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7.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8.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9.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0.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1.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12.xml" ContentType="application/vnd.openxmlformats-officedocument.them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1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4.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15.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2.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heme/themeOverride3.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Override4.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heme/themeOverride5.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heme/themeOverride6.xml" ContentType="application/vnd.openxmlformats-officedocument.themeOverr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heme/themeOverride7.xml" ContentType="application/vnd.openxmlformats-officedocument.themeOverr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53.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heme/themeOverride8.xml" ContentType="application/vnd.openxmlformats-officedocument.themeOverride+xml"/>
  <Override PartName="/ppt/notesSlides/notesSlide44.xml" ContentType="application/vnd.openxmlformats-officedocument.presentationml.notesSlide+xml"/>
  <Override PartName="/ppt/theme/themeOverride9.xml" ContentType="application/vnd.openxmlformats-officedocument.themeOverr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6" r:id="rId2"/>
    <p:sldMasterId id="2147483722" r:id="rId3"/>
    <p:sldMasterId id="2147483757" r:id="rId4"/>
    <p:sldMasterId id="2147483797" r:id="rId5"/>
    <p:sldMasterId id="2147483836" r:id="rId6"/>
    <p:sldMasterId id="2147483861" r:id="rId7"/>
    <p:sldMasterId id="2147483874" r:id="rId8"/>
    <p:sldMasterId id="2147483886" r:id="rId9"/>
    <p:sldMasterId id="2147483912" r:id="rId10"/>
    <p:sldMasterId id="2147483938" r:id="rId11"/>
    <p:sldMasterId id="2147483965" r:id="rId12"/>
    <p:sldMasterId id="2147483991" r:id="rId13"/>
    <p:sldMasterId id="2147484014" r:id="rId14"/>
    <p:sldMasterId id="2147484045" r:id="rId15"/>
    <p:sldMasterId id="2147484088" r:id="rId16"/>
  </p:sldMasterIdLst>
  <p:notesMasterIdLst>
    <p:notesMasterId r:id="rId70"/>
  </p:notesMasterIdLst>
  <p:sldIdLst>
    <p:sldId id="259" r:id="rId17"/>
    <p:sldId id="260" r:id="rId18"/>
    <p:sldId id="311" r:id="rId19"/>
    <p:sldId id="312" r:id="rId20"/>
    <p:sldId id="313" r:id="rId21"/>
    <p:sldId id="316" r:id="rId22"/>
    <p:sldId id="320" r:id="rId23"/>
    <p:sldId id="273" r:id="rId24"/>
    <p:sldId id="326" r:id="rId25"/>
    <p:sldId id="262" r:id="rId26"/>
    <p:sldId id="323" r:id="rId27"/>
    <p:sldId id="324" r:id="rId28"/>
    <p:sldId id="344" r:id="rId29"/>
    <p:sldId id="328" r:id="rId30"/>
    <p:sldId id="329" r:id="rId31"/>
    <p:sldId id="330" r:id="rId32"/>
    <p:sldId id="327" r:id="rId33"/>
    <p:sldId id="331" r:id="rId34"/>
    <p:sldId id="335" r:id="rId35"/>
    <p:sldId id="336" r:id="rId36"/>
    <p:sldId id="337" r:id="rId37"/>
    <p:sldId id="338" r:id="rId38"/>
    <p:sldId id="339" r:id="rId39"/>
    <p:sldId id="282" r:id="rId40"/>
    <p:sldId id="271" r:id="rId41"/>
    <p:sldId id="296" r:id="rId42"/>
    <p:sldId id="269" r:id="rId43"/>
    <p:sldId id="309" r:id="rId44"/>
    <p:sldId id="308" r:id="rId45"/>
    <p:sldId id="307" r:id="rId46"/>
    <p:sldId id="272" r:id="rId47"/>
    <p:sldId id="288" r:id="rId48"/>
    <p:sldId id="300" r:id="rId49"/>
    <p:sldId id="301" r:id="rId50"/>
    <p:sldId id="302" r:id="rId51"/>
    <p:sldId id="303" r:id="rId52"/>
    <p:sldId id="304" r:id="rId53"/>
    <p:sldId id="305" r:id="rId54"/>
    <p:sldId id="306" r:id="rId55"/>
    <p:sldId id="340" r:id="rId56"/>
    <p:sldId id="341" r:id="rId57"/>
    <p:sldId id="342" r:id="rId58"/>
    <p:sldId id="343" r:id="rId59"/>
    <p:sldId id="352" r:id="rId60"/>
    <p:sldId id="351" r:id="rId61"/>
    <p:sldId id="274" r:id="rId62"/>
    <p:sldId id="310" r:id="rId63"/>
    <p:sldId id="345" r:id="rId64"/>
    <p:sldId id="346" r:id="rId65"/>
    <p:sldId id="347" r:id="rId66"/>
    <p:sldId id="348" r:id="rId67"/>
    <p:sldId id="349" r:id="rId68"/>
    <p:sldId id="350"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B0B5ED2-4C6E-4A8F-9777-E824A8F5A182}">
          <p14:sldIdLst>
            <p14:sldId id="259"/>
          </p14:sldIdLst>
        </p14:section>
        <p14:section name="Introduction to IoT and Microsofts View" id="{914AD937-30D9-4BB5-9DE9-0909B3DA3A1A}">
          <p14:sldIdLst>
            <p14:sldId id="260"/>
            <p14:sldId id="311"/>
            <p14:sldId id="312"/>
            <p14:sldId id="313"/>
            <p14:sldId id="316"/>
            <p14:sldId id="320"/>
            <p14:sldId id="273"/>
            <p14:sldId id="326"/>
            <p14:sldId id="262"/>
            <p14:sldId id="323"/>
            <p14:sldId id="324"/>
            <p14:sldId id="344"/>
            <p14:sldId id="328"/>
            <p14:sldId id="329"/>
            <p14:sldId id="330"/>
            <p14:sldId id="327"/>
            <p14:sldId id="331"/>
            <p14:sldId id="335"/>
            <p14:sldId id="336"/>
            <p14:sldId id="337"/>
            <p14:sldId id="338"/>
            <p14:sldId id="339"/>
            <p14:sldId id="282"/>
          </p14:sldIdLst>
        </p14:section>
        <p14:section name="Azure Stream Analytics" id="{94A972B3-DE4F-4C7D-A1DD-8C50BB527963}">
          <p14:sldIdLst>
            <p14:sldId id="271"/>
            <p14:sldId id="296"/>
            <p14:sldId id="269"/>
            <p14:sldId id="309"/>
            <p14:sldId id="308"/>
            <p14:sldId id="307"/>
          </p14:sldIdLst>
        </p14:section>
        <p14:section name="Storm on Azure" id="{3AAB0DC0-C895-4D25-A8DD-EB08AF087343}">
          <p14:sldIdLst>
            <p14:sldId id="272"/>
            <p14:sldId id="288"/>
            <p14:sldId id="300"/>
            <p14:sldId id="301"/>
            <p14:sldId id="302"/>
            <p14:sldId id="303"/>
            <p14:sldId id="304"/>
            <p14:sldId id="305"/>
            <p14:sldId id="306"/>
            <p14:sldId id="340"/>
            <p14:sldId id="341"/>
            <p14:sldId id="342"/>
            <p14:sldId id="343"/>
            <p14:sldId id="352"/>
            <p14:sldId id="351"/>
          </p14:sldIdLst>
        </p14:section>
        <p14:section name="Whats Next and logistics" id="{0BDFA633-B9E0-4AA1-80AF-D7BF594B8DEF}">
          <p14:sldIdLst>
            <p14:sldId id="274"/>
            <p14:sldId id="310"/>
          </p14:sldIdLst>
        </p14:section>
        <p14:section name="Azure Passes" id="{88AD8A87-5E13-4E9C-AC03-0FD6F19E6BC6}">
          <p14:sldIdLst>
            <p14:sldId id="345"/>
            <p14:sldId id="346"/>
            <p14:sldId id="347"/>
            <p14:sldId id="348"/>
            <p14:sldId id="349"/>
            <p14:sldId id="35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8C00"/>
    <a:srgbClr val="0078D7"/>
    <a:srgbClr val="4E195C"/>
    <a:srgbClr val="34103D"/>
    <a:srgbClr val="D3E9B9"/>
    <a:srgbClr val="8DC548"/>
    <a:srgbClr val="74A03E"/>
    <a:srgbClr val="442157"/>
    <a:srgbClr val="7FBA0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6" autoAdjust="0"/>
    <p:restoredTop sz="62688" autoAdjust="0"/>
  </p:normalViewPr>
  <p:slideViewPr>
    <p:cSldViewPr snapToGrid="0">
      <p:cViewPr>
        <p:scale>
          <a:sx n="83" d="100"/>
          <a:sy n="83" d="100"/>
        </p:scale>
        <p:origin x="436" y="-9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3.xml"/><Relationship Id="rId11" Type="http://schemas.openxmlformats.org/officeDocument/2006/relationships/slideMaster" Target="slideMasters/slideMaster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slide" Target="slides/slide50.xml"/><Relationship Id="rId74"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45.xml"/><Relationship Id="rId19" Type="http://schemas.openxmlformats.org/officeDocument/2006/relationships/slide" Target="slides/slide3.xml"/><Relationship Id="rId14" Type="http://schemas.openxmlformats.org/officeDocument/2006/relationships/slideMaster" Target="slideMasters/slideMaster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8" Type="http://schemas.openxmlformats.org/officeDocument/2006/relationships/slideMaster" Target="slideMasters/slideMaster8.xml"/><Relationship Id="rId51" Type="http://schemas.openxmlformats.org/officeDocument/2006/relationships/slide" Target="slides/slide35.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10.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2.xml"/><Relationship Id="rId39" Type="http://schemas.openxmlformats.org/officeDocument/2006/relationships/slide" Target="slides/slide2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 Type="http://schemas.openxmlformats.org/officeDocument/2006/relationships/slideMaster" Target="slideMasters/slideMaster7.xml"/><Relationship Id="rId7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CA49B3-C585-4E83-B0A2-D56CEE4951F9}" type="datetimeFigureOut">
              <a:rPr lang="en-GB" smtClean="0"/>
              <a:t>09/12/201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C9BA86-93E3-40D5-89E7-A48BCD507049}" type="slidenum">
              <a:rPr lang="en-GB" smtClean="0"/>
              <a:t>‹#›</a:t>
            </a:fld>
            <a:endParaRPr lang="en-GB"/>
          </a:p>
        </p:txBody>
      </p:sp>
    </p:spTree>
    <p:extLst>
      <p:ext uri="{BB962C8B-B14F-4D97-AF65-F5344CB8AC3E}">
        <p14:creationId xmlns:p14="http://schemas.microsoft.com/office/powerpoint/2010/main" val="5216516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3694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87572B-4882-432D-8FBF-D254F398B3A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46052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Light" pitchFamily="34" charset="0"/>
                <a:ea typeface="+mn-ea"/>
                <a:cs typeface="+mn-cs"/>
              </a:rPr>
              <a:t>Key goal of slide: </a:t>
            </a:r>
          </a:p>
          <a:p>
            <a:pPr lvl="0"/>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IoT as you know is a hot area these days and there are a number of players that claim to be active in this space…. And they tend to focus on specific elements you see in this diagram. </a:t>
            </a:r>
          </a:p>
          <a:p>
            <a:pPr lvl="0"/>
            <a:r>
              <a:rPr lang="en-US" sz="1200" kern="1200" dirty="0" smtClean="0">
                <a:solidFill>
                  <a:schemeClr val="tx1"/>
                </a:solidFill>
                <a:effectLst/>
                <a:latin typeface="+mn-lt"/>
                <a:ea typeface="+mn-ea"/>
                <a:cs typeface="+mn-cs"/>
              </a:rPr>
              <a:t>Microsoft has the most comprehensive portfolio of cloud services that customers need to develop and deploy end-to-end IoT solutions.</a:t>
            </a:r>
          </a:p>
          <a:p>
            <a:pPr lvl="0"/>
            <a:r>
              <a:rPr lang="en-US" sz="1200" kern="1200" dirty="0" smtClean="0">
                <a:solidFill>
                  <a:schemeClr val="tx1"/>
                </a:solidFill>
                <a:effectLst/>
                <a:latin typeface="+mn-lt"/>
                <a:ea typeface="+mn-ea"/>
                <a:cs typeface="+mn-cs"/>
              </a:rPr>
              <a:t>Customers are adopting these services and are successfully deploying their solutions today (reference Rockwell, ThyssenKrupp)</a:t>
            </a:r>
          </a:p>
          <a:p>
            <a:pPr marL="0" marR="0" lvl="0" indent="0" algn="l" defTabSz="932195" rtl="0" eaLnBrk="1" fontAlgn="auto" latinLnBrk="0" hangingPunct="1">
              <a:lnSpc>
                <a:spcPct val="90000"/>
              </a:lnSpc>
              <a:spcBef>
                <a:spcPts val="0"/>
              </a:spcBef>
              <a:spcAft>
                <a:spcPts val="340"/>
              </a:spcAft>
              <a:buClrTx/>
              <a:buSzTx/>
              <a:buFontTx/>
              <a:buNone/>
              <a:tabLst/>
              <a:defRPr/>
            </a:pPr>
            <a:endParaRPr lang="en-US" sz="900" b="1"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s we think about Azure IoT services, Microsoft has the most comprehensive portfolio of cloud services that customers need to develop and deploy end-to-end IoT solutions</a:t>
            </a:r>
          </a:p>
          <a:p>
            <a:pPr marL="171450" indent="-171450">
              <a:buFont typeface="Arial" panose="020B0604020202020204" pitchFamily="34" charset="0"/>
              <a:buChar char="•"/>
            </a:pPr>
            <a:r>
              <a:rPr lang="en-US" dirty="0" smtClean="0"/>
              <a:t>Ranging from devices</a:t>
            </a:r>
            <a:r>
              <a:rPr lang="en-US" baseline="0" dirty="0" smtClean="0"/>
              <a:t> that produce data, to connecting them to the cloud storage, and driving analytics to gain valuable business insights that allows enterprises to take actions</a:t>
            </a:r>
          </a:p>
          <a:p>
            <a:pPr marL="171450" indent="-171450">
              <a:buFont typeface="Arial" panose="020B0604020202020204" pitchFamily="34" charset="0"/>
              <a:buChar char="•"/>
            </a:pPr>
            <a:endParaRPr lang="en-US" dirty="0" smtClean="0"/>
          </a:p>
          <a:p>
            <a:endParaRPr lang="en-US" sz="1224" b="1"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696CC6C-529C-4F42-8F7E-E1BE493CDDC2}" type="slidenum">
              <a:rPr kumimoji="0" lang="nl-NL"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nl-NL"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162471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Light" pitchFamily="34" charset="0"/>
                <a:ea typeface="+mn-ea"/>
                <a:cs typeface="+mn-cs"/>
              </a:rPr>
              <a:t>Key goal of slide: </a:t>
            </a:r>
          </a:p>
          <a:p>
            <a:pPr lvl="0"/>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IoT as you know is a hot area these days and there are a number of players that claim to be active in this space…. And they tend to focus on specific elements you see in this diagram. </a:t>
            </a:r>
          </a:p>
          <a:p>
            <a:pPr lvl="0"/>
            <a:r>
              <a:rPr lang="en-US" sz="1200" kern="1200" dirty="0" smtClean="0">
                <a:solidFill>
                  <a:schemeClr val="tx1"/>
                </a:solidFill>
                <a:effectLst/>
                <a:latin typeface="+mn-lt"/>
                <a:ea typeface="+mn-ea"/>
                <a:cs typeface="+mn-cs"/>
              </a:rPr>
              <a:t>Microsoft has the most comprehensive portfolio of cloud services that customers need to develop and deploy end-to-end IoT solutions.</a:t>
            </a:r>
          </a:p>
          <a:p>
            <a:pPr lvl="0"/>
            <a:r>
              <a:rPr lang="en-US" sz="1200" kern="1200" dirty="0" smtClean="0">
                <a:solidFill>
                  <a:schemeClr val="tx1"/>
                </a:solidFill>
                <a:effectLst/>
                <a:latin typeface="+mn-lt"/>
                <a:ea typeface="+mn-ea"/>
                <a:cs typeface="+mn-cs"/>
              </a:rPr>
              <a:t>Customers are adopting these services and are successfully deploying their solutions today (reference Rockwell, ThyssenKrupp)</a:t>
            </a:r>
          </a:p>
          <a:p>
            <a:pPr marL="0" marR="0" lvl="0" indent="0" algn="l" defTabSz="932195" rtl="0" eaLnBrk="1" fontAlgn="auto" latinLnBrk="0" hangingPunct="1">
              <a:lnSpc>
                <a:spcPct val="90000"/>
              </a:lnSpc>
              <a:spcBef>
                <a:spcPts val="0"/>
              </a:spcBef>
              <a:spcAft>
                <a:spcPts val="340"/>
              </a:spcAft>
              <a:buClrTx/>
              <a:buSzTx/>
              <a:buFontTx/>
              <a:buNone/>
              <a:tabLst/>
              <a:defRPr/>
            </a:pPr>
            <a:endParaRPr lang="en-US" sz="900" b="1"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s we think about Azure IoT services, Microsoft has the most comprehensive portfolio of cloud services that customers need to develop and deploy end-to-end IoT solutions</a:t>
            </a:r>
          </a:p>
          <a:p>
            <a:pPr marL="171450" indent="-171450">
              <a:buFont typeface="Arial" panose="020B0604020202020204" pitchFamily="34" charset="0"/>
              <a:buChar char="•"/>
            </a:pPr>
            <a:r>
              <a:rPr lang="en-US" dirty="0" smtClean="0"/>
              <a:t>Ranging from devices</a:t>
            </a:r>
            <a:r>
              <a:rPr lang="en-US" baseline="0" dirty="0" smtClean="0"/>
              <a:t> that produce data, to connecting them to the cloud storage, and driving analytics to gain valuable business insights that allows enterprises to take actions</a:t>
            </a:r>
          </a:p>
          <a:p>
            <a:pPr marL="171450" indent="-171450">
              <a:buFont typeface="Arial" panose="020B0604020202020204" pitchFamily="34" charset="0"/>
              <a:buChar char="•"/>
            </a:pPr>
            <a:endParaRPr lang="en-US" dirty="0" smtClean="0"/>
          </a:p>
          <a:p>
            <a:endParaRPr lang="en-US" sz="1224" b="1"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696CC6C-529C-4F42-8F7E-E1BE493CDDC2}" type="slidenum">
              <a:rPr kumimoji="0" lang="nl-NL"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nl-NL"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42859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11064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916">
              <a:defRPr/>
            </a:pPr>
            <a:r>
              <a:rPr lang="en-US" dirty="0" smtClean="0"/>
              <a:t>Let’s talk about Windows a bit here, because Windows</a:t>
            </a:r>
            <a:r>
              <a:rPr lang="en-US" baseline="0" dirty="0" smtClean="0"/>
              <a:t> is one of our main IoT client platforms.</a:t>
            </a:r>
          </a:p>
          <a:p>
            <a:pPr defTabSz="924916">
              <a:defRPr/>
            </a:pPr>
            <a:endParaRPr lang="en-US" baseline="0" dirty="0" smtClean="0"/>
          </a:p>
          <a:p>
            <a:pPr defTabSz="924916">
              <a:defRPr/>
            </a:pPr>
            <a:r>
              <a:rPr lang="en-US" baseline="0" dirty="0" smtClean="0"/>
              <a:t>We also have things like Band, and of course, the .NET Micro framework, but we’re going big on IoT with Windows 10.</a:t>
            </a:r>
          </a:p>
          <a:p>
            <a:pPr defTabSz="924916">
              <a:defRPr/>
            </a:pPr>
            <a:endParaRPr lang="en-US" baseline="0" dirty="0" smtClean="0"/>
          </a:p>
          <a:p>
            <a:pPr defTabSz="924916">
              <a:defRPr/>
            </a:pPr>
            <a:r>
              <a:rPr lang="en-US" baseline="0" dirty="0" smtClean="0"/>
              <a:t>Windows 10 is the convergence of all of our operating system development, including IoT and desktop. </a:t>
            </a:r>
          </a:p>
          <a:p>
            <a:pPr defTabSz="924916">
              <a:defRPr/>
            </a:pPr>
            <a:endParaRPr lang="en-US" baseline="0" dirty="0" smtClean="0"/>
          </a:p>
          <a:p>
            <a:pPr marL="0" marR="0" indent="0" algn="l" defTabSz="924916" rtl="0" eaLnBrk="1" fontAlgn="auto" latinLnBrk="0" hangingPunct="1">
              <a:lnSpc>
                <a:spcPct val="100000"/>
              </a:lnSpc>
              <a:spcBef>
                <a:spcPts val="0"/>
              </a:spcBef>
              <a:spcAft>
                <a:spcPts val="0"/>
              </a:spcAft>
              <a:buClrTx/>
              <a:buSzTx/>
              <a:buFontTx/>
              <a:buNone/>
              <a:tabLst/>
              <a:defRPr/>
            </a:pPr>
            <a:r>
              <a:rPr lang="en-US" dirty="0" smtClean="0"/>
              <a:t>It’s the best of everything we’ve had to offer to date. It’s something we believe in so much that we’ve made Windows 10 a free upgrade</a:t>
            </a:r>
            <a:r>
              <a:rPr lang="en-US" baseline="0" dirty="0" smtClean="0"/>
              <a:t> from Windows 7, 8, and 8.1 as long as the upgrade happens during the first year after Windows 10 releases.</a:t>
            </a:r>
            <a:endParaRPr lang="en-US" dirty="0" smtClean="0"/>
          </a:p>
          <a:p>
            <a:pPr defTabSz="924916">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A2900F-B82C-4F11-85DB-97B88AAD310C}"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0162098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916">
              <a:defRPr/>
            </a:pPr>
            <a:r>
              <a:rPr lang="en-US" dirty="0" smtClean="0"/>
              <a:t>Windows 10 supports a full range of devices</a:t>
            </a:r>
            <a:r>
              <a:rPr lang="en-US" baseline="0" dirty="0" smtClean="0"/>
              <a:t> from phones to tablets to laptops, </a:t>
            </a:r>
            <a:r>
              <a:rPr lang="en-US" baseline="0" dirty="0" err="1" smtClean="0"/>
              <a:t>hololens</a:t>
            </a:r>
            <a:r>
              <a:rPr lang="en-US" baseline="0" dirty="0" smtClean="0"/>
              <a:t>, Xbox and tiny IoT and maker devices like the Raspberry Pi 2</a:t>
            </a:r>
          </a:p>
          <a:p>
            <a:pPr defTabSz="924916">
              <a:defRPr/>
            </a:pPr>
            <a:endParaRPr lang="en-US" baseline="0" dirty="0" smtClean="0"/>
          </a:p>
          <a:p>
            <a:pPr defTabSz="924916">
              <a:defRPr/>
            </a:pPr>
            <a:r>
              <a:rPr lang="en-US" baseline="0" dirty="0" smtClean="0"/>
              <a:t>All running the same operating system…</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A2900F-B82C-4F11-85DB-97B88AAD310C}"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1293023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10 for IoT will be</a:t>
            </a:r>
            <a:r>
              <a:rPr lang="en-US" baseline="0" dirty="0" smtClean="0"/>
              <a:t> available initially on three boards:</a:t>
            </a:r>
          </a:p>
          <a:p>
            <a:endParaRPr lang="en-US" baseline="0" dirty="0" smtClean="0"/>
          </a:p>
          <a:p>
            <a:r>
              <a:rPr lang="en-US" baseline="0" dirty="0" smtClean="0"/>
              <a:t>Raspberry Pi 2</a:t>
            </a:r>
          </a:p>
          <a:p>
            <a:r>
              <a:rPr lang="en-US" baseline="0" dirty="0" err="1" smtClean="0"/>
              <a:t>Minnowboard</a:t>
            </a:r>
            <a:r>
              <a:rPr lang="en-US" baseline="0" dirty="0" smtClean="0"/>
              <a:t> Max (essentially the guts of a tablet)</a:t>
            </a:r>
          </a:p>
          <a:p>
            <a:r>
              <a:rPr lang="en-US" baseline="0" dirty="0" err="1" smtClean="0"/>
              <a:t>Dragonboard</a:t>
            </a:r>
            <a:r>
              <a:rPr lang="en-US" baseline="0" dirty="0" smtClean="0"/>
              <a:t> (essentially the guts of a phone) (coming soon)</a:t>
            </a:r>
          </a:p>
          <a:p>
            <a:endParaRPr lang="en-US" baseline="0" dirty="0" smtClean="0"/>
          </a:p>
          <a:p>
            <a:r>
              <a:rPr lang="en-US" baseline="0" dirty="0" smtClean="0"/>
              <a:t>All of these boards support universal apps and the new IoT APIs in UAP. All three have first-class developer experience in Visual Studio.</a:t>
            </a:r>
          </a:p>
          <a:p>
            <a:endParaRPr lang="en-US" baseline="0" dirty="0" smtClean="0"/>
          </a:p>
          <a:p>
            <a:r>
              <a:rPr lang="en-US" baseline="0" dirty="0" smtClean="0"/>
              <a:t>We also support other Windows 10 IoT SKUs for mobile and larger systems, all of which support the same UAP programming model and binarie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A2900F-B82C-4F11-85DB-97B88AAD310C}"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910139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A2900F-B82C-4F11-85DB-97B88AAD310C}"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9561319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7711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t>
            </a:r>
            <a:r>
              <a:rPr lang="en-US" dirty="0" err="1" smtClean="0"/>
              <a:t>ConnectTheDots</a:t>
            </a:r>
            <a:r>
              <a:rPr lang="en-US" dirty="0" smtClean="0"/>
              <a:t>-based lab has two primary goals</a:t>
            </a:r>
          </a:p>
          <a:p>
            <a:pPr marL="171450" indent="-171450">
              <a:buFontTx/>
              <a:buChar char="-"/>
            </a:pPr>
            <a:r>
              <a:rPr lang="en-US" dirty="0" smtClean="0"/>
              <a:t>Teach developers how to incorporate</a:t>
            </a:r>
            <a:r>
              <a:rPr lang="en-US" baseline="0" dirty="0" smtClean="0"/>
              <a:t> Azure into their solutions</a:t>
            </a:r>
          </a:p>
          <a:p>
            <a:pPr marL="171450" indent="-171450">
              <a:buFontTx/>
              <a:buChar char="-"/>
            </a:pPr>
            <a:r>
              <a:rPr lang="en-US" baseline="0" dirty="0" smtClean="0"/>
              <a:t>Provide a lab that is continually updated for new devices and services. Something that you can revisit on your own in the future to try out new technology and new services.</a:t>
            </a:r>
          </a:p>
          <a:p>
            <a:pPr marL="171450" indent="-171450">
              <a:buFontTx/>
              <a:buChar char="-"/>
            </a:pPr>
            <a:endParaRPr lang="en-US" baseline="0" dirty="0" smtClean="0"/>
          </a:p>
          <a:p>
            <a:pPr marL="171450" indent="-171450">
              <a:buFontTx/>
              <a:buChar char="-"/>
            </a:pPr>
            <a:endParaRPr lang="en-US" baseline="0" dirty="0" smtClean="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A2900F-B82C-4F11-85DB-97B88AAD310C}"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636448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15000"/>
              </a:lnSpc>
              <a:spcBef>
                <a:spcPts val="0"/>
              </a:spcBef>
              <a:spcAft>
                <a:spcPts val="1000"/>
              </a:spcAft>
              <a:buFont typeface="Courier New" panose="02070309020205020404" pitchFamily="49"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F89109-FECF-4F55-875E-EAF014861D0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928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s one example of using Azure for IoT</a:t>
            </a:r>
          </a:p>
          <a:p>
            <a:endParaRPr lang="en-US" dirty="0" smtClean="0"/>
          </a:p>
          <a:p>
            <a:r>
              <a:rPr lang="en-US" dirty="0" smtClean="0"/>
              <a:t>In this particular approach:</a:t>
            </a:r>
          </a:p>
          <a:p>
            <a:pPr marL="171450" indent="-171450">
              <a:buFont typeface="Arial" panose="020B0604020202020204" pitchFamily="34" charset="0"/>
              <a:buChar char="•"/>
            </a:pPr>
            <a:r>
              <a:rPr lang="en-US" dirty="0" smtClean="0"/>
              <a:t>Sensors talk to a gateway which is then responsible for forwarding</a:t>
            </a:r>
            <a:r>
              <a:rPr lang="en-US" baseline="0" dirty="0" smtClean="0"/>
              <a:t> to Azure</a:t>
            </a:r>
          </a:p>
          <a:p>
            <a:pPr marL="171450" indent="-171450">
              <a:buFont typeface="Arial" panose="020B0604020202020204" pitchFamily="34" charset="0"/>
              <a:buChar char="•"/>
            </a:pPr>
            <a:r>
              <a:rPr lang="en-US" baseline="0" dirty="0" smtClean="0"/>
              <a:t>Some sensors which have networking built-in, can talk directly to Azure</a:t>
            </a:r>
          </a:p>
          <a:p>
            <a:pPr marL="171450" indent="-171450">
              <a:buFont typeface="Arial" panose="020B0604020202020204" pitchFamily="34" charset="0"/>
              <a:buChar char="•"/>
            </a:pPr>
            <a:r>
              <a:rPr lang="en-US" baseline="0" dirty="0" smtClean="0"/>
              <a:t>The data from all of those sensors is processed by the analytics and machine learning. Through those, we can use the data to inform our actions</a:t>
            </a:r>
          </a:p>
          <a:p>
            <a:pPr marL="171450" indent="-171450">
              <a:buFont typeface="Arial" panose="020B0604020202020204" pitchFamily="34" charset="0"/>
              <a:buChar char="•"/>
            </a:pPr>
            <a:r>
              <a:rPr lang="en-US" baseline="0" dirty="0" smtClean="0"/>
              <a:t>Apps on phones, tablets, and PCs, can then look at the results</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Our solution will be very similar: the gateway and sensor package is combined into a single unit (the Raspberry Pi 2 with FEZ HAT) which is then responsible for talking to Azure.</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There are more complex and robust solutions shown on the Connect the Dots site. We want to keep the plumbing code relatively easy to follow and understand. For that reason, we’re not implementing the full gateway pattern or service here. If you want to learn more about that, be sure to check out the other examples on the Connect the Dots repo.</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A2900F-B82C-4F11-85DB-97B88AAD310C}"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0474347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EZ HAT (hold it up and show it) by GHI Electronics is the white board that sits on top of the raspberry Pi</a:t>
            </a:r>
          </a:p>
          <a:p>
            <a:endParaRPr lang="en-US" baseline="0" dirty="0" smtClean="0"/>
          </a:p>
          <a:p>
            <a:r>
              <a:rPr lang="en-US" baseline="0" dirty="0" smtClean="0"/>
              <a:t>We’ll only use a few of the sensors in the lab today, but if you finish early, we encourage you to see how you can use other sensors and IO on this board.</a:t>
            </a:r>
          </a:p>
          <a:p>
            <a:endParaRPr lang="en-US" baseline="0" dirty="0" smtClean="0"/>
          </a:p>
          <a:p>
            <a:r>
              <a:rPr lang="en-US" baseline="0" dirty="0" smtClean="0"/>
              <a:t>We include source for both </a:t>
            </a:r>
            <a:r>
              <a:rPr lang="en-US" baseline="0" dirty="0" err="1" smtClean="0"/>
              <a:t>Raspbian</a:t>
            </a:r>
            <a:r>
              <a:rPr lang="en-US" baseline="0" dirty="0" smtClean="0"/>
              <a:t> Linux and Windows 10 IoT Core (UWP)</a:t>
            </a:r>
          </a:p>
          <a:p>
            <a:pPr marL="171450" indent="-171450">
              <a:buFontTx/>
              <a:buChar char="-"/>
            </a:pPr>
            <a:endParaRPr lang="en-US" baseline="0" dirty="0" smtClean="0"/>
          </a:p>
          <a:p>
            <a:pPr marL="171450" indent="-171450">
              <a:buFontTx/>
              <a:buChar char="-"/>
            </a:pPr>
            <a:endParaRPr lang="en-US" baseline="0" dirty="0" smtClean="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A2900F-B82C-4F11-85DB-97B88AAD310C}"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9437949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90911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Light" pitchFamily="34" charset="0"/>
                <a:ea typeface="+mn-ea"/>
                <a:cs typeface="+mn-cs"/>
              </a:rPr>
              <a:t>Key goal of slide: </a:t>
            </a:r>
          </a:p>
          <a:p>
            <a:pPr lvl="0"/>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IoT as you know is a hot area these days and there are a number of players that claim to be active in this space…. And they tend to focus on specific elements you see in this diagram. </a:t>
            </a:r>
          </a:p>
          <a:p>
            <a:pPr lvl="0"/>
            <a:r>
              <a:rPr lang="en-US" sz="1200" kern="1200" dirty="0" smtClean="0">
                <a:solidFill>
                  <a:schemeClr val="tx1"/>
                </a:solidFill>
                <a:effectLst/>
                <a:latin typeface="+mn-lt"/>
                <a:ea typeface="+mn-ea"/>
                <a:cs typeface="+mn-cs"/>
              </a:rPr>
              <a:t>Microsoft has the most comprehensive portfolio of cloud services that customers need to develop and deploy end-to-end IoT solutions.</a:t>
            </a:r>
          </a:p>
          <a:p>
            <a:pPr lvl="0"/>
            <a:r>
              <a:rPr lang="en-US" sz="1200" kern="1200" dirty="0" smtClean="0">
                <a:solidFill>
                  <a:schemeClr val="tx1"/>
                </a:solidFill>
                <a:effectLst/>
                <a:latin typeface="+mn-lt"/>
                <a:ea typeface="+mn-ea"/>
                <a:cs typeface="+mn-cs"/>
              </a:rPr>
              <a:t>Customers are adopting these services and are successfully deploying their solutions today (reference Rockwell, ThyssenKrupp)</a:t>
            </a:r>
          </a:p>
          <a:p>
            <a:pPr marL="0" marR="0" lvl="0" indent="0" algn="l" defTabSz="932195" rtl="0" eaLnBrk="1" fontAlgn="auto" latinLnBrk="0" hangingPunct="1">
              <a:lnSpc>
                <a:spcPct val="90000"/>
              </a:lnSpc>
              <a:spcBef>
                <a:spcPts val="0"/>
              </a:spcBef>
              <a:spcAft>
                <a:spcPts val="340"/>
              </a:spcAft>
              <a:buClrTx/>
              <a:buSzTx/>
              <a:buFontTx/>
              <a:buNone/>
              <a:tabLst/>
              <a:defRPr/>
            </a:pPr>
            <a:endParaRPr lang="en-US" sz="900" b="1"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s we think about Azure IoT services, Microsoft has the most comprehensive portfolio of cloud services that customers need to develop and deploy end-to-end IoT solutions</a:t>
            </a:r>
          </a:p>
          <a:p>
            <a:pPr marL="171450" indent="-171450">
              <a:buFont typeface="Arial" panose="020B0604020202020204" pitchFamily="34" charset="0"/>
              <a:buChar char="•"/>
            </a:pPr>
            <a:r>
              <a:rPr lang="en-US" dirty="0" smtClean="0"/>
              <a:t>Ranging from devices</a:t>
            </a:r>
            <a:r>
              <a:rPr lang="en-US" baseline="0" dirty="0" smtClean="0"/>
              <a:t> that produce data, to connecting them to the cloud storage, and driving analytics to gain valuable business insights that allows enterprises to take actions</a:t>
            </a:r>
          </a:p>
          <a:p>
            <a:pPr marL="171450" indent="-171450">
              <a:buFont typeface="Arial" panose="020B0604020202020204" pitchFamily="34" charset="0"/>
              <a:buChar char="•"/>
            </a:pPr>
            <a:endParaRPr lang="en-US" dirty="0" smtClean="0"/>
          </a:p>
          <a:p>
            <a:endParaRPr lang="en-US" sz="1224" b="1"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696CC6C-529C-4F42-8F7E-E1BE493CDDC2}" type="slidenum">
              <a:rPr kumimoji="0" lang="nl-NL"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nl-NL"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704086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44875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16466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CC9BA86-93E3-40D5-89E7-A48BCD507049}" type="slidenum">
              <a:rPr lang="en-GB" smtClean="0"/>
              <a:t>26</a:t>
            </a:fld>
            <a:endParaRPr lang="en-GB"/>
          </a:p>
        </p:txBody>
      </p:sp>
    </p:spTree>
    <p:extLst>
      <p:ext uri="{BB962C8B-B14F-4D97-AF65-F5344CB8AC3E}">
        <p14:creationId xmlns:p14="http://schemas.microsoft.com/office/powerpoint/2010/main" val="24542989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bg2">
                    <a:lumMod val="50000"/>
                  </a:schemeClr>
                </a:solidFill>
              </a:rPr>
              <a:t>Now let us dig deeper into what a typical ASA application looks like. An ASA application has three major components:</a:t>
            </a:r>
          </a:p>
          <a:p>
            <a:pPr marL="228600" indent="-228600">
              <a:buAutoNum type="arabicParenR"/>
            </a:pPr>
            <a:r>
              <a:rPr lang="en-US" sz="1000" dirty="0" smtClean="0">
                <a:solidFill>
                  <a:schemeClr val="bg2">
                    <a:lumMod val="50000"/>
                  </a:schemeClr>
                </a:solidFill>
              </a:rPr>
              <a:t>Input – Inputs are the sources of events. Note that the ‘original’ source of streaming events are devices, machines, applications, sensors, applications etc. However, ASA is not intended to connect to them directly. Rather ASA lets Azure Event  Hubs be the primary interface to the wide variety of event sources. ASA is optimized to get streaming data from Azure Event Hubs and Azure Blob Storage. Azure Blob Storage is the likely place where log data is stored. The list of input sources that ASA </a:t>
            </a:r>
            <a:r>
              <a:rPr lang="en-US" sz="1000" i="1" dirty="0" smtClean="0">
                <a:solidFill>
                  <a:schemeClr val="bg2">
                    <a:lumMod val="50000"/>
                  </a:schemeClr>
                </a:solidFill>
              </a:rPr>
              <a:t>directly integrates with </a:t>
            </a:r>
            <a:r>
              <a:rPr lang="en-US" sz="1000" dirty="0" smtClean="0">
                <a:solidFill>
                  <a:schemeClr val="bg2">
                    <a:lumMod val="50000"/>
                  </a:schemeClr>
                </a:solidFill>
              </a:rPr>
              <a:t>may increase in the future, but Azure Event Hubs and Azure Blob Storage will be the primary sources.</a:t>
            </a:r>
          </a:p>
          <a:p>
            <a:pPr marL="228600" indent="-228600">
              <a:buAutoNum type="arabicParenR"/>
            </a:pPr>
            <a:r>
              <a:rPr lang="en-US" sz="1000" dirty="0" smtClean="0">
                <a:solidFill>
                  <a:schemeClr val="bg2">
                    <a:lumMod val="50000"/>
                  </a:schemeClr>
                </a:solidFill>
              </a:rPr>
              <a:t>Query – Queries are the main component of an ASA application. Queries implement the “analytics logic”. Queries are a set of transformations that are applied to the input stream to produce another set of  output events. </a:t>
            </a:r>
            <a:r>
              <a:rPr lang="en-US" sz="1000" dirty="0">
                <a:solidFill>
                  <a:schemeClr val="bg2">
                    <a:lumMod val="50000"/>
                  </a:schemeClr>
                </a:solidFill>
              </a:rPr>
              <a:t>Q</a:t>
            </a:r>
            <a:r>
              <a:rPr lang="en-US" sz="1000" dirty="0" smtClean="0">
                <a:solidFill>
                  <a:schemeClr val="bg2">
                    <a:lumMod val="50000"/>
                  </a:schemeClr>
                </a:solidFill>
              </a:rPr>
              <a:t>ueries are the only thing that an ASA application developers actually ‘develops’. Everything else is done through guided wizards in the Azure Portal. Note that  ASA has a SQL-like query language but unlike traditional databases, ASA queries run continuously against the stream of incoming events. The queries stop being applied only when the job itself stops.</a:t>
            </a:r>
          </a:p>
          <a:p>
            <a:pPr marL="228600" indent="-228600">
              <a:buAutoNum type="arabicParenR"/>
            </a:pPr>
            <a:r>
              <a:rPr lang="en-US" sz="1000" dirty="0" smtClean="0">
                <a:solidFill>
                  <a:schemeClr val="bg2">
                    <a:lumMod val="50000"/>
                  </a:schemeClr>
                </a:solidFill>
              </a:rPr>
              <a:t>Output – </a:t>
            </a:r>
            <a:r>
              <a:rPr lang="en-US" sz="1000" dirty="0">
                <a:solidFill>
                  <a:schemeClr val="bg2">
                    <a:lumMod val="50000"/>
                  </a:schemeClr>
                </a:solidFill>
              </a:rPr>
              <a:t>As queries execute </a:t>
            </a:r>
            <a:r>
              <a:rPr lang="en-US" sz="1000" dirty="0" smtClean="0">
                <a:solidFill>
                  <a:schemeClr val="bg2">
                    <a:lumMod val="50000"/>
                  </a:schemeClr>
                </a:solidFill>
              </a:rPr>
              <a:t>they </a:t>
            </a:r>
            <a:r>
              <a:rPr lang="en-US" sz="1000" dirty="0">
                <a:solidFill>
                  <a:schemeClr val="bg2">
                    <a:lumMod val="50000"/>
                  </a:schemeClr>
                </a:solidFill>
              </a:rPr>
              <a:t>continuously </a:t>
            </a:r>
            <a:r>
              <a:rPr lang="en-US" sz="1000" dirty="0" smtClean="0">
                <a:solidFill>
                  <a:schemeClr val="bg2">
                    <a:lumMod val="50000"/>
                  </a:schemeClr>
                </a:solidFill>
              </a:rPr>
              <a:t>produce results.  The results can be stored in </a:t>
            </a:r>
            <a:r>
              <a:rPr lang="en-US" sz="1000" dirty="0">
                <a:solidFill>
                  <a:schemeClr val="bg2">
                    <a:lumMod val="50000"/>
                  </a:schemeClr>
                </a:solidFill>
              </a:rPr>
              <a:t>B</a:t>
            </a:r>
            <a:r>
              <a:rPr lang="en-US" sz="1000" dirty="0" smtClean="0">
                <a:solidFill>
                  <a:schemeClr val="bg2">
                    <a:lumMod val="50000"/>
                  </a:schemeClr>
                </a:solidFill>
              </a:rPr>
              <a:t>lob Storage, Event Hubs or Azure SQL database. Note that if the output is stored in Event Hub or Blob Storage, it can become the input to another ASA job. So it is possible to ‘chain’ together multiple jobs to implement a series of transformations. </a:t>
            </a:r>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3EF993-8A67-4480-A131-804F07D26B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9132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0161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7580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smtClean="0">
                <a:solidFill>
                  <a:schemeClr val="tx1"/>
                </a:solidFill>
                <a:effectLst/>
                <a:latin typeface="+mn-lt"/>
                <a:ea typeface="+mn-ea"/>
                <a:cs typeface="+mn-cs"/>
              </a:rPr>
              <a:t>The Retail industry is dealing with major shifts in consumer shopping behavior, preferences, and expectations, largely driven by new technologies and form factors. As consumers, we expect to access information in ways that are fast but familiar to us in every aspect of our daily lives, including when shopping for groceries, visiting an ATM, or checking out at a store. By building an end-to-end </a:t>
            </a:r>
            <a:r>
              <a:rPr lang="en-US" sz="1200" kern="1200" dirty="0" err="1" smtClean="0">
                <a:solidFill>
                  <a:schemeClr val="tx1"/>
                </a:solidFill>
                <a:effectLst/>
                <a:latin typeface="+mn-lt"/>
                <a:ea typeface="+mn-ea"/>
                <a:cs typeface="+mn-cs"/>
              </a:rPr>
              <a:t>omni</a:t>
            </a:r>
            <a:r>
              <a:rPr lang="en-US" sz="1200" kern="1200" dirty="0" smtClean="0">
                <a:solidFill>
                  <a:schemeClr val="tx1"/>
                </a:solidFill>
                <a:effectLst/>
                <a:latin typeface="+mn-lt"/>
                <a:ea typeface="+mn-ea"/>
                <a:cs typeface="+mn-cs"/>
              </a:rPr>
              <a:t>-channel solution based on Microsoft and partner technology, you can deliver the seamless, relevant experiences that your customers expect in today’s digital world.</a:t>
            </a: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smtClean="0">
                <a:solidFill>
                  <a:schemeClr val="tx1"/>
                </a:solidFill>
                <a:effectLst/>
                <a:latin typeface="+mn-lt"/>
                <a:ea typeface="+mn-ea"/>
                <a:cs typeface="+mn-cs"/>
              </a:rPr>
              <a:t>With IoT,</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lmost</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every interaction among customers involving products and services can be captured, measured, and analyzed. You can gather</a:t>
            </a:r>
            <a:r>
              <a:rPr lang="en-US" sz="1200" kern="1200" baseline="0" dirty="0" smtClean="0">
                <a:solidFill>
                  <a:schemeClr val="tx1"/>
                </a:solidFill>
                <a:effectLst/>
                <a:latin typeface="+mn-lt"/>
                <a:ea typeface="+mn-ea"/>
                <a:cs typeface="+mn-cs"/>
              </a:rPr>
              <a:t> where the shopper goes and everything they do – on Instagram or Twitter, up and down your aisles, on your website. Which freezer case did they open? What products did they carry into the fitting room? Or, what was weather like at the time? Warm and sunny? Cold and rainy? While you once relied on data from the cash register, with IoT you now can collect data from a variety of store sensors, RFID data, integration with external sources like social media and weather reports, and more. All these points of customer interaction, or touch points, can be considered as a sort of “shopstream” – where data exhaust is produced at each step along the customer journey. </a:t>
            </a: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smtClean="0">
                <a:solidFill>
                  <a:schemeClr val="tx1"/>
                </a:solidFill>
                <a:effectLst/>
                <a:latin typeface="+mn-lt"/>
                <a:ea typeface="+mn-ea"/>
                <a:cs typeface="+mn-cs"/>
              </a:rPr>
              <a:t>Millions of data points available from all of these</a:t>
            </a:r>
            <a:r>
              <a:rPr lang="en-US" sz="1200" kern="1200" baseline="0" dirty="0" smtClean="0">
                <a:solidFill>
                  <a:schemeClr val="tx1"/>
                </a:solidFill>
                <a:effectLst/>
                <a:latin typeface="+mn-lt"/>
                <a:ea typeface="+mn-ea"/>
                <a:cs typeface="+mn-cs"/>
              </a:rPr>
              <a:t> new interactions</a:t>
            </a:r>
            <a:r>
              <a:rPr lang="en-US" sz="1200" kern="1200" dirty="0" smtClean="0">
                <a:solidFill>
                  <a:schemeClr val="tx1"/>
                </a:solidFill>
                <a:effectLst/>
                <a:latin typeface="+mn-lt"/>
                <a:ea typeface="+mn-ea"/>
                <a:cs typeface="+mn-cs"/>
              </a:rPr>
              <a:t> enable you to create far more granular customer segmentations and make very accurate predictions about their behavior. </a:t>
            </a:r>
            <a:r>
              <a:rPr lang="en-US" sz="1200" kern="1200" baseline="0" dirty="0" smtClean="0">
                <a:solidFill>
                  <a:schemeClr val="tx1"/>
                </a:solidFill>
                <a:effectLst/>
                <a:latin typeface="+mn-lt"/>
                <a:ea typeface="+mn-ea"/>
                <a:cs typeface="+mn-cs"/>
              </a:rPr>
              <a:t>You can drive increasingly relevant, personalized campaigns with data collected on individual customer behavior.</a:t>
            </a:r>
            <a:r>
              <a:rPr lang="en-US" baseline="0" dirty="0" smtClean="0"/>
              <a:t> Apply machine learning to all the ways the consumer is interacting with you and g</a:t>
            </a:r>
            <a:r>
              <a:rPr lang="en-US" sz="1200" kern="1200" dirty="0" smtClean="0">
                <a:solidFill>
                  <a:schemeClr val="tx1"/>
                </a:solidFill>
                <a:effectLst/>
                <a:latin typeface="+mn-lt"/>
                <a:ea typeface="+mn-ea"/>
                <a:cs typeface="+mn-cs"/>
              </a:rPr>
              <a:t>et a 360-degree view of the customer—</a:t>
            </a:r>
            <a:r>
              <a:rPr lang="en-US" sz="1200" kern="1200" baseline="0" dirty="0" smtClean="0">
                <a:solidFill>
                  <a:schemeClr val="tx1"/>
                </a:solidFill>
                <a:effectLst/>
                <a:latin typeface="+mn-lt"/>
                <a:ea typeface="+mn-ea"/>
                <a:cs typeface="+mn-cs"/>
              </a:rPr>
              <a:t>tracking</a:t>
            </a:r>
            <a:r>
              <a:rPr lang="en-US" baseline="0" dirty="0" smtClean="0"/>
              <a:t>, understanding and gaining insight across all channels—that then </a:t>
            </a:r>
            <a:r>
              <a:rPr lang="en-US" sz="1200" kern="1200" dirty="0" smtClean="0">
                <a:solidFill>
                  <a:schemeClr val="tx1"/>
                </a:solidFill>
                <a:effectLst/>
                <a:latin typeface="+mn-lt"/>
                <a:ea typeface="+mn-ea"/>
                <a:cs typeface="+mn-cs"/>
              </a:rPr>
              <a:t>informs marketing and merchandising to enable the delivery of the highest value offers. Improve your business performance by turning data into relevant</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context—turning</a:t>
            </a:r>
            <a:r>
              <a:rPr lang="en-US" sz="1200" kern="1200" baseline="0" dirty="0" smtClean="0">
                <a:solidFill>
                  <a:schemeClr val="tx1"/>
                </a:solidFill>
                <a:effectLst/>
                <a:latin typeface="+mn-lt"/>
                <a:ea typeface="+mn-ea"/>
                <a:cs typeface="+mn-cs"/>
              </a:rPr>
              <a:t> all </a:t>
            </a:r>
            <a:r>
              <a:rPr lang="en-US" sz="1200" kern="1200" dirty="0" smtClean="0">
                <a:solidFill>
                  <a:schemeClr val="tx1"/>
                </a:solidFill>
                <a:effectLst/>
                <a:latin typeface="+mn-lt"/>
                <a:ea typeface="+mn-ea"/>
                <a:cs typeface="+mn-cs"/>
              </a:rPr>
              <a:t>that exhaust into relevant insights. Get the right offer back to the customer at the right time – on the web, on their mobile</a:t>
            </a:r>
            <a:r>
              <a:rPr lang="en-US" sz="1200" kern="1200" baseline="0" dirty="0" smtClean="0">
                <a:solidFill>
                  <a:schemeClr val="tx1"/>
                </a:solidFill>
                <a:effectLst/>
                <a:latin typeface="+mn-lt"/>
                <a:ea typeface="+mn-ea"/>
                <a:cs typeface="+mn-cs"/>
              </a:rPr>
              <a:t> phone, </a:t>
            </a:r>
            <a:r>
              <a:rPr lang="en-US" sz="1200" kern="1200" dirty="0" smtClean="0">
                <a:solidFill>
                  <a:schemeClr val="tx1"/>
                </a:solidFill>
                <a:effectLst/>
                <a:latin typeface="+mn-lt"/>
                <a:ea typeface="+mn-ea"/>
                <a:cs typeface="+mn-cs"/>
              </a:rPr>
              <a:t>at the shelf, or at the cash register. </a:t>
            </a: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smtClean="0">
                <a:solidFill>
                  <a:schemeClr val="tx1"/>
                </a:solidFill>
                <a:effectLst/>
                <a:latin typeface="+mn-lt"/>
                <a:ea typeface="+mn-ea"/>
                <a:cs typeface="+mn-cs"/>
              </a:rPr>
              <a:t>In our</a:t>
            </a:r>
            <a:r>
              <a:rPr lang="en-US" sz="1200" kern="1200" baseline="0" dirty="0" smtClean="0">
                <a:solidFill>
                  <a:schemeClr val="tx1"/>
                </a:solidFill>
                <a:effectLst/>
                <a:latin typeface="+mn-lt"/>
                <a:ea typeface="+mn-ea"/>
                <a:cs typeface="+mn-cs"/>
              </a:rPr>
              <a:t> example here, we have a customer on their home computer demonstrating</a:t>
            </a:r>
            <a:r>
              <a:rPr lang="en-US" sz="1200" kern="1200" dirty="0" smtClean="0">
                <a:solidFill>
                  <a:schemeClr val="tx1"/>
                </a:solidFill>
                <a:effectLst/>
                <a:latin typeface="+mn-lt"/>
                <a:ea typeface="+mn-ea"/>
                <a:cs typeface="+mn-cs"/>
              </a:rPr>
              <a:t> the many ways shoppers are informed about the products and services they want. This phase</a:t>
            </a:r>
            <a:r>
              <a:rPr lang="en-US" sz="1200" kern="1200" baseline="0" dirty="0" smtClean="0">
                <a:solidFill>
                  <a:schemeClr val="tx1"/>
                </a:solidFill>
                <a:effectLst/>
                <a:latin typeface="+mn-lt"/>
                <a:ea typeface="+mn-ea"/>
                <a:cs typeface="+mn-cs"/>
              </a:rPr>
              <a:t> of the customer journey is a lot like Pinterest, as they </a:t>
            </a:r>
            <a:r>
              <a:rPr lang="en-US" sz="1200" kern="1200" dirty="0" smtClean="0">
                <a:solidFill>
                  <a:schemeClr val="tx1"/>
                </a:solidFill>
                <a:effectLst/>
                <a:latin typeface="+mn-lt"/>
                <a:ea typeface="+mn-ea"/>
                <a:cs typeface="+mn-cs"/>
              </a:rPr>
              <a:t>plan, combine,</a:t>
            </a:r>
            <a:r>
              <a:rPr lang="en-US" sz="1200" kern="1200" baseline="0" dirty="0" smtClean="0">
                <a:solidFill>
                  <a:schemeClr val="tx1"/>
                </a:solidFill>
                <a:effectLst/>
                <a:latin typeface="+mn-lt"/>
                <a:ea typeface="+mn-ea"/>
                <a:cs typeface="+mn-cs"/>
              </a:rPr>
              <a:t> view, and get inspiration. </a:t>
            </a:r>
            <a:r>
              <a:rPr lang="en-US" sz="1200" kern="1200" dirty="0" smtClean="0">
                <a:solidFill>
                  <a:schemeClr val="tx1"/>
                </a:solidFill>
                <a:effectLst/>
                <a:latin typeface="+mn-lt"/>
                <a:ea typeface="+mn-ea"/>
                <a:cs typeface="+mn-cs"/>
              </a:rPr>
              <a:t>Wanting to attract customers into your online and physical storefronts,</a:t>
            </a:r>
            <a:r>
              <a:rPr lang="en-US" sz="1200" kern="1200" baseline="0" dirty="0" smtClean="0">
                <a:solidFill>
                  <a:schemeClr val="tx1"/>
                </a:solidFill>
                <a:effectLst/>
                <a:latin typeface="+mn-lt"/>
                <a:ea typeface="+mn-ea"/>
                <a:cs typeface="+mn-cs"/>
              </a:rPr>
              <a:t> you </a:t>
            </a:r>
            <a:r>
              <a:rPr lang="en-US" sz="1200" kern="1200" dirty="0" smtClean="0">
                <a:solidFill>
                  <a:schemeClr val="tx1"/>
                </a:solidFill>
                <a:effectLst/>
                <a:latin typeface="+mn-lt"/>
                <a:ea typeface="+mn-ea"/>
                <a:cs typeface="+mn-cs"/>
              </a:rPr>
              <a:t>want to be in the showcases where your customers are. Monitor Instagram behavior, and turn that into knowledge of your customer. Collect traffic from</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witter, Facebook, </a:t>
            </a:r>
            <a:r>
              <a:rPr lang="en-US" sz="1200" kern="1200" baseline="0" dirty="0" smtClean="0">
                <a:solidFill>
                  <a:schemeClr val="tx1"/>
                </a:solidFill>
                <a:effectLst/>
                <a:latin typeface="+mn-lt"/>
                <a:ea typeface="+mn-ea"/>
                <a:cs typeface="+mn-cs"/>
              </a:rPr>
              <a:t>Groupon, etc., and</a:t>
            </a:r>
            <a:r>
              <a:rPr lang="en-US" sz="1200" kern="1200" dirty="0" smtClean="0">
                <a:solidFill>
                  <a:schemeClr val="tx1"/>
                </a:solidFill>
                <a:effectLst/>
                <a:latin typeface="+mn-lt"/>
                <a:ea typeface="+mn-ea"/>
                <a:cs typeface="+mn-cs"/>
              </a:rPr>
              <a:t> use that to drive traffic in and yield greater returns</a:t>
            </a:r>
            <a:r>
              <a:rPr lang="en-US" sz="1200" kern="1200" baseline="0" dirty="0" smtClean="0">
                <a:solidFill>
                  <a:schemeClr val="tx1"/>
                </a:solidFill>
                <a:effectLst/>
                <a:latin typeface="+mn-lt"/>
                <a:ea typeface="+mn-ea"/>
                <a:cs typeface="+mn-cs"/>
              </a:rPr>
              <a:t> based on relevancy and upsell.</a:t>
            </a: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200" spc="-49" dirty="0" smtClean="0">
              <a:solidFill>
                <a:srgbClr val="00188F">
                  <a:lumMod val="75000"/>
                </a:srgbClr>
              </a:solidFill>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smtClean="0">
                <a:solidFill>
                  <a:schemeClr val="tx1"/>
                </a:solidFill>
                <a:effectLst/>
                <a:latin typeface="+mn-lt"/>
                <a:ea typeface="+mn-ea"/>
                <a:cs typeface="+mn-cs"/>
              </a:rPr>
              <a:t>The best offers require context and relevance. </a:t>
            </a:r>
            <a:r>
              <a:rPr lang="en-US" sz="1200" spc="-49" dirty="0" smtClean="0">
                <a:solidFill>
                  <a:srgbClr val="00188F">
                    <a:lumMod val="75000"/>
                  </a:srgbClr>
                </a:solidFill>
                <a:ea typeface="Segoe UI" pitchFamily="34" charset="0"/>
                <a:cs typeface="Segoe UI" pitchFamily="34" charset="0"/>
              </a:rPr>
              <a:t>Use location tracking on carts, cell phones or video cameras to </a:t>
            </a:r>
            <a:r>
              <a:rPr lang="en-US" sz="1200" b="0" kern="1200" baseline="0" dirty="0" smtClean="0">
                <a:solidFill>
                  <a:schemeClr val="tx1"/>
                </a:solidFill>
                <a:effectLst/>
                <a:latin typeface="+mn-lt"/>
                <a:ea typeface="+mn-ea"/>
                <a:cs typeface="+mn-cs"/>
              </a:rPr>
              <a:t>gain a more complete picture of the customer in-store experience</a:t>
            </a:r>
            <a:r>
              <a:rPr lang="en-US" dirty="0" smtClean="0"/>
              <a:t>. Combine that insight</a:t>
            </a:r>
            <a:r>
              <a:rPr lang="en-US" baseline="0" dirty="0" smtClean="0"/>
              <a:t> with what you’ve learned from the customer’s  pre-shopping experiences, and s</a:t>
            </a:r>
            <a:r>
              <a:rPr lang="en-US" dirty="0" smtClean="0"/>
              <a:t>end personalized recommendations and promotions based on customer location and preferences. </a:t>
            </a:r>
            <a:r>
              <a:rPr lang="en-US" sz="1200" kern="1200" baseline="0" dirty="0" smtClean="0">
                <a:solidFill>
                  <a:schemeClr val="tx1"/>
                </a:solidFill>
                <a:effectLst/>
                <a:latin typeface="+mn-lt"/>
                <a:ea typeface="+mn-ea"/>
                <a:cs typeface="+mn-cs"/>
              </a:rPr>
              <a:t>Target your customers in store with store apps, so that they continue their product searching in your store. Keep attention in the store with m</a:t>
            </a:r>
            <a:r>
              <a:rPr lang="en-US" sz="1200" kern="1200" dirty="0" smtClean="0">
                <a:solidFill>
                  <a:schemeClr val="tx1"/>
                </a:solidFill>
                <a:effectLst/>
                <a:latin typeface="+mn-lt"/>
                <a:ea typeface="+mn-ea"/>
                <a:cs typeface="+mn-cs"/>
              </a:rPr>
              <a:t>ore effective</a:t>
            </a:r>
            <a:r>
              <a:rPr lang="en-US" sz="1200" kern="1200" baseline="0" dirty="0" smtClean="0">
                <a:solidFill>
                  <a:schemeClr val="tx1"/>
                </a:solidFill>
                <a:effectLst/>
                <a:latin typeface="+mn-lt"/>
                <a:ea typeface="+mn-ea"/>
                <a:cs typeface="+mn-cs"/>
              </a:rPr>
              <a:t> real time offers and segmentation models. </a:t>
            </a:r>
            <a:r>
              <a:rPr lang="en-US" sz="1200" kern="1200" dirty="0" smtClean="0">
                <a:solidFill>
                  <a:schemeClr val="tx1"/>
                </a:solidFill>
                <a:effectLst/>
                <a:latin typeface="+mn-lt"/>
                <a:ea typeface="+mn-ea"/>
                <a:cs typeface="+mn-cs"/>
              </a:rPr>
              <a:t>Help your customers to</a:t>
            </a:r>
            <a:r>
              <a:rPr lang="en-US" sz="1200" kern="1200" baseline="0" dirty="0" smtClean="0">
                <a:solidFill>
                  <a:schemeClr val="tx1"/>
                </a:solidFill>
                <a:effectLst/>
                <a:latin typeface="+mn-lt"/>
                <a:ea typeface="+mn-ea"/>
                <a:cs typeface="+mn-cs"/>
              </a:rPr>
              <a:t> see your store as a destination. </a:t>
            </a: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200" spc="-49" dirty="0" smtClean="0">
              <a:solidFill>
                <a:srgbClr val="00188F">
                  <a:lumMod val="75000"/>
                </a:srgbClr>
              </a:solidFill>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smtClean="0">
                <a:solidFill>
                  <a:schemeClr val="tx1"/>
                </a:solidFill>
                <a:effectLst/>
                <a:latin typeface="+mn-lt"/>
                <a:ea typeface="+mn-ea"/>
                <a:cs typeface="+mn-cs"/>
              </a:rPr>
              <a:t>In Retail, the recent surge in the presence of edge devices such as point of service solutions, digital signage, kiosks and handheld devices has become just as important in the store as applications for mobile phones, tablets, and PCs for consumer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smtClean="0">
                <a:solidFill>
                  <a:schemeClr val="tx1"/>
                </a:solidFill>
                <a:effectLst/>
                <a:latin typeface="+mn-lt"/>
                <a:ea typeface="+mn-ea"/>
                <a:cs typeface="+mn-cs"/>
              </a:rPr>
              <a:t>Enable customers to simply</a:t>
            </a:r>
            <a:r>
              <a:rPr lang="en-US" sz="1200" kern="1200" baseline="0" dirty="0" smtClean="0">
                <a:solidFill>
                  <a:schemeClr val="tx1"/>
                </a:solidFill>
                <a:effectLst/>
                <a:latin typeface="+mn-lt"/>
                <a:ea typeface="+mn-ea"/>
                <a:cs typeface="+mn-cs"/>
              </a:rPr>
              <a:t> t</a:t>
            </a:r>
            <a:r>
              <a:rPr lang="en-US" sz="1200" kern="1200" dirty="0" smtClean="0">
                <a:solidFill>
                  <a:schemeClr val="tx1"/>
                </a:solidFill>
                <a:effectLst/>
                <a:latin typeface="+mn-lt"/>
                <a:ea typeface="+mn-ea"/>
                <a:cs typeface="+mn-cs"/>
              </a:rPr>
              <a:t>ap their</a:t>
            </a:r>
            <a:r>
              <a:rPr lang="en-US" sz="1200" kern="1200" baseline="0" dirty="0" smtClean="0">
                <a:solidFill>
                  <a:schemeClr val="tx1"/>
                </a:solidFill>
                <a:effectLst/>
                <a:latin typeface="+mn-lt"/>
                <a:ea typeface="+mn-ea"/>
                <a:cs typeface="+mn-cs"/>
              </a:rPr>
              <a:t> smart</a:t>
            </a:r>
            <a:r>
              <a:rPr lang="en-US" sz="1200" kern="1200" dirty="0" smtClean="0">
                <a:solidFill>
                  <a:schemeClr val="tx1"/>
                </a:solidFill>
                <a:effectLst/>
                <a:latin typeface="+mn-lt"/>
                <a:ea typeface="+mn-ea"/>
                <a:cs typeface="+mn-cs"/>
              </a:rPr>
              <a:t> phone at the cash register to pay—and</a:t>
            </a:r>
            <a:r>
              <a:rPr lang="en-US" sz="1200" kern="1200" baseline="0" dirty="0" smtClean="0">
                <a:solidFill>
                  <a:schemeClr val="tx1"/>
                </a:solidFill>
                <a:effectLst/>
                <a:latin typeface="+mn-lt"/>
                <a:ea typeface="+mn-ea"/>
                <a:cs typeface="+mn-cs"/>
              </a:rPr>
              <a:t> be on their</a:t>
            </a:r>
            <a:r>
              <a:rPr lang="en-US" sz="1200" kern="1200" dirty="0" smtClean="0">
                <a:solidFill>
                  <a:schemeClr val="tx1"/>
                </a:solidFill>
                <a:effectLst/>
                <a:latin typeface="+mn-lt"/>
                <a:ea typeface="+mn-ea"/>
                <a:cs typeface="+mn-cs"/>
              </a:rPr>
              <a:t> way, excited to share about their recent shopping</a:t>
            </a:r>
            <a:r>
              <a:rPr lang="en-US" sz="1200" kern="1200" baseline="0" dirty="0" smtClean="0">
                <a:solidFill>
                  <a:schemeClr val="tx1"/>
                </a:solidFill>
                <a:effectLst/>
                <a:latin typeface="+mn-lt"/>
                <a:ea typeface="+mn-ea"/>
                <a:cs typeface="+mn-cs"/>
              </a:rPr>
              <a:t> success</a:t>
            </a:r>
            <a:r>
              <a:rPr lang="en-US" sz="1200" kern="1200" dirty="0" smtClean="0">
                <a:solidFill>
                  <a:schemeClr val="tx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smtClean="0"/>
              <a:t>Create a leading-edge solution based on Microsoft technologies, and you’ll realize the untapped potential of your business data, giving you the competitive edge that comes from providing the best in customer service. Enable</a:t>
            </a:r>
            <a:r>
              <a:rPr lang="en-US" baseline="0" dirty="0" smtClean="0"/>
              <a:t> a personal, seamless, and differentiated shopping experience.</a:t>
            </a: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200" kern="1200" dirty="0" smtClean="0">
              <a:solidFill>
                <a:schemeClr val="tx1"/>
              </a:solidFill>
              <a:effectLst/>
              <a:latin typeface="+mn-lt"/>
              <a:ea typeface="+mn-ea"/>
              <a:cs typeface="+mn-cs"/>
            </a:endParaRPr>
          </a:p>
          <a:p>
            <a:pPr marL="0" indent="0">
              <a:buFont typeface="+mj-lt"/>
              <a:buNone/>
            </a:pP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8269D8A-B09A-4BAD-8E2F-54EE9DD79BD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001219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accent2">
                    <a:lumMod val="50000"/>
                  </a:schemeClr>
                </a:solidFill>
              </a:rPr>
              <a:t>Speaker Notes: </a:t>
            </a:r>
          </a:p>
          <a:p>
            <a:r>
              <a:rPr lang="en-US" sz="1000" dirty="0" smtClean="0">
                <a:solidFill>
                  <a:schemeClr val="bg2">
                    <a:lumMod val="50000"/>
                  </a:schemeClr>
                </a:solidFill>
              </a:rPr>
              <a:t>Mention that this slide provides an at-a-glance overview of the query capabilities of the SA query language. As noted earlier while some/most of the operators are vanilla T-SQL capabilities there are some features specific to analysis of streaming data such as the Windowing Extensions, scaling functions, DATEDIFF etc. </a:t>
            </a:r>
          </a:p>
          <a:p>
            <a:r>
              <a:rPr lang="en-US" sz="1000" dirty="0" smtClean="0">
                <a:solidFill>
                  <a:schemeClr val="bg2">
                    <a:lumMod val="50000"/>
                  </a:schemeClr>
                </a:solidFill>
              </a:rPr>
              <a:t>The subsequent slides will go into these functions in greater detail.  </a:t>
            </a:r>
            <a:endParaRPr lang="en-US" sz="1000" dirty="0">
              <a:solidFill>
                <a:schemeClr val="bg2">
                  <a:lumMod val="50000"/>
                </a:schemeClr>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A7F64-4EB9-4A94-AE6B-5C7CBBAADEBB}"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84028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0576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4871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how again where is Storm in the Hadoop ecosystem and the whole point about us talking about Hadoop</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50327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lements/data</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9387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Ordered sequence of tuples (unbounded).  Big point here is that you may not be on the start of</a:t>
            </a:r>
            <a:r>
              <a:rPr lang="en-GB" baseline="0" dirty="0" smtClean="0"/>
              <a:t> the stream and it has no concept of an end either.  Standing data is just that, standing.  It sits there and you consume it.</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35817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pouts</a:t>
            </a:r>
            <a:r>
              <a:rPr lang="en-GB" baseline="0" dirty="0" smtClean="0"/>
              <a:t> are the sources of the data so logs, database, API.  They pour data into the topology.</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0497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y work with static data as well as streaming data</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59475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nalytical functions, Filters, Aggregations, join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27910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64110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Manufacturing Plant</a:t>
            </a:r>
          </a:p>
          <a:p>
            <a:pPr marL="171450" indent="-171450" rtl="0" fontAlgn="ctr">
              <a:buFont typeface="Arial" panose="020B0604020202020204" pitchFamily="34" charset="0"/>
              <a:buChar char="•"/>
            </a:pPr>
            <a:r>
              <a:rPr lang="en-US" sz="1200" b="0" kern="1200" baseline="0" dirty="0" smtClean="0">
                <a:solidFill>
                  <a:schemeClr val="tx1"/>
                </a:solidFill>
                <a:effectLst/>
                <a:latin typeface="+mn-lt"/>
                <a:ea typeface="+mn-ea"/>
                <a:cs typeface="+mn-cs"/>
              </a:rPr>
              <a:t>M</a:t>
            </a:r>
            <a:r>
              <a:rPr lang="en-US" sz="1200" kern="1200" dirty="0" smtClean="0">
                <a:solidFill>
                  <a:schemeClr val="tx1"/>
                </a:solidFill>
                <a:effectLst/>
                <a:latin typeface="+mn-lt"/>
                <a:ea typeface="+mn-ea"/>
                <a:cs typeface="+mn-cs"/>
              </a:rPr>
              <a:t>anage</a:t>
            </a:r>
            <a:r>
              <a:rPr lang="en-US" sz="1200" kern="1200" baseline="0" dirty="0" smtClean="0">
                <a:solidFill>
                  <a:schemeClr val="tx1"/>
                </a:solidFill>
                <a:effectLst/>
                <a:latin typeface="+mn-lt"/>
                <a:ea typeface="+mn-ea"/>
                <a:cs typeface="+mn-cs"/>
              </a:rPr>
              <a:t> data remotely from a centralized location and push updates and key notifications to the factory floor, making relevant information available to manufacturing employees.</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Monitor whether components are arriving at the plant floor as expected, and slow production if needed to reduce or eliminate excess work-in-process inventory</a:t>
            </a:r>
            <a:endParaRPr lang="en-US" sz="1200" kern="1200" dirty="0" smtClean="0">
              <a:solidFill>
                <a:schemeClr val="tx1"/>
              </a:solidFill>
              <a:effectLst/>
              <a:latin typeface="+mn-lt"/>
              <a:ea typeface="+mn-ea"/>
              <a:cs typeface="+mn-cs"/>
            </a:endParaRP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Predefine rules for equipment use and plant management (e.g. shut down production or equipment based on demand or environmental data), to optimize productivity and profitability</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Establish predictive maintenance schedules - with planned maintenance, cost of operations can be reduced and throughput can be increased</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Identify and correct quality issues – with IoT and the ability to perform Big Data analytics, manufacturers can increase the number of quality checks that are performed, collect more quality inspection data and analyze more data than ever before. This enables them to spot defect patterns, and correct them more quickly. This also enables manufacturers to create predictive algorithms so that times/places where quality issues may occur are identified ahead of time. (e.g. extra humid day might imply more likelihood of quality issues)</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Customer Site and Third-Party</a:t>
            </a:r>
            <a:r>
              <a:rPr lang="en-US" sz="1200" b="1" kern="1200" baseline="0" dirty="0" smtClean="0">
                <a:solidFill>
                  <a:schemeClr val="tx1"/>
                </a:solidFill>
                <a:effectLst/>
                <a:latin typeface="+mn-lt"/>
                <a:ea typeface="+mn-ea"/>
                <a:cs typeface="+mn-cs"/>
              </a:rPr>
              <a:t> Logistics</a:t>
            </a:r>
            <a:endParaRPr lang="en-US" sz="1200" b="1" kern="1200" dirty="0" smtClean="0">
              <a:solidFill>
                <a:schemeClr val="tx1"/>
              </a:solidFill>
              <a:effectLst/>
              <a:latin typeface="+mn-lt"/>
              <a:ea typeface="+mn-ea"/>
              <a:cs typeface="+mn-cs"/>
            </a:endParaRPr>
          </a:p>
          <a:p>
            <a:pPr marL="171450"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Continue to collect data from products once</a:t>
            </a:r>
            <a:r>
              <a:rPr lang="en-US" sz="1200" kern="1200" baseline="0" dirty="0" smtClean="0">
                <a:solidFill>
                  <a:schemeClr val="tx1"/>
                </a:solidFill>
                <a:effectLst/>
                <a:latin typeface="+mn-lt"/>
                <a:ea typeface="+mn-ea"/>
                <a:cs typeface="+mn-cs"/>
              </a:rPr>
              <a:t> they leave the factory floor (e.g. throughout the distribution process and once implemented into customer sites) to help drive predictive maintenance and inform product improvements </a:t>
            </a:r>
          </a:p>
          <a:p>
            <a:pPr marL="628650" lvl="1"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E.g. a water pump could send data indicating that it will break down in 2-3 weeks. An analyst at the customer’s OEM or service provider could determine whether the pump is in need of simple repairs, or whether it makes sense to refurbish it. The analyst could also identify a spare parts promotion that the customer could take advantage of so the customer is prepared for future maintenance needs</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Access more data than ever before and integrate with 3</a:t>
            </a:r>
            <a:r>
              <a:rPr lang="en-US" sz="1200" kern="1200" baseline="30000" dirty="0" smtClean="0">
                <a:solidFill>
                  <a:schemeClr val="tx1"/>
                </a:solidFill>
                <a:effectLst/>
                <a:latin typeface="+mn-lt"/>
                <a:ea typeface="+mn-ea"/>
                <a:cs typeface="+mn-cs"/>
              </a:rPr>
              <a:t>rd</a:t>
            </a:r>
            <a:r>
              <a:rPr lang="en-US" sz="1200" kern="1200" baseline="0" dirty="0" smtClean="0">
                <a:solidFill>
                  <a:schemeClr val="tx1"/>
                </a:solidFill>
                <a:effectLst/>
                <a:latin typeface="+mn-lt"/>
                <a:ea typeface="+mn-ea"/>
                <a:cs typeface="+mn-cs"/>
              </a:rPr>
              <a:t> party syndicated data to improve process and quality control (e.g. use data on regional weather patterns to determine locations where weather conditions will result in higher demand, or view data about fuel and other input prices to predict profit margins)</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Provide ‘single pane of glass’ visibility across all distribution/sales channels – this enables better inventory management and savings on logistics and distribution costs because the full channel would know would where products are, so redundancies can be reduced </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Global Operations</a:t>
            </a:r>
          </a:p>
          <a:p>
            <a:pPr marL="171450" indent="-171450">
              <a:buFont typeface="Arial" panose="020B0604020202020204" pitchFamily="34" charset="0"/>
              <a:buChar char="•"/>
            </a:pPr>
            <a:r>
              <a:rPr lang="en-US" sz="1200" b="0" kern="1200" baseline="0" dirty="0" smtClean="0">
                <a:solidFill>
                  <a:schemeClr val="tx1"/>
                </a:solidFill>
                <a:effectLst/>
                <a:latin typeface="+mn-lt"/>
                <a:ea typeface="+mn-ea"/>
                <a:cs typeface="+mn-cs"/>
              </a:rPr>
              <a:t>powerful BI tools – derive business insights from Big Data analytics</a:t>
            </a:r>
          </a:p>
          <a:p>
            <a:pPr marL="171450" indent="-171450">
              <a:buFont typeface="Arial" panose="020B0604020202020204" pitchFamily="34" charset="0"/>
              <a:buChar char="•"/>
            </a:pPr>
            <a:r>
              <a:rPr lang="en-US" sz="1200" b="0" kern="1200" baseline="0" dirty="0" smtClean="0">
                <a:solidFill>
                  <a:schemeClr val="tx1"/>
                </a:solidFill>
                <a:effectLst/>
                <a:latin typeface="+mn-lt"/>
                <a:ea typeface="+mn-ea"/>
                <a:cs typeface="+mn-cs"/>
              </a:rPr>
              <a:t>Make data available to the right individuals for a variety of purposes based on role, such as product development, facility and device servicing, or business and operations management</a:t>
            </a:r>
            <a:endParaRPr lang="en-US" b="1" baseline="0" dirty="0" smtClean="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8269D8A-B09A-4BAD-8E2F-54EE9DD79BD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5231550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dirty="0" smtClean="0"/>
              <a:t>Talking Points</a:t>
            </a:r>
          </a:p>
          <a:p>
            <a:pPr marL="0" indent="0">
              <a:buFont typeface="Arial" panose="020B0604020202020204" pitchFamily="34" charset="0"/>
              <a:buNone/>
            </a:pPr>
            <a:r>
              <a:rPr lang="en-US" baseline="0" dirty="0" smtClean="0"/>
              <a:t>Given our work with these types of customers, we’ve learned a lot. We’ve seen customers realize big benefits from using IoT to transform their businesses, but we’ve also learned that IoT projects can be complex:</a:t>
            </a:r>
          </a:p>
          <a:p>
            <a:pPr marL="171450" indent="-171450">
              <a:buFont typeface="Arial" panose="020B0604020202020204" pitchFamily="34" charset="0"/>
              <a:buChar char="•"/>
            </a:pPr>
            <a:r>
              <a:rPr lang="en-US" baseline="0" dirty="0" smtClean="0"/>
              <a:t>They can be long drawn out. It can take months to do a simple PoC.</a:t>
            </a:r>
          </a:p>
          <a:p>
            <a:pPr marL="171450" indent="-171450">
              <a:buFont typeface="Arial" panose="020B0604020202020204" pitchFamily="34" charset="0"/>
              <a:buChar char="•"/>
            </a:pPr>
            <a:r>
              <a:rPr lang="en-US" baseline="0" dirty="0" smtClean="0"/>
              <a:t>One of the hardest problems is that of scale.. When assets are spread all over the place.. Connecting to devices (thousands or millions), ingesting data from these devices and doing analysis is hard!</a:t>
            </a:r>
          </a:p>
          <a:p>
            <a:pPr marL="171450" indent="-171450">
              <a:buFont typeface="Arial" panose="020B0604020202020204" pitchFamily="34" charset="0"/>
              <a:buChar char="•"/>
            </a:pPr>
            <a:r>
              <a:rPr lang="en-US" baseline="0" dirty="0" smtClean="0"/>
              <a:t>Lastly, it’s no good to have an IoT solution if it can’t integrate it in your business systems. And some of these solutions can be hard to customize to fit business needs and established business processes. </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1" u="sng" baseline="0" dirty="0" smtClean="0"/>
              <a:t>Transition</a:t>
            </a:r>
          </a:p>
          <a:p>
            <a:pPr marL="0" indent="0">
              <a:buFont typeface="Arial" panose="020B0604020202020204" pitchFamily="34" charset="0"/>
              <a:buNone/>
            </a:pPr>
            <a:r>
              <a:rPr lang="en-US" b="0" u="none" baseline="0" dirty="0" smtClean="0"/>
              <a:t>So let’s show you how we’re solving for these typical obstacl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01100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smtClean="0"/>
              <a:t>Talking Points:</a:t>
            </a:r>
          </a:p>
          <a:p>
            <a:pPr marL="0" indent="0">
              <a:buFont typeface="Arial" panose="020B0604020202020204" pitchFamily="34" charset="0"/>
              <a:buNone/>
            </a:pPr>
            <a:r>
              <a:rPr lang="en-US" b="1" baseline="0" dirty="0" smtClean="0"/>
              <a:t> </a:t>
            </a:r>
            <a:r>
              <a:rPr lang="en-US" sz="1200" kern="1200" dirty="0" smtClean="0">
                <a:solidFill>
                  <a:schemeClr val="tx1"/>
                </a:solidFill>
                <a:effectLst/>
                <a:latin typeface="+mn-lt"/>
                <a:ea typeface="+mn-ea"/>
                <a:cs typeface="+mn-cs"/>
              </a:rPr>
              <a:t>With the Microsoft</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zure IoT Suite we give</a:t>
            </a:r>
            <a:r>
              <a:rPr lang="en-US" sz="1200" kern="1200" baseline="0" dirty="0" smtClean="0">
                <a:solidFill>
                  <a:schemeClr val="tx1"/>
                </a:solidFill>
                <a:effectLst/>
                <a:latin typeface="+mn-lt"/>
                <a:ea typeface="+mn-ea"/>
                <a:cs typeface="+mn-cs"/>
              </a:rPr>
              <a:t> you a very comprehensive solution that’s designed to help you connect your devices, whether a few hundred or millions across the world, analyze all the data coming from these devices and take action from the insights by integrating with your back end systems.  The Azure IoT Suite brings together and offer the following capabili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kern="1200" baseline="0" dirty="0" smtClean="0">
                <a:solidFill>
                  <a:schemeClr val="tx1"/>
                </a:solidFill>
                <a:effectLst/>
                <a:latin typeface="+mn-lt"/>
                <a:ea typeface="+mn-ea"/>
                <a:cs typeface="+mn-cs"/>
              </a:rPr>
              <a:t>Device connectivity and management: Connect to millions of devices simultaneously. E</a:t>
            </a:r>
            <a:r>
              <a:rPr lang="en-US" sz="1200" b="0" i="0" kern="1200" dirty="0" smtClean="0">
                <a:solidFill>
                  <a:schemeClr val="tx1"/>
                </a:solidFill>
                <a:effectLst/>
                <a:latin typeface="+mn-lt"/>
                <a:ea typeface="+mn-ea"/>
                <a:cs typeface="+mn-cs"/>
              </a:rPr>
              <a:t>nhance security of your IoT solutions by taking advantage of per-device authentication to communicate with devices that have the appropriate credentials. Revoke access rights to specific devices to maintain the integrity of your system.  </a:t>
            </a:r>
            <a:endParaRPr lang="en-US" sz="1200" b="0" kern="1200" baseline="0" dirty="0" smtClean="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kern="1200" baseline="0" dirty="0" smtClean="0">
                <a:solidFill>
                  <a:schemeClr val="tx1"/>
                </a:solidFill>
                <a:effectLst/>
                <a:latin typeface="+mn-lt"/>
                <a:ea typeface="+mn-ea"/>
                <a:cs typeface="+mn-cs"/>
              </a:rPr>
              <a:t>Data Ingestion &amp; Command &amp; Control: </a:t>
            </a:r>
            <a:r>
              <a:rPr lang="en-US" sz="1200" b="0" i="0" kern="1200" dirty="0" smtClean="0">
                <a:solidFill>
                  <a:schemeClr val="tx1"/>
                </a:solidFill>
                <a:effectLst/>
                <a:latin typeface="+mn-lt"/>
                <a:ea typeface="+mn-ea"/>
                <a:cs typeface="+mn-cs"/>
              </a:rPr>
              <a:t>Establish reliable, bi-directional communication with these assets, even if they are intermittently connected, and analyze—and act on—incoming telemetry data. </a:t>
            </a:r>
            <a:endParaRPr lang="en-US" sz="1200" b="0" kern="1200" baseline="0" dirty="0" smtClean="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kern="1200" baseline="0" dirty="0" smtClean="0">
                <a:solidFill>
                  <a:schemeClr val="tx1"/>
                </a:solidFill>
                <a:effectLst/>
                <a:latin typeface="+mn-lt"/>
                <a:ea typeface="+mn-ea"/>
                <a:cs typeface="+mn-cs"/>
              </a:rPr>
              <a:t>Workflow automation: </a:t>
            </a:r>
            <a:r>
              <a:rPr lang="en-US" sz="1200" kern="1200" dirty="0" smtClean="0">
                <a:solidFill>
                  <a:schemeClr val="tx1"/>
                </a:solidFill>
                <a:effectLst/>
                <a:latin typeface="+mn-lt"/>
                <a:ea typeface="+mn-ea"/>
                <a:cs typeface="+mn-cs"/>
              </a:rPr>
              <a:t>Integrates with your company’s existing back-end systems to enable you to make the best use of the data and processes you already have.</a:t>
            </a:r>
            <a:r>
              <a:rPr lang="en-US" sz="1200" kern="1200" baseline="0" dirty="0" smtClean="0">
                <a:solidFill>
                  <a:schemeClr val="tx1"/>
                </a:solidFill>
                <a:effectLst/>
                <a:latin typeface="+mn-lt"/>
                <a:ea typeface="+mn-ea"/>
                <a:cs typeface="+mn-cs"/>
              </a:rPr>
              <a:t> </a:t>
            </a:r>
            <a:r>
              <a:rPr lang="en-US" sz="1200" b="0" kern="1200" baseline="0" dirty="0" smtClean="0">
                <a:solidFill>
                  <a:schemeClr val="tx1"/>
                </a:solidFill>
                <a:effectLst/>
                <a:latin typeface="+mn-lt"/>
                <a:ea typeface="+mn-ea"/>
                <a:cs typeface="+mn-cs"/>
              </a:rPr>
              <a:t>Whether it’s as simple as sending a text or integrating with your CRM or ERP syst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kern="1200" baseline="0" dirty="0" smtClean="0">
                <a:solidFill>
                  <a:schemeClr val="tx1"/>
                </a:solidFill>
                <a:effectLst/>
                <a:latin typeface="+mn-lt"/>
                <a:ea typeface="+mn-ea"/>
                <a:cs typeface="+mn-cs"/>
              </a:rPr>
              <a:t>Dashboards &amp; Visualization: Create powerful and rich visualization experience and final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smtClean="0">
                <a:solidFill>
                  <a:schemeClr val="tx1"/>
                </a:solidFill>
                <a:effectLst/>
                <a:latin typeface="+mn-lt"/>
                <a:ea typeface="+mn-ea"/>
                <a:cs typeface="+mn-cs"/>
              </a:rPr>
              <a:t>Preconfigured solutions: One of the biggest value we can provide is helping you develop IoT solutions faster. This will not only allow you to do more </a:t>
            </a:r>
            <a:r>
              <a:rPr lang="en-US" sz="1200" kern="1200" baseline="0" dirty="0" err="1" smtClean="0">
                <a:solidFill>
                  <a:schemeClr val="tx1"/>
                </a:solidFill>
                <a:effectLst/>
                <a:latin typeface="+mn-lt"/>
                <a:ea typeface="+mn-ea"/>
                <a:cs typeface="+mn-cs"/>
              </a:rPr>
              <a:t>PoCs</a:t>
            </a:r>
            <a:r>
              <a:rPr lang="en-US" sz="1200" kern="1200" baseline="0" dirty="0" smtClean="0">
                <a:solidFill>
                  <a:schemeClr val="tx1"/>
                </a:solidFill>
                <a:effectLst/>
                <a:latin typeface="+mn-lt"/>
                <a:ea typeface="+mn-ea"/>
                <a:cs typeface="+mn-cs"/>
              </a:rPr>
              <a:t> and pilots, it will also help accelerate the long project cycles we spoke about earlier.  We do this by offering preconfigured solutions for the more common IoT scenarios.</a:t>
            </a:r>
          </a:p>
          <a:p>
            <a:pPr marL="0" indent="0">
              <a:buFont typeface="Arial" panose="020B0604020202020204" pitchFamily="34" charset="0"/>
              <a:buNone/>
            </a:pPr>
            <a:endParaRPr lang="en-US" sz="1200" b="0" kern="1200" baseline="0" dirty="0" smtClean="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b="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66271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dirty="0" smtClean="0"/>
              <a:t>Talking Point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Behind the demo you saw there’s a lot going on. We’re continuously spinning up IoT enabling services. Currently, there’s about 10 or so Azure services, we have connecting them all together for you.</a:t>
            </a:r>
          </a:p>
          <a:p>
            <a:pPr marL="0" indent="0">
              <a:buFont typeface="Arial" panose="020B0604020202020204" pitchFamily="34" charset="0"/>
              <a:buNone/>
            </a:pPr>
            <a:r>
              <a:rPr lang="en-US" baseline="0" dirty="0" smtClean="0"/>
              <a:t>What you get 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Strong architecture: </a:t>
            </a:r>
            <a:r>
              <a:rPr lang="en-US" sz="1200" kern="1200" dirty="0" smtClean="0">
                <a:solidFill>
                  <a:schemeClr val="tx1"/>
                </a:solidFill>
                <a:effectLst/>
                <a:latin typeface="+mn-lt"/>
                <a:ea typeface="+mn-ea"/>
                <a:cs typeface="+mn-cs"/>
              </a:rPr>
              <a:t>Fully </a:t>
            </a:r>
            <a:r>
              <a:rPr lang="en-US" sz="1200" kern="1200" dirty="0" err="1" smtClean="0">
                <a:solidFill>
                  <a:schemeClr val="tx1"/>
                </a:solidFill>
                <a:effectLst/>
                <a:latin typeface="+mn-lt"/>
                <a:ea typeface="+mn-ea"/>
                <a:cs typeface="+mn-cs"/>
              </a:rPr>
              <a:t>composable</a:t>
            </a:r>
            <a:r>
              <a:rPr lang="en-US" sz="1200" kern="1200" dirty="0" smtClean="0">
                <a:solidFill>
                  <a:schemeClr val="tx1"/>
                </a:solidFill>
                <a:effectLst/>
                <a:latin typeface="+mn-lt"/>
                <a:ea typeface="+mn-ea"/>
                <a:cs typeface="+mn-cs"/>
              </a:rPr>
              <a:t> and extensible architecture </a:t>
            </a:r>
            <a:endParaRPr lang="en-US" baseline="0" dirty="0" smtClean="0"/>
          </a:p>
          <a:p>
            <a:pPr marL="171450" indent="-171450">
              <a:buFont typeface="Arial" panose="020B0604020202020204" pitchFamily="34" charset="0"/>
              <a:buChar char="•"/>
            </a:pPr>
            <a:r>
              <a:rPr lang="en-US" baseline="0" dirty="0" smtClean="0"/>
              <a:t>Pre-build dashboard, rules and alarms engine</a:t>
            </a:r>
          </a:p>
          <a:p>
            <a:pPr marL="171450" indent="-171450">
              <a:buFont typeface="Arial" panose="020B0604020202020204" pitchFamily="34" charset="0"/>
              <a:buChar char="•"/>
            </a:pPr>
            <a:r>
              <a:rPr lang="en-US" sz="1200" kern="1200" dirty="0" smtClean="0">
                <a:solidFill>
                  <a:schemeClr val="tx1"/>
                </a:solidFill>
                <a:effectLst/>
                <a:latin typeface="+mn-lt"/>
                <a:ea typeface="+mn-ea"/>
                <a:cs typeface="+mn-cs"/>
              </a:rPr>
              <a:t>Device connectivity and management</a:t>
            </a:r>
            <a:endParaRPr lang="en-US" baseline="0" dirty="0" smtClean="0"/>
          </a:p>
          <a:p>
            <a:pPr marL="171450" indent="-171450">
              <a:buFont typeface="Arial" panose="020B0604020202020204" pitchFamily="34" charset="0"/>
              <a:buChar char="•"/>
            </a:pPr>
            <a:r>
              <a:rPr lang="en-US" baseline="0" dirty="0" smtClean="0"/>
              <a:t>Guidance on how you can tailor this architecture to your needs</a:t>
            </a:r>
          </a:p>
          <a:p>
            <a:pPr marL="0" indent="0">
              <a:buFont typeface="Arial" panose="020B0604020202020204" pitchFamily="34" charset="0"/>
              <a:buNone/>
            </a:pPr>
            <a:endParaRPr lang="en-US" baseline="0" dirty="0" smtClean="0"/>
          </a:p>
          <a:p>
            <a:pPr lvl="0"/>
            <a:r>
              <a:rPr lang="en-US" sz="1200" b="1" u="sng" kern="1200" dirty="0" smtClean="0">
                <a:solidFill>
                  <a:schemeClr val="tx1"/>
                </a:solidFill>
                <a:effectLst/>
                <a:latin typeface="+mn-lt"/>
                <a:ea typeface="+mn-ea"/>
                <a:cs typeface="+mn-cs"/>
              </a:rPr>
              <a:t>Transition:</a:t>
            </a:r>
          </a:p>
          <a:p>
            <a:pPr lvl="0"/>
            <a:r>
              <a:rPr lang="en-US" sz="1200" kern="1200" baseline="0" dirty="0" smtClean="0">
                <a:solidFill>
                  <a:schemeClr val="tx1"/>
                </a:solidFill>
                <a:effectLst/>
                <a:latin typeface="+mn-lt"/>
                <a:ea typeface="+mn-ea"/>
                <a:cs typeface="+mn-cs"/>
              </a:rPr>
              <a:t>This is a great starting point but we are also investing in our rich partner ecosystem to help you go further</a:t>
            </a: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80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Light" pitchFamily="34" charset="0"/>
                <a:ea typeface="+mn-ea"/>
                <a:cs typeface="+mn-cs"/>
              </a:rPr>
              <a:t>Key goal of slide: </a:t>
            </a:r>
          </a:p>
          <a:p>
            <a:pPr lvl="0"/>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IoT as you know is a hot area these days and there are a number of players that claim to be active in this space…. And they tend to focus on specific elements you see in this diagram. </a:t>
            </a:r>
          </a:p>
          <a:p>
            <a:pPr lvl="0"/>
            <a:r>
              <a:rPr lang="en-US" sz="1200" kern="1200" dirty="0" smtClean="0">
                <a:solidFill>
                  <a:schemeClr val="tx1"/>
                </a:solidFill>
                <a:effectLst/>
                <a:latin typeface="+mn-lt"/>
                <a:ea typeface="+mn-ea"/>
                <a:cs typeface="+mn-cs"/>
              </a:rPr>
              <a:t>Microsoft has the most comprehensive portfolio of cloud services that customers need to develop and deploy end-to-end IoT solutions.</a:t>
            </a:r>
          </a:p>
          <a:p>
            <a:pPr lvl="0"/>
            <a:r>
              <a:rPr lang="en-US" sz="1200" kern="1200" dirty="0" smtClean="0">
                <a:solidFill>
                  <a:schemeClr val="tx1"/>
                </a:solidFill>
                <a:effectLst/>
                <a:latin typeface="+mn-lt"/>
                <a:ea typeface="+mn-ea"/>
                <a:cs typeface="+mn-cs"/>
              </a:rPr>
              <a:t>Customers are adopting these services and are successfully deploying their solutions today (reference Rockwell, ThyssenKrupp)</a:t>
            </a:r>
          </a:p>
          <a:p>
            <a:pPr marL="0" marR="0" lvl="0" indent="0" algn="l" defTabSz="932195" rtl="0" eaLnBrk="1" fontAlgn="auto" latinLnBrk="0" hangingPunct="1">
              <a:lnSpc>
                <a:spcPct val="90000"/>
              </a:lnSpc>
              <a:spcBef>
                <a:spcPts val="0"/>
              </a:spcBef>
              <a:spcAft>
                <a:spcPts val="340"/>
              </a:spcAft>
              <a:buClrTx/>
              <a:buSzTx/>
              <a:buFontTx/>
              <a:buNone/>
              <a:tabLst/>
              <a:defRPr/>
            </a:pPr>
            <a:endParaRPr lang="en-US" sz="900" b="1"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s we think about Azure IoT services, Microsoft has the most comprehensive portfolio of cloud services that customers need to develop and deploy end-to-end IoT solutions</a:t>
            </a:r>
          </a:p>
          <a:p>
            <a:pPr marL="171450" indent="-171450">
              <a:buFont typeface="Arial" panose="020B0604020202020204" pitchFamily="34" charset="0"/>
              <a:buChar char="•"/>
            </a:pPr>
            <a:r>
              <a:rPr lang="en-US" dirty="0" smtClean="0"/>
              <a:t>Ranging from devices</a:t>
            </a:r>
            <a:r>
              <a:rPr lang="en-US" baseline="0" dirty="0" smtClean="0"/>
              <a:t> that produce data, to connecting them to the cloud storage, and driving analytics to gain valuable business insights that allows enterprises to take actions</a:t>
            </a:r>
          </a:p>
          <a:p>
            <a:pPr marL="171450" indent="-171450">
              <a:buFont typeface="Arial" panose="020B0604020202020204" pitchFamily="34" charset="0"/>
              <a:buChar char="•"/>
            </a:pPr>
            <a:endParaRPr lang="en-US" dirty="0" smtClean="0"/>
          </a:p>
          <a:p>
            <a:endParaRPr lang="en-US" sz="1224" b="1"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696CC6C-529C-4F42-8F7E-E1BE493CDDC2}" type="slidenum">
              <a:rPr kumimoji="0" lang="nl-NL"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nl-NL"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810974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75756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3514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CC9BA86-93E3-40D5-89E7-A48BCD507049}" type="slidenum">
              <a:rPr lang="en-GB" smtClean="0"/>
              <a:t>47</a:t>
            </a:fld>
            <a:endParaRPr lang="en-GB"/>
          </a:p>
        </p:txBody>
      </p:sp>
    </p:spTree>
    <p:extLst>
      <p:ext uri="{BB962C8B-B14F-4D97-AF65-F5344CB8AC3E}">
        <p14:creationId xmlns:p14="http://schemas.microsoft.com/office/powerpoint/2010/main" val="40934323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7A13B-69CE-442E-8080-FE802AA27D84}"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527769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7A13B-69CE-442E-8080-FE802AA27D84}"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6150548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7A13B-69CE-442E-8080-FE802AA27D84}"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885595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OE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Segoe UI" pitchFamily="34" charset="0"/>
                <a:ea typeface="+mn-ea"/>
                <a:cs typeface="+mn-cs"/>
              </a:rPr>
              <a:t>The manufacturing industry is going through a profound transformation in which manufacturers are shifting from delivering products to delivering ongoing business services across the entire lifecycle of product ownership. IoT</a:t>
            </a:r>
            <a:r>
              <a:rPr lang="en-US" sz="1200" kern="1200" baseline="0" dirty="0" smtClean="0">
                <a:solidFill>
                  <a:schemeClr val="tx1"/>
                </a:solidFill>
                <a:effectLst/>
                <a:latin typeface="Segoe UI" pitchFamily="34" charset="0"/>
                <a:ea typeface="+mn-ea"/>
                <a:cs typeface="+mn-cs"/>
              </a:rPr>
              <a:t> enables</a:t>
            </a:r>
            <a:r>
              <a:rPr lang="en-US" b="0" baseline="0" dirty="0" smtClean="0"/>
              <a:t> Auto OEMs to leverage data needed to improve services. Through the connected vehicle, </a:t>
            </a:r>
            <a:r>
              <a:rPr lang="en-US" sz="1200" b="0" kern="1200" dirty="0" smtClean="0">
                <a:solidFill>
                  <a:schemeClr val="tx1"/>
                </a:solidFill>
                <a:effectLst/>
                <a:latin typeface="+mn-lt"/>
                <a:ea typeface="+mn-ea"/>
                <a:cs typeface="+mn-cs"/>
              </a:rPr>
              <a:t>OEMs can now have an ongoing relationship with consumers, and dealers also have new ways to monetize connectivity with consumer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i="1" baseline="0" dirty="0" smtClean="0"/>
              <a:t>R&amp;D</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Data from IoT </a:t>
            </a:r>
            <a:r>
              <a:rPr lang="en-US" sz="1200" kern="1200" baseline="0" dirty="0" smtClean="0">
                <a:solidFill>
                  <a:schemeClr val="tx1"/>
                </a:solidFill>
                <a:effectLst/>
                <a:latin typeface="+mn-lt"/>
                <a:ea typeface="+mn-ea"/>
                <a:cs typeface="+mn-cs"/>
              </a:rPr>
              <a:t>helps to drive b</a:t>
            </a:r>
            <a:r>
              <a:rPr lang="en-US" sz="1200" kern="1200" dirty="0" smtClean="0">
                <a:solidFill>
                  <a:schemeClr val="tx1"/>
                </a:solidFill>
                <a:effectLst/>
                <a:latin typeface="+mn-lt"/>
                <a:ea typeface="+mn-ea"/>
                <a:cs typeface="+mn-cs"/>
              </a:rPr>
              <a:t>etter vehicle reliability, easier maintenance, and the ability to incrementally add new features that increase customer satisfac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Focus groups are great at providing an indicator of what new features are desirable in cars, but actual data that provides insights to actual use patterns is extremely valuable. IoT </a:t>
            </a:r>
            <a:r>
              <a:rPr lang="en-US" sz="1200" kern="1200" baseline="0" dirty="0" smtClean="0">
                <a:solidFill>
                  <a:schemeClr val="tx1"/>
                </a:solidFill>
                <a:effectLst/>
                <a:latin typeface="+mn-lt"/>
                <a:ea typeface="+mn-ea"/>
                <a:cs typeface="+mn-cs"/>
              </a:rPr>
              <a:t>provides the insight into what features customers really use and how often, so you can be smarter about your design and enhance your bottom lin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Remote vehicle</a:t>
            </a:r>
            <a:r>
              <a:rPr lang="en-US" sz="1200" kern="1200" baseline="0" dirty="0" smtClean="0">
                <a:solidFill>
                  <a:schemeClr val="tx1"/>
                </a:solidFill>
                <a:effectLst/>
                <a:latin typeface="+mn-lt"/>
                <a:ea typeface="+mn-ea"/>
                <a:cs typeface="+mn-cs"/>
              </a:rPr>
              <a:t> d</a:t>
            </a:r>
            <a:r>
              <a:rPr lang="en-US" sz="1200" kern="1200" dirty="0" smtClean="0">
                <a:solidFill>
                  <a:schemeClr val="tx1"/>
                </a:solidFill>
                <a:effectLst/>
                <a:latin typeface="+mn-lt"/>
                <a:ea typeface="+mn-ea"/>
                <a:cs typeface="+mn-cs"/>
              </a:rPr>
              <a:t>iagnostics</a:t>
            </a:r>
            <a:r>
              <a:rPr lang="en-US" sz="1200" kern="1200" baseline="0" dirty="0" smtClean="0">
                <a:solidFill>
                  <a:schemeClr val="tx1"/>
                </a:solidFill>
                <a:effectLst/>
                <a:latin typeface="+mn-lt"/>
                <a:ea typeface="+mn-ea"/>
                <a:cs typeface="+mn-cs"/>
              </a:rPr>
              <a:t> enabled by IoT then show</a:t>
            </a:r>
            <a:r>
              <a:rPr lang="en-US" sz="1200" kern="1200" dirty="0" smtClean="0">
                <a:solidFill>
                  <a:schemeClr val="tx1"/>
                </a:solidFill>
                <a:effectLst/>
                <a:latin typeface="+mn-lt"/>
                <a:ea typeface="+mn-ea"/>
                <a:cs typeface="+mn-cs"/>
              </a:rPr>
              <a:t> how various vehicle</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components perform in the field to</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inform your product planning efforts. By connecting vehicle telemetry data directly to your own service, you can also bypass the dealership so that you are no longer dependent on them</a:t>
            </a:r>
            <a:r>
              <a:rPr lang="en-US" sz="1200" kern="1200" baseline="0" dirty="0" smtClean="0">
                <a:solidFill>
                  <a:schemeClr val="tx1"/>
                </a:solidFill>
                <a:effectLst/>
                <a:latin typeface="+mn-lt"/>
                <a:ea typeface="+mn-ea"/>
                <a:cs typeface="+mn-cs"/>
              </a:rPr>
              <a:t>. Save time and money by reducing the need the study the products claimed as defective. </a:t>
            </a: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0" i="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i="1" baseline="0" dirty="0" smtClean="0"/>
              <a:t>Marketing</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Data plays an important role in sales and marketing. </a:t>
            </a:r>
            <a:r>
              <a:rPr lang="en-US" sz="1200" kern="1200" dirty="0" smtClean="0">
                <a:solidFill>
                  <a:schemeClr val="tx1"/>
                </a:solidFill>
                <a:effectLst/>
                <a:latin typeface="+mn-lt"/>
                <a:ea typeface="+mn-ea"/>
                <a:cs typeface="+mn-cs"/>
              </a:rPr>
              <a:t>Gain telemetry data to inform your marketing efforts – data such as what vehicles are being sold by geography and how</a:t>
            </a:r>
            <a:r>
              <a:rPr lang="en-US" sz="1200" kern="1200" baseline="0" dirty="0" smtClean="0">
                <a:solidFill>
                  <a:schemeClr val="tx1"/>
                </a:solidFill>
                <a:effectLst/>
                <a:latin typeface="+mn-lt"/>
                <a:ea typeface="+mn-ea"/>
                <a:cs typeface="+mn-cs"/>
              </a:rPr>
              <a:t> they are used in the field. </a:t>
            </a:r>
            <a:endParaRPr lang="en-US" sz="1200" b="1" kern="1200" baseline="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i="1" baseline="0" dirty="0" smtClean="0"/>
              <a:t>Brand loyalty</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With IoT, influence with every customer can continue throughout ownership of the vehicle – until they are back in to buy their next vehicle. If someone buys a car and has a good experience, the chances of him buying the same brand for his wife or kids or for is next car is high. Through the following services, we’ll see how you can provide differentiated experiences that drive brand loyalty.</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i="1" baseline="0" dirty="0" smtClean="0"/>
              <a:t>Connected consumer servic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s people spend more and more time on the road, they want the same communication and entertainment features they use at home and at work. Integrate people's digital lives with their cars,</a:t>
            </a:r>
            <a:r>
              <a:rPr lang="en-US" sz="1200" kern="1200" baseline="0" dirty="0" smtClean="0">
                <a:solidFill>
                  <a:schemeClr val="tx1"/>
                </a:solidFill>
                <a:effectLst/>
                <a:latin typeface="+mn-lt"/>
                <a:ea typeface="+mn-ea"/>
                <a:cs typeface="+mn-cs"/>
              </a:rPr>
              <a:t> c</a:t>
            </a:r>
            <a:r>
              <a:rPr lang="en-US" sz="1200" kern="1200" dirty="0" smtClean="0">
                <a:solidFill>
                  <a:schemeClr val="tx1"/>
                </a:solidFill>
                <a:effectLst/>
                <a:latin typeface="+mn-lt"/>
                <a:ea typeface="+mn-ea"/>
                <a:cs typeface="+mn-cs"/>
              </a:rPr>
              <a:t>onnecting drivers to all sorts of services and devices wherever they go. Vehicle diagnostic and navigation data, traffic information, fuel costs, and points-of-interest information can all be delivered in a user-friendly way while consumers drive. </a:t>
            </a:r>
            <a:r>
              <a:rPr lang="en-US" sz="1200" dirty="0" smtClean="0">
                <a:solidFill>
                  <a:srgbClr val="505050"/>
                </a:solidFill>
                <a:cs typeface="Segoe UI" pitchFamily="34" charset="0"/>
              </a:rPr>
              <a:t/>
            </a:r>
            <a:br>
              <a:rPr lang="en-US" sz="1200" dirty="0" smtClean="0">
                <a:solidFill>
                  <a:srgbClr val="505050"/>
                </a:solidFill>
                <a:cs typeface="Segoe UI" pitchFamily="34" charset="0"/>
              </a:rPr>
            </a:br>
            <a:endParaRPr lang="en-US" sz="1200" dirty="0" smtClean="0">
              <a:solidFill>
                <a:srgbClr val="505050"/>
              </a:solidFill>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1" baseline="0" dirty="0" smtClean="0">
                <a:solidFill>
                  <a:srgbClr val="505050"/>
                </a:solidFill>
                <a:cs typeface="Segoe UI" pitchFamily="34" charset="0"/>
              </a:rPr>
              <a:t>Pay-as-you-go insuranc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Customer</a:t>
            </a:r>
            <a:r>
              <a:rPr lang="en-US" sz="1200" kern="1200" baseline="0" dirty="0" smtClean="0">
                <a:solidFill>
                  <a:schemeClr val="tx1"/>
                </a:solidFill>
                <a:effectLst/>
                <a:latin typeface="+mn-lt"/>
                <a:ea typeface="+mn-ea"/>
                <a:cs typeface="+mn-cs"/>
              </a:rPr>
              <a:t>s can </a:t>
            </a:r>
            <a:r>
              <a:rPr lang="en-US" sz="1200" kern="1200" dirty="0" smtClean="0">
                <a:solidFill>
                  <a:schemeClr val="tx1"/>
                </a:solidFill>
                <a:effectLst/>
                <a:latin typeface="+mn-lt"/>
                <a:ea typeface="+mn-ea"/>
                <a:cs typeface="+mn-cs"/>
              </a:rPr>
              <a:t>sign up for new services like pay-as-you-go insurance to reduce cost,</a:t>
            </a:r>
            <a:r>
              <a:rPr lang="en-US" sz="1200" kern="1200" baseline="0" dirty="0" smtClean="0">
                <a:solidFill>
                  <a:schemeClr val="tx1"/>
                </a:solidFill>
                <a:effectLst/>
                <a:latin typeface="+mn-lt"/>
                <a:ea typeface="+mn-ea"/>
                <a:cs typeface="+mn-cs"/>
              </a:rPr>
              <a:t> or they can take advantage of location-based services.</a:t>
            </a:r>
            <a:endParaRPr lang="en-US" sz="1200" b="1" baseline="0" dirty="0" smtClean="0">
              <a:solidFill>
                <a:srgbClr val="505050"/>
              </a:solidFill>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i="1" baseline="0" dirty="0" smtClean="0"/>
              <a:t>Conditional maintenanc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hey can also</a:t>
            </a:r>
            <a:r>
              <a:rPr lang="en-US" sz="1200" kern="1200" baseline="0" dirty="0" smtClean="0">
                <a:solidFill>
                  <a:schemeClr val="tx1"/>
                </a:solidFill>
                <a:effectLst/>
                <a:latin typeface="+mn-lt"/>
                <a:ea typeface="+mn-ea"/>
                <a:cs typeface="+mn-cs"/>
              </a:rPr>
              <a:t> receive proactive alerts when maintenance or repairs are needed. </a:t>
            </a:r>
            <a:r>
              <a:rPr lang="en-US" sz="1200" kern="1200" dirty="0" smtClean="0">
                <a:solidFill>
                  <a:schemeClr val="tx1"/>
                </a:solidFill>
                <a:effectLst/>
                <a:latin typeface="+mn-lt"/>
                <a:ea typeface="+mn-ea"/>
                <a:cs typeface="+mn-cs"/>
              </a:rPr>
              <a:t>Our goal is to improve the driving experience with more information. Imagine someone is driving down the road with their kids and the check-engine light comes on – and worry sets in. You have</a:t>
            </a:r>
            <a:r>
              <a:rPr lang="en-US" sz="1200" kern="1200" baseline="0" dirty="0" smtClean="0">
                <a:solidFill>
                  <a:schemeClr val="tx1"/>
                </a:solidFill>
                <a:effectLst/>
                <a:latin typeface="+mn-lt"/>
                <a:ea typeface="+mn-ea"/>
                <a:cs typeface="+mn-cs"/>
              </a:rPr>
              <a:t> the o</a:t>
            </a:r>
            <a:r>
              <a:rPr lang="en-US" sz="1200" dirty="0" smtClean="0">
                <a:solidFill>
                  <a:srgbClr val="505050"/>
                </a:solidFill>
                <a:cs typeface="Segoe UI" pitchFamily="34" charset="0"/>
              </a:rPr>
              <a:t>pportunity to engage</a:t>
            </a:r>
            <a:r>
              <a:rPr lang="en-US" sz="1200" baseline="0" dirty="0" smtClean="0">
                <a:solidFill>
                  <a:srgbClr val="505050"/>
                </a:solidFill>
                <a:cs typeface="Segoe UI" pitchFamily="34" charset="0"/>
              </a:rPr>
              <a:t> customers</a:t>
            </a:r>
            <a:r>
              <a:rPr lang="en-US" sz="1200" dirty="0" smtClean="0">
                <a:solidFill>
                  <a:srgbClr val="505050"/>
                </a:solidFill>
                <a:cs typeface="Segoe UI" pitchFamily="34" charset="0"/>
              </a:rPr>
              <a:t> and deliver rich context</a:t>
            </a:r>
            <a:r>
              <a:rPr lang="en-US" sz="1200" baseline="0" dirty="0" smtClean="0">
                <a:solidFill>
                  <a:srgbClr val="505050"/>
                </a:solidFill>
                <a:cs typeface="Segoe UI" pitchFamily="34" charset="0"/>
              </a:rPr>
              <a:t> – and </a:t>
            </a:r>
            <a:r>
              <a:rPr lang="en-US" sz="1200" kern="1200" dirty="0" smtClean="0">
                <a:solidFill>
                  <a:schemeClr val="tx1"/>
                </a:solidFill>
                <a:effectLst/>
                <a:latin typeface="+mn-lt"/>
                <a:ea typeface="+mn-ea"/>
                <a:cs typeface="+mn-cs"/>
              </a:rPr>
              <a:t>explain to the driver what the light means. The system can be automatically connected to a dealership reservation service to make an appointment for the driver. Through this connected service, the customer will feel safe and will trust your brand. These</a:t>
            </a:r>
            <a:r>
              <a:rPr lang="en-US" sz="1200" kern="1200" baseline="0" dirty="0" smtClean="0">
                <a:solidFill>
                  <a:schemeClr val="tx1"/>
                </a:solidFill>
                <a:effectLst/>
                <a:latin typeface="+mn-lt"/>
                <a:ea typeface="+mn-ea"/>
                <a:cs typeface="+mn-cs"/>
              </a:rPr>
              <a:t> connected e</a:t>
            </a:r>
            <a:r>
              <a:rPr lang="en-US" sz="1200" kern="1200" dirty="0" smtClean="0">
                <a:solidFill>
                  <a:schemeClr val="tx1"/>
                </a:solidFill>
                <a:effectLst/>
                <a:latin typeface="+mn-lt"/>
                <a:ea typeface="+mn-ea"/>
                <a:cs typeface="+mn-cs"/>
              </a:rPr>
              <a:t>xperiences drive brand loyalty. </a:t>
            </a:r>
            <a:endParaRPr lang="en-US" sz="1200" dirty="0" smtClean="0">
              <a:solidFill>
                <a:srgbClr val="505050"/>
              </a:solidFill>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i="1" baseline="0" dirty="0" smtClean="0"/>
              <a:t>Extended warrantie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Offer an extended warranty based</a:t>
            </a:r>
            <a:r>
              <a:rPr lang="en-US" sz="1200" kern="1200" baseline="0" dirty="0" smtClean="0">
                <a:solidFill>
                  <a:schemeClr val="tx1"/>
                </a:solidFill>
                <a:effectLst/>
                <a:latin typeface="+mn-lt"/>
                <a:ea typeface="+mn-ea"/>
                <a:cs typeface="+mn-cs"/>
              </a:rPr>
              <a:t> on actual vehicle usage data a year or two following the vehicle purchase, when the customer may also be more receptive to the thought of an extended warranty. IoT can also aid r</a:t>
            </a:r>
            <a:r>
              <a:rPr lang="en-US" b="0" baseline="0" dirty="0" smtClean="0"/>
              <a:t>ecall management by helping to track the vehicles involved. </a:t>
            </a:r>
            <a:endParaRPr lang="en-US"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DEALERSHIP</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After the initial warranty period has ended, dealerships often capture less than 20% of the vehicle repair business – which represents a huge opportunity. Provide value to dealerships by sharing data they can monetize – the data that enables them to maintain customer relationships and bring more vehicles back for services. As we’ve mentioned, with vehicle telemetry data, dealerships can send customers alerts regarding conditional or preventive maintenance needs and prompt the customer to take action. They can schedule an appointment directly through the car. They can also advertise promotions, such as offering discounted services during slow business times. Overall, this will help drive customers</a:t>
            </a:r>
            <a:r>
              <a:rPr lang="en-US" sz="1200" kern="1200" dirty="0" smtClean="0">
                <a:solidFill>
                  <a:schemeClr val="tx1"/>
                </a:solidFill>
                <a:effectLst/>
                <a:latin typeface="+mn-lt"/>
                <a:ea typeface="+mn-ea"/>
                <a:cs typeface="+mn-cs"/>
              </a:rPr>
              <a:t> back to the dealership when</a:t>
            </a:r>
            <a:r>
              <a:rPr lang="en-US" sz="1200" kern="1200" baseline="0" dirty="0" smtClean="0">
                <a:solidFill>
                  <a:schemeClr val="tx1"/>
                </a:solidFill>
                <a:effectLst/>
                <a:latin typeface="+mn-lt"/>
                <a:ea typeface="+mn-ea"/>
                <a:cs typeface="+mn-cs"/>
              </a:rPr>
              <a:t> they need service, or</a:t>
            </a:r>
            <a:r>
              <a:rPr lang="en-US" sz="1200" kern="1200" dirty="0" smtClean="0">
                <a:solidFill>
                  <a:schemeClr val="tx1"/>
                </a:solidFill>
                <a:effectLst/>
                <a:latin typeface="+mn-lt"/>
                <a:ea typeface="+mn-ea"/>
                <a:cs typeface="+mn-cs"/>
              </a:rPr>
              <a:t> when they need a new car, or their kid needs a car, because they've had good experienc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THIRD PARTY SERVICES</a:t>
            </a:r>
          </a:p>
          <a:p>
            <a:r>
              <a:rPr lang="en-US" b="0" baseline="0" dirty="0" smtClean="0"/>
              <a:t>Third party services like insurance providers and smart vehicle charging networks can also benefit from the data collected from connected vehicles. For example, with the right permissions, insurance companies can offer customers deals on pay-as-you-go or driver behavior-based policies. Additional third party services may include navigation, weather, trip planning, location-based and targeted ads, and safety and emergency service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8269D8A-B09A-4BAD-8E2F-54EE9DD79BD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8997287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7A13B-69CE-442E-8080-FE802AA27D84}"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783496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7A13B-69CE-442E-8080-FE802AA27D84}"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2336728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7A13B-69CE-442E-8080-FE802AA27D84}"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415958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Microsoft</a:t>
            </a:r>
            <a:r>
              <a:rPr lang="en-US" sz="1200" kern="1200" baseline="0" dirty="0" smtClean="0">
                <a:solidFill>
                  <a:schemeClr val="tx1"/>
                </a:solidFill>
                <a:effectLst/>
                <a:latin typeface="+mn-lt"/>
                <a:ea typeface="+mn-ea"/>
                <a:cs typeface="+mn-cs"/>
              </a:rPr>
              <a:t> Azure services for IoT</a:t>
            </a:r>
            <a:r>
              <a:rPr lang="en-US" sz="1200" kern="1200" dirty="0" smtClean="0">
                <a:solidFill>
                  <a:schemeClr val="tx1"/>
                </a:solidFill>
                <a:effectLst/>
                <a:latin typeface="+mn-lt"/>
                <a:ea typeface="+mn-ea"/>
                <a:cs typeface="+mn-cs"/>
              </a:rPr>
              <a:t>, </a:t>
            </a:r>
            <a:r>
              <a:rPr lang="en-US" baseline="0" dirty="0" smtClean="0"/>
              <a:t>can help transform public sector transportation systems—by </a:t>
            </a:r>
            <a:r>
              <a:rPr lang="en-US" dirty="0" smtClean="0"/>
              <a:t>automating manual processes, spotting equipment issues before they cause service disruptions, a</a:t>
            </a:r>
            <a:r>
              <a:rPr lang="en-US" sz="1200" kern="1200" dirty="0" smtClean="0">
                <a:solidFill>
                  <a:schemeClr val="tx1"/>
                </a:solidFill>
                <a:effectLst/>
                <a:latin typeface="+mn-lt"/>
                <a:ea typeface="+mn-ea"/>
                <a:cs typeface="+mn-cs"/>
              </a:rPr>
              <a:t>nalyzing operational data to improve business decision-making, fuel economy,</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citizen satisfaction, productivity</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nd more.</a:t>
            </a:r>
            <a:endParaRPr lang="en-US"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following </a:t>
            </a:r>
            <a:r>
              <a:rPr lang="en-US" dirty="0" smtClean="0"/>
              <a:t>are just a few quick examples to</a:t>
            </a:r>
            <a:r>
              <a:rPr lang="en-US" baseline="0" dirty="0" smtClean="0"/>
              <a:t> get you thinking.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i="1" dirty="0" smtClean="0"/>
              <a:t>City</a:t>
            </a:r>
            <a:r>
              <a:rPr lang="en-US" b="1" i="1" baseline="0" dirty="0" smtClean="0"/>
              <a:t> Manager</a:t>
            </a:r>
            <a:endParaRPr lang="en-US" b="1" i="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n IoT</a:t>
            </a:r>
            <a:r>
              <a:rPr lang="en-US" baseline="0" dirty="0" smtClean="0"/>
              <a:t> solution </a:t>
            </a:r>
            <a:r>
              <a:rPr lang="en-US" dirty="0" smtClean="0"/>
              <a:t>can help you offer more seamless transit services to achieve outcomes such as boosting economic growth and improving urban quality of life. This includes</a:t>
            </a:r>
            <a:r>
              <a:rPr lang="en-US" baseline="0" dirty="0" smtClean="0"/>
              <a:t> increased environmental awareness for cleaner air and a smaller carbon footprint. </a:t>
            </a:r>
            <a:r>
              <a:rPr lang="en-US" i="1" baseline="0" dirty="0" smtClean="0"/>
              <a:t>(See the Water vertical graphic for more information on water and energy conservation.)</a:t>
            </a: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Key</a:t>
            </a:r>
            <a:r>
              <a:rPr lang="en-US" baseline="0" dirty="0" smtClean="0"/>
              <a:t> solution areas covered here apply to tolling systems, city-owned parking, and public transportation.</a:t>
            </a: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duce congestion and</a:t>
            </a:r>
            <a:r>
              <a:rPr lang="en-US" b="1" baseline="0" dirty="0" smtClean="0"/>
              <a:t> increase revenue through automated tolling systems</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One way to reduce congestion, pollution, vehicle dependence, and lost productivity is through secure automated tolling systems with visual recognition of license plates and incentivized off-peak travel. With IoT, you can implement dynamic pricing based on time of day, season, vehicle type and other factor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You can also optimize signal timing for smoother flowing traffic throughout the city by analyzing traffic patterns by signal location, time of day, proximity to busy parking outlets, etc. Or better manage factors such as the logistics of inbound freight—for example, providing incentive or regulation to minimize the stopping or double parking of delivery trucks during congested timeframes.</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Alleviate the hassle</a:t>
            </a:r>
            <a:r>
              <a:rPr lang="en-US" b="1" baseline="0" dirty="0" smtClean="0"/>
              <a:t> of city parking</a:t>
            </a:r>
          </a:p>
          <a:p>
            <a:pPr marR="0" indent="0" fontAlgn="auto">
              <a:lnSpc>
                <a:spcPct val="100000"/>
              </a:lnSpc>
              <a:spcBef>
                <a:spcPts val="0"/>
              </a:spcBef>
              <a:spcAft>
                <a:spcPts val="0"/>
              </a:spcAft>
              <a:buClrTx/>
              <a:buSzTx/>
              <a:buFontTx/>
              <a:buNone/>
              <a:tabLst/>
              <a:defRPr/>
            </a:pPr>
            <a:r>
              <a:rPr lang="en-US" dirty="0" smtClean="0"/>
              <a:t>IoT </a:t>
            </a:r>
            <a:r>
              <a:rPr lang="en-US" baseline="0" dirty="0" smtClean="0"/>
              <a:t>can provide a more modern and efficient system for managing city-owned parking – helping you solve the problem of undisciplined drivers,</a:t>
            </a:r>
            <a:r>
              <a:rPr lang="en-US" dirty="0" smtClean="0"/>
              <a:t> increase revenue from parking charges, reduce traffic congestion and improve air</a:t>
            </a:r>
            <a:r>
              <a:rPr lang="en-US" baseline="0" dirty="0" smtClean="0"/>
              <a:t> quality, </a:t>
            </a:r>
            <a:r>
              <a:rPr lang="en-US" dirty="0" smtClean="0"/>
              <a:t>reduce time to wait for parking, and improve citizen satisfaction. </a:t>
            </a:r>
          </a:p>
          <a:p>
            <a:pPr marR="0" indent="0" fontAlgn="auto">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oT</a:t>
            </a:r>
            <a:r>
              <a:rPr lang="en-US" baseline="0" dirty="0" smtClean="0"/>
              <a:t> </a:t>
            </a:r>
            <a:r>
              <a:rPr lang="en-US" dirty="0" smtClean="0"/>
              <a:t>can reduce </a:t>
            </a:r>
            <a:r>
              <a:rPr lang="en-US" baseline="0" dirty="0" smtClean="0"/>
              <a:t>the time citizens spend finding an open parking space </a:t>
            </a:r>
            <a:r>
              <a:rPr lang="en-US" dirty="0" smtClean="0"/>
              <a:t>by providing an</a:t>
            </a:r>
            <a:r>
              <a:rPr lang="en-US" baseline="0" dirty="0" smtClean="0"/>
              <a:t> easy </a:t>
            </a:r>
            <a:r>
              <a:rPr lang="en-US" dirty="0" smtClean="0"/>
              <a:t>view of city-owned parking availability.</a:t>
            </a:r>
            <a:r>
              <a:rPr lang="en-US" baseline="0" dirty="0" smtClean="0"/>
              <a:t> Increase the ease and accuracy of payment with secure </a:t>
            </a:r>
            <a:r>
              <a:rPr lang="en-US" dirty="0" smtClean="0"/>
              <a:t>automatic device payment systems,</a:t>
            </a:r>
            <a:r>
              <a:rPr lang="en-US" baseline="0" dirty="0" smtClean="0"/>
              <a:t> and i</a:t>
            </a:r>
            <a:r>
              <a:rPr lang="en-US" dirty="0" smtClean="0"/>
              <a:t>ncrease revenue by implementing dynamic parking rates based on time of day, season, special events, location, or other factors. You can</a:t>
            </a:r>
            <a:r>
              <a:rPr lang="en-US" baseline="0" dirty="0" smtClean="0"/>
              <a:t> also </a:t>
            </a:r>
            <a:r>
              <a:rPr lang="en-US" dirty="0" smtClean="0"/>
              <a:t>charge for the exact time of use instead of in intervals. Enable control officers to access the system at any time to check on the status of any parked vehicle,</a:t>
            </a:r>
            <a:r>
              <a:rPr lang="en-US" baseline="0" dirty="0" smtClean="0"/>
              <a:t> and v</a:t>
            </a:r>
            <a:r>
              <a:rPr lang="en-US" dirty="0" smtClean="0"/>
              <a:t>iew all of the data relevant to proper management.</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implifying the parking experience is one of the many consumer-oriented experiences that have to do with how citizens manage their personal vehicles. For example, </a:t>
            </a:r>
            <a:r>
              <a:rPr lang="en-US" baseline="0" dirty="0" smtClean="0"/>
              <a:t>r</a:t>
            </a:r>
            <a:r>
              <a:rPr lang="en-US" dirty="0" smtClean="0"/>
              <a:t>ide sharing is another topic</a:t>
            </a:r>
            <a:r>
              <a:rPr lang="en-US" baseline="0" dirty="0" smtClean="0"/>
              <a:t> in this category with potential for IoT implementation</a:t>
            </a:r>
            <a:r>
              <a:rPr lang="en-US" dirty="0" smtClean="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i="1" dirty="0" smtClean="0"/>
              <a:t>Fleet Manager</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Gain a nuanced understanding of fleet operations across the city, across all vehicles and</a:t>
            </a:r>
            <a:r>
              <a:rPr lang="en-US" sz="1200" kern="1200" baseline="0" dirty="0" smtClean="0">
                <a:solidFill>
                  <a:schemeClr val="tx1"/>
                </a:solidFill>
                <a:effectLst/>
                <a:latin typeface="+mn-lt"/>
                <a:ea typeface="+mn-ea"/>
                <a:cs typeface="+mn-cs"/>
              </a:rPr>
              <a:t> routes</a:t>
            </a:r>
            <a:r>
              <a:rPr lang="en-US" sz="1200" kern="1200" dirty="0" smtClean="0">
                <a:solidFill>
                  <a:schemeClr val="tx1"/>
                </a:solidFill>
                <a:effectLst/>
                <a:latin typeface="+mn-lt"/>
                <a:ea typeface="+mn-ea"/>
                <a:cs typeface="+mn-cs"/>
              </a:rPr>
              <a:t>, and over time—and keep more vehicles in service. IoT </a:t>
            </a:r>
            <a:r>
              <a:rPr lang="en-US" sz="1200" kern="1200" baseline="0" dirty="0" smtClean="0">
                <a:solidFill>
                  <a:schemeClr val="tx1"/>
                </a:solidFill>
                <a:effectLst/>
                <a:latin typeface="+mn-lt"/>
                <a:ea typeface="+mn-ea"/>
                <a:cs typeface="+mn-cs"/>
              </a:rPr>
              <a:t>data enables</a:t>
            </a:r>
            <a:r>
              <a:rPr lang="en-US" sz="1200" kern="1200" dirty="0" smtClean="0">
                <a:solidFill>
                  <a:schemeClr val="tx1"/>
                </a:solidFill>
                <a:effectLst/>
                <a:latin typeface="+mn-lt"/>
                <a:ea typeface="+mn-ea"/>
                <a:cs typeface="+mn-cs"/>
              </a:rPr>
              <a:t> a visualization of operational performance by a single driver or across the system. Map your</a:t>
            </a:r>
            <a:r>
              <a:rPr lang="en-US" sz="1200" kern="1200" baseline="0" dirty="0" smtClean="0">
                <a:solidFill>
                  <a:schemeClr val="tx1"/>
                </a:solidFill>
                <a:effectLst/>
                <a:latin typeface="+mn-lt"/>
                <a:ea typeface="+mn-ea"/>
                <a:cs typeface="+mn-cs"/>
              </a:rPr>
              <a:t> data </a:t>
            </a:r>
            <a:r>
              <a:rPr lang="en-US" sz="1200" kern="1200" dirty="0" smtClean="0">
                <a:solidFill>
                  <a:schemeClr val="tx1"/>
                </a:solidFill>
                <a:effectLst/>
                <a:latin typeface="+mn-lt"/>
                <a:ea typeface="+mn-ea"/>
                <a:cs typeface="+mn-cs"/>
              </a:rPr>
              <a:t>to see which routes experience the most delays and breakdowns and to associate data on individual driver performance with specific traffic incidents or customer feedback. For example, determine whether a bus was in motion or whether the driver was braking at the time of a collision. Supervisors can bring map data into conversations with drivers, making it easier to review performance and outline steps for improvement. Power Map visualizations also enable executives to more quickly understand the factors that contribute to cost or performance issues and make more informed long-term decisions.</a:t>
            </a:r>
            <a:r>
              <a:rPr lang="en-US" sz="1200" kern="1200" baseline="0" dirty="0" smtClean="0">
                <a:solidFill>
                  <a:schemeClr val="tx1"/>
                </a:solidFill>
                <a:effectLst/>
                <a:latin typeface="+mn-lt"/>
                <a:ea typeface="+mn-ea"/>
                <a:cs typeface="+mn-cs"/>
              </a:rPr>
              <a:t> </a:t>
            </a:r>
            <a:r>
              <a:rPr lang="en-US" baseline="0" dirty="0" smtClean="0"/>
              <a:t>You can also improve vehicle fuel efficiency by using sensor data to identify machine malfunct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Increase transit utilization</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Identify public transportation routes requiring more frequent vehicles to reduce overcrowding, improve citizen satisfaction and increase revenue. Identify routes that need to scale back, perhaps at certain times of the day, to reduce unnecessary spending and emissions. </a:t>
            </a:r>
            <a:r>
              <a:rPr lang="en-US" b="1" i="1" baseline="0" dirty="0" smtClean="0"/>
              <a:t>(</a:t>
            </a:r>
            <a:r>
              <a:rPr lang="en-US" b="1" i="1" dirty="0" smtClean="0"/>
              <a:t>Citizen) </a:t>
            </a:r>
            <a:r>
              <a:rPr lang="en-US" b="0" i="0" dirty="0" smtClean="0"/>
              <a:t>Provide</a:t>
            </a:r>
            <a:r>
              <a:rPr lang="en-US" b="0" i="0" baseline="0" dirty="0" smtClean="0"/>
              <a:t> citizens with a better public transit experience—for example, supply transit information on digital signs and to citizens’ mobile devices.</a:t>
            </a: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Centrally</a:t>
            </a:r>
            <a:r>
              <a:rPr lang="en-US" b="1" baseline="0" dirty="0" smtClean="0"/>
              <a:t> manage all station/airport asset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Modernize the systems that securely monitor, manage and automate your things, everything from escalators, elevators, and HVAC controls to closed-circuit video and communication systems. Connected security networks and personnel</a:t>
            </a:r>
            <a:r>
              <a:rPr lang="en-US" baseline="0" dirty="0" smtClean="0"/>
              <a:t> heighten security visibility to save more lives.</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ata from sensors and intelligent edge devices — to closely monitor temperature, vibration, humidity, fault warnings and system alerts — are all available in one central location to provide access to needed information on mobile apps, via a Web browser or through text ale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Streamline airport operations with IoT. Equip ground crews with advanced information sharing for faster plane turnaround. Integrate sensor, weather, and other data, and use machine learning for more accurate plane arrival predictions that could translate to millions on cost savings and greater customer satisfac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ave money on maintenance cost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Reduce</a:t>
            </a:r>
            <a:r>
              <a:rPr lang="en-US" baseline="0" dirty="0" smtClean="0"/>
              <a:t> the costs of equipment downtown and p</a:t>
            </a:r>
            <a:r>
              <a:rPr lang="en-US" dirty="0" smtClean="0"/>
              <a:t>rovide</a:t>
            </a:r>
            <a:r>
              <a:rPr lang="en-US" baseline="0" dirty="0" smtClean="0"/>
              <a:t> an advanced f</a:t>
            </a:r>
            <a:r>
              <a:rPr lang="en-US" dirty="0" smtClean="0"/>
              <a:t>ield maintenance</a:t>
            </a:r>
            <a:r>
              <a:rPr lang="en-US" baseline="0" dirty="0" smtClean="0"/>
              <a:t> solution. Eliminate calendar-based maintenance in favor of conditional maintenance. </a:t>
            </a:r>
            <a:r>
              <a:rPr lang="en-US" sz="1200" dirty="0" smtClean="0">
                <a:solidFill>
                  <a:schemeClr val="tx1"/>
                </a:solidFill>
              </a:rPr>
              <a:t>Easily</a:t>
            </a:r>
            <a:r>
              <a:rPr lang="en-US" sz="1200" baseline="0" dirty="0" smtClean="0">
                <a:solidFill>
                  <a:schemeClr val="tx1"/>
                </a:solidFill>
              </a:rPr>
              <a:t> identify mechanical problems and address them quickly, with alerts from vehicle, plane, and train sensors.</a:t>
            </a:r>
            <a:r>
              <a:rPr lang="en-US" sz="1200" kern="1200" baseline="0" dirty="0" smtClean="0">
                <a:solidFill>
                  <a:schemeClr val="tx1"/>
                </a:solidFill>
                <a:effectLst/>
                <a:latin typeface="+mn-lt"/>
                <a:ea typeface="+mn-ea"/>
                <a:cs typeface="+mn-cs"/>
              </a:rPr>
              <a:t> </a:t>
            </a:r>
            <a:r>
              <a:rPr lang="en-US" baseline="0" dirty="0" smtClean="0"/>
              <a:t>Enable work flows for utility work crews through hand-held devices – and configure notifications on their devices of maintenance needs.</a:t>
            </a:r>
            <a:r>
              <a:rPr lang="en-US" sz="1200" baseline="0" dirty="0" smtClean="0">
                <a:solidFill>
                  <a:schemeClr val="tx1"/>
                </a:solidFill>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With sensors installed on all crew vehicles, capture and analyze emissions data to identity room for improved efficiency and reduced fuel costs. Similarly, monitor and control smart lighting, heating and cooling systems etc. to save energy cos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ossibilities for improving public sector transportation systems are numerous and within your reach with IoT.</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b="0" baseline="0" dirty="0" smtClean="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8269D8A-B09A-4BAD-8E2F-54EE9DD79BD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0143826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kern="1200" dirty="0" smtClean="0">
                <a:solidFill>
                  <a:schemeClr val="tx1"/>
                </a:solidFill>
                <a:effectLst/>
                <a:latin typeface="+mn-lt"/>
                <a:ea typeface="+mn-ea"/>
                <a:cs typeface="+mn-cs"/>
              </a:rPr>
              <a:t>IoT enables hospitality and travel organizations to create personal, seamless, and differentiated guest experiences while gaining business agility. </a:t>
            </a:r>
            <a:r>
              <a:rPr lang="en-US" dirty="0" smtClean="0"/>
              <a:t>The</a:t>
            </a:r>
            <a:r>
              <a:rPr lang="en-US" baseline="0" dirty="0" smtClean="0"/>
              <a:t> following </a:t>
            </a:r>
            <a:r>
              <a:rPr lang="en-US" dirty="0" smtClean="0"/>
              <a:t>are just a few quick examples to</a:t>
            </a:r>
            <a:r>
              <a:rPr lang="en-US" baseline="0" dirty="0" smtClean="0"/>
              <a:t> get you thinking. </a:t>
            </a:r>
            <a:endParaRPr lang="en-US" sz="2400" kern="1200" dirty="0" smtClean="0">
              <a:solidFill>
                <a:schemeClr val="tx1"/>
              </a:solidFill>
              <a:effectLst/>
              <a:latin typeface="+mn-lt"/>
              <a:ea typeface="+mn-ea"/>
              <a:cs typeface="+mn-cs"/>
            </a:endParaRPr>
          </a:p>
          <a:p>
            <a:endParaRPr lang="en-US" sz="2400" kern="1200" dirty="0" smtClean="0">
              <a:solidFill>
                <a:schemeClr val="tx1"/>
              </a:solidFill>
              <a:effectLst/>
              <a:latin typeface="+mn-lt"/>
              <a:ea typeface="+mn-ea"/>
              <a:cs typeface="+mn-cs"/>
            </a:endParaRPr>
          </a:p>
          <a:p>
            <a:r>
              <a:rPr lang="en-US" sz="2400" b="1" kern="1200" dirty="0" smtClean="0">
                <a:solidFill>
                  <a:schemeClr val="tx1"/>
                </a:solidFill>
                <a:effectLst/>
                <a:latin typeface="+mn-lt"/>
                <a:ea typeface="+mn-ea"/>
                <a:cs typeface="+mn-cs"/>
              </a:rPr>
              <a:t>Airlin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itchFamily="34" charset="0"/>
                <a:ea typeface="+mn-ea"/>
                <a:cs typeface="Arial" pitchFamily="34" charset="0"/>
              </a:rPr>
              <a:t>With the proliferation of mobile and online applications replacing traditional face-to-face interactions, passengers are demanding a seamless traveler experience. Microsoft</a:t>
            </a:r>
            <a:r>
              <a:rPr lang="en-US" sz="1200" kern="1200" baseline="0" dirty="0" smtClean="0">
                <a:solidFill>
                  <a:schemeClr val="tx1"/>
                </a:solidFill>
                <a:effectLst/>
                <a:latin typeface="Arial" pitchFamily="34" charset="0"/>
                <a:ea typeface="+mn-ea"/>
                <a:cs typeface="Arial" pitchFamily="34" charset="0"/>
              </a:rPr>
              <a:t> </a:t>
            </a:r>
            <a:r>
              <a:rPr lang="en-US" sz="1200" kern="1200" dirty="0" smtClean="0">
                <a:solidFill>
                  <a:schemeClr val="tx1"/>
                </a:solidFill>
                <a:effectLst/>
                <a:latin typeface="Arial" pitchFamily="34" charset="0"/>
                <a:ea typeface="+mn-ea"/>
                <a:cs typeface="Arial" pitchFamily="34" charset="0"/>
              </a:rPr>
              <a:t>is delivering capabilities to transform the passenger experience from the curb to the gate. Provide your customers with the best deal, the best experience, and a real relationship with their favorite company. IoT solutions </a:t>
            </a:r>
            <a:r>
              <a:rPr lang="en-US" sz="1200" dirty="0" smtClean="0"/>
              <a:t>dramatically improves</a:t>
            </a:r>
            <a:r>
              <a:rPr lang="en-US" sz="1200" baseline="0" dirty="0" smtClean="0"/>
              <a:t> your</a:t>
            </a:r>
            <a:r>
              <a:rPr lang="en-US" sz="1200" dirty="0" smtClean="0"/>
              <a:t> ability to understand and serve your customers. </a:t>
            </a: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Enable passengers to self-check bags with RFID luggage tags associated with frequent flyer data, reducing baggage loss and infrastructure requirements and providing passengers with more time to shop</a:t>
            </a:r>
            <a:r>
              <a:rPr lang="en-US" sz="1200" baseline="0" dirty="0" smtClean="0"/>
              <a:t> in retail stores and </a:t>
            </a:r>
            <a:r>
              <a:rPr lang="en-US" sz="1200" dirty="0" smtClean="0"/>
              <a:t>order services. Retail stores can send context-relevant</a:t>
            </a:r>
            <a:r>
              <a:rPr lang="en-US" sz="1200" baseline="0" dirty="0" smtClean="0"/>
              <a:t> promotions as passengers walk by. You can also send notifications regarding gate changes or departure times. Then, enable restaurant recommendations for passengers near a new gate assign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smtClean="0">
              <a:solidFill>
                <a:schemeClr val="tx1"/>
              </a:solidFill>
              <a:effectLst/>
              <a:latin typeface="Arial" pitchFamily="34" charset="0"/>
              <a:ea typeface="+mn-ea"/>
              <a:cs typeface="Arial" pitchFamily="34" charset="0"/>
            </a:endParaRPr>
          </a:p>
          <a:p>
            <a:r>
              <a:rPr lang="en-US" sz="2400" kern="1200" dirty="0" smtClean="0">
                <a:solidFill>
                  <a:schemeClr val="tx1"/>
                </a:solidFill>
                <a:effectLst/>
                <a:latin typeface="+mn-lt"/>
                <a:ea typeface="+mn-ea"/>
                <a:cs typeface="+mn-cs"/>
              </a:rPr>
              <a:t>Save millions of dollars with more accurate arrival time predictions.</a:t>
            </a:r>
            <a:r>
              <a:rPr lang="en-US" sz="2400" kern="1200" baseline="0" dirty="0" smtClean="0">
                <a:solidFill>
                  <a:schemeClr val="tx1"/>
                </a:solidFill>
                <a:effectLst/>
                <a:latin typeface="+mn-lt"/>
                <a:ea typeface="+mn-ea"/>
                <a:cs typeface="+mn-cs"/>
              </a:rPr>
              <a:t> Use machine learning, sensor data, weather data, and other inputs to fine tune predictions and provide ground crews and passengers with the most accurate arrival information.</a:t>
            </a:r>
            <a:endParaRPr lang="en-US" sz="120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Differentiate</a:t>
            </a:r>
            <a:r>
              <a:rPr lang="en-US" sz="1200" baseline="0" dirty="0" smtClean="0"/>
              <a:t> </a:t>
            </a:r>
            <a:r>
              <a:rPr lang="en-US" sz="1200" dirty="0" smtClean="0"/>
              <a:t>yourself in the highly-competitive airline industry by offering new in-flight customer experiences. </a:t>
            </a:r>
            <a:r>
              <a:rPr lang="en-US" sz="1200" kern="1200" dirty="0" smtClean="0">
                <a:solidFill>
                  <a:schemeClr val="tx1"/>
                </a:solidFill>
                <a:effectLst/>
                <a:latin typeface="Arial" pitchFamily="34" charset="0"/>
                <a:ea typeface="+mn-ea"/>
                <a:cs typeface="Arial" pitchFamily="34" charset="0"/>
              </a:rPr>
              <a:t>Microsoft is helping transform onboard sales into an online, fast, connected experience. Integrate with payment acquirers so that flight attendants get an instantaneous response when swiping a credit card during onboard sales transactions. Engage directly with your passengers, surround them with brand information and entertainment, and bring the richness of online information to the plane. In-flight engagement solutions enable the comprehensive and connected consumer experience and increased ancillary ser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Arial" pitchFamily="34" charset="0"/>
              <a:ea typeface="+mn-ea"/>
              <a:cs typeface="Arial" pitchFamily="34" charset="0"/>
            </a:endParaRPr>
          </a:p>
          <a:p>
            <a:pPr marL="0" indent="0">
              <a:buFont typeface="Arial" panose="020B0604020202020204" pitchFamily="34" charset="0"/>
              <a:buNone/>
            </a:pPr>
            <a:r>
              <a:rPr lang="en-US" sz="1200" kern="1200" dirty="0" smtClean="0">
                <a:solidFill>
                  <a:schemeClr val="tx1"/>
                </a:solidFill>
                <a:effectLst/>
                <a:latin typeface="Arial" pitchFamily="34" charset="0"/>
                <a:ea typeface="+mn-ea"/>
                <a:cs typeface="Arial" pitchFamily="34" charset="0"/>
              </a:rPr>
              <a:t>With modern electronic flight bag applications, pilots employ a single device for planning, filing, and flying, reducing the weight required for paper flight books on-board. The same device provides collaboration and corporate communications over a highly secure connection, whether swapping shifts with other pilots, consuming training, or simply checking and responding to email.</a:t>
            </a:r>
          </a:p>
          <a:p>
            <a:pPr marL="0" marR="0" indent="0" algn="l" defTabSz="76178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400" kern="1200" dirty="0" smtClean="0">
              <a:solidFill>
                <a:schemeClr val="tx1"/>
              </a:solidFill>
              <a:effectLst/>
              <a:latin typeface="+mn-lt"/>
              <a:ea typeface="+mn-ea"/>
              <a:cs typeface="+mn-cs"/>
            </a:endParaRPr>
          </a:p>
          <a:p>
            <a:pPr marL="0" marR="0" indent="0" algn="l" defTabSz="76178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smtClean="0"/>
              <a:t>Together, these solutions come together to create a seamless, connected experience for flight crews and travelers.</a:t>
            </a:r>
          </a:p>
          <a:p>
            <a:endParaRPr lang="en-US" sz="2400" kern="1200" dirty="0" smtClean="0">
              <a:solidFill>
                <a:schemeClr val="tx1"/>
              </a:solidFill>
              <a:effectLst/>
              <a:latin typeface="+mn-lt"/>
              <a:ea typeface="+mn-ea"/>
              <a:cs typeface="+mn-cs"/>
            </a:endParaRPr>
          </a:p>
          <a:p>
            <a:r>
              <a:rPr lang="en-US" sz="2400" b="1" kern="1200" dirty="0" smtClean="0">
                <a:solidFill>
                  <a:schemeClr val="tx1"/>
                </a:solidFill>
                <a:effectLst/>
                <a:latin typeface="+mn-lt"/>
                <a:ea typeface="+mn-ea"/>
                <a:cs typeface="+mn-cs"/>
              </a:rPr>
              <a:t>Cruise</a:t>
            </a:r>
          </a:p>
          <a:p>
            <a:r>
              <a:rPr lang="en-US" dirty="0" smtClean="0"/>
              <a:t>Use business intelligence to analyze the revenue-generating performance of the various venues and activities onboard ships</a:t>
            </a:r>
            <a:r>
              <a:rPr lang="en-US" baseline="0" dirty="0" smtClean="0"/>
              <a:t> t</a:t>
            </a:r>
            <a:r>
              <a:rPr lang="en-US" dirty="0" smtClean="0"/>
              <a:t>o identify best practices that generate the most profit and deliver the best guest experience. Tap into existing resources to create new business intelligence—gather information from multiple connected devices and systems, including POS terminals, ticketing systems, and in-room amenities. The more information you can collect about guests, the more you can customize your products for them. For example, as ships travel between ports and passenger loads and demographics change, segment passengers by demographic and analyze their propensity to spend and participate in spa, photo, retail, laundry, and other areas of the ship. Dynamically change your offerings, retail inventory, and activities to match the preferences of the guests onboard. Learning behavior patterns by passenger groups and adjusting offerings and programs to better reflect passenger preferences</a:t>
            </a:r>
            <a:r>
              <a:rPr lang="en-US" baseline="0" dirty="0" smtClean="0"/>
              <a:t> i</a:t>
            </a:r>
            <a:r>
              <a:rPr lang="en-US" dirty="0" smtClean="0"/>
              <a:t>ncreases revenue and gives customers a better experience.</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2400" b="0" i="0" kern="1200" baseline="0" dirty="0" smtClean="0">
                <a:solidFill>
                  <a:schemeClr val="tx1"/>
                </a:solidFill>
                <a:effectLst/>
                <a:latin typeface="+mn-lt"/>
                <a:ea typeface="+mn-ea"/>
                <a:cs typeface="+mn-cs"/>
              </a:rPr>
              <a:t>Centrally monitor critical ship assets and r</a:t>
            </a:r>
            <a:r>
              <a:rPr lang="en-US" dirty="0" smtClean="0"/>
              <a:t>educe </a:t>
            </a:r>
            <a:r>
              <a:rPr lang="en-US" baseline="0" dirty="0" smtClean="0"/>
              <a:t>equipment downtime. </a:t>
            </a:r>
            <a:r>
              <a:rPr lang="en-US" sz="2400" b="0" i="0" kern="1200" baseline="0" dirty="0" smtClean="0">
                <a:solidFill>
                  <a:schemeClr val="tx1"/>
                </a:solidFill>
                <a:effectLst/>
                <a:latin typeface="+mn-lt"/>
                <a:ea typeface="+mn-ea"/>
                <a:cs typeface="+mn-cs"/>
              </a:rPr>
              <a:t>Streamline formerly manual maintenance processes with proactive response to near real-time data. </a:t>
            </a:r>
            <a:r>
              <a:rPr lang="en-US" dirty="0" smtClean="0"/>
              <a:t>Meaningful data from sensors and intelligent edge devices are all available securely in the cloud to provide access to needed information on mobile apps, via a Web browser or through text alerts. Provide</a:t>
            </a:r>
            <a:r>
              <a:rPr lang="en-US" baseline="0" dirty="0" smtClean="0"/>
              <a:t> an advanced f</a:t>
            </a:r>
            <a:r>
              <a:rPr lang="en-US" dirty="0" smtClean="0"/>
              <a:t>ield maintenance</a:t>
            </a:r>
            <a:r>
              <a:rPr lang="en-US" baseline="0" dirty="0" smtClean="0"/>
              <a:t> solution, enabling work flows for utility work crews through hand-held devices. </a:t>
            </a:r>
            <a:r>
              <a:rPr lang="en-US" dirty="0" smtClean="0"/>
              <a:t>Instead of going to an office, maintenance technicians can get work orders electronically from anywhere on the ship or </a:t>
            </a:r>
            <a:r>
              <a:rPr lang="en-US" baseline="0" dirty="0" smtClean="0"/>
              <a:t>dock</a:t>
            </a:r>
            <a:r>
              <a:rPr lang="en-US" dirty="0" smtClean="0"/>
              <a:t>. In the past, it may have taken more than 30 minutes just for technicians to pick up a new work order and return to the site. But now they can quickly retrieve a work order on their devices, finish the job, and notify people that the project is complete.</a:t>
            </a:r>
          </a:p>
          <a:p>
            <a:endParaRPr lang="en-US" dirty="0" smtClean="0"/>
          </a:p>
          <a:p>
            <a:r>
              <a:rPr lang="en-US" b="0" i="0" dirty="0" smtClean="0"/>
              <a:t>Connecting handheld devices with existing IT infrastructure and food storage equipment can improve workflow throughout the ship, including reducing food-inspection time. </a:t>
            </a:r>
            <a:r>
              <a:rPr lang="en-US" dirty="0" smtClean="0"/>
              <a:t>To monitor food temperature, deliver inspection tasks and checklists to handheld devices. An employee can use the device’s built-in RFID sensor to read tags installed in coolers. Within seconds, the device downloads temperature records collected during the previous visit and compares them to the current reading. The device immediately alerts the user if the cooler is non-compliant and suggests corrective actions to resolve the problem. Then it sends a message to the facility maintenance team to check the cooler, and the employee moves on to inspect the next station. Use an integrated temperature probe on devices to monitor food temperatures on buffet lines and other open areas. The automated processes replace digital kitchen thermometers and paper logs. Instead of manually transferring records from logs to spreadsheet software, inspectors can immediately run reports against the data collected.</a:t>
            </a:r>
          </a:p>
          <a:p>
            <a:endParaRPr lang="en-US" sz="2400" kern="1200" dirty="0" smtClean="0">
              <a:solidFill>
                <a:schemeClr val="tx1"/>
              </a:solidFill>
              <a:effectLst/>
              <a:latin typeface="+mn-lt"/>
              <a:ea typeface="+mn-ea"/>
              <a:cs typeface="+mn-cs"/>
            </a:endParaRPr>
          </a:p>
          <a:p>
            <a:r>
              <a:rPr lang="en-US" sz="2400" b="1" kern="1200" dirty="0" smtClean="0">
                <a:solidFill>
                  <a:schemeClr val="tx1"/>
                </a:solidFill>
                <a:effectLst/>
                <a:latin typeface="+mn-lt"/>
                <a:ea typeface="+mn-ea"/>
                <a:cs typeface="+mn-cs"/>
              </a:rPr>
              <a:t>Rail</a:t>
            </a:r>
          </a:p>
          <a:p>
            <a:pPr marL="0" marR="0" indent="0" algn="l" defTabSz="914400" rtl="0" eaLnBrk="1" fontAlgn="auto" latinLnBrk="0" hangingPunct="1">
              <a:lnSpc>
                <a:spcPct val="100000"/>
              </a:lnSpc>
              <a:spcBef>
                <a:spcPts val="0"/>
              </a:spcBef>
              <a:spcAft>
                <a:spcPts val="0"/>
              </a:spcAft>
              <a:buClrTx/>
              <a:buSzTx/>
              <a:buFontTx/>
              <a:buNone/>
              <a:tabLst/>
              <a:defRPr/>
            </a:pPr>
            <a:r>
              <a:rPr lang="en-US" sz="2400" b="0" i="0" kern="1200" baseline="0" dirty="0" smtClean="0">
                <a:solidFill>
                  <a:schemeClr val="tx1"/>
                </a:solidFill>
                <a:effectLst/>
                <a:latin typeface="+mn-lt"/>
                <a:ea typeface="+mn-ea"/>
                <a:cs typeface="+mn-cs"/>
              </a:rPr>
              <a:t>Ensure passengers reach their destinations on time and in the greatest comfort possible. </a:t>
            </a:r>
            <a:r>
              <a:rPr lang="en-US" b="0" i="0" dirty="0" smtClean="0"/>
              <a:t>Provide</a:t>
            </a:r>
            <a:r>
              <a:rPr lang="en-US" b="0" i="0" baseline="0" dirty="0" smtClean="0"/>
              <a:t> passengers with a better experience—for example, supply information on digital signs and to passengers’ mobile devices.</a:t>
            </a:r>
            <a:r>
              <a:rPr lang="en-US" b="1" i="0" baseline="0" dirty="0" smtClean="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2400" b="1" i="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400" b="0" i="0" kern="1200" baseline="0" dirty="0" smtClean="0">
                <a:solidFill>
                  <a:schemeClr val="tx1"/>
                </a:solidFill>
                <a:effectLst/>
                <a:latin typeface="+mn-lt"/>
                <a:ea typeface="+mn-ea"/>
                <a:cs typeface="+mn-cs"/>
              </a:rPr>
              <a:t>Improve on-board service for passengers and gather data to understand purchase patterns and make accurate stock decisions. </a:t>
            </a:r>
            <a:r>
              <a:rPr lang="en-US" sz="2400" b="0" i="0" kern="1200" dirty="0" smtClean="0">
                <a:solidFill>
                  <a:schemeClr val="tx1"/>
                </a:solidFill>
                <a:effectLst/>
                <a:latin typeface="+mn-lt"/>
                <a:ea typeface="+mn-ea"/>
                <a:cs typeface="+mn-cs"/>
              </a:rPr>
              <a:t>Implement</a:t>
            </a:r>
            <a:r>
              <a:rPr lang="en-US" sz="2400" b="0" i="0" kern="1200" baseline="0" dirty="0" smtClean="0">
                <a:solidFill>
                  <a:schemeClr val="tx1"/>
                </a:solidFill>
                <a:effectLst/>
                <a:latin typeface="+mn-lt"/>
                <a:ea typeface="+mn-ea"/>
                <a:cs typeface="+mn-cs"/>
              </a:rPr>
              <a:t> a point-of-sale solution that connects remotely to financial and business systems and aid transactions from train carts and caf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2400" b="0" i="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Reduce service</a:t>
            </a:r>
            <a:r>
              <a:rPr lang="en-US" baseline="0" dirty="0" smtClean="0"/>
              <a:t> delays and the cost of equipment downtime. </a:t>
            </a:r>
            <a:r>
              <a:rPr lang="en-US" sz="2400" b="0" i="0" kern="1200" baseline="0" dirty="0" smtClean="0">
                <a:solidFill>
                  <a:schemeClr val="tx1"/>
                </a:solidFill>
                <a:effectLst/>
                <a:latin typeface="+mn-lt"/>
                <a:ea typeface="+mn-ea"/>
                <a:cs typeface="+mn-cs"/>
              </a:rPr>
              <a:t>Streamline formerly manual processes with proactive response to near real-time data. </a:t>
            </a:r>
            <a:r>
              <a:rPr lang="en-US" dirty="0" smtClean="0"/>
              <a:t>Meaningful data from sensors and intelligent edge devices — to closely monitor temperature, vibration, humidity, fault warnings and system alerts — are all available securely in the cloud to provide access to needed information on mobile apps, via a Web browser or through text alerts. Provide</a:t>
            </a:r>
            <a:r>
              <a:rPr lang="en-US" baseline="0" dirty="0" smtClean="0"/>
              <a:t> an advanced f</a:t>
            </a:r>
            <a:r>
              <a:rPr lang="en-US" dirty="0" smtClean="0"/>
              <a:t>ield maintenance</a:t>
            </a:r>
            <a:r>
              <a:rPr lang="en-US" baseline="0" dirty="0" smtClean="0"/>
              <a:t> solution, enabling work flows for utility work crews through hand-held devic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2400" b="0" i="0" kern="1200" baseline="0" dirty="0" smtClean="0">
                <a:solidFill>
                  <a:schemeClr val="tx1"/>
                </a:solidFill>
                <a:effectLst/>
                <a:latin typeface="+mn-lt"/>
                <a:ea typeface="+mn-ea"/>
                <a:cs typeface="+mn-cs"/>
              </a:rPr>
              <a:t>Centrally monitor critical station assets, such as escalators, elevators, and HVAC control systems. </a:t>
            </a:r>
            <a:r>
              <a:rPr lang="en-US" dirty="0" smtClean="0"/>
              <a:t>Connected security networks and personnel</a:t>
            </a:r>
            <a:r>
              <a:rPr lang="en-US" baseline="0" dirty="0" smtClean="0"/>
              <a:t> heighten security visibility to save more lives.</a:t>
            </a:r>
            <a:endParaRPr lang="en-US" sz="2400" b="0" i="0" kern="1200" dirty="0" smtClean="0">
              <a:solidFill>
                <a:schemeClr val="tx1"/>
              </a:solidFill>
              <a:effectLst/>
              <a:latin typeface="+mn-lt"/>
              <a:ea typeface="+mn-ea"/>
              <a:cs typeface="+mn-cs"/>
            </a:endParaRPr>
          </a:p>
          <a:p>
            <a:endParaRPr lang="en-US" sz="2400" kern="1200" dirty="0" smtClean="0">
              <a:solidFill>
                <a:schemeClr val="tx1"/>
              </a:solidFill>
              <a:effectLst/>
              <a:latin typeface="+mn-lt"/>
              <a:ea typeface="+mn-ea"/>
              <a:cs typeface="+mn-cs"/>
            </a:endParaRPr>
          </a:p>
          <a:p>
            <a:r>
              <a:rPr lang="en-US" sz="2400" b="1" kern="1200" dirty="0" smtClean="0">
                <a:solidFill>
                  <a:schemeClr val="tx1"/>
                </a:solidFill>
                <a:effectLst/>
                <a:latin typeface="+mn-lt"/>
                <a:ea typeface="+mn-ea"/>
                <a:cs typeface="+mn-cs"/>
              </a:rPr>
              <a:t>Hospitality</a:t>
            </a:r>
            <a:endParaRPr lang="en-US" sz="800" b="1" kern="1200" baseline="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itchFamily="34" charset="0"/>
                <a:ea typeface="+mn-ea"/>
                <a:cs typeface="Arial" pitchFamily="34" charset="0"/>
              </a:rPr>
              <a:t>Drive improvements in your business by reducing travel stress and uncertainty, and by encouraging collaboration among your customers and employees. Implement technologies that offer a more consistent and personalized experience across various channel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ln w="3175">
                  <a:noFill/>
                </a:ln>
                <a:solidFill>
                  <a:srgbClr val="FFFFFF"/>
                </a:solidFill>
                <a:cs typeface="Arial" charset="0"/>
              </a:rPr>
              <a:t>Provide guests with a connected tablet to personalize and customize</a:t>
            </a:r>
            <a:r>
              <a:rPr lang="en-US" sz="1200" baseline="0" dirty="0" smtClean="0">
                <a:ln w="3175">
                  <a:noFill/>
                </a:ln>
                <a:solidFill>
                  <a:srgbClr val="FFFFFF"/>
                </a:solidFill>
                <a:cs typeface="Arial" charset="0"/>
              </a:rPr>
              <a:t> </a:t>
            </a:r>
            <a:r>
              <a:rPr lang="en-US" sz="1200" dirty="0" smtClean="0">
                <a:ln w="3175">
                  <a:noFill/>
                </a:ln>
                <a:solidFill>
                  <a:srgbClr val="FFFFFF"/>
                </a:solidFill>
                <a:cs typeface="Arial" charset="0"/>
              </a:rPr>
              <a:t>room settings, including the thermostat, lighting, windows</a:t>
            </a:r>
            <a:r>
              <a:rPr lang="en-US" sz="1200" baseline="0" dirty="0" smtClean="0">
                <a:ln w="3175">
                  <a:noFill/>
                </a:ln>
                <a:solidFill>
                  <a:srgbClr val="FFFFFF"/>
                </a:solidFill>
                <a:cs typeface="Arial" charset="0"/>
              </a:rPr>
              <a:t> shades, and stereo</a:t>
            </a:r>
            <a:r>
              <a:rPr lang="en-US" sz="1200" dirty="0" smtClean="0">
                <a:ln w="3175">
                  <a:noFill/>
                </a:ln>
                <a:solidFill>
                  <a:srgbClr val="FFFFFF"/>
                </a:solidFill>
                <a:cs typeface="Arial" charset="0"/>
              </a:rPr>
              <a:t>—and save their preferences.</a:t>
            </a:r>
            <a:r>
              <a:rPr lang="en-US" sz="1200" baseline="0" dirty="0" smtClean="0">
                <a:ln w="3175">
                  <a:noFill/>
                </a:ln>
                <a:solidFill>
                  <a:srgbClr val="FFFFFF"/>
                </a:solidFill>
                <a:cs typeface="Arial" charset="0"/>
              </a:rPr>
              <a:t> When they visit any of your other hotels around the globe, their room can automatically sync with their preferences. Enable the property manager to view room statuses as well, and send staff to repair any issues or change a light bulb as needed.</a:t>
            </a:r>
            <a:endParaRPr lang="en-US" sz="120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Create a more unique and on-brand experience with guests;</a:t>
            </a:r>
            <a:r>
              <a:rPr lang="en-US" sz="1200" baseline="0" dirty="0" smtClean="0"/>
              <a:t> device </a:t>
            </a:r>
            <a:r>
              <a:rPr lang="en-US" sz="1200" dirty="0" smtClean="0"/>
              <a:t>apps can provide guests with information about the hotel, its offerings, and local attractions and act as a valuable source of information that you can use to build customer connections.</a:t>
            </a: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O</a:t>
            </a:r>
            <a:r>
              <a:rPr lang="en-US" sz="1200" b="0" i="0" dirty="0" smtClean="0"/>
              <a:t>ffer guests interactive touch-enabled computing to enhance their social experience at your hotels</a:t>
            </a:r>
            <a:r>
              <a:rPr lang="en-US" sz="1200" b="0" i="0" baseline="0" dirty="0" smtClean="0"/>
              <a:t> with </a:t>
            </a:r>
            <a:r>
              <a:rPr lang="en-US" sz="1200" b="0" i="0" dirty="0" smtClean="0"/>
              <a:t>personalized, highly secure computing experiences. With custom apps, such as an online concierge, capture guest information to improve service delivery and increase competitive advantage.</a:t>
            </a:r>
            <a:endParaRPr lang="en-US" sz="1200" kern="1200" dirty="0" smtClean="0">
              <a:solidFill>
                <a:schemeClr val="tx1"/>
              </a:solidFill>
              <a:effectLst/>
              <a:latin typeface="Arial" pitchFamily="34" charset="0"/>
              <a:ea typeface="+mn-ea"/>
              <a:cs typeface="Arial" pitchFamily="34" charset="0"/>
            </a:endParaRPr>
          </a:p>
          <a:p>
            <a:endParaRPr lang="en-US" sz="2400" kern="1200" dirty="0" smtClean="0">
              <a:solidFill>
                <a:schemeClr val="tx1"/>
              </a:solidFill>
              <a:effectLst/>
              <a:latin typeface="+mn-lt"/>
              <a:ea typeface="+mn-ea"/>
              <a:cs typeface="+mn-cs"/>
            </a:endParaRPr>
          </a:p>
          <a:p>
            <a:r>
              <a:rPr lang="en-US" sz="2400" b="1" kern="1200" dirty="0" smtClean="0">
                <a:solidFill>
                  <a:schemeClr val="tx1"/>
                </a:solidFill>
                <a:effectLst/>
                <a:latin typeface="+mn-lt"/>
                <a:ea typeface="+mn-ea"/>
                <a:cs typeface="+mn-cs"/>
              </a:rPr>
              <a:t>Quick</a:t>
            </a:r>
            <a:r>
              <a:rPr lang="en-US" sz="2400" b="1" kern="1200" baseline="0" dirty="0" smtClean="0">
                <a:solidFill>
                  <a:schemeClr val="tx1"/>
                </a:solidFill>
                <a:effectLst/>
                <a:latin typeface="+mn-lt"/>
                <a:ea typeface="+mn-ea"/>
                <a:cs typeface="+mn-cs"/>
              </a:rPr>
              <a:t> Service Restaurant</a:t>
            </a:r>
            <a:endParaRPr lang="en-US" sz="2400" b="1"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400" kern="1200" baseline="0" dirty="0" smtClean="0">
                <a:solidFill>
                  <a:schemeClr val="tx1"/>
                </a:solidFill>
                <a:effectLst/>
                <a:latin typeface="+mn-lt"/>
                <a:ea typeface="+mn-ea"/>
                <a:cs typeface="+mn-cs"/>
              </a:rPr>
              <a:t>Improve service with a solution that is fast, secure, and reliable, and d</a:t>
            </a:r>
            <a:r>
              <a:rPr lang="en-US" dirty="0" smtClean="0">
                <a:effectLst/>
              </a:rPr>
              <a:t>rive better decisions</a:t>
            </a:r>
            <a:r>
              <a:rPr lang="en-US" baseline="0" dirty="0" smtClean="0">
                <a:effectLst/>
              </a:rPr>
              <a:t> with greater </a:t>
            </a:r>
            <a:r>
              <a:rPr lang="en-US" sz="2400" kern="1200" baseline="0" dirty="0" smtClean="0">
                <a:solidFill>
                  <a:schemeClr val="tx1"/>
                </a:solidFill>
                <a:effectLst/>
                <a:latin typeface="+mn-lt"/>
                <a:ea typeface="+mn-ea"/>
                <a:cs typeface="+mn-cs"/>
              </a:rPr>
              <a:t>data access</a:t>
            </a:r>
            <a:r>
              <a:rPr lang="en-US" baseline="0" dirty="0" smtClean="0">
                <a:effectLst/>
              </a:rPr>
              <a:t>. </a:t>
            </a:r>
            <a:endParaRPr lang="en-US" sz="24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400" kern="1200" baseline="0" dirty="0" smtClean="0">
                <a:solidFill>
                  <a:schemeClr val="tx1"/>
                </a:solidFill>
                <a:effectLst/>
                <a:latin typeface="+mn-lt"/>
                <a:ea typeface="+mn-ea"/>
                <a:cs typeface="+mn-cs"/>
              </a:rPr>
              <a:t>Ease business expansion and management. </a:t>
            </a:r>
            <a:r>
              <a:rPr lang="en-US" baseline="0" dirty="0" smtClean="0">
                <a:effectLst/>
              </a:rPr>
              <a:t>Cut time to open new restaurants and easily push the latest data to existing locations.</a:t>
            </a:r>
            <a:r>
              <a:rPr lang="en-US" sz="2400" kern="1200" baseline="0" dirty="0" smtClean="0">
                <a:solidFill>
                  <a:schemeClr val="tx1"/>
                </a:solidFill>
                <a:effectLst/>
                <a:latin typeface="+mn-lt"/>
                <a:ea typeface="+mn-ea"/>
                <a:cs typeface="+mn-cs"/>
              </a:rPr>
              <a:t> When you open a new store, create a package that you can deploy quickly though the cloud, and deliver all the necessary information with the click of a button. You can also update software, menu items, prices, coupons and more across multiple locations. Managers have instant access to current sales, inventory, and workforce inform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24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400" kern="1200" dirty="0" smtClean="0">
                <a:solidFill>
                  <a:schemeClr val="tx1"/>
                </a:solidFill>
                <a:effectLst/>
                <a:latin typeface="+mn-lt"/>
                <a:ea typeface="+mn-ea"/>
                <a:cs typeface="+mn-cs"/>
              </a:rPr>
              <a:t>Improve efficiency and enhance the customer experience. Install</a:t>
            </a:r>
            <a:r>
              <a:rPr lang="en-US" sz="2400" kern="1200" baseline="0" dirty="0" smtClean="0">
                <a:solidFill>
                  <a:schemeClr val="tx1"/>
                </a:solidFill>
                <a:effectLst/>
                <a:latin typeface="+mn-lt"/>
                <a:ea typeface="+mn-ea"/>
                <a:cs typeface="+mn-cs"/>
              </a:rPr>
              <a:t> a point-of-service solution with easy-to-use, engaging self-service touch screens as well as kitchen displays and order confirmation boards connected to a corporate network and cloud-based services. Take orders faster and more accurately so that customers feel good about their visits. Electronically store and search receip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24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400" kern="1200" baseline="0" dirty="0" smtClean="0">
                <a:solidFill>
                  <a:schemeClr val="tx1"/>
                </a:solidFill>
                <a:effectLst/>
                <a:latin typeface="+mn-lt"/>
                <a:ea typeface="+mn-ea"/>
                <a:cs typeface="+mn-cs"/>
              </a:rPr>
              <a:t>Control food and labor costs to improve profitability. Managers can look at daily inventory of food items as well as when employees signed in and out of shifts. Connected inventory management enables much more accurate correlation between actual and ideal cos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2400" kern="1200" baseline="0" dirty="0" smtClean="0">
              <a:solidFill>
                <a:schemeClr val="tx1"/>
              </a:solidFill>
              <a:effectLst/>
              <a:latin typeface="+mn-lt"/>
              <a:ea typeface="+mn-ea"/>
              <a:cs typeface="+mn-cs"/>
            </a:endParaRPr>
          </a:p>
          <a:p>
            <a:r>
              <a:rPr lang="en-US" sz="2400" dirty="0" smtClean="0">
                <a:solidFill>
                  <a:schemeClr val="tx1"/>
                </a:solidFill>
              </a:rPr>
              <a:t>With alerts from sensors</a:t>
            </a:r>
            <a:r>
              <a:rPr lang="en-US" sz="2400" baseline="0" dirty="0" smtClean="0">
                <a:solidFill>
                  <a:schemeClr val="tx1"/>
                </a:solidFill>
              </a:rPr>
              <a:t> installed in cookers, refrigerators, coffee machines, and more, e</a:t>
            </a:r>
            <a:r>
              <a:rPr lang="en-US" sz="2400" dirty="0" smtClean="0">
                <a:solidFill>
                  <a:schemeClr val="tx1"/>
                </a:solidFill>
              </a:rPr>
              <a:t>asily</a:t>
            </a:r>
            <a:r>
              <a:rPr lang="en-US" sz="2400" baseline="0" dirty="0" smtClean="0">
                <a:solidFill>
                  <a:schemeClr val="tx1"/>
                </a:solidFill>
              </a:rPr>
              <a:t> identify mechanical problems and address them quickly.</a:t>
            </a:r>
            <a:r>
              <a:rPr lang="en-US" sz="2400" kern="1200" baseline="0" dirty="0" smtClean="0">
                <a:solidFill>
                  <a:schemeClr val="tx1"/>
                </a:solidFill>
                <a:effectLst/>
                <a:latin typeface="+mn-lt"/>
                <a:ea typeface="+mn-ea"/>
                <a:cs typeface="+mn-cs"/>
              </a:rPr>
              <a:t> C</a:t>
            </a:r>
            <a:r>
              <a:rPr lang="en-US" baseline="0" dirty="0" smtClean="0"/>
              <a:t>onfigure notifications on employee devices of restaurant equipment maintenance needs.</a:t>
            </a:r>
            <a:r>
              <a:rPr lang="en-US" sz="2400" baseline="0" dirty="0" smtClean="0">
                <a:solidFill>
                  <a:schemeClr val="tx1"/>
                </a:solidFill>
              </a:rPr>
              <a:t> U</a:t>
            </a:r>
            <a:r>
              <a:rPr lang="en-US" dirty="0" smtClean="0"/>
              <a:t>se built-in RFID sensors to read tags installed in coolers. Use devices</a:t>
            </a:r>
            <a:r>
              <a:rPr lang="en-US" baseline="0" dirty="0" smtClean="0"/>
              <a:t> with </a:t>
            </a:r>
            <a:r>
              <a:rPr lang="en-US" dirty="0" smtClean="0"/>
              <a:t>integrated temperature probes</a:t>
            </a:r>
            <a:r>
              <a:rPr lang="en-US" baseline="0" dirty="0" smtClean="0"/>
              <a:t> </a:t>
            </a:r>
            <a:r>
              <a:rPr lang="en-US" dirty="0" smtClean="0"/>
              <a:t>to monitor food temperatures on buffet lines, in food</a:t>
            </a:r>
            <a:r>
              <a:rPr lang="en-US" baseline="0" dirty="0" smtClean="0"/>
              <a:t> cases</a:t>
            </a:r>
            <a:r>
              <a:rPr lang="en-US" dirty="0" smtClean="0"/>
              <a:t> and in other open areas. </a:t>
            </a:r>
            <a:endParaRPr lang="en-US" sz="24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2400" kern="1200" baseline="0" dirty="0" smtClean="0">
              <a:solidFill>
                <a:schemeClr val="tx1"/>
              </a:solidFill>
              <a:effectLst/>
              <a:latin typeface="+mn-lt"/>
              <a:ea typeface="+mn-ea"/>
              <a:cs typeface="+mn-cs"/>
            </a:endParaRPr>
          </a:p>
          <a:p>
            <a:endParaRPr lang="en-US" b="0" baseline="0" dirty="0" smtClean="0"/>
          </a:p>
          <a:p>
            <a:endParaRPr lang="en-US" b="0" baseline="0" dirty="0" smtClean="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8269D8A-B09A-4BAD-8E2F-54EE9DD79BD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50917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b="1" baseline="0" dirty="0" smtClean="0"/>
              <a:t>Why Now?</a:t>
            </a:r>
            <a:endParaRPr lang="en-IN" dirty="0" smtClean="0"/>
          </a:p>
          <a:p>
            <a:r>
              <a:rPr lang="en-IN" dirty="0" smtClean="0"/>
              <a:t>For years forward</a:t>
            </a:r>
            <a:r>
              <a:rPr lang="en-IN" baseline="0" dirty="0" smtClean="0"/>
              <a:t> thinking </a:t>
            </a:r>
            <a:r>
              <a:rPr lang="en-IN" dirty="0" smtClean="0"/>
              <a:t>companies/industries like Rolls-Royce</a:t>
            </a:r>
            <a:r>
              <a:rPr lang="en-IN" baseline="0" dirty="0" smtClean="0"/>
              <a:t> and Formula 1 have been connecting sensors and devices across their business to drive business advantage. </a:t>
            </a:r>
          </a:p>
          <a:p>
            <a:endParaRPr lang="en-IN" baseline="0" dirty="0" smtClean="0"/>
          </a:p>
          <a:p>
            <a:r>
              <a:rPr lang="en-IN" baseline="0" dirty="0" smtClean="0"/>
              <a:t>Pulling data from things such as tyre temperature in F1 to turbine speed in aeroplane engines, we know companies have driven insight and new business models. </a:t>
            </a:r>
          </a:p>
          <a:p>
            <a:endParaRPr lang="en-IN" baseline="0" dirty="0" smtClean="0"/>
          </a:p>
          <a:p>
            <a:r>
              <a:rPr lang="en-IN" baseline="0" dirty="0" smtClean="0"/>
              <a:t>With the cost of compute storage and transfer being at an all time low now is the time to take advantage for IoT. </a:t>
            </a:r>
            <a:endParaRPr lang="en-IN" b="1" baseline="0" dirty="0" smtClean="0"/>
          </a:p>
          <a:p>
            <a:endParaRPr lang="en-IN" b="1" baseline="0" dirty="0" smtClean="0"/>
          </a:p>
          <a:p>
            <a:r>
              <a:rPr lang="en-IN" b="1" baseline="0" dirty="0" smtClean="0"/>
              <a:t>Devices &amp; sensors </a:t>
            </a:r>
          </a:p>
          <a:p>
            <a:endParaRPr lang="en-IN" b="1" baseline="0" dirty="0" smtClean="0"/>
          </a:p>
          <a:p>
            <a:pPr marL="171450" indent="-171450">
              <a:buFont typeface="Arial" panose="020B0604020202020204" pitchFamily="34" charset="0"/>
              <a:buChar char="•"/>
            </a:pPr>
            <a:r>
              <a:rPr lang="en-IN" b="0" baseline="0" dirty="0" smtClean="0"/>
              <a:t>It has</a:t>
            </a:r>
            <a:r>
              <a:rPr lang="en-IN" b="1" baseline="0" dirty="0" smtClean="0"/>
              <a:t> </a:t>
            </a:r>
            <a:r>
              <a:rPr lang="en-IN" b="0" baseline="0" dirty="0" smtClean="0"/>
              <a:t>never been so inexpensive to buy things, for example sensors can be bought for less than 1 Euro</a:t>
            </a:r>
          </a:p>
          <a:p>
            <a:pPr marL="171450" indent="-171450">
              <a:buFont typeface="Arial" panose="020B0604020202020204" pitchFamily="34" charset="0"/>
              <a:buChar char="•"/>
            </a:pPr>
            <a:endParaRPr lang="en-IN" b="0" baseline="0" dirty="0" smtClean="0"/>
          </a:p>
          <a:p>
            <a:pPr marL="0" indent="0">
              <a:buFont typeface="Arial" panose="020B0604020202020204" pitchFamily="34" charset="0"/>
              <a:buNone/>
            </a:pPr>
            <a:r>
              <a:rPr lang="en-IN" b="1" baseline="0" dirty="0" smtClean="0"/>
              <a:t>Connectivity</a:t>
            </a:r>
          </a:p>
          <a:p>
            <a:pPr marL="0" indent="0">
              <a:buFont typeface="Arial" panose="020B0604020202020204" pitchFamily="34" charset="0"/>
              <a:buNone/>
            </a:pPr>
            <a:endParaRPr lang="en-IN" b="1" baseline="0" dirty="0" smtClean="0"/>
          </a:p>
          <a:p>
            <a:pPr marL="171450" indent="-171450">
              <a:buFont typeface="Arial" panose="020B0604020202020204" pitchFamily="34" charset="0"/>
              <a:buChar char="•"/>
            </a:pPr>
            <a:r>
              <a:rPr lang="en-IN" b="0" baseline="0" dirty="0" smtClean="0"/>
              <a:t>We’ve never been more connected than we are today. The current generation have always been connected, so now there is little division between work and home. </a:t>
            </a:r>
          </a:p>
          <a:p>
            <a:pPr marL="171450" indent="-171450" algn="l">
              <a:buFont typeface="Arial" panose="020B0604020202020204" pitchFamily="34" charset="0"/>
              <a:buChar char="•"/>
            </a:pPr>
            <a:endParaRPr lang="en-IN" b="0" dirty="0" smtClean="0"/>
          </a:p>
          <a:p>
            <a:r>
              <a:rPr lang="en-IN" b="1" dirty="0" smtClean="0"/>
              <a:t>Development</a:t>
            </a:r>
          </a:p>
          <a:p>
            <a:endParaRPr lang="en-IN" dirty="0" smtClean="0"/>
          </a:p>
          <a:p>
            <a:pPr marL="171450" indent="-171450">
              <a:buFont typeface="Arial" panose="020B0604020202020204" pitchFamily="34" charset="0"/>
              <a:buChar char="•"/>
            </a:pPr>
            <a:r>
              <a:rPr lang="en-IN" dirty="0" smtClean="0"/>
              <a:t>Cloud services now make it easy to both develop and deploy scalable rapid solutions across your business </a:t>
            </a:r>
          </a:p>
          <a:p>
            <a:pPr marL="171450" indent="-171450">
              <a:buFont typeface="Arial" panose="020B0604020202020204" pitchFamily="34" charset="0"/>
              <a:buChar char="•"/>
            </a:pPr>
            <a:endParaRPr lang="en-IN" dirty="0" smtClean="0"/>
          </a:p>
          <a:p>
            <a:pPr marL="0" indent="0">
              <a:buFont typeface="Arial" panose="020B0604020202020204" pitchFamily="34" charset="0"/>
              <a:buNone/>
            </a:pPr>
            <a:r>
              <a:rPr lang="en-IN" b="1" dirty="0" smtClean="0"/>
              <a:t>New</a:t>
            </a:r>
            <a:r>
              <a:rPr lang="en-IN" b="1" baseline="0" dirty="0" smtClean="0"/>
              <a:t> Scenarios</a:t>
            </a:r>
            <a:endParaRPr lang="en-IN" b="1" dirty="0" smtClean="0"/>
          </a:p>
          <a:p>
            <a:pPr marL="171450" indent="-171450">
              <a:buFont typeface="Arial" panose="020B0604020202020204" pitchFamily="34" charset="0"/>
              <a:buChar char="•"/>
            </a:pPr>
            <a:endParaRPr lang="en-IN" dirty="0" smtClean="0"/>
          </a:p>
          <a:p>
            <a:pPr marL="171450" indent="-171450">
              <a:buFont typeface="Arial" panose="020B0604020202020204" pitchFamily="34" charset="0"/>
              <a:buChar char="•"/>
            </a:pPr>
            <a:r>
              <a:rPr lang="en-IN" dirty="0" smtClean="0"/>
              <a:t>These last 3 points are all enabling and driving new business scenarios.</a:t>
            </a:r>
          </a:p>
          <a:p>
            <a:pPr marL="171450" indent="-171450">
              <a:buFont typeface="Arial" panose="020B0604020202020204" pitchFamily="34" charset="0"/>
              <a:buChar char="•"/>
            </a:pPr>
            <a:endParaRPr lang="en-IN" dirty="0" smtClean="0"/>
          </a:p>
          <a:p>
            <a:endParaRPr lang="en-IN" baseline="0" dirty="0" smtClean="0"/>
          </a:p>
          <a:p>
            <a:endParaRPr lang="en-IN" b="1"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5F27D4-9122-47BC-9AC6-5C9D2E3822B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0989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b="1" baseline="0" dirty="0" smtClean="0">
                <a:latin typeface="Segoe UI" panose="020B0502040204020203" pitchFamily="34" charset="0"/>
                <a:cs typeface="Segoe UI" panose="020B0502040204020203" pitchFamily="34" charset="0"/>
              </a:rPr>
              <a:t>Slide goal: </a:t>
            </a:r>
            <a:endParaRPr lang="en-US" b="0" baseline="0" dirty="0" smtClean="0">
              <a:latin typeface="Segoe UI" panose="020B0502040204020203" pitchFamily="34" charset="0"/>
              <a:cs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n-US" b="0" baseline="0" dirty="0" smtClean="0">
                <a:latin typeface="Segoe UI" panose="020B0502040204020203" pitchFamily="34" charset="0"/>
                <a:cs typeface="Segoe UI" panose="020B0502040204020203" pitchFamily="34" charset="0"/>
              </a:rPr>
              <a:t>Introduce the basics of IoT to the audience</a:t>
            </a:r>
          </a:p>
          <a:p>
            <a:pPr marL="0" marR="0" indent="0" algn="l" defTabSz="914377" rtl="0" eaLnBrk="1" fontAlgn="auto" latinLnBrk="0" hangingPunct="1">
              <a:lnSpc>
                <a:spcPct val="100000"/>
              </a:lnSpc>
              <a:spcBef>
                <a:spcPts val="0"/>
              </a:spcBef>
              <a:spcAft>
                <a:spcPts val="0"/>
              </a:spcAft>
              <a:buClrTx/>
              <a:buSzTx/>
              <a:buFontTx/>
              <a:buNone/>
              <a:tabLst/>
              <a:defRPr/>
            </a:pPr>
            <a:endParaRPr lang="en-US" b="0" baseline="0" dirty="0" smtClean="0">
              <a:latin typeface="Segoe UI" panose="020B0502040204020203" pitchFamily="34" charset="0"/>
              <a:cs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n-US" b="1" baseline="0" dirty="0" smtClean="0">
                <a:latin typeface="Segoe UI" panose="020B0502040204020203" pitchFamily="34" charset="0"/>
                <a:cs typeface="Segoe UI" panose="020B0502040204020203" pitchFamily="34" charset="0"/>
              </a:rPr>
              <a:t>Key points:</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latin typeface="Segoe UI" panose="020B0502040204020203" pitchFamily="34" charset="0"/>
                <a:cs typeface="Segoe UI" panose="020B0502040204020203" pitchFamily="34" charset="0"/>
              </a:rPr>
              <a:t>IoT is one of the biggest trends in the technology space</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latin typeface="Segoe UI" panose="020B0502040204020203" pitchFamily="34" charset="0"/>
                <a:cs typeface="Segoe UI" panose="020B0502040204020203" pitchFamily="34" charset="0"/>
              </a:rPr>
              <a:t>This trend is driven by a combination of factors including hardware costs, more pervasive connectivity, and the availability of cloud services and solutions</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latin typeface="Segoe UI" panose="020B0502040204020203" pitchFamily="34" charset="0"/>
                <a:cs typeface="Segoe UI" panose="020B0502040204020203" pitchFamily="34" charset="0"/>
              </a:rPr>
              <a:t>Networks of connected devices, collecting vast amounts of data in the cloud, enable a data revolution</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latin typeface="Segoe UI" panose="020B0502040204020203" pitchFamily="34" charset="0"/>
                <a:cs typeface="Segoe UI" panose="020B0502040204020203" pitchFamily="34" charset="0"/>
              </a:rPr>
              <a:t>Partners can create new business models and revenue streams by capturing and using the raw telemetry data to uncover meaningful insights across a range of industries</a:t>
            </a:r>
            <a:endParaRPr lang="en-US" b="0" baseline="0" dirty="0" smtClean="0">
              <a:latin typeface="Segoe UI" panose="020B0502040204020203" pitchFamily="34" charset="0"/>
              <a:cs typeface="Segoe UI" panose="020B0502040204020203" pitchFamily="34" charset="0"/>
            </a:endParaRPr>
          </a:p>
          <a:p>
            <a:endParaRPr lang="en-US" baseline="0" dirty="0" smtClean="0">
              <a:latin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n-US" b="1" baseline="0" dirty="0" smtClean="0">
                <a:latin typeface="Segoe UI" panose="020B0502040204020203" pitchFamily="34" charset="0"/>
                <a:cs typeface="Segoe UI" panose="020B0502040204020203" pitchFamily="34" charset="0"/>
              </a:rPr>
              <a:t>Presenter guidance:</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latin typeface="Segoe UI" panose="020B0502040204020203" pitchFamily="34" charset="0"/>
                <a:cs typeface="Segoe UI" panose="020B0502040204020203" pitchFamily="34" charset="0"/>
              </a:rPr>
              <a:t>Keep information at a high-level, teeing up the next two slides which provide more substance around what IoT is</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latin typeface="Segoe UI" panose="020B0502040204020203" pitchFamily="34" charset="0"/>
                <a:cs typeface="Segoe UI" panose="020B0502040204020203" pitchFamily="34" charset="0"/>
              </a:rPr>
              <a:t>Use this slide as context for partners who may be unfamiliar with IoT</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latin typeface="Segoe UI" panose="020B0502040204020203" pitchFamily="34" charset="0"/>
                <a:cs typeface="Segoe UI" panose="020B0502040204020203" pitchFamily="34" charset="0"/>
              </a:rPr>
              <a:t>Hide this slide if the partner is already familiar with IoT </a:t>
            </a:r>
            <a:endParaRPr lang="en-US" baseline="0" dirty="0" smtClean="0">
              <a:latin typeface="Segoe UI" panose="020B0502040204020203" pitchFamily="34" charset="0"/>
            </a:endParaRPr>
          </a:p>
          <a:p>
            <a:endParaRPr lang="en-US" baseline="0" dirty="0" smtClean="0">
              <a:latin typeface="Segoe UI" panose="020B0502040204020203" pitchFamily="34" charset="0"/>
            </a:endParaRPr>
          </a:p>
          <a:p>
            <a:r>
              <a:rPr lang="en-US" b="1" baseline="0" dirty="0" smtClean="0">
                <a:latin typeface="Segoe UI" panose="020B0502040204020203" pitchFamily="34" charset="0"/>
              </a:rPr>
              <a:t>Talk track:</a:t>
            </a:r>
          </a:p>
          <a:p>
            <a:r>
              <a:rPr lang="en-US" baseline="0" dirty="0" smtClean="0">
                <a:latin typeface="Segoe UI" panose="020B0502040204020203" pitchFamily="34" charset="0"/>
              </a:rPr>
              <a:t>You’ve likely seen that the Internet of Things, or IoT, has recently emerged as one of the biggest trends in the technology space. But in fact, IoT is not new—many companies have been delivering IoT solutions for years. What’s </a:t>
            </a:r>
            <a:r>
              <a:rPr lang="en-US" sz="1200" kern="1200" dirty="0" smtClean="0">
                <a:solidFill>
                  <a:schemeClr val="tx1"/>
                </a:solidFill>
                <a:effectLst/>
                <a:latin typeface="Segoe UI" panose="020B0502040204020203" pitchFamily="34" charset="0"/>
                <a:ea typeface="+mn-ea"/>
                <a:cs typeface="+mn-cs"/>
              </a:rPr>
              <a:t>new is the ability to bring all of the required components together quickly,</a:t>
            </a:r>
            <a:r>
              <a:rPr lang="en-US" sz="1200" kern="1200" baseline="0" dirty="0" smtClean="0">
                <a:solidFill>
                  <a:schemeClr val="tx1"/>
                </a:solidFill>
                <a:effectLst/>
                <a:latin typeface="Segoe UI" panose="020B0502040204020203" pitchFamily="34" charset="0"/>
                <a:ea typeface="+mn-ea"/>
                <a:cs typeface="+mn-cs"/>
              </a:rPr>
              <a:t> </a:t>
            </a:r>
            <a:r>
              <a:rPr lang="en-US" sz="1200" kern="1200" dirty="0" smtClean="0">
                <a:solidFill>
                  <a:schemeClr val="tx1"/>
                </a:solidFill>
                <a:effectLst/>
                <a:latin typeface="Segoe UI" panose="020B0502040204020203" pitchFamily="34" charset="0"/>
                <a:ea typeface="+mn-ea"/>
                <a:cs typeface="+mn-cs"/>
              </a:rPr>
              <a:t>easily</a:t>
            </a:r>
            <a:r>
              <a:rPr lang="en-US" sz="1200" kern="1200" baseline="0" dirty="0" smtClean="0">
                <a:solidFill>
                  <a:schemeClr val="tx1"/>
                </a:solidFill>
                <a:effectLst/>
                <a:latin typeface="Segoe UI" panose="020B0502040204020203" pitchFamily="34" charset="0"/>
                <a:ea typeface="+mn-ea"/>
                <a:cs typeface="+mn-cs"/>
              </a:rPr>
              <a:t> and cost-effectively</a:t>
            </a:r>
            <a:r>
              <a:rPr lang="en-US" sz="1200" kern="1200" dirty="0" smtClean="0">
                <a:solidFill>
                  <a:schemeClr val="tx1"/>
                </a:solidFill>
                <a:effectLst/>
                <a:latin typeface="Segoe UI" panose="020B0502040204020203" pitchFamily="34" charset="0"/>
                <a:ea typeface="+mn-ea"/>
                <a:cs typeface="+mn-cs"/>
              </a:rPr>
              <a:t>. A</a:t>
            </a:r>
            <a:r>
              <a:rPr lang="en-US" sz="1200" kern="1200" baseline="0" dirty="0" smtClean="0">
                <a:solidFill>
                  <a:schemeClr val="tx1"/>
                </a:solidFill>
                <a:effectLst/>
                <a:latin typeface="Segoe UI" panose="020B0502040204020203" pitchFamily="34" charset="0"/>
                <a:ea typeface="+mn-ea"/>
                <a:cs typeface="+mn-cs"/>
              </a:rPr>
              <a:t> combination of factors, including falling hardware costs, more pervasive connectivity, and the availability of cloud solutions, have recently converged – this is what’s making IoT solutions more feasible, for more scenarios, than ever before. </a:t>
            </a:r>
            <a:endParaRPr lang="en-US" baseline="0" dirty="0" smtClean="0">
              <a:latin typeface="Segoe UI" panose="020B0502040204020203" pitchFamily="34" charset="0"/>
            </a:endParaRPr>
          </a:p>
          <a:p>
            <a:endParaRPr lang="en-US" baseline="0" dirty="0" smtClean="0">
              <a:latin typeface="Segoe UI" panose="020B0502040204020203" pitchFamily="34" charset="0"/>
            </a:endParaRPr>
          </a:p>
          <a:p>
            <a:r>
              <a:rPr lang="en-US" baseline="0" dirty="0" smtClean="0">
                <a:latin typeface="Segoe UI" panose="020B0502040204020203" pitchFamily="34" charset="0"/>
              </a:rPr>
              <a:t>And with the proliferation of connected, “smart” devices and other endpoints, in both consumer markets and industrial sectors, there is greater awareness and understanding of the possibilities that IoT solutions enable. </a:t>
            </a:r>
          </a:p>
          <a:p>
            <a:endParaRPr lang="en-US" sz="1200" kern="1200" dirty="0" smtClean="0">
              <a:solidFill>
                <a:schemeClr val="tx1"/>
              </a:solidFill>
              <a:effectLst/>
              <a:latin typeface="Segoe UI" panose="020B0502040204020203"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latin typeface="Segoe UI" panose="020B0502040204020203" pitchFamily="34" charset="0"/>
              </a:rPr>
              <a:t>That network of connected endpoints </a:t>
            </a:r>
            <a:r>
              <a:rPr lang="en-US" sz="1200" kern="1200" baseline="0" dirty="0" smtClean="0">
                <a:solidFill>
                  <a:schemeClr val="tx1"/>
                </a:solidFill>
                <a:effectLst/>
                <a:latin typeface="Segoe UI" panose="020B0502040204020203" pitchFamily="34" charset="0"/>
                <a:ea typeface="+mn-ea"/>
                <a:cs typeface="+mn-cs"/>
              </a:rPr>
              <a:t>is generating unprecedented data volumes, </a:t>
            </a:r>
            <a:r>
              <a:rPr lang="en-US" baseline="0" dirty="0" smtClean="0">
                <a:latin typeface="Segoe UI" panose="020B0502040204020203" pitchFamily="34" charset="0"/>
              </a:rPr>
              <a:t>and that data is really what is creating the revolution—a data revolution.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latin typeface="Segoe UI" panose="020B0502040204020203" pitchFamily="34" charset="0"/>
              </a:rPr>
              <a:t>By using data to uncover meaningful insights, companies are discovering opportunities to create new business models and revenue streams, and are enabling radical business transformation. It’s the data aspect of IoT that provides new </a:t>
            </a:r>
            <a:r>
              <a:rPr lang="en-US" sz="1200" kern="1200" baseline="0" dirty="0" smtClean="0">
                <a:solidFill>
                  <a:schemeClr val="tx1"/>
                </a:solidFill>
                <a:effectLst/>
                <a:latin typeface="Segoe UI" panose="020B0502040204020203" pitchFamily="34" charset="0"/>
                <a:ea typeface="+mn-ea"/>
                <a:cs typeface="+mn-cs"/>
              </a:rPr>
              <a:t>value, and that data is what enables broad, transformative insights</a:t>
            </a:r>
            <a:endParaRPr lang="en-US" sz="1200" kern="1200" dirty="0" smtClean="0">
              <a:solidFill>
                <a:schemeClr val="tx1"/>
              </a:solidFill>
              <a:effectLst/>
              <a:latin typeface="Segoe UI" panose="020B0502040204020203" pitchFamily="34" charset="0"/>
              <a:ea typeface="+mn-ea"/>
              <a:cs typeface="+mn-cs"/>
            </a:endParaRPr>
          </a:p>
          <a:p>
            <a:endParaRPr lang="en-US" baseline="0" dirty="0" smtClean="0">
              <a:latin typeface="Segoe UI" panose="020B0502040204020203" pitchFamily="34" charset="0"/>
            </a:endParaRPr>
          </a:p>
          <a:p>
            <a:r>
              <a:rPr lang="en-US" b="1" baseline="0" dirty="0" smtClean="0">
                <a:latin typeface="Segoe UI" panose="020B0502040204020203" pitchFamily="34" charset="0"/>
              </a:rPr>
              <a:t>&lt;Click&g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5F27D4-9122-47BC-9AC6-5C9D2E3822B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35596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5.xml"/><Relationship Id="rId4" Type="http://schemas.openxmlformats.org/officeDocument/2006/relationships/image" Target="../media/image25.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g"/><Relationship Id="rId1" Type="http://schemas.openxmlformats.org/officeDocument/2006/relationships/slideMaster" Target="../slideMasters/slideMaster5.xml"/><Relationship Id="rId4" Type="http://schemas.openxmlformats.org/officeDocument/2006/relationships/image" Target="../media/image24.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Master" Target="../slideMasters/slideMaster5.xml"/><Relationship Id="rId5" Type="http://schemas.openxmlformats.org/officeDocument/2006/relationships/image" Target="../media/image29.jpg"/><Relationship Id="rId4" Type="http://schemas.openxmlformats.org/officeDocument/2006/relationships/image" Target="../media/image28.jp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Master" Target="../slideMasters/slideMaster5.xml"/><Relationship Id="rId4" Type="http://schemas.openxmlformats.org/officeDocument/2006/relationships/image" Target="../media/image30.jp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2.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31.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37.emf"/><Relationship Id="rId4" Type="http://schemas.openxmlformats.org/officeDocument/2006/relationships/oleObject" Target="../embeddings/oleObject14.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37.emf"/><Relationship Id="rId4" Type="http://schemas.openxmlformats.org/officeDocument/2006/relationships/oleObject" Target="../embeddings/oleObject15.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37.emf"/><Relationship Id="rId4" Type="http://schemas.openxmlformats.org/officeDocument/2006/relationships/oleObject" Target="../embeddings/oleObject16.bin"/></Relationships>
</file>

<file path=ppt/slideLayouts/_rels/slideLayout29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37.emf"/><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3.xml"/><Relationship Id="rId4" Type="http://schemas.openxmlformats.org/officeDocument/2006/relationships/tags" Target="../tags/tag19.xml"/></Relationships>
</file>

<file path=ppt/slideLayouts/_rels/slideLayout295.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7.emf"/><Relationship Id="rId2" Type="http://schemas.openxmlformats.org/officeDocument/2006/relationships/tags" Target="../tags/tag20.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3.xml"/><Relationship Id="rId4" Type="http://schemas.openxmlformats.org/officeDocument/2006/relationships/tags" Target="../tags/tag22.xml"/></Relationships>
</file>

<file path=ppt/slideLayouts/_rels/slideLayout296.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37.emf"/><Relationship Id="rId2" Type="http://schemas.openxmlformats.org/officeDocument/2006/relationships/tags" Target="../tags/tag23.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13.xml"/><Relationship Id="rId4" Type="http://schemas.openxmlformats.org/officeDocument/2006/relationships/tags" Target="../tags/tag25.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6.xml"/><Relationship Id="rId1" Type="http://schemas.openxmlformats.org/officeDocument/2006/relationships/vmlDrawing" Target="../drawings/vmlDrawing20.vml"/><Relationship Id="rId5" Type="http://schemas.openxmlformats.org/officeDocument/2006/relationships/image" Target="../media/image37.emf"/><Relationship Id="rId4" Type="http://schemas.openxmlformats.org/officeDocument/2006/relationships/oleObject" Target="../embeddings/oleObject20.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7.xml"/><Relationship Id="rId1" Type="http://schemas.openxmlformats.org/officeDocument/2006/relationships/vmlDrawing" Target="../drawings/vmlDrawing21.vml"/><Relationship Id="rId5" Type="http://schemas.openxmlformats.org/officeDocument/2006/relationships/image" Target="../media/image37.emf"/><Relationship Id="rId4" Type="http://schemas.openxmlformats.org/officeDocument/2006/relationships/oleObject" Target="../embeddings/oleObject21.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8.xml"/><Relationship Id="rId1" Type="http://schemas.openxmlformats.org/officeDocument/2006/relationships/vmlDrawing" Target="../drawings/vmlDrawing22.vml"/><Relationship Id="rId5" Type="http://schemas.openxmlformats.org/officeDocument/2006/relationships/image" Target="../media/image37.emf"/><Relationship Id="rId4" Type="http://schemas.openxmlformats.org/officeDocument/2006/relationships/oleObject" Target="../embeddings/oleObject2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9.xml"/><Relationship Id="rId1" Type="http://schemas.openxmlformats.org/officeDocument/2006/relationships/vmlDrawing" Target="../drawings/vmlDrawing23.vml"/><Relationship Id="rId5" Type="http://schemas.openxmlformats.org/officeDocument/2006/relationships/image" Target="../media/image37.emf"/><Relationship Id="rId4" Type="http://schemas.openxmlformats.org/officeDocument/2006/relationships/oleObject" Target="../embeddings/oleObject23.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xml"/><Relationship Id="rId1" Type="http://schemas.openxmlformats.org/officeDocument/2006/relationships/vmlDrawing" Target="../drawings/vmlDrawing24.vml"/><Relationship Id="rId5" Type="http://schemas.openxmlformats.org/officeDocument/2006/relationships/image" Target="../media/image37.emf"/><Relationship Id="rId4" Type="http://schemas.openxmlformats.org/officeDocument/2006/relationships/oleObject" Target="../embeddings/oleObject24.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1.xml"/><Relationship Id="rId1" Type="http://schemas.openxmlformats.org/officeDocument/2006/relationships/vmlDrawing" Target="../drawings/vmlDrawing25.vml"/><Relationship Id="rId5" Type="http://schemas.openxmlformats.org/officeDocument/2006/relationships/image" Target="../media/image37.emf"/><Relationship Id="rId4" Type="http://schemas.openxmlformats.org/officeDocument/2006/relationships/oleObject" Target="../embeddings/oleObject25.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2.xml"/><Relationship Id="rId1" Type="http://schemas.openxmlformats.org/officeDocument/2006/relationships/vmlDrawing" Target="../drawings/vmlDrawing26.vml"/><Relationship Id="rId5" Type="http://schemas.openxmlformats.org/officeDocument/2006/relationships/image" Target="../media/image37.emf"/><Relationship Id="rId4" Type="http://schemas.openxmlformats.org/officeDocument/2006/relationships/oleObject" Target="../embeddings/oleObject26.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3.xml"/><Relationship Id="rId1" Type="http://schemas.openxmlformats.org/officeDocument/2006/relationships/vmlDrawing" Target="../drawings/vmlDrawing27.vml"/><Relationship Id="rId6" Type="http://schemas.openxmlformats.org/officeDocument/2006/relationships/image" Target="../media/image39.emf"/><Relationship Id="rId5" Type="http://schemas.openxmlformats.org/officeDocument/2006/relationships/image" Target="../media/image37.emf"/><Relationship Id="rId4" Type="http://schemas.openxmlformats.org/officeDocument/2006/relationships/oleObject" Target="../embeddings/oleObject27.bin"/></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4.xml"/><Relationship Id="rId1" Type="http://schemas.openxmlformats.org/officeDocument/2006/relationships/vmlDrawing" Target="../drawings/vmlDrawing28.vml"/><Relationship Id="rId5" Type="http://schemas.openxmlformats.org/officeDocument/2006/relationships/image" Target="../media/image37.emf"/><Relationship Id="rId4" Type="http://schemas.openxmlformats.org/officeDocument/2006/relationships/oleObject" Target="../embeddings/oleObject28.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5.xml"/><Relationship Id="rId1" Type="http://schemas.openxmlformats.org/officeDocument/2006/relationships/vmlDrawing" Target="../drawings/vmlDrawing29.vml"/><Relationship Id="rId5" Type="http://schemas.openxmlformats.org/officeDocument/2006/relationships/image" Target="../media/image37.emf"/><Relationship Id="rId4" Type="http://schemas.openxmlformats.org/officeDocument/2006/relationships/oleObject" Target="../embeddings/oleObject29.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6.xml"/><Relationship Id="rId1" Type="http://schemas.openxmlformats.org/officeDocument/2006/relationships/vmlDrawing" Target="../drawings/vmlDrawing30.vml"/><Relationship Id="rId5" Type="http://schemas.openxmlformats.org/officeDocument/2006/relationships/image" Target="../media/image37.emf"/><Relationship Id="rId4" Type="http://schemas.openxmlformats.org/officeDocument/2006/relationships/oleObject" Target="../embeddings/oleObject30.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7.xml"/><Relationship Id="rId1" Type="http://schemas.openxmlformats.org/officeDocument/2006/relationships/vmlDrawing" Target="../drawings/vmlDrawing31.vml"/><Relationship Id="rId5" Type="http://schemas.openxmlformats.org/officeDocument/2006/relationships/image" Target="../media/image37.emf"/><Relationship Id="rId4" Type="http://schemas.openxmlformats.org/officeDocument/2006/relationships/oleObject" Target="../embeddings/oleObject31.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8.xml"/><Relationship Id="rId1" Type="http://schemas.openxmlformats.org/officeDocument/2006/relationships/vmlDrawing" Target="../drawings/vmlDrawing32.vml"/><Relationship Id="rId6" Type="http://schemas.openxmlformats.org/officeDocument/2006/relationships/image" Target="../media/image40.png"/><Relationship Id="rId5" Type="http://schemas.openxmlformats.org/officeDocument/2006/relationships/image" Target="../media/image37.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xml"/><Relationship Id="rId1" Type="http://schemas.openxmlformats.org/officeDocument/2006/relationships/vmlDrawing" Target="../drawings/vmlDrawing33.vml"/><Relationship Id="rId5" Type="http://schemas.openxmlformats.org/officeDocument/2006/relationships/image" Target="../media/image37.emf"/><Relationship Id="rId4" Type="http://schemas.openxmlformats.org/officeDocument/2006/relationships/oleObject" Target="../embeddings/oleObject33.bin"/></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42.jpeg"/><Relationship Id="rId1" Type="http://schemas.openxmlformats.org/officeDocument/2006/relationships/slideMaster" Target="../slideMasters/slideMaster14.xml"/><Relationship Id="rId4" Type="http://schemas.openxmlformats.org/officeDocument/2006/relationships/image" Target="../media/image43.emf"/></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42.jpeg"/><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6.jpg"/><Relationship Id="rId1" Type="http://schemas.openxmlformats.org/officeDocument/2006/relationships/slideMaster" Target="../slideMasters/slideMaster15.xml"/><Relationship Id="rId4" Type="http://schemas.openxmlformats.org/officeDocument/2006/relationships/image" Target="../media/image47.jpeg"/></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9.jpg"/><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g"/><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1.xml"/><Relationship Id="rId1" Type="http://schemas.openxmlformats.org/officeDocument/2006/relationships/tags" Target="../tags/tag40.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3.xml"/><Relationship Id="rId1" Type="http://schemas.openxmlformats.org/officeDocument/2006/relationships/tags" Target="../tags/tag42.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5.xml"/><Relationship Id="rId1" Type="http://schemas.openxmlformats.org/officeDocument/2006/relationships/tags" Target="../tags/tag4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5.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1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6.xml"/><Relationship Id="rId1" Type="http://schemas.openxmlformats.org/officeDocument/2006/relationships/vmlDrawing" Target="../drawings/vmlDrawing34.vml"/><Relationship Id="rId5" Type="http://schemas.openxmlformats.org/officeDocument/2006/relationships/image" Target="../media/image37.emf"/><Relationship Id="rId4" Type="http://schemas.openxmlformats.org/officeDocument/2006/relationships/oleObject" Target="../embeddings/oleObject34.bin"/></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0.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19.jpeg"/></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19.jpe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212775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676298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450403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04822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980560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054554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483010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8013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92000"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Tree>
    <p:extLst>
      <p:ext uri="{BB962C8B-B14F-4D97-AF65-F5344CB8AC3E}">
        <p14:creationId xmlns:p14="http://schemas.microsoft.com/office/powerpoint/2010/main" val="184721965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1" y="-7783"/>
            <a:ext cx="12221569" cy="6873565"/>
          </a:xfrm>
          <a:prstGeom prst="rect">
            <a:avLst/>
          </a:prstGeom>
        </p:spPr>
      </p:pic>
      <p:sp>
        <p:nvSpPr>
          <p:cNvPr id="19" name="Dark gradation top"/>
          <p:cNvSpPr/>
          <p:nvPr userDrawn="1"/>
        </p:nvSpPr>
        <p:spPr bwMode="gray">
          <a:xfrm>
            <a:off x="0" y="-7783"/>
            <a:ext cx="12106223"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18" name="Rectangle 17"/>
          <p:cNvSpPr/>
          <p:nvPr userDrawn="1"/>
        </p:nvSpPr>
        <p:spPr bwMode="gray">
          <a:xfrm>
            <a:off x="269240" y="2084172"/>
            <a:ext cx="5901462"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5903019"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40" y="4146242"/>
            <a:ext cx="5901462"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1154528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637126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3" name="Rectangle 2"/>
          <p:cNvSpPr/>
          <p:nvPr userDrawn="1"/>
        </p:nvSpPr>
        <p:spPr bwMode="auto">
          <a:xfrm>
            <a:off x="269239" y="2084172"/>
            <a:ext cx="8067823"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spTree>
    <p:extLst>
      <p:ext uri="{BB962C8B-B14F-4D97-AF65-F5344CB8AC3E}">
        <p14:creationId xmlns:p14="http://schemas.microsoft.com/office/powerpoint/2010/main" val="3474270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78334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09064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2112386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9403612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9737394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14591399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9502926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127879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181887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672121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6455362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41900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213014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827560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81026331"/>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272052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8556501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121212806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00703767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422295324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47103398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05178064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648686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625357578"/>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6999" y="-7783"/>
            <a:ext cx="6074570" cy="6873565"/>
          </a:xfrm>
          <a:prstGeom prst="rect">
            <a:avLst/>
          </a:prstGeom>
        </p:spPr>
      </p:pic>
    </p:spTree>
    <p:extLst>
      <p:ext uri="{BB962C8B-B14F-4D97-AF65-F5344CB8AC3E}">
        <p14:creationId xmlns:p14="http://schemas.microsoft.com/office/powerpoint/2010/main" val="26907807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70701" y="1"/>
            <a:ext cx="6050868" cy="6857999"/>
          </a:xfrm>
          <a:prstGeom prst="rect">
            <a:avLst/>
          </a:prstGeom>
        </p:spPr>
      </p:pic>
    </p:spTree>
    <p:extLst>
      <p:ext uri="{BB962C8B-B14F-4D97-AF65-F5344CB8AC3E}">
        <p14:creationId xmlns:p14="http://schemas.microsoft.com/office/powerpoint/2010/main" val="138948198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511138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2501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5818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04498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257092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41224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an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8"/>
            <a:ext cx="11151917" cy="771151"/>
          </a:xfrm>
        </p:spPr>
        <p:txBody>
          <a:bodyPr/>
          <a:lstStyle>
            <a:lvl1pPr>
              <a:defRPr>
                <a:solidFill>
                  <a:srgbClr val="5F5F5F"/>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77953" y="1402081"/>
            <a:ext cx="11151917" cy="2187971"/>
          </a:xfrm>
        </p:spPr>
        <p:txBody>
          <a:bodyPr/>
          <a:lstStyle>
            <a:lvl1pPr>
              <a:defRPr>
                <a:solidFill>
                  <a:srgbClr val="5F5F5F"/>
                </a:solidFill>
              </a:defRPr>
            </a:lvl1pPr>
            <a:lvl2pPr>
              <a:defRPr>
                <a:solidFill>
                  <a:srgbClr val="5F5F5F"/>
                </a:solidFill>
              </a:defRPr>
            </a:lvl2pPr>
            <a:lvl3pPr>
              <a:defRPr>
                <a:solidFill>
                  <a:srgbClr val="5F5F5F"/>
                </a:solidFill>
              </a:defRPr>
            </a:lvl3pPr>
            <a:lvl4pPr>
              <a:defRPr>
                <a:solidFill>
                  <a:srgbClr val="5F5F5F"/>
                </a:solidFill>
              </a:defRPr>
            </a:lvl4pPr>
            <a:lvl5pPr>
              <a:defRPr>
                <a:solidFill>
                  <a:srgbClr val="5F5F5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82571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4550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DK BLUE 3 COLUMN">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525702"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31"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6"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6682923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140" t="13287" r="2103" b="3771"/>
          <a:stretch/>
        </p:blipFill>
        <p:spPr>
          <a:xfrm>
            <a:off x="0" y="0"/>
            <a:ext cx="12221570" cy="6890112"/>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103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9" y="1559"/>
                        <a:ext cx="1556" cy="1556"/>
                      </a:xfrm>
                      <a:prstGeom prst="rect">
                        <a:avLst/>
                      </a:prstGeom>
                    </p:spPr>
                  </p:pic>
                </p:oleObj>
              </mc:Fallback>
            </mc:AlternateContent>
          </a:graphicData>
        </a:graphic>
      </p:graphicFrame>
      <p:sp>
        <p:nvSpPr>
          <p:cNvPr id="16" name="Title 1"/>
          <p:cNvSpPr>
            <a:spLocks noGrp="1"/>
          </p:cNvSpPr>
          <p:nvPr>
            <p:ph type="ctrTitle" hasCustomPrompt="1"/>
          </p:nvPr>
        </p:nvSpPr>
        <p:spPr>
          <a:xfrm>
            <a:off x="457202" y="2440828"/>
            <a:ext cx="6152365" cy="1329595"/>
          </a:xfrm>
          <a:prstGeom prst="rect">
            <a:avLst/>
          </a:prstGeom>
        </p:spPr>
        <p:txBody>
          <a:bodyPr wrap="square" lIns="143407" tIns="0" rIns="143407" bIns="0">
            <a:spAutoFit/>
          </a:bodyPr>
          <a:lstStyle>
            <a:lvl1pPr>
              <a:lnSpc>
                <a:spcPct val="90000"/>
              </a:lnSpc>
              <a:spcBef>
                <a:spcPts val="0"/>
              </a:spcBef>
              <a:defRPr sz="4800"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57202" y="4897113"/>
            <a:ext cx="6152293" cy="581786"/>
          </a:xfrm>
          <a:prstGeom prst="rect">
            <a:avLst/>
          </a:prstGeom>
        </p:spPr>
        <p:txBody>
          <a:bodyPr lIns="143407" tIns="0" rIns="143407" bIns="0"/>
          <a:lstStyle>
            <a:lvl1pPr marL="0" indent="0" algn="l">
              <a:lnSpc>
                <a:spcPct val="90000"/>
              </a:lnSpc>
              <a:spcBef>
                <a:spcPts val="0"/>
              </a:spcBef>
              <a:buNone/>
              <a:defRPr sz="2100">
                <a:solidFill>
                  <a:schemeClr val="bg1"/>
                </a:solidFill>
                <a:latin typeface="+mn-lt"/>
              </a:defRPr>
            </a:lvl1pPr>
            <a:lvl2pPr marL="447877" indent="0" algn="ctr">
              <a:buNone/>
              <a:defRPr>
                <a:solidFill>
                  <a:schemeClr val="tx1">
                    <a:tint val="75000"/>
                  </a:schemeClr>
                </a:solidFill>
              </a:defRPr>
            </a:lvl2pPr>
            <a:lvl3pPr marL="895756" indent="0" algn="ctr">
              <a:buNone/>
              <a:defRPr>
                <a:solidFill>
                  <a:schemeClr val="tx1">
                    <a:tint val="75000"/>
                  </a:schemeClr>
                </a:solidFill>
              </a:defRPr>
            </a:lvl3pPr>
            <a:lvl4pPr marL="1343633" indent="0" algn="ctr">
              <a:buNone/>
              <a:defRPr>
                <a:solidFill>
                  <a:schemeClr val="tx1">
                    <a:tint val="75000"/>
                  </a:schemeClr>
                </a:solidFill>
              </a:defRPr>
            </a:lvl4pPr>
            <a:lvl5pPr marL="1791514" indent="0" algn="ctr">
              <a:buNone/>
              <a:defRPr>
                <a:solidFill>
                  <a:schemeClr val="tx1">
                    <a:tint val="75000"/>
                  </a:schemeClr>
                </a:solidFill>
              </a:defRPr>
            </a:lvl5pPr>
            <a:lvl6pPr marL="2239390" indent="0" algn="ctr">
              <a:buNone/>
              <a:defRPr>
                <a:solidFill>
                  <a:schemeClr val="tx1">
                    <a:tint val="75000"/>
                  </a:schemeClr>
                </a:solidFill>
              </a:defRPr>
            </a:lvl6pPr>
            <a:lvl7pPr marL="2687269" indent="0" algn="ctr">
              <a:buNone/>
              <a:defRPr>
                <a:solidFill>
                  <a:schemeClr val="tx1">
                    <a:tint val="75000"/>
                  </a:schemeClr>
                </a:solidFill>
              </a:defRPr>
            </a:lvl7pPr>
            <a:lvl8pPr marL="3135146" indent="0" algn="ctr">
              <a:buNone/>
              <a:defRPr>
                <a:solidFill>
                  <a:schemeClr val="tx1">
                    <a:tint val="75000"/>
                  </a:schemeClr>
                </a:solidFill>
              </a:defRPr>
            </a:lvl8pPr>
            <a:lvl9pPr marL="3583024"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57581" y="3844288"/>
            <a:ext cx="6168385" cy="863867"/>
          </a:xfrm>
          <a:prstGeom prst="rect">
            <a:avLst/>
          </a:prstGeom>
        </p:spPr>
        <p:txBody>
          <a:bodyPr lIns="143407" tIns="0" rIns="143407" bIns="0">
            <a:normAutofit/>
          </a:bodyPr>
          <a:lstStyle>
            <a:lvl1pPr marL="0" indent="0">
              <a:lnSpc>
                <a:spcPct val="90000"/>
              </a:lnSpc>
              <a:spcBef>
                <a:spcPts val="0"/>
              </a:spcBef>
              <a:buNone/>
              <a:defRPr sz="2000" baseline="0">
                <a:solidFill>
                  <a:schemeClr val="bg1"/>
                </a:solidFill>
                <a:latin typeface="+mn-lt"/>
              </a:defRPr>
            </a:lvl1pPr>
            <a:lvl2pPr marL="335909" indent="0">
              <a:buNone/>
              <a:defRPr sz="1600">
                <a:solidFill>
                  <a:schemeClr val="bg1"/>
                </a:solidFill>
                <a:latin typeface="+mj-lt"/>
              </a:defRPr>
            </a:lvl2pPr>
            <a:lvl3pPr marL="559848" indent="0">
              <a:buNone/>
              <a:defRPr sz="1300">
                <a:solidFill>
                  <a:schemeClr val="bg1"/>
                </a:solidFill>
                <a:latin typeface="+mj-lt"/>
              </a:defRPr>
            </a:lvl3pPr>
            <a:lvl4pPr marL="783786" indent="0">
              <a:buNone/>
              <a:defRPr sz="1200">
                <a:solidFill>
                  <a:schemeClr val="bg1"/>
                </a:solidFill>
                <a:latin typeface="+mj-lt"/>
              </a:defRPr>
            </a:lvl4pPr>
            <a:lvl5pPr marL="1007726" indent="0">
              <a:buNone/>
              <a:defRPr sz="1200">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4" y="6402581"/>
            <a:ext cx="1278487" cy="280187"/>
          </a:xfrm>
          <a:prstGeom prst="rect">
            <a:avLst/>
          </a:prstGeom>
        </p:spPr>
      </p:pic>
    </p:spTree>
    <p:extLst>
      <p:ext uri="{BB962C8B-B14F-4D97-AF65-F5344CB8AC3E}">
        <p14:creationId xmlns:p14="http://schemas.microsoft.com/office/powerpoint/2010/main" val="1941340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General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Subtitle 2"/>
          <p:cNvSpPr txBox="1">
            <a:spLocks/>
          </p:cNvSpPr>
          <p:nvPr/>
        </p:nvSpPr>
        <p:spPr>
          <a:xfrm>
            <a:off x="381000" y="1016024"/>
            <a:ext cx="4572000" cy="4387529"/>
          </a:xfrm>
          <a:prstGeom prst="rect">
            <a:avLst/>
          </a:prstGeom>
          <a:solidFill>
            <a:schemeClr val="accent2">
              <a:alpha val="84000"/>
            </a:schemeClr>
          </a:solidFill>
        </p:spPr>
        <p:txBody>
          <a:bodyPr lIns="195044" tIns="195044" rIns="195044" bIns="195044">
            <a:normAutofit/>
          </a:bodyPr>
          <a:lstStyle>
            <a:lvl1pPr marL="0" indent="0" algn="l" defTabSz="514485" rtl="0" eaLnBrk="1" latinLnBrk="0" hangingPunct="1">
              <a:lnSpc>
                <a:spcPct val="90000"/>
              </a:lnSpc>
              <a:spcBef>
                <a:spcPct val="20000"/>
              </a:spcBef>
              <a:buSzPct val="90000"/>
              <a:buFont typeface="Arial" pitchFamily="34" charset="0"/>
              <a:buNone/>
              <a:defRPr sz="32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0" indent="0" algn="l" defTabSz="514485" rtl="0" eaLnBrk="1" latinLnBrk="0" hangingPunct="1">
              <a:lnSpc>
                <a:spcPct val="90000"/>
              </a:lnSpc>
              <a:spcBef>
                <a:spcPct val="20000"/>
              </a:spcBef>
              <a:buSzPct val="90000"/>
              <a:buFont typeface="Arial" pitchFamily="34" charset="0"/>
              <a:buNone/>
              <a:tabLst>
                <a:tab pos="354617" algn="l"/>
              </a:tabLst>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0" indent="0" algn="l" defTabSz="514485" rtl="0" eaLnBrk="1" latinLnBrk="0" hangingPunct="1">
              <a:lnSpc>
                <a:spcPct val="90000"/>
              </a:lnSpc>
              <a:spcBef>
                <a:spcPct val="20000"/>
              </a:spcBef>
              <a:buSzPct val="90000"/>
              <a:buFont typeface="Arial" pitchFamily="34" charset="0"/>
              <a:buNone/>
              <a:defRPr sz="1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0" indent="0" algn="l" defTabSz="514485" rtl="0" eaLnBrk="1" latinLnBrk="0" hangingPunct="1">
              <a:lnSpc>
                <a:spcPct val="90000"/>
              </a:lnSpc>
              <a:spcBef>
                <a:spcPct val="20000"/>
              </a:spcBef>
              <a:buSzPct val="90000"/>
              <a:buFont typeface="Arial" pitchFamily="34" charset="0"/>
              <a:buNone/>
              <a:tabLst>
                <a:tab pos="514505" algn="l"/>
              </a:tabLst>
              <a:defRPr sz="1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0" indent="0" algn="l" defTabSz="514485" rtl="0" eaLnBrk="1" latinLnBrk="0" hangingPunct="1">
              <a:lnSpc>
                <a:spcPct val="90000"/>
              </a:lnSpc>
              <a:spcBef>
                <a:spcPct val="20000"/>
              </a:spcBef>
              <a:buSzPct val="90000"/>
              <a:buFont typeface="Arial" pitchFamily="34" charset="0"/>
              <a:buNone/>
              <a:defRPr sz="1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414833"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2076"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9318"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6561"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9pPr>
          </a:lstStyle>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4266"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132"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132"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p:txBody>
      </p:sp>
      <p:sp>
        <p:nvSpPr>
          <p:cNvPr id="12" name="Title 11"/>
          <p:cNvSpPr>
            <a:spLocks noGrp="1"/>
          </p:cNvSpPr>
          <p:nvPr>
            <p:ph type="title"/>
          </p:nvPr>
        </p:nvSpPr>
        <p:spPr>
          <a:xfrm>
            <a:off x="388875" y="1016022"/>
            <a:ext cx="4564127" cy="1477456"/>
          </a:xfrm>
        </p:spPr>
        <p:txBody>
          <a:bodyPr/>
          <a:lstStyle/>
          <a:p>
            <a:r>
              <a:rPr lang="en-US" smtClean="0"/>
              <a:t>Click to edit Master title style</a:t>
            </a:r>
            <a:endParaRPr lang="en-US"/>
          </a:p>
        </p:txBody>
      </p:sp>
      <p:sp>
        <p:nvSpPr>
          <p:cNvPr id="14" name="Text Placeholder 13"/>
          <p:cNvSpPr>
            <a:spLocks noGrp="1"/>
          </p:cNvSpPr>
          <p:nvPr>
            <p:ph type="body" sz="quarter" idx="10" hasCustomPrompt="1"/>
          </p:nvPr>
        </p:nvSpPr>
        <p:spPr>
          <a:xfrm>
            <a:off x="381001" y="4267222"/>
            <a:ext cx="4563533" cy="938142"/>
          </a:xfrm>
        </p:spPr>
        <p:txBody>
          <a:bodyPr/>
          <a:lstStyle>
            <a:lvl1pPr marL="0" marR="0" indent="0" algn="l" defTabSz="685832" rtl="0" eaLnBrk="1" fontAlgn="auto" latinLnBrk="0" hangingPunct="1">
              <a:lnSpc>
                <a:spcPct val="90000"/>
              </a:lnSpc>
              <a:spcBef>
                <a:spcPct val="20000"/>
              </a:spcBef>
              <a:spcAft>
                <a:spcPts val="0"/>
              </a:spcAft>
              <a:buClrTx/>
              <a:buSzPct val="90000"/>
              <a:buFont typeface="Arial" pitchFamily="34" charset="0"/>
              <a:buNone/>
              <a:tabLst/>
              <a:defRPr/>
            </a:lvl1pPr>
          </a:lstStyle>
          <a:p>
            <a:pPr marL="0" marR="0" lvl="0" indent="0" algn="l" defTabSz="685832"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smtClean="0">
                <a:ln>
                  <a:noFill/>
                </a:ln>
                <a:gradFill>
                  <a:gsLst>
                    <a:gs pos="0">
                      <a:srgbClr val="FFFFFF">
                        <a:lumMod val="75000"/>
                        <a:lumOff val="25000"/>
                      </a:srgbClr>
                    </a:gs>
                    <a:gs pos="86000">
                      <a:srgbClr val="FFFFFF">
                        <a:lumMod val="75000"/>
                        <a:lumOff val="25000"/>
                      </a:srgbClr>
                    </a:gs>
                  </a:gsLst>
                  <a:lin ang="5400000" scaled="0"/>
                </a:gradFill>
                <a:effectLst/>
                <a:uLnTx/>
                <a:uFillTx/>
                <a:latin typeface="+mn-lt"/>
              </a:rPr>
              <a:t>Speaker name</a:t>
            </a:r>
          </a:p>
          <a:p>
            <a:pPr marL="0" marR="0" lvl="0" indent="0" algn="l" defTabSz="685832"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smtClean="0">
                <a:ln>
                  <a:noFill/>
                </a:ln>
                <a:gradFill>
                  <a:gsLst>
                    <a:gs pos="0">
                      <a:srgbClr val="FFFFFF">
                        <a:lumMod val="75000"/>
                        <a:lumOff val="25000"/>
                      </a:srgbClr>
                    </a:gs>
                    <a:gs pos="86000">
                      <a:srgbClr val="FFFFFF">
                        <a:lumMod val="75000"/>
                        <a:lumOff val="25000"/>
                      </a:srgbClr>
                    </a:gs>
                  </a:gsLst>
                  <a:lin ang="5400000" scaled="0"/>
                </a:gradFill>
                <a:effectLst/>
                <a:uLnTx/>
                <a:uFillTx/>
                <a:latin typeface="+mn-lt"/>
              </a:rPr>
              <a:t>Division/group at Microsoft</a:t>
            </a:r>
          </a:p>
        </p:txBody>
      </p:sp>
      <p:sp>
        <p:nvSpPr>
          <p:cNvPr id="13" name="Rectangle 12"/>
          <p:cNvSpPr/>
          <p:nvPr/>
        </p:nvSpPr>
        <p:spPr>
          <a:xfrm>
            <a:off x="0" y="4140200"/>
            <a:ext cx="12192000" cy="2717800"/>
          </a:xfrm>
          <a:prstGeom prst="rect">
            <a:avLst/>
          </a:prstGeom>
          <a:gradFill flip="none" rotWithShape="1">
            <a:gsLst>
              <a:gs pos="0">
                <a:schemeClr val="bg1">
                  <a:alpha val="0"/>
                </a:schemeClr>
              </a:gs>
              <a:gs pos="74000">
                <a:schemeClr val="bg1">
                  <a:alpha val="36000"/>
                </a:schemeClr>
              </a:gs>
              <a:gs pos="100000">
                <a:schemeClr val="bg1"/>
              </a:gs>
            </a:gsLst>
            <a:lin ang="5400000" scaled="1"/>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00393" y="5720773"/>
            <a:ext cx="3091607" cy="1137228"/>
          </a:xfrm>
          <a:prstGeom prst="rect">
            <a:avLst/>
          </a:prstGeom>
        </p:spPr>
      </p:pic>
    </p:spTree>
    <p:extLst>
      <p:ext uri="{BB962C8B-B14F-4D97-AF65-F5344CB8AC3E}">
        <p14:creationId xmlns:p14="http://schemas.microsoft.com/office/powerpoint/2010/main" val="234795097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15736121"/>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90602775"/>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706037638"/>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5143839"/>
      </p:ext>
    </p:extLst>
  </p:cSld>
  <p:clrMapOvr>
    <a:masterClrMapping/>
  </p:clrMapOvr>
  <p:transition>
    <p:fade/>
  </p:transition>
  <p:hf sldNum="0"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1691889"/>
      </p:ext>
    </p:extLst>
  </p:cSld>
  <p:clrMapOvr>
    <a:masterClrMapping/>
  </p:clrMapOvr>
  <p:transition>
    <p:fade/>
  </p:transition>
  <p:hf sldNum="0"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8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3437549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45086839"/>
      </p:ext>
    </p:extLst>
  </p:cSld>
  <p:clrMapOvr>
    <a:masterClrMapping/>
  </p:clrMapOvr>
  <p:transition>
    <p:fade/>
  </p:transition>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61910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2409385"/>
      </p:ext>
    </p:extLst>
  </p:cSld>
  <p:clrMapOvr>
    <a:masterClrMapping/>
  </p:clrMapOvr>
  <p:transition>
    <p:fade/>
  </p:transition>
  <p:hf sldNum="0"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31126889"/>
      </p:ext>
    </p:extLst>
  </p:cSld>
  <p:clrMapOvr>
    <a:masterClrMapping/>
  </p:clrMapOvr>
  <p:transition>
    <p:fade/>
  </p:transition>
  <p:hf sldNum="0"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6469457"/>
      </p:ext>
    </p:extLst>
  </p:cSld>
  <p:clrMapOvr>
    <a:masterClrMapping/>
  </p:clrMapOvr>
  <p:transition>
    <p:fade/>
  </p:transition>
  <p:hf sldNum="0"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755946"/>
      </p:ext>
    </p:extLst>
  </p:cSld>
  <p:clrMapOvr>
    <a:masterClrMapping/>
  </p:clrMapOvr>
  <p:transition>
    <p:fade/>
  </p:transition>
  <p:hf sldNum="0"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dirty="0" smtClean="0"/>
              <a:t>Click to edit Master title style</a:t>
            </a:r>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40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177839710"/>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1921354618"/>
      </p:ext>
    </p:extLst>
  </p:cSld>
  <p:clrMapOvr>
    <a:masterClrMapping/>
  </p:clrMapOvr>
  <p:transition>
    <p:fade/>
  </p:transition>
  <p:hf sldNum="0"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8171721"/>
      </p:ext>
    </p:extLst>
  </p:cSld>
  <p:clrMapOvr>
    <a:masterClrMapping/>
  </p:clrMapOvr>
  <p:transition>
    <p:fade/>
  </p:transition>
  <p:hf sldNum="0"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881537190"/>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4154651340"/>
      </p:ext>
    </p:extLst>
  </p:cSld>
  <p:clrMapOvr>
    <a:masterClrMapping/>
  </p:clrMapOvr>
  <p:transition>
    <p:fade/>
  </p:transition>
  <p:hf sldNum="0"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811346453"/>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49280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2265256"/>
      </p:ext>
    </p:extLst>
  </p:cSld>
  <p:clrMapOvr>
    <a:masterClrMapping/>
  </p:clrMapOvr>
  <p:transition>
    <p:fade/>
  </p:transition>
  <p:hf sldNum="0" hdr="0" ftr="0" dt="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064742"/>
      </p:ext>
    </p:extLst>
  </p:cSld>
  <p:clrMapOvr>
    <a:masterClrMapping/>
  </p:clrMapOvr>
  <p:transition>
    <p:fade/>
  </p:transition>
  <p:hf sldNum="0"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348895"/>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4911694"/>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8559679"/>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6" name="Object 5"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32"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29647289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47389467"/>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304768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485414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23199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7730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564619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102549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426188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598273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07409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13355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991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735563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686696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0205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8716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736127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691277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238516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801940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639410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47491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264518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691905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634212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67278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14412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LIGHT BLUE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31952" y="1371601"/>
            <a:ext cx="11356757" cy="1425005"/>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167591488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2" y="914400"/>
            <a:ext cx="11372579" cy="1323952"/>
          </a:xfrm>
        </p:spPr>
        <p:txBody>
          <a:bodyPr/>
          <a:lstStyle>
            <a:lvl1pPr>
              <a:spcBef>
                <a:spcPts val="3600"/>
              </a:spcBef>
              <a:defRPr lang="en-US" sz="2400" kern="4000" spc="-100" baseline="0" dirty="0" smtClean="0">
                <a:solidFill>
                  <a:srgbClr val="595959"/>
                </a:soli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3744442388"/>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1_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3" y="1371600"/>
            <a:ext cx="11051878" cy="143475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marL="285750" indent="-285750">
              <a:buFont typeface="Arial" pitchFamily="34" charset="0"/>
              <a:buChar char="•"/>
              <a:defRPr sz="1800"/>
            </a:lvl2pPr>
            <a:lvl3pPr marL="460375" indent="-171450">
              <a:buFont typeface="Arial" pitchFamily="34" charset="0"/>
              <a:buChar char="•"/>
              <a:defRPr sz="1400"/>
            </a:lvl3pPr>
            <a:lvl4pPr marL="630238" indent="-171450">
              <a:buFont typeface="Arial" pitchFamily="34" charset="0"/>
              <a:buChar char="•"/>
              <a:defRPr sz="1100"/>
            </a:lvl4pPr>
            <a:lvl5pPr marL="801688" indent="-171450">
              <a:buFont typeface="Arial" pitchFamily="34" charset="0"/>
              <a:buChar cha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679618504"/>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_LT BLUE 2 COLUMN">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87338" y="228601"/>
            <a:ext cx="11383828" cy="553998"/>
          </a:xfrm>
        </p:spPr>
        <p:txBody>
          <a:bodyPr/>
          <a:lstStyle/>
          <a:p>
            <a:r>
              <a:rPr lang="en-US" smtClean="0"/>
              <a:t>Click to edit Master title style</a:t>
            </a:r>
            <a:endParaRPr lang="en-US" dirty="0"/>
          </a:p>
        </p:txBody>
      </p:sp>
      <p:sp>
        <p:nvSpPr>
          <p:cNvPr id="2" name="Slide Number Placeholder 1"/>
          <p:cNvSpPr>
            <a:spLocks noGrp="1"/>
          </p:cNvSpPr>
          <p:nvPr>
            <p:ph type="sldNum" sz="quarter" idx="14"/>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
        <p:nvSpPr>
          <p:cNvPr id="9" name="Text Placeholder 8"/>
          <p:cNvSpPr>
            <a:spLocks noGrp="1"/>
          </p:cNvSpPr>
          <p:nvPr>
            <p:ph type="body" sz="quarter" idx="15"/>
          </p:nvPr>
        </p:nvSpPr>
        <p:spPr>
          <a:xfrm>
            <a:off x="530364" y="2057400"/>
            <a:ext cx="5184537" cy="1434752"/>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96000" y="2057400"/>
            <a:ext cx="4573191" cy="1890774"/>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949970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LIGHT BLUE 3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0"/>
          </p:nvPr>
        </p:nvSpPr>
        <p:spPr>
          <a:xfrm>
            <a:off x="531951" y="2057400"/>
            <a:ext cx="3658553" cy="18087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600"/>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1"/>
          </p:nvPr>
        </p:nvSpPr>
        <p:spPr>
          <a:xfrm>
            <a:off x="4419164"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2"/>
          </p:nvPr>
        </p:nvSpPr>
        <p:spPr>
          <a:xfrm>
            <a:off x="8306375"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3"/>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22337951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 LIGHT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266724" y="1371600"/>
            <a:ext cx="7393325" cy="136550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51503912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 DK BLUE  Non-Bulleted Content">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2155213"/>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K BLUE ">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2296867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DK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1" y="1371600"/>
            <a:ext cx="10899231" cy="1407052"/>
          </a:xfrm>
        </p:spPr>
        <p:txBody>
          <a:bodyPr/>
          <a:lstStyle>
            <a:lvl1pPr marL="0" indent="0">
              <a:buFont typeface="Wingdings" pitchFamily="2" charset="2"/>
              <a:buNone/>
              <a:defRPr>
                <a:gradFill flip="none" rotWithShape="1">
                  <a:gsLst>
                    <a:gs pos="0">
                      <a:schemeClr val="accent2"/>
                    </a:gs>
                    <a:gs pos="85000">
                      <a:schemeClr val="accent2"/>
                    </a:gs>
                  </a:gsLst>
                  <a:path path="circle">
                    <a:fillToRect r="100000" b="100000"/>
                  </a:path>
                  <a:tileRect l="-100000" t="-100000"/>
                </a:gradFill>
              </a:defRPr>
            </a:lvl1pPr>
            <a:lvl2pPr marL="231775" indent="-231775">
              <a:buFont typeface="Wingdings" pitchFamily="2" charset="2"/>
              <a:buChar char="§"/>
              <a:defRPr sz="1600"/>
            </a:lvl2pPr>
            <a:lvl3pPr marL="457200" indent="-173038">
              <a:buFont typeface="Wingdings" pitchFamily="2" charset="2"/>
              <a:buChar char="§"/>
              <a:defRPr sz="1400"/>
            </a:lvl3pPr>
            <a:lvl4pPr marL="688975" indent="-173038">
              <a:buFont typeface="Wingdings" pitchFamily="2" charset="2"/>
              <a:buChar char="§"/>
              <a:defRPr sz="1100"/>
            </a:lvl4pPr>
            <a:lvl5pPr marL="854075" indent="-173038">
              <a:buFont typeface="Wingdings" pitchFamily="2" charset="2"/>
              <a:buChar char="§"/>
              <a:tabLst>
                <a:tab pos="974725" algn="l"/>
              </a:tabLst>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2827001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DK BLUE 2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
        <p:nvSpPr>
          <p:cNvPr id="9" name="Text Placeholder 8"/>
          <p:cNvSpPr>
            <a:spLocks noGrp="1"/>
          </p:cNvSpPr>
          <p:nvPr>
            <p:ph type="body" sz="quarter" idx="15"/>
          </p:nvPr>
        </p:nvSpPr>
        <p:spPr>
          <a:xfrm>
            <a:off x="530364" y="2057400"/>
            <a:ext cx="518453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83120" y="2057400"/>
            <a:ext cx="4573191"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1411435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044648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082823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K BLUE 3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
        <p:nvSpPr>
          <p:cNvPr id="9" name="Text Placeholder 8"/>
          <p:cNvSpPr>
            <a:spLocks noGrp="1"/>
          </p:cNvSpPr>
          <p:nvPr>
            <p:ph type="body" sz="quarter" idx="15"/>
          </p:nvPr>
        </p:nvSpPr>
        <p:spPr>
          <a:xfrm>
            <a:off x="525697"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26"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5"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5892126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DK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266726" y="1371600"/>
            <a:ext cx="762047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3621524092"/>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 GREY Non-Bulleted Conten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31952" y="1371600"/>
            <a:ext cx="11386054" cy="1407052"/>
          </a:xfrm>
        </p:spPr>
        <p:txBody>
          <a:bodyPr/>
          <a:lstStyle>
            <a:lvl1pPr>
              <a:defRPr lang="en-US" sz="3200"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a:defRPr sz="16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333958570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2" name="Slide Number Placeholder 1"/>
          <p:cNvSpPr>
            <a:spLocks noGrp="1"/>
          </p:cNvSpPr>
          <p:nvPr>
            <p:ph type="sldNum" sz="quarter" idx="10"/>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60664888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005F7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12192000" cy="812800"/>
          </a:xfrm>
          <a:solidFill>
            <a:srgbClr val="007DBA"/>
          </a:solidFill>
        </p:spPr>
        <p:txBody>
          <a:bodyPr lIns="182880" anchor="ctr" anchorCtr="0">
            <a:noAutofit/>
          </a:bodyPr>
          <a:lstStyle>
            <a:lvl1pPr>
              <a:defRPr>
                <a:solidFill>
                  <a:schemeClr val="bg1"/>
                </a:solidFill>
              </a:defRPr>
            </a:lvl1pPr>
          </a:lstStyle>
          <a:p>
            <a:r>
              <a:rPr lang="en-US" dirty="0" smtClean="0"/>
              <a:t>Click to edit Master title style</a:t>
            </a:r>
            <a:endParaRPr lang="en-US" dirty="0"/>
          </a:p>
        </p:txBody>
      </p:sp>
      <p:sp>
        <p:nvSpPr>
          <p:cNvPr id="5" name="Rectangle 4"/>
          <p:cNvSpPr/>
          <p:nvPr userDrawn="1"/>
        </p:nvSpPr>
        <p:spPr bwMode="auto">
          <a:xfrm>
            <a:off x="1" y="800100"/>
            <a:ext cx="12192000" cy="6057900"/>
          </a:xfrm>
          <a:prstGeom prst="rect">
            <a:avLst/>
          </a:prstGeom>
          <a:gradFill>
            <a:gsLst>
              <a:gs pos="0">
                <a:srgbClr val="000608"/>
              </a:gs>
              <a:gs pos="50000">
                <a:srgbClr val="005F70"/>
              </a:gs>
              <a:gs pos="100000">
                <a:srgbClr val="000608"/>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1B3B41">
                      <a:lumMod val="65000"/>
                      <a:lumOff val="35000"/>
                    </a:srgbClr>
                  </a:gs>
                  <a:gs pos="86000">
                    <a:srgbClr val="1B3B41">
                      <a:lumMod val="65000"/>
                      <a:lumOff val="35000"/>
                    </a:srgbClr>
                  </a:gs>
                </a:gsLst>
                <a:lin ang="5400000" scaled="0"/>
                <a:tileRect/>
              </a:gradFill>
              <a:cs typeface="Arial" charset="0"/>
            </a:endParaRPr>
          </a:p>
        </p:txBody>
      </p:sp>
    </p:spTree>
    <p:extLst>
      <p:ext uri="{BB962C8B-B14F-4D97-AF65-F5344CB8AC3E}">
        <p14:creationId xmlns:p14="http://schemas.microsoft.com/office/powerpoint/2010/main" val="334800925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173920223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2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36296"/>
            <a:ext cx="5223522" cy="976165"/>
          </a:xfrm>
        </p:spPr>
        <p:txBody>
          <a:bodyPr anchor="ctr" anchorCtr="0"/>
          <a:lstStyle>
            <a:lvl1pPr>
              <a:defRPr>
                <a:solidFill>
                  <a:schemeClr val="accent1"/>
                </a:solidFill>
              </a:defRPr>
            </a:lvl1pPr>
            <a:lvl2pPr>
              <a:defRPr lang="en-US" sz="1800" kern="4000" spc="-100" baseline="0" dirty="0" smtClean="0">
                <a:solidFill>
                  <a:schemeClr val="tx1">
                    <a:lumMod val="65000"/>
                    <a:lumOff val="35000"/>
                  </a:schemeClr>
                </a:solidFill>
                <a:latin typeface="+mn-lt"/>
                <a:ea typeface="+mn-ea"/>
                <a:cs typeface="+mn-cs"/>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1154342870"/>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17060"/>
            <a:ext cx="5223522" cy="1014637"/>
          </a:xfrm>
        </p:spPr>
        <p:txBody>
          <a:bodyPr anchor="ctr" anchorCtr="0"/>
          <a:lstStyle>
            <a:lvl1pPr>
              <a:defRPr>
                <a:gradFill flip="none" rotWithShape="1">
                  <a:gsLst>
                    <a:gs pos="0">
                      <a:schemeClr val="accent2"/>
                    </a:gs>
                    <a:gs pos="87000">
                      <a:schemeClr val="accent2"/>
                    </a:gs>
                  </a:gsLst>
                  <a:path path="circle">
                    <a:fillToRect r="100000" b="100000"/>
                  </a:path>
                  <a:tileRect l="-100000" t="-100000"/>
                </a:gradFill>
              </a:defRPr>
            </a:lvl1pPr>
            <a:lvl2pPr>
              <a:defRPr lang="en-US" sz="1800" kern="4000" spc="-100" baseline="0" dirty="0" smtClean="0">
                <a:solidFill>
                  <a:schemeClr val="tx1">
                    <a:lumMod val="65000"/>
                    <a:lumOff val="35000"/>
                  </a:schemeClr>
                </a:solidFill>
                <a:latin typeface="+mn-lt"/>
                <a:ea typeface="+mn-ea"/>
                <a:cs typeface="+mn-cs"/>
              </a:defRPr>
            </a:lvl2pPr>
            <a:lvl3pPr>
              <a:defRPr sz="140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4231611398"/>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39332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800"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5639795"/>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2_Light  BLUE | SIDE TEXT">
    <p:bg>
      <p:bgPr>
        <a:solidFill>
          <a:schemeClr val="accent1"/>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46954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800">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5100213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217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sz="5294"/>
            </a:lvl1pPr>
          </a:lstStyle>
          <a:p>
            <a:r>
              <a:rPr lang="en-US" smtClean="0"/>
              <a:t>Click to edit Master title style</a:t>
            </a:r>
            <a:endParaRPr lang="en-US" dirty="0"/>
          </a:p>
        </p:txBody>
      </p:sp>
    </p:spTree>
    <p:extLst>
      <p:ext uri="{BB962C8B-B14F-4D97-AF65-F5344CB8AC3E}">
        <p14:creationId xmlns:p14="http://schemas.microsoft.com/office/powerpoint/2010/main" val="2722318365"/>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287342" y="1447802"/>
            <a:ext cx="11383827" cy="143475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46055072"/>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2" y="1447802"/>
            <a:ext cx="11151917" cy="1438855"/>
          </a:xfrm>
        </p:spPr>
        <p:txBody>
          <a:bodyPr/>
          <a:lstStyle>
            <a:lvl1pPr>
              <a:buClr>
                <a:srgbClr val="FFFFFF"/>
              </a:buClr>
              <a:buSzPct val="70000"/>
              <a:buFont typeface="Wingdings" pitchFamily="2" charset="2"/>
              <a:buNone/>
              <a:defRPr>
                <a:gradFill>
                  <a:gsLst>
                    <a:gs pos="0">
                      <a:srgbClr val="FFFFFF"/>
                    </a:gs>
                    <a:gs pos="86000">
                      <a:srgbClr val="FFFFFF"/>
                    </a:gs>
                  </a:gsLst>
                  <a:lin ang="5400000" scaled="0"/>
                </a:gradFill>
              </a:defRPr>
            </a:lvl1pPr>
            <a:lvl2pPr>
              <a:buClr>
                <a:srgbClr val="FFFFFF"/>
              </a:buClr>
              <a:buSzPct val="70000"/>
              <a:buFont typeface="Wingdings" pitchFamily="2" charset="2"/>
              <a:buNone/>
              <a:defRPr>
                <a:gradFill>
                  <a:gsLst>
                    <a:gs pos="0">
                      <a:srgbClr val="FFFFFF"/>
                    </a:gs>
                    <a:gs pos="86000">
                      <a:srgbClr val="FFFFFF"/>
                    </a:gs>
                  </a:gsLst>
                  <a:lin ang="5400000" scaled="0"/>
                </a:gradFill>
              </a:defRPr>
            </a:lvl2pPr>
            <a:lvl3pPr>
              <a:buClr>
                <a:srgbClr val="FFFFFF"/>
              </a:buClr>
              <a:buSzPct val="70000"/>
              <a:buFont typeface="Wingdings" pitchFamily="2" charset="2"/>
              <a:buNone/>
              <a:defRPr>
                <a:gradFill>
                  <a:gsLst>
                    <a:gs pos="0">
                      <a:srgbClr val="FFFFFF"/>
                    </a:gs>
                    <a:gs pos="86000">
                      <a:srgbClr val="FFFFFF"/>
                    </a:gs>
                  </a:gsLst>
                  <a:lin ang="5400000" scaled="0"/>
                </a:gradFill>
              </a:defRPr>
            </a:lvl3pPr>
            <a:lvl4pPr>
              <a:buClr>
                <a:srgbClr val="FFFFFF"/>
              </a:buClr>
              <a:buSzPct val="70000"/>
              <a:buFont typeface="Wingdings" pitchFamily="2" charset="2"/>
              <a:buNone/>
              <a:defRPr>
                <a:gradFill>
                  <a:gsLst>
                    <a:gs pos="0">
                      <a:srgbClr val="FFFFFF"/>
                    </a:gs>
                    <a:gs pos="86000">
                      <a:srgbClr val="FFFFFF"/>
                    </a:gs>
                  </a:gsLst>
                  <a:lin ang="5400000" scaled="0"/>
                </a:gradFill>
              </a:defRPr>
            </a:lvl4pPr>
            <a:lvl5pPr>
              <a:buClr>
                <a:srgbClr val="FFFFFF"/>
              </a:buClr>
              <a:buSzPct val="70000"/>
              <a:buFont typeface="Wingdings" pitchFamily="2" charset="2"/>
              <a:buNone/>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85"/>
            <a:ext cx="12192001" cy="619125"/>
          </a:xfrm>
          <a:solidFill>
            <a:srgbClr val="FFFF99"/>
          </a:solidFill>
        </p:spPr>
        <p:txBody>
          <a:bodyPr wrap="square" lIns="114341" tIns="57171" rIns="114341" bIns="5717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280761483"/>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5_Blank Color 1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9606092"/>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2"/>
        </a:solidFill>
        <a:effectLst/>
      </p:bgPr>
    </p:bg>
    <p:spTree>
      <p:nvGrpSpPr>
        <p:cNvPr id="1" name=""/>
        <p:cNvGrpSpPr/>
        <p:nvPr/>
      </p:nvGrpSpPr>
      <p:grpSpPr>
        <a:xfrm>
          <a:off x="0" y="0"/>
          <a:ext cx="0" cy="0"/>
          <a:chOff x="0" y="0"/>
          <a:chExt cx="0" cy="0"/>
        </a:xfrm>
      </p:grpSpPr>
      <p:sp>
        <p:nvSpPr>
          <p:cNvPr id="3" name="Rectangle 2"/>
          <p:cNvSpPr/>
          <p:nvPr/>
        </p:nvSpPr>
        <p:spPr>
          <a:xfrm>
            <a:off x="429770" y="5868849"/>
            <a:ext cx="11361348" cy="584775"/>
          </a:xfrm>
          <a:prstGeom prst="rect">
            <a:avLst/>
          </a:prstGeom>
        </p:spPr>
        <p:txBody>
          <a:bodyPr wrap="square">
            <a:spAutoFit/>
          </a:bodyPr>
          <a:lstStyle/>
          <a:p>
            <a:pPr defTabSz="914099" eaLnBrk="0" hangingPunct="0"/>
            <a:r>
              <a:rPr lang="en-US" sz="800" dirty="0">
                <a:gradFill>
                  <a:gsLst>
                    <a:gs pos="0">
                      <a:srgbClr val="FFFFFF"/>
                    </a:gs>
                    <a:gs pos="100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r>
              <a:rPr lang="en-US" sz="8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837" y="2655147"/>
            <a:ext cx="5005707" cy="1084998"/>
          </a:xfrm>
          <a:prstGeom prst="rect">
            <a:avLst/>
          </a:prstGeom>
        </p:spPr>
      </p:pic>
    </p:spTree>
    <p:extLst>
      <p:ext uri="{BB962C8B-B14F-4D97-AF65-F5344CB8AC3E}">
        <p14:creationId xmlns:p14="http://schemas.microsoft.com/office/powerpoint/2010/main" val="138196839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69239" y="6566933"/>
            <a:ext cx="3859607" cy="364224"/>
          </a:xfrm>
          <a:prstGeom prst="rect">
            <a:avLst/>
          </a:prstGeom>
        </p:spPr>
        <p:txBody>
          <a:bodyPr lIns="89629" tIns="44815" rIns="89629" bIns="44815"/>
          <a:lstStyle/>
          <a:p>
            <a:r>
              <a:rPr lang="en-US">
                <a:solidFill>
                  <a:srgbClr val="1B3B41"/>
                </a:solidFill>
              </a:rPr>
              <a:t>Microsoft Confidential</a:t>
            </a:r>
            <a:endParaRPr lang="en-US" dirty="0">
              <a:solidFill>
                <a:srgbClr val="1B3B41"/>
              </a:solidFill>
            </a:endParaRPr>
          </a:p>
        </p:txBody>
      </p:sp>
      <p:sp>
        <p:nvSpPr>
          <p:cNvPr id="4" name="Slide Number Placeholder 3"/>
          <p:cNvSpPr>
            <a:spLocks noGrp="1"/>
          </p:cNvSpPr>
          <p:nvPr>
            <p:ph type="sldNum" sz="quarter" idx="11"/>
          </p:nvPr>
        </p:nvSpPr>
        <p:spPr/>
        <p:txBody>
          <a:bodyPr/>
          <a:lstStyle/>
          <a:p>
            <a:fld id="{25B1B22E-D3C8-4129-8E85-2E5037E3E69B}" type="slidenum">
              <a:rPr lang="en-US" smtClean="0">
                <a:solidFill>
                  <a:srgbClr val="8DC548"/>
                </a:solidFill>
              </a:rPr>
              <a:pPr/>
              <a:t>‹#›</a:t>
            </a:fld>
            <a:endParaRPr lang="en-US" dirty="0">
              <a:solidFill>
                <a:srgbClr val="8DC548"/>
              </a:solidFill>
            </a:endParaRPr>
          </a:p>
        </p:txBody>
      </p:sp>
      <p:sp>
        <p:nvSpPr>
          <p:cNvPr id="6" name="Text Placeholder 5"/>
          <p:cNvSpPr>
            <a:spLocks noGrp="1"/>
          </p:cNvSpPr>
          <p:nvPr>
            <p:ph type="body" sz="quarter" idx="12"/>
          </p:nvPr>
        </p:nvSpPr>
        <p:spPr>
          <a:xfrm>
            <a:off x="269239" y="1411760"/>
            <a:ext cx="11653523" cy="1704996"/>
          </a:xfrm>
        </p:spPr>
        <p:txBody>
          <a:bodyPr/>
          <a:lstStyle>
            <a:lvl1pPr>
              <a:spcBef>
                <a:spcPts val="1176"/>
              </a:spcBef>
              <a:defRPr b="0">
                <a:gradFill>
                  <a:gsLst>
                    <a:gs pos="1250">
                      <a:schemeClr val="accent2"/>
                    </a:gs>
                    <a:gs pos="100000">
                      <a:schemeClr val="accent2"/>
                    </a:gs>
                  </a:gsLst>
                  <a:lin ang="5400000" scaled="0"/>
                </a:gradFill>
              </a:defRPr>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62704847"/>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LIGHT BLUE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31952" y="1371601"/>
            <a:ext cx="11356757" cy="1425005"/>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67496649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2" y="914400"/>
            <a:ext cx="11372579" cy="1323952"/>
          </a:xfrm>
        </p:spPr>
        <p:txBody>
          <a:bodyPr/>
          <a:lstStyle>
            <a:lvl1pPr>
              <a:spcBef>
                <a:spcPts val="3600"/>
              </a:spcBef>
              <a:defRPr lang="en-US" sz="2400" kern="4000" spc="-100" baseline="0" dirty="0" smtClean="0">
                <a:solidFill>
                  <a:srgbClr val="595959"/>
                </a:soli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792074606"/>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1_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3" y="1371600"/>
            <a:ext cx="11051878" cy="143475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marL="285750" indent="-285750">
              <a:buFont typeface="Arial" pitchFamily="34" charset="0"/>
              <a:buChar char="•"/>
              <a:defRPr sz="1800"/>
            </a:lvl2pPr>
            <a:lvl3pPr marL="460375" indent="-171450">
              <a:buFont typeface="Arial" pitchFamily="34" charset="0"/>
              <a:buChar char="•"/>
              <a:defRPr sz="1400"/>
            </a:lvl3pPr>
            <a:lvl4pPr marL="630238" indent="-171450">
              <a:buFont typeface="Arial" pitchFamily="34" charset="0"/>
              <a:buChar char="•"/>
              <a:defRPr sz="1100"/>
            </a:lvl4pPr>
            <a:lvl5pPr marL="801688" indent="-171450">
              <a:buFont typeface="Arial" pitchFamily="34" charset="0"/>
              <a:buChar cha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670608206"/>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_LT BLUE 2 COLUMN">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87338" y="228601"/>
            <a:ext cx="11383828" cy="553998"/>
          </a:xfrm>
        </p:spPr>
        <p:txBody>
          <a:bodyPr/>
          <a:lstStyle/>
          <a:p>
            <a:r>
              <a:rPr lang="en-US" smtClean="0"/>
              <a:t>Click to edit Master title style</a:t>
            </a:r>
            <a:endParaRPr lang="en-US" dirty="0"/>
          </a:p>
        </p:txBody>
      </p:sp>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30364" y="2057400"/>
            <a:ext cx="5184537" cy="1434752"/>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96000" y="2057400"/>
            <a:ext cx="4573191" cy="1890774"/>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900972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LIGHT BLUE 3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0"/>
          </p:nvPr>
        </p:nvSpPr>
        <p:spPr>
          <a:xfrm>
            <a:off x="531951" y="2057400"/>
            <a:ext cx="3658553" cy="18087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600"/>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1"/>
          </p:nvPr>
        </p:nvSpPr>
        <p:spPr>
          <a:xfrm>
            <a:off x="4419164"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2"/>
          </p:nvPr>
        </p:nvSpPr>
        <p:spPr>
          <a:xfrm>
            <a:off x="8306375"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3"/>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0790182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1446207"/>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 LIGHT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266724" y="1371600"/>
            <a:ext cx="7393325" cy="136550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4051838961"/>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 DK BLUE  Non-Bulleted Content">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5806127"/>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DK BLUE ">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372214739"/>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K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1" y="1371600"/>
            <a:ext cx="10899231" cy="1407052"/>
          </a:xfrm>
        </p:spPr>
        <p:txBody>
          <a:bodyPr/>
          <a:lstStyle>
            <a:lvl1pPr marL="0" indent="0">
              <a:buFont typeface="Wingdings" pitchFamily="2" charset="2"/>
              <a:buNone/>
              <a:defRPr>
                <a:gradFill flip="none" rotWithShape="1">
                  <a:gsLst>
                    <a:gs pos="0">
                      <a:schemeClr val="accent2"/>
                    </a:gs>
                    <a:gs pos="85000">
                      <a:schemeClr val="accent2"/>
                    </a:gs>
                  </a:gsLst>
                  <a:path path="circle">
                    <a:fillToRect r="100000" b="100000"/>
                  </a:path>
                  <a:tileRect l="-100000" t="-100000"/>
                </a:gradFill>
              </a:defRPr>
            </a:lvl1pPr>
            <a:lvl2pPr marL="231775" indent="-231775">
              <a:buFont typeface="Wingdings" pitchFamily="2" charset="2"/>
              <a:buChar char="§"/>
              <a:defRPr sz="1600"/>
            </a:lvl2pPr>
            <a:lvl3pPr marL="457200" indent="-173038">
              <a:buFont typeface="Wingdings" pitchFamily="2" charset="2"/>
              <a:buChar char="§"/>
              <a:defRPr sz="1400"/>
            </a:lvl3pPr>
            <a:lvl4pPr marL="688975" indent="-173038">
              <a:buFont typeface="Wingdings" pitchFamily="2" charset="2"/>
              <a:buChar char="§"/>
              <a:defRPr sz="1100"/>
            </a:lvl4pPr>
            <a:lvl5pPr marL="854075" indent="-173038">
              <a:buFont typeface="Wingdings" pitchFamily="2" charset="2"/>
              <a:buChar char="§"/>
              <a:tabLst>
                <a:tab pos="974725" algn="l"/>
              </a:tabLst>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17296058"/>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DK BLUE 2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30364" y="2057400"/>
            <a:ext cx="518453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83120" y="2057400"/>
            <a:ext cx="4573191"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91215065"/>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K BLUE 3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25697"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26"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5"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01095722"/>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DK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266726" y="1371600"/>
            <a:ext cx="762047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231962524"/>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 GREY Non-Bulleted Conten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31952" y="1371600"/>
            <a:ext cx="11386054" cy="1407052"/>
          </a:xfrm>
        </p:spPr>
        <p:txBody>
          <a:bodyPr/>
          <a:lstStyle>
            <a:lvl1pPr>
              <a:defRPr lang="en-US" sz="3200"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a:defRPr sz="16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21076918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753274112"/>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5" name="Rectangle 4"/>
          <p:cNvSpPr/>
          <p:nvPr userDrawn="1"/>
        </p:nvSpPr>
        <p:spPr bwMode="auto">
          <a:xfrm>
            <a:off x="1" y="0"/>
            <a:ext cx="12192000" cy="6858000"/>
          </a:xfrm>
          <a:prstGeom prst="rect">
            <a:avLst/>
          </a:prstGeom>
          <a:gradFill>
            <a:gsLst>
              <a:gs pos="0">
                <a:srgbClr val="000608"/>
              </a:gs>
              <a:gs pos="50000">
                <a:srgbClr val="005F70"/>
              </a:gs>
              <a:gs pos="100000">
                <a:srgbClr val="000608"/>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3" name="Title 2"/>
          <p:cNvSpPr>
            <a:spLocks noGrp="1"/>
          </p:cNvSpPr>
          <p:nvPr>
            <p:ph type="title"/>
          </p:nvPr>
        </p:nvSpPr>
        <p:spPr>
          <a:xfrm>
            <a:off x="0" y="0"/>
            <a:ext cx="12041150" cy="812800"/>
          </a:xfrm>
          <a:noFill/>
        </p:spPr>
        <p:txBody>
          <a:bodyPr lIns="182880" anchor="ctr" anchorCtr="0">
            <a:noAutofit/>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5011460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328497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72964225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2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36296"/>
            <a:ext cx="5223522" cy="976165"/>
          </a:xfrm>
        </p:spPr>
        <p:txBody>
          <a:bodyPr anchor="ctr" anchorCtr="0"/>
          <a:lstStyle>
            <a:lvl1pPr>
              <a:defRPr>
                <a:solidFill>
                  <a:schemeClr val="accent1"/>
                </a:solidFill>
              </a:defRPr>
            </a:lvl1pPr>
            <a:lvl2pPr>
              <a:defRPr lang="en-US" sz="1800" kern="4000" spc="-100" baseline="0" dirty="0" smtClean="0">
                <a:solidFill>
                  <a:schemeClr val="tx1">
                    <a:lumMod val="65000"/>
                    <a:lumOff val="35000"/>
                  </a:schemeClr>
                </a:solidFill>
                <a:latin typeface="+mn-lt"/>
                <a:ea typeface="+mn-ea"/>
                <a:cs typeface="+mn-cs"/>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917464959"/>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1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17060"/>
            <a:ext cx="5223522" cy="1014637"/>
          </a:xfrm>
        </p:spPr>
        <p:txBody>
          <a:bodyPr anchor="ctr" anchorCtr="0"/>
          <a:lstStyle>
            <a:lvl1pPr>
              <a:defRPr>
                <a:gradFill flip="none" rotWithShape="1">
                  <a:gsLst>
                    <a:gs pos="0">
                      <a:schemeClr val="accent2"/>
                    </a:gs>
                    <a:gs pos="87000">
                      <a:schemeClr val="accent2"/>
                    </a:gs>
                  </a:gsLst>
                  <a:path path="circle">
                    <a:fillToRect r="100000" b="100000"/>
                  </a:path>
                  <a:tileRect l="-100000" t="-100000"/>
                </a:gradFill>
              </a:defRPr>
            </a:lvl1pPr>
            <a:lvl2pPr>
              <a:defRPr lang="en-US" sz="1800" kern="4000" spc="-100" baseline="0" dirty="0" smtClean="0">
                <a:solidFill>
                  <a:schemeClr val="tx1">
                    <a:lumMod val="65000"/>
                    <a:lumOff val="35000"/>
                  </a:schemeClr>
                </a:solidFill>
                <a:latin typeface="+mn-lt"/>
                <a:ea typeface="+mn-ea"/>
                <a:cs typeface="+mn-cs"/>
              </a:defRPr>
            </a:lvl2pPr>
            <a:lvl3pPr>
              <a:defRPr sz="140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655802395"/>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39332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800"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2813763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2_Light  BLUE | SIDE TEXT">
    <p:bg>
      <p:bgPr>
        <a:solidFill>
          <a:schemeClr val="accent1"/>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46954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800">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72894773"/>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287342" y="1447802"/>
            <a:ext cx="11383827" cy="143475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3647346"/>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2" y="1447802"/>
            <a:ext cx="11151917" cy="1438855"/>
          </a:xfrm>
        </p:spPr>
        <p:txBody>
          <a:bodyPr/>
          <a:lstStyle>
            <a:lvl1pPr>
              <a:buClr>
                <a:srgbClr val="FFFFFF"/>
              </a:buClr>
              <a:buSzPct val="70000"/>
              <a:buFont typeface="Wingdings" pitchFamily="2" charset="2"/>
              <a:buNone/>
              <a:defRPr>
                <a:gradFill>
                  <a:gsLst>
                    <a:gs pos="0">
                      <a:srgbClr val="FFFFFF"/>
                    </a:gs>
                    <a:gs pos="86000">
                      <a:srgbClr val="FFFFFF"/>
                    </a:gs>
                  </a:gsLst>
                  <a:lin ang="5400000" scaled="0"/>
                </a:gradFill>
              </a:defRPr>
            </a:lvl1pPr>
            <a:lvl2pPr>
              <a:buClr>
                <a:srgbClr val="FFFFFF"/>
              </a:buClr>
              <a:buSzPct val="70000"/>
              <a:buFont typeface="Wingdings" pitchFamily="2" charset="2"/>
              <a:buNone/>
              <a:defRPr>
                <a:gradFill>
                  <a:gsLst>
                    <a:gs pos="0">
                      <a:srgbClr val="FFFFFF"/>
                    </a:gs>
                    <a:gs pos="86000">
                      <a:srgbClr val="FFFFFF"/>
                    </a:gs>
                  </a:gsLst>
                  <a:lin ang="5400000" scaled="0"/>
                </a:gradFill>
              </a:defRPr>
            </a:lvl2pPr>
            <a:lvl3pPr>
              <a:buClr>
                <a:srgbClr val="FFFFFF"/>
              </a:buClr>
              <a:buSzPct val="70000"/>
              <a:buFont typeface="Wingdings" pitchFamily="2" charset="2"/>
              <a:buNone/>
              <a:defRPr>
                <a:gradFill>
                  <a:gsLst>
                    <a:gs pos="0">
                      <a:srgbClr val="FFFFFF"/>
                    </a:gs>
                    <a:gs pos="86000">
                      <a:srgbClr val="FFFFFF"/>
                    </a:gs>
                  </a:gsLst>
                  <a:lin ang="5400000" scaled="0"/>
                </a:gradFill>
              </a:defRPr>
            </a:lvl3pPr>
            <a:lvl4pPr>
              <a:buClr>
                <a:srgbClr val="FFFFFF"/>
              </a:buClr>
              <a:buSzPct val="70000"/>
              <a:buFont typeface="Wingdings" pitchFamily="2" charset="2"/>
              <a:buNone/>
              <a:defRPr>
                <a:gradFill>
                  <a:gsLst>
                    <a:gs pos="0">
                      <a:srgbClr val="FFFFFF"/>
                    </a:gs>
                    <a:gs pos="86000">
                      <a:srgbClr val="FFFFFF"/>
                    </a:gs>
                  </a:gsLst>
                  <a:lin ang="5400000" scaled="0"/>
                </a:gradFill>
              </a:defRPr>
            </a:lvl4pPr>
            <a:lvl5pPr>
              <a:buClr>
                <a:srgbClr val="FFFFFF"/>
              </a:buClr>
              <a:buSzPct val="70000"/>
              <a:buFont typeface="Wingdings" pitchFamily="2" charset="2"/>
              <a:buNone/>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85"/>
            <a:ext cx="12192001" cy="619125"/>
          </a:xfrm>
          <a:solidFill>
            <a:srgbClr val="FFFF99"/>
          </a:solidFill>
        </p:spPr>
        <p:txBody>
          <a:bodyPr wrap="square" lIns="114341" tIns="57171" rIns="114341" bIns="5717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12843024"/>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5_Blank Color 1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900755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2"/>
        </a:solidFill>
        <a:effectLst/>
      </p:bgPr>
    </p:bg>
    <p:spTree>
      <p:nvGrpSpPr>
        <p:cNvPr id="1" name=""/>
        <p:cNvGrpSpPr/>
        <p:nvPr/>
      </p:nvGrpSpPr>
      <p:grpSpPr>
        <a:xfrm>
          <a:off x="0" y="0"/>
          <a:ext cx="0" cy="0"/>
          <a:chOff x="0" y="0"/>
          <a:chExt cx="0" cy="0"/>
        </a:xfrm>
      </p:grpSpPr>
      <p:sp>
        <p:nvSpPr>
          <p:cNvPr id="3" name="Rectangle 2"/>
          <p:cNvSpPr/>
          <p:nvPr/>
        </p:nvSpPr>
        <p:spPr>
          <a:xfrm>
            <a:off x="429770" y="5868849"/>
            <a:ext cx="11361348" cy="584775"/>
          </a:xfrm>
          <a:prstGeom prst="rect">
            <a:avLst/>
          </a:prstGeom>
        </p:spPr>
        <p:txBody>
          <a:bodyPr wrap="square">
            <a:spAutoFit/>
          </a:bodyPr>
          <a:lstStyle/>
          <a:p>
            <a:pPr defTabSz="914099" eaLnBrk="0" hangingPunct="0"/>
            <a:r>
              <a:rPr lang="en-US" sz="800" dirty="0">
                <a:gradFill>
                  <a:gsLst>
                    <a:gs pos="0">
                      <a:srgbClr val="FFFFFF"/>
                    </a:gs>
                    <a:gs pos="100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r>
              <a:rPr lang="en-US" sz="8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837" y="2655147"/>
            <a:ext cx="5005707" cy="1084998"/>
          </a:xfrm>
          <a:prstGeom prst="rect">
            <a:avLst/>
          </a:prstGeom>
        </p:spPr>
      </p:pic>
    </p:spTree>
    <p:extLst>
      <p:ext uri="{BB962C8B-B14F-4D97-AF65-F5344CB8AC3E}">
        <p14:creationId xmlns:p14="http://schemas.microsoft.com/office/powerpoint/2010/main" val="1562135628"/>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69239" y="6566933"/>
            <a:ext cx="3859607" cy="364224"/>
          </a:xfrm>
          <a:prstGeom prst="rect">
            <a:avLst/>
          </a:prstGeom>
        </p:spPr>
        <p:txBody>
          <a:bodyPr lIns="89629" tIns="44815" rIns="89629" bIns="44815"/>
          <a:lstStyle/>
          <a:p>
            <a:r>
              <a:rPr lang="en-US">
                <a:solidFill>
                  <a:srgbClr val="000000"/>
                </a:solidFill>
              </a:rPr>
              <a:t>Microsoft Confidential</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25B1B22E-D3C8-4129-8E85-2E5037E3E69B}" type="slidenum">
              <a:rPr lang="en-US" smtClean="0">
                <a:solidFill>
                  <a:srgbClr val="00188F"/>
                </a:solidFill>
              </a:rPr>
              <a:pPr/>
              <a:t>‹#›</a:t>
            </a:fld>
            <a:endParaRPr lang="en-US" dirty="0">
              <a:solidFill>
                <a:srgbClr val="00188F"/>
              </a:solidFill>
            </a:endParaRPr>
          </a:p>
        </p:txBody>
      </p:sp>
      <p:sp>
        <p:nvSpPr>
          <p:cNvPr id="6" name="Text Placeholder 5"/>
          <p:cNvSpPr>
            <a:spLocks noGrp="1"/>
          </p:cNvSpPr>
          <p:nvPr>
            <p:ph type="body" sz="quarter" idx="12"/>
          </p:nvPr>
        </p:nvSpPr>
        <p:spPr>
          <a:xfrm>
            <a:off x="269239" y="1411760"/>
            <a:ext cx="11653523" cy="1704996"/>
          </a:xfrm>
        </p:spPr>
        <p:txBody>
          <a:bodyPr/>
          <a:lstStyle>
            <a:lvl1pPr>
              <a:spcBef>
                <a:spcPts val="1176"/>
              </a:spcBef>
              <a:defRPr b="0">
                <a:gradFill>
                  <a:gsLst>
                    <a:gs pos="1250">
                      <a:schemeClr val="accent2"/>
                    </a:gs>
                    <a:gs pos="100000">
                      <a:schemeClr val="accent2"/>
                    </a:gs>
                  </a:gsLst>
                  <a:lin ang="5400000" scaled="0"/>
                </a:gradFill>
              </a:defRPr>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8930944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a:p>
        </p:txBody>
      </p:sp>
    </p:spTree>
    <p:extLst>
      <p:ext uri="{BB962C8B-B14F-4D97-AF65-F5344CB8AC3E}">
        <p14:creationId xmlns:p14="http://schemas.microsoft.com/office/powerpoint/2010/main" val="1399636116"/>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LIGHT BLUE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31952" y="1371601"/>
            <a:ext cx="11356757" cy="1425005"/>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599859381"/>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2" y="914400"/>
            <a:ext cx="11372579" cy="1323952"/>
          </a:xfrm>
        </p:spPr>
        <p:txBody>
          <a:bodyPr/>
          <a:lstStyle>
            <a:lvl1pPr>
              <a:spcBef>
                <a:spcPts val="3600"/>
              </a:spcBef>
              <a:defRPr lang="en-US" sz="2400" kern="4000" spc="-100" baseline="0" dirty="0" smtClean="0">
                <a:solidFill>
                  <a:srgbClr val="595959"/>
                </a:soli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383751474"/>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_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3" y="1371600"/>
            <a:ext cx="11051878" cy="143475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marL="285750" indent="-285750">
              <a:buFont typeface="Arial" pitchFamily="34" charset="0"/>
              <a:buChar char="•"/>
              <a:defRPr sz="1800"/>
            </a:lvl2pPr>
            <a:lvl3pPr marL="460375" indent="-171450">
              <a:buFont typeface="Arial" pitchFamily="34" charset="0"/>
              <a:buChar char="•"/>
              <a:defRPr sz="1400"/>
            </a:lvl3pPr>
            <a:lvl4pPr marL="630238" indent="-171450">
              <a:buFont typeface="Arial" pitchFamily="34" charset="0"/>
              <a:buChar char="•"/>
              <a:defRPr sz="1100"/>
            </a:lvl4pPr>
            <a:lvl5pPr marL="801688" indent="-171450">
              <a:buFont typeface="Arial" pitchFamily="34" charset="0"/>
              <a:buChar cha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385112801"/>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_LT BLUE 2 COLUMN">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87338" y="228601"/>
            <a:ext cx="11383828" cy="553998"/>
          </a:xfrm>
        </p:spPr>
        <p:txBody>
          <a:bodyPr/>
          <a:lstStyle/>
          <a:p>
            <a:r>
              <a:rPr lang="en-US" smtClean="0"/>
              <a:t>Click to edit Master title style</a:t>
            </a:r>
            <a:endParaRPr lang="en-US" dirty="0"/>
          </a:p>
        </p:txBody>
      </p:sp>
      <p:sp>
        <p:nvSpPr>
          <p:cNvPr id="2" name="Slide Number Placeholder 1"/>
          <p:cNvSpPr>
            <a:spLocks noGrp="1"/>
          </p:cNvSpPr>
          <p:nvPr>
            <p:ph type="sldNum" sz="quarter" idx="14"/>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
        <p:nvSpPr>
          <p:cNvPr id="9" name="Text Placeholder 8"/>
          <p:cNvSpPr>
            <a:spLocks noGrp="1"/>
          </p:cNvSpPr>
          <p:nvPr>
            <p:ph type="body" sz="quarter" idx="15"/>
          </p:nvPr>
        </p:nvSpPr>
        <p:spPr>
          <a:xfrm>
            <a:off x="530364" y="2057400"/>
            <a:ext cx="5184537" cy="1434752"/>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96000" y="2057400"/>
            <a:ext cx="4573191" cy="1890774"/>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9385388"/>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LIGHT BLUE 3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0"/>
          </p:nvPr>
        </p:nvSpPr>
        <p:spPr>
          <a:xfrm>
            <a:off x="531951" y="2057400"/>
            <a:ext cx="3658553" cy="18087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600"/>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1"/>
          </p:nvPr>
        </p:nvSpPr>
        <p:spPr>
          <a:xfrm>
            <a:off x="4419164"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2"/>
          </p:nvPr>
        </p:nvSpPr>
        <p:spPr>
          <a:xfrm>
            <a:off x="8306375"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3"/>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314339211"/>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 LIGHT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266724" y="1371600"/>
            <a:ext cx="7393325" cy="136550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3221401563"/>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 DK BLUE  Non-Bulleted Content">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11369613"/>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K BLUE ">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648480554"/>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DK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1" y="1371600"/>
            <a:ext cx="10899231" cy="1407052"/>
          </a:xfrm>
        </p:spPr>
        <p:txBody>
          <a:bodyPr/>
          <a:lstStyle>
            <a:lvl1pPr marL="0" indent="0">
              <a:buFont typeface="Wingdings" pitchFamily="2" charset="2"/>
              <a:buNone/>
              <a:defRPr>
                <a:gradFill flip="none" rotWithShape="1">
                  <a:gsLst>
                    <a:gs pos="0">
                      <a:schemeClr val="accent2"/>
                    </a:gs>
                    <a:gs pos="85000">
                      <a:schemeClr val="accent2"/>
                    </a:gs>
                  </a:gsLst>
                  <a:path path="circle">
                    <a:fillToRect r="100000" b="100000"/>
                  </a:path>
                  <a:tileRect l="-100000" t="-100000"/>
                </a:gradFill>
              </a:defRPr>
            </a:lvl1pPr>
            <a:lvl2pPr marL="231775" indent="-231775">
              <a:buFont typeface="Wingdings" pitchFamily="2" charset="2"/>
              <a:buChar char="§"/>
              <a:defRPr sz="1600"/>
            </a:lvl2pPr>
            <a:lvl3pPr marL="457200" indent="-173038">
              <a:buFont typeface="Wingdings" pitchFamily="2" charset="2"/>
              <a:buChar char="§"/>
              <a:defRPr sz="1400"/>
            </a:lvl3pPr>
            <a:lvl4pPr marL="688975" indent="-173038">
              <a:buFont typeface="Wingdings" pitchFamily="2" charset="2"/>
              <a:buChar char="§"/>
              <a:defRPr sz="1100"/>
            </a:lvl4pPr>
            <a:lvl5pPr marL="854075" indent="-173038">
              <a:buFont typeface="Wingdings" pitchFamily="2" charset="2"/>
              <a:buChar char="§"/>
              <a:tabLst>
                <a:tab pos="974725" algn="l"/>
              </a:tabLst>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6583182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DK BLUE 2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
        <p:nvSpPr>
          <p:cNvPr id="9" name="Text Placeholder 8"/>
          <p:cNvSpPr>
            <a:spLocks noGrp="1"/>
          </p:cNvSpPr>
          <p:nvPr>
            <p:ph type="body" sz="quarter" idx="15"/>
          </p:nvPr>
        </p:nvSpPr>
        <p:spPr>
          <a:xfrm>
            <a:off x="530364" y="2057400"/>
            <a:ext cx="518453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83120" y="2057400"/>
            <a:ext cx="4573191"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2150073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5851742"/>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K BLUE 3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
        <p:nvSpPr>
          <p:cNvPr id="9" name="Text Placeholder 8"/>
          <p:cNvSpPr>
            <a:spLocks noGrp="1"/>
          </p:cNvSpPr>
          <p:nvPr>
            <p:ph type="body" sz="quarter" idx="15"/>
          </p:nvPr>
        </p:nvSpPr>
        <p:spPr>
          <a:xfrm>
            <a:off x="525697"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26"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5"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79631358"/>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DK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266726" y="1371600"/>
            <a:ext cx="762047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022058184"/>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 GREY Non-Bulleted Conten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31952" y="1371600"/>
            <a:ext cx="11386054" cy="1407052"/>
          </a:xfrm>
        </p:spPr>
        <p:txBody>
          <a:bodyPr/>
          <a:lstStyle>
            <a:lvl1pPr>
              <a:defRPr lang="en-US" sz="3200"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a:defRPr sz="16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100467335"/>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2" name="Slide Number Placeholder 1"/>
          <p:cNvSpPr>
            <a:spLocks noGrp="1"/>
          </p:cNvSpPr>
          <p:nvPr>
            <p:ph type="sldNum" sz="quarter" idx="10"/>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3109424633"/>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005F7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12192000" cy="812800"/>
          </a:xfrm>
          <a:solidFill>
            <a:srgbClr val="007DBA"/>
          </a:solidFill>
        </p:spPr>
        <p:txBody>
          <a:bodyPr lIns="182880" anchor="ctr" anchorCtr="0">
            <a:noAutofit/>
          </a:bodyPr>
          <a:lstStyle>
            <a:lvl1pPr>
              <a:defRPr>
                <a:solidFill>
                  <a:schemeClr val="bg1"/>
                </a:solidFill>
              </a:defRPr>
            </a:lvl1pPr>
          </a:lstStyle>
          <a:p>
            <a:r>
              <a:rPr lang="en-US" dirty="0" smtClean="0"/>
              <a:t>Click to edit Master title style</a:t>
            </a:r>
            <a:endParaRPr lang="en-US" dirty="0"/>
          </a:p>
        </p:txBody>
      </p:sp>
      <p:sp>
        <p:nvSpPr>
          <p:cNvPr id="5" name="Rectangle 4"/>
          <p:cNvSpPr/>
          <p:nvPr userDrawn="1"/>
        </p:nvSpPr>
        <p:spPr bwMode="auto">
          <a:xfrm>
            <a:off x="1" y="800100"/>
            <a:ext cx="12192000" cy="6057900"/>
          </a:xfrm>
          <a:prstGeom prst="rect">
            <a:avLst/>
          </a:prstGeom>
          <a:gradFill>
            <a:gsLst>
              <a:gs pos="0">
                <a:srgbClr val="000608"/>
              </a:gs>
              <a:gs pos="50000">
                <a:srgbClr val="005F70"/>
              </a:gs>
              <a:gs pos="100000">
                <a:srgbClr val="000608"/>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1B3B41">
                      <a:lumMod val="65000"/>
                      <a:lumOff val="35000"/>
                    </a:srgbClr>
                  </a:gs>
                  <a:gs pos="86000">
                    <a:srgbClr val="1B3B41">
                      <a:lumMod val="65000"/>
                      <a:lumOff val="35000"/>
                    </a:srgbClr>
                  </a:gs>
                </a:gsLst>
                <a:lin ang="5400000" scaled="0"/>
                <a:tileRect/>
              </a:gradFill>
              <a:cs typeface="Arial" charset="0"/>
            </a:endParaRPr>
          </a:p>
        </p:txBody>
      </p:sp>
    </p:spTree>
    <p:extLst>
      <p:ext uri="{BB962C8B-B14F-4D97-AF65-F5344CB8AC3E}">
        <p14:creationId xmlns:p14="http://schemas.microsoft.com/office/powerpoint/2010/main" val="1377073244"/>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95172721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2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36296"/>
            <a:ext cx="5223522" cy="976165"/>
          </a:xfrm>
        </p:spPr>
        <p:txBody>
          <a:bodyPr anchor="ctr" anchorCtr="0"/>
          <a:lstStyle>
            <a:lvl1pPr>
              <a:defRPr>
                <a:solidFill>
                  <a:schemeClr val="accent1"/>
                </a:solidFill>
              </a:defRPr>
            </a:lvl1pPr>
            <a:lvl2pPr>
              <a:defRPr lang="en-US" sz="1800" kern="4000" spc="-100" baseline="0" dirty="0" smtClean="0">
                <a:solidFill>
                  <a:schemeClr val="tx1">
                    <a:lumMod val="65000"/>
                    <a:lumOff val="35000"/>
                  </a:schemeClr>
                </a:solidFill>
                <a:latin typeface="+mn-lt"/>
                <a:ea typeface="+mn-ea"/>
                <a:cs typeface="+mn-cs"/>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460759283"/>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17060"/>
            <a:ext cx="5223522" cy="1014637"/>
          </a:xfrm>
        </p:spPr>
        <p:txBody>
          <a:bodyPr anchor="ctr" anchorCtr="0"/>
          <a:lstStyle>
            <a:lvl1pPr>
              <a:defRPr>
                <a:gradFill flip="none" rotWithShape="1">
                  <a:gsLst>
                    <a:gs pos="0">
                      <a:schemeClr val="accent2"/>
                    </a:gs>
                    <a:gs pos="87000">
                      <a:schemeClr val="accent2"/>
                    </a:gs>
                  </a:gsLst>
                  <a:path path="circle">
                    <a:fillToRect r="100000" b="100000"/>
                  </a:path>
                  <a:tileRect l="-100000" t="-100000"/>
                </a:gradFill>
              </a:defRPr>
            </a:lvl1pPr>
            <a:lvl2pPr>
              <a:defRPr lang="en-US" sz="1800" kern="4000" spc="-100" baseline="0" dirty="0" smtClean="0">
                <a:solidFill>
                  <a:schemeClr val="tx1">
                    <a:lumMod val="65000"/>
                    <a:lumOff val="35000"/>
                  </a:schemeClr>
                </a:solidFill>
                <a:latin typeface="+mn-lt"/>
                <a:ea typeface="+mn-ea"/>
                <a:cs typeface="+mn-cs"/>
              </a:defRPr>
            </a:lvl2pPr>
            <a:lvl3pPr>
              <a:defRPr sz="140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8DC548"/>
                </a:solidFill>
              </a:rPr>
              <a:pPr/>
              <a:t>‹#›</a:t>
            </a:fld>
            <a:endParaRPr lang="en-US">
              <a:solidFill>
                <a:srgbClr val="8DC548"/>
              </a:solidFill>
            </a:endParaRPr>
          </a:p>
        </p:txBody>
      </p:sp>
    </p:spTree>
    <p:extLst>
      <p:ext uri="{BB962C8B-B14F-4D97-AF65-F5344CB8AC3E}">
        <p14:creationId xmlns:p14="http://schemas.microsoft.com/office/powerpoint/2010/main" val="2011888537"/>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39332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800"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87654875"/>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2_Light  BLUE | SIDE TEXT">
    <p:bg>
      <p:bgPr>
        <a:solidFill>
          <a:schemeClr val="accent1"/>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46954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800">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0082824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7721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287342" y="1447802"/>
            <a:ext cx="11383827" cy="143475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6098332"/>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2" y="1447802"/>
            <a:ext cx="11151917" cy="1438855"/>
          </a:xfrm>
        </p:spPr>
        <p:txBody>
          <a:bodyPr/>
          <a:lstStyle>
            <a:lvl1pPr>
              <a:buClr>
                <a:srgbClr val="FFFFFF"/>
              </a:buClr>
              <a:buSzPct val="70000"/>
              <a:buFont typeface="Wingdings" pitchFamily="2" charset="2"/>
              <a:buNone/>
              <a:defRPr>
                <a:gradFill>
                  <a:gsLst>
                    <a:gs pos="0">
                      <a:srgbClr val="FFFFFF"/>
                    </a:gs>
                    <a:gs pos="86000">
                      <a:srgbClr val="FFFFFF"/>
                    </a:gs>
                  </a:gsLst>
                  <a:lin ang="5400000" scaled="0"/>
                </a:gradFill>
              </a:defRPr>
            </a:lvl1pPr>
            <a:lvl2pPr>
              <a:buClr>
                <a:srgbClr val="FFFFFF"/>
              </a:buClr>
              <a:buSzPct val="70000"/>
              <a:buFont typeface="Wingdings" pitchFamily="2" charset="2"/>
              <a:buNone/>
              <a:defRPr>
                <a:gradFill>
                  <a:gsLst>
                    <a:gs pos="0">
                      <a:srgbClr val="FFFFFF"/>
                    </a:gs>
                    <a:gs pos="86000">
                      <a:srgbClr val="FFFFFF"/>
                    </a:gs>
                  </a:gsLst>
                  <a:lin ang="5400000" scaled="0"/>
                </a:gradFill>
              </a:defRPr>
            </a:lvl2pPr>
            <a:lvl3pPr>
              <a:buClr>
                <a:srgbClr val="FFFFFF"/>
              </a:buClr>
              <a:buSzPct val="70000"/>
              <a:buFont typeface="Wingdings" pitchFamily="2" charset="2"/>
              <a:buNone/>
              <a:defRPr>
                <a:gradFill>
                  <a:gsLst>
                    <a:gs pos="0">
                      <a:srgbClr val="FFFFFF"/>
                    </a:gs>
                    <a:gs pos="86000">
                      <a:srgbClr val="FFFFFF"/>
                    </a:gs>
                  </a:gsLst>
                  <a:lin ang="5400000" scaled="0"/>
                </a:gradFill>
              </a:defRPr>
            </a:lvl3pPr>
            <a:lvl4pPr>
              <a:buClr>
                <a:srgbClr val="FFFFFF"/>
              </a:buClr>
              <a:buSzPct val="70000"/>
              <a:buFont typeface="Wingdings" pitchFamily="2" charset="2"/>
              <a:buNone/>
              <a:defRPr>
                <a:gradFill>
                  <a:gsLst>
                    <a:gs pos="0">
                      <a:srgbClr val="FFFFFF"/>
                    </a:gs>
                    <a:gs pos="86000">
                      <a:srgbClr val="FFFFFF"/>
                    </a:gs>
                  </a:gsLst>
                  <a:lin ang="5400000" scaled="0"/>
                </a:gradFill>
              </a:defRPr>
            </a:lvl4pPr>
            <a:lvl5pPr>
              <a:buClr>
                <a:srgbClr val="FFFFFF"/>
              </a:buClr>
              <a:buSzPct val="70000"/>
              <a:buFont typeface="Wingdings" pitchFamily="2" charset="2"/>
              <a:buNone/>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85"/>
            <a:ext cx="12192001" cy="619125"/>
          </a:xfrm>
          <a:solidFill>
            <a:srgbClr val="FFFF99"/>
          </a:solidFill>
        </p:spPr>
        <p:txBody>
          <a:bodyPr wrap="square" lIns="114341" tIns="57171" rIns="114341" bIns="5717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278925074"/>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5_Blank Color 1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6824130"/>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2"/>
        </a:solidFill>
        <a:effectLst/>
      </p:bgPr>
    </p:bg>
    <p:spTree>
      <p:nvGrpSpPr>
        <p:cNvPr id="1" name=""/>
        <p:cNvGrpSpPr/>
        <p:nvPr/>
      </p:nvGrpSpPr>
      <p:grpSpPr>
        <a:xfrm>
          <a:off x="0" y="0"/>
          <a:ext cx="0" cy="0"/>
          <a:chOff x="0" y="0"/>
          <a:chExt cx="0" cy="0"/>
        </a:xfrm>
      </p:grpSpPr>
      <p:sp>
        <p:nvSpPr>
          <p:cNvPr id="3" name="Rectangle 2"/>
          <p:cNvSpPr/>
          <p:nvPr/>
        </p:nvSpPr>
        <p:spPr>
          <a:xfrm>
            <a:off x="429770" y="5868849"/>
            <a:ext cx="11361348" cy="584775"/>
          </a:xfrm>
          <a:prstGeom prst="rect">
            <a:avLst/>
          </a:prstGeom>
        </p:spPr>
        <p:txBody>
          <a:bodyPr wrap="square">
            <a:spAutoFit/>
          </a:bodyPr>
          <a:lstStyle/>
          <a:p>
            <a:pPr defTabSz="914099" eaLnBrk="0" hangingPunct="0"/>
            <a:r>
              <a:rPr lang="en-US" sz="800" dirty="0">
                <a:gradFill>
                  <a:gsLst>
                    <a:gs pos="0">
                      <a:srgbClr val="FFFFFF"/>
                    </a:gs>
                    <a:gs pos="100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r>
              <a:rPr lang="en-US" sz="8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837" y="2655147"/>
            <a:ext cx="5005707" cy="1084998"/>
          </a:xfrm>
          <a:prstGeom prst="rect">
            <a:avLst/>
          </a:prstGeom>
        </p:spPr>
      </p:pic>
    </p:spTree>
    <p:extLst>
      <p:ext uri="{BB962C8B-B14F-4D97-AF65-F5344CB8AC3E}">
        <p14:creationId xmlns:p14="http://schemas.microsoft.com/office/powerpoint/2010/main" val="459230847"/>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69239" y="6566933"/>
            <a:ext cx="3859607" cy="364224"/>
          </a:xfrm>
          <a:prstGeom prst="rect">
            <a:avLst/>
          </a:prstGeom>
        </p:spPr>
        <p:txBody>
          <a:bodyPr lIns="89629" tIns="44815" rIns="89629" bIns="44815"/>
          <a:lstStyle/>
          <a:p>
            <a:r>
              <a:rPr lang="en-US">
                <a:solidFill>
                  <a:srgbClr val="1B3B41"/>
                </a:solidFill>
              </a:rPr>
              <a:t>Microsoft Confidential</a:t>
            </a:r>
            <a:endParaRPr lang="en-US" dirty="0">
              <a:solidFill>
                <a:srgbClr val="1B3B41"/>
              </a:solidFill>
            </a:endParaRPr>
          </a:p>
        </p:txBody>
      </p:sp>
      <p:sp>
        <p:nvSpPr>
          <p:cNvPr id="4" name="Slide Number Placeholder 3"/>
          <p:cNvSpPr>
            <a:spLocks noGrp="1"/>
          </p:cNvSpPr>
          <p:nvPr>
            <p:ph type="sldNum" sz="quarter" idx="11"/>
          </p:nvPr>
        </p:nvSpPr>
        <p:spPr/>
        <p:txBody>
          <a:bodyPr/>
          <a:lstStyle/>
          <a:p>
            <a:fld id="{25B1B22E-D3C8-4129-8E85-2E5037E3E69B}" type="slidenum">
              <a:rPr lang="en-US" smtClean="0">
                <a:solidFill>
                  <a:srgbClr val="8DC548"/>
                </a:solidFill>
              </a:rPr>
              <a:pPr/>
              <a:t>‹#›</a:t>
            </a:fld>
            <a:endParaRPr lang="en-US" dirty="0">
              <a:solidFill>
                <a:srgbClr val="8DC548"/>
              </a:solidFill>
            </a:endParaRPr>
          </a:p>
        </p:txBody>
      </p:sp>
      <p:sp>
        <p:nvSpPr>
          <p:cNvPr id="6" name="Text Placeholder 5"/>
          <p:cNvSpPr>
            <a:spLocks noGrp="1"/>
          </p:cNvSpPr>
          <p:nvPr>
            <p:ph type="body" sz="quarter" idx="12"/>
          </p:nvPr>
        </p:nvSpPr>
        <p:spPr>
          <a:xfrm>
            <a:off x="269239" y="1411760"/>
            <a:ext cx="11653523" cy="1704996"/>
          </a:xfrm>
        </p:spPr>
        <p:txBody>
          <a:bodyPr/>
          <a:lstStyle>
            <a:lvl1pPr>
              <a:spcBef>
                <a:spcPts val="1176"/>
              </a:spcBef>
              <a:defRPr b="0">
                <a:gradFill>
                  <a:gsLst>
                    <a:gs pos="1250">
                      <a:schemeClr val="accent2"/>
                    </a:gs>
                    <a:gs pos="100000">
                      <a:schemeClr val="accent2"/>
                    </a:gs>
                  </a:gsLst>
                  <a:lin ang="5400000" scaled="0"/>
                </a:gradFill>
              </a:defRPr>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00518285"/>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586448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LIGHT BLUE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31952" y="1371601"/>
            <a:ext cx="11356757" cy="1425005"/>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769597407"/>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2" y="914400"/>
            <a:ext cx="11372579" cy="1323952"/>
          </a:xfrm>
        </p:spPr>
        <p:txBody>
          <a:bodyPr/>
          <a:lstStyle>
            <a:lvl1pPr>
              <a:spcBef>
                <a:spcPts val="3600"/>
              </a:spcBef>
              <a:defRPr lang="en-US" sz="2400" kern="4000" spc="-100" baseline="0" dirty="0" smtClean="0">
                <a:solidFill>
                  <a:srgbClr val="595959"/>
                </a:soli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678415620"/>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1_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3" y="1371600"/>
            <a:ext cx="11051878" cy="143475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marL="285750" indent="-285750">
              <a:buFont typeface="Arial" pitchFamily="34" charset="0"/>
              <a:buChar char="•"/>
              <a:defRPr sz="1800"/>
            </a:lvl2pPr>
            <a:lvl3pPr marL="460375" indent="-171450">
              <a:buFont typeface="Arial" pitchFamily="34" charset="0"/>
              <a:buChar char="•"/>
              <a:defRPr sz="1400"/>
            </a:lvl3pPr>
            <a:lvl4pPr marL="630238" indent="-171450">
              <a:buFont typeface="Arial" pitchFamily="34" charset="0"/>
              <a:buChar char="•"/>
              <a:defRPr sz="1100"/>
            </a:lvl4pPr>
            <a:lvl5pPr marL="801688" indent="-171450">
              <a:buFont typeface="Arial" pitchFamily="34" charset="0"/>
              <a:buChar cha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762371680"/>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_LT BLUE 2 COLUMN">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87338" y="228601"/>
            <a:ext cx="11383828" cy="553998"/>
          </a:xfrm>
        </p:spPr>
        <p:txBody>
          <a:bodyPr/>
          <a:lstStyle/>
          <a:p>
            <a:r>
              <a:rPr lang="en-US" smtClean="0"/>
              <a:t>Click to edit Master title style</a:t>
            </a:r>
            <a:endParaRPr lang="en-US" dirty="0"/>
          </a:p>
        </p:txBody>
      </p:sp>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30364" y="2057400"/>
            <a:ext cx="5184537" cy="1434752"/>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96000" y="2057400"/>
            <a:ext cx="4573191" cy="1890774"/>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920681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66854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LIGHT BLUE 3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0"/>
          </p:nvPr>
        </p:nvSpPr>
        <p:spPr>
          <a:xfrm>
            <a:off x="531951" y="2057400"/>
            <a:ext cx="3658553" cy="18087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600"/>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1"/>
          </p:nvPr>
        </p:nvSpPr>
        <p:spPr>
          <a:xfrm>
            <a:off x="4419164"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2"/>
          </p:nvPr>
        </p:nvSpPr>
        <p:spPr>
          <a:xfrm>
            <a:off x="8306375"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3"/>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61356204"/>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 LIGHT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266724" y="1371600"/>
            <a:ext cx="7393325" cy="136550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85946673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 DK BLUE  Non-Bulleted Content">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7153443"/>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DK BLUE ">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486819858"/>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_DK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1" y="1371600"/>
            <a:ext cx="10899231" cy="1407052"/>
          </a:xfrm>
        </p:spPr>
        <p:txBody>
          <a:bodyPr/>
          <a:lstStyle>
            <a:lvl1pPr marL="0" indent="0">
              <a:buFont typeface="Wingdings" pitchFamily="2" charset="2"/>
              <a:buNone/>
              <a:defRPr>
                <a:gradFill flip="none" rotWithShape="1">
                  <a:gsLst>
                    <a:gs pos="0">
                      <a:schemeClr val="accent2"/>
                    </a:gs>
                    <a:gs pos="85000">
                      <a:schemeClr val="accent2"/>
                    </a:gs>
                  </a:gsLst>
                  <a:path path="circle">
                    <a:fillToRect r="100000" b="100000"/>
                  </a:path>
                  <a:tileRect l="-100000" t="-100000"/>
                </a:gradFill>
              </a:defRPr>
            </a:lvl1pPr>
            <a:lvl2pPr marL="231775" indent="-231775">
              <a:buFont typeface="Wingdings" pitchFamily="2" charset="2"/>
              <a:buChar char="§"/>
              <a:defRPr sz="1600"/>
            </a:lvl2pPr>
            <a:lvl3pPr marL="457200" indent="-173038">
              <a:buFont typeface="Wingdings" pitchFamily="2" charset="2"/>
              <a:buChar char="§"/>
              <a:defRPr sz="1400"/>
            </a:lvl3pPr>
            <a:lvl4pPr marL="688975" indent="-173038">
              <a:buFont typeface="Wingdings" pitchFamily="2" charset="2"/>
              <a:buChar char="§"/>
              <a:defRPr sz="1100"/>
            </a:lvl4pPr>
            <a:lvl5pPr marL="854075" indent="-173038">
              <a:buFont typeface="Wingdings" pitchFamily="2" charset="2"/>
              <a:buChar char="§"/>
              <a:tabLst>
                <a:tab pos="974725" algn="l"/>
              </a:tabLst>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78411294"/>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DK BLUE 2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30364" y="2057400"/>
            <a:ext cx="518453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83120" y="2057400"/>
            <a:ext cx="4573191"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89772122"/>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K BLUE 3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25697"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26"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5"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59331933"/>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DK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266726" y="1371600"/>
            <a:ext cx="762047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160418289"/>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 GREY Non-Bulleted Conten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31952" y="1371600"/>
            <a:ext cx="11386054" cy="1407052"/>
          </a:xfrm>
        </p:spPr>
        <p:txBody>
          <a:bodyPr/>
          <a:lstStyle>
            <a:lvl1pPr>
              <a:defRPr lang="en-US" sz="3200"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a:defRPr sz="16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71069692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715704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5843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005F7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12192000" cy="812800"/>
          </a:xfrm>
          <a:solidFill>
            <a:srgbClr val="007DBA"/>
          </a:solidFill>
        </p:spPr>
        <p:txBody>
          <a:bodyPr lIns="182880" anchor="ctr" anchorCtr="0">
            <a:noAutofit/>
          </a:bodyPr>
          <a:lstStyle>
            <a:lvl1pPr>
              <a:defRPr>
                <a:solidFill>
                  <a:schemeClr val="bg1"/>
                </a:solidFill>
              </a:defRPr>
            </a:lvl1pPr>
          </a:lstStyle>
          <a:p>
            <a:r>
              <a:rPr lang="en-US" dirty="0" smtClean="0"/>
              <a:t>Click to edit Master title style</a:t>
            </a:r>
            <a:endParaRPr lang="en-US" dirty="0"/>
          </a:p>
        </p:txBody>
      </p:sp>
      <p:sp>
        <p:nvSpPr>
          <p:cNvPr id="5" name="Rectangle 4"/>
          <p:cNvSpPr/>
          <p:nvPr userDrawn="1"/>
        </p:nvSpPr>
        <p:spPr bwMode="auto">
          <a:xfrm>
            <a:off x="1" y="800100"/>
            <a:ext cx="12192000" cy="6057900"/>
          </a:xfrm>
          <a:prstGeom prst="rect">
            <a:avLst/>
          </a:prstGeom>
          <a:gradFill>
            <a:gsLst>
              <a:gs pos="0">
                <a:srgbClr val="000608"/>
              </a:gs>
              <a:gs pos="50000">
                <a:srgbClr val="005F70"/>
              </a:gs>
              <a:gs pos="100000">
                <a:srgbClr val="000608"/>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Tree>
    <p:extLst>
      <p:ext uri="{BB962C8B-B14F-4D97-AF65-F5344CB8AC3E}">
        <p14:creationId xmlns:p14="http://schemas.microsoft.com/office/powerpoint/2010/main" val="1461218792"/>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864896048"/>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2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36296"/>
            <a:ext cx="5223522" cy="976165"/>
          </a:xfrm>
        </p:spPr>
        <p:txBody>
          <a:bodyPr anchor="ctr" anchorCtr="0"/>
          <a:lstStyle>
            <a:lvl1pPr>
              <a:defRPr>
                <a:solidFill>
                  <a:schemeClr val="accent1"/>
                </a:solidFill>
              </a:defRPr>
            </a:lvl1pPr>
            <a:lvl2pPr>
              <a:defRPr lang="en-US" sz="1800" kern="4000" spc="-100" baseline="0" dirty="0" smtClean="0">
                <a:solidFill>
                  <a:schemeClr val="tx1">
                    <a:lumMod val="65000"/>
                    <a:lumOff val="35000"/>
                  </a:schemeClr>
                </a:solidFill>
                <a:latin typeface="+mn-lt"/>
                <a:ea typeface="+mn-ea"/>
                <a:cs typeface="+mn-cs"/>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09473264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1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17060"/>
            <a:ext cx="5223522" cy="1014637"/>
          </a:xfrm>
        </p:spPr>
        <p:txBody>
          <a:bodyPr anchor="ctr" anchorCtr="0"/>
          <a:lstStyle>
            <a:lvl1pPr>
              <a:defRPr>
                <a:gradFill flip="none" rotWithShape="1">
                  <a:gsLst>
                    <a:gs pos="0">
                      <a:schemeClr val="accent2"/>
                    </a:gs>
                    <a:gs pos="87000">
                      <a:schemeClr val="accent2"/>
                    </a:gs>
                  </a:gsLst>
                  <a:path path="circle">
                    <a:fillToRect r="100000" b="100000"/>
                  </a:path>
                  <a:tileRect l="-100000" t="-100000"/>
                </a:gradFill>
              </a:defRPr>
            </a:lvl1pPr>
            <a:lvl2pPr>
              <a:defRPr lang="en-US" sz="1800" kern="4000" spc="-100" baseline="0" dirty="0" smtClean="0">
                <a:solidFill>
                  <a:schemeClr val="tx1">
                    <a:lumMod val="65000"/>
                    <a:lumOff val="35000"/>
                  </a:schemeClr>
                </a:solidFill>
                <a:latin typeface="+mn-lt"/>
                <a:ea typeface="+mn-ea"/>
                <a:cs typeface="+mn-cs"/>
              </a:defRPr>
            </a:lvl2pPr>
            <a:lvl3pPr>
              <a:defRPr sz="140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652661249"/>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39332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800"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04223092"/>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2_Light  BLUE | SIDE TEXT">
    <p:bg>
      <p:bgPr>
        <a:solidFill>
          <a:schemeClr val="accent1"/>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46954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800">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9432200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287342" y="1447802"/>
            <a:ext cx="11383827" cy="143475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42160298"/>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2" y="1447802"/>
            <a:ext cx="11151917" cy="1438855"/>
          </a:xfrm>
        </p:spPr>
        <p:txBody>
          <a:bodyPr/>
          <a:lstStyle>
            <a:lvl1pPr>
              <a:buClr>
                <a:srgbClr val="FFFFFF"/>
              </a:buClr>
              <a:buSzPct val="70000"/>
              <a:buFont typeface="Wingdings" pitchFamily="2" charset="2"/>
              <a:buNone/>
              <a:defRPr>
                <a:gradFill>
                  <a:gsLst>
                    <a:gs pos="0">
                      <a:srgbClr val="FFFFFF"/>
                    </a:gs>
                    <a:gs pos="86000">
                      <a:srgbClr val="FFFFFF"/>
                    </a:gs>
                  </a:gsLst>
                  <a:lin ang="5400000" scaled="0"/>
                </a:gradFill>
              </a:defRPr>
            </a:lvl1pPr>
            <a:lvl2pPr>
              <a:buClr>
                <a:srgbClr val="FFFFFF"/>
              </a:buClr>
              <a:buSzPct val="70000"/>
              <a:buFont typeface="Wingdings" pitchFamily="2" charset="2"/>
              <a:buNone/>
              <a:defRPr>
                <a:gradFill>
                  <a:gsLst>
                    <a:gs pos="0">
                      <a:srgbClr val="FFFFFF"/>
                    </a:gs>
                    <a:gs pos="86000">
                      <a:srgbClr val="FFFFFF"/>
                    </a:gs>
                  </a:gsLst>
                  <a:lin ang="5400000" scaled="0"/>
                </a:gradFill>
              </a:defRPr>
            </a:lvl2pPr>
            <a:lvl3pPr>
              <a:buClr>
                <a:srgbClr val="FFFFFF"/>
              </a:buClr>
              <a:buSzPct val="70000"/>
              <a:buFont typeface="Wingdings" pitchFamily="2" charset="2"/>
              <a:buNone/>
              <a:defRPr>
                <a:gradFill>
                  <a:gsLst>
                    <a:gs pos="0">
                      <a:srgbClr val="FFFFFF"/>
                    </a:gs>
                    <a:gs pos="86000">
                      <a:srgbClr val="FFFFFF"/>
                    </a:gs>
                  </a:gsLst>
                  <a:lin ang="5400000" scaled="0"/>
                </a:gradFill>
              </a:defRPr>
            </a:lvl3pPr>
            <a:lvl4pPr>
              <a:buClr>
                <a:srgbClr val="FFFFFF"/>
              </a:buClr>
              <a:buSzPct val="70000"/>
              <a:buFont typeface="Wingdings" pitchFamily="2" charset="2"/>
              <a:buNone/>
              <a:defRPr>
                <a:gradFill>
                  <a:gsLst>
                    <a:gs pos="0">
                      <a:srgbClr val="FFFFFF"/>
                    </a:gs>
                    <a:gs pos="86000">
                      <a:srgbClr val="FFFFFF"/>
                    </a:gs>
                  </a:gsLst>
                  <a:lin ang="5400000" scaled="0"/>
                </a:gradFill>
              </a:defRPr>
            </a:lvl4pPr>
            <a:lvl5pPr>
              <a:buClr>
                <a:srgbClr val="FFFFFF"/>
              </a:buClr>
              <a:buSzPct val="70000"/>
              <a:buFont typeface="Wingdings" pitchFamily="2" charset="2"/>
              <a:buNone/>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85"/>
            <a:ext cx="12192001" cy="619125"/>
          </a:xfrm>
          <a:solidFill>
            <a:srgbClr val="FFFF99"/>
          </a:solidFill>
        </p:spPr>
        <p:txBody>
          <a:bodyPr wrap="square" lIns="114341" tIns="57171" rIns="114341" bIns="5717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68997388"/>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5_Blank Color 1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7238188"/>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2"/>
        </a:solidFill>
        <a:effectLst/>
      </p:bgPr>
    </p:bg>
    <p:spTree>
      <p:nvGrpSpPr>
        <p:cNvPr id="1" name=""/>
        <p:cNvGrpSpPr/>
        <p:nvPr/>
      </p:nvGrpSpPr>
      <p:grpSpPr>
        <a:xfrm>
          <a:off x="0" y="0"/>
          <a:ext cx="0" cy="0"/>
          <a:chOff x="0" y="0"/>
          <a:chExt cx="0" cy="0"/>
        </a:xfrm>
      </p:grpSpPr>
      <p:sp>
        <p:nvSpPr>
          <p:cNvPr id="3" name="Rectangle 2"/>
          <p:cNvSpPr/>
          <p:nvPr/>
        </p:nvSpPr>
        <p:spPr>
          <a:xfrm>
            <a:off x="429770" y="5868849"/>
            <a:ext cx="11361348" cy="584775"/>
          </a:xfrm>
          <a:prstGeom prst="rect">
            <a:avLst/>
          </a:prstGeom>
        </p:spPr>
        <p:txBody>
          <a:bodyPr wrap="square">
            <a:spAutoFit/>
          </a:bodyPr>
          <a:lstStyle/>
          <a:p>
            <a:pPr defTabSz="914099" eaLnBrk="0" hangingPunct="0"/>
            <a:r>
              <a:rPr lang="en-US" sz="800" dirty="0">
                <a:gradFill>
                  <a:gsLst>
                    <a:gs pos="0">
                      <a:srgbClr val="FFFFFF"/>
                    </a:gs>
                    <a:gs pos="100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r>
              <a:rPr lang="en-US" sz="8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837" y="2655147"/>
            <a:ext cx="5005707" cy="1084998"/>
          </a:xfrm>
          <a:prstGeom prst="rect">
            <a:avLst/>
          </a:prstGeom>
        </p:spPr>
      </p:pic>
    </p:spTree>
    <p:extLst>
      <p:ext uri="{BB962C8B-B14F-4D97-AF65-F5344CB8AC3E}">
        <p14:creationId xmlns:p14="http://schemas.microsoft.com/office/powerpoint/2010/main" val="301689886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11665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69239" y="6566933"/>
            <a:ext cx="3859607" cy="364224"/>
          </a:xfrm>
          <a:prstGeom prst="rect">
            <a:avLst/>
          </a:prstGeom>
        </p:spPr>
        <p:txBody>
          <a:bodyPr lIns="89629" tIns="44815" rIns="89629" bIns="44815"/>
          <a:lstStyle/>
          <a:p>
            <a:r>
              <a:rPr lang="en-US">
                <a:solidFill>
                  <a:srgbClr val="000000"/>
                </a:solidFill>
              </a:rPr>
              <a:t>Microsoft Confidential</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25B1B22E-D3C8-4129-8E85-2E5037E3E69B}" type="slidenum">
              <a:rPr lang="en-US" smtClean="0">
                <a:solidFill>
                  <a:srgbClr val="00188F"/>
                </a:solidFill>
              </a:rPr>
              <a:pPr/>
              <a:t>‹#›</a:t>
            </a:fld>
            <a:endParaRPr lang="en-US" dirty="0">
              <a:solidFill>
                <a:srgbClr val="00188F"/>
              </a:solidFill>
            </a:endParaRPr>
          </a:p>
        </p:txBody>
      </p:sp>
      <p:sp>
        <p:nvSpPr>
          <p:cNvPr id="6" name="Text Placeholder 5"/>
          <p:cNvSpPr>
            <a:spLocks noGrp="1"/>
          </p:cNvSpPr>
          <p:nvPr>
            <p:ph type="body" sz="quarter" idx="12"/>
          </p:nvPr>
        </p:nvSpPr>
        <p:spPr>
          <a:xfrm>
            <a:off x="269239" y="1411760"/>
            <a:ext cx="11653523" cy="1704996"/>
          </a:xfrm>
        </p:spPr>
        <p:txBody>
          <a:bodyPr/>
          <a:lstStyle>
            <a:lvl1pPr>
              <a:spcBef>
                <a:spcPts val="1176"/>
              </a:spcBef>
              <a:defRPr b="0">
                <a:gradFill>
                  <a:gsLst>
                    <a:gs pos="1250">
                      <a:schemeClr val="accent2"/>
                    </a:gs>
                    <a:gs pos="100000">
                      <a:schemeClr val="accent2"/>
                    </a:gs>
                  </a:gsLst>
                  <a:lin ang="5400000" scaled="0"/>
                </a:gradFill>
              </a:defRPr>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91513898"/>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641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24015705"/>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43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269240" y="158885"/>
            <a:ext cx="11655840" cy="899665"/>
          </a:xfrm>
        </p:spPr>
        <p:txBody>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2125846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845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smtClean="0"/>
              <a:t>Click to edit Master text</a:t>
            </a:r>
          </a:p>
          <a:p>
            <a:pPr marL="0" lvl="1" indent="0">
              <a:buFontTx/>
              <a:buNone/>
            </a:pPr>
            <a:r>
              <a:rPr lang="en-US" dirty="0" smtClean="0"/>
              <a:t>      Second level</a:t>
            </a:r>
          </a:p>
        </p:txBody>
      </p:sp>
    </p:spTree>
    <p:extLst>
      <p:ext uri="{BB962C8B-B14F-4D97-AF65-F5344CB8AC3E}">
        <p14:creationId xmlns:p14="http://schemas.microsoft.com/office/powerpoint/2010/main" val="2459468690"/>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483" name="think-cell Slide" r:id="rId6" imgW="377" imgH="377" progId="TCLayout.ActiveDocument.1">
                  <p:embed/>
                </p:oleObj>
              </mc:Choice>
              <mc:Fallback>
                <p:oleObj name="think-cell Slide" r:id="rId6" imgW="377" imgH="377" progId="TCLayout.ActiveDocument.1">
                  <p:embed/>
                  <p:pic>
                    <p:nvPicPr>
                      <p:cNvPr id="2" name="Object 1"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 name="Rectangle 2"/>
          <p:cNvSpPr/>
          <p:nvPr userDrawn="1">
            <p:custDataLst>
              <p:tags r:id="rId3"/>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4"/>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smtClean="0"/>
              <a:t>Click to edit Master text styles</a:t>
            </a:r>
          </a:p>
        </p:txBody>
      </p:sp>
    </p:spTree>
    <p:extLst>
      <p:ext uri="{BB962C8B-B14F-4D97-AF65-F5344CB8AC3E}">
        <p14:creationId xmlns:p14="http://schemas.microsoft.com/office/powerpoint/2010/main" val="818916869"/>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07" name="think-cell Slide" r:id="rId6" imgW="377" imgH="377" progId="TCLayout.ActiveDocument.1">
                  <p:embed/>
                </p:oleObj>
              </mc:Choice>
              <mc:Fallback>
                <p:oleObj name="think-cell Slide" r:id="rId6" imgW="377" imgH="377" progId="TCLayout.ActiveDocument.1">
                  <p:embed/>
                  <p:pic>
                    <p:nvPicPr>
                      <p:cNvPr id="2" name="Object 1"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 name="Rectangle 2"/>
          <p:cNvSpPr/>
          <p:nvPr userDrawn="1">
            <p:custDataLst>
              <p:tags r:id="rId3"/>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4"/>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smtClean="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13802212"/>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531" name="think-cell Slide" r:id="rId6" imgW="377" imgH="377" progId="TCLayout.ActiveDocument.1">
                  <p:embed/>
                </p:oleObj>
              </mc:Choice>
              <mc:Fallback>
                <p:oleObj name="think-cell Slide" r:id="rId6" imgW="377" imgH="377" progId="TCLayout.ActiveDocument.1">
                  <p:embed/>
                  <p:pic>
                    <p:nvPicPr>
                      <p:cNvPr id="2" name="Object 1"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smtClean="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smtClean="0">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smtClean="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smtClean="0">
              <a:ln>
                <a:noFill/>
              </a:ln>
              <a:solidFill>
                <a:prstClr val="white"/>
              </a:solidFill>
              <a:effectLst/>
              <a:uLnTx/>
              <a:uFillTx/>
              <a:latin typeface="Segoe UI"/>
              <a:ea typeface="+mn-ea"/>
              <a:cs typeface="+mn-cs"/>
            </a:endParaRPr>
          </a:p>
        </p:txBody>
      </p:sp>
      <p:sp>
        <p:nvSpPr>
          <p:cNvPr id="3" name="Rectangle 2"/>
          <p:cNvSpPr/>
          <p:nvPr userDrawn="1">
            <p:custDataLst>
              <p:tags r:id="rId3"/>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4"/>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3559680382"/>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55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0625363"/>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57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smtClean="0"/>
              <a:t>Section title</a:t>
            </a:r>
            <a:endParaRPr lang="en-US" dirty="0"/>
          </a:p>
        </p:txBody>
      </p:sp>
    </p:spTree>
    <p:extLst>
      <p:ext uri="{BB962C8B-B14F-4D97-AF65-F5344CB8AC3E}">
        <p14:creationId xmlns:p14="http://schemas.microsoft.com/office/powerpoint/2010/main" val="10931662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60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472234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684846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9003"/>
          </a:xfrm>
          <a:prstGeom prst="rect">
            <a:avLst/>
          </a:prstGeom>
        </p:spPr>
        <p:txBody>
          <a:bodyPr/>
          <a:lstStyle>
            <a:lvl1pPr marL="284688" indent="-28468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9" indent="-275353">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26" indent="-28468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41" indent="-22401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56" indent="-224015">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810256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62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729133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65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2735028859"/>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67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1917521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8699"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6826"/>
          </a:xfrm>
        </p:spPr>
        <p:txBody>
          <a:bodyPr/>
          <a:lstStyle>
            <a:lvl1pPr marL="0" indent="0">
              <a:buNone/>
              <a:defRPr sz="3233">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1pPr>
            <a:lvl2pPr marL="339596"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2pPr>
            <a:lvl3pPr marL="572869"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3pPr>
            <a:lvl4pPr marL="798208"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4pPr>
            <a:lvl5pPr marL="1029896"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7610760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972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505050"/>
                    </a:gs>
                    <a:gs pos="100000">
                      <a:srgbClr val="505050"/>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2277688193"/>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74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41787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3177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mtClean="0">
                <a:solidFill>
                  <a:srgbClr val="505050"/>
                </a:solidFill>
              </a:rPr>
              <a:pPr defTabSz="914016"/>
              <a:t>‹#›</a:t>
            </a:fld>
            <a:endParaRPr lang="en-US" dirty="0">
              <a:solidFill>
                <a:srgbClr val="505050"/>
              </a:solidFill>
            </a:endParaRPr>
          </a:p>
        </p:txBody>
      </p:sp>
    </p:spTree>
    <p:extLst>
      <p:ext uri="{BB962C8B-B14F-4D97-AF65-F5344CB8AC3E}">
        <p14:creationId xmlns:p14="http://schemas.microsoft.com/office/powerpoint/2010/main" val="1338026030"/>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279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dirty="0" smtClean="0"/>
              <a:t>Click to add title</a:t>
            </a:r>
            <a:endParaRPr lang="en-US" dirty="0"/>
          </a:p>
        </p:txBody>
      </p:sp>
      <p:sp>
        <p:nvSpPr>
          <p:cNvPr id="5" name="Text Placeholder 15"/>
          <p:cNvSpPr>
            <a:spLocks noGrp="1"/>
          </p:cNvSpPr>
          <p:nvPr>
            <p:ph type="body" sz="quarter" idx="14" hasCustomPrompt="1"/>
          </p:nvPr>
        </p:nvSpPr>
        <p:spPr>
          <a:xfrm>
            <a:off x="227072" y="1600200"/>
            <a:ext cx="11356757" cy="208931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add speaker not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smtClean="0"/>
              <a:t>Next slide topic</a:t>
            </a:r>
          </a:p>
        </p:txBody>
      </p:sp>
    </p:spTree>
    <p:extLst>
      <p:ext uri="{BB962C8B-B14F-4D97-AF65-F5344CB8AC3E}">
        <p14:creationId xmlns:p14="http://schemas.microsoft.com/office/powerpoint/2010/main" val="3435674984"/>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3819" name="think-cell Slide" r:id="rId4" imgW="377" imgH="377" progId="TCLayout.ActiveDocument.1">
                  <p:embed/>
                </p:oleObj>
              </mc:Choice>
              <mc:Fallback>
                <p:oleObj name="think-cell Slide" r:id="rId4" imgW="377" imgH="377" progId="TCLayout.ActiveDocument.1">
                  <p:embed/>
                  <p:pic>
                    <p:nvPicPr>
                      <p:cNvPr id="7" name="Object 6"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defTabSz="914225"/>
            <a:fld id="{11E84410-E476-46C1-996C-4838FEE52DC9}" type="datetimeFigureOut">
              <a:rPr lang="en-US" smtClean="0">
                <a:solidFill>
                  <a:prstClr val="black"/>
                </a:solidFill>
              </a:rPr>
              <a:pPr defTabSz="914225"/>
              <a:t>12/9/2015</a:t>
            </a:fld>
            <a:endParaRPr lang="en-US">
              <a:solidFill>
                <a:prstClr val="black"/>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914225"/>
            <a:endParaRPr lang="en-US">
              <a:solidFill>
                <a:prstClr val="black"/>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225"/>
            <a:fld id="{382DE945-6CBD-4E54-9B86-F33C719ABE58}" type="slidenum">
              <a:rPr lang="en-US" smtClean="0">
                <a:solidFill>
                  <a:prstClr val="black"/>
                </a:solidFill>
              </a:rPr>
              <a:pPr defTabSz="914225"/>
              <a:t>‹#›</a:t>
            </a:fld>
            <a:endParaRPr lang="en-US">
              <a:solidFill>
                <a:prstClr val="black"/>
              </a:solidFill>
            </a:endParaRPr>
          </a:p>
        </p:txBody>
      </p:sp>
    </p:spTree>
    <p:extLst>
      <p:ext uri="{BB962C8B-B14F-4D97-AF65-F5344CB8AC3E}">
        <p14:creationId xmlns:p14="http://schemas.microsoft.com/office/powerpoint/2010/main" val="140041026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cSld name="Custom Layout">
    <p:bg>
      <p:bgPr>
        <a:solidFill>
          <a:srgbClr val="011C4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484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p:cNvSpPr/>
          <p:nvPr userDrawn="1"/>
        </p:nvSpPr>
        <p:spPr>
          <a:xfrm>
            <a:off x="429771" y="5868850"/>
            <a:ext cx="11361348" cy="594522"/>
          </a:xfrm>
          <a:prstGeom prst="rect">
            <a:avLst/>
          </a:prstGeom>
        </p:spPr>
        <p:txBody>
          <a:bodyPr wrap="square">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white"/>
                </a:solidFill>
                <a:effectLst/>
                <a:uLnTx/>
                <a:uFillTx/>
                <a:latin typeface="Segoe UI"/>
                <a:ea typeface="+mn-ea"/>
                <a:cs typeface="Segoe UI" panose="020B0502040204020203"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white"/>
                </a:solidFill>
                <a:effectLst/>
                <a:uLnTx/>
                <a:uFillTx/>
                <a:latin typeface="Segoe UI"/>
                <a:ea typeface="+mn-ea"/>
                <a:cs typeface="Segoe UI"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800" b="0" i="0" u="none" strike="noStrike" kern="1200" cap="none" spc="0" normalizeH="0" baseline="0" noProof="0" dirty="0">
              <a:ln>
                <a:noFill/>
              </a:ln>
              <a:solidFill>
                <a:prstClr val="white"/>
              </a:solidFill>
              <a:effectLst/>
              <a:uLnTx/>
              <a:uFillTx/>
              <a:latin typeface="Segoe UI"/>
              <a:ea typeface="+mn-ea"/>
              <a:cs typeface="Segoe UI" panose="020B0502040204020203" pitchFamily="34" charset="0"/>
            </a:endParaRPr>
          </a:p>
        </p:txBody>
      </p:sp>
      <p:pic>
        <p:nvPicPr>
          <p:cNvPr id="3" name="Picture 2"/>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83028" y="1720350"/>
            <a:ext cx="7397229" cy="2721023"/>
          </a:xfrm>
          <a:prstGeom prst="rect">
            <a:avLst/>
          </a:prstGeom>
        </p:spPr>
      </p:pic>
    </p:spTree>
    <p:extLst>
      <p:ext uri="{BB962C8B-B14F-4D97-AF65-F5344CB8AC3E}">
        <p14:creationId xmlns:p14="http://schemas.microsoft.com/office/powerpoint/2010/main" val="328702815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2"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98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FFB82908-4842-4340-9D73-01C813DDC308}" type="slidenum">
              <a:rPr kumimoji="0" lang="en-US" sz="98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524058125"/>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BLUE - SECTION TIL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586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380999" y="2322577"/>
            <a:ext cx="11244943" cy="1089529"/>
          </a:xfrm>
        </p:spPr>
        <p:txBody>
          <a:bodyPr/>
          <a:lstStyle>
            <a:lvl1pPr>
              <a:defRPr sz="7198">
                <a:solidFill>
                  <a:schemeClr val="bg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81001" y="3686175"/>
            <a:ext cx="11260138" cy="458060"/>
          </a:xfrm>
        </p:spPr>
        <p:txBody>
          <a:bodyPr>
            <a:spAutoFit/>
          </a:bodyPr>
          <a:lstStyle>
            <a:lvl1pPr>
              <a:spcBef>
                <a:spcPts val="0"/>
              </a:spcBef>
              <a:defRPr sz="2000" spc="0">
                <a:solidFill>
                  <a:schemeClr val="bg1"/>
                </a:solidFill>
                <a:latin typeface="+mn-lt"/>
              </a:defRPr>
            </a:lvl1pPr>
            <a:lvl2pPr>
              <a:defRPr sz="1400" spc="0">
                <a:solidFill>
                  <a:schemeClr val="bg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257616464"/>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5" name="Shape 9"/>
          <p:cNvSpPr txBox="1">
            <a:spLocks noGrp="1"/>
          </p:cNvSpPr>
          <p:nvPr>
            <p:ph type="ctrTitle"/>
          </p:nvPr>
        </p:nvSpPr>
        <p:spPr>
          <a:xfrm>
            <a:off x="914400" y="2078674"/>
            <a:ext cx="10363200" cy="1546475"/>
          </a:xfrm>
          <a:prstGeom prst="rect">
            <a:avLst/>
          </a:prstGeom>
        </p:spPr>
        <p:txBody>
          <a:bodyPr lIns="91425" tIns="91425" rIns="91425" bIns="91425" anchor="b" anchorCtr="0"/>
          <a:lstStyle>
            <a:lvl1pPr algn="l">
              <a:spcBef>
                <a:spcPts val="0"/>
              </a:spcBef>
              <a:buSzPct val="100000"/>
              <a:defRPr sz="4800">
                <a:solidFill>
                  <a:srgbClr val="182129"/>
                </a:solidFill>
                <a:latin typeface="ZwoRegularLF-Plain"/>
                <a:cs typeface="ZwoRegularLF-Plain"/>
              </a:defRPr>
            </a:lvl1pPr>
            <a:lvl2pPr algn="ctr">
              <a:spcBef>
                <a:spcPts val="0"/>
              </a:spcBef>
              <a:buSzPct val="100000"/>
              <a:defRPr sz="6398"/>
            </a:lvl2pPr>
            <a:lvl3pPr algn="ctr">
              <a:spcBef>
                <a:spcPts val="0"/>
              </a:spcBef>
              <a:buSzPct val="100000"/>
              <a:defRPr sz="6398"/>
            </a:lvl3pPr>
            <a:lvl4pPr algn="ctr">
              <a:spcBef>
                <a:spcPts val="0"/>
              </a:spcBef>
              <a:buSzPct val="100000"/>
              <a:defRPr sz="6398"/>
            </a:lvl4pPr>
            <a:lvl5pPr algn="ctr">
              <a:spcBef>
                <a:spcPts val="0"/>
              </a:spcBef>
              <a:buSzPct val="100000"/>
              <a:defRPr sz="6398"/>
            </a:lvl5pPr>
            <a:lvl6pPr algn="ctr">
              <a:spcBef>
                <a:spcPts val="0"/>
              </a:spcBef>
              <a:buSzPct val="100000"/>
              <a:defRPr sz="6398"/>
            </a:lvl6pPr>
            <a:lvl7pPr algn="ctr">
              <a:spcBef>
                <a:spcPts val="0"/>
              </a:spcBef>
              <a:buSzPct val="100000"/>
              <a:defRPr sz="6398"/>
            </a:lvl7pPr>
            <a:lvl8pPr algn="ctr">
              <a:spcBef>
                <a:spcPts val="0"/>
              </a:spcBef>
              <a:buSzPct val="100000"/>
              <a:defRPr sz="6398"/>
            </a:lvl8pPr>
            <a:lvl9pPr algn="ctr">
              <a:spcBef>
                <a:spcPts val="0"/>
              </a:spcBef>
              <a:buSzPct val="100000"/>
              <a:defRPr sz="6398"/>
            </a:lvl9pPr>
          </a:lstStyle>
          <a:p>
            <a:r>
              <a:rPr lang="en-US" smtClean="0"/>
              <a:t>Click to edit Master title style</a:t>
            </a:r>
            <a:endParaRPr dirty="0"/>
          </a:p>
        </p:txBody>
      </p:sp>
    </p:spTree>
    <p:extLst>
      <p:ext uri="{BB962C8B-B14F-4D97-AF65-F5344CB8AC3E}">
        <p14:creationId xmlns:p14="http://schemas.microsoft.com/office/powerpoint/2010/main" val="117715028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3781899" cy="6280621"/>
          </a:xfrm>
        </p:spPr>
        <p:txBody>
          <a:bodyPr anchor="ctr"/>
          <a:lstStyle>
            <a:lvl1pPr>
              <a:defRPr sz="5399" spc="-150"/>
            </a:lvl1pPr>
          </a:lstStyle>
          <a:p>
            <a:r>
              <a:rPr lang="en-US" dirty="0" smtClean="0"/>
              <a:t>Click to edit Master title style</a:t>
            </a:r>
            <a:endParaRPr lang="en-US" dirty="0"/>
          </a:p>
        </p:txBody>
      </p:sp>
      <p:sp>
        <p:nvSpPr>
          <p:cNvPr id="3" name="Oval 2"/>
          <p:cNvSpPr/>
          <p:nvPr userDrawn="1"/>
        </p:nvSpPr>
        <p:spPr>
          <a:xfrm>
            <a:off x="6145021" y="1255637"/>
            <a:ext cx="4289737" cy="4332363"/>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7" tIns="89617" rIns="89617" bIns="89617" numCol="1" spcCol="0" rtlCol="0" fromWordArt="0" anchor="b"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endParaRPr kumimoji="0" lang="en-US" sz="1174" b="0" i="0" u="none" strike="noStrike" kern="1200" cap="none" spc="0" normalizeH="0" baseline="0" noProof="0" dirty="0" err="1">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285991008"/>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Walkin No til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rot="16200000" flipH="1">
            <a:off x="2655520" y="-2678480"/>
            <a:ext cx="6858002" cy="12214964"/>
          </a:xfrm>
          <a:prstGeom prst="rect">
            <a:avLst/>
          </a:prstGeom>
        </p:spPr>
      </p:pic>
      <p:sp>
        <p:nvSpPr>
          <p:cNvPr id="1214" name="Rectangle 1213"/>
          <p:cNvSpPr/>
          <p:nvPr userDrawn="1"/>
        </p:nvSpPr>
        <p:spPr bwMode="auto">
          <a:xfrm>
            <a:off x="-34880" y="0"/>
            <a:ext cx="12226883" cy="6858000"/>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48585" y="470067"/>
            <a:ext cx="1254995" cy="269134"/>
          </a:xfrm>
          <a:prstGeom prst="rect">
            <a:avLst/>
          </a:prstGeom>
        </p:spPr>
      </p:pic>
      <p:grpSp>
        <p:nvGrpSpPr>
          <p:cNvPr id="6" name="Group 5"/>
          <p:cNvGrpSpPr/>
          <p:nvPr userDrawn="1"/>
        </p:nvGrpSpPr>
        <p:grpSpPr>
          <a:xfrm>
            <a:off x="5647788" y="470068"/>
            <a:ext cx="6096000" cy="2322004"/>
            <a:chOff x="5761038" y="479425"/>
            <a:chExt cx="6218237" cy="2368229"/>
          </a:xfrm>
        </p:grpSpPr>
        <p:pic>
          <p:nvPicPr>
            <p:cNvPr id="10" name="Picture 9"/>
            <p:cNvPicPr>
              <a:picLocks noChangeAspect="1"/>
            </p:cNvPicPr>
            <p:nvPr userDrawn="1"/>
          </p:nvPicPr>
          <p:blipFill rotWithShape="1">
            <a:blip r:embed="rId4"/>
            <a:srcRect b="26208"/>
            <a:stretch/>
          </p:blipFill>
          <p:spPr>
            <a:xfrm>
              <a:off x="5761038" y="479425"/>
              <a:ext cx="6218237" cy="1554813"/>
            </a:xfrm>
            <a:prstGeom prst="rect">
              <a:avLst/>
            </a:prstGeom>
          </p:spPr>
        </p:pic>
        <p:sp>
          <p:nvSpPr>
            <p:cNvPr id="11" name="TextBox 10"/>
            <p:cNvSpPr txBox="1"/>
            <p:nvPr userDrawn="1"/>
          </p:nvSpPr>
          <p:spPr>
            <a:xfrm>
              <a:off x="7290055" y="1942791"/>
              <a:ext cx="3945402" cy="904863"/>
            </a:xfrm>
            <a:prstGeom prst="rect">
              <a:avLst/>
            </a:prstGeom>
            <a:noFill/>
          </p:spPr>
          <p:txBody>
            <a:bodyPr wrap="square" lIns="182880" tIns="146304" rIns="182880" bIns="146304" rtlCol="0">
              <a:spAutoFit/>
            </a:bodyPr>
            <a:lstStyle/>
            <a:p>
              <a:pPr defTabSz="914367">
                <a:lnSpc>
                  <a:spcPct val="90000"/>
                </a:lnSpc>
                <a:spcAft>
                  <a:spcPts val="588"/>
                </a:spcAft>
              </a:pPr>
              <a:r>
                <a:rPr lang="en-US" sz="4313" spc="-147" dirty="0">
                  <a:gradFill>
                    <a:gsLst>
                      <a:gs pos="14634">
                        <a:srgbClr val="0078D7"/>
                      </a:gs>
                      <a:gs pos="53000">
                        <a:srgbClr val="0078D7"/>
                      </a:gs>
                    </a:gsLst>
                    <a:lin ang="5400000" scaled="0"/>
                  </a:gradFill>
                </a:rPr>
                <a:t>Shenzhen 2015</a:t>
              </a:r>
            </a:p>
          </p:txBody>
        </p:sp>
      </p:grpSp>
    </p:spTree>
    <p:extLst>
      <p:ext uri="{BB962C8B-B14F-4D97-AF65-F5344CB8AC3E}">
        <p14:creationId xmlns:p14="http://schemas.microsoft.com/office/powerpoint/2010/main" val="140667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rot="16200000" flipH="1">
            <a:off x="2655520" y="-2678480"/>
            <a:ext cx="6858002" cy="12214964"/>
          </a:xfrm>
          <a:prstGeom prst="rect">
            <a:avLst/>
          </a:prstGeom>
        </p:spPr>
      </p:pic>
      <p:sp>
        <p:nvSpPr>
          <p:cNvPr id="8" name="Rectangle 7"/>
          <p:cNvSpPr/>
          <p:nvPr userDrawn="1"/>
        </p:nvSpPr>
        <p:spPr bwMode="auto">
          <a:xfrm>
            <a:off x="-34880" y="-44362"/>
            <a:ext cx="12273739" cy="6902362"/>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a:blip r:embed="rId3"/>
          <a:stretch>
            <a:fillRect/>
          </a:stretch>
        </p:blipFill>
        <p:spPr>
          <a:xfrm>
            <a:off x="448585" y="470067"/>
            <a:ext cx="1254995" cy="269134"/>
          </a:xfrm>
          <a:prstGeom prst="rect">
            <a:avLst/>
          </a:prstGeom>
        </p:spPr>
      </p:pic>
      <p:sp>
        <p:nvSpPr>
          <p:cNvPr id="2" name="Rectangle 1"/>
          <p:cNvSpPr/>
          <p:nvPr userDrawn="1"/>
        </p:nvSpPr>
        <p:spPr bwMode="auto">
          <a:xfrm>
            <a:off x="5647788" y="118762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1" y="1187635"/>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5646232" y="2987098"/>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spTree>
    <p:extLst>
      <p:ext uri="{BB962C8B-B14F-4D97-AF65-F5344CB8AC3E}">
        <p14:creationId xmlns:p14="http://schemas.microsoft.com/office/powerpoint/2010/main" val="23508663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2"/>
                                        </p:tgtEl>
                                      </p:cBhvr>
                                      <p:by x="0" y="100000"/>
                                    </p:animScale>
                                  </p:childTnLst>
                                </p:cTn>
                              </p:par>
                              <p:par>
                                <p:cTn id="9" presetID="42" presetClass="path" presetSubtype="0" decel="100000" fill="hold" grpId="0" nodeType="withEffect">
                                  <p:stCondLst>
                                    <p:cond delay="500"/>
                                  </p:stCondLst>
                                  <p:childTnLst>
                                    <p:animMotion origin="layout" path="M 0.25734 0.00045 L -5.97396E-7 -4.5892E-6 " pathEditMode="relative" rAng="0" ptsTypes="AA">
                                      <p:cBhvr>
                                        <p:cTn id="10" dur="500" fill="hold"/>
                                        <p:tgtEl>
                                          <p:spTgt spid="2"/>
                                        </p:tgtEl>
                                        <p:attrNameLst>
                                          <p:attrName>ppt_x</p:attrName>
                                          <p:attrName>ppt_y</p:attrName>
                                        </p:attrNameLst>
                                      </p:cBhvr>
                                      <p:rCtr x="-12497" y="-45"/>
                                    </p:animMotion>
                                  </p:childTnLst>
                                </p:cTn>
                              </p:par>
                              <p:par>
                                <p:cTn id="11" presetID="10" presetClass="entr" presetSubtype="0" fill="hold" grpId="0" nodeType="withEffect">
                                  <p:stCondLst>
                                    <p:cond delay="10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9" grpId="0"/>
      <p:bldP spid="3" grpId="0" build="p">
        <p:tmplLst>
          <p:tmpl lvl="1">
            <p:tnLst>
              <p:par>
                <p:cTn presetID="10" presetClass="entr" presetSubtype="0" fill="hold" nodeType="withEffect">
                  <p:stCondLst>
                    <p:cond delay="1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373742"/>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952236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85304659"/>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marL="0" indent="0">
              <a:buNone/>
              <a:defRPr sz="392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858311603"/>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607251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marL="0" marR="0" lvl="0" indent="0" algn="l" defTabSz="914332" rtl="0" eaLnBrk="1" fontAlgn="auto" latinLnBrk="0" hangingPunct="1">
              <a:lnSpc>
                <a:spcPts val="1413"/>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79680264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1524518"/>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913168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8027347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121490294"/>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472391"/>
            <a:ext cx="11655840" cy="899665"/>
          </a:xfrm>
        </p:spPr>
        <p:txBody>
          <a:bodyPr/>
          <a:lstStyle>
            <a:lvl1pPr marL="0" algn="l" defTabSz="932472" rtl="0" eaLnBrk="1" fontAlgn="base" latinLnBrk="0" hangingPunct="1">
              <a:lnSpc>
                <a:spcPct val="90000"/>
              </a:lnSpc>
              <a:spcBef>
                <a:spcPct val="0"/>
              </a:spcBef>
              <a:spcAft>
                <a:spcPct val="0"/>
              </a:spcAft>
              <a:buNone/>
              <a:defRPr lang="en-US" sz="5400" kern="1200" dirty="0">
                <a:gradFill>
                  <a:gsLst>
                    <a:gs pos="0">
                      <a:srgbClr val="FFFFFF"/>
                    </a:gs>
                    <a:gs pos="100000">
                      <a:srgbClr val="FFFFFF"/>
                    </a:gs>
                  </a:gsLst>
                  <a:lin ang="5400000" scaled="0"/>
                </a:gradFill>
                <a:latin typeface="Segoe UI Light"/>
                <a:ea typeface="+mn-ea"/>
                <a:cs typeface="+mn-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4791076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809082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75885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15859021"/>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33470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50913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AD347D-5ACD-4C99-B74B-A9C85AD731AF}" type="datetimeFigureOut">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2/9/2015</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57F1E4F-1CFF-5643-939E-02111984F565}" type="slidenum">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826100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891593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26056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82624765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2373237"/>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671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3238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6243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78582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93674458"/>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139736311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White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4" name="TextBox 3"/>
          <p:cNvSpPr txBox="1"/>
          <p:nvPr userDrawn="1"/>
        </p:nvSpPr>
        <p:spPr>
          <a:xfrm>
            <a:off x="11856659" y="6583703"/>
            <a:ext cx="157136" cy="153888"/>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AAF4389-025E-448A-AEEE-02333ADE33C4}" type="slidenum">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00736464"/>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2329831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76222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Title Slide 2">
    <p:bg>
      <p:bgPr>
        <a:solidFill>
          <a:srgbClr val="3C3C3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705913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68339"/>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1" y="2980725"/>
            <a:ext cx="3585700" cy="3586209"/>
          </a:xfrm>
          <a:prstGeom prst="rect">
            <a:avLst/>
          </a:prstGeom>
        </p:spPr>
      </p:pic>
    </p:spTree>
    <p:extLst>
      <p:ext uri="{BB962C8B-B14F-4D97-AF65-F5344CB8AC3E}">
        <p14:creationId xmlns:p14="http://schemas.microsoft.com/office/powerpoint/2010/main" val="2169409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459" y="6625"/>
            <a:ext cx="12184541" cy="6851378"/>
          </a:xfrm>
          <a:prstGeom prst="rect">
            <a:avLst/>
          </a:prstGeom>
        </p:spPr>
      </p:pic>
      <p:sp>
        <p:nvSpPr>
          <p:cNvPr id="2" name="Rectangle 1"/>
          <p:cNvSpPr/>
          <p:nvPr userDrawn="1"/>
        </p:nvSpPr>
        <p:spPr bwMode="auto">
          <a:xfrm>
            <a:off x="269241"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smtClean="0"/>
              <a:t>Presentation title </a:t>
            </a:r>
            <a:br>
              <a:rPr lang="en-US" dirty="0" smtClean="0"/>
            </a:br>
            <a:r>
              <a:rPr lang="en-US" dirty="0" smtClean="0"/>
              <a:t>goes here</a:t>
            </a:r>
            <a:endParaRPr lang="en-US" dirty="0"/>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5">
                <a:gradFill>
                  <a:gsLst>
                    <a:gs pos="100000">
                      <a:schemeClr val="bg1"/>
                    </a:gs>
                    <a:gs pos="0">
                      <a:schemeClr val="bg1"/>
                    </a:gs>
                  </a:gsLst>
                  <a:lin ang="5400000" scaled="0"/>
                </a:gradFill>
              </a:defRPr>
            </a:lvl1pPr>
          </a:lstStyle>
          <a:p>
            <a:pPr lvl="0"/>
            <a:r>
              <a:rPr lang="en-US" dirty="0" smtClean="0"/>
              <a:t>Speaker Name</a:t>
            </a:r>
          </a:p>
          <a:p>
            <a:pPr lvl="0"/>
            <a:r>
              <a:rPr lang="en-US" dirty="0" smtClean="0"/>
              <a:t>Title</a:t>
            </a:r>
          </a:p>
        </p:txBody>
      </p:sp>
      <p:sp>
        <p:nvSpPr>
          <p:cNvPr id="5" name="Text Placeholder 4"/>
          <p:cNvSpPr>
            <a:spLocks noGrp="1"/>
          </p:cNvSpPr>
          <p:nvPr>
            <p:ph type="body" sz="quarter" idx="15" hasCustomPrompt="1"/>
          </p:nvPr>
        </p:nvSpPr>
        <p:spPr>
          <a:xfrm>
            <a:off x="267685" y="6026625"/>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smtClean="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70067"/>
            <a:ext cx="1522404" cy="326167"/>
          </a:xfrm>
          <a:prstGeom prst="rect">
            <a:avLst/>
          </a:prstGeom>
        </p:spPr>
      </p:pic>
    </p:spTree>
    <p:extLst>
      <p:ext uri="{BB962C8B-B14F-4D97-AF65-F5344CB8AC3E}">
        <p14:creationId xmlns:p14="http://schemas.microsoft.com/office/powerpoint/2010/main" val="2589010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2" y="154448"/>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2" spc="-98" baseline="0">
                <a:gradFill>
                  <a:gsLst>
                    <a:gs pos="100000">
                      <a:schemeClr val="accent6"/>
                    </a:gs>
                    <a:gs pos="0">
                      <a:schemeClr val="accent6"/>
                    </a:gs>
                  </a:gsLst>
                  <a:lin ang="5400000" scaled="0"/>
                </a:gradFill>
              </a:defRPr>
            </a:lvl1pPr>
          </a:lstStyle>
          <a:p>
            <a:r>
              <a:rPr lang="en-US" dirty="0" smtClean="0"/>
              <a:t>Presentation title </a:t>
            </a:r>
            <a:br>
              <a:rPr lang="en-US" dirty="0" smtClean="0"/>
            </a:br>
            <a:r>
              <a:rPr lang="en-US" dirty="0" smtClean="0"/>
              <a:t>goes here</a:t>
            </a:r>
            <a:endParaRPr lang="en-US" dirty="0"/>
          </a:p>
        </p:txBody>
      </p:sp>
      <p:sp>
        <p:nvSpPr>
          <p:cNvPr id="3" name="Text Placeholder 2"/>
          <p:cNvSpPr>
            <a:spLocks noGrp="1"/>
          </p:cNvSpPr>
          <p:nvPr>
            <p:ph type="body" sz="quarter" idx="14" hasCustomPrompt="1"/>
          </p:nvPr>
        </p:nvSpPr>
        <p:spPr bwMode="auto">
          <a:xfrm>
            <a:off x="267685" y="4795387"/>
            <a:ext cx="7172955" cy="1220610"/>
          </a:xfrm>
        </p:spPr>
        <p:txBody>
          <a:bodyPr tIns="109728" bIns="109728">
            <a:noAutofit/>
          </a:bodyPr>
          <a:lstStyle>
            <a:lvl1pPr marL="0" indent="0">
              <a:spcBef>
                <a:spcPts val="0"/>
              </a:spcBef>
              <a:buNone/>
              <a:defRPr sz="3135">
                <a:gradFill>
                  <a:gsLst>
                    <a:gs pos="100000">
                      <a:schemeClr val="accent6"/>
                    </a:gs>
                    <a:gs pos="0">
                      <a:schemeClr val="accent6"/>
                    </a:gs>
                  </a:gsLst>
                  <a:lin ang="5400000" scaled="0"/>
                </a:gradFill>
              </a:defRPr>
            </a:lvl1pPr>
          </a:lstStyle>
          <a:p>
            <a:pPr lvl="0"/>
            <a:r>
              <a:rPr lang="en-US" dirty="0" smtClean="0"/>
              <a:t>Speaker Name</a:t>
            </a:r>
          </a:p>
          <a:p>
            <a:pPr lvl="0"/>
            <a:r>
              <a:rPr lang="en-US" dirty="0" smtClean="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15" indent="-33601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smtClean="0"/>
              <a:t>Insert Session Code Here</a:t>
            </a:r>
          </a:p>
        </p:txBody>
      </p:sp>
    </p:spTree>
    <p:extLst>
      <p:ext uri="{BB962C8B-B14F-4D97-AF65-F5344CB8AC3E}">
        <p14:creationId xmlns:p14="http://schemas.microsoft.com/office/powerpoint/2010/main" val="1935983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5"/>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smtClean="0"/>
              <a:t>Presentation title </a:t>
            </a:r>
            <a:br>
              <a:rPr lang="en-US" dirty="0" smtClean="0"/>
            </a:br>
            <a:r>
              <a:rPr lang="en-US" dirty="0" smtClean="0"/>
              <a:t>goes here</a:t>
            </a:r>
            <a:endParaRPr lang="en-US" dirty="0"/>
          </a:p>
        </p:txBody>
      </p:sp>
      <p:sp>
        <p:nvSpPr>
          <p:cNvPr id="5" name="Text Placeholder 4"/>
          <p:cNvSpPr>
            <a:spLocks noGrp="1"/>
          </p:cNvSpPr>
          <p:nvPr>
            <p:ph type="body" sz="quarter" idx="12" hasCustomPrompt="1"/>
          </p:nvPr>
        </p:nvSpPr>
        <p:spPr>
          <a:xfrm>
            <a:off x="269303" y="4775114"/>
            <a:ext cx="7171337" cy="1239568"/>
          </a:xfrm>
          <a:noFill/>
        </p:spPr>
        <p:txBody>
          <a:bodyPr lIns="146304" tIns="109728" rIns="146304" bIns="109728">
            <a:noAutofit/>
          </a:bodyPr>
          <a:lstStyle>
            <a:lvl1pPr marL="0" indent="0">
              <a:spcBef>
                <a:spcPts val="0"/>
              </a:spcBef>
              <a:buNone/>
              <a:defRPr sz="3135" b="0" spc="0" baseline="0">
                <a:gradFill>
                  <a:gsLst>
                    <a:gs pos="100000">
                      <a:schemeClr val="bg1"/>
                    </a:gs>
                    <a:gs pos="0">
                      <a:schemeClr val="bg1"/>
                    </a:gs>
                  </a:gsLst>
                  <a:lin ang="5400000" scaled="0"/>
                </a:gradFill>
                <a:latin typeface="+mj-lt"/>
              </a:defRPr>
            </a:lvl1pPr>
          </a:lstStyle>
          <a:p>
            <a:pPr lvl="0"/>
            <a:r>
              <a:rPr lang="en-US" dirty="0" smtClean="0"/>
              <a:t>Speaker Name</a:t>
            </a:r>
          </a:p>
          <a:p>
            <a:pPr lvl="0"/>
            <a:r>
              <a:rPr lang="en-US" dirty="0" smtClean="0"/>
              <a:t>Title</a:t>
            </a:r>
          </a:p>
        </p:txBody>
      </p:sp>
      <p:sp>
        <p:nvSpPr>
          <p:cNvPr id="3" name="Text Placeholder 2"/>
          <p:cNvSpPr>
            <a:spLocks noGrp="1"/>
          </p:cNvSpPr>
          <p:nvPr>
            <p:ph type="body" sz="quarter" idx="13" hasCustomPrompt="1"/>
          </p:nvPr>
        </p:nvSpPr>
        <p:spPr>
          <a:xfrm>
            <a:off x="276398" y="6021843"/>
            <a:ext cx="7164240" cy="537931"/>
          </a:xfrm>
        </p:spPr>
        <p:txBody>
          <a:bodyPr vert="horz" wrap="square" lIns="182880" tIns="146304" rIns="182880" bIns="146304" rtlCol="0">
            <a:noAutofit/>
          </a:bodyPr>
          <a:lstStyle>
            <a:lvl1pPr marL="336015" indent="-33601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smtClean="0"/>
              <a:t>Insert Session Code Here</a:t>
            </a:r>
            <a:endParaRPr lang="en-US" dirty="0"/>
          </a:p>
        </p:txBody>
      </p:sp>
    </p:spTree>
    <p:extLst>
      <p:ext uri="{BB962C8B-B14F-4D97-AF65-F5344CB8AC3E}">
        <p14:creationId xmlns:p14="http://schemas.microsoft.com/office/powerpoint/2010/main" val="38924617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1"/>
            <a:ext cx="12192000" cy="6851981"/>
          </a:xfrm>
          <a:prstGeom prst="rect">
            <a:avLst/>
          </a:prstGeom>
        </p:spPr>
      </p:pic>
      <p:sp>
        <p:nvSpPr>
          <p:cNvPr id="6" name="Rectangle 5"/>
          <p:cNvSpPr/>
          <p:nvPr userDrawn="1"/>
        </p:nvSpPr>
        <p:spPr bwMode="auto">
          <a:xfrm>
            <a:off x="4751363" y="1186358"/>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8"/>
            <a:ext cx="7171399" cy="2706373"/>
          </a:xfrm>
          <a:noFill/>
        </p:spPr>
        <p:txBody>
          <a:bodyPr wrap="square" tIns="91440" bIns="91440" anchor="t" anchorCtr="0">
            <a:noAutofit/>
          </a:bodyPr>
          <a:lstStyle>
            <a:lvl1pPr>
              <a:defRPr sz="7054"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32509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8"/>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6"/>
            <a:ext cx="7171399" cy="4484025"/>
          </a:xfrm>
          <a:noFill/>
        </p:spPr>
        <p:txBody>
          <a:bodyPr wrap="square" tIns="91440" bIns="91440" anchor="t" anchorCtr="0">
            <a:noAutofit/>
          </a:bodyPr>
          <a:lstStyle>
            <a:lvl1pPr>
              <a:defRPr lang="en-US" sz="7054"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548563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264082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854139"/>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091773897"/>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82514967"/>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smtClean="0"/>
              <a:t>Click to edit Master text</a:t>
            </a:r>
          </a:p>
          <a:p>
            <a:pPr marL="0" lvl="1" indent="0">
              <a:buFontTx/>
              <a:buNone/>
            </a:pPr>
            <a:r>
              <a:rPr lang="en-US" dirty="0" smtClean="0"/>
              <a:t>      Second level</a:t>
            </a:r>
          </a:p>
        </p:txBody>
      </p:sp>
    </p:spTree>
    <p:extLst>
      <p:ext uri="{BB962C8B-B14F-4D97-AF65-F5344CB8AC3E}">
        <p14:creationId xmlns:p14="http://schemas.microsoft.com/office/powerpoint/2010/main" val="410929626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smtClean="0"/>
              <a:t>Click to edit Master text styles</a:t>
            </a:r>
          </a:p>
        </p:txBody>
      </p:sp>
    </p:spTree>
    <p:extLst>
      <p:ext uri="{BB962C8B-B14F-4D97-AF65-F5344CB8AC3E}">
        <p14:creationId xmlns:p14="http://schemas.microsoft.com/office/powerpoint/2010/main" val="3910219003"/>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smtClean="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16233341"/>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smtClean="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smtClean="0">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smtClean="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smtClean="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3400316545"/>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4812680"/>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a:p>
        </p:txBody>
      </p:sp>
    </p:spTree>
    <p:extLst>
      <p:ext uri="{BB962C8B-B14F-4D97-AF65-F5344CB8AC3E}">
        <p14:creationId xmlns:p14="http://schemas.microsoft.com/office/powerpoint/2010/main" val="189445419"/>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a:p>
        </p:txBody>
      </p:sp>
    </p:spTree>
    <p:extLst>
      <p:ext uri="{BB962C8B-B14F-4D97-AF65-F5344CB8AC3E}">
        <p14:creationId xmlns:p14="http://schemas.microsoft.com/office/powerpoint/2010/main" val="4259504472"/>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0686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Sub_1 Column">
    <p:spTree>
      <p:nvGrpSpPr>
        <p:cNvPr id="1" name=""/>
        <p:cNvGrpSpPr/>
        <p:nvPr/>
      </p:nvGrpSpPr>
      <p:grpSpPr>
        <a:xfrm>
          <a:off x="0" y="0"/>
          <a:ext cx="0" cy="0"/>
          <a:chOff x="0" y="0"/>
          <a:chExt cx="0" cy="0"/>
        </a:xfrm>
      </p:grpSpPr>
      <p:sp>
        <p:nvSpPr>
          <p:cNvPr id="17" name="Text Placeholder 14"/>
          <p:cNvSpPr>
            <a:spLocks noGrp="1"/>
          </p:cNvSpPr>
          <p:nvPr>
            <p:ph type="body" sz="quarter" idx="10" hasCustomPrompt="1"/>
          </p:nvPr>
        </p:nvSpPr>
        <p:spPr>
          <a:xfrm>
            <a:off x="698193" y="809568"/>
            <a:ext cx="11164801" cy="304699"/>
          </a:xfrm>
          <a:prstGeom prst="rect">
            <a:avLst/>
          </a:prstGeom>
        </p:spPr>
        <p:txBody>
          <a:bodyPr lIns="0" tIns="0" rIns="0" bIns="0"/>
          <a:lstStyle>
            <a:lvl1pPr marL="0" indent="0">
              <a:buFontTx/>
              <a:buNone/>
              <a:defRPr sz="2200" spc="-115">
                <a:solidFill>
                  <a:schemeClr val="accent2">
                    <a:lumMod val="20000"/>
                    <a:lumOff val="80000"/>
                  </a:schemeClr>
                </a:solidFill>
                <a:latin typeface="Segoe UI" pitchFamily="34" charset="0"/>
                <a:ea typeface="Segoe UI" pitchFamily="34" charset="0"/>
                <a:cs typeface="Segoe UI" pitchFamily="34" charset="0"/>
              </a:defRPr>
            </a:lvl1pPr>
          </a:lstStyle>
          <a:p>
            <a:pPr lvl="0"/>
            <a:r>
              <a:rPr lang="en-US" dirty="0" smtClean="0"/>
              <a:t>Sub Title for the slide</a:t>
            </a:r>
            <a:endParaRPr lang="en-US" dirty="0"/>
          </a:p>
        </p:txBody>
      </p:sp>
      <p:pic>
        <p:nvPicPr>
          <p:cNvPr id="13" name="Picture 12"/>
          <p:cNvPicPr>
            <a:picLocks noChangeAspect="1"/>
          </p:cNvPicPr>
          <p:nvPr userDrawn="1"/>
        </p:nvPicPr>
        <p:blipFill rotWithShape="1">
          <a:blip r:embed="rId2"/>
          <a:srcRect l="10118" t="62265" r="58499" b="11268"/>
          <a:stretch/>
        </p:blipFill>
        <p:spPr>
          <a:xfrm>
            <a:off x="213872" y="6347641"/>
            <a:ext cx="1013603" cy="357963"/>
          </a:xfrm>
          <a:prstGeom prst="rect">
            <a:avLst/>
          </a:prstGeom>
        </p:spPr>
      </p:pic>
      <p:sp>
        <p:nvSpPr>
          <p:cNvPr id="5" name="Title 1"/>
          <p:cNvSpPr>
            <a:spLocks noGrp="1"/>
          </p:cNvSpPr>
          <p:nvPr>
            <p:ph type="title"/>
          </p:nvPr>
        </p:nvSpPr>
        <p:spPr>
          <a:xfrm>
            <a:off x="609600" y="274638"/>
            <a:ext cx="10972801" cy="563562"/>
          </a:xfrm>
        </p:spPr>
        <p:txBody>
          <a:bodyPr>
            <a:normAutofit/>
          </a:bodyPr>
          <a:lstStyle>
            <a:lvl1pPr>
              <a:defRPr sz="2700">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42823977"/>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878732"/>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38351"/>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27485500"/>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02788131"/>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989506424"/>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581847188"/>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smtClean="0"/>
              <a:t>Section title</a:t>
            </a:r>
            <a:endParaRPr lang="en-US" dirty="0"/>
          </a:p>
        </p:txBody>
      </p:sp>
    </p:spTree>
    <p:extLst>
      <p:ext uri="{BB962C8B-B14F-4D97-AF65-F5344CB8AC3E}">
        <p14:creationId xmlns:p14="http://schemas.microsoft.com/office/powerpoint/2010/main" val="2021820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21123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52851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5617526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94758200"/>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7663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1"/>
            <a:ext cx="9860674" cy="896553"/>
          </a:xfrm>
        </p:spPr>
        <p:txBody>
          <a:bodyPr/>
          <a:lstStyle>
            <a:lvl1pPr marL="278457" indent="-278457">
              <a:defRPr sz="5880" baseline="0">
                <a:gradFill>
                  <a:gsLst>
                    <a:gs pos="1250">
                      <a:schemeClr val="accent2"/>
                    </a:gs>
                    <a:gs pos="100000">
                      <a:schemeClr val="accent2"/>
                    </a:gs>
                  </a:gsLst>
                  <a:lin ang="5400000" scaled="0"/>
                </a:gradFill>
              </a:defRPr>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accent2"/>
                    </a:gs>
                    <a:gs pos="100000">
                      <a:schemeClr val="accent2"/>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smtClean="0"/>
              <a:t>Author’s Name</a:t>
            </a:r>
            <a:br>
              <a:rPr lang="en-US" dirty="0" smtClean="0"/>
            </a:br>
            <a:r>
              <a:rPr lang="en-US" dirty="0" smtClean="0"/>
              <a:t>Title</a:t>
            </a:r>
          </a:p>
        </p:txBody>
      </p:sp>
    </p:spTree>
    <p:extLst>
      <p:ext uri="{BB962C8B-B14F-4D97-AF65-F5344CB8AC3E}">
        <p14:creationId xmlns:p14="http://schemas.microsoft.com/office/powerpoint/2010/main" val="1855871725"/>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5"/>
            <a:ext cx="9860674" cy="896553"/>
          </a:xfrm>
        </p:spPr>
        <p:txBody>
          <a:bodyPr/>
          <a:lstStyle>
            <a:lvl1pPr marL="169564" indent="-169564">
              <a:defRPr sz="5880" baseline="0">
                <a:gradFill>
                  <a:gsLst>
                    <a:gs pos="1250">
                      <a:schemeClr val="bg1"/>
                    </a:gs>
                    <a:gs pos="100000">
                      <a:schemeClr val="bg1"/>
                    </a:gs>
                  </a:gsLst>
                  <a:lin ang="5400000" scaled="0"/>
                </a:gradFill>
              </a:defRPr>
            </a:lvl1pPr>
          </a:lstStyle>
          <a:p>
            <a:r>
              <a:rPr lang="en-US" dirty="0" smtClean="0"/>
              <a:t>“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bg1"/>
                    </a:gs>
                    <a:gs pos="100000">
                      <a:schemeClr val="bg1"/>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smtClean="0"/>
              <a:t>Author’s Name</a:t>
            </a:r>
            <a:br>
              <a:rPr lang="en-US" dirty="0" smtClean="0"/>
            </a:br>
            <a:r>
              <a:rPr lang="en-US" dirty="0" smtClean="0"/>
              <a:t>Title</a:t>
            </a:r>
          </a:p>
        </p:txBody>
      </p:sp>
    </p:spTree>
    <p:extLst>
      <p:ext uri="{BB962C8B-B14F-4D97-AF65-F5344CB8AC3E}">
        <p14:creationId xmlns:p14="http://schemas.microsoft.com/office/powerpoint/2010/main" val="2918833629"/>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smtClean="0"/>
              <a:t>Click to edit Master title style</a:t>
            </a:r>
            <a:endParaRPr lang="en-US"/>
          </a:p>
        </p:txBody>
      </p:sp>
      <p:sp>
        <p:nvSpPr>
          <p:cNvPr id="4" name="Text Placeholder 3"/>
          <p:cNvSpPr>
            <a:spLocks noGrp="1"/>
          </p:cNvSpPr>
          <p:nvPr>
            <p:ph type="body" sz="quarter" idx="10"/>
          </p:nvPr>
        </p:nvSpPr>
        <p:spPr>
          <a:xfrm>
            <a:off x="269241" y="2411635"/>
            <a:ext cx="11653523" cy="914360"/>
          </a:xfrm>
        </p:spPr>
        <p:txBody>
          <a:bodyPr/>
          <a:lstStyle>
            <a:lvl1pPr marL="0" indent="0">
              <a:buNone/>
              <a:defRPr sz="5292"/>
            </a:lvl1pPr>
          </a:lstStyle>
          <a:p>
            <a:pPr lvl="0"/>
            <a:r>
              <a:rPr lang="en-US" smtClean="0"/>
              <a:t>Click to edit Master text styles</a:t>
            </a:r>
          </a:p>
        </p:txBody>
      </p:sp>
    </p:spTree>
    <p:extLst>
      <p:ext uri="{BB962C8B-B14F-4D97-AF65-F5344CB8AC3E}">
        <p14:creationId xmlns:p14="http://schemas.microsoft.com/office/powerpoint/2010/main" val="2421317389"/>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1"/>
            <a:ext cx="6112654" cy="6871859"/>
          </a:xfrm>
          <a:prstGeom prst="rect">
            <a:avLst/>
          </a:prstGeom>
        </p:spPr>
      </p:pic>
      <p:sp>
        <p:nvSpPr>
          <p:cNvPr id="5" name="Picture Placeholder 4"/>
          <p:cNvSpPr>
            <a:spLocks noGrp="1"/>
          </p:cNvSpPr>
          <p:nvPr>
            <p:ph type="pic" sz="quarter" idx="10"/>
          </p:nvPr>
        </p:nvSpPr>
        <p:spPr>
          <a:xfrm>
            <a:off x="6071100" y="2"/>
            <a:ext cx="6120900" cy="727700"/>
          </a:xfrm>
        </p:spPr>
        <p:txBody>
          <a:bodyPr/>
          <a:lstStyle>
            <a:lvl1pPr marL="0" indent="0">
              <a:buNone/>
              <a:defRPr/>
            </a:lvl1pPr>
          </a:lstStyle>
          <a:p>
            <a:r>
              <a:rPr lang="en-US" smtClean="0"/>
              <a:t>Click icon to add picture</a:t>
            </a:r>
            <a:endParaRPr lang="en-US" dirty="0"/>
          </a:p>
        </p:txBody>
      </p:sp>
    </p:spTree>
    <p:extLst>
      <p:ext uri="{BB962C8B-B14F-4D97-AF65-F5344CB8AC3E}">
        <p14:creationId xmlns:p14="http://schemas.microsoft.com/office/powerpoint/2010/main" val="2659899990"/>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2" y="-20235"/>
            <a:ext cx="6117789" cy="724246"/>
          </a:xfrm>
        </p:spPr>
        <p:txBody>
          <a:bodyPr/>
          <a:lstStyle>
            <a:lvl1pPr marL="0" indent="0">
              <a:buNone/>
              <a:defRPr/>
            </a:lvl1pPr>
          </a:lstStyle>
          <a:p>
            <a:r>
              <a:rPr lang="en-US" smtClean="0"/>
              <a:t>Click icon to add picture</a:t>
            </a:r>
            <a:endParaRPr lang="en-US" dirty="0"/>
          </a:p>
        </p:txBody>
      </p:sp>
    </p:spTree>
    <p:extLst>
      <p:ext uri="{BB962C8B-B14F-4D97-AF65-F5344CB8AC3E}">
        <p14:creationId xmlns:p14="http://schemas.microsoft.com/office/powerpoint/2010/main" val="4204380692"/>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80317490"/>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225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861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6686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rot="5400000">
            <a:off x="10155639" y="1790701"/>
            <a:ext cx="990599" cy="304799"/>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796027F-7875-4030-9381-8BD8C4F21935}" type="datetimeFigureOut">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2/9/2015</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Footer Placeholder 5"/>
          <p:cNvSpPr>
            <a:spLocks noGrp="1"/>
          </p:cNvSpPr>
          <p:nvPr>
            <p:ph type="ftr" sz="quarter" idx="11"/>
          </p:nvPr>
        </p:nvSpPr>
        <p:spPr>
          <a:xfrm rot="5400000">
            <a:off x="8951573" y="3225297"/>
            <a:ext cx="3859795" cy="304801"/>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10352540" y="295729"/>
            <a:ext cx="838199" cy="76768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57F1E4F-1CFF-5643-939E-02111984F565}" type="slidenum">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1577238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70778088"/>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505050"/>
                    </a:gs>
                    <a:gs pos="100000">
                      <a:srgbClr val="505050"/>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1033665848"/>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invGray">
          <a:xfrm>
            <a:off x="450207" y="3083652"/>
            <a:ext cx="3227129" cy="692059"/>
          </a:xfrm>
          <a:prstGeom prst="rect">
            <a:avLst/>
          </a:prstGeom>
        </p:spPr>
      </p:pic>
    </p:spTree>
    <p:extLst>
      <p:ext uri="{BB962C8B-B14F-4D97-AF65-F5344CB8AC3E}">
        <p14:creationId xmlns:p14="http://schemas.microsoft.com/office/powerpoint/2010/main" val="1144085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651505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3688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mtClean="0">
                <a:solidFill>
                  <a:srgbClr val="505050"/>
                </a:solidFill>
              </a:rPr>
              <a:pPr defTabSz="914016"/>
              <a:t>‹#›</a:t>
            </a:fld>
            <a:endParaRPr lang="en-US" dirty="0">
              <a:solidFill>
                <a:srgbClr val="505050"/>
              </a:solidFill>
            </a:endParaRPr>
          </a:p>
        </p:txBody>
      </p:sp>
    </p:spTree>
    <p:extLst>
      <p:ext uri="{BB962C8B-B14F-4D97-AF65-F5344CB8AC3E}">
        <p14:creationId xmlns:p14="http://schemas.microsoft.com/office/powerpoint/2010/main" val="2493740381"/>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2455697"/>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001111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062730"/>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6947777"/>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56443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21114"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496087"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0123928"/>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070033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3431988"/>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432288"/>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2301381"/>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6711964"/>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2359803"/>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55356321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5483087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45547750"/>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smtClean="0"/>
              <a:t>Click to edit Master title style</a:t>
            </a:r>
            <a:endParaRPr lang="en-US" dirty="0"/>
          </a:p>
        </p:txBody>
      </p:sp>
    </p:spTree>
    <p:extLst>
      <p:ext uri="{BB962C8B-B14F-4D97-AF65-F5344CB8AC3E}">
        <p14:creationId xmlns:p14="http://schemas.microsoft.com/office/powerpoint/2010/main" val="395001636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653737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447803"/>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98058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846257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3"/>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2" y="1447803"/>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8844622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10" hasCustomPrompt="1"/>
          </p:nvPr>
        </p:nvSpPr>
        <p:spPr>
          <a:xfrm>
            <a:off x="602355"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13" name="Content Placeholder 5"/>
          <p:cNvSpPr>
            <a:spLocks noGrp="1"/>
          </p:cNvSpPr>
          <p:nvPr>
            <p:ph sz="quarter" idx="11" hasCustomPrompt="1"/>
          </p:nvPr>
        </p:nvSpPr>
        <p:spPr>
          <a:xfrm>
            <a:off x="6182661"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9" name="Content Placeholder 2"/>
          <p:cNvSpPr>
            <a:spLocks noGrp="1"/>
          </p:cNvSpPr>
          <p:nvPr>
            <p:ph sz="half" idx="12"/>
          </p:nvPr>
        </p:nvSpPr>
        <p:spPr>
          <a:xfrm>
            <a:off x="6184575"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372AB51-BDCC-4F95-83CF-1CBB2D34E9E5}" type="slidenum">
              <a:rPr kumimoji="0" lang="en-US" sz="1067"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419665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de">
    <p:bg>
      <p:bgPr>
        <a:solidFill>
          <a:schemeClr val="bg1">
            <a:lumMod val="95000"/>
          </a:schemeClr>
        </a:solidFill>
        <a:effectLst/>
      </p:bgPr>
    </p:bg>
    <p:spTree>
      <p:nvGrpSpPr>
        <p:cNvPr id="1" name=""/>
        <p:cNvGrpSpPr/>
        <p:nvPr/>
      </p:nvGrpSpPr>
      <p:grpSpPr>
        <a:xfrm>
          <a:off x="0" y="0"/>
          <a:ext cx="0" cy="0"/>
          <a:chOff x="0" y="0"/>
          <a:chExt cx="0" cy="0"/>
        </a:xfrm>
      </p:grpSpPr>
      <p:sp>
        <p:nvSpPr>
          <p:cNvPr id="8" name="Content Placeholder 2"/>
          <p:cNvSpPr>
            <a:spLocks noGrp="1"/>
          </p:cNvSpPr>
          <p:nvPr>
            <p:ph idx="1"/>
          </p:nvPr>
        </p:nvSpPr>
        <p:spPr>
          <a:xfrm>
            <a:off x="579512" y="1903177"/>
            <a:ext cx="10972800" cy="4380263"/>
          </a:xfrm>
          <a:prstGeom prst="rect">
            <a:avLst/>
          </a:prstGeom>
        </p:spPr>
        <p:txBody>
          <a:bodyPr>
            <a:normAutofit/>
          </a:bodyPr>
          <a:lstStyle>
            <a:lvl1pPr marL="0" indent="0">
              <a:buClr>
                <a:schemeClr val="accent3"/>
              </a:buClr>
              <a:buFontTx/>
              <a:buNone/>
              <a:defRPr sz="2667">
                <a:solidFill>
                  <a:schemeClr val="tx1">
                    <a:lumMod val="75000"/>
                    <a:lumOff val="25000"/>
                  </a:schemeClr>
                </a:solidFill>
                <a:latin typeface="Consolas"/>
                <a:cs typeface="Consolas"/>
              </a:defRPr>
            </a:lvl1pPr>
            <a:lvl2pPr marL="0" indent="0">
              <a:buClr>
                <a:schemeClr val="accent3"/>
              </a:buClr>
              <a:buFontTx/>
              <a:buNone/>
              <a:defRPr sz="2400">
                <a:solidFill>
                  <a:schemeClr val="tx1">
                    <a:lumMod val="75000"/>
                    <a:lumOff val="25000"/>
                  </a:schemeClr>
                </a:solidFill>
                <a:latin typeface="Consolas"/>
                <a:cs typeface="Consolas"/>
              </a:defRPr>
            </a:lvl2pPr>
            <a:lvl3pPr marL="393690" indent="0">
              <a:buClr>
                <a:schemeClr val="accent3"/>
              </a:buClr>
              <a:buFontTx/>
              <a:buNone/>
              <a:defRPr sz="2133">
                <a:solidFill>
                  <a:schemeClr val="tx1">
                    <a:lumMod val="75000"/>
                    <a:lumOff val="25000"/>
                  </a:schemeClr>
                </a:solidFill>
                <a:latin typeface="Consolas"/>
                <a:cs typeface="Consolas"/>
              </a:defRPr>
            </a:lvl3pPr>
            <a:lvl4pPr marL="772565" indent="0">
              <a:buClr>
                <a:schemeClr val="accent3"/>
              </a:buClr>
              <a:buFontTx/>
              <a:buNone/>
              <a:defRPr sz="2133">
                <a:solidFill>
                  <a:schemeClr val="tx1">
                    <a:lumMod val="75000"/>
                    <a:lumOff val="25000"/>
                  </a:schemeClr>
                </a:solidFill>
                <a:latin typeface="Consolas"/>
                <a:cs typeface="Consolas"/>
              </a:defRPr>
            </a:lvl4pPr>
            <a:lvl5pPr marL="1128156" indent="0">
              <a:buClr>
                <a:schemeClr val="accent3"/>
              </a:buClr>
              <a:buFontTx/>
              <a:buNone/>
              <a:defRPr sz="2133">
                <a:solidFill>
                  <a:schemeClr val="tx1">
                    <a:lumMod val="75000"/>
                    <a:lumOff val="25000"/>
                  </a:schemeClr>
                </a:solidFill>
                <a:latin typeface="Consolas"/>
                <a:cs typeface="Consola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nchor="t"/>
          <a:lstStyle/>
          <a:p>
            <a:r>
              <a:rPr lang="en-US" smtClean="0"/>
              <a:t>Click to edit Master title style</a:t>
            </a:r>
            <a:endParaRPr lang="en-US"/>
          </a:p>
        </p:txBody>
      </p:sp>
      <p:pic>
        <p:nvPicPr>
          <p:cNvPr id="5"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V="1">
            <a:off x="-1" y="6527029"/>
            <a:ext cx="12192001" cy="138547"/>
          </a:xfrm>
          <a:prstGeom prst="rect">
            <a:avLst/>
          </a:prstGeom>
        </p:spPr>
      </p:pic>
      <p:sp>
        <p:nvSpPr>
          <p:cNvPr id="7" name="Rectangle 6"/>
          <p:cNvSpPr/>
          <p:nvPr userDrawn="1"/>
        </p:nvSpPr>
        <p:spPr>
          <a:xfrm>
            <a:off x="144401" y="6392050"/>
            <a:ext cx="551348" cy="4659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Picture 8" descr="PASS_Logo_gray.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4536" y="6521727"/>
            <a:ext cx="371075" cy="296895"/>
          </a:xfrm>
          <a:prstGeom prst="rect">
            <a:avLst/>
          </a:prstGeom>
        </p:spPr>
      </p:pic>
    </p:spTree>
    <p:extLst>
      <p:ext uri="{BB962C8B-B14F-4D97-AF65-F5344CB8AC3E}">
        <p14:creationId xmlns:p14="http://schemas.microsoft.com/office/powerpoint/2010/main" val="29858032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372AB51-BDCC-4F95-83CF-1CBB2D34E9E5}" type="slidenum">
              <a:rPr kumimoji="0" lang="en-US" sz="1067"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 Placeholder 2"/>
          <p:cNvSpPr>
            <a:spLocks noGrp="1"/>
          </p:cNvSpPr>
          <p:nvPr>
            <p:ph idx="1" hasCustomPrompt="1"/>
          </p:nvPr>
        </p:nvSpPr>
        <p:spPr>
          <a:xfrm>
            <a:off x="579512" y="1816516"/>
            <a:ext cx="10972800" cy="4201283"/>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89" indent="-457189">
              <a:buClr>
                <a:schemeClr val="accent4"/>
              </a:buClr>
              <a:buFont typeface="Arial"/>
              <a:buChar char="•"/>
              <a:defRPr>
                <a:solidFill>
                  <a:schemeClr val="tx1">
                    <a:lumMod val="75000"/>
                    <a:lumOff val="25000"/>
                  </a:schemeClr>
                </a:solidFill>
                <a:latin typeface="+mn-lt"/>
              </a:defRPr>
            </a:lvl2pPr>
            <a:lvl3pPr marL="850879" indent="-457189">
              <a:buClr>
                <a:schemeClr val="accent4"/>
              </a:buClr>
              <a:buFont typeface="Arial"/>
              <a:buChar char="•"/>
              <a:defRPr sz="2400" b="0">
                <a:solidFill>
                  <a:srgbClr val="0084CC"/>
                </a:solidFill>
                <a:latin typeface="+mn-lt"/>
              </a:defRPr>
            </a:lvl3pPr>
            <a:lvl4pPr marL="1229753" indent="-457189">
              <a:buClr>
                <a:schemeClr val="accent4"/>
              </a:buClr>
              <a:buFont typeface="Arial"/>
              <a:buChar char="•"/>
              <a:defRPr>
                <a:solidFill>
                  <a:schemeClr val="tx1">
                    <a:lumMod val="75000"/>
                    <a:lumOff val="25000"/>
                  </a:schemeClr>
                </a:solidFill>
                <a:latin typeface="+mn-lt"/>
              </a:defRPr>
            </a:lvl4pPr>
            <a:lvl5pPr marL="1585344" indent="-457189">
              <a:buClr>
                <a:schemeClr val="accent4"/>
              </a:buClr>
              <a:buFont typeface="Arial"/>
              <a:buChar char="•"/>
              <a:defRPr>
                <a:solidFill>
                  <a:schemeClr val="tx1">
                    <a:lumMod val="75000"/>
                    <a:lumOff val="25000"/>
                  </a:schemeClr>
                </a:solidFill>
                <a:latin typeface="+mn-lt"/>
              </a:defRPr>
            </a:lvl5pPr>
          </a:lstStyle>
          <a:p>
            <a:pPr marL="393690" lvl="2" indent="-393690">
              <a:buNone/>
            </a:pPr>
            <a:r>
              <a:rPr lang="en-US" sz="3200" dirty="0" smtClean="0">
                <a:solidFill>
                  <a:schemeClr val="accent4"/>
                </a:solidFill>
              </a:rPr>
              <a:t>Heading One Style </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dirty="0" smtClean="0">
              <a:solidFill>
                <a:schemeClr val="tx1">
                  <a:lumMod val="65000"/>
                  <a:lumOff val="35000"/>
                </a:schemeClr>
              </a:solidFill>
            </a:endParaRPr>
          </a:p>
          <a:p>
            <a:pPr marL="393690" lvl="2" indent="-393690">
              <a:buNone/>
            </a:pPr>
            <a:r>
              <a:rPr lang="en-US" sz="2667" dirty="0" smtClean="0">
                <a:solidFill>
                  <a:schemeClr val="accent6"/>
                </a:solidFill>
              </a:rPr>
              <a:t>Heading Two Style</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sz="2667" dirty="0" smtClean="0">
              <a:solidFill>
                <a:schemeClr val="accent3"/>
              </a:solidFill>
            </a:endParaRPr>
          </a:p>
          <a:p>
            <a:pPr marL="393690" lvl="2" indent="-393690">
              <a:buNone/>
            </a:pPr>
            <a:r>
              <a:rPr lang="en-US" b="1" dirty="0" smtClean="0">
                <a:solidFill>
                  <a:schemeClr val="accent1"/>
                </a:solidFill>
              </a:rPr>
              <a:t>HEADING THREE STYLE</a:t>
            </a:r>
          </a:p>
          <a:p>
            <a:pPr marL="393690" lvl="2" indent="-393690">
              <a:buNone/>
            </a:pPr>
            <a:r>
              <a:rPr lang="en-US" dirty="0" smtClean="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61090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591300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6799716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8203767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613661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808794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344265574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40857606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93528249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62457382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409044840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629470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671119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7643953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7509898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61821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409" bIns="9140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3066219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577019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313"/>
            <a:ext cx="12192001" cy="6858313"/>
          </a:xfrm>
          <a:prstGeom prst="rect">
            <a:avLst/>
          </a:prstGeom>
        </p:spPr>
      </p:pic>
      <p:grpSp>
        <p:nvGrpSpPr>
          <p:cNvPr id="9" name="Group 8"/>
          <p:cNvGrpSpPr/>
          <p:nvPr/>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10221384" y="480790"/>
            <a:ext cx="1522404" cy="326167"/>
          </a:xfrm>
          <a:prstGeom prst="rect">
            <a:avLst/>
          </a:prstGeom>
        </p:spPr>
      </p:pic>
    </p:spTree>
    <p:extLst>
      <p:ext uri="{BB962C8B-B14F-4D97-AF65-F5344CB8AC3E}">
        <p14:creationId xmlns:p14="http://schemas.microsoft.com/office/powerpoint/2010/main" val="3541415981"/>
      </p:ext>
    </p:extLst>
  </p:cSld>
  <p:clrMapOvr>
    <a:masterClrMapping/>
  </p:clrMapOvr>
  <p:transition>
    <p:fade/>
  </p:transition>
  <p:hf sldNum="0" hdr="0" ftr="0" dt="0"/>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lide Photo">
    <p:spTree>
      <p:nvGrpSpPr>
        <p:cNvPr id="1" name=""/>
        <p:cNvGrpSpPr/>
        <p:nvPr/>
      </p:nvGrpSpPr>
      <p:grpSpPr>
        <a:xfrm>
          <a:off x="0" y="0"/>
          <a:ext cx="0" cy="0"/>
          <a:chOff x="0" y="0"/>
          <a:chExt cx="0" cy="0"/>
        </a:xfrm>
      </p:grpSpPr>
      <p:pic>
        <p:nvPicPr>
          <p:cNvPr id="82946" name="Picture 2" descr="Z:\Pictures\Windows Embedded Images\WEB13_Mounir_Camille_135.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71780"/>
            <a:ext cx="12192000" cy="81279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5"/>
            <a:ext cx="6276530"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7"/>
            <a:ext cx="1522404" cy="326167"/>
          </a:xfrm>
          <a:prstGeom prst="rect">
            <a:avLst/>
          </a:prstGeom>
        </p:spPr>
      </p:pic>
      <p:grpSp>
        <p:nvGrpSpPr>
          <p:cNvPr id="10" name="Group 9"/>
          <p:cNvGrpSpPr/>
          <p:nvPr/>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115923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81922" name="Picture 2" descr="Z:\Pictures\Windows Embedded Images\WEB13_Shemill_David_103.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899884"/>
            <a:ext cx="12192000" cy="812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5"/>
            <a:ext cx="6276530"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7"/>
            <a:ext cx="1522404" cy="326167"/>
          </a:xfrm>
          <a:prstGeom prst="rect">
            <a:avLst/>
          </a:prstGeom>
        </p:spPr>
      </p:pic>
      <p:grpSp>
        <p:nvGrpSpPr>
          <p:cNvPr id="10" name="Group 9"/>
          <p:cNvGrpSpPr/>
          <p:nvPr/>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6060692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263746"/>
            <a:ext cx="12191999" cy="8121747"/>
          </a:xfrm>
          <a:prstGeom prst="rect">
            <a:avLst/>
          </a:prstGeom>
        </p:spPr>
      </p:pic>
      <p:sp>
        <p:nvSpPr>
          <p:cNvPr id="6" name="Rectangle 5"/>
          <p:cNvSpPr/>
          <p:nvPr/>
        </p:nvSpPr>
        <p:spPr bwMode="auto">
          <a:xfrm>
            <a:off x="4751363" y="1186357"/>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1788" y="3877278"/>
            <a:ext cx="7170975"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4193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17070" t="6178" b="23861"/>
          <a:stretch/>
        </p:blipFill>
        <p:spPr>
          <a:xfrm>
            <a:off x="1" y="0"/>
            <a:ext cx="12192001" cy="6858000"/>
          </a:xfrm>
          <a:prstGeom prst="rect">
            <a:avLst/>
          </a:prstGeom>
        </p:spPr>
      </p:pic>
      <p:sp>
        <p:nvSpPr>
          <p:cNvPr id="6" name="Rectangle 5"/>
          <p:cNvSpPr/>
          <p:nvPr/>
        </p:nvSpPr>
        <p:spPr bwMode="auto">
          <a:xfrm>
            <a:off x="4751363" y="1186357"/>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5" y="1186357"/>
            <a:ext cx="7171398" cy="4484025"/>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14083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94360146"/>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61079577"/>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131490530"/>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9415966"/>
      </p:ext>
    </p:extLst>
  </p:cSld>
  <p:clrMapOvr>
    <a:masterClrMapping/>
  </p:clrMapOvr>
  <p:transition>
    <p:fade/>
  </p:transition>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88802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3018287"/>
      </p:ext>
    </p:extLst>
  </p:cSld>
  <p:clrMapOvr>
    <a:masterClrMapping/>
  </p:clrMapOvr>
  <p:transition>
    <p:fade/>
  </p:transition>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6900664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90657241"/>
      </p:ext>
    </p:extLst>
  </p:cSld>
  <p:clrMapOvr>
    <a:masterClrMapping/>
  </p:clrMapOvr>
  <p:transition>
    <p:fade/>
  </p:transition>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60927359"/>
      </p:ext>
    </p:extLst>
  </p:cSld>
  <p:clrMapOvr>
    <a:masterClrMapping/>
  </p:clrMapOvr>
  <p:transition>
    <p:fade/>
  </p:transition>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8368985"/>
      </p:ext>
    </p:extLst>
  </p:cSld>
  <p:clrMapOvr>
    <a:masterClrMapping/>
  </p:clrMapOvr>
  <p:transition>
    <p:fade/>
  </p:transition>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5656082"/>
      </p:ext>
    </p:extLst>
  </p:cSld>
  <p:clrMapOvr>
    <a:masterClrMapping/>
  </p:clrMapOvr>
  <p:transition>
    <p:fade/>
  </p:transition>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751525"/>
      </p:ext>
    </p:extLst>
  </p:cSld>
  <p:clrMapOvr>
    <a:masterClrMapping/>
  </p:clrMapOvr>
  <p:transition>
    <p:fade/>
  </p:transition>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dirty="0" smtClean="0"/>
              <a:t>Click to edit Master title style</a:t>
            </a:r>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9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90683005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3284723193"/>
      </p:ext>
    </p:extLst>
  </p:cSld>
  <p:clrMapOvr>
    <a:masterClrMapping/>
  </p:clrMapOvr>
  <p:transition>
    <p:fade/>
  </p:transition>
  <p:hf sldNum="0"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4067926179"/>
      </p:ext>
    </p:extLst>
  </p:cSld>
  <p:clrMapOvr>
    <a:masterClrMapping/>
  </p:clrMapOvr>
  <p:transition>
    <p:fade/>
  </p:transition>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89440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781134388"/>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636563813"/>
      </p:ext>
    </p:extLst>
  </p:cSld>
  <p:clrMapOvr>
    <a:masterClrMapping/>
  </p:clrMapOvr>
  <p:transition>
    <p:fade/>
  </p:transition>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639456211"/>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71076909"/>
      </p:ext>
    </p:extLst>
  </p:cSld>
  <p:clrMapOvr>
    <a:masterClrMapping/>
  </p:clrMapOvr>
  <p:transition>
    <p:fade/>
  </p:transition>
  <p:hf sldNum="0"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10910293"/>
      </p:ext>
    </p:extLst>
  </p:cSld>
  <p:clrMapOvr>
    <a:masterClrMapping/>
  </p:clrMapOvr>
  <p:transition>
    <p:fade/>
  </p:transition>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4067363763"/>
      </p:ext>
    </p:extLst>
  </p:cSld>
  <p:clrMapOvr>
    <a:masterClrMapping/>
  </p:clrMapOvr>
  <p:transition>
    <p:fade/>
  </p:transition>
  <p:hf sldNum="0"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706790"/>
      </p:ext>
    </p:extLst>
  </p:cSld>
  <p:clrMapOvr>
    <a:masterClrMapping/>
  </p:clrMapOvr>
  <p:transition>
    <p:fade/>
  </p:transition>
  <p:hf sldNum="0"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6916993"/>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864639"/>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8442429"/>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58592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6" name="Object 5"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223"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52446159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8829912"/>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2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2"/>
            <a:ext cx="6271860" cy="62758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ctrTitle" hasCustomPrompt="1"/>
          </p:nvPr>
        </p:nvSpPr>
        <p:spPr>
          <a:xfrm>
            <a:off x="319603" y="1428403"/>
            <a:ext cx="5378548" cy="879910"/>
          </a:xfrm>
          <a:prstGeom prst="rect">
            <a:avLst/>
          </a:prstGeom>
        </p:spPr>
        <p:txBody>
          <a:bodyPr/>
          <a:lstStyle>
            <a:lvl1pPr>
              <a:defRPr sz="5096"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19662" y="4353453"/>
            <a:ext cx="5378486" cy="860042"/>
          </a:xfrm>
          <a:prstGeom prst="rect">
            <a:avLst/>
          </a:prstGeom>
        </p:spPr>
        <p:txBody>
          <a:bodyPr/>
          <a:lstStyle>
            <a:lvl1pPr marL="0" indent="0" algn="l">
              <a:lnSpc>
                <a:spcPts val="2647"/>
              </a:lnSpc>
              <a:buNone/>
              <a:defRPr sz="2157">
                <a:solidFill>
                  <a:schemeClr val="bg1"/>
                </a:solidFill>
                <a:latin typeface="+mj-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2997067"/>
            <a:ext cx="5392555" cy="561290"/>
          </a:xfrm>
          <a:prstGeom prst="rect">
            <a:avLst/>
          </a:prstGeom>
        </p:spPr>
        <p:txBody>
          <a:bodyPr/>
          <a:lstStyle>
            <a:lvl1pPr marL="0" indent="0">
              <a:buNone/>
              <a:defRPr sz="2745" baseline="0">
                <a:solidFill>
                  <a:schemeClr val="bg1"/>
                </a:solidFill>
                <a:latin typeface="+mj-lt"/>
              </a:defRPr>
            </a:lvl1pPr>
            <a:lvl2pPr marL="336015" indent="0">
              <a:buNone/>
              <a:defRPr sz="1567">
                <a:solidFill>
                  <a:schemeClr val="bg1"/>
                </a:solidFill>
                <a:latin typeface="+mj-lt"/>
              </a:defRPr>
            </a:lvl2pPr>
            <a:lvl3pPr marL="560027" indent="0">
              <a:buNone/>
              <a:defRPr sz="1370">
                <a:solidFill>
                  <a:schemeClr val="bg1"/>
                </a:solidFill>
                <a:latin typeface="+mj-lt"/>
              </a:defRPr>
            </a:lvl3pPr>
            <a:lvl4pPr marL="784036" indent="0">
              <a:buNone/>
              <a:defRPr sz="1174">
                <a:solidFill>
                  <a:schemeClr val="bg1"/>
                </a:solidFill>
                <a:latin typeface="+mj-lt"/>
              </a:defRPr>
            </a:lvl4pPr>
            <a:lvl5pPr marL="1008047" indent="0">
              <a:buNone/>
              <a:defRPr sz="1174">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30846983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9_Title Slide 4">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2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5921402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448212" y="6437743"/>
            <a:ext cx="3859607" cy="133860"/>
          </a:xfrm>
          <a:prstGeom prst="rect">
            <a:avLst/>
          </a:prstGeom>
        </p:spPr>
        <p:txBody>
          <a:bodyPr/>
          <a:lstStyle>
            <a:lvl1pPr fontAlgn="base">
              <a:spcBef>
                <a:spcPct val="0"/>
              </a:spcBef>
              <a:spcAft>
                <a:spcPct val="0"/>
              </a:spcAft>
              <a:defRPr>
                <a:solidFill>
                  <a:srgbClr val="002050"/>
                </a:solidFill>
              </a:defRPr>
            </a:lvl1p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smtClean="0">
                <a:ln>
                  <a:noFill/>
                </a:ln>
                <a:solidFill>
                  <a:srgbClr val="002050"/>
                </a:solidFill>
                <a:effectLst/>
                <a:uLnTx/>
                <a:uFillTx/>
                <a:latin typeface="Segoe UI"/>
                <a:ea typeface="+mn-ea"/>
                <a:cs typeface="+mn-cs"/>
              </a:rPr>
              <a:t>Microsoft Confidential</a:t>
            </a:r>
            <a:endParaRPr kumimoji="0" lang="en-US" sz="1765" b="0" i="0" u="none" strike="noStrike" kern="1200" cap="none" spc="0" normalizeH="0" baseline="0" noProof="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1"/>
          </p:nvPr>
        </p:nvSpPr>
        <p:spPr>
          <a:xfrm>
            <a:off x="11367166" y="6437743"/>
            <a:ext cx="555597" cy="133860"/>
          </a:xfrm>
          <a:prstGeom prst="rect">
            <a:avLst/>
          </a:prstGeom>
        </p:spPr>
        <p:txBody>
          <a:bodyPr/>
          <a:lstStyle>
            <a:lvl1pPr defTabSz="913330" fontAlgn="base">
              <a:spcBef>
                <a:spcPct val="0"/>
              </a:spcBef>
              <a:spcAft>
                <a:spcPct val="0"/>
              </a:spcAft>
              <a:defRPr>
                <a:solidFill>
                  <a:srgbClr val="002050"/>
                </a:solidFill>
              </a:defRPr>
            </a:lvl1pPr>
          </a:lstStyle>
          <a:p>
            <a:pPr marL="0" marR="0" lvl="0" indent="0" algn="l" defTabSz="913330" rtl="0" eaLnBrk="1" fontAlgn="base" latinLnBrk="0" hangingPunct="1">
              <a:lnSpc>
                <a:spcPct val="100000"/>
              </a:lnSpc>
              <a:spcBef>
                <a:spcPct val="0"/>
              </a:spcBef>
              <a:spcAft>
                <a:spcPct val="0"/>
              </a:spcAft>
              <a:buClrTx/>
              <a:buSzTx/>
              <a:buFontTx/>
              <a:buNone/>
              <a:tabLst/>
              <a:defRPr/>
            </a:pPr>
            <a:fld id="{EC136591-509A-F246-B30E-5ECE4A4A5F5E}" type="slidenum">
              <a:rPr kumimoji="0" lang="en-GB" sz="1765" b="0" i="0" u="none" strike="noStrike" kern="1200" cap="none" spc="0" normalizeH="0" baseline="0" noProof="0" smtClean="0">
                <a:ln>
                  <a:noFill/>
                </a:ln>
                <a:solidFill>
                  <a:srgbClr val="002050"/>
                </a:solidFill>
                <a:effectLst/>
                <a:uLnTx/>
                <a:uFillTx/>
                <a:latin typeface="Segoe UI"/>
                <a:ea typeface="+mn-ea"/>
                <a:cs typeface="+mn-cs"/>
              </a:rPr>
              <a:pPr marL="0" marR="0" lvl="0" indent="0" algn="l" defTabSz="913330" rtl="0" eaLnBrk="1" fontAlgn="base" latinLnBrk="0" hangingPunct="1">
                <a:lnSpc>
                  <a:spcPct val="100000"/>
                </a:lnSpc>
                <a:spcBef>
                  <a:spcPct val="0"/>
                </a:spcBef>
                <a:spcAft>
                  <a:spcPct val="0"/>
                </a:spcAft>
                <a:buClrTx/>
                <a:buSzTx/>
                <a:buFontTx/>
                <a:buNone/>
                <a:tabLst/>
                <a:defRPr/>
              </a:pPr>
              <a:t>‹#›</a:t>
            </a:fld>
            <a:endParaRPr kumimoji="0" lang="en-GB" sz="1765" b="0" i="0" u="none" strike="noStrike" kern="1200" cap="none" spc="0" normalizeH="0" baseline="0" noProof="0">
              <a:ln>
                <a:noFill/>
              </a:ln>
              <a:solidFill>
                <a:srgbClr val="002050"/>
              </a:solidFill>
              <a:effectLst/>
              <a:uLnTx/>
              <a:uFillTx/>
              <a:latin typeface="Segoe UI"/>
              <a:ea typeface="+mn-ea"/>
              <a:cs typeface="+mn-cs"/>
            </a:endParaRPr>
          </a:p>
        </p:txBody>
      </p:sp>
    </p:spTree>
    <p:extLst>
      <p:ext uri="{BB962C8B-B14F-4D97-AF65-F5344CB8AC3E}">
        <p14:creationId xmlns:p14="http://schemas.microsoft.com/office/powerpoint/2010/main" val="4185287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128909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420321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348342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843366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07610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theme" Target="../theme/theme10.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26" Type="http://schemas.openxmlformats.org/officeDocument/2006/relationships/slideLayout" Target="../slideLayouts/slideLayout265.xml"/><Relationship Id="rId3" Type="http://schemas.openxmlformats.org/officeDocument/2006/relationships/slideLayout" Target="../slideLayouts/slideLayout242.xml"/><Relationship Id="rId21" Type="http://schemas.openxmlformats.org/officeDocument/2006/relationships/slideLayout" Target="../slideLayouts/slideLayout260.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5" Type="http://schemas.openxmlformats.org/officeDocument/2006/relationships/slideLayout" Target="../slideLayouts/slideLayout264.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slideLayout" Target="../slideLayouts/slideLayout259.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24" Type="http://schemas.openxmlformats.org/officeDocument/2006/relationships/slideLayout" Target="../slideLayouts/slideLayout263.xml"/><Relationship Id="rId5" Type="http://schemas.openxmlformats.org/officeDocument/2006/relationships/slideLayout" Target="../slideLayouts/slideLayout244.xml"/><Relationship Id="rId15" Type="http://schemas.openxmlformats.org/officeDocument/2006/relationships/slideLayout" Target="../slideLayouts/slideLayout254.xml"/><Relationship Id="rId23" Type="http://schemas.openxmlformats.org/officeDocument/2006/relationships/slideLayout" Target="../slideLayouts/slideLayout262.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3.xml"/><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theme" Target="../theme/theme12.xml"/><Relationship Id="rId3" Type="http://schemas.openxmlformats.org/officeDocument/2006/relationships/slideLayout" Target="../slideLayouts/slideLayout268.xml"/><Relationship Id="rId21" Type="http://schemas.openxmlformats.org/officeDocument/2006/relationships/slideLayout" Target="../slideLayouts/slideLayout286.xml"/><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slideLayout" Target="../slideLayouts/slideLayout290.xml"/><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0" Type="http://schemas.openxmlformats.org/officeDocument/2006/relationships/slideLayout" Target="../slideLayouts/slideLayout285.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5" Type="http://schemas.openxmlformats.org/officeDocument/2006/relationships/slideLayout" Target="../slideLayouts/slideLayout270.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slideLayout" Target="../slideLayouts/slideLayout303.xml"/><Relationship Id="rId18" Type="http://schemas.openxmlformats.org/officeDocument/2006/relationships/slideLayout" Target="../slideLayouts/slideLayout308.xml"/><Relationship Id="rId26" Type="http://schemas.openxmlformats.org/officeDocument/2006/relationships/oleObject" Target="../embeddings/oleObject13.bin"/><Relationship Id="rId3" Type="http://schemas.openxmlformats.org/officeDocument/2006/relationships/slideLayout" Target="../slideLayouts/slideLayout293.xml"/><Relationship Id="rId21" Type="http://schemas.openxmlformats.org/officeDocument/2006/relationships/slideLayout" Target="../slideLayouts/slideLayout311.xml"/><Relationship Id="rId7" Type="http://schemas.openxmlformats.org/officeDocument/2006/relationships/slideLayout" Target="../slideLayouts/slideLayout297.xml"/><Relationship Id="rId12" Type="http://schemas.openxmlformats.org/officeDocument/2006/relationships/slideLayout" Target="../slideLayouts/slideLayout302.xml"/><Relationship Id="rId17" Type="http://schemas.openxmlformats.org/officeDocument/2006/relationships/slideLayout" Target="../slideLayouts/slideLayout307.xml"/><Relationship Id="rId25" Type="http://schemas.openxmlformats.org/officeDocument/2006/relationships/tags" Target="../tags/tag13.xml"/><Relationship Id="rId2" Type="http://schemas.openxmlformats.org/officeDocument/2006/relationships/slideLayout" Target="../slideLayouts/slideLayout292.xml"/><Relationship Id="rId16" Type="http://schemas.openxmlformats.org/officeDocument/2006/relationships/slideLayout" Target="../slideLayouts/slideLayout306.xml"/><Relationship Id="rId20" Type="http://schemas.openxmlformats.org/officeDocument/2006/relationships/slideLayout" Target="../slideLayouts/slideLayout310.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24" Type="http://schemas.openxmlformats.org/officeDocument/2006/relationships/vmlDrawing" Target="../drawings/vmlDrawing13.vml"/><Relationship Id="rId5" Type="http://schemas.openxmlformats.org/officeDocument/2006/relationships/slideLayout" Target="../slideLayouts/slideLayout295.xml"/><Relationship Id="rId15" Type="http://schemas.openxmlformats.org/officeDocument/2006/relationships/slideLayout" Target="../slideLayouts/slideLayout305.xml"/><Relationship Id="rId23" Type="http://schemas.openxmlformats.org/officeDocument/2006/relationships/theme" Target="../theme/theme13.xml"/><Relationship Id="rId28" Type="http://schemas.openxmlformats.org/officeDocument/2006/relationships/image" Target="../media/image38.png"/><Relationship Id="rId10" Type="http://schemas.openxmlformats.org/officeDocument/2006/relationships/slideLayout" Target="../slideLayouts/slideLayout300.xml"/><Relationship Id="rId19" Type="http://schemas.openxmlformats.org/officeDocument/2006/relationships/slideLayout" Target="../slideLayouts/slideLayout309.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 Id="rId22" Type="http://schemas.openxmlformats.org/officeDocument/2006/relationships/slideLayout" Target="../slideLayouts/slideLayout312.xml"/><Relationship Id="rId27" Type="http://schemas.openxmlformats.org/officeDocument/2006/relationships/image" Target="../media/image37.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0.xml"/><Relationship Id="rId13" Type="http://schemas.openxmlformats.org/officeDocument/2006/relationships/slideLayout" Target="../slideLayouts/slideLayout325.xml"/><Relationship Id="rId18" Type="http://schemas.openxmlformats.org/officeDocument/2006/relationships/slideLayout" Target="../slideLayouts/slideLayout330.xml"/><Relationship Id="rId26" Type="http://schemas.openxmlformats.org/officeDocument/2006/relationships/slideLayout" Target="../slideLayouts/slideLayout338.xml"/><Relationship Id="rId3" Type="http://schemas.openxmlformats.org/officeDocument/2006/relationships/slideLayout" Target="../slideLayouts/slideLayout315.xml"/><Relationship Id="rId21" Type="http://schemas.openxmlformats.org/officeDocument/2006/relationships/slideLayout" Target="../slideLayouts/slideLayout333.xml"/><Relationship Id="rId7" Type="http://schemas.openxmlformats.org/officeDocument/2006/relationships/slideLayout" Target="../slideLayouts/slideLayout319.xml"/><Relationship Id="rId12" Type="http://schemas.openxmlformats.org/officeDocument/2006/relationships/slideLayout" Target="../slideLayouts/slideLayout324.xml"/><Relationship Id="rId17" Type="http://schemas.openxmlformats.org/officeDocument/2006/relationships/slideLayout" Target="../slideLayouts/slideLayout329.xml"/><Relationship Id="rId25" Type="http://schemas.openxmlformats.org/officeDocument/2006/relationships/slideLayout" Target="../slideLayouts/slideLayout337.xml"/><Relationship Id="rId2" Type="http://schemas.openxmlformats.org/officeDocument/2006/relationships/slideLayout" Target="../slideLayouts/slideLayout314.xml"/><Relationship Id="rId16" Type="http://schemas.openxmlformats.org/officeDocument/2006/relationships/slideLayout" Target="../slideLayouts/slideLayout328.xml"/><Relationship Id="rId20" Type="http://schemas.openxmlformats.org/officeDocument/2006/relationships/slideLayout" Target="../slideLayouts/slideLayout332.xml"/><Relationship Id="rId29" Type="http://schemas.openxmlformats.org/officeDocument/2006/relationships/slideLayout" Target="../slideLayouts/slideLayout341.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11" Type="http://schemas.openxmlformats.org/officeDocument/2006/relationships/slideLayout" Target="../slideLayouts/slideLayout323.xml"/><Relationship Id="rId24" Type="http://schemas.openxmlformats.org/officeDocument/2006/relationships/slideLayout" Target="../slideLayouts/slideLayout336.xml"/><Relationship Id="rId32" Type="http://schemas.openxmlformats.org/officeDocument/2006/relationships/image" Target="../media/image41.png"/><Relationship Id="rId5" Type="http://schemas.openxmlformats.org/officeDocument/2006/relationships/slideLayout" Target="../slideLayouts/slideLayout317.xml"/><Relationship Id="rId15" Type="http://schemas.openxmlformats.org/officeDocument/2006/relationships/slideLayout" Target="../slideLayouts/slideLayout327.xml"/><Relationship Id="rId23" Type="http://schemas.openxmlformats.org/officeDocument/2006/relationships/slideLayout" Target="../slideLayouts/slideLayout335.xml"/><Relationship Id="rId28" Type="http://schemas.openxmlformats.org/officeDocument/2006/relationships/slideLayout" Target="../slideLayouts/slideLayout340.xml"/><Relationship Id="rId10" Type="http://schemas.openxmlformats.org/officeDocument/2006/relationships/slideLayout" Target="../slideLayouts/slideLayout322.xml"/><Relationship Id="rId19" Type="http://schemas.openxmlformats.org/officeDocument/2006/relationships/slideLayout" Target="../slideLayouts/slideLayout331.xml"/><Relationship Id="rId31" Type="http://schemas.openxmlformats.org/officeDocument/2006/relationships/theme" Target="../theme/theme14.xml"/><Relationship Id="rId4" Type="http://schemas.openxmlformats.org/officeDocument/2006/relationships/slideLayout" Target="../slideLayouts/slideLayout316.xml"/><Relationship Id="rId9" Type="http://schemas.openxmlformats.org/officeDocument/2006/relationships/slideLayout" Target="../slideLayouts/slideLayout321.xml"/><Relationship Id="rId14" Type="http://schemas.openxmlformats.org/officeDocument/2006/relationships/slideLayout" Target="../slideLayouts/slideLayout326.xml"/><Relationship Id="rId22" Type="http://schemas.openxmlformats.org/officeDocument/2006/relationships/slideLayout" Target="../slideLayouts/slideLayout334.xml"/><Relationship Id="rId27" Type="http://schemas.openxmlformats.org/officeDocument/2006/relationships/slideLayout" Target="../slideLayouts/slideLayout339.xml"/><Relationship Id="rId30" Type="http://schemas.openxmlformats.org/officeDocument/2006/relationships/slideLayout" Target="../slideLayouts/slideLayout34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slideLayout" Target="../slideLayouts/slideLayout381.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42" Type="http://schemas.openxmlformats.org/officeDocument/2006/relationships/slideLayout" Target="../slideLayouts/slideLayout384.xml"/><Relationship Id="rId7" Type="http://schemas.openxmlformats.org/officeDocument/2006/relationships/slideLayout" Target="../slideLayouts/slideLayout349.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41" Type="http://schemas.openxmlformats.org/officeDocument/2006/relationships/slideLayout" Target="../slideLayouts/slideLayout383.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40" Type="http://schemas.openxmlformats.org/officeDocument/2006/relationships/slideLayout" Target="../slideLayouts/slideLayout382.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4" Type="http://schemas.openxmlformats.org/officeDocument/2006/relationships/image" Target="../media/image41.png"/><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43" Type="http://schemas.openxmlformats.org/officeDocument/2006/relationships/theme" Target="../theme/theme15.xml"/><Relationship Id="rId8" Type="http://schemas.openxmlformats.org/officeDocument/2006/relationships/slideLayout" Target="../slideLayouts/slideLayout350.xml"/><Relationship Id="rId3" Type="http://schemas.openxmlformats.org/officeDocument/2006/relationships/slideLayout" Target="../slideLayouts/slideLayout345.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92.xml"/><Relationship Id="rId13" Type="http://schemas.openxmlformats.org/officeDocument/2006/relationships/slideLayout" Target="../slideLayouts/slideLayout397.xml"/><Relationship Id="rId3" Type="http://schemas.openxmlformats.org/officeDocument/2006/relationships/slideLayout" Target="../slideLayouts/slideLayout387.xml"/><Relationship Id="rId7" Type="http://schemas.openxmlformats.org/officeDocument/2006/relationships/slideLayout" Target="../slideLayouts/slideLayout391.xml"/><Relationship Id="rId12" Type="http://schemas.openxmlformats.org/officeDocument/2006/relationships/slideLayout" Target="../slideLayouts/slideLayout396.xml"/><Relationship Id="rId2" Type="http://schemas.openxmlformats.org/officeDocument/2006/relationships/slideLayout" Target="../slideLayouts/slideLayout386.xml"/><Relationship Id="rId16" Type="http://schemas.openxmlformats.org/officeDocument/2006/relationships/theme" Target="../theme/theme16.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slideLayout" Target="../slideLayouts/slideLayout395.xml"/><Relationship Id="rId5" Type="http://schemas.openxmlformats.org/officeDocument/2006/relationships/slideLayout" Target="../slideLayouts/slideLayout389.xml"/><Relationship Id="rId15" Type="http://schemas.openxmlformats.org/officeDocument/2006/relationships/slideLayout" Target="../slideLayouts/slideLayout399.xml"/><Relationship Id="rId10" Type="http://schemas.openxmlformats.org/officeDocument/2006/relationships/slideLayout" Target="../slideLayouts/slideLayout394.xml"/><Relationship Id="rId4" Type="http://schemas.openxmlformats.org/officeDocument/2006/relationships/slideLayout" Target="../slideLayouts/slideLayout388.xml"/><Relationship Id="rId9" Type="http://schemas.openxmlformats.org/officeDocument/2006/relationships/slideLayout" Target="../slideLayouts/slideLayout393.xml"/><Relationship Id="rId14" Type="http://schemas.openxmlformats.org/officeDocument/2006/relationships/slideLayout" Target="../slideLayouts/slideLayout39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image" Target="../media/image7.png"/><Relationship Id="rId2" Type="http://schemas.openxmlformats.org/officeDocument/2006/relationships/slideLayout" Target="../slideLayouts/slideLayout47.xml"/><Relationship Id="rId16" Type="http://schemas.openxmlformats.org/officeDocument/2006/relationships/theme" Target="../theme/theme2.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oleObject" Target="../embeddings/oleObject2.bin"/><Relationship Id="rId21" Type="http://schemas.openxmlformats.org/officeDocument/2006/relationships/slideLayout" Target="../slideLayouts/slideLayout81.xml"/><Relationship Id="rId34" Type="http://schemas.openxmlformats.org/officeDocument/2006/relationships/slideLayout" Target="../slideLayouts/slideLayout94.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image" Target="../media/image9.png"/><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tags" Target="../tags/tag2.xml"/><Relationship Id="rId40" Type="http://schemas.openxmlformats.org/officeDocument/2006/relationships/image" Target="../media/image2.emf"/><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vmlDrawing" Target="../drawings/vmlDrawing2.v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theme" Target="../theme/theme3.xml"/><Relationship Id="rId8" Type="http://schemas.openxmlformats.org/officeDocument/2006/relationships/slideLayout" Target="../slideLayouts/slideLayout68.xml"/><Relationship Id="rId3"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4.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image" Target="../media/image21.png"/><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theme" Target="../theme/theme5.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image" Target="../media/image22.png"/><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8" Type="http://schemas.openxmlformats.org/officeDocument/2006/relationships/slideLayout" Target="../slideLayouts/slideLayout113.xml"/><Relationship Id="rId3" Type="http://schemas.openxmlformats.org/officeDocument/2006/relationships/slideLayout" Target="../slideLayouts/slideLayout10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vmlDrawing" Target="../drawings/vmlDrawing9.v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theme" Target="../theme/theme6.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29" Type="http://schemas.openxmlformats.org/officeDocument/2006/relationships/oleObject" Target="../embeddings/oleObject9.bin"/><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image" Target="../media/image35.png"/><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tags" Target="../tags/tag9.xml"/><Relationship Id="rId30" Type="http://schemas.openxmlformats.org/officeDocument/2006/relationships/image" Target="../media/image2.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heme" Target="../theme/theme7.xml"/><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6.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theme" Target="../theme/theme8.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0" Type="http://schemas.openxmlformats.org/officeDocument/2006/relationships/slideLayout" Target="../slideLayouts/slideLayout188.xml"/><Relationship Id="rId4" Type="http://schemas.openxmlformats.org/officeDocument/2006/relationships/slideLayout" Target="../slideLayouts/slideLayout182.xml"/><Relationship Id="rId9" Type="http://schemas.openxmlformats.org/officeDocument/2006/relationships/slideLayout" Target="../slideLayouts/slideLayout18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26" Type="http://schemas.openxmlformats.org/officeDocument/2006/relationships/theme" Target="../theme/theme9.xml"/><Relationship Id="rId3" Type="http://schemas.openxmlformats.org/officeDocument/2006/relationships/slideLayout" Target="../slideLayouts/slideLayout192.xml"/><Relationship Id="rId21" Type="http://schemas.openxmlformats.org/officeDocument/2006/relationships/slideLayout" Target="../slideLayouts/slideLayout210.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5" Type="http://schemas.openxmlformats.org/officeDocument/2006/relationships/slideLayout" Target="../slideLayouts/slideLayout214.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24" Type="http://schemas.openxmlformats.org/officeDocument/2006/relationships/slideLayout" Target="../slideLayouts/slideLayout213.xml"/><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slideLayout" Target="../slideLayouts/slideLayout212.xml"/><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slideLayout" Target="../slideLayouts/slideLayout2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252" tIns="91409" rIns="146252" bIns="9140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80"/>
            <a:ext cx="11653520" cy="2021791"/>
          </a:xfrm>
          <a:prstGeom prst="rect">
            <a:avLst/>
          </a:prstGeom>
        </p:spPr>
        <p:txBody>
          <a:bodyPr vert="horz" wrap="square" lIns="146252" tIns="91409" rIns="146252" bIns="91409"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769157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Lst>
  <p:transition>
    <p:fade/>
  </p:transition>
  <p:hf hdr="0" ftr="0" dt="0"/>
  <p:txStyles>
    <p:titleStyle>
      <a:lvl1pPr algn="l" defTabSz="914036"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3" marR="0" indent="-336023" algn="l" defTabSz="914036"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84" marR="0" indent="-236460" algn="l" defTabSz="91403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5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8069"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8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9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61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635"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654"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4036" rtl="0" eaLnBrk="1" latinLnBrk="0" hangingPunct="1">
        <a:defRPr sz="1765" kern="1200">
          <a:solidFill>
            <a:schemeClr val="tx1"/>
          </a:solidFill>
          <a:latin typeface="+mn-lt"/>
          <a:ea typeface="+mn-ea"/>
          <a:cs typeface="+mn-cs"/>
        </a:defRPr>
      </a:lvl1pPr>
      <a:lvl2pPr marL="457019" algn="l" defTabSz="914036" rtl="0" eaLnBrk="1" latinLnBrk="0" hangingPunct="1">
        <a:defRPr sz="1765" kern="1200">
          <a:solidFill>
            <a:schemeClr val="tx1"/>
          </a:solidFill>
          <a:latin typeface="+mn-lt"/>
          <a:ea typeface="+mn-ea"/>
          <a:cs typeface="+mn-cs"/>
        </a:defRPr>
      </a:lvl2pPr>
      <a:lvl3pPr marL="914036" algn="l" defTabSz="914036" rtl="0" eaLnBrk="1" latinLnBrk="0" hangingPunct="1">
        <a:defRPr sz="1765" kern="1200">
          <a:solidFill>
            <a:schemeClr val="tx1"/>
          </a:solidFill>
          <a:latin typeface="+mn-lt"/>
          <a:ea typeface="+mn-ea"/>
          <a:cs typeface="+mn-cs"/>
        </a:defRPr>
      </a:lvl3pPr>
      <a:lvl4pPr marL="1371054" algn="l" defTabSz="914036" rtl="0" eaLnBrk="1" latinLnBrk="0" hangingPunct="1">
        <a:defRPr sz="1765" kern="1200">
          <a:solidFill>
            <a:schemeClr val="tx1"/>
          </a:solidFill>
          <a:latin typeface="+mn-lt"/>
          <a:ea typeface="+mn-ea"/>
          <a:cs typeface="+mn-cs"/>
        </a:defRPr>
      </a:lvl4pPr>
      <a:lvl5pPr marL="1828070" algn="l" defTabSz="914036" rtl="0" eaLnBrk="1" latinLnBrk="0" hangingPunct="1">
        <a:defRPr sz="1765" kern="1200">
          <a:solidFill>
            <a:schemeClr val="tx1"/>
          </a:solidFill>
          <a:latin typeface="+mn-lt"/>
          <a:ea typeface="+mn-ea"/>
          <a:cs typeface="+mn-cs"/>
        </a:defRPr>
      </a:lvl5pPr>
      <a:lvl6pPr marL="2285090" algn="l" defTabSz="914036" rtl="0" eaLnBrk="1" latinLnBrk="0" hangingPunct="1">
        <a:defRPr sz="1765" kern="1200">
          <a:solidFill>
            <a:schemeClr val="tx1"/>
          </a:solidFill>
          <a:latin typeface="+mn-lt"/>
          <a:ea typeface="+mn-ea"/>
          <a:cs typeface="+mn-cs"/>
        </a:defRPr>
      </a:lvl6pPr>
      <a:lvl7pPr marL="2742107" algn="l" defTabSz="914036" rtl="0" eaLnBrk="1" latinLnBrk="0" hangingPunct="1">
        <a:defRPr sz="1765" kern="1200">
          <a:solidFill>
            <a:schemeClr val="tx1"/>
          </a:solidFill>
          <a:latin typeface="+mn-lt"/>
          <a:ea typeface="+mn-ea"/>
          <a:cs typeface="+mn-cs"/>
        </a:defRPr>
      </a:lvl7pPr>
      <a:lvl8pPr marL="3199126" algn="l" defTabSz="914036" rtl="0" eaLnBrk="1" latinLnBrk="0" hangingPunct="1">
        <a:defRPr sz="1765" kern="1200">
          <a:solidFill>
            <a:schemeClr val="tx1"/>
          </a:solidFill>
          <a:latin typeface="+mn-lt"/>
          <a:ea typeface="+mn-ea"/>
          <a:cs typeface="+mn-cs"/>
        </a:defRPr>
      </a:lvl8pPr>
      <a:lvl9pPr marL="3656145" algn="l" defTabSz="914036"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71" y="228601"/>
            <a:ext cx="11137694" cy="5539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31952" y="1371600"/>
            <a:ext cx="11137693" cy="143475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4"/>
          </p:nvPr>
        </p:nvSpPr>
        <p:spPr>
          <a:xfrm>
            <a:off x="11501658" y="6492876"/>
            <a:ext cx="683172" cy="365125"/>
          </a:xfrm>
          <a:prstGeom prst="rect">
            <a:avLst/>
          </a:prstGeom>
        </p:spPr>
        <p:txBody>
          <a:bodyPr vert="horz" wrap="none" lIns="91440" tIns="45720" rIns="91440" bIns="45720" rtlCol="0" anchor="ctr"/>
          <a:lstStyle>
            <a:lvl1pPr algn="r">
              <a:defRPr sz="1200">
                <a:solidFill>
                  <a:schemeClr val="accent2"/>
                </a:solidFill>
              </a:defRPr>
            </a:lvl1pPr>
          </a:lstStyle>
          <a:p>
            <a:r>
              <a:rPr lang="en-US" dirty="0" smtClean="0">
                <a:solidFill>
                  <a:srgbClr val="00188F"/>
                </a:solidFill>
              </a:rPr>
              <a:t>|  </a:t>
            </a:r>
            <a:fld id="{4CED8391-71CF-4FD3-A093-40D26DE2D47C}" type="slidenum">
              <a:rPr lang="en-US" smtClean="0">
                <a:solidFill>
                  <a:srgbClr val="00188F"/>
                </a:solidFill>
              </a:rPr>
              <a:pPr/>
              <a:t>‹#›</a:t>
            </a:fld>
            <a:endParaRPr lang="en-US" dirty="0">
              <a:solidFill>
                <a:srgbClr val="00188F"/>
              </a:solidFill>
            </a:endParaRPr>
          </a:p>
        </p:txBody>
      </p:sp>
    </p:spTree>
    <p:extLst>
      <p:ext uri="{BB962C8B-B14F-4D97-AF65-F5344CB8AC3E}">
        <p14:creationId xmlns:p14="http://schemas.microsoft.com/office/powerpoint/2010/main" val="2589298960"/>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 id="2147483934" r:id="rId22"/>
    <p:sldLayoutId id="2147483935" r:id="rId23"/>
    <p:sldLayoutId id="2147483936" r:id="rId24"/>
    <p:sldLayoutId id="2147483937" r:id="rId25"/>
  </p:sldLayoutIdLst>
  <p:transition>
    <p:fade/>
  </p:transition>
  <p:txStyles>
    <p:titleStyle>
      <a:lvl1pPr algn="l" defTabSz="686047" rtl="0" eaLnBrk="1" latinLnBrk="0" hangingPunct="1">
        <a:lnSpc>
          <a:spcPct val="90000"/>
        </a:lnSpc>
        <a:spcBef>
          <a:spcPct val="0"/>
        </a:spcBef>
        <a:buNone/>
        <a:defRPr lang="en-US" sz="40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6047" rtl="0" eaLnBrk="1" latinLnBrk="0" hangingPunct="1">
        <a:lnSpc>
          <a:spcPct val="90000"/>
        </a:lnSpc>
        <a:spcBef>
          <a:spcPts val="1800"/>
        </a:spcBef>
        <a:buSzPct val="90000"/>
        <a:buFont typeface="Wingdings" pitchFamily="2" charset="2"/>
        <a:buNone/>
        <a:defRPr sz="3200" kern="4000" spc="-100" baseline="0">
          <a:gradFill>
            <a:gsLst>
              <a:gs pos="0">
                <a:schemeClr val="accent2"/>
              </a:gs>
              <a:gs pos="100000">
                <a:schemeClr val="accent2"/>
              </a:gs>
            </a:gsLst>
            <a:lin ang="5400000" scaled="0"/>
          </a:gradFill>
          <a:latin typeface="+mj-lt"/>
          <a:ea typeface="+mn-ea"/>
          <a:cs typeface="+mn-cs"/>
        </a:defRPr>
      </a:lvl1pPr>
      <a:lvl2pPr marL="0" indent="0" algn="l" defTabSz="686047" rtl="0" eaLnBrk="1" latinLnBrk="0" hangingPunct="1">
        <a:lnSpc>
          <a:spcPct val="90000"/>
        </a:lnSpc>
        <a:spcBef>
          <a:spcPts val="100"/>
        </a:spcBef>
        <a:spcAft>
          <a:spcPts val="600"/>
        </a:spcAft>
        <a:buSzPct val="90000"/>
        <a:buFont typeface="Arial" pitchFamily="34" charset="0"/>
        <a:buNone/>
        <a:tabLst>
          <a:tab pos="472868" algn="l"/>
        </a:tabLst>
        <a:defRPr sz="18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6047" rtl="0" eaLnBrk="1" latinLnBrk="0" hangingPunct="1">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600"/>
        </a:spcAft>
        <a:buSzPct val="90000"/>
        <a:buFont typeface="Arial" pitchFamily="34" charset="0"/>
        <a:buNone/>
        <a:tabLst>
          <a:tab pos="686074" algn="l"/>
        </a:tabLst>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600"/>
        </a:spcAft>
        <a:buSzPct val="90000"/>
        <a:buFont typeface="Arial" pitchFamily="34" charset="0"/>
        <a:buNone/>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71" y="228601"/>
            <a:ext cx="11137694" cy="5539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31952" y="1371600"/>
            <a:ext cx="11137693" cy="143475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4"/>
          </p:nvPr>
        </p:nvSpPr>
        <p:spPr>
          <a:xfrm>
            <a:off x="11501658" y="6492876"/>
            <a:ext cx="683172" cy="365125"/>
          </a:xfrm>
          <a:prstGeom prst="rect">
            <a:avLst/>
          </a:prstGeom>
        </p:spPr>
        <p:txBody>
          <a:bodyPr vert="horz" wrap="none" lIns="91440" tIns="45720" rIns="91440" bIns="45720" rtlCol="0" anchor="ctr"/>
          <a:lstStyle>
            <a:lvl1pPr algn="r">
              <a:defRPr sz="1200">
                <a:solidFill>
                  <a:schemeClr val="accent2"/>
                </a:solidFill>
              </a:defRPr>
            </a:lvl1pPr>
          </a:lstStyle>
          <a:p>
            <a:r>
              <a:rPr lang="en-US" dirty="0" smtClean="0">
                <a:solidFill>
                  <a:srgbClr val="8DC548"/>
                </a:solidFill>
              </a:rPr>
              <a:t>|  </a:t>
            </a:r>
            <a:fld id="{4CED8391-71CF-4FD3-A093-40D26DE2D47C}" type="slidenum">
              <a:rPr lang="en-US" smtClean="0">
                <a:solidFill>
                  <a:srgbClr val="8DC548"/>
                </a:solidFill>
              </a:rPr>
              <a:pPr/>
              <a:t>‹#›</a:t>
            </a:fld>
            <a:endParaRPr lang="en-US" dirty="0">
              <a:solidFill>
                <a:srgbClr val="8DC548"/>
              </a:solidFill>
            </a:endParaRPr>
          </a:p>
        </p:txBody>
      </p:sp>
    </p:spTree>
    <p:extLst>
      <p:ext uri="{BB962C8B-B14F-4D97-AF65-F5344CB8AC3E}">
        <p14:creationId xmlns:p14="http://schemas.microsoft.com/office/powerpoint/2010/main" val="1778887106"/>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 id="2147483960" r:id="rId22"/>
    <p:sldLayoutId id="2147483961" r:id="rId23"/>
    <p:sldLayoutId id="2147483962" r:id="rId24"/>
    <p:sldLayoutId id="2147483963" r:id="rId25"/>
    <p:sldLayoutId id="2147483964" r:id="rId26"/>
  </p:sldLayoutIdLst>
  <p:transition>
    <p:fade/>
  </p:transition>
  <p:txStyles>
    <p:titleStyle>
      <a:lvl1pPr algn="l" defTabSz="686047" rtl="0" eaLnBrk="1" latinLnBrk="0" hangingPunct="1">
        <a:lnSpc>
          <a:spcPct val="90000"/>
        </a:lnSpc>
        <a:spcBef>
          <a:spcPct val="0"/>
        </a:spcBef>
        <a:buNone/>
        <a:defRPr lang="en-US" sz="40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6047" rtl="0" eaLnBrk="1" latinLnBrk="0" hangingPunct="1">
        <a:lnSpc>
          <a:spcPct val="90000"/>
        </a:lnSpc>
        <a:spcBef>
          <a:spcPts val="1800"/>
        </a:spcBef>
        <a:buSzPct val="90000"/>
        <a:buFont typeface="Wingdings" pitchFamily="2" charset="2"/>
        <a:buNone/>
        <a:defRPr sz="3200" kern="4000" spc="-100" baseline="0">
          <a:gradFill>
            <a:gsLst>
              <a:gs pos="0">
                <a:schemeClr val="accent2"/>
              </a:gs>
              <a:gs pos="100000">
                <a:schemeClr val="accent2"/>
              </a:gs>
            </a:gsLst>
            <a:lin ang="5400000" scaled="0"/>
          </a:gradFill>
          <a:latin typeface="+mj-lt"/>
          <a:ea typeface="+mn-ea"/>
          <a:cs typeface="+mn-cs"/>
        </a:defRPr>
      </a:lvl1pPr>
      <a:lvl2pPr marL="0" indent="0" algn="l" defTabSz="686047" rtl="0" eaLnBrk="1" latinLnBrk="0" hangingPunct="1">
        <a:lnSpc>
          <a:spcPct val="90000"/>
        </a:lnSpc>
        <a:spcBef>
          <a:spcPts val="100"/>
        </a:spcBef>
        <a:spcAft>
          <a:spcPts val="600"/>
        </a:spcAft>
        <a:buSzPct val="90000"/>
        <a:buFont typeface="Arial" pitchFamily="34" charset="0"/>
        <a:buNone/>
        <a:tabLst>
          <a:tab pos="472868" algn="l"/>
        </a:tabLst>
        <a:defRPr sz="18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6047" rtl="0" eaLnBrk="1" latinLnBrk="0" hangingPunct="1">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600"/>
        </a:spcAft>
        <a:buSzPct val="90000"/>
        <a:buFont typeface="Arial" pitchFamily="34" charset="0"/>
        <a:buNone/>
        <a:tabLst>
          <a:tab pos="686074" algn="l"/>
        </a:tabLst>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600"/>
        </a:spcAft>
        <a:buSzPct val="90000"/>
        <a:buFont typeface="Arial" pitchFamily="34" charset="0"/>
        <a:buNone/>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71" y="228601"/>
            <a:ext cx="11137694" cy="5539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31952" y="1371600"/>
            <a:ext cx="11137693" cy="143475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4"/>
          </p:nvPr>
        </p:nvSpPr>
        <p:spPr>
          <a:xfrm>
            <a:off x="11501658" y="6492876"/>
            <a:ext cx="683172" cy="365125"/>
          </a:xfrm>
          <a:prstGeom prst="rect">
            <a:avLst/>
          </a:prstGeom>
        </p:spPr>
        <p:txBody>
          <a:bodyPr vert="horz" wrap="none" lIns="91440" tIns="45720" rIns="91440" bIns="45720" rtlCol="0" anchor="ctr"/>
          <a:lstStyle>
            <a:lvl1pPr algn="r">
              <a:defRPr sz="1200">
                <a:solidFill>
                  <a:schemeClr val="accent2"/>
                </a:solidFill>
              </a:defRPr>
            </a:lvl1pPr>
          </a:lstStyle>
          <a:p>
            <a:r>
              <a:rPr lang="en-US" dirty="0" smtClean="0">
                <a:solidFill>
                  <a:srgbClr val="00188F"/>
                </a:solidFill>
              </a:rPr>
              <a:t>|  </a:t>
            </a:r>
            <a:fld id="{4CED8391-71CF-4FD3-A093-40D26DE2D47C}" type="slidenum">
              <a:rPr lang="en-US" smtClean="0">
                <a:solidFill>
                  <a:srgbClr val="00188F"/>
                </a:solidFill>
              </a:rPr>
              <a:pPr/>
              <a:t>‹#›</a:t>
            </a:fld>
            <a:endParaRPr lang="en-US" dirty="0">
              <a:solidFill>
                <a:srgbClr val="00188F"/>
              </a:solidFill>
            </a:endParaRPr>
          </a:p>
        </p:txBody>
      </p:sp>
    </p:spTree>
    <p:extLst>
      <p:ext uri="{BB962C8B-B14F-4D97-AF65-F5344CB8AC3E}">
        <p14:creationId xmlns:p14="http://schemas.microsoft.com/office/powerpoint/2010/main" val="4185042176"/>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Lst>
  <p:transition>
    <p:fade/>
  </p:transition>
  <p:txStyles>
    <p:titleStyle>
      <a:lvl1pPr algn="l" defTabSz="686047" rtl="0" eaLnBrk="1" latinLnBrk="0" hangingPunct="1">
        <a:lnSpc>
          <a:spcPct val="90000"/>
        </a:lnSpc>
        <a:spcBef>
          <a:spcPct val="0"/>
        </a:spcBef>
        <a:buNone/>
        <a:defRPr lang="en-US" sz="40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6047" rtl="0" eaLnBrk="1" latinLnBrk="0" hangingPunct="1">
        <a:lnSpc>
          <a:spcPct val="90000"/>
        </a:lnSpc>
        <a:spcBef>
          <a:spcPts val="1800"/>
        </a:spcBef>
        <a:buSzPct val="90000"/>
        <a:buFont typeface="Wingdings" pitchFamily="2" charset="2"/>
        <a:buNone/>
        <a:defRPr sz="3200" kern="4000" spc="-100" baseline="0">
          <a:gradFill>
            <a:gsLst>
              <a:gs pos="0">
                <a:schemeClr val="accent2"/>
              </a:gs>
              <a:gs pos="100000">
                <a:schemeClr val="accent2"/>
              </a:gs>
            </a:gsLst>
            <a:lin ang="5400000" scaled="0"/>
          </a:gradFill>
          <a:latin typeface="+mj-lt"/>
          <a:ea typeface="+mn-ea"/>
          <a:cs typeface="+mn-cs"/>
        </a:defRPr>
      </a:lvl1pPr>
      <a:lvl2pPr marL="0" indent="0" algn="l" defTabSz="686047" rtl="0" eaLnBrk="1" latinLnBrk="0" hangingPunct="1">
        <a:lnSpc>
          <a:spcPct val="90000"/>
        </a:lnSpc>
        <a:spcBef>
          <a:spcPts val="100"/>
        </a:spcBef>
        <a:spcAft>
          <a:spcPts val="600"/>
        </a:spcAft>
        <a:buSzPct val="90000"/>
        <a:buFont typeface="Arial" pitchFamily="34" charset="0"/>
        <a:buNone/>
        <a:tabLst>
          <a:tab pos="472868" algn="l"/>
        </a:tabLst>
        <a:defRPr sz="18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6047" rtl="0" eaLnBrk="1" latinLnBrk="0" hangingPunct="1">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600"/>
        </a:spcAft>
        <a:buSzPct val="90000"/>
        <a:buFont typeface="Arial" pitchFamily="34" charset="0"/>
        <a:buNone/>
        <a:tabLst>
          <a:tab pos="686074" algn="l"/>
        </a:tabLst>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600"/>
        </a:spcAft>
        <a:buSzPct val="90000"/>
        <a:buFont typeface="Arial" pitchFamily="34" charset="0"/>
        <a:buNone/>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5"/>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387" name="think-cell Slide" r:id="rId26" imgW="377" imgH="377" progId="TCLayout.ActiveDocument.1">
                  <p:embed/>
                </p:oleObj>
              </mc:Choice>
              <mc:Fallback>
                <p:oleObj name="think-cell Slide" r:id="rId26" imgW="377" imgH="377" progId="TCLayout.ActiveDocument.1">
                  <p:embed/>
                  <p:pic>
                    <p:nvPicPr>
                      <p:cNvPr id="3" name="Object 2" hidden="1"/>
                      <p:cNvPicPr/>
                      <p:nvPr/>
                    </p:nvPicPr>
                    <p:blipFill>
                      <a:blip r:embed="rId27"/>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3" y="1189178"/>
            <a:ext cx="11653521" cy="2074286"/>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963619608"/>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 id="2147484006" r:id="rId15"/>
    <p:sldLayoutId id="2147484007" r:id="rId16"/>
    <p:sldLayoutId id="2147484008" r:id="rId17"/>
    <p:sldLayoutId id="2147484009" r:id="rId18"/>
    <p:sldLayoutId id="2147484010" r:id="rId19"/>
    <p:sldLayoutId id="2147484011" r:id="rId20"/>
    <p:sldLayoutId id="2147484012" r:id="rId21"/>
    <p:sldLayoutId id="2147484013" r:id="rId22"/>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rgbClr val="595959"/>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595959"/>
          </a:soli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595959"/>
          </a:soli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595959"/>
          </a:soli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595959"/>
          </a:soli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595959"/>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68">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520">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058339727"/>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 id="2147484026" r:id="rId12"/>
    <p:sldLayoutId id="2147484027" r:id="rId13"/>
    <p:sldLayoutId id="2147484028" r:id="rId14"/>
    <p:sldLayoutId id="2147484029" r:id="rId15"/>
    <p:sldLayoutId id="2147484030" r:id="rId16"/>
    <p:sldLayoutId id="2147484031" r:id="rId17"/>
    <p:sldLayoutId id="2147484032" r:id="rId18"/>
    <p:sldLayoutId id="2147484033" r:id="rId19"/>
    <p:sldLayoutId id="2147484034" r:id="rId20"/>
    <p:sldLayoutId id="2147484035" r:id="rId21"/>
    <p:sldLayoutId id="2147484036" r:id="rId22"/>
    <p:sldLayoutId id="2147484037" r:id="rId23"/>
    <p:sldLayoutId id="2147484038" r:id="rId24"/>
    <p:sldLayoutId id="2147484039" r:id="rId25"/>
    <p:sldLayoutId id="2147484040" r:id="rId26"/>
    <p:sldLayoutId id="2147484041" r:id="rId27"/>
    <p:sldLayoutId id="2147484042" r:id="rId28"/>
    <p:sldLayoutId id="2147484043" r:id="rId29"/>
    <p:sldLayoutId id="2147484044"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44"/>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308544443"/>
      </p:ext>
    </p:extLst>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 id="2147484056" r:id="rId11"/>
    <p:sldLayoutId id="2147484057" r:id="rId12"/>
    <p:sldLayoutId id="2147484058" r:id="rId13"/>
    <p:sldLayoutId id="2147484059" r:id="rId14"/>
    <p:sldLayoutId id="2147484060" r:id="rId15"/>
    <p:sldLayoutId id="2147484061" r:id="rId16"/>
    <p:sldLayoutId id="2147484062" r:id="rId17"/>
    <p:sldLayoutId id="2147484063" r:id="rId18"/>
    <p:sldLayoutId id="2147484064" r:id="rId19"/>
    <p:sldLayoutId id="2147484065" r:id="rId20"/>
    <p:sldLayoutId id="2147484066" r:id="rId21"/>
    <p:sldLayoutId id="2147484067" r:id="rId22"/>
    <p:sldLayoutId id="2147484068" r:id="rId23"/>
    <p:sldLayoutId id="2147484069" r:id="rId24"/>
    <p:sldLayoutId id="2147484070" r:id="rId25"/>
    <p:sldLayoutId id="2147484071" r:id="rId26"/>
    <p:sldLayoutId id="2147484072" r:id="rId27"/>
    <p:sldLayoutId id="2147484073" r:id="rId28"/>
    <p:sldLayoutId id="2147484074" r:id="rId29"/>
    <p:sldLayoutId id="2147484075" r:id="rId30"/>
    <p:sldLayoutId id="2147484076" r:id="rId31"/>
    <p:sldLayoutId id="2147484077" r:id="rId32"/>
    <p:sldLayoutId id="2147484078" r:id="rId33"/>
    <p:sldLayoutId id="2147484079" r:id="rId34"/>
    <p:sldLayoutId id="2147484080" r:id="rId35"/>
    <p:sldLayoutId id="2147484081" r:id="rId36"/>
    <p:sldLayoutId id="2147484082" r:id="rId37"/>
    <p:sldLayoutId id="2147484083" r:id="rId38"/>
    <p:sldLayoutId id="2147484084" r:id="rId39"/>
    <p:sldLayoutId id="2147484085" r:id="rId40"/>
    <p:sldLayoutId id="2147484086" r:id="rId41"/>
    <p:sldLayoutId id="2147484087" r:id="rId4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4817335"/>
      </p:ext>
    </p:extLst>
  </p:cSld>
  <p:clrMap bg1="lt1" tx1="dk1" bg2="lt2" tx2="dk2" accent1="accent1" accent2="accent2" accent3="accent3" accent4="accent4" accent5="accent5" accent6="accent6" hlink="hlink" folHlink="folHlink"/>
  <p:sldLayoutIdLst>
    <p:sldLayoutId id="2147484089" r:id="rId1"/>
    <p:sldLayoutId id="2147484090" r:id="rId2"/>
    <p:sldLayoutId id="2147484091" r:id="rId3"/>
    <p:sldLayoutId id="2147484092" r:id="rId4"/>
    <p:sldLayoutId id="2147484093" r:id="rId5"/>
    <p:sldLayoutId id="2147484094" r:id="rId6"/>
    <p:sldLayoutId id="2147484095" r:id="rId7"/>
    <p:sldLayoutId id="2147484096" r:id="rId8"/>
    <p:sldLayoutId id="2147484097" r:id="rId9"/>
    <p:sldLayoutId id="2147484098" r:id="rId10"/>
    <p:sldLayoutId id="2147484099" r:id="rId11"/>
    <p:sldLayoutId id="2147484100" r:id="rId12"/>
    <p:sldLayoutId id="2147484101" r:id="rId13"/>
    <p:sldLayoutId id="2147484102" r:id="rId14"/>
    <p:sldLayoutId id="214748410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72996494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graphicFrame>
        <p:nvGraphicFramePr>
          <p:cNvPr id="6" name="Object 5" hidden="1"/>
          <p:cNvGraphicFramePr>
            <a:graphicFrameLocks noChangeAspect="1"/>
          </p:cNvGraphicFramePr>
          <p:nvPr>
            <p:custDataLst>
              <p:tags r:id="rId3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1" name="think-cell Slide" r:id="rId39" imgW="270" imgH="270" progId="TCLayout.ActiveDocument.1">
                  <p:embed/>
                </p:oleObj>
              </mc:Choice>
              <mc:Fallback>
                <p:oleObj name="think-cell Slide" r:id="rId39" imgW="270" imgH="270" progId="TCLayout.ActiveDocument.1">
                  <p:embed/>
                  <p:pic>
                    <p:nvPicPr>
                      <p:cNvPr id="6" name="Object 5" hidden="1"/>
                      <p:cNvPicPr/>
                      <p:nvPr/>
                    </p:nvPicPr>
                    <p:blipFill>
                      <a:blip r:embed="rId40"/>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21812737"/>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Lst>
  <p:transition>
    <p:fade/>
  </p:transition>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guide id="27" pos="7450">
          <p15:clr>
            <a:srgbClr val="F26B43"/>
          </p15:clr>
        </p15:guide>
        <p15:guide id="28" orient="horz" pos="1056">
          <p15:clr>
            <a:srgbClr val="F26B43"/>
          </p15:clr>
        </p15:guide>
        <p15:guide id="29" pos="45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673993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9"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68564965"/>
      </p:ext>
    </p:extLst>
  </p:cSld>
  <p:clrMap bg1="dk1" tx1="lt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 id="2147483823" r:id="rId26"/>
    <p:sldLayoutId id="2147483824" r:id="rId27"/>
    <p:sldLayoutId id="2147483825" r:id="rId28"/>
    <p:sldLayoutId id="2147483826" r:id="rId29"/>
    <p:sldLayoutId id="2147483827" r:id="rId30"/>
    <p:sldLayoutId id="2147483828" r:id="rId31"/>
    <p:sldLayoutId id="2147483829" r:id="rId32"/>
    <p:sldLayoutId id="2147483830" r:id="rId33"/>
    <p:sldLayoutId id="2147483831" r:id="rId34"/>
    <p:sldLayoutId id="2147483832" r:id="rId35"/>
    <p:sldLayoutId id="2147483833" r:id="rId36"/>
    <p:sldLayoutId id="2147483834" r:id="rId37"/>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rot="5400000">
            <a:off x="10325052" y="1906414"/>
            <a:ext cx="4214127" cy="401304"/>
          </a:xfrm>
          <a:prstGeom prst="rect">
            <a:avLst/>
          </a:prstGeom>
        </p:spPr>
      </p:pic>
      <p:graphicFrame>
        <p:nvGraphicFramePr>
          <p:cNvPr id="6" name="Object 5" hidden="1"/>
          <p:cNvGraphicFramePr>
            <a:graphicFrameLocks noChangeAspect="1"/>
          </p:cNvGraphicFramePr>
          <p:nvPr>
            <p:custDataLst>
              <p:tags r:id="rId2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360" name="think-cell Slide" r:id="rId29" imgW="270" imgH="270" progId="TCLayout.ActiveDocument.1">
                  <p:embed/>
                </p:oleObj>
              </mc:Choice>
              <mc:Fallback>
                <p:oleObj name="think-cell Slide" r:id="rId29" imgW="270" imgH="270" progId="TCLayout.ActiveDocument.1">
                  <p:embed/>
                  <p:pic>
                    <p:nvPicPr>
                      <p:cNvPr id="6" name="Object 5" hidden="1"/>
                      <p:cNvPicPr/>
                      <p:nvPr/>
                    </p:nvPicPr>
                    <p:blipFill>
                      <a:blip r:embed="rId30"/>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427368464"/>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 id="2147483859" r:id="rId23"/>
    <p:sldLayoutId id="2147483860" r:id="rId24"/>
  </p:sldLayoutIdLst>
  <p:transition>
    <p:fade/>
  </p:transition>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guide id="27" pos="7450">
          <p15:clr>
            <a:srgbClr val="F26B43"/>
          </p15:clr>
        </p15:guide>
        <p15:guide id="28" orient="horz" pos="1056">
          <p15:clr>
            <a:srgbClr val="F26B43"/>
          </p15:clr>
        </p15:guide>
        <p15:guide id="29" pos="45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67848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0844918"/>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71" y="228601"/>
            <a:ext cx="11137694" cy="5539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31952" y="1371600"/>
            <a:ext cx="11137693" cy="143475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4"/>
          </p:nvPr>
        </p:nvSpPr>
        <p:spPr>
          <a:xfrm>
            <a:off x="11501658" y="6492876"/>
            <a:ext cx="683172" cy="365125"/>
          </a:xfrm>
          <a:prstGeom prst="rect">
            <a:avLst/>
          </a:prstGeom>
        </p:spPr>
        <p:txBody>
          <a:bodyPr vert="horz" wrap="none" lIns="91440" tIns="45720" rIns="91440" bIns="45720" rtlCol="0" anchor="ctr"/>
          <a:lstStyle>
            <a:lvl1pPr algn="r">
              <a:defRPr sz="1200">
                <a:solidFill>
                  <a:schemeClr val="accent2"/>
                </a:solidFill>
              </a:defRPr>
            </a:lvl1pPr>
          </a:lstStyle>
          <a:p>
            <a:r>
              <a:rPr lang="en-US" dirty="0" smtClean="0">
                <a:solidFill>
                  <a:srgbClr val="8DC548"/>
                </a:solidFill>
              </a:rPr>
              <a:t>|  </a:t>
            </a:r>
            <a:fld id="{4CED8391-71CF-4FD3-A093-40D26DE2D47C}" type="slidenum">
              <a:rPr lang="en-US" smtClean="0">
                <a:solidFill>
                  <a:srgbClr val="8DC548"/>
                </a:solidFill>
              </a:rPr>
              <a:pPr/>
              <a:t>‹#›</a:t>
            </a:fld>
            <a:endParaRPr lang="en-US" dirty="0">
              <a:solidFill>
                <a:srgbClr val="8DC548"/>
              </a:solidFill>
            </a:endParaRPr>
          </a:p>
        </p:txBody>
      </p:sp>
    </p:spTree>
    <p:extLst>
      <p:ext uri="{BB962C8B-B14F-4D97-AF65-F5344CB8AC3E}">
        <p14:creationId xmlns:p14="http://schemas.microsoft.com/office/powerpoint/2010/main" val="68140835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 id="2147483907" r:id="rId21"/>
    <p:sldLayoutId id="2147483908" r:id="rId22"/>
    <p:sldLayoutId id="2147483909" r:id="rId23"/>
    <p:sldLayoutId id="2147483910" r:id="rId24"/>
    <p:sldLayoutId id="2147483911" r:id="rId25"/>
  </p:sldLayoutIdLst>
  <p:transition>
    <p:fade/>
  </p:transition>
  <p:txStyles>
    <p:titleStyle>
      <a:lvl1pPr algn="l" defTabSz="686047" rtl="0" eaLnBrk="1" latinLnBrk="0" hangingPunct="1">
        <a:lnSpc>
          <a:spcPct val="90000"/>
        </a:lnSpc>
        <a:spcBef>
          <a:spcPct val="0"/>
        </a:spcBef>
        <a:buNone/>
        <a:defRPr lang="en-US" sz="40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6047" rtl="0" eaLnBrk="1" latinLnBrk="0" hangingPunct="1">
        <a:lnSpc>
          <a:spcPct val="90000"/>
        </a:lnSpc>
        <a:spcBef>
          <a:spcPts val="1800"/>
        </a:spcBef>
        <a:buSzPct val="90000"/>
        <a:buFont typeface="Wingdings" pitchFamily="2" charset="2"/>
        <a:buNone/>
        <a:defRPr sz="3200" kern="4000" spc="-100" baseline="0">
          <a:gradFill>
            <a:gsLst>
              <a:gs pos="0">
                <a:schemeClr val="accent2"/>
              </a:gs>
              <a:gs pos="100000">
                <a:schemeClr val="accent2"/>
              </a:gs>
            </a:gsLst>
            <a:lin ang="5400000" scaled="0"/>
          </a:gradFill>
          <a:latin typeface="+mj-lt"/>
          <a:ea typeface="+mn-ea"/>
          <a:cs typeface="+mn-cs"/>
        </a:defRPr>
      </a:lvl1pPr>
      <a:lvl2pPr marL="0" indent="0" algn="l" defTabSz="686047" rtl="0" eaLnBrk="1" latinLnBrk="0" hangingPunct="1">
        <a:lnSpc>
          <a:spcPct val="90000"/>
        </a:lnSpc>
        <a:spcBef>
          <a:spcPts val="100"/>
        </a:spcBef>
        <a:spcAft>
          <a:spcPts val="600"/>
        </a:spcAft>
        <a:buSzPct val="90000"/>
        <a:buFont typeface="Arial" pitchFamily="34" charset="0"/>
        <a:buNone/>
        <a:tabLst>
          <a:tab pos="472868" algn="l"/>
        </a:tabLst>
        <a:defRPr sz="18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6047" rtl="0" eaLnBrk="1" latinLnBrk="0" hangingPunct="1">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600"/>
        </a:spcAft>
        <a:buSzPct val="90000"/>
        <a:buFont typeface="Arial" pitchFamily="34" charset="0"/>
        <a:buNone/>
        <a:tabLst>
          <a:tab pos="686074" algn="l"/>
        </a:tabLst>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600"/>
        </a:spcAft>
        <a:buSzPct val="90000"/>
        <a:buFont typeface="Arial" pitchFamily="34" charset="0"/>
        <a:buNone/>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6.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7.xml"/><Relationship Id="rId7" Type="http://schemas.openxmlformats.org/officeDocument/2006/relationships/image" Target="../media/image2.emf"/><Relationship Id="rId2" Type="http://schemas.openxmlformats.org/officeDocument/2006/relationships/tags" Target="../tags/tag52.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image" Target="../media/image64.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emf"/><Relationship Id="rId18" Type="http://schemas.openxmlformats.org/officeDocument/2006/relationships/image" Target="../media/image80.png"/><Relationship Id="rId3" Type="http://schemas.openxmlformats.org/officeDocument/2006/relationships/image" Target="../media/image65.png"/><Relationship Id="rId21" Type="http://schemas.openxmlformats.org/officeDocument/2006/relationships/image" Target="../media/image83.png"/><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 Type="http://schemas.openxmlformats.org/officeDocument/2006/relationships/notesSlide" Target="../notesSlides/notesSlide11.xml"/><Relationship Id="rId16" Type="http://schemas.openxmlformats.org/officeDocument/2006/relationships/image" Target="../media/image78.png"/><Relationship Id="rId20" Type="http://schemas.openxmlformats.org/officeDocument/2006/relationships/image" Target="../media/image82.png"/><Relationship Id="rId1" Type="http://schemas.openxmlformats.org/officeDocument/2006/relationships/slideLayout" Target="../slideLayouts/slideLayout204.xml"/><Relationship Id="rId6" Type="http://schemas.openxmlformats.org/officeDocument/2006/relationships/image" Target="../media/image68.png"/><Relationship Id="rId11" Type="http://schemas.openxmlformats.org/officeDocument/2006/relationships/image" Target="../media/image73.png"/><Relationship Id="rId24" Type="http://schemas.openxmlformats.org/officeDocument/2006/relationships/image" Target="../media/image86.emf"/><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5.png"/><Relationship Id="rId10" Type="http://schemas.openxmlformats.org/officeDocument/2006/relationships/image" Target="../media/image72.emf"/><Relationship Id="rId19" Type="http://schemas.openxmlformats.org/officeDocument/2006/relationships/image" Target="../media/image81.png"/><Relationship Id="rId4" Type="http://schemas.openxmlformats.org/officeDocument/2006/relationships/image" Target="../media/image66.png"/><Relationship Id="rId9" Type="http://schemas.openxmlformats.org/officeDocument/2006/relationships/image" Target="../media/image71.emf"/><Relationship Id="rId14" Type="http://schemas.openxmlformats.org/officeDocument/2006/relationships/image" Target="../media/image76.emf"/><Relationship Id="rId22" Type="http://schemas.openxmlformats.org/officeDocument/2006/relationships/image" Target="../media/image84.png"/></Relationships>
</file>

<file path=ppt/slides/_rels/slide12.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emf"/><Relationship Id="rId18" Type="http://schemas.openxmlformats.org/officeDocument/2006/relationships/image" Target="../media/image80.png"/><Relationship Id="rId3" Type="http://schemas.openxmlformats.org/officeDocument/2006/relationships/image" Target="../media/image65.png"/><Relationship Id="rId21" Type="http://schemas.openxmlformats.org/officeDocument/2006/relationships/image" Target="../media/image83.png"/><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 Type="http://schemas.openxmlformats.org/officeDocument/2006/relationships/notesSlide" Target="../notesSlides/notesSlide12.xml"/><Relationship Id="rId16" Type="http://schemas.openxmlformats.org/officeDocument/2006/relationships/image" Target="../media/image78.png"/><Relationship Id="rId20" Type="http://schemas.openxmlformats.org/officeDocument/2006/relationships/image" Target="../media/image82.png"/><Relationship Id="rId1" Type="http://schemas.openxmlformats.org/officeDocument/2006/relationships/slideLayout" Target="../slideLayouts/slideLayout204.xml"/><Relationship Id="rId6" Type="http://schemas.openxmlformats.org/officeDocument/2006/relationships/image" Target="../media/image68.png"/><Relationship Id="rId11" Type="http://schemas.openxmlformats.org/officeDocument/2006/relationships/image" Target="../media/image73.png"/><Relationship Id="rId24" Type="http://schemas.openxmlformats.org/officeDocument/2006/relationships/image" Target="../media/image86.emf"/><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5.png"/><Relationship Id="rId10" Type="http://schemas.openxmlformats.org/officeDocument/2006/relationships/image" Target="../media/image72.emf"/><Relationship Id="rId19" Type="http://schemas.openxmlformats.org/officeDocument/2006/relationships/image" Target="../media/image81.png"/><Relationship Id="rId4" Type="http://schemas.openxmlformats.org/officeDocument/2006/relationships/image" Target="../media/image66.png"/><Relationship Id="rId9" Type="http://schemas.openxmlformats.org/officeDocument/2006/relationships/image" Target="../media/image71.emf"/><Relationship Id="rId14" Type="http://schemas.openxmlformats.org/officeDocument/2006/relationships/image" Target="../media/image76.emf"/><Relationship Id="rId22" Type="http://schemas.openxmlformats.org/officeDocument/2006/relationships/image" Target="../media/image84.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6.xml"/><Relationship Id="rId1" Type="http://schemas.openxmlformats.org/officeDocument/2006/relationships/themeOverride" Target="../theme/themeOverride2.xml"/></Relationships>
</file>

<file path=ppt/slides/_rels/slide1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4.xml"/><Relationship Id="rId1" Type="http://schemas.openxmlformats.org/officeDocument/2006/relationships/slideLayout" Target="../slideLayouts/slideLayout324.xml"/></Relationships>
</file>

<file path=ppt/slides/_rels/slide15.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3" Type="http://schemas.openxmlformats.org/officeDocument/2006/relationships/image" Target="../media/image88.png"/><Relationship Id="rId7" Type="http://schemas.openxmlformats.org/officeDocument/2006/relationships/image" Target="../media/image92.png"/><Relationship Id="rId12" Type="http://schemas.openxmlformats.org/officeDocument/2006/relationships/image" Target="../media/image97.jpeg"/><Relationship Id="rId2" Type="http://schemas.openxmlformats.org/officeDocument/2006/relationships/notesSlide" Target="../notesSlides/notesSlide15.xml"/><Relationship Id="rId1" Type="http://schemas.openxmlformats.org/officeDocument/2006/relationships/slideLayout" Target="../slideLayouts/slideLayout324.xml"/><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90.png"/><Relationship Id="rId15" Type="http://schemas.openxmlformats.org/officeDocument/2006/relationships/image" Target="../media/image100.pn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png"/><Relationship Id="rId14" Type="http://schemas.openxmlformats.org/officeDocument/2006/relationships/image" Target="../media/image99.png"/></Relationships>
</file>

<file path=ppt/slides/_rels/slide1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6.xml"/><Relationship Id="rId1" Type="http://schemas.openxmlformats.org/officeDocument/2006/relationships/slideLayout" Target="../slideLayouts/slideLayout324.xml"/></Relationships>
</file>

<file path=ppt/slides/_rels/slide1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7.xml"/><Relationship Id="rId1" Type="http://schemas.openxmlformats.org/officeDocument/2006/relationships/slideLayout" Target="../slideLayouts/slideLayout32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6.xml"/><Relationship Id="rId1" Type="http://schemas.openxmlformats.org/officeDocument/2006/relationships/themeOverride" Target="../theme/themeOverride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24.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48.xml"/><Relationship Id="rId7" Type="http://schemas.openxmlformats.org/officeDocument/2006/relationships/slideLayout" Target="../slideLayouts/slideLayout77.xml"/><Relationship Id="rId2" Type="http://schemas.openxmlformats.org/officeDocument/2006/relationships/tags" Target="../tags/tag47.xml"/><Relationship Id="rId1" Type="http://schemas.openxmlformats.org/officeDocument/2006/relationships/vmlDrawing" Target="../drawings/vmlDrawing35.v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2.emf"/><Relationship Id="rId4" Type="http://schemas.openxmlformats.org/officeDocument/2006/relationships/tags" Target="../tags/tag49.xml"/><Relationship Id="rId9" Type="http://schemas.openxmlformats.org/officeDocument/2006/relationships/oleObject" Target="../embeddings/oleObject35.bin"/></Relationships>
</file>

<file path=ppt/slides/_rels/slide2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0.xml"/><Relationship Id="rId1" Type="http://schemas.openxmlformats.org/officeDocument/2006/relationships/slideLayout" Target="../slideLayouts/slideLayout324.xml"/></Relationships>
</file>

<file path=ppt/slides/_rels/slide2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1.xml"/><Relationship Id="rId1" Type="http://schemas.openxmlformats.org/officeDocument/2006/relationships/slideLayout" Target="../slideLayouts/slideLayout32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6.xml"/><Relationship Id="rId1" Type="http://schemas.openxmlformats.org/officeDocument/2006/relationships/themeOverride" Target="../theme/themeOverride4.xml"/><Relationship Id="rId4" Type="http://schemas.openxmlformats.org/officeDocument/2006/relationships/hyperlink" Target="https://github.com/amykatenicho/DataCultureIoT.git"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emf"/><Relationship Id="rId18" Type="http://schemas.openxmlformats.org/officeDocument/2006/relationships/image" Target="../media/image80.png"/><Relationship Id="rId3" Type="http://schemas.openxmlformats.org/officeDocument/2006/relationships/image" Target="../media/image65.png"/><Relationship Id="rId21" Type="http://schemas.openxmlformats.org/officeDocument/2006/relationships/image" Target="../media/image83.png"/><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 Type="http://schemas.openxmlformats.org/officeDocument/2006/relationships/notesSlide" Target="../notesSlides/notesSlide23.xml"/><Relationship Id="rId16" Type="http://schemas.openxmlformats.org/officeDocument/2006/relationships/image" Target="../media/image78.png"/><Relationship Id="rId20" Type="http://schemas.openxmlformats.org/officeDocument/2006/relationships/image" Target="../media/image82.png"/><Relationship Id="rId1" Type="http://schemas.openxmlformats.org/officeDocument/2006/relationships/slideLayout" Target="../slideLayouts/slideLayout204.xml"/><Relationship Id="rId6" Type="http://schemas.openxmlformats.org/officeDocument/2006/relationships/image" Target="../media/image68.png"/><Relationship Id="rId11" Type="http://schemas.openxmlformats.org/officeDocument/2006/relationships/image" Target="../media/image73.png"/><Relationship Id="rId24" Type="http://schemas.openxmlformats.org/officeDocument/2006/relationships/image" Target="../media/image86.emf"/><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5.png"/><Relationship Id="rId10" Type="http://schemas.openxmlformats.org/officeDocument/2006/relationships/image" Target="../media/image72.emf"/><Relationship Id="rId19" Type="http://schemas.openxmlformats.org/officeDocument/2006/relationships/image" Target="../media/image81.png"/><Relationship Id="rId4" Type="http://schemas.openxmlformats.org/officeDocument/2006/relationships/image" Target="../media/image66.png"/><Relationship Id="rId9" Type="http://schemas.openxmlformats.org/officeDocument/2006/relationships/image" Target="../media/image71.emf"/><Relationship Id="rId14" Type="http://schemas.openxmlformats.org/officeDocument/2006/relationships/image" Target="../media/image76.emf"/><Relationship Id="rId22" Type="http://schemas.openxmlformats.org/officeDocument/2006/relationships/image" Target="../media/image84.png"/></Relationships>
</file>

<file path=ppt/slides/_rels/slide2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24.xml"/><Relationship Id="rId1" Type="http://schemas.openxmlformats.org/officeDocument/2006/relationships/slideLayout" Target="../slideLayouts/slideLayout60.xml"/><Relationship Id="rId6" Type="http://schemas.openxmlformats.org/officeDocument/2006/relationships/image" Target="../media/image108.png"/><Relationship Id="rId11" Type="http://schemas.openxmlformats.org/officeDocument/2006/relationships/image" Target="../media/image111.png"/><Relationship Id="rId5" Type="http://schemas.openxmlformats.org/officeDocument/2006/relationships/image" Target="../media/image107.png"/><Relationship Id="rId10" Type="http://schemas.microsoft.com/office/2007/relationships/hdphoto" Target="../media/hdphoto2.wdp"/><Relationship Id="rId4" Type="http://schemas.openxmlformats.org/officeDocument/2006/relationships/image" Target="../media/image106.png"/><Relationship Id="rId9" Type="http://schemas.openxmlformats.org/officeDocument/2006/relationships/image" Target="../media/image110.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6.xml"/><Relationship Id="rId1" Type="http://schemas.openxmlformats.org/officeDocument/2006/relationships/themeOverride" Target="../theme/themeOverride5.xml"/></Relationships>
</file>

<file path=ppt/slides/_rels/slide2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6.xml"/><Relationship Id="rId1" Type="http://schemas.openxmlformats.org/officeDocument/2006/relationships/slideLayout" Target="../slideLayouts/slideLayout56.xml"/></Relationships>
</file>

<file path=ppt/slides/_rels/slide2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0.xml"/></Relationships>
</file>

<file path=ppt/slides/_rels/slide3.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jpeg"/><Relationship Id="rId2" Type="http://schemas.openxmlformats.org/officeDocument/2006/relationships/notesSlide" Target="../notesSlides/notesSlide3.xml"/><Relationship Id="rId1" Type="http://schemas.openxmlformats.org/officeDocument/2006/relationships/slideLayout" Target="../slideLayouts/slideLayout204.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84.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6.xml"/><Relationship Id="rId1" Type="http://schemas.openxmlformats.org/officeDocument/2006/relationships/themeOverride" Target="../theme/themeOverride6.xml"/></Relationships>
</file>

<file path=ppt/slides/_rels/slide32.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5.png"/><Relationship Id="rId7" Type="http://schemas.openxmlformats.org/officeDocument/2006/relationships/image" Target="../media/image116.png"/><Relationship Id="rId2" Type="http://schemas.openxmlformats.org/officeDocument/2006/relationships/notesSlide" Target="../notesSlides/notesSlide32.xml"/><Relationship Id="rId1" Type="http://schemas.openxmlformats.org/officeDocument/2006/relationships/slideLayout" Target="../slideLayouts/slideLayout60.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06.png"/></Relationships>
</file>

<file path=ppt/slides/_rels/slide3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3.xml"/><Relationship Id="rId1" Type="http://schemas.openxmlformats.org/officeDocument/2006/relationships/slideLayout" Target="../slideLayouts/slideLayout17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78.xml"/></Relationships>
</file>

<file path=ppt/slides/_rels/slide36.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36.xml"/><Relationship Id="rId1" Type="http://schemas.openxmlformats.org/officeDocument/2006/relationships/slideLayout" Target="../slideLayouts/slideLayout17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78.xml"/></Relationships>
</file>

<file path=ppt/slides/_rels/slide38.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38.xml"/><Relationship Id="rId1" Type="http://schemas.openxmlformats.org/officeDocument/2006/relationships/slideLayout" Target="../slideLayouts/slideLayout178.xml"/><Relationship Id="rId4" Type="http://schemas.openxmlformats.org/officeDocument/2006/relationships/image" Target="../media/image119.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8.xml"/></Relationships>
</file>

<file path=ppt/slides/_rels/slide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xml"/><Relationship Id="rId1" Type="http://schemas.openxmlformats.org/officeDocument/2006/relationships/slideLayout" Target="../slideLayouts/slideLayout229.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6.xml"/><Relationship Id="rId1" Type="http://schemas.openxmlformats.org/officeDocument/2006/relationships/themeOverride" Target="../theme/themeOverride7.xml"/></Relationships>
</file>

<file path=ppt/slides/_rels/slide41.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40.xml"/><Relationship Id="rId1" Type="http://schemas.openxmlformats.org/officeDocument/2006/relationships/slideLayout" Target="../slideLayouts/slideLayout351.xml"/></Relationships>
</file>

<file path=ppt/slides/_rels/slide42.xml.rels><?xml version="1.0" encoding="UTF-8" standalone="yes"?>
<Relationships xmlns="http://schemas.openxmlformats.org/package/2006/relationships"><Relationship Id="rId3" Type="http://schemas.openxmlformats.org/officeDocument/2006/relationships/image" Target="../media/image121.gif"/><Relationship Id="rId2" Type="http://schemas.openxmlformats.org/officeDocument/2006/relationships/notesSlide" Target="../notesSlides/notesSlide41.xml"/><Relationship Id="rId1" Type="http://schemas.openxmlformats.org/officeDocument/2006/relationships/slideLayout" Target="../slideLayouts/slideLayout351.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51.xml"/><Relationship Id="rId1" Type="http://schemas.openxmlformats.org/officeDocument/2006/relationships/tags" Target="../tags/tag53.xml"/></Relationships>
</file>

<file path=ppt/slides/_rels/slide44.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emf"/><Relationship Id="rId18" Type="http://schemas.openxmlformats.org/officeDocument/2006/relationships/image" Target="../media/image80.png"/><Relationship Id="rId3" Type="http://schemas.openxmlformats.org/officeDocument/2006/relationships/image" Target="../media/image65.png"/><Relationship Id="rId21" Type="http://schemas.openxmlformats.org/officeDocument/2006/relationships/image" Target="../media/image83.png"/><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 Type="http://schemas.openxmlformats.org/officeDocument/2006/relationships/notesSlide" Target="../notesSlides/notesSlide43.xml"/><Relationship Id="rId16" Type="http://schemas.openxmlformats.org/officeDocument/2006/relationships/image" Target="../media/image78.png"/><Relationship Id="rId20" Type="http://schemas.openxmlformats.org/officeDocument/2006/relationships/image" Target="../media/image82.png"/><Relationship Id="rId1" Type="http://schemas.openxmlformats.org/officeDocument/2006/relationships/slideLayout" Target="../slideLayouts/slideLayout204.xml"/><Relationship Id="rId6" Type="http://schemas.openxmlformats.org/officeDocument/2006/relationships/image" Target="../media/image68.png"/><Relationship Id="rId11" Type="http://schemas.openxmlformats.org/officeDocument/2006/relationships/image" Target="../media/image73.png"/><Relationship Id="rId24" Type="http://schemas.openxmlformats.org/officeDocument/2006/relationships/image" Target="../media/image86.emf"/><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5.png"/><Relationship Id="rId10" Type="http://schemas.openxmlformats.org/officeDocument/2006/relationships/image" Target="../media/image72.emf"/><Relationship Id="rId19" Type="http://schemas.openxmlformats.org/officeDocument/2006/relationships/image" Target="../media/image81.png"/><Relationship Id="rId4" Type="http://schemas.openxmlformats.org/officeDocument/2006/relationships/image" Target="../media/image66.png"/><Relationship Id="rId9" Type="http://schemas.openxmlformats.org/officeDocument/2006/relationships/image" Target="../media/image71.emf"/><Relationship Id="rId14" Type="http://schemas.openxmlformats.org/officeDocument/2006/relationships/image" Target="../media/image76.emf"/><Relationship Id="rId22" Type="http://schemas.openxmlformats.org/officeDocument/2006/relationships/image" Target="../media/image84.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6.xml"/><Relationship Id="rId1" Type="http://schemas.openxmlformats.org/officeDocument/2006/relationships/themeOverride" Target="../theme/themeOverride8.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6.xml"/><Relationship Id="rId1" Type="http://schemas.openxmlformats.org/officeDocument/2006/relationships/themeOverride" Target="../theme/themeOverride9.xml"/></Relationships>
</file>

<file path=ppt/slides/_rels/slide47.xml.rels><?xml version="1.0" encoding="UTF-8" standalone="yes"?>
<Relationships xmlns="http://schemas.openxmlformats.org/package/2006/relationships"><Relationship Id="rId3" Type="http://schemas.openxmlformats.org/officeDocument/2006/relationships/hyperlink" Target="https://github.com/amykatenicho/DataCultureIoT.git" TargetMode="External"/><Relationship Id="rId2" Type="http://schemas.openxmlformats.org/officeDocument/2006/relationships/notesSlide" Target="../notesSlides/notesSlide46.xml"/><Relationship Id="rId1" Type="http://schemas.openxmlformats.org/officeDocument/2006/relationships/slideLayout" Target="../slideLayouts/slideLayout56.xml"/><Relationship Id="rId4" Type="http://schemas.openxmlformats.org/officeDocument/2006/relationships/image" Target="../media/image122.png"/></Relationships>
</file>

<file path=ppt/slides/_rels/slide4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47.xml"/><Relationship Id="rId1" Type="http://schemas.openxmlformats.org/officeDocument/2006/relationships/slideLayout" Target="../slideLayouts/slideLayout399.xml"/><Relationship Id="rId4" Type="http://schemas.openxmlformats.org/officeDocument/2006/relationships/image" Target="cid:image004.png@01CFE973.7201DFB0"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48.xml"/><Relationship Id="rId1" Type="http://schemas.openxmlformats.org/officeDocument/2006/relationships/slideLayout" Target="../slideLayouts/slideLayout399.xml"/><Relationship Id="rId4" Type="http://schemas.openxmlformats.org/officeDocument/2006/relationships/image" Target="cid:image007.png@01CFE973.7201DFB0"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5.xml"/><Relationship Id="rId1" Type="http://schemas.openxmlformats.org/officeDocument/2006/relationships/slideLayout" Target="../slideLayouts/slideLayout254.xml"/></Relationships>
</file>

<file path=ppt/slides/_rels/slide5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9.xml"/><Relationship Id="rId1" Type="http://schemas.openxmlformats.org/officeDocument/2006/relationships/slideLayout" Target="../slideLayouts/slideLayout399.xml"/><Relationship Id="rId4" Type="http://schemas.openxmlformats.org/officeDocument/2006/relationships/image" Target="cid:image009.png@01CFE973.7201DFB0"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0.xml"/><Relationship Id="rId1" Type="http://schemas.openxmlformats.org/officeDocument/2006/relationships/slideLayout" Target="../slideLayouts/slideLayout399.xml"/><Relationship Id="rId4" Type="http://schemas.openxmlformats.org/officeDocument/2006/relationships/image" Target="cid:image010.png@01CFE973.7201DFB0"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51.xml"/><Relationship Id="rId1" Type="http://schemas.openxmlformats.org/officeDocument/2006/relationships/slideLayout" Target="../slideLayouts/slideLayout399.xml"/><Relationship Id="rId4" Type="http://schemas.openxmlformats.org/officeDocument/2006/relationships/image" Target="cid:image017.png@01CFE973.7201DFB0"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2.xml"/><Relationship Id="rId1" Type="http://schemas.openxmlformats.org/officeDocument/2006/relationships/slideLayout" Target="../slideLayouts/slideLayout399.xml"/><Relationship Id="rId4" Type="http://schemas.openxmlformats.org/officeDocument/2006/relationships/image" Target="cid:image019.png@01CFE973.7201DFB0"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2395" y="2120900"/>
            <a:ext cx="9895610" cy="2387600"/>
          </a:xfrm>
        </p:spPr>
        <p:txBody>
          <a:bodyPr anchor="t">
            <a:noAutofit/>
          </a:bodyPr>
          <a:lstStyle/>
          <a:p>
            <a:pPr>
              <a:lnSpc>
                <a:spcPct val="100000"/>
              </a:lnSpc>
            </a:pPr>
            <a:r>
              <a:rPr lang="en-GB" sz="7200" dirty="0" smtClean="0">
                <a:solidFill>
                  <a:srgbClr val="F2F2F2"/>
                </a:solidFill>
                <a:latin typeface="Segoe UI Light" panose="020B0502040204020203" pitchFamily="34" charset="0"/>
                <a:cs typeface="Segoe UI Light" panose="020B0502040204020203" pitchFamily="34" charset="0"/>
              </a:rPr>
              <a:t>Internet of Things Track</a:t>
            </a:r>
            <a:br>
              <a:rPr lang="en-GB" sz="7200" dirty="0" smtClean="0">
                <a:solidFill>
                  <a:srgbClr val="F2F2F2"/>
                </a:solidFill>
                <a:latin typeface="Segoe UI Light" panose="020B0502040204020203" pitchFamily="34" charset="0"/>
                <a:cs typeface="Segoe UI Light" panose="020B0502040204020203" pitchFamily="34" charset="0"/>
              </a:rPr>
            </a:br>
            <a:endParaRPr lang="en-GB" sz="3200" dirty="0">
              <a:solidFill>
                <a:srgbClr val="F2F2F2"/>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62395" y="5196437"/>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Amy Nicholson – Technical Evange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Footer Placeholder 3"/>
          <p:cNvSpPr txBox="1">
            <a:spLocks/>
          </p:cNvSpPr>
          <p:nvPr/>
        </p:nvSpPr>
        <p:spPr>
          <a:xfrm>
            <a:off x="462395" y="5981211"/>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Allan Mitchell – Real-Time</a:t>
            </a:r>
            <a:r>
              <a:rPr kumimoji="0" lang="en-GB" sz="1800" b="1" i="0" u="none" strike="noStrike" kern="1200" cap="none" spc="0" normalizeH="0" noProof="0" dirty="0" smtClean="0">
                <a:ln>
                  <a:noFill/>
                </a:ln>
                <a:solidFill>
                  <a:srgbClr val="FFFFFF">
                    <a:lumMod val="85000"/>
                  </a:srgbClr>
                </a:solidFill>
                <a:effectLst/>
                <a:uLnTx/>
                <a:uFillTx/>
                <a:latin typeface="Segoe UI"/>
                <a:ea typeface="+mn-ea"/>
                <a:cs typeface="+mn-cs"/>
              </a:rPr>
              <a:t> Data Consultant </a:t>
            </a: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t>
            </a:r>
            <a:r>
              <a:rPr kumimoji="0" lang="en-GB" sz="1800" b="0" i="0" u="none" strike="noStrike" kern="1200" cap="none" spc="0" normalizeH="0" baseline="0" noProof="0" dirty="0" err="1" smtClean="0">
                <a:ln>
                  <a:noFill/>
                </a:ln>
                <a:solidFill>
                  <a:srgbClr val="FFFFFF">
                    <a:lumMod val="85000"/>
                  </a:srgbClr>
                </a:solidFill>
                <a:effectLst/>
                <a:uLnTx/>
                <a:uFillTx/>
                <a:latin typeface="Segoe UI"/>
                <a:ea typeface="+mn-ea"/>
                <a:cs typeface="+mn-cs"/>
              </a:rPr>
              <a:t>allanSQLIS</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grpSp>
        <p:nvGrpSpPr>
          <p:cNvPr id="15" name="Group 14"/>
          <p:cNvGrpSpPr/>
          <p:nvPr/>
        </p:nvGrpSpPr>
        <p:grpSpPr>
          <a:xfrm>
            <a:off x="10851839" y="290613"/>
            <a:ext cx="1049875" cy="1356759"/>
            <a:chOff x="8856125" y="1067127"/>
            <a:chExt cx="528555" cy="752153"/>
          </a:xfrm>
        </p:grpSpPr>
        <p:sp>
          <p:nvSpPr>
            <p:cNvPr id="5" name="Oval 2"/>
            <p:cNvSpPr/>
            <p:nvPr/>
          </p:nvSpPr>
          <p:spPr bwMode="auto">
            <a:xfrm>
              <a:off x="8856125" y="1067127"/>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 name="Group 5"/>
            <p:cNvGrpSpPr/>
            <p:nvPr/>
          </p:nvGrpSpPr>
          <p:grpSpPr>
            <a:xfrm rot="10800000">
              <a:off x="8985702" y="1454736"/>
              <a:ext cx="274574" cy="364544"/>
              <a:chOff x="-1278804" y="2084340"/>
              <a:chExt cx="217157" cy="248510"/>
            </a:xfrm>
            <a:gradFill>
              <a:gsLst>
                <a:gs pos="0">
                  <a:schemeClr val="bg1"/>
                </a:gs>
                <a:gs pos="100000">
                  <a:schemeClr val="bg1">
                    <a:alpha val="0"/>
                  </a:schemeClr>
                </a:gs>
              </a:gsLst>
              <a:lin ang="16200000" scaled="1"/>
            </a:gradFill>
          </p:grpSpPr>
          <p:sp>
            <p:nvSpPr>
              <p:cNvPr id="7"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8"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1"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2"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3"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1193178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p:cNvGrpSpPr/>
          <p:nvPr/>
        </p:nvGrpSpPr>
        <p:grpSpPr>
          <a:xfrm>
            <a:off x="7409373" y="1407281"/>
            <a:ext cx="4053642" cy="4623584"/>
            <a:chOff x="8064839" y="1658523"/>
            <a:chExt cx="4136687" cy="4718304"/>
          </a:xfrm>
        </p:grpSpPr>
        <p:sp>
          <p:nvSpPr>
            <p:cNvPr id="41" name="Rectangle 40"/>
            <p:cNvSpPr/>
            <p:nvPr/>
          </p:nvSpPr>
          <p:spPr bwMode="auto">
            <a:xfrm>
              <a:off x="8071009" y="1658523"/>
              <a:ext cx="4130517" cy="471830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Freeform 165"/>
            <p:cNvSpPr>
              <a:spLocks/>
            </p:cNvSpPr>
            <p:nvPr/>
          </p:nvSpPr>
          <p:spPr bwMode="auto">
            <a:xfrm>
              <a:off x="8067924" y="3978069"/>
              <a:ext cx="4122708" cy="1798672"/>
            </a:xfrm>
            <a:custGeom>
              <a:avLst/>
              <a:gdLst>
                <a:gd name="connsiteX0" fmla="*/ 2761975 w 4122708"/>
                <a:gd name="connsiteY0" fmla="*/ 0 h 1798672"/>
                <a:gd name="connsiteX1" fmla="*/ 3139354 w 4122708"/>
                <a:gd name="connsiteY1" fmla="*/ 314492 h 1798672"/>
                <a:gd name="connsiteX2" fmla="*/ 3506866 w 4122708"/>
                <a:gd name="connsiteY2" fmla="*/ 678640 h 1798672"/>
                <a:gd name="connsiteX3" fmla="*/ 3556197 w 4122708"/>
                <a:gd name="connsiteY3" fmla="*/ 651053 h 1798672"/>
                <a:gd name="connsiteX4" fmla="*/ 3733787 w 4122708"/>
                <a:gd name="connsiteY4" fmla="*/ 284146 h 1798672"/>
                <a:gd name="connsiteX5" fmla="*/ 4069235 w 4122708"/>
                <a:gd name="connsiteY5" fmla="*/ 573810 h 1798672"/>
                <a:gd name="connsiteX6" fmla="*/ 4115502 w 4122708"/>
                <a:gd name="connsiteY6" fmla="*/ 642190 h 1798672"/>
                <a:gd name="connsiteX7" fmla="*/ 4122708 w 4122708"/>
                <a:gd name="connsiteY7" fmla="*/ 652840 h 1798672"/>
                <a:gd name="connsiteX8" fmla="*/ 4122708 w 4122708"/>
                <a:gd name="connsiteY8" fmla="*/ 1798672 h 1798672"/>
                <a:gd name="connsiteX9" fmla="*/ 0 w 4122708"/>
                <a:gd name="connsiteY9" fmla="*/ 1798672 h 1798672"/>
                <a:gd name="connsiteX10" fmla="*/ 0 w 4122708"/>
                <a:gd name="connsiteY10" fmla="*/ 1262034 h 1798672"/>
                <a:gd name="connsiteX11" fmla="*/ 48793 w 4122708"/>
                <a:gd name="connsiteY11" fmla="*/ 1213828 h 1798672"/>
                <a:gd name="connsiteX12" fmla="*/ 233783 w 4122708"/>
                <a:gd name="connsiteY12" fmla="*/ 1117273 h 1798672"/>
                <a:gd name="connsiteX13" fmla="*/ 366975 w 4122708"/>
                <a:gd name="connsiteY13" fmla="*/ 1117273 h 1798672"/>
                <a:gd name="connsiteX14" fmla="*/ 433571 w 4122708"/>
                <a:gd name="connsiteY14" fmla="*/ 1274519 h 1798672"/>
                <a:gd name="connsiteX15" fmla="*/ 655559 w 4122708"/>
                <a:gd name="connsiteY15" fmla="*/ 993132 h 1798672"/>
                <a:gd name="connsiteX16" fmla="*/ 845482 w 4122708"/>
                <a:gd name="connsiteY16" fmla="*/ 960028 h 1798672"/>
                <a:gd name="connsiteX17" fmla="*/ 1067469 w 4122708"/>
                <a:gd name="connsiteY17" fmla="*/ 1015202 h 1798672"/>
                <a:gd name="connsiteX18" fmla="*/ 1467047 w 4122708"/>
                <a:gd name="connsiteY18" fmla="*/ 411046 h 1798672"/>
                <a:gd name="connsiteX19" fmla="*/ 1772897 w 4122708"/>
                <a:gd name="connsiteY19" fmla="*/ 328285 h 1798672"/>
                <a:gd name="connsiteX20" fmla="*/ 2024482 w 4122708"/>
                <a:gd name="connsiteY20" fmla="*/ 526912 h 1798672"/>
                <a:gd name="connsiteX21" fmla="*/ 2483257 w 4122708"/>
                <a:gd name="connsiteY21" fmla="*/ 328285 h 1798672"/>
                <a:gd name="connsiteX22" fmla="*/ 2761975 w 4122708"/>
                <a:gd name="connsiteY22" fmla="*/ 0 h 179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22708" h="1798672">
                  <a:moveTo>
                    <a:pt x="2761975" y="0"/>
                  </a:moveTo>
                  <a:cubicBezTo>
                    <a:pt x="2761975" y="0"/>
                    <a:pt x="2761975" y="0"/>
                    <a:pt x="3139354" y="314492"/>
                  </a:cubicBezTo>
                  <a:cubicBezTo>
                    <a:pt x="3139354" y="314492"/>
                    <a:pt x="3139354" y="314492"/>
                    <a:pt x="3506866" y="678640"/>
                  </a:cubicBezTo>
                  <a:cubicBezTo>
                    <a:pt x="3506866" y="678640"/>
                    <a:pt x="3506866" y="678640"/>
                    <a:pt x="3556197" y="651053"/>
                  </a:cubicBezTo>
                  <a:cubicBezTo>
                    <a:pt x="3556197" y="651053"/>
                    <a:pt x="3556197" y="651053"/>
                    <a:pt x="3733787" y="284146"/>
                  </a:cubicBezTo>
                  <a:cubicBezTo>
                    <a:pt x="3733787" y="284146"/>
                    <a:pt x="3733787" y="284146"/>
                    <a:pt x="4069235" y="573810"/>
                  </a:cubicBezTo>
                  <a:cubicBezTo>
                    <a:pt x="4069235" y="573810"/>
                    <a:pt x="4069235" y="573810"/>
                    <a:pt x="4115502" y="642190"/>
                  </a:cubicBezTo>
                  <a:lnTo>
                    <a:pt x="4122708" y="652840"/>
                  </a:lnTo>
                  <a:lnTo>
                    <a:pt x="4122708" y="1798672"/>
                  </a:lnTo>
                  <a:lnTo>
                    <a:pt x="0" y="1798672"/>
                  </a:lnTo>
                  <a:lnTo>
                    <a:pt x="0" y="1262034"/>
                  </a:lnTo>
                  <a:lnTo>
                    <a:pt x="48793" y="1213828"/>
                  </a:lnTo>
                  <a:cubicBezTo>
                    <a:pt x="154854" y="1158654"/>
                    <a:pt x="233783" y="1117273"/>
                    <a:pt x="233783" y="1117273"/>
                  </a:cubicBezTo>
                  <a:cubicBezTo>
                    <a:pt x="233783" y="1117273"/>
                    <a:pt x="233783" y="1117273"/>
                    <a:pt x="366975" y="1117273"/>
                  </a:cubicBezTo>
                  <a:cubicBezTo>
                    <a:pt x="366975" y="1117273"/>
                    <a:pt x="366975" y="1117273"/>
                    <a:pt x="433571" y="1274519"/>
                  </a:cubicBezTo>
                  <a:cubicBezTo>
                    <a:pt x="433571" y="1274519"/>
                    <a:pt x="433571" y="1274519"/>
                    <a:pt x="655559" y="993132"/>
                  </a:cubicBezTo>
                  <a:cubicBezTo>
                    <a:pt x="655559" y="993132"/>
                    <a:pt x="655559" y="993132"/>
                    <a:pt x="845482" y="960028"/>
                  </a:cubicBezTo>
                  <a:cubicBezTo>
                    <a:pt x="845482" y="960028"/>
                    <a:pt x="845482" y="960028"/>
                    <a:pt x="1067469" y="1015202"/>
                  </a:cubicBezTo>
                  <a:cubicBezTo>
                    <a:pt x="1067469" y="1015202"/>
                    <a:pt x="1067469" y="1015202"/>
                    <a:pt x="1467047" y="411046"/>
                  </a:cubicBezTo>
                  <a:cubicBezTo>
                    <a:pt x="1467047" y="411046"/>
                    <a:pt x="1467047" y="411046"/>
                    <a:pt x="1772897" y="328285"/>
                  </a:cubicBezTo>
                  <a:cubicBezTo>
                    <a:pt x="1772897" y="328285"/>
                    <a:pt x="1772897" y="328285"/>
                    <a:pt x="2024482" y="526912"/>
                  </a:cubicBezTo>
                  <a:cubicBezTo>
                    <a:pt x="2024482" y="526912"/>
                    <a:pt x="2024482" y="526912"/>
                    <a:pt x="2483257" y="328285"/>
                  </a:cubicBezTo>
                  <a:cubicBezTo>
                    <a:pt x="2483257" y="328285"/>
                    <a:pt x="2483257" y="328285"/>
                    <a:pt x="2761975" y="0"/>
                  </a:cubicBezTo>
                  <a:close/>
                </a:path>
              </a:pathLst>
            </a:custGeom>
            <a:solidFill>
              <a:srgbClr val="66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6"/>
            <p:cNvSpPr>
              <a:spLocks/>
            </p:cNvSpPr>
            <p:nvPr/>
          </p:nvSpPr>
          <p:spPr bwMode="auto">
            <a:xfrm>
              <a:off x="10840306" y="4624309"/>
              <a:ext cx="793765" cy="822599"/>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6196 w 6897"/>
                <a:gd name="connsiteY0" fmla="*/ 354 h 9913"/>
                <a:gd name="connsiteX1" fmla="*/ 1304 w 6897"/>
                <a:gd name="connsiteY1" fmla="*/ 7358 h 9913"/>
                <a:gd name="connsiteX2" fmla="*/ 4834 w 6897"/>
                <a:gd name="connsiteY2" fmla="*/ 9913 h 9913"/>
                <a:gd name="connsiteX3" fmla="*/ 4617 w 6897"/>
                <a:gd name="connsiteY3" fmla="*/ 8724 h 9913"/>
                <a:gd name="connsiteX4" fmla="*/ 6890 w 6897"/>
                <a:gd name="connsiteY4" fmla="*/ 0 h 9913"/>
                <a:gd name="connsiteX5" fmla="*/ 6196 w 6897"/>
                <a:gd name="connsiteY5" fmla="*/ 354 h 9913"/>
                <a:gd name="connsiteX0" fmla="*/ 7450 w 8129"/>
                <a:gd name="connsiteY0" fmla="*/ 816 h 10000"/>
                <a:gd name="connsiteX1" fmla="*/ 20 w 8129"/>
                <a:gd name="connsiteY1" fmla="*/ 7423 h 10000"/>
                <a:gd name="connsiteX2" fmla="*/ 5138 w 8129"/>
                <a:gd name="connsiteY2" fmla="*/ 10000 h 10000"/>
                <a:gd name="connsiteX3" fmla="*/ 4823 w 8129"/>
                <a:gd name="connsiteY3" fmla="*/ 8801 h 10000"/>
                <a:gd name="connsiteX4" fmla="*/ 8119 w 8129"/>
                <a:gd name="connsiteY4" fmla="*/ 0 h 10000"/>
                <a:gd name="connsiteX5" fmla="*/ 7450 w 8129"/>
                <a:gd name="connsiteY5" fmla="*/ 816 h 10000"/>
                <a:gd name="connsiteX0" fmla="*/ 8905 w 9995"/>
                <a:gd name="connsiteY0" fmla="*/ 500 h 10000"/>
                <a:gd name="connsiteX1" fmla="*/ 20 w 9995"/>
                <a:gd name="connsiteY1" fmla="*/ 7423 h 10000"/>
                <a:gd name="connsiteX2" fmla="*/ 6316 w 9995"/>
                <a:gd name="connsiteY2" fmla="*/ 10000 h 10000"/>
                <a:gd name="connsiteX3" fmla="*/ 5928 w 9995"/>
                <a:gd name="connsiteY3" fmla="*/ 8801 h 10000"/>
                <a:gd name="connsiteX4" fmla="*/ 9983 w 9995"/>
                <a:gd name="connsiteY4" fmla="*/ 0 h 10000"/>
                <a:gd name="connsiteX5" fmla="*/ 8905 w 9995"/>
                <a:gd name="connsiteY5" fmla="*/ 500 h 10000"/>
                <a:gd name="connsiteX0" fmla="*/ 8909 w 9714"/>
                <a:gd name="connsiteY0" fmla="*/ 385 h 9885"/>
                <a:gd name="connsiteX1" fmla="*/ 20 w 9714"/>
                <a:gd name="connsiteY1" fmla="*/ 7308 h 9885"/>
                <a:gd name="connsiteX2" fmla="*/ 6319 w 9714"/>
                <a:gd name="connsiteY2" fmla="*/ 9885 h 9885"/>
                <a:gd name="connsiteX3" fmla="*/ 5931 w 9714"/>
                <a:gd name="connsiteY3" fmla="*/ 8686 h 9885"/>
                <a:gd name="connsiteX4" fmla="*/ 9701 w 9714"/>
                <a:gd name="connsiteY4" fmla="*/ 0 h 9885"/>
                <a:gd name="connsiteX5" fmla="*/ 8909 w 9714"/>
                <a:gd name="connsiteY5" fmla="*/ 385 h 9885"/>
                <a:gd name="connsiteX0" fmla="*/ 9171 w 10000"/>
                <a:gd name="connsiteY0" fmla="*/ 389 h 10000"/>
                <a:gd name="connsiteX1" fmla="*/ 21 w 10000"/>
                <a:gd name="connsiteY1" fmla="*/ 7393 h 10000"/>
                <a:gd name="connsiteX2" fmla="*/ 6505 w 10000"/>
                <a:gd name="connsiteY2" fmla="*/ 10000 h 10000"/>
                <a:gd name="connsiteX3" fmla="*/ 6106 w 10000"/>
                <a:gd name="connsiteY3" fmla="*/ 8787 h 10000"/>
                <a:gd name="connsiteX4" fmla="*/ 9987 w 10000"/>
                <a:gd name="connsiteY4" fmla="*/ 0 h 10000"/>
                <a:gd name="connsiteX5" fmla="*/ 9171 w 10000"/>
                <a:gd name="connsiteY5" fmla="*/ 389 h 10000"/>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9989"/>
                <a:gd name="connsiteY0" fmla="*/ 389 h 10055"/>
                <a:gd name="connsiteX1" fmla="*/ 23 w 9989"/>
                <a:gd name="connsiteY1" fmla="*/ 7393 h 10055"/>
                <a:gd name="connsiteX2" fmla="*/ 6507 w 9989"/>
                <a:gd name="connsiteY2" fmla="*/ 10000 h 10055"/>
                <a:gd name="connsiteX3" fmla="*/ 5714 w 9989"/>
                <a:gd name="connsiteY3" fmla="*/ 9048 h 10055"/>
                <a:gd name="connsiteX4" fmla="*/ 9989 w 9989"/>
                <a:gd name="connsiteY4" fmla="*/ 0 h 10055"/>
                <a:gd name="connsiteX5" fmla="*/ 9173 w 9989"/>
                <a:gd name="connsiteY5" fmla="*/ 389 h 10055"/>
                <a:gd name="connsiteX0" fmla="*/ 9969 w 10786"/>
                <a:gd name="connsiteY0" fmla="*/ 387 h 9976"/>
                <a:gd name="connsiteX1" fmla="*/ 21 w 10786"/>
                <a:gd name="connsiteY1" fmla="*/ 7844 h 9976"/>
                <a:gd name="connsiteX2" fmla="*/ 7300 w 10786"/>
                <a:gd name="connsiteY2" fmla="*/ 9945 h 9976"/>
                <a:gd name="connsiteX3" fmla="*/ 6506 w 10786"/>
                <a:gd name="connsiteY3" fmla="*/ 8999 h 9976"/>
                <a:gd name="connsiteX4" fmla="*/ 10786 w 10786"/>
                <a:gd name="connsiteY4" fmla="*/ 0 h 9976"/>
                <a:gd name="connsiteX5" fmla="*/ 9969 w 10786"/>
                <a:gd name="connsiteY5" fmla="*/ 387 h 9976"/>
                <a:gd name="connsiteX0" fmla="*/ 9395 w 10152"/>
                <a:gd name="connsiteY0" fmla="*/ 388 h 9994"/>
                <a:gd name="connsiteX1" fmla="*/ 19 w 10152"/>
                <a:gd name="connsiteY1" fmla="*/ 8008 h 9994"/>
                <a:gd name="connsiteX2" fmla="*/ 6920 w 10152"/>
                <a:gd name="connsiteY2" fmla="*/ 9969 h 9994"/>
                <a:gd name="connsiteX3" fmla="*/ 6184 w 10152"/>
                <a:gd name="connsiteY3" fmla="*/ 9021 h 9994"/>
                <a:gd name="connsiteX4" fmla="*/ 10152 w 10152"/>
                <a:gd name="connsiteY4" fmla="*/ 0 h 9994"/>
                <a:gd name="connsiteX5" fmla="*/ 9395 w 10152"/>
                <a:gd name="connsiteY5" fmla="*/ 388 h 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2" h="9994">
                  <a:moveTo>
                    <a:pt x="9395" y="388"/>
                  </a:moveTo>
                  <a:cubicBezTo>
                    <a:pt x="9395" y="388"/>
                    <a:pt x="3995" y="8494"/>
                    <a:pt x="19" y="8008"/>
                  </a:cubicBezTo>
                  <a:cubicBezTo>
                    <a:pt x="-393" y="9604"/>
                    <a:pt x="5893" y="9800"/>
                    <a:pt x="6920" y="9969"/>
                  </a:cubicBezTo>
                  <a:cubicBezTo>
                    <a:pt x="7947" y="10138"/>
                    <a:pt x="6306" y="9424"/>
                    <a:pt x="6184" y="9021"/>
                  </a:cubicBezTo>
                  <a:cubicBezTo>
                    <a:pt x="6184" y="9021"/>
                    <a:pt x="9319" y="5522"/>
                    <a:pt x="10152" y="0"/>
                  </a:cubicBezTo>
                  <a:cubicBezTo>
                    <a:pt x="9801" y="149"/>
                    <a:pt x="9746" y="240"/>
                    <a:pt x="9395" y="388"/>
                  </a:cubicBezTo>
                  <a:close/>
                </a:path>
              </a:pathLst>
            </a:custGeom>
            <a:solidFill>
              <a:schemeClr val="bg1">
                <a:lumMod val="65000"/>
              </a:schemeClr>
            </a:solidFill>
            <a:ln>
              <a:noFill/>
            </a:ln>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484376" y="1991244"/>
              <a:ext cx="3363656" cy="777240"/>
            </a:xfrm>
            <a:prstGeom prst="rect">
              <a:avLst/>
            </a:prstGeom>
          </p:spPr>
        </p:pic>
        <p:sp>
          <p:nvSpPr>
            <p:cNvPr id="105" name="Freeform 61"/>
            <p:cNvSpPr>
              <a:spLocks noChangeAspect="1"/>
            </p:cNvSpPr>
            <p:nvPr/>
          </p:nvSpPr>
          <p:spPr bwMode="auto">
            <a:xfrm>
              <a:off x="9471952" y="3325805"/>
              <a:ext cx="1005840" cy="65968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62"/>
            <p:cNvSpPr>
              <a:spLocks/>
            </p:cNvSpPr>
            <p:nvPr/>
          </p:nvSpPr>
          <p:spPr bwMode="auto">
            <a:xfrm>
              <a:off x="10637307" y="2792034"/>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p:cNvSpPr>
            <p:nvPr/>
          </p:nvSpPr>
          <p:spPr bwMode="auto">
            <a:xfrm>
              <a:off x="8064839" y="5271722"/>
              <a:ext cx="4125793" cy="1097327"/>
            </a:xfrm>
            <a:custGeom>
              <a:avLst/>
              <a:gdLst>
                <a:gd name="connsiteX0" fmla="*/ 2191782 w 3666781"/>
                <a:gd name="connsiteY0" fmla="*/ 23 h 1097327"/>
                <a:gd name="connsiteX1" fmla="*/ 3621124 w 3666781"/>
                <a:gd name="connsiteY1" fmla="*/ 334846 h 1097327"/>
                <a:gd name="connsiteX2" fmla="*/ 3666781 w 3666781"/>
                <a:gd name="connsiteY2" fmla="*/ 354529 h 1097327"/>
                <a:gd name="connsiteX3" fmla="*/ 3666781 w 3666781"/>
                <a:gd name="connsiteY3" fmla="*/ 1097327 h 1097327"/>
                <a:gd name="connsiteX4" fmla="*/ 1196393 w 3666781"/>
                <a:gd name="connsiteY4" fmla="*/ 1097327 h 1097327"/>
                <a:gd name="connsiteX5" fmla="*/ 2512 w 3666781"/>
                <a:gd name="connsiteY5" fmla="*/ 1097327 h 1097327"/>
                <a:gd name="connsiteX6" fmla="*/ 2512 w 3666781"/>
                <a:gd name="connsiteY6" fmla="*/ 509953 h 1097327"/>
                <a:gd name="connsiteX7" fmla="*/ 0 w 3666781"/>
                <a:gd name="connsiteY7" fmla="*/ 509953 h 1097327"/>
                <a:gd name="connsiteX8" fmla="*/ 21753 w 3666781"/>
                <a:gd name="connsiteY8" fmla="*/ 497077 h 1097327"/>
                <a:gd name="connsiteX9" fmla="*/ 1974454 w 3666781"/>
                <a:gd name="connsiteY9" fmla="*/ 11453 h 1097327"/>
                <a:gd name="connsiteX10" fmla="*/ 2191782 w 3666781"/>
                <a:gd name="connsiteY10" fmla="*/ 23 h 109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6781" h="1097327">
                  <a:moveTo>
                    <a:pt x="2191782" y="23"/>
                  </a:moveTo>
                  <a:cubicBezTo>
                    <a:pt x="2640135" y="2132"/>
                    <a:pt x="3162945" y="148286"/>
                    <a:pt x="3621124" y="334846"/>
                  </a:cubicBezTo>
                  <a:lnTo>
                    <a:pt x="3666781" y="354529"/>
                  </a:lnTo>
                  <a:lnTo>
                    <a:pt x="3666781" y="1097327"/>
                  </a:lnTo>
                  <a:lnTo>
                    <a:pt x="1196393" y="1097327"/>
                  </a:lnTo>
                  <a:lnTo>
                    <a:pt x="2512" y="1097327"/>
                  </a:lnTo>
                  <a:lnTo>
                    <a:pt x="2512" y="509953"/>
                  </a:lnTo>
                  <a:lnTo>
                    <a:pt x="0" y="509953"/>
                  </a:lnTo>
                  <a:lnTo>
                    <a:pt x="21753" y="497077"/>
                  </a:lnTo>
                  <a:cubicBezTo>
                    <a:pt x="641690" y="153072"/>
                    <a:pt x="1339265" y="11453"/>
                    <a:pt x="1974454" y="11453"/>
                  </a:cubicBezTo>
                  <a:cubicBezTo>
                    <a:pt x="2044399" y="3322"/>
                    <a:pt x="2117056" y="-328"/>
                    <a:pt x="2191782" y="2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65" name="Group 64"/>
            <p:cNvGrpSpPr/>
            <p:nvPr/>
          </p:nvGrpSpPr>
          <p:grpSpPr>
            <a:xfrm>
              <a:off x="8188855" y="5326063"/>
              <a:ext cx="272305" cy="611922"/>
              <a:chOff x="8233609" y="5125403"/>
              <a:chExt cx="272305" cy="611922"/>
            </a:xfrm>
          </p:grpSpPr>
          <p:sp>
            <p:nvSpPr>
              <p:cNvPr id="86" name="Rectangle 85"/>
              <p:cNvSpPr>
                <a:spLocks noChangeArrowheads="1"/>
              </p:cNvSpPr>
              <p:nvPr/>
            </p:nvSpPr>
            <p:spPr bwMode="auto">
              <a:xfrm flipH="1">
                <a:off x="8344612" y="5503170"/>
                <a:ext cx="53767"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Oval 86"/>
              <p:cNvSpPr>
                <a:spLocks noChangeArrowheads="1"/>
              </p:cNvSpPr>
              <p:nvPr/>
            </p:nvSpPr>
            <p:spPr bwMode="auto">
              <a:xfrm flipH="1">
                <a:off x="8233609" y="5285508"/>
                <a:ext cx="272305"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Oval 87"/>
              <p:cNvSpPr>
                <a:spLocks noChangeArrowheads="1"/>
              </p:cNvSpPr>
              <p:nvPr/>
            </p:nvSpPr>
            <p:spPr bwMode="auto">
              <a:xfrm flipH="1">
                <a:off x="8270031" y="5125403"/>
                <a:ext cx="199459"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6" name="Group 65"/>
            <p:cNvGrpSpPr/>
            <p:nvPr/>
          </p:nvGrpSpPr>
          <p:grpSpPr>
            <a:xfrm>
              <a:off x="8592636" y="5125403"/>
              <a:ext cx="270572" cy="611922"/>
              <a:chOff x="8592636" y="5125403"/>
              <a:chExt cx="270572" cy="611922"/>
            </a:xfrm>
          </p:grpSpPr>
          <p:sp>
            <p:nvSpPr>
              <p:cNvPr id="89" name="Rectangle 88"/>
              <p:cNvSpPr>
                <a:spLocks noChangeArrowheads="1"/>
              </p:cNvSpPr>
              <p:nvPr/>
            </p:nvSpPr>
            <p:spPr bwMode="auto">
              <a:xfrm flipH="1">
                <a:off x="8701904" y="5503170"/>
                <a:ext cx="55502"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Oval 89"/>
              <p:cNvSpPr>
                <a:spLocks noChangeArrowheads="1"/>
              </p:cNvSpPr>
              <p:nvPr/>
            </p:nvSpPr>
            <p:spPr bwMode="auto">
              <a:xfrm flipH="1">
                <a:off x="8592636" y="5285508"/>
                <a:ext cx="270572"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Oval 90"/>
              <p:cNvSpPr>
                <a:spLocks noChangeArrowheads="1"/>
              </p:cNvSpPr>
              <p:nvPr/>
            </p:nvSpPr>
            <p:spPr bwMode="auto">
              <a:xfrm flipH="1">
                <a:off x="8627324" y="5125403"/>
                <a:ext cx="201194"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7" name="Group 66"/>
            <p:cNvGrpSpPr/>
            <p:nvPr/>
          </p:nvGrpSpPr>
          <p:grpSpPr>
            <a:xfrm>
              <a:off x="8120944" y="5176838"/>
              <a:ext cx="2985205" cy="1192210"/>
              <a:chOff x="8350243" y="5276458"/>
              <a:chExt cx="2820988" cy="1092592"/>
            </a:xfrm>
          </p:grpSpPr>
          <p:sp>
            <p:nvSpPr>
              <p:cNvPr id="24" name="Freeform 25"/>
              <p:cNvSpPr>
                <a:spLocks/>
              </p:cNvSpPr>
              <p:nvPr/>
            </p:nvSpPr>
            <p:spPr bwMode="auto">
              <a:xfrm>
                <a:off x="8350243" y="5276458"/>
                <a:ext cx="1976438" cy="1092591"/>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26"/>
              <p:cNvSpPr>
                <a:spLocks/>
              </p:cNvSpPr>
              <p:nvPr/>
            </p:nvSpPr>
            <p:spPr bwMode="auto">
              <a:xfrm>
                <a:off x="10521943" y="5399308"/>
                <a:ext cx="649288" cy="969742"/>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27"/>
              <p:cNvSpPr>
                <a:spLocks/>
              </p:cNvSpPr>
              <p:nvPr/>
            </p:nvSpPr>
            <p:spPr bwMode="auto">
              <a:xfrm>
                <a:off x="8718543" y="5283419"/>
                <a:ext cx="2382838" cy="108563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0" name="Freeform 41"/>
            <p:cNvSpPr>
              <a:spLocks/>
            </p:cNvSpPr>
            <p:nvPr/>
          </p:nvSpPr>
          <p:spPr bwMode="auto">
            <a:xfrm>
              <a:off x="11623823" y="4151954"/>
              <a:ext cx="513940" cy="477023"/>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561 w 10000"/>
                <a:gd name="connsiteY4" fmla="*/ 0 h 10050"/>
                <a:gd name="connsiteX5" fmla="*/ 0 w 10000"/>
                <a:gd name="connsiteY5" fmla="*/ 10050 h 10050"/>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468 w 10000"/>
                <a:gd name="connsiteY4" fmla="*/ 0 h 10050"/>
                <a:gd name="connsiteX5" fmla="*/ 0 w 10000"/>
                <a:gd name="connsiteY5" fmla="*/ 10050 h 1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0">
                  <a:moveTo>
                    <a:pt x="0" y="10050"/>
                  </a:moveTo>
                  <a:lnTo>
                    <a:pt x="0" y="10050"/>
                  </a:lnTo>
                  <a:lnTo>
                    <a:pt x="4988" y="4524"/>
                  </a:lnTo>
                  <a:lnTo>
                    <a:pt x="10000" y="8413"/>
                  </a:lnTo>
                  <a:lnTo>
                    <a:pt x="4468" y="0"/>
                  </a:lnTo>
                  <a:lnTo>
                    <a:pt x="0" y="10050"/>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59" name="Freeform 40"/>
            <p:cNvSpPr>
              <a:spLocks/>
            </p:cNvSpPr>
            <p:nvPr/>
          </p:nvSpPr>
          <p:spPr bwMode="auto">
            <a:xfrm>
              <a:off x="8723113" y="4728904"/>
              <a:ext cx="411899" cy="265082"/>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42"/>
            <p:cNvSpPr>
              <a:spLocks/>
            </p:cNvSpPr>
            <p:nvPr/>
          </p:nvSpPr>
          <p:spPr bwMode="auto">
            <a:xfrm>
              <a:off x="8117087" y="4832993"/>
              <a:ext cx="317324" cy="359457"/>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43"/>
            <p:cNvSpPr>
              <a:spLocks/>
            </p:cNvSpPr>
            <p:nvPr/>
          </p:nvSpPr>
          <p:spPr bwMode="auto">
            <a:xfrm>
              <a:off x="9534466" y="3917003"/>
              <a:ext cx="1672481" cy="588454"/>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5" name="icon  BINARY"/>
          <p:cNvSpPr>
            <a:spLocks noChangeAspect="1" noEditPoints="1"/>
          </p:cNvSpPr>
          <p:nvPr/>
        </p:nvSpPr>
        <p:spPr bwMode="auto">
          <a:xfrm>
            <a:off x="10341634" y="4608582"/>
            <a:ext cx="436739" cy="358417"/>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EB3C00"/>
          </a:solidFill>
          <a:ln>
            <a:noFill/>
          </a:ln>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72" name="Group 71"/>
          <p:cNvGrpSpPr/>
          <p:nvPr/>
        </p:nvGrpSpPr>
        <p:grpSpPr>
          <a:xfrm>
            <a:off x="10101900" y="4541546"/>
            <a:ext cx="303349" cy="519580"/>
            <a:chOff x="10671168" y="4913313"/>
            <a:chExt cx="309563" cy="530225"/>
          </a:xfrm>
        </p:grpSpPr>
        <p:sp>
          <p:nvSpPr>
            <p:cNvPr id="11" name="Freeform 12"/>
            <p:cNvSpPr>
              <a:spLocks/>
            </p:cNvSpPr>
            <p:nvPr/>
          </p:nvSpPr>
          <p:spPr bwMode="auto">
            <a:xfrm>
              <a:off x="10671168" y="4913313"/>
              <a:ext cx="309563" cy="530225"/>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13"/>
            <p:cNvSpPr>
              <a:spLocks/>
            </p:cNvSpPr>
            <p:nvPr/>
          </p:nvSpPr>
          <p:spPr bwMode="auto">
            <a:xfrm>
              <a:off x="10698156" y="4945063"/>
              <a:ext cx="250825" cy="417512"/>
            </a:xfrm>
            <a:custGeom>
              <a:avLst/>
              <a:gdLst>
                <a:gd name="T0" fmla="*/ 0 w 158"/>
                <a:gd name="T1" fmla="*/ 0 h 263"/>
                <a:gd name="T2" fmla="*/ 158 w 158"/>
                <a:gd name="T3" fmla="*/ 0 h 263"/>
                <a:gd name="T4" fmla="*/ 158 w 158"/>
                <a:gd name="T5" fmla="*/ 263 h 263"/>
                <a:gd name="T6" fmla="*/ 0 w 158"/>
                <a:gd name="T7" fmla="*/ 263 h 263"/>
                <a:gd name="T8" fmla="*/ 0 w 158"/>
                <a:gd name="T9" fmla="*/ 0 h 263"/>
                <a:gd name="T10" fmla="*/ 0 w 158"/>
                <a:gd name="T11" fmla="*/ 0 h 263"/>
              </a:gdLst>
              <a:ahLst/>
              <a:cxnLst>
                <a:cxn ang="0">
                  <a:pos x="T0" y="T1"/>
                </a:cxn>
                <a:cxn ang="0">
                  <a:pos x="T2" y="T3"/>
                </a:cxn>
                <a:cxn ang="0">
                  <a:pos x="T4" y="T5"/>
                </a:cxn>
                <a:cxn ang="0">
                  <a:pos x="T6" y="T7"/>
                </a:cxn>
                <a:cxn ang="0">
                  <a:pos x="T8" y="T9"/>
                </a:cxn>
                <a:cxn ang="0">
                  <a:pos x="T10" y="T11"/>
                </a:cxn>
              </a:cxnLst>
              <a:rect l="0" t="0" r="r" b="b"/>
              <a:pathLst>
                <a:path w="158" h="263">
                  <a:moveTo>
                    <a:pt x="0" y="0"/>
                  </a:moveTo>
                  <a:lnTo>
                    <a:pt x="158" y="0"/>
                  </a:lnTo>
                  <a:lnTo>
                    <a:pt x="158" y="263"/>
                  </a:lnTo>
                  <a:lnTo>
                    <a:pt x="0" y="263"/>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aphicFrame>
        <p:nvGraphicFramePr>
          <p:cNvPr id="3" name="Object 2" hidden="1"/>
          <p:cNvGraphicFramePr>
            <a:graphicFrameLocks noChangeAspect="1"/>
          </p:cNvGraphicFramePr>
          <p:nvPr>
            <p:custDataLst>
              <p:tags r:id="rId2"/>
            </p:custDataLst>
            <p:extLst/>
          </p:nvPr>
        </p:nvGraphicFramePr>
        <p:xfrm>
          <a:off x="4152" y="3504"/>
          <a:ext cx="1556" cy="1556"/>
        </p:xfrm>
        <a:graphic>
          <a:graphicData uri="http://schemas.openxmlformats.org/presentationml/2006/ole">
            <mc:AlternateContent xmlns:mc="http://schemas.openxmlformats.org/markup-compatibility/2006">
              <mc:Choice xmlns:v="urn:schemas-microsoft-com:vml" Requires="v">
                <p:oleObj spid="_x0000_s9319"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4152" y="350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6000" dirty="0">
                <a:solidFill>
                  <a:srgbClr val="442157"/>
                </a:solidFill>
                <a:ea typeface="+mj-ea"/>
                <a:cs typeface="+mj-cs"/>
              </a:rPr>
              <a:t>Microsoft’s view</a:t>
            </a:r>
          </a:p>
        </p:txBody>
      </p:sp>
      <p:grpSp>
        <p:nvGrpSpPr>
          <p:cNvPr id="71" name="Group 70"/>
          <p:cNvGrpSpPr/>
          <p:nvPr/>
        </p:nvGrpSpPr>
        <p:grpSpPr>
          <a:xfrm>
            <a:off x="9695641" y="4497629"/>
            <a:ext cx="483309" cy="738667"/>
            <a:chOff x="10306043" y="4543425"/>
            <a:chExt cx="531813" cy="812800"/>
          </a:xfrm>
        </p:grpSpPr>
        <p:sp>
          <p:nvSpPr>
            <p:cNvPr id="38" name="Rectangle 39"/>
            <p:cNvSpPr>
              <a:spLocks noChangeArrowheads="1"/>
            </p:cNvSpPr>
            <p:nvPr/>
          </p:nvSpPr>
          <p:spPr bwMode="auto">
            <a:xfrm>
              <a:off x="10306043" y="4543425"/>
              <a:ext cx="531813" cy="8128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39" name="Freeform 40"/>
            <p:cNvSpPr>
              <a:spLocks/>
            </p:cNvSpPr>
            <p:nvPr/>
          </p:nvSpPr>
          <p:spPr bwMode="auto">
            <a:xfrm>
              <a:off x="10361606" y="4630738"/>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41"/>
            <p:cNvSpPr>
              <a:spLocks/>
            </p:cNvSpPr>
            <p:nvPr/>
          </p:nvSpPr>
          <p:spPr bwMode="auto">
            <a:xfrm>
              <a:off x="10361606" y="47593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42"/>
            <p:cNvSpPr>
              <a:spLocks/>
            </p:cNvSpPr>
            <p:nvPr/>
          </p:nvSpPr>
          <p:spPr bwMode="auto">
            <a:xfrm>
              <a:off x="10361606" y="4892675"/>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6" name="Freeform 43"/>
            <p:cNvSpPr>
              <a:spLocks/>
            </p:cNvSpPr>
            <p:nvPr/>
          </p:nvSpPr>
          <p:spPr bwMode="auto">
            <a:xfrm>
              <a:off x="10361606" y="5021263"/>
              <a:ext cx="420688" cy="76200"/>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7" name="Freeform 44"/>
            <p:cNvSpPr>
              <a:spLocks/>
            </p:cNvSpPr>
            <p:nvPr/>
          </p:nvSpPr>
          <p:spPr bwMode="auto">
            <a:xfrm>
              <a:off x="10361606" y="51530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8" name="Oval 45"/>
            <p:cNvSpPr>
              <a:spLocks noChangeArrowheads="1"/>
            </p:cNvSpPr>
            <p:nvPr/>
          </p:nvSpPr>
          <p:spPr bwMode="auto">
            <a:xfrm>
              <a:off x="10702918" y="46450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9" name="Oval 46"/>
            <p:cNvSpPr>
              <a:spLocks noChangeArrowheads="1"/>
            </p:cNvSpPr>
            <p:nvPr/>
          </p:nvSpPr>
          <p:spPr bwMode="auto">
            <a:xfrm>
              <a:off x="10702918" y="47767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0" name="Oval 47"/>
            <p:cNvSpPr>
              <a:spLocks noChangeArrowheads="1"/>
            </p:cNvSpPr>
            <p:nvPr/>
          </p:nvSpPr>
          <p:spPr bwMode="auto">
            <a:xfrm>
              <a:off x="10702918" y="4906963"/>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1" name="Oval 48"/>
            <p:cNvSpPr>
              <a:spLocks noChangeArrowheads="1"/>
            </p:cNvSpPr>
            <p:nvPr/>
          </p:nvSpPr>
          <p:spPr bwMode="auto">
            <a:xfrm>
              <a:off x="10702918" y="50387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2" name="Oval 49"/>
            <p:cNvSpPr>
              <a:spLocks noChangeArrowheads="1"/>
            </p:cNvSpPr>
            <p:nvPr/>
          </p:nvSpPr>
          <p:spPr bwMode="auto">
            <a:xfrm>
              <a:off x="10702918" y="51704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70" name="Group 69"/>
          <p:cNvGrpSpPr>
            <a:grpSpLocks noChangeAspect="1"/>
          </p:cNvGrpSpPr>
          <p:nvPr/>
        </p:nvGrpSpPr>
        <p:grpSpPr>
          <a:xfrm>
            <a:off x="9364580" y="4638549"/>
            <a:ext cx="679760" cy="822610"/>
            <a:chOff x="10066331" y="4794250"/>
            <a:chExt cx="657225" cy="795337"/>
          </a:xfrm>
        </p:grpSpPr>
        <p:sp>
          <p:nvSpPr>
            <p:cNvPr id="30" name="Freeform 31"/>
            <p:cNvSpPr>
              <a:spLocks/>
            </p:cNvSpPr>
            <p:nvPr/>
          </p:nvSpPr>
          <p:spPr bwMode="auto">
            <a:xfrm>
              <a:off x="10504481" y="5403850"/>
              <a:ext cx="219075" cy="185737"/>
            </a:xfrm>
            <a:custGeom>
              <a:avLst/>
              <a:gdLst>
                <a:gd name="T0" fmla="*/ 0 w 138"/>
                <a:gd name="T1" fmla="*/ 117 h 117"/>
                <a:gd name="T2" fmla="*/ 138 w 138"/>
                <a:gd name="T3" fmla="*/ 0 h 117"/>
                <a:gd name="T4" fmla="*/ 0 w 138"/>
                <a:gd name="T5" fmla="*/ 0 h 117"/>
                <a:gd name="T6" fmla="*/ 0 w 138"/>
                <a:gd name="T7" fmla="*/ 117 h 117"/>
              </a:gdLst>
              <a:ahLst/>
              <a:cxnLst>
                <a:cxn ang="0">
                  <a:pos x="T0" y="T1"/>
                </a:cxn>
                <a:cxn ang="0">
                  <a:pos x="T2" y="T3"/>
                </a:cxn>
                <a:cxn ang="0">
                  <a:pos x="T4" y="T5"/>
                </a:cxn>
                <a:cxn ang="0">
                  <a:pos x="T6" y="T7"/>
                </a:cxn>
              </a:cxnLst>
              <a:rect l="0" t="0" r="r" b="b"/>
              <a:pathLst>
                <a:path w="138" h="117">
                  <a:moveTo>
                    <a:pt x="0" y="117"/>
                  </a:moveTo>
                  <a:lnTo>
                    <a:pt x="138" y="0"/>
                  </a:lnTo>
                  <a:lnTo>
                    <a:pt x="0" y="0"/>
                  </a:lnTo>
                  <a:lnTo>
                    <a:pt x="0" y="1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3" name="Freeform 50"/>
            <p:cNvSpPr>
              <a:spLocks/>
            </p:cNvSpPr>
            <p:nvPr/>
          </p:nvSpPr>
          <p:spPr bwMode="auto">
            <a:xfrm>
              <a:off x="10066331" y="4794250"/>
              <a:ext cx="461963" cy="795337"/>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51"/>
            <p:cNvSpPr>
              <a:spLocks/>
            </p:cNvSpPr>
            <p:nvPr/>
          </p:nvSpPr>
          <p:spPr bwMode="auto">
            <a:xfrm>
              <a:off x="10107606" y="4840288"/>
              <a:ext cx="376238" cy="623887"/>
            </a:xfrm>
            <a:custGeom>
              <a:avLst/>
              <a:gdLst>
                <a:gd name="T0" fmla="*/ 0 w 237"/>
                <a:gd name="T1" fmla="*/ 0 h 393"/>
                <a:gd name="T2" fmla="*/ 237 w 237"/>
                <a:gd name="T3" fmla="*/ 0 h 393"/>
                <a:gd name="T4" fmla="*/ 237 w 237"/>
                <a:gd name="T5" fmla="*/ 393 h 393"/>
                <a:gd name="T6" fmla="*/ 0 w 237"/>
                <a:gd name="T7" fmla="*/ 393 h 393"/>
                <a:gd name="T8" fmla="*/ 0 w 237"/>
                <a:gd name="T9" fmla="*/ 0 h 393"/>
                <a:gd name="T10" fmla="*/ 0 w 237"/>
                <a:gd name="T11" fmla="*/ 0 h 393"/>
              </a:gdLst>
              <a:ahLst/>
              <a:cxnLst>
                <a:cxn ang="0">
                  <a:pos x="T0" y="T1"/>
                </a:cxn>
                <a:cxn ang="0">
                  <a:pos x="T2" y="T3"/>
                </a:cxn>
                <a:cxn ang="0">
                  <a:pos x="T4" y="T5"/>
                </a:cxn>
                <a:cxn ang="0">
                  <a:pos x="T6" y="T7"/>
                </a:cxn>
                <a:cxn ang="0">
                  <a:pos x="T8" y="T9"/>
                </a:cxn>
                <a:cxn ang="0">
                  <a:pos x="T10" y="T11"/>
                </a:cxn>
              </a:cxnLst>
              <a:rect l="0" t="0" r="r" b="b"/>
              <a:pathLst>
                <a:path w="237" h="393">
                  <a:moveTo>
                    <a:pt x="0" y="0"/>
                  </a:moveTo>
                  <a:lnTo>
                    <a:pt x="237" y="0"/>
                  </a:lnTo>
                  <a:lnTo>
                    <a:pt x="237" y="393"/>
                  </a:lnTo>
                  <a:lnTo>
                    <a:pt x="0" y="393"/>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69" name="Group 68"/>
          <p:cNvGrpSpPr/>
          <p:nvPr/>
        </p:nvGrpSpPr>
        <p:grpSpPr>
          <a:xfrm>
            <a:off x="8749371" y="4833682"/>
            <a:ext cx="1014271" cy="782482"/>
            <a:chOff x="9288456" y="4913313"/>
            <a:chExt cx="1035050" cy="798512"/>
          </a:xfrm>
        </p:grpSpPr>
        <p:sp>
          <p:nvSpPr>
            <p:cNvPr id="55" name="Freeform 52"/>
            <p:cNvSpPr>
              <a:spLocks/>
            </p:cNvSpPr>
            <p:nvPr/>
          </p:nvSpPr>
          <p:spPr bwMode="auto">
            <a:xfrm>
              <a:off x="9288456" y="5035550"/>
              <a:ext cx="1035050" cy="676275"/>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6" name="Freeform 53"/>
            <p:cNvSpPr>
              <a:spLocks/>
            </p:cNvSpPr>
            <p:nvPr/>
          </p:nvSpPr>
          <p:spPr bwMode="auto">
            <a:xfrm>
              <a:off x="9393231" y="4913313"/>
              <a:ext cx="430213" cy="28257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7" name="Rectangle 166"/>
          <p:cNvSpPr/>
          <p:nvPr/>
        </p:nvSpPr>
        <p:spPr bwMode="auto">
          <a:xfrm>
            <a:off x="351178" y="1406424"/>
            <a:ext cx="7058193" cy="4625298"/>
          </a:xfrm>
          <a:prstGeom prst="rect">
            <a:avLst/>
          </a:prstGeom>
          <a:solidFill>
            <a:srgbClr val="44215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179208" rIns="179208" bIns="179208"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marL="0" marR="0" lvl="0" indent="0" algn="l" defTabSz="658951" rtl="0" eaLnBrk="1" fontAlgn="base" latinLnBrk="0" hangingPunct="1">
              <a:lnSpc>
                <a:spcPct val="100000"/>
              </a:lnSpc>
              <a:spcBef>
                <a:spcPct val="0"/>
              </a:spcBef>
              <a:spcAft>
                <a:spcPts val="1765"/>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Segoe UI Light"/>
                <a:ea typeface="+mn-ea"/>
                <a:cs typeface="+mn-cs"/>
              </a:rPr>
              <a:t>The Internet of Things </a:t>
            </a:r>
            <a:r>
              <a:rPr kumimoji="0" lang="en-US" sz="3600" b="0" i="0" u="none" strike="noStrike" kern="1200" cap="none" spc="0" normalizeH="0" baseline="0" noProof="0" dirty="0">
                <a:ln>
                  <a:noFill/>
                </a:ln>
                <a:solidFill>
                  <a:prstClr val="white"/>
                </a:solidFill>
                <a:effectLst/>
                <a:uLnTx/>
                <a:uFillTx/>
                <a:latin typeface="Segoe UI Light"/>
                <a:ea typeface="+mn-ea"/>
                <a:cs typeface="Segoe UI Semibold" panose="020B0702040204020203" pitchFamily="34" charset="0"/>
              </a:rPr>
              <a:t>starts with </a:t>
            </a:r>
            <a:r>
              <a:rPr kumimoji="0" lang="en-US" sz="40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Your Things.</a:t>
            </a:r>
          </a:p>
          <a:p>
            <a:pPr marL="446820" marR="0" lvl="0" indent="-329396" algn="l" defTabSz="658951" rtl="0" eaLnBrk="1" fontAlgn="base" latinLnBrk="0" hangingPunct="1">
              <a:lnSpc>
                <a:spcPct val="100000"/>
              </a:lnSpc>
              <a:spcBef>
                <a:spcPts val="0"/>
              </a:spcBef>
              <a:spcAft>
                <a:spcPts val="196"/>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Build on the infrastructure you already have.</a:t>
            </a:r>
          </a:p>
          <a:p>
            <a:pPr marL="446820" marR="0" lvl="0" indent="-329396" algn="l" defTabSz="658951" rtl="0" eaLnBrk="1" fontAlgn="base" latinLnBrk="0" hangingPunct="1">
              <a:lnSpc>
                <a:spcPct val="100000"/>
              </a:lnSpc>
              <a:spcBef>
                <a:spcPts val="196"/>
              </a:spcBef>
              <a:spcAft>
                <a:spcPts val="196"/>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Add more devices to the ones you already own.</a:t>
            </a:r>
          </a:p>
          <a:p>
            <a:pPr marL="446820" marR="0" lvl="0" indent="-329396" algn="l" defTabSz="658951" rtl="0" eaLnBrk="1" fontAlgn="base" latinLnBrk="0" hangingPunct="1">
              <a:lnSpc>
                <a:spcPct val="100000"/>
              </a:lnSpc>
              <a:spcBef>
                <a:spcPts val="196"/>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Get more from the data that already exists. </a:t>
            </a:r>
          </a:p>
          <a:p>
            <a:pPr marL="0" marR="0" lvl="0" indent="0" algn="l" defTabSz="896162" rtl="0" eaLnBrk="1" fontAlgn="auto" latinLnBrk="0" hangingPunct="1">
              <a:lnSpc>
                <a:spcPct val="100000"/>
              </a:lnSpc>
              <a:spcBef>
                <a:spcPts val="1765"/>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mn-cs"/>
              </a:rPr>
              <a:t>Stop just running your business. </a:t>
            </a:r>
          </a:p>
          <a:p>
            <a:pPr marL="0" marR="0" lvl="0" indent="0" algn="l" defTabSz="89616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mn-cs"/>
              </a:rPr>
              <a:t>Start making it thrive. Start realizing the potential of the </a:t>
            </a:r>
            <a:r>
              <a:rPr kumimoji="0" lang="en-US" sz="2800" b="0" i="0" u="none" strike="noStrike" kern="1200" cap="none" spc="0" normalizeH="0" baseline="0" noProof="0" dirty="0">
                <a:ln>
                  <a:noFill/>
                </a:ln>
                <a:solidFill>
                  <a:prstClr val="white"/>
                </a:solidFill>
                <a:effectLst>
                  <a:glow rad="25400">
                    <a:srgbClr val="F8F8F8">
                      <a:alpha val="30000"/>
                    </a:srgbClr>
                  </a:glow>
                </a:effectLst>
                <a:uLnTx/>
                <a:uFillTx/>
                <a:latin typeface="Segoe UI Light"/>
                <a:ea typeface="+mn-ea"/>
                <a:cs typeface="Segoe UI Light" panose="020B0502040204020203" pitchFamily="34" charset="0"/>
              </a:rPr>
              <a:t>Internet of </a:t>
            </a:r>
            <a:r>
              <a:rPr kumimoji="0" lang="en-US" sz="3200" b="0" i="0" u="none" strike="noStrike" kern="1200" cap="none" spc="0" normalizeH="0" baseline="0" noProof="0" dirty="0">
                <a:ln>
                  <a:noFill/>
                </a:ln>
                <a:solidFill>
                  <a:prstClr val="white"/>
                </a:solidFill>
                <a:effectLst>
                  <a:glow rad="25400">
                    <a:srgbClr val="F8F8F8">
                      <a:alpha val="30000"/>
                    </a:srgbClr>
                  </a:glow>
                </a:effectLst>
                <a:uLnTx/>
                <a:uFillTx/>
                <a:latin typeface="Segoe UI Semibold" panose="020B0702040204020203" pitchFamily="34" charset="0"/>
                <a:ea typeface="+mn-ea"/>
                <a:cs typeface="Segoe UI Semibold" panose="020B0702040204020203" pitchFamily="34" charset="0"/>
              </a:rPr>
              <a:t>Your Things</a:t>
            </a:r>
            <a:r>
              <a:rPr kumimoji="0" lang="en-US" sz="2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rPr>
              <a:t>.</a:t>
            </a:r>
            <a:r>
              <a:rPr kumimoji="0" lang="en-US" sz="2800" b="0" i="0" u="none" strike="noStrike" kern="1200" cap="none" spc="0" normalizeH="0" baseline="0" noProof="0" dirty="0">
                <a:ln>
                  <a:noFill/>
                </a:ln>
                <a:solidFill>
                  <a:prstClr val="white"/>
                </a:solidFill>
                <a:effectLst/>
                <a:uLnTx/>
                <a:uFillTx/>
                <a:latin typeface="Segoe UI Light"/>
                <a:ea typeface="+mn-ea"/>
                <a:cs typeface="+mn-cs"/>
              </a:rPr>
              <a:t> </a:t>
            </a:r>
          </a:p>
        </p:txBody>
      </p:sp>
      <p:grpSp>
        <p:nvGrpSpPr>
          <p:cNvPr id="62" name="Group 61"/>
          <p:cNvGrpSpPr>
            <a:grpSpLocks noChangeAspect="1"/>
          </p:cNvGrpSpPr>
          <p:nvPr/>
        </p:nvGrpSpPr>
        <p:grpSpPr>
          <a:xfrm>
            <a:off x="8414910" y="5287497"/>
            <a:ext cx="922897" cy="639809"/>
            <a:chOff x="1911390" y="2629249"/>
            <a:chExt cx="3168719" cy="2196751"/>
          </a:xfrm>
        </p:grpSpPr>
        <p:sp>
          <p:nvSpPr>
            <p:cNvPr id="63" name="handheld"/>
            <p:cNvSpPr>
              <a:spLocks noChangeAspect="1"/>
            </p:cNvSpPr>
            <p:nvPr/>
          </p:nvSpPr>
          <p:spPr bwMode="auto">
            <a:xfrm>
              <a:off x="1911390" y="2629249"/>
              <a:ext cx="3168719" cy="219456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89604" tIns="44802" rIns="1075254" bIns="44802" numCol="1" spcCol="0" rtlCol="0" fromWordArt="0" anchor="b" anchorCtr="0" forceAA="0" compatLnSpc="1">
              <a:prstTxWarp prst="textNoShape">
                <a:avLst/>
              </a:prstTxWarp>
              <a:noAutofit/>
            </a:bodyPr>
            <a:lstStyle/>
            <a:p>
              <a:pPr marL="0" marR="0" lvl="0" indent="0" algn="l" defTabSz="895575"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49" normalizeH="0" baseline="0" noProof="0" dirty="0" err="1">
                <a:ln>
                  <a:noFill/>
                </a:ln>
                <a:solidFill>
                  <a:srgbClr val="008272"/>
                </a:solidFill>
                <a:effectLst/>
                <a:uLnTx/>
                <a:uFillTx/>
                <a:latin typeface="Segoe UI Light"/>
                <a:ea typeface="Segoe UI" pitchFamily="34" charset="0"/>
                <a:cs typeface="Segoe UI" pitchFamily="34" charset="0"/>
              </a:endParaRPr>
            </a:p>
          </p:txBody>
        </p:sp>
        <p:sp>
          <p:nvSpPr>
            <p:cNvPr id="64" name="Freeform 63"/>
            <p:cNvSpPr/>
            <p:nvPr/>
          </p:nvSpPr>
          <p:spPr>
            <a:xfrm>
              <a:off x="2306320" y="3708400"/>
              <a:ext cx="1127760" cy="1117600"/>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3" name="Rectangle 72"/>
            <p:cNvSpPr/>
            <p:nvPr/>
          </p:nvSpPr>
          <p:spPr>
            <a:xfrm>
              <a:off x="1976775" y="2725888"/>
              <a:ext cx="3036530" cy="19304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83" name="Rectangle 82"/>
          <p:cNvSpPr/>
          <p:nvPr/>
        </p:nvSpPr>
        <p:spPr>
          <a:xfrm>
            <a:off x="-19238" y="6295619"/>
            <a:ext cx="12208646" cy="5773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3090200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67"/>
                                        </p:tgtEl>
                                        <p:attrNameLst>
                                          <p:attrName>style.visibility</p:attrName>
                                        </p:attrNameLst>
                                      </p:cBhvr>
                                      <p:to>
                                        <p:strVal val="visible"/>
                                      </p:to>
                                    </p:set>
                                    <p:anim calcmode="lin" valueType="num">
                                      <p:cBhvr additive="base">
                                        <p:cTn id="7" dur="500" fill="hold"/>
                                        <p:tgtEl>
                                          <p:spTgt spid="167"/>
                                        </p:tgtEl>
                                        <p:attrNameLst>
                                          <p:attrName>ppt_x</p:attrName>
                                        </p:attrNameLst>
                                      </p:cBhvr>
                                      <p:tavLst>
                                        <p:tav tm="0">
                                          <p:val>
                                            <p:strVal val="0-#ppt_w/2"/>
                                          </p:val>
                                        </p:tav>
                                        <p:tav tm="100000">
                                          <p:val>
                                            <p:strVal val="#ppt_x"/>
                                          </p:val>
                                        </p:tav>
                                      </p:tavLst>
                                    </p:anim>
                                    <p:anim calcmode="lin" valueType="num">
                                      <p:cBhvr additive="base">
                                        <p:cTn id="8" dur="500" fill="hold"/>
                                        <p:tgtEl>
                                          <p:spTgt spid="16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82"/>
                                        </p:tgtEl>
                                        <p:attrNameLst>
                                          <p:attrName>style.visibility</p:attrName>
                                        </p:attrNameLst>
                                      </p:cBhvr>
                                      <p:to>
                                        <p:strVal val="visible"/>
                                      </p:to>
                                    </p:set>
                                    <p:animEffect transition="in" filter="fade">
                                      <p:cBhvr>
                                        <p:cTn id="11" dur="500"/>
                                        <p:tgtEl>
                                          <p:spTgt spid="82"/>
                                        </p:tgtEl>
                                      </p:cBhvr>
                                    </p:animEffect>
                                  </p:childTnLst>
                                </p:cTn>
                              </p:par>
                              <p:par>
                                <p:cTn id="12" presetID="64" presetClass="path" presetSubtype="0" accel="50000" decel="50000" fill="hold" nodeType="withEffect">
                                  <p:stCondLst>
                                    <p:cond delay="0"/>
                                  </p:stCondLst>
                                  <p:childTnLst>
                                    <p:animMotion origin="layout" path="M 0.0875 -0.00046 L 1.66667E-6 3.7037E-7 " pathEditMode="relative" rAng="0" ptsTypes="AA">
                                      <p:cBhvr>
                                        <p:cTn id="13" dur="1000" fill="hold"/>
                                        <p:tgtEl>
                                          <p:spTgt spid="82"/>
                                        </p:tgtEl>
                                        <p:attrNameLst>
                                          <p:attrName>ppt_x</p:attrName>
                                          <p:attrName>ppt_y</p:attrName>
                                        </p:attrNameLst>
                                      </p:cBhvr>
                                      <p:rCtr x="-4375" y="23"/>
                                    </p:animMotion>
                                  </p:childTnLst>
                                </p:cTn>
                              </p:par>
                            </p:childTnLst>
                          </p:cTn>
                        </p:par>
                        <p:par>
                          <p:cTn id="14" fill="hold">
                            <p:stCondLst>
                              <p:cond delay="1000"/>
                            </p:stCondLst>
                            <p:childTnLst>
                              <p:par>
                                <p:cTn id="15" presetID="10" presetClass="entr" presetSubtype="0" fill="hold" grpId="1" nodeType="afterEffect">
                                  <p:stCondLst>
                                    <p:cond delay="0"/>
                                  </p:stCondLst>
                                  <p:childTnLst>
                                    <p:set>
                                      <p:cBhvr>
                                        <p:cTn id="16" dur="1" fill="hold">
                                          <p:stCondLst>
                                            <p:cond delay="0"/>
                                          </p:stCondLst>
                                        </p:cTn>
                                        <p:tgtEl>
                                          <p:spTgt spid="165"/>
                                        </p:tgtEl>
                                        <p:attrNameLst>
                                          <p:attrName>style.visibility</p:attrName>
                                        </p:attrNameLst>
                                      </p:cBhvr>
                                      <p:to>
                                        <p:strVal val="visible"/>
                                      </p:to>
                                    </p:set>
                                    <p:animEffect transition="in" filter="fade">
                                      <p:cBhvr>
                                        <p:cTn id="17" dur="500"/>
                                        <p:tgtEl>
                                          <p:spTgt spid="165"/>
                                        </p:tgtEl>
                                      </p:cBhvr>
                                    </p:animEffect>
                                  </p:childTnLst>
                                </p:cTn>
                              </p:par>
                              <p:par>
                                <p:cTn id="18" presetID="50" presetClass="path" presetSubtype="0" accel="50000" decel="50000" fill="hold" grpId="0" nodeType="withEffect">
                                  <p:stCondLst>
                                    <p:cond delay="0"/>
                                  </p:stCondLst>
                                  <p:childTnLst>
                                    <p:animMotion origin="layout" path="M -0.16342 0.29606 C -0.15769 0.17616 -0.06394 0.02778 -0.00052 0.00023 " pathEditMode="relative" rAng="16680000" ptsTypes="AA">
                                      <p:cBhvr>
                                        <p:cTn id="19" dur="2000" fill="hold"/>
                                        <p:tgtEl>
                                          <p:spTgt spid="165"/>
                                        </p:tgtEl>
                                        <p:attrNameLst>
                                          <p:attrName>ppt_x</p:attrName>
                                          <p:attrName>ppt_y</p:attrName>
                                        </p:attrNameLst>
                                      </p:cBhvr>
                                      <p:rCtr x="8138" y="-14792"/>
                                    </p:animMotion>
                                  </p:childTnLst>
                                </p:cTn>
                              </p:par>
                              <p:par>
                                <p:cTn id="20" presetID="10" presetClass="entr" presetSubtype="0" fill="hold" nodeType="withEffect">
                                  <p:stCondLst>
                                    <p:cond delay="250"/>
                                  </p:stCondLst>
                                  <p:childTnLst>
                                    <p:set>
                                      <p:cBhvr>
                                        <p:cTn id="21" dur="1" fill="hold">
                                          <p:stCondLst>
                                            <p:cond delay="0"/>
                                          </p:stCondLst>
                                        </p:cTn>
                                        <p:tgtEl>
                                          <p:spTgt spid="72"/>
                                        </p:tgtEl>
                                        <p:attrNameLst>
                                          <p:attrName>style.visibility</p:attrName>
                                        </p:attrNameLst>
                                      </p:cBhvr>
                                      <p:to>
                                        <p:strVal val="visible"/>
                                      </p:to>
                                    </p:set>
                                    <p:animEffect transition="in" filter="fade">
                                      <p:cBhvr>
                                        <p:cTn id="22" dur="500"/>
                                        <p:tgtEl>
                                          <p:spTgt spid="72"/>
                                        </p:tgtEl>
                                      </p:cBhvr>
                                    </p:animEffect>
                                  </p:childTnLst>
                                </p:cTn>
                              </p:par>
                              <p:par>
                                <p:cTn id="23" presetID="50" presetClass="path" presetSubtype="0" accel="50000" decel="50000" fill="hold" nodeType="withEffect">
                                  <p:stCondLst>
                                    <p:cond delay="250"/>
                                  </p:stCondLst>
                                  <p:childTnLst>
                                    <p:animMotion origin="layout" path="M -0.13933 0.29606 C -0.13334 0.17523 -0.06394 0.02731 -0.00053 0.00023 " pathEditMode="relative" rAng="16680000" ptsTypes="AA">
                                      <p:cBhvr>
                                        <p:cTn id="24" dur="2000" fill="hold"/>
                                        <p:tgtEl>
                                          <p:spTgt spid="72"/>
                                        </p:tgtEl>
                                        <p:attrNameLst>
                                          <p:attrName>ppt_x</p:attrName>
                                          <p:attrName>ppt_y</p:attrName>
                                        </p:attrNameLst>
                                      </p:cBhvr>
                                      <p:rCtr x="6927" y="-14792"/>
                                    </p:animMotion>
                                  </p:childTnLst>
                                </p:cTn>
                              </p:par>
                              <p:par>
                                <p:cTn id="25" presetID="10" presetClass="entr" presetSubtype="0" fill="hold" nodeType="withEffect">
                                  <p:stCondLst>
                                    <p:cond delay="50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par>
                                <p:cTn id="28" presetID="50" presetClass="path" presetSubtype="0" accel="50000" decel="50000" fill="hold" nodeType="withEffect">
                                  <p:stCondLst>
                                    <p:cond delay="500"/>
                                  </p:stCondLst>
                                  <p:childTnLst>
                                    <p:animMotion origin="layout" path="M -0.12656 0.30162 C -0.12057 0.18148 -0.07096 0.02778 -0.00742 0.00047 " pathEditMode="relative" rAng="16680000" ptsTypes="AA">
                                      <p:cBhvr>
                                        <p:cTn id="29" dur="2000" fill="hold"/>
                                        <p:tgtEl>
                                          <p:spTgt spid="71"/>
                                        </p:tgtEl>
                                        <p:attrNameLst>
                                          <p:attrName>ppt_x</p:attrName>
                                          <p:attrName>ppt_y</p:attrName>
                                        </p:attrNameLst>
                                      </p:cBhvr>
                                      <p:rCtr x="5937" y="-15069"/>
                                    </p:animMotion>
                                  </p:childTnLst>
                                </p:cTn>
                              </p:par>
                              <p:par>
                                <p:cTn id="30" presetID="10" presetClass="entr" presetSubtype="0" fill="hold" nodeType="withEffect">
                                  <p:stCondLst>
                                    <p:cond delay="750"/>
                                  </p:stCondLst>
                                  <p:childTnLst>
                                    <p:set>
                                      <p:cBhvr>
                                        <p:cTn id="31" dur="1" fill="hold">
                                          <p:stCondLst>
                                            <p:cond delay="0"/>
                                          </p:stCondLst>
                                        </p:cTn>
                                        <p:tgtEl>
                                          <p:spTgt spid="70"/>
                                        </p:tgtEl>
                                        <p:attrNameLst>
                                          <p:attrName>style.visibility</p:attrName>
                                        </p:attrNameLst>
                                      </p:cBhvr>
                                      <p:to>
                                        <p:strVal val="visible"/>
                                      </p:to>
                                    </p:set>
                                    <p:animEffect transition="in" filter="fade">
                                      <p:cBhvr>
                                        <p:cTn id="32" dur="500"/>
                                        <p:tgtEl>
                                          <p:spTgt spid="70"/>
                                        </p:tgtEl>
                                      </p:cBhvr>
                                    </p:animEffect>
                                  </p:childTnLst>
                                </p:cTn>
                              </p:par>
                              <p:par>
                                <p:cTn id="33" presetID="50" presetClass="path" presetSubtype="0" accel="50000" decel="50000" fill="hold" nodeType="withEffect">
                                  <p:stCondLst>
                                    <p:cond delay="750"/>
                                  </p:stCondLst>
                                  <p:childTnLst>
                                    <p:animMotion origin="layout" path="M -0.10325 0.27801 C -0.09817 0.15787 -0.06744 0.03334 -0.0039 0.00602 " pathEditMode="relative" rAng="16680000" ptsTypes="AA">
                                      <p:cBhvr>
                                        <p:cTn id="34" dur="2000" fill="hold"/>
                                        <p:tgtEl>
                                          <p:spTgt spid="70"/>
                                        </p:tgtEl>
                                        <p:attrNameLst>
                                          <p:attrName>ppt_x</p:attrName>
                                          <p:attrName>ppt_y</p:attrName>
                                        </p:attrNameLst>
                                      </p:cBhvr>
                                      <p:rCtr x="4935" y="-13611"/>
                                    </p:animMotion>
                                  </p:childTnLst>
                                </p:cTn>
                              </p:par>
                              <p:par>
                                <p:cTn id="35" presetID="10" presetClass="entr" presetSubtype="0" fill="hold" nodeType="withEffect">
                                  <p:stCondLst>
                                    <p:cond delay="1000"/>
                                  </p:stCondLst>
                                  <p:childTnLst>
                                    <p:set>
                                      <p:cBhvr>
                                        <p:cTn id="36" dur="1" fill="hold">
                                          <p:stCondLst>
                                            <p:cond delay="0"/>
                                          </p:stCondLst>
                                        </p:cTn>
                                        <p:tgtEl>
                                          <p:spTgt spid="69"/>
                                        </p:tgtEl>
                                        <p:attrNameLst>
                                          <p:attrName>style.visibility</p:attrName>
                                        </p:attrNameLst>
                                      </p:cBhvr>
                                      <p:to>
                                        <p:strVal val="visible"/>
                                      </p:to>
                                    </p:set>
                                    <p:animEffect transition="in" filter="fade">
                                      <p:cBhvr>
                                        <p:cTn id="37" dur="500"/>
                                        <p:tgtEl>
                                          <p:spTgt spid="69"/>
                                        </p:tgtEl>
                                      </p:cBhvr>
                                    </p:animEffect>
                                  </p:childTnLst>
                                </p:cTn>
                              </p:par>
                              <p:par>
                                <p:cTn id="38" presetID="50" presetClass="path" presetSubtype="0" accel="50000" decel="50000" fill="hold" nodeType="withEffect">
                                  <p:stCondLst>
                                    <p:cond delay="1000"/>
                                  </p:stCondLst>
                                  <p:childTnLst>
                                    <p:animMotion origin="layout" path="M -0.0625 0.25486 C -0.06393 0.14953 -0.03997 0.06689 -0.00442 0.00625 " pathEditMode="relative" rAng="16680000" ptsTypes="AA">
                                      <p:cBhvr>
                                        <p:cTn id="39" dur="2000" fill="hold"/>
                                        <p:tgtEl>
                                          <p:spTgt spid="69"/>
                                        </p:tgtEl>
                                        <p:attrNameLst>
                                          <p:attrName>ppt_x</p:attrName>
                                          <p:attrName>ppt_y</p:attrName>
                                        </p:attrNameLst>
                                      </p:cBhvr>
                                      <p:rCtr x="2760" y="-12454"/>
                                    </p:animMotion>
                                  </p:childTnLst>
                                </p:cTn>
                              </p:par>
                              <p:par>
                                <p:cTn id="40" presetID="10" presetClass="entr" presetSubtype="0" fill="hold" nodeType="withEffect">
                                  <p:stCondLst>
                                    <p:cond delay="1000"/>
                                  </p:stCondLst>
                                  <p:childTnLst>
                                    <p:set>
                                      <p:cBhvr>
                                        <p:cTn id="41" dur="1" fill="hold">
                                          <p:stCondLst>
                                            <p:cond delay="0"/>
                                          </p:stCondLst>
                                        </p:cTn>
                                        <p:tgtEl>
                                          <p:spTgt spid="62"/>
                                        </p:tgtEl>
                                        <p:attrNameLst>
                                          <p:attrName>style.visibility</p:attrName>
                                        </p:attrNameLst>
                                      </p:cBhvr>
                                      <p:to>
                                        <p:strVal val="visible"/>
                                      </p:to>
                                    </p:set>
                                    <p:animEffect transition="in" filter="fade">
                                      <p:cBhvr>
                                        <p:cTn id="42" dur="500"/>
                                        <p:tgtEl>
                                          <p:spTgt spid="62"/>
                                        </p:tgtEl>
                                      </p:cBhvr>
                                    </p:animEffect>
                                  </p:childTnLst>
                                </p:cTn>
                              </p:par>
                              <p:par>
                                <p:cTn id="43" presetID="50" presetClass="path" presetSubtype="0" accel="50000" decel="50000" fill="hold" nodeType="withEffect">
                                  <p:stCondLst>
                                    <p:cond delay="1000"/>
                                  </p:stCondLst>
                                  <p:childTnLst>
                                    <p:animMotion origin="layout" path="M -0.0625 0.25486 C -0.06393 0.14954 -0.03997 0.0669 -0.00442 0.00625 " pathEditMode="relative" rAng="16680000" ptsTypes="AA">
                                      <p:cBhvr>
                                        <p:cTn id="44" dur="2000" fill="hold"/>
                                        <p:tgtEl>
                                          <p:spTgt spid="62"/>
                                        </p:tgtEl>
                                        <p:attrNameLst>
                                          <p:attrName>ppt_x</p:attrName>
                                          <p:attrName>ppt_y</p:attrName>
                                        </p:attrNameLst>
                                      </p:cBhvr>
                                      <p:rCtr x="2760" y="-124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165" grpId="1" animBg="1"/>
      <p:bldP spid="167"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706818" y="1333380"/>
          <a:ext cx="10778366" cy="4709898"/>
        </p:xfrm>
        <a:graphic>
          <a:graphicData uri="http://schemas.openxmlformats.org/drawingml/2006/table">
            <a:tbl>
              <a:tblPr firstRow="1" bandRow="1">
                <a:tableStyleId>{5C22544A-7EE6-4342-B048-85BDC9FD1C3A}</a:tableStyleId>
              </a:tblPr>
              <a:tblGrid>
                <a:gridCol w="1507270">
                  <a:extLst>
                    <a:ext uri="{9D8B030D-6E8A-4147-A177-3AD203B41FA5}">
                      <a16:colId xmlns:a16="http://schemas.microsoft.com/office/drawing/2014/main" val="20000"/>
                    </a:ext>
                  </a:extLst>
                </a:gridCol>
                <a:gridCol w="2317774">
                  <a:extLst>
                    <a:ext uri="{9D8B030D-6E8A-4147-A177-3AD203B41FA5}">
                      <a16:colId xmlns:a16="http://schemas.microsoft.com/office/drawing/2014/main" val="20001"/>
                    </a:ext>
                  </a:extLst>
                </a:gridCol>
                <a:gridCol w="2317774">
                  <a:extLst>
                    <a:ext uri="{9D8B030D-6E8A-4147-A177-3AD203B41FA5}">
                      <a16:colId xmlns:a16="http://schemas.microsoft.com/office/drawing/2014/main" val="20002"/>
                    </a:ext>
                  </a:extLst>
                </a:gridCol>
                <a:gridCol w="2317774">
                  <a:extLst>
                    <a:ext uri="{9D8B030D-6E8A-4147-A177-3AD203B41FA5}">
                      <a16:colId xmlns:a16="http://schemas.microsoft.com/office/drawing/2014/main" val="20003"/>
                    </a:ext>
                  </a:extLst>
                </a:gridCol>
                <a:gridCol w="2317774">
                  <a:extLst>
                    <a:ext uri="{9D8B030D-6E8A-4147-A177-3AD203B41FA5}">
                      <a16:colId xmlns:a16="http://schemas.microsoft.com/office/drawing/2014/main" val="20004"/>
                    </a:ext>
                  </a:extLst>
                </a:gridCol>
              </a:tblGrid>
              <a:tr h="470127">
                <a:tc>
                  <a:txBody>
                    <a:bodyPr/>
                    <a:lstStyle/>
                    <a:p>
                      <a:pPr algn="ctr"/>
                      <a:r>
                        <a:rPr lang="en-GB" sz="1600" b="0" dirty="0" smtClean="0">
                          <a:solidFill>
                            <a:srgbClr val="FFFFFF"/>
                          </a:solidFill>
                          <a:latin typeface="Segoe UI Semibold" panose="020B0702040204020203" pitchFamily="34" charset="0"/>
                        </a:rPr>
                        <a:t>Devices</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rgbClr val="FFFFFF"/>
                          </a:solidFill>
                          <a:latin typeface="Segoe UI Semibold" panose="020B0702040204020203" pitchFamily="34" charset="0"/>
                        </a:rPr>
                        <a:t>Device Connectivity</a:t>
                      </a:r>
                      <a:endParaRPr lang="en-GB" sz="1600" b="0" dirty="0" smtClean="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algn="ctr"/>
                      <a:r>
                        <a:rPr lang="en-GB" sz="1600" b="0" dirty="0" smtClean="0">
                          <a:solidFill>
                            <a:srgbClr val="FFFFFF"/>
                          </a:solidFill>
                          <a:latin typeface="Segoe UI Semibold" panose="020B0702040204020203" pitchFamily="34" charset="0"/>
                        </a:rPr>
                        <a:t>Storage</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algn="ctr"/>
                      <a:r>
                        <a:rPr lang="en-GB" sz="1600" b="0" dirty="0" smtClean="0">
                          <a:solidFill>
                            <a:srgbClr val="FFFFFF"/>
                          </a:solidFill>
                          <a:latin typeface="Segoe UI Semibold" panose="020B0702040204020203" pitchFamily="34" charset="0"/>
                        </a:rPr>
                        <a:t>Analytics</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rgbClr val="FFFFFF"/>
                          </a:solidFill>
                          <a:latin typeface="Segoe UI Semibold" panose="020B0702040204020203" pitchFamily="34" charset="0"/>
                          <a:ea typeface="+mn-ea"/>
                          <a:cs typeface="+mn-cs"/>
                        </a:rPr>
                        <a:t>Presentation &amp; Action</a:t>
                      </a:r>
                    </a:p>
                  </a:txBody>
                  <a:tcPr marL="84471" marR="84471"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extLst>
                  <a:ext uri="{0D108BD9-81ED-4DB2-BD59-A6C34878D82A}">
                    <a16:rowId xmlns:a16="http://schemas.microsoft.com/office/drawing/2014/main" val="10000"/>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1"/>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IoT</a:t>
                      </a:r>
                      <a:r>
                        <a:rPr lang="en-US" sz="1600" kern="0" dirty="0" smtClean="0">
                          <a:solidFill>
                            <a:srgbClr val="FFFFFF"/>
                          </a:solidFill>
                        </a:rPr>
                        <a:t> Hu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2"/>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rPr>
                        <a:t>Service Bu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HDInsight</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3"/>
                  </a:ext>
                </a:extLst>
              </a:tr>
              <a:tr h="938967">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3</a:t>
                      </a:r>
                      <a:r>
                        <a:rPr lang="en-US" sz="1600" kern="0" baseline="30000" dirty="0" smtClean="0">
                          <a:solidFill>
                            <a:srgbClr val="FFFFFF"/>
                          </a:solidFill>
                        </a:rPr>
                        <a:t>rd</a:t>
                      </a:r>
                      <a:r>
                        <a:rPr lang="en-US" sz="1600" kern="0" dirty="0" smtClean="0">
                          <a:solidFill>
                            <a:srgbClr val="FFFFFF"/>
                          </a:solidFill>
                        </a:rPr>
                        <a:t> party Database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4"/>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smtClean="0">
                          <a:solidFill>
                            <a:schemeClr val="bg1"/>
                          </a:solidFill>
                        </a:rPr>
                        <a:t>Data Lake</a:t>
                      </a:r>
                      <a:endParaRPr lang="en-US" sz="1600" dirty="0">
                        <a:solidFill>
                          <a:schemeClr val="bg1"/>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5"/>
                  </a:ext>
                </a:extLst>
              </a:tr>
            </a:tbl>
          </a:graphicData>
        </a:graphic>
      </p:graphicFrame>
      <p:grpSp>
        <p:nvGrpSpPr>
          <p:cNvPr id="5" name="Group 4"/>
          <p:cNvGrpSpPr>
            <a:grpSpLocks noChangeAspect="1"/>
          </p:cNvGrpSpPr>
          <p:nvPr/>
        </p:nvGrpSpPr>
        <p:grpSpPr>
          <a:xfrm>
            <a:off x="960832" y="2045341"/>
            <a:ext cx="840424" cy="606971"/>
            <a:chOff x="5893817" y="-2363993"/>
            <a:chExt cx="1589176" cy="1147736"/>
          </a:xfrm>
        </p:grpSpPr>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7" name="Group 6"/>
            <p:cNvGrpSpPr>
              <a:grpSpLocks noChangeAspect="1"/>
            </p:cNvGrpSpPr>
            <p:nvPr/>
          </p:nvGrpSpPr>
          <p:grpSpPr>
            <a:xfrm>
              <a:off x="6051365" y="-2363988"/>
              <a:ext cx="1149652" cy="1147731"/>
              <a:chOff x="2475317" y="-6877877"/>
              <a:chExt cx="1493848" cy="1490961"/>
            </a:xfrm>
          </p:grpSpPr>
          <p:sp>
            <p:nvSpPr>
              <p:cNvPr id="12"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sp>
            <p:nvSpPr>
              <p:cNvPr id="13"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sp>
            <p:nvSpPr>
              <p:cNvPr id="14" name="Rectangle 13"/>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grpSp>
        <p:sp>
          <p:nvSpPr>
            <p:cNvPr id="8"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7200" tIns="33599" rIns="67200" bIns="33599" numCol="1" rtlCol="0" anchor="ctr" anchorCtr="0" compatLnSpc="1">
              <a:prstTxWarp prst="textNoShape">
                <a:avLst/>
              </a:prstTxWarp>
            </a:bodyPr>
            <a:lstStyle/>
            <a:p>
              <a:pPr marL="0" marR="0" lvl="0" indent="0" algn="ctr" defTabSz="604414"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000000"/>
                </a:solidFill>
                <a:effectLst/>
                <a:uLnTx/>
                <a:uFillTx/>
                <a:latin typeface="Segoe UI Light" panose="020B0502040204020203" pitchFamily="34" charset="0"/>
                <a:sym typeface="Segoe UI Light" panose="020B0502040204020203" pitchFamily="34" charset="0"/>
              </a:endParaRPr>
            </a:p>
          </p:txBody>
        </p:sp>
        <p:pic>
          <p:nvPicPr>
            <p:cNvPr id="9"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10"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11" name="Freeform 10"/>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5880" tIns="32940" rIns="65880" bIns="32940" numCol="1" rtlCol="0" anchor="ctr" anchorCtr="0" compatLnSpc="1">
              <a:prstTxWarp prst="textNoShape">
                <a:avLst/>
              </a:prstTxWarp>
            </a:bodyPr>
            <a:lstStyle/>
            <a:p>
              <a:pPr marL="0" marR="0" lvl="0" indent="0" algn="ctr" defTabSz="658129" eaLnBrk="1" fontAlgn="base" latinLnBrk="0" hangingPunct="1">
                <a:lnSpc>
                  <a:spcPct val="100000"/>
                </a:lnSpc>
                <a:spcBef>
                  <a:spcPct val="0"/>
                </a:spcBef>
                <a:spcAft>
                  <a:spcPct val="0"/>
                </a:spcAft>
                <a:buClrTx/>
                <a:buSzTx/>
                <a:buFontTx/>
                <a:buNone/>
                <a:tabLst/>
                <a:defRPr/>
              </a:pPr>
              <a:endParaRPr kumimoji="0" lang="en-US" sz="1250" b="0" i="0" u="none" strike="noStrike" kern="0" cap="none" spc="0" normalizeH="0" baseline="0" noProof="0" dirty="0">
                <a:ln>
                  <a:noFill/>
                </a:ln>
                <a:solidFill>
                  <a:srgbClr val="000000"/>
                </a:solidFill>
                <a:effectLst/>
                <a:uLnTx/>
                <a:uFillTx/>
              </a:endParaRPr>
            </a:p>
          </p:txBody>
        </p:sp>
      </p:grpSp>
      <p:grpSp>
        <p:nvGrpSpPr>
          <p:cNvPr id="15" name="Group 14"/>
          <p:cNvGrpSpPr>
            <a:grpSpLocks noChangeAspect="1"/>
          </p:cNvGrpSpPr>
          <p:nvPr/>
        </p:nvGrpSpPr>
        <p:grpSpPr>
          <a:xfrm>
            <a:off x="1088991" y="2828954"/>
            <a:ext cx="681729" cy="506437"/>
            <a:chOff x="5630249" y="-855090"/>
            <a:chExt cx="1258953" cy="935238"/>
          </a:xfrm>
          <a:solidFill>
            <a:schemeClr val="bg1"/>
          </a:solidFill>
        </p:grpSpPr>
        <p:sp>
          <p:nvSpPr>
            <p:cNvPr id="16"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7203" tIns="33601" rIns="67203" bIns="33601" numCol="1" anchor="t" anchorCtr="0" compatLnSpc="1">
              <a:prstTxWarp prst="textNoShape">
                <a:avLst/>
              </a:prstTxWarp>
            </a:bodyP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000000"/>
                </a:solidFill>
                <a:effectLst/>
                <a:uLnTx/>
                <a:uFillTx/>
              </a:endParaRPr>
            </a:p>
          </p:txBody>
        </p:sp>
        <p:sp>
          <p:nvSpPr>
            <p:cNvPr id="17"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33601" bIns="67203" numCol="1" spcCol="0" rtlCol="0" fromWordArt="0" anchor="b" anchorCtr="0" forceAA="0" compatLnSpc="1">
              <a:prstTxWarp prst="textNoShape">
                <a:avLst/>
              </a:prstTxWarp>
              <a:noAutofit/>
            </a:bodyPr>
            <a:lstStyle/>
            <a:p>
              <a:pPr marL="0" marR="0" lvl="0" indent="0" algn="ctr" defTabSz="671355" eaLnBrk="1" fontAlgn="base" latinLnBrk="0" hangingPunct="1">
                <a:lnSpc>
                  <a:spcPct val="100000"/>
                </a:lnSpc>
                <a:spcBef>
                  <a:spcPct val="0"/>
                </a:spcBef>
                <a:spcAft>
                  <a:spcPct val="0"/>
                </a:spcAft>
                <a:buClrTx/>
                <a:buSzTx/>
                <a:buFontTx/>
                <a:buNone/>
                <a:tabLst/>
                <a:defRPr/>
              </a:pPr>
              <a:endParaRPr kumimoji="0" lang="en-US" sz="735"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pic>
          <p:nvPicPr>
            <p:cNvPr id="18"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19"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5882" tIns="32941" rIns="65882" bIns="32941" numCol="1" anchor="t" anchorCtr="0" compatLnSpc="1">
              <a:prstTxWarp prst="textNoShape">
                <a:avLst/>
              </a:prstTxWarp>
            </a:bodyPr>
            <a:lstStyle/>
            <a:p>
              <a:pPr marL="0" marR="0" lvl="0" indent="0" algn="ctr" defTabSz="658346"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dirty="0">
                <a:ln>
                  <a:noFill/>
                </a:ln>
                <a:solidFill>
                  <a:srgbClr val="000000"/>
                </a:solidFill>
                <a:effectLst/>
                <a:uLnTx/>
                <a:uFillTx/>
              </a:endParaRPr>
            </a:p>
          </p:txBody>
        </p:sp>
        <p:sp>
          <p:nvSpPr>
            <p:cNvPr id="20"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806439" bIns="33601" numCol="1" spcCol="0" rtlCol="0" fromWordArt="0" anchor="b" anchorCtr="0" forceAA="0" compatLnSpc="1">
              <a:prstTxWarp prst="textNoShape">
                <a:avLst/>
              </a:prstTxWarp>
              <a:noAutofit/>
            </a:bodyPr>
            <a:lstStyle/>
            <a:p>
              <a:pPr marL="0" marR="0" lvl="0" indent="0" defTabSz="671355" eaLnBrk="1" fontAlgn="base" latinLnBrk="0" hangingPunct="1">
                <a:lnSpc>
                  <a:spcPct val="100000"/>
                </a:lnSpc>
                <a:spcBef>
                  <a:spcPct val="0"/>
                </a:spcBef>
                <a:spcAft>
                  <a:spcPct val="0"/>
                </a:spcAft>
                <a:buClrTx/>
                <a:buSzTx/>
                <a:buFontTx/>
                <a:buNone/>
                <a:tabLst/>
                <a:defRPr/>
              </a:pPr>
              <a:endParaRPr kumimoji="0" lang="en-US" sz="1617" b="0" i="0" u="none" strike="noStrike" kern="0" cap="none" spc="-37" normalizeH="0" baseline="0" noProof="0" dirty="0">
                <a:ln>
                  <a:noFill/>
                </a:ln>
                <a:solidFill>
                  <a:srgbClr val="000000"/>
                </a:solidFill>
                <a:effectLst/>
                <a:uLnTx/>
                <a:uFillTx/>
                <a:latin typeface="Segoe UI Light"/>
                <a:ea typeface="Segoe UI" pitchFamily="34" charset="0"/>
                <a:cs typeface="Segoe UI" pitchFamily="34" charset="0"/>
              </a:endParaRPr>
            </a:p>
          </p:txBody>
        </p:sp>
        <p:sp>
          <p:nvSpPr>
            <p:cNvPr id="21"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marL="0" marR="0" lvl="0" indent="0" defTabSz="685046" eaLnBrk="1" fontAlgn="auto" latinLnBrk="0" hangingPunct="1">
                <a:lnSpc>
                  <a:spcPct val="100000"/>
                </a:lnSpc>
                <a:spcBef>
                  <a:spcPts val="0"/>
                </a:spcBef>
                <a:spcAft>
                  <a:spcPts val="0"/>
                </a:spcAft>
                <a:buClrTx/>
                <a:buSzTx/>
                <a:buFontTx/>
                <a:buNone/>
                <a:tabLst/>
                <a:defRPr/>
              </a:pPr>
              <a:endParaRPr kumimoji="0" lang="en-US" sz="1544" b="0" i="0" u="none" strike="noStrike" kern="0" cap="none" spc="0" normalizeH="0" baseline="0" noProof="0" dirty="0">
                <a:ln>
                  <a:noFill/>
                </a:ln>
                <a:solidFill>
                  <a:srgbClr val="000000"/>
                </a:solidFill>
                <a:effectLst/>
                <a:uLnTx/>
                <a:uFillTx/>
              </a:endParaRPr>
            </a:p>
          </p:txBody>
        </p:sp>
      </p:grpSp>
      <p:grpSp>
        <p:nvGrpSpPr>
          <p:cNvPr id="22" name="Group 21"/>
          <p:cNvGrpSpPr/>
          <p:nvPr/>
        </p:nvGrpSpPr>
        <p:grpSpPr>
          <a:xfrm>
            <a:off x="1405092" y="3726593"/>
            <a:ext cx="541425" cy="329081"/>
            <a:chOff x="2012636" y="-279971"/>
            <a:chExt cx="734842" cy="447764"/>
          </a:xfrm>
          <a:solidFill>
            <a:schemeClr val="bg1"/>
          </a:solidFill>
        </p:grpSpPr>
        <p:sp>
          <p:nvSpPr>
            <p:cNvPr id="2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33601" bIns="67203" numCol="1" spcCol="0" rtlCol="0" fromWordArt="0" anchor="b" anchorCtr="0" forceAA="0" compatLnSpc="1">
              <a:prstTxWarp prst="textNoShape">
                <a:avLst/>
              </a:prstTxWarp>
              <a:noAutofit/>
            </a:bodyPr>
            <a:lstStyle/>
            <a:p>
              <a:pPr marL="0" marR="0" lvl="0" indent="0" algn="ctr" defTabSz="671355" eaLnBrk="1" fontAlgn="base" latinLnBrk="0" hangingPunct="1">
                <a:lnSpc>
                  <a:spcPct val="100000"/>
                </a:lnSpc>
                <a:spcBef>
                  <a:spcPct val="0"/>
                </a:spcBef>
                <a:spcAft>
                  <a:spcPct val="0"/>
                </a:spcAft>
                <a:buClrTx/>
                <a:buSzTx/>
                <a:buFontTx/>
                <a:buNone/>
                <a:tabLst/>
                <a:defRPr/>
              </a:pPr>
              <a:endParaRPr kumimoji="0" lang="en-US" sz="1323" b="0" i="0" u="none" strike="noStrike" kern="0" cap="none" spc="-37" normalizeH="0" baseline="0" noProof="0" dirty="0">
                <a:ln>
                  <a:noFill/>
                </a:ln>
                <a:solidFill>
                  <a:srgbClr val="000000"/>
                </a:solidFill>
                <a:effectLst/>
                <a:uLnTx/>
                <a:uFillTx/>
                <a:ea typeface="Segoe UI" pitchFamily="34" charset="0"/>
                <a:cs typeface="Segoe UI" pitchFamily="34" charset="0"/>
              </a:endParaRPr>
            </a:p>
          </p:txBody>
        </p:sp>
        <p:sp>
          <p:nvSpPr>
            <p:cNvPr id="2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0644" tIns="40322" rIns="40322" bIns="80644" numCol="1" spcCol="0" rtlCol="0" fromWordArt="0" anchor="b" anchorCtr="0" forceAA="0" compatLnSpc="1">
              <a:prstTxWarp prst="textNoShape">
                <a:avLst/>
              </a:prstTxWarp>
              <a:noAutofit/>
            </a:bodyPr>
            <a:lstStyle/>
            <a:p>
              <a:pPr marL="0" marR="0" lvl="0" indent="0" algn="ctr" defTabSz="805626" eaLnBrk="1" fontAlgn="base" latinLnBrk="0" hangingPunct="1">
                <a:lnSpc>
                  <a:spcPct val="100000"/>
                </a:lnSpc>
                <a:spcBef>
                  <a:spcPct val="0"/>
                </a:spcBef>
                <a:spcAft>
                  <a:spcPct val="0"/>
                </a:spcAft>
                <a:buClrTx/>
                <a:buSzTx/>
                <a:buFontTx/>
                <a:buNone/>
                <a:tabLst/>
                <a:defRPr/>
              </a:pPr>
              <a:endParaRPr kumimoji="0" lang="en-US" sz="1765" b="0" i="0" u="none" strike="noStrike" kern="0" cap="none" spc="-44" normalizeH="0" baseline="0" noProof="0" dirty="0">
                <a:ln>
                  <a:noFill/>
                </a:ln>
                <a:solidFill>
                  <a:srgbClr val="000000"/>
                </a:solidFill>
                <a:effectLst/>
                <a:uLnTx/>
                <a:uFillTx/>
                <a:ea typeface="Segoe UI" pitchFamily="34" charset="0"/>
                <a:cs typeface="Segoe UI" pitchFamily="34" charset="0"/>
              </a:endParaRPr>
            </a:p>
          </p:txBody>
        </p:sp>
      </p:grpSp>
      <p:pic>
        <p:nvPicPr>
          <p:cNvPr id="25" name="Picture 2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39626" y="3675036"/>
            <a:ext cx="470556" cy="470556"/>
          </a:xfrm>
          <a:prstGeom prst="rect">
            <a:avLst/>
          </a:prstGeom>
        </p:spPr>
      </p:pic>
      <p:pic>
        <p:nvPicPr>
          <p:cNvPr id="26"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81987" y="4458120"/>
            <a:ext cx="463145" cy="463145"/>
          </a:xfrm>
          <a:prstGeom prst="rect">
            <a:avLst/>
          </a:prstGeom>
          <a:noFill/>
        </p:spPr>
      </p:pic>
      <p:pic>
        <p:nvPicPr>
          <p:cNvPr id="27"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661063" y="2054507"/>
            <a:ext cx="415409" cy="438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647377" y="2887184"/>
            <a:ext cx="442786" cy="38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80393" y="3514674"/>
            <a:ext cx="776750" cy="776750"/>
          </a:xfrm>
          <a:prstGeom prst="rect">
            <a:avLst/>
          </a:prstGeom>
        </p:spPr>
      </p:pic>
      <p:sp>
        <p:nvSpPr>
          <p:cNvPr id="30" name="TextBox 29"/>
          <p:cNvSpPr txBox="1"/>
          <p:nvPr/>
        </p:nvSpPr>
        <p:spPr>
          <a:xfrm>
            <a:off x="4701454" y="3817108"/>
            <a:ext cx="357676" cy="230832"/>
          </a:xfrm>
          <a:prstGeom prst="rect">
            <a:avLst/>
          </a:prstGeom>
          <a:noFill/>
          <a:ln>
            <a:noFill/>
            <a:headEnd type="none" w="med" len="med"/>
            <a:tailEnd type="none" w="med" len="med"/>
          </a:ln>
        </p:spPr>
        <p:txBody>
          <a:bodyPr wrap="square" lIns="0" tIns="0" rIns="0" bIns="0" rtlCol="0">
            <a:spAutoFit/>
          </a:bodyPr>
          <a:lstStyle/>
          <a:p>
            <a:pPr marL="0" marR="0" lvl="0" indent="0" algn="ctr" defTabSz="685607" eaLnBrk="1" fontAlgn="auto" latinLnBrk="0" hangingPunct="1">
              <a:lnSpc>
                <a:spcPct val="100000"/>
              </a:lnSpc>
              <a:spcBef>
                <a:spcPts val="0"/>
              </a:spcBef>
              <a:spcAft>
                <a:spcPts val="0"/>
              </a:spcAft>
              <a:buClrTx/>
              <a:buSzTx/>
              <a:buFontTx/>
              <a:buNone/>
              <a:tabLst/>
              <a:defRPr/>
            </a:pPr>
            <a:r>
              <a:rPr kumimoji="0" lang="en-US" sz="1500" b="0" i="0" u="none" strike="noStrike" kern="0" cap="none" spc="-29" normalizeH="0" baseline="0" noProof="0" dirty="0">
                <a:ln>
                  <a:noFill/>
                </a:ln>
                <a:solidFill>
                  <a:srgbClr val="4668C5"/>
                </a:solidFill>
                <a:effectLst/>
                <a:uLnTx/>
                <a:uFillTx/>
                <a:ea typeface="Segoe UI" pitchFamily="34" charset="0"/>
                <a:cs typeface="Segoe UI" pitchFamily="34" charset="0"/>
              </a:rPr>
              <a:t>{  }</a:t>
            </a:r>
          </a:p>
        </p:txBody>
      </p:sp>
      <p:pic>
        <p:nvPicPr>
          <p:cNvPr id="31"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673618" y="4458120"/>
            <a:ext cx="463145" cy="463145"/>
          </a:xfrm>
          <a:prstGeom prst="rect">
            <a:avLst/>
          </a:prstGeom>
          <a:noFill/>
        </p:spPr>
      </p:pic>
      <p:pic>
        <p:nvPicPr>
          <p:cNvPr id="32" name="Picture 3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851010" y="1892920"/>
            <a:ext cx="739031" cy="739031"/>
          </a:xfrm>
          <a:prstGeom prst="rect">
            <a:avLst/>
          </a:prstGeom>
        </p:spPr>
      </p:pic>
      <p:pic>
        <p:nvPicPr>
          <p:cNvPr id="33"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348003" y="2064625"/>
            <a:ext cx="421361" cy="417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412736" y="4500730"/>
            <a:ext cx="272575" cy="440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34"/>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386942" y="3693957"/>
            <a:ext cx="366526" cy="366526"/>
          </a:xfrm>
          <a:prstGeom prst="rect">
            <a:avLst/>
          </a:prstGeom>
        </p:spPr>
      </p:pic>
      <p:pic>
        <p:nvPicPr>
          <p:cNvPr id="36" name="Picture 35"/>
          <p:cNvPicPr>
            <a:picLocks noChangeAspect="1"/>
          </p:cNvPicPr>
          <p:nvPr/>
        </p:nvPicPr>
        <p:blipFill>
          <a:blip r:embed="rId16" cstate="screen">
            <a:biLevel thresh="25000"/>
            <a:extLst>
              <a:ext uri="{28A0092B-C50C-407E-A947-70E740481C1C}">
                <a14:useLocalDpi xmlns:a14="http://schemas.microsoft.com/office/drawing/2010/main"/>
              </a:ext>
            </a:extLst>
          </a:blip>
          <a:stretch>
            <a:fillRect/>
          </a:stretch>
        </p:blipFill>
        <p:spPr>
          <a:xfrm>
            <a:off x="6985479" y="4500731"/>
            <a:ext cx="470095" cy="470095"/>
          </a:xfrm>
          <a:prstGeom prst="rect">
            <a:avLst/>
          </a:prstGeom>
        </p:spPr>
      </p:pic>
      <p:pic>
        <p:nvPicPr>
          <p:cNvPr id="37" name="Picture 36"/>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2441085" y="3653741"/>
            <a:ext cx="398782" cy="398782"/>
          </a:xfrm>
          <a:prstGeom prst="rect">
            <a:avLst/>
          </a:prstGeom>
        </p:spPr>
      </p:pic>
      <p:pic>
        <p:nvPicPr>
          <p:cNvPr id="38" name="Picture 37"/>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9348002" y="5366909"/>
            <a:ext cx="478444" cy="478444"/>
          </a:xfrm>
          <a:prstGeom prst="rect">
            <a:avLst/>
          </a:prstGeom>
        </p:spPr>
      </p:pic>
      <p:pic>
        <p:nvPicPr>
          <p:cNvPr id="39" name="Picture 38"/>
          <p:cNvPicPr>
            <a:picLocks noChangeAspect="1"/>
          </p:cNvPicPr>
          <p:nvPr/>
        </p:nvPicPr>
        <p:blipFill>
          <a:blip r:embed="rId19"/>
          <a:stretch>
            <a:fillRect/>
          </a:stretch>
        </p:blipFill>
        <p:spPr>
          <a:xfrm>
            <a:off x="6960825" y="2834113"/>
            <a:ext cx="519404" cy="519404"/>
          </a:xfrm>
          <a:prstGeom prst="rect">
            <a:avLst/>
          </a:prstGeom>
        </p:spPr>
      </p:pic>
      <p:pic>
        <p:nvPicPr>
          <p:cNvPr id="40" name="Picture 39"/>
          <p:cNvPicPr>
            <a:picLocks noChangeAspect="1"/>
          </p:cNvPicPr>
          <p:nvPr/>
        </p:nvPicPr>
        <p:blipFill>
          <a:blip r:embed="rId20"/>
          <a:stretch>
            <a:fillRect/>
          </a:stretch>
        </p:blipFill>
        <p:spPr>
          <a:xfrm>
            <a:off x="2293555" y="1946221"/>
            <a:ext cx="546312" cy="546312"/>
          </a:xfrm>
          <a:prstGeom prst="rect">
            <a:avLst/>
          </a:prstGeom>
        </p:spPr>
      </p:pic>
      <p:pic>
        <p:nvPicPr>
          <p:cNvPr id="41" name="Picture 40"/>
          <p:cNvPicPr>
            <a:picLocks noChangeAspect="1"/>
          </p:cNvPicPr>
          <p:nvPr/>
        </p:nvPicPr>
        <p:blipFill>
          <a:blip r:embed="rId21"/>
          <a:stretch>
            <a:fillRect/>
          </a:stretch>
        </p:blipFill>
        <p:spPr>
          <a:xfrm>
            <a:off x="6921222" y="3599063"/>
            <a:ext cx="598607" cy="598607"/>
          </a:xfrm>
          <a:prstGeom prst="rect">
            <a:avLst/>
          </a:prstGeom>
        </p:spPr>
      </p:pic>
      <p:pic>
        <p:nvPicPr>
          <p:cNvPr id="42" name="Picture 41"/>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320447" y="2803777"/>
            <a:ext cx="476996" cy="509611"/>
          </a:xfrm>
          <a:prstGeom prst="rect">
            <a:avLst/>
          </a:prstGeom>
        </p:spPr>
      </p:pic>
      <p:pic>
        <p:nvPicPr>
          <p:cNvPr id="43" name="Picture 4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349637" y="2803777"/>
            <a:ext cx="419728" cy="442036"/>
          </a:xfrm>
          <a:prstGeom prst="rect">
            <a:avLst/>
          </a:prstGeom>
        </p:spPr>
      </p:pic>
      <p:pic>
        <p:nvPicPr>
          <p:cNvPr id="44" name="Picture 43"/>
          <p:cNvPicPr>
            <a:picLocks noChangeAspect="1"/>
          </p:cNvPicPr>
          <p:nvPr/>
        </p:nvPicPr>
        <p:blipFill>
          <a:blip r:embed="rId24">
            <a:biLevel thresh="25000"/>
          </a:blip>
          <a:stretch>
            <a:fillRect/>
          </a:stretch>
        </p:blipFill>
        <p:spPr>
          <a:xfrm>
            <a:off x="6973097" y="5382605"/>
            <a:ext cx="418698" cy="368260"/>
          </a:xfrm>
          <a:prstGeom prst="rect">
            <a:avLst/>
          </a:prstGeom>
        </p:spPr>
      </p:pic>
      <p:pic>
        <p:nvPicPr>
          <p:cNvPr id="45" name="Picture 44"/>
          <p:cNvPicPr>
            <a:picLocks noChangeAspect="1"/>
          </p:cNvPicPr>
          <p:nvPr/>
        </p:nvPicPr>
        <p:blipFill>
          <a:blip r:embed="rId24">
            <a:biLevel thresh="25000"/>
          </a:blip>
          <a:stretch>
            <a:fillRect/>
          </a:stretch>
        </p:blipFill>
        <p:spPr>
          <a:xfrm>
            <a:off x="7111566" y="5566735"/>
            <a:ext cx="418698" cy="368260"/>
          </a:xfrm>
          <a:prstGeom prst="rect">
            <a:avLst/>
          </a:prstGeom>
        </p:spPr>
      </p:pic>
      <p:grpSp>
        <p:nvGrpSpPr>
          <p:cNvPr id="46" name="Group 45"/>
          <p:cNvGrpSpPr/>
          <p:nvPr/>
        </p:nvGrpSpPr>
        <p:grpSpPr>
          <a:xfrm>
            <a:off x="1588" y="0"/>
            <a:ext cx="12195175" cy="945292"/>
            <a:chOff x="1588" y="0"/>
            <a:chExt cx="12195175" cy="945292"/>
          </a:xfrm>
        </p:grpSpPr>
        <p:sp>
          <p:nvSpPr>
            <p:cNvPr id="47"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Microsoft Azure IoT Service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48" name="Rectangle 47"/>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9"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0" name="Group 49"/>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5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2"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3"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4"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5"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8"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3206021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1+#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1+#ppt_w/2"/>
                                          </p:val>
                                        </p:tav>
                                        <p:tav tm="100000">
                                          <p:val>
                                            <p:strVal val="#ppt_x"/>
                                          </p:val>
                                        </p:tav>
                                      </p:tavLst>
                                    </p:anim>
                                    <p:anim calcmode="lin" valueType="num">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1+#ppt_w/2"/>
                                          </p:val>
                                        </p:tav>
                                        <p:tav tm="100000">
                                          <p:val>
                                            <p:strVal val="#ppt_x"/>
                                          </p:val>
                                        </p:tav>
                                      </p:tavLst>
                                    </p:anim>
                                    <p:anim calcmode="lin" valueType="num">
                                      <p:cBhvr additive="base">
                                        <p:cTn id="20" dur="500" fill="hold"/>
                                        <p:tgtEl>
                                          <p:spTgt spid="27"/>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500" fill="hold"/>
                                        <p:tgtEl>
                                          <p:spTgt spid="28"/>
                                        </p:tgtEl>
                                        <p:attrNameLst>
                                          <p:attrName>ppt_x</p:attrName>
                                        </p:attrNameLst>
                                      </p:cBhvr>
                                      <p:tavLst>
                                        <p:tav tm="0">
                                          <p:val>
                                            <p:strVal val="1+#ppt_w/2"/>
                                          </p:val>
                                        </p:tav>
                                        <p:tav tm="100000">
                                          <p:val>
                                            <p:strVal val="#ppt_x"/>
                                          </p:val>
                                        </p:tav>
                                      </p:tavLst>
                                    </p:anim>
                                    <p:anim calcmode="lin" valueType="num">
                                      <p:cBhvr additive="base">
                                        <p:cTn id="24" dur="500" fill="hold"/>
                                        <p:tgtEl>
                                          <p:spTgt spid="28"/>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 calcmode="lin" valueType="num">
                                      <p:cBhvr additive="base">
                                        <p:cTn id="27" dur="500" fill="hold"/>
                                        <p:tgtEl>
                                          <p:spTgt spid="30"/>
                                        </p:tgtEl>
                                        <p:attrNameLst>
                                          <p:attrName>ppt_x</p:attrName>
                                        </p:attrNameLst>
                                      </p:cBhvr>
                                      <p:tavLst>
                                        <p:tav tm="0">
                                          <p:val>
                                            <p:strVal val="1+#ppt_w/2"/>
                                          </p:val>
                                        </p:tav>
                                        <p:tav tm="100000">
                                          <p:val>
                                            <p:strVal val="#ppt_x"/>
                                          </p:val>
                                        </p:tav>
                                      </p:tavLst>
                                    </p:anim>
                                    <p:anim calcmode="lin" valueType="num">
                                      <p:cBhvr additive="base">
                                        <p:cTn id="28" dur="500" fill="hold"/>
                                        <p:tgtEl>
                                          <p:spTgt spid="30"/>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anim calcmode="lin" valueType="num">
                                      <p:cBhvr additive="base">
                                        <p:cTn id="31" dur="500" fill="hold"/>
                                        <p:tgtEl>
                                          <p:spTgt spid="32"/>
                                        </p:tgtEl>
                                        <p:attrNameLst>
                                          <p:attrName>ppt_x</p:attrName>
                                        </p:attrNameLst>
                                      </p:cBhvr>
                                      <p:tavLst>
                                        <p:tav tm="0">
                                          <p:val>
                                            <p:strVal val="1+#ppt_w/2"/>
                                          </p:val>
                                        </p:tav>
                                        <p:tav tm="100000">
                                          <p:val>
                                            <p:strVal val="#ppt_x"/>
                                          </p:val>
                                        </p:tav>
                                      </p:tavLst>
                                    </p:anim>
                                    <p:anim calcmode="lin" valueType="num">
                                      <p:cBhvr additive="base">
                                        <p:cTn id="32" dur="500" fill="hold"/>
                                        <p:tgtEl>
                                          <p:spTgt spid="32"/>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33"/>
                                        </p:tgtEl>
                                        <p:attrNameLst>
                                          <p:attrName>style.visibility</p:attrName>
                                        </p:attrNameLst>
                                      </p:cBhvr>
                                      <p:to>
                                        <p:strVal val="visible"/>
                                      </p:to>
                                    </p:set>
                                    <p:anim calcmode="lin" valueType="num">
                                      <p:cBhvr additive="base">
                                        <p:cTn id="35" dur="500" fill="hold"/>
                                        <p:tgtEl>
                                          <p:spTgt spid="33"/>
                                        </p:tgtEl>
                                        <p:attrNameLst>
                                          <p:attrName>ppt_x</p:attrName>
                                        </p:attrNameLst>
                                      </p:cBhvr>
                                      <p:tavLst>
                                        <p:tav tm="0">
                                          <p:val>
                                            <p:strVal val="1+#ppt_w/2"/>
                                          </p:val>
                                        </p:tav>
                                        <p:tav tm="100000">
                                          <p:val>
                                            <p:strVal val="#ppt_x"/>
                                          </p:val>
                                        </p:tav>
                                      </p:tavLst>
                                    </p:anim>
                                    <p:anim calcmode="lin" valueType="num">
                                      <p:cBhvr additive="base">
                                        <p:cTn id="36" dur="500" fill="hold"/>
                                        <p:tgtEl>
                                          <p:spTgt spid="33"/>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500" fill="hold"/>
                                        <p:tgtEl>
                                          <p:spTgt spid="34"/>
                                        </p:tgtEl>
                                        <p:attrNameLst>
                                          <p:attrName>ppt_x</p:attrName>
                                        </p:attrNameLst>
                                      </p:cBhvr>
                                      <p:tavLst>
                                        <p:tav tm="0">
                                          <p:val>
                                            <p:strVal val="1+#ppt_w/2"/>
                                          </p:val>
                                        </p:tav>
                                        <p:tav tm="100000">
                                          <p:val>
                                            <p:strVal val="#ppt_x"/>
                                          </p:val>
                                        </p:tav>
                                      </p:tavLst>
                                    </p:anim>
                                    <p:anim calcmode="lin" valueType="num">
                                      <p:cBhvr additive="base">
                                        <p:cTn id="40" dur="500" fill="hold"/>
                                        <p:tgtEl>
                                          <p:spTgt spid="34"/>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35"/>
                                        </p:tgtEl>
                                        <p:attrNameLst>
                                          <p:attrName>style.visibility</p:attrName>
                                        </p:attrNameLst>
                                      </p:cBhvr>
                                      <p:to>
                                        <p:strVal val="visible"/>
                                      </p:to>
                                    </p:set>
                                    <p:anim calcmode="lin" valueType="num">
                                      <p:cBhvr additive="base">
                                        <p:cTn id="43" dur="500" fill="hold"/>
                                        <p:tgtEl>
                                          <p:spTgt spid="35"/>
                                        </p:tgtEl>
                                        <p:attrNameLst>
                                          <p:attrName>ppt_x</p:attrName>
                                        </p:attrNameLst>
                                      </p:cBhvr>
                                      <p:tavLst>
                                        <p:tav tm="0">
                                          <p:val>
                                            <p:strVal val="1+#ppt_w/2"/>
                                          </p:val>
                                        </p:tav>
                                        <p:tav tm="100000">
                                          <p:val>
                                            <p:strVal val="#ppt_x"/>
                                          </p:val>
                                        </p:tav>
                                      </p:tavLst>
                                    </p:anim>
                                    <p:anim calcmode="lin" valueType="num">
                                      <p:cBhvr additive="base">
                                        <p:cTn id="44" dur="500" fill="hold"/>
                                        <p:tgtEl>
                                          <p:spTgt spid="35"/>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22"/>
                                        </p:tgtEl>
                                        <p:attrNameLst>
                                          <p:attrName>style.visibility</p:attrName>
                                        </p:attrNameLst>
                                      </p:cBhvr>
                                      <p:to>
                                        <p:strVal val="visible"/>
                                      </p:to>
                                    </p:set>
                                    <p:anim calcmode="lin" valueType="num">
                                      <p:cBhvr additive="base">
                                        <p:cTn id="47" dur="500" fill="hold"/>
                                        <p:tgtEl>
                                          <p:spTgt spid="22"/>
                                        </p:tgtEl>
                                        <p:attrNameLst>
                                          <p:attrName>ppt_x</p:attrName>
                                        </p:attrNameLst>
                                      </p:cBhvr>
                                      <p:tavLst>
                                        <p:tav tm="0">
                                          <p:val>
                                            <p:strVal val="1+#ppt_w/2"/>
                                          </p:val>
                                        </p:tav>
                                        <p:tav tm="100000">
                                          <p:val>
                                            <p:strVal val="#ppt_x"/>
                                          </p:val>
                                        </p:tav>
                                      </p:tavLst>
                                    </p:anim>
                                    <p:anim calcmode="lin" valueType="num">
                                      <p:cBhvr additive="base">
                                        <p:cTn id="48" dur="500" fill="hold"/>
                                        <p:tgtEl>
                                          <p:spTgt spid="22"/>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1+#ppt_w/2"/>
                                          </p:val>
                                        </p:tav>
                                        <p:tav tm="100000">
                                          <p:val>
                                            <p:strVal val="#ppt_x"/>
                                          </p:val>
                                        </p:tav>
                                      </p:tavLst>
                                    </p:anim>
                                    <p:anim calcmode="lin" valueType="num">
                                      <p:cBhvr additive="base">
                                        <p:cTn id="52" dur="500" fill="hold"/>
                                        <p:tgtEl>
                                          <p:spTgt spid="15"/>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5"/>
                                        </p:tgtEl>
                                        <p:attrNameLst>
                                          <p:attrName>style.visibility</p:attrName>
                                        </p:attrNameLst>
                                      </p:cBhvr>
                                      <p:to>
                                        <p:strVal val="visible"/>
                                      </p:to>
                                    </p:set>
                                    <p:anim calcmode="lin" valueType="num">
                                      <p:cBhvr additive="base">
                                        <p:cTn id="55" dur="500" fill="hold"/>
                                        <p:tgtEl>
                                          <p:spTgt spid="5"/>
                                        </p:tgtEl>
                                        <p:attrNameLst>
                                          <p:attrName>ppt_x</p:attrName>
                                        </p:attrNameLst>
                                      </p:cBhvr>
                                      <p:tavLst>
                                        <p:tav tm="0">
                                          <p:val>
                                            <p:strVal val="1+#ppt_w/2"/>
                                          </p:val>
                                        </p:tav>
                                        <p:tav tm="100000">
                                          <p:val>
                                            <p:strVal val="#ppt_x"/>
                                          </p:val>
                                        </p:tav>
                                      </p:tavLst>
                                    </p:anim>
                                    <p:anim calcmode="lin" valueType="num">
                                      <p:cBhvr additive="base">
                                        <p:cTn id="56" dur="500" fill="hold"/>
                                        <p:tgtEl>
                                          <p:spTgt spid="5"/>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1"/>
                                        </p:tgtEl>
                                        <p:attrNameLst>
                                          <p:attrName>style.visibility</p:attrName>
                                        </p:attrNameLst>
                                      </p:cBhvr>
                                      <p:to>
                                        <p:strVal val="visible"/>
                                      </p:to>
                                    </p:set>
                                    <p:anim calcmode="lin" valueType="num">
                                      <p:cBhvr additive="base">
                                        <p:cTn id="59" dur="500" fill="hold"/>
                                        <p:tgtEl>
                                          <p:spTgt spid="31"/>
                                        </p:tgtEl>
                                        <p:attrNameLst>
                                          <p:attrName>ppt_x</p:attrName>
                                        </p:attrNameLst>
                                      </p:cBhvr>
                                      <p:tavLst>
                                        <p:tav tm="0">
                                          <p:val>
                                            <p:strVal val="1+#ppt_w/2"/>
                                          </p:val>
                                        </p:tav>
                                        <p:tav tm="100000">
                                          <p:val>
                                            <p:strVal val="#ppt_x"/>
                                          </p:val>
                                        </p:tav>
                                      </p:tavLst>
                                    </p:anim>
                                    <p:anim calcmode="lin" valueType="num">
                                      <p:cBhvr additive="base">
                                        <p:cTn id="60" dur="500" fill="hold"/>
                                        <p:tgtEl>
                                          <p:spTgt spid="31"/>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29"/>
                                        </p:tgtEl>
                                        <p:attrNameLst>
                                          <p:attrName>style.visibility</p:attrName>
                                        </p:attrNameLst>
                                      </p:cBhvr>
                                      <p:to>
                                        <p:strVal val="visible"/>
                                      </p:to>
                                    </p:set>
                                    <p:anim calcmode="lin" valueType="num">
                                      <p:cBhvr additive="base">
                                        <p:cTn id="63" dur="500" fill="hold"/>
                                        <p:tgtEl>
                                          <p:spTgt spid="29"/>
                                        </p:tgtEl>
                                        <p:attrNameLst>
                                          <p:attrName>ppt_x</p:attrName>
                                        </p:attrNameLst>
                                      </p:cBhvr>
                                      <p:tavLst>
                                        <p:tav tm="0">
                                          <p:val>
                                            <p:strVal val="1+#ppt_w/2"/>
                                          </p:val>
                                        </p:tav>
                                        <p:tav tm="100000">
                                          <p:val>
                                            <p:strVal val="#ppt_x"/>
                                          </p:val>
                                        </p:tav>
                                      </p:tavLst>
                                    </p:anim>
                                    <p:anim calcmode="lin" valueType="num">
                                      <p:cBhvr additive="base">
                                        <p:cTn id="64" dur="500" fill="hold"/>
                                        <p:tgtEl>
                                          <p:spTgt spid="29"/>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36"/>
                                        </p:tgtEl>
                                        <p:attrNameLst>
                                          <p:attrName>style.visibility</p:attrName>
                                        </p:attrNameLst>
                                      </p:cBhvr>
                                      <p:to>
                                        <p:strVal val="visible"/>
                                      </p:to>
                                    </p:set>
                                    <p:anim calcmode="lin" valueType="num">
                                      <p:cBhvr additive="base">
                                        <p:cTn id="67" dur="500" fill="hold"/>
                                        <p:tgtEl>
                                          <p:spTgt spid="36"/>
                                        </p:tgtEl>
                                        <p:attrNameLst>
                                          <p:attrName>ppt_x</p:attrName>
                                        </p:attrNameLst>
                                      </p:cBhvr>
                                      <p:tavLst>
                                        <p:tav tm="0">
                                          <p:val>
                                            <p:strVal val="1+#ppt_w/2"/>
                                          </p:val>
                                        </p:tav>
                                        <p:tav tm="100000">
                                          <p:val>
                                            <p:strVal val="#ppt_x"/>
                                          </p:val>
                                        </p:tav>
                                      </p:tavLst>
                                    </p:anim>
                                    <p:anim calcmode="lin" valueType="num">
                                      <p:cBhvr additive="base">
                                        <p:cTn id="68" dur="500" fill="hold"/>
                                        <p:tgtEl>
                                          <p:spTgt spid="36"/>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7"/>
                                        </p:tgtEl>
                                        <p:attrNameLst>
                                          <p:attrName>style.visibility</p:attrName>
                                        </p:attrNameLst>
                                      </p:cBhvr>
                                      <p:to>
                                        <p:strVal val="visible"/>
                                      </p:to>
                                    </p:set>
                                    <p:anim calcmode="lin" valueType="num">
                                      <p:cBhvr additive="base">
                                        <p:cTn id="71" dur="500" fill="hold"/>
                                        <p:tgtEl>
                                          <p:spTgt spid="37"/>
                                        </p:tgtEl>
                                        <p:attrNameLst>
                                          <p:attrName>ppt_x</p:attrName>
                                        </p:attrNameLst>
                                      </p:cBhvr>
                                      <p:tavLst>
                                        <p:tav tm="0">
                                          <p:val>
                                            <p:strVal val="1+#ppt_w/2"/>
                                          </p:val>
                                        </p:tav>
                                        <p:tav tm="100000">
                                          <p:val>
                                            <p:strVal val="#ppt_x"/>
                                          </p:val>
                                        </p:tav>
                                      </p:tavLst>
                                    </p:anim>
                                    <p:anim calcmode="lin" valueType="num">
                                      <p:cBhvr additive="base">
                                        <p:cTn id="72" dur="500" fill="hold"/>
                                        <p:tgtEl>
                                          <p:spTgt spid="37"/>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38"/>
                                        </p:tgtEl>
                                        <p:attrNameLst>
                                          <p:attrName>style.visibility</p:attrName>
                                        </p:attrNameLst>
                                      </p:cBhvr>
                                      <p:to>
                                        <p:strVal val="visible"/>
                                      </p:to>
                                    </p:set>
                                    <p:anim calcmode="lin" valueType="num">
                                      <p:cBhvr additive="base">
                                        <p:cTn id="75" dur="500" fill="hold"/>
                                        <p:tgtEl>
                                          <p:spTgt spid="38"/>
                                        </p:tgtEl>
                                        <p:attrNameLst>
                                          <p:attrName>ppt_x</p:attrName>
                                        </p:attrNameLst>
                                      </p:cBhvr>
                                      <p:tavLst>
                                        <p:tav tm="0">
                                          <p:val>
                                            <p:strVal val="1+#ppt_w/2"/>
                                          </p:val>
                                        </p:tav>
                                        <p:tav tm="100000">
                                          <p:val>
                                            <p:strVal val="#ppt_x"/>
                                          </p:val>
                                        </p:tav>
                                      </p:tavLst>
                                    </p:anim>
                                    <p:anim calcmode="lin" valueType="num">
                                      <p:cBhvr additive="base">
                                        <p:cTn id="76" dur="500" fill="hold"/>
                                        <p:tgtEl>
                                          <p:spTgt spid="3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785646492"/>
              </p:ext>
            </p:extLst>
          </p:nvPr>
        </p:nvGraphicFramePr>
        <p:xfrm>
          <a:off x="706818" y="1333380"/>
          <a:ext cx="10778366" cy="4709898"/>
        </p:xfrm>
        <a:graphic>
          <a:graphicData uri="http://schemas.openxmlformats.org/drawingml/2006/table">
            <a:tbl>
              <a:tblPr firstRow="1" bandRow="1">
                <a:tableStyleId>{5C22544A-7EE6-4342-B048-85BDC9FD1C3A}</a:tableStyleId>
              </a:tblPr>
              <a:tblGrid>
                <a:gridCol w="1507270">
                  <a:extLst>
                    <a:ext uri="{9D8B030D-6E8A-4147-A177-3AD203B41FA5}">
                      <a16:colId xmlns:a16="http://schemas.microsoft.com/office/drawing/2014/main" val="20000"/>
                    </a:ext>
                  </a:extLst>
                </a:gridCol>
                <a:gridCol w="2317774">
                  <a:extLst>
                    <a:ext uri="{9D8B030D-6E8A-4147-A177-3AD203B41FA5}">
                      <a16:colId xmlns:a16="http://schemas.microsoft.com/office/drawing/2014/main" val="20001"/>
                    </a:ext>
                  </a:extLst>
                </a:gridCol>
                <a:gridCol w="2317774">
                  <a:extLst>
                    <a:ext uri="{9D8B030D-6E8A-4147-A177-3AD203B41FA5}">
                      <a16:colId xmlns:a16="http://schemas.microsoft.com/office/drawing/2014/main" val="20002"/>
                    </a:ext>
                  </a:extLst>
                </a:gridCol>
                <a:gridCol w="2317774">
                  <a:extLst>
                    <a:ext uri="{9D8B030D-6E8A-4147-A177-3AD203B41FA5}">
                      <a16:colId xmlns:a16="http://schemas.microsoft.com/office/drawing/2014/main" val="20003"/>
                    </a:ext>
                  </a:extLst>
                </a:gridCol>
                <a:gridCol w="2317774">
                  <a:extLst>
                    <a:ext uri="{9D8B030D-6E8A-4147-A177-3AD203B41FA5}">
                      <a16:colId xmlns:a16="http://schemas.microsoft.com/office/drawing/2014/main" val="20004"/>
                    </a:ext>
                  </a:extLst>
                </a:gridCol>
              </a:tblGrid>
              <a:tr h="470127">
                <a:tc>
                  <a:txBody>
                    <a:bodyPr/>
                    <a:lstStyle/>
                    <a:p>
                      <a:pPr algn="ctr"/>
                      <a:r>
                        <a:rPr lang="en-GB" sz="1600" b="0" dirty="0" smtClean="0">
                          <a:solidFill>
                            <a:srgbClr val="FFFFFF"/>
                          </a:solidFill>
                          <a:latin typeface="Segoe UI Semibold" panose="020B0702040204020203" pitchFamily="34" charset="0"/>
                        </a:rPr>
                        <a:t>Devices</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rgbClr val="FFFFFF"/>
                          </a:solidFill>
                          <a:latin typeface="Segoe UI Semibold" panose="020B0702040204020203" pitchFamily="34" charset="0"/>
                        </a:rPr>
                        <a:t>Device Connectivity</a:t>
                      </a:r>
                      <a:endParaRPr lang="en-GB" sz="1600" b="0" dirty="0" smtClean="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algn="ctr"/>
                      <a:r>
                        <a:rPr lang="en-GB" sz="1600" b="0" dirty="0" smtClean="0">
                          <a:solidFill>
                            <a:srgbClr val="FFFFFF"/>
                          </a:solidFill>
                          <a:latin typeface="Segoe UI Semibold" panose="020B0702040204020203" pitchFamily="34" charset="0"/>
                        </a:rPr>
                        <a:t>Storage</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algn="ctr"/>
                      <a:r>
                        <a:rPr lang="en-GB" sz="1600" b="0" dirty="0" smtClean="0">
                          <a:solidFill>
                            <a:srgbClr val="FFFFFF"/>
                          </a:solidFill>
                          <a:latin typeface="Segoe UI Semibold" panose="020B0702040204020203" pitchFamily="34" charset="0"/>
                        </a:rPr>
                        <a:t>Analytics</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rgbClr val="FFFFFF"/>
                          </a:solidFill>
                          <a:latin typeface="Segoe UI Semibold" panose="020B0702040204020203" pitchFamily="34" charset="0"/>
                          <a:ea typeface="+mn-ea"/>
                          <a:cs typeface="+mn-cs"/>
                        </a:rPr>
                        <a:t>Presentation &amp; Action</a:t>
                      </a:r>
                    </a:p>
                  </a:txBody>
                  <a:tcPr marL="84471" marR="84471"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extLst>
                  <a:ext uri="{0D108BD9-81ED-4DB2-BD59-A6C34878D82A}">
                    <a16:rowId xmlns:a16="http://schemas.microsoft.com/office/drawing/2014/main" val="10000"/>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8DC548"/>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1"/>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8DC548"/>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IoT</a:t>
                      </a:r>
                      <a:r>
                        <a:rPr lang="en-US" sz="1600" kern="0" dirty="0" smtClean="0">
                          <a:solidFill>
                            <a:srgbClr val="FFFFFF"/>
                          </a:solidFill>
                        </a:rPr>
                        <a:t> Hu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8DC548"/>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8DC548"/>
                    </a:solidFill>
                  </a:tcPr>
                </a:tc>
                <a:extLst>
                  <a:ext uri="{0D108BD9-81ED-4DB2-BD59-A6C34878D82A}">
                    <a16:rowId xmlns:a16="http://schemas.microsoft.com/office/drawing/2014/main" val="10002"/>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rPr>
                        <a:t>Service Bu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HDInsight</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3"/>
                  </a:ext>
                </a:extLst>
              </a:tr>
              <a:tr h="938967">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3</a:t>
                      </a:r>
                      <a:r>
                        <a:rPr lang="en-US" sz="1600" kern="0" baseline="30000" dirty="0" smtClean="0">
                          <a:solidFill>
                            <a:srgbClr val="FFFFFF"/>
                          </a:solidFill>
                        </a:rPr>
                        <a:t>rd</a:t>
                      </a:r>
                      <a:r>
                        <a:rPr lang="en-US" sz="1600" kern="0" dirty="0" smtClean="0">
                          <a:solidFill>
                            <a:srgbClr val="FFFFFF"/>
                          </a:solidFill>
                        </a:rPr>
                        <a:t> party Database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4"/>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smtClean="0">
                          <a:solidFill>
                            <a:schemeClr val="bg1"/>
                          </a:solidFill>
                        </a:rPr>
                        <a:t>Data Lake</a:t>
                      </a:r>
                      <a:endParaRPr lang="en-US" sz="1600" dirty="0">
                        <a:solidFill>
                          <a:schemeClr val="bg1"/>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5"/>
                  </a:ext>
                </a:extLst>
              </a:tr>
            </a:tbl>
          </a:graphicData>
        </a:graphic>
      </p:graphicFrame>
      <p:grpSp>
        <p:nvGrpSpPr>
          <p:cNvPr id="5" name="Group 4"/>
          <p:cNvGrpSpPr>
            <a:grpSpLocks noChangeAspect="1"/>
          </p:cNvGrpSpPr>
          <p:nvPr/>
        </p:nvGrpSpPr>
        <p:grpSpPr>
          <a:xfrm>
            <a:off x="960832" y="2045341"/>
            <a:ext cx="840424" cy="606971"/>
            <a:chOff x="5893817" y="-2363993"/>
            <a:chExt cx="1589176" cy="1147736"/>
          </a:xfrm>
        </p:grpSpPr>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7" name="Group 6"/>
            <p:cNvGrpSpPr>
              <a:grpSpLocks noChangeAspect="1"/>
            </p:cNvGrpSpPr>
            <p:nvPr/>
          </p:nvGrpSpPr>
          <p:grpSpPr>
            <a:xfrm>
              <a:off x="6051365" y="-2363988"/>
              <a:ext cx="1149652" cy="1147731"/>
              <a:chOff x="2475317" y="-6877877"/>
              <a:chExt cx="1493848" cy="1490961"/>
            </a:xfrm>
          </p:grpSpPr>
          <p:sp>
            <p:nvSpPr>
              <p:cNvPr id="12"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sp>
            <p:nvSpPr>
              <p:cNvPr id="13"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sp>
            <p:nvSpPr>
              <p:cNvPr id="14" name="Rectangle 13"/>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grpSp>
        <p:sp>
          <p:nvSpPr>
            <p:cNvPr id="8"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7200" tIns="33599" rIns="67200" bIns="33599" numCol="1" rtlCol="0" anchor="ctr" anchorCtr="0" compatLnSpc="1">
              <a:prstTxWarp prst="textNoShape">
                <a:avLst/>
              </a:prstTxWarp>
            </a:bodyPr>
            <a:lstStyle/>
            <a:p>
              <a:pPr marL="0" marR="0" lvl="0" indent="0" algn="ctr" defTabSz="604414"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000000"/>
                </a:solidFill>
                <a:effectLst/>
                <a:uLnTx/>
                <a:uFillTx/>
                <a:latin typeface="Segoe UI Light" panose="020B0502040204020203" pitchFamily="34" charset="0"/>
                <a:sym typeface="Segoe UI Light" panose="020B0502040204020203" pitchFamily="34" charset="0"/>
              </a:endParaRPr>
            </a:p>
          </p:txBody>
        </p:sp>
        <p:pic>
          <p:nvPicPr>
            <p:cNvPr id="9"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10"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11" name="Freeform 10"/>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5880" tIns="32940" rIns="65880" bIns="32940" numCol="1" rtlCol="0" anchor="ctr" anchorCtr="0" compatLnSpc="1">
              <a:prstTxWarp prst="textNoShape">
                <a:avLst/>
              </a:prstTxWarp>
            </a:bodyPr>
            <a:lstStyle/>
            <a:p>
              <a:pPr marL="0" marR="0" lvl="0" indent="0" algn="ctr" defTabSz="658129" eaLnBrk="1" fontAlgn="base" latinLnBrk="0" hangingPunct="1">
                <a:lnSpc>
                  <a:spcPct val="100000"/>
                </a:lnSpc>
                <a:spcBef>
                  <a:spcPct val="0"/>
                </a:spcBef>
                <a:spcAft>
                  <a:spcPct val="0"/>
                </a:spcAft>
                <a:buClrTx/>
                <a:buSzTx/>
                <a:buFontTx/>
                <a:buNone/>
                <a:tabLst/>
                <a:defRPr/>
              </a:pPr>
              <a:endParaRPr kumimoji="0" lang="en-US" sz="1250" b="0" i="0" u="none" strike="noStrike" kern="0" cap="none" spc="0" normalizeH="0" baseline="0" noProof="0" dirty="0">
                <a:ln>
                  <a:noFill/>
                </a:ln>
                <a:solidFill>
                  <a:srgbClr val="000000"/>
                </a:solidFill>
                <a:effectLst/>
                <a:uLnTx/>
                <a:uFillTx/>
              </a:endParaRPr>
            </a:p>
          </p:txBody>
        </p:sp>
      </p:grpSp>
      <p:grpSp>
        <p:nvGrpSpPr>
          <p:cNvPr id="15" name="Group 14"/>
          <p:cNvGrpSpPr>
            <a:grpSpLocks noChangeAspect="1"/>
          </p:cNvGrpSpPr>
          <p:nvPr/>
        </p:nvGrpSpPr>
        <p:grpSpPr>
          <a:xfrm>
            <a:off x="1088991" y="2828954"/>
            <a:ext cx="681729" cy="506437"/>
            <a:chOff x="5630249" y="-855090"/>
            <a:chExt cx="1258953" cy="935238"/>
          </a:xfrm>
          <a:solidFill>
            <a:schemeClr val="bg1"/>
          </a:solidFill>
        </p:grpSpPr>
        <p:sp>
          <p:nvSpPr>
            <p:cNvPr id="16"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7203" tIns="33601" rIns="67203" bIns="33601" numCol="1" anchor="t" anchorCtr="0" compatLnSpc="1">
              <a:prstTxWarp prst="textNoShape">
                <a:avLst/>
              </a:prstTxWarp>
            </a:bodyP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000000"/>
                </a:solidFill>
                <a:effectLst/>
                <a:uLnTx/>
                <a:uFillTx/>
              </a:endParaRPr>
            </a:p>
          </p:txBody>
        </p:sp>
        <p:sp>
          <p:nvSpPr>
            <p:cNvPr id="17"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33601" bIns="67203" numCol="1" spcCol="0" rtlCol="0" fromWordArt="0" anchor="b" anchorCtr="0" forceAA="0" compatLnSpc="1">
              <a:prstTxWarp prst="textNoShape">
                <a:avLst/>
              </a:prstTxWarp>
              <a:noAutofit/>
            </a:bodyPr>
            <a:lstStyle/>
            <a:p>
              <a:pPr marL="0" marR="0" lvl="0" indent="0" algn="ctr" defTabSz="671355" eaLnBrk="1" fontAlgn="base" latinLnBrk="0" hangingPunct="1">
                <a:lnSpc>
                  <a:spcPct val="100000"/>
                </a:lnSpc>
                <a:spcBef>
                  <a:spcPct val="0"/>
                </a:spcBef>
                <a:spcAft>
                  <a:spcPct val="0"/>
                </a:spcAft>
                <a:buClrTx/>
                <a:buSzTx/>
                <a:buFontTx/>
                <a:buNone/>
                <a:tabLst/>
                <a:defRPr/>
              </a:pPr>
              <a:endParaRPr kumimoji="0" lang="en-US" sz="735"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pic>
          <p:nvPicPr>
            <p:cNvPr id="18"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19"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5882" tIns="32941" rIns="65882" bIns="32941" numCol="1" anchor="t" anchorCtr="0" compatLnSpc="1">
              <a:prstTxWarp prst="textNoShape">
                <a:avLst/>
              </a:prstTxWarp>
            </a:bodyPr>
            <a:lstStyle/>
            <a:p>
              <a:pPr marL="0" marR="0" lvl="0" indent="0" algn="ctr" defTabSz="658346"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dirty="0">
                <a:ln>
                  <a:noFill/>
                </a:ln>
                <a:solidFill>
                  <a:srgbClr val="000000"/>
                </a:solidFill>
                <a:effectLst/>
                <a:uLnTx/>
                <a:uFillTx/>
              </a:endParaRPr>
            </a:p>
          </p:txBody>
        </p:sp>
        <p:sp>
          <p:nvSpPr>
            <p:cNvPr id="20"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806439" bIns="33601" numCol="1" spcCol="0" rtlCol="0" fromWordArt="0" anchor="b" anchorCtr="0" forceAA="0" compatLnSpc="1">
              <a:prstTxWarp prst="textNoShape">
                <a:avLst/>
              </a:prstTxWarp>
              <a:noAutofit/>
            </a:bodyPr>
            <a:lstStyle/>
            <a:p>
              <a:pPr marL="0" marR="0" lvl="0" indent="0" defTabSz="671355" eaLnBrk="1" fontAlgn="base" latinLnBrk="0" hangingPunct="1">
                <a:lnSpc>
                  <a:spcPct val="100000"/>
                </a:lnSpc>
                <a:spcBef>
                  <a:spcPct val="0"/>
                </a:spcBef>
                <a:spcAft>
                  <a:spcPct val="0"/>
                </a:spcAft>
                <a:buClrTx/>
                <a:buSzTx/>
                <a:buFontTx/>
                <a:buNone/>
                <a:tabLst/>
                <a:defRPr/>
              </a:pPr>
              <a:endParaRPr kumimoji="0" lang="en-US" sz="1617" b="0" i="0" u="none" strike="noStrike" kern="0" cap="none" spc="-37" normalizeH="0" baseline="0" noProof="0" dirty="0">
                <a:ln>
                  <a:noFill/>
                </a:ln>
                <a:solidFill>
                  <a:srgbClr val="000000"/>
                </a:solidFill>
                <a:effectLst/>
                <a:uLnTx/>
                <a:uFillTx/>
                <a:latin typeface="Segoe UI Light"/>
                <a:ea typeface="Segoe UI" pitchFamily="34" charset="0"/>
                <a:cs typeface="Segoe UI" pitchFamily="34" charset="0"/>
              </a:endParaRPr>
            </a:p>
          </p:txBody>
        </p:sp>
        <p:sp>
          <p:nvSpPr>
            <p:cNvPr id="21"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marL="0" marR="0" lvl="0" indent="0" defTabSz="685046" eaLnBrk="1" fontAlgn="auto" latinLnBrk="0" hangingPunct="1">
                <a:lnSpc>
                  <a:spcPct val="100000"/>
                </a:lnSpc>
                <a:spcBef>
                  <a:spcPts val="0"/>
                </a:spcBef>
                <a:spcAft>
                  <a:spcPts val="0"/>
                </a:spcAft>
                <a:buClrTx/>
                <a:buSzTx/>
                <a:buFontTx/>
                <a:buNone/>
                <a:tabLst/>
                <a:defRPr/>
              </a:pPr>
              <a:endParaRPr kumimoji="0" lang="en-US" sz="1544" b="0" i="0" u="none" strike="noStrike" kern="0" cap="none" spc="0" normalizeH="0" baseline="0" noProof="0" dirty="0">
                <a:ln>
                  <a:noFill/>
                </a:ln>
                <a:solidFill>
                  <a:srgbClr val="000000"/>
                </a:solidFill>
                <a:effectLst/>
                <a:uLnTx/>
                <a:uFillTx/>
              </a:endParaRPr>
            </a:p>
          </p:txBody>
        </p:sp>
      </p:grpSp>
      <p:grpSp>
        <p:nvGrpSpPr>
          <p:cNvPr id="22" name="Group 21"/>
          <p:cNvGrpSpPr/>
          <p:nvPr/>
        </p:nvGrpSpPr>
        <p:grpSpPr>
          <a:xfrm>
            <a:off x="1405092" y="3726593"/>
            <a:ext cx="541425" cy="329081"/>
            <a:chOff x="2012636" y="-279971"/>
            <a:chExt cx="734842" cy="447764"/>
          </a:xfrm>
          <a:solidFill>
            <a:schemeClr val="bg1"/>
          </a:solidFill>
        </p:grpSpPr>
        <p:sp>
          <p:nvSpPr>
            <p:cNvPr id="2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33601" bIns="67203" numCol="1" spcCol="0" rtlCol="0" fromWordArt="0" anchor="b" anchorCtr="0" forceAA="0" compatLnSpc="1">
              <a:prstTxWarp prst="textNoShape">
                <a:avLst/>
              </a:prstTxWarp>
              <a:noAutofit/>
            </a:bodyPr>
            <a:lstStyle/>
            <a:p>
              <a:pPr marL="0" marR="0" lvl="0" indent="0" algn="ctr" defTabSz="671355" eaLnBrk="1" fontAlgn="base" latinLnBrk="0" hangingPunct="1">
                <a:lnSpc>
                  <a:spcPct val="100000"/>
                </a:lnSpc>
                <a:spcBef>
                  <a:spcPct val="0"/>
                </a:spcBef>
                <a:spcAft>
                  <a:spcPct val="0"/>
                </a:spcAft>
                <a:buClrTx/>
                <a:buSzTx/>
                <a:buFontTx/>
                <a:buNone/>
                <a:tabLst/>
                <a:defRPr/>
              </a:pPr>
              <a:endParaRPr kumimoji="0" lang="en-US" sz="1323" b="0" i="0" u="none" strike="noStrike" kern="0" cap="none" spc="-37" normalizeH="0" baseline="0" noProof="0" dirty="0">
                <a:ln>
                  <a:noFill/>
                </a:ln>
                <a:solidFill>
                  <a:srgbClr val="000000"/>
                </a:solidFill>
                <a:effectLst/>
                <a:uLnTx/>
                <a:uFillTx/>
                <a:ea typeface="Segoe UI" pitchFamily="34" charset="0"/>
                <a:cs typeface="Segoe UI" pitchFamily="34" charset="0"/>
              </a:endParaRPr>
            </a:p>
          </p:txBody>
        </p:sp>
        <p:sp>
          <p:nvSpPr>
            <p:cNvPr id="2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0644" tIns="40322" rIns="40322" bIns="80644" numCol="1" spcCol="0" rtlCol="0" fromWordArt="0" anchor="b" anchorCtr="0" forceAA="0" compatLnSpc="1">
              <a:prstTxWarp prst="textNoShape">
                <a:avLst/>
              </a:prstTxWarp>
              <a:noAutofit/>
            </a:bodyPr>
            <a:lstStyle/>
            <a:p>
              <a:pPr marL="0" marR="0" lvl="0" indent="0" algn="ctr" defTabSz="805626" eaLnBrk="1" fontAlgn="base" latinLnBrk="0" hangingPunct="1">
                <a:lnSpc>
                  <a:spcPct val="100000"/>
                </a:lnSpc>
                <a:spcBef>
                  <a:spcPct val="0"/>
                </a:spcBef>
                <a:spcAft>
                  <a:spcPct val="0"/>
                </a:spcAft>
                <a:buClrTx/>
                <a:buSzTx/>
                <a:buFontTx/>
                <a:buNone/>
                <a:tabLst/>
                <a:defRPr/>
              </a:pPr>
              <a:endParaRPr kumimoji="0" lang="en-US" sz="1765" b="0" i="0" u="none" strike="noStrike" kern="0" cap="none" spc="-44" normalizeH="0" baseline="0" noProof="0" dirty="0">
                <a:ln>
                  <a:noFill/>
                </a:ln>
                <a:solidFill>
                  <a:srgbClr val="000000"/>
                </a:solidFill>
                <a:effectLst/>
                <a:uLnTx/>
                <a:uFillTx/>
                <a:ea typeface="Segoe UI" pitchFamily="34" charset="0"/>
                <a:cs typeface="Segoe UI" pitchFamily="34" charset="0"/>
              </a:endParaRPr>
            </a:p>
          </p:txBody>
        </p:sp>
      </p:grpSp>
      <p:pic>
        <p:nvPicPr>
          <p:cNvPr id="25" name="Picture 2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39626" y="3675036"/>
            <a:ext cx="470556" cy="470556"/>
          </a:xfrm>
          <a:prstGeom prst="rect">
            <a:avLst/>
          </a:prstGeom>
        </p:spPr>
      </p:pic>
      <p:pic>
        <p:nvPicPr>
          <p:cNvPr id="26"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81987" y="4458120"/>
            <a:ext cx="463145" cy="463145"/>
          </a:xfrm>
          <a:prstGeom prst="rect">
            <a:avLst/>
          </a:prstGeom>
          <a:noFill/>
        </p:spPr>
      </p:pic>
      <p:pic>
        <p:nvPicPr>
          <p:cNvPr id="27"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661063" y="2054507"/>
            <a:ext cx="415409" cy="438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647377" y="2887184"/>
            <a:ext cx="442786" cy="38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80393" y="3514674"/>
            <a:ext cx="776750" cy="776750"/>
          </a:xfrm>
          <a:prstGeom prst="rect">
            <a:avLst/>
          </a:prstGeom>
        </p:spPr>
      </p:pic>
      <p:sp>
        <p:nvSpPr>
          <p:cNvPr id="30" name="TextBox 29"/>
          <p:cNvSpPr txBox="1"/>
          <p:nvPr/>
        </p:nvSpPr>
        <p:spPr>
          <a:xfrm>
            <a:off x="4701454" y="3817108"/>
            <a:ext cx="357676" cy="230832"/>
          </a:xfrm>
          <a:prstGeom prst="rect">
            <a:avLst/>
          </a:prstGeom>
          <a:noFill/>
          <a:ln>
            <a:noFill/>
            <a:headEnd type="none" w="med" len="med"/>
            <a:tailEnd type="none" w="med" len="med"/>
          </a:ln>
        </p:spPr>
        <p:txBody>
          <a:bodyPr wrap="square" lIns="0" tIns="0" rIns="0" bIns="0" rtlCol="0">
            <a:spAutoFit/>
          </a:bodyPr>
          <a:lstStyle/>
          <a:p>
            <a:pPr marL="0" marR="0" lvl="0" indent="0" algn="ctr" defTabSz="685607" eaLnBrk="1" fontAlgn="auto" latinLnBrk="0" hangingPunct="1">
              <a:lnSpc>
                <a:spcPct val="100000"/>
              </a:lnSpc>
              <a:spcBef>
                <a:spcPts val="0"/>
              </a:spcBef>
              <a:spcAft>
                <a:spcPts val="0"/>
              </a:spcAft>
              <a:buClrTx/>
              <a:buSzTx/>
              <a:buFontTx/>
              <a:buNone/>
              <a:tabLst/>
              <a:defRPr/>
            </a:pPr>
            <a:r>
              <a:rPr kumimoji="0" lang="en-US" sz="1500" b="0" i="0" u="none" strike="noStrike" kern="0" cap="none" spc="-29" normalizeH="0" baseline="0" noProof="0" dirty="0">
                <a:ln>
                  <a:noFill/>
                </a:ln>
                <a:solidFill>
                  <a:srgbClr val="4668C5"/>
                </a:solidFill>
                <a:effectLst/>
                <a:uLnTx/>
                <a:uFillTx/>
                <a:ea typeface="Segoe UI" pitchFamily="34" charset="0"/>
                <a:cs typeface="Segoe UI" pitchFamily="34" charset="0"/>
              </a:rPr>
              <a:t>{  }</a:t>
            </a:r>
          </a:p>
        </p:txBody>
      </p:sp>
      <p:pic>
        <p:nvPicPr>
          <p:cNvPr id="31"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673618" y="4458120"/>
            <a:ext cx="463145" cy="463145"/>
          </a:xfrm>
          <a:prstGeom prst="rect">
            <a:avLst/>
          </a:prstGeom>
          <a:noFill/>
        </p:spPr>
      </p:pic>
      <p:pic>
        <p:nvPicPr>
          <p:cNvPr id="32" name="Picture 3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851010" y="1892920"/>
            <a:ext cx="739031" cy="739031"/>
          </a:xfrm>
          <a:prstGeom prst="rect">
            <a:avLst/>
          </a:prstGeom>
        </p:spPr>
      </p:pic>
      <p:pic>
        <p:nvPicPr>
          <p:cNvPr id="33"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348003" y="2064625"/>
            <a:ext cx="421361" cy="417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412736" y="4500730"/>
            <a:ext cx="272575" cy="440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34"/>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386942" y="3693957"/>
            <a:ext cx="366526" cy="366526"/>
          </a:xfrm>
          <a:prstGeom prst="rect">
            <a:avLst/>
          </a:prstGeom>
        </p:spPr>
      </p:pic>
      <p:pic>
        <p:nvPicPr>
          <p:cNvPr id="36" name="Picture 35"/>
          <p:cNvPicPr>
            <a:picLocks noChangeAspect="1"/>
          </p:cNvPicPr>
          <p:nvPr/>
        </p:nvPicPr>
        <p:blipFill>
          <a:blip r:embed="rId16" cstate="screen">
            <a:biLevel thresh="25000"/>
            <a:extLst>
              <a:ext uri="{28A0092B-C50C-407E-A947-70E740481C1C}">
                <a14:useLocalDpi xmlns:a14="http://schemas.microsoft.com/office/drawing/2010/main"/>
              </a:ext>
            </a:extLst>
          </a:blip>
          <a:stretch>
            <a:fillRect/>
          </a:stretch>
        </p:blipFill>
        <p:spPr>
          <a:xfrm>
            <a:off x="6985479" y="4500731"/>
            <a:ext cx="470095" cy="470095"/>
          </a:xfrm>
          <a:prstGeom prst="rect">
            <a:avLst/>
          </a:prstGeom>
        </p:spPr>
      </p:pic>
      <p:pic>
        <p:nvPicPr>
          <p:cNvPr id="37" name="Picture 36"/>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2441085" y="3653741"/>
            <a:ext cx="398782" cy="398782"/>
          </a:xfrm>
          <a:prstGeom prst="rect">
            <a:avLst/>
          </a:prstGeom>
        </p:spPr>
      </p:pic>
      <p:pic>
        <p:nvPicPr>
          <p:cNvPr id="38" name="Picture 37"/>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9348002" y="5366909"/>
            <a:ext cx="478444" cy="478444"/>
          </a:xfrm>
          <a:prstGeom prst="rect">
            <a:avLst/>
          </a:prstGeom>
        </p:spPr>
      </p:pic>
      <p:pic>
        <p:nvPicPr>
          <p:cNvPr id="39" name="Picture 38"/>
          <p:cNvPicPr>
            <a:picLocks noChangeAspect="1"/>
          </p:cNvPicPr>
          <p:nvPr/>
        </p:nvPicPr>
        <p:blipFill>
          <a:blip r:embed="rId19"/>
          <a:stretch>
            <a:fillRect/>
          </a:stretch>
        </p:blipFill>
        <p:spPr>
          <a:xfrm>
            <a:off x="6960825" y="2834113"/>
            <a:ext cx="519404" cy="519404"/>
          </a:xfrm>
          <a:prstGeom prst="rect">
            <a:avLst/>
          </a:prstGeom>
        </p:spPr>
      </p:pic>
      <p:pic>
        <p:nvPicPr>
          <p:cNvPr id="40" name="Picture 39"/>
          <p:cNvPicPr>
            <a:picLocks noChangeAspect="1"/>
          </p:cNvPicPr>
          <p:nvPr/>
        </p:nvPicPr>
        <p:blipFill>
          <a:blip r:embed="rId20"/>
          <a:stretch>
            <a:fillRect/>
          </a:stretch>
        </p:blipFill>
        <p:spPr>
          <a:xfrm>
            <a:off x="2293555" y="1946221"/>
            <a:ext cx="546312" cy="546312"/>
          </a:xfrm>
          <a:prstGeom prst="rect">
            <a:avLst/>
          </a:prstGeom>
        </p:spPr>
      </p:pic>
      <p:pic>
        <p:nvPicPr>
          <p:cNvPr id="41" name="Picture 40"/>
          <p:cNvPicPr>
            <a:picLocks noChangeAspect="1"/>
          </p:cNvPicPr>
          <p:nvPr/>
        </p:nvPicPr>
        <p:blipFill>
          <a:blip r:embed="rId21"/>
          <a:stretch>
            <a:fillRect/>
          </a:stretch>
        </p:blipFill>
        <p:spPr>
          <a:xfrm>
            <a:off x="6921222" y="3599063"/>
            <a:ext cx="598607" cy="598607"/>
          </a:xfrm>
          <a:prstGeom prst="rect">
            <a:avLst/>
          </a:prstGeom>
        </p:spPr>
      </p:pic>
      <p:pic>
        <p:nvPicPr>
          <p:cNvPr id="42" name="Picture 41"/>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320447" y="2803777"/>
            <a:ext cx="476996" cy="509611"/>
          </a:xfrm>
          <a:prstGeom prst="rect">
            <a:avLst/>
          </a:prstGeom>
        </p:spPr>
      </p:pic>
      <p:pic>
        <p:nvPicPr>
          <p:cNvPr id="43" name="Picture 4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349637" y="2803777"/>
            <a:ext cx="419728" cy="442036"/>
          </a:xfrm>
          <a:prstGeom prst="rect">
            <a:avLst/>
          </a:prstGeom>
        </p:spPr>
      </p:pic>
      <p:pic>
        <p:nvPicPr>
          <p:cNvPr id="44" name="Picture 43"/>
          <p:cNvPicPr>
            <a:picLocks noChangeAspect="1"/>
          </p:cNvPicPr>
          <p:nvPr/>
        </p:nvPicPr>
        <p:blipFill>
          <a:blip r:embed="rId24">
            <a:biLevel thresh="25000"/>
          </a:blip>
          <a:stretch>
            <a:fillRect/>
          </a:stretch>
        </p:blipFill>
        <p:spPr>
          <a:xfrm>
            <a:off x="6973097" y="5382605"/>
            <a:ext cx="418698" cy="368260"/>
          </a:xfrm>
          <a:prstGeom prst="rect">
            <a:avLst/>
          </a:prstGeom>
        </p:spPr>
      </p:pic>
      <p:pic>
        <p:nvPicPr>
          <p:cNvPr id="45" name="Picture 44"/>
          <p:cNvPicPr>
            <a:picLocks noChangeAspect="1"/>
          </p:cNvPicPr>
          <p:nvPr/>
        </p:nvPicPr>
        <p:blipFill>
          <a:blip r:embed="rId24">
            <a:biLevel thresh="25000"/>
          </a:blip>
          <a:stretch>
            <a:fillRect/>
          </a:stretch>
        </p:blipFill>
        <p:spPr>
          <a:xfrm>
            <a:off x="7111566" y="5566735"/>
            <a:ext cx="418698" cy="368260"/>
          </a:xfrm>
          <a:prstGeom prst="rect">
            <a:avLst/>
          </a:prstGeom>
        </p:spPr>
      </p:pic>
      <p:grpSp>
        <p:nvGrpSpPr>
          <p:cNvPr id="46" name="Group 45"/>
          <p:cNvGrpSpPr/>
          <p:nvPr/>
        </p:nvGrpSpPr>
        <p:grpSpPr>
          <a:xfrm>
            <a:off x="1588" y="0"/>
            <a:ext cx="12195175" cy="945292"/>
            <a:chOff x="1588" y="0"/>
            <a:chExt cx="12195175" cy="945292"/>
          </a:xfrm>
        </p:grpSpPr>
        <p:sp>
          <p:nvSpPr>
            <p:cNvPr id="47"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Microsoft Azure IoT Service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48" name="Rectangle 47"/>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9"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0" name="Group 49"/>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5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2"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3"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4"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5"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8"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4428857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1+#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1+#ppt_w/2"/>
                                          </p:val>
                                        </p:tav>
                                        <p:tav tm="100000">
                                          <p:val>
                                            <p:strVal val="#ppt_x"/>
                                          </p:val>
                                        </p:tav>
                                      </p:tavLst>
                                    </p:anim>
                                    <p:anim calcmode="lin" valueType="num">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1+#ppt_w/2"/>
                                          </p:val>
                                        </p:tav>
                                        <p:tav tm="100000">
                                          <p:val>
                                            <p:strVal val="#ppt_x"/>
                                          </p:val>
                                        </p:tav>
                                      </p:tavLst>
                                    </p:anim>
                                    <p:anim calcmode="lin" valueType="num">
                                      <p:cBhvr additive="base">
                                        <p:cTn id="20" dur="500" fill="hold"/>
                                        <p:tgtEl>
                                          <p:spTgt spid="27"/>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500" fill="hold"/>
                                        <p:tgtEl>
                                          <p:spTgt spid="28"/>
                                        </p:tgtEl>
                                        <p:attrNameLst>
                                          <p:attrName>ppt_x</p:attrName>
                                        </p:attrNameLst>
                                      </p:cBhvr>
                                      <p:tavLst>
                                        <p:tav tm="0">
                                          <p:val>
                                            <p:strVal val="1+#ppt_w/2"/>
                                          </p:val>
                                        </p:tav>
                                        <p:tav tm="100000">
                                          <p:val>
                                            <p:strVal val="#ppt_x"/>
                                          </p:val>
                                        </p:tav>
                                      </p:tavLst>
                                    </p:anim>
                                    <p:anim calcmode="lin" valueType="num">
                                      <p:cBhvr additive="base">
                                        <p:cTn id="24" dur="500" fill="hold"/>
                                        <p:tgtEl>
                                          <p:spTgt spid="28"/>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 calcmode="lin" valueType="num">
                                      <p:cBhvr additive="base">
                                        <p:cTn id="27" dur="500" fill="hold"/>
                                        <p:tgtEl>
                                          <p:spTgt spid="30"/>
                                        </p:tgtEl>
                                        <p:attrNameLst>
                                          <p:attrName>ppt_x</p:attrName>
                                        </p:attrNameLst>
                                      </p:cBhvr>
                                      <p:tavLst>
                                        <p:tav tm="0">
                                          <p:val>
                                            <p:strVal val="1+#ppt_w/2"/>
                                          </p:val>
                                        </p:tav>
                                        <p:tav tm="100000">
                                          <p:val>
                                            <p:strVal val="#ppt_x"/>
                                          </p:val>
                                        </p:tav>
                                      </p:tavLst>
                                    </p:anim>
                                    <p:anim calcmode="lin" valueType="num">
                                      <p:cBhvr additive="base">
                                        <p:cTn id="28" dur="500" fill="hold"/>
                                        <p:tgtEl>
                                          <p:spTgt spid="30"/>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anim calcmode="lin" valueType="num">
                                      <p:cBhvr additive="base">
                                        <p:cTn id="31" dur="500" fill="hold"/>
                                        <p:tgtEl>
                                          <p:spTgt spid="32"/>
                                        </p:tgtEl>
                                        <p:attrNameLst>
                                          <p:attrName>ppt_x</p:attrName>
                                        </p:attrNameLst>
                                      </p:cBhvr>
                                      <p:tavLst>
                                        <p:tav tm="0">
                                          <p:val>
                                            <p:strVal val="1+#ppt_w/2"/>
                                          </p:val>
                                        </p:tav>
                                        <p:tav tm="100000">
                                          <p:val>
                                            <p:strVal val="#ppt_x"/>
                                          </p:val>
                                        </p:tav>
                                      </p:tavLst>
                                    </p:anim>
                                    <p:anim calcmode="lin" valueType="num">
                                      <p:cBhvr additive="base">
                                        <p:cTn id="32" dur="500" fill="hold"/>
                                        <p:tgtEl>
                                          <p:spTgt spid="32"/>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33"/>
                                        </p:tgtEl>
                                        <p:attrNameLst>
                                          <p:attrName>style.visibility</p:attrName>
                                        </p:attrNameLst>
                                      </p:cBhvr>
                                      <p:to>
                                        <p:strVal val="visible"/>
                                      </p:to>
                                    </p:set>
                                    <p:anim calcmode="lin" valueType="num">
                                      <p:cBhvr additive="base">
                                        <p:cTn id="35" dur="500" fill="hold"/>
                                        <p:tgtEl>
                                          <p:spTgt spid="33"/>
                                        </p:tgtEl>
                                        <p:attrNameLst>
                                          <p:attrName>ppt_x</p:attrName>
                                        </p:attrNameLst>
                                      </p:cBhvr>
                                      <p:tavLst>
                                        <p:tav tm="0">
                                          <p:val>
                                            <p:strVal val="1+#ppt_w/2"/>
                                          </p:val>
                                        </p:tav>
                                        <p:tav tm="100000">
                                          <p:val>
                                            <p:strVal val="#ppt_x"/>
                                          </p:val>
                                        </p:tav>
                                      </p:tavLst>
                                    </p:anim>
                                    <p:anim calcmode="lin" valueType="num">
                                      <p:cBhvr additive="base">
                                        <p:cTn id="36" dur="500" fill="hold"/>
                                        <p:tgtEl>
                                          <p:spTgt spid="33"/>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500" fill="hold"/>
                                        <p:tgtEl>
                                          <p:spTgt spid="34"/>
                                        </p:tgtEl>
                                        <p:attrNameLst>
                                          <p:attrName>ppt_x</p:attrName>
                                        </p:attrNameLst>
                                      </p:cBhvr>
                                      <p:tavLst>
                                        <p:tav tm="0">
                                          <p:val>
                                            <p:strVal val="1+#ppt_w/2"/>
                                          </p:val>
                                        </p:tav>
                                        <p:tav tm="100000">
                                          <p:val>
                                            <p:strVal val="#ppt_x"/>
                                          </p:val>
                                        </p:tav>
                                      </p:tavLst>
                                    </p:anim>
                                    <p:anim calcmode="lin" valueType="num">
                                      <p:cBhvr additive="base">
                                        <p:cTn id="40" dur="500" fill="hold"/>
                                        <p:tgtEl>
                                          <p:spTgt spid="34"/>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35"/>
                                        </p:tgtEl>
                                        <p:attrNameLst>
                                          <p:attrName>style.visibility</p:attrName>
                                        </p:attrNameLst>
                                      </p:cBhvr>
                                      <p:to>
                                        <p:strVal val="visible"/>
                                      </p:to>
                                    </p:set>
                                    <p:anim calcmode="lin" valueType="num">
                                      <p:cBhvr additive="base">
                                        <p:cTn id="43" dur="500" fill="hold"/>
                                        <p:tgtEl>
                                          <p:spTgt spid="35"/>
                                        </p:tgtEl>
                                        <p:attrNameLst>
                                          <p:attrName>ppt_x</p:attrName>
                                        </p:attrNameLst>
                                      </p:cBhvr>
                                      <p:tavLst>
                                        <p:tav tm="0">
                                          <p:val>
                                            <p:strVal val="1+#ppt_w/2"/>
                                          </p:val>
                                        </p:tav>
                                        <p:tav tm="100000">
                                          <p:val>
                                            <p:strVal val="#ppt_x"/>
                                          </p:val>
                                        </p:tav>
                                      </p:tavLst>
                                    </p:anim>
                                    <p:anim calcmode="lin" valueType="num">
                                      <p:cBhvr additive="base">
                                        <p:cTn id="44" dur="500" fill="hold"/>
                                        <p:tgtEl>
                                          <p:spTgt spid="35"/>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22"/>
                                        </p:tgtEl>
                                        <p:attrNameLst>
                                          <p:attrName>style.visibility</p:attrName>
                                        </p:attrNameLst>
                                      </p:cBhvr>
                                      <p:to>
                                        <p:strVal val="visible"/>
                                      </p:to>
                                    </p:set>
                                    <p:anim calcmode="lin" valueType="num">
                                      <p:cBhvr additive="base">
                                        <p:cTn id="47" dur="500" fill="hold"/>
                                        <p:tgtEl>
                                          <p:spTgt spid="22"/>
                                        </p:tgtEl>
                                        <p:attrNameLst>
                                          <p:attrName>ppt_x</p:attrName>
                                        </p:attrNameLst>
                                      </p:cBhvr>
                                      <p:tavLst>
                                        <p:tav tm="0">
                                          <p:val>
                                            <p:strVal val="1+#ppt_w/2"/>
                                          </p:val>
                                        </p:tav>
                                        <p:tav tm="100000">
                                          <p:val>
                                            <p:strVal val="#ppt_x"/>
                                          </p:val>
                                        </p:tav>
                                      </p:tavLst>
                                    </p:anim>
                                    <p:anim calcmode="lin" valueType="num">
                                      <p:cBhvr additive="base">
                                        <p:cTn id="48" dur="500" fill="hold"/>
                                        <p:tgtEl>
                                          <p:spTgt spid="22"/>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1+#ppt_w/2"/>
                                          </p:val>
                                        </p:tav>
                                        <p:tav tm="100000">
                                          <p:val>
                                            <p:strVal val="#ppt_x"/>
                                          </p:val>
                                        </p:tav>
                                      </p:tavLst>
                                    </p:anim>
                                    <p:anim calcmode="lin" valueType="num">
                                      <p:cBhvr additive="base">
                                        <p:cTn id="52" dur="500" fill="hold"/>
                                        <p:tgtEl>
                                          <p:spTgt spid="15"/>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5"/>
                                        </p:tgtEl>
                                        <p:attrNameLst>
                                          <p:attrName>style.visibility</p:attrName>
                                        </p:attrNameLst>
                                      </p:cBhvr>
                                      <p:to>
                                        <p:strVal val="visible"/>
                                      </p:to>
                                    </p:set>
                                    <p:anim calcmode="lin" valueType="num">
                                      <p:cBhvr additive="base">
                                        <p:cTn id="55" dur="500" fill="hold"/>
                                        <p:tgtEl>
                                          <p:spTgt spid="5"/>
                                        </p:tgtEl>
                                        <p:attrNameLst>
                                          <p:attrName>ppt_x</p:attrName>
                                        </p:attrNameLst>
                                      </p:cBhvr>
                                      <p:tavLst>
                                        <p:tav tm="0">
                                          <p:val>
                                            <p:strVal val="1+#ppt_w/2"/>
                                          </p:val>
                                        </p:tav>
                                        <p:tav tm="100000">
                                          <p:val>
                                            <p:strVal val="#ppt_x"/>
                                          </p:val>
                                        </p:tav>
                                      </p:tavLst>
                                    </p:anim>
                                    <p:anim calcmode="lin" valueType="num">
                                      <p:cBhvr additive="base">
                                        <p:cTn id="56" dur="500" fill="hold"/>
                                        <p:tgtEl>
                                          <p:spTgt spid="5"/>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1"/>
                                        </p:tgtEl>
                                        <p:attrNameLst>
                                          <p:attrName>style.visibility</p:attrName>
                                        </p:attrNameLst>
                                      </p:cBhvr>
                                      <p:to>
                                        <p:strVal val="visible"/>
                                      </p:to>
                                    </p:set>
                                    <p:anim calcmode="lin" valueType="num">
                                      <p:cBhvr additive="base">
                                        <p:cTn id="59" dur="500" fill="hold"/>
                                        <p:tgtEl>
                                          <p:spTgt spid="31"/>
                                        </p:tgtEl>
                                        <p:attrNameLst>
                                          <p:attrName>ppt_x</p:attrName>
                                        </p:attrNameLst>
                                      </p:cBhvr>
                                      <p:tavLst>
                                        <p:tav tm="0">
                                          <p:val>
                                            <p:strVal val="1+#ppt_w/2"/>
                                          </p:val>
                                        </p:tav>
                                        <p:tav tm="100000">
                                          <p:val>
                                            <p:strVal val="#ppt_x"/>
                                          </p:val>
                                        </p:tav>
                                      </p:tavLst>
                                    </p:anim>
                                    <p:anim calcmode="lin" valueType="num">
                                      <p:cBhvr additive="base">
                                        <p:cTn id="60" dur="500" fill="hold"/>
                                        <p:tgtEl>
                                          <p:spTgt spid="31"/>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29"/>
                                        </p:tgtEl>
                                        <p:attrNameLst>
                                          <p:attrName>style.visibility</p:attrName>
                                        </p:attrNameLst>
                                      </p:cBhvr>
                                      <p:to>
                                        <p:strVal val="visible"/>
                                      </p:to>
                                    </p:set>
                                    <p:anim calcmode="lin" valueType="num">
                                      <p:cBhvr additive="base">
                                        <p:cTn id="63" dur="500" fill="hold"/>
                                        <p:tgtEl>
                                          <p:spTgt spid="29"/>
                                        </p:tgtEl>
                                        <p:attrNameLst>
                                          <p:attrName>ppt_x</p:attrName>
                                        </p:attrNameLst>
                                      </p:cBhvr>
                                      <p:tavLst>
                                        <p:tav tm="0">
                                          <p:val>
                                            <p:strVal val="1+#ppt_w/2"/>
                                          </p:val>
                                        </p:tav>
                                        <p:tav tm="100000">
                                          <p:val>
                                            <p:strVal val="#ppt_x"/>
                                          </p:val>
                                        </p:tav>
                                      </p:tavLst>
                                    </p:anim>
                                    <p:anim calcmode="lin" valueType="num">
                                      <p:cBhvr additive="base">
                                        <p:cTn id="64" dur="500" fill="hold"/>
                                        <p:tgtEl>
                                          <p:spTgt spid="29"/>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36"/>
                                        </p:tgtEl>
                                        <p:attrNameLst>
                                          <p:attrName>style.visibility</p:attrName>
                                        </p:attrNameLst>
                                      </p:cBhvr>
                                      <p:to>
                                        <p:strVal val="visible"/>
                                      </p:to>
                                    </p:set>
                                    <p:anim calcmode="lin" valueType="num">
                                      <p:cBhvr additive="base">
                                        <p:cTn id="67" dur="500" fill="hold"/>
                                        <p:tgtEl>
                                          <p:spTgt spid="36"/>
                                        </p:tgtEl>
                                        <p:attrNameLst>
                                          <p:attrName>ppt_x</p:attrName>
                                        </p:attrNameLst>
                                      </p:cBhvr>
                                      <p:tavLst>
                                        <p:tav tm="0">
                                          <p:val>
                                            <p:strVal val="1+#ppt_w/2"/>
                                          </p:val>
                                        </p:tav>
                                        <p:tav tm="100000">
                                          <p:val>
                                            <p:strVal val="#ppt_x"/>
                                          </p:val>
                                        </p:tav>
                                      </p:tavLst>
                                    </p:anim>
                                    <p:anim calcmode="lin" valueType="num">
                                      <p:cBhvr additive="base">
                                        <p:cTn id="68" dur="500" fill="hold"/>
                                        <p:tgtEl>
                                          <p:spTgt spid="36"/>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7"/>
                                        </p:tgtEl>
                                        <p:attrNameLst>
                                          <p:attrName>style.visibility</p:attrName>
                                        </p:attrNameLst>
                                      </p:cBhvr>
                                      <p:to>
                                        <p:strVal val="visible"/>
                                      </p:to>
                                    </p:set>
                                    <p:anim calcmode="lin" valueType="num">
                                      <p:cBhvr additive="base">
                                        <p:cTn id="71" dur="500" fill="hold"/>
                                        <p:tgtEl>
                                          <p:spTgt spid="37"/>
                                        </p:tgtEl>
                                        <p:attrNameLst>
                                          <p:attrName>ppt_x</p:attrName>
                                        </p:attrNameLst>
                                      </p:cBhvr>
                                      <p:tavLst>
                                        <p:tav tm="0">
                                          <p:val>
                                            <p:strVal val="1+#ppt_w/2"/>
                                          </p:val>
                                        </p:tav>
                                        <p:tav tm="100000">
                                          <p:val>
                                            <p:strVal val="#ppt_x"/>
                                          </p:val>
                                        </p:tav>
                                      </p:tavLst>
                                    </p:anim>
                                    <p:anim calcmode="lin" valueType="num">
                                      <p:cBhvr additive="base">
                                        <p:cTn id="72" dur="500" fill="hold"/>
                                        <p:tgtEl>
                                          <p:spTgt spid="37"/>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38"/>
                                        </p:tgtEl>
                                        <p:attrNameLst>
                                          <p:attrName>style.visibility</p:attrName>
                                        </p:attrNameLst>
                                      </p:cBhvr>
                                      <p:to>
                                        <p:strVal val="visible"/>
                                      </p:to>
                                    </p:set>
                                    <p:anim calcmode="lin" valueType="num">
                                      <p:cBhvr additive="base">
                                        <p:cTn id="75" dur="500" fill="hold"/>
                                        <p:tgtEl>
                                          <p:spTgt spid="38"/>
                                        </p:tgtEl>
                                        <p:attrNameLst>
                                          <p:attrName>ppt_x</p:attrName>
                                        </p:attrNameLst>
                                      </p:cBhvr>
                                      <p:tavLst>
                                        <p:tav tm="0">
                                          <p:val>
                                            <p:strVal val="1+#ppt_w/2"/>
                                          </p:val>
                                        </p:tav>
                                        <p:tav tm="100000">
                                          <p:val>
                                            <p:strVal val="#ppt_x"/>
                                          </p:val>
                                        </p:tav>
                                      </p:tavLst>
                                    </p:anim>
                                    <p:anim calcmode="lin" valueType="num">
                                      <p:cBhvr additive="base">
                                        <p:cTn id="76" dur="500" fill="hold"/>
                                        <p:tgtEl>
                                          <p:spTgt spid="3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Windows 10 IoT Core</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5" name="Rectangle 4"/>
          <p:cNvSpPr/>
          <p:nvPr/>
        </p:nvSpPr>
        <p:spPr>
          <a:xfrm>
            <a:off x="2404382" y="6067475"/>
            <a:ext cx="1473480" cy="3693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lumMod val="85000"/>
                  </a:srgbClr>
                </a:solidFill>
                <a:effectLst/>
                <a:uLnTx/>
                <a:uFillTx/>
              </a:rPr>
              <a:t>@</a:t>
            </a:r>
            <a:r>
              <a:rPr kumimoji="0" lang="en-GB" sz="1800" b="0" i="0" u="none" strike="noStrike" kern="0" cap="none" spc="0" normalizeH="0" baseline="0" noProof="0" dirty="0" err="1">
                <a:ln>
                  <a:noFill/>
                </a:ln>
                <a:solidFill>
                  <a:srgbClr val="FFFFFF">
                    <a:lumMod val="85000"/>
                  </a:srgbClr>
                </a:solidFill>
                <a:effectLst/>
                <a:uLnTx/>
                <a:uFillTx/>
              </a:rPr>
              <a:t>allanSQLIS</a:t>
            </a:r>
            <a:endParaRPr kumimoji="0" lang="en-GB" sz="1800" b="0" i="0" u="none" strike="noStrike" kern="0" cap="none" spc="0" normalizeH="0" baseline="0" noProof="0" dirty="0">
              <a:ln>
                <a:noFill/>
              </a:ln>
              <a:solidFill>
                <a:srgbClr val="FFFFFF">
                  <a:lumMod val="85000"/>
                </a:srgbClr>
              </a:solidFill>
              <a:effectLst/>
              <a:uLnTx/>
              <a:uFillTx/>
            </a:endParaRPr>
          </a:p>
        </p:txBody>
      </p:sp>
    </p:spTree>
    <p:extLst>
      <p:ext uri="{BB962C8B-B14F-4D97-AF65-F5344CB8AC3E}">
        <p14:creationId xmlns:p14="http://schemas.microsoft.com/office/powerpoint/2010/main" val="14446209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37" name="Rectangle 36"/>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p:txBody>
          <a:bodyPr/>
          <a:lstStyle/>
          <a:p>
            <a:r>
              <a:rPr lang="en-US" dirty="0"/>
              <a:t>The journey to one Windows…</a:t>
            </a:r>
          </a:p>
        </p:txBody>
      </p:sp>
      <p:sp>
        <p:nvSpPr>
          <p:cNvPr id="3" name="Rectangle 2"/>
          <p:cNvSpPr/>
          <p:nvPr/>
        </p:nvSpPr>
        <p:spPr bwMode="auto">
          <a:xfrm>
            <a:off x="6610687" y="3261337"/>
            <a:ext cx="5581313" cy="927206"/>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5" tIns="198956" rIns="248695" bIns="198956" numCol="1" spcCol="0" rtlCol="0" fromWordArt="0" anchor="t" anchorCtr="0" forceAA="0" compatLnSpc="1">
            <a:prstTxWarp prst="textNoShape">
              <a:avLst/>
            </a:prstTxWarp>
            <a:noAutofit/>
          </a:bodyPr>
          <a:lstStyle/>
          <a:p>
            <a:pPr marL="0" marR="0" lvl="0" indent="0" algn="ctr" defTabSz="126800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2917">
                    <a:srgbClr val="737373"/>
                  </a:gs>
                  <a:gs pos="81000">
                    <a:srgbClr val="737373"/>
                  </a:gs>
                </a:gsLst>
                <a:lin ang="5400000" scaled="0"/>
              </a:gradFill>
              <a:effectLst/>
              <a:uLnTx/>
              <a:uFillTx/>
              <a:ea typeface="Segoe UI" pitchFamily="34" charset="0"/>
              <a:cs typeface="Segoe UI" pitchFamily="34" charset="0"/>
            </a:endParaRPr>
          </a:p>
        </p:txBody>
      </p:sp>
      <p:grpSp>
        <p:nvGrpSpPr>
          <p:cNvPr id="4" name="Group 3"/>
          <p:cNvGrpSpPr/>
          <p:nvPr/>
        </p:nvGrpSpPr>
        <p:grpSpPr>
          <a:xfrm>
            <a:off x="4868178" y="3669719"/>
            <a:ext cx="2455644" cy="3190834"/>
            <a:chOff x="4868178" y="3669719"/>
            <a:chExt cx="2455644" cy="3190834"/>
          </a:xfrm>
        </p:grpSpPr>
        <p:sp>
          <p:nvSpPr>
            <p:cNvPr id="5" name="Isosceles Triangle 4"/>
            <p:cNvSpPr/>
            <p:nvPr/>
          </p:nvSpPr>
          <p:spPr>
            <a:xfrm>
              <a:off x="4868178" y="3669719"/>
              <a:ext cx="2455644" cy="1791141"/>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endParaRPr>
            </a:p>
          </p:txBody>
        </p:sp>
        <p:grpSp>
          <p:nvGrpSpPr>
            <p:cNvPr id="6" name="Group 5"/>
            <p:cNvGrpSpPr/>
            <p:nvPr/>
          </p:nvGrpSpPr>
          <p:grpSpPr>
            <a:xfrm>
              <a:off x="4868178" y="5538270"/>
              <a:ext cx="2455644" cy="1322283"/>
              <a:chOff x="4880706" y="5512870"/>
              <a:chExt cx="2455644" cy="1322283"/>
            </a:xfrm>
          </p:grpSpPr>
          <p:sp>
            <p:nvSpPr>
              <p:cNvPr id="7" name="Rectangle 6"/>
              <p:cNvSpPr/>
              <p:nvPr/>
            </p:nvSpPr>
            <p:spPr>
              <a:xfrm>
                <a:off x="4880706" y="5512870"/>
                <a:ext cx="2455644" cy="13222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endParaRPr>
              </a:p>
            </p:txBody>
          </p:sp>
          <p:sp>
            <p:nvSpPr>
              <p:cNvPr id="8" name="TextBox 7"/>
              <p:cNvSpPr txBox="1"/>
              <p:nvPr/>
            </p:nvSpPr>
            <p:spPr>
              <a:xfrm>
                <a:off x="5062827" y="5530010"/>
                <a:ext cx="2091403" cy="1232795"/>
              </a:xfrm>
              <a:prstGeom prst="rect">
                <a:avLst/>
              </a:prstGeom>
              <a:solidFill>
                <a:schemeClr val="accent3"/>
              </a:solidFill>
            </p:spPr>
            <p:txBody>
              <a:bodyPr wrap="square" lIns="248695" tIns="198956" rIns="248695" bIns="198956" rtlCol="0">
                <a:spAutoFit/>
              </a:bodyPr>
              <a:lstStyle/>
              <a:p>
                <a:pPr marL="0" marR="0" lvl="0" indent="0" algn="ctr" defTabSz="914377"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err="1" smtClean="0">
                    <a:ln>
                      <a:noFill/>
                    </a:ln>
                    <a:solidFill>
                      <a:srgbClr val="FFFFFF"/>
                    </a:solidFill>
                    <a:effectLst/>
                    <a:uLnTx/>
                    <a:uFillTx/>
                  </a:rPr>
                  <a:t>IoT</a:t>
                </a:r>
                <a:endParaRPr kumimoji="0" lang="en-US" sz="2000" b="0" i="0" u="none" strike="noStrike" kern="0" cap="none" spc="0" normalizeH="0" baseline="0" noProof="0" dirty="0">
                  <a:ln>
                    <a:noFill/>
                  </a:ln>
                  <a:solidFill>
                    <a:srgbClr val="FFFFFF"/>
                  </a:solidFill>
                  <a:effectLst/>
                  <a:uLnTx/>
                  <a:uFillTx/>
                </a:endParaRPr>
              </a:p>
              <a:p>
                <a:pPr marL="0" marR="0" lvl="0" indent="0" algn="ctr" defTabSz="914377"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err="1">
                    <a:ln>
                      <a:noFill/>
                    </a:ln>
                    <a:solidFill>
                      <a:srgbClr val="FFFFFF"/>
                    </a:solidFill>
                    <a:effectLst/>
                    <a:uLnTx/>
                    <a:uFillTx/>
                  </a:rPr>
                  <a:t>HoloLens</a:t>
                </a:r>
                <a:endParaRPr kumimoji="0" lang="en-US" sz="2000" b="0" i="0" u="none" strike="noStrike" kern="0" cap="none" spc="0" normalizeH="0" baseline="0" noProof="0" dirty="0">
                  <a:ln>
                    <a:noFill/>
                  </a:ln>
                  <a:solidFill>
                    <a:srgbClr val="FFFFFF"/>
                  </a:solidFill>
                  <a:effectLst/>
                  <a:uLnTx/>
                  <a:uFillTx/>
                </a:endParaRPr>
              </a:p>
              <a:p>
                <a:pPr marL="0" marR="0" lvl="0" indent="0" algn="ctr" defTabSz="914377"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rPr>
                  <a:t>Surface Hub</a:t>
                </a:r>
              </a:p>
            </p:txBody>
          </p:sp>
        </p:grpSp>
      </p:grpSp>
      <p:grpSp>
        <p:nvGrpSpPr>
          <p:cNvPr id="9" name="Group 8"/>
          <p:cNvGrpSpPr/>
          <p:nvPr/>
        </p:nvGrpSpPr>
        <p:grpSpPr>
          <a:xfrm>
            <a:off x="782689" y="2111904"/>
            <a:ext cx="5335363" cy="3204787"/>
            <a:chOff x="782689" y="1953277"/>
            <a:chExt cx="5335363" cy="3204787"/>
          </a:xfrm>
        </p:grpSpPr>
        <p:sp>
          <p:nvSpPr>
            <p:cNvPr id="10" name="Freeform 9"/>
            <p:cNvSpPr/>
            <p:nvPr/>
          </p:nvSpPr>
          <p:spPr>
            <a:xfrm rot="20641024" flipV="1">
              <a:off x="782689" y="3539231"/>
              <a:ext cx="5335363" cy="1618833"/>
            </a:xfrm>
            <a:custGeom>
              <a:avLst/>
              <a:gdLst>
                <a:gd name="connsiteX0" fmla="*/ 5335363 w 5335363"/>
                <a:gd name="connsiteY0" fmla="*/ 781903 h 1618833"/>
                <a:gd name="connsiteX1" fmla="*/ 3040974 w 5335363"/>
                <a:gd name="connsiteY1" fmla="*/ 8008 h 1618833"/>
                <a:gd name="connsiteX2" fmla="*/ 3038680 w 5335363"/>
                <a:gd name="connsiteY2" fmla="*/ 0 h 1618833"/>
                <a:gd name="connsiteX3" fmla="*/ 3027081 w 5335363"/>
                <a:gd name="connsiteY3" fmla="*/ 3322 h 1618833"/>
                <a:gd name="connsiteX4" fmla="*/ 3027078 w 5335363"/>
                <a:gd name="connsiteY4" fmla="*/ 3321 h 1618833"/>
                <a:gd name="connsiteX5" fmla="*/ 3027078 w 5335363"/>
                <a:gd name="connsiteY5" fmla="*/ 3323 h 1618833"/>
                <a:gd name="connsiteX6" fmla="*/ 0 w 5335363"/>
                <a:gd name="connsiteY6" fmla="*/ 870348 h 1618833"/>
                <a:gd name="connsiteX7" fmla="*/ 214383 w 5335363"/>
                <a:gd name="connsiteY7" fmla="*/ 1618833 h 1618833"/>
                <a:gd name="connsiteX8" fmla="*/ 3136389 w 5335363"/>
                <a:gd name="connsiteY8" fmla="*/ 781903 h 1618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5363" h="1618833">
                  <a:moveTo>
                    <a:pt x="5335363" y="781903"/>
                  </a:moveTo>
                  <a:lnTo>
                    <a:pt x="3040974" y="8008"/>
                  </a:lnTo>
                  <a:lnTo>
                    <a:pt x="3038680" y="0"/>
                  </a:lnTo>
                  <a:lnTo>
                    <a:pt x="3027081" y="3322"/>
                  </a:lnTo>
                  <a:lnTo>
                    <a:pt x="3027078" y="3321"/>
                  </a:lnTo>
                  <a:lnTo>
                    <a:pt x="3027078" y="3323"/>
                  </a:lnTo>
                  <a:lnTo>
                    <a:pt x="0" y="870348"/>
                  </a:lnTo>
                  <a:lnTo>
                    <a:pt x="214383" y="1618833"/>
                  </a:lnTo>
                  <a:lnTo>
                    <a:pt x="3136389" y="781903"/>
                  </a:lnTo>
                  <a:close/>
                </a:path>
              </a:pathLst>
            </a:custGeom>
            <a:solidFill>
              <a:srgbClr val="00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endParaRPr>
            </a:p>
          </p:txBody>
        </p:sp>
        <p:grpSp>
          <p:nvGrpSpPr>
            <p:cNvPr id="11" name="Group 10"/>
            <p:cNvGrpSpPr/>
            <p:nvPr/>
          </p:nvGrpSpPr>
          <p:grpSpPr>
            <a:xfrm>
              <a:off x="869034" y="1953277"/>
              <a:ext cx="5153473" cy="3043644"/>
              <a:chOff x="869034" y="1953277"/>
              <a:chExt cx="5153473" cy="3043644"/>
            </a:xfrm>
          </p:grpSpPr>
          <p:sp>
            <p:nvSpPr>
              <p:cNvPr id="12" name="Freeform 11"/>
              <p:cNvSpPr/>
              <p:nvPr/>
            </p:nvSpPr>
            <p:spPr>
              <a:xfrm>
                <a:off x="869034" y="1953277"/>
                <a:ext cx="5153473" cy="1384074"/>
              </a:xfrm>
              <a:custGeom>
                <a:avLst/>
                <a:gdLst>
                  <a:gd name="connsiteX0" fmla="*/ 3148801 w 5153473"/>
                  <a:gd name="connsiteY0" fmla="*/ 0 h 1384074"/>
                  <a:gd name="connsiteX1" fmla="*/ 3150743 w 5153473"/>
                  <a:gd name="connsiteY1" fmla="*/ 1341 h 1384074"/>
                  <a:gd name="connsiteX2" fmla="*/ 3160868 w 5153473"/>
                  <a:gd name="connsiteY2" fmla="*/ 1341 h 1384074"/>
                  <a:gd name="connsiteX3" fmla="*/ 3160868 w 5153473"/>
                  <a:gd name="connsiteY3" fmla="*/ 8332 h 1384074"/>
                  <a:gd name="connsiteX4" fmla="*/ 5153473 w 5153473"/>
                  <a:gd name="connsiteY4" fmla="*/ 1384074 h 1384074"/>
                  <a:gd name="connsiteX5" fmla="*/ 3044177 w 5153473"/>
                  <a:gd name="connsiteY5" fmla="*/ 779923 h 1384074"/>
                  <a:gd name="connsiteX6" fmla="*/ 0 w 5153473"/>
                  <a:gd name="connsiteY6" fmla="*/ 779923 h 1384074"/>
                  <a:gd name="connsiteX7" fmla="*/ 0 w 5153473"/>
                  <a:gd name="connsiteY7" fmla="*/ 1341 h 1384074"/>
                  <a:gd name="connsiteX8" fmla="*/ 3148417 w 5153473"/>
                  <a:gd name="connsiteY8" fmla="*/ 1341 h 138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3473" h="1384074">
                    <a:moveTo>
                      <a:pt x="3148801" y="0"/>
                    </a:moveTo>
                    <a:lnTo>
                      <a:pt x="3150743" y="1341"/>
                    </a:lnTo>
                    <a:lnTo>
                      <a:pt x="3160868" y="1341"/>
                    </a:lnTo>
                    <a:lnTo>
                      <a:pt x="3160868" y="8332"/>
                    </a:lnTo>
                    <a:lnTo>
                      <a:pt x="5153473" y="1384074"/>
                    </a:lnTo>
                    <a:lnTo>
                      <a:pt x="3044177" y="779923"/>
                    </a:lnTo>
                    <a:lnTo>
                      <a:pt x="0" y="779923"/>
                    </a:lnTo>
                    <a:lnTo>
                      <a:pt x="0" y="1341"/>
                    </a:lnTo>
                    <a:lnTo>
                      <a:pt x="3148417" y="1341"/>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err="1" smtClean="0">
                  <a:ln>
                    <a:noFill/>
                  </a:ln>
                  <a:solidFill>
                    <a:srgbClr val="FFFFFF"/>
                  </a:solidFill>
                  <a:effectLst/>
                  <a:uLnTx/>
                  <a:uFillTx/>
                </a:endParaRPr>
              </a:p>
            </p:txBody>
          </p:sp>
          <p:grpSp>
            <p:nvGrpSpPr>
              <p:cNvPr id="13" name="Group 12"/>
              <p:cNvGrpSpPr/>
              <p:nvPr/>
            </p:nvGrpSpPr>
            <p:grpSpPr>
              <a:xfrm>
                <a:off x="869034" y="1996229"/>
                <a:ext cx="5113951" cy="3000692"/>
                <a:chOff x="869034" y="1996229"/>
                <a:chExt cx="5113951" cy="3000692"/>
              </a:xfrm>
            </p:grpSpPr>
            <p:sp>
              <p:nvSpPr>
                <p:cNvPr id="14" name="Freeform 13"/>
                <p:cNvSpPr/>
                <p:nvPr/>
              </p:nvSpPr>
              <p:spPr>
                <a:xfrm>
                  <a:off x="869034" y="3102710"/>
                  <a:ext cx="5113951" cy="778582"/>
                </a:xfrm>
                <a:custGeom>
                  <a:avLst/>
                  <a:gdLst>
                    <a:gd name="connsiteX0" fmla="*/ 0 w 5113951"/>
                    <a:gd name="connsiteY0" fmla="*/ 0 h 778582"/>
                    <a:gd name="connsiteX1" fmla="*/ 3160868 w 5113951"/>
                    <a:gd name="connsiteY1" fmla="*/ 0 h 778582"/>
                    <a:gd name="connsiteX2" fmla="*/ 3160868 w 5113951"/>
                    <a:gd name="connsiteY2" fmla="*/ 2115 h 778582"/>
                    <a:gd name="connsiteX3" fmla="*/ 5113951 w 5113951"/>
                    <a:gd name="connsiteY3" fmla="*/ 389292 h 778582"/>
                    <a:gd name="connsiteX4" fmla="*/ 3160868 w 5113951"/>
                    <a:gd name="connsiteY4" fmla="*/ 776469 h 778582"/>
                    <a:gd name="connsiteX5" fmla="*/ 3160868 w 5113951"/>
                    <a:gd name="connsiteY5" fmla="*/ 778582 h 778582"/>
                    <a:gd name="connsiteX6" fmla="*/ 0 w 5113951"/>
                    <a:gd name="connsiteY6" fmla="*/ 778582 h 77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3951" h="778582">
                      <a:moveTo>
                        <a:pt x="0" y="0"/>
                      </a:moveTo>
                      <a:lnTo>
                        <a:pt x="3160868" y="0"/>
                      </a:lnTo>
                      <a:lnTo>
                        <a:pt x="3160868" y="2115"/>
                      </a:lnTo>
                      <a:lnTo>
                        <a:pt x="5113951" y="389292"/>
                      </a:lnTo>
                      <a:lnTo>
                        <a:pt x="3160868" y="776469"/>
                      </a:lnTo>
                      <a:lnTo>
                        <a:pt x="3160868" y="778582"/>
                      </a:lnTo>
                      <a:lnTo>
                        <a:pt x="0" y="778582"/>
                      </a:lnTo>
                      <a:close/>
                    </a:path>
                  </a:pathLst>
                </a:cu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endParaRPr>
                </a:p>
              </p:txBody>
            </p:sp>
            <p:sp>
              <p:nvSpPr>
                <p:cNvPr id="15" name="TextBox 14"/>
                <p:cNvSpPr txBox="1"/>
                <p:nvPr/>
              </p:nvSpPr>
              <p:spPr>
                <a:xfrm>
                  <a:off x="904596" y="1996229"/>
                  <a:ext cx="2779122" cy="697200"/>
                </a:xfrm>
                <a:prstGeom prst="rect">
                  <a:avLst/>
                </a:prstGeom>
                <a:solidFill>
                  <a:srgbClr val="0070C0"/>
                </a:solidFill>
              </p:spPr>
              <p:txBody>
                <a:bodyPr wrap="square" lIns="248695" tIns="198956" rIns="248695" bIns="198956" rtlCol="0">
                  <a:spAutoFit/>
                </a:bodyPr>
                <a:lstStyle/>
                <a:p>
                  <a:pPr marL="0" marR="0" lvl="0" indent="0" defTabSz="914377" eaLnBrk="1" fontAlgn="auto" latinLnBrk="0" hangingPunct="1">
                    <a:lnSpc>
                      <a:spcPct val="90000"/>
                    </a:lnSpc>
                    <a:spcBef>
                      <a:spcPts val="816"/>
                    </a:spcBef>
                    <a:spcAft>
                      <a:spcPts val="0"/>
                    </a:spcAft>
                    <a:buClrTx/>
                    <a:buSzTx/>
                    <a:buFontTx/>
                    <a:buNone/>
                    <a:tabLst/>
                    <a:defRPr/>
                  </a:pPr>
                  <a:r>
                    <a:rPr kumimoji="0" lang="en-US" sz="2133" b="0" i="0" u="none" strike="noStrike" kern="0" cap="none" spc="0" normalizeH="0" baseline="0" noProof="0" dirty="0" smtClean="0">
                      <a:ln>
                        <a:noFill/>
                      </a:ln>
                      <a:solidFill>
                        <a:srgbClr val="FFFFFF"/>
                      </a:solidFill>
                      <a:effectLst/>
                      <a:uLnTx/>
                      <a:uFillTx/>
                    </a:rPr>
                    <a:t>Windows Desktop</a:t>
                  </a:r>
                  <a:endParaRPr kumimoji="0" lang="en-US" sz="2400" b="0" i="0" u="none" strike="noStrike" kern="0" cap="none" spc="0" normalizeH="0" baseline="0" noProof="0" dirty="0">
                    <a:ln>
                      <a:noFill/>
                    </a:ln>
                    <a:solidFill>
                      <a:srgbClr val="FFFFFF"/>
                    </a:solidFill>
                    <a:effectLst/>
                    <a:uLnTx/>
                    <a:uFillTx/>
                  </a:endParaRPr>
                </a:p>
              </p:txBody>
            </p:sp>
            <p:sp>
              <p:nvSpPr>
                <p:cNvPr id="16" name="TextBox 15"/>
                <p:cNvSpPr txBox="1"/>
                <p:nvPr/>
              </p:nvSpPr>
              <p:spPr>
                <a:xfrm>
                  <a:off x="904596" y="3154011"/>
                  <a:ext cx="2779122" cy="697200"/>
                </a:xfrm>
                <a:prstGeom prst="rect">
                  <a:avLst/>
                </a:prstGeom>
                <a:solidFill>
                  <a:srgbClr val="ED7D31"/>
                </a:solidFill>
              </p:spPr>
              <p:txBody>
                <a:bodyPr wrap="square" lIns="248695" tIns="198956" rIns="248695" bIns="198956" rtlCol="0">
                  <a:spAutoFit/>
                </a:bodyPr>
                <a:lstStyle/>
                <a:p>
                  <a:pPr marL="0" marR="0" lvl="0" indent="0" defTabSz="914377" eaLnBrk="1" fontAlgn="auto" latinLnBrk="0" hangingPunct="1">
                    <a:lnSpc>
                      <a:spcPct val="90000"/>
                    </a:lnSpc>
                    <a:spcBef>
                      <a:spcPts val="816"/>
                    </a:spcBef>
                    <a:spcAft>
                      <a:spcPts val="0"/>
                    </a:spcAft>
                    <a:buClrTx/>
                    <a:buSzTx/>
                    <a:buFontTx/>
                    <a:buNone/>
                    <a:tabLst/>
                    <a:defRPr/>
                  </a:pPr>
                  <a:r>
                    <a:rPr kumimoji="0" lang="en-US" sz="2133" b="0" i="0" u="none" strike="noStrike" kern="0" cap="none" spc="0" normalizeH="0" baseline="0" noProof="0" dirty="0">
                      <a:ln>
                        <a:noFill/>
                      </a:ln>
                      <a:solidFill>
                        <a:srgbClr val="FFFFFF"/>
                      </a:solidFill>
                      <a:effectLst/>
                      <a:uLnTx/>
                      <a:uFillTx/>
                    </a:rPr>
                    <a:t>Windows </a:t>
                  </a:r>
                  <a:r>
                    <a:rPr kumimoji="0" lang="en-US" sz="2133" b="0" i="0" u="none" strike="noStrike" kern="0" cap="none" spc="0" normalizeH="0" baseline="0" noProof="0" dirty="0" smtClean="0">
                      <a:ln>
                        <a:noFill/>
                      </a:ln>
                      <a:solidFill>
                        <a:srgbClr val="FFFFFF"/>
                      </a:solidFill>
                      <a:effectLst/>
                      <a:uLnTx/>
                      <a:uFillTx/>
                    </a:rPr>
                    <a:t>Phone</a:t>
                  </a:r>
                  <a:endParaRPr kumimoji="0" lang="en-US" sz="2133" b="0" i="0" u="none" strike="noStrike" kern="0" cap="none" spc="0" normalizeH="0" baseline="0" noProof="0" dirty="0">
                    <a:ln>
                      <a:noFill/>
                    </a:ln>
                    <a:solidFill>
                      <a:srgbClr val="FFFFFF"/>
                    </a:solidFill>
                    <a:effectLst/>
                    <a:uLnTx/>
                    <a:uFillTx/>
                  </a:endParaRPr>
                </a:p>
              </p:txBody>
            </p:sp>
            <p:sp>
              <p:nvSpPr>
                <p:cNvPr id="17" name="TextBox 16"/>
                <p:cNvSpPr txBox="1"/>
                <p:nvPr/>
              </p:nvSpPr>
              <p:spPr>
                <a:xfrm>
                  <a:off x="904596" y="4299721"/>
                  <a:ext cx="2779122" cy="697200"/>
                </a:xfrm>
                <a:prstGeom prst="rect">
                  <a:avLst/>
                </a:prstGeom>
                <a:solidFill>
                  <a:srgbClr val="009900"/>
                </a:solidFill>
              </p:spPr>
              <p:txBody>
                <a:bodyPr wrap="square" lIns="248695" tIns="198956" rIns="248695" bIns="198956" rtlCol="0">
                  <a:spAutoFit/>
                </a:bodyPr>
                <a:lstStyle/>
                <a:p>
                  <a:pPr marL="0" marR="0" lvl="0" indent="0" defTabSz="914377" eaLnBrk="1" fontAlgn="auto" latinLnBrk="0" hangingPunct="1">
                    <a:lnSpc>
                      <a:spcPct val="90000"/>
                    </a:lnSpc>
                    <a:spcBef>
                      <a:spcPts val="816"/>
                    </a:spcBef>
                    <a:spcAft>
                      <a:spcPts val="0"/>
                    </a:spcAft>
                    <a:buClrTx/>
                    <a:buSzTx/>
                    <a:buFontTx/>
                    <a:buNone/>
                    <a:tabLst/>
                    <a:defRPr/>
                  </a:pPr>
                  <a:r>
                    <a:rPr kumimoji="0" lang="en-US" sz="2133" b="0" i="0" u="none" strike="noStrike" kern="0" cap="none" spc="0" normalizeH="0" baseline="0" noProof="0" dirty="0" smtClean="0">
                      <a:ln>
                        <a:noFill/>
                      </a:ln>
                      <a:solidFill>
                        <a:srgbClr val="FFFFFF"/>
                      </a:solidFill>
                      <a:effectLst/>
                      <a:uLnTx/>
                      <a:uFillTx/>
                    </a:rPr>
                    <a:t>Xbox</a:t>
                  </a:r>
                  <a:endParaRPr kumimoji="0" lang="en-US" sz="2133" b="0" i="0" u="none" strike="noStrike" kern="0" cap="none" spc="0" normalizeH="0" baseline="0" noProof="0" dirty="0">
                    <a:ln>
                      <a:noFill/>
                    </a:ln>
                    <a:solidFill>
                      <a:srgbClr val="FFFFFF"/>
                    </a:solidFill>
                    <a:effectLst/>
                    <a:uLnTx/>
                    <a:uFillTx/>
                  </a:endParaRPr>
                </a:p>
              </p:txBody>
            </p:sp>
          </p:grpSp>
        </p:grpSp>
      </p:grpSp>
      <p:grpSp>
        <p:nvGrpSpPr>
          <p:cNvPr id="18" name="Group 17"/>
          <p:cNvGrpSpPr/>
          <p:nvPr/>
        </p:nvGrpSpPr>
        <p:grpSpPr>
          <a:xfrm>
            <a:off x="0" y="2113245"/>
            <a:ext cx="749300" cy="3070003"/>
            <a:chOff x="0" y="1954618"/>
            <a:chExt cx="749300" cy="3070003"/>
          </a:xfrm>
        </p:grpSpPr>
        <p:grpSp>
          <p:nvGrpSpPr>
            <p:cNvPr id="19" name="Group 18"/>
            <p:cNvGrpSpPr/>
            <p:nvPr/>
          </p:nvGrpSpPr>
          <p:grpSpPr>
            <a:xfrm>
              <a:off x="0" y="1954618"/>
              <a:ext cx="749300" cy="778582"/>
              <a:chOff x="0" y="1954618"/>
              <a:chExt cx="749300" cy="778582"/>
            </a:xfrm>
          </p:grpSpPr>
          <p:sp>
            <p:nvSpPr>
              <p:cNvPr id="26" name="Rectangle 25"/>
              <p:cNvSpPr/>
              <p:nvPr/>
            </p:nvSpPr>
            <p:spPr>
              <a:xfrm>
                <a:off x="0" y="1954618"/>
                <a:ext cx="749300" cy="77858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err="1" smtClean="0">
                  <a:ln>
                    <a:noFill/>
                  </a:ln>
                  <a:solidFill>
                    <a:srgbClr val="FFFFFF"/>
                  </a:solidFill>
                  <a:effectLst/>
                  <a:uLnTx/>
                  <a:uFillTx/>
                </a:endParaRPr>
              </a:p>
            </p:txBody>
          </p:sp>
          <p:sp>
            <p:nvSpPr>
              <p:cNvPr id="27" name="Freeform 67"/>
              <p:cNvSpPr>
                <a:spLocks noEditPoints="1"/>
              </p:cNvSpPr>
              <p:nvPr/>
            </p:nvSpPr>
            <p:spPr bwMode="auto">
              <a:xfrm>
                <a:off x="76254" y="2184400"/>
                <a:ext cx="587291" cy="371972"/>
              </a:xfrm>
              <a:custGeom>
                <a:avLst/>
                <a:gdLst>
                  <a:gd name="T0" fmla="*/ 12 w 1195"/>
                  <a:gd name="T1" fmla="*/ 0 h 757"/>
                  <a:gd name="T2" fmla="*/ 0 w 1195"/>
                  <a:gd name="T3" fmla="*/ 680 h 757"/>
                  <a:gd name="T4" fmla="*/ 555 w 1195"/>
                  <a:gd name="T5" fmla="*/ 692 h 757"/>
                  <a:gd name="T6" fmla="*/ 555 w 1195"/>
                  <a:gd name="T7" fmla="*/ 712 h 757"/>
                  <a:gd name="T8" fmla="*/ 304 w 1195"/>
                  <a:gd name="T9" fmla="*/ 724 h 757"/>
                  <a:gd name="T10" fmla="*/ 296 w 1195"/>
                  <a:gd name="T11" fmla="*/ 757 h 757"/>
                  <a:gd name="T12" fmla="*/ 894 w 1195"/>
                  <a:gd name="T13" fmla="*/ 745 h 757"/>
                  <a:gd name="T14" fmla="*/ 860 w 1195"/>
                  <a:gd name="T15" fmla="*/ 712 h 757"/>
                  <a:gd name="T16" fmla="*/ 620 w 1195"/>
                  <a:gd name="T17" fmla="*/ 693 h 757"/>
                  <a:gd name="T18" fmla="*/ 1182 w 1195"/>
                  <a:gd name="T19" fmla="*/ 692 h 757"/>
                  <a:gd name="T20" fmla="*/ 1195 w 1195"/>
                  <a:gd name="T21" fmla="*/ 13 h 757"/>
                  <a:gd name="T22" fmla="*/ 969 w 1195"/>
                  <a:gd name="T23" fmla="*/ 673 h 757"/>
                  <a:gd name="T24" fmla="*/ 952 w 1195"/>
                  <a:gd name="T25" fmla="*/ 670 h 757"/>
                  <a:gd name="T26" fmla="*/ 969 w 1195"/>
                  <a:gd name="T27" fmla="*/ 667 h 757"/>
                  <a:gd name="T28" fmla="*/ 969 w 1195"/>
                  <a:gd name="T29" fmla="*/ 673 h 757"/>
                  <a:gd name="T30" fmla="*/ 984 w 1195"/>
                  <a:gd name="T31" fmla="*/ 673 h 757"/>
                  <a:gd name="T32" fmla="*/ 984 w 1195"/>
                  <a:gd name="T33" fmla="*/ 667 h 757"/>
                  <a:gd name="T34" fmla="*/ 1001 w 1195"/>
                  <a:gd name="T35" fmla="*/ 670 h 757"/>
                  <a:gd name="T36" fmla="*/ 1027 w 1195"/>
                  <a:gd name="T37" fmla="*/ 673 h 757"/>
                  <a:gd name="T38" fmla="*/ 1009 w 1195"/>
                  <a:gd name="T39" fmla="*/ 670 h 757"/>
                  <a:gd name="T40" fmla="*/ 1027 w 1195"/>
                  <a:gd name="T41" fmla="*/ 667 h 757"/>
                  <a:gd name="T42" fmla="*/ 1027 w 1195"/>
                  <a:gd name="T43" fmla="*/ 673 h 757"/>
                  <a:gd name="T44" fmla="*/ 1041 w 1195"/>
                  <a:gd name="T45" fmla="*/ 673 h 757"/>
                  <a:gd name="T46" fmla="*/ 1041 w 1195"/>
                  <a:gd name="T47" fmla="*/ 667 h 757"/>
                  <a:gd name="T48" fmla="*/ 1059 w 1195"/>
                  <a:gd name="T49" fmla="*/ 670 h 757"/>
                  <a:gd name="T50" fmla="*/ 1085 w 1195"/>
                  <a:gd name="T51" fmla="*/ 673 h 757"/>
                  <a:gd name="T52" fmla="*/ 1067 w 1195"/>
                  <a:gd name="T53" fmla="*/ 670 h 757"/>
                  <a:gd name="T54" fmla="*/ 1085 w 1195"/>
                  <a:gd name="T55" fmla="*/ 667 h 757"/>
                  <a:gd name="T56" fmla="*/ 1085 w 1195"/>
                  <a:gd name="T57" fmla="*/ 673 h 757"/>
                  <a:gd name="T58" fmla="*/ 1099 w 1195"/>
                  <a:gd name="T59" fmla="*/ 673 h 757"/>
                  <a:gd name="T60" fmla="*/ 1099 w 1195"/>
                  <a:gd name="T61" fmla="*/ 667 h 757"/>
                  <a:gd name="T62" fmla="*/ 1117 w 1195"/>
                  <a:gd name="T63" fmla="*/ 670 h 757"/>
                  <a:gd name="T64" fmla="*/ 1132 w 1195"/>
                  <a:gd name="T65" fmla="*/ 678 h 757"/>
                  <a:gd name="T66" fmla="*/ 1132 w 1195"/>
                  <a:gd name="T67" fmla="*/ 662 h 757"/>
                  <a:gd name="T68" fmla="*/ 1132 w 1195"/>
                  <a:gd name="T69" fmla="*/ 678 h 757"/>
                  <a:gd name="T70" fmla="*/ 1140 w 1195"/>
                  <a:gd name="T71" fmla="*/ 650 h 757"/>
                  <a:gd name="T72" fmla="*/ 42 w 1195"/>
                  <a:gd name="T73" fmla="*/ 638 h 757"/>
                  <a:gd name="T74" fmla="*/ 54 w 1195"/>
                  <a:gd name="T75" fmla="*/ 42 h 757"/>
                  <a:gd name="T76" fmla="*/ 1153 w 1195"/>
                  <a:gd name="T77" fmla="*/ 55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95" h="757">
                    <a:moveTo>
                      <a:pt x="1182" y="0"/>
                    </a:moveTo>
                    <a:cubicBezTo>
                      <a:pt x="12" y="0"/>
                      <a:pt x="12" y="0"/>
                      <a:pt x="12" y="0"/>
                    </a:cubicBezTo>
                    <a:cubicBezTo>
                      <a:pt x="5" y="0"/>
                      <a:pt x="0" y="6"/>
                      <a:pt x="0" y="13"/>
                    </a:cubicBezTo>
                    <a:cubicBezTo>
                      <a:pt x="0" y="680"/>
                      <a:pt x="0" y="680"/>
                      <a:pt x="0" y="680"/>
                    </a:cubicBezTo>
                    <a:cubicBezTo>
                      <a:pt x="0" y="687"/>
                      <a:pt x="5" y="692"/>
                      <a:pt x="12" y="692"/>
                    </a:cubicBezTo>
                    <a:cubicBezTo>
                      <a:pt x="555" y="692"/>
                      <a:pt x="555" y="692"/>
                      <a:pt x="555" y="692"/>
                    </a:cubicBezTo>
                    <a:cubicBezTo>
                      <a:pt x="555" y="692"/>
                      <a:pt x="555" y="693"/>
                      <a:pt x="555" y="693"/>
                    </a:cubicBezTo>
                    <a:cubicBezTo>
                      <a:pt x="555" y="712"/>
                      <a:pt x="555" y="712"/>
                      <a:pt x="555" y="712"/>
                    </a:cubicBezTo>
                    <a:cubicBezTo>
                      <a:pt x="317" y="712"/>
                      <a:pt x="317" y="712"/>
                      <a:pt x="317" y="712"/>
                    </a:cubicBezTo>
                    <a:cubicBezTo>
                      <a:pt x="310" y="712"/>
                      <a:pt x="304" y="717"/>
                      <a:pt x="304" y="724"/>
                    </a:cubicBezTo>
                    <a:cubicBezTo>
                      <a:pt x="283" y="745"/>
                      <a:pt x="283" y="745"/>
                      <a:pt x="283" y="745"/>
                    </a:cubicBezTo>
                    <a:cubicBezTo>
                      <a:pt x="283" y="752"/>
                      <a:pt x="289" y="757"/>
                      <a:pt x="296" y="757"/>
                    </a:cubicBezTo>
                    <a:cubicBezTo>
                      <a:pt x="881" y="757"/>
                      <a:pt x="881" y="757"/>
                      <a:pt x="881" y="757"/>
                    </a:cubicBezTo>
                    <a:cubicBezTo>
                      <a:pt x="888" y="757"/>
                      <a:pt x="894" y="752"/>
                      <a:pt x="894" y="745"/>
                    </a:cubicBezTo>
                    <a:cubicBezTo>
                      <a:pt x="873" y="724"/>
                      <a:pt x="873" y="724"/>
                      <a:pt x="873" y="724"/>
                    </a:cubicBezTo>
                    <a:cubicBezTo>
                      <a:pt x="873" y="717"/>
                      <a:pt x="867" y="712"/>
                      <a:pt x="860" y="712"/>
                    </a:cubicBezTo>
                    <a:cubicBezTo>
                      <a:pt x="620" y="712"/>
                      <a:pt x="620" y="712"/>
                      <a:pt x="620" y="712"/>
                    </a:cubicBezTo>
                    <a:cubicBezTo>
                      <a:pt x="620" y="693"/>
                      <a:pt x="620" y="693"/>
                      <a:pt x="620" y="693"/>
                    </a:cubicBezTo>
                    <a:cubicBezTo>
                      <a:pt x="620" y="693"/>
                      <a:pt x="620" y="692"/>
                      <a:pt x="620" y="692"/>
                    </a:cubicBezTo>
                    <a:cubicBezTo>
                      <a:pt x="1182" y="692"/>
                      <a:pt x="1182" y="692"/>
                      <a:pt x="1182" y="692"/>
                    </a:cubicBezTo>
                    <a:cubicBezTo>
                      <a:pt x="1189" y="692"/>
                      <a:pt x="1195" y="687"/>
                      <a:pt x="1195" y="680"/>
                    </a:cubicBezTo>
                    <a:cubicBezTo>
                      <a:pt x="1195" y="13"/>
                      <a:pt x="1195" y="13"/>
                      <a:pt x="1195" y="13"/>
                    </a:cubicBezTo>
                    <a:cubicBezTo>
                      <a:pt x="1195" y="6"/>
                      <a:pt x="1189" y="0"/>
                      <a:pt x="1182" y="0"/>
                    </a:cubicBezTo>
                    <a:close/>
                    <a:moveTo>
                      <a:pt x="969" y="673"/>
                    </a:moveTo>
                    <a:cubicBezTo>
                      <a:pt x="955" y="673"/>
                      <a:pt x="955" y="673"/>
                      <a:pt x="955" y="673"/>
                    </a:cubicBezTo>
                    <a:cubicBezTo>
                      <a:pt x="953" y="673"/>
                      <a:pt x="952" y="672"/>
                      <a:pt x="952" y="670"/>
                    </a:cubicBezTo>
                    <a:cubicBezTo>
                      <a:pt x="952" y="669"/>
                      <a:pt x="953" y="667"/>
                      <a:pt x="955" y="667"/>
                    </a:cubicBezTo>
                    <a:cubicBezTo>
                      <a:pt x="969" y="667"/>
                      <a:pt x="969" y="667"/>
                      <a:pt x="969" y="667"/>
                    </a:cubicBezTo>
                    <a:cubicBezTo>
                      <a:pt x="971" y="667"/>
                      <a:pt x="972" y="669"/>
                      <a:pt x="972" y="670"/>
                    </a:cubicBezTo>
                    <a:cubicBezTo>
                      <a:pt x="972" y="672"/>
                      <a:pt x="971" y="673"/>
                      <a:pt x="969" y="673"/>
                    </a:cubicBezTo>
                    <a:close/>
                    <a:moveTo>
                      <a:pt x="998" y="673"/>
                    </a:moveTo>
                    <a:cubicBezTo>
                      <a:pt x="984" y="673"/>
                      <a:pt x="984" y="673"/>
                      <a:pt x="984" y="673"/>
                    </a:cubicBezTo>
                    <a:cubicBezTo>
                      <a:pt x="982" y="673"/>
                      <a:pt x="981" y="672"/>
                      <a:pt x="981" y="670"/>
                    </a:cubicBezTo>
                    <a:cubicBezTo>
                      <a:pt x="981" y="669"/>
                      <a:pt x="982" y="667"/>
                      <a:pt x="984" y="667"/>
                    </a:cubicBezTo>
                    <a:cubicBezTo>
                      <a:pt x="998" y="667"/>
                      <a:pt x="998" y="667"/>
                      <a:pt x="998" y="667"/>
                    </a:cubicBezTo>
                    <a:cubicBezTo>
                      <a:pt x="1000" y="667"/>
                      <a:pt x="1001" y="669"/>
                      <a:pt x="1001" y="670"/>
                    </a:cubicBezTo>
                    <a:cubicBezTo>
                      <a:pt x="1001" y="672"/>
                      <a:pt x="1000" y="673"/>
                      <a:pt x="998" y="673"/>
                    </a:cubicBezTo>
                    <a:close/>
                    <a:moveTo>
                      <a:pt x="1027" y="673"/>
                    </a:moveTo>
                    <a:cubicBezTo>
                      <a:pt x="1013" y="673"/>
                      <a:pt x="1013" y="673"/>
                      <a:pt x="1013" y="673"/>
                    </a:cubicBezTo>
                    <a:cubicBezTo>
                      <a:pt x="1011" y="673"/>
                      <a:pt x="1009" y="672"/>
                      <a:pt x="1009" y="670"/>
                    </a:cubicBezTo>
                    <a:cubicBezTo>
                      <a:pt x="1009" y="669"/>
                      <a:pt x="1011" y="667"/>
                      <a:pt x="1013" y="667"/>
                    </a:cubicBezTo>
                    <a:cubicBezTo>
                      <a:pt x="1027" y="667"/>
                      <a:pt x="1027" y="667"/>
                      <a:pt x="1027" y="667"/>
                    </a:cubicBezTo>
                    <a:cubicBezTo>
                      <a:pt x="1029" y="667"/>
                      <a:pt x="1030" y="669"/>
                      <a:pt x="1030" y="670"/>
                    </a:cubicBezTo>
                    <a:cubicBezTo>
                      <a:pt x="1030" y="672"/>
                      <a:pt x="1029" y="673"/>
                      <a:pt x="1027" y="673"/>
                    </a:cubicBezTo>
                    <a:close/>
                    <a:moveTo>
                      <a:pt x="1056" y="673"/>
                    </a:moveTo>
                    <a:cubicBezTo>
                      <a:pt x="1041" y="673"/>
                      <a:pt x="1041" y="673"/>
                      <a:pt x="1041" y="673"/>
                    </a:cubicBezTo>
                    <a:cubicBezTo>
                      <a:pt x="1040" y="673"/>
                      <a:pt x="1038" y="672"/>
                      <a:pt x="1038" y="670"/>
                    </a:cubicBezTo>
                    <a:cubicBezTo>
                      <a:pt x="1038" y="669"/>
                      <a:pt x="1040" y="667"/>
                      <a:pt x="1041" y="667"/>
                    </a:cubicBezTo>
                    <a:cubicBezTo>
                      <a:pt x="1056" y="667"/>
                      <a:pt x="1056" y="667"/>
                      <a:pt x="1056" y="667"/>
                    </a:cubicBezTo>
                    <a:cubicBezTo>
                      <a:pt x="1058" y="667"/>
                      <a:pt x="1059" y="669"/>
                      <a:pt x="1059" y="670"/>
                    </a:cubicBezTo>
                    <a:cubicBezTo>
                      <a:pt x="1059" y="672"/>
                      <a:pt x="1058" y="673"/>
                      <a:pt x="1056" y="673"/>
                    </a:cubicBezTo>
                    <a:close/>
                    <a:moveTo>
                      <a:pt x="1085" y="673"/>
                    </a:moveTo>
                    <a:cubicBezTo>
                      <a:pt x="1070" y="673"/>
                      <a:pt x="1070" y="673"/>
                      <a:pt x="1070" y="673"/>
                    </a:cubicBezTo>
                    <a:cubicBezTo>
                      <a:pt x="1069" y="673"/>
                      <a:pt x="1067" y="672"/>
                      <a:pt x="1067" y="670"/>
                    </a:cubicBezTo>
                    <a:cubicBezTo>
                      <a:pt x="1067" y="669"/>
                      <a:pt x="1069" y="667"/>
                      <a:pt x="1070" y="667"/>
                    </a:cubicBezTo>
                    <a:cubicBezTo>
                      <a:pt x="1085" y="667"/>
                      <a:pt x="1085" y="667"/>
                      <a:pt x="1085" y="667"/>
                    </a:cubicBezTo>
                    <a:cubicBezTo>
                      <a:pt x="1087" y="667"/>
                      <a:pt x="1088" y="669"/>
                      <a:pt x="1088" y="670"/>
                    </a:cubicBezTo>
                    <a:cubicBezTo>
                      <a:pt x="1088" y="672"/>
                      <a:pt x="1087" y="673"/>
                      <a:pt x="1085" y="673"/>
                    </a:cubicBezTo>
                    <a:close/>
                    <a:moveTo>
                      <a:pt x="1114" y="673"/>
                    </a:moveTo>
                    <a:cubicBezTo>
                      <a:pt x="1099" y="673"/>
                      <a:pt x="1099" y="673"/>
                      <a:pt x="1099" y="673"/>
                    </a:cubicBezTo>
                    <a:cubicBezTo>
                      <a:pt x="1098" y="673"/>
                      <a:pt x="1096" y="672"/>
                      <a:pt x="1096" y="670"/>
                    </a:cubicBezTo>
                    <a:cubicBezTo>
                      <a:pt x="1096" y="669"/>
                      <a:pt x="1098" y="667"/>
                      <a:pt x="1099" y="667"/>
                    </a:cubicBezTo>
                    <a:cubicBezTo>
                      <a:pt x="1114" y="667"/>
                      <a:pt x="1114" y="667"/>
                      <a:pt x="1114" y="667"/>
                    </a:cubicBezTo>
                    <a:cubicBezTo>
                      <a:pt x="1116" y="667"/>
                      <a:pt x="1117" y="669"/>
                      <a:pt x="1117" y="670"/>
                    </a:cubicBezTo>
                    <a:cubicBezTo>
                      <a:pt x="1117" y="672"/>
                      <a:pt x="1116" y="673"/>
                      <a:pt x="1114" y="673"/>
                    </a:cubicBezTo>
                    <a:close/>
                    <a:moveTo>
                      <a:pt x="1132" y="678"/>
                    </a:moveTo>
                    <a:cubicBezTo>
                      <a:pt x="1128" y="678"/>
                      <a:pt x="1124" y="675"/>
                      <a:pt x="1124" y="670"/>
                    </a:cubicBezTo>
                    <a:cubicBezTo>
                      <a:pt x="1124" y="666"/>
                      <a:pt x="1128" y="662"/>
                      <a:pt x="1132" y="662"/>
                    </a:cubicBezTo>
                    <a:cubicBezTo>
                      <a:pt x="1136" y="662"/>
                      <a:pt x="1140" y="666"/>
                      <a:pt x="1140" y="670"/>
                    </a:cubicBezTo>
                    <a:cubicBezTo>
                      <a:pt x="1140" y="675"/>
                      <a:pt x="1136" y="678"/>
                      <a:pt x="1132" y="678"/>
                    </a:cubicBezTo>
                    <a:close/>
                    <a:moveTo>
                      <a:pt x="1153" y="638"/>
                    </a:moveTo>
                    <a:cubicBezTo>
                      <a:pt x="1153" y="645"/>
                      <a:pt x="1147" y="650"/>
                      <a:pt x="1140" y="650"/>
                    </a:cubicBezTo>
                    <a:cubicBezTo>
                      <a:pt x="54" y="650"/>
                      <a:pt x="54" y="650"/>
                      <a:pt x="54" y="650"/>
                    </a:cubicBezTo>
                    <a:cubicBezTo>
                      <a:pt x="47" y="650"/>
                      <a:pt x="42" y="645"/>
                      <a:pt x="42" y="638"/>
                    </a:cubicBezTo>
                    <a:cubicBezTo>
                      <a:pt x="42" y="55"/>
                      <a:pt x="42" y="55"/>
                      <a:pt x="42" y="55"/>
                    </a:cubicBezTo>
                    <a:cubicBezTo>
                      <a:pt x="42" y="48"/>
                      <a:pt x="47" y="42"/>
                      <a:pt x="54" y="42"/>
                    </a:cubicBezTo>
                    <a:cubicBezTo>
                      <a:pt x="1140" y="42"/>
                      <a:pt x="1140" y="42"/>
                      <a:pt x="1140" y="42"/>
                    </a:cubicBezTo>
                    <a:cubicBezTo>
                      <a:pt x="1147" y="42"/>
                      <a:pt x="1153" y="48"/>
                      <a:pt x="1153" y="55"/>
                    </a:cubicBezTo>
                    <a:lnTo>
                      <a:pt x="1153" y="638"/>
                    </a:lnTo>
                    <a:close/>
                  </a:path>
                </a:pathLst>
              </a:custGeom>
              <a:solidFill>
                <a:schemeClr val="bg1"/>
              </a:solidFill>
              <a:ln>
                <a:noFill/>
              </a:ln>
            </p:spPr>
            <p:txBody>
              <a:bodyPr vert="horz" wrap="square" lIns="89612" tIns="44807" rIns="89612" bIns="44807" numCol="1" anchor="t" anchorCtr="0" compatLnSpc="1">
                <a:prstTxWarp prst="textNoShape">
                  <a:avLst/>
                </a:prstTxWarp>
              </a:bodyPr>
              <a:lstStyle/>
              <a:p>
                <a:pPr marL="0" marR="0" lvl="0" indent="0" defTabSz="89620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0" name="Group 19"/>
            <p:cNvGrpSpPr/>
            <p:nvPr/>
          </p:nvGrpSpPr>
          <p:grpSpPr>
            <a:xfrm>
              <a:off x="0" y="3100328"/>
              <a:ext cx="749300" cy="778582"/>
              <a:chOff x="0" y="3100328"/>
              <a:chExt cx="749300" cy="778582"/>
            </a:xfrm>
          </p:grpSpPr>
          <p:sp>
            <p:nvSpPr>
              <p:cNvPr id="24" name="Rectangle 23"/>
              <p:cNvSpPr/>
              <p:nvPr/>
            </p:nvSpPr>
            <p:spPr>
              <a:xfrm>
                <a:off x="0" y="3100328"/>
                <a:ext cx="749300" cy="778582"/>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err="1" smtClean="0">
                  <a:ln>
                    <a:noFill/>
                  </a:ln>
                  <a:solidFill>
                    <a:srgbClr val="FFFFFF"/>
                  </a:solidFill>
                  <a:effectLst/>
                  <a:uLnTx/>
                  <a:uFillTx/>
                </a:endParaRPr>
              </a:p>
            </p:txBody>
          </p:sp>
          <p:sp>
            <p:nvSpPr>
              <p:cNvPr id="25" name="Freeform 24"/>
              <p:cNvSpPr>
                <a:spLocks noEditPoints="1"/>
              </p:cNvSpPr>
              <p:nvPr/>
            </p:nvSpPr>
            <p:spPr bwMode="auto">
              <a:xfrm>
                <a:off x="205203" y="3240463"/>
                <a:ext cx="319748" cy="495210"/>
              </a:xfrm>
              <a:custGeom>
                <a:avLst/>
                <a:gdLst>
                  <a:gd name="T0" fmla="*/ 172 w 187"/>
                  <a:gd name="T1" fmla="*/ 0 h 289"/>
                  <a:gd name="T2" fmla="*/ 14 w 187"/>
                  <a:gd name="T3" fmla="*/ 0 h 289"/>
                  <a:gd name="T4" fmla="*/ 0 w 187"/>
                  <a:gd name="T5" fmla="*/ 14 h 289"/>
                  <a:gd name="T6" fmla="*/ 0 w 187"/>
                  <a:gd name="T7" fmla="*/ 274 h 289"/>
                  <a:gd name="T8" fmla="*/ 14 w 187"/>
                  <a:gd name="T9" fmla="*/ 289 h 289"/>
                  <a:gd name="T10" fmla="*/ 172 w 187"/>
                  <a:gd name="T11" fmla="*/ 289 h 289"/>
                  <a:gd name="T12" fmla="*/ 187 w 187"/>
                  <a:gd name="T13" fmla="*/ 274 h 289"/>
                  <a:gd name="T14" fmla="*/ 187 w 187"/>
                  <a:gd name="T15" fmla="*/ 14 h 289"/>
                  <a:gd name="T16" fmla="*/ 172 w 187"/>
                  <a:gd name="T17" fmla="*/ 0 h 289"/>
                  <a:gd name="T18" fmla="*/ 93 w 187"/>
                  <a:gd name="T19" fmla="*/ 276 h 289"/>
                  <a:gd name="T20" fmla="*/ 82 w 187"/>
                  <a:gd name="T21" fmla="*/ 265 h 289"/>
                  <a:gd name="T22" fmla="*/ 93 w 187"/>
                  <a:gd name="T23" fmla="*/ 254 h 289"/>
                  <a:gd name="T24" fmla="*/ 104 w 187"/>
                  <a:gd name="T25" fmla="*/ 265 h 289"/>
                  <a:gd name="T26" fmla="*/ 93 w 187"/>
                  <a:gd name="T27" fmla="*/ 276 h 289"/>
                  <a:gd name="T28" fmla="*/ 164 w 187"/>
                  <a:gd name="T29" fmla="*/ 237 h 289"/>
                  <a:gd name="T30" fmla="*/ 23 w 187"/>
                  <a:gd name="T31" fmla="*/ 237 h 289"/>
                  <a:gd name="T32" fmla="*/ 23 w 187"/>
                  <a:gd name="T33" fmla="*/ 24 h 289"/>
                  <a:gd name="T34" fmla="*/ 164 w 187"/>
                  <a:gd name="T35" fmla="*/ 24 h 289"/>
                  <a:gd name="T36" fmla="*/ 164 w 187"/>
                  <a:gd name="T37" fmla="*/ 23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89">
                    <a:moveTo>
                      <a:pt x="172" y="0"/>
                    </a:moveTo>
                    <a:cubicBezTo>
                      <a:pt x="14" y="0"/>
                      <a:pt x="14" y="0"/>
                      <a:pt x="14" y="0"/>
                    </a:cubicBezTo>
                    <a:cubicBezTo>
                      <a:pt x="6" y="0"/>
                      <a:pt x="0" y="6"/>
                      <a:pt x="0" y="14"/>
                    </a:cubicBezTo>
                    <a:cubicBezTo>
                      <a:pt x="0" y="274"/>
                      <a:pt x="0" y="274"/>
                      <a:pt x="0" y="274"/>
                    </a:cubicBezTo>
                    <a:cubicBezTo>
                      <a:pt x="0" y="282"/>
                      <a:pt x="6" y="289"/>
                      <a:pt x="14" y="289"/>
                    </a:cubicBezTo>
                    <a:cubicBezTo>
                      <a:pt x="172" y="289"/>
                      <a:pt x="172" y="289"/>
                      <a:pt x="172" y="289"/>
                    </a:cubicBezTo>
                    <a:cubicBezTo>
                      <a:pt x="180" y="289"/>
                      <a:pt x="187" y="282"/>
                      <a:pt x="187" y="274"/>
                    </a:cubicBezTo>
                    <a:cubicBezTo>
                      <a:pt x="187" y="14"/>
                      <a:pt x="187" y="14"/>
                      <a:pt x="187" y="14"/>
                    </a:cubicBezTo>
                    <a:cubicBezTo>
                      <a:pt x="187" y="6"/>
                      <a:pt x="180" y="0"/>
                      <a:pt x="172" y="0"/>
                    </a:cubicBezTo>
                    <a:close/>
                    <a:moveTo>
                      <a:pt x="93" y="276"/>
                    </a:moveTo>
                    <a:cubicBezTo>
                      <a:pt x="87" y="276"/>
                      <a:pt x="82" y="271"/>
                      <a:pt x="82" y="265"/>
                    </a:cubicBezTo>
                    <a:cubicBezTo>
                      <a:pt x="82" y="259"/>
                      <a:pt x="87" y="254"/>
                      <a:pt x="93" y="254"/>
                    </a:cubicBezTo>
                    <a:cubicBezTo>
                      <a:pt x="99" y="254"/>
                      <a:pt x="104" y="259"/>
                      <a:pt x="104" y="265"/>
                    </a:cubicBezTo>
                    <a:cubicBezTo>
                      <a:pt x="104" y="271"/>
                      <a:pt x="99" y="276"/>
                      <a:pt x="93" y="276"/>
                    </a:cubicBezTo>
                    <a:close/>
                    <a:moveTo>
                      <a:pt x="164" y="237"/>
                    </a:moveTo>
                    <a:cubicBezTo>
                      <a:pt x="23" y="237"/>
                      <a:pt x="23" y="237"/>
                      <a:pt x="23" y="237"/>
                    </a:cubicBezTo>
                    <a:cubicBezTo>
                      <a:pt x="23" y="24"/>
                      <a:pt x="23" y="24"/>
                      <a:pt x="23" y="24"/>
                    </a:cubicBezTo>
                    <a:cubicBezTo>
                      <a:pt x="164" y="24"/>
                      <a:pt x="164" y="24"/>
                      <a:pt x="164" y="24"/>
                    </a:cubicBezTo>
                    <a:lnTo>
                      <a:pt x="164" y="23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21" name="Group 20"/>
            <p:cNvGrpSpPr/>
            <p:nvPr/>
          </p:nvGrpSpPr>
          <p:grpSpPr>
            <a:xfrm>
              <a:off x="0" y="4246039"/>
              <a:ext cx="749300" cy="778582"/>
              <a:chOff x="0" y="4119039"/>
              <a:chExt cx="749300" cy="778582"/>
            </a:xfrm>
            <a:solidFill>
              <a:srgbClr val="009900"/>
            </a:solidFill>
          </p:grpSpPr>
          <p:sp>
            <p:nvSpPr>
              <p:cNvPr id="22" name="Rectangle 21"/>
              <p:cNvSpPr/>
              <p:nvPr/>
            </p:nvSpPr>
            <p:spPr>
              <a:xfrm>
                <a:off x="0" y="4119039"/>
                <a:ext cx="749300" cy="77858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dirty="0" err="1" smtClean="0">
                  <a:ln>
                    <a:noFill/>
                  </a:ln>
                  <a:solidFill>
                    <a:srgbClr val="FFFFFF"/>
                  </a:solidFill>
                  <a:effectLst/>
                  <a:uLnTx/>
                  <a:uFillTx/>
                </a:endParaRPr>
              </a:p>
            </p:txBody>
          </p:sp>
          <p:pic>
            <p:nvPicPr>
              <p:cNvPr id="23" name="Picture 42" descr="C:\Users\sakuu\Documents\Ballmer WPC\PNGS\xboxpearl.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169658" y="4312340"/>
                <a:ext cx="390838" cy="391978"/>
              </a:xfrm>
              <a:prstGeom prst="rect">
                <a:avLst/>
              </a:prstGeom>
              <a:grpFill/>
              <a:extLst/>
            </p:spPr>
          </p:pic>
        </p:grpSp>
      </p:grpSp>
      <p:sp>
        <p:nvSpPr>
          <p:cNvPr id="28" name="Rectangle 27"/>
          <p:cNvSpPr/>
          <p:nvPr/>
        </p:nvSpPr>
        <p:spPr>
          <a:xfrm>
            <a:off x="7308402" y="3287238"/>
            <a:ext cx="4477198" cy="887422"/>
          </a:xfrm>
          <a:prstGeom prst="rect">
            <a:avLst/>
          </a:prstGeom>
        </p:spPr>
        <p:txBody>
          <a:bodyPr wrap="square" anchor="ctr">
            <a:spAutoFit/>
          </a:bodyPr>
          <a:lstStyle/>
          <a:p>
            <a:pPr marL="0" marR="0" lvl="0" indent="0" defTabSz="1268006" eaLnBrk="1" fontAlgn="base" latinLnBrk="0" hangingPunct="1">
              <a:lnSpc>
                <a:spcPct val="90000"/>
              </a:lnSpc>
              <a:spcBef>
                <a:spcPct val="0"/>
              </a:spcBef>
              <a:spcAft>
                <a:spcPts val="400"/>
              </a:spcAft>
              <a:buClrTx/>
              <a:buSzTx/>
              <a:buFontTx/>
              <a:buNone/>
              <a:tabLst/>
              <a:defRPr/>
            </a:pPr>
            <a:r>
              <a:rPr kumimoji="0" lang="en-US" sz="1600" b="0" i="0" u="none" strike="noStrike" kern="0" cap="none" spc="0" normalizeH="0" baseline="0" noProof="0" dirty="0" smtClean="0">
                <a:ln>
                  <a:noFill/>
                </a:ln>
                <a:solidFill>
                  <a:srgbClr val="FFFFFF"/>
                </a:solidFill>
                <a:effectLst/>
                <a:uLnTx/>
                <a:uFillTx/>
                <a:ea typeface="Segoe UI" pitchFamily="34" charset="0"/>
                <a:cs typeface="Segoe UI" pitchFamily="34" charset="0"/>
              </a:rPr>
              <a:t>ONE CORE OS</a:t>
            </a:r>
          </a:p>
          <a:p>
            <a:pPr marL="0" marR="0" lvl="0" indent="0" defTabSz="1268006" eaLnBrk="1" fontAlgn="base" latinLnBrk="0" hangingPunct="1">
              <a:lnSpc>
                <a:spcPct val="90000"/>
              </a:lnSpc>
              <a:spcBef>
                <a:spcPct val="0"/>
              </a:spcBef>
              <a:spcAft>
                <a:spcPts val="400"/>
              </a:spcAft>
              <a:buClrTx/>
              <a:buSzTx/>
              <a:buFontTx/>
              <a:buNone/>
              <a:tabLst/>
              <a:defRPr/>
            </a:pPr>
            <a:r>
              <a:rPr kumimoji="0" lang="en-US" sz="1600" b="0" i="0" u="none" strike="noStrike" kern="0" cap="none" spc="0" normalizeH="0" baseline="0" noProof="0" dirty="0" smtClean="0">
                <a:ln>
                  <a:noFill/>
                </a:ln>
                <a:solidFill>
                  <a:srgbClr val="FFFFFF"/>
                </a:solidFill>
                <a:effectLst/>
                <a:uLnTx/>
                <a:uFillTx/>
                <a:ea typeface="Segoe UI" pitchFamily="34" charset="0"/>
                <a:cs typeface="Segoe UI" pitchFamily="34" charset="0"/>
              </a:rPr>
              <a:t>ONE APP PLATFORM</a:t>
            </a:r>
          </a:p>
          <a:p>
            <a:pPr marL="0" marR="0" lvl="0" indent="0" defTabSz="1268006" eaLnBrk="1" fontAlgn="base" latinLnBrk="0" hangingPunct="1">
              <a:lnSpc>
                <a:spcPct val="90000"/>
              </a:lnSpc>
              <a:spcBef>
                <a:spcPct val="0"/>
              </a:spcBef>
              <a:spcAft>
                <a:spcPts val="400"/>
              </a:spcAft>
              <a:buClrTx/>
              <a:buSzTx/>
              <a:buFontTx/>
              <a:buNone/>
              <a:tabLst/>
              <a:defRPr/>
            </a:pPr>
            <a:r>
              <a:rPr kumimoji="0" lang="en-US" sz="1600" b="0" i="0" u="none" strike="noStrike" kern="0" cap="none" spc="0" normalizeH="0" baseline="0" noProof="0" dirty="0" smtClean="0">
                <a:ln>
                  <a:noFill/>
                </a:ln>
                <a:solidFill>
                  <a:srgbClr val="FFFFFF"/>
                </a:solidFill>
                <a:effectLst/>
                <a:uLnTx/>
                <a:uFillTx/>
                <a:ea typeface="Segoe UI" pitchFamily="34" charset="0"/>
                <a:cs typeface="Segoe UI" pitchFamily="34" charset="0"/>
              </a:rPr>
              <a:t>ONE STORE</a:t>
            </a:r>
            <a:endParaRPr kumimoji="0" lang="en-US" sz="1600"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29" name="Oval 33"/>
          <p:cNvSpPr/>
          <p:nvPr/>
        </p:nvSpPr>
        <p:spPr>
          <a:xfrm>
            <a:off x="5107948" y="2687344"/>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FFFFFF"/>
              </a:solidFill>
              <a:effectLst/>
              <a:uLnTx/>
              <a:uFillTx/>
            </a:endParaRPr>
          </a:p>
        </p:txBody>
      </p:sp>
      <p:grpSp>
        <p:nvGrpSpPr>
          <p:cNvPr id="30" name="Group 29"/>
          <p:cNvGrpSpPr/>
          <p:nvPr/>
        </p:nvGrpSpPr>
        <p:grpSpPr>
          <a:xfrm>
            <a:off x="5052041" y="2771471"/>
            <a:ext cx="2087919" cy="1807851"/>
            <a:chOff x="5052041" y="2485844"/>
            <a:chExt cx="2087919" cy="1807851"/>
          </a:xfrm>
        </p:grpSpPr>
        <p:sp>
          <p:nvSpPr>
            <p:cNvPr id="31" name="Oval 33"/>
            <p:cNvSpPr/>
            <p:nvPr/>
          </p:nvSpPr>
          <p:spPr>
            <a:xfrm>
              <a:off x="5192075" y="2485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FFFFFF"/>
                </a:solidFill>
                <a:effectLst/>
                <a:uLnTx/>
                <a:uFillTx/>
              </a:endParaRPr>
            </a:p>
          </p:txBody>
        </p:sp>
        <p:grpSp>
          <p:nvGrpSpPr>
            <p:cNvPr id="32" name="Group 31"/>
            <p:cNvGrpSpPr/>
            <p:nvPr/>
          </p:nvGrpSpPr>
          <p:grpSpPr>
            <a:xfrm>
              <a:off x="5052041" y="2836625"/>
              <a:ext cx="2087919" cy="1066291"/>
              <a:chOff x="5052041" y="2836625"/>
              <a:chExt cx="2087919" cy="1066291"/>
            </a:xfrm>
          </p:grpSpPr>
          <p:sp>
            <p:nvSpPr>
              <p:cNvPr id="33" name="TextBox 35"/>
              <p:cNvSpPr txBox="1"/>
              <p:nvPr/>
            </p:nvSpPr>
            <p:spPr>
              <a:xfrm>
                <a:off x="5052041" y="3644319"/>
                <a:ext cx="2087919" cy="258597"/>
              </a:xfrm>
              <a:prstGeom prst="rect">
                <a:avLst/>
              </a:prstGeom>
              <a:noFill/>
            </p:spPr>
            <p:txBody>
              <a:bodyPr wrap="square" lIns="0" tIns="0" rIns="0" bIns="0" rtlCol="0">
                <a:spAutoFit/>
              </a:bodyPr>
              <a:lstStyle/>
              <a:p>
                <a:pPr marL="0" marR="0" lvl="0" indent="0" algn="ctr" defTabSz="914377" eaLnBrk="1" fontAlgn="auto" latinLnBrk="0" hangingPunct="1">
                  <a:lnSpc>
                    <a:spcPct val="90000"/>
                  </a:lnSpc>
                  <a:spcBef>
                    <a:spcPts val="0"/>
                  </a:spcBef>
                  <a:spcAft>
                    <a:spcPts val="0"/>
                  </a:spcAft>
                  <a:buClrTx/>
                  <a:buSzTx/>
                  <a:buFontTx/>
                  <a:buNone/>
                  <a:tabLst/>
                  <a:defRPr/>
                </a:pPr>
                <a:r>
                  <a:rPr kumimoji="0" lang="en-US" sz="1867" b="0" i="0" u="none" strike="noStrike" kern="0" cap="none" spc="0" normalizeH="0" baseline="0" noProof="0" dirty="0">
                    <a:ln>
                      <a:noFill/>
                    </a:ln>
                    <a:solidFill>
                      <a:srgbClr val="FFFFFF"/>
                    </a:solidFill>
                    <a:effectLst/>
                    <a:uLnTx/>
                    <a:uFillTx/>
                    <a:cs typeface="Segoe UI Semibold" panose="020B0702040204020203" pitchFamily="34" charset="0"/>
                  </a:rPr>
                  <a:t>Windows 10</a:t>
                </a:r>
              </a:p>
            </p:txBody>
          </p:sp>
          <p:sp>
            <p:nvSpPr>
              <p:cNvPr id="34" name="Freeform 5"/>
              <p:cNvSpPr>
                <a:spLocks noEditPoints="1"/>
              </p:cNvSpPr>
              <p:nvPr/>
            </p:nvSpPr>
            <p:spPr bwMode="auto">
              <a:xfrm>
                <a:off x="5695158" y="2836625"/>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a:ln>
                    <a:noFill/>
                  </a:ln>
                  <a:solidFill>
                    <a:srgbClr val="737373"/>
                  </a:solidFill>
                  <a:effectLst/>
                  <a:uLnTx/>
                  <a:uFillTx/>
                </a:endParaRPr>
              </a:p>
            </p:txBody>
          </p:sp>
        </p:grpSp>
      </p:grpSp>
    </p:spTree>
    <p:extLst>
      <p:ext uri="{BB962C8B-B14F-4D97-AF65-F5344CB8AC3E}">
        <p14:creationId xmlns:p14="http://schemas.microsoft.com/office/powerpoint/2010/main" val="3165591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63" name="Rectangle 62"/>
          <p:cNvSpPr/>
          <p:nvPr/>
        </p:nvSpPr>
        <p:spPr bwMode="auto">
          <a:xfrm>
            <a:off x="-100799" y="3261337"/>
            <a:ext cx="12292800" cy="927206"/>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5" tIns="198956" rIns="248695" bIns="198956" numCol="1" spcCol="0" rtlCol="0" fromWordArt="0" anchor="t" anchorCtr="0" forceAA="0" compatLnSpc="1">
            <a:prstTxWarp prst="textNoShape">
              <a:avLst/>
            </a:prstTxWarp>
            <a:noAutofit/>
          </a:bodyPr>
          <a:lstStyle/>
          <a:p>
            <a:pPr marL="0" marR="0" lvl="0" indent="0" algn="ctr" defTabSz="126800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2917">
                    <a:srgbClr val="737373"/>
                  </a:gs>
                  <a:gs pos="81000">
                    <a:srgbClr val="737373"/>
                  </a:gs>
                </a:gsLst>
                <a:lin ang="5400000" scaled="0"/>
              </a:gradFill>
              <a:effectLst/>
              <a:uLnTx/>
              <a:uFillTx/>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on </a:t>
            </a:r>
            <a:r>
              <a:rPr lang="en-US" dirty="0"/>
              <a:t>a full range of devices…</a:t>
            </a:r>
          </a:p>
        </p:txBody>
      </p:sp>
      <p:sp>
        <p:nvSpPr>
          <p:cNvPr id="29" name="Oval 33"/>
          <p:cNvSpPr/>
          <p:nvPr/>
        </p:nvSpPr>
        <p:spPr>
          <a:xfrm>
            <a:off x="5107948" y="2687344"/>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FFFFFF"/>
              </a:solidFill>
              <a:effectLst/>
              <a:uLnTx/>
              <a:uFillTx/>
            </a:endParaRPr>
          </a:p>
        </p:txBody>
      </p:sp>
      <p:grpSp>
        <p:nvGrpSpPr>
          <p:cNvPr id="30" name="Group 29"/>
          <p:cNvGrpSpPr/>
          <p:nvPr/>
        </p:nvGrpSpPr>
        <p:grpSpPr>
          <a:xfrm>
            <a:off x="5052041" y="2771471"/>
            <a:ext cx="2087919" cy="1807851"/>
            <a:chOff x="5052041" y="2485844"/>
            <a:chExt cx="2087919" cy="1807851"/>
          </a:xfrm>
        </p:grpSpPr>
        <p:sp>
          <p:nvSpPr>
            <p:cNvPr id="31" name="Oval 33"/>
            <p:cNvSpPr/>
            <p:nvPr/>
          </p:nvSpPr>
          <p:spPr>
            <a:xfrm>
              <a:off x="5192075" y="2485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FFFFFF"/>
                </a:solidFill>
                <a:effectLst/>
                <a:uLnTx/>
                <a:uFillTx/>
              </a:endParaRPr>
            </a:p>
          </p:txBody>
        </p:sp>
        <p:grpSp>
          <p:nvGrpSpPr>
            <p:cNvPr id="32" name="Group 31"/>
            <p:cNvGrpSpPr/>
            <p:nvPr/>
          </p:nvGrpSpPr>
          <p:grpSpPr>
            <a:xfrm>
              <a:off x="5052041" y="2836625"/>
              <a:ext cx="2087919" cy="1066291"/>
              <a:chOff x="5052041" y="2836625"/>
              <a:chExt cx="2087919" cy="1066291"/>
            </a:xfrm>
          </p:grpSpPr>
          <p:sp>
            <p:nvSpPr>
              <p:cNvPr id="33" name="TextBox 35"/>
              <p:cNvSpPr txBox="1"/>
              <p:nvPr/>
            </p:nvSpPr>
            <p:spPr>
              <a:xfrm>
                <a:off x="5052041" y="3644319"/>
                <a:ext cx="2087919" cy="258597"/>
              </a:xfrm>
              <a:prstGeom prst="rect">
                <a:avLst/>
              </a:prstGeom>
              <a:noFill/>
            </p:spPr>
            <p:txBody>
              <a:bodyPr wrap="square" lIns="0" tIns="0" rIns="0" bIns="0" rtlCol="0">
                <a:spAutoFit/>
              </a:bodyPr>
              <a:lstStyle/>
              <a:p>
                <a:pPr marL="0" marR="0" lvl="0" indent="0" algn="ctr" defTabSz="914377" eaLnBrk="1" fontAlgn="auto" latinLnBrk="0" hangingPunct="1">
                  <a:lnSpc>
                    <a:spcPct val="90000"/>
                  </a:lnSpc>
                  <a:spcBef>
                    <a:spcPts val="0"/>
                  </a:spcBef>
                  <a:spcAft>
                    <a:spcPts val="0"/>
                  </a:spcAft>
                  <a:buClrTx/>
                  <a:buSzTx/>
                  <a:buFontTx/>
                  <a:buNone/>
                  <a:tabLst/>
                  <a:defRPr/>
                </a:pPr>
                <a:r>
                  <a:rPr kumimoji="0" lang="en-US" sz="1867" b="0" i="0" u="none" strike="noStrike" kern="0" cap="none" spc="0" normalizeH="0" baseline="0" noProof="0" dirty="0">
                    <a:ln>
                      <a:noFill/>
                    </a:ln>
                    <a:solidFill>
                      <a:srgbClr val="FFFFFF"/>
                    </a:solidFill>
                    <a:effectLst/>
                    <a:uLnTx/>
                    <a:uFillTx/>
                    <a:cs typeface="Segoe UI Semibold" panose="020B0702040204020203" pitchFamily="34" charset="0"/>
                  </a:rPr>
                  <a:t>Windows 10</a:t>
                </a:r>
              </a:p>
            </p:txBody>
          </p:sp>
          <p:sp>
            <p:nvSpPr>
              <p:cNvPr id="34" name="Freeform 5"/>
              <p:cNvSpPr>
                <a:spLocks noEditPoints="1"/>
              </p:cNvSpPr>
              <p:nvPr/>
            </p:nvSpPr>
            <p:spPr bwMode="auto">
              <a:xfrm>
                <a:off x="5695158" y="2836625"/>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a:ln>
                    <a:noFill/>
                  </a:ln>
                  <a:solidFill>
                    <a:srgbClr val="737373"/>
                  </a:solidFill>
                  <a:effectLst/>
                  <a:uLnTx/>
                  <a:uFillTx/>
                </a:endParaRPr>
              </a:p>
            </p:txBody>
          </p:sp>
        </p:grpSp>
      </p:grpSp>
      <p:sp>
        <p:nvSpPr>
          <p:cNvPr id="36" name="TextBox 35"/>
          <p:cNvSpPr txBox="1"/>
          <p:nvPr/>
        </p:nvSpPr>
        <p:spPr>
          <a:xfrm>
            <a:off x="297884" y="1758256"/>
            <a:ext cx="666429" cy="217175"/>
          </a:xfrm>
          <a:prstGeom prst="rect">
            <a:avLst/>
          </a:prstGeom>
          <a:noFill/>
        </p:spPr>
        <p:txBody>
          <a:bodyPr wrap="square" lIns="0" tIns="0" rIns="0" bIns="0" rtlCol="0">
            <a:spAutoFit/>
          </a:bodyPr>
          <a:lstStyle/>
          <a:p>
            <a:pPr marL="0" marR="0" lvl="0" indent="0" algn="ctr" defTabSz="896068"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solidFill>
                  <a:srgbClr val="4F4F4F"/>
                </a:solidFill>
                <a:effectLst/>
                <a:uLnTx/>
                <a:uFillTx/>
                <a:cs typeface="Segoe UI" panose="020B0502040204020203" pitchFamily="34" charset="0"/>
              </a:rPr>
              <a:t>Phone</a:t>
            </a:r>
          </a:p>
        </p:txBody>
      </p:sp>
      <p:sp>
        <p:nvSpPr>
          <p:cNvPr id="37" name="TextBox 36"/>
          <p:cNvSpPr txBox="1"/>
          <p:nvPr/>
        </p:nvSpPr>
        <p:spPr>
          <a:xfrm>
            <a:off x="2055040" y="1758256"/>
            <a:ext cx="1165530" cy="217175"/>
          </a:xfrm>
          <a:prstGeom prst="rect">
            <a:avLst/>
          </a:prstGeom>
          <a:noFill/>
        </p:spPr>
        <p:txBody>
          <a:bodyPr wrap="square" lIns="0" tIns="0" rIns="0" bIns="0" rtlCol="0">
            <a:spAutoFit/>
          </a:bodyPr>
          <a:lstStyle/>
          <a:p>
            <a:pPr marL="0" marR="0" lvl="0" indent="0" algn="ctr" defTabSz="896068"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solidFill>
                  <a:srgbClr val="4F4F4F"/>
                </a:solidFill>
                <a:effectLst/>
                <a:uLnTx/>
                <a:uFillTx/>
                <a:cs typeface="Segoe UI" panose="020B0502040204020203" pitchFamily="34" charset="0"/>
              </a:rPr>
              <a:t>Small </a:t>
            </a:r>
            <a:r>
              <a:rPr kumimoji="0" lang="en-US" sz="1568" b="0" i="0" u="none" strike="noStrike" kern="0" cap="none" spc="0" normalizeH="0" baseline="0" noProof="0" dirty="0" smtClean="0">
                <a:ln>
                  <a:noFill/>
                </a:ln>
                <a:solidFill>
                  <a:srgbClr val="4F4F4F"/>
                </a:solidFill>
                <a:effectLst/>
                <a:uLnTx/>
                <a:uFillTx/>
                <a:cs typeface="Segoe UI" panose="020B0502040204020203" pitchFamily="34" charset="0"/>
              </a:rPr>
              <a:t>Tablet</a:t>
            </a:r>
            <a:endParaRPr kumimoji="0" lang="en-US" sz="1568" b="0" i="0" u="none" strike="noStrike" kern="0" cap="none" spc="0" normalizeH="0" baseline="0" noProof="0" dirty="0">
              <a:ln>
                <a:noFill/>
              </a:ln>
              <a:solidFill>
                <a:srgbClr val="4F4F4F"/>
              </a:solidFill>
              <a:effectLst/>
              <a:uLnTx/>
              <a:uFillTx/>
              <a:cs typeface="Segoe UI" panose="020B0502040204020203" pitchFamily="34" charset="0"/>
            </a:endParaRPr>
          </a:p>
        </p:txBody>
      </p:sp>
      <p:sp>
        <p:nvSpPr>
          <p:cNvPr id="38" name="TextBox 37"/>
          <p:cNvSpPr txBox="1"/>
          <p:nvPr/>
        </p:nvSpPr>
        <p:spPr>
          <a:xfrm>
            <a:off x="6825273" y="1541081"/>
            <a:ext cx="1968751" cy="434350"/>
          </a:xfrm>
          <a:prstGeom prst="rect">
            <a:avLst/>
          </a:prstGeom>
          <a:noFill/>
        </p:spPr>
        <p:txBody>
          <a:bodyPr wrap="square" lIns="0" tIns="0" rIns="0" bIns="0" rtlCol="0">
            <a:spAutoFit/>
          </a:bodyPr>
          <a:lstStyle>
            <a:defPPr>
              <a:defRPr lang="en-US"/>
            </a:defPPr>
            <a:lvl1pPr algn="ctr" defTabSz="914367">
              <a:lnSpc>
                <a:spcPct val="90000"/>
              </a:lnSpc>
              <a:spcAft>
                <a:spcPts val="600"/>
              </a:spcAft>
              <a:defRPr sz="1200">
                <a:gradFill>
                  <a:gsLst>
                    <a:gs pos="2917">
                      <a:srgbClr val="FFFFFF"/>
                    </a:gs>
                    <a:gs pos="30000">
                      <a:srgbClr val="FFFFFF"/>
                    </a:gs>
                  </a:gsLst>
                  <a:lin ang="5400000" scaled="0"/>
                </a:gradFill>
                <a:cs typeface="Segoe UI" panose="020B0502040204020203" pitchFamily="34" charset="0"/>
              </a:defRPr>
            </a:lvl1pPr>
          </a:lstStyle>
          <a:p>
            <a:pPr marL="0" marR="0" lvl="0" indent="0" algn="ctr" defTabSz="914367" eaLnBrk="1" fontAlgn="auto" latinLnBrk="0" hangingPunct="1">
              <a:lnSpc>
                <a:spcPct val="90000"/>
              </a:lnSpc>
              <a:spcBef>
                <a:spcPts val="0"/>
              </a:spcBef>
              <a:spcAft>
                <a:spcPts val="600"/>
              </a:spcAft>
              <a:buClrTx/>
              <a:buSzTx/>
              <a:buFontTx/>
              <a:buNone/>
              <a:tabLst/>
              <a:defRPr/>
            </a:pPr>
            <a:r>
              <a:rPr kumimoji="0" lang="en-US" sz="1568" b="0" i="0" u="none" strike="noStrike" kern="0" cap="none" spc="0" normalizeH="0" baseline="0" noProof="0" dirty="0">
                <a:ln>
                  <a:noFill/>
                </a:ln>
                <a:solidFill>
                  <a:srgbClr val="4F4F4F"/>
                </a:solidFill>
                <a:effectLst/>
                <a:uLnTx/>
                <a:uFillTx/>
                <a:cs typeface="Segoe UI" panose="020B0502040204020203" pitchFamily="34" charset="0"/>
              </a:rPr>
              <a:t>2-in-1s</a:t>
            </a:r>
            <a:br>
              <a:rPr kumimoji="0" lang="en-US" sz="1568" b="0" i="0" u="none" strike="noStrike" kern="0" cap="none" spc="0" normalizeH="0" baseline="0" noProof="0" dirty="0">
                <a:ln>
                  <a:noFill/>
                </a:ln>
                <a:solidFill>
                  <a:srgbClr val="4F4F4F"/>
                </a:solidFill>
                <a:effectLst/>
                <a:uLnTx/>
                <a:uFillTx/>
                <a:cs typeface="Segoe UI" panose="020B0502040204020203" pitchFamily="34" charset="0"/>
              </a:rPr>
            </a:br>
            <a:r>
              <a:rPr kumimoji="0" lang="en-US" sz="1568" b="0" i="0" u="none" strike="noStrike" kern="0" cap="none" spc="0" normalizeH="0" baseline="0" noProof="0" dirty="0">
                <a:ln>
                  <a:noFill/>
                </a:ln>
                <a:solidFill>
                  <a:srgbClr val="4F4F4F"/>
                </a:solidFill>
                <a:effectLst/>
                <a:uLnTx/>
                <a:uFillTx/>
                <a:cs typeface="Segoe UI" panose="020B0502040204020203" pitchFamily="34" charset="0"/>
              </a:rPr>
              <a:t>(Tablet or Laptop)</a:t>
            </a:r>
          </a:p>
        </p:txBody>
      </p:sp>
      <p:sp>
        <p:nvSpPr>
          <p:cNvPr id="39" name="TextBox 38"/>
          <p:cNvSpPr txBox="1"/>
          <p:nvPr/>
        </p:nvSpPr>
        <p:spPr>
          <a:xfrm>
            <a:off x="10219754" y="1541081"/>
            <a:ext cx="1919945" cy="434350"/>
          </a:xfrm>
          <a:prstGeom prst="rect">
            <a:avLst/>
          </a:prstGeom>
          <a:noFill/>
        </p:spPr>
        <p:txBody>
          <a:bodyPr wrap="square" lIns="0" tIns="0" rIns="0" bIns="0" rtlCol="0">
            <a:spAutoFit/>
          </a:bodyPr>
          <a:lstStyle/>
          <a:p>
            <a:pPr marL="0" marR="0" lvl="0" indent="0" algn="ctr" defTabSz="896068"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solidFill>
                  <a:srgbClr val="4F4F4F"/>
                </a:solidFill>
                <a:effectLst/>
                <a:uLnTx/>
                <a:uFillTx/>
                <a:cs typeface="Segoe UI" panose="020B0502040204020203" pitchFamily="34" charset="0"/>
              </a:rPr>
              <a:t>Desktops </a:t>
            </a:r>
            <a:br>
              <a:rPr kumimoji="0" lang="en-US" sz="1568" b="0" i="0" u="none" strike="noStrike" kern="0" cap="none" spc="0" normalizeH="0" baseline="0" noProof="0" dirty="0">
                <a:ln>
                  <a:noFill/>
                </a:ln>
                <a:solidFill>
                  <a:srgbClr val="4F4F4F"/>
                </a:solidFill>
                <a:effectLst/>
                <a:uLnTx/>
                <a:uFillTx/>
                <a:cs typeface="Segoe UI" panose="020B0502040204020203" pitchFamily="34" charset="0"/>
              </a:rPr>
            </a:br>
            <a:r>
              <a:rPr kumimoji="0" lang="en-US" sz="1568" b="0" i="0" u="none" strike="noStrike" kern="0" cap="none" spc="0" normalizeH="0" baseline="0" noProof="0" dirty="0">
                <a:ln>
                  <a:noFill/>
                </a:ln>
                <a:solidFill>
                  <a:srgbClr val="4F4F4F"/>
                </a:solidFill>
                <a:effectLst/>
                <a:uLnTx/>
                <a:uFillTx/>
                <a:cs typeface="Segoe UI" panose="020B0502040204020203" pitchFamily="34" charset="0"/>
              </a:rPr>
              <a:t>&amp; All-in-Ones</a:t>
            </a:r>
          </a:p>
        </p:txBody>
      </p:sp>
      <p:sp>
        <p:nvSpPr>
          <p:cNvPr id="40" name="TextBox 39"/>
          <p:cNvSpPr txBox="1"/>
          <p:nvPr/>
        </p:nvSpPr>
        <p:spPr>
          <a:xfrm>
            <a:off x="1139335" y="1758256"/>
            <a:ext cx="841789" cy="217175"/>
          </a:xfrm>
          <a:prstGeom prst="rect">
            <a:avLst/>
          </a:prstGeom>
          <a:noFill/>
        </p:spPr>
        <p:txBody>
          <a:bodyPr wrap="square" lIns="0" tIns="0" rIns="0" bIns="0" rtlCol="0">
            <a:spAutoFit/>
          </a:bodyPr>
          <a:lstStyle/>
          <a:p>
            <a:pPr marL="0" marR="0" lvl="0" indent="0" algn="ctr" defTabSz="896068"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solidFill>
                  <a:srgbClr val="4F4F4F"/>
                </a:solidFill>
                <a:effectLst/>
                <a:uLnTx/>
                <a:uFillTx/>
                <a:cs typeface="Segoe UI" panose="020B0502040204020203" pitchFamily="34" charset="0"/>
              </a:rPr>
              <a:t>Phablet</a:t>
            </a:r>
          </a:p>
        </p:txBody>
      </p:sp>
      <p:sp>
        <p:nvSpPr>
          <p:cNvPr id="41" name="TextBox 40"/>
          <p:cNvSpPr txBox="1"/>
          <p:nvPr/>
        </p:nvSpPr>
        <p:spPr>
          <a:xfrm>
            <a:off x="3099054" y="1758256"/>
            <a:ext cx="1946060" cy="217175"/>
          </a:xfrm>
          <a:prstGeom prst="rect">
            <a:avLst/>
          </a:prstGeom>
          <a:noFill/>
        </p:spPr>
        <p:txBody>
          <a:bodyPr wrap="square" lIns="0" tIns="0" rIns="0" bIns="0" rtlCol="0">
            <a:spAutoFit/>
          </a:bodyPr>
          <a:lstStyle/>
          <a:p>
            <a:pPr marL="0" marR="0" lvl="0" indent="0" algn="ctr" defTabSz="896068"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smtClean="0">
                <a:ln>
                  <a:noFill/>
                </a:ln>
                <a:solidFill>
                  <a:srgbClr val="4F4F4F"/>
                </a:solidFill>
                <a:effectLst/>
                <a:uLnTx/>
                <a:uFillTx/>
                <a:cs typeface="Segoe UI" panose="020B0502040204020203" pitchFamily="34" charset="0"/>
              </a:rPr>
              <a:t>Large Tablet</a:t>
            </a:r>
            <a:endParaRPr kumimoji="0" lang="en-US" sz="1568" b="0" i="0" u="none" strike="noStrike" kern="0" cap="none" spc="0" normalizeH="0" baseline="0" noProof="0" dirty="0">
              <a:ln>
                <a:noFill/>
              </a:ln>
              <a:solidFill>
                <a:srgbClr val="4F4F4F"/>
              </a:solidFill>
              <a:effectLst/>
              <a:uLnTx/>
              <a:uFillTx/>
              <a:cs typeface="Segoe UI" panose="020B0502040204020203" pitchFamily="34" charset="0"/>
            </a:endParaRPr>
          </a:p>
        </p:txBody>
      </p:sp>
      <p:sp>
        <p:nvSpPr>
          <p:cNvPr id="42" name="TextBox 41"/>
          <p:cNvSpPr txBox="1"/>
          <p:nvPr/>
        </p:nvSpPr>
        <p:spPr>
          <a:xfrm>
            <a:off x="9008626" y="1541081"/>
            <a:ext cx="954581" cy="434350"/>
          </a:xfrm>
          <a:prstGeom prst="rect">
            <a:avLst/>
          </a:prstGeom>
          <a:noFill/>
        </p:spPr>
        <p:txBody>
          <a:bodyPr wrap="square" lIns="0" tIns="0" rIns="0" bIns="0" rtlCol="0">
            <a:spAutoFit/>
          </a:bodyPr>
          <a:lstStyle/>
          <a:p>
            <a:pPr marL="0" marR="0" lvl="0" indent="0" algn="ctr" defTabSz="896068"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solidFill>
                  <a:srgbClr val="4F4F4F"/>
                </a:solidFill>
                <a:effectLst/>
                <a:uLnTx/>
                <a:uFillTx/>
                <a:cs typeface="Segoe UI" panose="020B0502040204020203" pitchFamily="34" charset="0"/>
              </a:rPr>
              <a:t>Classic </a:t>
            </a:r>
            <a:br>
              <a:rPr kumimoji="0" lang="en-US" sz="1568" b="0" i="0" u="none" strike="noStrike" kern="0" cap="none" spc="0" normalizeH="0" baseline="0" noProof="0" dirty="0">
                <a:ln>
                  <a:noFill/>
                </a:ln>
                <a:solidFill>
                  <a:srgbClr val="4F4F4F"/>
                </a:solidFill>
                <a:effectLst/>
                <a:uLnTx/>
                <a:uFillTx/>
                <a:cs typeface="Segoe UI" panose="020B0502040204020203" pitchFamily="34" charset="0"/>
              </a:rPr>
            </a:br>
            <a:r>
              <a:rPr kumimoji="0" lang="en-US" sz="1568" b="0" i="0" u="none" strike="noStrike" kern="0" cap="none" spc="0" normalizeH="0" baseline="0" noProof="0" dirty="0">
                <a:ln>
                  <a:noFill/>
                </a:ln>
                <a:solidFill>
                  <a:srgbClr val="4F4F4F"/>
                </a:solidFill>
                <a:effectLst/>
                <a:uLnTx/>
                <a:uFillTx/>
                <a:cs typeface="Segoe UI" panose="020B0502040204020203" pitchFamily="34" charset="0"/>
              </a:rPr>
              <a:t>Laptop</a:t>
            </a:r>
          </a:p>
        </p:txBody>
      </p:sp>
      <p:pic>
        <p:nvPicPr>
          <p:cNvPr id="43" name="Picture 42"/>
          <p:cNvPicPr>
            <a:picLocks noChangeAspect="1"/>
          </p:cNvPicPr>
          <p:nvPr/>
        </p:nvPicPr>
        <p:blipFill rotWithShape="1">
          <a:blip r:embed="rId3" cstate="print">
            <a:extLst>
              <a:ext uri="{28A0092B-C50C-407E-A947-70E740481C1C}">
                <a14:useLocalDpi xmlns:a14="http://schemas.microsoft.com/office/drawing/2010/main" val="0"/>
              </a:ext>
            </a:extLst>
          </a:blip>
          <a:srcRect r="10956" b="15432"/>
          <a:stretch/>
        </p:blipFill>
        <p:spPr>
          <a:xfrm>
            <a:off x="7175442" y="2109017"/>
            <a:ext cx="1407775" cy="895425"/>
          </a:xfrm>
          <a:prstGeom prst="rect">
            <a:avLst/>
          </a:prstGeom>
        </p:spPr>
      </p:pic>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51680" y="2064245"/>
            <a:ext cx="1526022" cy="1122656"/>
          </a:xfrm>
          <a:prstGeom prst="rect">
            <a:avLst/>
          </a:prstGeom>
        </p:spPr>
      </p:pic>
      <p:pic>
        <p:nvPicPr>
          <p:cNvPr id="45" name="Picture 4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22784" y="2064245"/>
            <a:ext cx="1498600" cy="958121"/>
          </a:xfrm>
          <a:prstGeom prst="rect">
            <a:avLst/>
          </a:prstGeom>
        </p:spPr>
      </p:pic>
      <p:pic>
        <p:nvPicPr>
          <p:cNvPr id="46" name="Picture 4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1579" y="2064245"/>
            <a:ext cx="870079" cy="668096"/>
          </a:xfrm>
          <a:prstGeom prst="rect">
            <a:avLst/>
          </a:prstGeom>
        </p:spPr>
      </p:pic>
      <p:pic>
        <p:nvPicPr>
          <p:cNvPr id="47" name="Picture 4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1993" y="2064245"/>
            <a:ext cx="595589" cy="580053"/>
          </a:xfrm>
          <a:prstGeom prst="rect">
            <a:avLst/>
          </a:prstGeom>
        </p:spPr>
      </p:pic>
      <p:pic>
        <p:nvPicPr>
          <p:cNvPr id="48" name="Picture 47"/>
          <p:cNvPicPr>
            <a:picLocks noChangeAspect="1"/>
          </p:cNvPicPr>
          <p:nvPr/>
        </p:nvPicPr>
        <p:blipFill rotWithShape="1">
          <a:blip r:embed="rId8" cstate="print">
            <a:extLst>
              <a:ext uri="{28A0092B-C50C-407E-A947-70E740481C1C}">
                <a14:useLocalDpi xmlns:a14="http://schemas.microsoft.com/office/drawing/2010/main" val="0"/>
              </a:ext>
            </a:extLst>
          </a:blip>
          <a:srcRect l="6535" r="9044"/>
          <a:stretch/>
        </p:blipFill>
        <p:spPr>
          <a:xfrm>
            <a:off x="2205674" y="2064245"/>
            <a:ext cx="853043" cy="849703"/>
          </a:xfrm>
          <a:prstGeom prst="rect">
            <a:avLst/>
          </a:prstGeom>
        </p:spPr>
      </p:pic>
      <p:pic>
        <p:nvPicPr>
          <p:cNvPr id="49" name="Picture 48"/>
          <p:cNvPicPr>
            <a:picLocks noChangeAspect="1"/>
          </p:cNvPicPr>
          <p:nvPr/>
        </p:nvPicPr>
        <p:blipFill rotWithShape="1">
          <a:blip r:embed="rId9" cstate="print">
            <a:extLst>
              <a:ext uri="{28A0092B-C50C-407E-A947-70E740481C1C}">
                <a14:useLocalDpi xmlns:a14="http://schemas.microsoft.com/office/drawing/2010/main" val="0"/>
              </a:ext>
            </a:extLst>
          </a:blip>
          <a:srcRect r="12153"/>
          <a:stretch/>
        </p:blipFill>
        <p:spPr>
          <a:xfrm>
            <a:off x="8841939" y="2110461"/>
            <a:ext cx="1434768" cy="924319"/>
          </a:xfrm>
          <a:prstGeom prst="rect">
            <a:avLst/>
          </a:prstGeom>
        </p:spPr>
      </p:pic>
      <p:sp>
        <p:nvSpPr>
          <p:cNvPr id="50" name="TextBox 49"/>
          <p:cNvSpPr txBox="1"/>
          <p:nvPr/>
        </p:nvSpPr>
        <p:spPr>
          <a:xfrm>
            <a:off x="3649260" y="4708901"/>
            <a:ext cx="605845" cy="197432"/>
          </a:xfrm>
          <a:prstGeom prst="rect">
            <a:avLst/>
          </a:prstGeom>
          <a:noFill/>
        </p:spPr>
        <p:txBody>
          <a:bodyPr wrap="square" lIns="0" tIns="0" rIns="0" bIns="0" rtlCol="0">
            <a:spAutoFit/>
          </a:bodyPr>
          <a:lstStyle/>
          <a:p>
            <a:pPr marL="0" marR="0" lvl="0" indent="0" algn="ctr" defTabSz="896068"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solidFill>
                  <a:srgbClr val="4F4F4F"/>
                </a:solidFill>
                <a:effectLst/>
                <a:uLnTx/>
                <a:uFillTx/>
                <a:cs typeface="Segoe UI" panose="020B0502040204020203" pitchFamily="34" charset="0"/>
              </a:rPr>
              <a:t>Xbox</a:t>
            </a:r>
          </a:p>
        </p:txBody>
      </p:sp>
      <p:sp>
        <p:nvSpPr>
          <p:cNvPr id="51" name="TextBox 50"/>
          <p:cNvSpPr txBox="1"/>
          <p:nvPr/>
        </p:nvSpPr>
        <p:spPr>
          <a:xfrm>
            <a:off x="10354681" y="4919094"/>
            <a:ext cx="1225835" cy="217175"/>
          </a:xfrm>
          <a:prstGeom prst="rect">
            <a:avLst/>
          </a:prstGeom>
          <a:noFill/>
        </p:spPr>
        <p:txBody>
          <a:bodyPr wrap="square" lIns="0" tIns="0" rIns="0" bIns="0" rtlCol="0">
            <a:spAutoFit/>
          </a:bodyPr>
          <a:lstStyle/>
          <a:p>
            <a:pPr marL="0" marR="0" lvl="0" indent="0" algn="ctr" defTabSz="896068"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solidFill>
                  <a:srgbClr val="4F4F4F"/>
                </a:solidFill>
                <a:effectLst/>
                <a:uLnTx/>
                <a:uFillTx/>
                <a:cs typeface="Segoe UI" panose="020B0502040204020203" pitchFamily="34" charset="0"/>
              </a:rPr>
              <a:t>IoT</a:t>
            </a:r>
          </a:p>
        </p:txBody>
      </p:sp>
      <p:sp>
        <p:nvSpPr>
          <p:cNvPr id="52" name="TextBox 51"/>
          <p:cNvSpPr txBox="1"/>
          <p:nvPr/>
        </p:nvSpPr>
        <p:spPr>
          <a:xfrm>
            <a:off x="947583" y="4492890"/>
            <a:ext cx="1249914" cy="217175"/>
          </a:xfrm>
          <a:prstGeom prst="rect">
            <a:avLst/>
          </a:prstGeom>
          <a:noFill/>
        </p:spPr>
        <p:txBody>
          <a:bodyPr wrap="square" lIns="0" tIns="0" rIns="0" bIns="0" rtlCol="0">
            <a:spAutoFit/>
          </a:bodyPr>
          <a:lstStyle/>
          <a:p>
            <a:pPr marL="0" marR="0" lvl="0" indent="0" algn="ctr" defTabSz="896068"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solidFill>
                  <a:srgbClr val="4F4F4F"/>
                </a:solidFill>
                <a:effectLst/>
                <a:uLnTx/>
                <a:uFillTx/>
                <a:cs typeface="Segoe UI" panose="020B0502040204020203" pitchFamily="34" charset="0"/>
              </a:rPr>
              <a:t>Surface Hub</a:t>
            </a:r>
          </a:p>
        </p:txBody>
      </p:sp>
      <p:grpSp>
        <p:nvGrpSpPr>
          <p:cNvPr id="53" name="Xbox"/>
          <p:cNvGrpSpPr/>
          <p:nvPr/>
        </p:nvGrpSpPr>
        <p:grpSpPr bwMode="ltGray">
          <a:xfrm>
            <a:off x="3051128" y="5028317"/>
            <a:ext cx="1810281" cy="1302398"/>
            <a:chOff x="8610991" y="1992417"/>
            <a:chExt cx="3186889" cy="2292792"/>
          </a:xfrm>
        </p:grpSpPr>
        <p:pic>
          <p:nvPicPr>
            <p:cNvPr id="54" name="Picture 53"/>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bwMode="ltGray">
            <a:xfrm>
              <a:off x="8610991" y="1992417"/>
              <a:ext cx="3186889" cy="1956172"/>
            </a:xfrm>
            <a:prstGeom prst="rect">
              <a:avLst/>
            </a:prstGeom>
          </p:spPr>
        </p:pic>
        <p:pic>
          <p:nvPicPr>
            <p:cNvPr id="55" name="Picture 5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bwMode="ltGray">
            <a:xfrm>
              <a:off x="9566830" y="3952379"/>
              <a:ext cx="1275210" cy="332830"/>
            </a:xfrm>
            <a:prstGeom prst="rect">
              <a:avLst/>
            </a:prstGeom>
          </p:spPr>
        </p:pic>
        <p:pic>
          <p:nvPicPr>
            <p:cNvPr id="56"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ltGray">
            <a:xfrm>
              <a:off x="8656422" y="2030494"/>
              <a:ext cx="3101655" cy="1731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7" name="PPI"/>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bwMode="ltGray">
          <a:xfrm>
            <a:off x="437389" y="4842535"/>
            <a:ext cx="2374429" cy="1448608"/>
          </a:xfrm>
          <a:prstGeom prst="rect">
            <a:avLst/>
          </a:prstGeom>
        </p:spPr>
      </p:pic>
      <p:grpSp>
        <p:nvGrpSpPr>
          <p:cNvPr id="58" name="Group 57"/>
          <p:cNvGrpSpPr/>
          <p:nvPr/>
        </p:nvGrpSpPr>
        <p:grpSpPr>
          <a:xfrm>
            <a:off x="10413983" y="5270562"/>
            <a:ext cx="1094313" cy="620214"/>
            <a:chOff x="87532" y="3622341"/>
            <a:chExt cx="1116863" cy="632995"/>
          </a:xfrm>
        </p:grpSpPr>
        <p:sp>
          <p:nvSpPr>
            <p:cNvPr id="59" name="Rectangle 58"/>
            <p:cNvSpPr/>
            <p:nvPr/>
          </p:nvSpPr>
          <p:spPr bwMode="auto">
            <a:xfrm>
              <a:off x="533400" y="3862390"/>
              <a:ext cx="200025" cy="90488"/>
            </a:xfrm>
            <a:prstGeom prst="rect">
              <a:avLst/>
            </a:prstGeom>
            <a:solidFill>
              <a:srgbClr val="3E84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8" tIns="143351" rIns="179188" bIns="143351" numCol="1" spcCol="0" rtlCol="0" fromWordArt="0" anchor="t" anchorCtr="0" forceAA="0" compatLnSpc="1">
              <a:prstTxWarp prst="textNoShape">
                <a:avLst/>
              </a:prstTxWarp>
              <a:noAutofit/>
            </a:bodyPr>
            <a:lstStyle/>
            <a:p>
              <a:pPr marL="0" marR="0" lvl="0" indent="0" algn="ctr" defTabSz="913634"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60" name="Picture 5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7532" y="3622341"/>
              <a:ext cx="1116863" cy="632995"/>
            </a:xfrm>
            <a:prstGeom prst="rect">
              <a:avLst/>
            </a:prstGeom>
          </p:spPr>
        </p:pic>
      </p:grpSp>
      <p:pic>
        <p:nvPicPr>
          <p:cNvPr id="61" name="Picture 60" descr="141215_B-hero_01.png"/>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7752376" y="5202919"/>
            <a:ext cx="2197632" cy="867225"/>
          </a:xfrm>
          <a:prstGeom prst="rect">
            <a:avLst/>
          </a:prstGeom>
          <a:noFill/>
          <a:ln>
            <a:noFill/>
          </a:ln>
        </p:spPr>
      </p:pic>
      <p:sp>
        <p:nvSpPr>
          <p:cNvPr id="62" name="TextBox 61"/>
          <p:cNvSpPr txBox="1"/>
          <p:nvPr/>
        </p:nvSpPr>
        <p:spPr>
          <a:xfrm>
            <a:off x="8307589" y="4919094"/>
            <a:ext cx="1108471" cy="217175"/>
          </a:xfrm>
          <a:prstGeom prst="rect">
            <a:avLst/>
          </a:prstGeom>
          <a:noFill/>
        </p:spPr>
        <p:txBody>
          <a:bodyPr wrap="square" lIns="0" tIns="0" rIns="0" bIns="0" rtlCol="0">
            <a:spAutoFit/>
          </a:bodyPr>
          <a:lstStyle/>
          <a:p>
            <a:pPr marL="0" marR="0" lvl="0" indent="0" algn="ctr" defTabSz="896068"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solidFill>
                  <a:srgbClr val="4F4F4F"/>
                </a:solidFill>
                <a:effectLst/>
                <a:uLnTx/>
                <a:uFillTx/>
                <a:cs typeface="Segoe UI" panose="020B0502040204020203" pitchFamily="34" charset="0"/>
              </a:rPr>
              <a:t>Holographic</a:t>
            </a:r>
          </a:p>
        </p:txBody>
      </p:sp>
    </p:spTree>
    <p:extLst>
      <p:ext uri="{BB962C8B-B14F-4D97-AF65-F5344CB8AC3E}">
        <p14:creationId xmlns:p14="http://schemas.microsoft.com/office/powerpoint/2010/main" val="79190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42" presetClass="path" presetSubtype="0" decel="100000" fill="hold" nodeType="withEffect">
                                  <p:stCondLst>
                                    <p:cond delay="0"/>
                                  </p:stCondLst>
                                  <p:childTnLst>
                                    <p:animMotion origin="layout" path="M -0.03946 -0.00047 L 4.79167E-6 2.96296E-6 " pathEditMode="relative" rAng="0" ptsTypes="AA">
                                      <p:cBhvr>
                                        <p:cTn id="9" dur="600" fill="hold"/>
                                        <p:tgtEl>
                                          <p:spTgt spid="47"/>
                                        </p:tgtEl>
                                        <p:attrNameLst>
                                          <p:attrName>ppt_x</p:attrName>
                                          <p:attrName>ppt_y</p:attrName>
                                        </p:attrNameLst>
                                      </p:cBhvr>
                                      <p:rCtr x="1966" y="23"/>
                                    </p:animMotion>
                                  </p:childTnLst>
                                </p:cTn>
                              </p:par>
                              <p:par>
                                <p:cTn id="10" presetID="10" presetClass="entr" presetSubtype="0" fill="hold" grpId="0" nodeType="with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ntr" presetSubtype="0" fill="hold" nodeType="withEffect">
                                  <p:stCondLst>
                                    <p:cond delay="10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500"/>
                                        <p:tgtEl>
                                          <p:spTgt spid="46"/>
                                        </p:tgtEl>
                                      </p:cBhvr>
                                    </p:animEffect>
                                  </p:childTnLst>
                                </p:cTn>
                              </p:par>
                              <p:par>
                                <p:cTn id="16" presetID="42" presetClass="path" presetSubtype="0" decel="100000" fill="hold" nodeType="withEffect">
                                  <p:stCondLst>
                                    <p:cond delay="100"/>
                                  </p:stCondLst>
                                  <p:childTnLst>
                                    <p:animMotion origin="layout" path="M -0.03945 -0.00047 L -2.91667E-6 2.96296E-6 " pathEditMode="relative" rAng="0" ptsTypes="AA">
                                      <p:cBhvr>
                                        <p:cTn id="17" dur="600" fill="hold"/>
                                        <p:tgtEl>
                                          <p:spTgt spid="46"/>
                                        </p:tgtEl>
                                        <p:attrNameLst>
                                          <p:attrName>ppt_x</p:attrName>
                                          <p:attrName>ppt_y</p:attrName>
                                        </p:attrNameLst>
                                      </p:cBhvr>
                                      <p:rCtr x="1966" y="23"/>
                                    </p:animMotion>
                                  </p:childTnLst>
                                </p:cTn>
                              </p:par>
                              <p:par>
                                <p:cTn id="18" presetID="10" presetClass="entr" presetSubtype="0" fill="hold" grpId="0" nodeType="withEffect">
                                  <p:stCondLst>
                                    <p:cond delay="100"/>
                                  </p:stCondLst>
                                  <p:childTnLst>
                                    <p:set>
                                      <p:cBhvr>
                                        <p:cTn id="19" dur="1" fill="hold">
                                          <p:stCondLst>
                                            <p:cond delay="0"/>
                                          </p:stCondLst>
                                        </p:cTn>
                                        <p:tgtEl>
                                          <p:spTgt spid="40"/>
                                        </p:tgtEl>
                                        <p:attrNameLst>
                                          <p:attrName>style.visibility</p:attrName>
                                        </p:attrNameLst>
                                      </p:cBhvr>
                                      <p:to>
                                        <p:strVal val="visible"/>
                                      </p:to>
                                    </p:set>
                                    <p:animEffect transition="in" filter="fade">
                                      <p:cBhvr>
                                        <p:cTn id="20" dur="500"/>
                                        <p:tgtEl>
                                          <p:spTgt spid="40"/>
                                        </p:tgtEl>
                                      </p:cBhvr>
                                    </p:animEffect>
                                  </p:childTnLst>
                                </p:cTn>
                              </p:par>
                              <p:par>
                                <p:cTn id="21" presetID="10" presetClass="entr" presetSubtype="0" fill="hold" nodeType="withEffect">
                                  <p:stCondLst>
                                    <p:cond delay="20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par>
                                <p:cTn id="24" presetID="42" presetClass="path" presetSubtype="0" decel="100000" fill="hold" nodeType="withEffect">
                                  <p:stCondLst>
                                    <p:cond delay="200"/>
                                  </p:stCondLst>
                                  <p:childTnLst>
                                    <p:animMotion origin="layout" path="M -0.03946 -0.00046 L 4.58333E-6 -2.96296E-6 " pathEditMode="relative" rAng="0" ptsTypes="AA">
                                      <p:cBhvr>
                                        <p:cTn id="25" dur="600" fill="hold"/>
                                        <p:tgtEl>
                                          <p:spTgt spid="48"/>
                                        </p:tgtEl>
                                        <p:attrNameLst>
                                          <p:attrName>ppt_x</p:attrName>
                                          <p:attrName>ppt_y</p:attrName>
                                        </p:attrNameLst>
                                      </p:cBhvr>
                                      <p:rCtr x="1966" y="23"/>
                                    </p:animMotion>
                                  </p:childTnLst>
                                </p:cTn>
                              </p:par>
                              <p:par>
                                <p:cTn id="26" presetID="10" presetClass="entr" presetSubtype="0" fill="hold" grpId="0" nodeType="withEffect">
                                  <p:stCondLst>
                                    <p:cond delay="20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par>
                                <p:cTn id="29" presetID="10" presetClass="entr" presetSubtype="0" fill="hold" nodeType="withEffect">
                                  <p:stCondLst>
                                    <p:cond delay="40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42" presetClass="path" presetSubtype="0" decel="100000" fill="hold" nodeType="withEffect">
                                  <p:stCondLst>
                                    <p:cond delay="400"/>
                                  </p:stCondLst>
                                  <p:childTnLst>
                                    <p:animMotion origin="layout" path="M -0.03945 -0.00046 L -4.375E-6 -3.33333E-6 " pathEditMode="relative" rAng="0" ptsTypes="AA">
                                      <p:cBhvr>
                                        <p:cTn id="33" dur="600" fill="hold"/>
                                        <p:tgtEl>
                                          <p:spTgt spid="45"/>
                                        </p:tgtEl>
                                        <p:attrNameLst>
                                          <p:attrName>ppt_x</p:attrName>
                                          <p:attrName>ppt_y</p:attrName>
                                        </p:attrNameLst>
                                      </p:cBhvr>
                                      <p:rCtr x="1966" y="23"/>
                                    </p:animMotion>
                                  </p:childTnLst>
                                </p:cTn>
                              </p:par>
                              <p:par>
                                <p:cTn id="34" presetID="10" presetClass="entr" presetSubtype="0" fill="hold" grpId="0" nodeType="withEffect">
                                  <p:stCondLst>
                                    <p:cond delay="400"/>
                                  </p:stCondLst>
                                  <p:childTnLst>
                                    <p:set>
                                      <p:cBhvr>
                                        <p:cTn id="35" dur="1" fill="hold">
                                          <p:stCondLst>
                                            <p:cond delay="0"/>
                                          </p:stCondLst>
                                        </p:cTn>
                                        <p:tgtEl>
                                          <p:spTgt spid="41"/>
                                        </p:tgtEl>
                                        <p:attrNameLst>
                                          <p:attrName>style.visibility</p:attrName>
                                        </p:attrNameLst>
                                      </p:cBhvr>
                                      <p:to>
                                        <p:strVal val="visible"/>
                                      </p:to>
                                    </p:set>
                                    <p:animEffect transition="in" filter="fade">
                                      <p:cBhvr>
                                        <p:cTn id="36" dur="500"/>
                                        <p:tgtEl>
                                          <p:spTgt spid="41"/>
                                        </p:tgtEl>
                                      </p:cBhvr>
                                    </p:animEffect>
                                  </p:childTnLst>
                                </p:cTn>
                              </p:par>
                              <p:par>
                                <p:cTn id="37" presetID="10" presetClass="entr" presetSubtype="0" fill="hold" nodeType="withEffect">
                                  <p:stCondLst>
                                    <p:cond delay="500"/>
                                  </p:stCondLst>
                                  <p:childTnLst>
                                    <p:set>
                                      <p:cBhvr>
                                        <p:cTn id="38" dur="1" fill="hold">
                                          <p:stCondLst>
                                            <p:cond delay="0"/>
                                          </p:stCondLst>
                                        </p:cTn>
                                        <p:tgtEl>
                                          <p:spTgt spid="43"/>
                                        </p:tgtEl>
                                        <p:attrNameLst>
                                          <p:attrName>style.visibility</p:attrName>
                                        </p:attrNameLst>
                                      </p:cBhvr>
                                      <p:to>
                                        <p:strVal val="visible"/>
                                      </p:to>
                                    </p:set>
                                    <p:animEffect transition="in" filter="fade">
                                      <p:cBhvr>
                                        <p:cTn id="39" dur="500"/>
                                        <p:tgtEl>
                                          <p:spTgt spid="43"/>
                                        </p:tgtEl>
                                      </p:cBhvr>
                                    </p:animEffect>
                                  </p:childTnLst>
                                </p:cTn>
                              </p:par>
                              <p:par>
                                <p:cTn id="40" presetID="42" presetClass="path" presetSubtype="0" decel="100000" fill="hold" nodeType="withEffect">
                                  <p:stCondLst>
                                    <p:cond delay="500"/>
                                  </p:stCondLst>
                                  <p:childTnLst>
                                    <p:animMotion origin="layout" path="M -0.03945 -0.00047 L -3.95833E-6 3.33333E-6 " pathEditMode="relative" rAng="0" ptsTypes="AA">
                                      <p:cBhvr>
                                        <p:cTn id="41" dur="600" fill="hold"/>
                                        <p:tgtEl>
                                          <p:spTgt spid="43"/>
                                        </p:tgtEl>
                                        <p:attrNameLst>
                                          <p:attrName>ppt_x</p:attrName>
                                          <p:attrName>ppt_y</p:attrName>
                                        </p:attrNameLst>
                                      </p:cBhvr>
                                      <p:rCtr x="1966" y="23"/>
                                    </p:animMotion>
                                  </p:childTnLst>
                                </p:cTn>
                              </p:par>
                              <p:par>
                                <p:cTn id="42" presetID="10" presetClass="entr" presetSubtype="0" fill="hold" grpId="0" nodeType="withEffect">
                                  <p:stCondLst>
                                    <p:cond delay="500"/>
                                  </p:stCondLst>
                                  <p:childTnLst>
                                    <p:set>
                                      <p:cBhvr>
                                        <p:cTn id="43" dur="1" fill="hold">
                                          <p:stCondLst>
                                            <p:cond delay="0"/>
                                          </p:stCondLst>
                                        </p:cTn>
                                        <p:tgtEl>
                                          <p:spTgt spid="38"/>
                                        </p:tgtEl>
                                        <p:attrNameLst>
                                          <p:attrName>style.visibility</p:attrName>
                                        </p:attrNameLst>
                                      </p:cBhvr>
                                      <p:to>
                                        <p:strVal val="visible"/>
                                      </p:to>
                                    </p:set>
                                    <p:animEffect transition="in" filter="fade">
                                      <p:cBhvr>
                                        <p:cTn id="44" dur="500"/>
                                        <p:tgtEl>
                                          <p:spTgt spid="38"/>
                                        </p:tgtEl>
                                      </p:cBhvr>
                                    </p:animEffect>
                                  </p:childTnLst>
                                </p:cTn>
                              </p:par>
                              <p:par>
                                <p:cTn id="45" presetID="10" presetClass="entr" presetSubtype="0" fill="hold" nodeType="withEffect">
                                  <p:stCondLst>
                                    <p:cond delay="600"/>
                                  </p:stCondLst>
                                  <p:childTnLst>
                                    <p:set>
                                      <p:cBhvr>
                                        <p:cTn id="46" dur="1" fill="hold">
                                          <p:stCondLst>
                                            <p:cond delay="0"/>
                                          </p:stCondLst>
                                        </p:cTn>
                                        <p:tgtEl>
                                          <p:spTgt spid="49"/>
                                        </p:tgtEl>
                                        <p:attrNameLst>
                                          <p:attrName>style.visibility</p:attrName>
                                        </p:attrNameLst>
                                      </p:cBhvr>
                                      <p:to>
                                        <p:strVal val="visible"/>
                                      </p:to>
                                    </p:set>
                                    <p:animEffect transition="in" filter="fade">
                                      <p:cBhvr>
                                        <p:cTn id="47" dur="500"/>
                                        <p:tgtEl>
                                          <p:spTgt spid="49"/>
                                        </p:tgtEl>
                                      </p:cBhvr>
                                    </p:animEffect>
                                  </p:childTnLst>
                                </p:cTn>
                              </p:par>
                              <p:par>
                                <p:cTn id="48" presetID="42" presetClass="path" presetSubtype="0" decel="100000" fill="hold" nodeType="withEffect">
                                  <p:stCondLst>
                                    <p:cond delay="600"/>
                                  </p:stCondLst>
                                  <p:childTnLst>
                                    <p:animMotion origin="layout" path="M -0.03945 -0.00046 L -4.58333E-6 5.55112E-17 " pathEditMode="relative" rAng="0" ptsTypes="AA">
                                      <p:cBhvr>
                                        <p:cTn id="49" dur="600" fill="hold"/>
                                        <p:tgtEl>
                                          <p:spTgt spid="49"/>
                                        </p:tgtEl>
                                        <p:attrNameLst>
                                          <p:attrName>ppt_x</p:attrName>
                                          <p:attrName>ppt_y</p:attrName>
                                        </p:attrNameLst>
                                      </p:cBhvr>
                                      <p:rCtr x="1966" y="23"/>
                                    </p:animMotion>
                                  </p:childTnLst>
                                </p:cTn>
                              </p:par>
                              <p:par>
                                <p:cTn id="50" presetID="10" presetClass="entr" presetSubtype="0" fill="hold" grpId="0" nodeType="withEffect">
                                  <p:stCondLst>
                                    <p:cond delay="600"/>
                                  </p:stCondLst>
                                  <p:childTnLst>
                                    <p:set>
                                      <p:cBhvr>
                                        <p:cTn id="51" dur="1" fill="hold">
                                          <p:stCondLst>
                                            <p:cond delay="0"/>
                                          </p:stCondLst>
                                        </p:cTn>
                                        <p:tgtEl>
                                          <p:spTgt spid="42"/>
                                        </p:tgtEl>
                                        <p:attrNameLst>
                                          <p:attrName>style.visibility</p:attrName>
                                        </p:attrNameLst>
                                      </p:cBhvr>
                                      <p:to>
                                        <p:strVal val="visible"/>
                                      </p:to>
                                    </p:set>
                                    <p:animEffect transition="in" filter="fade">
                                      <p:cBhvr>
                                        <p:cTn id="52" dur="500"/>
                                        <p:tgtEl>
                                          <p:spTgt spid="42"/>
                                        </p:tgtEl>
                                      </p:cBhvr>
                                    </p:animEffect>
                                  </p:childTnLst>
                                </p:cTn>
                              </p:par>
                              <p:par>
                                <p:cTn id="53" presetID="10" presetClass="entr" presetSubtype="0" fill="hold" nodeType="withEffect">
                                  <p:stCondLst>
                                    <p:cond delay="700"/>
                                  </p:stCondLst>
                                  <p:childTnLst>
                                    <p:set>
                                      <p:cBhvr>
                                        <p:cTn id="54" dur="1" fill="hold">
                                          <p:stCondLst>
                                            <p:cond delay="0"/>
                                          </p:stCondLst>
                                        </p:cTn>
                                        <p:tgtEl>
                                          <p:spTgt spid="44"/>
                                        </p:tgtEl>
                                        <p:attrNameLst>
                                          <p:attrName>style.visibility</p:attrName>
                                        </p:attrNameLst>
                                      </p:cBhvr>
                                      <p:to>
                                        <p:strVal val="visible"/>
                                      </p:to>
                                    </p:set>
                                    <p:animEffect transition="in" filter="fade">
                                      <p:cBhvr>
                                        <p:cTn id="55" dur="500"/>
                                        <p:tgtEl>
                                          <p:spTgt spid="44"/>
                                        </p:tgtEl>
                                      </p:cBhvr>
                                    </p:animEffect>
                                  </p:childTnLst>
                                </p:cTn>
                              </p:par>
                              <p:par>
                                <p:cTn id="56" presetID="42" presetClass="path" presetSubtype="0" decel="100000" fill="hold" nodeType="withEffect">
                                  <p:stCondLst>
                                    <p:cond delay="700"/>
                                  </p:stCondLst>
                                  <p:childTnLst>
                                    <p:animMotion origin="layout" path="M -0.03945 -0.00046 L -4.79167E-6 1.11111E-6 " pathEditMode="relative" rAng="0" ptsTypes="AA">
                                      <p:cBhvr>
                                        <p:cTn id="57" dur="600" fill="hold"/>
                                        <p:tgtEl>
                                          <p:spTgt spid="44"/>
                                        </p:tgtEl>
                                        <p:attrNameLst>
                                          <p:attrName>ppt_x</p:attrName>
                                          <p:attrName>ppt_y</p:attrName>
                                        </p:attrNameLst>
                                      </p:cBhvr>
                                      <p:rCtr x="1966" y="23"/>
                                    </p:animMotion>
                                  </p:childTnLst>
                                </p:cTn>
                              </p:par>
                              <p:par>
                                <p:cTn id="58" presetID="10" presetClass="entr" presetSubtype="0" fill="hold" grpId="0" nodeType="withEffect">
                                  <p:stCondLst>
                                    <p:cond delay="70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500"/>
                                        <p:tgtEl>
                                          <p:spTgt spid="39"/>
                                        </p:tgtEl>
                                      </p:cBhvr>
                                    </p:animEffect>
                                  </p:childTnLst>
                                </p:cTn>
                              </p:par>
                              <p:par>
                                <p:cTn id="61" presetID="10" presetClass="entr" presetSubtype="0" fill="hold" nodeType="withEffect">
                                  <p:stCondLst>
                                    <p:cond delay="700"/>
                                  </p:stCondLst>
                                  <p:childTnLst>
                                    <p:set>
                                      <p:cBhvr>
                                        <p:cTn id="62" dur="1" fill="hold">
                                          <p:stCondLst>
                                            <p:cond delay="0"/>
                                          </p:stCondLst>
                                        </p:cTn>
                                        <p:tgtEl>
                                          <p:spTgt spid="57"/>
                                        </p:tgtEl>
                                        <p:attrNameLst>
                                          <p:attrName>style.visibility</p:attrName>
                                        </p:attrNameLst>
                                      </p:cBhvr>
                                      <p:to>
                                        <p:strVal val="visible"/>
                                      </p:to>
                                    </p:set>
                                    <p:animEffect transition="in" filter="fade">
                                      <p:cBhvr>
                                        <p:cTn id="63" dur="500"/>
                                        <p:tgtEl>
                                          <p:spTgt spid="57"/>
                                        </p:tgtEl>
                                      </p:cBhvr>
                                    </p:animEffect>
                                  </p:childTnLst>
                                </p:cTn>
                              </p:par>
                              <p:par>
                                <p:cTn id="64" presetID="42" presetClass="path" presetSubtype="0" decel="30000" fill="hold" nodeType="withEffect">
                                  <p:stCondLst>
                                    <p:cond delay="500"/>
                                  </p:stCondLst>
                                  <p:childTnLst>
                                    <p:animMotion origin="layout" path="M -0.04909 0.00023 L 4.16667E-6 3.7037E-7 " pathEditMode="relative" rAng="0" ptsTypes="AA">
                                      <p:cBhvr>
                                        <p:cTn id="65" dur="600" fill="hold"/>
                                        <p:tgtEl>
                                          <p:spTgt spid="57"/>
                                        </p:tgtEl>
                                        <p:attrNameLst>
                                          <p:attrName>ppt_x</p:attrName>
                                          <p:attrName>ppt_y</p:attrName>
                                        </p:attrNameLst>
                                      </p:cBhvr>
                                      <p:rCtr x="2448" y="-23"/>
                                    </p:animMotion>
                                  </p:childTnLst>
                                </p:cTn>
                              </p:par>
                              <p:par>
                                <p:cTn id="66" presetID="10" presetClass="entr" presetSubtype="0" fill="hold" grpId="0" nodeType="withEffect">
                                  <p:stCondLst>
                                    <p:cond delay="700"/>
                                  </p:stCondLst>
                                  <p:childTnLst>
                                    <p:set>
                                      <p:cBhvr>
                                        <p:cTn id="67" dur="1" fill="hold">
                                          <p:stCondLst>
                                            <p:cond delay="0"/>
                                          </p:stCondLst>
                                        </p:cTn>
                                        <p:tgtEl>
                                          <p:spTgt spid="52"/>
                                        </p:tgtEl>
                                        <p:attrNameLst>
                                          <p:attrName>style.visibility</p:attrName>
                                        </p:attrNameLst>
                                      </p:cBhvr>
                                      <p:to>
                                        <p:strVal val="visible"/>
                                      </p:to>
                                    </p:set>
                                    <p:animEffect transition="in" filter="fade">
                                      <p:cBhvr>
                                        <p:cTn id="68" dur="500"/>
                                        <p:tgtEl>
                                          <p:spTgt spid="52"/>
                                        </p:tgtEl>
                                      </p:cBhvr>
                                    </p:animEffect>
                                  </p:childTnLst>
                                </p:cTn>
                              </p:par>
                              <p:par>
                                <p:cTn id="69" presetID="10" presetClass="entr" presetSubtype="0" fill="hold" nodeType="withEffect">
                                  <p:stCondLst>
                                    <p:cond delay="700"/>
                                  </p:stCondLst>
                                  <p:childTnLst>
                                    <p:set>
                                      <p:cBhvr>
                                        <p:cTn id="70" dur="1" fill="hold">
                                          <p:stCondLst>
                                            <p:cond delay="0"/>
                                          </p:stCondLst>
                                        </p:cTn>
                                        <p:tgtEl>
                                          <p:spTgt spid="53"/>
                                        </p:tgtEl>
                                        <p:attrNameLst>
                                          <p:attrName>style.visibility</p:attrName>
                                        </p:attrNameLst>
                                      </p:cBhvr>
                                      <p:to>
                                        <p:strVal val="visible"/>
                                      </p:to>
                                    </p:set>
                                    <p:animEffect transition="in" filter="fade">
                                      <p:cBhvr>
                                        <p:cTn id="71" dur="500"/>
                                        <p:tgtEl>
                                          <p:spTgt spid="53"/>
                                        </p:tgtEl>
                                      </p:cBhvr>
                                    </p:animEffect>
                                  </p:childTnLst>
                                </p:cTn>
                              </p:par>
                              <p:par>
                                <p:cTn id="72" presetID="42" presetClass="path" presetSubtype="0" decel="100000" fill="hold" nodeType="withEffect">
                                  <p:stCondLst>
                                    <p:cond delay="700"/>
                                  </p:stCondLst>
                                  <p:childTnLst>
                                    <p:animMotion origin="layout" path="M -0.03946 -0.00023 L 2.5E-6 -2.59259E-6 " pathEditMode="relative" rAng="0" ptsTypes="AA">
                                      <p:cBhvr>
                                        <p:cTn id="73" dur="600" fill="hold"/>
                                        <p:tgtEl>
                                          <p:spTgt spid="53"/>
                                        </p:tgtEl>
                                        <p:attrNameLst>
                                          <p:attrName>ppt_x</p:attrName>
                                          <p:attrName>ppt_y</p:attrName>
                                        </p:attrNameLst>
                                      </p:cBhvr>
                                      <p:rCtr x="1966" y="0"/>
                                    </p:animMotion>
                                  </p:childTnLst>
                                </p:cTn>
                              </p:par>
                              <p:par>
                                <p:cTn id="74" presetID="10" presetClass="entr" presetSubtype="0" fill="hold" grpId="0" nodeType="withEffect">
                                  <p:stCondLst>
                                    <p:cond delay="700"/>
                                  </p:stCondLst>
                                  <p:childTnLst>
                                    <p:set>
                                      <p:cBhvr>
                                        <p:cTn id="75" dur="1" fill="hold">
                                          <p:stCondLst>
                                            <p:cond delay="0"/>
                                          </p:stCondLst>
                                        </p:cTn>
                                        <p:tgtEl>
                                          <p:spTgt spid="50"/>
                                        </p:tgtEl>
                                        <p:attrNameLst>
                                          <p:attrName>style.visibility</p:attrName>
                                        </p:attrNameLst>
                                      </p:cBhvr>
                                      <p:to>
                                        <p:strVal val="visible"/>
                                      </p:to>
                                    </p:set>
                                    <p:animEffect transition="in" filter="fade">
                                      <p:cBhvr>
                                        <p:cTn id="76" dur="500"/>
                                        <p:tgtEl>
                                          <p:spTgt spid="50"/>
                                        </p:tgtEl>
                                      </p:cBhvr>
                                    </p:animEffect>
                                  </p:childTnLst>
                                </p:cTn>
                              </p:par>
                              <p:par>
                                <p:cTn id="77" presetID="10" presetClass="entr" presetSubtype="0" fill="hold" grpId="0" nodeType="withEffect">
                                  <p:stCondLst>
                                    <p:cond delay="700"/>
                                  </p:stCondLst>
                                  <p:childTnLst>
                                    <p:set>
                                      <p:cBhvr>
                                        <p:cTn id="78" dur="1" fill="hold">
                                          <p:stCondLst>
                                            <p:cond delay="0"/>
                                          </p:stCondLst>
                                        </p:cTn>
                                        <p:tgtEl>
                                          <p:spTgt spid="62"/>
                                        </p:tgtEl>
                                        <p:attrNameLst>
                                          <p:attrName>style.visibility</p:attrName>
                                        </p:attrNameLst>
                                      </p:cBhvr>
                                      <p:to>
                                        <p:strVal val="visible"/>
                                      </p:to>
                                    </p:set>
                                    <p:animEffect transition="in" filter="fade">
                                      <p:cBhvr>
                                        <p:cTn id="79" dur="500"/>
                                        <p:tgtEl>
                                          <p:spTgt spid="62"/>
                                        </p:tgtEl>
                                      </p:cBhvr>
                                    </p:animEffect>
                                  </p:childTnLst>
                                </p:cTn>
                              </p:par>
                              <p:par>
                                <p:cTn id="80" presetID="10" presetClass="entr" presetSubtype="0" fill="hold" nodeType="withEffect">
                                  <p:stCondLst>
                                    <p:cond delay="700"/>
                                  </p:stCondLst>
                                  <p:childTnLst>
                                    <p:set>
                                      <p:cBhvr>
                                        <p:cTn id="81" dur="1" fill="hold">
                                          <p:stCondLst>
                                            <p:cond delay="0"/>
                                          </p:stCondLst>
                                        </p:cTn>
                                        <p:tgtEl>
                                          <p:spTgt spid="58"/>
                                        </p:tgtEl>
                                        <p:attrNameLst>
                                          <p:attrName>style.visibility</p:attrName>
                                        </p:attrNameLst>
                                      </p:cBhvr>
                                      <p:to>
                                        <p:strVal val="visible"/>
                                      </p:to>
                                    </p:set>
                                    <p:animEffect transition="in" filter="fade">
                                      <p:cBhvr>
                                        <p:cTn id="82" dur="500"/>
                                        <p:tgtEl>
                                          <p:spTgt spid="58"/>
                                        </p:tgtEl>
                                      </p:cBhvr>
                                    </p:animEffect>
                                  </p:childTnLst>
                                </p:cTn>
                              </p:par>
                              <p:par>
                                <p:cTn id="83" presetID="42" presetClass="path" presetSubtype="0" decel="100000" fill="hold" nodeType="withEffect">
                                  <p:stCondLst>
                                    <p:cond delay="700"/>
                                  </p:stCondLst>
                                  <p:childTnLst>
                                    <p:animMotion origin="layout" path="M -0.03945 -0.00023 L 6.25E-7 2.22222E-6 " pathEditMode="relative" rAng="0" ptsTypes="AA">
                                      <p:cBhvr>
                                        <p:cTn id="84" dur="600" fill="hold"/>
                                        <p:tgtEl>
                                          <p:spTgt spid="58"/>
                                        </p:tgtEl>
                                        <p:attrNameLst>
                                          <p:attrName>ppt_x</p:attrName>
                                          <p:attrName>ppt_y</p:attrName>
                                        </p:attrNameLst>
                                      </p:cBhvr>
                                      <p:rCtr x="1966" y="0"/>
                                    </p:animMotion>
                                  </p:childTnLst>
                                </p:cTn>
                              </p:par>
                              <p:par>
                                <p:cTn id="85" presetID="10" presetClass="entr" presetSubtype="0" fill="hold" grpId="0" nodeType="withEffect">
                                  <p:stCondLst>
                                    <p:cond delay="700"/>
                                  </p:stCondLst>
                                  <p:childTnLst>
                                    <p:set>
                                      <p:cBhvr>
                                        <p:cTn id="86" dur="1" fill="hold">
                                          <p:stCondLst>
                                            <p:cond delay="0"/>
                                          </p:stCondLst>
                                        </p:cTn>
                                        <p:tgtEl>
                                          <p:spTgt spid="51"/>
                                        </p:tgtEl>
                                        <p:attrNameLst>
                                          <p:attrName>style.visibility</p:attrName>
                                        </p:attrNameLst>
                                      </p:cBhvr>
                                      <p:to>
                                        <p:strVal val="visible"/>
                                      </p:to>
                                    </p:set>
                                    <p:animEffect transition="in" filter="fade">
                                      <p:cBhvr>
                                        <p:cTn id="87" dur="500"/>
                                        <p:tgtEl>
                                          <p:spTgt spid="51"/>
                                        </p:tgtEl>
                                      </p:cBhvr>
                                    </p:animEffect>
                                  </p:childTnLst>
                                </p:cTn>
                              </p:par>
                              <p:par>
                                <p:cTn id="88" presetID="10" presetClass="entr" presetSubtype="0" fill="hold" nodeType="withEffect">
                                  <p:stCondLst>
                                    <p:cond delay="700"/>
                                  </p:stCondLst>
                                  <p:childTnLst>
                                    <p:set>
                                      <p:cBhvr>
                                        <p:cTn id="89" dur="1" fill="hold">
                                          <p:stCondLst>
                                            <p:cond delay="0"/>
                                          </p:stCondLst>
                                        </p:cTn>
                                        <p:tgtEl>
                                          <p:spTgt spid="61"/>
                                        </p:tgtEl>
                                        <p:attrNameLst>
                                          <p:attrName>style.visibility</p:attrName>
                                        </p:attrNameLst>
                                      </p:cBhvr>
                                      <p:to>
                                        <p:strVal val="visible"/>
                                      </p:to>
                                    </p:set>
                                    <p:animEffect transition="in" filter="fade">
                                      <p:cBhvr>
                                        <p:cTn id="90" dur="500"/>
                                        <p:tgtEl>
                                          <p:spTgt spid="61"/>
                                        </p:tgtEl>
                                      </p:cBhvr>
                                    </p:animEffect>
                                  </p:childTnLst>
                                </p:cTn>
                              </p:par>
                              <p:par>
                                <p:cTn id="91" presetID="42" presetClass="path" presetSubtype="0" decel="100000" fill="hold" nodeType="withEffect">
                                  <p:stCondLst>
                                    <p:cond delay="700"/>
                                  </p:stCondLst>
                                  <p:childTnLst>
                                    <p:animMotion origin="layout" path="M -0.03946 -0.00023 L 2.5E-6 -2.59259E-6 " pathEditMode="relative" rAng="0" ptsTypes="AA">
                                      <p:cBhvr>
                                        <p:cTn id="92" dur="600" fill="hold"/>
                                        <p:tgtEl>
                                          <p:spTgt spid="61"/>
                                        </p:tgtEl>
                                        <p:attrNameLst>
                                          <p:attrName>ppt_x</p:attrName>
                                          <p:attrName>ppt_y</p:attrName>
                                        </p:attrNameLst>
                                      </p:cBhvr>
                                      <p:rCtr x="19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40" grpId="0"/>
      <p:bldP spid="41" grpId="0"/>
      <p:bldP spid="42" grpId="0"/>
      <p:bldP spid="50" grpId="0"/>
      <p:bldP spid="51" grpId="0"/>
      <p:bldP spid="52" grpId="0"/>
      <p:bldP spid="6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p:txBody>
          <a:bodyPr/>
          <a:lstStyle/>
          <a:p>
            <a:r>
              <a:rPr lang="en-US" dirty="0" smtClean="0"/>
              <a:t>and some pretty cool devices.</a:t>
            </a:r>
            <a:endParaRPr lang="en-US" dirty="0"/>
          </a:p>
        </p:txBody>
      </p:sp>
      <p:pic>
        <p:nvPicPr>
          <p:cNvPr id="28" name="Picture 27"/>
          <p:cNvPicPr>
            <a:picLocks noChangeAspect="1"/>
          </p:cNvPicPr>
          <p:nvPr/>
        </p:nvPicPr>
        <p:blipFill>
          <a:blip r:embed="rId3"/>
          <a:stretch>
            <a:fillRect/>
          </a:stretch>
        </p:blipFill>
        <p:spPr>
          <a:xfrm>
            <a:off x="1821808" y="1712612"/>
            <a:ext cx="8548383" cy="4804375"/>
          </a:xfrm>
          <a:prstGeom prst="rect">
            <a:avLst/>
          </a:prstGeom>
        </p:spPr>
      </p:pic>
    </p:spTree>
    <p:extLst>
      <p:ext uri="{BB962C8B-B14F-4D97-AF65-F5344CB8AC3E}">
        <p14:creationId xmlns:p14="http://schemas.microsoft.com/office/powerpoint/2010/main" val="797899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3200" b="0" i="1" u="none" strike="noStrike" kern="0" cap="none" spc="0" normalizeH="0" baseline="0" noProof="0" dirty="0" smtClean="0">
                <a:ln>
                  <a:noFill/>
                </a:ln>
                <a:solidFill>
                  <a:schemeClr val="tx1"/>
                </a:solidFill>
                <a:effectLst/>
                <a:uLnTx/>
                <a:uFillTx/>
              </a:rPr>
              <a:t>	</a:t>
            </a:r>
            <a:r>
              <a:rPr lang="en-US" sz="3200" i="1" kern="0" dirty="0" smtClean="0">
                <a:solidFill>
                  <a:schemeClr val="tx1"/>
                </a:solidFill>
              </a:rPr>
              <a:t>www.windowsondevices.com</a:t>
            </a:r>
            <a:endParaRPr lang="en-US" sz="3200" i="1" kern="0" dirty="0">
              <a:solidFill>
                <a:schemeClr val="tx1"/>
              </a:solidFill>
            </a:endParaRPr>
          </a:p>
          <a:p>
            <a:pPr defTabSz="932472" fontAlgn="base">
              <a:spcBef>
                <a:spcPct val="0"/>
              </a:spcBef>
              <a:spcAft>
                <a:spcPct val="0"/>
              </a:spcAft>
              <a:defRPr/>
            </a:pPr>
            <a:r>
              <a:rPr lang="en-GB" sz="3200" i="1" kern="0" dirty="0" smtClean="0">
                <a:solidFill>
                  <a:schemeClr val="tx1"/>
                </a:solidFill>
              </a:rPr>
              <a:t>        </a:t>
            </a:r>
            <a:r>
              <a:rPr lang="en-GB" sz="2400" i="1" kern="0" dirty="0" smtClean="0">
                <a:solidFill>
                  <a:schemeClr val="tx1"/>
                </a:solidFill>
              </a:rPr>
              <a:t>https</a:t>
            </a:r>
            <a:r>
              <a:rPr lang="en-GB" sz="2400" i="1" kern="0" dirty="0">
                <a:solidFill>
                  <a:schemeClr val="tx1"/>
                </a:solidFill>
              </a:rPr>
              <a:t>://</a:t>
            </a:r>
            <a:r>
              <a:rPr lang="en-GB" sz="2400" i="1" kern="0" dirty="0" smtClean="0">
                <a:solidFill>
                  <a:schemeClr val="tx1"/>
                </a:solidFill>
              </a:rPr>
              <a:t>microsoft.hackster.io/</a:t>
            </a:r>
            <a:endParaRPr lang="en-GB" sz="3200" i="1" kern="0" dirty="0">
              <a:solidFill>
                <a:schemeClr val="tx1"/>
              </a:solidFill>
            </a:endParaRPr>
          </a:p>
        </p:txBody>
      </p:sp>
      <p:sp>
        <p:nvSpPr>
          <p:cNvPr id="2" name="Title 1"/>
          <p:cNvSpPr>
            <a:spLocks noGrp="1"/>
          </p:cNvSpPr>
          <p:nvPr>
            <p:ph type="title"/>
          </p:nvPr>
        </p:nvSpPr>
        <p:spPr/>
        <p:txBody>
          <a:bodyPr/>
          <a:lstStyle/>
          <a:p>
            <a:r>
              <a:rPr lang="en-US" dirty="0" smtClean="0"/>
              <a:t>250+ Maker projects to try out</a:t>
            </a:r>
            <a:endParaRPr lang="en-US" dirty="0"/>
          </a:p>
        </p:txBody>
      </p:sp>
      <p:pic>
        <p:nvPicPr>
          <p:cNvPr id="4" name="Picture 3"/>
          <p:cNvPicPr>
            <a:picLocks noChangeAspect="1"/>
          </p:cNvPicPr>
          <p:nvPr/>
        </p:nvPicPr>
        <p:blipFill>
          <a:blip r:embed="rId3"/>
          <a:stretch>
            <a:fillRect/>
          </a:stretch>
        </p:blipFill>
        <p:spPr>
          <a:xfrm>
            <a:off x="6248180" y="1765299"/>
            <a:ext cx="5676900" cy="4671809"/>
          </a:xfrm>
          <a:prstGeom prst="rect">
            <a:avLst/>
          </a:prstGeom>
        </p:spPr>
      </p:pic>
    </p:spTree>
    <p:extLst>
      <p:ext uri="{BB962C8B-B14F-4D97-AF65-F5344CB8AC3E}">
        <p14:creationId xmlns:p14="http://schemas.microsoft.com/office/powerpoint/2010/main" val="1756406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Connect the Dots Lab</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Connecting your devices to the cloud</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5" name="Rectangle 4"/>
          <p:cNvSpPr/>
          <p:nvPr/>
        </p:nvSpPr>
        <p:spPr>
          <a:xfrm>
            <a:off x="2404382" y="6067475"/>
            <a:ext cx="1473480" cy="3693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lumMod val="85000"/>
                  </a:srgbClr>
                </a:solidFill>
                <a:effectLst/>
                <a:uLnTx/>
                <a:uFillTx/>
              </a:rPr>
              <a:t>@</a:t>
            </a:r>
            <a:r>
              <a:rPr kumimoji="0" lang="en-GB" sz="1800" b="0" i="0" u="none" strike="noStrike" kern="0" cap="none" spc="0" normalizeH="0" baseline="0" noProof="0" dirty="0" err="1">
                <a:ln>
                  <a:noFill/>
                </a:ln>
                <a:solidFill>
                  <a:srgbClr val="FFFFFF">
                    <a:lumMod val="85000"/>
                  </a:srgbClr>
                </a:solidFill>
                <a:effectLst/>
                <a:uLnTx/>
                <a:uFillTx/>
              </a:rPr>
              <a:t>allanSQLIS</a:t>
            </a:r>
            <a:endParaRPr kumimoji="0" lang="en-GB" sz="1800" b="0" i="0" u="none" strike="noStrike" kern="0" cap="none" spc="0" normalizeH="0" baseline="0" noProof="0" dirty="0">
              <a:ln>
                <a:noFill/>
              </a:ln>
              <a:solidFill>
                <a:srgbClr val="FFFFFF">
                  <a:lumMod val="85000"/>
                </a:srgbClr>
              </a:solidFill>
              <a:effectLst/>
              <a:uLnTx/>
              <a:uFillTx/>
            </a:endParaRPr>
          </a:p>
        </p:txBody>
      </p:sp>
    </p:spTree>
    <p:extLst>
      <p:ext uri="{BB962C8B-B14F-4D97-AF65-F5344CB8AC3E}">
        <p14:creationId xmlns:p14="http://schemas.microsoft.com/office/powerpoint/2010/main" val="258373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 Placeholder 4"/>
          <p:cNvSpPr txBox="1">
            <a:spLocks/>
          </p:cNvSpPr>
          <p:nvPr/>
        </p:nvSpPr>
        <p:spPr>
          <a:xfrm>
            <a:off x="274430" y="1581310"/>
            <a:ext cx="11655840" cy="2018835"/>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sz="3600" dirty="0"/>
              <a:t>Show how the cloud and devices work together to provide a complete solution</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sz="3600" dirty="0"/>
              <a:t>Provide a lab that is continually updated as new devices and services are made available</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sz="3600" dirty="0">
                <a:latin typeface="+mj-lt"/>
              </a:rPr>
              <a:t>You can do this lab in the future, on your own, using new or different devices and services.</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sz="3600" dirty="0"/>
              <a:t>Have fun with some cool hardware and the cloud</a:t>
            </a:r>
          </a:p>
        </p:txBody>
      </p:sp>
      <p:grpSp>
        <p:nvGrpSpPr>
          <p:cNvPr id="7" name="Group 6"/>
          <p:cNvGrpSpPr/>
          <p:nvPr/>
        </p:nvGrpSpPr>
        <p:grpSpPr>
          <a:xfrm>
            <a:off x="1588" y="0"/>
            <a:ext cx="12195175" cy="945292"/>
            <a:chOff x="1588" y="0"/>
            <a:chExt cx="12195175" cy="945292"/>
          </a:xfrm>
        </p:grpSpPr>
        <p:sp>
          <p:nvSpPr>
            <p:cNvPr id="8"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Connect the Dots Goal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9" name="Rectangle 8"/>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1" name="Group 10"/>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2"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3"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5"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6"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9"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371064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8295" name="think-cell Slide" r:id="rId9" imgW="270" imgH="270" progId="TCLayout.ActiveDocument.1">
                  <p:embed/>
                </p:oleObj>
              </mc:Choice>
              <mc:Fallback>
                <p:oleObj name="think-cell Slide" r:id="rId9" imgW="270" imgH="270" progId="TCLayout.ActiveDocument.1">
                  <p:embed/>
                  <p:pic>
                    <p:nvPicPr>
                      <p:cNvPr id="3" name="Object 2" hidden="1"/>
                      <p:cNvPicPr/>
                      <p:nvPr/>
                    </p:nvPicPr>
                    <p:blipFill>
                      <a:blip r:embed="rId10"/>
                      <a:stretch>
                        <a:fillRect/>
                      </a:stretch>
                    </p:blipFill>
                    <p:spPr>
                      <a:xfrm>
                        <a:off x="2422" y="2530"/>
                        <a:ext cx="1556" cy="1556"/>
                      </a:xfrm>
                      <a:prstGeom prst="rect">
                        <a:avLst/>
                      </a:prstGeom>
                    </p:spPr>
                  </p:pic>
                </p:oleObj>
              </mc:Fallback>
            </mc:AlternateContent>
          </a:graphicData>
        </a:graphic>
      </p:graphicFrame>
      <p:grpSp>
        <p:nvGrpSpPr>
          <p:cNvPr id="6" name="Group 5"/>
          <p:cNvGrpSpPr/>
          <p:nvPr/>
        </p:nvGrpSpPr>
        <p:grpSpPr>
          <a:xfrm>
            <a:off x="15683074" y="4101462"/>
            <a:ext cx="1180802" cy="0"/>
            <a:chOff x="6952690" y="4310628"/>
            <a:chExt cx="1204651" cy="0"/>
          </a:xfrm>
        </p:grpSpPr>
        <p:cxnSp>
          <p:nvCxnSpPr>
            <p:cNvPr id="116" name="Straight Connector 115"/>
            <p:cNvCxnSpPr/>
            <p:nvPr/>
          </p:nvCxnSpPr>
          <p:spPr>
            <a:xfrm>
              <a:off x="7756878" y="4310628"/>
              <a:ext cx="400463" cy="0"/>
            </a:xfrm>
            <a:prstGeom prst="line">
              <a:avLst/>
            </a:prstGeom>
            <a:noFill/>
            <a:ln w="107950">
              <a:solidFill>
                <a:srgbClr val="DC3C00"/>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3" name="Straight Connector 122"/>
            <p:cNvCxnSpPr/>
            <p:nvPr/>
          </p:nvCxnSpPr>
          <p:spPr>
            <a:xfrm>
              <a:off x="6952690" y="4310628"/>
              <a:ext cx="400463" cy="0"/>
            </a:xfrm>
            <a:prstGeom prst="line">
              <a:avLst/>
            </a:prstGeom>
            <a:noFill/>
            <a:ln w="107950">
              <a:solidFill>
                <a:schemeClr val="accent2"/>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9" name="Group 8"/>
          <p:cNvGrpSpPr/>
          <p:nvPr/>
        </p:nvGrpSpPr>
        <p:grpSpPr>
          <a:xfrm>
            <a:off x="810815" y="1760062"/>
            <a:ext cx="5257552" cy="3663078"/>
            <a:chOff x="788895" y="2212538"/>
            <a:chExt cx="5363738" cy="3737060"/>
          </a:xfrm>
        </p:grpSpPr>
        <p:sp>
          <p:nvSpPr>
            <p:cNvPr id="11" name="Freeform 6"/>
            <p:cNvSpPr>
              <a:spLocks noEditPoints="1"/>
            </p:cNvSpPr>
            <p:nvPr/>
          </p:nvSpPr>
          <p:spPr bwMode="auto">
            <a:xfrm>
              <a:off x="788895" y="2212538"/>
              <a:ext cx="770730" cy="627260"/>
            </a:xfrm>
            <a:custGeom>
              <a:avLst/>
              <a:gdLst>
                <a:gd name="T0" fmla="*/ 291 w 779"/>
                <a:gd name="T1" fmla="*/ 68 h 642"/>
                <a:gd name="T2" fmla="*/ 202 w 779"/>
                <a:gd name="T3" fmla="*/ 145 h 642"/>
                <a:gd name="T4" fmla="*/ 154 w 779"/>
                <a:gd name="T5" fmla="*/ 205 h 642"/>
                <a:gd name="T6" fmla="*/ 116 w 779"/>
                <a:gd name="T7" fmla="*/ 278 h 642"/>
                <a:gd name="T8" fmla="*/ 103 w 779"/>
                <a:gd name="T9" fmla="*/ 340 h 642"/>
                <a:gd name="T10" fmla="*/ 106 w 779"/>
                <a:gd name="T11" fmla="*/ 364 h 642"/>
                <a:gd name="T12" fmla="*/ 123 w 779"/>
                <a:gd name="T13" fmla="*/ 378 h 642"/>
                <a:gd name="T14" fmla="*/ 166 w 779"/>
                <a:gd name="T15" fmla="*/ 373 h 642"/>
                <a:gd name="T16" fmla="*/ 209 w 779"/>
                <a:gd name="T17" fmla="*/ 373 h 642"/>
                <a:gd name="T18" fmla="*/ 252 w 779"/>
                <a:gd name="T19" fmla="*/ 391 h 642"/>
                <a:gd name="T20" fmla="*/ 279 w 779"/>
                <a:gd name="T21" fmla="*/ 417 h 642"/>
                <a:gd name="T22" fmla="*/ 301 w 779"/>
                <a:gd name="T23" fmla="*/ 460 h 642"/>
                <a:gd name="T24" fmla="*/ 305 w 779"/>
                <a:gd name="T25" fmla="*/ 497 h 642"/>
                <a:gd name="T26" fmla="*/ 296 w 779"/>
                <a:gd name="T27" fmla="*/ 553 h 642"/>
                <a:gd name="T28" fmla="*/ 269 w 779"/>
                <a:gd name="T29" fmla="*/ 599 h 642"/>
                <a:gd name="T30" fmla="*/ 239 w 779"/>
                <a:gd name="T31" fmla="*/ 625 h 642"/>
                <a:gd name="T32" fmla="*/ 193 w 779"/>
                <a:gd name="T33" fmla="*/ 640 h 642"/>
                <a:gd name="T34" fmla="*/ 147 w 779"/>
                <a:gd name="T35" fmla="*/ 638 h 642"/>
                <a:gd name="T36" fmla="*/ 83 w 779"/>
                <a:gd name="T37" fmla="*/ 606 h 642"/>
                <a:gd name="T38" fmla="*/ 42 w 779"/>
                <a:gd name="T39" fmla="*/ 564 h 642"/>
                <a:gd name="T40" fmla="*/ 8 w 779"/>
                <a:gd name="T41" fmla="*/ 490 h 642"/>
                <a:gd name="T42" fmla="*/ 0 w 779"/>
                <a:gd name="T43" fmla="*/ 422 h 642"/>
                <a:gd name="T44" fmla="*/ 17 w 779"/>
                <a:gd name="T45" fmla="*/ 308 h 642"/>
                <a:gd name="T46" fmla="*/ 70 w 779"/>
                <a:gd name="T47" fmla="*/ 199 h 642"/>
                <a:gd name="T48" fmla="*/ 158 w 779"/>
                <a:gd name="T49" fmla="*/ 96 h 642"/>
                <a:gd name="T50" fmla="*/ 282 w 779"/>
                <a:gd name="T51" fmla="*/ 0 h 642"/>
                <a:gd name="T52" fmla="*/ 779 w 779"/>
                <a:gd name="T53" fmla="*/ 47 h 642"/>
                <a:gd name="T54" fmla="*/ 683 w 779"/>
                <a:gd name="T55" fmla="*/ 127 h 642"/>
                <a:gd name="T56" fmla="*/ 615 w 779"/>
                <a:gd name="T57" fmla="*/ 205 h 642"/>
                <a:gd name="T58" fmla="*/ 584 w 779"/>
                <a:gd name="T59" fmla="*/ 262 h 642"/>
                <a:gd name="T60" fmla="*/ 565 w 779"/>
                <a:gd name="T61" fmla="*/ 327 h 642"/>
                <a:gd name="T62" fmla="*/ 565 w 779"/>
                <a:gd name="T63" fmla="*/ 358 h 642"/>
                <a:gd name="T64" fmla="*/ 578 w 779"/>
                <a:gd name="T65" fmla="*/ 378 h 642"/>
                <a:gd name="T66" fmla="*/ 600 w 779"/>
                <a:gd name="T67" fmla="*/ 379 h 642"/>
                <a:gd name="T68" fmla="*/ 658 w 779"/>
                <a:gd name="T69" fmla="*/ 373 h 642"/>
                <a:gd name="T70" fmla="*/ 702 w 779"/>
                <a:gd name="T71" fmla="*/ 386 h 642"/>
                <a:gd name="T72" fmla="*/ 731 w 779"/>
                <a:gd name="T73" fmla="*/ 409 h 642"/>
                <a:gd name="T74" fmla="*/ 757 w 779"/>
                <a:gd name="T75" fmla="*/ 449 h 642"/>
                <a:gd name="T76" fmla="*/ 766 w 779"/>
                <a:gd name="T77" fmla="*/ 499 h 642"/>
                <a:gd name="T78" fmla="*/ 761 w 779"/>
                <a:gd name="T79" fmla="*/ 540 h 642"/>
                <a:gd name="T80" fmla="*/ 737 w 779"/>
                <a:gd name="T81" fmla="*/ 588 h 642"/>
                <a:gd name="T82" fmla="*/ 709 w 779"/>
                <a:gd name="T83" fmla="*/ 618 h 642"/>
                <a:gd name="T84" fmla="*/ 665 w 779"/>
                <a:gd name="T85" fmla="*/ 639 h 642"/>
                <a:gd name="T86" fmla="*/ 624 w 779"/>
                <a:gd name="T87" fmla="*/ 640 h 642"/>
                <a:gd name="T88" fmla="*/ 558 w 779"/>
                <a:gd name="T89" fmla="*/ 617 h 642"/>
                <a:gd name="T90" fmla="*/ 514 w 779"/>
                <a:gd name="T91" fmla="*/ 580 h 642"/>
                <a:gd name="T92" fmla="*/ 474 w 779"/>
                <a:gd name="T93" fmla="*/ 510 h 642"/>
                <a:gd name="T94" fmla="*/ 461 w 779"/>
                <a:gd name="T95" fmla="*/ 422 h 642"/>
                <a:gd name="T96" fmla="*/ 470 w 779"/>
                <a:gd name="T97" fmla="*/ 335 h 642"/>
                <a:gd name="T98" fmla="*/ 514 w 779"/>
                <a:gd name="T99" fmla="*/ 226 h 642"/>
                <a:gd name="T100" fmla="*/ 593 w 779"/>
                <a:gd name="T101" fmla="*/ 122 h 642"/>
                <a:gd name="T102" fmla="*/ 707 w 779"/>
                <a:gd name="T103" fmla="*/ 23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79" h="642">
                  <a:moveTo>
                    <a:pt x="282" y="0"/>
                  </a:moveTo>
                  <a:lnTo>
                    <a:pt x="318" y="47"/>
                  </a:lnTo>
                  <a:lnTo>
                    <a:pt x="318" y="47"/>
                  </a:lnTo>
                  <a:lnTo>
                    <a:pt x="291" y="68"/>
                  </a:lnTo>
                  <a:lnTo>
                    <a:pt x="266" y="87"/>
                  </a:lnTo>
                  <a:lnTo>
                    <a:pt x="243" y="106"/>
                  </a:lnTo>
                  <a:lnTo>
                    <a:pt x="222" y="126"/>
                  </a:lnTo>
                  <a:lnTo>
                    <a:pt x="202" y="145"/>
                  </a:lnTo>
                  <a:lnTo>
                    <a:pt x="184" y="166"/>
                  </a:lnTo>
                  <a:lnTo>
                    <a:pt x="169" y="186"/>
                  </a:lnTo>
                  <a:lnTo>
                    <a:pt x="154" y="205"/>
                  </a:lnTo>
                  <a:lnTo>
                    <a:pt x="154" y="205"/>
                  </a:lnTo>
                  <a:lnTo>
                    <a:pt x="143" y="225"/>
                  </a:lnTo>
                  <a:lnTo>
                    <a:pt x="132" y="243"/>
                  </a:lnTo>
                  <a:lnTo>
                    <a:pt x="123" y="261"/>
                  </a:lnTo>
                  <a:lnTo>
                    <a:pt x="116" y="278"/>
                  </a:lnTo>
                  <a:lnTo>
                    <a:pt x="110" y="295"/>
                  </a:lnTo>
                  <a:lnTo>
                    <a:pt x="106" y="310"/>
                  </a:lnTo>
                  <a:lnTo>
                    <a:pt x="104" y="326"/>
                  </a:lnTo>
                  <a:lnTo>
                    <a:pt x="103" y="340"/>
                  </a:lnTo>
                  <a:lnTo>
                    <a:pt x="103" y="340"/>
                  </a:lnTo>
                  <a:lnTo>
                    <a:pt x="103" y="349"/>
                  </a:lnTo>
                  <a:lnTo>
                    <a:pt x="104" y="357"/>
                  </a:lnTo>
                  <a:lnTo>
                    <a:pt x="106" y="364"/>
                  </a:lnTo>
                  <a:lnTo>
                    <a:pt x="109" y="369"/>
                  </a:lnTo>
                  <a:lnTo>
                    <a:pt x="113" y="374"/>
                  </a:lnTo>
                  <a:lnTo>
                    <a:pt x="118" y="377"/>
                  </a:lnTo>
                  <a:lnTo>
                    <a:pt x="123" y="378"/>
                  </a:lnTo>
                  <a:lnTo>
                    <a:pt x="130" y="379"/>
                  </a:lnTo>
                  <a:lnTo>
                    <a:pt x="141" y="378"/>
                  </a:lnTo>
                  <a:lnTo>
                    <a:pt x="141" y="378"/>
                  </a:lnTo>
                  <a:lnTo>
                    <a:pt x="166" y="373"/>
                  </a:lnTo>
                  <a:lnTo>
                    <a:pt x="186" y="371"/>
                  </a:lnTo>
                  <a:lnTo>
                    <a:pt x="186" y="371"/>
                  </a:lnTo>
                  <a:lnTo>
                    <a:pt x="197" y="371"/>
                  </a:lnTo>
                  <a:lnTo>
                    <a:pt x="209" y="373"/>
                  </a:lnTo>
                  <a:lnTo>
                    <a:pt x="221" y="377"/>
                  </a:lnTo>
                  <a:lnTo>
                    <a:pt x="231" y="380"/>
                  </a:lnTo>
                  <a:lnTo>
                    <a:pt x="241" y="386"/>
                  </a:lnTo>
                  <a:lnTo>
                    <a:pt x="252" y="391"/>
                  </a:lnTo>
                  <a:lnTo>
                    <a:pt x="261" y="399"/>
                  </a:lnTo>
                  <a:lnTo>
                    <a:pt x="270" y="408"/>
                  </a:lnTo>
                  <a:lnTo>
                    <a:pt x="270" y="408"/>
                  </a:lnTo>
                  <a:lnTo>
                    <a:pt x="279" y="417"/>
                  </a:lnTo>
                  <a:lnTo>
                    <a:pt x="286" y="427"/>
                  </a:lnTo>
                  <a:lnTo>
                    <a:pt x="292" y="438"/>
                  </a:lnTo>
                  <a:lnTo>
                    <a:pt x="297" y="448"/>
                  </a:lnTo>
                  <a:lnTo>
                    <a:pt x="301" y="460"/>
                  </a:lnTo>
                  <a:lnTo>
                    <a:pt x="304" y="471"/>
                  </a:lnTo>
                  <a:lnTo>
                    <a:pt x="305" y="484"/>
                  </a:lnTo>
                  <a:lnTo>
                    <a:pt x="305" y="497"/>
                  </a:lnTo>
                  <a:lnTo>
                    <a:pt x="305" y="497"/>
                  </a:lnTo>
                  <a:lnTo>
                    <a:pt x="305" y="512"/>
                  </a:lnTo>
                  <a:lnTo>
                    <a:pt x="304" y="526"/>
                  </a:lnTo>
                  <a:lnTo>
                    <a:pt x="300" y="540"/>
                  </a:lnTo>
                  <a:lnTo>
                    <a:pt x="296" y="553"/>
                  </a:lnTo>
                  <a:lnTo>
                    <a:pt x="291" y="565"/>
                  </a:lnTo>
                  <a:lnTo>
                    <a:pt x="284" y="577"/>
                  </a:lnTo>
                  <a:lnTo>
                    <a:pt x="276" y="588"/>
                  </a:lnTo>
                  <a:lnTo>
                    <a:pt x="269" y="599"/>
                  </a:lnTo>
                  <a:lnTo>
                    <a:pt x="269" y="599"/>
                  </a:lnTo>
                  <a:lnTo>
                    <a:pt x="258" y="609"/>
                  </a:lnTo>
                  <a:lnTo>
                    <a:pt x="248" y="618"/>
                  </a:lnTo>
                  <a:lnTo>
                    <a:pt x="239" y="625"/>
                  </a:lnTo>
                  <a:lnTo>
                    <a:pt x="227" y="631"/>
                  </a:lnTo>
                  <a:lnTo>
                    <a:pt x="217" y="635"/>
                  </a:lnTo>
                  <a:lnTo>
                    <a:pt x="205" y="639"/>
                  </a:lnTo>
                  <a:lnTo>
                    <a:pt x="193" y="640"/>
                  </a:lnTo>
                  <a:lnTo>
                    <a:pt x="182" y="642"/>
                  </a:lnTo>
                  <a:lnTo>
                    <a:pt x="182" y="642"/>
                  </a:lnTo>
                  <a:lnTo>
                    <a:pt x="164" y="640"/>
                  </a:lnTo>
                  <a:lnTo>
                    <a:pt x="147" y="638"/>
                  </a:lnTo>
                  <a:lnTo>
                    <a:pt x="130" y="632"/>
                  </a:lnTo>
                  <a:lnTo>
                    <a:pt x="114" y="626"/>
                  </a:lnTo>
                  <a:lnTo>
                    <a:pt x="99" y="617"/>
                  </a:lnTo>
                  <a:lnTo>
                    <a:pt x="83" y="606"/>
                  </a:lnTo>
                  <a:lnTo>
                    <a:pt x="69" y="595"/>
                  </a:lnTo>
                  <a:lnTo>
                    <a:pt x="55" y="580"/>
                  </a:lnTo>
                  <a:lnTo>
                    <a:pt x="55" y="580"/>
                  </a:lnTo>
                  <a:lnTo>
                    <a:pt x="42" y="564"/>
                  </a:lnTo>
                  <a:lnTo>
                    <a:pt x="31" y="547"/>
                  </a:lnTo>
                  <a:lnTo>
                    <a:pt x="21" y="529"/>
                  </a:lnTo>
                  <a:lnTo>
                    <a:pt x="13" y="510"/>
                  </a:lnTo>
                  <a:lnTo>
                    <a:pt x="8" y="490"/>
                  </a:lnTo>
                  <a:lnTo>
                    <a:pt x="3" y="467"/>
                  </a:lnTo>
                  <a:lnTo>
                    <a:pt x="0" y="445"/>
                  </a:lnTo>
                  <a:lnTo>
                    <a:pt x="0" y="422"/>
                  </a:lnTo>
                  <a:lnTo>
                    <a:pt x="0" y="422"/>
                  </a:lnTo>
                  <a:lnTo>
                    <a:pt x="1" y="392"/>
                  </a:lnTo>
                  <a:lnTo>
                    <a:pt x="4" y="364"/>
                  </a:lnTo>
                  <a:lnTo>
                    <a:pt x="9" y="335"/>
                  </a:lnTo>
                  <a:lnTo>
                    <a:pt x="17" y="308"/>
                  </a:lnTo>
                  <a:lnTo>
                    <a:pt x="27" y="279"/>
                  </a:lnTo>
                  <a:lnTo>
                    <a:pt x="39" y="252"/>
                  </a:lnTo>
                  <a:lnTo>
                    <a:pt x="53" y="226"/>
                  </a:lnTo>
                  <a:lnTo>
                    <a:pt x="70" y="199"/>
                  </a:lnTo>
                  <a:lnTo>
                    <a:pt x="90" y="173"/>
                  </a:lnTo>
                  <a:lnTo>
                    <a:pt x="110" y="147"/>
                  </a:lnTo>
                  <a:lnTo>
                    <a:pt x="134" y="122"/>
                  </a:lnTo>
                  <a:lnTo>
                    <a:pt x="158" y="96"/>
                  </a:lnTo>
                  <a:lnTo>
                    <a:pt x="186" y="71"/>
                  </a:lnTo>
                  <a:lnTo>
                    <a:pt x="215" y="48"/>
                  </a:lnTo>
                  <a:lnTo>
                    <a:pt x="248" y="23"/>
                  </a:lnTo>
                  <a:lnTo>
                    <a:pt x="282" y="0"/>
                  </a:lnTo>
                  <a:lnTo>
                    <a:pt x="282" y="0"/>
                  </a:lnTo>
                  <a:close/>
                  <a:moveTo>
                    <a:pt x="741" y="0"/>
                  </a:moveTo>
                  <a:lnTo>
                    <a:pt x="779" y="47"/>
                  </a:lnTo>
                  <a:lnTo>
                    <a:pt x="779" y="47"/>
                  </a:lnTo>
                  <a:lnTo>
                    <a:pt x="752" y="68"/>
                  </a:lnTo>
                  <a:lnTo>
                    <a:pt x="727" y="87"/>
                  </a:lnTo>
                  <a:lnTo>
                    <a:pt x="704" y="106"/>
                  </a:lnTo>
                  <a:lnTo>
                    <a:pt x="683" y="127"/>
                  </a:lnTo>
                  <a:lnTo>
                    <a:pt x="663" y="147"/>
                  </a:lnTo>
                  <a:lnTo>
                    <a:pt x="645" y="166"/>
                  </a:lnTo>
                  <a:lnTo>
                    <a:pt x="630" y="186"/>
                  </a:lnTo>
                  <a:lnTo>
                    <a:pt x="615" y="205"/>
                  </a:lnTo>
                  <a:lnTo>
                    <a:pt x="615" y="205"/>
                  </a:lnTo>
                  <a:lnTo>
                    <a:pt x="604" y="225"/>
                  </a:lnTo>
                  <a:lnTo>
                    <a:pt x="593" y="244"/>
                  </a:lnTo>
                  <a:lnTo>
                    <a:pt x="584" y="262"/>
                  </a:lnTo>
                  <a:lnTo>
                    <a:pt x="576" y="279"/>
                  </a:lnTo>
                  <a:lnTo>
                    <a:pt x="571" y="296"/>
                  </a:lnTo>
                  <a:lnTo>
                    <a:pt x="566" y="312"/>
                  </a:lnTo>
                  <a:lnTo>
                    <a:pt x="565" y="327"/>
                  </a:lnTo>
                  <a:lnTo>
                    <a:pt x="563" y="342"/>
                  </a:lnTo>
                  <a:lnTo>
                    <a:pt x="563" y="342"/>
                  </a:lnTo>
                  <a:lnTo>
                    <a:pt x="563" y="351"/>
                  </a:lnTo>
                  <a:lnTo>
                    <a:pt x="565" y="358"/>
                  </a:lnTo>
                  <a:lnTo>
                    <a:pt x="567" y="365"/>
                  </a:lnTo>
                  <a:lnTo>
                    <a:pt x="570" y="370"/>
                  </a:lnTo>
                  <a:lnTo>
                    <a:pt x="574" y="374"/>
                  </a:lnTo>
                  <a:lnTo>
                    <a:pt x="578" y="378"/>
                  </a:lnTo>
                  <a:lnTo>
                    <a:pt x="583" y="379"/>
                  </a:lnTo>
                  <a:lnTo>
                    <a:pt x="589" y="380"/>
                  </a:lnTo>
                  <a:lnTo>
                    <a:pt x="600" y="379"/>
                  </a:lnTo>
                  <a:lnTo>
                    <a:pt x="600" y="379"/>
                  </a:lnTo>
                  <a:lnTo>
                    <a:pt x="626" y="374"/>
                  </a:lnTo>
                  <a:lnTo>
                    <a:pt x="645" y="373"/>
                  </a:lnTo>
                  <a:lnTo>
                    <a:pt x="645" y="373"/>
                  </a:lnTo>
                  <a:lnTo>
                    <a:pt x="658" y="373"/>
                  </a:lnTo>
                  <a:lnTo>
                    <a:pt x="670" y="374"/>
                  </a:lnTo>
                  <a:lnTo>
                    <a:pt x="680" y="377"/>
                  </a:lnTo>
                  <a:lnTo>
                    <a:pt x="692" y="382"/>
                  </a:lnTo>
                  <a:lnTo>
                    <a:pt x="702" y="386"/>
                  </a:lnTo>
                  <a:lnTo>
                    <a:pt x="713" y="392"/>
                  </a:lnTo>
                  <a:lnTo>
                    <a:pt x="722" y="400"/>
                  </a:lnTo>
                  <a:lnTo>
                    <a:pt x="731" y="409"/>
                  </a:lnTo>
                  <a:lnTo>
                    <a:pt x="731" y="409"/>
                  </a:lnTo>
                  <a:lnTo>
                    <a:pt x="739" y="418"/>
                  </a:lnTo>
                  <a:lnTo>
                    <a:pt x="746" y="427"/>
                  </a:lnTo>
                  <a:lnTo>
                    <a:pt x="753" y="438"/>
                  </a:lnTo>
                  <a:lnTo>
                    <a:pt x="757" y="449"/>
                  </a:lnTo>
                  <a:lnTo>
                    <a:pt x="761" y="461"/>
                  </a:lnTo>
                  <a:lnTo>
                    <a:pt x="765" y="473"/>
                  </a:lnTo>
                  <a:lnTo>
                    <a:pt x="766" y="486"/>
                  </a:lnTo>
                  <a:lnTo>
                    <a:pt x="766" y="499"/>
                  </a:lnTo>
                  <a:lnTo>
                    <a:pt x="766" y="499"/>
                  </a:lnTo>
                  <a:lnTo>
                    <a:pt x="766" y="513"/>
                  </a:lnTo>
                  <a:lnTo>
                    <a:pt x="763" y="527"/>
                  </a:lnTo>
                  <a:lnTo>
                    <a:pt x="761" y="540"/>
                  </a:lnTo>
                  <a:lnTo>
                    <a:pt x="757" y="553"/>
                  </a:lnTo>
                  <a:lnTo>
                    <a:pt x="752" y="565"/>
                  </a:lnTo>
                  <a:lnTo>
                    <a:pt x="745" y="578"/>
                  </a:lnTo>
                  <a:lnTo>
                    <a:pt x="737" y="588"/>
                  </a:lnTo>
                  <a:lnTo>
                    <a:pt x="728" y="600"/>
                  </a:lnTo>
                  <a:lnTo>
                    <a:pt x="728" y="600"/>
                  </a:lnTo>
                  <a:lnTo>
                    <a:pt x="718" y="609"/>
                  </a:lnTo>
                  <a:lnTo>
                    <a:pt x="709" y="618"/>
                  </a:lnTo>
                  <a:lnTo>
                    <a:pt x="698" y="625"/>
                  </a:lnTo>
                  <a:lnTo>
                    <a:pt x="688" y="631"/>
                  </a:lnTo>
                  <a:lnTo>
                    <a:pt x="676" y="635"/>
                  </a:lnTo>
                  <a:lnTo>
                    <a:pt x="665" y="639"/>
                  </a:lnTo>
                  <a:lnTo>
                    <a:pt x="654" y="640"/>
                  </a:lnTo>
                  <a:lnTo>
                    <a:pt x="641" y="642"/>
                  </a:lnTo>
                  <a:lnTo>
                    <a:pt x="641" y="642"/>
                  </a:lnTo>
                  <a:lnTo>
                    <a:pt x="624" y="640"/>
                  </a:lnTo>
                  <a:lnTo>
                    <a:pt x="606" y="638"/>
                  </a:lnTo>
                  <a:lnTo>
                    <a:pt x="589" y="632"/>
                  </a:lnTo>
                  <a:lnTo>
                    <a:pt x="574" y="626"/>
                  </a:lnTo>
                  <a:lnTo>
                    <a:pt x="558" y="617"/>
                  </a:lnTo>
                  <a:lnTo>
                    <a:pt x="543" y="606"/>
                  </a:lnTo>
                  <a:lnTo>
                    <a:pt x="528" y="595"/>
                  </a:lnTo>
                  <a:lnTo>
                    <a:pt x="514" y="580"/>
                  </a:lnTo>
                  <a:lnTo>
                    <a:pt x="514" y="580"/>
                  </a:lnTo>
                  <a:lnTo>
                    <a:pt x="502" y="564"/>
                  </a:lnTo>
                  <a:lnTo>
                    <a:pt x="491" y="547"/>
                  </a:lnTo>
                  <a:lnTo>
                    <a:pt x="482" y="529"/>
                  </a:lnTo>
                  <a:lnTo>
                    <a:pt x="474" y="510"/>
                  </a:lnTo>
                  <a:lnTo>
                    <a:pt x="467" y="490"/>
                  </a:lnTo>
                  <a:lnTo>
                    <a:pt x="463" y="467"/>
                  </a:lnTo>
                  <a:lnTo>
                    <a:pt x="461" y="445"/>
                  </a:lnTo>
                  <a:lnTo>
                    <a:pt x="461" y="422"/>
                  </a:lnTo>
                  <a:lnTo>
                    <a:pt x="461" y="422"/>
                  </a:lnTo>
                  <a:lnTo>
                    <a:pt x="461" y="392"/>
                  </a:lnTo>
                  <a:lnTo>
                    <a:pt x="465" y="364"/>
                  </a:lnTo>
                  <a:lnTo>
                    <a:pt x="470" y="335"/>
                  </a:lnTo>
                  <a:lnTo>
                    <a:pt x="478" y="308"/>
                  </a:lnTo>
                  <a:lnTo>
                    <a:pt x="488" y="279"/>
                  </a:lnTo>
                  <a:lnTo>
                    <a:pt x="500" y="252"/>
                  </a:lnTo>
                  <a:lnTo>
                    <a:pt x="514" y="226"/>
                  </a:lnTo>
                  <a:lnTo>
                    <a:pt x="531" y="199"/>
                  </a:lnTo>
                  <a:lnTo>
                    <a:pt x="549" y="173"/>
                  </a:lnTo>
                  <a:lnTo>
                    <a:pt x="570" y="147"/>
                  </a:lnTo>
                  <a:lnTo>
                    <a:pt x="593" y="122"/>
                  </a:lnTo>
                  <a:lnTo>
                    <a:pt x="618" y="96"/>
                  </a:lnTo>
                  <a:lnTo>
                    <a:pt x="646" y="71"/>
                  </a:lnTo>
                  <a:lnTo>
                    <a:pt x="675" y="48"/>
                  </a:lnTo>
                  <a:lnTo>
                    <a:pt x="707" y="23"/>
                  </a:lnTo>
                  <a:lnTo>
                    <a:pt x="741" y="0"/>
                  </a:lnTo>
                  <a:lnTo>
                    <a:pt x="741" y="0"/>
                  </a:lnTo>
                  <a:close/>
                </a:path>
              </a:pathLst>
            </a:custGeom>
            <a:solidFill>
              <a:schemeClr val="bg1">
                <a:lumMod val="85000"/>
                <a:alpha val="74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 tIns="17924" rIns="17924" bIns="17924" numCol="1" spcCol="0" rtlCol="0" fromWordArt="0" anchor="ctr"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637" b="0" i="0" u="none" strike="noStrike" kern="1200" cap="none" spc="0" normalizeH="0" baseline="0" noProof="0">
                <a:ln>
                  <a:noFill/>
                </a:ln>
                <a:solidFill>
                  <a:prstClr val="white">
                    <a:lumMod val="85000"/>
                  </a:prstClr>
                </a:solidFill>
                <a:effectLst/>
                <a:uLnTx/>
                <a:uFillTx/>
                <a:latin typeface="Segoe UI"/>
                <a:ea typeface="Segoe UI" pitchFamily="34" charset="0"/>
                <a:cs typeface="Segoe UI" pitchFamily="34" charset="0"/>
              </a:endParaRPr>
            </a:p>
          </p:txBody>
        </p:sp>
        <p:sp>
          <p:nvSpPr>
            <p:cNvPr id="12" name="Freeform 7"/>
            <p:cNvSpPr>
              <a:spLocks noEditPoints="1"/>
            </p:cNvSpPr>
            <p:nvPr/>
          </p:nvSpPr>
          <p:spPr bwMode="auto">
            <a:xfrm>
              <a:off x="5193495" y="5328199"/>
              <a:ext cx="770731" cy="621399"/>
            </a:xfrm>
            <a:custGeom>
              <a:avLst/>
              <a:gdLst>
                <a:gd name="T0" fmla="*/ 27 w 779"/>
                <a:gd name="T1" fmla="*/ 566 h 636"/>
                <a:gd name="T2" fmla="*/ 117 w 779"/>
                <a:gd name="T3" fmla="*/ 487 h 636"/>
                <a:gd name="T4" fmla="*/ 164 w 779"/>
                <a:gd name="T5" fmla="*/ 428 h 636"/>
                <a:gd name="T6" fmla="*/ 203 w 779"/>
                <a:gd name="T7" fmla="*/ 356 h 636"/>
                <a:gd name="T8" fmla="*/ 216 w 779"/>
                <a:gd name="T9" fmla="*/ 294 h 636"/>
                <a:gd name="T10" fmla="*/ 213 w 779"/>
                <a:gd name="T11" fmla="*/ 271 h 636"/>
                <a:gd name="T12" fmla="*/ 201 w 779"/>
                <a:gd name="T13" fmla="*/ 258 h 636"/>
                <a:gd name="T14" fmla="*/ 179 w 779"/>
                <a:gd name="T15" fmla="*/ 258 h 636"/>
                <a:gd name="T16" fmla="*/ 122 w 779"/>
                <a:gd name="T17" fmla="*/ 265 h 636"/>
                <a:gd name="T18" fmla="*/ 77 w 779"/>
                <a:gd name="T19" fmla="*/ 250 h 636"/>
                <a:gd name="T20" fmla="*/ 48 w 779"/>
                <a:gd name="T21" fmla="*/ 228 h 636"/>
                <a:gd name="T22" fmla="*/ 22 w 779"/>
                <a:gd name="T23" fmla="*/ 188 h 636"/>
                <a:gd name="T24" fmla="*/ 13 w 779"/>
                <a:gd name="T25" fmla="*/ 140 h 636"/>
                <a:gd name="T26" fmla="*/ 18 w 779"/>
                <a:gd name="T27" fmla="*/ 100 h 636"/>
                <a:gd name="T28" fmla="*/ 42 w 779"/>
                <a:gd name="T29" fmla="*/ 53 h 636"/>
                <a:gd name="T30" fmla="*/ 70 w 779"/>
                <a:gd name="T31" fmla="*/ 23 h 636"/>
                <a:gd name="T32" fmla="*/ 113 w 779"/>
                <a:gd name="T33" fmla="*/ 2 h 636"/>
                <a:gd name="T34" fmla="*/ 155 w 779"/>
                <a:gd name="T35" fmla="*/ 1 h 636"/>
                <a:gd name="T36" fmla="*/ 221 w 779"/>
                <a:gd name="T37" fmla="*/ 24 h 636"/>
                <a:gd name="T38" fmla="*/ 264 w 779"/>
                <a:gd name="T39" fmla="*/ 61 h 636"/>
                <a:gd name="T40" fmla="*/ 305 w 779"/>
                <a:gd name="T41" fmla="*/ 130 h 636"/>
                <a:gd name="T42" fmla="*/ 320 w 779"/>
                <a:gd name="T43" fmla="*/ 217 h 636"/>
                <a:gd name="T44" fmla="*/ 309 w 779"/>
                <a:gd name="T45" fmla="*/ 302 h 636"/>
                <a:gd name="T46" fmla="*/ 265 w 779"/>
                <a:gd name="T47" fmla="*/ 411 h 636"/>
                <a:gd name="T48" fmla="*/ 186 w 779"/>
                <a:gd name="T49" fmla="*/ 515 h 636"/>
                <a:gd name="T50" fmla="*/ 70 w 779"/>
                <a:gd name="T51" fmla="*/ 613 h 636"/>
                <a:gd name="T52" fmla="*/ 461 w 779"/>
                <a:gd name="T53" fmla="*/ 585 h 636"/>
                <a:gd name="T54" fmla="*/ 536 w 779"/>
                <a:gd name="T55" fmla="*/ 527 h 636"/>
                <a:gd name="T56" fmla="*/ 610 w 779"/>
                <a:gd name="T57" fmla="*/ 448 h 636"/>
                <a:gd name="T58" fmla="*/ 647 w 779"/>
                <a:gd name="T59" fmla="*/ 391 h 636"/>
                <a:gd name="T60" fmla="*/ 674 w 779"/>
                <a:gd name="T61" fmla="*/ 324 h 636"/>
                <a:gd name="T62" fmla="*/ 676 w 779"/>
                <a:gd name="T63" fmla="*/ 287 h 636"/>
                <a:gd name="T64" fmla="*/ 670 w 779"/>
                <a:gd name="T65" fmla="*/ 266 h 636"/>
                <a:gd name="T66" fmla="*/ 649 w 779"/>
                <a:gd name="T67" fmla="*/ 257 h 636"/>
                <a:gd name="T68" fmla="*/ 593 w 779"/>
                <a:gd name="T69" fmla="*/ 266 h 636"/>
                <a:gd name="T70" fmla="*/ 558 w 779"/>
                <a:gd name="T71" fmla="*/ 261 h 636"/>
                <a:gd name="T72" fmla="*/ 518 w 779"/>
                <a:gd name="T73" fmla="*/ 239 h 636"/>
                <a:gd name="T74" fmla="*/ 493 w 779"/>
                <a:gd name="T75" fmla="*/ 211 h 636"/>
                <a:gd name="T76" fmla="*/ 475 w 779"/>
                <a:gd name="T77" fmla="*/ 166 h 636"/>
                <a:gd name="T78" fmla="*/ 474 w 779"/>
                <a:gd name="T79" fmla="*/ 127 h 636"/>
                <a:gd name="T80" fmla="*/ 488 w 779"/>
                <a:gd name="T81" fmla="*/ 75 h 636"/>
                <a:gd name="T82" fmla="*/ 512 w 779"/>
                <a:gd name="T83" fmla="*/ 43 h 636"/>
                <a:gd name="T84" fmla="*/ 552 w 779"/>
                <a:gd name="T85" fmla="*/ 10 h 636"/>
                <a:gd name="T86" fmla="*/ 599 w 779"/>
                <a:gd name="T87" fmla="*/ 0 h 636"/>
                <a:gd name="T88" fmla="*/ 649 w 779"/>
                <a:gd name="T89" fmla="*/ 9 h 636"/>
                <a:gd name="T90" fmla="*/ 710 w 779"/>
                <a:gd name="T91" fmla="*/ 46 h 636"/>
                <a:gd name="T92" fmla="*/ 749 w 779"/>
                <a:gd name="T93" fmla="*/ 93 h 636"/>
                <a:gd name="T94" fmla="*/ 776 w 779"/>
                <a:gd name="T95" fmla="*/ 171 h 636"/>
                <a:gd name="T96" fmla="*/ 779 w 779"/>
                <a:gd name="T97" fmla="*/ 245 h 636"/>
                <a:gd name="T98" fmla="*/ 752 w 779"/>
                <a:gd name="T99" fmla="*/ 358 h 636"/>
                <a:gd name="T100" fmla="*/ 691 w 779"/>
                <a:gd name="T101" fmla="*/ 465 h 636"/>
                <a:gd name="T102" fmla="*/ 593 w 779"/>
                <a:gd name="T103" fmla="*/ 565 h 636"/>
                <a:gd name="T104" fmla="*/ 497 w 779"/>
                <a:gd name="T105" fmla="*/ 63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79" h="636">
                  <a:moveTo>
                    <a:pt x="37" y="636"/>
                  </a:moveTo>
                  <a:lnTo>
                    <a:pt x="0" y="585"/>
                  </a:lnTo>
                  <a:lnTo>
                    <a:pt x="0" y="585"/>
                  </a:lnTo>
                  <a:lnTo>
                    <a:pt x="27" y="566"/>
                  </a:lnTo>
                  <a:lnTo>
                    <a:pt x="52" y="546"/>
                  </a:lnTo>
                  <a:lnTo>
                    <a:pt x="75" y="526"/>
                  </a:lnTo>
                  <a:lnTo>
                    <a:pt x="98" y="506"/>
                  </a:lnTo>
                  <a:lnTo>
                    <a:pt x="117" y="487"/>
                  </a:lnTo>
                  <a:lnTo>
                    <a:pt x="134" y="467"/>
                  </a:lnTo>
                  <a:lnTo>
                    <a:pt x="149" y="448"/>
                  </a:lnTo>
                  <a:lnTo>
                    <a:pt x="164" y="428"/>
                  </a:lnTo>
                  <a:lnTo>
                    <a:pt x="164" y="428"/>
                  </a:lnTo>
                  <a:lnTo>
                    <a:pt x="175" y="409"/>
                  </a:lnTo>
                  <a:lnTo>
                    <a:pt x="187" y="391"/>
                  </a:lnTo>
                  <a:lnTo>
                    <a:pt x="196" y="372"/>
                  </a:lnTo>
                  <a:lnTo>
                    <a:pt x="203" y="356"/>
                  </a:lnTo>
                  <a:lnTo>
                    <a:pt x="209" y="339"/>
                  </a:lnTo>
                  <a:lnTo>
                    <a:pt x="213" y="323"/>
                  </a:lnTo>
                  <a:lnTo>
                    <a:pt x="216" y="309"/>
                  </a:lnTo>
                  <a:lnTo>
                    <a:pt x="216" y="294"/>
                  </a:lnTo>
                  <a:lnTo>
                    <a:pt x="216" y="294"/>
                  </a:lnTo>
                  <a:lnTo>
                    <a:pt x="216" y="285"/>
                  </a:lnTo>
                  <a:lnTo>
                    <a:pt x="214" y="278"/>
                  </a:lnTo>
                  <a:lnTo>
                    <a:pt x="213" y="271"/>
                  </a:lnTo>
                  <a:lnTo>
                    <a:pt x="209" y="266"/>
                  </a:lnTo>
                  <a:lnTo>
                    <a:pt x="209" y="266"/>
                  </a:lnTo>
                  <a:lnTo>
                    <a:pt x="207" y="261"/>
                  </a:lnTo>
                  <a:lnTo>
                    <a:pt x="201" y="258"/>
                  </a:lnTo>
                  <a:lnTo>
                    <a:pt x="196" y="257"/>
                  </a:lnTo>
                  <a:lnTo>
                    <a:pt x="190" y="256"/>
                  </a:lnTo>
                  <a:lnTo>
                    <a:pt x="179" y="258"/>
                  </a:lnTo>
                  <a:lnTo>
                    <a:pt x="179" y="258"/>
                  </a:lnTo>
                  <a:lnTo>
                    <a:pt x="153" y="263"/>
                  </a:lnTo>
                  <a:lnTo>
                    <a:pt x="134" y="265"/>
                  </a:lnTo>
                  <a:lnTo>
                    <a:pt x="134" y="265"/>
                  </a:lnTo>
                  <a:lnTo>
                    <a:pt x="122" y="265"/>
                  </a:lnTo>
                  <a:lnTo>
                    <a:pt x="109" y="262"/>
                  </a:lnTo>
                  <a:lnTo>
                    <a:pt x="99" y="259"/>
                  </a:lnTo>
                  <a:lnTo>
                    <a:pt x="87" y="256"/>
                  </a:lnTo>
                  <a:lnTo>
                    <a:pt x="77" y="250"/>
                  </a:lnTo>
                  <a:lnTo>
                    <a:pt x="66" y="244"/>
                  </a:lnTo>
                  <a:lnTo>
                    <a:pt x="57" y="237"/>
                  </a:lnTo>
                  <a:lnTo>
                    <a:pt x="48" y="228"/>
                  </a:lnTo>
                  <a:lnTo>
                    <a:pt x="48" y="228"/>
                  </a:lnTo>
                  <a:lnTo>
                    <a:pt x="40" y="219"/>
                  </a:lnTo>
                  <a:lnTo>
                    <a:pt x="33" y="209"/>
                  </a:lnTo>
                  <a:lnTo>
                    <a:pt x="27" y="198"/>
                  </a:lnTo>
                  <a:lnTo>
                    <a:pt x="22" y="188"/>
                  </a:lnTo>
                  <a:lnTo>
                    <a:pt x="18" y="178"/>
                  </a:lnTo>
                  <a:lnTo>
                    <a:pt x="16" y="165"/>
                  </a:lnTo>
                  <a:lnTo>
                    <a:pt x="13" y="153"/>
                  </a:lnTo>
                  <a:lnTo>
                    <a:pt x="13" y="140"/>
                  </a:lnTo>
                  <a:lnTo>
                    <a:pt x="13" y="140"/>
                  </a:lnTo>
                  <a:lnTo>
                    <a:pt x="13" y="127"/>
                  </a:lnTo>
                  <a:lnTo>
                    <a:pt x="16" y="113"/>
                  </a:lnTo>
                  <a:lnTo>
                    <a:pt x="18" y="100"/>
                  </a:lnTo>
                  <a:lnTo>
                    <a:pt x="22" y="87"/>
                  </a:lnTo>
                  <a:lnTo>
                    <a:pt x="27" y="75"/>
                  </a:lnTo>
                  <a:lnTo>
                    <a:pt x="34" y="63"/>
                  </a:lnTo>
                  <a:lnTo>
                    <a:pt x="42" y="53"/>
                  </a:lnTo>
                  <a:lnTo>
                    <a:pt x="51" y="41"/>
                  </a:lnTo>
                  <a:lnTo>
                    <a:pt x="51" y="41"/>
                  </a:lnTo>
                  <a:lnTo>
                    <a:pt x="60" y="32"/>
                  </a:lnTo>
                  <a:lnTo>
                    <a:pt x="70" y="23"/>
                  </a:lnTo>
                  <a:lnTo>
                    <a:pt x="81" y="17"/>
                  </a:lnTo>
                  <a:lnTo>
                    <a:pt x="91" y="10"/>
                  </a:lnTo>
                  <a:lnTo>
                    <a:pt x="103" y="6"/>
                  </a:lnTo>
                  <a:lnTo>
                    <a:pt x="113" y="2"/>
                  </a:lnTo>
                  <a:lnTo>
                    <a:pt x="125" y="1"/>
                  </a:lnTo>
                  <a:lnTo>
                    <a:pt x="138" y="0"/>
                  </a:lnTo>
                  <a:lnTo>
                    <a:pt x="138" y="0"/>
                  </a:lnTo>
                  <a:lnTo>
                    <a:pt x="155" y="1"/>
                  </a:lnTo>
                  <a:lnTo>
                    <a:pt x="173" y="4"/>
                  </a:lnTo>
                  <a:lnTo>
                    <a:pt x="188" y="9"/>
                  </a:lnTo>
                  <a:lnTo>
                    <a:pt x="205" y="15"/>
                  </a:lnTo>
                  <a:lnTo>
                    <a:pt x="221" y="24"/>
                  </a:lnTo>
                  <a:lnTo>
                    <a:pt x="235" y="35"/>
                  </a:lnTo>
                  <a:lnTo>
                    <a:pt x="251" y="46"/>
                  </a:lnTo>
                  <a:lnTo>
                    <a:pt x="264" y="61"/>
                  </a:lnTo>
                  <a:lnTo>
                    <a:pt x="264" y="61"/>
                  </a:lnTo>
                  <a:lnTo>
                    <a:pt x="277" y="76"/>
                  </a:lnTo>
                  <a:lnTo>
                    <a:pt x="288" y="93"/>
                  </a:lnTo>
                  <a:lnTo>
                    <a:pt x="297" y="111"/>
                  </a:lnTo>
                  <a:lnTo>
                    <a:pt x="305" y="130"/>
                  </a:lnTo>
                  <a:lnTo>
                    <a:pt x="312" y="150"/>
                  </a:lnTo>
                  <a:lnTo>
                    <a:pt x="316" y="171"/>
                  </a:lnTo>
                  <a:lnTo>
                    <a:pt x="318" y="193"/>
                  </a:lnTo>
                  <a:lnTo>
                    <a:pt x="320" y="217"/>
                  </a:lnTo>
                  <a:lnTo>
                    <a:pt x="320" y="217"/>
                  </a:lnTo>
                  <a:lnTo>
                    <a:pt x="318" y="245"/>
                  </a:lnTo>
                  <a:lnTo>
                    <a:pt x="314" y="274"/>
                  </a:lnTo>
                  <a:lnTo>
                    <a:pt x="309" y="302"/>
                  </a:lnTo>
                  <a:lnTo>
                    <a:pt x="301" y="331"/>
                  </a:lnTo>
                  <a:lnTo>
                    <a:pt x="291" y="358"/>
                  </a:lnTo>
                  <a:lnTo>
                    <a:pt x="279" y="385"/>
                  </a:lnTo>
                  <a:lnTo>
                    <a:pt x="265" y="411"/>
                  </a:lnTo>
                  <a:lnTo>
                    <a:pt x="248" y="439"/>
                  </a:lnTo>
                  <a:lnTo>
                    <a:pt x="230" y="465"/>
                  </a:lnTo>
                  <a:lnTo>
                    <a:pt x="209" y="489"/>
                  </a:lnTo>
                  <a:lnTo>
                    <a:pt x="186" y="515"/>
                  </a:lnTo>
                  <a:lnTo>
                    <a:pt x="160" y="540"/>
                  </a:lnTo>
                  <a:lnTo>
                    <a:pt x="133" y="565"/>
                  </a:lnTo>
                  <a:lnTo>
                    <a:pt x="103" y="589"/>
                  </a:lnTo>
                  <a:lnTo>
                    <a:pt x="70" y="613"/>
                  </a:lnTo>
                  <a:lnTo>
                    <a:pt x="37" y="636"/>
                  </a:lnTo>
                  <a:lnTo>
                    <a:pt x="37" y="636"/>
                  </a:lnTo>
                  <a:close/>
                  <a:moveTo>
                    <a:pt x="497" y="636"/>
                  </a:moveTo>
                  <a:lnTo>
                    <a:pt x="461" y="585"/>
                  </a:lnTo>
                  <a:lnTo>
                    <a:pt x="461" y="585"/>
                  </a:lnTo>
                  <a:lnTo>
                    <a:pt x="488" y="566"/>
                  </a:lnTo>
                  <a:lnTo>
                    <a:pt x="513" y="546"/>
                  </a:lnTo>
                  <a:lnTo>
                    <a:pt x="536" y="527"/>
                  </a:lnTo>
                  <a:lnTo>
                    <a:pt x="557" y="506"/>
                  </a:lnTo>
                  <a:lnTo>
                    <a:pt x="577" y="487"/>
                  </a:lnTo>
                  <a:lnTo>
                    <a:pt x="595" y="467"/>
                  </a:lnTo>
                  <a:lnTo>
                    <a:pt x="610" y="448"/>
                  </a:lnTo>
                  <a:lnTo>
                    <a:pt x="625" y="428"/>
                  </a:lnTo>
                  <a:lnTo>
                    <a:pt x="625" y="428"/>
                  </a:lnTo>
                  <a:lnTo>
                    <a:pt x="636" y="410"/>
                  </a:lnTo>
                  <a:lnTo>
                    <a:pt x="647" y="391"/>
                  </a:lnTo>
                  <a:lnTo>
                    <a:pt x="656" y="374"/>
                  </a:lnTo>
                  <a:lnTo>
                    <a:pt x="663" y="357"/>
                  </a:lnTo>
                  <a:lnTo>
                    <a:pt x="669" y="340"/>
                  </a:lnTo>
                  <a:lnTo>
                    <a:pt x="674" y="324"/>
                  </a:lnTo>
                  <a:lnTo>
                    <a:pt x="675" y="310"/>
                  </a:lnTo>
                  <a:lnTo>
                    <a:pt x="676" y="296"/>
                  </a:lnTo>
                  <a:lnTo>
                    <a:pt x="676" y="296"/>
                  </a:lnTo>
                  <a:lnTo>
                    <a:pt x="676" y="287"/>
                  </a:lnTo>
                  <a:lnTo>
                    <a:pt x="675" y="279"/>
                  </a:lnTo>
                  <a:lnTo>
                    <a:pt x="673" y="272"/>
                  </a:lnTo>
                  <a:lnTo>
                    <a:pt x="670" y="266"/>
                  </a:lnTo>
                  <a:lnTo>
                    <a:pt x="670" y="266"/>
                  </a:lnTo>
                  <a:lnTo>
                    <a:pt x="666" y="262"/>
                  </a:lnTo>
                  <a:lnTo>
                    <a:pt x="661" y="259"/>
                  </a:lnTo>
                  <a:lnTo>
                    <a:pt x="656" y="258"/>
                  </a:lnTo>
                  <a:lnTo>
                    <a:pt x="649" y="257"/>
                  </a:lnTo>
                  <a:lnTo>
                    <a:pt x="639" y="259"/>
                  </a:lnTo>
                  <a:lnTo>
                    <a:pt x="639" y="259"/>
                  </a:lnTo>
                  <a:lnTo>
                    <a:pt x="614" y="265"/>
                  </a:lnTo>
                  <a:lnTo>
                    <a:pt x="593" y="266"/>
                  </a:lnTo>
                  <a:lnTo>
                    <a:pt x="593" y="266"/>
                  </a:lnTo>
                  <a:lnTo>
                    <a:pt x="582" y="266"/>
                  </a:lnTo>
                  <a:lnTo>
                    <a:pt x="570" y="263"/>
                  </a:lnTo>
                  <a:lnTo>
                    <a:pt x="558" y="261"/>
                  </a:lnTo>
                  <a:lnTo>
                    <a:pt x="548" y="257"/>
                  </a:lnTo>
                  <a:lnTo>
                    <a:pt x="538" y="252"/>
                  </a:lnTo>
                  <a:lnTo>
                    <a:pt x="527" y="245"/>
                  </a:lnTo>
                  <a:lnTo>
                    <a:pt x="518" y="239"/>
                  </a:lnTo>
                  <a:lnTo>
                    <a:pt x="509" y="230"/>
                  </a:lnTo>
                  <a:lnTo>
                    <a:pt x="509" y="230"/>
                  </a:lnTo>
                  <a:lnTo>
                    <a:pt x="501" y="220"/>
                  </a:lnTo>
                  <a:lnTo>
                    <a:pt x="493" y="211"/>
                  </a:lnTo>
                  <a:lnTo>
                    <a:pt x="487" y="201"/>
                  </a:lnTo>
                  <a:lnTo>
                    <a:pt x="483" y="189"/>
                  </a:lnTo>
                  <a:lnTo>
                    <a:pt x="479" y="179"/>
                  </a:lnTo>
                  <a:lnTo>
                    <a:pt x="475" y="166"/>
                  </a:lnTo>
                  <a:lnTo>
                    <a:pt x="474" y="154"/>
                  </a:lnTo>
                  <a:lnTo>
                    <a:pt x="474" y="141"/>
                  </a:lnTo>
                  <a:lnTo>
                    <a:pt x="474" y="141"/>
                  </a:lnTo>
                  <a:lnTo>
                    <a:pt x="474" y="127"/>
                  </a:lnTo>
                  <a:lnTo>
                    <a:pt x="477" y="113"/>
                  </a:lnTo>
                  <a:lnTo>
                    <a:pt x="479" y="100"/>
                  </a:lnTo>
                  <a:lnTo>
                    <a:pt x="483" y="88"/>
                  </a:lnTo>
                  <a:lnTo>
                    <a:pt x="488" y="75"/>
                  </a:lnTo>
                  <a:lnTo>
                    <a:pt x="495" y="63"/>
                  </a:lnTo>
                  <a:lnTo>
                    <a:pt x="503" y="53"/>
                  </a:lnTo>
                  <a:lnTo>
                    <a:pt x="512" y="43"/>
                  </a:lnTo>
                  <a:lnTo>
                    <a:pt x="512" y="43"/>
                  </a:lnTo>
                  <a:lnTo>
                    <a:pt x="521" y="32"/>
                  </a:lnTo>
                  <a:lnTo>
                    <a:pt x="531" y="23"/>
                  </a:lnTo>
                  <a:lnTo>
                    <a:pt x="541" y="17"/>
                  </a:lnTo>
                  <a:lnTo>
                    <a:pt x="552" y="10"/>
                  </a:lnTo>
                  <a:lnTo>
                    <a:pt x="562" y="6"/>
                  </a:lnTo>
                  <a:lnTo>
                    <a:pt x="574" y="2"/>
                  </a:lnTo>
                  <a:lnTo>
                    <a:pt x="586" y="1"/>
                  </a:lnTo>
                  <a:lnTo>
                    <a:pt x="599" y="0"/>
                  </a:lnTo>
                  <a:lnTo>
                    <a:pt x="599" y="0"/>
                  </a:lnTo>
                  <a:lnTo>
                    <a:pt x="615" y="1"/>
                  </a:lnTo>
                  <a:lnTo>
                    <a:pt x="632" y="4"/>
                  </a:lnTo>
                  <a:lnTo>
                    <a:pt x="649" y="9"/>
                  </a:lnTo>
                  <a:lnTo>
                    <a:pt x="666" y="15"/>
                  </a:lnTo>
                  <a:lnTo>
                    <a:pt x="682" y="24"/>
                  </a:lnTo>
                  <a:lnTo>
                    <a:pt x="696" y="35"/>
                  </a:lnTo>
                  <a:lnTo>
                    <a:pt x="710" y="46"/>
                  </a:lnTo>
                  <a:lnTo>
                    <a:pt x="724" y="61"/>
                  </a:lnTo>
                  <a:lnTo>
                    <a:pt x="724" y="61"/>
                  </a:lnTo>
                  <a:lnTo>
                    <a:pt x="737" y="76"/>
                  </a:lnTo>
                  <a:lnTo>
                    <a:pt x="749" y="93"/>
                  </a:lnTo>
                  <a:lnTo>
                    <a:pt x="758" y="111"/>
                  </a:lnTo>
                  <a:lnTo>
                    <a:pt x="766" y="130"/>
                  </a:lnTo>
                  <a:lnTo>
                    <a:pt x="771" y="150"/>
                  </a:lnTo>
                  <a:lnTo>
                    <a:pt x="776" y="171"/>
                  </a:lnTo>
                  <a:lnTo>
                    <a:pt x="779" y="193"/>
                  </a:lnTo>
                  <a:lnTo>
                    <a:pt x="779" y="217"/>
                  </a:lnTo>
                  <a:lnTo>
                    <a:pt x="779" y="217"/>
                  </a:lnTo>
                  <a:lnTo>
                    <a:pt x="779" y="245"/>
                  </a:lnTo>
                  <a:lnTo>
                    <a:pt x="775" y="275"/>
                  </a:lnTo>
                  <a:lnTo>
                    <a:pt x="770" y="302"/>
                  </a:lnTo>
                  <a:lnTo>
                    <a:pt x="762" y="331"/>
                  </a:lnTo>
                  <a:lnTo>
                    <a:pt x="752" y="358"/>
                  </a:lnTo>
                  <a:lnTo>
                    <a:pt x="740" y="385"/>
                  </a:lnTo>
                  <a:lnTo>
                    <a:pt x="726" y="413"/>
                  </a:lnTo>
                  <a:lnTo>
                    <a:pt x="709" y="439"/>
                  </a:lnTo>
                  <a:lnTo>
                    <a:pt x="691" y="465"/>
                  </a:lnTo>
                  <a:lnTo>
                    <a:pt x="669" y="491"/>
                  </a:lnTo>
                  <a:lnTo>
                    <a:pt x="647" y="515"/>
                  </a:lnTo>
                  <a:lnTo>
                    <a:pt x="621" y="540"/>
                  </a:lnTo>
                  <a:lnTo>
                    <a:pt x="593" y="565"/>
                  </a:lnTo>
                  <a:lnTo>
                    <a:pt x="564" y="589"/>
                  </a:lnTo>
                  <a:lnTo>
                    <a:pt x="531" y="613"/>
                  </a:lnTo>
                  <a:lnTo>
                    <a:pt x="497" y="636"/>
                  </a:lnTo>
                  <a:lnTo>
                    <a:pt x="497" y="636"/>
                  </a:lnTo>
                  <a:close/>
                </a:path>
              </a:pathLst>
            </a:custGeom>
            <a:solidFill>
              <a:schemeClr val="bg1">
                <a:lumMod val="85000"/>
                <a:alpha val="74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 tIns="17924" rIns="17924" bIns="17924" numCol="1" spcCol="0" rtlCol="0" fromWordArt="0" anchor="ctr"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637" b="0" i="0" u="none" strike="noStrike" kern="1200" cap="none" spc="0" normalizeH="0" baseline="0" noProof="0">
                <a:ln>
                  <a:noFill/>
                </a:ln>
                <a:solidFill>
                  <a:prstClr val="white">
                    <a:lumMod val="85000"/>
                  </a:prstClr>
                </a:solidFill>
                <a:effectLst/>
                <a:uLnTx/>
                <a:uFillTx/>
                <a:latin typeface="Segoe UI"/>
                <a:ea typeface="Segoe UI" pitchFamily="34" charset="0"/>
                <a:cs typeface="Segoe UI" pitchFamily="34" charset="0"/>
              </a:endParaRPr>
            </a:p>
          </p:txBody>
        </p:sp>
        <p:sp>
          <p:nvSpPr>
            <p:cNvPr id="13" name="Rectangle 12"/>
            <p:cNvSpPr/>
            <p:nvPr/>
          </p:nvSpPr>
          <p:spPr bwMode="auto">
            <a:xfrm>
              <a:off x="902493" y="2395359"/>
              <a:ext cx="5250140" cy="29828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672273" rtl="0" eaLnBrk="1" fontAlgn="auto" latinLnBrk="0" hangingPunct="1">
                <a:lnSpc>
                  <a:spcPct val="100000"/>
                </a:lnSpc>
                <a:spcBef>
                  <a:spcPts val="1765"/>
                </a:spcBef>
                <a:spcAft>
                  <a:spcPts val="0"/>
                </a:spcAft>
                <a:buClrTx/>
                <a:buSzPct val="90000"/>
                <a:buFontTx/>
                <a:buNone/>
                <a:tabLst/>
                <a:defRPr/>
              </a:pPr>
              <a:r>
                <a:rPr kumimoji="0" lang="en-US" sz="3200" b="0" i="0" u="none" strike="noStrike" kern="4000" cap="none" spc="0" normalizeH="0" baseline="0" noProof="0" dirty="0">
                  <a:ln>
                    <a:noFill/>
                  </a:ln>
                  <a:solidFill>
                    <a:schemeClr val="tx1"/>
                  </a:solidFill>
                  <a:effectLst/>
                  <a:uLnTx/>
                  <a:uFillTx/>
                  <a:latin typeface="Segoe UI Light"/>
                  <a:ea typeface="+mn-ea"/>
                  <a:cs typeface="+mn-cs"/>
                </a:rPr>
                <a:t>Connected world solutions combine sensors and technologies to enable objects and infrastructure to interact with monitoring, analytics and control systems over Internet-style networks.</a:t>
              </a:r>
            </a:p>
          </p:txBody>
        </p:sp>
      </p:grpSp>
      <p:sp>
        <p:nvSpPr>
          <p:cNvPr id="14" name="Rectangle 13"/>
          <p:cNvSpPr/>
          <p:nvPr/>
        </p:nvSpPr>
        <p:spPr bwMode="auto">
          <a:xfrm>
            <a:off x="496071" y="6392049"/>
            <a:ext cx="6974882" cy="15082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0" rIns="0" bIns="0" numCol="1" rtlCol="0" anchor="b" anchorCtr="0" compatLnSpc="1">
            <a:prstTxWarp prst="textNoShape">
              <a:avLst/>
            </a:prstTxWarp>
            <a:noAutofit/>
          </a:bodyPr>
          <a:lstStyle/>
          <a:p>
            <a:pPr marL="0" marR="0" lvl="0" indent="0" algn="l" defTabSz="6721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a:ea typeface="Segoe UI" panose="020B0502040204020203" pitchFamily="34" charset="0"/>
                <a:cs typeface="+mn-cs"/>
              </a:rPr>
              <a:t>Source: Forrester</a:t>
            </a:r>
          </a:p>
        </p:txBody>
      </p:sp>
      <p:sp>
        <p:nvSpPr>
          <p:cNvPr id="177" name="Freeform 176"/>
          <p:cNvSpPr>
            <a:spLocks/>
          </p:cNvSpPr>
          <p:nvPr/>
        </p:nvSpPr>
        <p:spPr bwMode="black">
          <a:xfrm>
            <a:off x="15683076" y="2169711"/>
            <a:ext cx="632100" cy="356600"/>
          </a:xfrm>
          <a:custGeom>
            <a:avLst/>
            <a:gdLst>
              <a:gd name="connsiteX0" fmla="*/ 208342 w 644867"/>
              <a:gd name="connsiteY0" fmla="*/ 178753 h 363803"/>
              <a:gd name="connsiteX1" fmla="*/ 284403 w 644867"/>
              <a:gd name="connsiteY1" fmla="*/ 224190 h 363803"/>
              <a:gd name="connsiteX2" fmla="*/ 322434 w 644867"/>
              <a:gd name="connsiteY2" fmla="*/ 234103 h 363803"/>
              <a:gd name="connsiteX3" fmla="*/ 359638 w 644867"/>
              <a:gd name="connsiteY3" fmla="*/ 224190 h 363803"/>
              <a:gd name="connsiteX4" fmla="*/ 436526 w 644867"/>
              <a:gd name="connsiteY4" fmla="*/ 178753 h 363803"/>
              <a:gd name="connsiteX5" fmla="*/ 644867 w 644867"/>
              <a:gd name="connsiteY5" fmla="*/ 302671 h 363803"/>
              <a:gd name="connsiteX6" fmla="*/ 644867 w 644867"/>
              <a:gd name="connsiteY6" fmla="*/ 324150 h 363803"/>
              <a:gd name="connsiteX7" fmla="*/ 605183 w 644867"/>
              <a:gd name="connsiteY7" fmla="*/ 363803 h 363803"/>
              <a:gd name="connsiteX8" fmla="*/ 39684 w 644867"/>
              <a:gd name="connsiteY8" fmla="*/ 363803 h 363803"/>
              <a:gd name="connsiteX9" fmla="*/ 0 w 644867"/>
              <a:gd name="connsiteY9" fmla="*/ 324150 h 363803"/>
              <a:gd name="connsiteX10" fmla="*/ 0 w 644867"/>
              <a:gd name="connsiteY10" fmla="*/ 302671 h 363803"/>
              <a:gd name="connsiteX11" fmla="*/ 208342 w 644867"/>
              <a:gd name="connsiteY11" fmla="*/ 178753 h 363803"/>
              <a:gd name="connsiteX12" fmla="*/ 644867 w 644867"/>
              <a:gd name="connsiteY12" fmla="*/ 54570 h 363803"/>
              <a:gd name="connsiteX13" fmla="*/ 644867 w 644867"/>
              <a:gd name="connsiteY13" fmla="*/ 267954 h 363803"/>
              <a:gd name="connsiteX14" fmla="*/ 465368 w 644867"/>
              <a:gd name="connsiteY14" fmla="*/ 161262 h 363803"/>
              <a:gd name="connsiteX15" fmla="*/ 0 w 644867"/>
              <a:gd name="connsiteY15" fmla="*/ 54570 h 363803"/>
              <a:gd name="connsiteX16" fmla="*/ 179149 w 644867"/>
              <a:gd name="connsiteY16" fmla="*/ 161262 h 363803"/>
              <a:gd name="connsiteX17" fmla="*/ 0 w 644867"/>
              <a:gd name="connsiteY17" fmla="*/ 267954 h 363803"/>
              <a:gd name="connsiteX18" fmla="*/ 39412 w 644867"/>
              <a:gd name="connsiteY18" fmla="*/ 0 h 363803"/>
              <a:gd name="connsiteX19" fmla="*/ 605107 w 644867"/>
              <a:gd name="connsiteY19" fmla="*/ 0 h 363803"/>
              <a:gd name="connsiteX20" fmla="*/ 640669 w 644867"/>
              <a:gd name="connsiteY20" fmla="*/ 22331 h 363803"/>
              <a:gd name="connsiteX21" fmla="*/ 343762 w 644867"/>
              <a:gd name="connsiteY21" fmla="*/ 198501 h 363803"/>
              <a:gd name="connsiteX22" fmla="*/ 343762 w 644867"/>
              <a:gd name="connsiteY22" fmla="*/ 199328 h 363803"/>
              <a:gd name="connsiteX23" fmla="*/ 322259 w 644867"/>
              <a:gd name="connsiteY23" fmla="*/ 204290 h 363803"/>
              <a:gd name="connsiteX24" fmla="*/ 299929 w 644867"/>
              <a:gd name="connsiteY24" fmla="*/ 199328 h 363803"/>
              <a:gd name="connsiteX25" fmla="*/ 3849 w 644867"/>
              <a:gd name="connsiteY25" fmla="*/ 22331 h 363803"/>
              <a:gd name="connsiteX26" fmla="*/ 39412 w 644867"/>
              <a:gd name="connsiteY26" fmla="*/ 0 h 36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4867" h="363803">
                <a:moveTo>
                  <a:pt x="208342" y="178753"/>
                </a:moveTo>
                <a:cubicBezTo>
                  <a:pt x="208342" y="178753"/>
                  <a:pt x="208342" y="178753"/>
                  <a:pt x="284403" y="224190"/>
                </a:cubicBezTo>
                <a:cubicBezTo>
                  <a:pt x="295151" y="230798"/>
                  <a:pt x="308379" y="234103"/>
                  <a:pt x="322434" y="234103"/>
                </a:cubicBezTo>
                <a:cubicBezTo>
                  <a:pt x="336489" y="234103"/>
                  <a:pt x="349717" y="230798"/>
                  <a:pt x="359638" y="224190"/>
                </a:cubicBezTo>
                <a:cubicBezTo>
                  <a:pt x="359638" y="224190"/>
                  <a:pt x="359638" y="224190"/>
                  <a:pt x="436526" y="178753"/>
                </a:cubicBezTo>
                <a:cubicBezTo>
                  <a:pt x="436526" y="178753"/>
                  <a:pt x="436526" y="178753"/>
                  <a:pt x="644867" y="302671"/>
                </a:cubicBezTo>
                <a:cubicBezTo>
                  <a:pt x="644867" y="302671"/>
                  <a:pt x="644867" y="302671"/>
                  <a:pt x="644867" y="324150"/>
                </a:cubicBezTo>
                <a:cubicBezTo>
                  <a:pt x="644867" y="346455"/>
                  <a:pt x="626679" y="363803"/>
                  <a:pt x="605183" y="363803"/>
                </a:cubicBezTo>
                <a:cubicBezTo>
                  <a:pt x="605183" y="363803"/>
                  <a:pt x="605183" y="363803"/>
                  <a:pt x="39684" y="363803"/>
                </a:cubicBezTo>
                <a:cubicBezTo>
                  <a:pt x="17362" y="363803"/>
                  <a:pt x="0" y="346455"/>
                  <a:pt x="0" y="324150"/>
                </a:cubicBezTo>
                <a:lnTo>
                  <a:pt x="0" y="302671"/>
                </a:lnTo>
                <a:cubicBezTo>
                  <a:pt x="0" y="302671"/>
                  <a:pt x="0" y="302671"/>
                  <a:pt x="208342" y="178753"/>
                </a:cubicBezTo>
                <a:close/>
                <a:moveTo>
                  <a:pt x="644867" y="54570"/>
                </a:moveTo>
                <a:lnTo>
                  <a:pt x="644867" y="267954"/>
                </a:lnTo>
                <a:lnTo>
                  <a:pt x="465368" y="161262"/>
                </a:lnTo>
                <a:close/>
                <a:moveTo>
                  <a:pt x="0" y="54570"/>
                </a:moveTo>
                <a:lnTo>
                  <a:pt x="179149" y="161262"/>
                </a:lnTo>
                <a:lnTo>
                  <a:pt x="0" y="267954"/>
                </a:lnTo>
                <a:close/>
                <a:moveTo>
                  <a:pt x="39412" y="0"/>
                </a:moveTo>
                <a:cubicBezTo>
                  <a:pt x="39412" y="0"/>
                  <a:pt x="39412" y="0"/>
                  <a:pt x="605107" y="0"/>
                </a:cubicBezTo>
                <a:cubicBezTo>
                  <a:pt x="620820" y="0"/>
                  <a:pt x="634053" y="9098"/>
                  <a:pt x="640669" y="22331"/>
                </a:cubicBezTo>
                <a:cubicBezTo>
                  <a:pt x="640669" y="22331"/>
                  <a:pt x="640669" y="22331"/>
                  <a:pt x="343762" y="198501"/>
                </a:cubicBezTo>
                <a:cubicBezTo>
                  <a:pt x="343762" y="198501"/>
                  <a:pt x="343762" y="198501"/>
                  <a:pt x="343762" y="199328"/>
                </a:cubicBezTo>
                <a:cubicBezTo>
                  <a:pt x="337973" y="202636"/>
                  <a:pt x="330530" y="204290"/>
                  <a:pt x="322259" y="204290"/>
                </a:cubicBezTo>
                <a:cubicBezTo>
                  <a:pt x="313989" y="204290"/>
                  <a:pt x="305718" y="202636"/>
                  <a:pt x="299929" y="199328"/>
                </a:cubicBezTo>
                <a:cubicBezTo>
                  <a:pt x="299929" y="199328"/>
                  <a:pt x="299929" y="199328"/>
                  <a:pt x="3849" y="22331"/>
                </a:cubicBezTo>
                <a:cubicBezTo>
                  <a:pt x="9639" y="9098"/>
                  <a:pt x="23698" y="0"/>
                  <a:pt x="39412" y="0"/>
                </a:cubicBezTo>
                <a:close/>
              </a:path>
            </a:pathLst>
          </a:custGeom>
          <a:solidFill>
            <a:srgbClr val="00188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noAutofit/>
          </a:bodyPr>
          <a:lstStyle/>
          <a:p>
            <a:pPr marL="0" marR="0" lvl="0" indent="0" algn="l" defTabSz="72586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dirty="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grpSp>
        <p:nvGrpSpPr>
          <p:cNvPr id="194" name="Surface"/>
          <p:cNvGrpSpPr>
            <a:grpSpLocks noChangeAspect="1"/>
          </p:cNvGrpSpPr>
          <p:nvPr/>
        </p:nvGrpSpPr>
        <p:grpSpPr>
          <a:xfrm>
            <a:off x="11543171" y="-628056"/>
            <a:ext cx="507407" cy="316523"/>
            <a:chOff x="235455" y="1766453"/>
            <a:chExt cx="2026416" cy="1264088"/>
          </a:xfrm>
        </p:grpSpPr>
        <p:sp>
          <p:nvSpPr>
            <p:cNvPr id="195" name="Rectangle 194"/>
            <p:cNvSpPr/>
            <p:nvPr/>
          </p:nvSpPr>
          <p:spPr bwMode="auto">
            <a:xfrm>
              <a:off x="345989" y="1889409"/>
              <a:ext cx="1798080" cy="10105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Rounded Rectangle 18"/>
            <p:cNvSpPr/>
            <p:nvPr/>
          </p:nvSpPr>
          <p:spPr bwMode="auto">
            <a:xfrm>
              <a:off x="235455" y="1766453"/>
              <a:ext cx="2026416" cy="1264088"/>
            </a:xfrm>
            <a:custGeom>
              <a:avLst/>
              <a:gdLst/>
              <a:ahLst/>
              <a:cxnLst/>
              <a:rect l="l" t="t" r="r" b="b"/>
              <a:pathLst>
                <a:path w="2026416" h="1264088">
                  <a:moveTo>
                    <a:pt x="1048540" y="1193138"/>
                  </a:moveTo>
                  <a:lnTo>
                    <a:pt x="1002832" y="1193426"/>
                  </a:lnTo>
                  <a:lnTo>
                    <a:pt x="1002832" y="1227701"/>
                  </a:lnTo>
                  <a:lnTo>
                    <a:pt x="1048540" y="1233749"/>
                  </a:lnTo>
                  <a:close/>
                  <a:moveTo>
                    <a:pt x="999327" y="1193137"/>
                  </a:moveTo>
                  <a:lnTo>
                    <a:pt x="963550" y="1193379"/>
                  </a:lnTo>
                  <a:lnTo>
                    <a:pt x="963550" y="1222146"/>
                  </a:lnTo>
                  <a:lnTo>
                    <a:pt x="999327" y="1227222"/>
                  </a:lnTo>
                  <a:close/>
                  <a:moveTo>
                    <a:pt x="999085" y="1155910"/>
                  </a:moveTo>
                  <a:lnTo>
                    <a:pt x="963308" y="1161470"/>
                  </a:lnTo>
                  <a:lnTo>
                    <a:pt x="963308" y="1190720"/>
                  </a:lnTo>
                  <a:lnTo>
                    <a:pt x="999085" y="1190720"/>
                  </a:lnTo>
                  <a:close/>
                  <a:moveTo>
                    <a:pt x="1048540" y="1149766"/>
                  </a:moveTo>
                  <a:lnTo>
                    <a:pt x="1002832" y="1156307"/>
                  </a:lnTo>
                  <a:lnTo>
                    <a:pt x="1002832" y="1190720"/>
                  </a:lnTo>
                  <a:lnTo>
                    <a:pt x="1048540" y="1190720"/>
                  </a:lnTo>
                  <a:close/>
                  <a:moveTo>
                    <a:pt x="115213" y="124905"/>
                  </a:moveTo>
                  <a:lnTo>
                    <a:pt x="115213" y="1127835"/>
                  </a:lnTo>
                  <a:lnTo>
                    <a:pt x="1906786" y="1127835"/>
                  </a:lnTo>
                  <a:lnTo>
                    <a:pt x="1906786" y="124905"/>
                  </a:lnTo>
                  <a:close/>
                  <a:moveTo>
                    <a:pt x="55481" y="0"/>
                  </a:moveTo>
                  <a:lnTo>
                    <a:pt x="1970935" y="0"/>
                  </a:lnTo>
                  <a:cubicBezTo>
                    <a:pt x="2001576" y="0"/>
                    <a:pt x="2026416" y="24840"/>
                    <a:pt x="2026416" y="55481"/>
                  </a:cubicBezTo>
                  <a:lnTo>
                    <a:pt x="2026416" y="1208607"/>
                  </a:lnTo>
                  <a:cubicBezTo>
                    <a:pt x="2026416" y="1239248"/>
                    <a:pt x="2001576" y="1264088"/>
                    <a:pt x="1970935" y="1264088"/>
                  </a:cubicBezTo>
                  <a:lnTo>
                    <a:pt x="55481" y="1264088"/>
                  </a:lnTo>
                  <a:cubicBezTo>
                    <a:pt x="24840" y="1264088"/>
                    <a:pt x="0" y="1239248"/>
                    <a:pt x="0" y="1208607"/>
                  </a:cubicBezTo>
                  <a:lnTo>
                    <a:pt x="0" y="55481"/>
                  </a:lnTo>
                  <a:cubicBezTo>
                    <a:pt x="0" y="24840"/>
                    <a:pt x="24840" y="0"/>
                    <a:pt x="5548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1" name="Group 30"/>
          <p:cNvGrpSpPr/>
          <p:nvPr/>
        </p:nvGrpSpPr>
        <p:grpSpPr>
          <a:xfrm>
            <a:off x="6629499" y="1449130"/>
            <a:ext cx="2250509" cy="2250509"/>
            <a:chOff x="6629575" y="1448850"/>
            <a:chExt cx="2250828" cy="2250828"/>
          </a:xfrm>
        </p:grpSpPr>
        <p:sp>
          <p:nvSpPr>
            <p:cNvPr id="10" name="Rectangle 9"/>
            <p:cNvSpPr/>
            <p:nvPr>
              <p:custDataLst>
                <p:tags r:id="rId6"/>
              </p:custDataLst>
            </p:nvPr>
          </p:nvSpPr>
          <p:spPr bwMode="auto">
            <a:xfrm>
              <a:off x="6629575" y="1448850"/>
              <a:ext cx="2250828" cy="22508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Things</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167" name="Rounded Rectangle 166"/>
            <p:cNvSpPr/>
            <p:nvPr/>
          </p:nvSpPr>
          <p:spPr bwMode="auto">
            <a:xfrm flipH="1">
              <a:off x="6844055" y="2094355"/>
              <a:ext cx="376441" cy="129706"/>
            </a:xfrm>
            <a:prstGeom prst="round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8" name="Rectangle 167"/>
            <p:cNvSpPr/>
            <p:nvPr/>
          </p:nvSpPr>
          <p:spPr bwMode="auto">
            <a:xfrm rot="19233811" flipH="1">
              <a:off x="6990944" y="2029842"/>
              <a:ext cx="80545" cy="111423"/>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Rectangle 21"/>
            <p:cNvSpPr/>
            <p:nvPr/>
          </p:nvSpPr>
          <p:spPr bwMode="auto">
            <a:xfrm rot="1663182" flipH="1">
              <a:off x="6987525" y="1692662"/>
              <a:ext cx="85923" cy="24903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Rounded Rectangle 169"/>
            <p:cNvSpPr/>
            <p:nvPr/>
          </p:nvSpPr>
          <p:spPr bwMode="auto">
            <a:xfrm flipH="1">
              <a:off x="6801663" y="2159208"/>
              <a:ext cx="461225" cy="72842"/>
            </a:xfrm>
            <a:prstGeom prst="roundRect">
              <a:avLst/>
            </a:prstGeom>
            <a:solidFill>
              <a:schemeClr val="bg1"/>
            </a:solidFill>
            <a:ln w="3175" cap="flat" cmpd="sng" algn="ctr">
              <a:solidFill>
                <a:srgbClr val="CCD1E9"/>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Oval 172"/>
            <p:cNvSpPr/>
            <p:nvPr/>
          </p:nvSpPr>
          <p:spPr bwMode="auto">
            <a:xfrm flipH="1">
              <a:off x="6877120" y="1900934"/>
              <a:ext cx="156754" cy="171292"/>
            </a:xfrm>
            <a:prstGeom prst="ellipse">
              <a:avLst/>
            </a:prstGeom>
            <a:solidFill>
              <a:schemeClr val="bg1"/>
            </a:solid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4" name="Group 173"/>
            <p:cNvGrpSpPr/>
            <p:nvPr/>
          </p:nvGrpSpPr>
          <p:grpSpPr>
            <a:xfrm rot="1800000">
              <a:off x="7081048" y="1795012"/>
              <a:ext cx="284223" cy="123606"/>
              <a:chOff x="3547456" y="4533071"/>
              <a:chExt cx="638619" cy="254159"/>
            </a:xfrm>
            <a:solidFill>
              <a:schemeClr val="bg1"/>
            </a:solidFill>
          </p:grpSpPr>
          <p:sp>
            <p:nvSpPr>
              <p:cNvPr id="182" name="Rectangle 29"/>
              <p:cNvSpPr/>
              <p:nvPr/>
            </p:nvSpPr>
            <p:spPr bwMode="auto">
              <a:xfrm rot="6300000" flipH="1">
                <a:off x="3724636" y="4355891"/>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3" name="Oval 182"/>
              <p:cNvSpPr/>
              <p:nvPr/>
            </p:nvSpPr>
            <p:spPr bwMode="auto">
              <a:xfrm flipH="1">
                <a:off x="3980619" y="4595205"/>
                <a:ext cx="205456" cy="192025"/>
              </a:xfrm>
              <a:prstGeom prst="ellipse">
                <a:avLst/>
              </a:prstGeom>
              <a:grp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78" name="Rectangle 177"/>
            <p:cNvSpPr/>
            <p:nvPr/>
          </p:nvSpPr>
          <p:spPr bwMode="auto">
            <a:xfrm rot="5400000" flipH="1">
              <a:off x="7279889" y="1843063"/>
              <a:ext cx="258717" cy="159593"/>
            </a:xfrm>
            <a:custGeom>
              <a:avLst/>
              <a:gdLst/>
              <a:ahLst/>
              <a:cxnLst/>
              <a:rect l="l" t="t" r="r" b="b"/>
              <a:pathLst>
                <a:path w="258717" h="159593">
                  <a:moveTo>
                    <a:pt x="122506" y="90125"/>
                  </a:moveTo>
                  <a:lnTo>
                    <a:pt x="122506" y="6754"/>
                  </a:lnTo>
                  <a:lnTo>
                    <a:pt x="31403" y="6754"/>
                  </a:lnTo>
                  <a:lnTo>
                    <a:pt x="31403" y="90125"/>
                  </a:lnTo>
                  <a:close/>
                  <a:moveTo>
                    <a:pt x="229170" y="90125"/>
                  </a:moveTo>
                  <a:lnTo>
                    <a:pt x="229170" y="6754"/>
                  </a:lnTo>
                  <a:lnTo>
                    <a:pt x="138067" y="6754"/>
                  </a:lnTo>
                  <a:lnTo>
                    <a:pt x="138067" y="90125"/>
                  </a:lnTo>
                  <a:close/>
                  <a:moveTo>
                    <a:pt x="258717" y="122090"/>
                  </a:moveTo>
                  <a:lnTo>
                    <a:pt x="258717" y="101742"/>
                  </a:lnTo>
                  <a:lnTo>
                    <a:pt x="22235" y="101742"/>
                  </a:lnTo>
                  <a:lnTo>
                    <a:pt x="22235" y="0"/>
                  </a:lnTo>
                  <a:lnTo>
                    <a:pt x="0" y="0"/>
                  </a:lnTo>
                  <a:lnTo>
                    <a:pt x="0" y="101742"/>
                  </a:lnTo>
                  <a:lnTo>
                    <a:pt x="0" y="122089"/>
                  </a:lnTo>
                  <a:lnTo>
                    <a:pt x="0" y="122090"/>
                  </a:lnTo>
                  <a:lnTo>
                    <a:pt x="113026" y="122090"/>
                  </a:lnTo>
                  <a:lnTo>
                    <a:pt x="113026" y="159593"/>
                  </a:lnTo>
                  <a:lnTo>
                    <a:pt x="160063" y="159593"/>
                  </a:lnTo>
                  <a:lnTo>
                    <a:pt x="160063" y="12209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Oval 180"/>
            <p:cNvSpPr/>
            <p:nvPr/>
          </p:nvSpPr>
          <p:spPr bwMode="auto">
            <a:xfrm flipH="1">
              <a:off x="7038791" y="1638120"/>
              <a:ext cx="113950" cy="124518"/>
            </a:xfrm>
            <a:prstGeom prst="ellipse">
              <a:avLst/>
            </a:prstGeom>
            <a:solidFill>
              <a:schemeClr val="bg1"/>
            </a:solid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Rectangle 25"/>
            <p:cNvSpPr>
              <a:spLocks noChangeAspect="1"/>
            </p:cNvSpPr>
            <p:nvPr/>
          </p:nvSpPr>
          <p:spPr bwMode="auto">
            <a:xfrm>
              <a:off x="8006819" y="1881577"/>
              <a:ext cx="452271" cy="313229"/>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2854"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50" normalizeH="0" baseline="0" noProof="0" dirty="0" err="1">
                <a:ln>
                  <a:noFill/>
                </a:ln>
                <a:solidFill>
                  <a:srgbClr val="0072C6"/>
                </a:solidFill>
                <a:effectLst/>
                <a:uLnTx/>
                <a:uFillTx/>
                <a:latin typeface="Segoe UI"/>
                <a:ea typeface="Segoe UI" pitchFamily="34" charset="0"/>
                <a:cs typeface="Segoe UI" pitchFamily="34" charset="0"/>
              </a:endParaRPr>
            </a:p>
          </p:txBody>
        </p:sp>
        <p:sp>
          <p:nvSpPr>
            <p:cNvPr id="19" name="Round Same Side Corner Rectangle 18"/>
            <p:cNvSpPr/>
            <p:nvPr/>
          </p:nvSpPr>
          <p:spPr bwMode="auto">
            <a:xfrm rot="10800000" flipV="1">
              <a:off x="8184030" y="2693661"/>
              <a:ext cx="486966" cy="600108"/>
            </a:xfrm>
            <a:custGeom>
              <a:avLst/>
              <a:gdLst/>
              <a:ahLst/>
              <a:cxnLst/>
              <a:rect l="l" t="t" r="r" b="b"/>
              <a:pathLst>
                <a:path w="1183456" h="1458420">
                  <a:moveTo>
                    <a:pt x="760682" y="0"/>
                  </a:moveTo>
                  <a:lnTo>
                    <a:pt x="427168" y="0"/>
                  </a:lnTo>
                  <a:lnTo>
                    <a:pt x="277616" y="108247"/>
                  </a:lnTo>
                  <a:lnTo>
                    <a:pt x="283680" y="108247"/>
                  </a:lnTo>
                  <a:cubicBezTo>
                    <a:pt x="280156" y="107754"/>
                    <a:pt x="278457" y="110414"/>
                    <a:pt x="278457" y="113470"/>
                  </a:cubicBezTo>
                  <a:lnTo>
                    <a:pt x="278457" y="131469"/>
                  </a:lnTo>
                  <a:lnTo>
                    <a:pt x="24139" y="132007"/>
                  </a:lnTo>
                  <a:cubicBezTo>
                    <a:pt x="-66620" y="129323"/>
                    <a:pt x="121996" y="483699"/>
                    <a:pt x="202879" y="534780"/>
                  </a:cubicBezTo>
                  <a:lnTo>
                    <a:pt x="270061" y="536647"/>
                  </a:lnTo>
                  <a:cubicBezTo>
                    <a:pt x="269913" y="546679"/>
                    <a:pt x="269824" y="552786"/>
                    <a:pt x="269742" y="558423"/>
                  </a:cubicBezTo>
                  <a:lnTo>
                    <a:pt x="24139" y="558942"/>
                  </a:lnTo>
                  <a:cubicBezTo>
                    <a:pt x="-66620" y="556258"/>
                    <a:pt x="121996" y="910634"/>
                    <a:pt x="202879" y="961715"/>
                  </a:cubicBezTo>
                  <a:lnTo>
                    <a:pt x="270061" y="963582"/>
                  </a:lnTo>
                  <a:cubicBezTo>
                    <a:pt x="269820" y="979923"/>
                    <a:pt x="269735" y="985849"/>
                    <a:pt x="269582" y="996295"/>
                  </a:cubicBezTo>
                  <a:lnTo>
                    <a:pt x="28534" y="996805"/>
                  </a:lnTo>
                  <a:cubicBezTo>
                    <a:pt x="-62225" y="994121"/>
                    <a:pt x="126391" y="1348497"/>
                    <a:pt x="207274" y="1399578"/>
                  </a:cubicBezTo>
                  <a:lnTo>
                    <a:pt x="274456" y="1401444"/>
                  </a:lnTo>
                  <a:cubicBezTo>
                    <a:pt x="274204" y="1418538"/>
                    <a:pt x="419399" y="1447024"/>
                    <a:pt x="419233" y="1458420"/>
                  </a:cubicBezTo>
                  <a:cubicBezTo>
                    <a:pt x="529973" y="1453976"/>
                    <a:pt x="632163" y="1458076"/>
                    <a:pt x="742902" y="1456481"/>
                  </a:cubicBezTo>
                  <a:cubicBezTo>
                    <a:pt x="747833" y="1456710"/>
                    <a:pt x="907961" y="1418701"/>
                    <a:pt x="910654" y="1400860"/>
                  </a:cubicBezTo>
                  <a:lnTo>
                    <a:pt x="970668" y="1401741"/>
                  </a:lnTo>
                  <a:cubicBezTo>
                    <a:pt x="1065678" y="1344372"/>
                    <a:pt x="1248355" y="996473"/>
                    <a:pt x="1159955" y="994411"/>
                  </a:cubicBezTo>
                  <a:lnTo>
                    <a:pt x="902064" y="994957"/>
                  </a:lnTo>
                  <a:cubicBezTo>
                    <a:pt x="904962" y="989281"/>
                    <a:pt x="904285" y="976077"/>
                    <a:pt x="906259" y="962998"/>
                  </a:cubicBezTo>
                  <a:lnTo>
                    <a:pt x="966273" y="963878"/>
                  </a:lnTo>
                  <a:cubicBezTo>
                    <a:pt x="1061283" y="906510"/>
                    <a:pt x="1243960" y="558610"/>
                    <a:pt x="1155559" y="556548"/>
                  </a:cubicBezTo>
                  <a:lnTo>
                    <a:pt x="904678" y="557079"/>
                  </a:lnTo>
                  <a:lnTo>
                    <a:pt x="906259" y="536063"/>
                  </a:lnTo>
                  <a:lnTo>
                    <a:pt x="966273" y="536943"/>
                  </a:lnTo>
                  <a:cubicBezTo>
                    <a:pt x="1061283" y="479574"/>
                    <a:pt x="1243960" y="131675"/>
                    <a:pt x="1155559" y="129613"/>
                  </a:cubicBezTo>
                  <a:lnTo>
                    <a:pt x="909393" y="130134"/>
                  </a:lnTo>
                  <a:lnTo>
                    <a:pt x="909393" y="108247"/>
                  </a:lnTo>
                  <a:lnTo>
                    <a:pt x="910234" y="108247"/>
                  </a:lnTo>
                  <a:lnTo>
                    <a:pt x="909393" y="107638"/>
                  </a:lnTo>
                  <a:lnTo>
                    <a:pt x="909393" y="105399"/>
                  </a:lnTo>
                  <a:lnTo>
                    <a:pt x="906299" y="10539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 name="Group 22"/>
            <p:cNvGrpSpPr/>
            <p:nvPr/>
          </p:nvGrpSpPr>
          <p:grpSpPr>
            <a:xfrm>
              <a:off x="8361888" y="2784889"/>
              <a:ext cx="131252" cy="454890"/>
              <a:chOff x="10628855" y="1494279"/>
              <a:chExt cx="69177" cy="239752"/>
            </a:xfrm>
          </p:grpSpPr>
          <p:sp>
            <p:nvSpPr>
              <p:cNvPr id="188" name="Oval 36"/>
              <p:cNvSpPr>
                <a:spLocks noChangeArrowheads="1"/>
              </p:cNvSpPr>
              <p:nvPr/>
            </p:nvSpPr>
            <p:spPr bwMode="black">
              <a:xfrm>
                <a:off x="10628855" y="1494279"/>
                <a:ext cx="69177" cy="68237"/>
              </a:xfrm>
              <a:prstGeom prst="ellipse">
                <a:avLst/>
              </a:prstGeom>
              <a:solidFill>
                <a:srgbClr val="FFFFFF"/>
              </a:solidFill>
              <a:ln>
                <a:solidFill>
                  <a:srgbClr val="008272"/>
                </a:solid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sp>
            <p:nvSpPr>
              <p:cNvPr id="189" name="Oval 37"/>
              <p:cNvSpPr>
                <a:spLocks noChangeArrowheads="1"/>
              </p:cNvSpPr>
              <p:nvPr/>
            </p:nvSpPr>
            <p:spPr bwMode="black">
              <a:xfrm>
                <a:off x="10628855" y="1580036"/>
                <a:ext cx="69177" cy="69159"/>
              </a:xfrm>
              <a:prstGeom prst="ellipse">
                <a:avLst/>
              </a:prstGeom>
              <a:solidFill>
                <a:srgbClr val="FFFFFF"/>
              </a:solidFill>
              <a:ln>
                <a:solidFill>
                  <a:srgbClr val="008272"/>
                </a:solid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sp>
            <p:nvSpPr>
              <p:cNvPr id="190" name="Oval 38"/>
              <p:cNvSpPr>
                <a:spLocks noChangeArrowheads="1"/>
              </p:cNvSpPr>
              <p:nvPr/>
            </p:nvSpPr>
            <p:spPr bwMode="black">
              <a:xfrm>
                <a:off x="10628855" y="1664872"/>
                <a:ext cx="69177" cy="69159"/>
              </a:xfrm>
              <a:prstGeom prst="ellipse">
                <a:avLst/>
              </a:prstGeom>
              <a:solidFill>
                <a:srgbClr val="00B050"/>
              </a:solidFill>
              <a:ln>
                <a:noFill/>
              </a:ln>
              <a:effectLst>
                <a:glow rad="25400">
                  <a:srgbClr val="00B050">
                    <a:alpha val="40000"/>
                  </a:srgbClr>
                </a:glow>
              </a:effec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grpSp>
        <p:sp>
          <p:nvSpPr>
            <p:cNvPr id="198" name="Freeform 367"/>
            <p:cNvSpPr>
              <a:spLocks noEditPoints="1"/>
            </p:cNvSpPr>
            <p:nvPr/>
          </p:nvSpPr>
          <p:spPr bwMode="auto">
            <a:xfrm>
              <a:off x="7219479" y="2476995"/>
              <a:ext cx="559740" cy="397086"/>
            </a:xfrm>
            <a:custGeom>
              <a:avLst/>
              <a:gdLst>
                <a:gd name="T0" fmla="*/ 78 w 1583"/>
                <a:gd name="T1" fmla="*/ 51 h 1124"/>
                <a:gd name="T2" fmla="*/ 68 w 1583"/>
                <a:gd name="T3" fmla="*/ 53 h 1124"/>
                <a:gd name="T4" fmla="*/ 60 w 1583"/>
                <a:gd name="T5" fmla="*/ 57 h 1124"/>
                <a:gd name="T6" fmla="*/ 60 w 1583"/>
                <a:gd name="T7" fmla="*/ 59 h 1124"/>
                <a:gd name="T8" fmla="*/ 58 w 1583"/>
                <a:gd name="T9" fmla="*/ 59 h 1124"/>
                <a:gd name="T10" fmla="*/ 54 w 1583"/>
                <a:gd name="T11" fmla="*/ 67 h 1124"/>
                <a:gd name="T12" fmla="*/ 52 w 1583"/>
                <a:gd name="T13" fmla="*/ 77 h 1124"/>
                <a:gd name="T14" fmla="*/ 52 w 1583"/>
                <a:gd name="T15" fmla="*/ 1048 h 1124"/>
                <a:gd name="T16" fmla="*/ 54 w 1583"/>
                <a:gd name="T17" fmla="*/ 1058 h 1124"/>
                <a:gd name="T18" fmla="*/ 54 w 1583"/>
                <a:gd name="T19" fmla="*/ 1058 h 1124"/>
                <a:gd name="T20" fmla="*/ 56 w 1583"/>
                <a:gd name="T21" fmla="*/ 1064 h 1124"/>
                <a:gd name="T22" fmla="*/ 68 w 1583"/>
                <a:gd name="T23" fmla="*/ 1070 h 1124"/>
                <a:gd name="T24" fmla="*/ 72 w 1583"/>
                <a:gd name="T25" fmla="*/ 1072 h 1124"/>
                <a:gd name="T26" fmla="*/ 1512 w 1583"/>
                <a:gd name="T27" fmla="*/ 1072 h 1124"/>
                <a:gd name="T28" fmla="*/ 1518 w 1583"/>
                <a:gd name="T29" fmla="*/ 1070 h 1124"/>
                <a:gd name="T30" fmla="*/ 1526 w 1583"/>
                <a:gd name="T31" fmla="*/ 1066 h 1124"/>
                <a:gd name="T32" fmla="*/ 1530 w 1583"/>
                <a:gd name="T33" fmla="*/ 1058 h 1124"/>
                <a:gd name="T34" fmla="*/ 1532 w 1583"/>
                <a:gd name="T35" fmla="*/ 1054 h 1124"/>
                <a:gd name="T36" fmla="*/ 1532 w 1583"/>
                <a:gd name="T37" fmla="*/ 71 h 1124"/>
                <a:gd name="T38" fmla="*/ 1530 w 1583"/>
                <a:gd name="T39" fmla="*/ 67 h 1124"/>
                <a:gd name="T40" fmla="*/ 1524 w 1583"/>
                <a:gd name="T41" fmla="*/ 57 h 1124"/>
                <a:gd name="T42" fmla="*/ 1518 w 1583"/>
                <a:gd name="T43" fmla="*/ 53 h 1124"/>
                <a:gd name="T44" fmla="*/ 1508 w 1583"/>
                <a:gd name="T45" fmla="*/ 51 h 1124"/>
                <a:gd name="T46" fmla="*/ 78 w 1583"/>
                <a:gd name="T47" fmla="*/ 51 h 1124"/>
                <a:gd name="T48" fmla="*/ 78 w 1583"/>
                <a:gd name="T49" fmla="*/ 0 h 1124"/>
                <a:gd name="T50" fmla="*/ 1508 w 1583"/>
                <a:gd name="T51" fmla="*/ 0 h 1124"/>
                <a:gd name="T52" fmla="*/ 1537 w 1583"/>
                <a:gd name="T53" fmla="*/ 6 h 1124"/>
                <a:gd name="T54" fmla="*/ 1561 w 1583"/>
                <a:gd name="T55" fmla="*/ 23 h 1124"/>
                <a:gd name="T56" fmla="*/ 1567 w 1583"/>
                <a:gd name="T57" fmla="*/ 31 h 1124"/>
                <a:gd name="T58" fmla="*/ 1577 w 1583"/>
                <a:gd name="T59" fmla="*/ 47 h 1124"/>
                <a:gd name="T60" fmla="*/ 1581 w 1583"/>
                <a:gd name="T61" fmla="*/ 57 h 1124"/>
                <a:gd name="T62" fmla="*/ 1583 w 1583"/>
                <a:gd name="T63" fmla="*/ 67 h 1124"/>
                <a:gd name="T64" fmla="*/ 1583 w 1583"/>
                <a:gd name="T65" fmla="*/ 1058 h 1124"/>
                <a:gd name="T66" fmla="*/ 1581 w 1583"/>
                <a:gd name="T67" fmla="*/ 1068 h 1124"/>
                <a:gd name="T68" fmla="*/ 1577 w 1583"/>
                <a:gd name="T69" fmla="*/ 1078 h 1124"/>
                <a:gd name="T70" fmla="*/ 1567 w 1583"/>
                <a:gd name="T71" fmla="*/ 1094 h 1124"/>
                <a:gd name="T72" fmla="*/ 1561 w 1583"/>
                <a:gd name="T73" fmla="*/ 1102 h 1124"/>
                <a:gd name="T74" fmla="*/ 1553 w 1583"/>
                <a:gd name="T75" fmla="*/ 1108 h 1124"/>
                <a:gd name="T76" fmla="*/ 1537 w 1583"/>
                <a:gd name="T77" fmla="*/ 1118 h 1124"/>
                <a:gd name="T78" fmla="*/ 1528 w 1583"/>
                <a:gd name="T79" fmla="*/ 1122 h 1124"/>
                <a:gd name="T80" fmla="*/ 1518 w 1583"/>
                <a:gd name="T81" fmla="*/ 1124 h 1124"/>
                <a:gd name="T82" fmla="*/ 68 w 1583"/>
                <a:gd name="T83" fmla="*/ 1124 h 1124"/>
                <a:gd name="T84" fmla="*/ 58 w 1583"/>
                <a:gd name="T85" fmla="*/ 1122 h 1124"/>
                <a:gd name="T86" fmla="*/ 48 w 1583"/>
                <a:gd name="T87" fmla="*/ 1118 h 1124"/>
                <a:gd name="T88" fmla="*/ 30 w 1583"/>
                <a:gd name="T89" fmla="*/ 1108 h 1124"/>
                <a:gd name="T90" fmla="*/ 22 w 1583"/>
                <a:gd name="T91" fmla="*/ 1102 h 1124"/>
                <a:gd name="T92" fmla="*/ 12 w 1583"/>
                <a:gd name="T93" fmla="*/ 1086 h 1124"/>
                <a:gd name="T94" fmla="*/ 6 w 1583"/>
                <a:gd name="T95" fmla="*/ 1078 h 1124"/>
                <a:gd name="T96" fmla="*/ 0 w 1583"/>
                <a:gd name="T97" fmla="*/ 1050 h 1124"/>
                <a:gd name="T98" fmla="*/ 0 w 1583"/>
                <a:gd name="T99" fmla="*/ 75 h 1124"/>
                <a:gd name="T100" fmla="*/ 6 w 1583"/>
                <a:gd name="T101" fmla="*/ 47 h 1124"/>
                <a:gd name="T102" fmla="*/ 16 w 1583"/>
                <a:gd name="T103" fmla="*/ 31 h 1124"/>
                <a:gd name="T104" fmla="*/ 22 w 1583"/>
                <a:gd name="T105" fmla="*/ 23 h 1124"/>
                <a:gd name="T106" fmla="*/ 30 w 1583"/>
                <a:gd name="T107" fmla="*/ 17 h 1124"/>
                <a:gd name="T108" fmla="*/ 48 w 1583"/>
                <a:gd name="T109" fmla="*/ 6 h 1124"/>
                <a:gd name="T110" fmla="*/ 78 w 1583"/>
                <a:gd name="T111" fmla="*/ 0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3" h="1124">
                  <a:moveTo>
                    <a:pt x="78" y="51"/>
                  </a:moveTo>
                  <a:lnTo>
                    <a:pt x="68" y="53"/>
                  </a:lnTo>
                  <a:lnTo>
                    <a:pt x="60" y="57"/>
                  </a:lnTo>
                  <a:lnTo>
                    <a:pt x="60" y="59"/>
                  </a:lnTo>
                  <a:lnTo>
                    <a:pt x="58" y="59"/>
                  </a:lnTo>
                  <a:lnTo>
                    <a:pt x="54" y="67"/>
                  </a:lnTo>
                  <a:lnTo>
                    <a:pt x="52" y="77"/>
                  </a:lnTo>
                  <a:lnTo>
                    <a:pt x="52" y="1048"/>
                  </a:lnTo>
                  <a:lnTo>
                    <a:pt x="54" y="1058"/>
                  </a:lnTo>
                  <a:lnTo>
                    <a:pt x="54" y="1058"/>
                  </a:lnTo>
                  <a:lnTo>
                    <a:pt x="56" y="1064"/>
                  </a:lnTo>
                  <a:lnTo>
                    <a:pt x="68" y="1070"/>
                  </a:lnTo>
                  <a:lnTo>
                    <a:pt x="72" y="1072"/>
                  </a:lnTo>
                  <a:lnTo>
                    <a:pt x="1512" y="1072"/>
                  </a:lnTo>
                  <a:lnTo>
                    <a:pt x="1518" y="1070"/>
                  </a:lnTo>
                  <a:lnTo>
                    <a:pt x="1526" y="1066"/>
                  </a:lnTo>
                  <a:lnTo>
                    <a:pt x="1530" y="1058"/>
                  </a:lnTo>
                  <a:lnTo>
                    <a:pt x="1532" y="1054"/>
                  </a:lnTo>
                  <a:lnTo>
                    <a:pt x="1532" y="71"/>
                  </a:lnTo>
                  <a:lnTo>
                    <a:pt x="1530" y="67"/>
                  </a:lnTo>
                  <a:lnTo>
                    <a:pt x="1524" y="57"/>
                  </a:lnTo>
                  <a:lnTo>
                    <a:pt x="1518" y="53"/>
                  </a:lnTo>
                  <a:lnTo>
                    <a:pt x="1508" y="51"/>
                  </a:lnTo>
                  <a:lnTo>
                    <a:pt x="78" y="51"/>
                  </a:lnTo>
                  <a:close/>
                  <a:moveTo>
                    <a:pt x="78" y="0"/>
                  </a:moveTo>
                  <a:lnTo>
                    <a:pt x="1508" y="0"/>
                  </a:lnTo>
                  <a:lnTo>
                    <a:pt x="1537" y="6"/>
                  </a:lnTo>
                  <a:lnTo>
                    <a:pt x="1561" y="23"/>
                  </a:lnTo>
                  <a:lnTo>
                    <a:pt x="1567" y="31"/>
                  </a:lnTo>
                  <a:lnTo>
                    <a:pt x="1577" y="47"/>
                  </a:lnTo>
                  <a:lnTo>
                    <a:pt x="1581" y="57"/>
                  </a:lnTo>
                  <a:lnTo>
                    <a:pt x="1583" y="67"/>
                  </a:lnTo>
                  <a:lnTo>
                    <a:pt x="1583" y="1058"/>
                  </a:lnTo>
                  <a:lnTo>
                    <a:pt x="1581" y="1068"/>
                  </a:lnTo>
                  <a:lnTo>
                    <a:pt x="1577" y="1078"/>
                  </a:lnTo>
                  <a:lnTo>
                    <a:pt x="1567" y="1094"/>
                  </a:lnTo>
                  <a:lnTo>
                    <a:pt x="1561" y="1102"/>
                  </a:lnTo>
                  <a:lnTo>
                    <a:pt x="1553" y="1108"/>
                  </a:lnTo>
                  <a:lnTo>
                    <a:pt x="1537" y="1118"/>
                  </a:lnTo>
                  <a:lnTo>
                    <a:pt x="1528" y="1122"/>
                  </a:lnTo>
                  <a:lnTo>
                    <a:pt x="1518" y="1124"/>
                  </a:lnTo>
                  <a:lnTo>
                    <a:pt x="68" y="1124"/>
                  </a:lnTo>
                  <a:lnTo>
                    <a:pt x="58" y="1122"/>
                  </a:lnTo>
                  <a:lnTo>
                    <a:pt x="48" y="1118"/>
                  </a:lnTo>
                  <a:lnTo>
                    <a:pt x="30" y="1108"/>
                  </a:lnTo>
                  <a:lnTo>
                    <a:pt x="22" y="1102"/>
                  </a:lnTo>
                  <a:lnTo>
                    <a:pt x="12" y="1086"/>
                  </a:lnTo>
                  <a:lnTo>
                    <a:pt x="6" y="1078"/>
                  </a:lnTo>
                  <a:lnTo>
                    <a:pt x="0" y="1050"/>
                  </a:lnTo>
                  <a:lnTo>
                    <a:pt x="0" y="75"/>
                  </a:lnTo>
                  <a:lnTo>
                    <a:pt x="6" y="47"/>
                  </a:lnTo>
                  <a:lnTo>
                    <a:pt x="16" y="31"/>
                  </a:lnTo>
                  <a:lnTo>
                    <a:pt x="22" y="23"/>
                  </a:lnTo>
                  <a:lnTo>
                    <a:pt x="30" y="17"/>
                  </a:lnTo>
                  <a:lnTo>
                    <a:pt x="48" y="6"/>
                  </a:lnTo>
                  <a:lnTo>
                    <a:pt x="78"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368"/>
            <p:cNvSpPr>
              <a:spLocks/>
            </p:cNvSpPr>
            <p:nvPr/>
          </p:nvSpPr>
          <p:spPr bwMode="auto">
            <a:xfrm>
              <a:off x="7435742" y="2611241"/>
              <a:ext cx="281990" cy="401325"/>
            </a:xfrm>
            <a:custGeom>
              <a:avLst/>
              <a:gdLst>
                <a:gd name="T0" fmla="*/ 654 w 799"/>
                <a:gd name="T1" fmla="*/ 6 h 1136"/>
                <a:gd name="T2" fmla="*/ 690 w 799"/>
                <a:gd name="T3" fmla="*/ 34 h 1136"/>
                <a:gd name="T4" fmla="*/ 701 w 799"/>
                <a:gd name="T5" fmla="*/ 78 h 1136"/>
                <a:gd name="T6" fmla="*/ 686 w 799"/>
                <a:gd name="T7" fmla="*/ 122 h 1136"/>
                <a:gd name="T8" fmla="*/ 520 w 799"/>
                <a:gd name="T9" fmla="*/ 335 h 1136"/>
                <a:gd name="T10" fmla="*/ 564 w 799"/>
                <a:gd name="T11" fmla="*/ 323 h 1136"/>
                <a:gd name="T12" fmla="*/ 608 w 799"/>
                <a:gd name="T13" fmla="*/ 339 h 1136"/>
                <a:gd name="T14" fmla="*/ 632 w 799"/>
                <a:gd name="T15" fmla="*/ 377 h 1136"/>
                <a:gd name="T16" fmla="*/ 630 w 799"/>
                <a:gd name="T17" fmla="*/ 423 h 1136"/>
                <a:gd name="T18" fmla="*/ 602 w 799"/>
                <a:gd name="T19" fmla="*/ 465 h 1136"/>
                <a:gd name="T20" fmla="*/ 648 w 799"/>
                <a:gd name="T21" fmla="*/ 447 h 1136"/>
                <a:gd name="T22" fmla="*/ 695 w 799"/>
                <a:gd name="T23" fmla="*/ 465 h 1136"/>
                <a:gd name="T24" fmla="*/ 721 w 799"/>
                <a:gd name="T25" fmla="*/ 503 h 1136"/>
                <a:gd name="T26" fmla="*/ 719 w 799"/>
                <a:gd name="T27" fmla="*/ 548 h 1136"/>
                <a:gd name="T28" fmla="*/ 678 w 799"/>
                <a:gd name="T29" fmla="*/ 606 h 1136"/>
                <a:gd name="T30" fmla="*/ 723 w 799"/>
                <a:gd name="T31" fmla="*/ 588 h 1136"/>
                <a:gd name="T32" fmla="*/ 771 w 799"/>
                <a:gd name="T33" fmla="*/ 604 h 1136"/>
                <a:gd name="T34" fmla="*/ 795 w 799"/>
                <a:gd name="T35" fmla="*/ 644 h 1136"/>
                <a:gd name="T36" fmla="*/ 793 w 799"/>
                <a:gd name="T37" fmla="*/ 690 h 1136"/>
                <a:gd name="T38" fmla="*/ 508 w 799"/>
                <a:gd name="T39" fmla="*/ 1053 h 1136"/>
                <a:gd name="T40" fmla="*/ 480 w 799"/>
                <a:gd name="T41" fmla="*/ 1083 h 1136"/>
                <a:gd name="T42" fmla="*/ 441 w 799"/>
                <a:gd name="T43" fmla="*/ 1117 h 1136"/>
                <a:gd name="T44" fmla="*/ 395 w 799"/>
                <a:gd name="T45" fmla="*/ 1136 h 1136"/>
                <a:gd name="T46" fmla="*/ 355 w 799"/>
                <a:gd name="T47" fmla="*/ 1125 h 1136"/>
                <a:gd name="T48" fmla="*/ 315 w 799"/>
                <a:gd name="T49" fmla="*/ 1095 h 1136"/>
                <a:gd name="T50" fmla="*/ 257 w 799"/>
                <a:gd name="T51" fmla="*/ 1049 h 1136"/>
                <a:gd name="T52" fmla="*/ 190 w 799"/>
                <a:gd name="T53" fmla="*/ 995 h 1136"/>
                <a:gd name="T54" fmla="*/ 124 w 799"/>
                <a:gd name="T55" fmla="*/ 941 h 1136"/>
                <a:gd name="T56" fmla="*/ 68 w 799"/>
                <a:gd name="T57" fmla="*/ 897 h 1136"/>
                <a:gd name="T58" fmla="*/ 36 w 799"/>
                <a:gd name="T59" fmla="*/ 869 h 1136"/>
                <a:gd name="T60" fmla="*/ 6 w 799"/>
                <a:gd name="T61" fmla="*/ 828 h 1136"/>
                <a:gd name="T62" fmla="*/ 0 w 799"/>
                <a:gd name="T63" fmla="*/ 782 h 1136"/>
                <a:gd name="T64" fmla="*/ 68 w 799"/>
                <a:gd name="T65" fmla="*/ 301 h 1136"/>
                <a:gd name="T66" fmla="*/ 90 w 799"/>
                <a:gd name="T67" fmla="*/ 259 h 1136"/>
                <a:gd name="T68" fmla="*/ 130 w 799"/>
                <a:gd name="T69" fmla="*/ 239 h 1136"/>
                <a:gd name="T70" fmla="*/ 176 w 799"/>
                <a:gd name="T71" fmla="*/ 245 h 1136"/>
                <a:gd name="T72" fmla="*/ 208 w 799"/>
                <a:gd name="T73" fmla="*/ 277 h 1136"/>
                <a:gd name="T74" fmla="*/ 216 w 799"/>
                <a:gd name="T75" fmla="*/ 323 h 1136"/>
                <a:gd name="T76" fmla="*/ 570 w 799"/>
                <a:gd name="T77" fmla="*/ 28 h 1136"/>
                <a:gd name="T78" fmla="*/ 608 w 799"/>
                <a:gd name="T79" fmla="*/ 4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9" h="1136">
                  <a:moveTo>
                    <a:pt x="632" y="0"/>
                  </a:moveTo>
                  <a:lnTo>
                    <a:pt x="654" y="6"/>
                  </a:lnTo>
                  <a:lnTo>
                    <a:pt x="674" y="16"/>
                  </a:lnTo>
                  <a:lnTo>
                    <a:pt x="690" y="34"/>
                  </a:lnTo>
                  <a:lnTo>
                    <a:pt x="699" y="56"/>
                  </a:lnTo>
                  <a:lnTo>
                    <a:pt x="701" y="78"/>
                  </a:lnTo>
                  <a:lnTo>
                    <a:pt x="697" y="102"/>
                  </a:lnTo>
                  <a:lnTo>
                    <a:pt x="686" y="122"/>
                  </a:lnTo>
                  <a:lnTo>
                    <a:pt x="502" y="351"/>
                  </a:lnTo>
                  <a:lnTo>
                    <a:pt x="520" y="335"/>
                  </a:lnTo>
                  <a:lnTo>
                    <a:pt x="542" y="325"/>
                  </a:lnTo>
                  <a:lnTo>
                    <a:pt x="564" y="323"/>
                  </a:lnTo>
                  <a:lnTo>
                    <a:pt x="586" y="327"/>
                  </a:lnTo>
                  <a:lnTo>
                    <a:pt x="608" y="339"/>
                  </a:lnTo>
                  <a:lnTo>
                    <a:pt x="624" y="357"/>
                  </a:lnTo>
                  <a:lnTo>
                    <a:pt x="632" y="377"/>
                  </a:lnTo>
                  <a:lnTo>
                    <a:pt x="636" y="401"/>
                  </a:lnTo>
                  <a:lnTo>
                    <a:pt x="630" y="423"/>
                  </a:lnTo>
                  <a:lnTo>
                    <a:pt x="620" y="443"/>
                  </a:lnTo>
                  <a:lnTo>
                    <a:pt x="602" y="465"/>
                  </a:lnTo>
                  <a:lnTo>
                    <a:pt x="624" y="453"/>
                  </a:lnTo>
                  <a:lnTo>
                    <a:pt x="648" y="447"/>
                  </a:lnTo>
                  <a:lnTo>
                    <a:pt x="674" y="451"/>
                  </a:lnTo>
                  <a:lnTo>
                    <a:pt x="695" y="465"/>
                  </a:lnTo>
                  <a:lnTo>
                    <a:pt x="711" y="481"/>
                  </a:lnTo>
                  <a:lnTo>
                    <a:pt x="721" y="503"/>
                  </a:lnTo>
                  <a:lnTo>
                    <a:pt x="723" y="525"/>
                  </a:lnTo>
                  <a:lnTo>
                    <a:pt x="719" y="548"/>
                  </a:lnTo>
                  <a:lnTo>
                    <a:pt x="707" y="568"/>
                  </a:lnTo>
                  <a:lnTo>
                    <a:pt x="678" y="606"/>
                  </a:lnTo>
                  <a:lnTo>
                    <a:pt x="699" y="592"/>
                  </a:lnTo>
                  <a:lnTo>
                    <a:pt x="723" y="588"/>
                  </a:lnTo>
                  <a:lnTo>
                    <a:pt x="747" y="592"/>
                  </a:lnTo>
                  <a:lnTo>
                    <a:pt x="771" y="604"/>
                  </a:lnTo>
                  <a:lnTo>
                    <a:pt x="787" y="622"/>
                  </a:lnTo>
                  <a:lnTo>
                    <a:pt x="795" y="644"/>
                  </a:lnTo>
                  <a:lnTo>
                    <a:pt x="799" y="666"/>
                  </a:lnTo>
                  <a:lnTo>
                    <a:pt x="793" y="690"/>
                  </a:lnTo>
                  <a:lnTo>
                    <a:pt x="781" y="710"/>
                  </a:lnTo>
                  <a:lnTo>
                    <a:pt x="508" y="1053"/>
                  </a:lnTo>
                  <a:lnTo>
                    <a:pt x="496" y="1067"/>
                  </a:lnTo>
                  <a:lnTo>
                    <a:pt x="480" y="1083"/>
                  </a:lnTo>
                  <a:lnTo>
                    <a:pt x="460" y="1101"/>
                  </a:lnTo>
                  <a:lnTo>
                    <a:pt x="441" y="1117"/>
                  </a:lnTo>
                  <a:lnTo>
                    <a:pt x="419" y="1129"/>
                  </a:lnTo>
                  <a:lnTo>
                    <a:pt x="395" y="1136"/>
                  </a:lnTo>
                  <a:lnTo>
                    <a:pt x="375" y="1134"/>
                  </a:lnTo>
                  <a:lnTo>
                    <a:pt x="355" y="1125"/>
                  </a:lnTo>
                  <a:lnTo>
                    <a:pt x="337" y="1113"/>
                  </a:lnTo>
                  <a:lnTo>
                    <a:pt x="315" y="1095"/>
                  </a:lnTo>
                  <a:lnTo>
                    <a:pt x="289" y="1073"/>
                  </a:lnTo>
                  <a:lnTo>
                    <a:pt x="257" y="1049"/>
                  </a:lnTo>
                  <a:lnTo>
                    <a:pt x="225" y="1021"/>
                  </a:lnTo>
                  <a:lnTo>
                    <a:pt x="190" y="995"/>
                  </a:lnTo>
                  <a:lnTo>
                    <a:pt x="156" y="967"/>
                  </a:lnTo>
                  <a:lnTo>
                    <a:pt x="124" y="941"/>
                  </a:lnTo>
                  <a:lnTo>
                    <a:pt x="94" y="917"/>
                  </a:lnTo>
                  <a:lnTo>
                    <a:pt x="68" y="897"/>
                  </a:lnTo>
                  <a:lnTo>
                    <a:pt x="48" y="881"/>
                  </a:lnTo>
                  <a:lnTo>
                    <a:pt x="36" y="869"/>
                  </a:lnTo>
                  <a:lnTo>
                    <a:pt x="16" y="849"/>
                  </a:lnTo>
                  <a:lnTo>
                    <a:pt x="6" y="828"/>
                  </a:lnTo>
                  <a:lnTo>
                    <a:pt x="0" y="804"/>
                  </a:lnTo>
                  <a:lnTo>
                    <a:pt x="0" y="782"/>
                  </a:lnTo>
                  <a:lnTo>
                    <a:pt x="2" y="758"/>
                  </a:lnTo>
                  <a:lnTo>
                    <a:pt x="68" y="301"/>
                  </a:lnTo>
                  <a:lnTo>
                    <a:pt x="76" y="277"/>
                  </a:lnTo>
                  <a:lnTo>
                    <a:pt x="90" y="259"/>
                  </a:lnTo>
                  <a:lnTo>
                    <a:pt x="108" y="245"/>
                  </a:lnTo>
                  <a:lnTo>
                    <a:pt x="130" y="239"/>
                  </a:lnTo>
                  <a:lnTo>
                    <a:pt x="154" y="239"/>
                  </a:lnTo>
                  <a:lnTo>
                    <a:pt x="176" y="245"/>
                  </a:lnTo>
                  <a:lnTo>
                    <a:pt x="194" y="259"/>
                  </a:lnTo>
                  <a:lnTo>
                    <a:pt x="208" y="277"/>
                  </a:lnTo>
                  <a:lnTo>
                    <a:pt x="216" y="299"/>
                  </a:lnTo>
                  <a:lnTo>
                    <a:pt x="216" y="323"/>
                  </a:lnTo>
                  <a:lnTo>
                    <a:pt x="190" y="503"/>
                  </a:lnTo>
                  <a:lnTo>
                    <a:pt x="570" y="28"/>
                  </a:lnTo>
                  <a:lnTo>
                    <a:pt x="588" y="12"/>
                  </a:lnTo>
                  <a:lnTo>
                    <a:pt x="608" y="4"/>
                  </a:lnTo>
                  <a:lnTo>
                    <a:pt x="632"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369"/>
            <p:cNvSpPr>
              <a:spLocks/>
            </p:cNvSpPr>
            <p:nvPr/>
          </p:nvSpPr>
          <p:spPr bwMode="auto">
            <a:xfrm>
              <a:off x="7280965" y="2570967"/>
              <a:ext cx="338530" cy="121528"/>
            </a:xfrm>
            <a:custGeom>
              <a:avLst/>
              <a:gdLst>
                <a:gd name="T0" fmla="*/ 584 w 958"/>
                <a:gd name="T1" fmla="*/ 0 h 343"/>
                <a:gd name="T2" fmla="*/ 661 w 958"/>
                <a:gd name="T3" fmla="*/ 6 h 343"/>
                <a:gd name="T4" fmla="*/ 739 w 958"/>
                <a:gd name="T5" fmla="*/ 20 h 343"/>
                <a:gd name="T6" fmla="*/ 815 w 958"/>
                <a:gd name="T7" fmla="*/ 44 h 343"/>
                <a:gd name="T8" fmla="*/ 889 w 958"/>
                <a:gd name="T9" fmla="*/ 77 h 343"/>
                <a:gd name="T10" fmla="*/ 958 w 958"/>
                <a:gd name="T11" fmla="*/ 121 h 343"/>
                <a:gd name="T12" fmla="*/ 869 w 958"/>
                <a:gd name="T13" fmla="*/ 247 h 343"/>
                <a:gd name="T14" fmla="*/ 799 w 958"/>
                <a:gd name="T15" fmla="*/ 203 h 343"/>
                <a:gd name="T16" fmla="*/ 725 w 958"/>
                <a:gd name="T17" fmla="*/ 169 h 343"/>
                <a:gd name="T18" fmla="*/ 650 w 958"/>
                <a:gd name="T19" fmla="*/ 145 h 343"/>
                <a:gd name="T20" fmla="*/ 572 w 958"/>
                <a:gd name="T21" fmla="*/ 131 h 343"/>
                <a:gd name="T22" fmla="*/ 492 w 958"/>
                <a:gd name="T23" fmla="*/ 125 h 343"/>
                <a:gd name="T24" fmla="*/ 415 w 958"/>
                <a:gd name="T25" fmla="*/ 129 h 343"/>
                <a:gd name="T26" fmla="*/ 337 w 958"/>
                <a:gd name="T27" fmla="*/ 143 h 343"/>
                <a:gd name="T28" fmla="*/ 263 w 958"/>
                <a:gd name="T29" fmla="*/ 165 h 343"/>
                <a:gd name="T30" fmla="*/ 191 w 958"/>
                <a:gd name="T31" fmla="*/ 197 h 343"/>
                <a:gd name="T32" fmla="*/ 122 w 958"/>
                <a:gd name="T33" fmla="*/ 237 h 343"/>
                <a:gd name="T34" fmla="*/ 60 w 958"/>
                <a:gd name="T35" fmla="*/ 287 h 343"/>
                <a:gd name="T36" fmla="*/ 0 w 958"/>
                <a:gd name="T37" fmla="*/ 343 h 343"/>
                <a:gd name="T38" fmla="*/ 42 w 958"/>
                <a:gd name="T39" fmla="*/ 277 h 343"/>
                <a:gd name="T40" fmla="*/ 94 w 958"/>
                <a:gd name="T41" fmla="*/ 213 h 343"/>
                <a:gd name="T42" fmla="*/ 152 w 958"/>
                <a:gd name="T43" fmla="*/ 157 h 343"/>
                <a:gd name="T44" fmla="*/ 215 w 958"/>
                <a:gd name="T45" fmla="*/ 109 h 343"/>
                <a:gd name="T46" fmla="*/ 283 w 958"/>
                <a:gd name="T47" fmla="*/ 69 h 343"/>
                <a:gd name="T48" fmla="*/ 355 w 958"/>
                <a:gd name="T49" fmla="*/ 40 h 343"/>
                <a:gd name="T50" fmla="*/ 430 w 958"/>
                <a:gd name="T51" fmla="*/ 18 h 343"/>
                <a:gd name="T52" fmla="*/ 506 w 958"/>
                <a:gd name="T53" fmla="*/ 4 h 343"/>
                <a:gd name="T54" fmla="*/ 584 w 958"/>
                <a:gd name="T55"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8" h="343">
                  <a:moveTo>
                    <a:pt x="584" y="0"/>
                  </a:moveTo>
                  <a:lnTo>
                    <a:pt x="661" y="6"/>
                  </a:lnTo>
                  <a:lnTo>
                    <a:pt x="739" y="20"/>
                  </a:lnTo>
                  <a:lnTo>
                    <a:pt x="815" y="44"/>
                  </a:lnTo>
                  <a:lnTo>
                    <a:pt x="889" y="77"/>
                  </a:lnTo>
                  <a:lnTo>
                    <a:pt x="958" y="121"/>
                  </a:lnTo>
                  <a:lnTo>
                    <a:pt x="869" y="247"/>
                  </a:lnTo>
                  <a:lnTo>
                    <a:pt x="799" y="203"/>
                  </a:lnTo>
                  <a:lnTo>
                    <a:pt x="725" y="169"/>
                  </a:lnTo>
                  <a:lnTo>
                    <a:pt x="650" y="145"/>
                  </a:lnTo>
                  <a:lnTo>
                    <a:pt x="572" y="131"/>
                  </a:lnTo>
                  <a:lnTo>
                    <a:pt x="492" y="125"/>
                  </a:lnTo>
                  <a:lnTo>
                    <a:pt x="415" y="129"/>
                  </a:lnTo>
                  <a:lnTo>
                    <a:pt x="337" y="143"/>
                  </a:lnTo>
                  <a:lnTo>
                    <a:pt x="263" y="165"/>
                  </a:lnTo>
                  <a:lnTo>
                    <a:pt x="191" y="197"/>
                  </a:lnTo>
                  <a:lnTo>
                    <a:pt x="122" y="237"/>
                  </a:lnTo>
                  <a:lnTo>
                    <a:pt x="60" y="287"/>
                  </a:lnTo>
                  <a:lnTo>
                    <a:pt x="0" y="343"/>
                  </a:lnTo>
                  <a:lnTo>
                    <a:pt x="42" y="277"/>
                  </a:lnTo>
                  <a:lnTo>
                    <a:pt x="94" y="213"/>
                  </a:lnTo>
                  <a:lnTo>
                    <a:pt x="152" y="157"/>
                  </a:lnTo>
                  <a:lnTo>
                    <a:pt x="215" y="109"/>
                  </a:lnTo>
                  <a:lnTo>
                    <a:pt x="283" y="69"/>
                  </a:lnTo>
                  <a:lnTo>
                    <a:pt x="355" y="40"/>
                  </a:lnTo>
                  <a:lnTo>
                    <a:pt x="430" y="18"/>
                  </a:lnTo>
                  <a:lnTo>
                    <a:pt x="506" y="4"/>
                  </a:lnTo>
                  <a:lnTo>
                    <a:pt x="584"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 name="Group 26"/>
          <p:cNvGrpSpPr/>
          <p:nvPr/>
        </p:nvGrpSpPr>
        <p:grpSpPr>
          <a:xfrm>
            <a:off x="8880008" y="1449130"/>
            <a:ext cx="2250509" cy="2250509"/>
            <a:chOff x="8880403" y="1448850"/>
            <a:chExt cx="2250828" cy="2250828"/>
          </a:xfrm>
        </p:grpSpPr>
        <p:sp>
          <p:nvSpPr>
            <p:cNvPr id="15" name="Rectangle 14"/>
            <p:cNvSpPr/>
            <p:nvPr>
              <p:custDataLst>
                <p:tags r:id="rId5"/>
              </p:custDataLst>
            </p:nvPr>
          </p:nvSpPr>
          <p:spPr bwMode="auto">
            <a:xfrm>
              <a:off x="8880403" y="1448850"/>
              <a:ext cx="2250828" cy="225082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Connectivity</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201" name="Freeform 200"/>
            <p:cNvSpPr/>
            <p:nvPr/>
          </p:nvSpPr>
          <p:spPr bwMode="auto">
            <a:xfrm rot="18900000">
              <a:off x="9583309" y="2044816"/>
              <a:ext cx="667320" cy="676621"/>
            </a:xfrm>
            <a:custGeom>
              <a:avLst/>
              <a:gdLst/>
              <a:ahLst/>
              <a:cxnLst/>
              <a:rect l="l" t="t" r="r" b="b"/>
              <a:pathLst>
                <a:path w="3268282" h="3314699">
                  <a:moveTo>
                    <a:pt x="451849" y="2396637"/>
                  </a:moveTo>
                  <a:cubicBezTo>
                    <a:pt x="700038" y="2396637"/>
                    <a:pt x="901235" y="2597834"/>
                    <a:pt x="901235" y="2846023"/>
                  </a:cubicBezTo>
                  <a:cubicBezTo>
                    <a:pt x="901235" y="3094212"/>
                    <a:pt x="700038" y="3295409"/>
                    <a:pt x="451849" y="3295409"/>
                  </a:cubicBezTo>
                  <a:cubicBezTo>
                    <a:pt x="203660" y="3295409"/>
                    <a:pt x="2463" y="3094212"/>
                    <a:pt x="2463" y="2846023"/>
                  </a:cubicBezTo>
                  <a:cubicBezTo>
                    <a:pt x="2463" y="2597834"/>
                    <a:pt x="203660" y="2396637"/>
                    <a:pt x="451849" y="2396637"/>
                  </a:cubicBezTo>
                  <a:close/>
                  <a:moveTo>
                    <a:pt x="2707" y="1129373"/>
                  </a:moveTo>
                  <a:cubicBezTo>
                    <a:pt x="524657" y="1158674"/>
                    <a:pt x="2024403" y="1366642"/>
                    <a:pt x="2178926" y="3314699"/>
                  </a:cubicBezTo>
                  <a:lnTo>
                    <a:pt x="1524580" y="3296817"/>
                  </a:lnTo>
                  <a:cubicBezTo>
                    <a:pt x="1446380" y="2770848"/>
                    <a:pt x="1270669" y="1868395"/>
                    <a:pt x="215" y="1757141"/>
                  </a:cubicBezTo>
                  <a:cubicBezTo>
                    <a:pt x="1876" y="1552868"/>
                    <a:pt x="1046" y="1333646"/>
                    <a:pt x="2707" y="1129373"/>
                  </a:cubicBezTo>
                  <a:close/>
                  <a:moveTo>
                    <a:pt x="3954" y="0"/>
                  </a:moveTo>
                  <a:cubicBezTo>
                    <a:pt x="786879" y="44444"/>
                    <a:pt x="3145912" y="457582"/>
                    <a:pt x="3268282" y="3314699"/>
                  </a:cubicBezTo>
                  <a:lnTo>
                    <a:pt x="2636314" y="3287576"/>
                  </a:lnTo>
                  <a:cubicBezTo>
                    <a:pt x="2585523" y="2579307"/>
                    <a:pt x="2145827" y="703239"/>
                    <a:pt x="0" y="648026"/>
                  </a:cubicBezTo>
                  <a:cubicBezTo>
                    <a:pt x="2492" y="338185"/>
                    <a:pt x="1462" y="309841"/>
                    <a:pt x="395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 name="Group 27"/>
          <p:cNvGrpSpPr/>
          <p:nvPr/>
        </p:nvGrpSpPr>
        <p:grpSpPr>
          <a:xfrm>
            <a:off x="6629499" y="3699640"/>
            <a:ext cx="2250509" cy="2250509"/>
            <a:chOff x="6629575" y="3699678"/>
            <a:chExt cx="2250828" cy="2250828"/>
          </a:xfrm>
        </p:grpSpPr>
        <p:sp>
          <p:nvSpPr>
            <p:cNvPr id="16" name="Rectangle 15"/>
            <p:cNvSpPr/>
            <p:nvPr>
              <p:custDataLst>
                <p:tags r:id="rId4"/>
              </p:custDataLst>
            </p:nvPr>
          </p:nvSpPr>
          <p:spPr bwMode="auto">
            <a:xfrm>
              <a:off x="6629575" y="3699678"/>
              <a:ext cx="2250828" cy="225082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Data</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202" name="icon  BINARY"/>
            <p:cNvSpPr>
              <a:spLocks noChangeAspect="1" noEditPoints="1"/>
            </p:cNvSpPr>
            <p:nvPr/>
          </p:nvSpPr>
          <p:spPr bwMode="auto">
            <a:xfrm>
              <a:off x="7295077" y="4388277"/>
              <a:ext cx="937878" cy="769686"/>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marL="0" marR="0" lvl="0" indent="0" algn="l" defTabSz="9142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9" name="Group 28"/>
          <p:cNvGrpSpPr/>
          <p:nvPr/>
        </p:nvGrpSpPr>
        <p:grpSpPr>
          <a:xfrm>
            <a:off x="8905346" y="3699640"/>
            <a:ext cx="2250509" cy="2250509"/>
            <a:chOff x="8880403" y="3699678"/>
            <a:chExt cx="2250828" cy="2250828"/>
          </a:xfrm>
        </p:grpSpPr>
        <p:sp>
          <p:nvSpPr>
            <p:cNvPr id="17" name="Rectangle 16"/>
            <p:cNvSpPr/>
            <p:nvPr>
              <p:custDataLst>
                <p:tags r:id="rId3"/>
              </p:custDataLst>
            </p:nvPr>
          </p:nvSpPr>
          <p:spPr bwMode="auto">
            <a:xfrm>
              <a:off x="8880403" y="3699678"/>
              <a:ext cx="2250828" cy="22508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Analytics</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grpSp>
          <p:nvGrpSpPr>
            <p:cNvPr id="203" name="Group 202"/>
            <p:cNvGrpSpPr/>
            <p:nvPr/>
          </p:nvGrpSpPr>
          <p:grpSpPr>
            <a:xfrm>
              <a:off x="9407483" y="4260621"/>
              <a:ext cx="1196667" cy="897342"/>
              <a:chOff x="13821543" y="-831838"/>
              <a:chExt cx="7109631" cy="5331283"/>
            </a:xfrm>
            <a:solidFill>
              <a:schemeClr val="bg1"/>
            </a:solidFill>
          </p:grpSpPr>
          <p:sp>
            <p:nvSpPr>
              <p:cNvPr id="204" name="Freeform 6"/>
              <p:cNvSpPr>
                <a:spLocks noChangeAspect="1" noEditPoints="1"/>
              </p:cNvSpPr>
              <p:nvPr/>
            </p:nvSpPr>
            <p:spPr bwMode="gray">
              <a:xfrm>
                <a:off x="13821543" y="-831838"/>
                <a:ext cx="7109631" cy="5331283"/>
              </a:xfrm>
              <a:custGeom>
                <a:avLst/>
                <a:gdLst>
                  <a:gd name="T0" fmla="*/ 0 w 824"/>
                  <a:gd name="T1" fmla="*/ 16 h 620"/>
                  <a:gd name="T2" fmla="*/ 808 w 824"/>
                  <a:gd name="T3" fmla="*/ 620 h 620"/>
                  <a:gd name="T4" fmla="*/ 808 w 824"/>
                  <a:gd name="T5" fmla="*/ 0 h 620"/>
                  <a:gd name="T6" fmla="*/ 71 w 824"/>
                  <a:gd name="T7" fmla="*/ 546 h 620"/>
                  <a:gd name="T8" fmla="*/ 267 w 824"/>
                  <a:gd name="T9" fmla="*/ 546 h 620"/>
                  <a:gd name="T10" fmla="*/ 76 w 824"/>
                  <a:gd name="T11" fmla="*/ 504 h 620"/>
                  <a:gd name="T12" fmla="*/ 262 w 824"/>
                  <a:gd name="T13" fmla="*/ 492 h 620"/>
                  <a:gd name="T14" fmla="*/ 262 w 824"/>
                  <a:gd name="T15" fmla="*/ 460 h 620"/>
                  <a:gd name="T16" fmla="*/ 76 w 824"/>
                  <a:gd name="T17" fmla="*/ 448 h 620"/>
                  <a:gd name="T18" fmla="*/ 262 w 824"/>
                  <a:gd name="T19" fmla="*/ 460 h 620"/>
                  <a:gd name="T20" fmla="*/ 71 w 824"/>
                  <a:gd name="T21" fmla="*/ 410 h 620"/>
                  <a:gd name="T22" fmla="*/ 267 w 824"/>
                  <a:gd name="T23" fmla="*/ 410 h 620"/>
                  <a:gd name="T24" fmla="*/ 76 w 824"/>
                  <a:gd name="T25" fmla="*/ 368 h 620"/>
                  <a:gd name="T26" fmla="*/ 262 w 824"/>
                  <a:gd name="T27" fmla="*/ 356 h 620"/>
                  <a:gd name="T28" fmla="*/ 262 w 824"/>
                  <a:gd name="T29" fmla="*/ 324 h 620"/>
                  <a:gd name="T30" fmla="*/ 76 w 824"/>
                  <a:gd name="T31" fmla="*/ 312 h 620"/>
                  <a:gd name="T32" fmla="*/ 262 w 824"/>
                  <a:gd name="T33" fmla="*/ 324 h 620"/>
                  <a:gd name="T34" fmla="*/ 303 w 824"/>
                  <a:gd name="T35" fmla="*/ 546 h 620"/>
                  <a:gd name="T36" fmla="*/ 499 w 824"/>
                  <a:gd name="T37" fmla="*/ 546 h 620"/>
                  <a:gd name="T38" fmla="*/ 308 w 824"/>
                  <a:gd name="T39" fmla="*/ 504 h 620"/>
                  <a:gd name="T40" fmla="*/ 494 w 824"/>
                  <a:gd name="T41" fmla="*/ 492 h 620"/>
                  <a:gd name="T42" fmla="*/ 494 w 824"/>
                  <a:gd name="T43" fmla="*/ 460 h 620"/>
                  <a:gd name="T44" fmla="*/ 308 w 824"/>
                  <a:gd name="T45" fmla="*/ 448 h 620"/>
                  <a:gd name="T46" fmla="*/ 494 w 824"/>
                  <a:gd name="T47" fmla="*/ 460 h 620"/>
                  <a:gd name="T48" fmla="*/ 303 w 824"/>
                  <a:gd name="T49" fmla="*/ 410 h 620"/>
                  <a:gd name="T50" fmla="*/ 499 w 824"/>
                  <a:gd name="T51" fmla="*/ 410 h 620"/>
                  <a:gd name="T52" fmla="*/ 308 w 824"/>
                  <a:gd name="T53" fmla="*/ 368 h 620"/>
                  <a:gd name="T54" fmla="*/ 494 w 824"/>
                  <a:gd name="T55" fmla="*/ 356 h 620"/>
                  <a:gd name="T56" fmla="*/ 494 w 824"/>
                  <a:gd name="T57" fmla="*/ 324 h 620"/>
                  <a:gd name="T58" fmla="*/ 308 w 824"/>
                  <a:gd name="T59" fmla="*/ 312 h 620"/>
                  <a:gd name="T60" fmla="*/ 494 w 824"/>
                  <a:gd name="T61" fmla="*/ 324 h 620"/>
                  <a:gd name="T62" fmla="*/ 71 w 824"/>
                  <a:gd name="T63" fmla="*/ 274 h 620"/>
                  <a:gd name="T64" fmla="*/ 499 w 824"/>
                  <a:gd name="T65" fmla="*/ 274 h 620"/>
                  <a:gd name="T66" fmla="*/ 76 w 824"/>
                  <a:gd name="T67" fmla="*/ 232 h 620"/>
                  <a:gd name="T68" fmla="*/ 494 w 824"/>
                  <a:gd name="T69" fmla="*/ 220 h 620"/>
                  <a:gd name="T70" fmla="*/ 500 w 824"/>
                  <a:gd name="T71" fmla="*/ 114 h 620"/>
                  <a:gd name="T72" fmla="*/ 64 w 824"/>
                  <a:gd name="T73" fmla="*/ 114 h 620"/>
                  <a:gd name="T74" fmla="*/ 478 w 824"/>
                  <a:gd name="T75" fmla="*/ 76 h 620"/>
                  <a:gd name="T76" fmla="*/ 672 w 824"/>
                  <a:gd name="T77" fmla="*/ 540 h 620"/>
                  <a:gd name="T78" fmla="*/ 779 w 824"/>
                  <a:gd name="T79" fmla="*/ 433 h 620"/>
                  <a:gd name="T80" fmla="*/ 553 w 824"/>
                  <a:gd name="T81" fmla="*/ 268 h 620"/>
                  <a:gd name="T82" fmla="*/ 568 w 824"/>
                  <a:gd name="T83" fmla="*/ 256 h 620"/>
                  <a:gd name="T84" fmla="*/ 582 w 824"/>
                  <a:gd name="T85" fmla="*/ 184 h 620"/>
                  <a:gd name="T86" fmla="*/ 624 w 824"/>
                  <a:gd name="T87" fmla="*/ 256 h 620"/>
                  <a:gd name="T88" fmla="*/ 640 w 824"/>
                  <a:gd name="T89" fmla="*/ 64 h 620"/>
                  <a:gd name="T90" fmla="*/ 680 w 824"/>
                  <a:gd name="T91" fmla="*/ 256 h 620"/>
                  <a:gd name="T92" fmla="*/ 697 w 824"/>
                  <a:gd name="T93" fmla="*/ 152 h 620"/>
                  <a:gd name="T94" fmla="*/ 740 w 824"/>
                  <a:gd name="T95" fmla="*/ 256 h 620"/>
                  <a:gd name="T96" fmla="*/ 755 w 824"/>
                  <a:gd name="T97" fmla="*/ 108 h 620"/>
                  <a:gd name="T98" fmla="*/ 780 w 824"/>
                  <a:gd name="T99" fmla="*/ 256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4" h="620">
                    <a:moveTo>
                      <a:pt x="808" y="0"/>
                    </a:moveTo>
                    <a:cubicBezTo>
                      <a:pt x="16" y="0"/>
                      <a:pt x="16" y="0"/>
                      <a:pt x="16" y="0"/>
                    </a:cubicBezTo>
                    <a:cubicBezTo>
                      <a:pt x="7" y="0"/>
                      <a:pt x="0" y="7"/>
                      <a:pt x="0" y="16"/>
                    </a:cubicBezTo>
                    <a:cubicBezTo>
                      <a:pt x="0" y="604"/>
                      <a:pt x="0" y="604"/>
                      <a:pt x="0" y="604"/>
                    </a:cubicBezTo>
                    <a:cubicBezTo>
                      <a:pt x="0" y="613"/>
                      <a:pt x="7" y="620"/>
                      <a:pt x="16" y="620"/>
                    </a:cubicBezTo>
                    <a:cubicBezTo>
                      <a:pt x="808" y="620"/>
                      <a:pt x="808" y="620"/>
                      <a:pt x="808" y="620"/>
                    </a:cubicBezTo>
                    <a:cubicBezTo>
                      <a:pt x="817" y="620"/>
                      <a:pt x="824" y="613"/>
                      <a:pt x="824" y="604"/>
                    </a:cubicBezTo>
                    <a:cubicBezTo>
                      <a:pt x="824" y="16"/>
                      <a:pt x="824" y="16"/>
                      <a:pt x="824" y="16"/>
                    </a:cubicBezTo>
                    <a:cubicBezTo>
                      <a:pt x="824" y="7"/>
                      <a:pt x="817" y="0"/>
                      <a:pt x="808" y="0"/>
                    </a:cubicBezTo>
                    <a:close/>
                    <a:moveTo>
                      <a:pt x="262" y="552"/>
                    </a:moveTo>
                    <a:cubicBezTo>
                      <a:pt x="76" y="552"/>
                      <a:pt x="76" y="552"/>
                      <a:pt x="76" y="552"/>
                    </a:cubicBezTo>
                    <a:cubicBezTo>
                      <a:pt x="73" y="552"/>
                      <a:pt x="71" y="549"/>
                      <a:pt x="71" y="546"/>
                    </a:cubicBezTo>
                    <a:cubicBezTo>
                      <a:pt x="71" y="543"/>
                      <a:pt x="73" y="540"/>
                      <a:pt x="76" y="540"/>
                    </a:cubicBezTo>
                    <a:cubicBezTo>
                      <a:pt x="262" y="540"/>
                      <a:pt x="262" y="540"/>
                      <a:pt x="262" y="540"/>
                    </a:cubicBezTo>
                    <a:cubicBezTo>
                      <a:pt x="265" y="540"/>
                      <a:pt x="267" y="543"/>
                      <a:pt x="267" y="546"/>
                    </a:cubicBezTo>
                    <a:cubicBezTo>
                      <a:pt x="267" y="549"/>
                      <a:pt x="265" y="552"/>
                      <a:pt x="262" y="552"/>
                    </a:cubicBezTo>
                    <a:close/>
                    <a:moveTo>
                      <a:pt x="262" y="504"/>
                    </a:moveTo>
                    <a:cubicBezTo>
                      <a:pt x="76" y="504"/>
                      <a:pt x="76" y="504"/>
                      <a:pt x="76" y="504"/>
                    </a:cubicBezTo>
                    <a:cubicBezTo>
                      <a:pt x="73" y="504"/>
                      <a:pt x="71" y="501"/>
                      <a:pt x="71" y="498"/>
                    </a:cubicBezTo>
                    <a:cubicBezTo>
                      <a:pt x="71" y="495"/>
                      <a:pt x="73" y="492"/>
                      <a:pt x="76" y="492"/>
                    </a:cubicBezTo>
                    <a:cubicBezTo>
                      <a:pt x="262" y="492"/>
                      <a:pt x="262" y="492"/>
                      <a:pt x="262" y="492"/>
                    </a:cubicBezTo>
                    <a:cubicBezTo>
                      <a:pt x="265" y="492"/>
                      <a:pt x="267" y="495"/>
                      <a:pt x="267" y="498"/>
                    </a:cubicBezTo>
                    <a:cubicBezTo>
                      <a:pt x="267" y="501"/>
                      <a:pt x="265" y="504"/>
                      <a:pt x="262" y="504"/>
                    </a:cubicBezTo>
                    <a:close/>
                    <a:moveTo>
                      <a:pt x="262" y="460"/>
                    </a:moveTo>
                    <a:cubicBezTo>
                      <a:pt x="76" y="460"/>
                      <a:pt x="76" y="460"/>
                      <a:pt x="76" y="460"/>
                    </a:cubicBezTo>
                    <a:cubicBezTo>
                      <a:pt x="73" y="460"/>
                      <a:pt x="71" y="457"/>
                      <a:pt x="71" y="454"/>
                    </a:cubicBezTo>
                    <a:cubicBezTo>
                      <a:pt x="71" y="451"/>
                      <a:pt x="73" y="448"/>
                      <a:pt x="76" y="448"/>
                    </a:cubicBezTo>
                    <a:cubicBezTo>
                      <a:pt x="262" y="448"/>
                      <a:pt x="262" y="448"/>
                      <a:pt x="262" y="448"/>
                    </a:cubicBezTo>
                    <a:cubicBezTo>
                      <a:pt x="265" y="448"/>
                      <a:pt x="267" y="451"/>
                      <a:pt x="267" y="454"/>
                    </a:cubicBezTo>
                    <a:cubicBezTo>
                      <a:pt x="267" y="457"/>
                      <a:pt x="265" y="460"/>
                      <a:pt x="262" y="460"/>
                    </a:cubicBezTo>
                    <a:close/>
                    <a:moveTo>
                      <a:pt x="262" y="416"/>
                    </a:moveTo>
                    <a:cubicBezTo>
                      <a:pt x="76" y="416"/>
                      <a:pt x="76" y="416"/>
                      <a:pt x="76" y="416"/>
                    </a:cubicBezTo>
                    <a:cubicBezTo>
                      <a:pt x="73" y="416"/>
                      <a:pt x="71" y="413"/>
                      <a:pt x="71" y="410"/>
                    </a:cubicBezTo>
                    <a:cubicBezTo>
                      <a:pt x="71" y="407"/>
                      <a:pt x="73" y="404"/>
                      <a:pt x="76" y="404"/>
                    </a:cubicBezTo>
                    <a:cubicBezTo>
                      <a:pt x="262" y="404"/>
                      <a:pt x="262" y="404"/>
                      <a:pt x="262" y="404"/>
                    </a:cubicBezTo>
                    <a:cubicBezTo>
                      <a:pt x="265" y="404"/>
                      <a:pt x="267" y="407"/>
                      <a:pt x="267" y="410"/>
                    </a:cubicBezTo>
                    <a:cubicBezTo>
                      <a:pt x="267" y="413"/>
                      <a:pt x="265" y="416"/>
                      <a:pt x="262" y="416"/>
                    </a:cubicBezTo>
                    <a:close/>
                    <a:moveTo>
                      <a:pt x="262" y="368"/>
                    </a:moveTo>
                    <a:cubicBezTo>
                      <a:pt x="76" y="368"/>
                      <a:pt x="76" y="368"/>
                      <a:pt x="76" y="368"/>
                    </a:cubicBezTo>
                    <a:cubicBezTo>
                      <a:pt x="73" y="368"/>
                      <a:pt x="71" y="365"/>
                      <a:pt x="71" y="362"/>
                    </a:cubicBezTo>
                    <a:cubicBezTo>
                      <a:pt x="71" y="359"/>
                      <a:pt x="73" y="356"/>
                      <a:pt x="76" y="356"/>
                    </a:cubicBezTo>
                    <a:cubicBezTo>
                      <a:pt x="262" y="356"/>
                      <a:pt x="262" y="356"/>
                      <a:pt x="262" y="356"/>
                    </a:cubicBezTo>
                    <a:cubicBezTo>
                      <a:pt x="265" y="356"/>
                      <a:pt x="267" y="359"/>
                      <a:pt x="267" y="362"/>
                    </a:cubicBezTo>
                    <a:cubicBezTo>
                      <a:pt x="267" y="365"/>
                      <a:pt x="265" y="368"/>
                      <a:pt x="262" y="368"/>
                    </a:cubicBezTo>
                    <a:close/>
                    <a:moveTo>
                      <a:pt x="262" y="324"/>
                    </a:moveTo>
                    <a:cubicBezTo>
                      <a:pt x="76" y="324"/>
                      <a:pt x="76" y="324"/>
                      <a:pt x="76" y="324"/>
                    </a:cubicBezTo>
                    <a:cubicBezTo>
                      <a:pt x="73" y="324"/>
                      <a:pt x="71" y="321"/>
                      <a:pt x="71" y="318"/>
                    </a:cubicBezTo>
                    <a:cubicBezTo>
                      <a:pt x="71" y="315"/>
                      <a:pt x="73" y="312"/>
                      <a:pt x="76" y="312"/>
                    </a:cubicBezTo>
                    <a:cubicBezTo>
                      <a:pt x="262" y="312"/>
                      <a:pt x="262" y="312"/>
                      <a:pt x="262" y="312"/>
                    </a:cubicBezTo>
                    <a:cubicBezTo>
                      <a:pt x="265" y="312"/>
                      <a:pt x="267" y="315"/>
                      <a:pt x="267" y="318"/>
                    </a:cubicBezTo>
                    <a:cubicBezTo>
                      <a:pt x="267" y="321"/>
                      <a:pt x="265" y="324"/>
                      <a:pt x="262" y="324"/>
                    </a:cubicBezTo>
                    <a:close/>
                    <a:moveTo>
                      <a:pt x="494" y="552"/>
                    </a:moveTo>
                    <a:cubicBezTo>
                      <a:pt x="308" y="552"/>
                      <a:pt x="308" y="552"/>
                      <a:pt x="308" y="552"/>
                    </a:cubicBezTo>
                    <a:cubicBezTo>
                      <a:pt x="305" y="552"/>
                      <a:pt x="303" y="549"/>
                      <a:pt x="303" y="546"/>
                    </a:cubicBezTo>
                    <a:cubicBezTo>
                      <a:pt x="303" y="543"/>
                      <a:pt x="305" y="540"/>
                      <a:pt x="308" y="540"/>
                    </a:cubicBezTo>
                    <a:cubicBezTo>
                      <a:pt x="494" y="540"/>
                      <a:pt x="494" y="540"/>
                      <a:pt x="494" y="540"/>
                    </a:cubicBezTo>
                    <a:cubicBezTo>
                      <a:pt x="497" y="540"/>
                      <a:pt x="499" y="543"/>
                      <a:pt x="499" y="546"/>
                    </a:cubicBezTo>
                    <a:cubicBezTo>
                      <a:pt x="499" y="549"/>
                      <a:pt x="497" y="552"/>
                      <a:pt x="494" y="552"/>
                    </a:cubicBezTo>
                    <a:close/>
                    <a:moveTo>
                      <a:pt x="494" y="504"/>
                    </a:moveTo>
                    <a:cubicBezTo>
                      <a:pt x="308" y="504"/>
                      <a:pt x="308" y="504"/>
                      <a:pt x="308" y="504"/>
                    </a:cubicBezTo>
                    <a:cubicBezTo>
                      <a:pt x="305" y="504"/>
                      <a:pt x="303" y="501"/>
                      <a:pt x="303" y="498"/>
                    </a:cubicBezTo>
                    <a:cubicBezTo>
                      <a:pt x="303" y="495"/>
                      <a:pt x="305" y="492"/>
                      <a:pt x="308" y="492"/>
                    </a:cubicBezTo>
                    <a:cubicBezTo>
                      <a:pt x="494" y="492"/>
                      <a:pt x="494" y="492"/>
                      <a:pt x="494" y="492"/>
                    </a:cubicBezTo>
                    <a:cubicBezTo>
                      <a:pt x="497" y="492"/>
                      <a:pt x="499" y="495"/>
                      <a:pt x="499" y="498"/>
                    </a:cubicBezTo>
                    <a:cubicBezTo>
                      <a:pt x="499" y="501"/>
                      <a:pt x="497" y="504"/>
                      <a:pt x="494" y="504"/>
                    </a:cubicBezTo>
                    <a:close/>
                    <a:moveTo>
                      <a:pt x="494" y="460"/>
                    </a:moveTo>
                    <a:cubicBezTo>
                      <a:pt x="308" y="460"/>
                      <a:pt x="308" y="460"/>
                      <a:pt x="308" y="460"/>
                    </a:cubicBezTo>
                    <a:cubicBezTo>
                      <a:pt x="305" y="460"/>
                      <a:pt x="303" y="457"/>
                      <a:pt x="303" y="454"/>
                    </a:cubicBezTo>
                    <a:cubicBezTo>
                      <a:pt x="303" y="451"/>
                      <a:pt x="305" y="448"/>
                      <a:pt x="308" y="448"/>
                    </a:cubicBezTo>
                    <a:cubicBezTo>
                      <a:pt x="494" y="448"/>
                      <a:pt x="494" y="448"/>
                      <a:pt x="494" y="448"/>
                    </a:cubicBezTo>
                    <a:cubicBezTo>
                      <a:pt x="497" y="448"/>
                      <a:pt x="499" y="451"/>
                      <a:pt x="499" y="454"/>
                    </a:cubicBezTo>
                    <a:cubicBezTo>
                      <a:pt x="499" y="457"/>
                      <a:pt x="497" y="460"/>
                      <a:pt x="494" y="460"/>
                    </a:cubicBezTo>
                    <a:close/>
                    <a:moveTo>
                      <a:pt x="494" y="416"/>
                    </a:moveTo>
                    <a:cubicBezTo>
                      <a:pt x="308" y="416"/>
                      <a:pt x="308" y="416"/>
                      <a:pt x="308" y="416"/>
                    </a:cubicBezTo>
                    <a:cubicBezTo>
                      <a:pt x="305" y="416"/>
                      <a:pt x="303" y="413"/>
                      <a:pt x="303" y="410"/>
                    </a:cubicBezTo>
                    <a:cubicBezTo>
                      <a:pt x="303" y="407"/>
                      <a:pt x="305" y="404"/>
                      <a:pt x="308" y="404"/>
                    </a:cubicBezTo>
                    <a:cubicBezTo>
                      <a:pt x="494" y="404"/>
                      <a:pt x="494" y="404"/>
                      <a:pt x="494" y="404"/>
                    </a:cubicBezTo>
                    <a:cubicBezTo>
                      <a:pt x="497" y="404"/>
                      <a:pt x="499" y="407"/>
                      <a:pt x="499" y="410"/>
                    </a:cubicBezTo>
                    <a:cubicBezTo>
                      <a:pt x="499" y="413"/>
                      <a:pt x="497" y="416"/>
                      <a:pt x="494" y="416"/>
                    </a:cubicBezTo>
                    <a:close/>
                    <a:moveTo>
                      <a:pt x="494" y="368"/>
                    </a:moveTo>
                    <a:cubicBezTo>
                      <a:pt x="308" y="368"/>
                      <a:pt x="308" y="368"/>
                      <a:pt x="308" y="368"/>
                    </a:cubicBezTo>
                    <a:cubicBezTo>
                      <a:pt x="305" y="368"/>
                      <a:pt x="303" y="365"/>
                      <a:pt x="303" y="362"/>
                    </a:cubicBezTo>
                    <a:cubicBezTo>
                      <a:pt x="303" y="359"/>
                      <a:pt x="305" y="356"/>
                      <a:pt x="308" y="356"/>
                    </a:cubicBezTo>
                    <a:cubicBezTo>
                      <a:pt x="494" y="356"/>
                      <a:pt x="494" y="356"/>
                      <a:pt x="494" y="356"/>
                    </a:cubicBezTo>
                    <a:cubicBezTo>
                      <a:pt x="497" y="356"/>
                      <a:pt x="499" y="359"/>
                      <a:pt x="499" y="362"/>
                    </a:cubicBezTo>
                    <a:cubicBezTo>
                      <a:pt x="499" y="365"/>
                      <a:pt x="497" y="368"/>
                      <a:pt x="494" y="368"/>
                    </a:cubicBezTo>
                    <a:close/>
                    <a:moveTo>
                      <a:pt x="494" y="324"/>
                    </a:moveTo>
                    <a:cubicBezTo>
                      <a:pt x="308" y="324"/>
                      <a:pt x="308" y="324"/>
                      <a:pt x="308" y="324"/>
                    </a:cubicBezTo>
                    <a:cubicBezTo>
                      <a:pt x="305" y="324"/>
                      <a:pt x="303" y="321"/>
                      <a:pt x="303" y="318"/>
                    </a:cubicBezTo>
                    <a:cubicBezTo>
                      <a:pt x="303" y="315"/>
                      <a:pt x="305" y="312"/>
                      <a:pt x="308" y="312"/>
                    </a:cubicBezTo>
                    <a:cubicBezTo>
                      <a:pt x="494" y="312"/>
                      <a:pt x="494" y="312"/>
                      <a:pt x="494" y="312"/>
                    </a:cubicBezTo>
                    <a:cubicBezTo>
                      <a:pt x="497" y="312"/>
                      <a:pt x="499" y="315"/>
                      <a:pt x="499" y="318"/>
                    </a:cubicBezTo>
                    <a:cubicBezTo>
                      <a:pt x="499" y="321"/>
                      <a:pt x="497" y="324"/>
                      <a:pt x="494" y="324"/>
                    </a:cubicBezTo>
                    <a:close/>
                    <a:moveTo>
                      <a:pt x="494" y="280"/>
                    </a:moveTo>
                    <a:cubicBezTo>
                      <a:pt x="76" y="280"/>
                      <a:pt x="76" y="280"/>
                      <a:pt x="76" y="280"/>
                    </a:cubicBezTo>
                    <a:cubicBezTo>
                      <a:pt x="73" y="280"/>
                      <a:pt x="71" y="277"/>
                      <a:pt x="71" y="274"/>
                    </a:cubicBezTo>
                    <a:cubicBezTo>
                      <a:pt x="71" y="271"/>
                      <a:pt x="73" y="268"/>
                      <a:pt x="76" y="268"/>
                    </a:cubicBezTo>
                    <a:cubicBezTo>
                      <a:pt x="494" y="268"/>
                      <a:pt x="494" y="268"/>
                      <a:pt x="494" y="268"/>
                    </a:cubicBezTo>
                    <a:cubicBezTo>
                      <a:pt x="497" y="268"/>
                      <a:pt x="499" y="271"/>
                      <a:pt x="499" y="274"/>
                    </a:cubicBezTo>
                    <a:cubicBezTo>
                      <a:pt x="499" y="277"/>
                      <a:pt x="497" y="280"/>
                      <a:pt x="494" y="280"/>
                    </a:cubicBezTo>
                    <a:close/>
                    <a:moveTo>
                      <a:pt x="494" y="232"/>
                    </a:moveTo>
                    <a:cubicBezTo>
                      <a:pt x="76" y="232"/>
                      <a:pt x="76" y="232"/>
                      <a:pt x="76" y="232"/>
                    </a:cubicBezTo>
                    <a:cubicBezTo>
                      <a:pt x="73" y="232"/>
                      <a:pt x="71" y="229"/>
                      <a:pt x="71" y="226"/>
                    </a:cubicBezTo>
                    <a:cubicBezTo>
                      <a:pt x="71" y="223"/>
                      <a:pt x="73" y="220"/>
                      <a:pt x="76" y="220"/>
                    </a:cubicBezTo>
                    <a:cubicBezTo>
                      <a:pt x="494" y="220"/>
                      <a:pt x="494" y="220"/>
                      <a:pt x="494" y="220"/>
                    </a:cubicBezTo>
                    <a:cubicBezTo>
                      <a:pt x="497" y="220"/>
                      <a:pt x="499" y="223"/>
                      <a:pt x="499" y="226"/>
                    </a:cubicBezTo>
                    <a:cubicBezTo>
                      <a:pt x="499" y="229"/>
                      <a:pt x="497" y="232"/>
                      <a:pt x="494" y="232"/>
                    </a:cubicBezTo>
                    <a:close/>
                    <a:moveTo>
                      <a:pt x="500" y="114"/>
                    </a:moveTo>
                    <a:cubicBezTo>
                      <a:pt x="500" y="130"/>
                      <a:pt x="490" y="144"/>
                      <a:pt x="478" y="144"/>
                    </a:cubicBezTo>
                    <a:cubicBezTo>
                      <a:pt x="85" y="144"/>
                      <a:pt x="85" y="144"/>
                      <a:pt x="85" y="144"/>
                    </a:cubicBezTo>
                    <a:cubicBezTo>
                      <a:pt x="73" y="144"/>
                      <a:pt x="64" y="130"/>
                      <a:pt x="64" y="114"/>
                    </a:cubicBezTo>
                    <a:cubicBezTo>
                      <a:pt x="64" y="106"/>
                      <a:pt x="64" y="106"/>
                      <a:pt x="64" y="106"/>
                    </a:cubicBezTo>
                    <a:cubicBezTo>
                      <a:pt x="64" y="90"/>
                      <a:pt x="73" y="76"/>
                      <a:pt x="85" y="76"/>
                    </a:cubicBezTo>
                    <a:cubicBezTo>
                      <a:pt x="478" y="76"/>
                      <a:pt x="478" y="76"/>
                      <a:pt x="478" y="76"/>
                    </a:cubicBezTo>
                    <a:cubicBezTo>
                      <a:pt x="490" y="76"/>
                      <a:pt x="500" y="90"/>
                      <a:pt x="500" y="106"/>
                    </a:cubicBezTo>
                    <a:lnTo>
                      <a:pt x="500" y="114"/>
                    </a:lnTo>
                    <a:close/>
                    <a:moveTo>
                      <a:pt x="672" y="540"/>
                    </a:moveTo>
                    <a:cubicBezTo>
                      <a:pt x="613" y="540"/>
                      <a:pt x="565" y="492"/>
                      <a:pt x="565" y="433"/>
                    </a:cubicBezTo>
                    <a:cubicBezTo>
                      <a:pt x="565" y="374"/>
                      <a:pt x="613" y="326"/>
                      <a:pt x="672" y="326"/>
                    </a:cubicBezTo>
                    <a:cubicBezTo>
                      <a:pt x="731" y="326"/>
                      <a:pt x="779" y="374"/>
                      <a:pt x="779" y="433"/>
                    </a:cubicBezTo>
                    <a:cubicBezTo>
                      <a:pt x="779" y="492"/>
                      <a:pt x="731" y="540"/>
                      <a:pt x="672" y="540"/>
                    </a:cubicBezTo>
                    <a:close/>
                    <a:moveTo>
                      <a:pt x="780" y="268"/>
                    </a:moveTo>
                    <a:cubicBezTo>
                      <a:pt x="553" y="268"/>
                      <a:pt x="553" y="268"/>
                      <a:pt x="553" y="268"/>
                    </a:cubicBezTo>
                    <a:cubicBezTo>
                      <a:pt x="551" y="268"/>
                      <a:pt x="548" y="265"/>
                      <a:pt x="548" y="262"/>
                    </a:cubicBezTo>
                    <a:cubicBezTo>
                      <a:pt x="548" y="259"/>
                      <a:pt x="551" y="256"/>
                      <a:pt x="553" y="256"/>
                    </a:cubicBezTo>
                    <a:cubicBezTo>
                      <a:pt x="568" y="256"/>
                      <a:pt x="568" y="256"/>
                      <a:pt x="568" y="256"/>
                    </a:cubicBezTo>
                    <a:cubicBezTo>
                      <a:pt x="568" y="192"/>
                      <a:pt x="568" y="192"/>
                      <a:pt x="568" y="192"/>
                    </a:cubicBezTo>
                    <a:cubicBezTo>
                      <a:pt x="568" y="187"/>
                      <a:pt x="572" y="184"/>
                      <a:pt x="579" y="184"/>
                    </a:cubicBezTo>
                    <a:cubicBezTo>
                      <a:pt x="582" y="184"/>
                      <a:pt x="582" y="184"/>
                      <a:pt x="582" y="184"/>
                    </a:cubicBezTo>
                    <a:cubicBezTo>
                      <a:pt x="589" y="184"/>
                      <a:pt x="596" y="187"/>
                      <a:pt x="596" y="192"/>
                    </a:cubicBezTo>
                    <a:cubicBezTo>
                      <a:pt x="596" y="256"/>
                      <a:pt x="596" y="256"/>
                      <a:pt x="596" y="256"/>
                    </a:cubicBezTo>
                    <a:cubicBezTo>
                      <a:pt x="624" y="256"/>
                      <a:pt x="624" y="256"/>
                      <a:pt x="624" y="256"/>
                    </a:cubicBezTo>
                    <a:cubicBezTo>
                      <a:pt x="624" y="74"/>
                      <a:pt x="624" y="74"/>
                      <a:pt x="624" y="74"/>
                    </a:cubicBezTo>
                    <a:cubicBezTo>
                      <a:pt x="624" y="69"/>
                      <a:pt x="630" y="64"/>
                      <a:pt x="637" y="64"/>
                    </a:cubicBezTo>
                    <a:cubicBezTo>
                      <a:pt x="640" y="64"/>
                      <a:pt x="640" y="64"/>
                      <a:pt x="640" y="64"/>
                    </a:cubicBezTo>
                    <a:cubicBezTo>
                      <a:pt x="647" y="64"/>
                      <a:pt x="652" y="69"/>
                      <a:pt x="652" y="74"/>
                    </a:cubicBezTo>
                    <a:cubicBezTo>
                      <a:pt x="652" y="256"/>
                      <a:pt x="652" y="256"/>
                      <a:pt x="652" y="256"/>
                    </a:cubicBezTo>
                    <a:cubicBezTo>
                      <a:pt x="680" y="256"/>
                      <a:pt x="680" y="256"/>
                      <a:pt x="680" y="256"/>
                    </a:cubicBezTo>
                    <a:cubicBezTo>
                      <a:pt x="680" y="160"/>
                      <a:pt x="680" y="160"/>
                      <a:pt x="680" y="160"/>
                    </a:cubicBezTo>
                    <a:cubicBezTo>
                      <a:pt x="680" y="155"/>
                      <a:pt x="687" y="152"/>
                      <a:pt x="694" y="152"/>
                    </a:cubicBezTo>
                    <a:cubicBezTo>
                      <a:pt x="697" y="152"/>
                      <a:pt x="697" y="152"/>
                      <a:pt x="697" y="152"/>
                    </a:cubicBezTo>
                    <a:cubicBezTo>
                      <a:pt x="704" y="152"/>
                      <a:pt x="712" y="155"/>
                      <a:pt x="712" y="160"/>
                    </a:cubicBezTo>
                    <a:cubicBezTo>
                      <a:pt x="712" y="256"/>
                      <a:pt x="712" y="256"/>
                      <a:pt x="712" y="256"/>
                    </a:cubicBezTo>
                    <a:cubicBezTo>
                      <a:pt x="740" y="256"/>
                      <a:pt x="740" y="256"/>
                      <a:pt x="740" y="256"/>
                    </a:cubicBezTo>
                    <a:cubicBezTo>
                      <a:pt x="740" y="118"/>
                      <a:pt x="740" y="118"/>
                      <a:pt x="740" y="118"/>
                    </a:cubicBezTo>
                    <a:cubicBezTo>
                      <a:pt x="740" y="113"/>
                      <a:pt x="744" y="108"/>
                      <a:pt x="751" y="108"/>
                    </a:cubicBezTo>
                    <a:cubicBezTo>
                      <a:pt x="755" y="108"/>
                      <a:pt x="755" y="108"/>
                      <a:pt x="755" y="108"/>
                    </a:cubicBezTo>
                    <a:cubicBezTo>
                      <a:pt x="762" y="108"/>
                      <a:pt x="768" y="113"/>
                      <a:pt x="768" y="118"/>
                    </a:cubicBezTo>
                    <a:cubicBezTo>
                      <a:pt x="768" y="256"/>
                      <a:pt x="768" y="256"/>
                      <a:pt x="768" y="256"/>
                    </a:cubicBezTo>
                    <a:cubicBezTo>
                      <a:pt x="780" y="256"/>
                      <a:pt x="780" y="256"/>
                      <a:pt x="780" y="256"/>
                    </a:cubicBezTo>
                    <a:cubicBezTo>
                      <a:pt x="782" y="256"/>
                      <a:pt x="785" y="259"/>
                      <a:pt x="785" y="262"/>
                    </a:cubicBezTo>
                    <a:cubicBezTo>
                      <a:pt x="785" y="265"/>
                      <a:pt x="782" y="268"/>
                      <a:pt x="780" y="2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5" name="Pie 204"/>
              <p:cNvSpPr/>
              <p:nvPr/>
            </p:nvSpPr>
            <p:spPr bwMode="auto">
              <a:xfrm>
                <a:off x="18846986" y="2133383"/>
                <a:ext cx="1536441" cy="1536441"/>
              </a:xfrm>
              <a:prstGeom prst="pie">
                <a:avLst>
                  <a:gd name="adj1" fmla="val 0"/>
                  <a:gd name="adj2" fmla="val 16236044"/>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p:cNvGrpSpPr/>
          <p:nvPr/>
        </p:nvGrpSpPr>
        <p:grpSpPr>
          <a:xfrm>
            <a:off x="1588" y="0"/>
            <a:ext cx="12195175" cy="945292"/>
            <a:chOff x="1588" y="0"/>
            <a:chExt cx="12195175" cy="945292"/>
          </a:xfrm>
        </p:grpSpPr>
        <p:sp>
          <p:nvSpPr>
            <p:cNvPr id="50"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The Internet of Thing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51" name="Rectangle 50"/>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2"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3" name="Group 52"/>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54"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5"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6"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7"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8"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9"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0"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1"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6440075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177"/>
                                        </p:tgtEl>
                                        <p:attrNameLst>
                                          <p:attrName>style.visibility</p:attrName>
                                        </p:attrNameLst>
                                      </p:cBhvr>
                                      <p:to>
                                        <p:strVal val="visible"/>
                                      </p:to>
                                    </p:set>
                                    <p:animEffect transition="in" filter="fade">
                                      <p:cBhvr>
                                        <p:cTn id="7" dur="500"/>
                                        <p:tgtEl>
                                          <p:spTgt spid="177"/>
                                        </p:tgtEl>
                                      </p:cBhvr>
                                    </p:animEffect>
                                  </p:childTnLst>
                                </p:cTn>
                              </p:par>
                              <p:par>
                                <p:cTn id="8" presetID="22" presetClass="entr" presetSubtype="2" fill="hold" nodeType="withEffect">
                                  <p:stCondLst>
                                    <p:cond delay="1500"/>
                                  </p:stCondLst>
                                  <p:childTnLst>
                                    <p:set>
                                      <p:cBhvr>
                                        <p:cTn id="9" dur="1" fill="hold">
                                          <p:stCondLst>
                                            <p:cond delay="0"/>
                                          </p:stCondLst>
                                        </p:cTn>
                                        <p:tgtEl>
                                          <p:spTgt spid="6"/>
                                        </p:tgtEl>
                                        <p:attrNameLst>
                                          <p:attrName>style.visibility</p:attrName>
                                        </p:attrNameLst>
                                      </p:cBhvr>
                                      <p:to>
                                        <p:strVal val="visible"/>
                                      </p:to>
                                    </p:set>
                                    <p:animEffect transition="in" filter="wipe(right)">
                                      <p:cBhvr>
                                        <p:cTn id="10" dur="1000"/>
                                        <p:tgtEl>
                                          <p:spTgt spid="6"/>
                                        </p:tgtEl>
                                      </p:cBhvr>
                                    </p:animEffect>
                                  </p:childTnLst>
                                </p:cTn>
                              </p:par>
                              <p:par>
                                <p:cTn id="11" presetID="10" presetClass="entr" presetSubtype="0" fill="hold" nodeType="withEffect">
                                  <p:stCondLst>
                                    <p:cond delay="15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childTnLst>
                                </p:cTn>
                              </p:par>
                              <p:par>
                                <p:cTn id="14" presetID="63" presetClass="path" presetSubtype="0" accel="50000" decel="50000" fill="hold" nodeType="withEffect">
                                  <p:stCondLst>
                                    <p:cond delay="1500"/>
                                  </p:stCondLst>
                                  <p:childTnLst>
                                    <p:animMotion origin="layout" path="M -0.05234 -1.11111E-6 L -1.45833E-6 -1.11111E-6 " pathEditMode="relative" rAng="0" ptsTypes="AA">
                                      <p:cBhvr>
                                        <p:cTn id="15" dur="750" fill="hold"/>
                                        <p:tgtEl>
                                          <p:spTgt spid="9"/>
                                        </p:tgtEl>
                                        <p:attrNameLst>
                                          <p:attrName>ppt_x</p:attrName>
                                          <p:attrName>ppt_y</p:attrName>
                                        </p:attrNameLst>
                                      </p:cBhvr>
                                      <p:rCtr x="2617" y="0"/>
                                    </p:animMotion>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2" decel="100000" fill="hold" nodeType="click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additive="base">
                                        <p:cTn id="24" dur="500" fill="hold"/>
                                        <p:tgtEl>
                                          <p:spTgt spid="31"/>
                                        </p:tgtEl>
                                        <p:attrNameLst>
                                          <p:attrName>ppt_x</p:attrName>
                                        </p:attrNameLst>
                                      </p:cBhvr>
                                      <p:tavLst>
                                        <p:tav tm="0">
                                          <p:val>
                                            <p:strVal val="1+#ppt_w/2"/>
                                          </p:val>
                                        </p:tav>
                                        <p:tav tm="100000">
                                          <p:val>
                                            <p:strVal val="#ppt_x"/>
                                          </p:val>
                                        </p:tav>
                                      </p:tavLst>
                                    </p:anim>
                                    <p:anim calcmode="lin" valueType="num">
                                      <p:cBhvr additive="base">
                                        <p:cTn id="25" dur="500" fill="hold"/>
                                        <p:tgtEl>
                                          <p:spTgt spid="31"/>
                                        </p:tgtEl>
                                        <p:attrNameLst>
                                          <p:attrName>ppt_y</p:attrName>
                                        </p:attrNameLst>
                                      </p:cBhvr>
                                      <p:tavLst>
                                        <p:tav tm="0">
                                          <p:val>
                                            <p:strVal val="#ppt_y"/>
                                          </p:val>
                                        </p:tav>
                                        <p:tav tm="100000">
                                          <p:val>
                                            <p:strVal val="#ppt_y"/>
                                          </p:val>
                                        </p:tav>
                                      </p:tavLst>
                                    </p:anim>
                                  </p:childTnLst>
                                </p:cTn>
                              </p:par>
                              <p:par>
                                <p:cTn id="26" presetID="2" presetClass="entr" presetSubtype="2" decel="100000" fill="hold" nodeType="withEffect">
                                  <p:stCondLst>
                                    <p:cond delay="25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500" fill="hold"/>
                                        <p:tgtEl>
                                          <p:spTgt spid="27"/>
                                        </p:tgtEl>
                                        <p:attrNameLst>
                                          <p:attrName>ppt_x</p:attrName>
                                        </p:attrNameLst>
                                      </p:cBhvr>
                                      <p:tavLst>
                                        <p:tav tm="0">
                                          <p:val>
                                            <p:strVal val="1+#ppt_w/2"/>
                                          </p:val>
                                        </p:tav>
                                        <p:tav tm="100000">
                                          <p:val>
                                            <p:strVal val="#ppt_x"/>
                                          </p:val>
                                        </p:tav>
                                      </p:tavLst>
                                    </p:anim>
                                    <p:anim calcmode="lin" valueType="num">
                                      <p:cBhvr additive="base">
                                        <p:cTn id="29" dur="500" fill="hold"/>
                                        <p:tgtEl>
                                          <p:spTgt spid="27"/>
                                        </p:tgtEl>
                                        <p:attrNameLst>
                                          <p:attrName>ppt_y</p:attrName>
                                        </p:attrNameLst>
                                      </p:cBhvr>
                                      <p:tavLst>
                                        <p:tav tm="0">
                                          <p:val>
                                            <p:strVal val="#ppt_y"/>
                                          </p:val>
                                        </p:tav>
                                        <p:tav tm="100000">
                                          <p:val>
                                            <p:strVal val="#ppt_y"/>
                                          </p:val>
                                        </p:tav>
                                      </p:tavLst>
                                    </p:anim>
                                  </p:childTnLst>
                                </p:cTn>
                              </p:par>
                              <p:par>
                                <p:cTn id="30" presetID="2" presetClass="entr" presetSubtype="2" decel="100000" fill="hold" nodeType="withEffect">
                                  <p:stCondLst>
                                    <p:cond delay="500"/>
                                  </p:stCondLst>
                                  <p:childTnLst>
                                    <p:set>
                                      <p:cBhvr>
                                        <p:cTn id="31" dur="1" fill="hold">
                                          <p:stCondLst>
                                            <p:cond delay="0"/>
                                          </p:stCondLst>
                                        </p:cTn>
                                        <p:tgtEl>
                                          <p:spTgt spid="28"/>
                                        </p:tgtEl>
                                        <p:attrNameLst>
                                          <p:attrName>style.visibility</p:attrName>
                                        </p:attrNameLst>
                                      </p:cBhvr>
                                      <p:to>
                                        <p:strVal val="visible"/>
                                      </p:to>
                                    </p:set>
                                    <p:anim calcmode="lin" valueType="num">
                                      <p:cBhvr additive="base">
                                        <p:cTn id="32" dur="500" fill="hold"/>
                                        <p:tgtEl>
                                          <p:spTgt spid="28"/>
                                        </p:tgtEl>
                                        <p:attrNameLst>
                                          <p:attrName>ppt_x</p:attrName>
                                        </p:attrNameLst>
                                      </p:cBhvr>
                                      <p:tavLst>
                                        <p:tav tm="0">
                                          <p:val>
                                            <p:strVal val="1+#ppt_w/2"/>
                                          </p:val>
                                        </p:tav>
                                        <p:tav tm="100000">
                                          <p:val>
                                            <p:strVal val="#ppt_x"/>
                                          </p:val>
                                        </p:tav>
                                      </p:tavLst>
                                    </p:anim>
                                    <p:anim calcmode="lin" valueType="num">
                                      <p:cBhvr additive="base">
                                        <p:cTn id="33" dur="500" fill="hold"/>
                                        <p:tgtEl>
                                          <p:spTgt spid="28"/>
                                        </p:tgtEl>
                                        <p:attrNameLst>
                                          <p:attrName>ppt_y</p:attrName>
                                        </p:attrNameLst>
                                      </p:cBhvr>
                                      <p:tavLst>
                                        <p:tav tm="0">
                                          <p:val>
                                            <p:strVal val="#ppt_y"/>
                                          </p:val>
                                        </p:tav>
                                        <p:tav tm="100000">
                                          <p:val>
                                            <p:strVal val="#ppt_y"/>
                                          </p:val>
                                        </p:tav>
                                      </p:tavLst>
                                    </p:anim>
                                  </p:childTnLst>
                                </p:cTn>
                              </p:par>
                              <p:par>
                                <p:cTn id="34" presetID="2" presetClass="entr" presetSubtype="2" decel="100000" fill="hold" nodeType="withEffect">
                                  <p:stCondLst>
                                    <p:cond delay="750"/>
                                  </p:stCondLst>
                                  <p:childTnLst>
                                    <p:set>
                                      <p:cBhvr>
                                        <p:cTn id="35" dur="1" fill="hold">
                                          <p:stCondLst>
                                            <p:cond delay="0"/>
                                          </p:stCondLst>
                                        </p:cTn>
                                        <p:tgtEl>
                                          <p:spTgt spid="29"/>
                                        </p:tgtEl>
                                        <p:attrNameLst>
                                          <p:attrName>style.visibility</p:attrName>
                                        </p:attrNameLst>
                                      </p:cBhvr>
                                      <p:to>
                                        <p:strVal val="visible"/>
                                      </p:to>
                                    </p:set>
                                    <p:anim calcmode="lin" valueType="num">
                                      <p:cBhvr additive="base">
                                        <p:cTn id="36" dur="500" fill="hold"/>
                                        <p:tgtEl>
                                          <p:spTgt spid="29"/>
                                        </p:tgtEl>
                                        <p:attrNameLst>
                                          <p:attrName>ppt_x</p:attrName>
                                        </p:attrNameLst>
                                      </p:cBhvr>
                                      <p:tavLst>
                                        <p:tav tm="0">
                                          <p:val>
                                            <p:strVal val="1+#ppt_w/2"/>
                                          </p:val>
                                        </p:tav>
                                        <p:tav tm="100000">
                                          <p:val>
                                            <p:strVal val="#ppt_x"/>
                                          </p:val>
                                        </p:tav>
                                      </p:tavLst>
                                    </p:anim>
                                    <p:anim calcmode="lin" valueType="num">
                                      <p:cBhvr additive="base">
                                        <p:cTn id="37" dur="5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2" descr="https://github.com/MSOpenTech/connectthedots/raw/master/Wiki/Images/ConnectTheDots%20architec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1774" y="1434891"/>
            <a:ext cx="7081151" cy="4859281"/>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1588" y="0"/>
            <a:ext cx="12195175" cy="945292"/>
            <a:chOff x="1588" y="0"/>
            <a:chExt cx="12195175" cy="945292"/>
          </a:xfrm>
        </p:grpSpPr>
        <p:sp>
          <p:nvSpPr>
            <p:cNvPr id="8"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Example IoT Solution</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9" name="Rectangle 8"/>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1" name="Group 10"/>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2"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3"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5"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6"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9"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997193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7438848" y="1131591"/>
            <a:ext cx="4394861" cy="3274172"/>
          </a:xfrm>
          <a:prstGeom prst="rect">
            <a:avLst/>
          </a:prstGeom>
        </p:spPr>
      </p:pic>
      <p:sp>
        <p:nvSpPr>
          <p:cNvPr id="6" name="Text Placeholder 4"/>
          <p:cNvSpPr txBox="1">
            <a:spLocks/>
          </p:cNvSpPr>
          <p:nvPr/>
        </p:nvSpPr>
        <p:spPr>
          <a:xfrm>
            <a:off x="212868" y="1447950"/>
            <a:ext cx="8342197" cy="2018835"/>
          </a:xfrm>
          <a:prstGeom prst="rect">
            <a:avLst/>
          </a:prstGeom>
        </p:spPr>
        <p:txBody>
          <a:bodyPr numCol="2"/>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On-Board Analog Input and PWM chips.</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Two DC Motor Drivers, suitable for building small robots.</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Terminal Blocks for wiring in DC motors without the need for soldering.</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Two Servo Motor Connections.</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Two Multi Color LEDs, connected to PWM for thousands of colors.</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Single Red LED.</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Temperature Sensor.</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Accelerometer.</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Light Sensor.</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Two user buttons.</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Terminal block with 2x Analog, 2x Digital I/O, 2x PWM and power.</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Female headers with SPI, I2C, 3x Analog, 3x PWM.</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Dedicated power input for driving the servo motors and DC motors</a:t>
            </a:r>
          </a:p>
        </p:txBody>
      </p:sp>
      <p:grpSp>
        <p:nvGrpSpPr>
          <p:cNvPr id="7" name="Group 6"/>
          <p:cNvGrpSpPr/>
          <p:nvPr/>
        </p:nvGrpSpPr>
        <p:grpSpPr>
          <a:xfrm>
            <a:off x="1588" y="0"/>
            <a:ext cx="12195175" cy="945292"/>
            <a:chOff x="1588" y="0"/>
            <a:chExt cx="12195175" cy="945292"/>
          </a:xfrm>
        </p:grpSpPr>
        <p:sp>
          <p:nvSpPr>
            <p:cNvPr id="8"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lang="en-GB" sz="3400" dirty="0" smtClean="0">
                  <a:solidFill>
                    <a:srgbClr val="FFFFFF"/>
                  </a:solidFill>
                </a:rPr>
                <a:t>About the FEZ Hat Board</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9" name="Rectangle 8"/>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1" name="Group 10"/>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2"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3"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5"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6"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9"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599502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Connect the Dots Lab</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a:solidFill>
                  <a:srgbClr val="F2F2F2"/>
                </a:solidFill>
                <a:latin typeface="Segoe UI Light" panose="020B0502040204020203" pitchFamily="34" charset="0"/>
                <a:cs typeface="Segoe UI Light" panose="020B0502040204020203" pitchFamily="34" charset="0"/>
              </a:rPr>
              <a:t>GitHub Account Info: </a:t>
            </a:r>
            <a:r>
              <a:rPr lang="en-GB" sz="3200" dirty="0">
                <a:solidFill>
                  <a:srgbClr val="F2F2F2"/>
                </a:solidFill>
                <a:latin typeface="Segoe UI Light" panose="020B0502040204020203" pitchFamily="34" charset="0"/>
                <a:cs typeface="Segoe UI Light" panose="020B0502040204020203" pitchFamily="34" charset="0"/>
                <a:hlinkClick r:id="rId4"/>
              </a:rPr>
              <a:t>https://</a:t>
            </a:r>
            <a:r>
              <a:rPr lang="en-GB" sz="3200" dirty="0" smtClean="0">
                <a:solidFill>
                  <a:srgbClr val="F2F2F2"/>
                </a:solidFill>
                <a:latin typeface="Segoe UI Light" panose="020B0502040204020203" pitchFamily="34" charset="0"/>
                <a:cs typeface="Segoe UI Light" panose="020B0502040204020203" pitchFamily="34" charset="0"/>
                <a:hlinkClick r:id="rId4"/>
              </a:rPr>
              <a:t>github.com/amykatenicho/DataCultureIoT.git</a:t>
            </a:r>
            <a:r>
              <a:rPr lang="en-GB" sz="3200" dirty="0" smtClean="0">
                <a:solidFill>
                  <a:srgbClr val="F2F2F2"/>
                </a:solidFill>
                <a:latin typeface="Segoe UI Light" panose="020B0502040204020203" pitchFamily="34" charset="0"/>
                <a:cs typeface="Segoe UI Light" panose="020B0502040204020203" pitchFamily="34" charset="0"/>
              </a:rPr>
              <a:t> </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5" name="Rectangle 4"/>
          <p:cNvSpPr/>
          <p:nvPr/>
        </p:nvSpPr>
        <p:spPr>
          <a:xfrm>
            <a:off x="2404382" y="6067475"/>
            <a:ext cx="1473480" cy="3693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lumMod val="85000"/>
                  </a:srgbClr>
                </a:solidFill>
                <a:effectLst/>
                <a:uLnTx/>
                <a:uFillTx/>
              </a:rPr>
              <a:t>@</a:t>
            </a:r>
            <a:r>
              <a:rPr kumimoji="0" lang="en-GB" sz="1800" b="0" i="0" u="none" strike="noStrike" kern="0" cap="none" spc="0" normalizeH="0" baseline="0" noProof="0" dirty="0" err="1">
                <a:ln>
                  <a:noFill/>
                </a:ln>
                <a:solidFill>
                  <a:srgbClr val="FFFFFF">
                    <a:lumMod val="85000"/>
                  </a:srgbClr>
                </a:solidFill>
                <a:effectLst/>
                <a:uLnTx/>
                <a:uFillTx/>
              </a:rPr>
              <a:t>allanSQLIS</a:t>
            </a:r>
            <a:endParaRPr kumimoji="0" lang="en-GB" sz="1800" b="0" i="0" u="none" strike="noStrike" kern="0" cap="none" spc="0" normalizeH="0" baseline="0" noProof="0" dirty="0">
              <a:ln>
                <a:noFill/>
              </a:ln>
              <a:solidFill>
                <a:srgbClr val="FFFFFF">
                  <a:lumMod val="85000"/>
                </a:srgbClr>
              </a:solidFill>
              <a:effectLst/>
              <a:uLnTx/>
              <a:uFillTx/>
            </a:endParaRPr>
          </a:p>
        </p:txBody>
      </p:sp>
    </p:spTree>
    <p:extLst>
      <p:ext uri="{BB962C8B-B14F-4D97-AF65-F5344CB8AC3E}">
        <p14:creationId xmlns:p14="http://schemas.microsoft.com/office/powerpoint/2010/main" val="6046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706818" y="1333380"/>
          <a:ext cx="10778366" cy="4709898"/>
        </p:xfrm>
        <a:graphic>
          <a:graphicData uri="http://schemas.openxmlformats.org/drawingml/2006/table">
            <a:tbl>
              <a:tblPr firstRow="1" bandRow="1">
                <a:tableStyleId>{5C22544A-7EE6-4342-B048-85BDC9FD1C3A}</a:tableStyleId>
              </a:tblPr>
              <a:tblGrid>
                <a:gridCol w="1507270">
                  <a:extLst>
                    <a:ext uri="{9D8B030D-6E8A-4147-A177-3AD203B41FA5}">
                      <a16:colId xmlns:a16="http://schemas.microsoft.com/office/drawing/2014/main" val="20000"/>
                    </a:ext>
                  </a:extLst>
                </a:gridCol>
                <a:gridCol w="2317774">
                  <a:extLst>
                    <a:ext uri="{9D8B030D-6E8A-4147-A177-3AD203B41FA5}">
                      <a16:colId xmlns:a16="http://schemas.microsoft.com/office/drawing/2014/main" val="20001"/>
                    </a:ext>
                  </a:extLst>
                </a:gridCol>
                <a:gridCol w="2317774">
                  <a:extLst>
                    <a:ext uri="{9D8B030D-6E8A-4147-A177-3AD203B41FA5}">
                      <a16:colId xmlns:a16="http://schemas.microsoft.com/office/drawing/2014/main" val="20002"/>
                    </a:ext>
                  </a:extLst>
                </a:gridCol>
                <a:gridCol w="2317774">
                  <a:extLst>
                    <a:ext uri="{9D8B030D-6E8A-4147-A177-3AD203B41FA5}">
                      <a16:colId xmlns:a16="http://schemas.microsoft.com/office/drawing/2014/main" val="20003"/>
                    </a:ext>
                  </a:extLst>
                </a:gridCol>
                <a:gridCol w="2317774">
                  <a:extLst>
                    <a:ext uri="{9D8B030D-6E8A-4147-A177-3AD203B41FA5}">
                      <a16:colId xmlns:a16="http://schemas.microsoft.com/office/drawing/2014/main" val="20004"/>
                    </a:ext>
                  </a:extLst>
                </a:gridCol>
              </a:tblGrid>
              <a:tr h="470127">
                <a:tc>
                  <a:txBody>
                    <a:bodyPr/>
                    <a:lstStyle/>
                    <a:p>
                      <a:pPr algn="ctr"/>
                      <a:r>
                        <a:rPr lang="en-GB" sz="1600" b="0" dirty="0" smtClean="0">
                          <a:solidFill>
                            <a:srgbClr val="FFFFFF"/>
                          </a:solidFill>
                          <a:latin typeface="Segoe UI Semibold" panose="020B0702040204020203" pitchFamily="34" charset="0"/>
                        </a:rPr>
                        <a:t>Devices</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rgbClr val="FFFFFF"/>
                          </a:solidFill>
                          <a:latin typeface="Segoe UI Semibold" panose="020B0702040204020203" pitchFamily="34" charset="0"/>
                        </a:rPr>
                        <a:t>Device Connectivity</a:t>
                      </a:r>
                      <a:endParaRPr lang="en-GB" sz="1600" b="0" dirty="0" smtClean="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algn="ctr"/>
                      <a:r>
                        <a:rPr lang="en-GB" sz="1600" b="0" dirty="0" smtClean="0">
                          <a:solidFill>
                            <a:srgbClr val="FFFFFF"/>
                          </a:solidFill>
                          <a:latin typeface="Segoe UI Semibold" panose="020B0702040204020203" pitchFamily="34" charset="0"/>
                        </a:rPr>
                        <a:t>Storage</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algn="ctr"/>
                      <a:r>
                        <a:rPr lang="en-GB" sz="1600" b="0" dirty="0" smtClean="0">
                          <a:solidFill>
                            <a:srgbClr val="FFFFFF"/>
                          </a:solidFill>
                          <a:latin typeface="Segoe UI Semibold" panose="020B0702040204020203" pitchFamily="34" charset="0"/>
                        </a:rPr>
                        <a:t>Analytics</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rgbClr val="FFFFFF"/>
                          </a:solidFill>
                          <a:latin typeface="Segoe UI Semibold" panose="020B0702040204020203" pitchFamily="34" charset="0"/>
                          <a:ea typeface="+mn-ea"/>
                          <a:cs typeface="+mn-cs"/>
                        </a:rPr>
                        <a:t>Presentation &amp; Action</a:t>
                      </a:r>
                    </a:p>
                  </a:txBody>
                  <a:tcPr marL="84471" marR="84471"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extLst>
                  <a:ext uri="{0D108BD9-81ED-4DB2-BD59-A6C34878D82A}">
                    <a16:rowId xmlns:a16="http://schemas.microsoft.com/office/drawing/2014/main" val="10000"/>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8DC548"/>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1"/>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8DC548"/>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IoT</a:t>
                      </a:r>
                      <a:r>
                        <a:rPr lang="en-US" sz="1600" kern="0" dirty="0" smtClean="0">
                          <a:solidFill>
                            <a:srgbClr val="FFFFFF"/>
                          </a:solidFill>
                        </a:rPr>
                        <a:t> Hu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8DC548"/>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8DC548"/>
                    </a:solidFill>
                  </a:tcPr>
                </a:tc>
                <a:extLst>
                  <a:ext uri="{0D108BD9-81ED-4DB2-BD59-A6C34878D82A}">
                    <a16:rowId xmlns:a16="http://schemas.microsoft.com/office/drawing/2014/main" val="10002"/>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rPr>
                        <a:t>Service Bu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HDInsight</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3"/>
                  </a:ext>
                </a:extLst>
              </a:tr>
              <a:tr h="938967">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3</a:t>
                      </a:r>
                      <a:r>
                        <a:rPr lang="en-US" sz="1600" kern="0" baseline="30000" dirty="0" smtClean="0">
                          <a:solidFill>
                            <a:srgbClr val="FFFFFF"/>
                          </a:solidFill>
                        </a:rPr>
                        <a:t>rd</a:t>
                      </a:r>
                      <a:r>
                        <a:rPr lang="en-US" sz="1600" kern="0" dirty="0" smtClean="0">
                          <a:solidFill>
                            <a:srgbClr val="FFFFFF"/>
                          </a:solidFill>
                        </a:rPr>
                        <a:t> party Database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4"/>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smtClean="0">
                          <a:solidFill>
                            <a:schemeClr val="bg1"/>
                          </a:solidFill>
                        </a:rPr>
                        <a:t>Data Lake</a:t>
                      </a:r>
                      <a:endParaRPr lang="en-US" sz="1600" dirty="0">
                        <a:solidFill>
                          <a:schemeClr val="bg1"/>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5"/>
                  </a:ext>
                </a:extLst>
              </a:tr>
            </a:tbl>
          </a:graphicData>
        </a:graphic>
      </p:graphicFrame>
      <p:grpSp>
        <p:nvGrpSpPr>
          <p:cNvPr id="5" name="Group 4"/>
          <p:cNvGrpSpPr>
            <a:grpSpLocks noChangeAspect="1"/>
          </p:cNvGrpSpPr>
          <p:nvPr/>
        </p:nvGrpSpPr>
        <p:grpSpPr>
          <a:xfrm>
            <a:off x="960832" y="2045341"/>
            <a:ext cx="840424" cy="606971"/>
            <a:chOff x="5893817" y="-2363993"/>
            <a:chExt cx="1589176" cy="1147736"/>
          </a:xfrm>
        </p:grpSpPr>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7" name="Group 6"/>
            <p:cNvGrpSpPr>
              <a:grpSpLocks noChangeAspect="1"/>
            </p:cNvGrpSpPr>
            <p:nvPr/>
          </p:nvGrpSpPr>
          <p:grpSpPr>
            <a:xfrm>
              <a:off x="6051365" y="-2363988"/>
              <a:ext cx="1149652" cy="1147731"/>
              <a:chOff x="2475317" y="-6877877"/>
              <a:chExt cx="1493848" cy="1490961"/>
            </a:xfrm>
          </p:grpSpPr>
          <p:sp>
            <p:nvSpPr>
              <p:cNvPr id="12"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sp>
            <p:nvSpPr>
              <p:cNvPr id="13"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sp>
            <p:nvSpPr>
              <p:cNvPr id="14" name="Rectangle 13"/>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grpSp>
        <p:sp>
          <p:nvSpPr>
            <p:cNvPr id="8"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7200" tIns="33599" rIns="67200" bIns="33599" numCol="1" rtlCol="0" anchor="ctr" anchorCtr="0" compatLnSpc="1">
              <a:prstTxWarp prst="textNoShape">
                <a:avLst/>
              </a:prstTxWarp>
            </a:bodyPr>
            <a:lstStyle/>
            <a:p>
              <a:pPr marL="0" marR="0" lvl="0" indent="0" algn="ctr" defTabSz="604414"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000000"/>
                </a:solidFill>
                <a:effectLst/>
                <a:uLnTx/>
                <a:uFillTx/>
                <a:latin typeface="Segoe UI Light" panose="020B0502040204020203" pitchFamily="34" charset="0"/>
                <a:sym typeface="Segoe UI Light" panose="020B0502040204020203" pitchFamily="34" charset="0"/>
              </a:endParaRPr>
            </a:p>
          </p:txBody>
        </p:sp>
        <p:pic>
          <p:nvPicPr>
            <p:cNvPr id="9"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10"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11" name="Freeform 10"/>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5880" tIns="32940" rIns="65880" bIns="32940" numCol="1" rtlCol="0" anchor="ctr" anchorCtr="0" compatLnSpc="1">
              <a:prstTxWarp prst="textNoShape">
                <a:avLst/>
              </a:prstTxWarp>
            </a:bodyPr>
            <a:lstStyle/>
            <a:p>
              <a:pPr marL="0" marR="0" lvl="0" indent="0" algn="ctr" defTabSz="658129" eaLnBrk="1" fontAlgn="base" latinLnBrk="0" hangingPunct="1">
                <a:lnSpc>
                  <a:spcPct val="100000"/>
                </a:lnSpc>
                <a:spcBef>
                  <a:spcPct val="0"/>
                </a:spcBef>
                <a:spcAft>
                  <a:spcPct val="0"/>
                </a:spcAft>
                <a:buClrTx/>
                <a:buSzTx/>
                <a:buFontTx/>
                <a:buNone/>
                <a:tabLst/>
                <a:defRPr/>
              </a:pPr>
              <a:endParaRPr kumimoji="0" lang="en-US" sz="1250" b="0" i="0" u="none" strike="noStrike" kern="0" cap="none" spc="0" normalizeH="0" baseline="0" noProof="0" dirty="0">
                <a:ln>
                  <a:noFill/>
                </a:ln>
                <a:solidFill>
                  <a:srgbClr val="000000"/>
                </a:solidFill>
                <a:effectLst/>
                <a:uLnTx/>
                <a:uFillTx/>
              </a:endParaRPr>
            </a:p>
          </p:txBody>
        </p:sp>
      </p:grpSp>
      <p:grpSp>
        <p:nvGrpSpPr>
          <p:cNvPr id="15" name="Group 14"/>
          <p:cNvGrpSpPr>
            <a:grpSpLocks noChangeAspect="1"/>
          </p:cNvGrpSpPr>
          <p:nvPr/>
        </p:nvGrpSpPr>
        <p:grpSpPr>
          <a:xfrm>
            <a:off x="1088991" y="2828954"/>
            <a:ext cx="681729" cy="506437"/>
            <a:chOff x="5630249" y="-855090"/>
            <a:chExt cx="1258953" cy="935238"/>
          </a:xfrm>
          <a:solidFill>
            <a:schemeClr val="bg1"/>
          </a:solidFill>
        </p:grpSpPr>
        <p:sp>
          <p:nvSpPr>
            <p:cNvPr id="16"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7203" tIns="33601" rIns="67203" bIns="33601" numCol="1" anchor="t" anchorCtr="0" compatLnSpc="1">
              <a:prstTxWarp prst="textNoShape">
                <a:avLst/>
              </a:prstTxWarp>
            </a:bodyP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000000"/>
                </a:solidFill>
                <a:effectLst/>
                <a:uLnTx/>
                <a:uFillTx/>
              </a:endParaRPr>
            </a:p>
          </p:txBody>
        </p:sp>
        <p:sp>
          <p:nvSpPr>
            <p:cNvPr id="17"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33601" bIns="67203" numCol="1" spcCol="0" rtlCol="0" fromWordArt="0" anchor="b" anchorCtr="0" forceAA="0" compatLnSpc="1">
              <a:prstTxWarp prst="textNoShape">
                <a:avLst/>
              </a:prstTxWarp>
              <a:noAutofit/>
            </a:bodyPr>
            <a:lstStyle/>
            <a:p>
              <a:pPr marL="0" marR="0" lvl="0" indent="0" algn="ctr" defTabSz="671355" eaLnBrk="1" fontAlgn="base" latinLnBrk="0" hangingPunct="1">
                <a:lnSpc>
                  <a:spcPct val="100000"/>
                </a:lnSpc>
                <a:spcBef>
                  <a:spcPct val="0"/>
                </a:spcBef>
                <a:spcAft>
                  <a:spcPct val="0"/>
                </a:spcAft>
                <a:buClrTx/>
                <a:buSzTx/>
                <a:buFontTx/>
                <a:buNone/>
                <a:tabLst/>
                <a:defRPr/>
              </a:pPr>
              <a:endParaRPr kumimoji="0" lang="en-US" sz="735"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pic>
          <p:nvPicPr>
            <p:cNvPr id="18"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19"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5882" tIns="32941" rIns="65882" bIns="32941" numCol="1" anchor="t" anchorCtr="0" compatLnSpc="1">
              <a:prstTxWarp prst="textNoShape">
                <a:avLst/>
              </a:prstTxWarp>
            </a:bodyPr>
            <a:lstStyle/>
            <a:p>
              <a:pPr marL="0" marR="0" lvl="0" indent="0" algn="ctr" defTabSz="658346"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dirty="0">
                <a:ln>
                  <a:noFill/>
                </a:ln>
                <a:solidFill>
                  <a:srgbClr val="000000"/>
                </a:solidFill>
                <a:effectLst/>
                <a:uLnTx/>
                <a:uFillTx/>
              </a:endParaRPr>
            </a:p>
          </p:txBody>
        </p:sp>
        <p:sp>
          <p:nvSpPr>
            <p:cNvPr id="20"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806439" bIns="33601" numCol="1" spcCol="0" rtlCol="0" fromWordArt="0" anchor="b" anchorCtr="0" forceAA="0" compatLnSpc="1">
              <a:prstTxWarp prst="textNoShape">
                <a:avLst/>
              </a:prstTxWarp>
              <a:noAutofit/>
            </a:bodyPr>
            <a:lstStyle/>
            <a:p>
              <a:pPr marL="0" marR="0" lvl="0" indent="0" defTabSz="671355" eaLnBrk="1" fontAlgn="base" latinLnBrk="0" hangingPunct="1">
                <a:lnSpc>
                  <a:spcPct val="100000"/>
                </a:lnSpc>
                <a:spcBef>
                  <a:spcPct val="0"/>
                </a:spcBef>
                <a:spcAft>
                  <a:spcPct val="0"/>
                </a:spcAft>
                <a:buClrTx/>
                <a:buSzTx/>
                <a:buFontTx/>
                <a:buNone/>
                <a:tabLst/>
                <a:defRPr/>
              </a:pPr>
              <a:endParaRPr kumimoji="0" lang="en-US" sz="1617" b="0" i="0" u="none" strike="noStrike" kern="0" cap="none" spc="-37" normalizeH="0" baseline="0" noProof="0" dirty="0">
                <a:ln>
                  <a:noFill/>
                </a:ln>
                <a:solidFill>
                  <a:srgbClr val="000000"/>
                </a:solidFill>
                <a:effectLst/>
                <a:uLnTx/>
                <a:uFillTx/>
                <a:latin typeface="Segoe UI Light"/>
                <a:ea typeface="Segoe UI" pitchFamily="34" charset="0"/>
                <a:cs typeface="Segoe UI" pitchFamily="34" charset="0"/>
              </a:endParaRPr>
            </a:p>
          </p:txBody>
        </p:sp>
        <p:sp>
          <p:nvSpPr>
            <p:cNvPr id="21"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marL="0" marR="0" lvl="0" indent="0" defTabSz="685046" eaLnBrk="1" fontAlgn="auto" latinLnBrk="0" hangingPunct="1">
                <a:lnSpc>
                  <a:spcPct val="100000"/>
                </a:lnSpc>
                <a:spcBef>
                  <a:spcPts val="0"/>
                </a:spcBef>
                <a:spcAft>
                  <a:spcPts val="0"/>
                </a:spcAft>
                <a:buClrTx/>
                <a:buSzTx/>
                <a:buFontTx/>
                <a:buNone/>
                <a:tabLst/>
                <a:defRPr/>
              </a:pPr>
              <a:endParaRPr kumimoji="0" lang="en-US" sz="1544" b="0" i="0" u="none" strike="noStrike" kern="0" cap="none" spc="0" normalizeH="0" baseline="0" noProof="0" dirty="0">
                <a:ln>
                  <a:noFill/>
                </a:ln>
                <a:solidFill>
                  <a:srgbClr val="000000"/>
                </a:solidFill>
                <a:effectLst/>
                <a:uLnTx/>
                <a:uFillTx/>
              </a:endParaRPr>
            </a:p>
          </p:txBody>
        </p:sp>
      </p:grpSp>
      <p:grpSp>
        <p:nvGrpSpPr>
          <p:cNvPr id="22" name="Group 21"/>
          <p:cNvGrpSpPr/>
          <p:nvPr/>
        </p:nvGrpSpPr>
        <p:grpSpPr>
          <a:xfrm>
            <a:off x="1405092" y="3726593"/>
            <a:ext cx="541425" cy="329081"/>
            <a:chOff x="2012636" y="-279971"/>
            <a:chExt cx="734842" cy="447764"/>
          </a:xfrm>
          <a:solidFill>
            <a:schemeClr val="bg1"/>
          </a:solidFill>
        </p:grpSpPr>
        <p:sp>
          <p:nvSpPr>
            <p:cNvPr id="2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33601" bIns="67203" numCol="1" spcCol="0" rtlCol="0" fromWordArt="0" anchor="b" anchorCtr="0" forceAA="0" compatLnSpc="1">
              <a:prstTxWarp prst="textNoShape">
                <a:avLst/>
              </a:prstTxWarp>
              <a:noAutofit/>
            </a:bodyPr>
            <a:lstStyle/>
            <a:p>
              <a:pPr marL="0" marR="0" lvl="0" indent="0" algn="ctr" defTabSz="671355" eaLnBrk="1" fontAlgn="base" latinLnBrk="0" hangingPunct="1">
                <a:lnSpc>
                  <a:spcPct val="100000"/>
                </a:lnSpc>
                <a:spcBef>
                  <a:spcPct val="0"/>
                </a:spcBef>
                <a:spcAft>
                  <a:spcPct val="0"/>
                </a:spcAft>
                <a:buClrTx/>
                <a:buSzTx/>
                <a:buFontTx/>
                <a:buNone/>
                <a:tabLst/>
                <a:defRPr/>
              </a:pPr>
              <a:endParaRPr kumimoji="0" lang="en-US" sz="1323" b="0" i="0" u="none" strike="noStrike" kern="0" cap="none" spc="-37" normalizeH="0" baseline="0" noProof="0" dirty="0">
                <a:ln>
                  <a:noFill/>
                </a:ln>
                <a:solidFill>
                  <a:srgbClr val="000000"/>
                </a:solidFill>
                <a:effectLst/>
                <a:uLnTx/>
                <a:uFillTx/>
                <a:ea typeface="Segoe UI" pitchFamily="34" charset="0"/>
                <a:cs typeface="Segoe UI" pitchFamily="34" charset="0"/>
              </a:endParaRPr>
            </a:p>
          </p:txBody>
        </p:sp>
        <p:sp>
          <p:nvSpPr>
            <p:cNvPr id="2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0644" tIns="40322" rIns="40322" bIns="80644" numCol="1" spcCol="0" rtlCol="0" fromWordArt="0" anchor="b" anchorCtr="0" forceAA="0" compatLnSpc="1">
              <a:prstTxWarp prst="textNoShape">
                <a:avLst/>
              </a:prstTxWarp>
              <a:noAutofit/>
            </a:bodyPr>
            <a:lstStyle/>
            <a:p>
              <a:pPr marL="0" marR="0" lvl="0" indent="0" algn="ctr" defTabSz="805626" eaLnBrk="1" fontAlgn="base" latinLnBrk="0" hangingPunct="1">
                <a:lnSpc>
                  <a:spcPct val="100000"/>
                </a:lnSpc>
                <a:spcBef>
                  <a:spcPct val="0"/>
                </a:spcBef>
                <a:spcAft>
                  <a:spcPct val="0"/>
                </a:spcAft>
                <a:buClrTx/>
                <a:buSzTx/>
                <a:buFontTx/>
                <a:buNone/>
                <a:tabLst/>
                <a:defRPr/>
              </a:pPr>
              <a:endParaRPr kumimoji="0" lang="en-US" sz="1765" b="0" i="0" u="none" strike="noStrike" kern="0" cap="none" spc="-44" normalizeH="0" baseline="0" noProof="0" dirty="0">
                <a:ln>
                  <a:noFill/>
                </a:ln>
                <a:solidFill>
                  <a:srgbClr val="000000"/>
                </a:solidFill>
                <a:effectLst/>
                <a:uLnTx/>
                <a:uFillTx/>
                <a:ea typeface="Segoe UI" pitchFamily="34" charset="0"/>
                <a:cs typeface="Segoe UI" pitchFamily="34" charset="0"/>
              </a:endParaRPr>
            </a:p>
          </p:txBody>
        </p:sp>
      </p:grpSp>
      <p:pic>
        <p:nvPicPr>
          <p:cNvPr id="25" name="Picture 2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39626" y="3675036"/>
            <a:ext cx="470556" cy="470556"/>
          </a:xfrm>
          <a:prstGeom prst="rect">
            <a:avLst/>
          </a:prstGeom>
        </p:spPr>
      </p:pic>
      <p:pic>
        <p:nvPicPr>
          <p:cNvPr id="26"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81987" y="4458120"/>
            <a:ext cx="463145" cy="463145"/>
          </a:xfrm>
          <a:prstGeom prst="rect">
            <a:avLst/>
          </a:prstGeom>
          <a:noFill/>
        </p:spPr>
      </p:pic>
      <p:pic>
        <p:nvPicPr>
          <p:cNvPr id="27"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661063" y="2054507"/>
            <a:ext cx="415409" cy="438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647377" y="2887184"/>
            <a:ext cx="442786" cy="38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80393" y="3514674"/>
            <a:ext cx="776750" cy="776750"/>
          </a:xfrm>
          <a:prstGeom prst="rect">
            <a:avLst/>
          </a:prstGeom>
        </p:spPr>
      </p:pic>
      <p:sp>
        <p:nvSpPr>
          <p:cNvPr id="30" name="TextBox 29"/>
          <p:cNvSpPr txBox="1"/>
          <p:nvPr/>
        </p:nvSpPr>
        <p:spPr>
          <a:xfrm>
            <a:off x="4701454" y="3817108"/>
            <a:ext cx="357676" cy="230832"/>
          </a:xfrm>
          <a:prstGeom prst="rect">
            <a:avLst/>
          </a:prstGeom>
          <a:noFill/>
          <a:ln>
            <a:noFill/>
            <a:headEnd type="none" w="med" len="med"/>
            <a:tailEnd type="none" w="med" len="med"/>
          </a:ln>
        </p:spPr>
        <p:txBody>
          <a:bodyPr wrap="square" lIns="0" tIns="0" rIns="0" bIns="0" rtlCol="0">
            <a:spAutoFit/>
          </a:bodyPr>
          <a:lstStyle/>
          <a:p>
            <a:pPr marL="0" marR="0" lvl="0" indent="0" algn="ctr" defTabSz="685607" eaLnBrk="1" fontAlgn="auto" latinLnBrk="0" hangingPunct="1">
              <a:lnSpc>
                <a:spcPct val="100000"/>
              </a:lnSpc>
              <a:spcBef>
                <a:spcPts val="0"/>
              </a:spcBef>
              <a:spcAft>
                <a:spcPts val="0"/>
              </a:spcAft>
              <a:buClrTx/>
              <a:buSzTx/>
              <a:buFontTx/>
              <a:buNone/>
              <a:tabLst/>
              <a:defRPr/>
            </a:pPr>
            <a:r>
              <a:rPr kumimoji="0" lang="en-US" sz="1500" b="0" i="0" u="none" strike="noStrike" kern="0" cap="none" spc="-29" normalizeH="0" baseline="0" noProof="0" dirty="0">
                <a:ln>
                  <a:noFill/>
                </a:ln>
                <a:solidFill>
                  <a:srgbClr val="4668C5"/>
                </a:solidFill>
                <a:effectLst/>
                <a:uLnTx/>
                <a:uFillTx/>
                <a:ea typeface="Segoe UI" pitchFamily="34" charset="0"/>
                <a:cs typeface="Segoe UI" pitchFamily="34" charset="0"/>
              </a:rPr>
              <a:t>{  }</a:t>
            </a:r>
          </a:p>
        </p:txBody>
      </p:sp>
      <p:pic>
        <p:nvPicPr>
          <p:cNvPr id="31"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673618" y="4458120"/>
            <a:ext cx="463145" cy="463145"/>
          </a:xfrm>
          <a:prstGeom prst="rect">
            <a:avLst/>
          </a:prstGeom>
          <a:noFill/>
        </p:spPr>
      </p:pic>
      <p:pic>
        <p:nvPicPr>
          <p:cNvPr id="32" name="Picture 3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851010" y="1892920"/>
            <a:ext cx="739031" cy="739031"/>
          </a:xfrm>
          <a:prstGeom prst="rect">
            <a:avLst/>
          </a:prstGeom>
        </p:spPr>
      </p:pic>
      <p:pic>
        <p:nvPicPr>
          <p:cNvPr id="33"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348003" y="2064625"/>
            <a:ext cx="421361" cy="417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412736" y="4500730"/>
            <a:ext cx="272575" cy="440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34"/>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386942" y="3693957"/>
            <a:ext cx="366526" cy="366526"/>
          </a:xfrm>
          <a:prstGeom prst="rect">
            <a:avLst/>
          </a:prstGeom>
        </p:spPr>
      </p:pic>
      <p:pic>
        <p:nvPicPr>
          <p:cNvPr id="36" name="Picture 35"/>
          <p:cNvPicPr>
            <a:picLocks noChangeAspect="1"/>
          </p:cNvPicPr>
          <p:nvPr/>
        </p:nvPicPr>
        <p:blipFill>
          <a:blip r:embed="rId16" cstate="screen">
            <a:biLevel thresh="25000"/>
            <a:extLst>
              <a:ext uri="{28A0092B-C50C-407E-A947-70E740481C1C}">
                <a14:useLocalDpi xmlns:a14="http://schemas.microsoft.com/office/drawing/2010/main"/>
              </a:ext>
            </a:extLst>
          </a:blip>
          <a:stretch>
            <a:fillRect/>
          </a:stretch>
        </p:blipFill>
        <p:spPr>
          <a:xfrm>
            <a:off x="6985479" y="4500731"/>
            <a:ext cx="470095" cy="470095"/>
          </a:xfrm>
          <a:prstGeom prst="rect">
            <a:avLst/>
          </a:prstGeom>
        </p:spPr>
      </p:pic>
      <p:pic>
        <p:nvPicPr>
          <p:cNvPr id="37" name="Picture 36"/>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2441085" y="3653741"/>
            <a:ext cx="398782" cy="398782"/>
          </a:xfrm>
          <a:prstGeom prst="rect">
            <a:avLst/>
          </a:prstGeom>
        </p:spPr>
      </p:pic>
      <p:pic>
        <p:nvPicPr>
          <p:cNvPr id="38" name="Picture 37"/>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9348002" y="5366909"/>
            <a:ext cx="478444" cy="478444"/>
          </a:xfrm>
          <a:prstGeom prst="rect">
            <a:avLst/>
          </a:prstGeom>
        </p:spPr>
      </p:pic>
      <p:pic>
        <p:nvPicPr>
          <p:cNvPr id="39" name="Picture 38"/>
          <p:cNvPicPr>
            <a:picLocks noChangeAspect="1"/>
          </p:cNvPicPr>
          <p:nvPr/>
        </p:nvPicPr>
        <p:blipFill>
          <a:blip r:embed="rId19"/>
          <a:stretch>
            <a:fillRect/>
          </a:stretch>
        </p:blipFill>
        <p:spPr>
          <a:xfrm>
            <a:off x="6960825" y="2834113"/>
            <a:ext cx="519404" cy="519404"/>
          </a:xfrm>
          <a:prstGeom prst="rect">
            <a:avLst/>
          </a:prstGeom>
        </p:spPr>
      </p:pic>
      <p:pic>
        <p:nvPicPr>
          <p:cNvPr id="40" name="Picture 39"/>
          <p:cNvPicPr>
            <a:picLocks noChangeAspect="1"/>
          </p:cNvPicPr>
          <p:nvPr/>
        </p:nvPicPr>
        <p:blipFill>
          <a:blip r:embed="rId20"/>
          <a:stretch>
            <a:fillRect/>
          </a:stretch>
        </p:blipFill>
        <p:spPr>
          <a:xfrm>
            <a:off x="2293555" y="1946221"/>
            <a:ext cx="546312" cy="546312"/>
          </a:xfrm>
          <a:prstGeom prst="rect">
            <a:avLst/>
          </a:prstGeom>
        </p:spPr>
      </p:pic>
      <p:pic>
        <p:nvPicPr>
          <p:cNvPr id="41" name="Picture 40"/>
          <p:cNvPicPr>
            <a:picLocks noChangeAspect="1"/>
          </p:cNvPicPr>
          <p:nvPr/>
        </p:nvPicPr>
        <p:blipFill>
          <a:blip r:embed="rId21"/>
          <a:stretch>
            <a:fillRect/>
          </a:stretch>
        </p:blipFill>
        <p:spPr>
          <a:xfrm>
            <a:off x="6921222" y="3599063"/>
            <a:ext cx="598607" cy="598607"/>
          </a:xfrm>
          <a:prstGeom prst="rect">
            <a:avLst/>
          </a:prstGeom>
        </p:spPr>
      </p:pic>
      <p:pic>
        <p:nvPicPr>
          <p:cNvPr id="42" name="Picture 41"/>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320447" y="2803777"/>
            <a:ext cx="476996" cy="509611"/>
          </a:xfrm>
          <a:prstGeom prst="rect">
            <a:avLst/>
          </a:prstGeom>
        </p:spPr>
      </p:pic>
      <p:pic>
        <p:nvPicPr>
          <p:cNvPr id="43" name="Picture 4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349637" y="2803777"/>
            <a:ext cx="419728" cy="442036"/>
          </a:xfrm>
          <a:prstGeom prst="rect">
            <a:avLst/>
          </a:prstGeom>
        </p:spPr>
      </p:pic>
      <p:pic>
        <p:nvPicPr>
          <p:cNvPr id="44" name="Picture 43"/>
          <p:cNvPicPr>
            <a:picLocks noChangeAspect="1"/>
          </p:cNvPicPr>
          <p:nvPr/>
        </p:nvPicPr>
        <p:blipFill>
          <a:blip r:embed="rId24">
            <a:biLevel thresh="25000"/>
          </a:blip>
          <a:stretch>
            <a:fillRect/>
          </a:stretch>
        </p:blipFill>
        <p:spPr>
          <a:xfrm>
            <a:off x="6973097" y="5382605"/>
            <a:ext cx="418698" cy="368260"/>
          </a:xfrm>
          <a:prstGeom prst="rect">
            <a:avLst/>
          </a:prstGeom>
        </p:spPr>
      </p:pic>
      <p:pic>
        <p:nvPicPr>
          <p:cNvPr id="45" name="Picture 44"/>
          <p:cNvPicPr>
            <a:picLocks noChangeAspect="1"/>
          </p:cNvPicPr>
          <p:nvPr/>
        </p:nvPicPr>
        <p:blipFill>
          <a:blip r:embed="rId24">
            <a:biLevel thresh="25000"/>
          </a:blip>
          <a:stretch>
            <a:fillRect/>
          </a:stretch>
        </p:blipFill>
        <p:spPr>
          <a:xfrm>
            <a:off x="7111566" y="5566735"/>
            <a:ext cx="418698" cy="368260"/>
          </a:xfrm>
          <a:prstGeom prst="rect">
            <a:avLst/>
          </a:prstGeom>
        </p:spPr>
      </p:pic>
      <p:grpSp>
        <p:nvGrpSpPr>
          <p:cNvPr id="46" name="Group 45"/>
          <p:cNvGrpSpPr/>
          <p:nvPr/>
        </p:nvGrpSpPr>
        <p:grpSpPr>
          <a:xfrm>
            <a:off x="1588" y="0"/>
            <a:ext cx="12195175" cy="945292"/>
            <a:chOff x="1588" y="0"/>
            <a:chExt cx="12195175" cy="945292"/>
          </a:xfrm>
        </p:grpSpPr>
        <p:sp>
          <p:nvSpPr>
            <p:cNvPr id="47"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Microsoft Azure IoT Service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48" name="Rectangle 47"/>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9"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0" name="Group 49"/>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5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2"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3"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4"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5"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8"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16623853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1+#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1+#ppt_w/2"/>
                                          </p:val>
                                        </p:tav>
                                        <p:tav tm="100000">
                                          <p:val>
                                            <p:strVal val="#ppt_x"/>
                                          </p:val>
                                        </p:tav>
                                      </p:tavLst>
                                    </p:anim>
                                    <p:anim calcmode="lin" valueType="num">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1+#ppt_w/2"/>
                                          </p:val>
                                        </p:tav>
                                        <p:tav tm="100000">
                                          <p:val>
                                            <p:strVal val="#ppt_x"/>
                                          </p:val>
                                        </p:tav>
                                      </p:tavLst>
                                    </p:anim>
                                    <p:anim calcmode="lin" valueType="num">
                                      <p:cBhvr additive="base">
                                        <p:cTn id="20" dur="500" fill="hold"/>
                                        <p:tgtEl>
                                          <p:spTgt spid="27"/>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500" fill="hold"/>
                                        <p:tgtEl>
                                          <p:spTgt spid="28"/>
                                        </p:tgtEl>
                                        <p:attrNameLst>
                                          <p:attrName>ppt_x</p:attrName>
                                        </p:attrNameLst>
                                      </p:cBhvr>
                                      <p:tavLst>
                                        <p:tav tm="0">
                                          <p:val>
                                            <p:strVal val="1+#ppt_w/2"/>
                                          </p:val>
                                        </p:tav>
                                        <p:tav tm="100000">
                                          <p:val>
                                            <p:strVal val="#ppt_x"/>
                                          </p:val>
                                        </p:tav>
                                      </p:tavLst>
                                    </p:anim>
                                    <p:anim calcmode="lin" valueType="num">
                                      <p:cBhvr additive="base">
                                        <p:cTn id="24" dur="500" fill="hold"/>
                                        <p:tgtEl>
                                          <p:spTgt spid="28"/>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 calcmode="lin" valueType="num">
                                      <p:cBhvr additive="base">
                                        <p:cTn id="27" dur="500" fill="hold"/>
                                        <p:tgtEl>
                                          <p:spTgt spid="30"/>
                                        </p:tgtEl>
                                        <p:attrNameLst>
                                          <p:attrName>ppt_x</p:attrName>
                                        </p:attrNameLst>
                                      </p:cBhvr>
                                      <p:tavLst>
                                        <p:tav tm="0">
                                          <p:val>
                                            <p:strVal val="1+#ppt_w/2"/>
                                          </p:val>
                                        </p:tav>
                                        <p:tav tm="100000">
                                          <p:val>
                                            <p:strVal val="#ppt_x"/>
                                          </p:val>
                                        </p:tav>
                                      </p:tavLst>
                                    </p:anim>
                                    <p:anim calcmode="lin" valueType="num">
                                      <p:cBhvr additive="base">
                                        <p:cTn id="28" dur="500" fill="hold"/>
                                        <p:tgtEl>
                                          <p:spTgt spid="30"/>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anim calcmode="lin" valueType="num">
                                      <p:cBhvr additive="base">
                                        <p:cTn id="31" dur="500" fill="hold"/>
                                        <p:tgtEl>
                                          <p:spTgt spid="32"/>
                                        </p:tgtEl>
                                        <p:attrNameLst>
                                          <p:attrName>ppt_x</p:attrName>
                                        </p:attrNameLst>
                                      </p:cBhvr>
                                      <p:tavLst>
                                        <p:tav tm="0">
                                          <p:val>
                                            <p:strVal val="1+#ppt_w/2"/>
                                          </p:val>
                                        </p:tav>
                                        <p:tav tm="100000">
                                          <p:val>
                                            <p:strVal val="#ppt_x"/>
                                          </p:val>
                                        </p:tav>
                                      </p:tavLst>
                                    </p:anim>
                                    <p:anim calcmode="lin" valueType="num">
                                      <p:cBhvr additive="base">
                                        <p:cTn id="32" dur="500" fill="hold"/>
                                        <p:tgtEl>
                                          <p:spTgt spid="32"/>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33"/>
                                        </p:tgtEl>
                                        <p:attrNameLst>
                                          <p:attrName>style.visibility</p:attrName>
                                        </p:attrNameLst>
                                      </p:cBhvr>
                                      <p:to>
                                        <p:strVal val="visible"/>
                                      </p:to>
                                    </p:set>
                                    <p:anim calcmode="lin" valueType="num">
                                      <p:cBhvr additive="base">
                                        <p:cTn id="35" dur="500" fill="hold"/>
                                        <p:tgtEl>
                                          <p:spTgt spid="33"/>
                                        </p:tgtEl>
                                        <p:attrNameLst>
                                          <p:attrName>ppt_x</p:attrName>
                                        </p:attrNameLst>
                                      </p:cBhvr>
                                      <p:tavLst>
                                        <p:tav tm="0">
                                          <p:val>
                                            <p:strVal val="1+#ppt_w/2"/>
                                          </p:val>
                                        </p:tav>
                                        <p:tav tm="100000">
                                          <p:val>
                                            <p:strVal val="#ppt_x"/>
                                          </p:val>
                                        </p:tav>
                                      </p:tavLst>
                                    </p:anim>
                                    <p:anim calcmode="lin" valueType="num">
                                      <p:cBhvr additive="base">
                                        <p:cTn id="36" dur="500" fill="hold"/>
                                        <p:tgtEl>
                                          <p:spTgt spid="33"/>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500" fill="hold"/>
                                        <p:tgtEl>
                                          <p:spTgt spid="34"/>
                                        </p:tgtEl>
                                        <p:attrNameLst>
                                          <p:attrName>ppt_x</p:attrName>
                                        </p:attrNameLst>
                                      </p:cBhvr>
                                      <p:tavLst>
                                        <p:tav tm="0">
                                          <p:val>
                                            <p:strVal val="1+#ppt_w/2"/>
                                          </p:val>
                                        </p:tav>
                                        <p:tav tm="100000">
                                          <p:val>
                                            <p:strVal val="#ppt_x"/>
                                          </p:val>
                                        </p:tav>
                                      </p:tavLst>
                                    </p:anim>
                                    <p:anim calcmode="lin" valueType="num">
                                      <p:cBhvr additive="base">
                                        <p:cTn id="40" dur="500" fill="hold"/>
                                        <p:tgtEl>
                                          <p:spTgt spid="34"/>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35"/>
                                        </p:tgtEl>
                                        <p:attrNameLst>
                                          <p:attrName>style.visibility</p:attrName>
                                        </p:attrNameLst>
                                      </p:cBhvr>
                                      <p:to>
                                        <p:strVal val="visible"/>
                                      </p:to>
                                    </p:set>
                                    <p:anim calcmode="lin" valueType="num">
                                      <p:cBhvr additive="base">
                                        <p:cTn id="43" dur="500" fill="hold"/>
                                        <p:tgtEl>
                                          <p:spTgt spid="35"/>
                                        </p:tgtEl>
                                        <p:attrNameLst>
                                          <p:attrName>ppt_x</p:attrName>
                                        </p:attrNameLst>
                                      </p:cBhvr>
                                      <p:tavLst>
                                        <p:tav tm="0">
                                          <p:val>
                                            <p:strVal val="1+#ppt_w/2"/>
                                          </p:val>
                                        </p:tav>
                                        <p:tav tm="100000">
                                          <p:val>
                                            <p:strVal val="#ppt_x"/>
                                          </p:val>
                                        </p:tav>
                                      </p:tavLst>
                                    </p:anim>
                                    <p:anim calcmode="lin" valueType="num">
                                      <p:cBhvr additive="base">
                                        <p:cTn id="44" dur="500" fill="hold"/>
                                        <p:tgtEl>
                                          <p:spTgt spid="35"/>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22"/>
                                        </p:tgtEl>
                                        <p:attrNameLst>
                                          <p:attrName>style.visibility</p:attrName>
                                        </p:attrNameLst>
                                      </p:cBhvr>
                                      <p:to>
                                        <p:strVal val="visible"/>
                                      </p:to>
                                    </p:set>
                                    <p:anim calcmode="lin" valueType="num">
                                      <p:cBhvr additive="base">
                                        <p:cTn id="47" dur="500" fill="hold"/>
                                        <p:tgtEl>
                                          <p:spTgt spid="22"/>
                                        </p:tgtEl>
                                        <p:attrNameLst>
                                          <p:attrName>ppt_x</p:attrName>
                                        </p:attrNameLst>
                                      </p:cBhvr>
                                      <p:tavLst>
                                        <p:tav tm="0">
                                          <p:val>
                                            <p:strVal val="1+#ppt_w/2"/>
                                          </p:val>
                                        </p:tav>
                                        <p:tav tm="100000">
                                          <p:val>
                                            <p:strVal val="#ppt_x"/>
                                          </p:val>
                                        </p:tav>
                                      </p:tavLst>
                                    </p:anim>
                                    <p:anim calcmode="lin" valueType="num">
                                      <p:cBhvr additive="base">
                                        <p:cTn id="48" dur="500" fill="hold"/>
                                        <p:tgtEl>
                                          <p:spTgt spid="22"/>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1+#ppt_w/2"/>
                                          </p:val>
                                        </p:tav>
                                        <p:tav tm="100000">
                                          <p:val>
                                            <p:strVal val="#ppt_x"/>
                                          </p:val>
                                        </p:tav>
                                      </p:tavLst>
                                    </p:anim>
                                    <p:anim calcmode="lin" valueType="num">
                                      <p:cBhvr additive="base">
                                        <p:cTn id="52" dur="500" fill="hold"/>
                                        <p:tgtEl>
                                          <p:spTgt spid="15"/>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5"/>
                                        </p:tgtEl>
                                        <p:attrNameLst>
                                          <p:attrName>style.visibility</p:attrName>
                                        </p:attrNameLst>
                                      </p:cBhvr>
                                      <p:to>
                                        <p:strVal val="visible"/>
                                      </p:to>
                                    </p:set>
                                    <p:anim calcmode="lin" valueType="num">
                                      <p:cBhvr additive="base">
                                        <p:cTn id="55" dur="500" fill="hold"/>
                                        <p:tgtEl>
                                          <p:spTgt spid="5"/>
                                        </p:tgtEl>
                                        <p:attrNameLst>
                                          <p:attrName>ppt_x</p:attrName>
                                        </p:attrNameLst>
                                      </p:cBhvr>
                                      <p:tavLst>
                                        <p:tav tm="0">
                                          <p:val>
                                            <p:strVal val="1+#ppt_w/2"/>
                                          </p:val>
                                        </p:tav>
                                        <p:tav tm="100000">
                                          <p:val>
                                            <p:strVal val="#ppt_x"/>
                                          </p:val>
                                        </p:tav>
                                      </p:tavLst>
                                    </p:anim>
                                    <p:anim calcmode="lin" valueType="num">
                                      <p:cBhvr additive="base">
                                        <p:cTn id="56" dur="500" fill="hold"/>
                                        <p:tgtEl>
                                          <p:spTgt spid="5"/>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1"/>
                                        </p:tgtEl>
                                        <p:attrNameLst>
                                          <p:attrName>style.visibility</p:attrName>
                                        </p:attrNameLst>
                                      </p:cBhvr>
                                      <p:to>
                                        <p:strVal val="visible"/>
                                      </p:to>
                                    </p:set>
                                    <p:anim calcmode="lin" valueType="num">
                                      <p:cBhvr additive="base">
                                        <p:cTn id="59" dur="500" fill="hold"/>
                                        <p:tgtEl>
                                          <p:spTgt spid="31"/>
                                        </p:tgtEl>
                                        <p:attrNameLst>
                                          <p:attrName>ppt_x</p:attrName>
                                        </p:attrNameLst>
                                      </p:cBhvr>
                                      <p:tavLst>
                                        <p:tav tm="0">
                                          <p:val>
                                            <p:strVal val="1+#ppt_w/2"/>
                                          </p:val>
                                        </p:tav>
                                        <p:tav tm="100000">
                                          <p:val>
                                            <p:strVal val="#ppt_x"/>
                                          </p:val>
                                        </p:tav>
                                      </p:tavLst>
                                    </p:anim>
                                    <p:anim calcmode="lin" valueType="num">
                                      <p:cBhvr additive="base">
                                        <p:cTn id="60" dur="500" fill="hold"/>
                                        <p:tgtEl>
                                          <p:spTgt spid="31"/>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29"/>
                                        </p:tgtEl>
                                        <p:attrNameLst>
                                          <p:attrName>style.visibility</p:attrName>
                                        </p:attrNameLst>
                                      </p:cBhvr>
                                      <p:to>
                                        <p:strVal val="visible"/>
                                      </p:to>
                                    </p:set>
                                    <p:anim calcmode="lin" valueType="num">
                                      <p:cBhvr additive="base">
                                        <p:cTn id="63" dur="500" fill="hold"/>
                                        <p:tgtEl>
                                          <p:spTgt spid="29"/>
                                        </p:tgtEl>
                                        <p:attrNameLst>
                                          <p:attrName>ppt_x</p:attrName>
                                        </p:attrNameLst>
                                      </p:cBhvr>
                                      <p:tavLst>
                                        <p:tav tm="0">
                                          <p:val>
                                            <p:strVal val="1+#ppt_w/2"/>
                                          </p:val>
                                        </p:tav>
                                        <p:tav tm="100000">
                                          <p:val>
                                            <p:strVal val="#ppt_x"/>
                                          </p:val>
                                        </p:tav>
                                      </p:tavLst>
                                    </p:anim>
                                    <p:anim calcmode="lin" valueType="num">
                                      <p:cBhvr additive="base">
                                        <p:cTn id="64" dur="500" fill="hold"/>
                                        <p:tgtEl>
                                          <p:spTgt spid="29"/>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36"/>
                                        </p:tgtEl>
                                        <p:attrNameLst>
                                          <p:attrName>style.visibility</p:attrName>
                                        </p:attrNameLst>
                                      </p:cBhvr>
                                      <p:to>
                                        <p:strVal val="visible"/>
                                      </p:to>
                                    </p:set>
                                    <p:anim calcmode="lin" valueType="num">
                                      <p:cBhvr additive="base">
                                        <p:cTn id="67" dur="500" fill="hold"/>
                                        <p:tgtEl>
                                          <p:spTgt spid="36"/>
                                        </p:tgtEl>
                                        <p:attrNameLst>
                                          <p:attrName>ppt_x</p:attrName>
                                        </p:attrNameLst>
                                      </p:cBhvr>
                                      <p:tavLst>
                                        <p:tav tm="0">
                                          <p:val>
                                            <p:strVal val="1+#ppt_w/2"/>
                                          </p:val>
                                        </p:tav>
                                        <p:tav tm="100000">
                                          <p:val>
                                            <p:strVal val="#ppt_x"/>
                                          </p:val>
                                        </p:tav>
                                      </p:tavLst>
                                    </p:anim>
                                    <p:anim calcmode="lin" valueType="num">
                                      <p:cBhvr additive="base">
                                        <p:cTn id="68" dur="500" fill="hold"/>
                                        <p:tgtEl>
                                          <p:spTgt spid="36"/>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7"/>
                                        </p:tgtEl>
                                        <p:attrNameLst>
                                          <p:attrName>style.visibility</p:attrName>
                                        </p:attrNameLst>
                                      </p:cBhvr>
                                      <p:to>
                                        <p:strVal val="visible"/>
                                      </p:to>
                                    </p:set>
                                    <p:anim calcmode="lin" valueType="num">
                                      <p:cBhvr additive="base">
                                        <p:cTn id="71" dur="500" fill="hold"/>
                                        <p:tgtEl>
                                          <p:spTgt spid="37"/>
                                        </p:tgtEl>
                                        <p:attrNameLst>
                                          <p:attrName>ppt_x</p:attrName>
                                        </p:attrNameLst>
                                      </p:cBhvr>
                                      <p:tavLst>
                                        <p:tav tm="0">
                                          <p:val>
                                            <p:strVal val="1+#ppt_w/2"/>
                                          </p:val>
                                        </p:tav>
                                        <p:tav tm="100000">
                                          <p:val>
                                            <p:strVal val="#ppt_x"/>
                                          </p:val>
                                        </p:tav>
                                      </p:tavLst>
                                    </p:anim>
                                    <p:anim calcmode="lin" valueType="num">
                                      <p:cBhvr additive="base">
                                        <p:cTn id="72" dur="500" fill="hold"/>
                                        <p:tgtEl>
                                          <p:spTgt spid="37"/>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38"/>
                                        </p:tgtEl>
                                        <p:attrNameLst>
                                          <p:attrName>style.visibility</p:attrName>
                                        </p:attrNameLst>
                                      </p:cBhvr>
                                      <p:to>
                                        <p:strVal val="visible"/>
                                      </p:to>
                                    </p:set>
                                    <p:anim calcmode="lin" valueType="num">
                                      <p:cBhvr additive="base">
                                        <p:cTn id="75" dur="500" fill="hold"/>
                                        <p:tgtEl>
                                          <p:spTgt spid="38"/>
                                        </p:tgtEl>
                                        <p:attrNameLst>
                                          <p:attrName>ppt_x</p:attrName>
                                        </p:attrNameLst>
                                      </p:cBhvr>
                                      <p:tavLst>
                                        <p:tav tm="0">
                                          <p:val>
                                            <p:strVal val="1+#ppt_w/2"/>
                                          </p:val>
                                        </p:tav>
                                        <p:tav tm="100000">
                                          <p:val>
                                            <p:strVal val="#ppt_x"/>
                                          </p:val>
                                        </p:tav>
                                      </p:tavLst>
                                    </p:anim>
                                    <p:anim calcmode="lin" valueType="num">
                                      <p:cBhvr additive="base">
                                        <p:cTn id="76" dur="500" fill="hold"/>
                                        <p:tgtEl>
                                          <p:spTgt spid="3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215315"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219790" y="3297452"/>
            <a:ext cx="1010230" cy="1010230"/>
          </a:xfrm>
          <a:prstGeom prst="rect">
            <a:avLst/>
          </a:prstGeom>
        </p:spPr>
      </p:pic>
      <p:pic>
        <p:nvPicPr>
          <p:cNvPr id="25" name="Picture 24"/>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7085555" y="4223063"/>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19" name="Freeform 18"/>
          <p:cNvSpPr/>
          <p:nvPr/>
        </p:nvSpPr>
        <p:spPr>
          <a:xfrm>
            <a:off x="5574898" y="1519637"/>
            <a:ext cx="3847007" cy="1201215"/>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18" name="Freeform 17"/>
          <p:cNvSpPr/>
          <p:nvPr/>
        </p:nvSpPr>
        <p:spPr>
          <a:xfrm rot="2324010" flipV="1">
            <a:off x="5063066" y="3890456"/>
            <a:ext cx="2121092" cy="310924"/>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5"/>
          <a:stretch>
            <a:fillRect/>
          </a:stretch>
        </p:blipFill>
        <p:spPr>
          <a:xfrm>
            <a:off x="862255" y="4396426"/>
            <a:ext cx="2084501" cy="1428933"/>
          </a:xfrm>
          <a:prstGeom prst="rect">
            <a:avLst/>
          </a:prstGeom>
        </p:spPr>
      </p:pic>
      <p:sp>
        <p:nvSpPr>
          <p:cNvPr id="15" name="Freeform 14"/>
          <p:cNvSpPr/>
          <p:nvPr/>
        </p:nvSpPr>
        <p:spPr>
          <a:xfrm flipV="1">
            <a:off x="7590670" y="5424279"/>
            <a:ext cx="1696765" cy="80215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7" name="Picture 6"/>
          <p:cNvPicPr>
            <a:picLocks noChangeAspect="1"/>
          </p:cNvPicPr>
          <p:nvPr/>
        </p:nvPicPr>
        <p:blipFill rotWithShape="1">
          <a:blip r:embed="rId6" cstate="print">
            <a:extLst>
              <a:ext uri="{28A0092B-C50C-407E-A947-70E740481C1C}">
                <a14:useLocalDpi xmlns:a14="http://schemas.microsoft.com/office/drawing/2010/main" val="0"/>
              </a:ext>
            </a:extLst>
          </a:blip>
          <a:srcRect l="6740" t="11909" r="5416" b="10090"/>
          <a:stretch/>
        </p:blipFill>
        <p:spPr>
          <a:xfrm>
            <a:off x="9342394" y="5088680"/>
            <a:ext cx="2609386" cy="1390185"/>
          </a:xfrm>
          <a:prstGeom prst="rect">
            <a:avLst/>
          </a:prstGeom>
        </p:spPr>
      </p:pic>
      <p:grpSp>
        <p:nvGrpSpPr>
          <p:cNvPr id="14" name="Group 13"/>
          <p:cNvGrpSpPr/>
          <p:nvPr/>
        </p:nvGrpSpPr>
        <p:grpSpPr>
          <a:xfrm>
            <a:off x="1588" y="0"/>
            <a:ext cx="12195175" cy="945292"/>
            <a:chOff x="1588" y="0"/>
            <a:chExt cx="12195175" cy="945292"/>
          </a:xfrm>
        </p:grpSpPr>
        <p:sp>
          <p:nvSpPr>
            <p:cNvPr id="16"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lang="en-GB" sz="3400" noProof="0" dirty="0" smtClean="0">
                  <a:solidFill>
                    <a:srgbClr val="FFFFFF"/>
                  </a:solidFill>
                </a:rPr>
                <a:t>Connect the Dots Architecture</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20" name="Rectangle 19"/>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2" name="Group 21"/>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2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6"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7"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8"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9"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0"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1"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pic>
        <p:nvPicPr>
          <p:cNvPr id="32" name="Picture 31"/>
          <p:cNvPicPr>
            <a:picLocks noChangeAspect="1"/>
          </p:cNvPicPr>
          <p:nvPr/>
        </p:nvPicPr>
        <p:blipFill>
          <a:blip r:embed="rId7">
            <a:extLst>
              <a:ext uri="{BEBA8EAE-BF5A-486C-A8C5-ECC9F3942E4B}">
                <a14:imgProps xmlns:a14="http://schemas.microsoft.com/office/drawing/2010/main">
                  <a14:imgLayer r:embed="rId8">
                    <a14:imgEffect>
                      <a14:backgroundRemoval t="1342" b="99497" l="0" r="100000">
                        <a14:foregroundMark x1="58375" y1="58725" x2="58375" y2="58725"/>
                        <a14:foregroundMark x1="65500" y1="56376" x2="65500" y2="56376"/>
                        <a14:foregroundMark x1="71375" y1="58221" x2="71375" y2="58221"/>
                        <a14:foregroundMark x1="35750" y1="75839" x2="35750" y2="75839"/>
                        <a14:foregroundMark x1="34875" y1="77181" x2="34875" y2="77181"/>
                        <a14:foregroundMark x1="43125" y1="87584" x2="43125" y2="87584"/>
                        <a14:foregroundMark x1="47000" y1="90772" x2="47000" y2="90772"/>
                      </a14:backgroundRemoval>
                    </a14:imgEffect>
                  </a14:imgLayer>
                </a14:imgProps>
              </a:ext>
            </a:extLst>
          </a:blip>
          <a:stretch>
            <a:fillRect/>
          </a:stretch>
        </p:blipFill>
        <p:spPr>
          <a:xfrm>
            <a:off x="1223370" y="4525094"/>
            <a:ext cx="3088464" cy="2300906"/>
          </a:xfrm>
          <a:prstGeom prst="rect">
            <a:avLst/>
          </a:prstGeom>
        </p:spPr>
      </p:pic>
      <p:pic>
        <p:nvPicPr>
          <p:cNvPr id="33" name="Picture 32"/>
          <p:cNvPicPr>
            <a:picLocks noChangeAspect="1"/>
          </p:cNvPicPr>
          <p:nvPr/>
        </p:nvPicPr>
        <p:blipFill>
          <a:blip r:embed="rId9">
            <a:extLst>
              <a:ext uri="{BEBA8EAE-BF5A-486C-A8C5-ECC9F3942E4B}">
                <a14:imgProps xmlns:a14="http://schemas.microsoft.com/office/drawing/2010/main">
                  <a14:imgLayer r:embed="rId10">
                    <a14:imgEffect>
                      <a14:backgroundRemoval t="1111" b="96667" l="0" r="100000">
                        <a14:foregroundMark x1="16450" y1="61111" x2="16450" y2="61111"/>
                        <a14:foregroundMark x1="28139" y1="59259" x2="28139" y2="59259"/>
                        <a14:foregroundMark x1="46753" y1="61481" x2="46753" y2="61481"/>
                        <a14:foregroundMark x1="61039" y1="58889" x2="61039" y2="58889"/>
                      </a14:backgroundRemoval>
                    </a14:imgEffect>
                  </a14:imgLayer>
                </a14:imgProps>
              </a:ext>
            </a:extLst>
          </a:blip>
          <a:stretch>
            <a:fillRect/>
          </a:stretch>
        </p:blipFill>
        <p:spPr>
          <a:xfrm>
            <a:off x="9542021" y="1363265"/>
            <a:ext cx="1010230" cy="1180788"/>
          </a:xfrm>
          <a:prstGeom prst="rect">
            <a:avLst/>
          </a:prstGeom>
        </p:spPr>
      </p:pic>
      <p:pic>
        <p:nvPicPr>
          <p:cNvPr id="6" name="Picture 5"/>
          <p:cNvPicPr>
            <a:picLocks noChangeAspect="1"/>
          </p:cNvPicPr>
          <p:nvPr/>
        </p:nvPicPr>
        <p:blipFill>
          <a:blip r:embed="rId11" cstate="print">
            <a:biLevel thresh="75000"/>
            <a:extLst>
              <a:ext uri="{28A0092B-C50C-407E-A947-70E740481C1C}">
                <a14:useLocalDpi xmlns:a14="http://schemas.microsoft.com/office/drawing/2010/main" val="0"/>
              </a:ext>
            </a:extLst>
          </a:blip>
          <a:stretch>
            <a:fillRect/>
          </a:stretch>
        </p:blipFill>
        <p:spPr>
          <a:xfrm>
            <a:off x="9542021" y="2851299"/>
            <a:ext cx="1011600" cy="1011600"/>
          </a:xfrm>
          <a:prstGeom prst="rect">
            <a:avLst/>
          </a:prstGeom>
        </p:spPr>
      </p:pic>
      <p:sp>
        <p:nvSpPr>
          <p:cNvPr id="34" name="Freeform 33"/>
          <p:cNvSpPr/>
          <p:nvPr/>
        </p:nvSpPr>
        <p:spPr>
          <a:xfrm flipV="1">
            <a:off x="5574898" y="2962026"/>
            <a:ext cx="3767496" cy="686692"/>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2090184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par>
                                <p:cTn id="35" presetID="10"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10" presetClass="entr" presetSubtype="0" fill="hold" nodeType="withEffect">
                                  <p:stCondLst>
                                    <p:cond delay="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34"/>
                                        </p:tgtEl>
                                        <p:attrNameLst>
                                          <p:attrName>style.visibility</p:attrName>
                                        </p:attrNameLst>
                                      </p:cBhvr>
                                      <p:to>
                                        <p:strVal val="visible"/>
                                      </p:to>
                                    </p:set>
                                    <p:animEffect transition="in" filter="fade">
                                      <p:cBhvr>
                                        <p:cTn id="45"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18" grpId="0" animBg="1"/>
      <p:bldP spid="15" grpId="0" animBg="1"/>
      <p:bldP spid="3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Azure </a:t>
            </a:r>
            <a:r>
              <a:rPr lang="en-GB" sz="7200" dirty="0" smtClean="0">
                <a:solidFill>
                  <a:schemeClr val="bg1"/>
                </a:solidFill>
                <a:latin typeface="Segoe UI Light" panose="020B0502040204020203" pitchFamily="34" charset="0"/>
                <a:cs typeface="Segoe UI Light" panose="020B0502040204020203" pitchFamily="34" charset="0"/>
              </a:rPr>
              <a:t>Stream </a:t>
            </a:r>
            <a:r>
              <a:rPr lang="en-GB" sz="7200" dirty="0" smtClean="0">
                <a:solidFill>
                  <a:schemeClr val="bg1"/>
                </a:solidFill>
                <a:latin typeface="Segoe UI Light" panose="020B0502040204020203" pitchFamily="34" charset="0"/>
                <a:cs typeface="Segoe UI Light" panose="020B0502040204020203" pitchFamily="34" charset="0"/>
              </a:rPr>
              <a:t>Analytics</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1755537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15032" y="1578350"/>
            <a:ext cx="947955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600" dirty="0">
                <a:gradFill>
                  <a:gsLst>
                    <a:gs pos="1250">
                      <a:schemeClr val="tx1"/>
                    </a:gs>
                    <a:gs pos="100000">
                      <a:schemeClr val="tx1"/>
                    </a:gs>
                  </a:gsLst>
                  <a:lin ang="5400000" scaled="0"/>
                </a:gradFill>
                <a:latin typeface="+mj-lt"/>
              </a:rPr>
              <a:t>Real-time</a:t>
            </a:r>
            <a:r>
              <a:rPr lang="en-GB" sz="3600" dirty="0">
                <a:gradFill>
                  <a:gsLst>
                    <a:gs pos="1250">
                      <a:schemeClr val="tx1"/>
                    </a:gs>
                    <a:gs pos="100000">
                      <a:schemeClr val="tx1"/>
                    </a:gs>
                  </a:gsLst>
                  <a:lin ang="5400000" scaled="0"/>
                </a:gradFill>
                <a:latin typeface="+mj-lt"/>
              </a:rPr>
              <a:t> stream processing in the cloud</a:t>
            </a:r>
            <a:endParaRPr lang="en-GB" sz="3600" dirty="0">
              <a:gradFill>
                <a:gsLst>
                  <a:gs pos="1250">
                    <a:schemeClr val="tx1"/>
                  </a:gs>
                  <a:gs pos="100000">
                    <a:schemeClr val="tx1"/>
                  </a:gs>
                </a:gsLst>
                <a:lin ang="5400000" scaled="0"/>
              </a:gradFill>
              <a:latin typeface="+mj-lt"/>
            </a:endParaRPr>
          </a:p>
        </p:txBody>
      </p:sp>
      <p:sp>
        <p:nvSpPr>
          <p:cNvPr id="80" name="TextBox 79"/>
          <p:cNvSpPr txBox="1"/>
          <p:nvPr/>
        </p:nvSpPr>
        <p:spPr>
          <a:xfrm>
            <a:off x="615032" y="2498756"/>
            <a:ext cx="10377396" cy="1200329"/>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600">
                <a:gradFill>
                  <a:gsLst>
                    <a:gs pos="1250">
                      <a:schemeClr val="tx1"/>
                    </a:gs>
                    <a:gs pos="100000">
                      <a:schemeClr val="tx1"/>
                    </a:gs>
                  </a:gsLst>
                  <a:lin ang="5400000" scaled="0"/>
                </a:gradFill>
                <a:latin typeface="+mj-lt"/>
              </a:defRPr>
            </a:lvl1pPr>
          </a:lstStyle>
          <a:p>
            <a:r>
              <a:rPr lang="en-GB" dirty="0"/>
              <a:t>Out-of-the-box integration with Event </a:t>
            </a:r>
            <a:r>
              <a:rPr lang="en-GB" dirty="0" smtClean="0"/>
              <a:t>Hubs and Power BI</a:t>
            </a:r>
            <a:endParaRPr lang="en-GB" dirty="0"/>
          </a:p>
        </p:txBody>
      </p:sp>
      <p:sp>
        <p:nvSpPr>
          <p:cNvPr id="81" name="TextBox 80"/>
          <p:cNvSpPr txBox="1"/>
          <p:nvPr/>
        </p:nvSpPr>
        <p:spPr>
          <a:xfrm>
            <a:off x="620194" y="3973160"/>
            <a:ext cx="7718011"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600" dirty="0">
                <a:gradFill>
                  <a:gsLst>
                    <a:gs pos="1250">
                      <a:schemeClr val="tx1"/>
                    </a:gs>
                    <a:gs pos="100000">
                      <a:schemeClr val="tx1"/>
                    </a:gs>
                  </a:gsLst>
                  <a:lin ang="5400000" scaled="0"/>
                </a:gradFill>
                <a:latin typeface="+mj-lt"/>
              </a:rPr>
              <a:t>Ability</a:t>
            </a:r>
            <a:r>
              <a:rPr lang="en-GB" sz="3600" dirty="0">
                <a:gradFill>
                  <a:gsLst>
                    <a:gs pos="1250">
                      <a:schemeClr val="tx1"/>
                    </a:gs>
                    <a:gs pos="100000">
                      <a:schemeClr val="tx1"/>
                    </a:gs>
                  </a:gsLst>
                  <a:lin ang="5400000" scaled="0"/>
                </a:gradFill>
                <a:latin typeface="+mj-lt"/>
              </a:rPr>
              <a:t> to compare real-time streams with historical values and models</a:t>
            </a:r>
            <a:endParaRPr lang="en-GB" sz="3600" dirty="0">
              <a:gradFill>
                <a:gsLst>
                  <a:gs pos="1250">
                    <a:schemeClr val="tx1"/>
                  </a:gs>
                  <a:gs pos="100000">
                    <a:schemeClr val="tx1"/>
                  </a:gs>
                </a:gsLst>
                <a:lin ang="5400000" scaled="0"/>
              </a:gradFill>
              <a:latin typeface="+mj-lt"/>
            </a:endParaRPr>
          </a:p>
        </p:txBody>
      </p:sp>
      <p:grpSp>
        <p:nvGrpSpPr>
          <p:cNvPr id="83" name="Group 82"/>
          <p:cNvGrpSpPr/>
          <p:nvPr/>
        </p:nvGrpSpPr>
        <p:grpSpPr>
          <a:xfrm>
            <a:off x="1588" y="-22486"/>
            <a:ext cx="12195175" cy="945292"/>
            <a:chOff x="1588" y="0"/>
            <a:chExt cx="12195175" cy="945292"/>
          </a:xfrm>
        </p:grpSpPr>
        <p:sp>
          <p:nvSpPr>
            <p:cNvPr id="84"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Azure Stream Analytic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85" name="Rectangle 84"/>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6"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87" name="Group 86"/>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88"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89"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0"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1"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2"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3"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4"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5"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1745035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6" name="Straight Connector 95"/>
          <p:cNvCxnSpPr/>
          <p:nvPr/>
        </p:nvCxnSpPr>
        <p:spPr>
          <a:xfrm>
            <a:off x="-2316986" y="4426030"/>
            <a:ext cx="7514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705435" y="2147544"/>
            <a:ext cx="2073830" cy="3449933"/>
            <a:chOff x="338203" y="2006399"/>
            <a:chExt cx="2074125" cy="3450422"/>
          </a:xfrm>
        </p:grpSpPr>
        <p:sp>
          <p:nvSpPr>
            <p:cNvPr id="56" name="Rectangle 55"/>
            <p:cNvSpPr/>
            <p:nvPr/>
          </p:nvSpPr>
          <p:spPr bwMode="auto">
            <a:xfrm>
              <a:off x="338203" y="2006399"/>
              <a:ext cx="2074125" cy="3450422"/>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INPUT</a:t>
              </a: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4" name="Rounded Rectangle 33"/>
            <p:cNvSpPr/>
            <p:nvPr/>
          </p:nvSpPr>
          <p:spPr>
            <a:xfrm>
              <a:off x="604277" y="3322168"/>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Blob Storage</a:t>
              </a:r>
            </a:p>
          </p:txBody>
        </p:sp>
        <p:sp>
          <p:nvSpPr>
            <p:cNvPr id="64" name="Rounded Rectangle 63"/>
            <p:cNvSpPr/>
            <p:nvPr/>
          </p:nvSpPr>
          <p:spPr>
            <a:xfrm>
              <a:off x="601543" y="2701796"/>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Event Hubs</a:t>
              </a:r>
            </a:p>
          </p:txBody>
        </p:sp>
        <p:sp>
          <p:nvSpPr>
            <p:cNvPr id="92" name="Rounded Rectangle 91"/>
            <p:cNvSpPr/>
            <p:nvPr/>
          </p:nvSpPr>
          <p:spPr>
            <a:xfrm>
              <a:off x="494672" y="4601600"/>
              <a:ext cx="176118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Reference Data</a:t>
              </a:r>
            </a:p>
          </p:txBody>
        </p:sp>
        <p:sp>
          <p:nvSpPr>
            <p:cNvPr id="4" name="Rounded Rectangle 3"/>
            <p:cNvSpPr/>
            <p:nvPr/>
          </p:nvSpPr>
          <p:spPr bwMode="auto">
            <a:xfrm>
              <a:off x="467328" y="2501817"/>
              <a:ext cx="1815874" cy="1535316"/>
            </a:xfrm>
            <a:prstGeom prst="roundRect">
              <a:avLst/>
            </a:prstGeom>
            <a:noFill/>
            <a:ln>
              <a:solidFill>
                <a:srgbClr val="7FBA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nvGrpSpPr>
          <p:cNvPr id="18" name="Group 17"/>
          <p:cNvGrpSpPr/>
          <p:nvPr/>
        </p:nvGrpSpPr>
        <p:grpSpPr>
          <a:xfrm>
            <a:off x="3654391" y="2149584"/>
            <a:ext cx="4905605" cy="3449933"/>
            <a:chOff x="3983712" y="2006399"/>
            <a:chExt cx="4906301" cy="3450422"/>
          </a:xfrm>
        </p:grpSpPr>
        <p:sp>
          <p:nvSpPr>
            <p:cNvPr id="84" name="Rectangle 83"/>
            <p:cNvSpPr>
              <a:spLocks noChangeAspect="1"/>
            </p:cNvSpPr>
            <p:nvPr/>
          </p:nvSpPr>
          <p:spPr bwMode="auto">
            <a:xfrm>
              <a:off x="3983712" y="2006399"/>
              <a:ext cx="4906301" cy="34504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960" b="1" i="0" u="none" strike="noStrike" kern="1200" cap="all" spc="0" normalizeH="0" baseline="0" noProof="0">
                <a:ln>
                  <a:noFill/>
                </a:ln>
                <a:gradFill>
                  <a:gsLst>
                    <a:gs pos="2917">
                      <a:srgbClr val="FFFFFF"/>
                    </a:gs>
                    <a:gs pos="100000">
                      <a:srgbClr val="FFFFFF"/>
                    </a:gs>
                  </a:gsLst>
                  <a:lin ang="5400000" scaled="0"/>
                </a:gradFill>
                <a:effectLst/>
                <a:uLnTx/>
                <a:uFillTx/>
                <a:latin typeface="Segoe UI Light"/>
                <a:ea typeface="MS PGothic" charset="0"/>
                <a:cs typeface="Segoe UI Semibold" panose="020B0702040204020203" pitchFamily="34" charset="0"/>
              </a:endParaRPr>
            </a:p>
          </p:txBody>
        </p:sp>
        <p:sp>
          <p:nvSpPr>
            <p:cNvPr id="105" name="Freeform 88"/>
            <p:cNvSpPr>
              <a:spLocks noEditPoints="1"/>
            </p:cNvSpPr>
            <p:nvPr/>
          </p:nvSpPr>
          <p:spPr bwMode="black">
            <a:xfrm>
              <a:off x="4061842" y="5120017"/>
              <a:ext cx="258724" cy="27732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505050"/>
                </a:solidFill>
                <a:effectLst/>
                <a:uLnTx/>
                <a:uFillTx/>
                <a:latin typeface="Segoe UI Light"/>
                <a:ea typeface="+mn-ea"/>
                <a:cs typeface="+mn-cs"/>
              </a:endParaRPr>
            </a:p>
          </p:txBody>
        </p:sp>
        <p:sp>
          <p:nvSpPr>
            <p:cNvPr id="106" name="TextBox 105"/>
            <p:cNvSpPr txBox="1"/>
            <p:nvPr/>
          </p:nvSpPr>
          <p:spPr>
            <a:xfrm>
              <a:off x="4191203" y="5140262"/>
              <a:ext cx="4667473" cy="2308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70" normalizeH="0" baseline="0" noProof="0" dirty="0">
                  <a:ln>
                    <a:noFill/>
                  </a:ln>
                  <a:solidFill>
                    <a:srgbClr val="FFFFFF"/>
                  </a:solidFill>
                  <a:effectLst/>
                  <a:uLnTx/>
                  <a:uFillTx/>
                  <a:latin typeface="Segoe UI Light"/>
                  <a:ea typeface="+mn-ea"/>
                  <a:cs typeface="+mn-cs"/>
                </a:rPr>
                <a:t>Query runs continuously against incoming stream of events</a:t>
              </a:r>
            </a:p>
          </p:txBody>
        </p:sp>
        <p:sp>
          <p:nvSpPr>
            <p:cNvPr id="85" name="Rectangle 84"/>
            <p:cNvSpPr>
              <a:spLocks noChangeAspect="1"/>
            </p:cNvSpPr>
            <p:nvPr/>
          </p:nvSpPr>
          <p:spPr bwMode="auto">
            <a:xfrm>
              <a:off x="6501567" y="2501818"/>
              <a:ext cx="1898269" cy="245958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lang="en-US" sz="1961" b="1" spc="-50" dirty="0" smtClean="0">
                  <a:gradFill>
                    <a:gsLst>
                      <a:gs pos="0">
                        <a:srgbClr val="FFFFFF"/>
                      </a:gs>
                      <a:gs pos="100000">
                        <a:srgbClr val="FFFFFF"/>
                      </a:gs>
                    </a:gsLst>
                    <a:lin ang="5400000" scaled="0"/>
                  </a:gradFill>
                  <a:latin typeface="Segoe UI Light"/>
                  <a:ea typeface="Tahoma" panose="020B0604030504040204" pitchFamily="34" charset="0"/>
                  <a:cs typeface="Segoe UI" pitchFamily="34" charset="0"/>
                </a:rPr>
                <a:t>STREAM ANALYTICS QUERIES</a:t>
              </a:r>
              <a:endParaRPr kumimoji="0" lang="en-US" sz="1400" b="1" i="0" u="none" strike="noStrike" kern="1200" cap="none" spc="0" normalizeH="0" baseline="0" noProof="0" dirty="0">
                <a:ln>
                  <a:noFill/>
                </a:ln>
                <a:solidFill>
                  <a:srgbClr val="505050"/>
                </a:solidFill>
                <a:effectLst/>
                <a:uLnTx/>
                <a:uFillTx/>
                <a:latin typeface="Segoe UI Light"/>
                <a:ea typeface="Tahoma" panose="020B0604030504040204" pitchFamily="34" charset="0"/>
                <a:cs typeface="Arial" panose="020B0604020202020204" pitchFamily="34" charset="0"/>
              </a:endParaRPr>
            </a:p>
          </p:txBody>
        </p:sp>
        <p:cxnSp>
          <p:nvCxnSpPr>
            <p:cNvPr id="17" name="Straight Arrow Connector 16"/>
            <p:cNvCxnSpPr/>
            <p:nvPr/>
          </p:nvCxnSpPr>
          <p:spPr>
            <a:xfrm flipV="1">
              <a:off x="5992659" y="3727528"/>
              <a:ext cx="384482" cy="8164"/>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4546561" y="3595001"/>
              <a:ext cx="1340689" cy="273219"/>
              <a:chOff x="4546561" y="3617817"/>
              <a:chExt cx="1340689" cy="273219"/>
            </a:xfrm>
          </p:grpSpPr>
          <p:sp>
            <p:nvSpPr>
              <p:cNvPr id="42" name="Rectangle 41"/>
              <p:cNvSpPr/>
              <p:nvPr/>
            </p:nvSpPr>
            <p:spPr bwMode="auto">
              <a:xfrm>
                <a:off x="4546561" y="3617817"/>
                <a:ext cx="324862" cy="27321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3" name="Rectangle 42"/>
              <p:cNvSpPr/>
              <p:nvPr/>
            </p:nvSpPr>
            <p:spPr bwMode="auto">
              <a:xfrm>
                <a:off x="4878578" y="3617817"/>
                <a:ext cx="324862" cy="273219"/>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4" name="Rectangle 43"/>
              <p:cNvSpPr/>
              <p:nvPr/>
            </p:nvSpPr>
            <p:spPr bwMode="auto">
              <a:xfrm>
                <a:off x="5221477" y="3617817"/>
                <a:ext cx="324862" cy="273219"/>
              </a:xfrm>
              <a:prstGeom prst="rect">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5" name="Rectangle 44"/>
              <p:cNvSpPr/>
              <p:nvPr/>
            </p:nvSpPr>
            <p:spPr bwMode="auto">
              <a:xfrm>
                <a:off x="5562388" y="3617817"/>
                <a:ext cx="324862" cy="273219"/>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cxnSp>
        <p:nvCxnSpPr>
          <p:cNvPr id="55" name="Straight Arrow Connector 54"/>
          <p:cNvCxnSpPr>
            <a:endCxn id="49" idx="1"/>
          </p:cNvCxnSpPr>
          <p:nvPr/>
        </p:nvCxnSpPr>
        <p:spPr>
          <a:xfrm>
            <a:off x="8647521" y="3872510"/>
            <a:ext cx="765215" cy="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3995588" y="3401252"/>
            <a:ext cx="1843884" cy="130163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smtClean="0">
                <a:ln>
                  <a:noFill/>
                </a:ln>
                <a:solidFill>
                  <a:srgbClr val="FFFFFF"/>
                </a:solidFill>
                <a:effectLst/>
                <a:uLnTx/>
                <a:uFillTx/>
                <a:latin typeface="Segoe UI Light"/>
                <a:ea typeface="+mn-ea"/>
                <a:cs typeface="+mn-cs"/>
              </a:rPr>
              <a:t>EVENTS</a:t>
            </a:r>
            <a:endParaRPr kumimoji="0" lang="en-US" sz="1961" b="1" i="0" u="none" strike="noStrike" kern="1200" cap="none" spc="-70" normalizeH="0" baseline="0" noProof="0" dirty="0">
              <a:ln>
                <a:noFill/>
              </a:ln>
              <a:solidFill>
                <a:srgbClr val="FFFFFF"/>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72" b="1"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Have a defined schema and are temporal (sequenced in time)</a:t>
            </a:r>
          </a:p>
        </p:txBody>
      </p:sp>
      <p:cxnSp>
        <p:nvCxnSpPr>
          <p:cNvPr id="20" name="Straight Arrow Connector 19"/>
          <p:cNvCxnSpPr/>
          <p:nvPr/>
        </p:nvCxnSpPr>
        <p:spPr>
          <a:xfrm>
            <a:off x="2779265" y="3872511"/>
            <a:ext cx="1364324" cy="408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2801656" y="5005902"/>
            <a:ext cx="3053613" cy="2"/>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4421934" y="2370780"/>
            <a:ext cx="1010230" cy="1010230"/>
          </a:xfrm>
          <a:prstGeom prst="rect">
            <a:avLst/>
          </a:prstGeom>
        </p:spPr>
      </p:pic>
      <p:sp>
        <p:nvSpPr>
          <p:cNvPr id="49" name="Rectangle 48"/>
          <p:cNvSpPr/>
          <p:nvPr/>
        </p:nvSpPr>
        <p:spPr bwMode="auto">
          <a:xfrm>
            <a:off x="9412736" y="2147544"/>
            <a:ext cx="2166695" cy="34499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5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OUTPUT</a:t>
            </a:r>
            <a:endPar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3" name="Rounded Rectangle 32"/>
          <p:cNvSpPr/>
          <p:nvPr/>
        </p:nvSpPr>
        <p:spPr>
          <a:xfrm>
            <a:off x="9755804" y="2591220"/>
            <a:ext cx="1480558" cy="572513"/>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SQL DB</a:t>
            </a:r>
          </a:p>
        </p:txBody>
      </p:sp>
      <p:sp>
        <p:nvSpPr>
          <p:cNvPr id="61" name="Rounded Rectangle 60"/>
          <p:cNvSpPr/>
          <p:nvPr/>
        </p:nvSpPr>
        <p:spPr>
          <a:xfrm>
            <a:off x="9755804" y="3768565"/>
            <a:ext cx="1480558" cy="592690"/>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Event Hubs</a:t>
            </a:r>
          </a:p>
        </p:txBody>
      </p:sp>
      <p:sp>
        <p:nvSpPr>
          <p:cNvPr id="115" name="Rounded Rectangle 114"/>
          <p:cNvSpPr/>
          <p:nvPr/>
        </p:nvSpPr>
        <p:spPr>
          <a:xfrm>
            <a:off x="9755804" y="3203704"/>
            <a:ext cx="1480558" cy="527049"/>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Blob Storage</a:t>
            </a:r>
          </a:p>
        </p:txBody>
      </p:sp>
      <p:sp>
        <p:nvSpPr>
          <p:cNvPr id="32" name="Rounded Rectangle 31"/>
          <p:cNvSpPr/>
          <p:nvPr/>
        </p:nvSpPr>
        <p:spPr>
          <a:xfrm>
            <a:off x="9755804" y="4399067"/>
            <a:ext cx="1480558" cy="527049"/>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a:t>
            </a:r>
            <a:r>
              <a:rPr lang="en-US" sz="1400" b="1" spc="-53" dirty="0" smtClean="0">
                <a:solidFill>
                  <a:srgbClr val="FFFFFF"/>
                </a:solidFill>
                <a:latin typeface="Segoe UI Light"/>
                <a:ea typeface="Segoe UI" pitchFamily="34" charset="0"/>
                <a:cs typeface="Segoe UI" pitchFamily="34" charset="0"/>
              </a:rPr>
              <a:t>Table</a:t>
            </a:r>
            <a:r>
              <a:rPr kumimoji="0" lang="en-US" sz="1400" b="1" i="0" u="none" strike="noStrike" kern="1200" cap="none" spc="-53" normalizeH="0" baseline="0" noProof="0" dirty="0" smtClean="0">
                <a:ln>
                  <a:noFill/>
                </a:ln>
                <a:solidFill>
                  <a:srgbClr val="FFFFFF"/>
                </a:solidFill>
                <a:effectLst/>
                <a:uLnTx/>
                <a:uFillTx/>
                <a:latin typeface="Segoe UI Light"/>
                <a:ea typeface="Segoe UI" pitchFamily="34" charset="0"/>
                <a:cs typeface="Segoe UI" pitchFamily="34" charset="0"/>
              </a:rPr>
              <a:t> </a:t>
            </a: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Storage</a:t>
            </a:r>
          </a:p>
        </p:txBody>
      </p:sp>
      <p:sp>
        <p:nvSpPr>
          <p:cNvPr id="37" name="Rounded Rectangle 36"/>
          <p:cNvSpPr/>
          <p:nvPr/>
        </p:nvSpPr>
        <p:spPr>
          <a:xfrm>
            <a:off x="9755804" y="4963061"/>
            <a:ext cx="1480558" cy="527049"/>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smtClean="0">
                <a:ln>
                  <a:noFill/>
                </a:ln>
                <a:solidFill>
                  <a:srgbClr val="FFFFFF"/>
                </a:solidFill>
                <a:effectLst/>
                <a:uLnTx/>
                <a:uFillTx/>
                <a:latin typeface="Segoe UI Light"/>
                <a:ea typeface="Segoe UI" pitchFamily="34" charset="0"/>
                <a:cs typeface="Segoe UI" pitchFamily="34" charset="0"/>
              </a:rPr>
              <a:t>Power BI</a:t>
            </a:r>
            <a:endPar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8" name="Group 37"/>
          <p:cNvGrpSpPr/>
          <p:nvPr/>
        </p:nvGrpSpPr>
        <p:grpSpPr>
          <a:xfrm>
            <a:off x="1588" y="-22486"/>
            <a:ext cx="12195175" cy="945292"/>
            <a:chOff x="1588" y="0"/>
            <a:chExt cx="12195175" cy="945292"/>
          </a:xfrm>
        </p:grpSpPr>
        <p:sp>
          <p:nvSpPr>
            <p:cNvPr id="39"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Azure Stream Analytics: Component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40" name="Rectangle 39"/>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1"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6" name="Group 45"/>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47"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8"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0"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1"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2"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3"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4"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8"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543034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7"/>
                                        </p:tgtEl>
                                        <p:attrNameLst>
                                          <p:attrName>style.visibility</p:attrName>
                                        </p:attrNameLst>
                                      </p:cBhvr>
                                      <p:to>
                                        <p:strVal val="visible"/>
                                      </p:to>
                                    </p:set>
                                    <p:animEffect transition="in" filter="fade">
                                      <p:cBhvr>
                                        <p:cTn id="10" dur="500"/>
                                        <p:tgtEl>
                                          <p:spTgt spid="57"/>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par>
                                <p:cTn id="20" presetID="10" presetClass="entr" presetSubtype="0" fill="hold" nodeType="withEffect">
                                  <p:stCondLst>
                                    <p:cond delay="0"/>
                                  </p:stCondLst>
                                  <p:childTnLst>
                                    <p:set>
                                      <p:cBhvr>
                                        <p:cTn id="21" dur="1" fill="hold">
                                          <p:stCondLst>
                                            <p:cond delay="0"/>
                                          </p:stCondLst>
                                        </p:cTn>
                                        <p:tgtEl>
                                          <p:spTgt spid="55"/>
                                        </p:tgtEl>
                                        <p:attrNameLst>
                                          <p:attrName>style.visibility</p:attrName>
                                        </p:attrNameLst>
                                      </p:cBhvr>
                                      <p:to>
                                        <p:strVal val="visible"/>
                                      </p:to>
                                    </p:set>
                                    <p:animEffect transition="in" filter="fade">
                                      <p:cBhvr>
                                        <p:cTn id="22"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bwMode="auto">
          <a:xfrm>
            <a:off x="8083485" y="4721787"/>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6" name="Rectangle 25"/>
          <p:cNvSpPr/>
          <p:nvPr/>
        </p:nvSpPr>
        <p:spPr bwMode="auto">
          <a:xfrm>
            <a:off x="8185174"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3" name="Rectangle 22"/>
          <p:cNvSpPr/>
          <p:nvPr/>
        </p:nvSpPr>
        <p:spPr bwMode="auto">
          <a:xfrm>
            <a:off x="4105357" y="3756419"/>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4" name="Rectangle 23"/>
          <p:cNvSpPr/>
          <p:nvPr/>
        </p:nvSpPr>
        <p:spPr bwMode="auto">
          <a:xfrm>
            <a:off x="6096000" y="4225290"/>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2" name="Rectangle 21"/>
          <p:cNvSpPr/>
          <p:nvPr/>
        </p:nvSpPr>
        <p:spPr bwMode="auto">
          <a:xfrm>
            <a:off x="2085075" y="3289144"/>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cxnSp>
        <p:nvCxnSpPr>
          <p:cNvPr id="4" name="Straight Arrow Connector 3"/>
          <p:cNvCxnSpPr/>
          <p:nvPr/>
        </p:nvCxnSpPr>
        <p:spPr>
          <a:xfrm>
            <a:off x="2020230" y="3185817"/>
            <a:ext cx="8092265"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2020230" y="3185817"/>
            <a:ext cx="8092265" cy="0"/>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312018" y="2764345"/>
            <a:ext cx="1241722" cy="213978"/>
            <a:chOff x="787481" y="2764250"/>
            <a:chExt cx="1241898" cy="214009"/>
          </a:xfrm>
          <a:solidFill>
            <a:srgbClr val="4E195C"/>
          </a:solidFill>
        </p:grpSpPr>
        <p:sp>
          <p:nvSpPr>
            <p:cNvPr id="7" name="Rectangle 6"/>
            <p:cNvSpPr/>
            <p:nvPr/>
          </p:nvSpPr>
          <p:spPr bwMode="auto">
            <a:xfrm>
              <a:off x="787481"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9" name="Rectangle 8"/>
            <p:cNvSpPr/>
            <p:nvPr/>
          </p:nvSpPr>
          <p:spPr bwMode="auto">
            <a:xfrm>
              <a:off x="1445720"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Rectangle 9"/>
            <p:cNvSpPr/>
            <p:nvPr/>
          </p:nvSpPr>
          <p:spPr bwMode="auto">
            <a:xfrm>
              <a:off x="1815370"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sp>
        <p:nvSpPr>
          <p:cNvPr id="11" name="Rectangle 10"/>
          <p:cNvSpPr/>
          <p:nvPr/>
        </p:nvSpPr>
        <p:spPr bwMode="auto">
          <a:xfrm>
            <a:off x="4348053"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3" name="Rectangle 12"/>
          <p:cNvSpPr/>
          <p:nvPr/>
        </p:nvSpPr>
        <p:spPr bwMode="auto">
          <a:xfrm>
            <a:off x="6633731"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1" name="TextBox 20"/>
          <p:cNvSpPr txBox="1"/>
          <p:nvPr/>
        </p:nvSpPr>
        <p:spPr>
          <a:xfrm>
            <a:off x="9486231" y="3244137"/>
            <a:ext cx="717582" cy="369332"/>
          </a:xfrm>
          <a:prstGeom prst="rect">
            <a:avLst/>
          </a:prstGeom>
          <a:noFill/>
          <a:ln>
            <a:solidFill>
              <a:schemeClr val="bg1"/>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Time</a:t>
            </a:r>
          </a:p>
        </p:txBody>
      </p:sp>
      <p:sp>
        <p:nvSpPr>
          <p:cNvPr id="34" name="Title 3"/>
          <p:cNvSpPr txBox="1">
            <a:spLocks/>
          </p:cNvSpPr>
          <p:nvPr/>
        </p:nvSpPr>
        <p:spPr>
          <a:xfrm>
            <a:off x="345304" y="1151790"/>
            <a:ext cx="8380811" cy="4985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000" b="0" kern="1200" cap="none" spc="-15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lang="en-US" sz="3600" dirty="0">
                <a:solidFill>
                  <a:srgbClr val="442157"/>
                </a:solidFill>
                <a:ea typeface="+mj-ea"/>
                <a:cs typeface="+mj-cs"/>
              </a:rPr>
              <a:t>Tumbling Window</a:t>
            </a:r>
          </a:p>
        </p:txBody>
      </p:sp>
      <p:sp>
        <p:nvSpPr>
          <p:cNvPr id="46" name="Rectangle 45"/>
          <p:cNvSpPr/>
          <p:nvPr/>
        </p:nvSpPr>
        <p:spPr bwMode="auto">
          <a:xfrm>
            <a:off x="5738611" y="2761103"/>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48" name="Rectangle 47"/>
          <p:cNvSpPr/>
          <p:nvPr/>
        </p:nvSpPr>
        <p:spPr bwMode="auto">
          <a:xfrm>
            <a:off x="8619126" y="2774149"/>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52" name="Rectangle 51"/>
          <p:cNvSpPr/>
          <p:nvPr/>
        </p:nvSpPr>
        <p:spPr bwMode="auto">
          <a:xfrm>
            <a:off x="9079494" y="2761103"/>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25" name="Group 24"/>
          <p:cNvGrpSpPr/>
          <p:nvPr/>
        </p:nvGrpSpPr>
        <p:grpSpPr>
          <a:xfrm>
            <a:off x="1588" y="-44971"/>
            <a:ext cx="12195175" cy="945292"/>
            <a:chOff x="1588" y="0"/>
            <a:chExt cx="12195175" cy="945292"/>
          </a:xfrm>
        </p:grpSpPr>
        <p:sp>
          <p:nvSpPr>
            <p:cNvPr id="27"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Azure Stream Analytics Windowing</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28" name="Rectangle 27"/>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9"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30" name="Group 29"/>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3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2"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3"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5"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6"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7"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8"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9"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4796590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42" presetClass="path" presetSubtype="0" accel="50000" decel="50000" fill="hold" nodeType="afterEffect">
                                  <p:stCondLst>
                                    <p:cond delay="0"/>
                                  </p:stCondLst>
                                  <p:childTnLst>
                                    <p:animMotion origin="layout" path="M -3.05556E-6 -4.68208E-6 L -3.05556E-6 0.09157 " pathEditMode="relative" rAng="0" ptsTypes="AA">
                                      <p:cBhvr>
                                        <p:cTn id="10" dur="1250" fill="hold"/>
                                        <p:tgtEl>
                                          <p:spTgt spid="2"/>
                                        </p:tgtEl>
                                        <p:attrNameLst>
                                          <p:attrName>ppt_x</p:attrName>
                                          <p:attrName>ppt_y</p:attrName>
                                        </p:attrNameLst>
                                      </p:cBhvr>
                                      <p:rCtr x="0" y="4578"/>
                                    </p:animMotion>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250"/>
                                        <p:tgtEl>
                                          <p:spTgt spid="23"/>
                                        </p:tgtEl>
                                      </p:cBhvr>
                                    </p:animEffect>
                                  </p:childTnLst>
                                </p:cTn>
                              </p:par>
                              <p:par>
                                <p:cTn id="15" presetID="42" presetClass="path" presetSubtype="0" accel="50000" decel="50000" fill="hold" grpId="0" nodeType="withEffect">
                                  <p:stCondLst>
                                    <p:cond delay="0"/>
                                  </p:stCondLst>
                                  <p:childTnLst>
                                    <p:animMotion origin="layout" path="M 3.88889E-6 -4.68208E-6 L 3.88889E-6 0.15908 " pathEditMode="relative" rAng="0" ptsTypes="AA">
                                      <p:cBhvr>
                                        <p:cTn id="16" dur="1250" fill="hold"/>
                                        <p:tgtEl>
                                          <p:spTgt spid="11"/>
                                        </p:tgtEl>
                                        <p:attrNameLst>
                                          <p:attrName>ppt_x</p:attrName>
                                          <p:attrName>ppt_y</p:attrName>
                                        </p:attrNameLst>
                                      </p:cBhvr>
                                      <p:rCtr x="0" y="7954"/>
                                    </p:animMotion>
                                  </p:childTnLst>
                                </p:cTn>
                              </p:par>
                              <p:par>
                                <p:cTn id="17" presetID="42" presetClass="path" presetSubtype="0" accel="50000" decel="50000" fill="hold" grpId="0" nodeType="withEffect">
                                  <p:stCondLst>
                                    <p:cond delay="0"/>
                                  </p:stCondLst>
                                  <p:childTnLst>
                                    <p:animMotion origin="layout" path="M 2.91667E-6 4.44444E-6 L -0.00326 0.15578 " pathEditMode="relative" rAng="0" ptsTypes="AA">
                                      <p:cBhvr>
                                        <p:cTn id="18" dur="1250" fill="hold"/>
                                        <p:tgtEl>
                                          <p:spTgt spid="46"/>
                                        </p:tgtEl>
                                        <p:attrNameLst>
                                          <p:attrName>ppt_x</p:attrName>
                                          <p:attrName>ppt_y</p:attrName>
                                        </p:attrNameLst>
                                      </p:cBhvr>
                                      <p:rCtr x="-169" y="7778"/>
                                    </p:animMotion>
                                  </p:childTnLst>
                                </p:cTn>
                              </p:par>
                            </p:childTnLst>
                          </p:cTn>
                        </p:par>
                        <p:par>
                          <p:cTn id="19" fill="hold">
                            <p:stCondLst>
                              <p:cond delay="2750"/>
                            </p:stCondLst>
                            <p:childTnLst>
                              <p:par>
                                <p:cTn id="20" presetID="10" presetClass="entr" presetSubtype="0" fill="hold" grpId="0" nodeType="after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250"/>
                                        <p:tgtEl>
                                          <p:spTgt spid="24"/>
                                        </p:tgtEl>
                                      </p:cBhvr>
                                    </p:animEffect>
                                  </p:childTnLst>
                                </p:cTn>
                              </p:par>
                              <p:par>
                                <p:cTn id="23" presetID="42" presetClass="path" presetSubtype="0" accel="50000" decel="50000" fill="hold" grpId="0" nodeType="withEffect">
                                  <p:stCondLst>
                                    <p:cond delay="0"/>
                                  </p:stCondLst>
                                  <p:childTnLst>
                                    <p:animMotion origin="layout" path="M -4.58333E-6 1.48148E-6 L -4.58333E-6 0.22917 " pathEditMode="relative" rAng="0" ptsTypes="AA">
                                      <p:cBhvr>
                                        <p:cTn id="24" dur="1250" fill="hold"/>
                                        <p:tgtEl>
                                          <p:spTgt spid="13"/>
                                        </p:tgtEl>
                                        <p:attrNameLst>
                                          <p:attrName>ppt_x</p:attrName>
                                          <p:attrName>ppt_y</p:attrName>
                                        </p:attrNameLst>
                                      </p:cBhvr>
                                      <p:rCtr x="0" y="11458"/>
                                    </p:animMotion>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250"/>
                                        <p:tgtEl>
                                          <p:spTgt spid="41"/>
                                        </p:tgtEl>
                                      </p:cBhvr>
                                    </p:animEffect>
                                  </p:childTnLst>
                                </p:cTn>
                              </p:par>
                            </p:childTnLst>
                          </p:cTn>
                        </p:par>
                        <p:par>
                          <p:cTn id="29" fill="hold">
                            <p:stCondLst>
                              <p:cond delay="4250"/>
                            </p:stCondLst>
                            <p:childTnLst>
                              <p:par>
                                <p:cTn id="30" presetID="42" presetClass="path" presetSubtype="0" accel="50000" decel="50000" fill="hold" grpId="0" nodeType="afterEffect">
                                  <p:stCondLst>
                                    <p:cond delay="0"/>
                                  </p:stCondLst>
                                  <p:childTnLst>
                                    <p:animMotion origin="layout" path="M 1.875E-6 1.48148E-6 L -0.00065 0.29815 " pathEditMode="relative" rAng="0" ptsTypes="AA">
                                      <p:cBhvr>
                                        <p:cTn id="31" dur="1250" fill="hold"/>
                                        <p:tgtEl>
                                          <p:spTgt spid="26"/>
                                        </p:tgtEl>
                                        <p:attrNameLst>
                                          <p:attrName>ppt_x</p:attrName>
                                          <p:attrName>ppt_y</p:attrName>
                                        </p:attrNameLst>
                                      </p:cBhvr>
                                      <p:rCtr x="-39" y="14907"/>
                                    </p:animMotion>
                                  </p:childTnLst>
                                </p:cTn>
                              </p:par>
                              <p:par>
                                <p:cTn id="32" presetID="42" presetClass="path" presetSubtype="0" accel="50000" decel="50000" fill="hold" grpId="0" nodeType="withEffect">
                                  <p:stCondLst>
                                    <p:cond delay="0"/>
                                  </p:stCondLst>
                                  <p:childTnLst>
                                    <p:animMotion origin="layout" path="M 5E-6 2.59259E-6 L -0.00065 0.29815 " pathEditMode="relative" rAng="0" ptsTypes="AA">
                                      <p:cBhvr>
                                        <p:cTn id="33" dur="1250" fill="hold"/>
                                        <p:tgtEl>
                                          <p:spTgt spid="48"/>
                                        </p:tgtEl>
                                        <p:attrNameLst>
                                          <p:attrName>ppt_x</p:attrName>
                                          <p:attrName>ppt_y</p:attrName>
                                        </p:attrNameLst>
                                      </p:cBhvr>
                                      <p:rCtr x="-39" y="14907"/>
                                    </p:animMotion>
                                  </p:childTnLst>
                                </p:cTn>
                              </p:par>
                              <p:par>
                                <p:cTn id="34" presetID="42" presetClass="path" presetSubtype="0" accel="50000" decel="50000" fill="hold" grpId="0" nodeType="withEffect">
                                  <p:stCondLst>
                                    <p:cond delay="0"/>
                                  </p:stCondLst>
                                  <p:childTnLst>
                                    <p:animMotion origin="layout" path="M 4.58333E-6 4.44444E-6 L -0.00066 0.29814 " pathEditMode="relative" rAng="0" ptsTypes="AA">
                                      <p:cBhvr>
                                        <p:cTn id="35" dur="1250" fill="hold"/>
                                        <p:tgtEl>
                                          <p:spTgt spid="52"/>
                                        </p:tgtEl>
                                        <p:attrNameLst>
                                          <p:attrName>ppt_x</p:attrName>
                                          <p:attrName>ppt_y</p:attrName>
                                        </p:attrNameLst>
                                      </p:cBhvr>
                                      <p:rCtr x="-39" y="1490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26" grpId="0" animBg="1"/>
      <p:bldP spid="23" grpId="0" animBg="1"/>
      <p:bldP spid="24" grpId="0" animBg="1"/>
      <p:bldP spid="22" grpId="0" animBg="1"/>
      <p:bldP spid="11" grpId="0" animBg="1"/>
      <p:bldP spid="13" grpId="0" animBg="1"/>
      <p:bldP spid="46" grpId="0" animBg="1"/>
      <p:bldP spid="48" grpId="0" animBg="1"/>
      <p:bldP spid="5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3042724" y="3756420"/>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4" name="Rectangle 23"/>
          <p:cNvSpPr/>
          <p:nvPr/>
        </p:nvSpPr>
        <p:spPr bwMode="auto">
          <a:xfrm>
            <a:off x="4000372" y="4225262"/>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5" name="Rectangle 24"/>
          <p:cNvSpPr/>
          <p:nvPr/>
        </p:nvSpPr>
        <p:spPr bwMode="auto">
          <a:xfrm>
            <a:off x="4966902" y="4692239"/>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2" name="Rectangle 21"/>
          <p:cNvSpPr/>
          <p:nvPr/>
        </p:nvSpPr>
        <p:spPr bwMode="auto">
          <a:xfrm>
            <a:off x="2085075" y="3289144"/>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cxnSp>
        <p:nvCxnSpPr>
          <p:cNvPr id="4" name="Straight Arrow Connector 3"/>
          <p:cNvCxnSpPr/>
          <p:nvPr/>
        </p:nvCxnSpPr>
        <p:spPr>
          <a:xfrm>
            <a:off x="2020230" y="3185817"/>
            <a:ext cx="8092265"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2020230" y="3185817"/>
            <a:ext cx="8092265" cy="0"/>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312018" y="2764345"/>
            <a:ext cx="1241722" cy="213978"/>
            <a:chOff x="787481" y="2764250"/>
            <a:chExt cx="1241898" cy="214009"/>
          </a:xfrm>
          <a:solidFill>
            <a:srgbClr val="4E195C"/>
          </a:solidFill>
        </p:grpSpPr>
        <p:sp>
          <p:nvSpPr>
            <p:cNvPr id="7" name="Rectangle 6"/>
            <p:cNvSpPr/>
            <p:nvPr/>
          </p:nvSpPr>
          <p:spPr bwMode="auto">
            <a:xfrm>
              <a:off x="787481"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9" name="Rectangle 8"/>
            <p:cNvSpPr/>
            <p:nvPr/>
          </p:nvSpPr>
          <p:spPr bwMode="auto">
            <a:xfrm>
              <a:off x="1445720"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Rectangle 9"/>
            <p:cNvSpPr/>
            <p:nvPr/>
          </p:nvSpPr>
          <p:spPr bwMode="auto">
            <a:xfrm>
              <a:off x="1815370"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sp>
        <p:nvSpPr>
          <p:cNvPr id="11" name="Rectangle 10"/>
          <p:cNvSpPr/>
          <p:nvPr/>
        </p:nvSpPr>
        <p:spPr bwMode="auto">
          <a:xfrm>
            <a:off x="4348053"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2" name="Rectangle 11"/>
          <p:cNvSpPr/>
          <p:nvPr/>
        </p:nvSpPr>
        <p:spPr bwMode="auto">
          <a:xfrm>
            <a:off x="5732428"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3" name="Rectangle 12"/>
          <p:cNvSpPr/>
          <p:nvPr/>
        </p:nvSpPr>
        <p:spPr bwMode="auto">
          <a:xfrm>
            <a:off x="6633731"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4" name="Rectangle 13"/>
          <p:cNvSpPr/>
          <p:nvPr/>
        </p:nvSpPr>
        <p:spPr bwMode="auto">
          <a:xfrm>
            <a:off x="8595664"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5" name="Rectangle 14"/>
          <p:cNvSpPr/>
          <p:nvPr/>
        </p:nvSpPr>
        <p:spPr bwMode="auto">
          <a:xfrm>
            <a:off x="8176166"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9" name="Rectangle 18"/>
          <p:cNvSpPr/>
          <p:nvPr/>
        </p:nvSpPr>
        <p:spPr bwMode="auto">
          <a:xfrm>
            <a:off x="8896712"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1" name="TextBox 20"/>
          <p:cNvSpPr txBox="1"/>
          <p:nvPr/>
        </p:nvSpPr>
        <p:spPr>
          <a:xfrm>
            <a:off x="9486231" y="3244137"/>
            <a:ext cx="717582" cy="369332"/>
          </a:xfrm>
          <a:prstGeom prst="rect">
            <a:avLst/>
          </a:prstGeom>
          <a:noFill/>
          <a:ln>
            <a:solidFill>
              <a:schemeClr val="bg1"/>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Time</a:t>
            </a:r>
          </a:p>
        </p:txBody>
      </p:sp>
      <p:sp>
        <p:nvSpPr>
          <p:cNvPr id="29" name="Rectangle 28"/>
          <p:cNvSpPr/>
          <p:nvPr/>
        </p:nvSpPr>
        <p:spPr bwMode="auto">
          <a:xfrm>
            <a:off x="5915670" y="5166723"/>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0" name="Rectangle 29"/>
          <p:cNvSpPr/>
          <p:nvPr/>
        </p:nvSpPr>
        <p:spPr bwMode="auto">
          <a:xfrm>
            <a:off x="3339761" y="3388358"/>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1" name="Rectangle 30"/>
          <p:cNvSpPr/>
          <p:nvPr/>
        </p:nvSpPr>
        <p:spPr bwMode="auto">
          <a:xfrm>
            <a:off x="4339718" y="3854019"/>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2" name="Rectangle 31"/>
          <p:cNvSpPr/>
          <p:nvPr/>
        </p:nvSpPr>
        <p:spPr bwMode="auto">
          <a:xfrm>
            <a:off x="5715296" y="4322862"/>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3" name="Rectangle 32"/>
          <p:cNvSpPr/>
          <p:nvPr/>
        </p:nvSpPr>
        <p:spPr bwMode="auto">
          <a:xfrm>
            <a:off x="6633730" y="4789838"/>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7" name="Title 3"/>
          <p:cNvSpPr txBox="1">
            <a:spLocks/>
          </p:cNvSpPr>
          <p:nvPr/>
        </p:nvSpPr>
        <p:spPr>
          <a:xfrm>
            <a:off x="345304" y="1129305"/>
            <a:ext cx="8380811" cy="4985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000" b="0" kern="1200" cap="none" spc="-15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lang="en-US" sz="3600" dirty="0" smtClean="0">
                <a:solidFill>
                  <a:srgbClr val="442157"/>
                </a:solidFill>
                <a:ea typeface="+mj-ea"/>
                <a:cs typeface="+mj-cs"/>
              </a:rPr>
              <a:t>Hopping </a:t>
            </a:r>
            <a:r>
              <a:rPr lang="en-US" sz="3600" dirty="0">
                <a:solidFill>
                  <a:srgbClr val="442157"/>
                </a:solidFill>
                <a:ea typeface="+mj-ea"/>
                <a:cs typeface="+mj-cs"/>
              </a:rPr>
              <a:t>Window</a:t>
            </a:r>
          </a:p>
        </p:txBody>
      </p:sp>
      <p:grpSp>
        <p:nvGrpSpPr>
          <p:cNvPr id="34" name="Group 33"/>
          <p:cNvGrpSpPr/>
          <p:nvPr/>
        </p:nvGrpSpPr>
        <p:grpSpPr>
          <a:xfrm>
            <a:off x="1588" y="-44971"/>
            <a:ext cx="12195175" cy="945292"/>
            <a:chOff x="1588" y="0"/>
            <a:chExt cx="12195175" cy="945292"/>
          </a:xfrm>
        </p:grpSpPr>
        <p:sp>
          <p:nvSpPr>
            <p:cNvPr id="35"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Azure Stream Analytics Windowing</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36" name="Rectangle 35"/>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7"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38" name="Group 37"/>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39"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0"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1"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2"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3"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4"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5"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6"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42653821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42" presetClass="path" presetSubtype="0" accel="50000" decel="50000" fill="hold" nodeType="afterEffect">
                                  <p:stCondLst>
                                    <p:cond delay="0"/>
                                  </p:stCondLst>
                                  <p:childTnLst>
                                    <p:animMotion origin="layout" path="M -3.05556E-6 -4.68208E-6 L -3.05556E-6 0.09157 " pathEditMode="relative" rAng="0" ptsTypes="AA">
                                      <p:cBhvr>
                                        <p:cTn id="10" dur="1250" fill="hold"/>
                                        <p:tgtEl>
                                          <p:spTgt spid="2"/>
                                        </p:tgtEl>
                                        <p:attrNameLst>
                                          <p:attrName>ppt_x</p:attrName>
                                          <p:attrName>ppt_y</p:attrName>
                                        </p:attrNameLst>
                                      </p:cBhvr>
                                      <p:rCtr x="0" y="4578"/>
                                    </p:animMotion>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250"/>
                                        <p:tgtEl>
                                          <p:spTgt spid="23"/>
                                        </p:tgtEl>
                                      </p:cBhvr>
                                    </p:animEffect>
                                  </p:childTnLst>
                                </p:cTn>
                              </p:par>
                            </p:childTnLst>
                          </p:cTn>
                        </p:par>
                        <p:par>
                          <p:cTn id="15" fill="hold">
                            <p:stCondLst>
                              <p:cond delay="1750"/>
                            </p:stCondLst>
                            <p:childTnLst>
                              <p:par>
                                <p:cTn id="16" presetID="1" presetClass="entr" presetSubtype="0" fill="hold" grpId="1" nodeType="afterEffect">
                                  <p:stCondLst>
                                    <p:cond delay="0"/>
                                  </p:stCondLst>
                                  <p:childTnLst>
                                    <p:set>
                                      <p:cBhvr>
                                        <p:cTn id="17" dur="1" fill="hold">
                                          <p:stCondLst>
                                            <p:cond delay="0"/>
                                          </p:stCondLst>
                                        </p:cTn>
                                        <p:tgtEl>
                                          <p:spTgt spid="30"/>
                                        </p:tgtEl>
                                        <p:attrNameLst>
                                          <p:attrName>style.visibility</p:attrName>
                                        </p:attrNameLst>
                                      </p:cBhvr>
                                      <p:to>
                                        <p:strVal val="visible"/>
                                      </p:to>
                                    </p:set>
                                  </p:childTnLst>
                                </p:cTn>
                              </p:par>
                            </p:childTnLst>
                          </p:cTn>
                        </p:par>
                        <p:par>
                          <p:cTn id="18" fill="hold">
                            <p:stCondLst>
                              <p:cond delay="1750"/>
                            </p:stCondLst>
                            <p:childTnLst>
                              <p:par>
                                <p:cTn id="19" presetID="42" presetClass="path" presetSubtype="0" accel="50000" decel="50000" fill="hold" grpId="0" nodeType="afterEffect">
                                  <p:stCondLst>
                                    <p:cond delay="0"/>
                                  </p:stCondLst>
                                  <p:childTnLst>
                                    <p:animMotion origin="layout" path="M 4.44444E-6 4.50867E-6 L 4.44444E-6 0.0682 " pathEditMode="relative" rAng="0" ptsTypes="AA">
                                      <p:cBhvr>
                                        <p:cTn id="20" dur="1250" fill="hold"/>
                                        <p:tgtEl>
                                          <p:spTgt spid="30"/>
                                        </p:tgtEl>
                                        <p:attrNameLst>
                                          <p:attrName>ppt_x</p:attrName>
                                          <p:attrName>ppt_y</p:attrName>
                                        </p:attrNameLst>
                                      </p:cBhvr>
                                      <p:rCtr x="0" y="3399"/>
                                    </p:animMotion>
                                  </p:childTnLst>
                                </p:cTn>
                              </p:par>
                              <p:par>
                                <p:cTn id="21" presetID="42" presetClass="path" presetSubtype="0" accel="50000" decel="50000" fill="hold" grpId="0" nodeType="withEffect">
                                  <p:stCondLst>
                                    <p:cond delay="0"/>
                                  </p:stCondLst>
                                  <p:childTnLst>
                                    <p:animMotion origin="layout" path="M 3.88889E-6 -4.68208E-6 L 3.88889E-6 0.15908 " pathEditMode="relative" rAng="0" ptsTypes="AA">
                                      <p:cBhvr>
                                        <p:cTn id="22" dur="1250" fill="hold"/>
                                        <p:tgtEl>
                                          <p:spTgt spid="11"/>
                                        </p:tgtEl>
                                        <p:attrNameLst>
                                          <p:attrName>ppt_x</p:attrName>
                                          <p:attrName>ppt_y</p:attrName>
                                        </p:attrNameLst>
                                      </p:cBhvr>
                                      <p:rCtr x="0" y="7954"/>
                                    </p:animMotion>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250"/>
                                        <p:tgtEl>
                                          <p:spTgt spid="24"/>
                                        </p:tgtEl>
                                      </p:cBhvr>
                                    </p:animEffect>
                                  </p:childTnLst>
                                </p:cTn>
                              </p:par>
                            </p:childTnLst>
                          </p:cTn>
                        </p:par>
                        <p:par>
                          <p:cTn id="27" fill="hold">
                            <p:stCondLst>
                              <p:cond delay="3250"/>
                            </p:stCondLst>
                            <p:childTnLst>
                              <p:par>
                                <p:cTn id="28" presetID="1" presetClass="entr" presetSubtype="0" fill="hold" grpId="1" nodeType="afterEffect">
                                  <p:stCondLst>
                                    <p:cond delay="0"/>
                                  </p:stCondLst>
                                  <p:childTnLst>
                                    <p:set>
                                      <p:cBhvr>
                                        <p:cTn id="29" dur="1" fill="hold">
                                          <p:stCondLst>
                                            <p:cond delay="0"/>
                                          </p:stCondLst>
                                        </p:cTn>
                                        <p:tgtEl>
                                          <p:spTgt spid="31"/>
                                        </p:tgtEl>
                                        <p:attrNameLst>
                                          <p:attrName>style.visibility</p:attrName>
                                        </p:attrNameLst>
                                      </p:cBhvr>
                                      <p:to>
                                        <p:strVal val="visible"/>
                                      </p:to>
                                    </p:set>
                                  </p:childTnLst>
                                </p:cTn>
                              </p:par>
                              <p:par>
                                <p:cTn id="30" presetID="42" presetClass="path" presetSubtype="0" accel="50000" decel="50000" fill="hold" grpId="0" nodeType="withEffect">
                                  <p:stCondLst>
                                    <p:cond delay="0"/>
                                  </p:stCondLst>
                                  <p:childTnLst>
                                    <p:animMotion origin="layout" path="M 0.00087 0.00023 L 0.00087 0.06612 " pathEditMode="relative" rAng="0" ptsTypes="AA">
                                      <p:cBhvr>
                                        <p:cTn id="31" dur="1250" fill="hold"/>
                                        <p:tgtEl>
                                          <p:spTgt spid="31"/>
                                        </p:tgtEl>
                                        <p:attrNameLst>
                                          <p:attrName>ppt_x</p:attrName>
                                          <p:attrName>ppt_y</p:attrName>
                                        </p:attrNameLst>
                                      </p:cBhvr>
                                      <p:rCtr x="0" y="3283"/>
                                    </p:animMotion>
                                  </p:childTnLst>
                                </p:cTn>
                              </p:par>
                              <p:par>
                                <p:cTn id="32" presetID="42" presetClass="path" presetSubtype="0" accel="50000" decel="50000" fill="hold" grpId="0" nodeType="withEffect">
                                  <p:stCondLst>
                                    <p:cond delay="0"/>
                                  </p:stCondLst>
                                  <p:childTnLst>
                                    <p:animMotion origin="layout" path="M 5E-6 -4.68208E-6 L 5E-6 0.22659 " pathEditMode="relative" rAng="0" ptsTypes="AA">
                                      <p:cBhvr>
                                        <p:cTn id="33" dur="2000" fill="hold"/>
                                        <p:tgtEl>
                                          <p:spTgt spid="12"/>
                                        </p:tgtEl>
                                        <p:attrNameLst>
                                          <p:attrName>ppt_x</p:attrName>
                                          <p:attrName>ppt_y</p:attrName>
                                        </p:attrNameLst>
                                      </p:cBhvr>
                                      <p:rCtr x="0" y="11329"/>
                                    </p:animMotion>
                                  </p:childTnLst>
                                </p:cTn>
                              </p:par>
                            </p:childTnLst>
                          </p:cTn>
                        </p:par>
                        <p:par>
                          <p:cTn id="34" fill="hold">
                            <p:stCondLst>
                              <p:cond delay="5250"/>
                            </p:stCondLst>
                            <p:childTnLst>
                              <p:par>
                                <p:cTn id="35" presetID="10" presetClass="entr" presetSubtype="0" fill="hold" grpId="0" nodeType="after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250"/>
                                        <p:tgtEl>
                                          <p:spTgt spid="25"/>
                                        </p:tgtEl>
                                      </p:cBhvr>
                                    </p:animEffect>
                                  </p:childTnLst>
                                </p:cTn>
                              </p:par>
                            </p:childTnLst>
                          </p:cTn>
                        </p:par>
                        <p:par>
                          <p:cTn id="38" fill="hold">
                            <p:stCondLst>
                              <p:cond delay="5500"/>
                            </p:stCondLst>
                            <p:childTnLst>
                              <p:par>
                                <p:cTn id="39" presetID="1" presetClass="entr" presetSubtype="0" fill="hold" grpId="1" nodeType="after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par>
                                <p:cTn id="41" presetID="42" presetClass="path" presetSubtype="0" accel="50000" decel="50000" fill="hold" grpId="0" nodeType="withEffect">
                                  <p:stCondLst>
                                    <p:cond delay="0"/>
                                  </p:stCondLst>
                                  <p:childTnLst>
                                    <p:animMotion origin="layout" path="M 0.00156 -3.86947E-6 L 0.00156 0.06295 " pathEditMode="relative" rAng="0" ptsTypes="AA">
                                      <p:cBhvr>
                                        <p:cTn id="42" dur="1250" fill="hold"/>
                                        <p:tgtEl>
                                          <p:spTgt spid="32"/>
                                        </p:tgtEl>
                                        <p:attrNameLst>
                                          <p:attrName>ppt_x</p:attrName>
                                          <p:attrName>ppt_y</p:attrName>
                                        </p:attrNameLst>
                                      </p:cBhvr>
                                      <p:rCtr x="0" y="3147"/>
                                    </p:animMotion>
                                  </p:childTnLst>
                                </p:cTn>
                              </p:par>
                              <p:par>
                                <p:cTn id="43" presetID="42" presetClass="path" presetSubtype="0" accel="50000" decel="50000" fill="hold" grpId="0" nodeType="withEffect">
                                  <p:stCondLst>
                                    <p:cond delay="0"/>
                                  </p:stCondLst>
                                  <p:childTnLst>
                                    <p:animMotion origin="layout" path="M 3.88889E-6 -4.68208E-6 L 3.88889E-6 0.29434 " pathEditMode="relative" rAng="0" ptsTypes="AA">
                                      <p:cBhvr>
                                        <p:cTn id="44" dur="1250" fill="hold"/>
                                        <p:tgtEl>
                                          <p:spTgt spid="13"/>
                                        </p:tgtEl>
                                        <p:attrNameLst>
                                          <p:attrName>ppt_x</p:attrName>
                                          <p:attrName>ppt_y</p:attrName>
                                        </p:attrNameLst>
                                      </p:cBhvr>
                                      <p:rCtr x="0" y="14705"/>
                                    </p:animMotion>
                                  </p:childTnLst>
                                </p:cTn>
                              </p:par>
                            </p:childTnLst>
                          </p:cTn>
                        </p:par>
                        <p:par>
                          <p:cTn id="45" fill="hold">
                            <p:stCondLst>
                              <p:cond delay="6750"/>
                            </p:stCondLst>
                            <p:childTnLst>
                              <p:par>
                                <p:cTn id="46" presetID="10" presetClass="entr" presetSubtype="0" fill="hold" grpId="0" nodeType="afterEffect">
                                  <p:stCondLst>
                                    <p:cond delay="0"/>
                                  </p:stCondLst>
                                  <p:childTnLst>
                                    <p:set>
                                      <p:cBhvr>
                                        <p:cTn id="47" dur="1" fill="hold">
                                          <p:stCondLst>
                                            <p:cond delay="0"/>
                                          </p:stCondLst>
                                        </p:cTn>
                                        <p:tgtEl>
                                          <p:spTgt spid="29"/>
                                        </p:tgtEl>
                                        <p:attrNameLst>
                                          <p:attrName>style.visibility</p:attrName>
                                        </p:attrNameLst>
                                      </p:cBhvr>
                                      <p:to>
                                        <p:strVal val="visible"/>
                                      </p:to>
                                    </p:set>
                                    <p:animEffect transition="in" filter="fade">
                                      <p:cBhvr>
                                        <p:cTn id="48" dur="250"/>
                                        <p:tgtEl>
                                          <p:spTgt spid="29"/>
                                        </p:tgtEl>
                                      </p:cBhvr>
                                    </p:animEffect>
                                  </p:childTnLst>
                                </p:cTn>
                              </p:par>
                              <p:par>
                                <p:cTn id="49" presetID="1" presetClass="entr" presetSubtype="0" fill="hold" grpId="1" nodeType="withEffect">
                                  <p:stCondLst>
                                    <p:cond delay="0"/>
                                  </p:stCondLst>
                                  <p:childTnLst>
                                    <p:set>
                                      <p:cBhvr>
                                        <p:cTn id="50" dur="1" fill="hold">
                                          <p:stCondLst>
                                            <p:cond delay="0"/>
                                          </p:stCondLst>
                                        </p:cTn>
                                        <p:tgtEl>
                                          <p:spTgt spid="33"/>
                                        </p:tgtEl>
                                        <p:attrNameLst>
                                          <p:attrName>style.visibility</p:attrName>
                                        </p:attrNameLst>
                                      </p:cBhvr>
                                      <p:to>
                                        <p:strVal val="visible"/>
                                      </p:to>
                                    </p:set>
                                  </p:childTnLst>
                                </p:cTn>
                              </p:par>
                              <p:par>
                                <p:cTn id="51" presetID="42" presetClass="path" presetSubtype="0" accel="50000" decel="50000" fill="hold" grpId="0" nodeType="withEffect">
                                  <p:stCondLst>
                                    <p:cond delay="0"/>
                                  </p:stCondLst>
                                  <p:childTnLst>
                                    <p:animMotion origin="layout" path="M 3.88889E-6 -0.00069 L 3.88889E-6 0.07052 " pathEditMode="relative" rAng="0" ptsTypes="AA">
                                      <p:cBhvr>
                                        <p:cTn id="52" dur="1250" fill="hold"/>
                                        <p:tgtEl>
                                          <p:spTgt spid="33"/>
                                        </p:tgtEl>
                                        <p:attrNameLst>
                                          <p:attrName>ppt_x</p:attrName>
                                          <p:attrName>ppt_y</p:attrName>
                                        </p:attrNameLst>
                                      </p:cBhvr>
                                      <p:rCtr x="0" y="35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2" grpId="0" animBg="1"/>
      <p:bldP spid="11" grpId="0" animBg="1"/>
      <p:bldP spid="12" grpId="0" animBg="1"/>
      <p:bldP spid="13" grpId="0" animBg="1"/>
      <p:bldP spid="29" grpId="0" animBg="1"/>
      <p:bldP spid="30" grpId="0" animBg="1"/>
      <p:bldP spid="30" grpId="1" animBg="1"/>
      <p:bldP spid="31" grpId="0" animBg="1"/>
      <p:bldP spid="31" grpId="1" animBg="1"/>
      <p:bldP spid="32" grpId="0" animBg="1"/>
      <p:bldP spid="32" grpId="1" animBg="1"/>
      <p:bldP spid="33" grpId="0" animBg="1"/>
      <p:bldP spid="33"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6" name="Isosceles Triangle 386"/>
          <p:cNvSpPr/>
          <p:nvPr/>
        </p:nvSpPr>
        <p:spPr bwMode="auto">
          <a:xfrm>
            <a:off x="3364264" y="4245089"/>
            <a:ext cx="1443320" cy="1374806"/>
          </a:xfrm>
          <a:custGeom>
            <a:avLst/>
            <a:gdLst/>
            <a:ahLst/>
            <a:cxnLst/>
            <a:rect l="l" t="t" r="r" b="b"/>
            <a:pathLst>
              <a:path w="1443320" h="1374806">
                <a:moveTo>
                  <a:pt x="253350" y="0"/>
                </a:moveTo>
                <a:lnTo>
                  <a:pt x="1443320" y="0"/>
                </a:lnTo>
                <a:lnTo>
                  <a:pt x="1443320" y="347522"/>
                </a:lnTo>
                <a:lnTo>
                  <a:pt x="1267962" y="347522"/>
                </a:lnTo>
                <a:lnTo>
                  <a:pt x="1424516" y="1374806"/>
                </a:lnTo>
                <a:lnTo>
                  <a:pt x="896817" y="1374806"/>
                </a:lnTo>
                <a:lnTo>
                  <a:pt x="1053372" y="347522"/>
                </a:lnTo>
                <a:lnTo>
                  <a:pt x="0" y="347522"/>
                </a:lnTo>
                <a:close/>
              </a:path>
            </a:pathLst>
          </a:custGeom>
          <a:solidFill>
            <a:schemeClr val="tx1">
              <a:alpha val="3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59" name="Isosceles Triangle 1258"/>
          <p:cNvSpPr/>
          <p:nvPr/>
        </p:nvSpPr>
        <p:spPr bwMode="auto">
          <a:xfrm rot="5400000" flipV="1">
            <a:off x="3453218" y="4970428"/>
            <a:ext cx="260398" cy="319748"/>
          </a:xfrm>
          <a:prstGeom prst="triangle">
            <a:avLst>
              <a:gd name="adj" fmla="val 4252"/>
            </a:avLst>
          </a:pr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4" name="Rectangle 661"/>
          <p:cNvSpPr/>
          <p:nvPr/>
        </p:nvSpPr>
        <p:spPr bwMode="auto">
          <a:xfrm flipH="1">
            <a:off x="8448279" y="2871444"/>
            <a:ext cx="3747290" cy="3994545"/>
          </a:xfrm>
          <a:custGeom>
            <a:avLst/>
            <a:gdLst>
              <a:gd name="connsiteX0" fmla="*/ 0 w 3728755"/>
              <a:gd name="connsiteY0" fmla="*/ 0 h 874464"/>
              <a:gd name="connsiteX1" fmla="*/ 3728755 w 3728755"/>
              <a:gd name="connsiteY1" fmla="*/ 0 h 874464"/>
              <a:gd name="connsiteX2" fmla="*/ 3728755 w 3728755"/>
              <a:gd name="connsiteY2" fmla="*/ 874464 h 874464"/>
              <a:gd name="connsiteX3" fmla="*/ 0 w 3728755"/>
              <a:gd name="connsiteY3" fmla="*/ 874464 h 874464"/>
              <a:gd name="connsiteX4" fmla="*/ 0 w 3728755"/>
              <a:gd name="connsiteY4" fmla="*/ 0 h 874464"/>
              <a:gd name="connsiteX0" fmla="*/ 0 w 3728755"/>
              <a:gd name="connsiteY0" fmla="*/ 0 h 3994545"/>
              <a:gd name="connsiteX1" fmla="*/ 3728755 w 3728755"/>
              <a:gd name="connsiteY1" fmla="*/ 0 h 3994545"/>
              <a:gd name="connsiteX2" fmla="*/ 3728755 w 3728755"/>
              <a:gd name="connsiteY2" fmla="*/ 874464 h 3994545"/>
              <a:gd name="connsiteX3" fmla="*/ 0 w 3728755"/>
              <a:gd name="connsiteY3" fmla="*/ 3994545 h 3994545"/>
              <a:gd name="connsiteX4" fmla="*/ 0 w 3728755"/>
              <a:gd name="connsiteY4" fmla="*/ 0 h 3994545"/>
              <a:gd name="connsiteX0" fmla="*/ 0 w 3747290"/>
              <a:gd name="connsiteY0" fmla="*/ 1550773 h 3994545"/>
              <a:gd name="connsiteX1" fmla="*/ 3747290 w 3747290"/>
              <a:gd name="connsiteY1" fmla="*/ 0 h 3994545"/>
              <a:gd name="connsiteX2" fmla="*/ 3747290 w 3747290"/>
              <a:gd name="connsiteY2" fmla="*/ 874464 h 3994545"/>
              <a:gd name="connsiteX3" fmla="*/ 18535 w 3747290"/>
              <a:gd name="connsiteY3" fmla="*/ 3994545 h 3994545"/>
              <a:gd name="connsiteX4" fmla="*/ 0 w 3747290"/>
              <a:gd name="connsiteY4" fmla="*/ 1550773 h 3994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7290" h="3994545">
                <a:moveTo>
                  <a:pt x="0" y="1550773"/>
                </a:moveTo>
                <a:lnTo>
                  <a:pt x="3747290" y="0"/>
                </a:lnTo>
                <a:lnTo>
                  <a:pt x="3747290" y="874464"/>
                </a:lnTo>
                <a:lnTo>
                  <a:pt x="18535" y="3994545"/>
                </a:lnTo>
                <a:lnTo>
                  <a:pt x="0" y="1550773"/>
                </a:lnTo>
                <a:close/>
              </a:path>
            </a:pathLst>
          </a:custGeom>
          <a:gradFill flip="none" rotWithShape="1">
            <a:gsLst>
              <a:gs pos="0">
                <a:schemeClr val="accent6">
                  <a:lumMod val="75000"/>
                </a:schemeClr>
              </a:gs>
              <a:gs pos="100000">
                <a:schemeClr val="accent1">
                  <a:lumMod val="75000"/>
                  <a:alpha val="41000"/>
                </a:schemeClr>
              </a:gs>
            </a:gsLst>
            <a:lin ang="9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38" name="Isosceles Triangle 1437"/>
          <p:cNvSpPr/>
          <p:nvPr/>
        </p:nvSpPr>
        <p:spPr bwMode="auto">
          <a:xfrm flipV="1">
            <a:off x="5877257" y="4801039"/>
            <a:ext cx="739204" cy="413928"/>
          </a:xfrm>
          <a:prstGeom prst="triangle">
            <a:avLst>
              <a:gd name="adj" fmla="val 71330"/>
            </a:avLst>
          </a:pr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3" name="Isosceles Triangle 767"/>
          <p:cNvSpPr/>
          <p:nvPr/>
        </p:nvSpPr>
        <p:spPr bwMode="auto">
          <a:xfrm rot="11829240">
            <a:off x="1899885" y="4063634"/>
            <a:ext cx="210446" cy="404366"/>
          </a:xfrm>
          <a:custGeom>
            <a:avLst/>
            <a:gdLst>
              <a:gd name="connsiteX0" fmla="*/ 0 w 279851"/>
              <a:gd name="connsiteY0" fmla="*/ 1621147 h 1621147"/>
              <a:gd name="connsiteX1" fmla="*/ 139926 w 279851"/>
              <a:gd name="connsiteY1" fmla="*/ 0 h 1621147"/>
              <a:gd name="connsiteX2" fmla="*/ 279851 w 279851"/>
              <a:gd name="connsiteY2" fmla="*/ 1621147 h 1621147"/>
              <a:gd name="connsiteX3" fmla="*/ 0 w 279851"/>
              <a:gd name="connsiteY3" fmla="*/ 1621147 h 1621147"/>
              <a:gd name="connsiteX0" fmla="*/ 0 w 349062"/>
              <a:gd name="connsiteY0" fmla="*/ 1621147 h 1621147"/>
              <a:gd name="connsiteX1" fmla="*/ 139926 w 349062"/>
              <a:gd name="connsiteY1" fmla="*/ 0 h 1621147"/>
              <a:gd name="connsiteX2" fmla="*/ 349062 w 349062"/>
              <a:gd name="connsiteY2" fmla="*/ 1125328 h 1621147"/>
              <a:gd name="connsiteX3" fmla="*/ 0 w 349062"/>
              <a:gd name="connsiteY3" fmla="*/ 1621147 h 1621147"/>
              <a:gd name="connsiteX0" fmla="*/ 0 w 663406"/>
              <a:gd name="connsiteY0" fmla="*/ 1230648 h 1230648"/>
              <a:gd name="connsiteX1" fmla="*/ 454270 w 663406"/>
              <a:gd name="connsiteY1" fmla="*/ 0 h 1230648"/>
              <a:gd name="connsiteX2" fmla="*/ 663406 w 663406"/>
              <a:gd name="connsiteY2" fmla="*/ 1125328 h 1230648"/>
              <a:gd name="connsiteX3" fmla="*/ 0 w 663406"/>
              <a:gd name="connsiteY3" fmla="*/ 1230648 h 1230648"/>
            </a:gdLst>
            <a:ahLst/>
            <a:cxnLst>
              <a:cxn ang="0">
                <a:pos x="connsiteX0" y="connsiteY0"/>
              </a:cxn>
              <a:cxn ang="0">
                <a:pos x="connsiteX1" y="connsiteY1"/>
              </a:cxn>
              <a:cxn ang="0">
                <a:pos x="connsiteX2" y="connsiteY2"/>
              </a:cxn>
              <a:cxn ang="0">
                <a:pos x="connsiteX3" y="connsiteY3"/>
              </a:cxn>
            </a:cxnLst>
            <a:rect l="l" t="t" r="r" b="b"/>
            <a:pathLst>
              <a:path w="663406" h="1230648">
                <a:moveTo>
                  <a:pt x="0" y="1230648"/>
                </a:moveTo>
                <a:lnTo>
                  <a:pt x="454270" y="0"/>
                </a:lnTo>
                <a:lnTo>
                  <a:pt x="663406" y="1125328"/>
                </a:lnTo>
                <a:lnTo>
                  <a:pt x="0" y="1230648"/>
                </a:lnTo>
                <a:close/>
              </a:path>
            </a:pathLst>
          </a:cu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 name="Oval 867"/>
          <p:cNvSpPr/>
          <p:nvPr/>
        </p:nvSpPr>
        <p:spPr bwMode="auto">
          <a:xfrm>
            <a:off x="8500519" y="2198117"/>
            <a:ext cx="3689894" cy="2106390"/>
          </a:xfrm>
          <a:custGeom>
            <a:avLst/>
            <a:gdLst>
              <a:gd name="connsiteX0" fmla="*/ 0 w 3689894"/>
              <a:gd name="connsiteY0" fmla="*/ 1571060 h 2106390"/>
              <a:gd name="connsiteX1" fmla="*/ 639764 w 3689894"/>
              <a:gd name="connsiteY1" fmla="*/ 2106390 h 2106390"/>
              <a:gd name="connsiteX2" fmla="*/ 0 w 3689894"/>
              <a:gd name="connsiteY2" fmla="*/ 1571060 h 2106390"/>
              <a:gd name="connsiteX3" fmla="*/ 1063221 w 3689894"/>
              <a:gd name="connsiteY3" fmla="*/ 0 h 2106390"/>
              <a:gd name="connsiteX4" fmla="*/ 2029740 w 3689894"/>
              <a:gd name="connsiteY4" fmla="*/ 335039 h 2106390"/>
              <a:gd name="connsiteX5" fmla="*/ 3163660 w 3689894"/>
              <a:gd name="connsiteY5" fmla="*/ 134462 h 2106390"/>
              <a:gd name="connsiteX6" fmla="*/ 3689894 w 3689894"/>
              <a:gd name="connsiteY6" fmla="*/ 168298 h 2106390"/>
              <a:gd name="connsiteX7" fmla="*/ 3689894 w 3689894"/>
              <a:gd name="connsiteY7" fmla="*/ 891772 h 2106390"/>
              <a:gd name="connsiteX8" fmla="*/ 3688700 w 3689894"/>
              <a:gd name="connsiteY8" fmla="*/ 891891 h 2106390"/>
              <a:gd name="connsiteX9" fmla="*/ 3688700 w 3689894"/>
              <a:gd name="connsiteY9" fmla="*/ 2106390 h 2106390"/>
              <a:gd name="connsiteX10" fmla="*/ 3466505 w 3689894"/>
              <a:gd name="connsiteY10" fmla="*/ 2106390 h 2106390"/>
              <a:gd name="connsiteX11" fmla="*/ 0 w 3689894"/>
              <a:gd name="connsiteY11" fmla="*/ 671817 h 2106390"/>
              <a:gd name="connsiteX12" fmla="*/ 0 w 3689894"/>
              <a:gd name="connsiteY12" fmla="*/ 356170 h 2106390"/>
              <a:gd name="connsiteX13" fmla="*/ 88983 w 3689894"/>
              <a:gd name="connsiteY13" fmla="*/ 356170 h 2106390"/>
              <a:gd name="connsiteX14" fmla="*/ 1063221 w 3689894"/>
              <a:gd name="connsiteY14" fmla="*/ 0 h 2106390"/>
              <a:gd name="connsiteX0" fmla="*/ 1063221 w 3689894"/>
              <a:gd name="connsiteY0" fmla="*/ 0 h 2106390"/>
              <a:gd name="connsiteX1" fmla="*/ 2029740 w 3689894"/>
              <a:gd name="connsiteY1" fmla="*/ 335039 h 2106390"/>
              <a:gd name="connsiteX2" fmla="*/ 3163660 w 3689894"/>
              <a:gd name="connsiteY2" fmla="*/ 134462 h 2106390"/>
              <a:gd name="connsiteX3" fmla="*/ 3689894 w 3689894"/>
              <a:gd name="connsiteY3" fmla="*/ 168298 h 2106390"/>
              <a:gd name="connsiteX4" fmla="*/ 3689894 w 3689894"/>
              <a:gd name="connsiteY4" fmla="*/ 891772 h 2106390"/>
              <a:gd name="connsiteX5" fmla="*/ 3688700 w 3689894"/>
              <a:gd name="connsiteY5" fmla="*/ 891891 h 2106390"/>
              <a:gd name="connsiteX6" fmla="*/ 3688700 w 3689894"/>
              <a:gd name="connsiteY6" fmla="*/ 2106390 h 2106390"/>
              <a:gd name="connsiteX7" fmla="*/ 3466505 w 3689894"/>
              <a:gd name="connsiteY7" fmla="*/ 2106390 h 2106390"/>
              <a:gd name="connsiteX8" fmla="*/ 0 w 3689894"/>
              <a:gd name="connsiteY8" fmla="*/ 671817 h 2106390"/>
              <a:gd name="connsiteX9" fmla="*/ 0 w 3689894"/>
              <a:gd name="connsiteY9" fmla="*/ 356170 h 2106390"/>
              <a:gd name="connsiteX10" fmla="*/ 88983 w 3689894"/>
              <a:gd name="connsiteY10" fmla="*/ 356170 h 2106390"/>
              <a:gd name="connsiteX11" fmla="*/ 1063221 w 3689894"/>
              <a:gd name="connsiteY11" fmla="*/ 0 h 2106390"/>
              <a:gd name="connsiteX0" fmla="*/ 1063221 w 3689894"/>
              <a:gd name="connsiteY0" fmla="*/ 0 h 2106390"/>
              <a:gd name="connsiteX1" fmla="*/ 2029740 w 3689894"/>
              <a:gd name="connsiteY1" fmla="*/ 335039 h 2106390"/>
              <a:gd name="connsiteX2" fmla="*/ 3163660 w 3689894"/>
              <a:gd name="connsiteY2" fmla="*/ 134462 h 2106390"/>
              <a:gd name="connsiteX3" fmla="*/ 3689894 w 3689894"/>
              <a:gd name="connsiteY3" fmla="*/ 168298 h 2106390"/>
              <a:gd name="connsiteX4" fmla="*/ 3689894 w 3689894"/>
              <a:gd name="connsiteY4" fmla="*/ 891772 h 2106390"/>
              <a:gd name="connsiteX5" fmla="*/ 3688700 w 3689894"/>
              <a:gd name="connsiteY5" fmla="*/ 891891 h 2106390"/>
              <a:gd name="connsiteX6" fmla="*/ 3688700 w 3689894"/>
              <a:gd name="connsiteY6" fmla="*/ 2106390 h 2106390"/>
              <a:gd name="connsiteX7" fmla="*/ 3466505 w 3689894"/>
              <a:gd name="connsiteY7" fmla="*/ 2106390 h 2106390"/>
              <a:gd name="connsiteX8" fmla="*/ 0 w 3689894"/>
              <a:gd name="connsiteY8" fmla="*/ 671817 h 2106390"/>
              <a:gd name="connsiteX9" fmla="*/ 0 w 3689894"/>
              <a:gd name="connsiteY9" fmla="*/ 356170 h 2106390"/>
              <a:gd name="connsiteX10" fmla="*/ 1063221 w 3689894"/>
              <a:gd name="connsiteY10" fmla="*/ 0 h 2106390"/>
              <a:gd name="connsiteX0" fmla="*/ 1063221 w 3689894"/>
              <a:gd name="connsiteY0" fmla="*/ 0 h 2106390"/>
              <a:gd name="connsiteX1" fmla="*/ 2307803 w 3689894"/>
              <a:gd name="connsiteY1" fmla="*/ 335039 h 2106390"/>
              <a:gd name="connsiteX2" fmla="*/ 3163660 w 3689894"/>
              <a:gd name="connsiteY2" fmla="*/ 134462 h 2106390"/>
              <a:gd name="connsiteX3" fmla="*/ 3689894 w 3689894"/>
              <a:gd name="connsiteY3" fmla="*/ 168298 h 2106390"/>
              <a:gd name="connsiteX4" fmla="*/ 3689894 w 3689894"/>
              <a:gd name="connsiteY4" fmla="*/ 891772 h 2106390"/>
              <a:gd name="connsiteX5" fmla="*/ 3688700 w 3689894"/>
              <a:gd name="connsiteY5" fmla="*/ 891891 h 2106390"/>
              <a:gd name="connsiteX6" fmla="*/ 3688700 w 3689894"/>
              <a:gd name="connsiteY6" fmla="*/ 2106390 h 2106390"/>
              <a:gd name="connsiteX7" fmla="*/ 3466505 w 3689894"/>
              <a:gd name="connsiteY7" fmla="*/ 2106390 h 2106390"/>
              <a:gd name="connsiteX8" fmla="*/ 0 w 3689894"/>
              <a:gd name="connsiteY8" fmla="*/ 671817 h 2106390"/>
              <a:gd name="connsiteX9" fmla="*/ 0 w 3689894"/>
              <a:gd name="connsiteY9" fmla="*/ 356170 h 2106390"/>
              <a:gd name="connsiteX10" fmla="*/ 1063221 w 3689894"/>
              <a:gd name="connsiteY10" fmla="*/ 0 h 210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89894" h="2106390">
                <a:moveTo>
                  <a:pt x="1063221" y="0"/>
                </a:moveTo>
                <a:cubicBezTo>
                  <a:pt x="1552689" y="0"/>
                  <a:pt x="2236337" y="145091"/>
                  <a:pt x="2307803" y="335039"/>
                </a:cubicBezTo>
                <a:cubicBezTo>
                  <a:pt x="2532622" y="214321"/>
                  <a:pt x="2933312" y="162252"/>
                  <a:pt x="3163660" y="134462"/>
                </a:cubicBezTo>
                <a:cubicBezTo>
                  <a:pt x="3394008" y="106672"/>
                  <a:pt x="3528914" y="146342"/>
                  <a:pt x="3689894" y="168298"/>
                </a:cubicBezTo>
                <a:lnTo>
                  <a:pt x="3689894" y="891772"/>
                </a:lnTo>
                <a:lnTo>
                  <a:pt x="3688700" y="891891"/>
                </a:lnTo>
                <a:lnTo>
                  <a:pt x="3688700" y="2106390"/>
                </a:lnTo>
                <a:lnTo>
                  <a:pt x="3466505" y="2106390"/>
                </a:lnTo>
                <a:lnTo>
                  <a:pt x="0" y="671817"/>
                </a:lnTo>
                <a:lnTo>
                  <a:pt x="0" y="356170"/>
                </a:lnTo>
                <a:lnTo>
                  <a:pt x="1063221" y="0"/>
                </a:lnTo>
                <a:close/>
              </a:path>
            </a:pathLst>
          </a:cu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2" name="Isosceles Triangle 1176"/>
          <p:cNvSpPr/>
          <p:nvPr/>
        </p:nvSpPr>
        <p:spPr bwMode="auto">
          <a:xfrm>
            <a:off x="8271623" y="2724508"/>
            <a:ext cx="3921965" cy="1572801"/>
          </a:xfrm>
          <a:custGeom>
            <a:avLst/>
            <a:gdLst>
              <a:gd name="connsiteX0" fmla="*/ 0 w 1512646"/>
              <a:gd name="connsiteY0" fmla="*/ 2802695 h 2802695"/>
              <a:gd name="connsiteX1" fmla="*/ 756323 w 1512646"/>
              <a:gd name="connsiteY1" fmla="*/ 0 h 2802695"/>
              <a:gd name="connsiteX2" fmla="*/ 1512646 w 1512646"/>
              <a:gd name="connsiteY2" fmla="*/ 2802695 h 2802695"/>
              <a:gd name="connsiteX3" fmla="*/ 0 w 1512646"/>
              <a:gd name="connsiteY3" fmla="*/ 2802695 h 2802695"/>
              <a:gd name="connsiteX0" fmla="*/ 3911929 w 5424575"/>
              <a:gd name="connsiteY0" fmla="*/ 1572801 h 1572801"/>
              <a:gd name="connsiteX1" fmla="*/ 0 w 5424575"/>
              <a:gd name="connsiteY1" fmla="*/ 0 h 1572801"/>
              <a:gd name="connsiteX2" fmla="*/ 5424575 w 5424575"/>
              <a:gd name="connsiteY2" fmla="*/ 1572801 h 1572801"/>
              <a:gd name="connsiteX3" fmla="*/ 3911929 w 5424575"/>
              <a:gd name="connsiteY3" fmla="*/ 1572801 h 1572801"/>
              <a:gd name="connsiteX0" fmla="*/ 3911929 w 4296280"/>
              <a:gd name="connsiteY0" fmla="*/ 1572801 h 1572801"/>
              <a:gd name="connsiteX1" fmla="*/ 0 w 4296280"/>
              <a:gd name="connsiteY1" fmla="*/ 0 h 1572801"/>
              <a:gd name="connsiteX2" fmla="*/ 4296280 w 4296280"/>
              <a:gd name="connsiteY2" fmla="*/ 674443 h 1572801"/>
              <a:gd name="connsiteX3" fmla="*/ 3911929 w 4296280"/>
              <a:gd name="connsiteY3" fmla="*/ 1572801 h 1572801"/>
              <a:gd name="connsiteX0" fmla="*/ 3911929 w 3921965"/>
              <a:gd name="connsiteY0" fmla="*/ 1572801 h 1572801"/>
              <a:gd name="connsiteX1" fmla="*/ 0 w 3921965"/>
              <a:gd name="connsiteY1" fmla="*/ 0 h 1572801"/>
              <a:gd name="connsiteX2" fmla="*/ 3921965 w 3921965"/>
              <a:gd name="connsiteY2" fmla="*/ 578190 h 1572801"/>
              <a:gd name="connsiteX3" fmla="*/ 3911929 w 3921965"/>
              <a:gd name="connsiteY3" fmla="*/ 1572801 h 1572801"/>
            </a:gdLst>
            <a:ahLst/>
            <a:cxnLst>
              <a:cxn ang="0">
                <a:pos x="connsiteX0" y="connsiteY0"/>
              </a:cxn>
              <a:cxn ang="0">
                <a:pos x="connsiteX1" y="connsiteY1"/>
              </a:cxn>
              <a:cxn ang="0">
                <a:pos x="connsiteX2" y="connsiteY2"/>
              </a:cxn>
              <a:cxn ang="0">
                <a:pos x="connsiteX3" y="connsiteY3"/>
              </a:cxn>
            </a:cxnLst>
            <a:rect l="l" t="t" r="r" b="b"/>
            <a:pathLst>
              <a:path w="3921965" h="1572801">
                <a:moveTo>
                  <a:pt x="3911929" y="1572801"/>
                </a:moveTo>
                <a:lnTo>
                  <a:pt x="0" y="0"/>
                </a:lnTo>
                <a:lnTo>
                  <a:pt x="3921965" y="578190"/>
                </a:lnTo>
                <a:lnTo>
                  <a:pt x="3911929" y="1572801"/>
                </a:lnTo>
                <a:close/>
              </a:path>
            </a:pathLst>
          </a:custGeom>
          <a:gradFill>
            <a:gsLst>
              <a:gs pos="0">
                <a:srgbClr val="003B46"/>
              </a:gs>
              <a:gs pos="92000">
                <a:schemeClr val="accent5">
                  <a:lumMod val="7500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 name="Freeform 6"/>
          <p:cNvSpPr/>
          <p:nvPr/>
        </p:nvSpPr>
        <p:spPr bwMode="auto">
          <a:xfrm>
            <a:off x="1455051" y="1793289"/>
            <a:ext cx="9637724" cy="4256696"/>
          </a:xfrm>
          <a:custGeom>
            <a:avLst/>
            <a:gdLst>
              <a:gd name="connsiteX0" fmla="*/ 759556 w 10208817"/>
              <a:gd name="connsiteY0" fmla="*/ 0 h 4038528"/>
              <a:gd name="connsiteX1" fmla="*/ 244651 w 10208817"/>
              <a:gd name="connsiteY1" fmla="*/ 1091953 h 4038528"/>
              <a:gd name="connsiteX2" fmla="*/ 4954 w 10208817"/>
              <a:gd name="connsiteY2" fmla="*/ 2450237 h 4038528"/>
              <a:gd name="connsiteX3" fmla="*/ 448838 w 10208817"/>
              <a:gd name="connsiteY3" fmla="*/ 3373514 h 4038528"/>
              <a:gd name="connsiteX4" fmla="*/ 2153350 w 10208817"/>
              <a:gd name="connsiteY4" fmla="*/ 3764132 h 4038528"/>
              <a:gd name="connsiteX5" fmla="*/ 4665731 w 10208817"/>
              <a:gd name="connsiteY5" fmla="*/ 3959441 h 4038528"/>
              <a:gd name="connsiteX6" fmla="*/ 6929537 w 10208817"/>
              <a:gd name="connsiteY6" fmla="*/ 4012707 h 4038528"/>
              <a:gd name="connsiteX7" fmla="*/ 9051300 w 10208817"/>
              <a:gd name="connsiteY7" fmla="*/ 3559945 h 4038528"/>
              <a:gd name="connsiteX8" fmla="*/ 10072232 w 10208817"/>
              <a:gd name="connsiteY8" fmla="*/ 2530136 h 4038528"/>
              <a:gd name="connsiteX9" fmla="*/ 10169886 w 10208817"/>
              <a:gd name="connsiteY9" fmla="*/ 1100831 h 4038528"/>
              <a:gd name="connsiteX0" fmla="*/ 767491 w 10216752"/>
              <a:gd name="connsiteY0" fmla="*/ 0 h 4038528"/>
              <a:gd name="connsiteX1" fmla="*/ 252586 w 10216752"/>
              <a:gd name="connsiteY1" fmla="*/ 1091953 h 4038528"/>
              <a:gd name="connsiteX2" fmla="*/ 12889 w 10216752"/>
              <a:gd name="connsiteY2" fmla="*/ 2450237 h 4038528"/>
              <a:gd name="connsiteX3" fmla="*/ 625448 w 10216752"/>
              <a:gd name="connsiteY3" fmla="*/ 3275860 h 4038528"/>
              <a:gd name="connsiteX4" fmla="*/ 2161285 w 10216752"/>
              <a:gd name="connsiteY4" fmla="*/ 3764132 h 4038528"/>
              <a:gd name="connsiteX5" fmla="*/ 4673666 w 10216752"/>
              <a:gd name="connsiteY5" fmla="*/ 3959441 h 4038528"/>
              <a:gd name="connsiteX6" fmla="*/ 6937472 w 10216752"/>
              <a:gd name="connsiteY6" fmla="*/ 4012707 h 4038528"/>
              <a:gd name="connsiteX7" fmla="*/ 9059235 w 10216752"/>
              <a:gd name="connsiteY7" fmla="*/ 3559945 h 4038528"/>
              <a:gd name="connsiteX8" fmla="*/ 10080167 w 10216752"/>
              <a:gd name="connsiteY8" fmla="*/ 2530136 h 4038528"/>
              <a:gd name="connsiteX9" fmla="*/ 10177821 w 10216752"/>
              <a:gd name="connsiteY9" fmla="*/ 1100831 h 4038528"/>
              <a:gd name="connsiteX0" fmla="*/ 580427 w 10029688"/>
              <a:gd name="connsiteY0" fmla="*/ 0 h 4038528"/>
              <a:gd name="connsiteX1" fmla="*/ 65522 w 10029688"/>
              <a:gd name="connsiteY1" fmla="*/ 1091953 h 4038528"/>
              <a:gd name="connsiteX2" fmla="*/ 47767 w 10029688"/>
              <a:gd name="connsiteY2" fmla="*/ 2396971 h 4038528"/>
              <a:gd name="connsiteX3" fmla="*/ 438384 w 10029688"/>
              <a:gd name="connsiteY3" fmla="*/ 3275860 h 4038528"/>
              <a:gd name="connsiteX4" fmla="*/ 1974221 w 10029688"/>
              <a:gd name="connsiteY4" fmla="*/ 3764132 h 4038528"/>
              <a:gd name="connsiteX5" fmla="*/ 4486602 w 10029688"/>
              <a:gd name="connsiteY5" fmla="*/ 3959441 h 4038528"/>
              <a:gd name="connsiteX6" fmla="*/ 6750408 w 10029688"/>
              <a:gd name="connsiteY6" fmla="*/ 4012707 h 4038528"/>
              <a:gd name="connsiteX7" fmla="*/ 8872171 w 10029688"/>
              <a:gd name="connsiteY7" fmla="*/ 3559945 h 4038528"/>
              <a:gd name="connsiteX8" fmla="*/ 9893103 w 10029688"/>
              <a:gd name="connsiteY8" fmla="*/ 2530136 h 4038528"/>
              <a:gd name="connsiteX9" fmla="*/ 9990757 w 10029688"/>
              <a:gd name="connsiteY9" fmla="*/ 1100831 h 4038528"/>
              <a:gd name="connsiteX0" fmla="*/ 585063 w 10034324"/>
              <a:gd name="connsiteY0" fmla="*/ 0 h 4038528"/>
              <a:gd name="connsiteX1" fmla="*/ 70158 w 10034324"/>
              <a:gd name="connsiteY1" fmla="*/ 1091953 h 4038528"/>
              <a:gd name="connsiteX2" fmla="*/ 52403 w 10034324"/>
              <a:gd name="connsiteY2" fmla="*/ 2396971 h 4038528"/>
              <a:gd name="connsiteX3" fmla="*/ 514041 w 10034324"/>
              <a:gd name="connsiteY3" fmla="*/ 3258105 h 4038528"/>
              <a:gd name="connsiteX4" fmla="*/ 1978857 w 10034324"/>
              <a:gd name="connsiteY4" fmla="*/ 3764132 h 4038528"/>
              <a:gd name="connsiteX5" fmla="*/ 4491238 w 10034324"/>
              <a:gd name="connsiteY5" fmla="*/ 3959441 h 4038528"/>
              <a:gd name="connsiteX6" fmla="*/ 6755044 w 10034324"/>
              <a:gd name="connsiteY6" fmla="*/ 4012707 h 4038528"/>
              <a:gd name="connsiteX7" fmla="*/ 8876807 w 10034324"/>
              <a:gd name="connsiteY7" fmla="*/ 3559945 h 4038528"/>
              <a:gd name="connsiteX8" fmla="*/ 9897739 w 10034324"/>
              <a:gd name="connsiteY8" fmla="*/ 2530136 h 4038528"/>
              <a:gd name="connsiteX9" fmla="*/ 9995393 w 10034324"/>
              <a:gd name="connsiteY9" fmla="*/ 1100831 h 4038528"/>
              <a:gd name="connsiteX0" fmla="*/ 565903 w 10015164"/>
              <a:gd name="connsiteY0" fmla="*/ 0 h 4038528"/>
              <a:gd name="connsiteX1" fmla="*/ 95387 w 10015164"/>
              <a:gd name="connsiteY1" fmla="*/ 1118586 h 4038528"/>
              <a:gd name="connsiteX2" fmla="*/ 33243 w 10015164"/>
              <a:gd name="connsiteY2" fmla="*/ 2396971 h 4038528"/>
              <a:gd name="connsiteX3" fmla="*/ 494881 w 10015164"/>
              <a:gd name="connsiteY3" fmla="*/ 3258105 h 4038528"/>
              <a:gd name="connsiteX4" fmla="*/ 1959697 w 10015164"/>
              <a:gd name="connsiteY4" fmla="*/ 3764132 h 4038528"/>
              <a:gd name="connsiteX5" fmla="*/ 4472078 w 10015164"/>
              <a:gd name="connsiteY5" fmla="*/ 3959441 h 4038528"/>
              <a:gd name="connsiteX6" fmla="*/ 6735884 w 10015164"/>
              <a:gd name="connsiteY6" fmla="*/ 4012707 h 4038528"/>
              <a:gd name="connsiteX7" fmla="*/ 8857647 w 10015164"/>
              <a:gd name="connsiteY7" fmla="*/ 3559945 h 4038528"/>
              <a:gd name="connsiteX8" fmla="*/ 9878579 w 10015164"/>
              <a:gd name="connsiteY8" fmla="*/ 2530136 h 4038528"/>
              <a:gd name="connsiteX9" fmla="*/ 9976233 w 10015164"/>
              <a:gd name="connsiteY9" fmla="*/ 1100831 h 4038528"/>
              <a:gd name="connsiteX0" fmla="*/ 516177 w 9965438"/>
              <a:gd name="connsiteY0" fmla="*/ 0 h 4038528"/>
              <a:gd name="connsiteX1" fmla="*/ 45661 w 9965438"/>
              <a:gd name="connsiteY1" fmla="*/ 1118586 h 4038528"/>
              <a:gd name="connsiteX2" fmla="*/ 63416 w 9965438"/>
              <a:gd name="connsiteY2" fmla="*/ 2361460 h 4038528"/>
              <a:gd name="connsiteX3" fmla="*/ 445155 w 9965438"/>
              <a:gd name="connsiteY3" fmla="*/ 3258105 h 4038528"/>
              <a:gd name="connsiteX4" fmla="*/ 1909971 w 9965438"/>
              <a:gd name="connsiteY4" fmla="*/ 3764132 h 4038528"/>
              <a:gd name="connsiteX5" fmla="*/ 4422352 w 9965438"/>
              <a:gd name="connsiteY5" fmla="*/ 3959441 h 4038528"/>
              <a:gd name="connsiteX6" fmla="*/ 6686158 w 9965438"/>
              <a:gd name="connsiteY6" fmla="*/ 4012707 h 4038528"/>
              <a:gd name="connsiteX7" fmla="*/ 8807921 w 9965438"/>
              <a:gd name="connsiteY7" fmla="*/ 3559945 h 4038528"/>
              <a:gd name="connsiteX8" fmla="*/ 9828853 w 9965438"/>
              <a:gd name="connsiteY8" fmla="*/ 2530136 h 4038528"/>
              <a:gd name="connsiteX9" fmla="*/ 9926507 w 9965438"/>
              <a:gd name="connsiteY9" fmla="*/ 1100831 h 4038528"/>
              <a:gd name="connsiteX0" fmla="*/ 525067 w 9974328"/>
              <a:gd name="connsiteY0" fmla="*/ 0 h 4038528"/>
              <a:gd name="connsiteX1" fmla="*/ 54551 w 9974328"/>
              <a:gd name="connsiteY1" fmla="*/ 1118586 h 4038528"/>
              <a:gd name="connsiteX2" fmla="*/ 72306 w 9974328"/>
              <a:gd name="connsiteY2" fmla="*/ 2361460 h 4038528"/>
              <a:gd name="connsiteX3" fmla="*/ 454045 w 9974328"/>
              <a:gd name="connsiteY3" fmla="*/ 3258105 h 4038528"/>
              <a:gd name="connsiteX4" fmla="*/ 1918861 w 9974328"/>
              <a:gd name="connsiteY4" fmla="*/ 3764132 h 4038528"/>
              <a:gd name="connsiteX5" fmla="*/ 4431242 w 9974328"/>
              <a:gd name="connsiteY5" fmla="*/ 3959441 h 4038528"/>
              <a:gd name="connsiteX6" fmla="*/ 6695048 w 9974328"/>
              <a:gd name="connsiteY6" fmla="*/ 4012707 h 4038528"/>
              <a:gd name="connsiteX7" fmla="*/ 8816811 w 9974328"/>
              <a:gd name="connsiteY7" fmla="*/ 3559945 h 4038528"/>
              <a:gd name="connsiteX8" fmla="*/ 9837743 w 9974328"/>
              <a:gd name="connsiteY8" fmla="*/ 2530136 h 4038528"/>
              <a:gd name="connsiteX9" fmla="*/ 9935397 w 9974328"/>
              <a:gd name="connsiteY9" fmla="*/ 1100831 h 4038528"/>
              <a:gd name="connsiteX0" fmla="*/ 518528 w 9967789"/>
              <a:gd name="connsiteY0" fmla="*/ 0 h 4038528"/>
              <a:gd name="connsiteX1" fmla="*/ 48012 w 9967789"/>
              <a:gd name="connsiteY1" fmla="*/ 1118586 h 4038528"/>
              <a:gd name="connsiteX2" fmla="*/ 65767 w 9967789"/>
              <a:gd name="connsiteY2" fmla="*/ 2361460 h 4038528"/>
              <a:gd name="connsiteX3" fmla="*/ 491895 w 9967789"/>
              <a:gd name="connsiteY3" fmla="*/ 3258105 h 4038528"/>
              <a:gd name="connsiteX4" fmla="*/ 1912322 w 9967789"/>
              <a:gd name="connsiteY4" fmla="*/ 3764132 h 4038528"/>
              <a:gd name="connsiteX5" fmla="*/ 4424703 w 9967789"/>
              <a:gd name="connsiteY5" fmla="*/ 3959441 h 4038528"/>
              <a:gd name="connsiteX6" fmla="*/ 6688509 w 9967789"/>
              <a:gd name="connsiteY6" fmla="*/ 4012707 h 4038528"/>
              <a:gd name="connsiteX7" fmla="*/ 8810272 w 9967789"/>
              <a:gd name="connsiteY7" fmla="*/ 3559945 h 4038528"/>
              <a:gd name="connsiteX8" fmla="*/ 9831204 w 9967789"/>
              <a:gd name="connsiteY8" fmla="*/ 2530136 h 4038528"/>
              <a:gd name="connsiteX9" fmla="*/ 9928858 w 9967789"/>
              <a:gd name="connsiteY9" fmla="*/ 1100831 h 4038528"/>
              <a:gd name="connsiteX0" fmla="*/ 518528 w 9967789"/>
              <a:gd name="connsiteY0" fmla="*/ 0 h 3981856"/>
              <a:gd name="connsiteX1" fmla="*/ 48012 w 9967789"/>
              <a:gd name="connsiteY1" fmla="*/ 1118586 h 3981856"/>
              <a:gd name="connsiteX2" fmla="*/ 65767 w 9967789"/>
              <a:gd name="connsiteY2" fmla="*/ 2361460 h 3981856"/>
              <a:gd name="connsiteX3" fmla="*/ 491895 w 9967789"/>
              <a:gd name="connsiteY3" fmla="*/ 3258105 h 3981856"/>
              <a:gd name="connsiteX4" fmla="*/ 1912322 w 9967789"/>
              <a:gd name="connsiteY4" fmla="*/ 3764132 h 3981856"/>
              <a:gd name="connsiteX5" fmla="*/ 4424703 w 9967789"/>
              <a:gd name="connsiteY5" fmla="*/ 3959441 h 3981856"/>
              <a:gd name="connsiteX6" fmla="*/ 6679632 w 9967789"/>
              <a:gd name="connsiteY6" fmla="*/ 3932808 h 3981856"/>
              <a:gd name="connsiteX7" fmla="*/ 8810272 w 9967789"/>
              <a:gd name="connsiteY7" fmla="*/ 3559945 h 3981856"/>
              <a:gd name="connsiteX8" fmla="*/ 9831204 w 9967789"/>
              <a:gd name="connsiteY8" fmla="*/ 2530136 h 3981856"/>
              <a:gd name="connsiteX9" fmla="*/ 9928858 w 9967789"/>
              <a:gd name="connsiteY9" fmla="*/ 1100831 h 3981856"/>
              <a:gd name="connsiteX0" fmla="*/ 518528 w 9967789"/>
              <a:gd name="connsiteY0" fmla="*/ 0 h 3970989"/>
              <a:gd name="connsiteX1" fmla="*/ 48012 w 9967789"/>
              <a:gd name="connsiteY1" fmla="*/ 1118586 h 3970989"/>
              <a:gd name="connsiteX2" fmla="*/ 65767 w 9967789"/>
              <a:gd name="connsiteY2" fmla="*/ 2361460 h 3970989"/>
              <a:gd name="connsiteX3" fmla="*/ 491895 w 9967789"/>
              <a:gd name="connsiteY3" fmla="*/ 3258105 h 3970989"/>
              <a:gd name="connsiteX4" fmla="*/ 1912322 w 9967789"/>
              <a:gd name="connsiteY4" fmla="*/ 3764132 h 3970989"/>
              <a:gd name="connsiteX5" fmla="*/ 4424703 w 9967789"/>
              <a:gd name="connsiteY5" fmla="*/ 3959441 h 3970989"/>
              <a:gd name="connsiteX6" fmla="*/ 6679632 w 9967789"/>
              <a:gd name="connsiteY6" fmla="*/ 3906175 h 3970989"/>
              <a:gd name="connsiteX7" fmla="*/ 8810272 w 9967789"/>
              <a:gd name="connsiteY7" fmla="*/ 3559945 h 3970989"/>
              <a:gd name="connsiteX8" fmla="*/ 9831204 w 9967789"/>
              <a:gd name="connsiteY8" fmla="*/ 2530136 h 3970989"/>
              <a:gd name="connsiteX9" fmla="*/ 9928858 w 9967789"/>
              <a:gd name="connsiteY9" fmla="*/ 1100831 h 3970989"/>
              <a:gd name="connsiteX0" fmla="*/ 518528 w 9968270"/>
              <a:gd name="connsiteY0" fmla="*/ 0 h 3972610"/>
              <a:gd name="connsiteX1" fmla="*/ 48012 w 9968270"/>
              <a:gd name="connsiteY1" fmla="*/ 1118586 h 3972610"/>
              <a:gd name="connsiteX2" fmla="*/ 65767 w 9968270"/>
              <a:gd name="connsiteY2" fmla="*/ 2361460 h 3972610"/>
              <a:gd name="connsiteX3" fmla="*/ 491895 w 9968270"/>
              <a:gd name="connsiteY3" fmla="*/ 3258105 h 3972610"/>
              <a:gd name="connsiteX4" fmla="*/ 1912322 w 9968270"/>
              <a:gd name="connsiteY4" fmla="*/ 3764132 h 3972610"/>
              <a:gd name="connsiteX5" fmla="*/ 4424703 w 9968270"/>
              <a:gd name="connsiteY5" fmla="*/ 3959441 h 3972610"/>
              <a:gd name="connsiteX6" fmla="*/ 6679632 w 9968270"/>
              <a:gd name="connsiteY6" fmla="*/ 3906175 h 3972610"/>
              <a:gd name="connsiteX7" fmla="*/ 8801395 w 9968270"/>
              <a:gd name="connsiteY7" fmla="*/ 3515556 h 3972610"/>
              <a:gd name="connsiteX8" fmla="*/ 9831204 w 9968270"/>
              <a:gd name="connsiteY8" fmla="*/ 2530136 h 3972610"/>
              <a:gd name="connsiteX9" fmla="*/ 9928858 w 9968270"/>
              <a:gd name="connsiteY9" fmla="*/ 1100831 h 3972610"/>
              <a:gd name="connsiteX0" fmla="*/ 518528 w 9951374"/>
              <a:gd name="connsiteY0" fmla="*/ 0 h 3972610"/>
              <a:gd name="connsiteX1" fmla="*/ 48012 w 9951374"/>
              <a:gd name="connsiteY1" fmla="*/ 1118586 h 3972610"/>
              <a:gd name="connsiteX2" fmla="*/ 65767 w 9951374"/>
              <a:gd name="connsiteY2" fmla="*/ 2361460 h 3972610"/>
              <a:gd name="connsiteX3" fmla="*/ 491895 w 9951374"/>
              <a:gd name="connsiteY3" fmla="*/ 3258105 h 3972610"/>
              <a:gd name="connsiteX4" fmla="*/ 1912322 w 9951374"/>
              <a:gd name="connsiteY4" fmla="*/ 3764132 h 3972610"/>
              <a:gd name="connsiteX5" fmla="*/ 4424703 w 9951374"/>
              <a:gd name="connsiteY5" fmla="*/ 3959441 h 3972610"/>
              <a:gd name="connsiteX6" fmla="*/ 6679632 w 9951374"/>
              <a:gd name="connsiteY6" fmla="*/ 3906175 h 3972610"/>
              <a:gd name="connsiteX7" fmla="*/ 8801395 w 9951374"/>
              <a:gd name="connsiteY7" fmla="*/ 3515556 h 3972610"/>
              <a:gd name="connsiteX8" fmla="*/ 9777938 w 9951374"/>
              <a:gd name="connsiteY8" fmla="*/ 2521259 h 3972610"/>
              <a:gd name="connsiteX9" fmla="*/ 9928858 w 9951374"/>
              <a:gd name="connsiteY9" fmla="*/ 1100831 h 3972610"/>
              <a:gd name="connsiteX0" fmla="*/ 253587 w 9935007"/>
              <a:gd name="connsiteY0" fmla="*/ 0 h 4256696"/>
              <a:gd name="connsiteX1" fmla="*/ 31645 w 9935007"/>
              <a:gd name="connsiteY1" fmla="*/ 1402672 h 4256696"/>
              <a:gd name="connsiteX2" fmla="*/ 49400 w 9935007"/>
              <a:gd name="connsiteY2" fmla="*/ 2645546 h 4256696"/>
              <a:gd name="connsiteX3" fmla="*/ 475528 w 9935007"/>
              <a:gd name="connsiteY3" fmla="*/ 3542191 h 4256696"/>
              <a:gd name="connsiteX4" fmla="*/ 1895955 w 9935007"/>
              <a:gd name="connsiteY4" fmla="*/ 4048218 h 4256696"/>
              <a:gd name="connsiteX5" fmla="*/ 4408336 w 9935007"/>
              <a:gd name="connsiteY5" fmla="*/ 4243527 h 4256696"/>
              <a:gd name="connsiteX6" fmla="*/ 6663265 w 9935007"/>
              <a:gd name="connsiteY6" fmla="*/ 4190261 h 4256696"/>
              <a:gd name="connsiteX7" fmla="*/ 8785028 w 9935007"/>
              <a:gd name="connsiteY7" fmla="*/ 3799642 h 4256696"/>
              <a:gd name="connsiteX8" fmla="*/ 9761571 w 9935007"/>
              <a:gd name="connsiteY8" fmla="*/ 2805345 h 4256696"/>
              <a:gd name="connsiteX9" fmla="*/ 9912491 w 9935007"/>
              <a:gd name="connsiteY9" fmla="*/ 1384917 h 4256696"/>
              <a:gd name="connsiteX0" fmla="*/ 253587 w 9935007"/>
              <a:gd name="connsiteY0" fmla="*/ 0 h 4256696"/>
              <a:gd name="connsiteX1" fmla="*/ 31645 w 9935007"/>
              <a:gd name="connsiteY1" fmla="*/ 1402672 h 4256696"/>
              <a:gd name="connsiteX2" fmla="*/ 49400 w 9935007"/>
              <a:gd name="connsiteY2" fmla="*/ 2645546 h 4256696"/>
              <a:gd name="connsiteX3" fmla="*/ 475528 w 9935007"/>
              <a:gd name="connsiteY3" fmla="*/ 3542191 h 4256696"/>
              <a:gd name="connsiteX4" fmla="*/ 1895955 w 9935007"/>
              <a:gd name="connsiteY4" fmla="*/ 4048218 h 4256696"/>
              <a:gd name="connsiteX5" fmla="*/ 4408336 w 9935007"/>
              <a:gd name="connsiteY5" fmla="*/ 4243527 h 4256696"/>
              <a:gd name="connsiteX6" fmla="*/ 6663265 w 9935007"/>
              <a:gd name="connsiteY6" fmla="*/ 4190261 h 4256696"/>
              <a:gd name="connsiteX7" fmla="*/ 8785028 w 9935007"/>
              <a:gd name="connsiteY7" fmla="*/ 3799642 h 4256696"/>
              <a:gd name="connsiteX8" fmla="*/ 9761571 w 9935007"/>
              <a:gd name="connsiteY8" fmla="*/ 2805345 h 4256696"/>
              <a:gd name="connsiteX9" fmla="*/ 9912491 w 9935007"/>
              <a:gd name="connsiteY9" fmla="*/ 1384917 h 4256696"/>
              <a:gd name="connsiteX0" fmla="*/ 223020 w 9904440"/>
              <a:gd name="connsiteY0" fmla="*/ 0 h 4256696"/>
              <a:gd name="connsiteX1" fmla="*/ 89855 w 9904440"/>
              <a:gd name="connsiteY1" fmla="*/ 1438183 h 4256696"/>
              <a:gd name="connsiteX2" fmla="*/ 18833 w 9904440"/>
              <a:gd name="connsiteY2" fmla="*/ 2645546 h 4256696"/>
              <a:gd name="connsiteX3" fmla="*/ 444961 w 9904440"/>
              <a:gd name="connsiteY3" fmla="*/ 3542191 h 4256696"/>
              <a:gd name="connsiteX4" fmla="*/ 1865388 w 9904440"/>
              <a:gd name="connsiteY4" fmla="*/ 4048218 h 4256696"/>
              <a:gd name="connsiteX5" fmla="*/ 4377769 w 9904440"/>
              <a:gd name="connsiteY5" fmla="*/ 4243527 h 4256696"/>
              <a:gd name="connsiteX6" fmla="*/ 6632698 w 9904440"/>
              <a:gd name="connsiteY6" fmla="*/ 4190261 h 4256696"/>
              <a:gd name="connsiteX7" fmla="*/ 8754461 w 9904440"/>
              <a:gd name="connsiteY7" fmla="*/ 3799642 h 4256696"/>
              <a:gd name="connsiteX8" fmla="*/ 9731004 w 9904440"/>
              <a:gd name="connsiteY8" fmla="*/ 2805345 h 4256696"/>
              <a:gd name="connsiteX9" fmla="*/ 9881924 w 9904440"/>
              <a:gd name="connsiteY9" fmla="*/ 1384917 h 4256696"/>
              <a:gd name="connsiteX0" fmla="*/ 226908 w 9908328"/>
              <a:gd name="connsiteY0" fmla="*/ 0 h 4256696"/>
              <a:gd name="connsiteX1" fmla="*/ 75988 w 9908328"/>
              <a:gd name="connsiteY1" fmla="*/ 1438183 h 4256696"/>
              <a:gd name="connsiteX2" fmla="*/ 22721 w 9908328"/>
              <a:gd name="connsiteY2" fmla="*/ 2645546 h 4256696"/>
              <a:gd name="connsiteX3" fmla="*/ 448849 w 9908328"/>
              <a:gd name="connsiteY3" fmla="*/ 3542191 h 4256696"/>
              <a:gd name="connsiteX4" fmla="*/ 1869276 w 9908328"/>
              <a:gd name="connsiteY4" fmla="*/ 4048218 h 4256696"/>
              <a:gd name="connsiteX5" fmla="*/ 4381657 w 9908328"/>
              <a:gd name="connsiteY5" fmla="*/ 4243527 h 4256696"/>
              <a:gd name="connsiteX6" fmla="*/ 6636586 w 9908328"/>
              <a:gd name="connsiteY6" fmla="*/ 4190261 h 4256696"/>
              <a:gd name="connsiteX7" fmla="*/ 8758349 w 9908328"/>
              <a:gd name="connsiteY7" fmla="*/ 3799642 h 4256696"/>
              <a:gd name="connsiteX8" fmla="*/ 9734892 w 9908328"/>
              <a:gd name="connsiteY8" fmla="*/ 2805345 h 4256696"/>
              <a:gd name="connsiteX9" fmla="*/ 9885812 w 9908328"/>
              <a:gd name="connsiteY9" fmla="*/ 1384917 h 4256696"/>
              <a:gd name="connsiteX0" fmla="*/ 152650 w 9834070"/>
              <a:gd name="connsiteY0" fmla="*/ 0 h 4256696"/>
              <a:gd name="connsiteX1" fmla="*/ 1730 w 9834070"/>
              <a:gd name="connsiteY1" fmla="*/ 1438183 h 4256696"/>
              <a:gd name="connsiteX2" fmla="*/ 90506 w 9834070"/>
              <a:gd name="connsiteY2" fmla="*/ 2672179 h 4256696"/>
              <a:gd name="connsiteX3" fmla="*/ 374591 w 9834070"/>
              <a:gd name="connsiteY3" fmla="*/ 3542191 h 4256696"/>
              <a:gd name="connsiteX4" fmla="*/ 1795018 w 9834070"/>
              <a:gd name="connsiteY4" fmla="*/ 4048218 h 4256696"/>
              <a:gd name="connsiteX5" fmla="*/ 4307399 w 9834070"/>
              <a:gd name="connsiteY5" fmla="*/ 4243527 h 4256696"/>
              <a:gd name="connsiteX6" fmla="*/ 6562328 w 9834070"/>
              <a:gd name="connsiteY6" fmla="*/ 4190261 h 4256696"/>
              <a:gd name="connsiteX7" fmla="*/ 8684091 w 9834070"/>
              <a:gd name="connsiteY7" fmla="*/ 3799642 h 4256696"/>
              <a:gd name="connsiteX8" fmla="*/ 9660634 w 9834070"/>
              <a:gd name="connsiteY8" fmla="*/ 2805345 h 4256696"/>
              <a:gd name="connsiteX9" fmla="*/ 9811554 w 9834070"/>
              <a:gd name="connsiteY9" fmla="*/ 1384917 h 4256696"/>
              <a:gd name="connsiteX0" fmla="*/ 152650 w 9834070"/>
              <a:gd name="connsiteY0" fmla="*/ 0 h 4256696"/>
              <a:gd name="connsiteX1" fmla="*/ 1730 w 9834070"/>
              <a:gd name="connsiteY1" fmla="*/ 1438183 h 4256696"/>
              <a:gd name="connsiteX2" fmla="*/ 90506 w 9834070"/>
              <a:gd name="connsiteY2" fmla="*/ 2672179 h 4256696"/>
              <a:gd name="connsiteX3" fmla="*/ 374591 w 9834070"/>
              <a:gd name="connsiteY3" fmla="*/ 3542191 h 4256696"/>
              <a:gd name="connsiteX4" fmla="*/ 1795018 w 9834070"/>
              <a:gd name="connsiteY4" fmla="*/ 4048218 h 4256696"/>
              <a:gd name="connsiteX5" fmla="*/ 4307399 w 9834070"/>
              <a:gd name="connsiteY5" fmla="*/ 4243527 h 4256696"/>
              <a:gd name="connsiteX6" fmla="*/ 6562328 w 9834070"/>
              <a:gd name="connsiteY6" fmla="*/ 4190261 h 4256696"/>
              <a:gd name="connsiteX7" fmla="*/ 8684091 w 9834070"/>
              <a:gd name="connsiteY7" fmla="*/ 3799642 h 4256696"/>
              <a:gd name="connsiteX8" fmla="*/ 9660634 w 9834070"/>
              <a:gd name="connsiteY8" fmla="*/ 2805345 h 4256696"/>
              <a:gd name="connsiteX9" fmla="*/ 9811554 w 9834070"/>
              <a:gd name="connsiteY9" fmla="*/ 1384917 h 4256696"/>
              <a:gd name="connsiteX0" fmla="*/ 153397 w 9834817"/>
              <a:gd name="connsiteY0" fmla="*/ 0 h 4256696"/>
              <a:gd name="connsiteX1" fmla="*/ 2477 w 9834817"/>
              <a:gd name="connsiteY1" fmla="*/ 1438183 h 4256696"/>
              <a:gd name="connsiteX2" fmla="*/ 91253 w 9834817"/>
              <a:gd name="connsiteY2" fmla="*/ 2672179 h 4256696"/>
              <a:gd name="connsiteX3" fmla="*/ 472992 w 9834817"/>
              <a:gd name="connsiteY3" fmla="*/ 3542191 h 4256696"/>
              <a:gd name="connsiteX4" fmla="*/ 1795765 w 9834817"/>
              <a:gd name="connsiteY4" fmla="*/ 4048218 h 4256696"/>
              <a:gd name="connsiteX5" fmla="*/ 4308146 w 9834817"/>
              <a:gd name="connsiteY5" fmla="*/ 4243527 h 4256696"/>
              <a:gd name="connsiteX6" fmla="*/ 6563075 w 9834817"/>
              <a:gd name="connsiteY6" fmla="*/ 4190261 h 4256696"/>
              <a:gd name="connsiteX7" fmla="*/ 8684838 w 9834817"/>
              <a:gd name="connsiteY7" fmla="*/ 3799642 h 4256696"/>
              <a:gd name="connsiteX8" fmla="*/ 9661381 w 9834817"/>
              <a:gd name="connsiteY8" fmla="*/ 2805345 h 4256696"/>
              <a:gd name="connsiteX9" fmla="*/ 9812301 w 9834817"/>
              <a:gd name="connsiteY9" fmla="*/ 1384917 h 4256696"/>
              <a:gd name="connsiteX0" fmla="*/ 153397 w 9723558"/>
              <a:gd name="connsiteY0" fmla="*/ 0 h 4256696"/>
              <a:gd name="connsiteX1" fmla="*/ 2477 w 9723558"/>
              <a:gd name="connsiteY1" fmla="*/ 1438183 h 4256696"/>
              <a:gd name="connsiteX2" fmla="*/ 91253 w 9723558"/>
              <a:gd name="connsiteY2" fmla="*/ 2672179 h 4256696"/>
              <a:gd name="connsiteX3" fmla="*/ 472992 w 9723558"/>
              <a:gd name="connsiteY3" fmla="*/ 3542191 h 4256696"/>
              <a:gd name="connsiteX4" fmla="*/ 1795765 w 9723558"/>
              <a:gd name="connsiteY4" fmla="*/ 4048218 h 4256696"/>
              <a:gd name="connsiteX5" fmla="*/ 4308146 w 9723558"/>
              <a:gd name="connsiteY5" fmla="*/ 4243527 h 4256696"/>
              <a:gd name="connsiteX6" fmla="*/ 6563075 w 9723558"/>
              <a:gd name="connsiteY6" fmla="*/ 4190261 h 4256696"/>
              <a:gd name="connsiteX7" fmla="*/ 8684838 w 9723558"/>
              <a:gd name="connsiteY7" fmla="*/ 3799642 h 4256696"/>
              <a:gd name="connsiteX8" fmla="*/ 9661381 w 9723558"/>
              <a:gd name="connsiteY8" fmla="*/ 2805345 h 4256696"/>
              <a:gd name="connsiteX9" fmla="*/ 9599237 w 9723558"/>
              <a:gd name="connsiteY9" fmla="*/ 1358284 h 4256696"/>
              <a:gd name="connsiteX0" fmla="*/ 153397 w 9748808"/>
              <a:gd name="connsiteY0" fmla="*/ 0 h 4256696"/>
              <a:gd name="connsiteX1" fmla="*/ 2477 w 9748808"/>
              <a:gd name="connsiteY1" fmla="*/ 1438183 h 4256696"/>
              <a:gd name="connsiteX2" fmla="*/ 91253 w 9748808"/>
              <a:gd name="connsiteY2" fmla="*/ 2672179 h 4256696"/>
              <a:gd name="connsiteX3" fmla="*/ 472992 w 9748808"/>
              <a:gd name="connsiteY3" fmla="*/ 3542191 h 4256696"/>
              <a:gd name="connsiteX4" fmla="*/ 1795765 w 9748808"/>
              <a:gd name="connsiteY4" fmla="*/ 4048218 h 4256696"/>
              <a:gd name="connsiteX5" fmla="*/ 4308146 w 9748808"/>
              <a:gd name="connsiteY5" fmla="*/ 4243527 h 4256696"/>
              <a:gd name="connsiteX6" fmla="*/ 6563075 w 9748808"/>
              <a:gd name="connsiteY6" fmla="*/ 4190261 h 4256696"/>
              <a:gd name="connsiteX7" fmla="*/ 8684838 w 9748808"/>
              <a:gd name="connsiteY7" fmla="*/ 3799642 h 4256696"/>
              <a:gd name="connsiteX8" fmla="*/ 9661381 w 9748808"/>
              <a:gd name="connsiteY8" fmla="*/ 2805345 h 4256696"/>
              <a:gd name="connsiteX9" fmla="*/ 9599237 w 9748808"/>
              <a:gd name="connsiteY9" fmla="*/ 1358284 h 4256696"/>
              <a:gd name="connsiteX0" fmla="*/ 153397 w 9641282"/>
              <a:gd name="connsiteY0" fmla="*/ 0 h 4256696"/>
              <a:gd name="connsiteX1" fmla="*/ 2477 w 9641282"/>
              <a:gd name="connsiteY1" fmla="*/ 1438183 h 4256696"/>
              <a:gd name="connsiteX2" fmla="*/ 91253 w 9641282"/>
              <a:gd name="connsiteY2" fmla="*/ 2672179 h 4256696"/>
              <a:gd name="connsiteX3" fmla="*/ 472992 w 9641282"/>
              <a:gd name="connsiteY3" fmla="*/ 3542191 h 4256696"/>
              <a:gd name="connsiteX4" fmla="*/ 1795765 w 9641282"/>
              <a:gd name="connsiteY4" fmla="*/ 4048218 h 4256696"/>
              <a:gd name="connsiteX5" fmla="*/ 4308146 w 9641282"/>
              <a:gd name="connsiteY5" fmla="*/ 4243527 h 4256696"/>
              <a:gd name="connsiteX6" fmla="*/ 6563075 w 9641282"/>
              <a:gd name="connsiteY6" fmla="*/ 4190261 h 4256696"/>
              <a:gd name="connsiteX7" fmla="*/ 8684838 w 9641282"/>
              <a:gd name="connsiteY7" fmla="*/ 3799642 h 4256696"/>
              <a:gd name="connsiteX8" fmla="*/ 9305393 w 9641282"/>
              <a:gd name="connsiteY8" fmla="*/ 2658762 h 4256696"/>
              <a:gd name="connsiteX9" fmla="*/ 9599237 w 9641282"/>
              <a:gd name="connsiteY9" fmla="*/ 1358284 h 4256696"/>
              <a:gd name="connsiteX0" fmla="*/ 153397 w 9630803"/>
              <a:gd name="connsiteY0" fmla="*/ 0 h 4256696"/>
              <a:gd name="connsiteX1" fmla="*/ 2477 w 9630803"/>
              <a:gd name="connsiteY1" fmla="*/ 1438183 h 4256696"/>
              <a:gd name="connsiteX2" fmla="*/ 91253 w 9630803"/>
              <a:gd name="connsiteY2" fmla="*/ 2672179 h 4256696"/>
              <a:gd name="connsiteX3" fmla="*/ 472992 w 9630803"/>
              <a:gd name="connsiteY3" fmla="*/ 3542191 h 4256696"/>
              <a:gd name="connsiteX4" fmla="*/ 1795765 w 9630803"/>
              <a:gd name="connsiteY4" fmla="*/ 4048218 h 4256696"/>
              <a:gd name="connsiteX5" fmla="*/ 4308146 w 9630803"/>
              <a:gd name="connsiteY5" fmla="*/ 4243527 h 4256696"/>
              <a:gd name="connsiteX6" fmla="*/ 6563075 w 9630803"/>
              <a:gd name="connsiteY6" fmla="*/ 4190261 h 4256696"/>
              <a:gd name="connsiteX7" fmla="*/ 8684838 w 9630803"/>
              <a:gd name="connsiteY7" fmla="*/ 3799642 h 4256696"/>
              <a:gd name="connsiteX8" fmla="*/ 9305393 w 9630803"/>
              <a:gd name="connsiteY8" fmla="*/ 2658762 h 4256696"/>
              <a:gd name="connsiteX9" fmla="*/ 9599237 w 9630803"/>
              <a:gd name="connsiteY9" fmla="*/ 1358284 h 4256696"/>
              <a:gd name="connsiteX0" fmla="*/ 153397 w 9637724"/>
              <a:gd name="connsiteY0" fmla="*/ 0 h 4256696"/>
              <a:gd name="connsiteX1" fmla="*/ 2477 w 9637724"/>
              <a:gd name="connsiteY1" fmla="*/ 1438183 h 4256696"/>
              <a:gd name="connsiteX2" fmla="*/ 91253 w 9637724"/>
              <a:gd name="connsiteY2" fmla="*/ 2672179 h 4256696"/>
              <a:gd name="connsiteX3" fmla="*/ 472992 w 9637724"/>
              <a:gd name="connsiteY3" fmla="*/ 3542191 h 4256696"/>
              <a:gd name="connsiteX4" fmla="*/ 1795765 w 9637724"/>
              <a:gd name="connsiteY4" fmla="*/ 4048218 h 4256696"/>
              <a:gd name="connsiteX5" fmla="*/ 4308146 w 9637724"/>
              <a:gd name="connsiteY5" fmla="*/ 4243527 h 4256696"/>
              <a:gd name="connsiteX6" fmla="*/ 6563075 w 9637724"/>
              <a:gd name="connsiteY6" fmla="*/ 4190261 h 4256696"/>
              <a:gd name="connsiteX7" fmla="*/ 8684838 w 9637724"/>
              <a:gd name="connsiteY7" fmla="*/ 3799642 h 4256696"/>
              <a:gd name="connsiteX8" fmla="*/ 9403115 w 9637724"/>
              <a:gd name="connsiteY8" fmla="*/ 2700643 h 4256696"/>
              <a:gd name="connsiteX9" fmla="*/ 9599237 w 9637724"/>
              <a:gd name="connsiteY9" fmla="*/ 1358284 h 425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37724" h="4256696">
                <a:moveTo>
                  <a:pt x="153397" y="0"/>
                </a:moveTo>
                <a:cubicBezTo>
                  <a:pt x="65360" y="403934"/>
                  <a:pt x="12834" y="992820"/>
                  <a:pt x="2477" y="1438183"/>
                </a:cubicBezTo>
                <a:cubicBezTo>
                  <a:pt x="-7880" y="1883546"/>
                  <a:pt x="12834" y="2321511"/>
                  <a:pt x="91253" y="2672179"/>
                </a:cubicBezTo>
                <a:cubicBezTo>
                  <a:pt x="169672" y="3022847"/>
                  <a:pt x="188907" y="3312851"/>
                  <a:pt x="472992" y="3542191"/>
                </a:cubicBezTo>
                <a:cubicBezTo>
                  <a:pt x="757077" y="3771531"/>
                  <a:pt x="1156573" y="3931329"/>
                  <a:pt x="1795765" y="4048218"/>
                </a:cubicBezTo>
                <a:cubicBezTo>
                  <a:pt x="2434957" y="4165107"/>
                  <a:pt x="3513594" y="4219853"/>
                  <a:pt x="4308146" y="4243527"/>
                </a:cubicBezTo>
                <a:cubicBezTo>
                  <a:pt x="5102698" y="4267201"/>
                  <a:pt x="5833626" y="4264242"/>
                  <a:pt x="6563075" y="4190261"/>
                </a:cubicBezTo>
                <a:cubicBezTo>
                  <a:pt x="7292524" y="4116280"/>
                  <a:pt x="8211498" y="4047912"/>
                  <a:pt x="8684838" y="3799642"/>
                </a:cubicBezTo>
                <a:cubicBezTo>
                  <a:pt x="9158178" y="3551372"/>
                  <a:pt x="9250715" y="3107536"/>
                  <a:pt x="9403115" y="2700643"/>
                </a:cubicBezTo>
                <a:cubicBezTo>
                  <a:pt x="9408932" y="2698599"/>
                  <a:pt x="9750157" y="1859133"/>
                  <a:pt x="9599237" y="1358284"/>
                </a:cubicBezTo>
              </a:path>
            </a:pathLst>
          </a:custGeom>
          <a:noFill/>
          <a:ln w="76200">
            <a:solidFill>
              <a:schemeClr val="accent2"/>
            </a:solidFill>
            <a:prstDash val="sysDash"/>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17" name="Rectangle 216"/>
          <p:cNvSpPr/>
          <p:nvPr/>
        </p:nvSpPr>
        <p:spPr bwMode="auto">
          <a:xfrm>
            <a:off x="4896595" y="2862262"/>
            <a:ext cx="3545335" cy="87446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156" name="Group 1155"/>
          <p:cNvGrpSpPr/>
          <p:nvPr/>
        </p:nvGrpSpPr>
        <p:grpSpPr>
          <a:xfrm>
            <a:off x="2965017" y="3545484"/>
            <a:ext cx="1967379" cy="863354"/>
            <a:chOff x="9115423" y="3815095"/>
            <a:chExt cx="2380529" cy="949689"/>
          </a:xfrm>
        </p:grpSpPr>
        <p:sp>
          <p:nvSpPr>
            <p:cNvPr id="1157" name="Rectangle 7"/>
            <p:cNvSpPr/>
            <p:nvPr/>
          </p:nvSpPr>
          <p:spPr bwMode="auto">
            <a:xfrm rot="10800000" flipH="1">
              <a:off x="9115423" y="3836614"/>
              <a:ext cx="2380529" cy="928170"/>
            </a:xfrm>
            <a:custGeom>
              <a:avLst/>
              <a:gdLst/>
              <a:ahLst/>
              <a:cxnLst/>
              <a:rect l="l" t="t" r="r" b="b"/>
              <a:pathLst>
                <a:path w="3050411" h="1020988">
                  <a:moveTo>
                    <a:pt x="1564045" y="1020988"/>
                  </a:moveTo>
                  <a:lnTo>
                    <a:pt x="1590554" y="1020988"/>
                  </a:lnTo>
                  <a:lnTo>
                    <a:pt x="1617680" y="1020170"/>
                  </a:lnTo>
                  <a:lnTo>
                    <a:pt x="1644805" y="1019351"/>
                  </a:lnTo>
                  <a:lnTo>
                    <a:pt x="1671931" y="1017715"/>
                  </a:lnTo>
                  <a:lnTo>
                    <a:pt x="1699057" y="1016078"/>
                  </a:lnTo>
                  <a:lnTo>
                    <a:pt x="1753308" y="1011577"/>
                  </a:lnTo>
                  <a:lnTo>
                    <a:pt x="1777352" y="1009940"/>
                  </a:lnTo>
                  <a:lnTo>
                    <a:pt x="1802011" y="1008303"/>
                  </a:lnTo>
                  <a:lnTo>
                    <a:pt x="1851331" y="1006257"/>
                  </a:lnTo>
                  <a:lnTo>
                    <a:pt x="1901883" y="1003802"/>
                  </a:lnTo>
                  <a:lnTo>
                    <a:pt x="1953052" y="1001347"/>
                  </a:lnTo>
                  <a:lnTo>
                    <a:pt x="1978329" y="998892"/>
                  </a:lnTo>
                  <a:lnTo>
                    <a:pt x="2002988" y="996846"/>
                  </a:lnTo>
                  <a:lnTo>
                    <a:pt x="2028265" y="993981"/>
                  </a:lnTo>
                  <a:lnTo>
                    <a:pt x="2052924" y="990708"/>
                  </a:lnTo>
                  <a:lnTo>
                    <a:pt x="2076351" y="987025"/>
                  </a:lnTo>
                  <a:lnTo>
                    <a:pt x="2099778" y="982115"/>
                  </a:lnTo>
                  <a:lnTo>
                    <a:pt x="2121971" y="976386"/>
                  </a:lnTo>
                  <a:lnTo>
                    <a:pt x="2144165" y="970657"/>
                  </a:lnTo>
                  <a:lnTo>
                    <a:pt x="2158345" y="965747"/>
                  </a:lnTo>
                  <a:lnTo>
                    <a:pt x="2171291" y="960837"/>
                  </a:lnTo>
                  <a:lnTo>
                    <a:pt x="2195951" y="951016"/>
                  </a:lnTo>
                  <a:lnTo>
                    <a:pt x="2219994" y="939968"/>
                  </a:lnTo>
                  <a:lnTo>
                    <a:pt x="2242188" y="928920"/>
                  </a:lnTo>
                  <a:lnTo>
                    <a:pt x="2262532" y="917053"/>
                  </a:lnTo>
                  <a:lnTo>
                    <a:pt x="2283493" y="904368"/>
                  </a:lnTo>
                  <a:lnTo>
                    <a:pt x="2302604" y="891683"/>
                  </a:lnTo>
                  <a:lnTo>
                    <a:pt x="2321099" y="878589"/>
                  </a:lnTo>
                  <a:lnTo>
                    <a:pt x="2358089" y="851992"/>
                  </a:lnTo>
                  <a:lnTo>
                    <a:pt x="2395695" y="825804"/>
                  </a:lnTo>
                  <a:lnTo>
                    <a:pt x="2415422" y="812709"/>
                  </a:lnTo>
                  <a:lnTo>
                    <a:pt x="2435150" y="799206"/>
                  </a:lnTo>
                  <a:lnTo>
                    <a:pt x="2455495" y="786930"/>
                  </a:lnTo>
                  <a:lnTo>
                    <a:pt x="2477688" y="774245"/>
                  </a:lnTo>
                  <a:lnTo>
                    <a:pt x="2980810" y="499615"/>
                  </a:lnTo>
                  <a:cubicBezTo>
                    <a:pt x="3008470" y="500247"/>
                    <a:pt x="3033015" y="496880"/>
                    <a:pt x="3033439" y="470887"/>
                  </a:cubicBezTo>
                  <a:lnTo>
                    <a:pt x="3050411" y="461623"/>
                  </a:lnTo>
                  <a:lnTo>
                    <a:pt x="3034030" y="460709"/>
                  </a:lnTo>
                  <a:cubicBezTo>
                    <a:pt x="3034426" y="322583"/>
                    <a:pt x="3040177" y="142087"/>
                    <a:pt x="3040409" y="5751"/>
                  </a:cubicBezTo>
                  <a:lnTo>
                    <a:pt x="2992" y="0"/>
                  </a:lnTo>
                  <a:lnTo>
                    <a:pt x="2992" y="503300"/>
                  </a:lnTo>
                  <a:lnTo>
                    <a:pt x="0" y="503360"/>
                  </a:lnTo>
                  <a:lnTo>
                    <a:pt x="0" y="553691"/>
                  </a:lnTo>
                  <a:lnTo>
                    <a:pt x="2992" y="555603"/>
                  </a:lnTo>
                  <a:lnTo>
                    <a:pt x="2992" y="606928"/>
                  </a:lnTo>
                  <a:lnTo>
                    <a:pt x="90423" y="607125"/>
                  </a:lnTo>
                  <a:lnTo>
                    <a:pt x="112202" y="618752"/>
                  </a:lnTo>
                  <a:lnTo>
                    <a:pt x="126998" y="626118"/>
                  </a:lnTo>
                  <a:lnTo>
                    <a:pt x="141794" y="633074"/>
                  </a:lnTo>
                  <a:lnTo>
                    <a:pt x="156590" y="639621"/>
                  </a:lnTo>
                  <a:lnTo>
                    <a:pt x="171385" y="645350"/>
                  </a:lnTo>
                  <a:lnTo>
                    <a:pt x="196045" y="653943"/>
                  </a:lnTo>
                  <a:lnTo>
                    <a:pt x="221938" y="662127"/>
                  </a:lnTo>
                  <a:lnTo>
                    <a:pt x="247831" y="669901"/>
                  </a:lnTo>
                  <a:lnTo>
                    <a:pt x="275573" y="677267"/>
                  </a:lnTo>
                  <a:lnTo>
                    <a:pt x="302699" y="683814"/>
                  </a:lnTo>
                  <a:lnTo>
                    <a:pt x="330441" y="689952"/>
                  </a:lnTo>
                  <a:lnTo>
                    <a:pt x="386542" y="702228"/>
                  </a:lnTo>
                  <a:lnTo>
                    <a:pt x="443259" y="712867"/>
                  </a:lnTo>
                  <a:lnTo>
                    <a:pt x="499977" y="723505"/>
                  </a:lnTo>
                  <a:lnTo>
                    <a:pt x="555461" y="734144"/>
                  </a:lnTo>
                  <a:lnTo>
                    <a:pt x="582587" y="739873"/>
                  </a:lnTo>
                  <a:lnTo>
                    <a:pt x="609713" y="745602"/>
                  </a:lnTo>
                  <a:lnTo>
                    <a:pt x="706502" y="768107"/>
                  </a:lnTo>
                  <a:lnTo>
                    <a:pt x="753356" y="779565"/>
                  </a:lnTo>
                  <a:lnTo>
                    <a:pt x="800209" y="791841"/>
                  </a:lnTo>
                  <a:lnTo>
                    <a:pt x="847063" y="803707"/>
                  </a:lnTo>
                  <a:lnTo>
                    <a:pt x="893300" y="816392"/>
                  </a:lnTo>
                  <a:lnTo>
                    <a:pt x="939537" y="829486"/>
                  </a:lnTo>
                  <a:lnTo>
                    <a:pt x="984541" y="842990"/>
                  </a:lnTo>
                  <a:lnTo>
                    <a:pt x="1029545" y="857311"/>
                  </a:lnTo>
                  <a:lnTo>
                    <a:pt x="1074549" y="872042"/>
                  </a:lnTo>
                  <a:lnTo>
                    <a:pt x="1118320" y="887591"/>
                  </a:lnTo>
                  <a:lnTo>
                    <a:pt x="1162707" y="903141"/>
                  </a:lnTo>
                  <a:lnTo>
                    <a:pt x="1205862" y="920327"/>
                  </a:lnTo>
                  <a:lnTo>
                    <a:pt x="1249016" y="937922"/>
                  </a:lnTo>
                  <a:lnTo>
                    <a:pt x="1291555" y="956336"/>
                  </a:lnTo>
                  <a:lnTo>
                    <a:pt x="1333476" y="975568"/>
                  </a:lnTo>
                  <a:lnTo>
                    <a:pt x="1345806" y="980887"/>
                  </a:lnTo>
                  <a:lnTo>
                    <a:pt x="1357519" y="985798"/>
                  </a:lnTo>
                  <a:lnTo>
                    <a:pt x="1369849" y="990299"/>
                  </a:lnTo>
                  <a:lnTo>
                    <a:pt x="1382179" y="993981"/>
                  </a:lnTo>
                  <a:lnTo>
                    <a:pt x="1394509" y="998073"/>
                  </a:lnTo>
                  <a:lnTo>
                    <a:pt x="1406839" y="1001756"/>
                  </a:lnTo>
                  <a:lnTo>
                    <a:pt x="1419169" y="1004620"/>
                  </a:lnTo>
                  <a:lnTo>
                    <a:pt x="1432115" y="1007894"/>
                  </a:lnTo>
                  <a:lnTo>
                    <a:pt x="1458008" y="1011986"/>
                  </a:lnTo>
                  <a:lnTo>
                    <a:pt x="1483901" y="1016078"/>
                  </a:lnTo>
                  <a:lnTo>
                    <a:pt x="1510410" y="1018124"/>
                  </a:lnTo>
                  <a:lnTo>
                    <a:pt x="1536919" y="1019760"/>
                  </a:ln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8" name="Rectangle 169"/>
            <p:cNvSpPr/>
            <p:nvPr/>
          </p:nvSpPr>
          <p:spPr bwMode="auto">
            <a:xfrm flipH="1">
              <a:off x="9725873" y="4029504"/>
              <a:ext cx="91444" cy="1526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9" name="Rectangle 169"/>
            <p:cNvSpPr/>
            <p:nvPr/>
          </p:nvSpPr>
          <p:spPr bwMode="auto">
            <a:xfrm flipH="1">
              <a:off x="10153873" y="4013000"/>
              <a:ext cx="91444" cy="1526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0" name="Rectangle 169"/>
            <p:cNvSpPr/>
            <p:nvPr/>
          </p:nvSpPr>
          <p:spPr bwMode="auto">
            <a:xfrm flipH="1">
              <a:off x="9920991" y="4032704"/>
              <a:ext cx="91444" cy="1526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1" name="Rectangle 169"/>
            <p:cNvSpPr/>
            <p:nvPr/>
          </p:nvSpPr>
          <p:spPr bwMode="auto">
            <a:xfrm flipH="1">
              <a:off x="10039086" y="4174028"/>
              <a:ext cx="91444" cy="1526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162" name="Group 1161"/>
            <p:cNvGrpSpPr/>
            <p:nvPr/>
          </p:nvGrpSpPr>
          <p:grpSpPr>
            <a:xfrm>
              <a:off x="9976520" y="3815095"/>
              <a:ext cx="384601" cy="212116"/>
              <a:chOff x="14216699" y="4077536"/>
              <a:chExt cx="384601" cy="212116"/>
            </a:xfrm>
          </p:grpSpPr>
          <p:sp>
            <p:nvSpPr>
              <p:cNvPr id="1171" name="Rectangle 169"/>
              <p:cNvSpPr/>
              <p:nvPr/>
            </p:nvSpPr>
            <p:spPr bwMode="auto">
              <a:xfrm flipH="1">
                <a:off x="14538844" y="4185362"/>
                <a:ext cx="62456" cy="10429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72" name="Rectangle 169"/>
              <p:cNvSpPr/>
              <p:nvPr/>
            </p:nvSpPr>
            <p:spPr bwMode="auto">
              <a:xfrm flipH="1">
                <a:off x="14532283" y="4077536"/>
                <a:ext cx="62456" cy="10429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73" name="Rectangle 169"/>
              <p:cNvSpPr/>
              <p:nvPr/>
            </p:nvSpPr>
            <p:spPr bwMode="auto">
              <a:xfrm flipH="1">
                <a:off x="14411897" y="4148176"/>
                <a:ext cx="62456" cy="10429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74" name="Rectangle 169"/>
              <p:cNvSpPr/>
              <p:nvPr/>
            </p:nvSpPr>
            <p:spPr bwMode="auto">
              <a:xfrm flipH="1">
                <a:off x="14216699" y="4148176"/>
                <a:ext cx="62456" cy="10429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63" name="Group 1162"/>
            <p:cNvGrpSpPr/>
            <p:nvPr/>
          </p:nvGrpSpPr>
          <p:grpSpPr>
            <a:xfrm>
              <a:off x="10440127" y="3956166"/>
              <a:ext cx="678304" cy="229437"/>
              <a:chOff x="13942443" y="4227633"/>
              <a:chExt cx="820747" cy="252381"/>
            </a:xfrm>
          </p:grpSpPr>
          <p:sp>
            <p:nvSpPr>
              <p:cNvPr id="1164" name="Rectangle 169"/>
              <p:cNvSpPr/>
              <p:nvPr/>
            </p:nvSpPr>
            <p:spPr bwMode="auto">
              <a:xfrm flipH="1">
                <a:off x="14330901" y="4250756"/>
                <a:ext cx="75573" cy="1261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5" name="Rectangle 169"/>
              <p:cNvSpPr/>
              <p:nvPr/>
            </p:nvSpPr>
            <p:spPr bwMode="auto">
              <a:xfrm flipH="1">
                <a:off x="14216699" y="4283370"/>
                <a:ext cx="75573" cy="1261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6" name="Rectangle 169"/>
              <p:cNvSpPr/>
              <p:nvPr/>
            </p:nvSpPr>
            <p:spPr bwMode="auto">
              <a:xfrm flipH="1">
                <a:off x="14096294" y="4353823"/>
                <a:ext cx="75573" cy="1261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7" name="Rectangle 169"/>
              <p:cNvSpPr/>
              <p:nvPr/>
            </p:nvSpPr>
            <p:spPr bwMode="auto">
              <a:xfrm flipH="1">
                <a:off x="14068501" y="4227633"/>
                <a:ext cx="75573" cy="1261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8" name="Rectangle 169"/>
              <p:cNvSpPr/>
              <p:nvPr/>
            </p:nvSpPr>
            <p:spPr bwMode="auto">
              <a:xfrm flipH="1">
                <a:off x="13942443" y="4308597"/>
                <a:ext cx="75573" cy="1261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9" name="Rectangle 169"/>
              <p:cNvSpPr/>
              <p:nvPr/>
            </p:nvSpPr>
            <p:spPr bwMode="auto">
              <a:xfrm flipH="1">
                <a:off x="14700734" y="4302129"/>
                <a:ext cx="62456" cy="10429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70" name="Rectangle 169"/>
              <p:cNvSpPr/>
              <p:nvPr/>
            </p:nvSpPr>
            <p:spPr bwMode="auto">
              <a:xfrm flipH="1">
                <a:off x="14570072" y="4320372"/>
                <a:ext cx="75573" cy="1261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 name="Title 3"/>
          <p:cNvSpPr>
            <a:spLocks noGrp="1"/>
          </p:cNvSpPr>
          <p:nvPr>
            <p:ph type="title"/>
          </p:nvPr>
        </p:nvSpPr>
        <p:spPr>
          <a:xfrm>
            <a:off x="7938" y="0"/>
            <a:ext cx="12188825" cy="945292"/>
          </a:xfrm>
          <a:solidFill>
            <a:srgbClr val="4E195C"/>
          </a:solidFill>
        </p:spPr>
        <p:txBody>
          <a:bodyPr vert="horz" wrap="square" lIns="1188720" tIns="0" rIns="0" bIns="0" rtlCol="0" anchor="ctr" anchorCtr="0">
            <a:noAutofit/>
          </a:bodyPr>
          <a:lstStyle/>
          <a:p>
            <a:r>
              <a:rPr lang="en-US" sz="3400" dirty="0"/>
              <a:t>The Internet of Things – Retail</a:t>
            </a:r>
          </a:p>
        </p:txBody>
      </p:sp>
      <p:sp>
        <p:nvSpPr>
          <p:cNvPr id="521" name="Rectangle 520"/>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23" name="Group 222"/>
          <p:cNvGrpSpPr/>
          <p:nvPr/>
        </p:nvGrpSpPr>
        <p:grpSpPr>
          <a:xfrm>
            <a:off x="3904349" y="1862228"/>
            <a:ext cx="1068498" cy="904343"/>
            <a:chOff x="3826289" y="1801087"/>
            <a:chExt cx="1140736" cy="965483"/>
          </a:xfrm>
        </p:grpSpPr>
        <p:sp>
          <p:nvSpPr>
            <p:cNvPr id="224" name="Rectangle 223"/>
            <p:cNvSpPr/>
            <p:nvPr/>
          </p:nvSpPr>
          <p:spPr bwMode="auto">
            <a:xfrm>
              <a:off x="3835907" y="1842716"/>
              <a:ext cx="1112333" cy="757505"/>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5" name="Freeform 32"/>
            <p:cNvSpPr>
              <a:spLocks noEditPoints="1"/>
            </p:cNvSpPr>
            <p:nvPr/>
          </p:nvSpPr>
          <p:spPr bwMode="auto">
            <a:xfrm>
              <a:off x="3826289" y="1801087"/>
              <a:ext cx="1140736" cy="965483"/>
            </a:xfrm>
            <a:custGeom>
              <a:avLst/>
              <a:gdLst>
                <a:gd name="T0" fmla="*/ 24 w 715"/>
                <a:gd name="T1" fmla="*/ 0 h 607"/>
                <a:gd name="T2" fmla="*/ 19 w 715"/>
                <a:gd name="T3" fmla="*/ 0 h 607"/>
                <a:gd name="T4" fmla="*/ 11 w 715"/>
                <a:gd name="T5" fmla="*/ 4 h 607"/>
                <a:gd name="T6" fmla="*/ 4 w 715"/>
                <a:gd name="T7" fmla="*/ 10 h 607"/>
                <a:gd name="T8" fmla="*/ 1 w 715"/>
                <a:gd name="T9" fmla="*/ 18 h 607"/>
                <a:gd name="T10" fmla="*/ 0 w 715"/>
                <a:gd name="T11" fmla="*/ 503 h 607"/>
                <a:gd name="T12" fmla="*/ 1 w 715"/>
                <a:gd name="T13" fmla="*/ 507 h 607"/>
                <a:gd name="T14" fmla="*/ 4 w 715"/>
                <a:gd name="T15" fmla="*/ 515 h 607"/>
                <a:gd name="T16" fmla="*/ 11 w 715"/>
                <a:gd name="T17" fmla="*/ 521 h 607"/>
                <a:gd name="T18" fmla="*/ 19 w 715"/>
                <a:gd name="T19" fmla="*/ 525 h 607"/>
                <a:gd name="T20" fmla="*/ 244 w 715"/>
                <a:gd name="T21" fmla="*/ 525 h 607"/>
                <a:gd name="T22" fmla="*/ 195 w 715"/>
                <a:gd name="T23" fmla="*/ 607 h 607"/>
                <a:gd name="T24" fmla="*/ 485 w 715"/>
                <a:gd name="T25" fmla="*/ 560 h 607"/>
                <a:gd name="T26" fmla="*/ 692 w 715"/>
                <a:gd name="T27" fmla="*/ 525 h 607"/>
                <a:gd name="T28" fmla="*/ 697 w 715"/>
                <a:gd name="T29" fmla="*/ 525 h 607"/>
                <a:gd name="T30" fmla="*/ 705 w 715"/>
                <a:gd name="T31" fmla="*/ 521 h 607"/>
                <a:gd name="T32" fmla="*/ 711 w 715"/>
                <a:gd name="T33" fmla="*/ 515 h 607"/>
                <a:gd name="T34" fmla="*/ 714 w 715"/>
                <a:gd name="T35" fmla="*/ 507 h 607"/>
                <a:gd name="T36" fmla="*/ 715 w 715"/>
                <a:gd name="T37" fmla="*/ 22 h 607"/>
                <a:gd name="T38" fmla="*/ 714 w 715"/>
                <a:gd name="T39" fmla="*/ 18 h 607"/>
                <a:gd name="T40" fmla="*/ 711 w 715"/>
                <a:gd name="T41" fmla="*/ 10 h 607"/>
                <a:gd name="T42" fmla="*/ 705 w 715"/>
                <a:gd name="T43" fmla="*/ 4 h 607"/>
                <a:gd name="T44" fmla="*/ 697 w 715"/>
                <a:gd name="T45" fmla="*/ 0 h 607"/>
                <a:gd name="T46" fmla="*/ 674 w 715"/>
                <a:gd name="T47" fmla="*/ 467 h 607"/>
                <a:gd name="T48" fmla="*/ 674 w 715"/>
                <a:gd name="T49" fmla="*/ 471 h 607"/>
                <a:gd name="T50" fmla="*/ 669 w 715"/>
                <a:gd name="T51" fmla="*/ 480 h 607"/>
                <a:gd name="T52" fmla="*/ 658 w 715"/>
                <a:gd name="T53" fmla="*/ 485 h 607"/>
                <a:gd name="T54" fmla="*/ 62 w 715"/>
                <a:gd name="T55" fmla="*/ 487 h 607"/>
                <a:gd name="T56" fmla="*/ 58 w 715"/>
                <a:gd name="T57" fmla="*/ 485 h 607"/>
                <a:gd name="T58" fmla="*/ 48 w 715"/>
                <a:gd name="T59" fmla="*/ 480 h 607"/>
                <a:gd name="T60" fmla="*/ 42 w 715"/>
                <a:gd name="T61" fmla="*/ 471 h 607"/>
                <a:gd name="T62" fmla="*/ 42 w 715"/>
                <a:gd name="T63" fmla="*/ 58 h 607"/>
                <a:gd name="T64" fmla="*/ 42 w 715"/>
                <a:gd name="T65" fmla="*/ 54 h 607"/>
                <a:gd name="T66" fmla="*/ 48 w 715"/>
                <a:gd name="T67" fmla="*/ 45 h 607"/>
                <a:gd name="T68" fmla="*/ 58 w 715"/>
                <a:gd name="T69" fmla="*/ 40 h 607"/>
                <a:gd name="T70" fmla="*/ 655 w 715"/>
                <a:gd name="T71" fmla="*/ 38 h 607"/>
                <a:gd name="T72" fmla="*/ 658 w 715"/>
                <a:gd name="T73" fmla="*/ 40 h 607"/>
                <a:gd name="T74" fmla="*/ 669 w 715"/>
                <a:gd name="T75" fmla="*/ 45 h 607"/>
                <a:gd name="T76" fmla="*/ 674 w 715"/>
                <a:gd name="T77" fmla="*/ 54 h 607"/>
                <a:gd name="T78" fmla="*/ 674 w 715"/>
                <a:gd name="T79" fmla="*/ 467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5" h="607">
                  <a:moveTo>
                    <a:pt x="692" y="0"/>
                  </a:moveTo>
                  <a:lnTo>
                    <a:pt x="24" y="0"/>
                  </a:lnTo>
                  <a:lnTo>
                    <a:pt x="24" y="0"/>
                  </a:lnTo>
                  <a:lnTo>
                    <a:pt x="19" y="0"/>
                  </a:lnTo>
                  <a:lnTo>
                    <a:pt x="15" y="1"/>
                  </a:lnTo>
                  <a:lnTo>
                    <a:pt x="11" y="4"/>
                  </a:lnTo>
                  <a:lnTo>
                    <a:pt x="8" y="6"/>
                  </a:lnTo>
                  <a:lnTo>
                    <a:pt x="4" y="10"/>
                  </a:lnTo>
                  <a:lnTo>
                    <a:pt x="2" y="14"/>
                  </a:lnTo>
                  <a:lnTo>
                    <a:pt x="1" y="18"/>
                  </a:lnTo>
                  <a:lnTo>
                    <a:pt x="0" y="22"/>
                  </a:lnTo>
                  <a:lnTo>
                    <a:pt x="0" y="503"/>
                  </a:lnTo>
                  <a:lnTo>
                    <a:pt x="0" y="503"/>
                  </a:lnTo>
                  <a:lnTo>
                    <a:pt x="1" y="507"/>
                  </a:lnTo>
                  <a:lnTo>
                    <a:pt x="2" y="511"/>
                  </a:lnTo>
                  <a:lnTo>
                    <a:pt x="4" y="515"/>
                  </a:lnTo>
                  <a:lnTo>
                    <a:pt x="8" y="519"/>
                  </a:lnTo>
                  <a:lnTo>
                    <a:pt x="11" y="521"/>
                  </a:lnTo>
                  <a:lnTo>
                    <a:pt x="15" y="524"/>
                  </a:lnTo>
                  <a:lnTo>
                    <a:pt x="19" y="525"/>
                  </a:lnTo>
                  <a:lnTo>
                    <a:pt x="24" y="525"/>
                  </a:lnTo>
                  <a:lnTo>
                    <a:pt x="244" y="525"/>
                  </a:lnTo>
                  <a:lnTo>
                    <a:pt x="244" y="560"/>
                  </a:lnTo>
                  <a:lnTo>
                    <a:pt x="195" y="607"/>
                  </a:lnTo>
                  <a:lnTo>
                    <a:pt x="533" y="607"/>
                  </a:lnTo>
                  <a:lnTo>
                    <a:pt x="485" y="560"/>
                  </a:lnTo>
                  <a:lnTo>
                    <a:pt x="485" y="525"/>
                  </a:lnTo>
                  <a:lnTo>
                    <a:pt x="692" y="525"/>
                  </a:lnTo>
                  <a:lnTo>
                    <a:pt x="692" y="525"/>
                  </a:lnTo>
                  <a:lnTo>
                    <a:pt x="697" y="525"/>
                  </a:lnTo>
                  <a:lnTo>
                    <a:pt x="701" y="524"/>
                  </a:lnTo>
                  <a:lnTo>
                    <a:pt x="705" y="521"/>
                  </a:lnTo>
                  <a:lnTo>
                    <a:pt x="709" y="519"/>
                  </a:lnTo>
                  <a:lnTo>
                    <a:pt x="711" y="515"/>
                  </a:lnTo>
                  <a:lnTo>
                    <a:pt x="713" y="511"/>
                  </a:lnTo>
                  <a:lnTo>
                    <a:pt x="714" y="507"/>
                  </a:lnTo>
                  <a:lnTo>
                    <a:pt x="715" y="503"/>
                  </a:lnTo>
                  <a:lnTo>
                    <a:pt x="715" y="22"/>
                  </a:lnTo>
                  <a:lnTo>
                    <a:pt x="715" y="22"/>
                  </a:lnTo>
                  <a:lnTo>
                    <a:pt x="714" y="18"/>
                  </a:lnTo>
                  <a:lnTo>
                    <a:pt x="713" y="14"/>
                  </a:lnTo>
                  <a:lnTo>
                    <a:pt x="711" y="10"/>
                  </a:lnTo>
                  <a:lnTo>
                    <a:pt x="709" y="6"/>
                  </a:lnTo>
                  <a:lnTo>
                    <a:pt x="705" y="4"/>
                  </a:lnTo>
                  <a:lnTo>
                    <a:pt x="701" y="1"/>
                  </a:lnTo>
                  <a:lnTo>
                    <a:pt x="697" y="0"/>
                  </a:lnTo>
                  <a:lnTo>
                    <a:pt x="692" y="0"/>
                  </a:lnTo>
                  <a:close/>
                  <a:moveTo>
                    <a:pt x="674" y="467"/>
                  </a:moveTo>
                  <a:lnTo>
                    <a:pt x="674" y="467"/>
                  </a:lnTo>
                  <a:lnTo>
                    <a:pt x="674" y="471"/>
                  </a:lnTo>
                  <a:lnTo>
                    <a:pt x="673" y="475"/>
                  </a:lnTo>
                  <a:lnTo>
                    <a:pt x="669" y="480"/>
                  </a:lnTo>
                  <a:lnTo>
                    <a:pt x="662" y="485"/>
                  </a:lnTo>
                  <a:lnTo>
                    <a:pt x="658" y="485"/>
                  </a:lnTo>
                  <a:lnTo>
                    <a:pt x="655" y="487"/>
                  </a:lnTo>
                  <a:lnTo>
                    <a:pt x="62" y="487"/>
                  </a:lnTo>
                  <a:lnTo>
                    <a:pt x="62" y="487"/>
                  </a:lnTo>
                  <a:lnTo>
                    <a:pt x="58" y="485"/>
                  </a:lnTo>
                  <a:lnTo>
                    <a:pt x="54" y="485"/>
                  </a:lnTo>
                  <a:lnTo>
                    <a:pt x="48" y="480"/>
                  </a:lnTo>
                  <a:lnTo>
                    <a:pt x="44" y="475"/>
                  </a:lnTo>
                  <a:lnTo>
                    <a:pt x="42" y="471"/>
                  </a:lnTo>
                  <a:lnTo>
                    <a:pt x="42" y="467"/>
                  </a:lnTo>
                  <a:lnTo>
                    <a:pt x="42" y="58"/>
                  </a:lnTo>
                  <a:lnTo>
                    <a:pt x="42" y="58"/>
                  </a:lnTo>
                  <a:lnTo>
                    <a:pt x="42" y="54"/>
                  </a:lnTo>
                  <a:lnTo>
                    <a:pt x="44" y="50"/>
                  </a:lnTo>
                  <a:lnTo>
                    <a:pt x="48" y="45"/>
                  </a:lnTo>
                  <a:lnTo>
                    <a:pt x="54" y="40"/>
                  </a:lnTo>
                  <a:lnTo>
                    <a:pt x="58" y="40"/>
                  </a:lnTo>
                  <a:lnTo>
                    <a:pt x="62" y="38"/>
                  </a:lnTo>
                  <a:lnTo>
                    <a:pt x="655" y="38"/>
                  </a:lnTo>
                  <a:lnTo>
                    <a:pt x="655" y="38"/>
                  </a:lnTo>
                  <a:lnTo>
                    <a:pt x="658" y="40"/>
                  </a:lnTo>
                  <a:lnTo>
                    <a:pt x="662" y="40"/>
                  </a:lnTo>
                  <a:lnTo>
                    <a:pt x="669" y="45"/>
                  </a:lnTo>
                  <a:lnTo>
                    <a:pt x="673" y="50"/>
                  </a:lnTo>
                  <a:lnTo>
                    <a:pt x="674" y="54"/>
                  </a:lnTo>
                  <a:lnTo>
                    <a:pt x="674" y="58"/>
                  </a:lnTo>
                  <a:lnTo>
                    <a:pt x="674" y="46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233" name="Rectangle 414"/>
          <p:cNvSpPr/>
          <p:nvPr/>
        </p:nvSpPr>
        <p:spPr bwMode="auto">
          <a:xfrm>
            <a:off x="1588" y="1229649"/>
            <a:ext cx="911910" cy="1911485"/>
          </a:xfrm>
          <a:custGeom>
            <a:avLst/>
            <a:gdLst>
              <a:gd name="connsiteX0" fmla="*/ 0 w 911910"/>
              <a:gd name="connsiteY0" fmla="*/ 0 h 807897"/>
              <a:gd name="connsiteX1" fmla="*/ 911910 w 911910"/>
              <a:gd name="connsiteY1" fmla="*/ 0 h 807897"/>
              <a:gd name="connsiteX2" fmla="*/ 911910 w 911910"/>
              <a:gd name="connsiteY2" fmla="*/ 807897 h 807897"/>
              <a:gd name="connsiteX3" fmla="*/ 0 w 911910"/>
              <a:gd name="connsiteY3" fmla="*/ 807897 h 807897"/>
              <a:gd name="connsiteX4" fmla="*/ 0 w 911910"/>
              <a:gd name="connsiteY4" fmla="*/ 0 h 807897"/>
              <a:gd name="connsiteX0" fmla="*/ 0 w 911910"/>
              <a:gd name="connsiteY0" fmla="*/ 0 h 2064325"/>
              <a:gd name="connsiteX1" fmla="*/ 911910 w 911910"/>
              <a:gd name="connsiteY1" fmla="*/ 0 h 2064325"/>
              <a:gd name="connsiteX2" fmla="*/ 911910 w 911910"/>
              <a:gd name="connsiteY2" fmla="*/ 807897 h 2064325"/>
              <a:gd name="connsiteX3" fmla="*/ 13960 w 911910"/>
              <a:gd name="connsiteY3" fmla="*/ 2064325 h 2064325"/>
              <a:gd name="connsiteX4" fmla="*/ 0 w 911910"/>
              <a:gd name="connsiteY4" fmla="*/ 0 h 206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910" h="2064325">
                <a:moveTo>
                  <a:pt x="0" y="0"/>
                </a:moveTo>
                <a:lnTo>
                  <a:pt x="911910" y="0"/>
                </a:lnTo>
                <a:lnTo>
                  <a:pt x="911910" y="807897"/>
                </a:lnTo>
                <a:lnTo>
                  <a:pt x="13960" y="2064325"/>
                </a:lnTo>
                <a:cubicBezTo>
                  <a:pt x="9307" y="1376217"/>
                  <a:pt x="4653" y="688108"/>
                  <a:pt x="0" y="0"/>
                </a:cubicBez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22" name="Group 321"/>
          <p:cNvGrpSpPr/>
          <p:nvPr/>
        </p:nvGrpSpPr>
        <p:grpSpPr>
          <a:xfrm rot="20220357" flipH="1">
            <a:off x="11367254" y="1214914"/>
            <a:ext cx="748862" cy="663061"/>
            <a:chOff x="10829750" y="-453599"/>
            <a:chExt cx="1238426" cy="1096537"/>
          </a:xfrm>
          <a:solidFill>
            <a:schemeClr val="accent6">
              <a:lumMod val="50000"/>
            </a:schemeClr>
          </a:solidFill>
        </p:grpSpPr>
        <p:sp>
          <p:nvSpPr>
            <p:cNvPr id="323" name="Freeform 21"/>
            <p:cNvSpPr>
              <a:spLocks/>
            </p:cNvSpPr>
            <p:nvPr/>
          </p:nvSpPr>
          <p:spPr bwMode="auto">
            <a:xfrm>
              <a:off x="10923183" y="-71358"/>
              <a:ext cx="611189" cy="679451"/>
            </a:xfrm>
            <a:custGeom>
              <a:avLst/>
              <a:gdLst>
                <a:gd name="T0" fmla="*/ 0 w 770"/>
                <a:gd name="T1" fmla="*/ 0 h 855"/>
                <a:gd name="T2" fmla="*/ 713 w 770"/>
                <a:gd name="T3" fmla="*/ 855 h 855"/>
                <a:gd name="T4" fmla="*/ 770 w 770"/>
                <a:gd name="T5" fmla="*/ 848 h 855"/>
                <a:gd name="T6" fmla="*/ 0 w 770"/>
                <a:gd name="T7" fmla="*/ 0 h 855"/>
              </a:gdLst>
              <a:ahLst/>
              <a:cxnLst>
                <a:cxn ang="0">
                  <a:pos x="T0" y="T1"/>
                </a:cxn>
                <a:cxn ang="0">
                  <a:pos x="T2" y="T3"/>
                </a:cxn>
                <a:cxn ang="0">
                  <a:pos x="T4" y="T5"/>
                </a:cxn>
                <a:cxn ang="0">
                  <a:pos x="T6" y="T7"/>
                </a:cxn>
              </a:cxnLst>
              <a:rect l="0" t="0" r="r" b="b"/>
              <a:pathLst>
                <a:path w="770" h="855">
                  <a:moveTo>
                    <a:pt x="0" y="0"/>
                  </a:moveTo>
                  <a:lnTo>
                    <a:pt x="713" y="855"/>
                  </a:lnTo>
                  <a:lnTo>
                    <a:pt x="770" y="84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4" name="Freeform 22"/>
            <p:cNvSpPr>
              <a:spLocks/>
            </p:cNvSpPr>
            <p:nvPr/>
          </p:nvSpPr>
          <p:spPr bwMode="auto">
            <a:xfrm>
              <a:off x="11179292" y="-291387"/>
              <a:ext cx="404813" cy="444499"/>
            </a:xfrm>
            <a:custGeom>
              <a:avLst/>
              <a:gdLst>
                <a:gd name="T0" fmla="*/ 0 w 509"/>
                <a:gd name="T1" fmla="*/ 0 h 561"/>
                <a:gd name="T2" fmla="*/ 450 w 509"/>
                <a:gd name="T3" fmla="*/ 561 h 561"/>
                <a:gd name="T4" fmla="*/ 509 w 509"/>
                <a:gd name="T5" fmla="*/ 553 h 561"/>
                <a:gd name="T6" fmla="*/ 0 w 509"/>
                <a:gd name="T7" fmla="*/ 0 h 561"/>
              </a:gdLst>
              <a:ahLst/>
              <a:cxnLst>
                <a:cxn ang="0">
                  <a:pos x="T0" y="T1"/>
                </a:cxn>
                <a:cxn ang="0">
                  <a:pos x="T2" y="T3"/>
                </a:cxn>
                <a:cxn ang="0">
                  <a:pos x="T4" y="T5"/>
                </a:cxn>
                <a:cxn ang="0">
                  <a:pos x="T6" y="T7"/>
                </a:cxn>
              </a:cxnLst>
              <a:rect l="0" t="0" r="r" b="b"/>
              <a:pathLst>
                <a:path w="509" h="561">
                  <a:moveTo>
                    <a:pt x="0" y="0"/>
                  </a:moveTo>
                  <a:lnTo>
                    <a:pt x="450" y="561"/>
                  </a:lnTo>
                  <a:lnTo>
                    <a:pt x="509"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5" name="Freeform 23"/>
            <p:cNvSpPr>
              <a:spLocks/>
            </p:cNvSpPr>
            <p:nvPr/>
          </p:nvSpPr>
          <p:spPr bwMode="auto">
            <a:xfrm>
              <a:off x="11182351" y="-112712"/>
              <a:ext cx="403225" cy="444500"/>
            </a:xfrm>
            <a:custGeom>
              <a:avLst/>
              <a:gdLst>
                <a:gd name="T0" fmla="*/ 0 w 508"/>
                <a:gd name="T1" fmla="*/ 0 h 560"/>
                <a:gd name="T2" fmla="*/ 449 w 508"/>
                <a:gd name="T3" fmla="*/ 560 h 560"/>
                <a:gd name="T4" fmla="*/ 508 w 508"/>
                <a:gd name="T5" fmla="*/ 552 h 560"/>
                <a:gd name="T6" fmla="*/ 0 w 508"/>
                <a:gd name="T7" fmla="*/ 0 h 560"/>
              </a:gdLst>
              <a:ahLst/>
              <a:cxnLst>
                <a:cxn ang="0">
                  <a:pos x="T0" y="T1"/>
                </a:cxn>
                <a:cxn ang="0">
                  <a:pos x="T2" y="T3"/>
                </a:cxn>
                <a:cxn ang="0">
                  <a:pos x="T4" y="T5"/>
                </a:cxn>
                <a:cxn ang="0">
                  <a:pos x="T6" y="T7"/>
                </a:cxn>
              </a:cxnLst>
              <a:rect l="0" t="0" r="r" b="b"/>
              <a:pathLst>
                <a:path w="508" h="560">
                  <a:moveTo>
                    <a:pt x="0" y="0"/>
                  </a:moveTo>
                  <a:lnTo>
                    <a:pt x="449" y="560"/>
                  </a:lnTo>
                  <a:lnTo>
                    <a:pt x="508" y="55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6" name="Freeform 24"/>
            <p:cNvSpPr>
              <a:spLocks/>
            </p:cNvSpPr>
            <p:nvPr/>
          </p:nvSpPr>
          <p:spPr bwMode="auto">
            <a:xfrm>
              <a:off x="11239501" y="119063"/>
              <a:ext cx="403225" cy="446088"/>
            </a:xfrm>
            <a:custGeom>
              <a:avLst/>
              <a:gdLst>
                <a:gd name="T0" fmla="*/ 0 w 508"/>
                <a:gd name="T1" fmla="*/ 0 h 561"/>
                <a:gd name="T2" fmla="*/ 451 w 508"/>
                <a:gd name="T3" fmla="*/ 561 h 561"/>
                <a:gd name="T4" fmla="*/ 508 w 508"/>
                <a:gd name="T5" fmla="*/ 553 h 561"/>
                <a:gd name="T6" fmla="*/ 0 w 508"/>
                <a:gd name="T7" fmla="*/ 0 h 561"/>
              </a:gdLst>
              <a:ahLst/>
              <a:cxnLst>
                <a:cxn ang="0">
                  <a:pos x="T0" y="T1"/>
                </a:cxn>
                <a:cxn ang="0">
                  <a:pos x="T2" y="T3"/>
                </a:cxn>
                <a:cxn ang="0">
                  <a:pos x="T4" y="T5"/>
                </a:cxn>
                <a:cxn ang="0">
                  <a:pos x="T6" y="T7"/>
                </a:cxn>
              </a:cxnLst>
              <a:rect l="0" t="0" r="r" b="b"/>
              <a:pathLst>
                <a:path w="508" h="561">
                  <a:moveTo>
                    <a:pt x="0" y="0"/>
                  </a:moveTo>
                  <a:lnTo>
                    <a:pt x="451" y="561"/>
                  </a:lnTo>
                  <a:lnTo>
                    <a:pt x="508"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 name="Freeform 25"/>
            <p:cNvSpPr>
              <a:spLocks/>
            </p:cNvSpPr>
            <p:nvPr/>
          </p:nvSpPr>
          <p:spPr bwMode="auto">
            <a:xfrm>
              <a:off x="11453813" y="-179387"/>
              <a:ext cx="403225" cy="446088"/>
            </a:xfrm>
            <a:custGeom>
              <a:avLst/>
              <a:gdLst>
                <a:gd name="T0" fmla="*/ 0 w 509"/>
                <a:gd name="T1" fmla="*/ 0 h 561"/>
                <a:gd name="T2" fmla="*/ 450 w 509"/>
                <a:gd name="T3" fmla="*/ 561 h 561"/>
                <a:gd name="T4" fmla="*/ 509 w 509"/>
                <a:gd name="T5" fmla="*/ 553 h 561"/>
                <a:gd name="T6" fmla="*/ 0 w 509"/>
                <a:gd name="T7" fmla="*/ 0 h 561"/>
              </a:gdLst>
              <a:ahLst/>
              <a:cxnLst>
                <a:cxn ang="0">
                  <a:pos x="T0" y="T1"/>
                </a:cxn>
                <a:cxn ang="0">
                  <a:pos x="T2" y="T3"/>
                </a:cxn>
                <a:cxn ang="0">
                  <a:pos x="T4" y="T5"/>
                </a:cxn>
                <a:cxn ang="0">
                  <a:pos x="T6" y="T7"/>
                </a:cxn>
              </a:cxnLst>
              <a:rect l="0" t="0" r="r" b="b"/>
              <a:pathLst>
                <a:path w="509" h="561">
                  <a:moveTo>
                    <a:pt x="0" y="0"/>
                  </a:moveTo>
                  <a:lnTo>
                    <a:pt x="450" y="561"/>
                  </a:lnTo>
                  <a:lnTo>
                    <a:pt x="509"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 name="Freeform 26"/>
            <p:cNvSpPr>
              <a:spLocks/>
            </p:cNvSpPr>
            <p:nvPr/>
          </p:nvSpPr>
          <p:spPr bwMode="auto">
            <a:xfrm>
              <a:off x="11615271" y="178144"/>
              <a:ext cx="312738" cy="323850"/>
            </a:xfrm>
            <a:custGeom>
              <a:avLst/>
              <a:gdLst>
                <a:gd name="T0" fmla="*/ 0 w 394"/>
                <a:gd name="T1" fmla="*/ 0 h 409"/>
                <a:gd name="T2" fmla="*/ 335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5"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 name="Freeform 27"/>
            <p:cNvSpPr>
              <a:spLocks/>
            </p:cNvSpPr>
            <p:nvPr/>
          </p:nvSpPr>
          <p:spPr bwMode="auto">
            <a:xfrm>
              <a:off x="11618913" y="319088"/>
              <a:ext cx="312738" cy="323850"/>
            </a:xfrm>
            <a:custGeom>
              <a:avLst/>
              <a:gdLst>
                <a:gd name="T0" fmla="*/ 0 w 394"/>
                <a:gd name="T1" fmla="*/ 0 h 408"/>
                <a:gd name="T2" fmla="*/ 337 w 394"/>
                <a:gd name="T3" fmla="*/ 408 h 408"/>
                <a:gd name="T4" fmla="*/ 394 w 394"/>
                <a:gd name="T5" fmla="*/ 400 h 408"/>
                <a:gd name="T6" fmla="*/ 0 w 394"/>
                <a:gd name="T7" fmla="*/ 0 h 408"/>
              </a:gdLst>
              <a:ahLst/>
              <a:cxnLst>
                <a:cxn ang="0">
                  <a:pos x="T0" y="T1"/>
                </a:cxn>
                <a:cxn ang="0">
                  <a:pos x="T2" y="T3"/>
                </a:cxn>
                <a:cxn ang="0">
                  <a:pos x="T4" y="T5"/>
                </a:cxn>
                <a:cxn ang="0">
                  <a:pos x="T6" y="T7"/>
                </a:cxn>
              </a:cxnLst>
              <a:rect l="0" t="0" r="r" b="b"/>
              <a:pathLst>
                <a:path w="394" h="408">
                  <a:moveTo>
                    <a:pt x="0" y="0"/>
                  </a:moveTo>
                  <a:lnTo>
                    <a:pt x="337" y="408"/>
                  </a:lnTo>
                  <a:lnTo>
                    <a:pt x="394" y="4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 name="Freeform 28"/>
            <p:cNvSpPr>
              <a:spLocks/>
            </p:cNvSpPr>
            <p:nvPr/>
          </p:nvSpPr>
          <p:spPr bwMode="auto">
            <a:xfrm>
              <a:off x="10829750" y="8911"/>
              <a:ext cx="311150" cy="323850"/>
            </a:xfrm>
            <a:custGeom>
              <a:avLst/>
              <a:gdLst>
                <a:gd name="T0" fmla="*/ 0 w 394"/>
                <a:gd name="T1" fmla="*/ 0 h 409"/>
                <a:gd name="T2" fmla="*/ 336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6"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 name="Freeform 29"/>
            <p:cNvSpPr>
              <a:spLocks/>
            </p:cNvSpPr>
            <p:nvPr/>
          </p:nvSpPr>
          <p:spPr bwMode="auto">
            <a:xfrm>
              <a:off x="11366518" y="-453599"/>
              <a:ext cx="312738" cy="323849"/>
            </a:xfrm>
            <a:custGeom>
              <a:avLst/>
              <a:gdLst>
                <a:gd name="T0" fmla="*/ 0 w 394"/>
                <a:gd name="T1" fmla="*/ 0 h 409"/>
                <a:gd name="T2" fmla="*/ 337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7"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 name="Freeform 30"/>
            <p:cNvSpPr>
              <a:spLocks/>
            </p:cNvSpPr>
            <p:nvPr/>
          </p:nvSpPr>
          <p:spPr bwMode="auto">
            <a:xfrm>
              <a:off x="11755438" y="-6350"/>
              <a:ext cx="312738" cy="325438"/>
            </a:xfrm>
            <a:custGeom>
              <a:avLst/>
              <a:gdLst>
                <a:gd name="T0" fmla="*/ 0 w 394"/>
                <a:gd name="T1" fmla="*/ 0 h 409"/>
                <a:gd name="T2" fmla="*/ 336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6"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707" name="TextBox 706"/>
          <p:cNvSpPr txBox="1"/>
          <p:nvPr/>
        </p:nvSpPr>
        <p:spPr>
          <a:xfrm>
            <a:off x="3994983" y="1618466"/>
            <a:ext cx="923820" cy="169277"/>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38" normalizeH="0" baseline="0" noProof="0" dirty="0">
                <a:ln>
                  <a:noFill/>
                </a:ln>
                <a:solidFill>
                  <a:srgbClr val="8DC548"/>
                </a:solidFill>
                <a:effectLst/>
                <a:uLnTx/>
                <a:uFillTx/>
                <a:ea typeface="Segoe UI" pitchFamily="34" charset="0"/>
                <a:cs typeface="Segoe UI" pitchFamily="34" charset="0"/>
              </a:rPr>
              <a:t>Marketing</a:t>
            </a:r>
          </a:p>
        </p:txBody>
      </p:sp>
      <p:grpSp>
        <p:nvGrpSpPr>
          <p:cNvPr id="723" name="Group 722"/>
          <p:cNvGrpSpPr>
            <a:grpSpLocks noChangeAspect="1"/>
          </p:cNvGrpSpPr>
          <p:nvPr/>
        </p:nvGrpSpPr>
        <p:grpSpPr>
          <a:xfrm>
            <a:off x="4075869" y="2253119"/>
            <a:ext cx="230349" cy="223796"/>
            <a:chOff x="9935552" y="3704492"/>
            <a:chExt cx="207963" cy="202048"/>
          </a:xfrm>
          <a:solidFill>
            <a:schemeClr val="accent1"/>
          </a:solidFill>
        </p:grpSpPr>
        <p:sp>
          <p:nvSpPr>
            <p:cNvPr id="724" name="Freeform 1165"/>
            <p:cNvSpPr>
              <a:spLocks/>
            </p:cNvSpPr>
            <p:nvPr/>
          </p:nvSpPr>
          <p:spPr bwMode="auto">
            <a:xfrm>
              <a:off x="9935552" y="3704492"/>
              <a:ext cx="207963" cy="120650"/>
            </a:xfrm>
            <a:custGeom>
              <a:avLst/>
              <a:gdLst>
                <a:gd name="T0" fmla="*/ 1963 w 1965"/>
                <a:gd name="T1" fmla="*/ 735 h 1136"/>
                <a:gd name="T2" fmla="*/ 1948 w 1965"/>
                <a:gd name="T3" fmla="*/ 815 h 1136"/>
                <a:gd name="T4" fmla="*/ 1920 w 1965"/>
                <a:gd name="T5" fmla="*/ 891 h 1136"/>
                <a:gd name="T6" fmla="*/ 1878 w 1965"/>
                <a:gd name="T7" fmla="*/ 959 h 1136"/>
                <a:gd name="T8" fmla="*/ 1827 w 1965"/>
                <a:gd name="T9" fmla="*/ 1017 h 1136"/>
                <a:gd name="T10" fmla="*/ 1765 w 1965"/>
                <a:gd name="T11" fmla="*/ 1067 h 1136"/>
                <a:gd name="T12" fmla="*/ 1696 w 1965"/>
                <a:gd name="T13" fmla="*/ 1104 h 1136"/>
                <a:gd name="T14" fmla="*/ 1621 w 1965"/>
                <a:gd name="T15" fmla="*/ 1130 h 1136"/>
                <a:gd name="T16" fmla="*/ 302 w 1965"/>
                <a:gd name="T17" fmla="*/ 1136 h 1136"/>
                <a:gd name="T18" fmla="*/ 256 w 1965"/>
                <a:gd name="T19" fmla="*/ 1133 h 1136"/>
                <a:gd name="T20" fmla="*/ 199 w 1965"/>
                <a:gd name="T21" fmla="*/ 1118 h 1136"/>
                <a:gd name="T22" fmla="*/ 145 w 1965"/>
                <a:gd name="T23" fmla="*/ 1092 h 1136"/>
                <a:gd name="T24" fmla="*/ 98 w 1965"/>
                <a:gd name="T25" fmla="*/ 1057 h 1136"/>
                <a:gd name="T26" fmla="*/ 60 w 1965"/>
                <a:gd name="T27" fmla="*/ 1014 h 1136"/>
                <a:gd name="T28" fmla="*/ 29 w 1965"/>
                <a:gd name="T29" fmla="*/ 964 h 1136"/>
                <a:gd name="T30" fmla="*/ 9 w 1965"/>
                <a:gd name="T31" fmla="*/ 909 h 1136"/>
                <a:gd name="T32" fmla="*/ 0 w 1965"/>
                <a:gd name="T33" fmla="*/ 848 h 1136"/>
                <a:gd name="T34" fmla="*/ 1 w 1965"/>
                <a:gd name="T35" fmla="*/ 801 h 1136"/>
                <a:gd name="T36" fmla="*/ 14 w 1965"/>
                <a:gd name="T37" fmla="*/ 742 h 1136"/>
                <a:gd name="T38" fmla="*/ 36 w 1965"/>
                <a:gd name="T39" fmla="*/ 688 h 1136"/>
                <a:gd name="T40" fmla="*/ 69 w 1965"/>
                <a:gd name="T41" fmla="*/ 639 h 1136"/>
                <a:gd name="T42" fmla="*/ 110 w 1965"/>
                <a:gd name="T43" fmla="*/ 597 h 1136"/>
                <a:gd name="T44" fmla="*/ 157 w 1965"/>
                <a:gd name="T45" fmla="*/ 564 h 1136"/>
                <a:gd name="T46" fmla="*/ 212 w 1965"/>
                <a:gd name="T47" fmla="*/ 542 h 1136"/>
                <a:gd name="T48" fmla="*/ 271 w 1965"/>
                <a:gd name="T49" fmla="*/ 529 h 1136"/>
                <a:gd name="T50" fmla="*/ 316 w 1965"/>
                <a:gd name="T51" fmla="*/ 528 h 1136"/>
                <a:gd name="T52" fmla="*/ 366 w 1965"/>
                <a:gd name="T53" fmla="*/ 519 h 1136"/>
                <a:gd name="T54" fmla="*/ 412 w 1965"/>
                <a:gd name="T55" fmla="*/ 462 h 1136"/>
                <a:gd name="T56" fmla="*/ 470 w 1965"/>
                <a:gd name="T57" fmla="*/ 421 h 1136"/>
                <a:gd name="T58" fmla="*/ 538 w 1965"/>
                <a:gd name="T59" fmla="*/ 396 h 1136"/>
                <a:gd name="T60" fmla="*/ 594 w 1965"/>
                <a:gd name="T61" fmla="*/ 390 h 1136"/>
                <a:gd name="T62" fmla="*/ 657 w 1965"/>
                <a:gd name="T63" fmla="*/ 399 h 1136"/>
                <a:gd name="T64" fmla="*/ 715 w 1965"/>
                <a:gd name="T65" fmla="*/ 420 h 1136"/>
                <a:gd name="T66" fmla="*/ 710 w 1965"/>
                <a:gd name="T67" fmla="*/ 362 h 1136"/>
                <a:gd name="T68" fmla="*/ 714 w 1965"/>
                <a:gd name="T69" fmla="*/ 307 h 1136"/>
                <a:gd name="T70" fmla="*/ 731 w 1965"/>
                <a:gd name="T71" fmla="*/ 237 h 1136"/>
                <a:gd name="T72" fmla="*/ 762 w 1965"/>
                <a:gd name="T73" fmla="*/ 174 h 1136"/>
                <a:gd name="T74" fmla="*/ 803 w 1965"/>
                <a:gd name="T75" fmla="*/ 118 h 1136"/>
                <a:gd name="T76" fmla="*/ 854 w 1965"/>
                <a:gd name="T77" fmla="*/ 71 h 1136"/>
                <a:gd name="T78" fmla="*/ 914 w 1965"/>
                <a:gd name="T79" fmla="*/ 35 h 1136"/>
                <a:gd name="T80" fmla="*/ 979 w 1965"/>
                <a:gd name="T81" fmla="*/ 11 h 1136"/>
                <a:gd name="T82" fmla="*/ 1051 w 1965"/>
                <a:gd name="T83" fmla="*/ 0 h 1136"/>
                <a:gd name="T84" fmla="*/ 1101 w 1965"/>
                <a:gd name="T85" fmla="*/ 1 h 1136"/>
                <a:gd name="T86" fmla="*/ 1187 w 1965"/>
                <a:gd name="T87" fmla="*/ 19 h 1136"/>
                <a:gd name="T88" fmla="*/ 1289 w 1965"/>
                <a:gd name="T89" fmla="*/ 76 h 1136"/>
                <a:gd name="T90" fmla="*/ 1367 w 1965"/>
                <a:gd name="T91" fmla="*/ 160 h 1136"/>
                <a:gd name="T92" fmla="*/ 1416 w 1965"/>
                <a:gd name="T93" fmla="*/ 266 h 1136"/>
                <a:gd name="T94" fmla="*/ 1496 w 1965"/>
                <a:gd name="T95" fmla="*/ 251 h 1136"/>
                <a:gd name="T96" fmla="*/ 1569 w 1965"/>
                <a:gd name="T97" fmla="*/ 253 h 1136"/>
                <a:gd name="T98" fmla="*/ 1655 w 1965"/>
                <a:gd name="T99" fmla="*/ 270 h 1136"/>
                <a:gd name="T100" fmla="*/ 1734 w 1965"/>
                <a:gd name="T101" fmla="*/ 304 h 1136"/>
                <a:gd name="T102" fmla="*/ 1804 w 1965"/>
                <a:gd name="T103" fmla="*/ 352 h 1136"/>
                <a:gd name="T104" fmla="*/ 1864 w 1965"/>
                <a:gd name="T105" fmla="*/ 411 h 1136"/>
                <a:gd name="T106" fmla="*/ 1911 w 1965"/>
                <a:gd name="T107" fmla="*/ 483 h 1136"/>
                <a:gd name="T108" fmla="*/ 1945 w 1965"/>
                <a:gd name="T109" fmla="*/ 561 h 1136"/>
                <a:gd name="T110" fmla="*/ 1963 w 1965"/>
                <a:gd name="T111" fmla="*/ 648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5" h="1136">
                  <a:moveTo>
                    <a:pt x="1965" y="694"/>
                  </a:moveTo>
                  <a:lnTo>
                    <a:pt x="1965" y="694"/>
                  </a:lnTo>
                  <a:lnTo>
                    <a:pt x="1964" y="714"/>
                  </a:lnTo>
                  <a:lnTo>
                    <a:pt x="1963" y="735"/>
                  </a:lnTo>
                  <a:lnTo>
                    <a:pt x="1961" y="756"/>
                  </a:lnTo>
                  <a:lnTo>
                    <a:pt x="1957" y="776"/>
                  </a:lnTo>
                  <a:lnTo>
                    <a:pt x="1952" y="796"/>
                  </a:lnTo>
                  <a:lnTo>
                    <a:pt x="1948" y="815"/>
                  </a:lnTo>
                  <a:lnTo>
                    <a:pt x="1942" y="835"/>
                  </a:lnTo>
                  <a:lnTo>
                    <a:pt x="1935" y="853"/>
                  </a:lnTo>
                  <a:lnTo>
                    <a:pt x="1927" y="872"/>
                  </a:lnTo>
                  <a:lnTo>
                    <a:pt x="1920" y="891"/>
                  </a:lnTo>
                  <a:lnTo>
                    <a:pt x="1910" y="908"/>
                  </a:lnTo>
                  <a:lnTo>
                    <a:pt x="1901" y="926"/>
                  </a:lnTo>
                  <a:lnTo>
                    <a:pt x="1890" y="942"/>
                  </a:lnTo>
                  <a:lnTo>
                    <a:pt x="1878" y="959"/>
                  </a:lnTo>
                  <a:lnTo>
                    <a:pt x="1867" y="973"/>
                  </a:lnTo>
                  <a:lnTo>
                    <a:pt x="1854" y="989"/>
                  </a:lnTo>
                  <a:lnTo>
                    <a:pt x="1840" y="1003"/>
                  </a:lnTo>
                  <a:lnTo>
                    <a:pt x="1827" y="1017"/>
                  </a:lnTo>
                  <a:lnTo>
                    <a:pt x="1812" y="1031"/>
                  </a:lnTo>
                  <a:lnTo>
                    <a:pt x="1797" y="1044"/>
                  </a:lnTo>
                  <a:lnTo>
                    <a:pt x="1781" y="1055"/>
                  </a:lnTo>
                  <a:lnTo>
                    <a:pt x="1765" y="1067"/>
                  </a:lnTo>
                  <a:lnTo>
                    <a:pt x="1748" y="1078"/>
                  </a:lnTo>
                  <a:lnTo>
                    <a:pt x="1732" y="1087"/>
                  </a:lnTo>
                  <a:lnTo>
                    <a:pt x="1715" y="1097"/>
                  </a:lnTo>
                  <a:lnTo>
                    <a:pt x="1696" y="1104"/>
                  </a:lnTo>
                  <a:lnTo>
                    <a:pt x="1678" y="1112"/>
                  </a:lnTo>
                  <a:lnTo>
                    <a:pt x="1659" y="1119"/>
                  </a:lnTo>
                  <a:lnTo>
                    <a:pt x="1640" y="1124"/>
                  </a:lnTo>
                  <a:lnTo>
                    <a:pt x="1621" y="1130"/>
                  </a:lnTo>
                  <a:lnTo>
                    <a:pt x="1601" y="1134"/>
                  </a:lnTo>
                  <a:lnTo>
                    <a:pt x="1580" y="1136"/>
                  </a:lnTo>
                  <a:lnTo>
                    <a:pt x="335" y="1136"/>
                  </a:lnTo>
                  <a:lnTo>
                    <a:pt x="302" y="1136"/>
                  </a:lnTo>
                  <a:lnTo>
                    <a:pt x="302" y="1136"/>
                  </a:lnTo>
                  <a:lnTo>
                    <a:pt x="286" y="1136"/>
                  </a:lnTo>
                  <a:lnTo>
                    <a:pt x="271" y="1135"/>
                  </a:lnTo>
                  <a:lnTo>
                    <a:pt x="256" y="1133"/>
                  </a:lnTo>
                  <a:lnTo>
                    <a:pt x="241" y="1131"/>
                  </a:lnTo>
                  <a:lnTo>
                    <a:pt x="226" y="1126"/>
                  </a:lnTo>
                  <a:lnTo>
                    <a:pt x="212" y="1123"/>
                  </a:lnTo>
                  <a:lnTo>
                    <a:pt x="199" y="1118"/>
                  </a:lnTo>
                  <a:lnTo>
                    <a:pt x="185" y="1113"/>
                  </a:lnTo>
                  <a:lnTo>
                    <a:pt x="171" y="1106"/>
                  </a:lnTo>
                  <a:lnTo>
                    <a:pt x="157" y="1100"/>
                  </a:lnTo>
                  <a:lnTo>
                    <a:pt x="145" y="1092"/>
                  </a:lnTo>
                  <a:lnTo>
                    <a:pt x="133" y="1084"/>
                  </a:lnTo>
                  <a:lnTo>
                    <a:pt x="121" y="1075"/>
                  </a:lnTo>
                  <a:lnTo>
                    <a:pt x="110" y="1067"/>
                  </a:lnTo>
                  <a:lnTo>
                    <a:pt x="98" y="1057"/>
                  </a:lnTo>
                  <a:lnTo>
                    <a:pt x="89" y="1048"/>
                  </a:lnTo>
                  <a:lnTo>
                    <a:pt x="78" y="1037"/>
                  </a:lnTo>
                  <a:lnTo>
                    <a:pt x="69" y="1025"/>
                  </a:lnTo>
                  <a:lnTo>
                    <a:pt x="60" y="1014"/>
                  </a:lnTo>
                  <a:lnTo>
                    <a:pt x="52" y="1002"/>
                  </a:lnTo>
                  <a:lnTo>
                    <a:pt x="43" y="989"/>
                  </a:lnTo>
                  <a:lnTo>
                    <a:pt x="36" y="977"/>
                  </a:lnTo>
                  <a:lnTo>
                    <a:pt x="29" y="964"/>
                  </a:lnTo>
                  <a:lnTo>
                    <a:pt x="23" y="950"/>
                  </a:lnTo>
                  <a:lnTo>
                    <a:pt x="18" y="936"/>
                  </a:lnTo>
                  <a:lnTo>
                    <a:pt x="14" y="922"/>
                  </a:lnTo>
                  <a:lnTo>
                    <a:pt x="9" y="909"/>
                  </a:lnTo>
                  <a:lnTo>
                    <a:pt x="5" y="894"/>
                  </a:lnTo>
                  <a:lnTo>
                    <a:pt x="3" y="879"/>
                  </a:lnTo>
                  <a:lnTo>
                    <a:pt x="1" y="863"/>
                  </a:lnTo>
                  <a:lnTo>
                    <a:pt x="0" y="848"/>
                  </a:lnTo>
                  <a:lnTo>
                    <a:pt x="0" y="832"/>
                  </a:lnTo>
                  <a:lnTo>
                    <a:pt x="0" y="832"/>
                  </a:lnTo>
                  <a:lnTo>
                    <a:pt x="0" y="816"/>
                  </a:lnTo>
                  <a:lnTo>
                    <a:pt x="1" y="801"/>
                  </a:lnTo>
                  <a:lnTo>
                    <a:pt x="3" y="785"/>
                  </a:lnTo>
                  <a:lnTo>
                    <a:pt x="5" y="770"/>
                  </a:lnTo>
                  <a:lnTo>
                    <a:pt x="9" y="757"/>
                  </a:lnTo>
                  <a:lnTo>
                    <a:pt x="14" y="742"/>
                  </a:lnTo>
                  <a:lnTo>
                    <a:pt x="18" y="728"/>
                  </a:lnTo>
                  <a:lnTo>
                    <a:pt x="23" y="714"/>
                  </a:lnTo>
                  <a:lnTo>
                    <a:pt x="29" y="700"/>
                  </a:lnTo>
                  <a:lnTo>
                    <a:pt x="36" y="688"/>
                  </a:lnTo>
                  <a:lnTo>
                    <a:pt x="43" y="675"/>
                  </a:lnTo>
                  <a:lnTo>
                    <a:pt x="52" y="662"/>
                  </a:lnTo>
                  <a:lnTo>
                    <a:pt x="60" y="650"/>
                  </a:lnTo>
                  <a:lnTo>
                    <a:pt x="69" y="639"/>
                  </a:lnTo>
                  <a:lnTo>
                    <a:pt x="78" y="628"/>
                  </a:lnTo>
                  <a:lnTo>
                    <a:pt x="89" y="617"/>
                  </a:lnTo>
                  <a:lnTo>
                    <a:pt x="98" y="607"/>
                  </a:lnTo>
                  <a:lnTo>
                    <a:pt x="110" y="597"/>
                  </a:lnTo>
                  <a:lnTo>
                    <a:pt x="121" y="589"/>
                  </a:lnTo>
                  <a:lnTo>
                    <a:pt x="133" y="580"/>
                  </a:lnTo>
                  <a:lnTo>
                    <a:pt x="145" y="572"/>
                  </a:lnTo>
                  <a:lnTo>
                    <a:pt x="157" y="564"/>
                  </a:lnTo>
                  <a:lnTo>
                    <a:pt x="171" y="558"/>
                  </a:lnTo>
                  <a:lnTo>
                    <a:pt x="185" y="552"/>
                  </a:lnTo>
                  <a:lnTo>
                    <a:pt x="199" y="546"/>
                  </a:lnTo>
                  <a:lnTo>
                    <a:pt x="212" y="542"/>
                  </a:lnTo>
                  <a:lnTo>
                    <a:pt x="226" y="538"/>
                  </a:lnTo>
                  <a:lnTo>
                    <a:pt x="241" y="535"/>
                  </a:lnTo>
                  <a:lnTo>
                    <a:pt x="256" y="531"/>
                  </a:lnTo>
                  <a:lnTo>
                    <a:pt x="271" y="529"/>
                  </a:lnTo>
                  <a:lnTo>
                    <a:pt x="286" y="528"/>
                  </a:lnTo>
                  <a:lnTo>
                    <a:pt x="302" y="528"/>
                  </a:lnTo>
                  <a:lnTo>
                    <a:pt x="302" y="528"/>
                  </a:lnTo>
                  <a:lnTo>
                    <a:pt x="316" y="528"/>
                  </a:lnTo>
                  <a:lnTo>
                    <a:pt x="331" y="529"/>
                  </a:lnTo>
                  <a:lnTo>
                    <a:pt x="358" y="534"/>
                  </a:lnTo>
                  <a:lnTo>
                    <a:pt x="358" y="534"/>
                  </a:lnTo>
                  <a:lnTo>
                    <a:pt x="366" y="519"/>
                  </a:lnTo>
                  <a:lnTo>
                    <a:pt x="377" y="503"/>
                  </a:lnTo>
                  <a:lnTo>
                    <a:pt x="388" y="489"/>
                  </a:lnTo>
                  <a:lnTo>
                    <a:pt x="399" y="475"/>
                  </a:lnTo>
                  <a:lnTo>
                    <a:pt x="412" y="462"/>
                  </a:lnTo>
                  <a:lnTo>
                    <a:pt x="426" y="451"/>
                  </a:lnTo>
                  <a:lnTo>
                    <a:pt x="439" y="440"/>
                  </a:lnTo>
                  <a:lnTo>
                    <a:pt x="454" y="430"/>
                  </a:lnTo>
                  <a:lnTo>
                    <a:pt x="470" y="421"/>
                  </a:lnTo>
                  <a:lnTo>
                    <a:pt x="486" y="413"/>
                  </a:lnTo>
                  <a:lnTo>
                    <a:pt x="503" y="406"/>
                  </a:lnTo>
                  <a:lnTo>
                    <a:pt x="520" y="401"/>
                  </a:lnTo>
                  <a:lnTo>
                    <a:pt x="538" y="396"/>
                  </a:lnTo>
                  <a:lnTo>
                    <a:pt x="557" y="393"/>
                  </a:lnTo>
                  <a:lnTo>
                    <a:pt x="575" y="391"/>
                  </a:lnTo>
                  <a:lnTo>
                    <a:pt x="594" y="390"/>
                  </a:lnTo>
                  <a:lnTo>
                    <a:pt x="594" y="390"/>
                  </a:lnTo>
                  <a:lnTo>
                    <a:pt x="611" y="391"/>
                  </a:lnTo>
                  <a:lnTo>
                    <a:pt x="626" y="392"/>
                  </a:lnTo>
                  <a:lnTo>
                    <a:pt x="642" y="395"/>
                  </a:lnTo>
                  <a:lnTo>
                    <a:pt x="657" y="399"/>
                  </a:lnTo>
                  <a:lnTo>
                    <a:pt x="672" y="403"/>
                  </a:lnTo>
                  <a:lnTo>
                    <a:pt x="687" y="408"/>
                  </a:lnTo>
                  <a:lnTo>
                    <a:pt x="701" y="413"/>
                  </a:lnTo>
                  <a:lnTo>
                    <a:pt x="715" y="420"/>
                  </a:lnTo>
                  <a:lnTo>
                    <a:pt x="715" y="420"/>
                  </a:lnTo>
                  <a:lnTo>
                    <a:pt x="711" y="391"/>
                  </a:lnTo>
                  <a:lnTo>
                    <a:pt x="710" y="376"/>
                  </a:lnTo>
                  <a:lnTo>
                    <a:pt x="710" y="362"/>
                  </a:lnTo>
                  <a:lnTo>
                    <a:pt x="710" y="362"/>
                  </a:lnTo>
                  <a:lnTo>
                    <a:pt x="710" y="343"/>
                  </a:lnTo>
                  <a:lnTo>
                    <a:pt x="711" y="325"/>
                  </a:lnTo>
                  <a:lnTo>
                    <a:pt x="714" y="307"/>
                  </a:lnTo>
                  <a:lnTo>
                    <a:pt x="717" y="289"/>
                  </a:lnTo>
                  <a:lnTo>
                    <a:pt x="720" y="271"/>
                  </a:lnTo>
                  <a:lnTo>
                    <a:pt x="726" y="254"/>
                  </a:lnTo>
                  <a:lnTo>
                    <a:pt x="731" y="237"/>
                  </a:lnTo>
                  <a:lnTo>
                    <a:pt x="737" y="221"/>
                  </a:lnTo>
                  <a:lnTo>
                    <a:pt x="745" y="205"/>
                  </a:lnTo>
                  <a:lnTo>
                    <a:pt x="753" y="189"/>
                  </a:lnTo>
                  <a:lnTo>
                    <a:pt x="762" y="174"/>
                  </a:lnTo>
                  <a:lnTo>
                    <a:pt x="771" y="160"/>
                  </a:lnTo>
                  <a:lnTo>
                    <a:pt x="781" y="146"/>
                  </a:lnTo>
                  <a:lnTo>
                    <a:pt x="791" y="132"/>
                  </a:lnTo>
                  <a:lnTo>
                    <a:pt x="803" y="118"/>
                  </a:lnTo>
                  <a:lnTo>
                    <a:pt x="814" y="105"/>
                  </a:lnTo>
                  <a:lnTo>
                    <a:pt x="827" y="94"/>
                  </a:lnTo>
                  <a:lnTo>
                    <a:pt x="841" y="82"/>
                  </a:lnTo>
                  <a:lnTo>
                    <a:pt x="854" y="71"/>
                  </a:lnTo>
                  <a:lnTo>
                    <a:pt x="868" y="62"/>
                  </a:lnTo>
                  <a:lnTo>
                    <a:pt x="883" y="52"/>
                  </a:lnTo>
                  <a:lnTo>
                    <a:pt x="898" y="44"/>
                  </a:lnTo>
                  <a:lnTo>
                    <a:pt x="914" y="35"/>
                  </a:lnTo>
                  <a:lnTo>
                    <a:pt x="930" y="28"/>
                  </a:lnTo>
                  <a:lnTo>
                    <a:pt x="945" y="21"/>
                  </a:lnTo>
                  <a:lnTo>
                    <a:pt x="962" y="16"/>
                  </a:lnTo>
                  <a:lnTo>
                    <a:pt x="979" y="11"/>
                  </a:lnTo>
                  <a:lnTo>
                    <a:pt x="997" y="8"/>
                  </a:lnTo>
                  <a:lnTo>
                    <a:pt x="1015" y="4"/>
                  </a:lnTo>
                  <a:lnTo>
                    <a:pt x="1033" y="1"/>
                  </a:lnTo>
                  <a:lnTo>
                    <a:pt x="1051" y="0"/>
                  </a:lnTo>
                  <a:lnTo>
                    <a:pt x="1070" y="0"/>
                  </a:lnTo>
                  <a:lnTo>
                    <a:pt x="1070" y="0"/>
                  </a:lnTo>
                  <a:lnTo>
                    <a:pt x="1085" y="0"/>
                  </a:lnTo>
                  <a:lnTo>
                    <a:pt x="1101" y="1"/>
                  </a:lnTo>
                  <a:lnTo>
                    <a:pt x="1116" y="2"/>
                  </a:lnTo>
                  <a:lnTo>
                    <a:pt x="1130" y="4"/>
                  </a:lnTo>
                  <a:lnTo>
                    <a:pt x="1159" y="11"/>
                  </a:lnTo>
                  <a:lnTo>
                    <a:pt x="1187" y="19"/>
                  </a:lnTo>
                  <a:lnTo>
                    <a:pt x="1215" y="31"/>
                  </a:lnTo>
                  <a:lnTo>
                    <a:pt x="1240" y="44"/>
                  </a:lnTo>
                  <a:lnTo>
                    <a:pt x="1266" y="59"/>
                  </a:lnTo>
                  <a:lnTo>
                    <a:pt x="1289" y="76"/>
                  </a:lnTo>
                  <a:lnTo>
                    <a:pt x="1311" y="94"/>
                  </a:lnTo>
                  <a:lnTo>
                    <a:pt x="1331" y="114"/>
                  </a:lnTo>
                  <a:lnTo>
                    <a:pt x="1350" y="136"/>
                  </a:lnTo>
                  <a:lnTo>
                    <a:pt x="1367" y="160"/>
                  </a:lnTo>
                  <a:lnTo>
                    <a:pt x="1382" y="184"/>
                  </a:lnTo>
                  <a:lnTo>
                    <a:pt x="1396" y="211"/>
                  </a:lnTo>
                  <a:lnTo>
                    <a:pt x="1406" y="237"/>
                  </a:lnTo>
                  <a:lnTo>
                    <a:pt x="1416" y="266"/>
                  </a:lnTo>
                  <a:lnTo>
                    <a:pt x="1416" y="266"/>
                  </a:lnTo>
                  <a:lnTo>
                    <a:pt x="1442" y="259"/>
                  </a:lnTo>
                  <a:lnTo>
                    <a:pt x="1468" y="254"/>
                  </a:lnTo>
                  <a:lnTo>
                    <a:pt x="1496" y="251"/>
                  </a:lnTo>
                  <a:lnTo>
                    <a:pt x="1524" y="250"/>
                  </a:lnTo>
                  <a:lnTo>
                    <a:pt x="1524" y="250"/>
                  </a:lnTo>
                  <a:lnTo>
                    <a:pt x="1547" y="251"/>
                  </a:lnTo>
                  <a:lnTo>
                    <a:pt x="1569" y="253"/>
                  </a:lnTo>
                  <a:lnTo>
                    <a:pt x="1591" y="255"/>
                  </a:lnTo>
                  <a:lnTo>
                    <a:pt x="1613" y="259"/>
                  </a:lnTo>
                  <a:lnTo>
                    <a:pt x="1634" y="265"/>
                  </a:lnTo>
                  <a:lnTo>
                    <a:pt x="1655" y="270"/>
                  </a:lnTo>
                  <a:lnTo>
                    <a:pt x="1676" y="277"/>
                  </a:lnTo>
                  <a:lnTo>
                    <a:pt x="1696" y="285"/>
                  </a:lnTo>
                  <a:lnTo>
                    <a:pt x="1715" y="294"/>
                  </a:lnTo>
                  <a:lnTo>
                    <a:pt x="1734" y="304"/>
                  </a:lnTo>
                  <a:lnTo>
                    <a:pt x="1753" y="315"/>
                  </a:lnTo>
                  <a:lnTo>
                    <a:pt x="1771" y="326"/>
                  </a:lnTo>
                  <a:lnTo>
                    <a:pt x="1788" y="338"/>
                  </a:lnTo>
                  <a:lnTo>
                    <a:pt x="1804" y="352"/>
                  </a:lnTo>
                  <a:lnTo>
                    <a:pt x="1820" y="366"/>
                  </a:lnTo>
                  <a:lnTo>
                    <a:pt x="1836" y="381"/>
                  </a:lnTo>
                  <a:lnTo>
                    <a:pt x="1850" y="395"/>
                  </a:lnTo>
                  <a:lnTo>
                    <a:pt x="1864" y="411"/>
                  </a:lnTo>
                  <a:lnTo>
                    <a:pt x="1877" y="428"/>
                  </a:lnTo>
                  <a:lnTo>
                    <a:pt x="1889" y="445"/>
                  </a:lnTo>
                  <a:lnTo>
                    <a:pt x="1901" y="463"/>
                  </a:lnTo>
                  <a:lnTo>
                    <a:pt x="1911" y="483"/>
                  </a:lnTo>
                  <a:lnTo>
                    <a:pt x="1922" y="502"/>
                  </a:lnTo>
                  <a:lnTo>
                    <a:pt x="1930" y="521"/>
                  </a:lnTo>
                  <a:lnTo>
                    <a:pt x="1938" y="541"/>
                  </a:lnTo>
                  <a:lnTo>
                    <a:pt x="1945" y="561"/>
                  </a:lnTo>
                  <a:lnTo>
                    <a:pt x="1951" y="582"/>
                  </a:lnTo>
                  <a:lnTo>
                    <a:pt x="1955" y="604"/>
                  </a:lnTo>
                  <a:lnTo>
                    <a:pt x="1960" y="626"/>
                  </a:lnTo>
                  <a:lnTo>
                    <a:pt x="1963" y="648"/>
                  </a:lnTo>
                  <a:lnTo>
                    <a:pt x="1964" y="671"/>
                  </a:lnTo>
                  <a:lnTo>
                    <a:pt x="1965" y="694"/>
                  </a:lnTo>
                </a:path>
              </a:pathLst>
            </a:custGeom>
            <a:grp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725" name="Group 724"/>
            <p:cNvGrpSpPr/>
            <p:nvPr/>
          </p:nvGrpSpPr>
          <p:grpSpPr>
            <a:xfrm>
              <a:off x="9958162" y="3842127"/>
              <a:ext cx="131264" cy="64413"/>
              <a:chOff x="9930806" y="3846035"/>
              <a:chExt cx="131264" cy="64413"/>
            </a:xfrm>
            <a:grpFill/>
          </p:grpSpPr>
          <p:cxnSp>
            <p:nvCxnSpPr>
              <p:cNvPr id="726" name="Straight Connector 725"/>
              <p:cNvCxnSpPr/>
              <p:nvPr/>
            </p:nvCxnSpPr>
            <p:spPr>
              <a:xfrm flipH="1">
                <a:off x="99308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7" name="Straight Connector 726"/>
              <p:cNvCxnSpPr/>
              <p:nvPr/>
            </p:nvCxnSpPr>
            <p:spPr>
              <a:xfrm flipH="1">
                <a:off x="9964673"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8" name="Straight Connector 727"/>
              <p:cNvCxnSpPr/>
              <p:nvPr/>
            </p:nvCxnSpPr>
            <p:spPr>
              <a:xfrm flipH="1">
                <a:off x="9998540"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9" name="Straight Connector 728"/>
              <p:cNvCxnSpPr/>
              <p:nvPr/>
            </p:nvCxnSpPr>
            <p:spPr>
              <a:xfrm flipH="1">
                <a:off x="100324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grpSp>
      </p:grpSp>
      <p:cxnSp>
        <p:nvCxnSpPr>
          <p:cNvPr id="730" name="Straight Connector 729"/>
          <p:cNvCxnSpPr/>
          <p:nvPr/>
        </p:nvCxnSpPr>
        <p:spPr>
          <a:xfrm flipH="1" flipV="1">
            <a:off x="4448044" y="2038453"/>
            <a:ext cx="1494" cy="444544"/>
          </a:xfrm>
          <a:prstGeom prst="line">
            <a:avLst/>
          </a:prstGeom>
        </p:spPr>
        <p:style>
          <a:lnRef idx="1">
            <a:schemeClr val="accent1"/>
          </a:lnRef>
          <a:fillRef idx="0">
            <a:schemeClr val="accent1"/>
          </a:fillRef>
          <a:effectRef idx="0">
            <a:schemeClr val="accent1"/>
          </a:effectRef>
          <a:fontRef idx="minor">
            <a:schemeClr val="tx1"/>
          </a:fontRef>
        </p:style>
      </p:cxnSp>
      <p:sp>
        <p:nvSpPr>
          <p:cNvPr id="214" name="Isosceles Triangle 213"/>
          <p:cNvSpPr/>
          <p:nvPr/>
        </p:nvSpPr>
        <p:spPr bwMode="auto">
          <a:xfrm rot="9235787">
            <a:off x="1258525" y="3453635"/>
            <a:ext cx="330989" cy="1106075"/>
          </a:xfrm>
          <a:prstGeom prst="triangle">
            <a:avLst/>
          </a:pr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0" name="Isosceles Triangle 767"/>
          <p:cNvSpPr/>
          <p:nvPr/>
        </p:nvSpPr>
        <p:spPr bwMode="auto">
          <a:xfrm rot="11042653">
            <a:off x="1677579" y="3350719"/>
            <a:ext cx="303100" cy="1230648"/>
          </a:xfrm>
          <a:custGeom>
            <a:avLst/>
            <a:gdLst>
              <a:gd name="connsiteX0" fmla="*/ 0 w 279851"/>
              <a:gd name="connsiteY0" fmla="*/ 1621147 h 1621147"/>
              <a:gd name="connsiteX1" fmla="*/ 139926 w 279851"/>
              <a:gd name="connsiteY1" fmla="*/ 0 h 1621147"/>
              <a:gd name="connsiteX2" fmla="*/ 279851 w 279851"/>
              <a:gd name="connsiteY2" fmla="*/ 1621147 h 1621147"/>
              <a:gd name="connsiteX3" fmla="*/ 0 w 279851"/>
              <a:gd name="connsiteY3" fmla="*/ 1621147 h 1621147"/>
              <a:gd name="connsiteX0" fmla="*/ 0 w 349062"/>
              <a:gd name="connsiteY0" fmla="*/ 1621147 h 1621147"/>
              <a:gd name="connsiteX1" fmla="*/ 139926 w 349062"/>
              <a:gd name="connsiteY1" fmla="*/ 0 h 1621147"/>
              <a:gd name="connsiteX2" fmla="*/ 349062 w 349062"/>
              <a:gd name="connsiteY2" fmla="*/ 1125328 h 1621147"/>
              <a:gd name="connsiteX3" fmla="*/ 0 w 349062"/>
              <a:gd name="connsiteY3" fmla="*/ 1621147 h 1621147"/>
              <a:gd name="connsiteX0" fmla="*/ 0 w 663406"/>
              <a:gd name="connsiteY0" fmla="*/ 1230648 h 1230648"/>
              <a:gd name="connsiteX1" fmla="*/ 454270 w 663406"/>
              <a:gd name="connsiteY1" fmla="*/ 0 h 1230648"/>
              <a:gd name="connsiteX2" fmla="*/ 663406 w 663406"/>
              <a:gd name="connsiteY2" fmla="*/ 1125328 h 1230648"/>
              <a:gd name="connsiteX3" fmla="*/ 0 w 663406"/>
              <a:gd name="connsiteY3" fmla="*/ 1230648 h 1230648"/>
            </a:gdLst>
            <a:ahLst/>
            <a:cxnLst>
              <a:cxn ang="0">
                <a:pos x="connsiteX0" y="connsiteY0"/>
              </a:cxn>
              <a:cxn ang="0">
                <a:pos x="connsiteX1" y="connsiteY1"/>
              </a:cxn>
              <a:cxn ang="0">
                <a:pos x="connsiteX2" y="connsiteY2"/>
              </a:cxn>
              <a:cxn ang="0">
                <a:pos x="connsiteX3" y="connsiteY3"/>
              </a:cxn>
            </a:cxnLst>
            <a:rect l="l" t="t" r="r" b="b"/>
            <a:pathLst>
              <a:path w="663406" h="1230648">
                <a:moveTo>
                  <a:pt x="0" y="1230648"/>
                </a:moveTo>
                <a:lnTo>
                  <a:pt x="454270" y="0"/>
                </a:lnTo>
                <a:lnTo>
                  <a:pt x="663406" y="1125328"/>
                </a:lnTo>
                <a:lnTo>
                  <a:pt x="0" y="1230648"/>
                </a:lnTo>
                <a:close/>
              </a:path>
            </a:pathLst>
          </a:cu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1" name="Rectangle 230"/>
          <p:cNvSpPr/>
          <p:nvPr/>
        </p:nvSpPr>
        <p:spPr bwMode="auto">
          <a:xfrm>
            <a:off x="1616294" y="2921388"/>
            <a:ext cx="865314" cy="556206"/>
          </a:xfrm>
          <a:prstGeom prst="rect">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w="3175">
                <a:noFill/>
              </a:ln>
              <a:solidFill>
                <a:srgbClr val="00BCF2"/>
              </a:solidFill>
              <a:effectLst/>
              <a:uLnTx/>
              <a:uFillTx/>
              <a:cs typeface="Arial" charset="0"/>
            </a:endParaRPr>
          </a:p>
        </p:txBody>
      </p:sp>
      <p:sp>
        <p:nvSpPr>
          <p:cNvPr id="232" name="Rectangle 231"/>
          <p:cNvSpPr/>
          <p:nvPr/>
        </p:nvSpPr>
        <p:spPr bwMode="auto">
          <a:xfrm>
            <a:off x="1628379" y="3239557"/>
            <a:ext cx="843704" cy="95780"/>
          </a:xfrm>
          <a:prstGeom prst="rect">
            <a:avLst/>
          </a:prstGeom>
          <a:solidFill>
            <a:schemeClr val="accent1">
              <a:lumMod val="50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82" name="Group 281"/>
          <p:cNvGrpSpPr/>
          <p:nvPr/>
        </p:nvGrpSpPr>
        <p:grpSpPr>
          <a:xfrm>
            <a:off x="323467" y="4232618"/>
            <a:ext cx="465667" cy="558803"/>
            <a:chOff x="298979" y="4455739"/>
            <a:chExt cx="465667" cy="558803"/>
          </a:xfrm>
        </p:grpSpPr>
        <p:sp>
          <p:nvSpPr>
            <p:cNvPr id="283" name="Isosceles Triangle 2662"/>
            <p:cNvSpPr/>
            <p:nvPr/>
          </p:nvSpPr>
          <p:spPr bwMode="auto">
            <a:xfrm rot="9000000">
              <a:off x="298979" y="4455739"/>
              <a:ext cx="465667" cy="558803"/>
            </a:xfrm>
            <a:custGeom>
              <a:avLst/>
              <a:gdLst/>
              <a:ahLst/>
              <a:cxnLst/>
              <a:rect l="l" t="t" r="r" b="b"/>
              <a:pathLst>
                <a:path w="384849" h="461821">
                  <a:moveTo>
                    <a:pt x="108837" y="430605"/>
                  </a:moveTo>
                  <a:cubicBezTo>
                    <a:pt x="13141" y="375355"/>
                    <a:pt x="-27012" y="265747"/>
                    <a:pt x="19152" y="185788"/>
                  </a:cubicBezTo>
                  <a:cubicBezTo>
                    <a:pt x="38669" y="151983"/>
                    <a:pt x="70490" y="128891"/>
                    <a:pt x="108806" y="120511"/>
                  </a:cubicBezTo>
                  <a:lnTo>
                    <a:pt x="163813" y="0"/>
                  </a:lnTo>
                  <a:lnTo>
                    <a:pt x="218403" y="119596"/>
                  </a:lnTo>
                  <a:cubicBezTo>
                    <a:pt x="238305" y="122507"/>
                    <a:pt x="257519" y="130372"/>
                    <a:pt x="276012" y="141049"/>
                  </a:cubicBezTo>
                  <a:cubicBezTo>
                    <a:pt x="371708" y="196299"/>
                    <a:pt x="411861" y="305908"/>
                    <a:pt x="365697" y="385866"/>
                  </a:cubicBezTo>
                  <a:cubicBezTo>
                    <a:pt x="319533" y="465825"/>
                    <a:pt x="204533" y="485855"/>
                    <a:pt x="108837" y="430605"/>
                  </a:cubicBezTo>
                  <a:close/>
                </a:path>
              </a:pathLst>
            </a:custGeom>
            <a:solidFill>
              <a:schemeClr val="tx1"/>
            </a:solidFill>
            <a:ln>
              <a:solidFill>
                <a:srgbClr val="008D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45720" bIns="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w="3175">
                  <a:noFill/>
                </a:ln>
                <a:solidFill>
                  <a:srgbClr val="8DC548"/>
                </a:solidFill>
                <a:effectLst/>
                <a:uLnTx/>
                <a:uFillTx/>
                <a:latin typeface="Arial" pitchFamily="34" charset="0"/>
                <a:cs typeface="Arial" pitchFamily="34" charset="0"/>
              </a:endParaRPr>
            </a:p>
          </p:txBody>
        </p:sp>
        <p:grpSp>
          <p:nvGrpSpPr>
            <p:cNvPr id="284" name="Group 283"/>
            <p:cNvGrpSpPr/>
            <p:nvPr/>
          </p:nvGrpSpPr>
          <p:grpSpPr>
            <a:xfrm>
              <a:off x="396918" y="4528714"/>
              <a:ext cx="202711" cy="279095"/>
              <a:chOff x="6038850" y="1693544"/>
              <a:chExt cx="525780" cy="723902"/>
            </a:xfrm>
            <a:solidFill>
              <a:schemeClr val="accent1"/>
            </a:solidFill>
          </p:grpSpPr>
          <p:sp>
            <p:nvSpPr>
              <p:cNvPr id="285" name="Freeform 396"/>
              <p:cNvSpPr>
                <a:spLocks noEditPoints="1"/>
              </p:cNvSpPr>
              <p:nvPr/>
            </p:nvSpPr>
            <p:spPr bwMode="auto">
              <a:xfrm>
                <a:off x="6038850" y="1693544"/>
                <a:ext cx="525780" cy="723900"/>
              </a:xfrm>
              <a:custGeom>
                <a:avLst/>
                <a:gdLst>
                  <a:gd name="T0" fmla="*/ 22 w 553"/>
                  <a:gd name="T1" fmla="*/ 94 h 760"/>
                  <a:gd name="T2" fmla="*/ 43 w 553"/>
                  <a:gd name="T3" fmla="*/ 100 h 760"/>
                  <a:gd name="T4" fmla="*/ 139 w 553"/>
                  <a:gd name="T5" fmla="*/ 202 h 760"/>
                  <a:gd name="T6" fmla="*/ 131 w 553"/>
                  <a:gd name="T7" fmla="*/ 225 h 760"/>
                  <a:gd name="T8" fmla="*/ 113 w 553"/>
                  <a:gd name="T9" fmla="*/ 233 h 760"/>
                  <a:gd name="T10" fmla="*/ 6 w 553"/>
                  <a:gd name="T11" fmla="*/ 136 h 760"/>
                  <a:gd name="T12" fmla="*/ 0 w 553"/>
                  <a:gd name="T13" fmla="*/ 119 h 760"/>
                  <a:gd name="T14" fmla="*/ 276 w 553"/>
                  <a:gd name="T15" fmla="*/ 0 h 760"/>
                  <a:gd name="T16" fmla="*/ 295 w 553"/>
                  <a:gd name="T17" fmla="*/ 6 h 760"/>
                  <a:gd name="T18" fmla="*/ 304 w 553"/>
                  <a:gd name="T19" fmla="*/ 149 h 760"/>
                  <a:gd name="T20" fmla="*/ 297 w 553"/>
                  <a:gd name="T21" fmla="*/ 166 h 760"/>
                  <a:gd name="T22" fmla="*/ 278 w 553"/>
                  <a:gd name="T23" fmla="*/ 173 h 760"/>
                  <a:gd name="T24" fmla="*/ 257 w 553"/>
                  <a:gd name="T25" fmla="*/ 163 h 760"/>
                  <a:gd name="T26" fmla="*/ 251 w 553"/>
                  <a:gd name="T27" fmla="*/ 23 h 760"/>
                  <a:gd name="T28" fmla="*/ 262 w 553"/>
                  <a:gd name="T29" fmla="*/ 4 h 760"/>
                  <a:gd name="T30" fmla="*/ 545 w 553"/>
                  <a:gd name="T31" fmla="*/ 102 h 760"/>
                  <a:gd name="T32" fmla="*/ 553 w 553"/>
                  <a:gd name="T33" fmla="*/ 124 h 760"/>
                  <a:gd name="T34" fmla="*/ 457 w 553"/>
                  <a:gd name="T35" fmla="*/ 227 h 760"/>
                  <a:gd name="T36" fmla="*/ 435 w 553"/>
                  <a:gd name="T37" fmla="*/ 232 h 760"/>
                  <a:gd name="T38" fmla="*/ 418 w 553"/>
                  <a:gd name="T39" fmla="*/ 221 h 760"/>
                  <a:gd name="T40" fmla="*/ 415 w 553"/>
                  <a:gd name="T41" fmla="*/ 198 h 760"/>
                  <a:gd name="T42" fmla="*/ 514 w 553"/>
                  <a:gd name="T43" fmla="*/ 97 h 760"/>
                  <a:gd name="T44" fmla="*/ 537 w 553"/>
                  <a:gd name="T45" fmla="*/ 96 h 760"/>
                  <a:gd name="T46" fmla="*/ 364 w 553"/>
                  <a:gd name="T47" fmla="*/ 627 h 760"/>
                  <a:gd name="T48" fmla="*/ 350 w 553"/>
                  <a:gd name="T49" fmla="*/ 646 h 760"/>
                  <a:gd name="T50" fmla="*/ 209 w 553"/>
                  <a:gd name="T51" fmla="*/ 647 h 760"/>
                  <a:gd name="T52" fmla="*/ 192 w 553"/>
                  <a:gd name="T53" fmla="*/ 632 h 760"/>
                  <a:gd name="T54" fmla="*/ 192 w 553"/>
                  <a:gd name="T55" fmla="*/ 612 h 760"/>
                  <a:gd name="T56" fmla="*/ 209 w 553"/>
                  <a:gd name="T57" fmla="*/ 596 h 760"/>
                  <a:gd name="T58" fmla="*/ 350 w 553"/>
                  <a:gd name="T59" fmla="*/ 597 h 760"/>
                  <a:gd name="T60" fmla="*/ 364 w 553"/>
                  <a:gd name="T61" fmla="*/ 617 h 760"/>
                  <a:gd name="T62" fmla="*/ 363 w 553"/>
                  <a:gd name="T63" fmla="*/ 701 h 760"/>
                  <a:gd name="T64" fmla="*/ 346 w 553"/>
                  <a:gd name="T65" fmla="*/ 717 h 760"/>
                  <a:gd name="T66" fmla="*/ 205 w 553"/>
                  <a:gd name="T67" fmla="*/ 715 h 760"/>
                  <a:gd name="T68" fmla="*/ 191 w 553"/>
                  <a:gd name="T69" fmla="*/ 696 h 760"/>
                  <a:gd name="T70" fmla="*/ 194 w 553"/>
                  <a:gd name="T71" fmla="*/ 677 h 760"/>
                  <a:gd name="T72" fmla="*/ 214 w 553"/>
                  <a:gd name="T73" fmla="*/ 665 h 760"/>
                  <a:gd name="T74" fmla="*/ 354 w 553"/>
                  <a:gd name="T75" fmla="*/ 670 h 760"/>
                  <a:gd name="T76" fmla="*/ 364 w 553"/>
                  <a:gd name="T77" fmla="*/ 691 h 760"/>
                  <a:gd name="T78" fmla="*/ 258 w 553"/>
                  <a:gd name="T79" fmla="*/ 756 h 760"/>
                  <a:gd name="T80" fmla="*/ 229 w 553"/>
                  <a:gd name="T81" fmla="*/ 734 h 760"/>
                  <a:gd name="T82" fmla="*/ 308 w 553"/>
                  <a:gd name="T83" fmla="*/ 750 h 760"/>
                  <a:gd name="T84" fmla="*/ 277 w 553"/>
                  <a:gd name="T85" fmla="*/ 760 h 760"/>
                  <a:gd name="T86" fmla="*/ 165 w 553"/>
                  <a:gd name="T87" fmla="*/ 555 h 760"/>
                  <a:gd name="T88" fmla="*/ 124 w 553"/>
                  <a:gd name="T89" fmla="*/ 512 h 760"/>
                  <a:gd name="T90" fmla="*/ 99 w 553"/>
                  <a:gd name="T91" fmla="*/ 457 h 760"/>
                  <a:gd name="T92" fmla="*/ 92 w 553"/>
                  <a:gd name="T93" fmla="*/ 408 h 760"/>
                  <a:gd name="T94" fmla="*/ 115 w 553"/>
                  <a:gd name="T95" fmla="*/ 319 h 760"/>
                  <a:gd name="T96" fmla="*/ 174 w 553"/>
                  <a:gd name="T97" fmla="*/ 254 h 760"/>
                  <a:gd name="T98" fmla="*/ 259 w 553"/>
                  <a:gd name="T99" fmla="*/ 223 h 760"/>
                  <a:gd name="T100" fmla="*/ 333 w 553"/>
                  <a:gd name="T101" fmla="*/ 231 h 760"/>
                  <a:gd name="T102" fmla="*/ 408 w 553"/>
                  <a:gd name="T103" fmla="*/ 277 h 760"/>
                  <a:gd name="T104" fmla="*/ 455 w 553"/>
                  <a:gd name="T105" fmla="*/ 352 h 760"/>
                  <a:gd name="T106" fmla="*/ 463 w 553"/>
                  <a:gd name="T107" fmla="*/ 421 h 760"/>
                  <a:gd name="T108" fmla="*/ 448 w 553"/>
                  <a:gd name="T109" fmla="*/ 480 h 760"/>
                  <a:gd name="T110" fmla="*/ 416 w 553"/>
                  <a:gd name="T111" fmla="*/ 531 h 760"/>
                  <a:gd name="T112" fmla="*/ 370 w 553"/>
                  <a:gd name="T113" fmla="*/ 568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760">
                    <a:moveTo>
                      <a:pt x="8" y="102"/>
                    </a:moveTo>
                    <a:lnTo>
                      <a:pt x="8" y="102"/>
                    </a:lnTo>
                    <a:lnTo>
                      <a:pt x="12" y="98"/>
                    </a:lnTo>
                    <a:lnTo>
                      <a:pt x="16" y="96"/>
                    </a:lnTo>
                    <a:lnTo>
                      <a:pt x="22" y="94"/>
                    </a:lnTo>
                    <a:lnTo>
                      <a:pt x="27" y="93"/>
                    </a:lnTo>
                    <a:lnTo>
                      <a:pt x="31" y="94"/>
                    </a:lnTo>
                    <a:lnTo>
                      <a:pt x="36" y="95"/>
                    </a:lnTo>
                    <a:lnTo>
                      <a:pt x="40" y="97"/>
                    </a:lnTo>
                    <a:lnTo>
                      <a:pt x="43" y="100"/>
                    </a:lnTo>
                    <a:lnTo>
                      <a:pt x="133" y="190"/>
                    </a:lnTo>
                    <a:lnTo>
                      <a:pt x="133" y="190"/>
                    </a:lnTo>
                    <a:lnTo>
                      <a:pt x="136" y="194"/>
                    </a:lnTo>
                    <a:lnTo>
                      <a:pt x="138" y="198"/>
                    </a:lnTo>
                    <a:lnTo>
                      <a:pt x="139" y="202"/>
                    </a:lnTo>
                    <a:lnTo>
                      <a:pt x="139" y="207"/>
                    </a:lnTo>
                    <a:lnTo>
                      <a:pt x="138" y="212"/>
                    </a:lnTo>
                    <a:lnTo>
                      <a:pt x="137" y="216"/>
                    </a:lnTo>
                    <a:lnTo>
                      <a:pt x="134" y="221"/>
                    </a:lnTo>
                    <a:lnTo>
                      <a:pt x="131" y="225"/>
                    </a:lnTo>
                    <a:lnTo>
                      <a:pt x="131" y="225"/>
                    </a:lnTo>
                    <a:lnTo>
                      <a:pt x="127" y="228"/>
                    </a:lnTo>
                    <a:lnTo>
                      <a:pt x="123" y="231"/>
                    </a:lnTo>
                    <a:lnTo>
                      <a:pt x="118" y="232"/>
                    </a:lnTo>
                    <a:lnTo>
                      <a:pt x="113" y="233"/>
                    </a:lnTo>
                    <a:lnTo>
                      <a:pt x="109" y="233"/>
                    </a:lnTo>
                    <a:lnTo>
                      <a:pt x="104" y="232"/>
                    </a:lnTo>
                    <a:lnTo>
                      <a:pt x="100" y="230"/>
                    </a:lnTo>
                    <a:lnTo>
                      <a:pt x="96" y="227"/>
                    </a:lnTo>
                    <a:lnTo>
                      <a:pt x="6" y="136"/>
                    </a:lnTo>
                    <a:lnTo>
                      <a:pt x="6" y="136"/>
                    </a:lnTo>
                    <a:lnTo>
                      <a:pt x="3" y="133"/>
                    </a:lnTo>
                    <a:lnTo>
                      <a:pt x="1" y="129"/>
                    </a:lnTo>
                    <a:lnTo>
                      <a:pt x="0" y="124"/>
                    </a:lnTo>
                    <a:lnTo>
                      <a:pt x="0" y="119"/>
                    </a:lnTo>
                    <a:lnTo>
                      <a:pt x="0" y="115"/>
                    </a:lnTo>
                    <a:lnTo>
                      <a:pt x="2" y="110"/>
                    </a:lnTo>
                    <a:lnTo>
                      <a:pt x="4" y="106"/>
                    </a:lnTo>
                    <a:lnTo>
                      <a:pt x="8" y="102"/>
                    </a:lnTo>
                    <a:close/>
                    <a:moveTo>
                      <a:pt x="276" y="0"/>
                    </a:moveTo>
                    <a:lnTo>
                      <a:pt x="276" y="0"/>
                    </a:lnTo>
                    <a:lnTo>
                      <a:pt x="282" y="0"/>
                    </a:lnTo>
                    <a:lnTo>
                      <a:pt x="287" y="1"/>
                    </a:lnTo>
                    <a:lnTo>
                      <a:pt x="291" y="3"/>
                    </a:lnTo>
                    <a:lnTo>
                      <a:pt x="295" y="6"/>
                    </a:lnTo>
                    <a:lnTo>
                      <a:pt x="298" y="10"/>
                    </a:lnTo>
                    <a:lnTo>
                      <a:pt x="300" y="13"/>
                    </a:lnTo>
                    <a:lnTo>
                      <a:pt x="302" y="18"/>
                    </a:lnTo>
                    <a:lnTo>
                      <a:pt x="303" y="22"/>
                    </a:lnTo>
                    <a:lnTo>
                      <a:pt x="304" y="149"/>
                    </a:lnTo>
                    <a:lnTo>
                      <a:pt x="304" y="149"/>
                    </a:lnTo>
                    <a:lnTo>
                      <a:pt x="304" y="154"/>
                    </a:lnTo>
                    <a:lnTo>
                      <a:pt x="302" y="158"/>
                    </a:lnTo>
                    <a:lnTo>
                      <a:pt x="300" y="162"/>
                    </a:lnTo>
                    <a:lnTo>
                      <a:pt x="297" y="166"/>
                    </a:lnTo>
                    <a:lnTo>
                      <a:pt x="293" y="168"/>
                    </a:lnTo>
                    <a:lnTo>
                      <a:pt x="288" y="171"/>
                    </a:lnTo>
                    <a:lnTo>
                      <a:pt x="284" y="172"/>
                    </a:lnTo>
                    <a:lnTo>
                      <a:pt x="278" y="173"/>
                    </a:lnTo>
                    <a:lnTo>
                      <a:pt x="278" y="173"/>
                    </a:lnTo>
                    <a:lnTo>
                      <a:pt x="273" y="172"/>
                    </a:lnTo>
                    <a:lnTo>
                      <a:pt x="268" y="171"/>
                    </a:lnTo>
                    <a:lnTo>
                      <a:pt x="264" y="169"/>
                    </a:lnTo>
                    <a:lnTo>
                      <a:pt x="260" y="166"/>
                    </a:lnTo>
                    <a:lnTo>
                      <a:pt x="257" y="163"/>
                    </a:lnTo>
                    <a:lnTo>
                      <a:pt x="254" y="159"/>
                    </a:lnTo>
                    <a:lnTo>
                      <a:pt x="253" y="154"/>
                    </a:lnTo>
                    <a:lnTo>
                      <a:pt x="252" y="150"/>
                    </a:lnTo>
                    <a:lnTo>
                      <a:pt x="251" y="23"/>
                    </a:lnTo>
                    <a:lnTo>
                      <a:pt x="251" y="23"/>
                    </a:lnTo>
                    <a:lnTo>
                      <a:pt x="251" y="18"/>
                    </a:lnTo>
                    <a:lnTo>
                      <a:pt x="253" y="14"/>
                    </a:lnTo>
                    <a:lnTo>
                      <a:pt x="255" y="10"/>
                    </a:lnTo>
                    <a:lnTo>
                      <a:pt x="258" y="7"/>
                    </a:lnTo>
                    <a:lnTo>
                      <a:pt x="262" y="4"/>
                    </a:lnTo>
                    <a:lnTo>
                      <a:pt x="266" y="2"/>
                    </a:lnTo>
                    <a:lnTo>
                      <a:pt x="271" y="0"/>
                    </a:lnTo>
                    <a:lnTo>
                      <a:pt x="276" y="0"/>
                    </a:lnTo>
                    <a:close/>
                    <a:moveTo>
                      <a:pt x="545" y="102"/>
                    </a:moveTo>
                    <a:lnTo>
                      <a:pt x="545" y="102"/>
                    </a:lnTo>
                    <a:lnTo>
                      <a:pt x="548" y="106"/>
                    </a:lnTo>
                    <a:lnTo>
                      <a:pt x="551" y="110"/>
                    </a:lnTo>
                    <a:lnTo>
                      <a:pt x="552" y="115"/>
                    </a:lnTo>
                    <a:lnTo>
                      <a:pt x="553" y="119"/>
                    </a:lnTo>
                    <a:lnTo>
                      <a:pt x="553" y="124"/>
                    </a:lnTo>
                    <a:lnTo>
                      <a:pt x="552" y="129"/>
                    </a:lnTo>
                    <a:lnTo>
                      <a:pt x="550" y="133"/>
                    </a:lnTo>
                    <a:lnTo>
                      <a:pt x="547" y="136"/>
                    </a:lnTo>
                    <a:lnTo>
                      <a:pt x="457" y="227"/>
                    </a:lnTo>
                    <a:lnTo>
                      <a:pt x="457" y="227"/>
                    </a:lnTo>
                    <a:lnTo>
                      <a:pt x="454" y="230"/>
                    </a:lnTo>
                    <a:lnTo>
                      <a:pt x="449" y="232"/>
                    </a:lnTo>
                    <a:lnTo>
                      <a:pt x="444" y="233"/>
                    </a:lnTo>
                    <a:lnTo>
                      <a:pt x="439" y="233"/>
                    </a:lnTo>
                    <a:lnTo>
                      <a:pt x="435" y="232"/>
                    </a:lnTo>
                    <a:lnTo>
                      <a:pt x="430" y="231"/>
                    </a:lnTo>
                    <a:lnTo>
                      <a:pt x="426" y="228"/>
                    </a:lnTo>
                    <a:lnTo>
                      <a:pt x="422" y="225"/>
                    </a:lnTo>
                    <a:lnTo>
                      <a:pt x="422" y="225"/>
                    </a:lnTo>
                    <a:lnTo>
                      <a:pt x="418" y="221"/>
                    </a:lnTo>
                    <a:lnTo>
                      <a:pt x="416" y="216"/>
                    </a:lnTo>
                    <a:lnTo>
                      <a:pt x="414" y="212"/>
                    </a:lnTo>
                    <a:lnTo>
                      <a:pt x="414" y="207"/>
                    </a:lnTo>
                    <a:lnTo>
                      <a:pt x="414" y="202"/>
                    </a:lnTo>
                    <a:lnTo>
                      <a:pt x="415" y="198"/>
                    </a:lnTo>
                    <a:lnTo>
                      <a:pt x="417" y="194"/>
                    </a:lnTo>
                    <a:lnTo>
                      <a:pt x="420" y="190"/>
                    </a:lnTo>
                    <a:lnTo>
                      <a:pt x="510" y="100"/>
                    </a:lnTo>
                    <a:lnTo>
                      <a:pt x="510" y="100"/>
                    </a:lnTo>
                    <a:lnTo>
                      <a:pt x="514" y="97"/>
                    </a:lnTo>
                    <a:lnTo>
                      <a:pt x="518" y="95"/>
                    </a:lnTo>
                    <a:lnTo>
                      <a:pt x="523" y="94"/>
                    </a:lnTo>
                    <a:lnTo>
                      <a:pt x="527" y="93"/>
                    </a:lnTo>
                    <a:lnTo>
                      <a:pt x="532" y="94"/>
                    </a:lnTo>
                    <a:lnTo>
                      <a:pt x="537" y="96"/>
                    </a:lnTo>
                    <a:lnTo>
                      <a:pt x="541" y="98"/>
                    </a:lnTo>
                    <a:lnTo>
                      <a:pt x="545" y="102"/>
                    </a:lnTo>
                    <a:close/>
                    <a:moveTo>
                      <a:pt x="364" y="622"/>
                    </a:moveTo>
                    <a:lnTo>
                      <a:pt x="364" y="622"/>
                    </a:lnTo>
                    <a:lnTo>
                      <a:pt x="364" y="627"/>
                    </a:lnTo>
                    <a:lnTo>
                      <a:pt x="363" y="632"/>
                    </a:lnTo>
                    <a:lnTo>
                      <a:pt x="360" y="637"/>
                    </a:lnTo>
                    <a:lnTo>
                      <a:pt x="358" y="640"/>
                    </a:lnTo>
                    <a:lnTo>
                      <a:pt x="354" y="644"/>
                    </a:lnTo>
                    <a:lnTo>
                      <a:pt x="350" y="646"/>
                    </a:lnTo>
                    <a:lnTo>
                      <a:pt x="346" y="647"/>
                    </a:lnTo>
                    <a:lnTo>
                      <a:pt x="341" y="648"/>
                    </a:lnTo>
                    <a:lnTo>
                      <a:pt x="214" y="648"/>
                    </a:lnTo>
                    <a:lnTo>
                      <a:pt x="214" y="648"/>
                    </a:lnTo>
                    <a:lnTo>
                      <a:pt x="209" y="647"/>
                    </a:lnTo>
                    <a:lnTo>
                      <a:pt x="205" y="646"/>
                    </a:lnTo>
                    <a:lnTo>
                      <a:pt x="201" y="644"/>
                    </a:lnTo>
                    <a:lnTo>
                      <a:pt x="197" y="640"/>
                    </a:lnTo>
                    <a:lnTo>
                      <a:pt x="194" y="637"/>
                    </a:lnTo>
                    <a:lnTo>
                      <a:pt x="192" y="632"/>
                    </a:lnTo>
                    <a:lnTo>
                      <a:pt x="191" y="627"/>
                    </a:lnTo>
                    <a:lnTo>
                      <a:pt x="191" y="622"/>
                    </a:lnTo>
                    <a:lnTo>
                      <a:pt x="191" y="622"/>
                    </a:lnTo>
                    <a:lnTo>
                      <a:pt x="191" y="617"/>
                    </a:lnTo>
                    <a:lnTo>
                      <a:pt x="192" y="612"/>
                    </a:lnTo>
                    <a:lnTo>
                      <a:pt x="194" y="607"/>
                    </a:lnTo>
                    <a:lnTo>
                      <a:pt x="197" y="603"/>
                    </a:lnTo>
                    <a:lnTo>
                      <a:pt x="201" y="600"/>
                    </a:lnTo>
                    <a:lnTo>
                      <a:pt x="205" y="597"/>
                    </a:lnTo>
                    <a:lnTo>
                      <a:pt x="209" y="596"/>
                    </a:lnTo>
                    <a:lnTo>
                      <a:pt x="214" y="595"/>
                    </a:lnTo>
                    <a:lnTo>
                      <a:pt x="341" y="595"/>
                    </a:lnTo>
                    <a:lnTo>
                      <a:pt x="341" y="595"/>
                    </a:lnTo>
                    <a:lnTo>
                      <a:pt x="346" y="596"/>
                    </a:lnTo>
                    <a:lnTo>
                      <a:pt x="350" y="597"/>
                    </a:lnTo>
                    <a:lnTo>
                      <a:pt x="354" y="600"/>
                    </a:lnTo>
                    <a:lnTo>
                      <a:pt x="358" y="603"/>
                    </a:lnTo>
                    <a:lnTo>
                      <a:pt x="360" y="607"/>
                    </a:lnTo>
                    <a:lnTo>
                      <a:pt x="363" y="612"/>
                    </a:lnTo>
                    <a:lnTo>
                      <a:pt x="364" y="617"/>
                    </a:lnTo>
                    <a:lnTo>
                      <a:pt x="364" y="622"/>
                    </a:lnTo>
                    <a:close/>
                    <a:moveTo>
                      <a:pt x="364" y="691"/>
                    </a:moveTo>
                    <a:lnTo>
                      <a:pt x="364" y="691"/>
                    </a:lnTo>
                    <a:lnTo>
                      <a:pt x="364" y="696"/>
                    </a:lnTo>
                    <a:lnTo>
                      <a:pt x="363" y="701"/>
                    </a:lnTo>
                    <a:lnTo>
                      <a:pt x="360" y="706"/>
                    </a:lnTo>
                    <a:lnTo>
                      <a:pt x="358" y="710"/>
                    </a:lnTo>
                    <a:lnTo>
                      <a:pt x="354" y="713"/>
                    </a:lnTo>
                    <a:lnTo>
                      <a:pt x="350" y="715"/>
                    </a:lnTo>
                    <a:lnTo>
                      <a:pt x="346" y="717"/>
                    </a:lnTo>
                    <a:lnTo>
                      <a:pt x="341" y="717"/>
                    </a:lnTo>
                    <a:lnTo>
                      <a:pt x="214" y="717"/>
                    </a:lnTo>
                    <a:lnTo>
                      <a:pt x="214" y="717"/>
                    </a:lnTo>
                    <a:lnTo>
                      <a:pt x="209" y="717"/>
                    </a:lnTo>
                    <a:lnTo>
                      <a:pt x="205" y="715"/>
                    </a:lnTo>
                    <a:lnTo>
                      <a:pt x="201" y="713"/>
                    </a:lnTo>
                    <a:lnTo>
                      <a:pt x="197" y="710"/>
                    </a:lnTo>
                    <a:lnTo>
                      <a:pt x="194" y="706"/>
                    </a:lnTo>
                    <a:lnTo>
                      <a:pt x="192" y="701"/>
                    </a:lnTo>
                    <a:lnTo>
                      <a:pt x="191" y="696"/>
                    </a:lnTo>
                    <a:lnTo>
                      <a:pt x="191" y="691"/>
                    </a:lnTo>
                    <a:lnTo>
                      <a:pt x="191" y="691"/>
                    </a:lnTo>
                    <a:lnTo>
                      <a:pt x="191" y="686"/>
                    </a:lnTo>
                    <a:lnTo>
                      <a:pt x="192" y="681"/>
                    </a:lnTo>
                    <a:lnTo>
                      <a:pt x="194" y="677"/>
                    </a:lnTo>
                    <a:lnTo>
                      <a:pt x="197" y="673"/>
                    </a:lnTo>
                    <a:lnTo>
                      <a:pt x="201" y="670"/>
                    </a:lnTo>
                    <a:lnTo>
                      <a:pt x="205" y="667"/>
                    </a:lnTo>
                    <a:lnTo>
                      <a:pt x="209" y="666"/>
                    </a:lnTo>
                    <a:lnTo>
                      <a:pt x="214" y="665"/>
                    </a:lnTo>
                    <a:lnTo>
                      <a:pt x="341" y="665"/>
                    </a:lnTo>
                    <a:lnTo>
                      <a:pt x="341" y="665"/>
                    </a:lnTo>
                    <a:lnTo>
                      <a:pt x="346" y="666"/>
                    </a:lnTo>
                    <a:lnTo>
                      <a:pt x="350" y="667"/>
                    </a:lnTo>
                    <a:lnTo>
                      <a:pt x="354" y="670"/>
                    </a:lnTo>
                    <a:lnTo>
                      <a:pt x="358" y="673"/>
                    </a:lnTo>
                    <a:lnTo>
                      <a:pt x="360" y="677"/>
                    </a:lnTo>
                    <a:lnTo>
                      <a:pt x="363" y="681"/>
                    </a:lnTo>
                    <a:lnTo>
                      <a:pt x="364" y="686"/>
                    </a:lnTo>
                    <a:lnTo>
                      <a:pt x="364" y="691"/>
                    </a:lnTo>
                    <a:close/>
                    <a:moveTo>
                      <a:pt x="277" y="760"/>
                    </a:moveTo>
                    <a:lnTo>
                      <a:pt x="277" y="760"/>
                    </a:lnTo>
                    <a:lnTo>
                      <a:pt x="271" y="760"/>
                    </a:lnTo>
                    <a:lnTo>
                      <a:pt x="265" y="759"/>
                    </a:lnTo>
                    <a:lnTo>
                      <a:pt x="258" y="756"/>
                    </a:lnTo>
                    <a:lnTo>
                      <a:pt x="252" y="754"/>
                    </a:lnTo>
                    <a:lnTo>
                      <a:pt x="246" y="750"/>
                    </a:lnTo>
                    <a:lnTo>
                      <a:pt x="241" y="745"/>
                    </a:lnTo>
                    <a:lnTo>
                      <a:pt x="234" y="740"/>
                    </a:lnTo>
                    <a:lnTo>
                      <a:pt x="229" y="734"/>
                    </a:lnTo>
                    <a:lnTo>
                      <a:pt x="325" y="734"/>
                    </a:lnTo>
                    <a:lnTo>
                      <a:pt x="325" y="734"/>
                    </a:lnTo>
                    <a:lnTo>
                      <a:pt x="320" y="740"/>
                    </a:lnTo>
                    <a:lnTo>
                      <a:pt x="314" y="745"/>
                    </a:lnTo>
                    <a:lnTo>
                      <a:pt x="308" y="750"/>
                    </a:lnTo>
                    <a:lnTo>
                      <a:pt x="302" y="754"/>
                    </a:lnTo>
                    <a:lnTo>
                      <a:pt x="296" y="756"/>
                    </a:lnTo>
                    <a:lnTo>
                      <a:pt x="290" y="759"/>
                    </a:lnTo>
                    <a:lnTo>
                      <a:pt x="284" y="760"/>
                    </a:lnTo>
                    <a:lnTo>
                      <a:pt x="277" y="760"/>
                    </a:lnTo>
                    <a:close/>
                    <a:moveTo>
                      <a:pt x="187" y="569"/>
                    </a:moveTo>
                    <a:lnTo>
                      <a:pt x="185" y="568"/>
                    </a:lnTo>
                    <a:lnTo>
                      <a:pt x="185" y="568"/>
                    </a:lnTo>
                    <a:lnTo>
                      <a:pt x="175" y="562"/>
                    </a:lnTo>
                    <a:lnTo>
                      <a:pt x="165" y="555"/>
                    </a:lnTo>
                    <a:lnTo>
                      <a:pt x="156" y="547"/>
                    </a:lnTo>
                    <a:lnTo>
                      <a:pt x="147" y="539"/>
                    </a:lnTo>
                    <a:lnTo>
                      <a:pt x="139" y="531"/>
                    </a:lnTo>
                    <a:lnTo>
                      <a:pt x="131" y="521"/>
                    </a:lnTo>
                    <a:lnTo>
                      <a:pt x="124" y="512"/>
                    </a:lnTo>
                    <a:lnTo>
                      <a:pt x="118" y="502"/>
                    </a:lnTo>
                    <a:lnTo>
                      <a:pt x="112" y="491"/>
                    </a:lnTo>
                    <a:lnTo>
                      <a:pt x="107" y="480"/>
                    </a:lnTo>
                    <a:lnTo>
                      <a:pt x="103" y="469"/>
                    </a:lnTo>
                    <a:lnTo>
                      <a:pt x="99" y="457"/>
                    </a:lnTo>
                    <a:lnTo>
                      <a:pt x="96" y="446"/>
                    </a:lnTo>
                    <a:lnTo>
                      <a:pt x="94" y="433"/>
                    </a:lnTo>
                    <a:lnTo>
                      <a:pt x="93" y="421"/>
                    </a:lnTo>
                    <a:lnTo>
                      <a:pt x="92" y="408"/>
                    </a:lnTo>
                    <a:lnTo>
                      <a:pt x="92" y="408"/>
                    </a:lnTo>
                    <a:lnTo>
                      <a:pt x="93" y="388"/>
                    </a:lnTo>
                    <a:lnTo>
                      <a:pt x="96" y="370"/>
                    </a:lnTo>
                    <a:lnTo>
                      <a:pt x="101" y="352"/>
                    </a:lnTo>
                    <a:lnTo>
                      <a:pt x="107" y="335"/>
                    </a:lnTo>
                    <a:lnTo>
                      <a:pt x="115" y="319"/>
                    </a:lnTo>
                    <a:lnTo>
                      <a:pt x="124" y="304"/>
                    </a:lnTo>
                    <a:lnTo>
                      <a:pt x="135" y="290"/>
                    </a:lnTo>
                    <a:lnTo>
                      <a:pt x="146" y="277"/>
                    </a:lnTo>
                    <a:lnTo>
                      <a:pt x="160" y="265"/>
                    </a:lnTo>
                    <a:lnTo>
                      <a:pt x="174" y="254"/>
                    </a:lnTo>
                    <a:lnTo>
                      <a:pt x="189" y="245"/>
                    </a:lnTo>
                    <a:lnTo>
                      <a:pt x="205" y="237"/>
                    </a:lnTo>
                    <a:lnTo>
                      <a:pt x="222" y="231"/>
                    </a:lnTo>
                    <a:lnTo>
                      <a:pt x="241" y="226"/>
                    </a:lnTo>
                    <a:lnTo>
                      <a:pt x="259" y="223"/>
                    </a:lnTo>
                    <a:lnTo>
                      <a:pt x="278" y="223"/>
                    </a:lnTo>
                    <a:lnTo>
                      <a:pt x="278" y="223"/>
                    </a:lnTo>
                    <a:lnTo>
                      <a:pt x="297" y="223"/>
                    </a:lnTo>
                    <a:lnTo>
                      <a:pt x="315" y="226"/>
                    </a:lnTo>
                    <a:lnTo>
                      <a:pt x="333" y="231"/>
                    </a:lnTo>
                    <a:lnTo>
                      <a:pt x="350" y="237"/>
                    </a:lnTo>
                    <a:lnTo>
                      <a:pt x="366" y="245"/>
                    </a:lnTo>
                    <a:lnTo>
                      <a:pt x="381" y="254"/>
                    </a:lnTo>
                    <a:lnTo>
                      <a:pt x="395" y="265"/>
                    </a:lnTo>
                    <a:lnTo>
                      <a:pt x="408" y="277"/>
                    </a:lnTo>
                    <a:lnTo>
                      <a:pt x="420" y="290"/>
                    </a:lnTo>
                    <a:lnTo>
                      <a:pt x="431" y="304"/>
                    </a:lnTo>
                    <a:lnTo>
                      <a:pt x="440" y="319"/>
                    </a:lnTo>
                    <a:lnTo>
                      <a:pt x="448" y="335"/>
                    </a:lnTo>
                    <a:lnTo>
                      <a:pt x="455" y="352"/>
                    </a:lnTo>
                    <a:lnTo>
                      <a:pt x="460" y="370"/>
                    </a:lnTo>
                    <a:lnTo>
                      <a:pt x="463" y="388"/>
                    </a:lnTo>
                    <a:lnTo>
                      <a:pt x="464" y="408"/>
                    </a:lnTo>
                    <a:lnTo>
                      <a:pt x="464" y="408"/>
                    </a:lnTo>
                    <a:lnTo>
                      <a:pt x="463" y="421"/>
                    </a:lnTo>
                    <a:lnTo>
                      <a:pt x="462" y="433"/>
                    </a:lnTo>
                    <a:lnTo>
                      <a:pt x="460" y="446"/>
                    </a:lnTo>
                    <a:lnTo>
                      <a:pt x="457" y="457"/>
                    </a:lnTo>
                    <a:lnTo>
                      <a:pt x="452" y="469"/>
                    </a:lnTo>
                    <a:lnTo>
                      <a:pt x="448" y="480"/>
                    </a:lnTo>
                    <a:lnTo>
                      <a:pt x="443" y="491"/>
                    </a:lnTo>
                    <a:lnTo>
                      <a:pt x="437" y="502"/>
                    </a:lnTo>
                    <a:lnTo>
                      <a:pt x="431" y="512"/>
                    </a:lnTo>
                    <a:lnTo>
                      <a:pt x="423" y="521"/>
                    </a:lnTo>
                    <a:lnTo>
                      <a:pt x="416" y="531"/>
                    </a:lnTo>
                    <a:lnTo>
                      <a:pt x="408" y="539"/>
                    </a:lnTo>
                    <a:lnTo>
                      <a:pt x="399" y="547"/>
                    </a:lnTo>
                    <a:lnTo>
                      <a:pt x="390" y="555"/>
                    </a:lnTo>
                    <a:lnTo>
                      <a:pt x="380" y="562"/>
                    </a:lnTo>
                    <a:lnTo>
                      <a:pt x="370" y="568"/>
                    </a:lnTo>
                    <a:lnTo>
                      <a:pt x="368" y="569"/>
                    </a:lnTo>
                    <a:lnTo>
                      <a:pt x="187" y="5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6" name="Freeform 397"/>
              <p:cNvSpPr>
                <a:spLocks/>
              </p:cNvSpPr>
              <p:nvPr/>
            </p:nvSpPr>
            <p:spPr bwMode="auto">
              <a:xfrm>
                <a:off x="6038850" y="1783080"/>
                <a:ext cx="131446" cy="131446"/>
              </a:xfrm>
              <a:custGeom>
                <a:avLst/>
                <a:gdLst>
                  <a:gd name="T0" fmla="*/ 8 w 139"/>
                  <a:gd name="T1" fmla="*/ 9 h 140"/>
                  <a:gd name="T2" fmla="*/ 8 w 139"/>
                  <a:gd name="T3" fmla="*/ 9 h 140"/>
                  <a:gd name="T4" fmla="*/ 12 w 139"/>
                  <a:gd name="T5" fmla="*/ 5 h 140"/>
                  <a:gd name="T6" fmla="*/ 16 w 139"/>
                  <a:gd name="T7" fmla="*/ 3 h 140"/>
                  <a:gd name="T8" fmla="*/ 22 w 139"/>
                  <a:gd name="T9" fmla="*/ 1 h 140"/>
                  <a:gd name="T10" fmla="*/ 27 w 139"/>
                  <a:gd name="T11" fmla="*/ 0 h 140"/>
                  <a:gd name="T12" fmla="*/ 31 w 139"/>
                  <a:gd name="T13" fmla="*/ 1 h 140"/>
                  <a:gd name="T14" fmla="*/ 36 w 139"/>
                  <a:gd name="T15" fmla="*/ 2 h 140"/>
                  <a:gd name="T16" fmla="*/ 40 w 139"/>
                  <a:gd name="T17" fmla="*/ 4 h 140"/>
                  <a:gd name="T18" fmla="*/ 43 w 139"/>
                  <a:gd name="T19" fmla="*/ 7 h 140"/>
                  <a:gd name="T20" fmla="*/ 133 w 139"/>
                  <a:gd name="T21" fmla="*/ 97 h 140"/>
                  <a:gd name="T22" fmla="*/ 133 w 139"/>
                  <a:gd name="T23" fmla="*/ 97 h 140"/>
                  <a:gd name="T24" fmla="*/ 136 w 139"/>
                  <a:gd name="T25" fmla="*/ 101 h 140"/>
                  <a:gd name="T26" fmla="*/ 138 w 139"/>
                  <a:gd name="T27" fmla="*/ 105 h 140"/>
                  <a:gd name="T28" fmla="*/ 139 w 139"/>
                  <a:gd name="T29" fmla="*/ 109 h 140"/>
                  <a:gd name="T30" fmla="*/ 139 w 139"/>
                  <a:gd name="T31" fmla="*/ 114 h 140"/>
                  <a:gd name="T32" fmla="*/ 138 w 139"/>
                  <a:gd name="T33" fmla="*/ 119 h 140"/>
                  <a:gd name="T34" fmla="*/ 137 w 139"/>
                  <a:gd name="T35" fmla="*/ 123 h 140"/>
                  <a:gd name="T36" fmla="*/ 134 w 139"/>
                  <a:gd name="T37" fmla="*/ 128 h 140"/>
                  <a:gd name="T38" fmla="*/ 131 w 139"/>
                  <a:gd name="T39" fmla="*/ 132 h 140"/>
                  <a:gd name="T40" fmla="*/ 131 w 139"/>
                  <a:gd name="T41" fmla="*/ 132 h 140"/>
                  <a:gd name="T42" fmla="*/ 127 w 139"/>
                  <a:gd name="T43" fmla="*/ 135 h 140"/>
                  <a:gd name="T44" fmla="*/ 123 w 139"/>
                  <a:gd name="T45" fmla="*/ 138 h 140"/>
                  <a:gd name="T46" fmla="*/ 118 w 139"/>
                  <a:gd name="T47" fmla="*/ 139 h 140"/>
                  <a:gd name="T48" fmla="*/ 113 w 139"/>
                  <a:gd name="T49" fmla="*/ 140 h 140"/>
                  <a:gd name="T50" fmla="*/ 109 w 139"/>
                  <a:gd name="T51" fmla="*/ 140 h 140"/>
                  <a:gd name="T52" fmla="*/ 104 w 139"/>
                  <a:gd name="T53" fmla="*/ 139 h 140"/>
                  <a:gd name="T54" fmla="*/ 100 w 139"/>
                  <a:gd name="T55" fmla="*/ 137 h 140"/>
                  <a:gd name="T56" fmla="*/ 96 w 139"/>
                  <a:gd name="T57" fmla="*/ 134 h 140"/>
                  <a:gd name="T58" fmla="*/ 6 w 139"/>
                  <a:gd name="T59" fmla="*/ 43 h 140"/>
                  <a:gd name="T60" fmla="*/ 6 w 139"/>
                  <a:gd name="T61" fmla="*/ 43 h 140"/>
                  <a:gd name="T62" fmla="*/ 3 w 139"/>
                  <a:gd name="T63" fmla="*/ 40 h 140"/>
                  <a:gd name="T64" fmla="*/ 1 w 139"/>
                  <a:gd name="T65" fmla="*/ 36 h 140"/>
                  <a:gd name="T66" fmla="*/ 0 w 139"/>
                  <a:gd name="T67" fmla="*/ 31 h 140"/>
                  <a:gd name="T68" fmla="*/ 0 w 139"/>
                  <a:gd name="T69" fmla="*/ 26 h 140"/>
                  <a:gd name="T70" fmla="*/ 0 w 139"/>
                  <a:gd name="T71" fmla="*/ 22 h 140"/>
                  <a:gd name="T72" fmla="*/ 2 w 139"/>
                  <a:gd name="T73" fmla="*/ 17 h 140"/>
                  <a:gd name="T74" fmla="*/ 4 w 139"/>
                  <a:gd name="T75" fmla="*/ 13 h 140"/>
                  <a:gd name="T76" fmla="*/ 8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8" y="9"/>
                    </a:moveTo>
                    <a:lnTo>
                      <a:pt x="8" y="9"/>
                    </a:lnTo>
                    <a:lnTo>
                      <a:pt x="12" y="5"/>
                    </a:lnTo>
                    <a:lnTo>
                      <a:pt x="16" y="3"/>
                    </a:lnTo>
                    <a:lnTo>
                      <a:pt x="22" y="1"/>
                    </a:lnTo>
                    <a:lnTo>
                      <a:pt x="27" y="0"/>
                    </a:lnTo>
                    <a:lnTo>
                      <a:pt x="31" y="1"/>
                    </a:lnTo>
                    <a:lnTo>
                      <a:pt x="36" y="2"/>
                    </a:lnTo>
                    <a:lnTo>
                      <a:pt x="40" y="4"/>
                    </a:lnTo>
                    <a:lnTo>
                      <a:pt x="43" y="7"/>
                    </a:lnTo>
                    <a:lnTo>
                      <a:pt x="133" y="97"/>
                    </a:lnTo>
                    <a:lnTo>
                      <a:pt x="133" y="97"/>
                    </a:lnTo>
                    <a:lnTo>
                      <a:pt x="136" y="101"/>
                    </a:lnTo>
                    <a:lnTo>
                      <a:pt x="138" y="105"/>
                    </a:lnTo>
                    <a:lnTo>
                      <a:pt x="139" y="109"/>
                    </a:lnTo>
                    <a:lnTo>
                      <a:pt x="139" y="114"/>
                    </a:lnTo>
                    <a:lnTo>
                      <a:pt x="138" y="119"/>
                    </a:lnTo>
                    <a:lnTo>
                      <a:pt x="137" y="123"/>
                    </a:lnTo>
                    <a:lnTo>
                      <a:pt x="134" y="128"/>
                    </a:lnTo>
                    <a:lnTo>
                      <a:pt x="131" y="132"/>
                    </a:lnTo>
                    <a:lnTo>
                      <a:pt x="131" y="132"/>
                    </a:lnTo>
                    <a:lnTo>
                      <a:pt x="127" y="135"/>
                    </a:lnTo>
                    <a:lnTo>
                      <a:pt x="123" y="138"/>
                    </a:lnTo>
                    <a:lnTo>
                      <a:pt x="118" y="139"/>
                    </a:lnTo>
                    <a:lnTo>
                      <a:pt x="113" y="140"/>
                    </a:lnTo>
                    <a:lnTo>
                      <a:pt x="109" y="140"/>
                    </a:lnTo>
                    <a:lnTo>
                      <a:pt x="104" y="139"/>
                    </a:lnTo>
                    <a:lnTo>
                      <a:pt x="100" y="137"/>
                    </a:lnTo>
                    <a:lnTo>
                      <a:pt x="96" y="134"/>
                    </a:lnTo>
                    <a:lnTo>
                      <a:pt x="6" y="43"/>
                    </a:lnTo>
                    <a:lnTo>
                      <a:pt x="6" y="43"/>
                    </a:lnTo>
                    <a:lnTo>
                      <a:pt x="3" y="40"/>
                    </a:lnTo>
                    <a:lnTo>
                      <a:pt x="1" y="36"/>
                    </a:lnTo>
                    <a:lnTo>
                      <a:pt x="0" y="31"/>
                    </a:lnTo>
                    <a:lnTo>
                      <a:pt x="0" y="26"/>
                    </a:lnTo>
                    <a:lnTo>
                      <a:pt x="0" y="22"/>
                    </a:lnTo>
                    <a:lnTo>
                      <a:pt x="2" y="17"/>
                    </a:lnTo>
                    <a:lnTo>
                      <a:pt x="4" y="13"/>
                    </a:lnTo>
                    <a:lnTo>
                      <a:pt x="8"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7" name="Freeform 398"/>
              <p:cNvSpPr>
                <a:spLocks/>
              </p:cNvSpPr>
              <p:nvPr/>
            </p:nvSpPr>
            <p:spPr bwMode="auto">
              <a:xfrm>
                <a:off x="6276974" y="1693544"/>
                <a:ext cx="49530" cy="165736"/>
              </a:xfrm>
              <a:custGeom>
                <a:avLst/>
                <a:gdLst>
                  <a:gd name="T0" fmla="*/ 25 w 53"/>
                  <a:gd name="T1" fmla="*/ 0 h 173"/>
                  <a:gd name="T2" fmla="*/ 25 w 53"/>
                  <a:gd name="T3" fmla="*/ 0 h 173"/>
                  <a:gd name="T4" fmla="*/ 31 w 53"/>
                  <a:gd name="T5" fmla="*/ 0 h 173"/>
                  <a:gd name="T6" fmla="*/ 36 w 53"/>
                  <a:gd name="T7" fmla="*/ 1 h 173"/>
                  <a:gd name="T8" fmla="*/ 40 w 53"/>
                  <a:gd name="T9" fmla="*/ 3 h 173"/>
                  <a:gd name="T10" fmla="*/ 44 w 53"/>
                  <a:gd name="T11" fmla="*/ 6 h 173"/>
                  <a:gd name="T12" fmla="*/ 47 w 53"/>
                  <a:gd name="T13" fmla="*/ 10 h 173"/>
                  <a:gd name="T14" fmla="*/ 49 w 53"/>
                  <a:gd name="T15" fmla="*/ 13 h 173"/>
                  <a:gd name="T16" fmla="*/ 51 w 53"/>
                  <a:gd name="T17" fmla="*/ 18 h 173"/>
                  <a:gd name="T18" fmla="*/ 52 w 53"/>
                  <a:gd name="T19" fmla="*/ 22 h 173"/>
                  <a:gd name="T20" fmla="*/ 53 w 53"/>
                  <a:gd name="T21" fmla="*/ 149 h 173"/>
                  <a:gd name="T22" fmla="*/ 53 w 53"/>
                  <a:gd name="T23" fmla="*/ 149 h 173"/>
                  <a:gd name="T24" fmla="*/ 53 w 53"/>
                  <a:gd name="T25" fmla="*/ 154 h 173"/>
                  <a:gd name="T26" fmla="*/ 51 w 53"/>
                  <a:gd name="T27" fmla="*/ 158 h 173"/>
                  <a:gd name="T28" fmla="*/ 49 w 53"/>
                  <a:gd name="T29" fmla="*/ 162 h 173"/>
                  <a:gd name="T30" fmla="*/ 46 w 53"/>
                  <a:gd name="T31" fmla="*/ 166 h 173"/>
                  <a:gd name="T32" fmla="*/ 42 w 53"/>
                  <a:gd name="T33" fmla="*/ 168 h 173"/>
                  <a:gd name="T34" fmla="*/ 37 w 53"/>
                  <a:gd name="T35" fmla="*/ 171 h 173"/>
                  <a:gd name="T36" fmla="*/ 33 w 53"/>
                  <a:gd name="T37" fmla="*/ 172 h 173"/>
                  <a:gd name="T38" fmla="*/ 27 w 53"/>
                  <a:gd name="T39" fmla="*/ 173 h 173"/>
                  <a:gd name="T40" fmla="*/ 27 w 53"/>
                  <a:gd name="T41" fmla="*/ 173 h 173"/>
                  <a:gd name="T42" fmla="*/ 22 w 53"/>
                  <a:gd name="T43" fmla="*/ 172 h 173"/>
                  <a:gd name="T44" fmla="*/ 17 w 53"/>
                  <a:gd name="T45" fmla="*/ 171 h 173"/>
                  <a:gd name="T46" fmla="*/ 13 w 53"/>
                  <a:gd name="T47" fmla="*/ 169 h 173"/>
                  <a:gd name="T48" fmla="*/ 9 w 53"/>
                  <a:gd name="T49" fmla="*/ 166 h 173"/>
                  <a:gd name="T50" fmla="*/ 6 w 53"/>
                  <a:gd name="T51" fmla="*/ 163 h 173"/>
                  <a:gd name="T52" fmla="*/ 3 w 53"/>
                  <a:gd name="T53" fmla="*/ 159 h 173"/>
                  <a:gd name="T54" fmla="*/ 2 w 53"/>
                  <a:gd name="T55" fmla="*/ 154 h 173"/>
                  <a:gd name="T56" fmla="*/ 1 w 53"/>
                  <a:gd name="T57" fmla="*/ 150 h 173"/>
                  <a:gd name="T58" fmla="*/ 0 w 53"/>
                  <a:gd name="T59" fmla="*/ 23 h 173"/>
                  <a:gd name="T60" fmla="*/ 0 w 53"/>
                  <a:gd name="T61" fmla="*/ 23 h 173"/>
                  <a:gd name="T62" fmla="*/ 0 w 53"/>
                  <a:gd name="T63" fmla="*/ 18 h 173"/>
                  <a:gd name="T64" fmla="*/ 2 w 53"/>
                  <a:gd name="T65" fmla="*/ 14 h 173"/>
                  <a:gd name="T66" fmla="*/ 4 w 53"/>
                  <a:gd name="T67" fmla="*/ 10 h 173"/>
                  <a:gd name="T68" fmla="*/ 7 w 53"/>
                  <a:gd name="T69" fmla="*/ 7 h 173"/>
                  <a:gd name="T70" fmla="*/ 11 w 53"/>
                  <a:gd name="T71" fmla="*/ 4 h 173"/>
                  <a:gd name="T72" fmla="*/ 15 w 53"/>
                  <a:gd name="T73" fmla="*/ 2 h 173"/>
                  <a:gd name="T74" fmla="*/ 20 w 53"/>
                  <a:gd name="T75" fmla="*/ 0 h 173"/>
                  <a:gd name="T76" fmla="*/ 25 w 53"/>
                  <a:gd name="T7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173">
                    <a:moveTo>
                      <a:pt x="25" y="0"/>
                    </a:moveTo>
                    <a:lnTo>
                      <a:pt x="25" y="0"/>
                    </a:lnTo>
                    <a:lnTo>
                      <a:pt x="31" y="0"/>
                    </a:lnTo>
                    <a:lnTo>
                      <a:pt x="36" y="1"/>
                    </a:lnTo>
                    <a:lnTo>
                      <a:pt x="40" y="3"/>
                    </a:lnTo>
                    <a:lnTo>
                      <a:pt x="44" y="6"/>
                    </a:lnTo>
                    <a:lnTo>
                      <a:pt x="47" y="10"/>
                    </a:lnTo>
                    <a:lnTo>
                      <a:pt x="49" y="13"/>
                    </a:lnTo>
                    <a:lnTo>
                      <a:pt x="51" y="18"/>
                    </a:lnTo>
                    <a:lnTo>
                      <a:pt x="52" y="22"/>
                    </a:lnTo>
                    <a:lnTo>
                      <a:pt x="53" y="149"/>
                    </a:lnTo>
                    <a:lnTo>
                      <a:pt x="53" y="149"/>
                    </a:lnTo>
                    <a:lnTo>
                      <a:pt x="53" y="154"/>
                    </a:lnTo>
                    <a:lnTo>
                      <a:pt x="51" y="158"/>
                    </a:lnTo>
                    <a:lnTo>
                      <a:pt x="49" y="162"/>
                    </a:lnTo>
                    <a:lnTo>
                      <a:pt x="46" y="166"/>
                    </a:lnTo>
                    <a:lnTo>
                      <a:pt x="42" y="168"/>
                    </a:lnTo>
                    <a:lnTo>
                      <a:pt x="37" y="171"/>
                    </a:lnTo>
                    <a:lnTo>
                      <a:pt x="33" y="172"/>
                    </a:lnTo>
                    <a:lnTo>
                      <a:pt x="27" y="173"/>
                    </a:lnTo>
                    <a:lnTo>
                      <a:pt x="27" y="173"/>
                    </a:lnTo>
                    <a:lnTo>
                      <a:pt x="22" y="172"/>
                    </a:lnTo>
                    <a:lnTo>
                      <a:pt x="17" y="171"/>
                    </a:lnTo>
                    <a:lnTo>
                      <a:pt x="13" y="169"/>
                    </a:lnTo>
                    <a:lnTo>
                      <a:pt x="9" y="166"/>
                    </a:lnTo>
                    <a:lnTo>
                      <a:pt x="6" y="163"/>
                    </a:lnTo>
                    <a:lnTo>
                      <a:pt x="3" y="159"/>
                    </a:lnTo>
                    <a:lnTo>
                      <a:pt x="2" y="154"/>
                    </a:lnTo>
                    <a:lnTo>
                      <a:pt x="1" y="150"/>
                    </a:lnTo>
                    <a:lnTo>
                      <a:pt x="0" y="23"/>
                    </a:lnTo>
                    <a:lnTo>
                      <a:pt x="0" y="23"/>
                    </a:lnTo>
                    <a:lnTo>
                      <a:pt x="0" y="18"/>
                    </a:lnTo>
                    <a:lnTo>
                      <a:pt x="2" y="14"/>
                    </a:lnTo>
                    <a:lnTo>
                      <a:pt x="4" y="10"/>
                    </a:lnTo>
                    <a:lnTo>
                      <a:pt x="7" y="7"/>
                    </a:lnTo>
                    <a:lnTo>
                      <a:pt x="11" y="4"/>
                    </a:lnTo>
                    <a:lnTo>
                      <a:pt x="15" y="2"/>
                    </a:lnTo>
                    <a:lnTo>
                      <a:pt x="20" y="0"/>
                    </a:lnTo>
                    <a:lnTo>
                      <a:pt x="2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8" name="Freeform 399"/>
              <p:cNvSpPr>
                <a:spLocks/>
              </p:cNvSpPr>
              <p:nvPr/>
            </p:nvSpPr>
            <p:spPr bwMode="auto">
              <a:xfrm>
                <a:off x="6433184" y="1783080"/>
                <a:ext cx="131446" cy="131446"/>
              </a:xfrm>
              <a:custGeom>
                <a:avLst/>
                <a:gdLst>
                  <a:gd name="T0" fmla="*/ 131 w 139"/>
                  <a:gd name="T1" fmla="*/ 9 h 140"/>
                  <a:gd name="T2" fmla="*/ 131 w 139"/>
                  <a:gd name="T3" fmla="*/ 9 h 140"/>
                  <a:gd name="T4" fmla="*/ 134 w 139"/>
                  <a:gd name="T5" fmla="*/ 13 h 140"/>
                  <a:gd name="T6" fmla="*/ 137 w 139"/>
                  <a:gd name="T7" fmla="*/ 17 h 140"/>
                  <a:gd name="T8" fmla="*/ 138 w 139"/>
                  <a:gd name="T9" fmla="*/ 22 h 140"/>
                  <a:gd name="T10" fmla="*/ 139 w 139"/>
                  <a:gd name="T11" fmla="*/ 26 h 140"/>
                  <a:gd name="T12" fmla="*/ 139 w 139"/>
                  <a:gd name="T13" fmla="*/ 31 h 140"/>
                  <a:gd name="T14" fmla="*/ 138 w 139"/>
                  <a:gd name="T15" fmla="*/ 36 h 140"/>
                  <a:gd name="T16" fmla="*/ 136 w 139"/>
                  <a:gd name="T17" fmla="*/ 40 h 140"/>
                  <a:gd name="T18" fmla="*/ 133 w 139"/>
                  <a:gd name="T19" fmla="*/ 43 h 140"/>
                  <a:gd name="T20" fmla="*/ 43 w 139"/>
                  <a:gd name="T21" fmla="*/ 134 h 140"/>
                  <a:gd name="T22" fmla="*/ 43 w 139"/>
                  <a:gd name="T23" fmla="*/ 134 h 140"/>
                  <a:gd name="T24" fmla="*/ 40 w 139"/>
                  <a:gd name="T25" fmla="*/ 137 h 140"/>
                  <a:gd name="T26" fmla="*/ 35 w 139"/>
                  <a:gd name="T27" fmla="*/ 139 h 140"/>
                  <a:gd name="T28" fmla="*/ 30 w 139"/>
                  <a:gd name="T29" fmla="*/ 140 h 140"/>
                  <a:gd name="T30" fmla="*/ 25 w 139"/>
                  <a:gd name="T31" fmla="*/ 140 h 140"/>
                  <a:gd name="T32" fmla="*/ 21 w 139"/>
                  <a:gd name="T33" fmla="*/ 139 h 140"/>
                  <a:gd name="T34" fmla="*/ 16 w 139"/>
                  <a:gd name="T35" fmla="*/ 138 h 140"/>
                  <a:gd name="T36" fmla="*/ 12 w 139"/>
                  <a:gd name="T37" fmla="*/ 135 h 140"/>
                  <a:gd name="T38" fmla="*/ 8 w 139"/>
                  <a:gd name="T39" fmla="*/ 132 h 140"/>
                  <a:gd name="T40" fmla="*/ 8 w 139"/>
                  <a:gd name="T41" fmla="*/ 132 h 140"/>
                  <a:gd name="T42" fmla="*/ 4 w 139"/>
                  <a:gd name="T43" fmla="*/ 128 h 140"/>
                  <a:gd name="T44" fmla="*/ 2 w 139"/>
                  <a:gd name="T45" fmla="*/ 123 h 140"/>
                  <a:gd name="T46" fmla="*/ 0 w 139"/>
                  <a:gd name="T47" fmla="*/ 119 h 140"/>
                  <a:gd name="T48" fmla="*/ 0 w 139"/>
                  <a:gd name="T49" fmla="*/ 114 h 140"/>
                  <a:gd name="T50" fmla="*/ 0 w 139"/>
                  <a:gd name="T51" fmla="*/ 109 h 140"/>
                  <a:gd name="T52" fmla="*/ 1 w 139"/>
                  <a:gd name="T53" fmla="*/ 105 h 140"/>
                  <a:gd name="T54" fmla="*/ 3 w 139"/>
                  <a:gd name="T55" fmla="*/ 101 h 140"/>
                  <a:gd name="T56" fmla="*/ 6 w 139"/>
                  <a:gd name="T57" fmla="*/ 97 h 140"/>
                  <a:gd name="T58" fmla="*/ 96 w 139"/>
                  <a:gd name="T59" fmla="*/ 7 h 140"/>
                  <a:gd name="T60" fmla="*/ 96 w 139"/>
                  <a:gd name="T61" fmla="*/ 7 h 140"/>
                  <a:gd name="T62" fmla="*/ 100 w 139"/>
                  <a:gd name="T63" fmla="*/ 4 h 140"/>
                  <a:gd name="T64" fmla="*/ 104 w 139"/>
                  <a:gd name="T65" fmla="*/ 2 h 140"/>
                  <a:gd name="T66" fmla="*/ 109 w 139"/>
                  <a:gd name="T67" fmla="*/ 1 h 140"/>
                  <a:gd name="T68" fmla="*/ 113 w 139"/>
                  <a:gd name="T69" fmla="*/ 0 h 140"/>
                  <a:gd name="T70" fmla="*/ 118 w 139"/>
                  <a:gd name="T71" fmla="*/ 1 h 140"/>
                  <a:gd name="T72" fmla="*/ 123 w 139"/>
                  <a:gd name="T73" fmla="*/ 3 h 140"/>
                  <a:gd name="T74" fmla="*/ 127 w 139"/>
                  <a:gd name="T75" fmla="*/ 5 h 140"/>
                  <a:gd name="T76" fmla="*/ 131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131" y="9"/>
                    </a:moveTo>
                    <a:lnTo>
                      <a:pt x="131" y="9"/>
                    </a:lnTo>
                    <a:lnTo>
                      <a:pt x="134" y="13"/>
                    </a:lnTo>
                    <a:lnTo>
                      <a:pt x="137" y="17"/>
                    </a:lnTo>
                    <a:lnTo>
                      <a:pt x="138" y="22"/>
                    </a:lnTo>
                    <a:lnTo>
                      <a:pt x="139" y="26"/>
                    </a:lnTo>
                    <a:lnTo>
                      <a:pt x="139" y="31"/>
                    </a:lnTo>
                    <a:lnTo>
                      <a:pt x="138" y="36"/>
                    </a:lnTo>
                    <a:lnTo>
                      <a:pt x="136" y="40"/>
                    </a:lnTo>
                    <a:lnTo>
                      <a:pt x="133" y="43"/>
                    </a:lnTo>
                    <a:lnTo>
                      <a:pt x="43" y="134"/>
                    </a:lnTo>
                    <a:lnTo>
                      <a:pt x="43" y="134"/>
                    </a:lnTo>
                    <a:lnTo>
                      <a:pt x="40" y="137"/>
                    </a:lnTo>
                    <a:lnTo>
                      <a:pt x="35" y="139"/>
                    </a:lnTo>
                    <a:lnTo>
                      <a:pt x="30" y="140"/>
                    </a:lnTo>
                    <a:lnTo>
                      <a:pt x="25" y="140"/>
                    </a:lnTo>
                    <a:lnTo>
                      <a:pt x="21" y="139"/>
                    </a:lnTo>
                    <a:lnTo>
                      <a:pt x="16" y="138"/>
                    </a:lnTo>
                    <a:lnTo>
                      <a:pt x="12" y="135"/>
                    </a:lnTo>
                    <a:lnTo>
                      <a:pt x="8" y="132"/>
                    </a:lnTo>
                    <a:lnTo>
                      <a:pt x="8" y="132"/>
                    </a:lnTo>
                    <a:lnTo>
                      <a:pt x="4" y="128"/>
                    </a:lnTo>
                    <a:lnTo>
                      <a:pt x="2" y="123"/>
                    </a:lnTo>
                    <a:lnTo>
                      <a:pt x="0" y="119"/>
                    </a:lnTo>
                    <a:lnTo>
                      <a:pt x="0" y="114"/>
                    </a:lnTo>
                    <a:lnTo>
                      <a:pt x="0" y="109"/>
                    </a:lnTo>
                    <a:lnTo>
                      <a:pt x="1" y="105"/>
                    </a:lnTo>
                    <a:lnTo>
                      <a:pt x="3" y="101"/>
                    </a:lnTo>
                    <a:lnTo>
                      <a:pt x="6" y="97"/>
                    </a:lnTo>
                    <a:lnTo>
                      <a:pt x="96" y="7"/>
                    </a:lnTo>
                    <a:lnTo>
                      <a:pt x="96" y="7"/>
                    </a:lnTo>
                    <a:lnTo>
                      <a:pt x="100" y="4"/>
                    </a:lnTo>
                    <a:lnTo>
                      <a:pt x="104" y="2"/>
                    </a:lnTo>
                    <a:lnTo>
                      <a:pt x="109" y="1"/>
                    </a:lnTo>
                    <a:lnTo>
                      <a:pt x="113" y="0"/>
                    </a:lnTo>
                    <a:lnTo>
                      <a:pt x="118" y="1"/>
                    </a:lnTo>
                    <a:lnTo>
                      <a:pt x="123" y="3"/>
                    </a:lnTo>
                    <a:lnTo>
                      <a:pt x="127" y="5"/>
                    </a:lnTo>
                    <a:lnTo>
                      <a:pt x="131"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9" name="Freeform 400"/>
              <p:cNvSpPr>
                <a:spLocks/>
              </p:cNvSpPr>
              <p:nvPr/>
            </p:nvSpPr>
            <p:spPr bwMode="auto">
              <a:xfrm>
                <a:off x="6219824" y="2261234"/>
                <a:ext cx="165736" cy="49530"/>
              </a:xfrm>
              <a:custGeom>
                <a:avLst/>
                <a:gdLst>
                  <a:gd name="T0" fmla="*/ 173 w 173"/>
                  <a:gd name="T1" fmla="*/ 27 h 53"/>
                  <a:gd name="T2" fmla="*/ 173 w 173"/>
                  <a:gd name="T3" fmla="*/ 27 h 53"/>
                  <a:gd name="T4" fmla="*/ 173 w 173"/>
                  <a:gd name="T5" fmla="*/ 32 h 53"/>
                  <a:gd name="T6" fmla="*/ 172 w 173"/>
                  <a:gd name="T7" fmla="*/ 37 h 53"/>
                  <a:gd name="T8" fmla="*/ 169 w 173"/>
                  <a:gd name="T9" fmla="*/ 42 h 53"/>
                  <a:gd name="T10" fmla="*/ 167 w 173"/>
                  <a:gd name="T11" fmla="*/ 45 h 53"/>
                  <a:gd name="T12" fmla="*/ 163 w 173"/>
                  <a:gd name="T13" fmla="*/ 49 h 53"/>
                  <a:gd name="T14" fmla="*/ 159 w 173"/>
                  <a:gd name="T15" fmla="*/ 51 h 53"/>
                  <a:gd name="T16" fmla="*/ 155 w 173"/>
                  <a:gd name="T17" fmla="*/ 52 h 53"/>
                  <a:gd name="T18" fmla="*/ 150 w 173"/>
                  <a:gd name="T19" fmla="*/ 53 h 53"/>
                  <a:gd name="T20" fmla="*/ 23 w 173"/>
                  <a:gd name="T21" fmla="*/ 53 h 53"/>
                  <a:gd name="T22" fmla="*/ 23 w 173"/>
                  <a:gd name="T23" fmla="*/ 53 h 53"/>
                  <a:gd name="T24" fmla="*/ 18 w 173"/>
                  <a:gd name="T25" fmla="*/ 52 h 53"/>
                  <a:gd name="T26" fmla="*/ 14 w 173"/>
                  <a:gd name="T27" fmla="*/ 51 h 53"/>
                  <a:gd name="T28" fmla="*/ 10 w 173"/>
                  <a:gd name="T29" fmla="*/ 49 h 53"/>
                  <a:gd name="T30" fmla="*/ 6 w 173"/>
                  <a:gd name="T31" fmla="*/ 45 h 53"/>
                  <a:gd name="T32" fmla="*/ 3 w 173"/>
                  <a:gd name="T33" fmla="*/ 42 h 53"/>
                  <a:gd name="T34" fmla="*/ 1 w 173"/>
                  <a:gd name="T35" fmla="*/ 37 h 53"/>
                  <a:gd name="T36" fmla="*/ 0 w 173"/>
                  <a:gd name="T37" fmla="*/ 32 h 53"/>
                  <a:gd name="T38" fmla="*/ 0 w 173"/>
                  <a:gd name="T39" fmla="*/ 27 h 53"/>
                  <a:gd name="T40" fmla="*/ 0 w 173"/>
                  <a:gd name="T41" fmla="*/ 27 h 53"/>
                  <a:gd name="T42" fmla="*/ 0 w 173"/>
                  <a:gd name="T43" fmla="*/ 22 h 53"/>
                  <a:gd name="T44" fmla="*/ 1 w 173"/>
                  <a:gd name="T45" fmla="*/ 17 h 53"/>
                  <a:gd name="T46" fmla="*/ 3 w 173"/>
                  <a:gd name="T47" fmla="*/ 12 h 53"/>
                  <a:gd name="T48" fmla="*/ 6 w 173"/>
                  <a:gd name="T49" fmla="*/ 8 h 53"/>
                  <a:gd name="T50" fmla="*/ 10 w 173"/>
                  <a:gd name="T51" fmla="*/ 5 h 53"/>
                  <a:gd name="T52" fmla="*/ 14 w 173"/>
                  <a:gd name="T53" fmla="*/ 2 h 53"/>
                  <a:gd name="T54" fmla="*/ 18 w 173"/>
                  <a:gd name="T55" fmla="*/ 1 h 53"/>
                  <a:gd name="T56" fmla="*/ 23 w 173"/>
                  <a:gd name="T57" fmla="*/ 0 h 53"/>
                  <a:gd name="T58" fmla="*/ 150 w 173"/>
                  <a:gd name="T59" fmla="*/ 0 h 53"/>
                  <a:gd name="T60" fmla="*/ 150 w 173"/>
                  <a:gd name="T61" fmla="*/ 0 h 53"/>
                  <a:gd name="T62" fmla="*/ 155 w 173"/>
                  <a:gd name="T63" fmla="*/ 1 h 53"/>
                  <a:gd name="T64" fmla="*/ 159 w 173"/>
                  <a:gd name="T65" fmla="*/ 2 h 53"/>
                  <a:gd name="T66" fmla="*/ 163 w 173"/>
                  <a:gd name="T67" fmla="*/ 5 h 53"/>
                  <a:gd name="T68" fmla="*/ 167 w 173"/>
                  <a:gd name="T69" fmla="*/ 8 h 53"/>
                  <a:gd name="T70" fmla="*/ 169 w 173"/>
                  <a:gd name="T71" fmla="*/ 12 h 53"/>
                  <a:gd name="T72" fmla="*/ 172 w 173"/>
                  <a:gd name="T73" fmla="*/ 17 h 53"/>
                  <a:gd name="T74" fmla="*/ 173 w 173"/>
                  <a:gd name="T75" fmla="*/ 22 h 53"/>
                  <a:gd name="T76" fmla="*/ 173 w 173"/>
                  <a:gd name="T7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 h="53">
                    <a:moveTo>
                      <a:pt x="173" y="27"/>
                    </a:moveTo>
                    <a:lnTo>
                      <a:pt x="173" y="27"/>
                    </a:lnTo>
                    <a:lnTo>
                      <a:pt x="173" y="32"/>
                    </a:lnTo>
                    <a:lnTo>
                      <a:pt x="172" y="37"/>
                    </a:lnTo>
                    <a:lnTo>
                      <a:pt x="169" y="42"/>
                    </a:lnTo>
                    <a:lnTo>
                      <a:pt x="167" y="45"/>
                    </a:lnTo>
                    <a:lnTo>
                      <a:pt x="163" y="49"/>
                    </a:lnTo>
                    <a:lnTo>
                      <a:pt x="159" y="51"/>
                    </a:lnTo>
                    <a:lnTo>
                      <a:pt x="155" y="52"/>
                    </a:lnTo>
                    <a:lnTo>
                      <a:pt x="150" y="53"/>
                    </a:lnTo>
                    <a:lnTo>
                      <a:pt x="23" y="53"/>
                    </a:lnTo>
                    <a:lnTo>
                      <a:pt x="23" y="53"/>
                    </a:lnTo>
                    <a:lnTo>
                      <a:pt x="18" y="52"/>
                    </a:lnTo>
                    <a:lnTo>
                      <a:pt x="14" y="51"/>
                    </a:lnTo>
                    <a:lnTo>
                      <a:pt x="10" y="49"/>
                    </a:lnTo>
                    <a:lnTo>
                      <a:pt x="6" y="45"/>
                    </a:lnTo>
                    <a:lnTo>
                      <a:pt x="3" y="42"/>
                    </a:lnTo>
                    <a:lnTo>
                      <a:pt x="1" y="37"/>
                    </a:lnTo>
                    <a:lnTo>
                      <a:pt x="0" y="32"/>
                    </a:lnTo>
                    <a:lnTo>
                      <a:pt x="0" y="27"/>
                    </a:lnTo>
                    <a:lnTo>
                      <a:pt x="0" y="27"/>
                    </a:lnTo>
                    <a:lnTo>
                      <a:pt x="0" y="22"/>
                    </a:lnTo>
                    <a:lnTo>
                      <a:pt x="1" y="17"/>
                    </a:lnTo>
                    <a:lnTo>
                      <a:pt x="3" y="12"/>
                    </a:lnTo>
                    <a:lnTo>
                      <a:pt x="6" y="8"/>
                    </a:lnTo>
                    <a:lnTo>
                      <a:pt x="10" y="5"/>
                    </a:lnTo>
                    <a:lnTo>
                      <a:pt x="14" y="2"/>
                    </a:lnTo>
                    <a:lnTo>
                      <a:pt x="18" y="1"/>
                    </a:lnTo>
                    <a:lnTo>
                      <a:pt x="23" y="0"/>
                    </a:lnTo>
                    <a:lnTo>
                      <a:pt x="150" y="0"/>
                    </a:lnTo>
                    <a:lnTo>
                      <a:pt x="150" y="0"/>
                    </a:lnTo>
                    <a:lnTo>
                      <a:pt x="155" y="1"/>
                    </a:lnTo>
                    <a:lnTo>
                      <a:pt x="159" y="2"/>
                    </a:lnTo>
                    <a:lnTo>
                      <a:pt x="163" y="5"/>
                    </a:lnTo>
                    <a:lnTo>
                      <a:pt x="167" y="8"/>
                    </a:lnTo>
                    <a:lnTo>
                      <a:pt x="169" y="12"/>
                    </a:lnTo>
                    <a:lnTo>
                      <a:pt x="172" y="17"/>
                    </a:lnTo>
                    <a:lnTo>
                      <a:pt x="173" y="22"/>
                    </a:lnTo>
                    <a:lnTo>
                      <a:pt x="173" y="2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0" name="Freeform 401"/>
              <p:cNvSpPr>
                <a:spLocks/>
              </p:cNvSpPr>
              <p:nvPr/>
            </p:nvSpPr>
            <p:spPr bwMode="auto">
              <a:xfrm>
                <a:off x="6219824" y="2326004"/>
                <a:ext cx="165736" cy="49530"/>
              </a:xfrm>
              <a:custGeom>
                <a:avLst/>
                <a:gdLst>
                  <a:gd name="T0" fmla="*/ 173 w 173"/>
                  <a:gd name="T1" fmla="*/ 26 h 52"/>
                  <a:gd name="T2" fmla="*/ 173 w 173"/>
                  <a:gd name="T3" fmla="*/ 26 h 52"/>
                  <a:gd name="T4" fmla="*/ 173 w 173"/>
                  <a:gd name="T5" fmla="*/ 31 h 52"/>
                  <a:gd name="T6" fmla="*/ 172 w 173"/>
                  <a:gd name="T7" fmla="*/ 36 h 52"/>
                  <a:gd name="T8" fmla="*/ 169 w 173"/>
                  <a:gd name="T9" fmla="*/ 41 h 52"/>
                  <a:gd name="T10" fmla="*/ 167 w 173"/>
                  <a:gd name="T11" fmla="*/ 45 h 52"/>
                  <a:gd name="T12" fmla="*/ 163 w 173"/>
                  <a:gd name="T13" fmla="*/ 48 h 52"/>
                  <a:gd name="T14" fmla="*/ 159 w 173"/>
                  <a:gd name="T15" fmla="*/ 50 h 52"/>
                  <a:gd name="T16" fmla="*/ 155 w 173"/>
                  <a:gd name="T17" fmla="*/ 52 h 52"/>
                  <a:gd name="T18" fmla="*/ 150 w 173"/>
                  <a:gd name="T19" fmla="*/ 52 h 52"/>
                  <a:gd name="T20" fmla="*/ 23 w 173"/>
                  <a:gd name="T21" fmla="*/ 52 h 52"/>
                  <a:gd name="T22" fmla="*/ 23 w 173"/>
                  <a:gd name="T23" fmla="*/ 52 h 52"/>
                  <a:gd name="T24" fmla="*/ 18 w 173"/>
                  <a:gd name="T25" fmla="*/ 52 h 52"/>
                  <a:gd name="T26" fmla="*/ 14 w 173"/>
                  <a:gd name="T27" fmla="*/ 50 h 52"/>
                  <a:gd name="T28" fmla="*/ 10 w 173"/>
                  <a:gd name="T29" fmla="*/ 48 h 52"/>
                  <a:gd name="T30" fmla="*/ 6 w 173"/>
                  <a:gd name="T31" fmla="*/ 45 h 52"/>
                  <a:gd name="T32" fmla="*/ 3 w 173"/>
                  <a:gd name="T33" fmla="*/ 41 h 52"/>
                  <a:gd name="T34" fmla="*/ 1 w 173"/>
                  <a:gd name="T35" fmla="*/ 36 h 52"/>
                  <a:gd name="T36" fmla="*/ 0 w 173"/>
                  <a:gd name="T37" fmla="*/ 31 h 52"/>
                  <a:gd name="T38" fmla="*/ 0 w 173"/>
                  <a:gd name="T39" fmla="*/ 26 h 52"/>
                  <a:gd name="T40" fmla="*/ 0 w 173"/>
                  <a:gd name="T41" fmla="*/ 26 h 52"/>
                  <a:gd name="T42" fmla="*/ 0 w 173"/>
                  <a:gd name="T43" fmla="*/ 21 h 52"/>
                  <a:gd name="T44" fmla="*/ 1 w 173"/>
                  <a:gd name="T45" fmla="*/ 16 h 52"/>
                  <a:gd name="T46" fmla="*/ 3 w 173"/>
                  <a:gd name="T47" fmla="*/ 12 h 52"/>
                  <a:gd name="T48" fmla="*/ 6 w 173"/>
                  <a:gd name="T49" fmla="*/ 8 h 52"/>
                  <a:gd name="T50" fmla="*/ 10 w 173"/>
                  <a:gd name="T51" fmla="*/ 5 h 52"/>
                  <a:gd name="T52" fmla="*/ 14 w 173"/>
                  <a:gd name="T53" fmla="*/ 2 h 52"/>
                  <a:gd name="T54" fmla="*/ 18 w 173"/>
                  <a:gd name="T55" fmla="*/ 1 h 52"/>
                  <a:gd name="T56" fmla="*/ 23 w 173"/>
                  <a:gd name="T57" fmla="*/ 0 h 52"/>
                  <a:gd name="T58" fmla="*/ 150 w 173"/>
                  <a:gd name="T59" fmla="*/ 0 h 52"/>
                  <a:gd name="T60" fmla="*/ 150 w 173"/>
                  <a:gd name="T61" fmla="*/ 0 h 52"/>
                  <a:gd name="T62" fmla="*/ 155 w 173"/>
                  <a:gd name="T63" fmla="*/ 1 h 52"/>
                  <a:gd name="T64" fmla="*/ 159 w 173"/>
                  <a:gd name="T65" fmla="*/ 2 h 52"/>
                  <a:gd name="T66" fmla="*/ 163 w 173"/>
                  <a:gd name="T67" fmla="*/ 5 h 52"/>
                  <a:gd name="T68" fmla="*/ 167 w 173"/>
                  <a:gd name="T69" fmla="*/ 8 h 52"/>
                  <a:gd name="T70" fmla="*/ 169 w 173"/>
                  <a:gd name="T71" fmla="*/ 12 h 52"/>
                  <a:gd name="T72" fmla="*/ 172 w 173"/>
                  <a:gd name="T73" fmla="*/ 16 h 52"/>
                  <a:gd name="T74" fmla="*/ 173 w 173"/>
                  <a:gd name="T75" fmla="*/ 21 h 52"/>
                  <a:gd name="T76" fmla="*/ 173 w 173"/>
                  <a:gd name="T7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 h="52">
                    <a:moveTo>
                      <a:pt x="173" y="26"/>
                    </a:moveTo>
                    <a:lnTo>
                      <a:pt x="173" y="26"/>
                    </a:lnTo>
                    <a:lnTo>
                      <a:pt x="173" y="31"/>
                    </a:lnTo>
                    <a:lnTo>
                      <a:pt x="172" y="36"/>
                    </a:lnTo>
                    <a:lnTo>
                      <a:pt x="169" y="41"/>
                    </a:lnTo>
                    <a:lnTo>
                      <a:pt x="167" y="45"/>
                    </a:lnTo>
                    <a:lnTo>
                      <a:pt x="163" y="48"/>
                    </a:lnTo>
                    <a:lnTo>
                      <a:pt x="159" y="50"/>
                    </a:lnTo>
                    <a:lnTo>
                      <a:pt x="155" y="52"/>
                    </a:lnTo>
                    <a:lnTo>
                      <a:pt x="150" y="52"/>
                    </a:lnTo>
                    <a:lnTo>
                      <a:pt x="23" y="52"/>
                    </a:lnTo>
                    <a:lnTo>
                      <a:pt x="23" y="52"/>
                    </a:lnTo>
                    <a:lnTo>
                      <a:pt x="18" y="52"/>
                    </a:lnTo>
                    <a:lnTo>
                      <a:pt x="14" y="50"/>
                    </a:lnTo>
                    <a:lnTo>
                      <a:pt x="10" y="48"/>
                    </a:lnTo>
                    <a:lnTo>
                      <a:pt x="6" y="45"/>
                    </a:lnTo>
                    <a:lnTo>
                      <a:pt x="3" y="41"/>
                    </a:lnTo>
                    <a:lnTo>
                      <a:pt x="1" y="36"/>
                    </a:lnTo>
                    <a:lnTo>
                      <a:pt x="0" y="31"/>
                    </a:lnTo>
                    <a:lnTo>
                      <a:pt x="0" y="26"/>
                    </a:lnTo>
                    <a:lnTo>
                      <a:pt x="0" y="26"/>
                    </a:lnTo>
                    <a:lnTo>
                      <a:pt x="0" y="21"/>
                    </a:lnTo>
                    <a:lnTo>
                      <a:pt x="1" y="16"/>
                    </a:lnTo>
                    <a:lnTo>
                      <a:pt x="3" y="12"/>
                    </a:lnTo>
                    <a:lnTo>
                      <a:pt x="6" y="8"/>
                    </a:lnTo>
                    <a:lnTo>
                      <a:pt x="10" y="5"/>
                    </a:lnTo>
                    <a:lnTo>
                      <a:pt x="14" y="2"/>
                    </a:lnTo>
                    <a:lnTo>
                      <a:pt x="18" y="1"/>
                    </a:lnTo>
                    <a:lnTo>
                      <a:pt x="23" y="0"/>
                    </a:lnTo>
                    <a:lnTo>
                      <a:pt x="150" y="0"/>
                    </a:lnTo>
                    <a:lnTo>
                      <a:pt x="150" y="0"/>
                    </a:lnTo>
                    <a:lnTo>
                      <a:pt x="155" y="1"/>
                    </a:lnTo>
                    <a:lnTo>
                      <a:pt x="159" y="2"/>
                    </a:lnTo>
                    <a:lnTo>
                      <a:pt x="163" y="5"/>
                    </a:lnTo>
                    <a:lnTo>
                      <a:pt x="167" y="8"/>
                    </a:lnTo>
                    <a:lnTo>
                      <a:pt x="169" y="12"/>
                    </a:lnTo>
                    <a:lnTo>
                      <a:pt x="172" y="16"/>
                    </a:lnTo>
                    <a:lnTo>
                      <a:pt x="173" y="21"/>
                    </a:lnTo>
                    <a:lnTo>
                      <a:pt x="173" y="2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 name="Freeform 402"/>
              <p:cNvSpPr>
                <a:spLocks/>
              </p:cNvSpPr>
              <p:nvPr/>
            </p:nvSpPr>
            <p:spPr bwMode="auto">
              <a:xfrm>
                <a:off x="6256020" y="2392680"/>
                <a:ext cx="91440" cy="24766"/>
              </a:xfrm>
              <a:custGeom>
                <a:avLst/>
                <a:gdLst>
                  <a:gd name="T0" fmla="*/ 48 w 96"/>
                  <a:gd name="T1" fmla="*/ 26 h 26"/>
                  <a:gd name="T2" fmla="*/ 48 w 96"/>
                  <a:gd name="T3" fmla="*/ 26 h 26"/>
                  <a:gd name="T4" fmla="*/ 42 w 96"/>
                  <a:gd name="T5" fmla="*/ 26 h 26"/>
                  <a:gd name="T6" fmla="*/ 36 w 96"/>
                  <a:gd name="T7" fmla="*/ 25 h 26"/>
                  <a:gd name="T8" fmla="*/ 29 w 96"/>
                  <a:gd name="T9" fmla="*/ 22 h 26"/>
                  <a:gd name="T10" fmla="*/ 23 w 96"/>
                  <a:gd name="T11" fmla="*/ 20 h 26"/>
                  <a:gd name="T12" fmla="*/ 17 w 96"/>
                  <a:gd name="T13" fmla="*/ 16 h 26"/>
                  <a:gd name="T14" fmla="*/ 12 w 96"/>
                  <a:gd name="T15" fmla="*/ 11 h 26"/>
                  <a:gd name="T16" fmla="*/ 5 w 96"/>
                  <a:gd name="T17" fmla="*/ 6 h 26"/>
                  <a:gd name="T18" fmla="*/ 0 w 96"/>
                  <a:gd name="T19" fmla="*/ 0 h 26"/>
                  <a:gd name="T20" fmla="*/ 96 w 96"/>
                  <a:gd name="T21" fmla="*/ 0 h 26"/>
                  <a:gd name="T22" fmla="*/ 96 w 96"/>
                  <a:gd name="T23" fmla="*/ 0 h 26"/>
                  <a:gd name="T24" fmla="*/ 91 w 96"/>
                  <a:gd name="T25" fmla="*/ 6 h 26"/>
                  <a:gd name="T26" fmla="*/ 85 w 96"/>
                  <a:gd name="T27" fmla="*/ 11 h 26"/>
                  <a:gd name="T28" fmla="*/ 79 w 96"/>
                  <a:gd name="T29" fmla="*/ 16 h 26"/>
                  <a:gd name="T30" fmla="*/ 73 w 96"/>
                  <a:gd name="T31" fmla="*/ 20 h 26"/>
                  <a:gd name="T32" fmla="*/ 67 w 96"/>
                  <a:gd name="T33" fmla="*/ 22 h 26"/>
                  <a:gd name="T34" fmla="*/ 61 w 96"/>
                  <a:gd name="T35" fmla="*/ 25 h 26"/>
                  <a:gd name="T36" fmla="*/ 55 w 96"/>
                  <a:gd name="T37" fmla="*/ 26 h 26"/>
                  <a:gd name="T38" fmla="*/ 48 w 96"/>
                  <a:gd name="T3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26">
                    <a:moveTo>
                      <a:pt x="48" y="26"/>
                    </a:moveTo>
                    <a:lnTo>
                      <a:pt x="48" y="26"/>
                    </a:lnTo>
                    <a:lnTo>
                      <a:pt x="42" y="26"/>
                    </a:lnTo>
                    <a:lnTo>
                      <a:pt x="36" y="25"/>
                    </a:lnTo>
                    <a:lnTo>
                      <a:pt x="29" y="22"/>
                    </a:lnTo>
                    <a:lnTo>
                      <a:pt x="23" y="20"/>
                    </a:lnTo>
                    <a:lnTo>
                      <a:pt x="17" y="16"/>
                    </a:lnTo>
                    <a:lnTo>
                      <a:pt x="12" y="11"/>
                    </a:lnTo>
                    <a:lnTo>
                      <a:pt x="5" y="6"/>
                    </a:lnTo>
                    <a:lnTo>
                      <a:pt x="0" y="0"/>
                    </a:lnTo>
                    <a:lnTo>
                      <a:pt x="96" y="0"/>
                    </a:lnTo>
                    <a:lnTo>
                      <a:pt x="96" y="0"/>
                    </a:lnTo>
                    <a:lnTo>
                      <a:pt x="91" y="6"/>
                    </a:lnTo>
                    <a:lnTo>
                      <a:pt x="85" y="11"/>
                    </a:lnTo>
                    <a:lnTo>
                      <a:pt x="79" y="16"/>
                    </a:lnTo>
                    <a:lnTo>
                      <a:pt x="73" y="20"/>
                    </a:lnTo>
                    <a:lnTo>
                      <a:pt x="67" y="22"/>
                    </a:lnTo>
                    <a:lnTo>
                      <a:pt x="61" y="25"/>
                    </a:lnTo>
                    <a:lnTo>
                      <a:pt x="55" y="26"/>
                    </a:lnTo>
                    <a:lnTo>
                      <a:pt x="48" y="2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2" name="Freeform 403"/>
              <p:cNvSpPr>
                <a:spLocks/>
              </p:cNvSpPr>
              <p:nvPr/>
            </p:nvSpPr>
            <p:spPr bwMode="auto">
              <a:xfrm>
                <a:off x="6124574" y="1905000"/>
                <a:ext cx="354330" cy="331470"/>
              </a:xfrm>
              <a:custGeom>
                <a:avLst/>
                <a:gdLst>
                  <a:gd name="T0" fmla="*/ 93 w 372"/>
                  <a:gd name="T1" fmla="*/ 345 h 346"/>
                  <a:gd name="T2" fmla="*/ 83 w 372"/>
                  <a:gd name="T3" fmla="*/ 339 h 346"/>
                  <a:gd name="T4" fmla="*/ 64 w 372"/>
                  <a:gd name="T5" fmla="*/ 324 h 346"/>
                  <a:gd name="T6" fmla="*/ 47 w 372"/>
                  <a:gd name="T7" fmla="*/ 308 h 346"/>
                  <a:gd name="T8" fmla="*/ 32 w 372"/>
                  <a:gd name="T9" fmla="*/ 289 h 346"/>
                  <a:gd name="T10" fmla="*/ 20 w 372"/>
                  <a:gd name="T11" fmla="*/ 268 h 346"/>
                  <a:gd name="T12" fmla="*/ 11 w 372"/>
                  <a:gd name="T13" fmla="*/ 246 h 346"/>
                  <a:gd name="T14" fmla="*/ 4 w 372"/>
                  <a:gd name="T15" fmla="*/ 223 h 346"/>
                  <a:gd name="T16" fmla="*/ 1 w 372"/>
                  <a:gd name="T17" fmla="*/ 198 h 346"/>
                  <a:gd name="T18" fmla="*/ 0 w 372"/>
                  <a:gd name="T19" fmla="*/ 185 h 346"/>
                  <a:gd name="T20" fmla="*/ 4 w 372"/>
                  <a:gd name="T21" fmla="*/ 147 h 346"/>
                  <a:gd name="T22" fmla="*/ 15 w 372"/>
                  <a:gd name="T23" fmla="*/ 112 h 346"/>
                  <a:gd name="T24" fmla="*/ 32 w 372"/>
                  <a:gd name="T25" fmla="*/ 81 h 346"/>
                  <a:gd name="T26" fmla="*/ 54 w 372"/>
                  <a:gd name="T27" fmla="*/ 54 h 346"/>
                  <a:gd name="T28" fmla="*/ 82 w 372"/>
                  <a:gd name="T29" fmla="*/ 31 h 346"/>
                  <a:gd name="T30" fmla="*/ 113 w 372"/>
                  <a:gd name="T31" fmla="*/ 14 h 346"/>
                  <a:gd name="T32" fmla="*/ 149 w 372"/>
                  <a:gd name="T33" fmla="*/ 3 h 346"/>
                  <a:gd name="T34" fmla="*/ 186 w 372"/>
                  <a:gd name="T35" fmla="*/ 0 h 346"/>
                  <a:gd name="T36" fmla="*/ 205 w 372"/>
                  <a:gd name="T37" fmla="*/ 0 h 346"/>
                  <a:gd name="T38" fmla="*/ 241 w 372"/>
                  <a:gd name="T39" fmla="*/ 8 h 346"/>
                  <a:gd name="T40" fmla="*/ 274 w 372"/>
                  <a:gd name="T41" fmla="*/ 22 h 346"/>
                  <a:gd name="T42" fmla="*/ 303 w 372"/>
                  <a:gd name="T43" fmla="*/ 42 h 346"/>
                  <a:gd name="T44" fmla="*/ 328 w 372"/>
                  <a:gd name="T45" fmla="*/ 67 h 346"/>
                  <a:gd name="T46" fmla="*/ 348 w 372"/>
                  <a:gd name="T47" fmla="*/ 96 h 346"/>
                  <a:gd name="T48" fmla="*/ 363 w 372"/>
                  <a:gd name="T49" fmla="*/ 129 h 346"/>
                  <a:gd name="T50" fmla="*/ 371 w 372"/>
                  <a:gd name="T51" fmla="*/ 165 h 346"/>
                  <a:gd name="T52" fmla="*/ 372 w 372"/>
                  <a:gd name="T53" fmla="*/ 185 h 346"/>
                  <a:gd name="T54" fmla="*/ 370 w 372"/>
                  <a:gd name="T55" fmla="*/ 210 h 346"/>
                  <a:gd name="T56" fmla="*/ 365 w 372"/>
                  <a:gd name="T57" fmla="*/ 234 h 346"/>
                  <a:gd name="T58" fmla="*/ 356 w 372"/>
                  <a:gd name="T59" fmla="*/ 257 h 346"/>
                  <a:gd name="T60" fmla="*/ 345 w 372"/>
                  <a:gd name="T61" fmla="*/ 279 h 346"/>
                  <a:gd name="T62" fmla="*/ 331 w 372"/>
                  <a:gd name="T63" fmla="*/ 298 h 346"/>
                  <a:gd name="T64" fmla="*/ 316 w 372"/>
                  <a:gd name="T65" fmla="*/ 316 h 346"/>
                  <a:gd name="T66" fmla="*/ 298 w 372"/>
                  <a:gd name="T67" fmla="*/ 332 h 346"/>
                  <a:gd name="T68" fmla="*/ 278 w 372"/>
                  <a:gd name="T69" fmla="*/ 345 h 346"/>
                  <a:gd name="T70" fmla="*/ 95 w 372"/>
                  <a:gd name="T71"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2" h="346">
                    <a:moveTo>
                      <a:pt x="95" y="346"/>
                    </a:moveTo>
                    <a:lnTo>
                      <a:pt x="93" y="345"/>
                    </a:lnTo>
                    <a:lnTo>
                      <a:pt x="93" y="345"/>
                    </a:lnTo>
                    <a:lnTo>
                      <a:pt x="83" y="339"/>
                    </a:lnTo>
                    <a:lnTo>
                      <a:pt x="73" y="332"/>
                    </a:lnTo>
                    <a:lnTo>
                      <a:pt x="64" y="324"/>
                    </a:lnTo>
                    <a:lnTo>
                      <a:pt x="55" y="316"/>
                    </a:lnTo>
                    <a:lnTo>
                      <a:pt x="47" y="308"/>
                    </a:lnTo>
                    <a:lnTo>
                      <a:pt x="39" y="298"/>
                    </a:lnTo>
                    <a:lnTo>
                      <a:pt x="32" y="289"/>
                    </a:lnTo>
                    <a:lnTo>
                      <a:pt x="26" y="279"/>
                    </a:lnTo>
                    <a:lnTo>
                      <a:pt x="20" y="268"/>
                    </a:lnTo>
                    <a:lnTo>
                      <a:pt x="15" y="257"/>
                    </a:lnTo>
                    <a:lnTo>
                      <a:pt x="11" y="246"/>
                    </a:lnTo>
                    <a:lnTo>
                      <a:pt x="7" y="234"/>
                    </a:lnTo>
                    <a:lnTo>
                      <a:pt x="4" y="223"/>
                    </a:lnTo>
                    <a:lnTo>
                      <a:pt x="2" y="210"/>
                    </a:lnTo>
                    <a:lnTo>
                      <a:pt x="1" y="198"/>
                    </a:lnTo>
                    <a:lnTo>
                      <a:pt x="0" y="185"/>
                    </a:lnTo>
                    <a:lnTo>
                      <a:pt x="0" y="185"/>
                    </a:lnTo>
                    <a:lnTo>
                      <a:pt x="1" y="165"/>
                    </a:lnTo>
                    <a:lnTo>
                      <a:pt x="4" y="147"/>
                    </a:lnTo>
                    <a:lnTo>
                      <a:pt x="9" y="129"/>
                    </a:lnTo>
                    <a:lnTo>
                      <a:pt x="15" y="112"/>
                    </a:lnTo>
                    <a:lnTo>
                      <a:pt x="23" y="96"/>
                    </a:lnTo>
                    <a:lnTo>
                      <a:pt x="32" y="81"/>
                    </a:lnTo>
                    <a:lnTo>
                      <a:pt x="43" y="67"/>
                    </a:lnTo>
                    <a:lnTo>
                      <a:pt x="54" y="54"/>
                    </a:lnTo>
                    <a:lnTo>
                      <a:pt x="68" y="42"/>
                    </a:lnTo>
                    <a:lnTo>
                      <a:pt x="82" y="31"/>
                    </a:lnTo>
                    <a:lnTo>
                      <a:pt x="97" y="22"/>
                    </a:lnTo>
                    <a:lnTo>
                      <a:pt x="113" y="14"/>
                    </a:lnTo>
                    <a:lnTo>
                      <a:pt x="130" y="8"/>
                    </a:lnTo>
                    <a:lnTo>
                      <a:pt x="149" y="3"/>
                    </a:lnTo>
                    <a:lnTo>
                      <a:pt x="167" y="0"/>
                    </a:lnTo>
                    <a:lnTo>
                      <a:pt x="186" y="0"/>
                    </a:lnTo>
                    <a:lnTo>
                      <a:pt x="186" y="0"/>
                    </a:lnTo>
                    <a:lnTo>
                      <a:pt x="205" y="0"/>
                    </a:lnTo>
                    <a:lnTo>
                      <a:pt x="223" y="3"/>
                    </a:lnTo>
                    <a:lnTo>
                      <a:pt x="241" y="8"/>
                    </a:lnTo>
                    <a:lnTo>
                      <a:pt x="258" y="14"/>
                    </a:lnTo>
                    <a:lnTo>
                      <a:pt x="274" y="22"/>
                    </a:lnTo>
                    <a:lnTo>
                      <a:pt x="289" y="31"/>
                    </a:lnTo>
                    <a:lnTo>
                      <a:pt x="303" y="42"/>
                    </a:lnTo>
                    <a:lnTo>
                      <a:pt x="316" y="54"/>
                    </a:lnTo>
                    <a:lnTo>
                      <a:pt x="328" y="67"/>
                    </a:lnTo>
                    <a:lnTo>
                      <a:pt x="339" y="81"/>
                    </a:lnTo>
                    <a:lnTo>
                      <a:pt x="348" y="96"/>
                    </a:lnTo>
                    <a:lnTo>
                      <a:pt x="356" y="112"/>
                    </a:lnTo>
                    <a:lnTo>
                      <a:pt x="363" y="129"/>
                    </a:lnTo>
                    <a:lnTo>
                      <a:pt x="368" y="147"/>
                    </a:lnTo>
                    <a:lnTo>
                      <a:pt x="371" y="165"/>
                    </a:lnTo>
                    <a:lnTo>
                      <a:pt x="372" y="185"/>
                    </a:lnTo>
                    <a:lnTo>
                      <a:pt x="372" y="185"/>
                    </a:lnTo>
                    <a:lnTo>
                      <a:pt x="371" y="198"/>
                    </a:lnTo>
                    <a:lnTo>
                      <a:pt x="370" y="210"/>
                    </a:lnTo>
                    <a:lnTo>
                      <a:pt x="368" y="223"/>
                    </a:lnTo>
                    <a:lnTo>
                      <a:pt x="365" y="234"/>
                    </a:lnTo>
                    <a:lnTo>
                      <a:pt x="360" y="246"/>
                    </a:lnTo>
                    <a:lnTo>
                      <a:pt x="356" y="257"/>
                    </a:lnTo>
                    <a:lnTo>
                      <a:pt x="351" y="268"/>
                    </a:lnTo>
                    <a:lnTo>
                      <a:pt x="345" y="279"/>
                    </a:lnTo>
                    <a:lnTo>
                      <a:pt x="339" y="289"/>
                    </a:lnTo>
                    <a:lnTo>
                      <a:pt x="331" y="298"/>
                    </a:lnTo>
                    <a:lnTo>
                      <a:pt x="324" y="308"/>
                    </a:lnTo>
                    <a:lnTo>
                      <a:pt x="316" y="316"/>
                    </a:lnTo>
                    <a:lnTo>
                      <a:pt x="307" y="324"/>
                    </a:lnTo>
                    <a:lnTo>
                      <a:pt x="298" y="332"/>
                    </a:lnTo>
                    <a:lnTo>
                      <a:pt x="288" y="339"/>
                    </a:lnTo>
                    <a:lnTo>
                      <a:pt x="278" y="345"/>
                    </a:lnTo>
                    <a:lnTo>
                      <a:pt x="276" y="346"/>
                    </a:lnTo>
                    <a:lnTo>
                      <a:pt x="95" y="3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pic>
        <p:nvPicPr>
          <p:cNvPr id="415" name="Picture 4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81897" y="2393183"/>
            <a:ext cx="210743" cy="93118"/>
          </a:xfrm>
          <a:prstGeom prst="rect">
            <a:avLst/>
          </a:prstGeom>
        </p:spPr>
      </p:pic>
      <p:sp>
        <p:nvSpPr>
          <p:cNvPr id="416" name="Rectangle 169"/>
          <p:cNvSpPr/>
          <p:nvPr/>
        </p:nvSpPr>
        <p:spPr bwMode="auto">
          <a:xfrm>
            <a:off x="2227933" y="3079391"/>
            <a:ext cx="193134" cy="27665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582" name="Picture 128"/>
          <p:cNvPicPr>
            <a:picLocks noChangeAspect="1" noChangeArrowheads="1"/>
          </p:cNvPicPr>
          <p:nvPr/>
        </p:nvPicPr>
        <p:blipFill rotWithShape="1">
          <a:blip r:embed="rId4">
            <a:extLst>
              <a:ext uri="{28A0092B-C50C-407E-A947-70E740481C1C}">
                <a14:useLocalDpi xmlns:a14="http://schemas.microsoft.com/office/drawing/2010/main" val="0"/>
              </a:ext>
            </a:extLst>
          </a:blip>
          <a:srcRect l="45859" t="-20628" b="-1"/>
          <a:stretch/>
        </p:blipFill>
        <p:spPr bwMode="auto">
          <a:xfrm>
            <a:off x="1628380" y="3081050"/>
            <a:ext cx="225935" cy="203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7" name="Oval 759"/>
          <p:cNvSpPr/>
          <p:nvPr/>
        </p:nvSpPr>
        <p:spPr bwMode="auto">
          <a:xfrm>
            <a:off x="2424075" y="2342861"/>
            <a:ext cx="125551" cy="46815"/>
          </a:xfrm>
          <a:custGeom>
            <a:avLst/>
            <a:gdLst/>
            <a:ahLst/>
            <a:cxnLst/>
            <a:rect l="l" t="t" r="r" b="b"/>
            <a:pathLst>
              <a:path w="138106" h="51497">
                <a:moveTo>
                  <a:pt x="80622" y="0"/>
                </a:moveTo>
                <a:cubicBezTo>
                  <a:pt x="93997" y="0"/>
                  <a:pt x="105216" y="9457"/>
                  <a:pt x="106436" y="22634"/>
                </a:cubicBezTo>
                <a:cubicBezTo>
                  <a:pt x="107399" y="21335"/>
                  <a:pt x="108522" y="21266"/>
                  <a:pt x="109660" y="21266"/>
                </a:cubicBezTo>
                <a:cubicBezTo>
                  <a:pt x="125370" y="21266"/>
                  <a:pt x="138106" y="34314"/>
                  <a:pt x="138106" y="50410"/>
                </a:cubicBezTo>
                <a:lnTo>
                  <a:pt x="137667" y="51497"/>
                </a:lnTo>
                <a:lnTo>
                  <a:pt x="0" y="51497"/>
                </a:lnTo>
                <a:cubicBezTo>
                  <a:pt x="2771" y="43928"/>
                  <a:pt x="9534" y="39074"/>
                  <a:pt x="17734" y="38329"/>
                </a:cubicBezTo>
                <a:cubicBezTo>
                  <a:pt x="17732" y="38327"/>
                  <a:pt x="17732" y="38326"/>
                  <a:pt x="17732" y="38324"/>
                </a:cubicBezTo>
                <a:cubicBezTo>
                  <a:pt x="17732" y="22228"/>
                  <a:pt x="30468" y="9180"/>
                  <a:pt x="46178" y="9180"/>
                </a:cubicBezTo>
                <a:lnTo>
                  <a:pt x="58187" y="14276"/>
                </a:lnTo>
                <a:cubicBezTo>
                  <a:pt x="61779" y="5316"/>
                  <a:pt x="70595" y="0"/>
                  <a:pt x="80622" y="0"/>
                </a:cubicBezTo>
                <a:close/>
              </a:path>
            </a:pathLst>
          </a:cu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88" name="Isosceles Triangle 420"/>
          <p:cNvSpPr/>
          <p:nvPr/>
        </p:nvSpPr>
        <p:spPr bwMode="auto">
          <a:xfrm rot="12893218">
            <a:off x="2272379" y="3033234"/>
            <a:ext cx="366727" cy="1621147"/>
          </a:xfrm>
          <a:custGeom>
            <a:avLst/>
            <a:gdLst>
              <a:gd name="connsiteX0" fmla="*/ 0 w 279851"/>
              <a:gd name="connsiteY0" fmla="*/ 1621147 h 1621147"/>
              <a:gd name="connsiteX1" fmla="*/ 139926 w 279851"/>
              <a:gd name="connsiteY1" fmla="*/ 0 h 1621147"/>
              <a:gd name="connsiteX2" fmla="*/ 279851 w 279851"/>
              <a:gd name="connsiteY2" fmla="*/ 1621147 h 1621147"/>
              <a:gd name="connsiteX3" fmla="*/ 0 w 279851"/>
              <a:gd name="connsiteY3" fmla="*/ 1621147 h 1621147"/>
              <a:gd name="connsiteX0" fmla="*/ 0 w 366727"/>
              <a:gd name="connsiteY0" fmla="*/ 1621147 h 1621147"/>
              <a:gd name="connsiteX1" fmla="*/ 139926 w 366727"/>
              <a:gd name="connsiteY1" fmla="*/ 0 h 1621147"/>
              <a:gd name="connsiteX2" fmla="*/ 366727 w 366727"/>
              <a:gd name="connsiteY2" fmla="*/ 1600306 h 1621147"/>
              <a:gd name="connsiteX3" fmla="*/ 0 w 366727"/>
              <a:gd name="connsiteY3" fmla="*/ 1621147 h 1621147"/>
            </a:gdLst>
            <a:ahLst/>
            <a:cxnLst>
              <a:cxn ang="0">
                <a:pos x="connsiteX0" y="connsiteY0"/>
              </a:cxn>
              <a:cxn ang="0">
                <a:pos x="connsiteX1" y="connsiteY1"/>
              </a:cxn>
              <a:cxn ang="0">
                <a:pos x="connsiteX2" y="connsiteY2"/>
              </a:cxn>
              <a:cxn ang="0">
                <a:pos x="connsiteX3" y="connsiteY3"/>
              </a:cxn>
            </a:cxnLst>
            <a:rect l="l" t="t" r="r" b="b"/>
            <a:pathLst>
              <a:path w="366727" h="1621147">
                <a:moveTo>
                  <a:pt x="0" y="1621147"/>
                </a:moveTo>
                <a:lnTo>
                  <a:pt x="139926" y="0"/>
                </a:lnTo>
                <a:lnTo>
                  <a:pt x="366727" y="1600306"/>
                </a:lnTo>
                <a:lnTo>
                  <a:pt x="0" y="1621147"/>
                </a:lnTo>
                <a:close/>
              </a:path>
            </a:pathLst>
          </a:cu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589" name="Group 588"/>
          <p:cNvGrpSpPr>
            <a:grpSpLocks noChangeAspect="1"/>
          </p:cNvGrpSpPr>
          <p:nvPr/>
        </p:nvGrpSpPr>
        <p:grpSpPr>
          <a:xfrm>
            <a:off x="2721620" y="2946510"/>
            <a:ext cx="412127" cy="412127"/>
            <a:chOff x="784225" y="2859088"/>
            <a:chExt cx="427038" cy="427038"/>
          </a:xfrm>
        </p:grpSpPr>
        <p:sp>
          <p:nvSpPr>
            <p:cNvPr id="591" name="Freeform 97"/>
            <p:cNvSpPr>
              <a:spLocks/>
            </p:cNvSpPr>
            <p:nvPr/>
          </p:nvSpPr>
          <p:spPr bwMode="auto">
            <a:xfrm>
              <a:off x="784225" y="2859088"/>
              <a:ext cx="427038" cy="427038"/>
            </a:xfrm>
            <a:custGeom>
              <a:avLst/>
              <a:gdLst>
                <a:gd name="T0" fmla="*/ 1345 w 1346"/>
                <a:gd name="T1" fmla="*/ 708 h 1346"/>
                <a:gd name="T2" fmla="*/ 1331 w 1346"/>
                <a:gd name="T3" fmla="*/ 808 h 1346"/>
                <a:gd name="T4" fmla="*/ 1305 w 1346"/>
                <a:gd name="T5" fmla="*/ 903 h 1346"/>
                <a:gd name="T6" fmla="*/ 1264 w 1346"/>
                <a:gd name="T7" fmla="*/ 993 h 1346"/>
                <a:gd name="T8" fmla="*/ 1212 w 1346"/>
                <a:gd name="T9" fmla="*/ 1075 h 1346"/>
                <a:gd name="T10" fmla="*/ 1149 w 1346"/>
                <a:gd name="T11" fmla="*/ 1148 h 1346"/>
                <a:gd name="T12" fmla="*/ 1075 w 1346"/>
                <a:gd name="T13" fmla="*/ 1212 h 1346"/>
                <a:gd name="T14" fmla="*/ 993 w 1346"/>
                <a:gd name="T15" fmla="*/ 1264 h 1346"/>
                <a:gd name="T16" fmla="*/ 904 w 1346"/>
                <a:gd name="T17" fmla="*/ 1305 h 1346"/>
                <a:gd name="T18" fmla="*/ 808 w 1346"/>
                <a:gd name="T19" fmla="*/ 1331 h 1346"/>
                <a:gd name="T20" fmla="*/ 708 w 1346"/>
                <a:gd name="T21" fmla="*/ 1345 h 1346"/>
                <a:gd name="T22" fmla="*/ 638 w 1346"/>
                <a:gd name="T23" fmla="*/ 1345 h 1346"/>
                <a:gd name="T24" fmla="*/ 537 w 1346"/>
                <a:gd name="T25" fmla="*/ 1331 h 1346"/>
                <a:gd name="T26" fmla="*/ 441 w 1346"/>
                <a:gd name="T27" fmla="*/ 1305 h 1346"/>
                <a:gd name="T28" fmla="*/ 353 w 1346"/>
                <a:gd name="T29" fmla="*/ 1264 h 1346"/>
                <a:gd name="T30" fmla="*/ 271 w 1346"/>
                <a:gd name="T31" fmla="*/ 1212 h 1346"/>
                <a:gd name="T32" fmla="*/ 197 w 1346"/>
                <a:gd name="T33" fmla="*/ 1148 h 1346"/>
                <a:gd name="T34" fmla="*/ 134 w 1346"/>
                <a:gd name="T35" fmla="*/ 1075 h 1346"/>
                <a:gd name="T36" fmla="*/ 82 w 1346"/>
                <a:gd name="T37" fmla="*/ 993 h 1346"/>
                <a:gd name="T38" fmla="*/ 41 w 1346"/>
                <a:gd name="T39" fmla="*/ 903 h 1346"/>
                <a:gd name="T40" fmla="*/ 14 w 1346"/>
                <a:gd name="T41" fmla="*/ 808 h 1346"/>
                <a:gd name="T42" fmla="*/ 1 w 1346"/>
                <a:gd name="T43" fmla="*/ 708 h 1346"/>
                <a:gd name="T44" fmla="*/ 1 w 1346"/>
                <a:gd name="T45" fmla="*/ 638 h 1346"/>
                <a:gd name="T46" fmla="*/ 14 w 1346"/>
                <a:gd name="T47" fmla="*/ 537 h 1346"/>
                <a:gd name="T48" fmla="*/ 41 w 1346"/>
                <a:gd name="T49" fmla="*/ 441 h 1346"/>
                <a:gd name="T50" fmla="*/ 82 w 1346"/>
                <a:gd name="T51" fmla="*/ 351 h 1346"/>
                <a:gd name="T52" fmla="*/ 134 w 1346"/>
                <a:gd name="T53" fmla="*/ 269 h 1346"/>
                <a:gd name="T54" fmla="*/ 197 w 1346"/>
                <a:gd name="T55" fmla="*/ 196 h 1346"/>
                <a:gd name="T56" fmla="*/ 271 w 1346"/>
                <a:gd name="T57" fmla="*/ 133 h 1346"/>
                <a:gd name="T58" fmla="*/ 353 w 1346"/>
                <a:gd name="T59" fmla="*/ 81 h 1346"/>
                <a:gd name="T60" fmla="*/ 441 w 1346"/>
                <a:gd name="T61" fmla="*/ 40 h 1346"/>
                <a:gd name="T62" fmla="*/ 537 w 1346"/>
                <a:gd name="T63" fmla="*/ 14 h 1346"/>
                <a:gd name="T64" fmla="*/ 638 w 1346"/>
                <a:gd name="T65" fmla="*/ 1 h 1346"/>
                <a:gd name="T66" fmla="*/ 708 w 1346"/>
                <a:gd name="T67" fmla="*/ 1 h 1346"/>
                <a:gd name="T68" fmla="*/ 808 w 1346"/>
                <a:gd name="T69" fmla="*/ 14 h 1346"/>
                <a:gd name="T70" fmla="*/ 904 w 1346"/>
                <a:gd name="T71" fmla="*/ 40 h 1346"/>
                <a:gd name="T72" fmla="*/ 993 w 1346"/>
                <a:gd name="T73" fmla="*/ 81 h 1346"/>
                <a:gd name="T74" fmla="*/ 1075 w 1346"/>
                <a:gd name="T75" fmla="*/ 133 h 1346"/>
                <a:gd name="T76" fmla="*/ 1149 w 1346"/>
                <a:gd name="T77" fmla="*/ 196 h 1346"/>
                <a:gd name="T78" fmla="*/ 1212 w 1346"/>
                <a:gd name="T79" fmla="*/ 269 h 1346"/>
                <a:gd name="T80" fmla="*/ 1264 w 1346"/>
                <a:gd name="T81" fmla="*/ 351 h 1346"/>
                <a:gd name="T82" fmla="*/ 1305 w 1346"/>
                <a:gd name="T83" fmla="*/ 441 h 1346"/>
                <a:gd name="T84" fmla="*/ 1331 w 1346"/>
                <a:gd name="T85" fmla="*/ 537 h 1346"/>
                <a:gd name="T86" fmla="*/ 1345 w 1346"/>
                <a:gd name="T87" fmla="*/ 638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6" h="1346">
                  <a:moveTo>
                    <a:pt x="1346" y="672"/>
                  </a:moveTo>
                  <a:lnTo>
                    <a:pt x="1346" y="672"/>
                  </a:lnTo>
                  <a:lnTo>
                    <a:pt x="1345" y="708"/>
                  </a:lnTo>
                  <a:lnTo>
                    <a:pt x="1342" y="742"/>
                  </a:lnTo>
                  <a:lnTo>
                    <a:pt x="1338" y="775"/>
                  </a:lnTo>
                  <a:lnTo>
                    <a:pt x="1331" y="808"/>
                  </a:lnTo>
                  <a:lnTo>
                    <a:pt x="1324" y="840"/>
                  </a:lnTo>
                  <a:lnTo>
                    <a:pt x="1315" y="872"/>
                  </a:lnTo>
                  <a:lnTo>
                    <a:pt x="1305" y="903"/>
                  </a:lnTo>
                  <a:lnTo>
                    <a:pt x="1293" y="934"/>
                  </a:lnTo>
                  <a:lnTo>
                    <a:pt x="1279" y="964"/>
                  </a:lnTo>
                  <a:lnTo>
                    <a:pt x="1264" y="993"/>
                  </a:lnTo>
                  <a:lnTo>
                    <a:pt x="1248" y="1022"/>
                  </a:lnTo>
                  <a:lnTo>
                    <a:pt x="1231" y="1048"/>
                  </a:lnTo>
                  <a:lnTo>
                    <a:pt x="1212" y="1075"/>
                  </a:lnTo>
                  <a:lnTo>
                    <a:pt x="1192" y="1100"/>
                  </a:lnTo>
                  <a:lnTo>
                    <a:pt x="1171" y="1125"/>
                  </a:lnTo>
                  <a:lnTo>
                    <a:pt x="1149" y="1148"/>
                  </a:lnTo>
                  <a:lnTo>
                    <a:pt x="1124" y="1171"/>
                  </a:lnTo>
                  <a:lnTo>
                    <a:pt x="1100" y="1192"/>
                  </a:lnTo>
                  <a:lnTo>
                    <a:pt x="1075" y="1212"/>
                  </a:lnTo>
                  <a:lnTo>
                    <a:pt x="1048" y="1231"/>
                  </a:lnTo>
                  <a:lnTo>
                    <a:pt x="1022" y="1247"/>
                  </a:lnTo>
                  <a:lnTo>
                    <a:pt x="993" y="1264"/>
                  </a:lnTo>
                  <a:lnTo>
                    <a:pt x="964" y="1279"/>
                  </a:lnTo>
                  <a:lnTo>
                    <a:pt x="934" y="1293"/>
                  </a:lnTo>
                  <a:lnTo>
                    <a:pt x="904" y="1305"/>
                  </a:lnTo>
                  <a:lnTo>
                    <a:pt x="872" y="1315"/>
                  </a:lnTo>
                  <a:lnTo>
                    <a:pt x="840" y="1324"/>
                  </a:lnTo>
                  <a:lnTo>
                    <a:pt x="808" y="1331"/>
                  </a:lnTo>
                  <a:lnTo>
                    <a:pt x="775" y="1338"/>
                  </a:lnTo>
                  <a:lnTo>
                    <a:pt x="742" y="1341"/>
                  </a:lnTo>
                  <a:lnTo>
                    <a:pt x="708" y="1345"/>
                  </a:lnTo>
                  <a:lnTo>
                    <a:pt x="672" y="1346"/>
                  </a:lnTo>
                  <a:lnTo>
                    <a:pt x="672" y="1346"/>
                  </a:lnTo>
                  <a:lnTo>
                    <a:pt x="638" y="1345"/>
                  </a:lnTo>
                  <a:lnTo>
                    <a:pt x="604" y="1341"/>
                  </a:lnTo>
                  <a:lnTo>
                    <a:pt x="571" y="1338"/>
                  </a:lnTo>
                  <a:lnTo>
                    <a:pt x="537" y="1331"/>
                  </a:lnTo>
                  <a:lnTo>
                    <a:pt x="504" y="1324"/>
                  </a:lnTo>
                  <a:lnTo>
                    <a:pt x="473" y="1315"/>
                  </a:lnTo>
                  <a:lnTo>
                    <a:pt x="441" y="1305"/>
                  </a:lnTo>
                  <a:lnTo>
                    <a:pt x="411" y="1293"/>
                  </a:lnTo>
                  <a:lnTo>
                    <a:pt x="381" y="1279"/>
                  </a:lnTo>
                  <a:lnTo>
                    <a:pt x="353" y="1264"/>
                  </a:lnTo>
                  <a:lnTo>
                    <a:pt x="324" y="1247"/>
                  </a:lnTo>
                  <a:lnTo>
                    <a:pt x="296" y="1231"/>
                  </a:lnTo>
                  <a:lnTo>
                    <a:pt x="271" y="1212"/>
                  </a:lnTo>
                  <a:lnTo>
                    <a:pt x="245" y="1192"/>
                  </a:lnTo>
                  <a:lnTo>
                    <a:pt x="221" y="1171"/>
                  </a:lnTo>
                  <a:lnTo>
                    <a:pt x="197" y="1148"/>
                  </a:lnTo>
                  <a:lnTo>
                    <a:pt x="175" y="1125"/>
                  </a:lnTo>
                  <a:lnTo>
                    <a:pt x="154" y="1100"/>
                  </a:lnTo>
                  <a:lnTo>
                    <a:pt x="134" y="1075"/>
                  </a:lnTo>
                  <a:lnTo>
                    <a:pt x="115" y="1048"/>
                  </a:lnTo>
                  <a:lnTo>
                    <a:pt x="97" y="1022"/>
                  </a:lnTo>
                  <a:lnTo>
                    <a:pt x="82" y="993"/>
                  </a:lnTo>
                  <a:lnTo>
                    <a:pt x="66" y="964"/>
                  </a:lnTo>
                  <a:lnTo>
                    <a:pt x="53" y="934"/>
                  </a:lnTo>
                  <a:lnTo>
                    <a:pt x="41" y="903"/>
                  </a:lnTo>
                  <a:lnTo>
                    <a:pt x="31" y="872"/>
                  </a:lnTo>
                  <a:lnTo>
                    <a:pt x="21" y="840"/>
                  </a:lnTo>
                  <a:lnTo>
                    <a:pt x="14" y="808"/>
                  </a:lnTo>
                  <a:lnTo>
                    <a:pt x="8" y="775"/>
                  </a:lnTo>
                  <a:lnTo>
                    <a:pt x="3" y="742"/>
                  </a:lnTo>
                  <a:lnTo>
                    <a:pt x="1" y="708"/>
                  </a:lnTo>
                  <a:lnTo>
                    <a:pt x="0" y="672"/>
                  </a:lnTo>
                  <a:lnTo>
                    <a:pt x="0" y="672"/>
                  </a:lnTo>
                  <a:lnTo>
                    <a:pt x="1" y="638"/>
                  </a:lnTo>
                  <a:lnTo>
                    <a:pt x="3" y="604"/>
                  </a:lnTo>
                  <a:lnTo>
                    <a:pt x="8" y="570"/>
                  </a:lnTo>
                  <a:lnTo>
                    <a:pt x="14" y="537"/>
                  </a:lnTo>
                  <a:lnTo>
                    <a:pt x="21" y="504"/>
                  </a:lnTo>
                  <a:lnTo>
                    <a:pt x="31" y="473"/>
                  </a:lnTo>
                  <a:lnTo>
                    <a:pt x="41" y="441"/>
                  </a:lnTo>
                  <a:lnTo>
                    <a:pt x="53" y="411"/>
                  </a:lnTo>
                  <a:lnTo>
                    <a:pt x="66" y="381"/>
                  </a:lnTo>
                  <a:lnTo>
                    <a:pt x="82" y="351"/>
                  </a:lnTo>
                  <a:lnTo>
                    <a:pt x="97" y="324"/>
                  </a:lnTo>
                  <a:lnTo>
                    <a:pt x="115" y="296"/>
                  </a:lnTo>
                  <a:lnTo>
                    <a:pt x="134" y="269"/>
                  </a:lnTo>
                  <a:lnTo>
                    <a:pt x="154" y="245"/>
                  </a:lnTo>
                  <a:lnTo>
                    <a:pt x="175" y="220"/>
                  </a:lnTo>
                  <a:lnTo>
                    <a:pt x="197" y="196"/>
                  </a:lnTo>
                  <a:lnTo>
                    <a:pt x="221" y="174"/>
                  </a:lnTo>
                  <a:lnTo>
                    <a:pt x="245" y="153"/>
                  </a:lnTo>
                  <a:lnTo>
                    <a:pt x="271" y="133"/>
                  </a:lnTo>
                  <a:lnTo>
                    <a:pt x="296" y="115"/>
                  </a:lnTo>
                  <a:lnTo>
                    <a:pt x="324" y="97"/>
                  </a:lnTo>
                  <a:lnTo>
                    <a:pt x="353" y="81"/>
                  </a:lnTo>
                  <a:lnTo>
                    <a:pt x="381" y="66"/>
                  </a:lnTo>
                  <a:lnTo>
                    <a:pt x="411" y="53"/>
                  </a:lnTo>
                  <a:lnTo>
                    <a:pt x="441" y="40"/>
                  </a:lnTo>
                  <a:lnTo>
                    <a:pt x="473" y="31"/>
                  </a:lnTo>
                  <a:lnTo>
                    <a:pt x="504" y="21"/>
                  </a:lnTo>
                  <a:lnTo>
                    <a:pt x="537" y="14"/>
                  </a:lnTo>
                  <a:lnTo>
                    <a:pt x="571" y="7"/>
                  </a:lnTo>
                  <a:lnTo>
                    <a:pt x="604" y="3"/>
                  </a:lnTo>
                  <a:lnTo>
                    <a:pt x="638" y="1"/>
                  </a:lnTo>
                  <a:lnTo>
                    <a:pt x="672" y="0"/>
                  </a:lnTo>
                  <a:lnTo>
                    <a:pt x="672" y="0"/>
                  </a:lnTo>
                  <a:lnTo>
                    <a:pt x="708" y="1"/>
                  </a:lnTo>
                  <a:lnTo>
                    <a:pt x="742" y="3"/>
                  </a:lnTo>
                  <a:lnTo>
                    <a:pt x="775" y="7"/>
                  </a:lnTo>
                  <a:lnTo>
                    <a:pt x="808" y="14"/>
                  </a:lnTo>
                  <a:lnTo>
                    <a:pt x="840" y="21"/>
                  </a:lnTo>
                  <a:lnTo>
                    <a:pt x="872" y="31"/>
                  </a:lnTo>
                  <a:lnTo>
                    <a:pt x="904" y="40"/>
                  </a:lnTo>
                  <a:lnTo>
                    <a:pt x="934" y="53"/>
                  </a:lnTo>
                  <a:lnTo>
                    <a:pt x="964" y="66"/>
                  </a:lnTo>
                  <a:lnTo>
                    <a:pt x="993" y="81"/>
                  </a:lnTo>
                  <a:lnTo>
                    <a:pt x="1022" y="97"/>
                  </a:lnTo>
                  <a:lnTo>
                    <a:pt x="1048" y="115"/>
                  </a:lnTo>
                  <a:lnTo>
                    <a:pt x="1075" y="133"/>
                  </a:lnTo>
                  <a:lnTo>
                    <a:pt x="1100" y="153"/>
                  </a:lnTo>
                  <a:lnTo>
                    <a:pt x="1124" y="174"/>
                  </a:lnTo>
                  <a:lnTo>
                    <a:pt x="1149" y="196"/>
                  </a:lnTo>
                  <a:lnTo>
                    <a:pt x="1171" y="220"/>
                  </a:lnTo>
                  <a:lnTo>
                    <a:pt x="1192" y="245"/>
                  </a:lnTo>
                  <a:lnTo>
                    <a:pt x="1212" y="269"/>
                  </a:lnTo>
                  <a:lnTo>
                    <a:pt x="1231" y="296"/>
                  </a:lnTo>
                  <a:lnTo>
                    <a:pt x="1248" y="324"/>
                  </a:lnTo>
                  <a:lnTo>
                    <a:pt x="1264" y="351"/>
                  </a:lnTo>
                  <a:lnTo>
                    <a:pt x="1279" y="381"/>
                  </a:lnTo>
                  <a:lnTo>
                    <a:pt x="1293" y="411"/>
                  </a:lnTo>
                  <a:lnTo>
                    <a:pt x="1305" y="441"/>
                  </a:lnTo>
                  <a:lnTo>
                    <a:pt x="1315" y="473"/>
                  </a:lnTo>
                  <a:lnTo>
                    <a:pt x="1324" y="504"/>
                  </a:lnTo>
                  <a:lnTo>
                    <a:pt x="1331" y="537"/>
                  </a:lnTo>
                  <a:lnTo>
                    <a:pt x="1338" y="570"/>
                  </a:lnTo>
                  <a:lnTo>
                    <a:pt x="1342" y="604"/>
                  </a:lnTo>
                  <a:lnTo>
                    <a:pt x="1345" y="638"/>
                  </a:lnTo>
                  <a:lnTo>
                    <a:pt x="1346" y="672"/>
                  </a:lnTo>
                </a:path>
              </a:pathLst>
            </a:custGeom>
            <a:solidFill>
              <a:schemeClr val="accent6"/>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92" name="Freeform 98"/>
            <p:cNvSpPr>
              <a:spLocks/>
            </p:cNvSpPr>
            <p:nvPr/>
          </p:nvSpPr>
          <p:spPr bwMode="auto">
            <a:xfrm>
              <a:off x="893763" y="2938463"/>
              <a:ext cx="207963" cy="266700"/>
            </a:xfrm>
            <a:custGeom>
              <a:avLst/>
              <a:gdLst>
                <a:gd name="T0" fmla="*/ 145 w 651"/>
                <a:gd name="T1" fmla="*/ 840 h 840"/>
                <a:gd name="T2" fmla="*/ 176 w 651"/>
                <a:gd name="T3" fmla="*/ 806 h 840"/>
                <a:gd name="T4" fmla="*/ 235 w 651"/>
                <a:gd name="T5" fmla="*/ 694 h 840"/>
                <a:gd name="T6" fmla="*/ 277 w 651"/>
                <a:gd name="T7" fmla="*/ 554 h 840"/>
                <a:gd name="T8" fmla="*/ 335 w 651"/>
                <a:gd name="T9" fmla="*/ 597 h 840"/>
                <a:gd name="T10" fmla="*/ 405 w 651"/>
                <a:gd name="T11" fmla="*/ 607 h 840"/>
                <a:gd name="T12" fmla="*/ 472 w 651"/>
                <a:gd name="T13" fmla="*/ 594 h 840"/>
                <a:gd name="T14" fmla="*/ 531 w 651"/>
                <a:gd name="T15" fmla="*/ 562 h 840"/>
                <a:gd name="T16" fmla="*/ 580 w 651"/>
                <a:gd name="T17" fmla="*/ 513 h 840"/>
                <a:gd name="T18" fmla="*/ 622 w 651"/>
                <a:gd name="T19" fmla="*/ 438 h 840"/>
                <a:gd name="T20" fmla="*/ 651 w 651"/>
                <a:gd name="T21" fmla="*/ 276 h 840"/>
                <a:gd name="T22" fmla="*/ 646 w 651"/>
                <a:gd name="T23" fmla="*/ 224 h 840"/>
                <a:gd name="T24" fmla="*/ 624 w 651"/>
                <a:gd name="T25" fmla="*/ 161 h 840"/>
                <a:gd name="T26" fmla="*/ 586 w 651"/>
                <a:gd name="T27" fmla="*/ 105 h 840"/>
                <a:gd name="T28" fmla="*/ 535 w 651"/>
                <a:gd name="T29" fmla="*/ 58 h 840"/>
                <a:gd name="T30" fmla="*/ 471 w 651"/>
                <a:gd name="T31" fmla="*/ 23 h 840"/>
                <a:gd name="T32" fmla="*/ 396 w 651"/>
                <a:gd name="T33" fmla="*/ 3 h 840"/>
                <a:gd name="T34" fmla="*/ 324 w 651"/>
                <a:gd name="T35" fmla="*/ 1 h 840"/>
                <a:gd name="T36" fmla="*/ 228 w 651"/>
                <a:gd name="T37" fmla="*/ 16 h 840"/>
                <a:gd name="T38" fmla="*/ 149 w 651"/>
                <a:gd name="T39" fmla="*/ 51 h 840"/>
                <a:gd name="T40" fmla="*/ 86 w 651"/>
                <a:gd name="T41" fmla="*/ 99 h 840"/>
                <a:gd name="T42" fmla="*/ 41 w 651"/>
                <a:gd name="T43" fmla="*/ 158 h 840"/>
                <a:gd name="T44" fmla="*/ 12 w 651"/>
                <a:gd name="T45" fmla="*/ 223 h 840"/>
                <a:gd name="T46" fmla="*/ 0 w 651"/>
                <a:gd name="T47" fmla="*/ 302 h 840"/>
                <a:gd name="T48" fmla="*/ 10 w 651"/>
                <a:gd name="T49" fmla="*/ 376 h 840"/>
                <a:gd name="T50" fmla="*/ 39 w 651"/>
                <a:gd name="T51" fmla="*/ 438 h 840"/>
                <a:gd name="T52" fmla="*/ 88 w 651"/>
                <a:gd name="T53" fmla="*/ 481 h 840"/>
                <a:gd name="T54" fmla="*/ 111 w 651"/>
                <a:gd name="T55" fmla="*/ 488 h 840"/>
                <a:gd name="T56" fmla="*/ 123 w 651"/>
                <a:gd name="T57" fmla="*/ 474 h 840"/>
                <a:gd name="T58" fmla="*/ 134 w 651"/>
                <a:gd name="T59" fmla="*/ 421 h 840"/>
                <a:gd name="T60" fmla="*/ 113 w 651"/>
                <a:gd name="T61" fmla="*/ 390 h 840"/>
                <a:gd name="T62" fmla="*/ 95 w 651"/>
                <a:gd name="T63" fmla="*/ 329 h 840"/>
                <a:gd name="T64" fmla="*/ 104 w 651"/>
                <a:gd name="T65" fmla="*/ 248 h 840"/>
                <a:gd name="T66" fmla="*/ 158 w 651"/>
                <a:gd name="T67" fmla="*/ 152 h 840"/>
                <a:gd name="T68" fmla="*/ 256 w 651"/>
                <a:gd name="T69" fmla="*/ 94 h 840"/>
                <a:gd name="T70" fmla="*/ 356 w 651"/>
                <a:gd name="T71" fmla="*/ 84 h 840"/>
                <a:gd name="T72" fmla="*/ 452 w 651"/>
                <a:gd name="T73" fmla="*/ 114 h 840"/>
                <a:gd name="T74" fmla="*/ 512 w 651"/>
                <a:gd name="T75" fmla="*/ 178 h 840"/>
                <a:gd name="T76" fmla="*/ 533 w 651"/>
                <a:gd name="T77" fmla="*/ 267 h 840"/>
                <a:gd name="T78" fmla="*/ 522 w 651"/>
                <a:gd name="T79" fmla="*/ 367 h 840"/>
                <a:gd name="T80" fmla="*/ 480 w 651"/>
                <a:gd name="T81" fmla="*/ 465 h 840"/>
                <a:gd name="T82" fmla="*/ 413 w 651"/>
                <a:gd name="T83" fmla="*/ 520 h 840"/>
                <a:gd name="T84" fmla="*/ 381 w 651"/>
                <a:gd name="T85" fmla="*/ 524 h 840"/>
                <a:gd name="T86" fmla="*/ 337 w 651"/>
                <a:gd name="T87" fmla="*/ 513 h 840"/>
                <a:gd name="T88" fmla="*/ 310 w 651"/>
                <a:gd name="T89" fmla="*/ 483 h 840"/>
                <a:gd name="T90" fmla="*/ 302 w 651"/>
                <a:gd name="T91" fmla="*/ 441 h 840"/>
                <a:gd name="T92" fmla="*/ 331 w 651"/>
                <a:gd name="T93" fmla="*/ 339 h 840"/>
                <a:gd name="T94" fmla="*/ 346 w 651"/>
                <a:gd name="T95" fmla="*/ 260 h 840"/>
                <a:gd name="T96" fmla="*/ 331 w 651"/>
                <a:gd name="T97" fmla="*/ 209 h 840"/>
                <a:gd name="T98" fmla="*/ 303 w 651"/>
                <a:gd name="T99" fmla="*/ 191 h 840"/>
                <a:gd name="T100" fmla="*/ 272 w 651"/>
                <a:gd name="T101" fmla="*/ 188 h 840"/>
                <a:gd name="T102" fmla="*/ 229 w 651"/>
                <a:gd name="T103" fmla="*/ 208 h 840"/>
                <a:gd name="T104" fmla="*/ 199 w 651"/>
                <a:gd name="T105" fmla="*/ 252 h 840"/>
                <a:gd name="T106" fmla="*/ 188 w 651"/>
                <a:gd name="T107" fmla="*/ 313 h 840"/>
                <a:gd name="T108" fmla="*/ 196 w 651"/>
                <a:gd name="T109" fmla="*/ 368 h 840"/>
                <a:gd name="T110" fmla="*/ 142 w 651"/>
                <a:gd name="T111" fmla="*/ 652 h 840"/>
                <a:gd name="T112" fmla="*/ 133 w 651"/>
                <a:gd name="T113" fmla="*/ 770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1" h="840">
                  <a:moveTo>
                    <a:pt x="141" y="836"/>
                  </a:moveTo>
                  <a:lnTo>
                    <a:pt x="141" y="836"/>
                  </a:lnTo>
                  <a:lnTo>
                    <a:pt x="141" y="837"/>
                  </a:lnTo>
                  <a:lnTo>
                    <a:pt x="142" y="839"/>
                  </a:lnTo>
                  <a:lnTo>
                    <a:pt x="145" y="840"/>
                  </a:lnTo>
                  <a:lnTo>
                    <a:pt x="148" y="840"/>
                  </a:lnTo>
                  <a:lnTo>
                    <a:pt x="152" y="838"/>
                  </a:lnTo>
                  <a:lnTo>
                    <a:pt x="152" y="838"/>
                  </a:lnTo>
                  <a:lnTo>
                    <a:pt x="164" y="822"/>
                  </a:lnTo>
                  <a:lnTo>
                    <a:pt x="176" y="806"/>
                  </a:lnTo>
                  <a:lnTo>
                    <a:pt x="189" y="785"/>
                  </a:lnTo>
                  <a:lnTo>
                    <a:pt x="204" y="762"/>
                  </a:lnTo>
                  <a:lnTo>
                    <a:pt x="217" y="737"/>
                  </a:lnTo>
                  <a:lnTo>
                    <a:pt x="229" y="709"/>
                  </a:lnTo>
                  <a:lnTo>
                    <a:pt x="235" y="694"/>
                  </a:lnTo>
                  <a:lnTo>
                    <a:pt x="239" y="680"/>
                  </a:lnTo>
                  <a:lnTo>
                    <a:pt x="239" y="680"/>
                  </a:lnTo>
                  <a:lnTo>
                    <a:pt x="272" y="547"/>
                  </a:lnTo>
                  <a:lnTo>
                    <a:pt x="272" y="547"/>
                  </a:lnTo>
                  <a:lnTo>
                    <a:pt x="277" y="554"/>
                  </a:lnTo>
                  <a:lnTo>
                    <a:pt x="280" y="560"/>
                  </a:lnTo>
                  <a:lnTo>
                    <a:pt x="291" y="571"/>
                  </a:lnTo>
                  <a:lnTo>
                    <a:pt x="303" y="581"/>
                  </a:lnTo>
                  <a:lnTo>
                    <a:pt x="319" y="589"/>
                  </a:lnTo>
                  <a:lnTo>
                    <a:pt x="335" y="597"/>
                  </a:lnTo>
                  <a:lnTo>
                    <a:pt x="353" y="603"/>
                  </a:lnTo>
                  <a:lnTo>
                    <a:pt x="372" y="607"/>
                  </a:lnTo>
                  <a:lnTo>
                    <a:pt x="390" y="608"/>
                  </a:lnTo>
                  <a:lnTo>
                    <a:pt x="390" y="608"/>
                  </a:lnTo>
                  <a:lnTo>
                    <a:pt x="405" y="607"/>
                  </a:lnTo>
                  <a:lnTo>
                    <a:pt x="419" y="606"/>
                  </a:lnTo>
                  <a:lnTo>
                    <a:pt x="433" y="604"/>
                  </a:lnTo>
                  <a:lnTo>
                    <a:pt x="447" y="602"/>
                  </a:lnTo>
                  <a:lnTo>
                    <a:pt x="459" y="598"/>
                  </a:lnTo>
                  <a:lnTo>
                    <a:pt x="472" y="594"/>
                  </a:lnTo>
                  <a:lnTo>
                    <a:pt x="484" y="588"/>
                  </a:lnTo>
                  <a:lnTo>
                    <a:pt x="497" y="583"/>
                  </a:lnTo>
                  <a:lnTo>
                    <a:pt x="509" y="576"/>
                  </a:lnTo>
                  <a:lnTo>
                    <a:pt x="520" y="569"/>
                  </a:lnTo>
                  <a:lnTo>
                    <a:pt x="531" y="562"/>
                  </a:lnTo>
                  <a:lnTo>
                    <a:pt x="541" y="553"/>
                  </a:lnTo>
                  <a:lnTo>
                    <a:pt x="551" y="544"/>
                  </a:lnTo>
                  <a:lnTo>
                    <a:pt x="561" y="534"/>
                  </a:lnTo>
                  <a:lnTo>
                    <a:pt x="571" y="524"/>
                  </a:lnTo>
                  <a:lnTo>
                    <a:pt x="580" y="513"/>
                  </a:lnTo>
                  <a:lnTo>
                    <a:pt x="587" y="502"/>
                  </a:lnTo>
                  <a:lnTo>
                    <a:pt x="595" y="490"/>
                  </a:lnTo>
                  <a:lnTo>
                    <a:pt x="603" y="478"/>
                  </a:lnTo>
                  <a:lnTo>
                    <a:pt x="609" y="464"/>
                  </a:lnTo>
                  <a:lnTo>
                    <a:pt x="622" y="438"/>
                  </a:lnTo>
                  <a:lnTo>
                    <a:pt x="633" y="408"/>
                  </a:lnTo>
                  <a:lnTo>
                    <a:pt x="640" y="378"/>
                  </a:lnTo>
                  <a:lnTo>
                    <a:pt x="646" y="346"/>
                  </a:lnTo>
                  <a:lnTo>
                    <a:pt x="650" y="312"/>
                  </a:lnTo>
                  <a:lnTo>
                    <a:pt x="651" y="276"/>
                  </a:lnTo>
                  <a:lnTo>
                    <a:pt x="651" y="276"/>
                  </a:lnTo>
                  <a:lnTo>
                    <a:pt x="650" y="263"/>
                  </a:lnTo>
                  <a:lnTo>
                    <a:pt x="649" y="250"/>
                  </a:lnTo>
                  <a:lnTo>
                    <a:pt x="648" y="236"/>
                  </a:lnTo>
                  <a:lnTo>
                    <a:pt x="646" y="224"/>
                  </a:lnTo>
                  <a:lnTo>
                    <a:pt x="643" y="211"/>
                  </a:lnTo>
                  <a:lnTo>
                    <a:pt x="638" y="198"/>
                  </a:lnTo>
                  <a:lnTo>
                    <a:pt x="635" y="186"/>
                  </a:lnTo>
                  <a:lnTo>
                    <a:pt x="629" y="173"/>
                  </a:lnTo>
                  <a:lnTo>
                    <a:pt x="624" y="161"/>
                  </a:lnTo>
                  <a:lnTo>
                    <a:pt x="617" y="149"/>
                  </a:lnTo>
                  <a:lnTo>
                    <a:pt x="611" y="138"/>
                  </a:lnTo>
                  <a:lnTo>
                    <a:pt x="603" y="126"/>
                  </a:lnTo>
                  <a:lnTo>
                    <a:pt x="595" y="115"/>
                  </a:lnTo>
                  <a:lnTo>
                    <a:pt x="586" y="105"/>
                  </a:lnTo>
                  <a:lnTo>
                    <a:pt x="577" y="95"/>
                  </a:lnTo>
                  <a:lnTo>
                    <a:pt x="567" y="85"/>
                  </a:lnTo>
                  <a:lnTo>
                    <a:pt x="557" y="75"/>
                  </a:lnTo>
                  <a:lnTo>
                    <a:pt x="546" y="66"/>
                  </a:lnTo>
                  <a:lnTo>
                    <a:pt x="535" y="58"/>
                  </a:lnTo>
                  <a:lnTo>
                    <a:pt x="523" y="50"/>
                  </a:lnTo>
                  <a:lnTo>
                    <a:pt x="511" y="43"/>
                  </a:lnTo>
                  <a:lnTo>
                    <a:pt x="498" y="35"/>
                  </a:lnTo>
                  <a:lnTo>
                    <a:pt x="484" y="29"/>
                  </a:lnTo>
                  <a:lnTo>
                    <a:pt x="471" y="23"/>
                  </a:lnTo>
                  <a:lnTo>
                    <a:pt x="457" y="17"/>
                  </a:lnTo>
                  <a:lnTo>
                    <a:pt x="442" y="13"/>
                  </a:lnTo>
                  <a:lnTo>
                    <a:pt x="427" y="10"/>
                  </a:lnTo>
                  <a:lnTo>
                    <a:pt x="412" y="6"/>
                  </a:lnTo>
                  <a:lnTo>
                    <a:pt x="396" y="3"/>
                  </a:lnTo>
                  <a:lnTo>
                    <a:pt x="379" y="2"/>
                  </a:lnTo>
                  <a:lnTo>
                    <a:pt x="363" y="1"/>
                  </a:lnTo>
                  <a:lnTo>
                    <a:pt x="345" y="0"/>
                  </a:lnTo>
                  <a:lnTo>
                    <a:pt x="345" y="0"/>
                  </a:lnTo>
                  <a:lnTo>
                    <a:pt x="324" y="1"/>
                  </a:lnTo>
                  <a:lnTo>
                    <a:pt x="304" y="2"/>
                  </a:lnTo>
                  <a:lnTo>
                    <a:pt x="284" y="4"/>
                  </a:lnTo>
                  <a:lnTo>
                    <a:pt x="264" y="7"/>
                  </a:lnTo>
                  <a:lnTo>
                    <a:pt x="247" y="12"/>
                  </a:lnTo>
                  <a:lnTo>
                    <a:pt x="228" y="16"/>
                  </a:lnTo>
                  <a:lnTo>
                    <a:pt x="211" y="22"/>
                  </a:lnTo>
                  <a:lnTo>
                    <a:pt x="195" y="27"/>
                  </a:lnTo>
                  <a:lnTo>
                    <a:pt x="179" y="35"/>
                  </a:lnTo>
                  <a:lnTo>
                    <a:pt x="164" y="43"/>
                  </a:lnTo>
                  <a:lnTo>
                    <a:pt x="149" y="51"/>
                  </a:lnTo>
                  <a:lnTo>
                    <a:pt x="135" y="59"/>
                  </a:lnTo>
                  <a:lnTo>
                    <a:pt x="122" y="68"/>
                  </a:lnTo>
                  <a:lnTo>
                    <a:pt x="110" y="78"/>
                  </a:lnTo>
                  <a:lnTo>
                    <a:pt x="99" y="88"/>
                  </a:lnTo>
                  <a:lnTo>
                    <a:pt x="86" y="99"/>
                  </a:lnTo>
                  <a:lnTo>
                    <a:pt x="76" y="110"/>
                  </a:lnTo>
                  <a:lnTo>
                    <a:pt x="67" y="123"/>
                  </a:lnTo>
                  <a:lnTo>
                    <a:pt x="58" y="134"/>
                  </a:lnTo>
                  <a:lnTo>
                    <a:pt x="49" y="146"/>
                  </a:lnTo>
                  <a:lnTo>
                    <a:pt x="41" y="158"/>
                  </a:lnTo>
                  <a:lnTo>
                    <a:pt x="34" y="171"/>
                  </a:lnTo>
                  <a:lnTo>
                    <a:pt x="28" y="183"/>
                  </a:lnTo>
                  <a:lnTo>
                    <a:pt x="22" y="197"/>
                  </a:lnTo>
                  <a:lnTo>
                    <a:pt x="17" y="210"/>
                  </a:lnTo>
                  <a:lnTo>
                    <a:pt x="12" y="223"/>
                  </a:lnTo>
                  <a:lnTo>
                    <a:pt x="6" y="250"/>
                  </a:lnTo>
                  <a:lnTo>
                    <a:pt x="1" y="276"/>
                  </a:lnTo>
                  <a:lnTo>
                    <a:pt x="1" y="288"/>
                  </a:lnTo>
                  <a:lnTo>
                    <a:pt x="0" y="302"/>
                  </a:lnTo>
                  <a:lnTo>
                    <a:pt x="0" y="302"/>
                  </a:lnTo>
                  <a:lnTo>
                    <a:pt x="1" y="317"/>
                  </a:lnTo>
                  <a:lnTo>
                    <a:pt x="2" y="333"/>
                  </a:lnTo>
                  <a:lnTo>
                    <a:pt x="4" y="347"/>
                  </a:lnTo>
                  <a:lnTo>
                    <a:pt x="7" y="361"/>
                  </a:lnTo>
                  <a:lnTo>
                    <a:pt x="10" y="376"/>
                  </a:lnTo>
                  <a:lnTo>
                    <a:pt x="13" y="389"/>
                  </a:lnTo>
                  <a:lnTo>
                    <a:pt x="19" y="402"/>
                  </a:lnTo>
                  <a:lnTo>
                    <a:pt x="25" y="415"/>
                  </a:lnTo>
                  <a:lnTo>
                    <a:pt x="31" y="427"/>
                  </a:lnTo>
                  <a:lnTo>
                    <a:pt x="39" y="438"/>
                  </a:lnTo>
                  <a:lnTo>
                    <a:pt x="47" y="448"/>
                  </a:lnTo>
                  <a:lnTo>
                    <a:pt x="55" y="458"/>
                  </a:lnTo>
                  <a:lnTo>
                    <a:pt x="65" y="467"/>
                  </a:lnTo>
                  <a:lnTo>
                    <a:pt x="75" y="474"/>
                  </a:lnTo>
                  <a:lnTo>
                    <a:pt x="88" y="481"/>
                  </a:lnTo>
                  <a:lnTo>
                    <a:pt x="100" y="486"/>
                  </a:lnTo>
                  <a:lnTo>
                    <a:pt x="100" y="486"/>
                  </a:lnTo>
                  <a:lnTo>
                    <a:pt x="103" y="488"/>
                  </a:lnTo>
                  <a:lnTo>
                    <a:pt x="107" y="488"/>
                  </a:lnTo>
                  <a:lnTo>
                    <a:pt x="111" y="488"/>
                  </a:lnTo>
                  <a:lnTo>
                    <a:pt x="114" y="486"/>
                  </a:lnTo>
                  <a:lnTo>
                    <a:pt x="117" y="484"/>
                  </a:lnTo>
                  <a:lnTo>
                    <a:pt x="120" y="482"/>
                  </a:lnTo>
                  <a:lnTo>
                    <a:pt x="122" y="479"/>
                  </a:lnTo>
                  <a:lnTo>
                    <a:pt x="123" y="474"/>
                  </a:lnTo>
                  <a:lnTo>
                    <a:pt x="123" y="474"/>
                  </a:lnTo>
                  <a:lnTo>
                    <a:pt x="133" y="436"/>
                  </a:lnTo>
                  <a:lnTo>
                    <a:pt x="133" y="436"/>
                  </a:lnTo>
                  <a:lnTo>
                    <a:pt x="135" y="428"/>
                  </a:lnTo>
                  <a:lnTo>
                    <a:pt x="134" y="421"/>
                  </a:lnTo>
                  <a:lnTo>
                    <a:pt x="132" y="416"/>
                  </a:lnTo>
                  <a:lnTo>
                    <a:pt x="126" y="409"/>
                  </a:lnTo>
                  <a:lnTo>
                    <a:pt x="126" y="409"/>
                  </a:lnTo>
                  <a:lnTo>
                    <a:pt x="120" y="400"/>
                  </a:lnTo>
                  <a:lnTo>
                    <a:pt x="113" y="390"/>
                  </a:lnTo>
                  <a:lnTo>
                    <a:pt x="107" y="379"/>
                  </a:lnTo>
                  <a:lnTo>
                    <a:pt x="103" y="368"/>
                  </a:lnTo>
                  <a:lnTo>
                    <a:pt x="100" y="356"/>
                  </a:lnTo>
                  <a:lnTo>
                    <a:pt x="96" y="343"/>
                  </a:lnTo>
                  <a:lnTo>
                    <a:pt x="95" y="329"/>
                  </a:lnTo>
                  <a:lnTo>
                    <a:pt x="94" y="314"/>
                  </a:lnTo>
                  <a:lnTo>
                    <a:pt x="94" y="314"/>
                  </a:lnTo>
                  <a:lnTo>
                    <a:pt x="95" y="291"/>
                  </a:lnTo>
                  <a:lnTo>
                    <a:pt x="99" y="269"/>
                  </a:lnTo>
                  <a:lnTo>
                    <a:pt x="104" y="248"/>
                  </a:lnTo>
                  <a:lnTo>
                    <a:pt x="111" y="227"/>
                  </a:lnTo>
                  <a:lnTo>
                    <a:pt x="120" y="207"/>
                  </a:lnTo>
                  <a:lnTo>
                    <a:pt x="131" y="187"/>
                  </a:lnTo>
                  <a:lnTo>
                    <a:pt x="144" y="169"/>
                  </a:lnTo>
                  <a:lnTo>
                    <a:pt x="158" y="152"/>
                  </a:lnTo>
                  <a:lnTo>
                    <a:pt x="175" y="137"/>
                  </a:lnTo>
                  <a:lnTo>
                    <a:pt x="193" y="124"/>
                  </a:lnTo>
                  <a:lnTo>
                    <a:pt x="212" y="111"/>
                  </a:lnTo>
                  <a:lnTo>
                    <a:pt x="233" y="102"/>
                  </a:lnTo>
                  <a:lnTo>
                    <a:pt x="256" y="94"/>
                  </a:lnTo>
                  <a:lnTo>
                    <a:pt x="280" y="87"/>
                  </a:lnTo>
                  <a:lnTo>
                    <a:pt x="305" y="84"/>
                  </a:lnTo>
                  <a:lnTo>
                    <a:pt x="332" y="83"/>
                  </a:lnTo>
                  <a:lnTo>
                    <a:pt x="332" y="83"/>
                  </a:lnTo>
                  <a:lnTo>
                    <a:pt x="356" y="84"/>
                  </a:lnTo>
                  <a:lnTo>
                    <a:pt x="378" y="86"/>
                  </a:lnTo>
                  <a:lnTo>
                    <a:pt x="399" y="90"/>
                  </a:lnTo>
                  <a:lnTo>
                    <a:pt x="418" y="96"/>
                  </a:lnTo>
                  <a:lnTo>
                    <a:pt x="436" y="104"/>
                  </a:lnTo>
                  <a:lnTo>
                    <a:pt x="452" y="114"/>
                  </a:lnTo>
                  <a:lnTo>
                    <a:pt x="468" y="124"/>
                  </a:lnTo>
                  <a:lnTo>
                    <a:pt x="481" y="136"/>
                  </a:lnTo>
                  <a:lnTo>
                    <a:pt x="493" y="148"/>
                  </a:lnTo>
                  <a:lnTo>
                    <a:pt x="503" y="162"/>
                  </a:lnTo>
                  <a:lnTo>
                    <a:pt x="512" y="178"/>
                  </a:lnTo>
                  <a:lnTo>
                    <a:pt x="520" y="194"/>
                  </a:lnTo>
                  <a:lnTo>
                    <a:pt x="525" y="211"/>
                  </a:lnTo>
                  <a:lnTo>
                    <a:pt x="530" y="229"/>
                  </a:lnTo>
                  <a:lnTo>
                    <a:pt x="532" y="248"/>
                  </a:lnTo>
                  <a:lnTo>
                    <a:pt x="533" y="267"/>
                  </a:lnTo>
                  <a:lnTo>
                    <a:pt x="533" y="267"/>
                  </a:lnTo>
                  <a:lnTo>
                    <a:pt x="532" y="294"/>
                  </a:lnTo>
                  <a:lnTo>
                    <a:pt x="530" y="318"/>
                  </a:lnTo>
                  <a:lnTo>
                    <a:pt x="526" y="343"/>
                  </a:lnTo>
                  <a:lnTo>
                    <a:pt x="522" y="367"/>
                  </a:lnTo>
                  <a:lnTo>
                    <a:pt x="517" y="389"/>
                  </a:lnTo>
                  <a:lnTo>
                    <a:pt x="509" y="410"/>
                  </a:lnTo>
                  <a:lnTo>
                    <a:pt x="500" y="430"/>
                  </a:lnTo>
                  <a:lnTo>
                    <a:pt x="491" y="448"/>
                  </a:lnTo>
                  <a:lnTo>
                    <a:pt x="480" y="465"/>
                  </a:lnTo>
                  <a:lnTo>
                    <a:pt x="469" y="480"/>
                  </a:lnTo>
                  <a:lnTo>
                    <a:pt x="456" y="493"/>
                  </a:lnTo>
                  <a:lnTo>
                    <a:pt x="442" y="504"/>
                  </a:lnTo>
                  <a:lnTo>
                    <a:pt x="428" y="513"/>
                  </a:lnTo>
                  <a:lnTo>
                    <a:pt x="413" y="520"/>
                  </a:lnTo>
                  <a:lnTo>
                    <a:pt x="405" y="522"/>
                  </a:lnTo>
                  <a:lnTo>
                    <a:pt x="397" y="523"/>
                  </a:lnTo>
                  <a:lnTo>
                    <a:pt x="388" y="524"/>
                  </a:lnTo>
                  <a:lnTo>
                    <a:pt x="381" y="524"/>
                  </a:lnTo>
                  <a:lnTo>
                    <a:pt x="381" y="524"/>
                  </a:lnTo>
                  <a:lnTo>
                    <a:pt x="371" y="524"/>
                  </a:lnTo>
                  <a:lnTo>
                    <a:pt x="362" y="523"/>
                  </a:lnTo>
                  <a:lnTo>
                    <a:pt x="353" y="521"/>
                  </a:lnTo>
                  <a:lnTo>
                    <a:pt x="345" y="517"/>
                  </a:lnTo>
                  <a:lnTo>
                    <a:pt x="337" y="513"/>
                  </a:lnTo>
                  <a:lnTo>
                    <a:pt x="331" y="509"/>
                  </a:lnTo>
                  <a:lnTo>
                    <a:pt x="324" y="503"/>
                  </a:lnTo>
                  <a:lnTo>
                    <a:pt x="319" y="498"/>
                  </a:lnTo>
                  <a:lnTo>
                    <a:pt x="313" y="491"/>
                  </a:lnTo>
                  <a:lnTo>
                    <a:pt x="310" y="483"/>
                  </a:lnTo>
                  <a:lnTo>
                    <a:pt x="306" y="475"/>
                  </a:lnTo>
                  <a:lnTo>
                    <a:pt x="303" y="468"/>
                  </a:lnTo>
                  <a:lnTo>
                    <a:pt x="302" y="459"/>
                  </a:lnTo>
                  <a:lnTo>
                    <a:pt x="302" y="450"/>
                  </a:lnTo>
                  <a:lnTo>
                    <a:pt x="302" y="441"/>
                  </a:lnTo>
                  <a:lnTo>
                    <a:pt x="304" y="431"/>
                  </a:lnTo>
                  <a:lnTo>
                    <a:pt x="304" y="431"/>
                  </a:lnTo>
                  <a:lnTo>
                    <a:pt x="310" y="408"/>
                  </a:lnTo>
                  <a:lnTo>
                    <a:pt x="316" y="385"/>
                  </a:lnTo>
                  <a:lnTo>
                    <a:pt x="331" y="339"/>
                  </a:lnTo>
                  <a:lnTo>
                    <a:pt x="336" y="317"/>
                  </a:lnTo>
                  <a:lnTo>
                    <a:pt x="342" y="297"/>
                  </a:lnTo>
                  <a:lnTo>
                    <a:pt x="345" y="277"/>
                  </a:lnTo>
                  <a:lnTo>
                    <a:pt x="346" y="260"/>
                  </a:lnTo>
                  <a:lnTo>
                    <a:pt x="346" y="260"/>
                  </a:lnTo>
                  <a:lnTo>
                    <a:pt x="345" y="245"/>
                  </a:lnTo>
                  <a:lnTo>
                    <a:pt x="343" y="232"/>
                  </a:lnTo>
                  <a:lnTo>
                    <a:pt x="337" y="220"/>
                  </a:lnTo>
                  <a:lnTo>
                    <a:pt x="334" y="214"/>
                  </a:lnTo>
                  <a:lnTo>
                    <a:pt x="331" y="209"/>
                  </a:lnTo>
                  <a:lnTo>
                    <a:pt x="326" y="204"/>
                  </a:lnTo>
                  <a:lnTo>
                    <a:pt x="321" y="200"/>
                  </a:lnTo>
                  <a:lnTo>
                    <a:pt x="316" y="197"/>
                  </a:lnTo>
                  <a:lnTo>
                    <a:pt x="310" y="193"/>
                  </a:lnTo>
                  <a:lnTo>
                    <a:pt x="303" y="191"/>
                  </a:lnTo>
                  <a:lnTo>
                    <a:pt x="297" y="189"/>
                  </a:lnTo>
                  <a:lnTo>
                    <a:pt x="289" y="188"/>
                  </a:lnTo>
                  <a:lnTo>
                    <a:pt x="281" y="188"/>
                  </a:lnTo>
                  <a:lnTo>
                    <a:pt x="281" y="188"/>
                  </a:lnTo>
                  <a:lnTo>
                    <a:pt x="272" y="188"/>
                  </a:lnTo>
                  <a:lnTo>
                    <a:pt x="262" y="190"/>
                  </a:lnTo>
                  <a:lnTo>
                    <a:pt x="253" y="193"/>
                  </a:lnTo>
                  <a:lnTo>
                    <a:pt x="245" y="197"/>
                  </a:lnTo>
                  <a:lnTo>
                    <a:pt x="237" y="202"/>
                  </a:lnTo>
                  <a:lnTo>
                    <a:pt x="229" y="208"/>
                  </a:lnTo>
                  <a:lnTo>
                    <a:pt x="222" y="215"/>
                  </a:lnTo>
                  <a:lnTo>
                    <a:pt x="216" y="223"/>
                  </a:lnTo>
                  <a:lnTo>
                    <a:pt x="209" y="232"/>
                  </a:lnTo>
                  <a:lnTo>
                    <a:pt x="204" y="242"/>
                  </a:lnTo>
                  <a:lnTo>
                    <a:pt x="199" y="252"/>
                  </a:lnTo>
                  <a:lnTo>
                    <a:pt x="196" y="263"/>
                  </a:lnTo>
                  <a:lnTo>
                    <a:pt x="193" y="274"/>
                  </a:lnTo>
                  <a:lnTo>
                    <a:pt x="190" y="286"/>
                  </a:lnTo>
                  <a:lnTo>
                    <a:pt x="188" y="300"/>
                  </a:lnTo>
                  <a:lnTo>
                    <a:pt x="188" y="313"/>
                  </a:lnTo>
                  <a:lnTo>
                    <a:pt x="188" y="313"/>
                  </a:lnTo>
                  <a:lnTo>
                    <a:pt x="189" y="329"/>
                  </a:lnTo>
                  <a:lnTo>
                    <a:pt x="190" y="344"/>
                  </a:lnTo>
                  <a:lnTo>
                    <a:pt x="193" y="357"/>
                  </a:lnTo>
                  <a:lnTo>
                    <a:pt x="196" y="368"/>
                  </a:lnTo>
                  <a:lnTo>
                    <a:pt x="201" y="384"/>
                  </a:lnTo>
                  <a:lnTo>
                    <a:pt x="204" y="389"/>
                  </a:lnTo>
                  <a:lnTo>
                    <a:pt x="204" y="389"/>
                  </a:lnTo>
                  <a:lnTo>
                    <a:pt x="142" y="652"/>
                  </a:lnTo>
                  <a:lnTo>
                    <a:pt x="142" y="652"/>
                  </a:lnTo>
                  <a:lnTo>
                    <a:pt x="138" y="667"/>
                  </a:lnTo>
                  <a:lnTo>
                    <a:pt x="136" y="682"/>
                  </a:lnTo>
                  <a:lnTo>
                    <a:pt x="133" y="712"/>
                  </a:lnTo>
                  <a:lnTo>
                    <a:pt x="133" y="742"/>
                  </a:lnTo>
                  <a:lnTo>
                    <a:pt x="133" y="770"/>
                  </a:lnTo>
                  <a:lnTo>
                    <a:pt x="135" y="794"/>
                  </a:lnTo>
                  <a:lnTo>
                    <a:pt x="137" y="814"/>
                  </a:lnTo>
                  <a:lnTo>
                    <a:pt x="141" y="8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593" name="Isosceles Triangle 760"/>
          <p:cNvSpPr/>
          <p:nvPr/>
        </p:nvSpPr>
        <p:spPr bwMode="auto">
          <a:xfrm rot="7495724">
            <a:off x="1162803" y="3771255"/>
            <a:ext cx="318027" cy="975379"/>
          </a:xfrm>
          <a:custGeom>
            <a:avLst/>
            <a:gdLst>
              <a:gd name="connsiteX0" fmla="*/ 0 w 254410"/>
              <a:gd name="connsiteY0" fmla="*/ 915095 h 915095"/>
              <a:gd name="connsiteX1" fmla="*/ 127205 w 254410"/>
              <a:gd name="connsiteY1" fmla="*/ 0 h 915095"/>
              <a:gd name="connsiteX2" fmla="*/ 254410 w 254410"/>
              <a:gd name="connsiteY2" fmla="*/ 915095 h 915095"/>
              <a:gd name="connsiteX3" fmla="*/ 0 w 254410"/>
              <a:gd name="connsiteY3" fmla="*/ 915095 h 915095"/>
              <a:gd name="connsiteX0" fmla="*/ 0 w 318027"/>
              <a:gd name="connsiteY0" fmla="*/ 975379 h 975379"/>
              <a:gd name="connsiteX1" fmla="*/ 190822 w 318027"/>
              <a:gd name="connsiteY1" fmla="*/ 0 h 975379"/>
              <a:gd name="connsiteX2" fmla="*/ 318027 w 318027"/>
              <a:gd name="connsiteY2" fmla="*/ 915095 h 975379"/>
              <a:gd name="connsiteX3" fmla="*/ 0 w 318027"/>
              <a:gd name="connsiteY3" fmla="*/ 975379 h 975379"/>
            </a:gdLst>
            <a:ahLst/>
            <a:cxnLst>
              <a:cxn ang="0">
                <a:pos x="connsiteX0" y="connsiteY0"/>
              </a:cxn>
              <a:cxn ang="0">
                <a:pos x="connsiteX1" y="connsiteY1"/>
              </a:cxn>
              <a:cxn ang="0">
                <a:pos x="connsiteX2" y="connsiteY2"/>
              </a:cxn>
              <a:cxn ang="0">
                <a:pos x="connsiteX3" y="connsiteY3"/>
              </a:cxn>
            </a:cxnLst>
            <a:rect l="l" t="t" r="r" b="b"/>
            <a:pathLst>
              <a:path w="318027" h="975379">
                <a:moveTo>
                  <a:pt x="0" y="975379"/>
                </a:moveTo>
                <a:lnTo>
                  <a:pt x="190822" y="0"/>
                </a:lnTo>
                <a:lnTo>
                  <a:pt x="318027" y="915095"/>
                </a:lnTo>
                <a:lnTo>
                  <a:pt x="0" y="975379"/>
                </a:lnTo>
                <a:close/>
              </a:path>
            </a:pathLst>
          </a:cu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594" name="Group 593"/>
          <p:cNvGrpSpPr>
            <a:grpSpLocks noChangeAspect="1"/>
          </p:cNvGrpSpPr>
          <p:nvPr/>
        </p:nvGrpSpPr>
        <p:grpSpPr>
          <a:xfrm>
            <a:off x="651425" y="3744920"/>
            <a:ext cx="412127" cy="412127"/>
            <a:chOff x="784225" y="2182813"/>
            <a:chExt cx="427038" cy="427038"/>
          </a:xfrm>
        </p:grpSpPr>
        <p:sp>
          <p:nvSpPr>
            <p:cNvPr id="595" name="Freeform 93"/>
            <p:cNvSpPr>
              <a:spLocks/>
            </p:cNvSpPr>
            <p:nvPr/>
          </p:nvSpPr>
          <p:spPr bwMode="auto">
            <a:xfrm>
              <a:off x="784225" y="2182813"/>
              <a:ext cx="427038" cy="427038"/>
            </a:xfrm>
            <a:custGeom>
              <a:avLst/>
              <a:gdLst>
                <a:gd name="T0" fmla="*/ 1345 w 1346"/>
                <a:gd name="T1" fmla="*/ 708 h 1346"/>
                <a:gd name="T2" fmla="*/ 1331 w 1346"/>
                <a:gd name="T3" fmla="*/ 809 h 1346"/>
                <a:gd name="T4" fmla="*/ 1305 w 1346"/>
                <a:gd name="T5" fmla="*/ 905 h 1346"/>
                <a:gd name="T6" fmla="*/ 1264 w 1346"/>
                <a:gd name="T7" fmla="*/ 993 h 1346"/>
                <a:gd name="T8" fmla="*/ 1212 w 1346"/>
                <a:gd name="T9" fmla="*/ 1075 h 1346"/>
                <a:gd name="T10" fmla="*/ 1149 w 1346"/>
                <a:gd name="T11" fmla="*/ 1148 h 1346"/>
                <a:gd name="T12" fmla="*/ 1075 w 1346"/>
                <a:gd name="T13" fmla="*/ 1212 h 1346"/>
                <a:gd name="T14" fmla="*/ 993 w 1346"/>
                <a:gd name="T15" fmla="*/ 1264 h 1346"/>
                <a:gd name="T16" fmla="*/ 904 w 1346"/>
                <a:gd name="T17" fmla="*/ 1305 h 1346"/>
                <a:gd name="T18" fmla="*/ 808 w 1346"/>
                <a:gd name="T19" fmla="*/ 1332 h 1346"/>
                <a:gd name="T20" fmla="*/ 708 w 1346"/>
                <a:gd name="T21" fmla="*/ 1345 h 1346"/>
                <a:gd name="T22" fmla="*/ 638 w 1346"/>
                <a:gd name="T23" fmla="*/ 1345 h 1346"/>
                <a:gd name="T24" fmla="*/ 537 w 1346"/>
                <a:gd name="T25" fmla="*/ 1332 h 1346"/>
                <a:gd name="T26" fmla="*/ 441 w 1346"/>
                <a:gd name="T27" fmla="*/ 1305 h 1346"/>
                <a:gd name="T28" fmla="*/ 353 w 1346"/>
                <a:gd name="T29" fmla="*/ 1264 h 1346"/>
                <a:gd name="T30" fmla="*/ 271 w 1346"/>
                <a:gd name="T31" fmla="*/ 1212 h 1346"/>
                <a:gd name="T32" fmla="*/ 197 w 1346"/>
                <a:gd name="T33" fmla="*/ 1148 h 1346"/>
                <a:gd name="T34" fmla="*/ 134 w 1346"/>
                <a:gd name="T35" fmla="*/ 1075 h 1346"/>
                <a:gd name="T36" fmla="*/ 82 w 1346"/>
                <a:gd name="T37" fmla="*/ 993 h 1346"/>
                <a:gd name="T38" fmla="*/ 41 w 1346"/>
                <a:gd name="T39" fmla="*/ 905 h 1346"/>
                <a:gd name="T40" fmla="*/ 14 w 1346"/>
                <a:gd name="T41" fmla="*/ 809 h 1346"/>
                <a:gd name="T42" fmla="*/ 1 w 1346"/>
                <a:gd name="T43" fmla="*/ 708 h 1346"/>
                <a:gd name="T44" fmla="*/ 1 w 1346"/>
                <a:gd name="T45" fmla="*/ 638 h 1346"/>
                <a:gd name="T46" fmla="*/ 14 w 1346"/>
                <a:gd name="T47" fmla="*/ 538 h 1346"/>
                <a:gd name="T48" fmla="*/ 41 w 1346"/>
                <a:gd name="T49" fmla="*/ 441 h 1346"/>
                <a:gd name="T50" fmla="*/ 82 w 1346"/>
                <a:gd name="T51" fmla="*/ 353 h 1346"/>
                <a:gd name="T52" fmla="*/ 134 w 1346"/>
                <a:gd name="T53" fmla="*/ 271 h 1346"/>
                <a:gd name="T54" fmla="*/ 197 w 1346"/>
                <a:gd name="T55" fmla="*/ 197 h 1346"/>
                <a:gd name="T56" fmla="*/ 271 w 1346"/>
                <a:gd name="T57" fmla="*/ 134 h 1346"/>
                <a:gd name="T58" fmla="*/ 353 w 1346"/>
                <a:gd name="T59" fmla="*/ 82 h 1346"/>
                <a:gd name="T60" fmla="*/ 441 w 1346"/>
                <a:gd name="T61" fmla="*/ 41 h 1346"/>
                <a:gd name="T62" fmla="*/ 537 w 1346"/>
                <a:gd name="T63" fmla="*/ 14 h 1346"/>
                <a:gd name="T64" fmla="*/ 638 w 1346"/>
                <a:gd name="T65" fmla="*/ 1 h 1346"/>
                <a:gd name="T66" fmla="*/ 708 w 1346"/>
                <a:gd name="T67" fmla="*/ 1 h 1346"/>
                <a:gd name="T68" fmla="*/ 808 w 1346"/>
                <a:gd name="T69" fmla="*/ 14 h 1346"/>
                <a:gd name="T70" fmla="*/ 904 w 1346"/>
                <a:gd name="T71" fmla="*/ 41 h 1346"/>
                <a:gd name="T72" fmla="*/ 993 w 1346"/>
                <a:gd name="T73" fmla="*/ 82 h 1346"/>
                <a:gd name="T74" fmla="*/ 1075 w 1346"/>
                <a:gd name="T75" fmla="*/ 134 h 1346"/>
                <a:gd name="T76" fmla="*/ 1149 w 1346"/>
                <a:gd name="T77" fmla="*/ 197 h 1346"/>
                <a:gd name="T78" fmla="*/ 1212 w 1346"/>
                <a:gd name="T79" fmla="*/ 271 h 1346"/>
                <a:gd name="T80" fmla="*/ 1264 w 1346"/>
                <a:gd name="T81" fmla="*/ 353 h 1346"/>
                <a:gd name="T82" fmla="*/ 1305 w 1346"/>
                <a:gd name="T83" fmla="*/ 441 h 1346"/>
                <a:gd name="T84" fmla="*/ 1331 w 1346"/>
                <a:gd name="T85" fmla="*/ 538 h 1346"/>
                <a:gd name="T86" fmla="*/ 1345 w 1346"/>
                <a:gd name="T87" fmla="*/ 638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6" h="1346">
                  <a:moveTo>
                    <a:pt x="1346" y="673"/>
                  </a:moveTo>
                  <a:lnTo>
                    <a:pt x="1346" y="673"/>
                  </a:lnTo>
                  <a:lnTo>
                    <a:pt x="1345" y="708"/>
                  </a:lnTo>
                  <a:lnTo>
                    <a:pt x="1342" y="742"/>
                  </a:lnTo>
                  <a:lnTo>
                    <a:pt x="1338" y="775"/>
                  </a:lnTo>
                  <a:lnTo>
                    <a:pt x="1331" y="809"/>
                  </a:lnTo>
                  <a:lnTo>
                    <a:pt x="1324" y="841"/>
                  </a:lnTo>
                  <a:lnTo>
                    <a:pt x="1315" y="873"/>
                  </a:lnTo>
                  <a:lnTo>
                    <a:pt x="1305" y="905"/>
                  </a:lnTo>
                  <a:lnTo>
                    <a:pt x="1293" y="935"/>
                  </a:lnTo>
                  <a:lnTo>
                    <a:pt x="1279" y="965"/>
                  </a:lnTo>
                  <a:lnTo>
                    <a:pt x="1264" y="993"/>
                  </a:lnTo>
                  <a:lnTo>
                    <a:pt x="1248" y="1022"/>
                  </a:lnTo>
                  <a:lnTo>
                    <a:pt x="1231" y="1049"/>
                  </a:lnTo>
                  <a:lnTo>
                    <a:pt x="1212" y="1075"/>
                  </a:lnTo>
                  <a:lnTo>
                    <a:pt x="1192" y="1101"/>
                  </a:lnTo>
                  <a:lnTo>
                    <a:pt x="1171" y="1125"/>
                  </a:lnTo>
                  <a:lnTo>
                    <a:pt x="1149" y="1148"/>
                  </a:lnTo>
                  <a:lnTo>
                    <a:pt x="1124" y="1172"/>
                  </a:lnTo>
                  <a:lnTo>
                    <a:pt x="1100" y="1193"/>
                  </a:lnTo>
                  <a:lnTo>
                    <a:pt x="1075" y="1212"/>
                  </a:lnTo>
                  <a:lnTo>
                    <a:pt x="1049" y="1231"/>
                  </a:lnTo>
                  <a:lnTo>
                    <a:pt x="1022" y="1249"/>
                  </a:lnTo>
                  <a:lnTo>
                    <a:pt x="993" y="1264"/>
                  </a:lnTo>
                  <a:lnTo>
                    <a:pt x="964" y="1280"/>
                  </a:lnTo>
                  <a:lnTo>
                    <a:pt x="934" y="1293"/>
                  </a:lnTo>
                  <a:lnTo>
                    <a:pt x="904" y="1305"/>
                  </a:lnTo>
                  <a:lnTo>
                    <a:pt x="872" y="1315"/>
                  </a:lnTo>
                  <a:lnTo>
                    <a:pt x="840" y="1324"/>
                  </a:lnTo>
                  <a:lnTo>
                    <a:pt x="808" y="1332"/>
                  </a:lnTo>
                  <a:lnTo>
                    <a:pt x="775" y="1339"/>
                  </a:lnTo>
                  <a:lnTo>
                    <a:pt x="742" y="1342"/>
                  </a:lnTo>
                  <a:lnTo>
                    <a:pt x="708" y="1345"/>
                  </a:lnTo>
                  <a:lnTo>
                    <a:pt x="673" y="1346"/>
                  </a:lnTo>
                  <a:lnTo>
                    <a:pt x="673" y="1346"/>
                  </a:lnTo>
                  <a:lnTo>
                    <a:pt x="638" y="1345"/>
                  </a:lnTo>
                  <a:lnTo>
                    <a:pt x="604" y="1342"/>
                  </a:lnTo>
                  <a:lnTo>
                    <a:pt x="571" y="1339"/>
                  </a:lnTo>
                  <a:lnTo>
                    <a:pt x="537" y="1332"/>
                  </a:lnTo>
                  <a:lnTo>
                    <a:pt x="505" y="1324"/>
                  </a:lnTo>
                  <a:lnTo>
                    <a:pt x="473" y="1315"/>
                  </a:lnTo>
                  <a:lnTo>
                    <a:pt x="441" y="1305"/>
                  </a:lnTo>
                  <a:lnTo>
                    <a:pt x="411" y="1293"/>
                  </a:lnTo>
                  <a:lnTo>
                    <a:pt x="381" y="1280"/>
                  </a:lnTo>
                  <a:lnTo>
                    <a:pt x="353" y="1264"/>
                  </a:lnTo>
                  <a:lnTo>
                    <a:pt x="324" y="1249"/>
                  </a:lnTo>
                  <a:lnTo>
                    <a:pt x="296" y="1231"/>
                  </a:lnTo>
                  <a:lnTo>
                    <a:pt x="271" y="1212"/>
                  </a:lnTo>
                  <a:lnTo>
                    <a:pt x="245" y="1193"/>
                  </a:lnTo>
                  <a:lnTo>
                    <a:pt x="221" y="1172"/>
                  </a:lnTo>
                  <a:lnTo>
                    <a:pt x="197" y="1148"/>
                  </a:lnTo>
                  <a:lnTo>
                    <a:pt x="175" y="1125"/>
                  </a:lnTo>
                  <a:lnTo>
                    <a:pt x="154" y="1101"/>
                  </a:lnTo>
                  <a:lnTo>
                    <a:pt x="134" y="1075"/>
                  </a:lnTo>
                  <a:lnTo>
                    <a:pt x="115" y="1049"/>
                  </a:lnTo>
                  <a:lnTo>
                    <a:pt x="97" y="1022"/>
                  </a:lnTo>
                  <a:lnTo>
                    <a:pt x="82" y="993"/>
                  </a:lnTo>
                  <a:lnTo>
                    <a:pt x="66" y="965"/>
                  </a:lnTo>
                  <a:lnTo>
                    <a:pt x="53" y="935"/>
                  </a:lnTo>
                  <a:lnTo>
                    <a:pt x="41" y="905"/>
                  </a:lnTo>
                  <a:lnTo>
                    <a:pt x="31" y="873"/>
                  </a:lnTo>
                  <a:lnTo>
                    <a:pt x="21" y="841"/>
                  </a:lnTo>
                  <a:lnTo>
                    <a:pt x="14" y="809"/>
                  </a:lnTo>
                  <a:lnTo>
                    <a:pt x="8" y="775"/>
                  </a:lnTo>
                  <a:lnTo>
                    <a:pt x="3" y="742"/>
                  </a:lnTo>
                  <a:lnTo>
                    <a:pt x="1" y="708"/>
                  </a:lnTo>
                  <a:lnTo>
                    <a:pt x="0" y="673"/>
                  </a:lnTo>
                  <a:lnTo>
                    <a:pt x="0" y="673"/>
                  </a:lnTo>
                  <a:lnTo>
                    <a:pt x="1" y="638"/>
                  </a:lnTo>
                  <a:lnTo>
                    <a:pt x="3" y="604"/>
                  </a:lnTo>
                  <a:lnTo>
                    <a:pt x="8" y="571"/>
                  </a:lnTo>
                  <a:lnTo>
                    <a:pt x="14" y="538"/>
                  </a:lnTo>
                  <a:lnTo>
                    <a:pt x="21" y="504"/>
                  </a:lnTo>
                  <a:lnTo>
                    <a:pt x="31" y="473"/>
                  </a:lnTo>
                  <a:lnTo>
                    <a:pt x="41" y="441"/>
                  </a:lnTo>
                  <a:lnTo>
                    <a:pt x="53" y="412"/>
                  </a:lnTo>
                  <a:lnTo>
                    <a:pt x="66" y="382"/>
                  </a:lnTo>
                  <a:lnTo>
                    <a:pt x="82" y="353"/>
                  </a:lnTo>
                  <a:lnTo>
                    <a:pt x="97" y="324"/>
                  </a:lnTo>
                  <a:lnTo>
                    <a:pt x="115" y="296"/>
                  </a:lnTo>
                  <a:lnTo>
                    <a:pt x="134" y="271"/>
                  </a:lnTo>
                  <a:lnTo>
                    <a:pt x="154" y="246"/>
                  </a:lnTo>
                  <a:lnTo>
                    <a:pt x="175" y="221"/>
                  </a:lnTo>
                  <a:lnTo>
                    <a:pt x="197" y="197"/>
                  </a:lnTo>
                  <a:lnTo>
                    <a:pt x="221" y="175"/>
                  </a:lnTo>
                  <a:lnTo>
                    <a:pt x="245" y="154"/>
                  </a:lnTo>
                  <a:lnTo>
                    <a:pt x="271" y="134"/>
                  </a:lnTo>
                  <a:lnTo>
                    <a:pt x="296" y="115"/>
                  </a:lnTo>
                  <a:lnTo>
                    <a:pt x="324" y="97"/>
                  </a:lnTo>
                  <a:lnTo>
                    <a:pt x="353" y="82"/>
                  </a:lnTo>
                  <a:lnTo>
                    <a:pt x="381" y="66"/>
                  </a:lnTo>
                  <a:lnTo>
                    <a:pt x="411" y="53"/>
                  </a:lnTo>
                  <a:lnTo>
                    <a:pt x="441" y="41"/>
                  </a:lnTo>
                  <a:lnTo>
                    <a:pt x="473" y="31"/>
                  </a:lnTo>
                  <a:lnTo>
                    <a:pt x="505" y="21"/>
                  </a:lnTo>
                  <a:lnTo>
                    <a:pt x="537" y="14"/>
                  </a:lnTo>
                  <a:lnTo>
                    <a:pt x="571" y="8"/>
                  </a:lnTo>
                  <a:lnTo>
                    <a:pt x="604" y="3"/>
                  </a:lnTo>
                  <a:lnTo>
                    <a:pt x="638" y="1"/>
                  </a:lnTo>
                  <a:lnTo>
                    <a:pt x="673" y="0"/>
                  </a:lnTo>
                  <a:lnTo>
                    <a:pt x="673" y="0"/>
                  </a:lnTo>
                  <a:lnTo>
                    <a:pt x="708" y="1"/>
                  </a:lnTo>
                  <a:lnTo>
                    <a:pt x="742" y="3"/>
                  </a:lnTo>
                  <a:lnTo>
                    <a:pt x="775" y="8"/>
                  </a:lnTo>
                  <a:lnTo>
                    <a:pt x="808" y="14"/>
                  </a:lnTo>
                  <a:lnTo>
                    <a:pt x="840" y="21"/>
                  </a:lnTo>
                  <a:lnTo>
                    <a:pt x="872" y="31"/>
                  </a:lnTo>
                  <a:lnTo>
                    <a:pt x="904" y="41"/>
                  </a:lnTo>
                  <a:lnTo>
                    <a:pt x="934" y="53"/>
                  </a:lnTo>
                  <a:lnTo>
                    <a:pt x="964" y="66"/>
                  </a:lnTo>
                  <a:lnTo>
                    <a:pt x="993" y="82"/>
                  </a:lnTo>
                  <a:lnTo>
                    <a:pt x="1022" y="97"/>
                  </a:lnTo>
                  <a:lnTo>
                    <a:pt x="1049" y="115"/>
                  </a:lnTo>
                  <a:lnTo>
                    <a:pt x="1075" y="134"/>
                  </a:lnTo>
                  <a:lnTo>
                    <a:pt x="1100" y="154"/>
                  </a:lnTo>
                  <a:lnTo>
                    <a:pt x="1124" y="175"/>
                  </a:lnTo>
                  <a:lnTo>
                    <a:pt x="1149" y="197"/>
                  </a:lnTo>
                  <a:lnTo>
                    <a:pt x="1171" y="221"/>
                  </a:lnTo>
                  <a:lnTo>
                    <a:pt x="1192" y="246"/>
                  </a:lnTo>
                  <a:lnTo>
                    <a:pt x="1212" y="271"/>
                  </a:lnTo>
                  <a:lnTo>
                    <a:pt x="1231" y="296"/>
                  </a:lnTo>
                  <a:lnTo>
                    <a:pt x="1248" y="324"/>
                  </a:lnTo>
                  <a:lnTo>
                    <a:pt x="1264" y="353"/>
                  </a:lnTo>
                  <a:lnTo>
                    <a:pt x="1279" y="382"/>
                  </a:lnTo>
                  <a:lnTo>
                    <a:pt x="1293" y="412"/>
                  </a:lnTo>
                  <a:lnTo>
                    <a:pt x="1305" y="441"/>
                  </a:lnTo>
                  <a:lnTo>
                    <a:pt x="1315" y="473"/>
                  </a:lnTo>
                  <a:lnTo>
                    <a:pt x="1324" y="504"/>
                  </a:lnTo>
                  <a:lnTo>
                    <a:pt x="1331" y="538"/>
                  </a:lnTo>
                  <a:lnTo>
                    <a:pt x="1338" y="571"/>
                  </a:lnTo>
                  <a:lnTo>
                    <a:pt x="1342" y="604"/>
                  </a:lnTo>
                  <a:lnTo>
                    <a:pt x="1345" y="638"/>
                  </a:lnTo>
                  <a:lnTo>
                    <a:pt x="1346" y="673"/>
                  </a:lnTo>
                  <a:close/>
                </a:path>
              </a:pathLst>
            </a:custGeom>
            <a:solidFill>
              <a:schemeClr val="accent6"/>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96" name="Freeform 94"/>
            <p:cNvSpPr>
              <a:spLocks/>
            </p:cNvSpPr>
            <p:nvPr/>
          </p:nvSpPr>
          <p:spPr bwMode="auto">
            <a:xfrm>
              <a:off x="784225" y="2182813"/>
              <a:ext cx="427038" cy="427038"/>
            </a:xfrm>
            <a:custGeom>
              <a:avLst/>
              <a:gdLst>
                <a:gd name="T0" fmla="*/ 1345 w 1346"/>
                <a:gd name="T1" fmla="*/ 708 h 1346"/>
                <a:gd name="T2" fmla="*/ 1331 w 1346"/>
                <a:gd name="T3" fmla="*/ 809 h 1346"/>
                <a:gd name="T4" fmla="*/ 1305 w 1346"/>
                <a:gd name="T5" fmla="*/ 905 h 1346"/>
                <a:gd name="T6" fmla="*/ 1264 w 1346"/>
                <a:gd name="T7" fmla="*/ 993 h 1346"/>
                <a:gd name="T8" fmla="*/ 1212 w 1346"/>
                <a:gd name="T9" fmla="*/ 1075 h 1346"/>
                <a:gd name="T10" fmla="*/ 1149 w 1346"/>
                <a:gd name="T11" fmla="*/ 1148 h 1346"/>
                <a:gd name="T12" fmla="*/ 1075 w 1346"/>
                <a:gd name="T13" fmla="*/ 1212 h 1346"/>
                <a:gd name="T14" fmla="*/ 993 w 1346"/>
                <a:gd name="T15" fmla="*/ 1264 h 1346"/>
                <a:gd name="T16" fmla="*/ 904 w 1346"/>
                <a:gd name="T17" fmla="*/ 1305 h 1346"/>
                <a:gd name="T18" fmla="*/ 808 w 1346"/>
                <a:gd name="T19" fmla="*/ 1332 h 1346"/>
                <a:gd name="T20" fmla="*/ 708 w 1346"/>
                <a:gd name="T21" fmla="*/ 1345 h 1346"/>
                <a:gd name="T22" fmla="*/ 638 w 1346"/>
                <a:gd name="T23" fmla="*/ 1345 h 1346"/>
                <a:gd name="T24" fmla="*/ 537 w 1346"/>
                <a:gd name="T25" fmla="*/ 1332 h 1346"/>
                <a:gd name="T26" fmla="*/ 441 w 1346"/>
                <a:gd name="T27" fmla="*/ 1305 h 1346"/>
                <a:gd name="T28" fmla="*/ 353 w 1346"/>
                <a:gd name="T29" fmla="*/ 1264 h 1346"/>
                <a:gd name="T30" fmla="*/ 271 w 1346"/>
                <a:gd name="T31" fmla="*/ 1212 h 1346"/>
                <a:gd name="T32" fmla="*/ 197 w 1346"/>
                <a:gd name="T33" fmla="*/ 1148 h 1346"/>
                <a:gd name="T34" fmla="*/ 134 w 1346"/>
                <a:gd name="T35" fmla="*/ 1075 h 1346"/>
                <a:gd name="T36" fmla="*/ 82 w 1346"/>
                <a:gd name="T37" fmla="*/ 993 h 1346"/>
                <a:gd name="T38" fmla="*/ 41 w 1346"/>
                <a:gd name="T39" fmla="*/ 905 h 1346"/>
                <a:gd name="T40" fmla="*/ 14 w 1346"/>
                <a:gd name="T41" fmla="*/ 809 h 1346"/>
                <a:gd name="T42" fmla="*/ 1 w 1346"/>
                <a:gd name="T43" fmla="*/ 708 h 1346"/>
                <a:gd name="T44" fmla="*/ 1 w 1346"/>
                <a:gd name="T45" fmla="*/ 638 h 1346"/>
                <a:gd name="T46" fmla="*/ 14 w 1346"/>
                <a:gd name="T47" fmla="*/ 538 h 1346"/>
                <a:gd name="T48" fmla="*/ 41 w 1346"/>
                <a:gd name="T49" fmla="*/ 441 h 1346"/>
                <a:gd name="T50" fmla="*/ 82 w 1346"/>
                <a:gd name="T51" fmla="*/ 353 h 1346"/>
                <a:gd name="T52" fmla="*/ 134 w 1346"/>
                <a:gd name="T53" fmla="*/ 271 h 1346"/>
                <a:gd name="T54" fmla="*/ 197 w 1346"/>
                <a:gd name="T55" fmla="*/ 197 h 1346"/>
                <a:gd name="T56" fmla="*/ 271 w 1346"/>
                <a:gd name="T57" fmla="*/ 134 h 1346"/>
                <a:gd name="T58" fmla="*/ 353 w 1346"/>
                <a:gd name="T59" fmla="*/ 82 h 1346"/>
                <a:gd name="T60" fmla="*/ 441 w 1346"/>
                <a:gd name="T61" fmla="*/ 41 h 1346"/>
                <a:gd name="T62" fmla="*/ 537 w 1346"/>
                <a:gd name="T63" fmla="*/ 14 h 1346"/>
                <a:gd name="T64" fmla="*/ 638 w 1346"/>
                <a:gd name="T65" fmla="*/ 1 h 1346"/>
                <a:gd name="T66" fmla="*/ 708 w 1346"/>
                <a:gd name="T67" fmla="*/ 1 h 1346"/>
                <a:gd name="T68" fmla="*/ 808 w 1346"/>
                <a:gd name="T69" fmla="*/ 14 h 1346"/>
                <a:gd name="T70" fmla="*/ 904 w 1346"/>
                <a:gd name="T71" fmla="*/ 41 h 1346"/>
                <a:gd name="T72" fmla="*/ 993 w 1346"/>
                <a:gd name="T73" fmla="*/ 82 h 1346"/>
                <a:gd name="T74" fmla="*/ 1075 w 1346"/>
                <a:gd name="T75" fmla="*/ 134 h 1346"/>
                <a:gd name="T76" fmla="*/ 1149 w 1346"/>
                <a:gd name="T77" fmla="*/ 197 h 1346"/>
                <a:gd name="T78" fmla="*/ 1212 w 1346"/>
                <a:gd name="T79" fmla="*/ 271 h 1346"/>
                <a:gd name="T80" fmla="*/ 1264 w 1346"/>
                <a:gd name="T81" fmla="*/ 353 h 1346"/>
                <a:gd name="T82" fmla="*/ 1305 w 1346"/>
                <a:gd name="T83" fmla="*/ 441 h 1346"/>
                <a:gd name="T84" fmla="*/ 1331 w 1346"/>
                <a:gd name="T85" fmla="*/ 538 h 1346"/>
                <a:gd name="T86" fmla="*/ 1345 w 1346"/>
                <a:gd name="T87" fmla="*/ 638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6" h="1346">
                  <a:moveTo>
                    <a:pt x="1346" y="673"/>
                  </a:moveTo>
                  <a:lnTo>
                    <a:pt x="1346" y="673"/>
                  </a:lnTo>
                  <a:lnTo>
                    <a:pt x="1345" y="708"/>
                  </a:lnTo>
                  <a:lnTo>
                    <a:pt x="1342" y="742"/>
                  </a:lnTo>
                  <a:lnTo>
                    <a:pt x="1338" y="775"/>
                  </a:lnTo>
                  <a:lnTo>
                    <a:pt x="1331" y="809"/>
                  </a:lnTo>
                  <a:lnTo>
                    <a:pt x="1324" y="841"/>
                  </a:lnTo>
                  <a:lnTo>
                    <a:pt x="1315" y="873"/>
                  </a:lnTo>
                  <a:lnTo>
                    <a:pt x="1305" y="905"/>
                  </a:lnTo>
                  <a:lnTo>
                    <a:pt x="1293" y="935"/>
                  </a:lnTo>
                  <a:lnTo>
                    <a:pt x="1279" y="965"/>
                  </a:lnTo>
                  <a:lnTo>
                    <a:pt x="1264" y="993"/>
                  </a:lnTo>
                  <a:lnTo>
                    <a:pt x="1248" y="1022"/>
                  </a:lnTo>
                  <a:lnTo>
                    <a:pt x="1231" y="1049"/>
                  </a:lnTo>
                  <a:lnTo>
                    <a:pt x="1212" y="1075"/>
                  </a:lnTo>
                  <a:lnTo>
                    <a:pt x="1192" y="1101"/>
                  </a:lnTo>
                  <a:lnTo>
                    <a:pt x="1171" y="1125"/>
                  </a:lnTo>
                  <a:lnTo>
                    <a:pt x="1149" y="1148"/>
                  </a:lnTo>
                  <a:lnTo>
                    <a:pt x="1124" y="1172"/>
                  </a:lnTo>
                  <a:lnTo>
                    <a:pt x="1100" y="1193"/>
                  </a:lnTo>
                  <a:lnTo>
                    <a:pt x="1075" y="1212"/>
                  </a:lnTo>
                  <a:lnTo>
                    <a:pt x="1049" y="1231"/>
                  </a:lnTo>
                  <a:lnTo>
                    <a:pt x="1022" y="1249"/>
                  </a:lnTo>
                  <a:lnTo>
                    <a:pt x="993" y="1264"/>
                  </a:lnTo>
                  <a:lnTo>
                    <a:pt x="964" y="1280"/>
                  </a:lnTo>
                  <a:lnTo>
                    <a:pt x="934" y="1293"/>
                  </a:lnTo>
                  <a:lnTo>
                    <a:pt x="904" y="1305"/>
                  </a:lnTo>
                  <a:lnTo>
                    <a:pt x="872" y="1315"/>
                  </a:lnTo>
                  <a:lnTo>
                    <a:pt x="840" y="1324"/>
                  </a:lnTo>
                  <a:lnTo>
                    <a:pt x="808" y="1332"/>
                  </a:lnTo>
                  <a:lnTo>
                    <a:pt x="775" y="1339"/>
                  </a:lnTo>
                  <a:lnTo>
                    <a:pt x="742" y="1342"/>
                  </a:lnTo>
                  <a:lnTo>
                    <a:pt x="708" y="1345"/>
                  </a:lnTo>
                  <a:lnTo>
                    <a:pt x="673" y="1346"/>
                  </a:lnTo>
                  <a:lnTo>
                    <a:pt x="673" y="1346"/>
                  </a:lnTo>
                  <a:lnTo>
                    <a:pt x="638" y="1345"/>
                  </a:lnTo>
                  <a:lnTo>
                    <a:pt x="604" y="1342"/>
                  </a:lnTo>
                  <a:lnTo>
                    <a:pt x="571" y="1339"/>
                  </a:lnTo>
                  <a:lnTo>
                    <a:pt x="537" y="1332"/>
                  </a:lnTo>
                  <a:lnTo>
                    <a:pt x="505" y="1324"/>
                  </a:lnTo>
                  <a:lnTo>
                    <a:pt x="473" y="1315"/>
                  </a:lnTo>
                  <a:lnTo>
                    <a:pt x="441" y="1305"/>
                  </a:lnTo>
                  <a:lnTo>
                    <a:pt x="411" y="1293"/>
                  </a:lnTo>
                  <a:lnTo>
                    <a:pt x="381" y="1280"/>
                  </a:lnTo>
                  <a:lnTo>
                    <a:pt x="353" y="1264"/>
                  </a:lnTo>
                  <a:lnTo>
                    <a:pt x="324" y="1249"/>
                  </a:lnTo>
                  <a:lnTo>
                    <a:pt x="296" y="1231"/>
                  </a:lnTo>
                  <a:lnTo>
                    <a:pt x="271" y="1212"/>
                  </a:lnTo>
                  <a:lnTo>
                    <a:pt x="245" y="1193"/>
                  </a:lnTo>
                  <a:lnTo>
                    <a:pt x="221" y="1172"/>
                  </a:lnTo>
                  <a:lnTo>
                    <a:pt x="197" y="1148"/>
                  </a:lnTo>
                  <a:lnTo>
                    <a:pt x="175" y="1125"/>
                  </a:lnTo>
                  <a:lnTo>
                    <a:pt x="154" y="1101"/>
                  </a:lnTo>
                  <a:lnTo>
                    <a:pt x="134" y="1075"/>
                  </a:lnTo>
                  <a:lnTo>
                    <a:pt x="115" y="1049"/>
                  </a:lnTo>
                  <a:lnTo>
                    <a:pt x="97" y="1022"/>
                  </a:lnTo>
                  <a:lnTo>
                    <a:pt x="82" y="993"/>
                  </a:lnTo>
                  <a:lnTo>
                    <a:pt x="66" y="965"/>
                  </a:lnTo>
                  <a:lnTo>
                    <a:pt x="53" y="935"/>
                  </a:lnTo>
                  <a:lnTo>
                    <a:pt x="41" y="905"/>
                  </a:lnTo>
                  <a:lnTo>
                    <a:pt x="31" y="873"/>
                  </a:lnTo>
                  <a:lnTo>
                    <a:pt x="21" y="841"/>
                  </a:lnTo>
                  <a:lnTo>
                    <a:pt x="14" y="809"/>
                  </a:lnTo>
                  <a:lnTo>
                    <a:pt x="8" y="775"/>
                  </a:lnTo>
                  <a:lnTo>
                    <a:pt x="3" y="742"/>
                  </a:lnTo>
                  <a:lnTo>
                    <a:pt x="1" y="708"/>
                  </a:lnTo>
                  <a:lnTo>
                    <a:pt x="0" y="673"/>
                  </a:lnTo>
                  <a:lnTo>
                    <a:pt x="0" y="673"/>
                  </a:lnTo>
                  <a:lnTo>
                    <a:pt x="1" y="638"/>
                  </a:lnTo>
                  <a:lnTo>
                    <a:pt x="3" y="604"/>
                  </a:lnTo>
                  <a:lnTo>
                    <a:pt x="8" y="571"/>
                  </a:lnTo>
                  <a:lnTo>
                    <a:pt x="14" y="538"/>
                  </a:lnTo>
                  <a:lnTo>
                    <a:pt x="21" y="504"/>
                  </a:lnTo>
                  <a:lnTo>
                    <a:pt x="31" y="473"/>
                  </a:lnTo>
                  <a:lnTo>
                    <a:pt x="41" y="441"/>
                  </a:lnTo>
                  <a:lnTo>
                    <a:pt x="53" y="412"/>
                  </a:lnTo>
                  <a:lnTo>
                    <a:pt x="66" y="382"/>
                  </a:lnTo>
                  <a:lnTo>
                    <a:pt x="82" y="353"/>
                  </a:lnTo>
                  <a:lnTo>
                    <a:pt x="97" y="324"/>
                  </a:lnTo>
                  <a:lnTo>
                    <a:pt x="115" y="296"/>
                  </a:lnTo>
                  <a:lnTo>
                    <a:pt x="134" y="271"/>
                  </a:lnTo>
                  <a:lnTo>
                    <a:pt x="154" y="246"/>
                  </a:lnTo>
                  <a:lnTo>
                    <a:pt x="175" y="221"/>
                  </a:lnTo>
                  <a:lnTo>
                    <a:pt x="197" y="197"/>
                  </a:lnTo>
                  <a:lnTo>
                    <a:pt x="221" y="175"/>
                  </a:lnTo>
                  <a:lnTo>
                    <a:pt x="245" y="154"/>
                  </a:lnTo>
                  <a:lnTo>
                    <a:pt x="271" y="134"/>
                  </a:lnTo>
                  <a:lnTo>
                    <a:pt x="296" y="115"/>
                  </a:lnTo>
                  <a:lnTo>
                    <a:pt x="324" y="97"/>
                  </a:lnTo>
                  <a:lnTo>
                    <a:pt x="353" y="82"/>
                  </a:lnTo>
                  <a:lnTo>
                    <a:pt x="381" y="66"/>
                  </a:lnTo>
                  <a:lnTo>
                    <a:pt x="411" y="53"/>
                  </a:lnTo>
                  <a:lnTo>
                    <a:pt x="441" y="41"/>
                  </a:lnTo>
                  <a:lnTo>
                    <a:pt x="473" y="31"/>
                  </a:lnTo>
                  <a:lnTo>
                    <a:pt x="505" y="21"/>
                  </a:lnTo>
                  <a:lnTo>
                    <a:pt x="537" y="14"/>
                  </a:lnTo>
                  <a:lnTo>
                    <a:pt x="571" y="8"/>
                  </a:lnTo>
                  <a:lnTo>
                    <a:pt x="604" y="3"/>
                  </a:lnTo>
                  <a:lnTo>
                    <a:pt x="638" y="1"/>
                  </a:lnTo>
                  <a:lnTo>
                    <a:pt x="673" y="0"/>
                  </a:lnTo>
                  <a:lnTo>
                    <a:pt x="673" y="0"/>
                  </a:lnTo>
                  <a:lnTo>
                    <a:pt x="708" y="1"/>
                  </a:lnTo>
                  <a:lnTo>
                    <a:pt x="742" y="3"/>
                  </a:lnTo>
                  <a:lnTo>
                    <a:pt x="775" y="8"/>
                  </a:lnTo>
                  <a:lnTo>
                    <a:pt x="808" y="14"/>
                  </a:lnTo>
                  <a:lnTo>
                    <a:pt x="840" y="21"/>
                  </a:lnTo>
                  <a:lnTo>
                    <a:pt x="872" y="31"/>
                  </a:lnTo>
                  <a:lnTo>
                    <a:pt x="904" y="41"/>
                  </a:lnTo>
                  <a:lnTo>
                    <a:pt x="934" y="53"/>
                  </a:lnTo>
                  <a:lnTo>
                    <a:pt x="964" y="66"/>
                  </a:lnTo>
                  <a:lnTo>
                    <a:pt x="993" y="82"/>
                  </a:lnTo>
                  <a:lnTo>
                    <a:pt x="1022" y="97"/>
                  </a:lnTo>
                  <a:lnTo>
                    <a:pt x="1049" y="115"/>
                  </a:lnTo>
                  <a:lnTo>
                    <a:pt x="1075" y="134"/>
                  </a:lnTo>
                  <a:lnTo>
                    <a:pt x="1100" y="154"/>
                  </a:lnTo>
                  <a:lnTo>
                    <a:pt x="1124" y="175"/>
                  </a:lnTo>
                  <a:lnTo>
                    <a:pt x="1149" y="197"/>
                  </a:lnTo>
                  <a:lnTo>
                    <a:pt x="1171" y="221"/>
                  </a:lnTo>
                  <a:lnTo>
                    <a:pt x="1192" y="246"/>
                  </a:lnTo>
                  <a:lnTo>
                    <a:pt x="1212" y="271"/>
                  </a:lnTo>
                  <a:lnTo>
                    <a:pt x="1231" y="296"/>
                  </a:lnTo>
                  <a:lnTo>
                    <a:pt x="1248" y="324"/>
                  </a:lnTo>
                  <a:lnTo>
                    <a:pt x="1264" y="353"/>
                  </a:lnTo>
                  <a:lnTo>
                    <a:pt x="1279" y="382"/>
                  </a:lnTo>
                  <a:lnTo>
                    <a:pt x="1293" y="412"/>
                  </a:lnTo>
                  <a:lnTo>
                    <a:pt x="1305" y="441"/>
                  </a:lnTo>
                  <a:lnTo>
                    <a:pt x="1315" y="473"/>
                  </a:lnTo>
                  <a:lnTo>
                    <a:pt x="1324" y="504"/>
                  </a:lnTo>
                  <a:lnTo>
                    <a:pt x="1331" y="538"/>
                  </a:lnTo>
                  <a:lnTo>
                    <a:pt x="1338" y="571"/>
                  </a:lnTo>
                  <a:lnTo>
                    <a:pt x="1342" y="604"/>
                  </a:lnTo>
                  <a:lnTo>
                    <a:pt x="1345" y="638"/>
                  </a:lnTo>
                  <a:lnTo>
                    <a:pt x="1346" y="6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0" name="Group 19"/>
          <p:cNvGrpSpPr/>
          <p:nvPr/>
        </p:nvGrpSpPr>
        <p:grpSpPr>
          <a:xfrm>
            <a:off x="1891013" y="3629134"/>
            <a:ext cx="632765" cy="477848"/>
            <a:chOff x="1497750" y="3611431"/>
            <a:chExt cx="632765" cy="477848"/>
          </a:xfrm>
        </p:grpSpPr>
        <p:grpSp>
          <p:nvGrpSpPr>
            <p:cNvPr id="17" name="Group 16"/>
            <p:cNvGrpSpPr/>
            <p:nvPr/>
          </p:nvGrpSpPr>
          <p:grpSpPr>
            <a:xfrm>
              <a:off x="1497750" y="3611431"/>
              <a:ext cx="632765" cy="477848"/>
              <a:chOff x="1497750" y="3611431"/>
              <a:chExt cx="632765" cy="477848"/>
            </a:xfrm>
          </p:grpSpPr>
          <p:sp>
            <p:nvSpPr>
              <p:cNvPr id="613" name="Rectangle 612"/>
              <p:cNvSpPr/>
              <p:nvPr/>
            </p:nvSpPr>
            <p:spPr bwMode="auto">
              <a:xfrm>
                <a:off x="1497750" y="3636156"/>
                <a:ext cx="632765" cy="453123"/>
              </a:xfrm>
              <a:prstGeom prst="rect">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w="3175">
                    <a:noFill/>
                  </a:ln>
                  <a:solidFill>
                    <a:srgbClr val="00BCF2"/>
                  </a:solidFill>
                  <a:effectLst/>
                  <a:uLnTx/>
                  <a:uFillTx/>
                  <a:cs typeface="Arial" charset="0"/>
                </a:endParaRPr>
              </a:p>
            </p:txBody>
          </p:sp>
          <p:grpSp>
            <p:nvGrpSpPr>
              <p:cNvPr id="614" name="Group 613"/>
              <p:cNvGrpSpPr/>
              <p:nvPr/>
            </p:nvGrpSpPr>
            <p:grpSpPr>
              <a:xfrm>
                <a:off x="1555497" y="3686082"/>
                <a:ext cx="397034" cy="353122"/>
                <a:chOff x="1688516" y="5599008"/>
                <a:chExt cx="1352096" cy="1202553"/>
              </a:xfrm>
            </p:grpSpPr>
            <p:sp>
              <p:nvSpPr>
                <p:cNvPr id="615" name="Freeform 1174"/>
                <p:cNvSpPr>
                  <a:spLocks/>
                </p:cNvSpPr>
                <p:nvPr/>
              </p:nvSpPr>
              <p:spPr bwMode="auto">
                <a:xfrm>
                  <a:off x="1688516" y="5599008"/>
                  <a:ext cx="1352096" cy="1202553"/>
                </a:xfrm>
                <a:custGeom>
                  <a:avLst/>
                  <a:gdLst>
                    <a:gd name="T0" fmla="*/ 2502 w 4304"/>
                    <a:gd name="T1" fmla="*/ 1154 h 3828"/>
                    <a:gd name="T2" fmla="*/ 2554 w 4304"/>
                    <a:gd name="T3" fmla="*/ 710 h 3828"/>
                    <a:gd name="T4" fmla="*/ 2627 w 4304"/>
                    <a:gd name="T5" fmla="*/ 443 h 3828"/>
                    <a:gd name="T6" fmla="*/ 2706 w 4304"/>
                    <a:gd name="T7" fmla="*/ 326 h 3828"/>
                    <a:gd name="T8" fmla="*/ 2825 w 4304"/>
                    <a:gd name="T9" fmla="*/ 281 h 3828"/>
                    <a:gd name="T10" fmla="*/ 2884 w 4304"/>
                    <a:gd name="T11" fmla="*/ 238 h 3828"/>
                    <a:gd name="T12" fmla="*/ 3010 w 4304"/>
                    <a:gd name="T13" fmla="*/ 117 h 3828"/>
                    <a:gd name="T14" fmla="*/ 3238 w 4304"/>
                    <a:gd name="T15" fmla="*/ 3 h 3828"/>
                    <a:gd name="T16" fmla="*/ 3343 w 4304"/>
                    <a:gd name="T17" fmla="*/ 14 h 3828"/>
                    <a:gd name="T18" fmla="*/ 3367 w 4304"/>
                    <a:gd name="T19" fmla="*/ 94 h 3828"/>
                    <a:gd name="T20" fmla="*/ 3330 w 4304"/>
                    <a:gd name="T21" fmla="*/ 237 h 3828"/>
                    <a:gd name="T22" fmla="*/ 3508 w 4304"/>
                    <a:gd name="T23" fmla="*/ 288 h 3828"/>
                    <a:gd name="T24" fmla="*/ 3612 w 4304"/>
                    <a:gd name="T25" fmla="*/ 353 h 3828"/>
                    <a:gd name="T26" fmla="*/ 3712 w 4304"/>
                    <a:gd name="T27" fmla="*/ 484 h 3828"/>
                    <a:gd name="T28" fmla="*/ 3790 w 4304"/>
                    <a:gd name="T29" fmla="*/ 652 h 3828"/>
                    <a:gd name="T30" fmla="*/ 4061 w 4304"/>
                    <a:gd name="T31" fmla="*/ 711 h 3828"/>
                    <a:gd name="T32" fmla="*/ 4209 w 4304"/>
                    <a:gd name="T33" fmla="*/ 725 h 3828"/>
                    <a:gd name="T34" fmla="*/ 4278 w 4304"/>
                    <a:gd name="T35" fmla="*/ 835 h 3828"/>
                    <a:gd name="T36" fmla="*/ 4300 w 4304"/>
                    <a:gd name="T37" fmla="*/ 999 h 3828"/>
                    <a:gd name="T38" fmla="*/ 4243 w 4304"/>
                    <a:gd name="T39" fmla="*/ 1119 h 3828"/>
                    <a:gd name="T40" fmla="*/ 4139 w 4304"/>
                    <a:gd name="T41" fmla="*/ 1209 h 3828"/>
                    <a:gd name="T42" fmla="*/ 3935 w 4304"/>
                    <a:gd name="T43" fmla="*/ 1304 h 3828"/>
                    <a:gd name="T44" fmla="*/ 3283 w 4304"/>
                    <a:gd name="T45" fmla="*/ 1776 h 3828"/>
                    <a:gd name="T46" fmla="*/ 3285 w 4304"/>
                    <a:gd name="T47" fmla="*/ 3410 h 3828"/>
                    <a:gd name="T48" fmla="*/ 3247 w 4304"/>
                    <a:gd name="T49" fmla="*/ 3660 h 3828"/>
                    <a:gd name="T50" fmla="*/ 3185 w 4304"/>
                    <a:gd name="T51" fmla="*/ 3762 h 3828"/>
                    <a:gd name="T52" fmla="*/ 3083 w 4304"/>
                    <a:gd name="T53" fmla="*/ 3818 h 3828"/>
                    <a:gd name="T54" fmla="*/ 2958 w 4304"/>
                    <a:gd name="T55" fmla="*/ 3824 h 3828"/>
                    <a:gd name="T56" fmla="*/ 2845 w 4304"/>
                    <a:gd name="T57" fmla="*/ 3786 h 3828"/>
                    <a:gd name="T58" fmla="*/ 2771 w 4304"/>
                    <a:gd name="T59" fmla="*/ 3705 h 3828"/>
                    <a:gd name="T60" fmla="*/ 2713 w 4304"/>
                    <a:gd name="T61" fmla="*/ 3496 h 3828"/>
                    <a:gd name="T62" fmla="*/ 2718 w 4304"/>
                    <a:gd name="T63" fmla="*/ 2670 h 3828"/>
                    <a:gd name="T64" fmla="*/ 1956 w 4304"/>
                    <a:gd name="T65" fmla="*/ 3083 h 3828"/>
                    <a:gd name="T66" fmla="*/ 2124 w 4304"/>
                    <a:gd name="T67" fmla="*/ 3358 h 3828"/>
                    <a:gd name="T68" fmla="*/ 2176 w 4304"/>
                    <a:gd name="T69" fmla="*/ 3551 h 3828"/>
                    <a:gd name="T70" fmla="*/ 2142 w 4304"/>
                    <a:gd name="T71" fmla="*/ 3690 h 3828"/>
                    <a:gd name="T72" fmla="*/ 2012 w 4304"/>
                    <a:gd name="T73" fmla="*/ 3804 h 3828"/>
                    <a:gd name="T74" fmla="*/ 1848 w 4304"/>
                    <a:gd name="T75" fmla="*/ 3821 h 3828"/>
                    <a:gd name="T76" fmla="*/ 1711 w 4304"/>
                    <a:gd name="T77" fmla="*/ 3748 h 3828"/>
                    <a:gd name="T78" fmla="*/ 1552 w 4304"/>
                    <a:gd name="T79" fmla="*/ 3549 h 3828"/>
                    <a:gd name="T80" fmla="*/ 1129 w 4304"/>
                    <a:gd name="T81" fmla="*/ 2844 h 3828"/>
                    <a:gd name="T82" fmla="*/ 1113 w 4304"/>
                    <a:gd name="T83" fmla="*/ 3520 h 3828"/>
                    <a:gd name="T84" fmla="*/ 1075 w 4304"/>
                    <a:gd name="T85" fmla="*/ 3717 h 3828"/>
                    <a:gd name="T86" fmla="*/ 980 w 4304"/>
                    <a:gd name="T87" fmla="*/ 3801 h 3828"/>
                    <a:gd name="T88" fmla="*/ 821 w 4304"/>
                    <a:gd name="T89" fmla="*/ 3827 h 3828"/>
                    <a:gd name="T90" fmla="*/ 670 w 4304"/>
                    <a:gd name="T91" fmla="*/ 3780 h 3828"/>
                    <a:gd name="T92" fmla="*/ 594 w 4304"/>
                    <a:gd name="T93" fmla="*/ 3669 h 3828"/>
                    <a:gd name="T94" fmla="*/ 554 w 4304"/>
                    <a:gd name="T95" fmla="*/ 3419 h 3828"/>
                    <a:gd name="T96" fmla="*/ 561 w 4304"/>
                    <a:gd name="T97" fmla="*/ 2885 h 3828"/>
                    <a:gd name="T98" fmla="*/ 502 w 4304"/>
                    <a:gd name="T99" fmla="*/ 1741 h 3828"/>
                    <a:gd name="T100" fmla="*/ 297 w 4304"/>
                    <a:gd name="T101" fmla="*/ 1638 h 3828"/>
                    <a:gd name="T102" fmla="*/ 156 w 4304"/>
                    <a:gd name="T103" fmla="*/ 1486 h 3828"/>
                    <a:gd name="T104" fmla="*/ 60 w 4304"/>
                    <a:gd name="T105" fmla="*/ 1284 h 3828"/>
                    <a:gd name="T106" fmla="*/ 1 w 4304"/>
                    <a:gd name="T107" fmla="*/ 852 h 3828"/>
                    <a:gd name="T108" fmla="*/ 73 w 4304"/>
                    <a:gd name="T109" fmla="*/ 557 h 3828"/>
                    <a:gd name="T110" fmla="*/ 203 w 4304"/>
                    <a:gd name="T111" fmla="*/ 388 h 3828"/>
                    <a:gd name="T112" fmla="*/ 310 w 4304"/>
                    <a:gd name="T113" fmla="*/ 337 h 3828"/>
                    <a:gd name="T114" fmla="*/ 341 w 4304"/>
                    <a:gd name="T115" fmla="*/ 444 h 3828"/>
                    <a:gd name="T116" fmla="*/ 412 w 4304"/>
                    <a:gd name="T117" fmla="*/ 755 h 3828"/>
                    <a:gd name="T118" fmla="*/ 614 w 4304"/>
                    <a:gd name="T119" fmla="*/ 1239 h 3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04" h="3828">
                      <a:moveTo>
                        <a:pt x="2500" y="1247"/>
                      </a:moveTo>
                      <a:lnTo>
                        <a:pt x="2500" y="1247"/>
                      </a:lnTo>
                      <a:lnTo>
                        <a:pt x="2499" y="1244"/>
                      </a:lnTo>
                      <a:lnTo>
                        <a:pt x="2497" y="1239"/>
                      </a:lnTo>
                      <a:lnTo>
                        <a:pt x="2497" y="1218"/>
                      </a:lnTo>
                      <a:lnTo>
                        <a:pt x="2499" y="1188"/>
                      </a:lnTo>
                      <a:lnTo>
                        <a:pt x="2502" y="1154"/>
                      </a:lnTo>
                      <a:lnTo>
                        <a:pt x="2513" y="1048"/>
                      </a:lnTo>
                      <a:lnTo>
                        <a:pt x="2513" y="1048"/>
                      </a:lnTo>
                      <a:lnTo>
                        <a:pt x="2523" y="947"/>
                      </a:lnTo>
                      <a:lnTo>
                        <a:pt x="2534" y="846"/>
                      </a:lnTo>
                      <a:lnTo>
                        <a:pt x="2534" y="846"/>
                      </a:lnTo>
                      <a:lnTo>
                        <a:pt x="2547" y="755"/>
                      </a:lnTo>
                      <a:lnTo>
                        <a:pt x="2554" y="710"/>
                      </a:lnTo>
                      <a:lnTo>
                        <a:pt x="2562" y="664"/>
                      </a:lnTo>
                      <a:lnTo>
                        <a:pt x="2571" y="619"/>
                      </a:lnTo>
                      <a:lnTo>
                        <a:pt x="2582" y="575"/>
                      </a:lnTo>
                      <a:lnTo>
                        <a:pt x="2595" y="532"/>
                      </a:lnTo>
                      <a:lnTo>
                        <a:pt x="2610" y="488"/>
                      </a:lnTo>
                      <a:lnTo>
                        <a:pt x="2610" y="488"/>
                      </a:lnTo>
                      <a:lnTo>
                        <a:pt x="2627" y="443"/>
                      </a:lnTo>
                      <a:lnTo>
                        <a:pt x="2637" y="422"/>
                      </a:lnTo>
                      <a:lnTo>
                        <a:pt x="2647" y="399"/>
                      </a:lnTo>
                      <a:lnTo>
                        <a:pt x="2660" y="379"/>
                      </a:lnTo>
                      <a:lnTo>
                        <a:pt x="2672" y="360"/>
                      </a:lnTo>
                      <a:lnTo>
                        <a:pt x="2688" y="341"/>
                      </a:lnTo>
                      <a:lnTo>
                        <a:pt x="2706" y="326"/>
                      </a:lnTo>
                      <a:lnTo>
                        <a:pt x="2706" y="326"/>
                      </a:lnTo>
                      <a:lnTo>
                        <a:pt x="2716" y="319"/>
                      </a:lnTo>
                      <a:lnTo>
                        <a:pt x="2727" y="313"/>
                      </a:lnTo>
                      <a:lnTo>
                        <a:pt x="2739" y="307"/>
                      </a:lnTo>
                      <a:lnTo>
                        <a:pt x="2751" y="303"/>
                      </a:lnTo>
                      <a:lnTo>
                        <a:pt x="2775" y="296"/>
                      </a:lnTo>
                      <a:lnTo>
                        <a:pt x="2801" y="289"/>
                      </a:lnTo>
                      <a:lnTo>
                        <a:pt x="2825" y="281"/>
                      </a:lnTo>
                      <a:lnTo>
                        <a:pt x="2836" y="276"/>
                      </a:lnTo>
                      <a:lnTo>
                        <a:pt x="2847" y="271"/>
                      </a:lnTo>
                      <a:lnTo>
                        <a:pt x="2857" y="265"/>
                      </a:lnTo>
                      <a:lnTo>
                        <a:pt x="2867" y="258"/>
                      </a:lnTo>
                      <a:lnTo>
                        <a:pt x="2877" y="248"/>
                      </a:lnTo>
                      <a:lnTo>
                        <a:pt x="2884" y="238"/>
                      </a:lnTo>
                      <a:lnTo>
                        <a:pt x="2884" y="238"/>
                      </a:lnTo>
                      <a:lnTo>
                        <a:pt x="2901" y="216"/>
                      </a:lnTo>
                      <a:lnTo>
                        <a:pt x="2918" y="194"/>
                      </a:lnTo>
                      <a:lnTo>
                        <a:pt x="2935" y="176"/>
                      </a:lnTo>
                      <a:lnTo>
                        <a:pt x="2953" y="159"/>
                      </a:lnTo>
                      <a:lnTo>
                        <a:pt x="2972" y="144"/>
                      </a:lnTo>
                      <a:lnTo>
                        <a:pt x="2990" y="130"/>
                      </a:lnTo>
                      <a:lnTo>
                        <a:pt x="3010" y="117"/>
                      </a:lnTo>
                      <a:lnTo>
                        <a:pt x="3031" y="106"/>
                      </a:lnTo>
                      <a:lnTo>
                        <a:pt x="3075" y="82"/>
                      </a:lnTo>
                      <a:lnTo>
                        <a:pt x="3123" y="59"/>
                      </a:lnTo>
                      <a:lnTo>
                        <a:pt x="3176" y="34"/>
                      </a:lnTo>
                      <a:lnTo>
                        <a:pt x="3233" y="4"/>
                      </a:lnTo>
                      <a:lnTo>
                        <a:pt x="3233" y="4"/>
                      </a:lnTo>
                      <a:lnTo>
                        <a:pt x="3238" y="3"/>
                      </a:lnTo>
                      <a:lnTo>
                        <a:pt x="3244" y="1"/>
                      </a:lnTo>
                      <a:lnTo>
                        <a:pt x="3260" y="0"/>
                      </a:lnTo>
                      <a:lnTo>
                        <a:pt x="3278" y="0"/>
                      </a:lnTo>
                      <a:lnTo>
                        <a:pt x="3296" y="1"/>
                      </a:lnTo>
                      <a:lnTo>
                        <a:pt x="3315" y="5"/>
                      </a:lnTo>
                      <a:lnTo>
                        <a:pt x="3331" y="8"/>
                      </a:lnTo>
                      <a:lnTo>
                        <a:pt x="3343" y="14"/>
                      </a:lnTo>
                      <a:lnTo>
                        <a:pt x="3347" y="15"/>
                      </a:lnTo>
                      <a:lnTo>
                        <a:pt x="3350" y="18"/>
                      </a:lnTo>
                      <a:lnTo>
                        <a:pt x="3350" y="18"/>
                      </a:lnTo>
                      <a:lnTo>
                        <a:pt x="3357" y="36"/>
                      </a:lnTo>
                      <a:lnTo>
                        <a:pt x="3363" y="56"/>
                      </a:lnTo>
                      <a:lnTo>
                        <a:pt x="3365" y="75"/>
                      </a:lnTo>
                      <a:lnTo>
                        <a:pt x="3367" y="94"/>
                      </a:lnTo>
                      <a:lnTo>
                        <a:pt x="3367" y="113"/>
                      </a:lnTo>
                      <a:lnTo>
                        <a:pt x="3364" y="131"/>
                      </a:lnTo>
                      <a:lnTo>
                        <a:pt x="3361" y="148"/>
                      </a:lnTo>
                      <a:lnTo>
                        <a:pt x="3358" y="165"/>
                      </a:lnTo>
                      <a:lnTo>
                        <a:pt x="3348" y="193"/>
                      </a:lnTo>
                      <a:lnTo>
                        <a:pt x="3340" y="216"/>
                      </a:lnTo>
                      <a:lnTo>
                        <a:pt x="3330" y="237"/>
                      </a:lnTo>
                      <a:lnTo>
                        <a:pt x="3330" y="237"/>
                      </a:lnTo>
                      <a:lnTo>
                        <a:pt x="3351" y="240"/>
                      </a:lnTo>
                      <a:lnTo>
                        <a:pt x="3374" y="245"/>
                      </a:lnTo>
                      <a:lnTo>
                        <a:pt x="3403" y="252"/>
                      </a:lnTo>
                      <a:lnTo>
                        <a:pt x="3436" y="261"/>
                      </a:lnTo>
                      <a:lnTo>
                        <a:pt x="3471" y="274"/>
                      </a:lnTo>
                      <a:lnTo>
                        <a:pt x="3508" y="288"/>
                      </a:lnTo>
                      <a:lnTo>
                        <a:pt x="3525" y="296"/>
                      </a:lnTo>
                      <a:lnTo>
                        <a:pt x="3542" y="305"/>
                      </a:lnTo>
                      <a:lnTo>
                        <a:pt x="3542" y="305"/>
                      </a:lnTo>
                      <a:lnTo>
                        <a:pt x="3561" y="316"/>
                      </a:lnTo>
                      <a:lnTo>
                        <a:pt x="3580" y="327"/>
                      </a:lnTo>
                      <a:lnTo>
                        <a:pt x="3597" y="340"/>
                      </a:lnTo>
                      <a:lnTo>
                        <a:pt x="3612" y="353"/>
                      </a:lnTo>
                      <a:lnTo>
                        <a:pt x="3626" y="364"/>
                      </a:lnTo>
                      <a:lnTo>
                        <a:pt x="3639" y="378"/>
                      </a:lnTo>
                      <a:lnTo>
                        <a:pt x="3652" y="391"/>
                      </a:lnTo>
                      <a:lnTo>
                        <a:pt x="3662" y="403"/>
                      </a:lnTo>
                      <a:lnTo>
                        <a:pt x="3681" y="430"/>
                      </a:lnTo>
                      <a:lnTo>
                        <a:pt x="3698" y="457"/>
                      </a:lnTo>
                      <a:lnTo>
                        <a:pt x="3712" y="484"/>
                      </a:lnTo>
                      <a:lnTo>
                        <a:pt x="3724" y="509"/>
                      </a:lnTo>
                      <a:lnTo>
                        <a:pt x="3744" y="560"/>
                      </a:lnTo>
                      <a:lnTo>
                        <a:pt x="3753" y="584"/>
                      </a:lnTo>
                      <a:lnTo>
                        <a:pt x="3762" y="605"/>
                      </a:lnTo>
                      <a:lnTo>
                        <a:pt x="3772" y="625"/>
                      </a:lnTo>
                      <a:lnTo>
                        <a:pt x="3784" y="643"/>
                      </a:lnTo>
                      <a:lnTo>
                        <a:pt x="3790" y="652"/>
                      </a:lnTo>
                      <a:lnTo>
                        <a:pt x="3797" y="659"/>
                      </a:lnTo>
                      <a:lnTo>
                        <a:pt x="3806" y="666"/>
                      </a:lnTo>
                      <a:lnTo>
                        <a:pt x="3813" y="671"/>
                      </a:lnTo>
                      <a:lnTo>
                        <a:pt x="3900" y="711"/>
                      </a:lnTo>
                      <a:lnTo>
                        <a:pt x="3900" y="711"/>
                      </a:lnTo>
                      <a:lnTo>
                        <a:pt x="3958" y="711"/>
                      </a:lnTo>
                      <a:lnTo>
                        <a:pt x="4061" y="711"/>
                      </a:lnTo>
                      <a:lnTo>
                        <a:pt x="4115" y="712"/>
                      </a:lnTo>
                      <a:lnTo>
                        <a:pt x="4161" y="714"/>
                      </a:lnTo>
                      <a:lnTo>
                        <a:pt x="4180" y="717"/>
                      </a:lnTo>
                      <a:lnTo>
                        <a:pt x="4195" y="718"/>
                      </a:lnTo>
                      <a:lnTo>
                        <a:pt x="4205" y="721"/>
                      </a:lnTo>
                      <a:lnTo>
                        <a:pt x="4208" y="722"/>
                      </a:lnTo>
                      <a:lnTo>
                        <a:pt x="4209" y="725"/>
                      </a:lnTo>
                      <a:lnTo>
                        <a:pt x="4209" y="725"/>
                      </a:lnTo>
                      <a:lnTo>
                        <a:pt x="4213" y="729"/>
                      </a:lnTo>
                      <a:lnTo>
                        <a:pt x="4225" y="745"/>
                      </a:lnTo>
                      <a:lnTo>
                        <a:pt x="4242" y="767"/>
                      </a:lnTo>
                      <a:lnTo>
                        <a:pt x="4260" y="798"/>
                      </a:lnTo>
                      <a:lnTo>
                        <a:pt x="4269" y="815"/>
                      </a:lnTo>
                      <a:lnTo>
                        <a:pt x="4278" y="835"/>
                      </a:lnTo>
                      <a:lnTo>
                        <a:pt x="4285" y="855"/>
                      </a:lnTo>
                      <a:lnTo>
                        <a:pt x="4292" y="877"/>
                      </a:lnTo>
                      <a:lnTo>
                        <a:pt x="4298" y="900"/>
                      </a:lnTo>
                      <a:lnTo>
                        <a:pt x="4302" y="924"/>
                      </a:lnTo>
                      <a:lnTo>
                        <a:pt x="4304" y="948"/>
                      </a:lnTo>
                      <a:lnTo>
                        <a:pt x="4304" y="973"/>
                      </a:lnTo>
                      <a:lnTo>
                        <a:pt x="4300" y="999"/>
                      </a:lnTo>
                      <a:lnTo>
                        <a:pt x="4294" y="1026"/>
                      </a:lnTo>
                      <a:lnTo>
                        <a:pt x="4284" y="1052"/>
                      </a:lnTo>
                      <a:lnTo>
                        <a:pt x="4278" y="1065"/>
                      </a:lnTo>
                      <a:lnTo>
                        <a:pt x="4271" y="1078"/>
                      </a:lnTo>
                      <a:lnTo>
                        <a:pt x="4263" y="1092"/>
                      </a:lnTo>
                      <a:lnTo>
                        <a:pt x="4254" y="1105"/>
                      </a:lnTo>
                      <a:lnTo>
                        <a:pt x="4243" y="1119"/>
                      </a:lnTo>
                      <a:lnTo>
                        <a:pt x="4232" y="1131"/>
                      </a:lnTo>
                      <a:lnTo>
                        <a:pt x="4221" y="1144"/>
                      </a:lnTo>
                      <a:lnTo>
                        <a:pt x="4206" y="1158"/>
                      </a:lnTo>
                      <a:lnTo>
                        <a:pt x="4191" y="1171"/>
                      </a:lnTo>
                      <a:lnTo>
                        <a:pt x="4175" y="1184"/>
                      </a:lnTo>
                      <a:lnTo>
                        <a:pt x="4158" y="1196"/>
                      </a:lnTo>
                      <a:lnTo>
                        <a:pt x="4139" y="1209"/>
                      </a:lnTo>
                      <a:lnTo>
                        <a:pt x="4119" y="1222"/>
                      </a:lnTo>
                      <a:lnTo>
                        <a:pt x="4098" y="1234"/>
                      </a:lnTo>
                      <a:lnTo>
                        <a:pt x="4074" y="1247"/>
                      </a:lnTo>
                      <a:lnTo>
                        <a:pt x="4050" y="1258"/>
                      </a:lnTo>
                      <a:lnTo>
                        <a:pt x="4023" y="1270"/>
                      </a:lnTo>
                      <a:lnTo>
                        <a:pt x="3996" y="1281"/>
                      </a:lnTo>
                      <a:lnTo>
                        <a:pt x="3935" y="1304"/>
                      </a:lnTo>
                      <a:lnTo>
                        <a:pt x="3868" y="1325"/>
                      </a:lnTo>
                      <a:lnTo>
                        <a:pt x="3794" y="1345"/>
                      </a:lnTo>
                      <a:lnTo>
                        <a:pt x="3712" y="1363"/>
                      </a:lnTo>
                      <a:lnTo>
                        <a:pt x="3557" y="1400"/>
                      </a:lnTo>
                      <a:lnTo>
                        <a:pt x="3350" y="1582"/>
                      </a:lnTo>
                      <a:lnTo>
                        <a:pt x="3283" y="1776"/>
                      </a:lnTo>
                      <a:lnTo>
                        <a:pt x="3283" y="1776"/>
                      </a:lnTo>
                      <a:lnTo>
                        <a:pt x="3285" y="1991"/>
                      </a:lnTo>
                      <a:lnTo>
                        <a:pt x="3288" y="2485"/>
                      </a:lnTo>
                      <a:lnTo>
                        <a:pt x="3289" y="2767"/>
                      </a:lnTo>
                      <a:lnTo>
                        <a:pt x="3289" y="3032"/>
                      </a:lnTo>
                      <a:lnTo>
                        <a:pt x="3288" y="3257"/>
                      </a:lnTo>
                      <a:lnTo>
                        <a:pt x="3286" y="3344"/>
                      </a:lnTo>
                      <a:lnTo>
                        <a:pt x="3285" y="3410"/>
                      </a:lnTo>
                      <a:lnTo>
                        <a:pt x="3285" y="3410"/>
                      </a:lnTo>
                      <a:lnTo>
                        <a:pt x="3283" y="3457"/>
                      </a:lnTo>
                      <a:lnTo>
                        <a:pt x="3279" y="3502"/>
                      </a:lnTo>
                      <a:lnTo>
                        <a:pt x="3274" y="3544"/>
                      </a:lnTo>
                      <a:lnTo>
                        <a:pt x="3267" y="3585"/>
                      </a:lnTo>
                      <a:lnTo>
                        <a:pt x="3258" y="3623"/>
                      </a:lnTo>
                      <a:lnTo>
                        <a:pt x="3247" y="3660"/>
                      </a:lnTo>
                      <a:lnTo>
                        <a:pt x="3240" y="3677"/>
                      </a:lnTo>
                      <a:lnTo>
                        <a:pt x="3233" y="3693"/>
                      </a:lnTo>
                      <a:lnTo>
                        <a:pt x="3224" y="3708"/>
                      </a:lnTo>
                      <a:lnTo>
                        <a:pt x="3216" y="3722"/>
                      </a:lnTo>
                      <a:lnTo>
                        <a:pt x="3206" y="3736"/>
                      </a:lnTo>
                      <a:lnTo>
                        <a:pt x="3196" y="3749"/>
                      </a:lnTo>
                      <a:lnTo>
                        <a:pt x="3185" y="3762"/>
                      </a:lnTo>
                      <a:lnTo>
                        <a:pt x="3173" y="3773"/>
                      </a:lnTo>
                      <a:lnTo>
                        <a:pt x="3161" y="3783"/>
                      </a:lnTo>
                      <a:lnTo>
                        <a:pt x="3147" y="3791"/>
                      </a:lnTo>
                      <a:lnTo>
                        <a:pt x="3133" y="3800"/>
                      </a:lnTo>
                      <a:lnTo>
                        <a:pt x="3117" y="3807"/>
                      </a:lnTo>
                      <a:lnTo>
                        <a:pt x="3101" y="3814"/>
                      </a:lnTo>
                      <a:lnTo>
                        <a:pt x="3083" y="3818"/>
                      </a:lnTo>
                      <a:lnTo>
                        <a:pt x="3065" y="3822"/>
                      </a:lnTo>
                      <a:lnTo>
                        <a:pt x="3046" y="3825"/>
                      </a:lnTo>
                      <a:lnTo>
                        <a:pt x="3025" y="3827"/>
                      </a:lnTo>
                      <a:lnTo>
                        <a:pt x="3004" y="3827"/>
                      </a:lnTo>
                      <a:lnTo>
                        <a:pt x="2982" y="3825"/>
                      </a:lnTo>
                      <a:lnTo>
                        <a:pt x="2958" y="3824"/>
                      </a:lnTo>
                      <a:lnTo>
                        <a:pt x="2958" y="3824"/>
                      </a:lnTo>
                      <a:lnTo>
                        <a:pt x="2938" y="3821"/>
                      </a:lnTo>
                      <a:lnTo>
                        <a:pt x="2921" y="3817"/>
                      </a:lnTo>
                      <a:lnTo>
                        <a:pt x="2904" y="3812"/>
                      </a:lnTo>
                      <a:lnTo>
                        <a:pt x="2887" y="3807"/>
                      </a:lnTo>
                      <a:lnTo>
                        <a:pt x="2871" y="3801"/>
                      </a:lnTo>
                      <a:lnTo>
                        <a:pt x="2857" y="3794"/>
                      </a:lnTo>
                      <a:lnTo>
                        <a:pt x="2845" y="3786"/>
                      </a:lnTo>
                      <a:lnTo>
                        <a:pt x="2832" y="3776"/>
                      </a:lnTo>
                      <a:lnTo>
                        <a:pt x="2819" y="3766"/>
                      </a:lnTo>
                      <a:lnTo>
                        <a:pt x="2808" y="3756"/>
                      </a:lnTo>
                      <a:lnTo>
                        <a:pt x="2798" y="3745"/>
                      </a:lnTo>
                      <a:lnTo>
                        <a:pt x="2788" y="3732"/>
                      </a:lnTo>
                      <a:lnTo>
                        <a:pt x="2778" y="3719"/>
                      </a:lnTo>
                      <a:lnTo>
                        <a:pt x="2771" y="3705"/>
                      </a:lnTo>
                      <a:lnTo>
                        <a:pt x="2763" y="3691"/>
                      </a:lnTo>
                      <a:lnTo>
                        <a:pt x="2756" y="3677"/>
                      </a:lnTo>
                      <a:lnTo>
                        <a:pt x="2743" y="3645"/>
                      </a:lnTo>
                      <a:lnTo>
                        <a:pt x="2733" y="3611"/>
                      </a:lnTo>
                      <a:lnTo>
                        <a:pt x="2725" y="3574"/>
                      </a:lnTo>
                      <a:lnTo>
                        <a:pt x="2719" y="3536"/>
                      </a:lnTo>
                      <a:lnTo>
                        <a:pt x="2713" y="3496"/>
                      </a:lnTo>
                      <a:lnTo>
                        <a:pt x="2711" y="3454"/>
                      </a:lnTo>
                      <a:lnTo>
                        <a:pt x="2709" y="3410"/>
                      </a:lnTo>
                      <a:lnTo>
                        <a:pt x="2708" y="3367"/>
                      </a:lnTo>
                      <a:lnTo>
                        <a:pt x="2708" y="3367"/>
                      </a:lnTo>
                      <a:lnTo>
                        <a:pt x="2709" y="3163"/>
                      </a:lnTo>
                      <a:lnTo>
                        <a:pt x="2713" y="2935"/>
                      </a:lnTo>
                      <a:lnTo>
                        <a:pt x="2718" y="2670"/>
                      </a:lnTo>
                      <a:lnTo>
                        <a:pt x="1716" y="2648"/>
                      </a:lnTo>
                      <a:lnTo>
                        <a:pt x="1716" y="2648"/>
                      </a:lnTo>
                      <a:lnTo>
                        <a:pt x="1738" y="2691"/>
                      </a:lnTo>
                      <a:lnTo>
                        <a:pt x="1796" y="2799"/>
                      </a:lnTo>
                      <a:lnTo>
                        <a:pt x="1874" y="2940"/>
                      </a:lnTo>
                      <a:lnTo>
                        <a:pt x="1915" y="3014"/>
                      </a:lnTo>
                      <a:lnTo>
                        <a:pt x="1956" y="3083"/>
                      </a:lnTo>
                      <a:lnTo>
                        <a:pt x="1956" y="3083"/>
                      </a:lnTo>
                      <a:lnTo>
                        <a:pt x="1992" y="3142"/>
                      </a:lnTo>
                      <a:lnTo>
                        <a:pt x="2032" y="3203"/>
                      </a:lnTo>
                      <a:lnTo>
                        <a:pt x="2070" y="3264"/>
                      </a:lnTo>
                      <a:lnTo>
                        <a:pt x="2090" y="3295"/>
                      </a:lnTo>
                      <a:lnTo>
                        <a:pt x="2107" y="3327"/>
                      </a:lnTo>
                      <a:lnTo>
                        <a:pt x="2124" y="3358"/>
                      </a:lnTo>
                      <a:lnTo>
                        <a:pt x="2138" y="3389"/>
                      </a:lnTo>
                      <a:lnTo>
                        <a:pt x="2150" y="3422"/>
                      </a:lnTo>
                      <a:lnTo>
                        <a:pt x="2162" y="3454"/>
                      </a:lnTo>
                      <a:lnTo>
                        <a:pt x="2169" y="3487"/>
                      </a:lnTo>
                      <a:lnTo>
                        <a:pt x="2174" y="3519"/>
                      </a:lnTo>
                      <a:lnTo>
                        <a:pt x="2174" y="3534"/>
                      </a:lnTo>
                      <a:lnTo>
                        <a:pt x="2176" y="3551"/>
                      </a:lnTo>
                      <a:lnTo>
                        <a:pt x="2174" y="3568"/>
                      </a:lnTo>
                      <a:lnTo>
                        <a:pt x="2173" y="3584"/>
                      </a:lnTo>
                      <a:lnTo>
                        <a:pt x="2173" y="3584"/>
                      </a:lnTo>
                      <a:lnTo>
                        <a:pt x="2169" y="3614"/>
                      </a:lnTo>
                      <a:lnTo>
                        <a:pt x="2162" y="3640"/>
                      </a:lnTo>
                      <a:lnTo>
                        <a:pt x="2153" y="3666"/>
                      </a:lnTo>
                      <a:lnTo>
                        <a:pt x="2142" y="3690"/>
                      </a:lnTo>
                      <a:lnTo>
                        <a:pt x="2129" y="3711"/>
                      </a:lnTo>
                      <a:lnTo>
                        <a:pt x="2114" y="3731"/>
                      </a:lnTo>
                      <a:lnTo>
                        <a:pt x="2097" y="3749"/>
                      </a:lnTo>
                      <a:lnTo>
                        <a:pt x="2078" y="3766"/>
                      </a:lnTo>
                      <a:lnTo>
                        <a:pt x="2059" y="3781"/>
                      </a:lnTo>
                      <a:lnTo>
                        <a:pt x="2036" y="3793"/>
                      </a:lnTo>
                      <a:lnTo>
                        <a:pt x="2012" y="3804"/>
                      </a:lnTo>
                      <a:lnTo>
                        <a:pt x="1987" y="3812"/>
                      </a:lnTo>
                      <a:lnTo>
                        <a:pt x="1960" y="3818"/>
                      </a:lnTo>
                      <a:lnTo>
                        <a:pt x="1930" y="3822"/>
                      </a:lnTo>
                      <a:lnTo>
                        <a:pt x="1901" y="3824"/>
                      </a:lnTo>
                      <a:lnTo>
                        <a:pt x="1868" y="3824"/>
                      </a:lnTo>
                      <a:lnTo>
                        <a:pt x="1868" y="3824"/>
                      </a:lnTo>
                      <a:lnTo>
                        <a:pt x="1848" y="3821"/>
                      </a:lnTo>
                      <a:lnTo>
                        <a:pt x="1827" y="3817"/>
                      </a:lnTo>
                      <a:lnTo>
                        <a:pt x="1807" y="3810"/>
                      </a:lnTo>
                      <a:lnTo>
                        <a:pt x="1788" y="3801"/>
                      </a:lnTo>
                      <a:lnTo>
                        <a:pt x="1768" y="3790"/>
                      </a:lnTo>
                      <a:lnTo>
                        <a:pt x="1748" y="3777"/>
                      </a:lnTo>
                      <a:lnTo>
                        <a:pt x="1730" y="3763"/>
                      </a:lnTo>
                      <a:lnTo>
                        <a:pt x="1711" y="3748"/>
                      </a:lnTo>
                      <a:lnTo>
                        <a:pt x="1693" y="3731"/>
                      </a:lnTo>
                      <a:lnTo>
                        <a:pt x="1675" y="3712"/>
                      </a:lnTo>
                      <a:lnTo>
                        <a:pt x="1658" y="3694"/>
                      </a:lnTo>
                      <a:lnTo>
                        <a:pt x="1641" y="3674"/>
                      </a:lnTo>
                      <a:lnTo>
                        <a:pt x="1608" y="3633"/>
                      </a:lnTo>
                      <a:lnTo>
                        <a:pt x="1579" y="3591"/>
                      </a:lnTo>
                      <a:lnTo>
                        <a:pt x="1552" y="3549"/>
                      </a:lnTo>
                      <a:lnTo>
                        <a:pt x="1528" y="3508"/>
                      </a:lnTo>
                      <a:lnTo>
                        <a:pt x="1507" y="3470"/>
                      </a:lnTo>
                      <a:lnTo>
                        <a:pt x="1488" y="3436"/>
                      </a:lnTo>
                      <a:lnTo>
                        <a:pt x="1463" y="3386"/>
                      </a:lnTo>
                      <a:lnTo>
                        <a:pt x="1455" y="3367"/>
                      </a:lnTo>
                      <a:lnTo>
                        <a:pt x="1129" y="2844"/>
                      </a:lnTo>
                      <a:lnTo>
                        <a:pt x="1129" y="2844"/>
                      </a:lnTo>
                      <a:lnTo>
                        <a:pt x="1120" y="3055"/>
                      </a:lnTo>
                      <a:lnTo>
                        <a:pt x="1116" y="3238"/>
                      </a:lnTo>
                      <a:lnTo>
                        <a:pt x="1115" y="3327"/>
                      </a:lnTo>
                      <a:lnTo>
                        <a:pt x="1115" y="3403"/>
                      </a:lnTo>
                      <a:lnTo>
                        <a:pt x="1115" y="3403"/>
                      </a:lnTo>
                      <a:lnTo>
                        <a:pt x="1115" y="3463"/>
                      </a:lnTo>
                      <a:lnTo>
                        <a:pt x="1113" y="3520"/>
                      </a:lnTo>
                      <a:lnTo>
                        <a:pt x="1110" y="3575"/>
                      </a:lnTo>
                      <a:lnTo>
                        <a:pt x="1107" y="3602"/>
                      </a:lnTo>
                      <a:lnTo>
                        <a:pt x="1103" y="3628"/>
                      </a:lnTo>
                      <a:lnTo>
                        <a:pt x="1099" y="3652"/>
                      </a:lnTo>
                      <a:lnTo>
                        <a:pt x="1092" y="3674"/>
                      </a:lnTo>
                      <a:lnTo>
                        <a:pt x="1085" y="3697"/>
                      </a:lnTo>
                      <a:lnTo>
                        <a:pt x="1075" y="3717"/>
                      </a:lnTo>
                      <a:lnTo>
                        <a:pt x="1064" y="3735"/>
                      </a:lnTo>
                      <a:lnTo>
                        <a:pt x="1051" y="3752"/>
                      </a:lnTo>
                      <a:lnTo>
                        <a:pt x="1035" y="3767"/>
                      </a:lnTo>
                      <a:lnTo>
                        <a:pt x="1019" y="3780"/>
                      </a:lnTo>
                      <a:lnTo>
                        <a:pt x="1019" y="3780"/>
                      </a:lnTo>
                      <a:lnTo>
                        <a:pt x="1000" y="3791"/>
                      </a:lnTo>
                      <a:lnTo>
                        <a:pt x="980" y="3801"/>
                      </a:lnTo>
                      <a:lnTo>
                        <a:pt x="959" y="3810"/>
                      </a:lnTo>
                      <a:lnTo>
                        <a:pt x="938" y="3815"/>
                      </a:lnTo>
                      <a:lnTo>
                        <a:pt x="914" y="3821"/>
                      </a:lnTo>
                      <a:lnTo>
                        <a:pt x="892" y="3824"/>
                      </a:lnTo>
                      <a:lnTo>
                        <a:pt x="868" y="3827"/>
                      </a:lnTo>
                      <a:lnTo>
                        <a:pt x="844" y="3828"/>
                      </a:lnTo>
                      <a:lnTo>
                        <a:pt x="821" y="3827"/>
                      </a:lnTo>
                      <a:lnTo>
                        <a:pt x="797" y="3824"/>
                      </a:lnTo>
                      <a:lnTo>
                        <a:pt x="774" y="3821"/>
                      </a:lnTo>
                      <a:lnTo>
                        <a:pt x="752" y="3815"/>
                      </a:lnTo>
                      <a:lnTo>
                        <a:pt x="729" y="3808"/>
                      </a:lnTo>
                      <a:lnTo>
                        <a:pt x="708" y="3801"/>
                      </a:lnTo>
                      <a:lnTo>
                        <a:pt x="688" y="3791"/>
                      </a:lnTo>
                      <a:lnTo>
                        <a:pt x="670" y="3780"/>
                      </a:lnTo>
                      <a:lnTo>
                        <a:pt x="670" y="3780"/>
                      </a:lnTo>
                      <a:lnTo>
                        <a:pt x="654" y="3767"/>
                      </a:lnTo>
                      <a:lnTo>
                        <a:pt x="639" y="3752"/>
                      </a:lnTo>
                      <a:lnTo>
                        <a:pt x="626" y="3735"/>
                      </a:lnTo>
                      <a:lnTo>
                        <a:pt x="614" y="3715"/>
                      </a:lnTo>
                      <a:lnTo>
                        <a:pt x="604" y="3693"/>
                      </a:lnTo>
                      <a:lnTo>
                        <a:pt x="594" y="3669"/>
                      </a:lnTo>
                      <a:lnTo>
                        <a:pt x="585" y="3643"/>
                      </a:lnTo>
                      <a:lnTo>
                        <a:pt x="578" y="3615"/>
                      </a:lnTo>
                      <a:lnTo>
                        <a:pt x="571" y="3587"/>
                      </a:lnTo>
                      <a:lnTo>
                        <a:pt x="567" y="3556"/>
                      </a:lnTo>
                      <a:lnTo>
                        <a:pt x="563" y="3523"/>
                      </a:lnTo>
                      <a:lnTo>
                        <a:pt x="559" y="3489"/>
                      </a:lnTo>
                      <a:lnTo>
                        <a:pt x="554" y="3419"/>
                      </a:lnTo>
                      <a:lnTo>
                        <a:pt x="551" y="3344"/>
                      </a:lnTo>
                      <a:lnTo>
                        <a:pt x="551" y="3344"/>
                      </a:lnTo>
                      <a:lnTo>
                        <a:pt x="551" y="3281"/>
                      </a:lnTo>
                      <a:lnTo>
                        <a:pt x="553" y="3216"/>
                      </a:lnTo>
                      <a:lnTo>
                        <a:pt x="556" y="3083"/>
                      </a:lnTo>
                      <a:lnTo>
                        <a:pt x="560" y="2950"/>
                      </a:lnTo>
                      <a:lnTo>
                        <a:pt x="561" y="2885"/>
                      </a:lnTo>
                      <a:lnTo>
                        <a:pt x="561" y="2822"/>
                      </a:lnTo>
                      <a:lnTo>
                        <a:pt x="561" y="2822"/>
                      </a:lnTo>
                      <a:lnTo>
                        <a:pt x="561" y="1755"/>
                      </a:lnTo>
                      <a:lnTo>
                        <a:pt x="561" y="1755"/>
                      </a:lnTo>
                      <a:lnTo>
                        <a:pt x="546" y="1752"/>
                      </a:lnTo>
                      <a:lnTo>
                        <a:pt x="527" y="1748"/>
                      </a:lnTo>
                      <a:lnTo>
                        <a:pt x="502" y="1741"/>
                      </a:lnTo>
                      <a:lnTo>
                        <a:pt x="472" y="1733"/>
                      </a:lnTo>
                      <a:lnTo>
                        <a:pt x="437" y="1718"/>
                      </a:lnTo>
                      <a:lnTo>
                        <a:pt x="400" y="1702"/>
                      </a:lnTo>
                      <a:lnTo>
                        <a:pt x="361" y="1680"/>
                      </a:lnTo>
                      <a:lnTo>
                        <a:pt x="340" y="1668"/>
                      </a:lnTo>
                      <a:lnTo>
                        <a:pt x="319" y="1654"/>
                      </a:lnTo>
                      <a:lnTo>
                        <a:pt x="297" y="1638"/>
                      </a:lnTo>
                      <a:lnTo>
                        <a:pt x="276" y="1621"/>
                      </a:lnTo>
                      <a:lnTo>
                        <a:pt x="257" y="1603"/>
                      </a:lnTo>
                      <a:lnTo>
                        <a:pt x="235" y="1583"/>
                      </a:lnTo>
                      <a:lnTo>
                        <a:pt x="214" y="1560"/>
                      </a:lnTo>
                      <a:lnTo>
                        <a:pt x="194" y="1538"/>
                      </a:lnTo>
                      <a:lnTo>
                        <a:pt x="175" y="1512"/>
                      </a:lnTo>
                      <a:lnTo>
                        <a:pt x="156" y="1486"/>
                      </a:lnTo>
                      <a:lnTo>
                        <a:pt x="138" y="1457"/>
                      </a:lnTo>
                      <a:lnTo>
                        <a:pt x="120" y="1426"/>
                      </a:lnTo>
                      <a:lnTo>
                        <a:pt x="104" y="1394"/>
                      </a:lnTo>
                      <a:lnTo>
                        <a:pt x="89" y="1359"/>
                      </a:lnTo>
                      <a:lnTo>
                        <a:pt x="74" y="1322"/>
                      </a:lnTo>
                      <a:lnTo>
                        <a:pt x="60" y="1284"/>
                      </a:lnTo>
                      <a:lnTo>
                        <a:pt x="60" y="1284"/>
                      </a:lnTo>
                      <a:lnTo>
                        <a:pt x="41" y="1213"/>
                      </a:lnTo>
                      <a:lnTo>
                        <a:pt x="25" y="1146"/>
                      </a:lnTo>
                      <a:lnTo>
                        <a:pt x="14" y="1082"/>
                      </a:lnTo>
                      <a:lnTo>
                        <a:pt x="5" y="1020"/>
                      </a:lnTo>
                      <a:lnTo>
                        <a:pt x="1" y="962"/>
                      </a:lnTo>
                      <a:lnTo>
                        <a:pt x="0" y="906"/>
                      </a:lnTo>
                      <a:lnTo>
                        <a:pt x="1" y="852"/>
                      </a:lnTo>
                      <a:lnTo>
                        <a:pt x="4" y="803"/>
                      </a:lnTo>
                      <a:lnTo>
                        <a:pt x="11" y="755"/>
                      </a:lnTo>
                      <a:lnTo>
                        <a:pt x="19" y="710"/>
                      </a:lnTo>
                      <a:lnTo>
                        <a:pt x="31" y="667"/>
                      </a:lnTo>
                      <a:lnTo>
                        <a:pt x="43" y="628"/>
                      </a:lnTo>
                      <a:lnTo>
                        <a:pt x="58" y="591"/>
                      </a:lnTo>
                      <a:lnTo>
                        <a:pt x="73" y="557"/>
                      </a:lnTo>
                      <a:lnTo>
                        <a:pt x="90" y="525"/>
                      </a:lnTo>
                      <a:lnTo>
                        <a:pt x="108" y="496"/>
                      </a:lnTo>
                      <a:lnTo>
                        <a:pt x="127" y="470"/>
                      </a:lnTo>
                      <a:lnTo>
                        <a:pt x="145" y="446"/>
                      </a:lnTo>
                      <a:lnTo>
                        <a:pt x="165" y="423"/>
                      </a:lnTo>
                      <a:lnTo>
                        <a:pt x="183" y="405"/>
                      </a:lnTo>
                      <a:lnTo>
                        <a:pt x="203" y="388"/>
                      </a:lnTo>
                      <a:lnTo>
                        <a:pt x="221" y="374"/>
                      </a:lnTo>
                      <a:lnTo>
                        <a:pt x="238" y="361"/>
                      </a:lnTo>
                      <a:lnTo>
                        <a:pt x="257" y="351"/>
                      </a:lnTo>
                      <a:lnTo>
                        <a:pt x="272" y="344"/>
                      </a:lnTo>
                      <a:lnTo>
                        <a:pt x="286" y="340"/>
                      </a:lnTo>
                      <a:lnTo>
                        <a:pt x="299" y="337"/>
                      </a:lnTo>
                      <a:lnTo>
                        <a:pt x="310" y="337"/>
                      </a:lnTo>
                      <a:lnTo>
                        <a:pt x="320" y="338"/>
                      </a:lnTo>
                      <a:lnTo>
                        <a:pt x="327" y="343"/>
                      </a:lnTo>
                      <a:lnTo>
                        <a:pt x="331" y="348"/>
                      </a:lnTo>
                      <a:lnTo>
                        <a:pt x="333" y="357"/>
                      </a:lnTo>
                      <a:lnTo>
                        <a:pt x="333" y="357"/>
                      </a:lnTo>
                      <a:lnTo>
                        <a:pt x="336" y="401"/>
                      </a:lnTo>
                      <a:lnTo>
                        <a:pt x="341" y="444"/>
                      </a:lnTo>
                      <a:lnTo>
                        <a:pt x="347" y="488"/>
                      </a:lnTo>
                      <a:lnTo>
                        <a:pt x="355" y="532"/>
                      </a:lnTo>
                      <a:lnTo>
                        <a:pt x="364" y="577"/>
                      </a:lnTo>
                      <a:lnTo>
                        <a:pt x="375" y="622"/>
                      </a:lnTo>
                      <a:lnTo>
                        <a:pt x="386" y="666"/>
                      </a:lnTo>
                      <a:lnTo>
                        <a:pt x="399" y="711"/>
                      </a:lnTo>
                      <a:lnTo>
                        <a:pt x="412" y="755"/>
                      </a:lnTo>
                      <a:lnTo>
                        <a:pt x="426" y="798"/>
                      </a:lnTo>
                      <a:lnTo>
                        <a:pt x="457" y="883"/>
                      </a:lnTo>
                      <a:lnTo>
                        <a:pt x="488" y="965"/>
                      </a:lnTo>
                      <a:lnTo>
                        <a:pt x="520" y="1043"/>
                      </a:lnTo>
                      <a:lnTo>
                        <a:pt x="553" y="1115"/>
                      </a:lnTo>
                      <a:lnTo>
                        <a:pt x="584" y="1181"/>
                      </a:lnTo>
                      <a:lnTo>
                        <a:pt x="614" y="1239"/>
                      </a:lnTo>
                      <a:lnTo>
                        <a:pt x="639" y="1288"/>
                      </a:lnTo>
                      <a:lnTo>
                        <a:pt x="678" y="1360"/>
                      </a:lnTo>
                      <a:lnTo>
                        <a:pt x="693" y="1385"/>
                      </a:lnTo>
                      <a:lnTo>
                        <a:pt x="2392" y="1385"/>
                      </a:lnTo>
                      <a:lnTo>
                        <a:pt x="2500" y="1247"/>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16" name="Freeform 1180"/>
                <p:cNvSpPr>
                  <a:spLocks/>
                </p:cNvSpPr>
                <p:nvPr/>
              </p:nvSpPr>
              <p:spPr bwMode="auto">
                <a:xfrm rot="7466880" flipV="1">
                  <a:off x="2558634" y="5918394"/>
                  <a:ext cx="58284" cy="358812"/>
                </a:xfrm>
                <a:custGeom>
                  <a:avLst/>
                  <a:gdLst>
                    <a:gd name="T0" fmla="*/ 127 w 249"/>
                    <a:gd name="T1" fmla="*/ 1387 h 1388"/>
                    <a:gd name="T2" fmla="*/ 151 w 249"/>
                    <a:gd name="T3" fmla="*/ 1387 h 1388"/>
                    <a:gd name="T4" fmla="*/ 175 w 249"/>
                    <a:gd name="T5" fmla="*/ 1381 h 1388"/>
                    <a:gd name="T6" fmla="*/ 195 w 249"/>
                    <a:gd name="T7" fmla="*/ 1369 h 1388"/>
                    <a:gd name="T8" fmla="*/ 214 w 249"/>
                    <a:gd name="T9" fmla="*/ 1352 h 1388"/>
                    <a:gd name="T10" fmla="*/ 229 w 249"/>
                    <a:gd name="T11" fmla="*/ 1331 h 1388"/>
                    <a:gd name="T12" fmla="*/ 240 w 249"/>
                    <a:gd name="T13" fmla="*/ 1304 h 1388"/>
                    <a:gd name="T14" fmla="*/ 247 w 249"/>
                    <a:gd name="T15" fmla="*/ 1276 h 1388"/>
                    <a:gd name="T16" fmla="*/ 249 w 249"/>
                    <a:gd name="T17" fmla="*/ 1243 h 1388"/>
                    <a:gd name="T18" fmla="*/ 245 w 249"/>
                    <a:gd name="T19" fmla="*/ 179 h 1388"/>
                    <a:gd name="T20" fmla="*/ 242 w 249"/>
                    <a:gd name="T21" fmla="*/ 147 h 1388"/>
                    <a:gd name="T22" fmla="*/ 235 w 249"/>
                    <a:gd name="T23" fmla="*/ 116 h 1388"/>
                    <a:gd name="T24" fmla="*/ 223 w 249"/>
                    <a:gd name="T25" fmla="*/ 86 h 1388"/>
                    <a:gd name="T26" fmla="*/ 208 w 249"/>
                    <a:gd name="T27" fmla="*/ 61 h 1388"/>
                    <a:gd name="T28" fmla="*/ 190 w 249"/>
                    <a:gd name="T29" fmla="*/ 38 h 1388"/>
                    <a:gd name="T30" fmla="*/ 170 w 249"/>
                    <a:gd name="T31" fmla="*/ 21 h 1388"/>
                    <a:gd name="T32" fmla="*/ 146 w 249"/>
                    <a:gd name="T33" fmla="*/ 7 h 1388"/>
                    <a:gd name="T34" fmla="*/ 122 w 249"/>
                    <a:gd name="T35" fmla="*/ 1 h 1388"/>
                    <a:gd name="T36" fmla="*/ 109 w 249"/>
                    <a:gd name="T37" fmla="*/ 0 h 1388"/>
                    <a:gd name="T38" fmla="*/ 85 w 249"/>
                    <a:gd name="T39" fmla="*/ 3 h 1388"/>
                    <a:gd name="T40" fmla="*/ 64 w 249"/>
                    <a:gd name="T41" fmla="*/ 13 h 1388"/>
                    <a:gd name="T42" fmla="*/ 44 w 249"/>
                    <a:gd name="T43" fmla="*/ 27 h 1388"/>
                    <a:gd name="T44" fmla="*/ 27 w 249"/>
                    <a:gd name="T45" fmla="*/ 46 h 1388"/>
                    <a:gd name="T46" fmla="*/ 15 w 249"/>
                    <a:gd name="T47" fmla="*/ 70 h 1388"/>
                    <a:gd name="T48" fmla="*/ 5 w 249"/>
                    <a:gd name="T49" fmla="*/ 97 h 1388"/>
                    <a:gd name="T50" fmla="*/ 0 w 249"/>
                    <a:gd name="T51" fmla="*/ 128 h 1388"/>
                    <a:gd name="T52" fmla="*/ 5 w 249"/>
                    <a:gd name="T53" fmla="*/ 1208 h 1388"/>
                    <a:gd name="T54" fmla="*/ 5 w 249"/>
                    <a:gd name="T55" fmla="*/ 1225 h 1388"/>
                    <a:gd name="T56" fmla="*/ 10 w 249"/>
                    <a:gd name="T57" fmla="*/ 1257 h 1388"/>
                    <a:gd name="T58" fmla="*/ 20 w 249"/>
                    <a:gd name="T59" fmla="*/ 1287 h 1388"/>
                    <a:gd name="T60" fmla="*/ 33 w 249"/>
                    <a:gd name="T61" fmla="*/ 1315 h 1388"/>
                    <a:gd name="T62" fmla="*/ 50 w 249"/>
                    <a:gd name="T63" fmla="*/ 1339 h 1388"/>
                    <a:gd name="T64" fmla="*/ 70 w 249"/>
                    <a:gd name="T65" fmla="*/ 1359 h 1388"/>
                    <a:gd name="T66" fmla="*/ 91 w 249"/>
                    <a:gd name="T67" fmla="*/ 1374 h 1388"/>
                    <a:gd name="T68" fmla="*/ 115 w 249"/>
                    <a:gd name="T69" fmla="*/ 1384 h 1388"/>
                    <a:gd name="T70" fmla="*/ 127 w 249"/>
                    <a:gd name="T71" fmla="*/ 1387 h 1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9" h="1388">
                      <a:moveTo>
                        <a:pt x="127" y="1387"/>
                      </a:moveTo>
                      <a:lnTo>
                        <a:pt x="127" y="1387"/>
                      </a:lnTo>
                      <a:lnTo>
                        <a:pt x="140" y="1388"/>
                      </a:lnTo>
                      <a:lnTo>
                        <a:pt x="151" y="1387"/>
                      </a:lnTo>
                      <a:lnTo>
                        <a:pt x="164" y="1386"/>
                      </a:lnTo>
                      <a:lnTo>
                        <a:pt x="175" y="1381"/>
                      </a:lnTo>
                      <a:lnTo>
                        <a:pt x="185" y="1376"/>
                      </a:lnTo>
                      <a:lnTo>
                        <a:pt x="195" y="1369"/>
                      </a:lnTo>
                      <a:lnTo>
                        <a:pt x="205" y="1362"/>
                      </a:lnTo>
                      <a:lnTo>
                        <a:pt x="214" y="1352"/>
                      </a:lnTo>
                      <a:lnTo>
                        <a:pt x="222" y="1342"/>
                      </a:lnTo>
                      <a:lnTo>
                        <a:pt x="229" y="1331"/>
                      </a:lnTo>
                      <a:lnTo>
                        <a:pt x="235" y="1318"/>
                      </a:lnTo>
                      <a:lnTo>
                        <a:pt x="240" y="1304"/>
                      </a:lnTo>
                      <a:lnTo>
                        <a:pt x="245" y="1290"/>
                      </a:lnTo>
                      <a:lnTo>
                        <a:pt x="247" y="1276"/>
                      </a:lnTo>
                      <a:lnTo>
                        <a:pt x="249" y="1260"/>
                      </a:lnTo>
                      <a:lnTo>
                        <a:pt x="249" y="1243"/>
                      </a:lnTo>
                      <a:lnTo>
                        <a:pt x="245" y="179"/>
                      </a:lnTo>
                      <a:lnTo>
                        <a:pt x="245" y="179"/>
                      </a:lnTo>
                      <a:lnTo>
                        <a:pt x="245" y="164"/>
                      </a:lnTo>
                      <a:lnTo>
                        <a:pt x="242" y="147"/>
                      </a:lnTo>
                      <a:lnTo>
                        <a:pt x="239" y="131"/>
                      </a:lnTo>
                      <a:lnTo>
                        <a:pt x="235" y="116"/>
                      </a:lnTo>
                      <a:lnTo>
                        <a:pt x="229" y="102"/>
                      </a:lnTo>
                      <a:lnTo>
                        <a:pt x="223" y="86"/>
                      </a:lnTo>
                      <a:lnTo>
                        <a:pt x="216" y="73"/>
                      </a:lnTo>
                      <a:lnTo>
                        <a:pt x="208" y="61"/>
                      </a:lnTo>
                      <a:lnTo>
                        <a:pt x="199" y="49"/>
                      </a:lnTo>
                      <a:lnTo>
                        <a:pt x="190" y="38"/>
                      </a:lnTo>
                      <a:lnTo>
                        <a:pt x="180" y="28"/>
                      </a:lnTo>
                      <a:lnTo>
                        <a:pt x="170" y="21"/>
                      </a:lnTo>
                      <a:lnTo>
                        <a:pt x="159" y="14"/>
                      </a:lnTo>
                      <a:lnTo>
                        <a:pt x="146" y="7"/>
                      </a:lnTo>
                      <a:lnTo>
                        <a:pt x="135" y="4"/>
                      </a:lnTo>
                      <a:lnTo>
                        <a:pt x="122" y="1"/>
                      </a:lnTo>
                      <a:lnTo>
                        <a:pt x="122" y="1"/>
                      </a:lnTo>
                      <a:lnTo>
                        <a:pt x="109" y="0"/>
                      </a:lnTo>
                      <a:lnTo>
                        <a:pt x="96" y="1"/>
                      </a:lnTo>
                      <a:lnTo>
                        <a:pt x="85" y="3"/>
                      </a:lnTo>
                      <a:lnTo>
                        <a:pt x="74" y="7"/>
                      </a:lnTo>
                      <a:lnTo>
                        <a:pt x="64" y="13"/>
                      </a:lnTo>
                      <a:lnTo>
                        <a:pt x="54" y="18"/>
                      </a:lnTo>
                      <a:lnTo>
                        <a:pt x="44" y="27"/>
                      </a:lnTo>
                      <a:lnTo>
                        <a:pt x="36" y="37"/>
                      </a:lnTo>
                      <a:lnTo>
                        <a:pt x="27" y="46"/>
                      </a:lnTo>
                      <a:lnTo>
                        <a:pt x="20" y="58"/>
                      </a:lnTo>
                      <a:lnTo>
                        <a:pt x="15" y="70"/>
                      </a:lnTo>
                      <a:lnTo>
                        <a:pt x="9" y="83"/>
                      </a:lnTo>
                      <a:lnTo>
                        <a:pt x="5" y="97"/>
                      </a:lnTo>
                      <a:lnTo>
                        <a:pt x="2" y="113"/>
                      </a:lnTo>
                      <a:lnTo>
                        <a:pt x="0" y="128"/>
                      </a:lnTo>
                      <a:lnTo>
                        <a:pt x="0" y="145"/>
                      </a:lnTo>
                      <a:lnTo>
                        <a:pt x="5" y="1208"/>
                      </a:lnTo>
                      <a:lnTo>
                        <a:pt x="5" y="1208"/>
                      </a:lnTo>
                      <a:lnTo>
                        <a:pt x="5" y="1225"/>
                      </a:lnTo>
                      <a:lnTo>
                        <a:pt x="8" y="1242"/>
                      </a:lnTo>
                      <a:lnTo>
                        <a:pt x="10" y="1257"/>
                      </a:lnTo>
                      <a:lnTo>
                        <a:pt x="15" y="1273"/>
                      </a:lnTo>
                      <a:lnTo>
                        <a:pt x="20" y="1287"/>
                      </a:lnTo>
                      <a:lnTo>
                        <a:pt x="26" y="1301"/>
                      </a:lnTo>
                      <a:lnTo>
                        <a:pt x="33" y="1315"/>
                      </a:lnTo>
                      <a:lnTo>
                        <a:pt x="41" y="1328"/>
                      </a:lnTo>
                      <a:lnTo>
                        <a:pt x="50" y="1339"/>
                      </a:lnTo>
                      <a:lnTo>
                        <a:pt x="60" y="1350"/>
                      </a:lnTo>
                      <a:lnTo>
                        <a:pt x="70" y="1359"/>
                      </a:lnTo>
                      <a:lnTo>
                        <a:pt x="80" y="1367"/>
                      </a:lnTo>
                      <a:lnTo>
                        <a:pt x="91" y="1374"/>
                      </a:lnTo>
                      <a:lnTo>
                        <a:pt x="103" y="1380"/>
                      </a:lnTo>
                      <a:lnTo>
                        <a:pt x="115" y="1384"/>
                      </a:lnTo>
                      <a:lnTo>
                        <a:pt x="127" y="1387"/>
                      </a:lnTo>
                      <a:lnTo>
                        <a:pt x="127" y="1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617" name="Oval 211"/>
              <p:cNvSpPr>
                <a:spLocks noChangeAspect="1"/>
              </p:cNvSpPr>
              <p:nvPr/>
            </p:nvSpPr>
            <p:spPr bwMode="auto">
              <a:xfrm rot="20624419" flipH="1">
                <a:off x="1498557" y="3611431"/>
                <a:ext cx="252764" cy="113750"/>
              </a:xfrm>
              <a:custGeom>
                <a:avLst/>
                <a:gdLst/>
                <a:ahLst/>
                <a:cxnLst/>
                <a:rect l="l" t="t" r="r" b="b"/>
                <a:pathLst>
                  <a:path w="501610" h="225736">
                    <a:moveTo>
                      <a:pt x="0" y="134319"/>
                    </a:moveTo>
                    <a:lnTo>
                      <a:pt x="460536" y="0"/>
                    </a:lnTo>
                    <a:lnTo>
                      <a:pt x="501610" y="140829"/>
                    </a:lnTo>
                    <a:cubicBezTo>
                      <a:pt x="489496" y="156731"/>
                      <a:pt x="469998" y="165302"/>
                      <a:pt x="448497" y="165302"/>
                    </a:cubicBezTo>
                    <a:cubicBezTo>
                      <a:pt x="434401" y="165302"/>
                      <a:pt x="421165" y="161618"/>
                      <a:pt x="410297" y="154102"/>
                    </a:cubicBezTo>
                    <a:cubicBezTo>
                      <a:pt x="402463" y="195340"/>
                      <a:pt x="365811" y="225736"/>
                      <a:pt x="322059" y="225736"/>
                    </a:cubicBezTo>
                    <a:cubicBezTo>
                      <a:pt x="293094" y="225736"/>
                      <a:pt x="267240" y="212414"/>
                      <a:pt x="251336" y="190712"/>
                    </a:cubicBezTo>
                    <a:cubicBezTo>
                      <a:pt x="230577" y="212392"/>
                      <a:pt x="201307" y="225735"/>
                      <a:pt x="168922" y="225735"/>
                    </a:cubicBezTo>
                    <a:cubicBezTo>
                      <a:pt x="111484" y="225735"/>
                      <a:pt x="63849" y="183765"/>
                      <a:pt x="57198" y="128469"/>
                    </a:cubicBezTo>
                    <a:cubicBezTo>
                      <a:pt x="45499" y="134762"/>
                      <a:pt x="32091" y="137941"/>
                      <a:pt x="17942" y="137941"/>
                    </a:cubicBezTo>
                    <a:close/>
                  </a:path>
                </a:pathLst>
              </a:custGeom>
              <a:solidFill>
                <a:srgbClr val="5CABB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1B3B41"/>
                  </a:solidFill>
                  <a:effectLst/>
                  <a:uLnTx/>
                  <a:uFillTx/>
                </a:endParaRPr>
              </a:p>
            </p:txBody>
          </p:sp>
        </p:grpSp>
        <p:sp>
          <p:nvSpPr>
            <p:cNvPr id="618" name="Freeform 50"/>
            <p:cNvSpPr>
              <a:spLocks/>
            </p:cNvSpPr>
            <p:nvPr/>
          </p:nvSpPr>
          <p:spPr bwMode="auto">
            <a:xfrm>
              <a:off x="1800381" y="3954545"/>
              <a:ext cx="78077" cy="96310"/>
            </a:xfrm>
            <a:custGeom>
              <a:avLst/>
              <a:gdLst>
                <a:gd name="T0" fmla="*/ 435 w 540"/>
                <a:gd name="T1" fmla="*/ 562 h 806"/>
                <a:gd name="T2" fmla="*/ 440 w 540"/>
                <a:gd name="T3" fmla="*/ 535 h 806"/>
                <a:gd name="T4" fmla="*/ 436 w 540"/>
                <a:gd name="T5" fmla="*/ 452 h 806"/>
                <a:gd name="T6" fmla="*/ 475 w 540"/>
                <a:gd name="T7" fmla="*/ 78 h 806"/>
                <a:gd name="T8" fmla="*/ 473 w 540"/>
                <a:gd name="T9" fmla="*/ 68 h 806"/>
                <a:gd name="T10" fmla="*/ 463 w 540"/>
                <a:gd name="T11" fmla="*/ 52 h 806"/>
                <a:gd name="T12" fmla="*/ 443 w 540"/>
                <a:gd name="T13" fmla="*/ 37 h 806"/>
                <a:gd name="T14" fmla="*/ 416 w 540"/>
                <a:gd name="T15" fmla="*/ 25 h 806"/>
                <a:gd name="T16" fmla="*/ 365 w 540"/>
                <a:gd name="T17" fmla="*/ 10 h 806"/>
                <a:gd name="T18" fmla="*/ 281 w 540"/>
                <a:gd name="T19" fmla="*/ 0 h 806"/>
                <a:gd name="T20" fmla="*/ 193 w 540"/>
                <a:gd name="T21" fmla="*/ 0 h 806"/>
                <a:gd name="T22" fmla="*/ 110 w 540"/>
                <a:gd name="T23" fmla="*/ 10 h 806"/>
                <a:gd name="T24" fmla="*/ 58 w 540"/>
                <a:gd name="T25" fmla="*/ 25 h 806"/>
                <a:gd name="T26" fmla="*/ 31 w 540"/>
                <a:gd name="T27" fmla="*/ 37 h 806"/>
                <a:gd name="T28" fmla="*/ 11 w 540"/>
                <a:gd name="T29" fmla="*/ 52 h 806"/>
                <a:gd name="T30" fmla="*/ 1 w 540"/>
                <a:gd name="T31" fmla="*/ 68 h 806"/>
                <a:gd name="T32" fmla="*/ 0 w 540"/>
                <a:gd name="T33" fmla="*/ 422 h 806"/>
                <a:gd name="T34" fmla="*/ 0 w 540"/>
                <a:gd name="T35" fmla="*/ 522 h 806"/>
                <a:gd name="T36" fmla="*/ 0 w 540"/>
                <a:gd name="T37" fmla="*/ 774 h 806"/>
                <a:gd name="T38" fmla="*/ 3 w 540"/>
                <a:gd name="T39" fmla="*/ 781 h 806"/>
                <a:gd name="T40" fmla="*/ 26 w 540"/>
                <a:gd name="T41" fmla="*/ 789 h 806"/>
                <a:gd name="T42" fmla="*/ 96 w 540"/>
                <a:gd name="T43" fmla="*/ 799 h 806"/>
                <a:gd name="T44" fmla="*/ 161 w 540"/>
                <a:gd name="T45" fmla="*/ 802 h 806"/>
                <a:gd name="T46" fmla="*/ 273 w 540"/>
                <a:gd name="T47" fmla="*/ 806 h 806"/>
                <a:gd name="T48" fmla="*/ 401 w 540"/>
                <a:gd name="T49" fmla="*/ 802 h 806"/>
                <a:gd name="T50" fmla="*/ 483 w 540"/>
                <a:gd name="T51" fmla="*/ 796 h 806"/>
                <a:gd name="T52" fmla="*/ 516 w 540"/>
                <a:gd name="T53" fmla="*/ 787 h 806"/>
                <a:gd name="T54" fmla="*/ 530 w 540"/>
                <a:gd name="T55" fmla="*/ 779 h 806"/>
                <a:gd name="T56" fmla="*/ 536 w 540"/>
                <a:gd name="T57" fmla="*/ 771 h 806"/>
                <a:gd name="T58" fmla="*/ 536 w 540"/>
                <a:gd name="T59" fmla="*/ 727 h 806"/>
                <a:gd name="T60" fmla="*/ 540 w 540"/>
                <a:gd name="T61" fmla="*/ 692 h 806"/>
                <a:gd name="T62" fmla="*/ 538 w 540"/>
                <a:gd name="T63" fmla="*/ 635 h 806"/>
                <a:gd name="T64" fmla="*/ 525 w 540"/>
                <a:gd name="T65" fmla="*/ 597 h 806"/>
                <a:gd name="T66" fmla="*/ 506 w 540"/>
                <a:gd name="T67" fmla="*/ 575 h 806"/>
                <a:gd name="T68" fmla="*/ 485 w 540"/>
                <a:gd name="T69" fmla="*/ 562 h 806"/>
                <a:gd name="T70" fmla="*/ 465 w 540"/>
                <a:gd name="T71" fmla="*/ 559 h 806"/>
                <a:gd name="T72" fmla="*/ 441 w 540"/>
                <a:gd name="T73" fmla="*/ 560 h 806"/>
                <a:gd name="T74" fmla="*/ 435 w 540"/>
                <a:gd name="T75" fmla="*/ 562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0" h="806">
                  <a:moveTo>
                    <a:pt x="435" y="562"/>
                  </a:moveTo>
                  <a:lnTo>
                    <a:pt x="435" y="562"/>
                  </a:lnTo>
                  <a:lnTo>
                    <a:pt x="438" y="552"/>
                  </a:lnTo>
                  <a:lnTo>
                    <a:pt x="440" y="535"/>
                  </a:lnTo>
                  <a:lnTo>
                    <a:pt x="440" y="494"/>
                  </a:lnTo>
                  <a:lnTo>
                    <a:pt x="436" y="452"/>
                  </a:lnTo>
                  <a:lnTo>
                    <a:pt x="435" y="422"/>
                  </a:lnTo>
                  <a:lnTo>
                    <a:pt x="475" y="78"/>
                  </a:lnTo>
                  <a:lnTo>
                    <a:pt x="475" y="78"/>
                  </a:lnTo>
                  <a:lnTo>
                    <a:pt x="473" y="68"/>
                  </a:lnTo>
                  <a:lnTo>
                    <a:pt x="470" y="60"/>
                  </a:lnTo>
                  <a:lnTo>
                    <a:pt x="463" y="52"/>
                  </a:lnTo>
                  <a:lnTo>
                    <a:pt x="455" y="43"/>
                  </a:lnTo>
                  <a:lnTo>
                    <a:pt x="443" y="37"/>
                  </a:lnTo>
                  <a:lnTo>
                    <a:pt x="430" y="30"/>
                  </a:lnTo>
                  <a:lnTo>
                    <a:pt x="416" y="25"/>
                  </a:lnTo>
                  <a:lnTo>
                    <a:pt x="400" y="18"/>
                  </a:lnTo>
                  <a:lnTo>
                    <a:pt x="365" y="10"/>
                  </a:lnTo>
                  <a:lnTo>
                    <a:pt x="325" y="5"/>
                  </a:lnTo>
                  <a:lnTo>
                    <a:pt x="281" y="0"/>
                  </a:lnTo>
                  <a:lnTo>
                    <a:pt x="236" y="0"/>
                  </a:lnTo>
                  <a:lnTo>
                    <a:pt x="193" y="0"/>
                  </a:lnTo>
                  <a:lnTo>
                    <a:pt x="150" y="5"/>
                  </a:lnTo>
                  <a:lnTo>
                    <a:pt x="110" y="10"/>
                  </a:lnTo>
                  <a:lnTo>
                    <a:pt x="73" y="18"/>
                  </a:lnTo>
                  <a:lnTo>
                    <a:pt x="58" y="25"/>
                  </a:lnTo>
                  <a:lnTo>
                    <a:pt x="43" y="30"/>
                  </a:lnTo>
                  <a:lnTo>
                    <a:pt x="31" y="37"/>
                  </a:lnTo>
                  <a:lnTo>
                    <a:pt x="20" y="43"/>
                  </a:lnTo>
                  <a:lnTo>
                    <a:pt x="11" y="52"/>
                  </a:lnTo>
                  <a:lnTo>
                    <a:pt x="5" y="60"/>
                  </a:lnTo>
                  <a:lnTo>
                    <a:pt x="1" y="68"/>
                  </a:lnTo>
                  <a:lnTo>
                    <a:pt x="0" y="78"/>
                  </a:lnTo>
                  <a:lnTo>
                    <a:pt x="0" y="422"/>
                  </a:lnTo>
                  <a:lnTo>
                    <a:pt x="0" y="422"/>
                  </a:lnTo>
                  <a:lnTo>
                    <a:pt x="0" y="522"/>
                  </a:lnTo>
                  <a:lnTo>
                    <a:pt x="0" y="774"/>
                  </a:lnTo>
                  <a:lnTo>
                    <a:pt x="0" y="774"/>
                  </a:lnTo>
                  <a:lnTo>
                    <a:pt x="0" y="777"/>
                  </a:lnTo>
                  <a:lnTo>
                    <a:pt x="3" y="781"/>
                  </a:lnTo>
                  <a:lnTo>
                    <a:pt x="11" y="786"/>
                  </a:lnTo>
                  <a:lnTo>
                    <a:pt x="26" y="789"/>
                  </a:lnTo>
                  <a:lnTo>
                    <a:pt x="45" y="792"/>
                  </a:lnTo>
                  <a:lnTo>
                    <a:pt x="96" y="799"/>
                  </a:lnTo>
                  <a:lnTo>
                    <a:pt x="161" y="802"/>
                  </a:lnTo>
                  <a:lnTo>
                    <a:pt x="161" y="802"/>
                  </a:lnTo>
                  <a:lnTo>
                    <a:pt x="273" y="806"/>
                  </a:lnTo>
                  <a:lnTo>
                    <a:pt x="273" y="806"/>
                  </a:lnTo>
                  <a:lnTo>
                    <a:pt x="343" y="804"/>
                  </a:lnTo>
                  <a:lnTo>
                    <a:pt x="401" y="802"/>
                  </a:lnTo>
                  <a:lnTo>
                    <a:pt x="446" y="801"/>
                  </a:lnTo>
                  <a:lnTo>
                    <a:pt x="483" y="796"/>
                  </a:lnTo>
                  <a:lnTo>
                    <a:pt x="508" y="791"/>
                  </a:lnTo>
                  <a:lnTo>
                    <a:pt x="516" y="787"/>
                  </a:lnTo>
                  <a:lnTo>
                    <a:pt x="525" y="784"/>
                  </a:lnTo>
                  <a:lnTo>
                    <a:pt x="530" y="779"/>
                  </a:lnTo>
                  <a:lnTo>
                    <a:pt x="533" y="774"/>
                  </a:lnTo>
                  <a:lnTo>
                    <a:pt x="536" y="771"/>
                  </a:lnTo>
                  <a:lnTo>
                    <a:pt x="536" y="764"/>
                  </a:lnTo>
                  <a:lnTo>
                    <a:pt x="536" y="727"/>
                  </a:lnTo>
                  <a:lnTo>
                    <a:pt x="536" y="727"/>
                  </a:lnTo>
                  <a:lnTo>
                    <a:pt x="540" y="692"/>
                  </a:lnTo>
                  <a:lnTo>
                    <a:pt x="540" y="660"/>
                  </a:lnTo>
                  <a:lnTo>
                    <a:pt x="538" y="635"/>
                  </a:lnTo>
                  <a:lnTo>
                    <a:pt x="533" y="615"/>
                  </a:lnTo>
                  <a:lnTo>
                    <a:pt x="525" y="597"/>
                  </a:lnTo>
                  <a:lnTo>
                    <a:pt x="516" y="585"/>
                  </a:lnTo>
                  <a:lnTo>
                    <a:pt x="506" y="575"/>
                  </a:lnTo>
                  <a:lnTo>
                    <a:pt x="496" y="567"/>
                  </a:lnTo>
                  <a:lnTo>
                    <a:pt x="485" y="562"/>
                  </a:lnTo>
                  <a:lnTo>
                    <a:pt x="475" y="560"/>
                  </a:lnTo>
                  <a:lnTo>
                    <a:pt x="465" y="559"/>
                  </a:lnTo>
                  <a:lnTo>
                    <a:pt x="455" y="559"/>
                  </a:lnTo>
                  <a:lnTo>
                    <a:pt x="441" y="560"/>
                  </a:lnTo>
                  <a:lnTo>
                    <a:pt x="435" y="562"/>
                  </a:lnTo>
                  <a:lnTo>
                    <a:pt x="435" y="562"/>
                  </a:lnTo>
                  <a:close/>
                </a:path>
              </a:pathLst>
            </a:custGeom>
            <a:solidFill>
              <a:schemeClr val="accent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19" name="Freeform 50"/>
            <p:cNvSpPr>
              <a:spLocks/>
            </p:cNvSpPr>
            <p:nvPr/>
          </p:nvSpPr>
          <p:spPr bwMode="auto">
            <a:xfrm>
              <a:off x="1597297" y="3954545"/>
              <a:ext cx="78077" cy="96310"/>
            </a:xfrm>
            <a:custGeom>
              <a:avLst/>
              <a:gdLst>
                <a:gd name="T0" fmla="*/ 435 w 540"/>
                <a:gd name="T1" fmla="*/ 562 h 806"/>
                <a:gd name="T2" fmla="*/ 440 w 540"/>
                <a:gd name="T3" fmla="*/ 535 h 806"/>
                <a:gd name="T4" fmla="*/ 436 w 540"/>
                <a:gd name="T5" fmla="*/ 452 h 806"/>
                <a:gd name="T6" fmla="*/ 475 w 540"/>
                <a:gd name="T7" fmla="*/ 78 h 806"/>
                <a:gd name="T8" fmla="*/ 473 w 540"/>
                <a:gd name="T9" fmla="*/ 68 h 806"/>
                <a:gd name="T10" fmla="*/ 463 w 540"/>
                <a:gd name="T11" fmla="*/ 52 h 806"/>
                <a:gd name="T12" fmla="*/ 443 w 540"/>
                <a:gd name="T13" fmla="*/ 37 h 806"/>
                <a:gd name="T14" fmla="*/ 416 w 540"/>
                <a:gd name="T15" fmla="*/ 25 h 806"/>
                <a:gd name="T16" fmla="*/ 365 w 540"/>
                <a:gd name="T17" fmla="*/ 10 h 806"/>
                <a:gd name="T18" fmla="*/ 281 w 540"/>
                <a:gd name="T19" fmla="*/ 0 h 806"/>
                <a:gd name="T20" fmla="*/ 193 w 540"/>
                <a:gd name="T21" fmla="*/ 0 h 806"/>
                <a:gd name="T22" fmla="*/ 110 w 540"/>
                <a:gd name="T23" fmla="*/ 10 h 806"/>
                <a:gd name="T24" fmla="*/ 58 w 540"/>
                <a:gd name="T25" fmla="*/ 25 h 806"/>
                <a:gd name="T26" fmla="*/ 31 w 540"/>
                <a:gd name="T27" fmla="*/ 37 h 806"/>
                <a:gd name="T28" fmla="*/ 11 w 540"/>
                <a:gd name="T29" fmla="*/ 52 h 806"/>
                <a:gd name="T30" fmla="*/ 1 w 540"/>
                <a:gd name="T31" fmla="*/ 68 h 806"/>
                <a:gd name="T32" fmla="*/ 0 w 540"/>
                <a:gd name="T33" fmla="*/ 422 h 806"/>
                <a:gd name="T34" fmla="*/ 0 w 540"/>
                <a:gd name="T35" fmla="*/ 522 h 806"/>
                <a:gd name="T36" fmla="*/ 0 w 540"/>
                <a:gd name="T37" fmla="*/ 774 h 806"/>
                <a:gd name="T38" fmla="*/ 3 w 540"/>
                <a:gd name="T39" fmla="*/ 781 h 806"/>
                <a:gd name="T40" fmla="*/ 26 w 540"/>
                <a:gd name="T41" fmla="*/ 789 h 806"/>
                <a:gd name="T42" fmla="*/ 96 w 540"/>
                <a:gd name="T43" fmla="*/ 799 h 806"/>
                <a:gd name="T44" fmla="*/ 161 w 540"/>
                <a:gd name="T45" fmla="*/ 802 h 806"/>
                <a:gd name="T46" fmla="*/ 273 w 540"/>
                <a:gd name="T47" fmla="*/ 806 h 806"/>
                <a:gd name="T48" fmla="*/ 401 w 540"/>
                <a:gd name="T49" fmla="*/ 802 h 806"/>
                <a:gd name="T50" fmla="*/ 483 w 540"/>
                <a:gd name="T51" fmla="*/ 796 h 806"/>
                <a:gd name="T52" fmla="*/ 516 w 540"/>
                <a:gd name="T53" fmla="*/ 787 h 806"/>
                <a:gd name="T54" fmla="*/ 530 w 540"/>
                <a:gd name="T55" fmla="*/ 779 h 806"/>
                <a:gd name="T56" fmla="*/ 536 w 540"/>
                <a:gd name="T57" fmla="*/ 771 h 806"/>
                <a:gd name="T58" fmla="*/ 536 w 540"/>
                <a:gd name="T59" fmla="*/ 727 h 806"/>
                <a:gd name="T60" fmla="*/ 540 w 540"/>
                <a:gd name="T61" fmla="*/ 692 h 806"/>
                <a:gd name="T62" fmla="*/ 538 w 540"/>
                <a:gd name="T63" fmla="*/ 635 h 806"/>
                <a:gd name="T64" fmla="*/ 525 w 540"/>
                <a:gd name="T65" fmla="*/ 597 h 806"/>
                <a:gd name="T66" fmla="*/ 506 w 540"/>
                <a:gd name="T67" fmla="*/ 575 h 806"/>
                <a:gd name="T68" fmla="*/ 485 w 540"/>
                <a:gd name="T69" fmla="*/ 562 h 806"/>
                <a:gd name="T70" fmla="*/ 465 w 540"/>
                <a:gd name="T71" fmla="*/ 559 h 806"/>
                <a:gd name="T72" fmla="*/ 441 w 540"/>
                <a:gd name="T73" fmla="*/ 560 h 806"/>
                <a:gd name="T74" fmla="*/ 435 w 540"/>
                <a:gd name="T75" fmla="*/ 562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0" h="806">
                  <a:moveTo>
                    <a:pt x="435" y="562"/>
                  </a:moveTo>
                  <a:lnTo>
                    <a:pt x="435" y="562"/>
                  </a:lnTo>
                  <a:lnTo>
                    <a:pt x="438" y="552"/>
                  </a:lnTo>
                  <a:lnTo>
                    <a:pt x="440" y="535"/>
                  </a:lnTo>
                  <a:lnTo>
                    <a:pt x="440" y="494"/>
                  </a:lnTo>
                  <a:lnTo>
                    <a:pt x="436" y="452"/>
                  </a:lnTo>
                  <a:lnTo>
                    <a:pt x="435" y="422"/>
                  </a:lnTo>
                  <a:lnTo>
                    <a:pt x="475" y="78"/>
                  </a:lnTo>
                  <a:lnTo>
                    <a:pt x="475" y="78"/>
                  </a:lnTo>
                  <a:lnTo>
                    <a:pt x="473" y="68"/>
                  </a:lnTo>
                  <a:lnTo>
                    <a:pt x="470" y="60"/>
                  </a:lnTo>
                  <a:lnTo>
                    <a:pt x="463" y="52"/>
                  </a:lnTo>
                  <a:lnTo>
                    <a:pt x="455" y="43"/>
                  </a:lnTo>
                  <a:lnTo>
                    <a:pt x="443" y="37"/>
                  </a:lnTo>
                  <a:lnTo>
                    <a:pt x="430" y="30"/>
                  </a:lnTo>
                  <a:lnTo>
                    <a:pt x="416" y="25"/>
                  </a:lnTo>
                  <a:lnTo>
                    <a:pt x="400" y="18"/>
                  </a:lnTo>
                  <a:lnTo>
                    <a:pt x="365" y="10"/>
                  </a:lnTo>
                  <a:lnTo>
                    <a:pt x="325" y="5"/>
                  </a:lnTo>
                  <a:lnTo>
                    <a:pt x="281" y="0"/>
                  </a:lnTo>
                  <a:lnTo>
                    <a:pt x="236" y="0"/>
                  </a:lnTo>
                  <a:lnTo>
                    <a:pt x="193" y="0"/>
                  </a:lnTo>
                  <a:lnTo>
                    <a:pt x="150" y="5"/>
                  </a:lnTo>
                  <a:lnTo>
                    <a:pt x="110" y="10"/>
                  </a:lnTo>
                  <a:lnTo>
                    <a:pt x="73" y="18"/>
                  </a:lnTo>
                  <a:lnTo>
                    <a:pt x="58" y="25"/>
                  </a:lnTo>
                  <a:lnTo>
                    <a:pt x="43" y="30"/>
                  </a:lnTo>
                  <a:lnTo>
                    <a:pt x="31" y="37"/>
                  </a:lnTo>
                  <a:lnTo>
                    <a:pt x="20" y="43"/>
                  </a:lnTo>
                  <a:lnTo>
                    <a:pt x="11" y="52"/>
                  </a:lnTo>
                  <a:lnTo>
                    <a:pt x="5" y="60"/>
                  </a:lnTo>
                  <a:lnTo>
                    <a:pt x="1" y="68"/>
                  </a:lnTo>
                  <a:lnTo>
                    <a:pt x="0" y="78"/>
                  </a:lnTo>
                  <a:lnTo>
                    <a:pt x="0" y="422"/>
                  </a:lnTo>
                  <a:lnTo>
                    <a:pt x="0" y="422"/>
                  </a:lnTo>
                  <a:lnTo>
                    <a:pt x="0" y="522"/>
                  </a:lnTo>
                  <a:lnTo>
                    <a:pt x="0" y="774"/>
                  </a:lnTo>
                  <a:lnTo>
                    <a:pt x="0" y="774"/>
                  </a:lnTo>
                  <a:lnTo>
                    <a:pt x="0" y="777"/>
                  </a:lnTo>
                  <a:lnTo>
                    <a:pt x="3" y="781"/>
                  </a:lnTo>
                  <a:lnTo>
                    <a:pt x="11" y="786"/>
                  </a:lnTo>
                  <a:lnTo>
                    <a:pt x="26" y="789"/>
                  </a:lnTo>
                  <a:lnTo>
                    <a:pt x="45" y="792"/>
                  </a:lnTo>
                  <a:lnTo>
                    <a:pt x="96" y="799"/>
                  </a:lnTo>
                  <a:lnTo>
                    <a:pt x="161" y="802"/>
                  </a:lnTo>
                  <a:lnTo>
                    <a:pt x="161" y="802"/>
                  </a:lnTo>
                  <a:lnTo>
                    <a:pt x="273" y="806"/>
                  </a:lnTo>
                  <a:lnTo>
                    <a:pt x="273" y="806"/>
                  </a:lnTo>
                  <a:lnTo>
                    <a:pt x="343" y="804"/>
                  </a:lnTo>
                  <a:lnTo>
                    <a:pt x="401" y="802"/>
                  </a:lnTo>
                  <a:lnTo>
                    <a:pt x="446" y="801"/>
                  </a:lnTo>
                  <a:lnTo>
                    <a:pt x="483" y="796"/>
                  </a:lnTo>
                  <a:lnTo>
                    <a:pt x="508" y="791"/>
                  </a:lnTo>
                  <a:lnTo>
                    <a:pt x="516" y="787"/>
                  </a:lnTo>
                  <a:lnTo>
                    <a:pt x="525" y="784"/>
                  </a:lnTo>
                  <a:lnTo>
                    <a:pt x="530" y="779"/>
                  </a:lnTo>
                  <a:lnTo>
                    <a:pt x="533" y="774"/>
                  </a:lnTo>
                  <a:lnTo>
                    <a:pt x="536" y="771"/>
                  </a:lnTo>
                  <a:lnTo>
                    <a:pt x="536" y="764"/>
                  </a:lnTo>
                  <a:lnTo>
                    <a:pt x="536" y="727"/>
                  </a:lnTo>
                  <a:lnTo>
                    <a:pt x="536" y="727"/>
                  </a:lnTo>
                  <a:lnTo>
                    <a:pt x="540" y="692"/>
                  </a:lnTo>
                  <a:lnTo>
                    <a:pt x="540" y="660"/>
                  </a:lnTo>
                  <a:lnTo>
                    <a:pt x="538" y="635"/>
                  </a:lnTo>
                  <a:lnTo>
                    <a:pt x="533" y="615"/>
                  </a:lnTo>
                  <a:lnTo>
                    <a:pt x="525" y="597"/>
                  </a:lnTo>
                  <a:lnTo>
                    <a:pt x="516" y="585"/>
                  </a:lnTo>
                  <a:lnTo>
                    <a:pt x="506" y="575"/>
                  </a:lnTo>
                  <a:lnTo>
                    <a:pt x="496" y="567"/>
                  </a:lnTo>
                  <a:lnTo>
                    <a:pt x="485" y="562"/>
                  </a:lnTo>
                  <a:lnTo>
                    <a:pt x="475" y="560"/>
                  </a:lnTo>
                  <a:lnTo>
                    <a:pt x="465" y="559"/>
                  </a:lnTo>
                  <a:lnTo>
                    <a:pt x="455" y="559"/>
                  </a:lnTo>
                  <a:lnTo>
                    <a:pt x="441" y="560"/>
                  </a:lnTo>
                  <a:lnTo>
                    <a:pt x="435" y="562"/>
                  </a:lnTo>
                  <a:lnTo>
                    <a:pt x="435" y="562"/>
                  </a:lnTo>
                  <a:close/>
                </a:path>
              </a:pathLst>
            </a:custGeom>
            <a:solidFill>
              <a:schemeClr val="accent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20" name="Freeform 50"/>
            <p:cNvSpPr>
              <a:spLocks/>
            </p:cNvSpPr>
            <p:nvPr/>
          </p:nvSpPr>
          <p:spPr bwMode="auto">
            <a:xfrm rot="19994600">
              <a:off x="1693560" y="3960396"/>
              <a:ext cx="70979" cy="79595"/>
            </a:xfrm>
            <a:custGeom>
              <a:avLst/>
              <a:gdLst>
                <a:gd name="T0" fmla="*/ 435 w 540"/>
                <a:gd name="T1" fmla="*/ 562 h 806"/>
                <a:gd name="T2" fmla="*/ 440 w 540"/>
                <a:gd name="T3" fmla="*/ 535 h 806"/>
                <a:gd name="T4" fmla="*/ 436 w 540"/>
                <a:gd name="T5" fmla="*/ 452 h 806"/>
                <a:gd name="T6" fmla="*/ 475 w 540"/>
                <a:gd name="T7" fmla="*/ 78 h 806"/>
                <a:gd name="T8" fmla="*/ 473 w 540"/>
                <a:gd name="T9" fmla="*/ 68 h 806"/>
                <a:gd name="T10" fmla="*/ 463 w 540"/>
                <a:gd name="T11" fmla="*/ 52 h 806"/>
                <a:gd name="T12" fmla="*/ 443 w 540"/>
                <a:gd name="T13" fmla="*/ 37 h 806"/>
                <a:gd name="T14" fmla="*/ 416 w 540"/>
                <a:gd name="T15" fmla="*/ 25 h 806"/>
                <a:gd name="T16" fmla="*/ 365 w 540"/>
                <a:gd name="T17" fmla="*/ 10 h 806"/>
                <a:gd name="T18" fmla="*/ 281 w 540"/>
                <a:gd name="T19" fmla="*/ 0 h 806"/>
                <a:gd name="T20" fmla="*/ 193 w 540"/>
                <a:gd name="T21" fmla="*/ 0 h 806"/>
                <a:gd name="T22" fmla="*/ 110 w 540"/>
                <a:gd name="T23" fmla="*/ 10 h 806"/>
                <a:gd name="T24" fmla="*/ 58 w 540"/>
                <a:gd name="T25" fmla="*/ 25 h 806"/>
                <a:gd name="T26" fmla="*/ 31 w 540"/>
                <a:gd name="T27" fmla="*/ 37 h 806"/>
                <a:gd name="T28" fmla="*/ 11 w 540"/>
                <a:gd name="T29" fmla="*/ 52 h 806"/>
                <a:gd name="T30" fmla="*/ 1 w 540"/>
                <a:gd name="T31" fmla="*/ 68 h 806"/>
                <a:gd name="T32" fmla="*/ 0 w 540"/>
                <a:gd name="T33" fmla="*/ 422 h 806"/>
                <a:gd name="T34" fmla="*/ 0 w 540"/>
                <a:gd name="T35" fmla="*/ 522 h 806"/>
                <a:gd name="T36" fmla="*/ 0 w 540"/>
                <a:gd name="T37" fmla="*/ 774 h 806"/>
                <a:gd name="T38" fmla="*/ 3 w 540"/>
                <a:gd name="T39" fmla="*/ 781 h 806"/>
                <a:gd name="T40" fmla="*/ 26 w 540"/>
                <a:gd name="T41" fmla="*/ 789 h 806"/>
                <a:gd name="T42" fmla="*/ 96 w 540"/>
                <a:gd name="T43" fmla="*/ 799 h 806"/>
                <a:gd name="T44" fmla="*/ 161 w 540"/>
                <a:gd name="T45" fmla="*/ 802 h 806"/>
                <a:gd name="T46" fmla="*/ 273 w 540"/>
                <a:gd name="T47" fmla="*/ 806 h 806"/>
                <a:gd name="T48" fmla="*/ 401 w 540"/>
                <a:gd name="T49" fmla="*/ 802 h 806"/>
                <a:gd name="T50" fmla="*/ 483 w 540"/>
                <a:gd name="T51" fmla="*/ 796 h 806"/>
                <a:gd name="T52" fmla="*/ 516 w 540"/>
                <a:gd name="T53" fmla="*/ 787 h 806"/>
                <a:gd name="T54" fmla="*/ 530 w 540"/>
                <a:gd name="T55" fmla="*/ 779 h 806"/>
                <a:gd name="T56" fmla="*/ 536 w 540"/>
                <a:gd name="T57" fmla="*/ 771 h 806"/>
                <a:gd name="T58" fmla="*/ 536 w 540"/>
                <a:gd name="T59" fmla="*/ 727 h 806"/>
                <a:gd name="T60" fmla="*/ 540 w 540"/>
                <a:gd name="T61" fmla="*/ 692 h 806"/>
                <a:gd name="T62" fmla="*/ 538 w 540"/>
                <a:gd name="T63" fmla="*/ 635 h 806"/>
                <a:gd name="T64" fmla="*/ 525 w 540"/>
                <a:gd name="T65" fmla="*/ 597 h 806"/>
                <a:gd name="T66" fmla="*/ 506 w 540"/>
                <a:gd name="T67" fmla="*/ 575 h 806"/>
                <a:gd name="T68" fmla="*/ 485 w 540"/>
                <a:gd name="T69" fmla="*/ 562 h 806"/>
                <a:gd name="T70" fmla="*/ 465 w 540"/>
                <a:gd name="T71" fmla="*/ 559 h 806"/>
                <a:gd name="T72" fmla="*/ 441 w 540"/>
                <a:gd name="T73" fmla="*/ 560 h 806"/>
                <a:gd name="T74" fmla="*/ 435 w 540"/>
                <a:gd name="T75" fmla="*/ 562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0" h="806">
                  <a:moveTo>
                    <a:pt x="435" y="562"/>
                  </a:moveTo>
                  <a:lnTo>
                    <a:pt x="435" y="562"/>
                  </a:lnTo>
                  <a:lnTo>
                    <a:pt x="438" y="552"/>
                  </a:lnTo>
                  <a:lnTo>
                    <a:pt x="440" y="535"/>
                  </a:lnTo>
                  <a:lnTo>
                    <a:pt x="440" y="494"/>
                  </a:lnTo>
                  <a:lnTo>
                    <a:pt x="436" y="452"/>
                  </a:lnTo>
                  <a:lnTo>
                    <a:pt x="435" y="422"/>
                  </a:lnTo>
                  <a:lnTo>
                    <a:pt x="475" y="78"/>
                  </a:lnTo>
                  <a:lnTo>
                    <a:pt x="475" y="78"/>
                  </a:lnTo>
                  <a:lnTo>
                    <a:pt x="473" y="68"/>
                  </a:lnTo>
                  <a:lnTo>
                    <a:pt x="470" y="60"/>
                  </a:lnTo>
                  <a:lnTo>
                    <a:pt x="463" y="52"/>
                  </a:lnTo>
                  <a:lnTo>
                    <a:pt x="455" y="43"/>
                  </a:lnTo>
                  <a:lnTo>
                    <a:pt x="443" y="37"/>
                  </a:lnTo>
                  <a:lnTo>
                    <a:pt x="430" y="30"/>
                  </a:lnTo>
                  <a:lnTo>
                    <a:pt x="416" y="25"/>
                  </a:lnTo>
                  <a:lnTo>
                    <a:pt x="400" y="18"/>
                  </a:lnTo>
                  <a:lnTo>
                    <a:pt x="365" y="10"/>
                  </a:lnTo>
                  <a:lnTo>
                    <a:pt x="325" y="5"/>
                  </a:lnTo>
                  <a:lnTo>
                    <a:pt x="281" y="0"/>
                  </a:lnTo>
                  <a:lnTo>
                    <a:pt x="236" y="0"/>
                  </a:lnTo>
                  <a:lnTo>
                    <a:pt x="193" y="0"/>
                  </a:lnTo>
                  <a:lnTo>
                    <a:pt x="150" y="5"/>
                  </a:lnTo>
                  <a:lnTo>
                    <a:pt x="110" y="10"/>
                  </a:lnTo>
                  <a:lnTo>
                    <a:pt x="73" y="18"/>
                  </a:lnTo>
                  <a:lnTo>
                    <a:pt x="58" y="25"/>
                  </a:lnTo>
                  <a:lnTo>
                    <a:pt x="43" y="30"/>
                  </a:lnTo>
                  <a:lnTo>
                    <a:pt x="31" y="37"/>
                  </a:lnTo>
                  <a:lnTo>
                    <a:pt x="20" y="43"/>
                  </a:lnTo>
                  <a:lnTo>
                    <a:pt x="11" y="52"/>
                  </a:lnTo>
                  <a:lnTo>
                    <a:pt x="5" y="60"/>
                  </a:lnTo>
                  <a:lnTo>
                    <a:pt x="1" y="68"/>
                  </a:lnTo>
                  <a:lnTo>
                    <a:pt x="0" y="78"/>
                  </a:lnTo>
                  <a:lnTo>
                    <a:pt x="0" y="422"/>
                  </a:lnTo>
                  <a:lnTo>
                    <a:pt x="0" y="422"/>
                  </a:lnTo>
                  <a:lnTo>
                    <a:pt x="0" y="522"/>
                  </a:lnTo>
                  <a:lnTo>
                    <a:pt x="0" y="774"/>
                  </a:lnTo>
                  <a:lnTo>
                    <a:pt x="0" y="774"/>
                  </a:lnTo>
                  <a:lnTo>
                    <a:pt x="0" y="777"/>
                  </a:lnTo>
                  <a:lnTo>
                    <a:pt x="3" y="781"/>
                  </a:lnTo>
                  <a:lnTo>
                    <a:pt x="11" y="786"/>
                  </a:lnTo>
                  <a:lnTo>
                    <a:pt x="26" y="789"/>
                  </a:lnTo>
                  <a:lnTo>
                    <a:pt x="45" y="792"/>
                  </a:lnTo>
                  <a:lnTo>
                    <a:pt x="96" y="799"/>
                  </a:lnTo>
                  <a:lnTo>
                    <a:pt x="161" y="802"/>
                  </a:lnTo>
                  <a:lnTo>
                    <a:pt x="161" y="802"/>
                  </a:lnTo>
                  <a:lnTo>
                    <a:pt x="273" y="806"/>
                  </a:lnTo>
                  <a:lnTo>
                    <a:pt x="273" y="806"/>
                  </a:lnTo>
                  <a:lnTo>
                    <a:pt x="343" y="804"/>
                  </a:lnTo>
                  <a:lnTo>
                    <a:pt x="401" y="802"/>
                  </a:lnTo>
                  <a:lnTo>
                    <a:pt x="446" y="801"/>
                  </a:lnTo>
                  <a:lnTo>
                    <a:pt x="483" y="796"/>
                  </a:lnTo>
                  <a:lnTo>
                    <a:pt x="508" y="791"/>
                  </a:lnTo>
                  <a:lnTo>
                    <a:pt x="516" y="787"/>
                  </a:lnTo>
                  <a:lnTo>
                    <a:pt x="525" y="784"/>
                  </a:lnTo>
                  <a:lnTo>
                    <a:pt x="530" y="779"/>
                  </a:lnTo>
                  <a:lnTo>
                    <a:pt x="533" y="774"/>
                  </a:lnTo>
                  <a:lnTo>
                    <a:pt x="536" y="771"/>
                  </a:lnTo>
                  <a:lnTo>
                    <a:pt x="536" y="764"/>
                  </a:lnTo>
                  <a:lnTo>
                    <a:pt x="536" y="727"/>
                  </a:lnTo>
                  <a:lnTo>
                    <a:pt x="536" y="727"/>
                  </a:lnTo>
                  <a:lnTo>
                    <a:pt x="540" y="692"/>
                  </a:lnTo>
                  <a:lnTo>
                    <a:pt x="540" y="660"/>
                  </a:lnTo>
                  <a:lnTo>
                    <a:pt x="538" y="635"/>
                  </a:lnTo>
                  <a:lnTo>
                    <a:pt x="533" y="615"/>
                  </a:lnTo>
                  <a:lnTo>
                    <a:pt x="525" y="597"/>
                  </a:lnTo>
                  <a:lnTo>
                    <a:pt x="516" y="585"/>
                  </a:lnTo>
                  <a:lnTo>
                    <a:pt x="506" y="575"/>
                  </a:lnTo>
                  <a:lnTo>
                    <a:pt x="496" y="567"/>
                  </a:lnTo>
                  <a:lnTo>
                    <a:pt x="485" y="562"/>
                  </a:lnTo>
                  <a:lnTo>
                    <a:pt x="475" y="560"/>
                  </a:lnTo>
                  <a:lnTo>
                    <a:pt x="465" y="559"/>
                  </a:lnTo>
                  <a:lnTo>
                    <a:pt x="455" y="559"/>
                  </a:lnTo>
                  <a:lnTo>
                    <a:pt x="441" y="560"/>
                  </a:lnTo>
                  <a:lnTo>
                    <a:pt x="435" y="562"/>
                  </a:lnTo>
                  <a:lnTo>
                    <a:pt x="435" y="562"/>
                  </a:lnTo>
                  <a:close/>
                </a:path>
              </a:pathLst>
            </a:custGeom>
            <a:solidFill>
              <a:schemeClr val="accent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656" name="Rectangle 655"/>
          <p:cNvSpPr/>
          <p:nvPr/>
        </p:nvSpPr>
        <p:spPr bwMode="auto">
          <a:xfrm>
            <a:off x="1143213" y="4378040"/>
            <a:ext cx="1112333" cy="757505"/>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658" name="Group 657"/>
          <p:cNvGrpSpPr/>
          <p:nvPr/>
        </p:nvGrpSpPr>
        <p:grpSpPr>
          <a:xfrm rot="8300337" flipH="1">
            <a:off x="3052569" y="2598327"/>
            <a:ext cx="144775" cy="235561"/>
            <a:chOff x="2658904" y="3122439"/>
            <a:chExt cx="81472" cy="132564"/>
          </a:xfrm>
          <a:solidFill>
            <a:schemeClr val="tx2"/>
          </a:solidFill>
        </p:grpSpPr>
        <p:sp>
          <p:nvSpPr>
            <p:cNvPr id="65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6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6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673" name="Freeform 191"/>
          <p:cNvSpPr>
            <a:spLocks/>
          </p:cNvSpPr>
          <p:nvPr/>
        </p:nvSpPr>
        <p:spPr bwMode="auto">
          <a:xfrm flipH="1">
            <a:off x="443682" y="4816672"/>
            <a:ext cx="246199" cy="246199"/>
          </a:xfrm>
          <a:custGeom>
            <a:avLst/>
            <a:gdLst>
              <a:gd name="T0" fmla="*/ 12 w 55"/>
              <a:gd name="T1" fmla="*/ 0 h 55"/>
              <a:gd name="T2" fmla="*/ 12 w 55"/>
              <a:gd name="T3" fmla="*/ 0 h 55"/>
              <a:gd name="T4" fmla="*/ 6 w 55"/>
              <a:gd name="T5" fmla="*/ 0 h 55"/>
              <a:gd name="T6" fmla="*/ 3 w 55"/>
              <a:gd name="T7" fmla="*/ 0 h 55"/>
              <a:gd name="T8" fmla="*/ 2 w 55"/>
              <a:gd name="T9" fmla="*/ 2 h 55"/>
              <a:gd name="T10" fmla="*/ 0 w 55"/>
              <a:gd name="T11" fmla="*/ 6 h 55"/>
              <a:gd name="T12" fmla="*/ 0 w 55"/>
              <a:gd name="T13" fmla="*/ 13 h 55"/>
              <a:gd name="T14" fmla="*/ 2 w 55"/>
              <a:gd name="T15" fmla="*/ 19 h 55"/>
              <a:gd name="T16" fmla="*/ 6 w 55"/>
              <a:gd name="T17" fmla="*/ 27 h 55"/>
              <a:gd name="T18" fmla="*/ 11 w 55"/>
              <a:gd name="T19" fmla="*/ 35 h 55"/>
              <a:gd name="T20" fmla="*/ 18 w 55"/>
              <a:gd name="T21" fmla="*/ 45 h 55"/>
              <a:gd name="T22" fmla="*/ 18 w 55"/>
              <a:gd name="T23" fmla="*/ 45 h 55"/>
              <a:gd name="T24" fmla="*/ 23 w 55"/>
              <a:gd name="T25" fmla="*/ 51 h 55"/>
              <a:gd name="T26" fmla="*/ 30 w 55"/>
              <a:gd name="T27" fmla="*/ 54 h 55"/>
              <a:gd name="T28" fmla="*/ 36 w 55"/>
              <a:gd name="T29" fmla="*/ 55 h 55"/>
              <a:gd name="T30" fmla="*/ 42 w 55"/>
              <a:gd name="T31" fmla="*/ 55 h 55"/>
              <a:gd name="T32" fmla="*/ 47 w 55"/>
              <a:gd name="T33" fmla="*/ 54 h 55"/>
              <a:gd name="T34" fmla="*/ 51 w 55"/>
              <a:gd name="T35" fmla="*/ 53 h 55"/>
              <a:gd name="T36" fmla="*/ 55 w 55"/>
              <a:gd name="T37" fmla="*/ 50 h 55"/>
              <a:gd name="T38" fmla="*/ 55 w 55"/>
              <a:gd name="T39" fmla="*/ 50 h 55"/>
              <a:gd name="T40" fmla="*/ 52 w 55"/>
              <a:gd name="T41" fmla="*/ 51 h 55"/>
              <a:gd name="T42" fmla="*/ 46 w 55"/>
              <a:gd name="T43" fmla="*/ 50 h 55"/>
              <a:gd name="T44" fmla="*/ 42 w 55"/>
              <a:gd name="T45" fmla="*/ 49 h 55"/>
              <a:gd name="T46" fmla="*/ 38 w 55"/>
              <a:gd name="T47" fmla="*/ 47 h 55"/>
              <a:gd name="T48" fmla="*/ 35 w 55"/>
              <a:gd name="T49" fmla="*/ 42 h 55"/>
              <a:gd name="T50" fmla="*/ 31 w 55"/>
              <a:gd name="T51" fmla="*/ 37 h 55"/>
              <a:gd name="T52" fmla="*/ 31 w 55"/>
              <a:gd name="T53" fmla="*/ 37 h 55"/>
              <a:gd name="T54" fmla="*/ 28 w 55"/>
              <a:gd name="T55" fmla="*/ 27 h 55"/>
              <a:gd name="T56" fmla="*/ 26 w 55"/>
              <a:gd name="T57" fmla="*/ 17 h 55"/>
              <a:gd name="T58" fmla="*/ 24 w 55"/>
              <a:gd name="T59" fmla="*/ 11 h 55"/>
              <a:gd name="T60" fmla="*/ 22 w 55"/>
              <a:gd name="T61" fmla="*/ 6 h 55"/>
              <a:gd name="T62" fmla="*/ 18 w 55"/>
              <a:gd name="T63" fmla="*/ 3 h 55"/>
              <a:gd name="T64" fmla="*/ 12 w 55"/>
              <a:gd name="T65" fmla="*/ 0 h 55"/>
              <a:gd name="T66" fmla="*/ 12 w 55"/>
              <a:gd name="T6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5">
                <a:moveTo>
                  <a:pt x="12" y="0"/>
                </a:moveTo>
                <a:lnTo>
                  <a:pt x="12" y="0"/>
                </a:lnTo>
                <a:lnTo>
                  <a:pt x="6" y="0"/>
                </a:lnTo>
                <a:lnTo>
                  <a:pt x="3" y="0"/>
                </a:lnTo>
                <a:lnTo>
                  <a:pt x="2" y="2"/>
                </a:lnTo>
                <a:lnTo>
                  <a:pt x="0" y="6"/>
                </a:lnTo>
                <a:lnTo>
                  <a:pt x="0" y="13"/>
                </a:lnTo>
                <a:lnTo>
                  <a:pt x="2" y="19"/>
                </a:lnTo>
                <a:lnTo>
                  <a:pt x="6" y="27"/>
                </a:lnTo>
                <a:lnTo>
                  <a:pt x="11" y="35"/>
                </a:lnTo>
                <a:lnTo>
                  <a:pt x="18" y="45"/>
                </a:lnTo>
                <a:lnTo>
                  <a:pt x="18" y="45"/>
                </a:lnTo>
                <a:lnTo>
                  <a:pt x="23" y="51"/>
                </a:lnTo>
                <a:lnTo>
                  <a:pt x="30" y="54"/>
                </a:lnTo>
                <a:lnTo>
                  <a:pt x="36" y="55"/>
                </a:lnTo>
                <a:lnTo>
                  <a:pt x="42" y="55"/>
                </a:lnTo>
                <a:lnTo>
                  <a:pt x="47" y="54"/>
                </a:lnTo>
                <a:lnTo>
                  <a:pt x="51" y="53"/>
                </a:lnTo>
                <a:lnTo>
                  <a:pt x="55" y="50"/>
                </a:lnTo>
                <a:lnTo>
                  <a:pt x="55" y="50"/>
                </a:lnTo>
                <a:lnTo>
                  <a:pt x="52" y="51"/>
                </a:lnTo>
                <a:lnTo>
                  <a:pt x="46" y="50"/>
                </a:lnTo>
                <a:lnTo>
                  <a:pt x="42" y="49"/>
                </a:lnTo>
                <a:lnTo>
                  <a:pt x="38" y="47"/>
                </a:lnTo>
                <a:lnTo>
                  <a:pt x="35" y="42"/>
                </a:lnTo>
                <a:lnTo>
                  <a:pt x="31" y="37"/>
                </a:lnTo>
                <a:lnTo>
                  <a:pt x="31" y="37"/>
                </a:lnTo>
                <a:lnTo>
                  <a:pt x="28" y="27"/>
                </a:lnTo>
                <a:lnTo>
                  <a:pt x="26" y="17"/>
                </a:lnTo>
                <a:lnTo>
                  <a:pt x="24" y="11"/>
                </a:lnTo>
                <a:lnTo>
                  <a:pt x="22" y="6"/>
                </a:lnTo>
                <a:lnTo>
                  <a:pt x="18" y="3"/>
                </a:lnTo>
                <a:lnTo>
                  <a:pt x="12" y="0"/>
                </a:lnTo>
                <a:lnTo>
                  <a:pt x="12" y="0"/>
                </a:ln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6" name="Group 15"/>
          <p:cNvGrpSpPr/>
          <p:nvPr/>
        </p:nvGrpSpPr>
        <p:grpSpPr>
          <a:xfrm>
            <a:off x="1330450" y="4488506"/>
            <a:ext cx="742224" cy="514873"/>
            <a:chOff x="1322834" y="4489251"/>
            <a:chExt cx="742224" cy="514873"/>
          </a:xfrm>
        </p:grpSpPr>
        <p:sp>
          <p:nvSpPr>
            <p:cNvPr id="15" name="Rectangle 14"/>
            <p:cNvSpPr/>
            <p:nvPr/>
          </p:nvSpPr>
          <p:spPr bwMode="auto">
            <a:xfrm>
              <a:off x="1322908" y="4489251"/>
              <a:ext cx="742150" cy="67731"/>
            </a:xfrm>
            <a:prstGeom prst="rect">
              <a:avLst/>
            </a:prstGeom>
            <a:solidFill>
              <a:schemeClr val="accent1"/>
            </a:solidFill>
            <a:ln>
              <a:solidFill>
                <a:schemeClr val="accent1"/>
              </a:solid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31" name="Rectangle 1030"/>
            <p:cNvSpPr/>
            <p:nvPr/>
          </p:nvSpPr>
          <p:spPr bwMode="auto">
            <a:xfrm>
              <a:off x="1322834" y="4560406"/>
              <a:ext cx="742224" cy="443718"/>
            </a:xfrm>
            <a:prstGeom prst="rect">
              <a:avLst/>
            </a:prstGeom>
            <a:solidFill>
              <a:schemeClr val="tx1"/>
            </a:solidFill>
            <a:ln>
              <a:solidFill>
                <a:schemeClr val="accent1"/>
              </a:solid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037" name="Group 1036"/>
          <p:cNvGrpSpPr/>
          <p:nvPr/>
        </p:nvGrpSpPr>
        <p:grpSpPr>
          <a:xfrm>
            <a:off x="1427051" y="4818525"/>
            <a:ext cx="93347" cy="101737"/>
            <a:chOff x="4932811" y="5795734"/>
            <a:chExt cx="407610" cy="403859"/>
          </a:xfrm>
          <a:solidFill>
            <a:schemeClr val="bg1"/>
          </a:solidFill>
        </p:grpSpPr>
        <p:sp>
          <p:nvSpPr>
            <p:cNvPr id="1038" name="Freeform 97"/>
            <p:cNvSpPr>
              <a:spLocks noEditPoints="1"/>
            </p:cNvSpPr>
            <p:nvPr/>
          </p:nvSpPr>
          <p:spPr bwMode="auto">
            <a:xfrm>
              <a:off x="4932811" y="5795734"/>
              <a:ext cx="407610" cy="403859"/>
            </a:xfrm>
            <a:custGeom>
              <a:avLst/>
              <a:gdLst>
                <a:gd name="T0" fmla="*/ 0 w 582"/>
                <a:gd name="T1" fmla="*/ 424 h 424"/>
                <a:gd name="T2" fmla="*/ 582 w 582"/>
                <a:gd name="T3" fmla="*/ 424 h 424"/>
                <a:gd name="T4" fmla="*/ 582 w 582"/>
                <a:gd name="T5" fmla="*/ 0 h 424"/>
                <a:gd name="T6" fmla="*/ 0 w 582"/>
                <a:gd name="T7" fmla="*/ 0 h 424"/>
                <a:gd name="T8" fmla="*/ 0 w 582"/>
                <a:gd name="T9" fmla="*/ 424 h 424"/>
                <a:gd name="T10" fmla="*/ 523 w 582"/>
                <a:gd name="T11" fmla="*/ 362 h 424"/>
                <a:gd name="T12" fmla="*/ 59 w 582"/>
                <a:gd name="T13" fmla="*/ 362 h 424"/>
                <a:gd name="T14" fmla="*/ 59 w 582"/>
                <a:gd name="T15" fmla="*/ 62 h 424"/>
                <a:gd name="T16" fmla="*/ 523 w 582"/>
                <a:gd name="T17" fmla="*/ 62 h 424"/>
                <a:gd name="T18" fmla="*/ 523 w 582"/>
                <a:gd name="T19" fmla="*/ 362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24">
                  <a:moveTo>
                    <a:pt x="0" y="424"/>
                  </a:moveTo>
                  <a:lnTo>
                    <a:pt x="582" y="424"/>
                  </a:lnTo>
                  <a:lnTo>
                    <a:pt x="582" y="0"/>
                  </a:lnTo>
                  <a:lnTo>
                    <a:pt x="0" y="0"/>
                  </a:lnTo>
                  <a:lnTo>
                    <a:pt x="0" y="424"/>
                  </a:lnTo>
                  <a:close/>
                  <a:moveTo>
                    <a:pt x="523" y="362"/>
                  </a:moveTo>
                  <a:lnTo>
                    <a:pt x="59" y="362"/>
                  </a:lnTo>
                  <a:lnTo>
                    <a:pt x="59" y="62"/>
                  </a:lnTo>
                  <a:lnTo>
                    <a:pt x="523" y="62"/>
                  </a:lnTo>
                  <a:lnTo>
                    <a:pt x="523"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39" name="Freeform 98"/>
            <p:cNvSpPr>
              <a:spLocks/>
            </p:cNvSpPr>
            <p:nvPr/>
          </p:nvSpPr>
          <p:spPr bwMode="auto">
            <a:xfrm>
              <a:off x="5037585" y="6003379"/>
              <a:ext cx="200026" cy="173354"/>
            </a:xfrm>
            <a:custGeom>
              <a:avLst/>
              <a:gdLst>
                <a:gd name="T0" fmla="*/ 0 w 211"/>
                <a:gd name="T1" fmla="*/ 182 h 182"/>
                <a:gd name="T2" fmla="*/ 0 w 211"/>
                <a:gd name="T3" fmla="*/ 182 h 182"/>
                <a:gd name="T4" fmla="*/ 1 w 211"/>
                <a:gd name="T5" fmla="*/ 145 h 182"/>
                <a:gd name="T6" fmla="*/ 2 w 211"/>
                <a:gd name="T7" fmla="*/ 128 h 182"/>
                <a:gd name="T8" fmla="*/ 4 w 211"/>
                <a:gd name="T9" fmla="*/ 111 h 182"/>
                <a:gd name="T10" fmla="*/ 6 w 211"/>
                <a:gd name="T11" fmla="*/ 95 h 182"/>
                <a:gd name="T12" fmla="*/ 10 w 211"/>
                <a:gd name="T13" fmla="*/ 80 h 182"/>
                <a:gd name="T14" fmla="*/ 14 w 211"/>
                <a:gd name="T15" fmla="*/ 66 h 182"/>
                <a:gd name="T16" fmla="*/ 19 w 211"/>
                <a:gd name="T17" fmla="*/ 53 h 182"/>
                <a:gd name="T18" fmla="*/ 25 w 211"/>
                <a:gd name="T19" fmla="*/ 41 h 182"/>
                <a:gd name="T20" fmla="*/ 33 w 211"/>
                <a:gd name="T21" fmla="*/ 31 h 182"/>
                <a:gd name="T22" fmla="*/ 41 w 211"/>
                <a:gd name="T23" fmla="*/ 22 h 182"/>
                <a:gd name="T24" fmla="*/ 51 w 211"/>
                <a:gd name="T25" fmla="*/ 14 h 182"/>
                <a:gd name="T26" fmla="*/ 63 w 211"/>
                <a:gd name="T27" fmla="*/ 8 h 182"/>
                <a:gd name="T28" fmla="*/ 76 w 211"/>
                <a:gd name="T29" fmla="*/ 3 h 182"/>
                <a:gd name="T30" fmla="*/ 91 w 211"/>
                <a:gd name="T31" fmla="*/ 1 h 182"/>
                <a:gd name="T32" fmla="*/ 107 w 211"/>
                <a:gd name="T33" fmla="*/ 0 h 182"/>
                <a:gd name="T34" fmla="*/ 107 w 211"/>
                <a:gd name="T35" fmla="*/ 0 h 182"/>
                <a:gd name="T36" fmla="*/ 123 w 211"/>
                <a:gd name="T37" fmla="*/ 1 h 182"/>
                <a:gd name="T38" fmla="*/ 137 w 211"/>
                <a:gd name="T39" fmla="*/ 3 h 182"/>
                <a:gd name="T40" fmla="*/ 150 w 211"/>
                <a:gd name="T41" fmla="*/ 8 h 182"/>
                <a:gd name="T42" fmla="*/ 161 w 211"/>
                <a:gd name="T43" fmla="*/ 14 h 182"/>
                <a:gd name="T44" fmla="*/ 171 w 211"/>
                <a:gd name="T45" fmla="*/ 22 h 182"/>
                <a:gd name="T46" fmla="*/ 179 w 211"/>
                <a:gd name="T47" fmla="*/ 31 h 182"/>
                <a:gd name="T48" fmla="*/ 186 w 211"/>
                <a:gd name="T49" fmla="*/ 41 h 182"/>
                <a:gd name="T50" fmla="*/ 193 w 211"/>
                <a:gd name="T51" fmla="*/ 53 h 182"/>
                <a:gd name="T52" fmla="*/ 198 w 211"/>
                <a:gd name="T53" fmla="*/ 66 h 182"/>
                <a:gd name="T54" fmla="*/ 202 w 211"/>
                <a:gd name="T55" fmla="*/ 80 h 182"/>
                <a:gd name="T56" fmla="*/ 205 w 211"/>
                <a:gd name="T57" fmla="*/ 95 h 182"/>
                <a:gd name="T58" fmla="*/ 208 w 211"/>
                <a:gd name="T59" fmla="*/ 111 h 182"/>
                <a:gd name="T60" fmla="*/ 209 w 211"/>
                <a:gd name="T61" fmla="*/ 128 h 182"/>
                <a:gd name="T62" fmla="*/ 211 w 211"/>
                <a:gd name="T63" fmla="*/ 145 h 182"/>
                <a:gd name="T64" fmla="*/ 211 w 211"/>
                <a:gd name="T65" fmla="*/ 182 h 182"/>
                <a:gd name="T66" fmla="*/ 0 w 211"/>
                <a:gd name="T6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1" h="182">
                  <a:moveTo>
                    <a:pt x="0" y="182"/>
                  </a:moveTo>
                  <a:lnTo>
                    <a:pt x="0" y="182"/>
                  </a:lnTo>
                  <a:lnTo>
                    <a:pt x="1" y="145"/>
                  </a:lnTo>
                  <a:lnTo>
                    <a:pt x="2" y="128"/>
                  </a:lnTo>
                  <a:lnTo>
                    <a:pt x="4" y="111"/>
                  </a:lnTo>
                  <a:lnTo>
                    <a:pt x="6" y="95"/>
                  </a:lnTo>
                  <a:lnTo>
                    <a:pt x="10" y="80"/>
                  </a:lnTo>
                  <a:lnTo>
                    <a:pt x="14" y="66"/>
                  </a:lnTo>
                  <a:lnTo>
                    <a:pt x="19" y="53"/>
                  </a:lnTo>
                  <a:lnTo>
                    <a:pt x="25" y="41"/>
                  </a:lnTo>
                  <a:lnTo>
                    <a:pt x="33" y="31"/>
                  </a:lnTo>
                  <a:lnTo>
                    <a:pt x="41" y="22"/>
                  </a:lnTo>
                  <a:lnTo>
                    <a:pt x="51" y="14"/>
                  </a:lnTo>
                  <a:lnTo>
                    <a:pt x="63" y="8"/>
                  </a:lnTo>
                  <a:lnTo>
                    <a:pt x="76" y="3"/>
                  </a:lnTo>
                  <a:lnTo>
                    <a:pt x="91" y="1"/>
                  </a:lnTo>
                  <a:lnTo>
                    <a:pt x="107" y="0"/>
                  </a:lnTo>
                  <a:lnTo>
                    <a:pt x="107" y="0"/>
                  </a:lnTo>
                  <a:lnTo>
                    <a:pt x="123" y="1"/>
                  </a:lnTo>
                  <a:lnTo>
                    <a:pt x="137" y="3"/>
                  </a:lnTo>
                  <a:lnTo>
                    <a:pt x="150" y="8"/>
                  </a:lnTo>
                  <a:lnTo>
                    <a:pt x="161" y="14"/>
                  </a:lnTo>
                  <a:lnTo>
                    <a:pt x="171" y="22"/>
                  </a:lnTo>
                  <a:lnTo>
                    <a:pt x="179" y="31"/>
                  </a:lnTo>
                  <a:lnTo>
                    <a:pt x="186" y="41"/>
                  </a:lnTo>
                  <a:lnTo>
                    <a:pt x="193" y="53"/>
                  </a:lnTo>
                  <a:lnTo>
                    <a:pt x="198" y="66"/>
                  </a:lnTo>
                  <a:lnTo>
                    <a:pt x="202" y="80"/>
                  </a:lnTo>
                  <a:lnTo>
                    <a:pt x="205" y="95"/>
                  </a:lnTo>
                  <a:lnTo>
                    <a:pt x="208" y="111"/>
                  </a:lnTo>
                  <a:lnTo>
                    <a:pt x="209" y="128"/>
                  </a:lnTo>
                  <a:lnTo>
                    <a:pt x="211" y="145"/>
                  </a:lnTo>
                  <a:lnTo>
                    <a:pt x="211" y="182"/>
                  </a:lnTo>
                  <a:lnTo>
                    <a:pt x="0"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40" name="Freeform 102"/>
            <p:cNvSpPr>
              <a:spLocks/>
            </p:cNvSpPr>
            <p:nvPr/>
          </p:nvSpPr>
          <p:spPr bwMode="auto">
            <a:xfrm>
              <a:off x="5077591" y="5870030"/>
              <a:ext cx="120016" cy="121920"/>
            </a:xfrm>
            <a:custGeom>
              <a:avLst/>
              <a:gdLst>
                <a:gd name="T0" fmla="*/ 0 w 127"/>
                <a:gd name="T1" fmla="*/ 65 h 130"/>
                <a:gd name="T2" fmla="*/ 0 w 127"/>
                <a:gd name="T3" fmla="*/ 65 h 130"/>
                <a:gd name="T4" fmla="*/ 0 w 127"/>
                <a:gd name="T5" fmla="*/ 58 h 130"/>
                <a:gd name="T6" fmla="*/ 1 w 127"/>
                <a:gd name="T7" fmla="*/ 52 h 130"/>
                <a:gd name="T8" fmla="*/ 3 w 127"/>
                <a:gd name="T9" fmla="*/ 46 h 130"/>
                <a:gd name="T10" fmla="*/ 5 w 127"/>
                <a:gd name="T11" fmla="*/ 40 h 130"/>
                <a:gd name="T12" fmla="*/ 11 w 127"/>
                <a:gd name="T13" fmla="*/ 29 h 130"/>
                <a:gd name="T14" fmla="*/ 19 w 127"/>
                <a:gd name="T15" fmla="*/ 19 h 130"/>
                <a:gd name="T16" fmla="*/ 28 w 127"/>
                <a:gd name="T17" fmla="*/ 11 h 130"/>
                <a:gd name="T18" fmla="*/ 33 w 127"/>
                <a:gd name="T19" fmla="*/ 8 h 130"/>
                <a:gd name="T20" fmla="*/ 39 w 127"/>
                <a:gd name="T21" fmla="*/ 5 h 130"/>
                <a:gd name="T22" fmla="*/ 44 w 127"/>
                <a:gd name="T23" fmla="*/ 3 h 130"/>
                <a:gd name="T24" fmla="*/ 51 w 127"/>
                <a:gd name="T25" fmla="*/ 1 h 130"/>
                <a:gd name="T26" fmla="*/ 58 w 127"/>
                <a:gd name="T27" fmla="*/ 0 h 130"/>
                <a:gd name="T28" fmla="*/ 64 w 127"/>
                <a:gd name="T29" fmla="*/ 0 h 130"/>
                <a:gd name="T30" fmla="*/ 64 w 127"/>
                <a:gd name="T31" fmla="*/ 0 h 130"/>
                <a:gd name="T32" fmla="*/ 70 w 127"/>
                <a:gd name="T33" fmla="*/ 0 h 130"/>
                <a:gd name="T34" fmla="*/ 77 w 127"/>
                <a:gd name="T35" fmla="*/ 1 h 130"/>
                <a:gd name="T36" fmla="*/ 83 w 127"/>
                <a:gd name="T37" fmla="*/ 3 h 130"/>
                <a:gd name="T38" fmla="*/ 88 w 127"/>
                <a:gd name="T39" fmla="*/ 5 h 130"/>
                <a:gd name="T40" fmla="*/ 94 w 127"/>
                <a:gd name="T41" fmla="*/ 8 h 130"/>
                <a:gd name="T42" fmla="*/ 99 w 127"/>
                <a:gd name="T43" fmla="*/ 11 h 130"/>
                <a:gd name="T44" fmla="*/ 108 w 127"/>
                <a:gd name="T45" fmla="*/ 19 h 130"/>
                <a:gd name="T46" fmla="*/ 116 w 127"/>
                <a:gd name="T47" fmla="*/ 29 h 130"/>
                <a:gd name="T48" fmla="*/ 122 w 127"/>
                <a:gd name="T49" fmla="*/ 40 h 130"/>
                <a:gd name="T50" fmla="*/ 124 w 127"/>
                <a:gd name="T51" fmla="*/ 46 h 130"/>
                <a:gd name="T52" fmla="*/ 126 w 127"/>
                <a:gd name="T53" fmla="*/ 52 h 130"/>
                <a:gd name="T54" fmla="*/ 127 w 127"/>
                <a:gd name="T55" fmla="*/ 58 h 130"/>
                <a:gd name="T56" fmla="*/ 127 w 127"/>
                <a:gd name="T57" fmla="*/ 65 h 130"/>
                <a:gd name="T58" fmla="*/ 127 w 127"/>
                <a:gd name="T59" fmla="*/ 65 h 130"/>
                <a:gd name="T60" fmla="*/ 127 w 127"/>
                <a:gd name="T61" fmla="*/ 71 h 130"/>
                <a:gd name="T62" fmla="*/ 126 w 127"/>
                <a:gd name="T63" fmla="*/ 78 h 130"/>
                <a:gd name="T64" fmla="*/ 124 w 127"/>
                <a:gd name="T65" fmla="*/ 84 h 130"/>
                <a:gd name="T66" fmla="*/ 122 w 127"/>
                <a:gd name="T67" fmla="*/ 90 h 130"/>
                <a:gd name="T68" fmla="*/ 116 w 127"/>
                <a:gd name="T69" fmla="*/ 101 h 130"/>
                <a:gd name="T70" fmla="*/ 108 w 127"/>
                <a:gd name="T71" fmla="*/ 111 h 130"/>
                <a:gd name="T72" fmla="*/ 99 w 127"/>
                <a:gd name="T73" fmla="*/ 119 h 130"/>
                <a:gd name="T74" fmla="*/ 94 w 127"/>
                <a:gd name="T75" fmla="*/ 123 h 130"/>
                <a:gd name="T76" fmla="*/ 88 w 127"/>
                <a:gd name="T77" fmla="*/ 125 h 130"/>
                <a:gd name="T78" fmla="*/ 83 w 127"/>
                <a:gd name="T79" fmla="*/ 128 h 130"/>
                <a:gd name="T80" fmla="*/ 77 w 127"/>
                <a:gd name="T81" fmla="*/ 129 h 130"/>
                <a:gd name="T82" fmla="*/ 70 w 127"/>
                <a:gd name="T83" fmla="*/ 130 h 130"/>
                <a:gd name="T84" fmla="*/ 64 w 127"/>
                <a:gd name="T85" fmla="*/ 130 h 130"/>
                <a:gd name="T86" fmla="*/ 64 w 127"/>
                <a:gd name="T87" fmla="*/ 130 h 130"/>
                <a:gd name="T88" fmla="*/ 58 w 127"/>
                <a:gd name="T89" fmla="*/ 130 h 130"/>
                <a:gd name="T90" fmla="*/ 51 w 127"/>
                <a:gd name="T91" fmla="*/ 129 h 130"/>
                <a:gd name="T92" fmla="*/ 44 w 127"/>
                <a:gd name="T93" fmla="*/ 128 h 130"/>
                <a:gd name="T94" fmla="*/ 39 w 127"/>
                <a:gd name="T95" fmla="*/ 125 h 130"/>
                <a:gd name="T96" fmla="*/ 33 w 127"/>
                <a:gd name="T97" fmla="*/ 123 h 130"/>
                <a:gd name="T98" fmla="*/ 28 w 127"/>
                <a:gd name="T99" fmla="*/ 119 h 130"/>
                <a:gd name="T100" fmla="*/ 19 w 127"/>
                <a:gd name="T101" fmla="*/ 111 h 130"/>
                <a:gd name="T102" fmla="*/ 11 w 127"/>
                <a:gd name="T103" fmla="*/ 101 h 130"/>
                <a:gd name="T104" fmla="*/ 5 w 127"/>
                <a:gd name="T105" fmla="*/ 90 h 130"/>
                <a:gd name="T106" fmla="*/ 3 w 127"/>
                <a:gd name="T107" fmla="*/ 84 h 130"/>
                <a:gd name="T108" fmla="*/ 1 w 127"/>
                <a:gd name="T109" fmla="*/ 78 h 130"/>
                <a:gd name="T110" fmla="*/ 0 w 127"/>
                <a:gd name="T111" fmla="*/ 71 h 130"/>
                <a:gd name="T112" fmla="*/ 0 w 127"/>
                <a:gd name="T113" fmla="*/ 6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 h="130">
                  <a:moveTo>
                    <a:pt x="0" y="65"/>
                  </a:moveTo>
                  <a:lnTo>
                    <a:pt x="0" y="65"/>
                  </a:lnTo>
                  <a:lnTo>
                    <a:pt x="0" y="58"/>
                  </a:lnTo>
                  <a:lnTo>
                    <a:pt x="1" y="52"/>
                  </a:lnTo>
                  <a:lnTo>
                    <a:pt x="3" y="46"/>
                  </a:lnTo>
                  <a:lnTo>
                    <a:pt x="5" y="40"/>
                  </a:lnTo>
                  <a:lnTo>
                    <a:pt x="11" y="29"/>
                  </a:lnTo>
                  <a:lnTo>
                    <a:pt x="19" y="19"/>
                  </a:lnTo>
                  <a:lnTo>
                    <a:pt x="28" y="11"/>
                  </a:lnTo>
                  <a:lnTo>
                    <a:pt x="33" y="8"/>
                  </a:lnTo>
                  <a:lnTo>
                    <a:pt x="39" y="5"/>
                  </a:lnTo>
                  <a:lnTo>
                    <a:pt x="44" y="3"/>
                  </a:lnTo>
                  <a:lnTo>
                    <a:pt x="51" y="1"/>
                  </a:lnTo>
                  <a:lnTo>
                    <a:pt x="58" y="0"/>
                  </a:lnTo>
                  <a:lnTo>
                    <a:pt x="64" y="0"/>
                  </a:lnTo>
                  <a:lnTo>
                    <a:pt x="64" y="0"/>
                  </a:lnTo>
                  <a:lnTo>
                    <a:pt x="70" y="0"/>
                  </a:lnTo>
                  <a:lnTo>
                    <a:pt x="77" y="1"/>
                  </a:lnTo>
                  <a:lnTo>
                    <a:pt x="83" y="3"/>
                  </a:lnTo>
                  <a:lnTo>
                    <a:pt x="88" y="5"/>
                  </a:lnTo>
                  <a:lnTo>
                    <a:pt x="94" y="8"/>
                  </a:lnTo>
                  <a:lnTo>
                    <a:pt x="99" y="11"/>
                  </a:lnTo>
                  <a:lnTo>
                    <a:pt x="108" y="19"/>
                  </a:lnTo>
                  <a:lnTo>
                    <a:pt x="116" y="29"/>
                  </a:lnTo>
                  <a:lnTo>
                    <a:pt x="122" y="40"/>
                  </a:lnTo>
                  <a:lnTo>
                    <a:pt x="124" y="46"/>
                  </a:lnTo>
                  <a:lnTo>
                    <a:pt x="126" y="52"/>
                  </a:lnTo>
                  <a:lnTo>
                    <a:pt x="127" y="58"/>
                  </a:lnTo>
                  <a:lnTo>
                    <a:pt x="127" y="65"/>
                  </a:lnTo>
                  <a:lnTo>
                    <a:pt x="127" y="65"/>
                  </a:lnTo>
                  <a:lnTo>
                    <a:pt x="127" y="71"/>
                  </a:lnTo>
                  <a:lnTo>
                    <a:pt x="126" y="78"/>
                  </a:lnTo>
                  <a:lnTo>
                    <a:pt x="124" y="84"/>
                  </a:lnTo>
                  <a:lnTo>
                    <a:pt x="122" y="90"/>
                  </a:lnTo>
                  <a:lnTo>
                    <a:pt x="116" y="101"/>
                  </a:lnTo>
                  <a:lnTo>
                    <a:pt x="108" y="111"/>
                  </a:lnTo>
                  <a:lnTo>
                    <a:pt x="99" y="119"/>
                  </a:lnTo>
                  <a:lnTo>
                    <a:pt x="94" y="123"/>
                  </a:lnTo>
                  <a:lnTo>
                    <a:pt x="88" y="125"/>
                  </a:lnTo>
                  <a:lnTo>
                    <a:pt x="83" y="128"/>
                  </a:lnTo>
                  <a:lnTo>
                    <a:pt x="77" y="129"/>
                  </a:lnTo>
                  <a:lnTo>
                    <a:pt x="70" y="130"/>
                  </a:lnTo>
                  <a:lnTo>
                    <a:pt x="64" y="130"/>
                  </a:lnTo>
                  <a:lnTo>
                    <a:pt x="64" y="130"/>
                  </a:lnTo>
                  <a:lnTo>
                    <a:pt x="58" y="130"/>
                  </a:lnTo>
                  <a:lnTo>
                    <a:pt x="51" y="129"/>
                  </a:lnTo>
                  <a:lnTo>
                    <a:pt x="44" y="128"/>
                  </a:lnTo>
                  <a:lnTo>
                    <a:pt x="39" y="125"/>
                  </a:lnTo>
                  <a:lnTo>
                    <a:pt x="33" y="123"/>
                  </a:lnTo>
                  <a:lnTo>
                    <a:pt x="28" y="119"/>
                  </a:lnTo>
                  <a:lnTo>
                    <a:pt x="19" y="111"/>
                  </a:lnTo>
                  <a:lnTo>
                    <a:pt x="11" y="101"/>
                  </a:lnTo>
                  <a:lnTo>
                    <a:pt x="5" y="90"/>
                  </a:lnTo>
                  <a:lnTo>
                    <a:pt x="3" y="84"/>
                  </a:lnTo>
                  <a:lnTo>
                    <a:pt x="1" y="78"/>
                  </a:lnTo>
                  <a:lnTo>
                    <a:pt x="0" y="71"/>
                  </a:lnTo>
                  <a:lnTo>
                    <a:pt x="0" y="6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044" name="Group 1043"/>
          <p:cNvGrpSpPr/>
          <p:nvPr/>
        </p:nvGrpSpPr>
        <p:grpSpPr>
          <a:xfrm>
            <a:off x="1572393" y="4827610"/>
            <a:ext cx="437980" cy="75728"/>
            <a:chOff x="1584249" y="4635598"/>
            <a:chExt cx="437980" cy="75728"/>
          </a:xfrm>
        </p:grpSpPr>
        <p:sp>
          <p:nvSpPr>
            <p:cNvPr id="1045" name="Rectangle 1044"/>
            <p:cNvSpPr/>
            <p:nvPr/>
          </p:nvSpPr>
          <p:spPr bwMode="auto">
            <a:xfrm>
              <a:off x="1586328" y="4635598"/>
              <a:ext cx="435901" cy="23461"/>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46" name="Rectangle 1045"/>
            <p:cNvSpPr/>
            <p:nvPr/>
          </p:nvSpPr>
          <p:spPr bwMode="auto">
            <a:xfrm>
              <a:off x="1584249" y="4687865"/>
              <a:ext cx="365760" cy="23461"/>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047" name="Isosceles Triangle 1046"/>
          <p:cNvSpPr/>
          <p:nvPr/>
        </p:nvSpPr>
        <p:spPr bwMode="auto">
          <a:xfrm rot="5400000">
            <a:off x="1877916" y="2238377"/>
            <a:ext cx="538785" cy="389889"/>
          </a:xfrm>
          <a:prstGeom prst="triangle">
            <a:avLst>
              <a:gd name="adj" fmla="val 11196"/>
            </a:avLst>
          </a:pr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pic>
        <p:nvPicPr>
          <p:cNvPr id="414" name="Picture 4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20459" y="2124063"/>
            <a:ext cx="256185" cy="409570"/>
          </a:xfrm>
          <a:prstGeom prst="rect">
            <a:avLst/>
          </a:prstGeom>
        </p:spPr>
      </p:pic>
      <p:sp>
        <p:nvSpPr>
          <p:cNvPr id="437" name="Rectangle 436"/>
          <p:cNvSpPr/>
          <p:nvPr/>
        </p:nvSpPr>
        <p:spPr bwMode="auto">
          <a:xfrm rot="1753298">
            <a:off x="2451978" y="2519065"/>
            <a:ext cx="106527" cy="4661300"/>
          </a:xfrm>
          <a:custGeom>
            <a:avLst/>
            <a:gdLst/>
            <a:ahLst/>
            <a:cxnLst/>
            <a:rect l="l" t="t" r="r" b="b"/>
            <a:pathLst>
              <a:path w="106527" h="4661300">
                <a:moveTo>
                  <a:pt x="0" y="0"/>
                </a:moveTo>
                <a:lnTo>
                  <a:pt x="106527" y="0"/>
                </a:lnTo>
                <a:lnTo>
                  <a:pt x="106527" y="4601712"/>
                </a:lnTo>
                <a:lnTo>
                  <a:pt x="0" y="4661300"/>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1"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500" b="0" i="0" u="none" strike="noStrike" kern="0" cap="none" spc="100" normalizeH="0" baseline="0" noProof="0" dirty="0">
                <a:ln w="3175">
                  <a:noFill/>
                </a:ln>
                <a:solidFill>
                  <a:srgbClr val="00BCF2">
                    <a:lumMod val="60000"/>
                    <a:lumOff val="40000"/>
                  </a:srgbClr>
                </a:solidFill>
                <a:effectLst/>
                <a:uLnTx/>
                <a:uFillTx/>
                <a:cs typeface="Arial" charset="0"/>
              </a:rPr>
              <a:t>1010010110100101000010101110101010010110100101001010111010101001010110101011010010110100101010</a:t>
            </a:r>
          </a:p>
        </p:txBody>
      </p:sp>
      <p:sp>
        <p:nvSpPr>
          <p:cNvPr id="929" name="Rectangle 928"/>
          <p:cNvSpPr/>
          <p:nvPr/>
        </p:nvSpPr>
        <p:spPr bwMode="auto">
          <a:xfrm>
            <a:off x="1955367" y="6377945"/>
            <a:ext cx="1324828" cy="258441"/>
          </a:xfrm>
          <a:prstGeom prst="rect">
            <a:avLst/>
          </a:prstGeom>
          <a:solidFill>
            <a:schemeClr val="tx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MOBILE EXPERIENCE</a:t>
            </a:r>
          </a:p>
        </p:txBody>
      </p:sp>
      <p:grpSp>
        <p:nvGrpSpPr>
          <p:cNvPr id="1049" name="Group 1048"/>
          <p:cNvGrpSpPr/>
          <p:nvPr/>
        </p:nvGrpSpPr>
        <p:grpSpPr>
          <a:xfrm>
            <a:off x="2514152" y="4396279"/>
            <a:ext cx="327233" cy="327233"/>
            <a:chOff x="4826727" y="1390548"/>
            <a:chExt cx="502642" cy="502642"/>
          </a:xfrm>
        </p:grpSpPr>
        <p:sp>
          <p:nvSpPr>
            <p:cNvPr id="1050" name="Oval 1049"/>
            <p:cNvSpPr/>
            <p:nvPr/>
          </p:nvSpPr>
          <p:spPr bwMode="auto">
            <a:xfrm>
              <a:off x="4826727" y="1390548"/>
              <a:ext cx="502642" cy="502642"/>
            </a:xfrm>
            <a:prstGeom prst="ellipse">
              <a:avLst/>
            </a:prstGeom>
            <a:solidFill>
              <a:schemeClr val="bg2">
                <a:lumMod val="10000"/>
              </a:schemeClr>
            </a:solidFill>
            <a:ln w="2857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1" name="Left Arrow 1050"/>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433" name="Rectangle 432"/>
          <p:cNvSpPr/>
          <p:nvPr/>
        </p:nvSpPr>
        <p:spPr bwMode="auto">
          <a:xfrm>
            <a:off x="1212436" y="2163324"/>
            <a:ext cx="746164" cy="556481"/>
          </a:xfrm>
          <a:prstGeom prst="rect">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00BCF2"/>
                </a:solidFill>
                <a:effectLst/>
                <a:uLnTx/>
                <a:uFillTx/>
                <a:cs typeface="Arial" charset="0"/>
              </a:rPr>
              <a:t>STORE PURCHASE HISTORY:</a:t>
            </a:r>
          </a:p>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00BCF2"/>
                </a:solidFill>
                <a:effectLst/>
                <a:uLnTx/>
                <a:uFillTx/>
                <a:cs typeface="Arial" charset="0"/>
              </a:rPr>
              <a:t>Dog food</a:t>
            </a:r>
          </a:p>
        </p:txBody>
      </p:sp>
      <p:sp>
        <p:nvSpPr>
          <p:cNvPr id="222" name="Rectangle 742"/>
          <p:cNvSpPr/>
          <p:nvPr/>
        </p:nvSpPr>
        <p:spPr bwMode="auto">
          <a:xfrm>
            <a:off x="918334" y="1250451"/>
            <a:ext cx="3033980" cy="781538"/>
          </a:xfrm>
          <a:custGeom>
            <a:avLst/>
            <a:gdLst/>
            <a:ahLst/>
            <a:cxnLst/>
            <a:rect l="l" t="t" r="r" b="b"/>
            <a:pathLst>
              <a:path w="3033980" h="781538">
                <a:moveTo>
                  <a:pt x="0" y="0"/>
                </a:moveTo>
                <a:lnTo>
                  <a:pt x="3033980" y="0"/>
                </a:lnTo>
                <a:cubicBezTo>
                  <a:pt x="2677717" y="95700"/>
                  <a:pt x="2409103" y="404627"/>
                  <a:pt x="2372283" y="781538"/>
                </a:cubicBezTo>
                <a:lnTo>
                  <a:pt x="0" y="781538"/>
                </a:ln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44" name="Isosceles Triangle 543"/>
          <p:cNvSpPr/>
          <p:nvPr/>
        </p:nvSpPr>
        <p:spPr bwMode="auto">
          <a:xfrm rot="5400000">
            <a:off x="2072722" y="1353287"/>
            <a:ext cx="397829" cy="459348"/>
          </a:xfrm>
          <a:prstGeom prst="triangle">
            <a:avLst>
              <a:gd name="adj" fmla="val 38713"/>
            </a:avLst>
          </a:pr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545" name="Group 544"/>
          <p:cNvGrpSpPr/>
          <p:nvPr/>
        </p:nvGrpSpPr>
        <p:grpSpPr>
          <a:xfrm>
            <a:off x="1173124" y="1392245"/>
            <a:ext cx="865314" cy="388363"/>
            <a:chOff x="1259403" y="1508894"/>
            <a:chExt cx="865314" cy="388363"/>
          </a:xfrm>
        </p:grpSpPr>
        <p:sp>
          <p:nvSpPr>
            <p:cNvPr id="546" name="Rectangle 545"/>
            <p:cNvSpPr/>
            <p:nvPr/>
          </p:nvSpPr>
          <p:spPr bwMode="auto">
            <a:xfrm>
              <a:off x="1259403" y="1508894"/>
              <a:ext cx="865314" cy="388363"/>
            </a:xfrm>
            <a:prstGeom prst="rect">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00BCF2"/>
                  </a:solidFill>
                  <a:effectLst/>
                  <a:uLnTx/>
                  <a:uFillTx/>
                  <a:cs typeface="Arial" charset="0"/>
                </a:rPr>
                <a:t>M  T  W  Th  F</a:t>
              </a:r>
            </a:p>
          </p:txBody>
        </p:sp>
        <p:grpSp>
          <p:nvGrpSpPr>
            <p:cNvPr id="547" name="Group 546"/>
            <p:cNvGrpSpPr>
              <a:grpSpLocks noChangeAspect="1"/>
            </p:cNvGrpSpPr>
            <p:nvPr/>
          </p:nvGrpSpPr>
          <p:grpSpPr>
            <a:xfrm>
              <a:off x="1329426" y="1713902"/>
              <a:ext cx="111498" cy="108326"/>
              <a:chOff x="9935552" y="3704492"/>
              <a:chExt cx="207963" cy="202048"/>
            </a:xfrm>
            <a:solidFill>
              <a:schemeClr val="accent1"/>
            </a:solidFill>
          </p:grpSpPr>
          <p:sp>
            <p:nvSpPr>
              <p:cNvPr id="576" name="Freeform 1165"/>
              <p:cNvSpPr>
                <a:spLocks/>
              </p:cNvSpPr>
              <p:nvPr/>
            </p:nvSpPr>
            <p:spPr bwMode="auto">
              <a:xfrm>
                <a:off x="9935552" y="3704492"/>
                <a:ext cx="207963" cy="120650"/>
              </a:xfrm>
              <a:custGeom>
                <a:avLst/>
                <a:gdLst>
                  <a:gd name="T0" fmla="*/ 1963 w 1965"/>
                  <a:gd name="T1" fmla="*/ 735 h 1136"/>
                  <a:gd name="T2" fmla="*/ 1948 w 1965"/>
                  <a:gd name="T3" fmla="*/ 815 h 1136"/>
                  <a:gd name="T4" fmla="*/ 1920 w 1965"/>
                  <a:gd name="T5" fmla="*/ 891 h 1136"/>
                  <a:gd name="T6" fmla="*/ 1878 w 1965"/>
                  <a:gd name="T7" fmla="*/ 959 h 1136"/>
                  <a:gd name="T8" fmla="*/ 1827 w 1965"/>
                  <a:gd name="T9" fmla="*/ 1017 h 1136"/>
                  <a:gd name="T10" fmla="*/ 1765 w 1965"/>
                  <a:gd name="T11" fmla="*/ 1067 h 1136"/>
                  <a:gd name="T12" fmla="*/ 1696 w 1965"/>
                  <a:gd name="T13" fmla="*/ 1104 h 1136"/>
                  <a:gd name="T14" fmla="*/ 1621 w 1965"/>
                  <a:gd name="T15" fmla="*/ 1130 h 1136"/>
                  <a:gd name="T16" fmla="*/ 302 w 1965"/>
                  <a:gd name="T17" fmla="*/ 1136 h 1136"/>
                  <a:gd name="T18" fmla="*/ 256 w 1965"/>
                  <a:gd name="T19" fmla="*/ 1133 h 1136"/>
                  <a:gd name="T20" fmla="*/ 199 w 1965"/>
                  <a:gd name="T21" fmla="*/ 1118 h 1136"/>
                  <a:gd name="T22" fmla="*/ 145 w 1965"/>
                  <a:gd name="T23" fmla="*/ 1092 h 1136"/>
                  <a:gd name="T24" fmla="*/ 98 w 1965"/>
                  <a:gd name="T25" fmla="*/ 1057 h 1136"/>
                  <a:gd name="T26" fmla="*/ 60 w 1965"/>
                  <a:gd name="T27" fmla="*/ 1014 h 1136"/>
                  <a:gd name="T28" fmla="*/ 29 w 1965"/>
                  <a:gd name="T29" fmla="*/ 964 h 1136"/>
                  <a:gd name="T30" fmla="*/ 9 w 1965"/>
                  <a:gd name="T31" fmla="*/ 909 h 1136"/>
                  <a:gd name="T32" fmla="*/ 0 w 1965"/>
                  <a:gd name="T33" fmla="*/ 848 h 1136"/>
                  <a:gd name="T34" fmla="*/ 1 w 1965"/>
                  <a:gd name="T35" fmla="*/ 801 h 1136"/>
                  <a:gd name="T36" fmla="*/ 14 w 1965"/>
                  <a:gd name="T37" fmla="*/ 742 h 1136"/>
                  <a:gd name="T38" fmla="*/ 36 w 1965"/>
                  <a:gd name="T39" fmla="*/ 688 h 1136"/>
                  <a:gd name="T40" fmla="*/ 69 w 1965"/>
                  <a:gd name="T41" fmla="*/ 639 h 1136"/>
                  <a:gd name="T42" fmla="*/ 110 w 1965"/>
                  <a:gd name="T43" fmla="*/ 597 h 1136"/>
                  <a:gd name="T44" fmla="*/ 157 w 1965"/>
                  <a:gd name="T45" fmla="*/ 564 h 1136"/>
                  <a:gd name="T46" fmla="*/ 212 w 1965"/>
                  <a:gd name="T47" fmla="*/ 542 h 1136"/>
                  <a:gd name="T48" fmla="*/ 271 w 1965"/>
                  <a:gd name="T49" fmla="*/ 529 h 1136"/>
                  <a:gd name="T50" fmla="*/ 316 w 1965"/>
                  <a:gd name="T51" fmla="*/ 528 h 1136"/>
                  <a:gd name="T52" fmla="*/ 366 w 1965"/>
                  <a:gd name="T53" fmla="*/ 519 h 1136"/>
                  <a:gd name="T54" fmla="*/ 412 w 1965"/>
                  <a:gd name="T55" fmla="*/ 462 h 1136"/>
                  <a:gd name="T56" fmla="*/ 470 w 1965"/>
                  <a:gd name="T57" fmla="*/ 421 h 1136"/>
                  <a:gd name="T58" fmla="*/ 538 w 1965"/>
                  <a:gd name="T59" fmla="*/ 396 h 1136"/>
                  <a:gd name="T60" fmla="*/ 594 w 1965"/>
                  <a:gd name="T61" fmla="*/ 390 h 1136"/>
                  <a:gd name="T62" fmla="*/ 657 w 1965"/>
                  <a:gd name="T63" fmla="*/ 399 h 1136"/>
                  <a:gd name="T64" fmla="*/ 715 w 1965"/>
                  <a:gd name="T65" fmla="*/ 420 h 1136"/>
                  <a:gd name="T66" fmla="*/ 710 w 1965"/>
                  <a:gd name="T67" fmla="*/ 362 h 1136"/>
                  <a:gd name="T68" fmla="*/ 714 w 1965"/>
                  <a:gd name="T69" fmla="*/ 307 h 1136"/>
                  <a:gd name="T70" fmla="*/ 731 w 1965"/>
                  <a:gd name="T71" fmla="*/ 237 h 1136"/>
                  <a:gd name="T72" fmla="*/ 762 w 1965"/>
                  <a:gd name="T73" fmla="*/ 174 h 1136"/>
                  <a:gd name="T74" fmla="*/ 803 w 1965"/>
                  <a:gd name="T75" fmla="*/ 118 h 1136"/>
                  <a:gd name="T76" fmla="*/ 854 w 1965"/>
                  <a:gd name="T77" fmla="*/ 71 h 1136"/>
                  <a:gd name="T78" fmla="*/ 914 w 1965"/>
                  <a:gd name="T79" fmla="*/ 35 h 1136"/>
                  <a:gd name="T80" fmla="*/ 979 w 1965"/>
                  <a:gd name="T81" fmla="*/ 11 h 1136"/>
                  <a:gd name="T82" fmla="*/ 1051 w 1965"/>
                  <a:gd name="T83" fmla="*/ 0 h 1136"/>
                  <a:gd name="T84" fmla="*/ 1101 w 1965"/>
                  <a:gd name="T85" fmla="*/ 1 h 1136"/>
                  <a:gd name="T86" fmla="*/ 1187 w 1965"/>
                  <a:gd name="T87" fmla="*/ 19 h 1136"/>
                  <a:gd name="T88" fmla="*/ 1289 w 1965"/>
                  <a:gd name="T89" fmla="*/ 76 h 1136"/>
                  <a:gd name="T90" fmla="*/ 1367 w 1965"/>
                  <a:gd name="T91" fmla="*/ 160 h 1136"/>
                  <a:gd name="T92" fmla="*/ 1416 w 1965"/>
                  <a:gd name="T93" fmla="*/ 266 h 1136"/>
                  <a:gd name="T94" fmla="*/ 1496 w 1965"/>
                  <a:gd name="T95" fmla="*/ 251 h 1136"/>
                  <a:gd name="T96" fmla="*/ 1569 w 1965"/>
                  <a:gd name="T97" fmla="*/ 253 h 1136"/>
                  <a:gd name="T98" fmla="*/ 1655 w 1965"/>
                  <a:gd name="T99" fmla="*/ 270 h 1136"/>
                  <a:gd name="T100" fmla="*/ 1734 w 1965"/>
                  <a:gd name="T101" fmla="*/ 304 h 1136"/>
                  <a:gd name="T102" fmla="*/ 1804 w 1965"/>
                  <a:gd name="T103" fmla="*/ 352 h 1136"/>
                  <a:gd name="T104" fmla="*/ 1864 w 1965"/>
                  <a:gd name="T105" fmla="*/ 411 h 1136"/>
                  <a:gd name="T106" fmla="*/ 1911 w 1965"/>
                  <a:gd name="T107" fmla="*/ 483 h 1136"/>
                  <a:gd name="T108" fmla="*/ 1945 w 1965"/>
                  <a:gd name="T109" fmla="*/ 561 h 1136"/>
                  <a:gd name="T110" fmla="*/ 1963 w 1965"/>
                  <a:gd name="T111" fmla="*/ 648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5" h="1136">
                    <a:moveTo>
                      <a:pt x="1965" y="694"/>
                    </a:moveTo>
                    <a:lnTo>
                      <a:pt x="1965" y="694"/>
                    </a:lnTo>
                    <a:lnTo>
                      <a:pt x="1964" y="714"/>
                    </a:lnTo>
                    <a:lnTo>
                      <a:pt x="1963" y="735"/>
                    </a:lnTo>
                    <a:lnTo>
                      <a:pt x="1961" y="756"/>
                    </a:lnTo>
                    <a:lnTo>
                      <a:pt x="1957" y="776"/>
                    </a:lnTo>
                    <a:lnTo>
                      <a:pt x="1952" y="796"/>
                    </a:lnTo>
                    <a:lnTo>
                      <a:pt x="1948" y="815"/>
                    </a:lnTo>
                    <a:lnTo>
                      <a:pt x="1942" y="835"/>
                    </a:lnTo>
                    <a:lnTo>
                      <a:pt x="1935" y="853"/>
                    </a:lnTo>
                    <a:lnTo>
                      <a:pt x="1927" y="872"/>
                    </a:lnTo>
                    <a:lnTo>
                      <a:pt x="1920" y="891"/>
                    </a:lnTo>
                    <a:lnTo>
                      <a:pt x="1910" y="908"/>
                    </a:lnTo>
                    <a:lnTo>
                      <a:pt x="1901" y="926"/>
                    </a:lnTo>
                    <a:lnTo>
                      <a:pt x="1890" y="942"/>
                    </a:lnTo>
                    <a:lnTo>
                      <a:pt x="1878" y="959"/>
                    </a:lnTo>
                    <a:lnTo>
                      <a:pt x="1867" y="973"/>
                    </a:lnTo>
                    <a:lnTo>
                      <a:pt x="1854" y="989"/>
                    </a:lnTo>
                    <a:lnTo>
                      <a:pt x="1840" y="1003"/>
                    </a:lnTo>
                    <a:lnTo>
                      <a:pt x="1827" y="1017"/>
                    </a:lnTo>
                    <a:lnTo>
                      <a:pt x="1812" y="1031"/>
                    </a:lnTo>
                    <a:lnTo>
                      <a:pt x="1797" y="1044"/>
                    </a:lnTo>
                    <a:lnTo>
                      <a:pt x="1781" y="1055"/>
                    </a:lnTo>
                    <a:lnTo>
                      <a:pt x="1765" y="1067"/>
                    </a:lnTo>
                    <a:lnTo>
                      <a:pt x="1748" y="1078"/>
                    </a:lnTo>
                    <a:lnTo>
                      <a:pt x="1732" y="1087"/>
                    </a:lnTo>
                    <a:lnTo>
                      <a:pt x="1715" y="1097"/>
                    </a:lnTo>
                    <a:lnTo>
                      <a:pt x="1696" y="1104"/>
                    </a:lnTo>
                    <a:lnTo>
                      <a:pt x="1678" y="1112"/>
                    </a:lnTo>
                    <a:lnTo>
                      <a:pt x="1659" y="1119"/>
                    </a:lnTo>
                    <a:lnTo>
                      <a:pt x="1640" y="1124"/>
                    </a:lnTo>
                    <a:lnTo>
                      <a:pt x="1621" y="1130"/>
                    </a:lnTo>
                    <a:lnTo>
                      <a:pt x="1601" y="1134"/>
                    </a:lnTo>
                    <a:lnTo>
                      <a:pt x="1580" y="1136"/>
                    </a:lnTo>
                    <a:lnTo>
                      <a:pt x="335" y="1136"/>
                    </a:lnTo>
                    <a:lnTo>
                      <a:pt x="302" y="1136"/>
                    </a:lnTo>
                    <a:lnTo>
                      <a:pt x="302" y="1136"/>
                    </a:lnTo>
                    <a:lnTo>
                      <a:pt x="286" y="1136"/>
                    </a:lnTo>
                    <a:lnTo>
                      <a:pt x="271" y="1135"/>
                    </a:lnTo>
                    <a:lnTo>
                      <a:pt x="256" y="1133"/>
                    </a:lnTo>
                    <a:lnTo>
                      <a:pt x="241" y="1131"/>
                    </a:lnTo>
                    <a:lnTo>
                      <a:pt x="226" y="1126"/>
                    </a:lnTo>
                    <a:lnTo>
                      <a:pt x="212" y="1123"/>
                    </a:lnTo>
                    <a:lnTo>
                      <a:pt x="199" y="1118"/>
                    </a:lnTo>
                    <a:lnTo>
                      <a:pt x="185" y="1113"/>
                    </a:lnTo>
                    <a:lnTo>
                      <a:pt x="171" y="1106"/>
                    </a:lnTo>
                    <a:lnTo>
                      <a:pt x="157" y="1100"/>
                    </a:lnTo>
                    <a:lnTo>
                      <a:pt x="145" y="1092"/>
                    </a:lnTo>
                    <a:lnTo>
                      <a:pt x="133" y="1084"/>
                    </a:lnTo>
                    <a:lnTo>
                      <a:pt x="121" y="1075"/>
                    </a:lnTo>
                    <a:lnTo>
                      <a:pt x="110" y="1067"/>
                    </a:lnTo>
                    <a:lnTo>
                      <a:pt x="98" y="1057"/>
                    </a:lnTo>
                    <a:lnTo>
                      <a:pt x="89" y="1048"/>
                    </a:lnTo>
                    <a:lnTo>
                      <a:pt x="78" y="1037"/>
                    </a:lnTo>
                    <a:lnTo>
                      <a:pt x="69" y="1025"/>
                    </a:lnTo>
                    <a:lnTo>
                      <a:pt x="60" y="1014"/>
                    </a:lnTo>
                    <a:lnTo>
                      <a:pt x="52" y="1002"/>
                    </a:lnTo>
                    <a:lnTo>
                      <a:pt x="43" y="989"/>
                    </a:lnTo>
                    <a:lnTo>
                      <a:pt x="36" y="977"/>
                    </a:lnTo>
                    <a:lnTo>
                      <a:pt x="29" y="964"/>
                    </a:lnTo>
                    <a:lnTo>
                      <a:pt x="23" y="950"/>
                    </a:lnTo>
                    <a:lnTo>
                      <a:pt x="18" y="936"/>
                    </a:lnTo>
                    <a:lnTo>
                      <a:pt x="14" y="922"/>
                    </a:lnTo>
                    <a:lnTo>
                      <a:pt x="9" y="909"/>
                    </a:lnTo>
                    <a:lnTo>
                      <a:pt x="5" y="894"/>
                    </a:lnTo>
                    <a:lnTo>
                      <a:pt x="3" y="879"/>
                    </a:lnTo>
                    <a:lnTo>
                      <a:pt x="1" y="863"/>
                    </a:lnTo>
                    <a:lnTo>
                      <a:pt x="0" y="848"/>
                    </a:lnTo>
                    <a:lnTo>
                      <a:pt x="0" y="832"/>
                    </a:lnTo>
                    <a:lnTo>
                      <a:pt x="0" y="832"/>
                    </a:lnTo>
                    <a:lnTo>
                      <a:pt x="0" y="816"/>
                    </a:lnTo>
                    <a:lnTo>
                      <a:pt x="1" y="801"/>
                    </a:lnTo>
                    <a:lnTo>
                      <a:pt x="3" y="785"/>
                    </a:lnTo>
                    <a:lnTo>
                      <a:pt x="5" y="770"/>
                    </a:lnTo>
                    <a:lnTo>
                      <a:pt x="9" y="757"/>
                    </a:lnTo>
                    <a:lnTo>
                      <a:pt x="14" y="742"/>
                    </a:lnTo>
                    <a:lnTo>
                      <a:pt x="18" y="728"/>
                    </a:lnTo>
                    <a:lnTo>
                      <a:pt x="23" y="714"/>
                    </a:lnTo>
                    <a:lnTo>
                      <a:pt x="29" y="700"/>
                    </a:lnTo>
                    <a:lnTo>
                      <a:pt x="36" y="688"/>
                    </a:lnTo>
                    <a:lnTo>
                      <a:pt x="43" y="675"/>
                    </a:lnTo>
                    <a:lnTo>
                      <a:pt x="52" y="662"/>
                    </a:lnTo>
                    <a:lnTo>
                      <a:pt x="60" y="650"/>
                    </a:lnTo>
                    <a:lnTo>
                      <a:pt x="69" y="639"/>
                    </a:lnTo>
                    <a:lnTo>
                      <a:pt x="78" y="628"/>
                    </a:lnTo>
                    <a:lnTo>
                      <a:pt x="89" y="617"/>
                    </a:lnTo>
                    <a:lnTo>
                      <a:pt x="98" y="607"/>
                    </a:lnTo>
                    <a:lnTo>
                      <a:pt x="110" y="597"/>
                    </a:lnTo>
                    <a:lnTo>
                      <a:pt x="121" y="589"/>
                    </a:lnTo>
                    <a:lnTo>
                      <a:pt x="133" y="580"/>
                    </a:lnTo>
                    <a:lnTo>
                      <a:pt x="145" y="572"/>
                    </a:lnTo>
                    <a:lnTo>
                      <a:pt x="157" y="564"/>
                    </a:lnTo>
                    <a:lnTo>
                      <a:pt x="171" y="558"/>
                    </a:lnTo>
                    <a:lnTo>
                      <a:pt x="185" y="552"/>
                    </a:lnTo>
                    <a:lnTo>
                      <a:pt x="199" y="546"/>
                    </a:lnTo>
                    <a:lnTo>
                      <a:pt x="212" y="542"/>
                    </a:lnTo>
                    <a:lnTo>
                      <a:pt x="226" y="538"/>
                    </a:lnTo>
                    <a:lnTo>
                      <a:pt x="241" y="535"/>
                    </a:lnTo>
                    <a:lnTo>
                      <a:pt x="256" y="531"/>
                    </a:lnTo>
                    <a:lnTo>
                      <a:pt x="271" y="529"/>
                    </a:lnTo>
                    <a:lnTo>
                      <a:pt x="286" y="528"/>
                    </a:lnTo>
                    <a:lnTo>
                      <a:pt x="302" y="528"/>
                    </a:lnTo>
                    <a:lnTo>
                      <a:pt x="302" y="528"/>
                    </a:lnTo>
                    <a:lnTo>
                      <a:pt x="316" y="528"/>
                    </a:lnTo>
                    <a:lnTo>
                      <a:pt x="331" y="529"/>
                    </a:lnTo>
                    <a:lnTo>
                      <a:pt x="358" y="534"/>
                    </a:lnTo>
                    <a:lnTo>
                      <a:pt x="358" y="534"/>
                    </a:lnTo>
                    <a:lnTo>
                      <a:pt x="366" y="519"/>
                    </a:lnTo>
                    <a:lnTo>
                      <a:pt x="377" y="503"/>
                    </a:lnTo>
                    <a:lnTo>
                      <a:pt x="388" y="489"/>
                    </a:lnTo>
                    <a:lnTo>
                      <a:pt x="399" y="475"/>
                    </a:lnTo>
                    <a:lnTo>
                      <a:pt x="412" y="462"/>
                    </a:lnTo>
                    <a:lnTo>
                      <a:pt x="426" y="451"/>
                    </a:lnTo>
                    <a:lnTo>
                      <a:pt x="439" y="440"/>
                    </a:lnTo>
                    <a:lnTo>
                      <a:pt x="454" y="430"/>
                    </a:lnTo>
                    <a:lnTo>
                      <a:pt x="470" y="421"/>
                    </a:lnTo>
                    <a:lnTo>
                      <a:pt x="486" y="413"/>
                    </a:lnTo>
                    <a:lnTo>
                      <a:pt x="503" y="406"/>
                    </a:lnTo>
                    <a:lnTo>
                      <a:pt x="520" y="401"/>
                    </a:lnTo>
                    <a:lnTo>
                      <a:pt x="538" y="396"/>
                    </a:lnTo>
                    <a:lnTo>
                      <a:pt x="557" y="393"/>
                    </a:lnTo>
                    <a:lnTo>
                      <a:pt x="575" y="391"/>
                    </a:lnTo>
                    <a:lnTo>
                      <a:pt x="594" y="390"/>
                    </a:lnTo>
                    <a:lnTo>
                      <a:pt x="594" y="390"/>
                    </a:lnTo>
                    <a:lnTo>
                      <a:pt x="611" y="391"/>
                    </a:lnTo>
                    <a:lnTo>
                      <a:pt x="626" y="392"/>
                    </a:lnTo>
                    <a:lnTo>
                      <a:pt x="642" y="395"/>
                    </a:lnTo>
                    <a:lnTo>
                      <a:pt x="657" y="399"/>
                    </a:lnTo>
                    <a:lnTo>
                      <a:pt x="672" y="403"/>
                    </a:lnTo>
                    <a:lnTo>
                      <a:pt x="687" y="408"/>
                    </a:lnTo>
                    <a:lnTo>
                      <a:pt x="701" y="413"/>
                    </a:lnTo>
                    <a:lnTo>
                      <a:pt x="715" y="420"/>
                    </a:lnTo>
                    <a:lnTo>
                      <a:pt x="715" y="420"/>
                    </a:lnTo>
                    <a:lnTo>
                      <a:pt x="711" y="391"/>
                    </a:lnTo>
                    <a:lnTo>
                      <a:pt x="710" y="376"/>
                    </a:lnTo>
                    <a:lnTo>
                      <a:pt x="710" y="362"/>
                    </a:lnTo>
                    <a:lnTo>
                      <a:pt x="710" y="362"/>
                    </a:lnTo>
                    <a:lnTo>
                      <a:pt x="710" y="343"/>
                    </a:lnTo>
                    <a:lnTo>
                      <a:pt x="711" y="325"/>
                    </a:lnTo>
                    <a:lnTo>
                      <a:pt x="714" y="307"/>
                    </a:lnTo>
                    <a:lnTo>
                      <a:pt x="717" y="289"/>
                    </a:lnTo>
                    <a:lnTo>
                      <a:pt x="720" y="271"/>
                    </a:lnTo>
                    <a:lnTo>
                      <a:pt x="726" y="254"/>
                    </a:lnTo>
                    <a:lnTo>
                      <a:pt x="731" y="237"/>
                    </a:lnTo>
                    <a:lnTo>
                      <a:pt x="737" y="221"/>
                    </a:lnTo>
                    <a:lnTo>
                      <a:pt x="745" y="205"/>
                    </a:lnTo>
                    <a:lnTo>
                      <a:pt x="753" y="189"/>
                    </a:lnTo>
                    <a:lnTo>
                      <a:pt x="762" y="174"/>
                    </a:lnTo>
                    <a:lnTo>
                      <a:pt x="771" y="160"/>
                    </a:lnTo>
                    <a:lnTo>
                      <a:pt x="781" y="146"/>
                    </a:lnTo>
                    <a:lnTo>
                      <a:pt x="791" y="132"/>
                    </a:lnTo>
                    <a:lnTo>
                      <a:pt x="803" y="118"/>
                    </a:lnTo>
                    <a:lnTo>
                      <a:pt x="814" y="105"/>
                    </a:lnTo>
                    <a:lnTo>
                      <a:pt x="827" y="94"/>
                    </a:lnTo>
                    <a:lnTo>
                      <a:pt x="841" y="82"/>
                    </a:lnTo>
                    <a:lnTo>
                      <a:pt x="854" y="71"/>
                    </a:lnTo>
                    <a:lnTo>
                      <a:pt x="868" y="62"/>
                    </a:lnTo>
                    <a:lnTo>
                      <a:pt x="883" y="52"/>
                    </a:lnTo>
                    <a:lnTo>
                      <a:pt x="898" y="44"/>
                    </a:lnTo>
                    <a:lnTo>
                      <a:pt x="914" y="35"/>
                    </a:lnTo>
                    <a:lnTo>
                      <a:pt x="930" y="28"/>
                    </a:lnTo>
                    <a:lnTo>
                      <a:pt x="945" y="21"/>
                    </a:lnTo>
                    <a:lnTo>
                      <a:pt x="962" y="16"/>
                    </a:lnTo>
                    <a:lnTo>
                      <a:pt x="979" y="11"/>
                    </a:lnTo>
                    <a:lnTo>
                      <a:pt x="997" y="8"/>
                    </a:lnTo>
                    <a:lnTo>
                      <a:pt x="1015" y="4"/>
                    </a:lnTo>
                    <a:lnTo>
                      <a:pt x="1033" y="1"/>
                    </a:lnTo>
                    <a:lnTo>
                      <a:pt x="1051" y="0"/>
                    </a:lnTo>
                    <a:lnTo>
                      <a:pt x="1070" y="0"/>
                    </a:lnTo>
                    <a:lnTo>
                      <a:pt x="1070" y="0"/>
                    </a:lnTo>
                    <a:lnTo>
                      <a:pt x="1085" y="0"/>
                    </a:lnTo>
                    <a:lnTo>
                      <a:pt x="1101" y="1"/>
                    </a:lnTo>
                    <a:lnTo>
                      <a:pt x="1116" y="2"/>
                    </a:lnTo>
                    <a:lnTo>
                      <a:pt x="1130" y="4"/>
                    </a:lnTo>
                    <a:lnTo>
                      <a:pt x="1159" y="11"/>
                    </a:lnTo>
                    <a:lnTo>
                      <a:pt x="1187" y="19"/>
                    </a:lnTo>
                    <a:lnTo>
                      <a:pt x="1215" y="31"/>
                    </a:lnTo>
                    <a:lnTo>
                      <a:pt x="1240" y="44"/>
                    </a:lnTo>
                    <a:lnTo>
                      <a:pt x="1266" y="59"/>
                    </a:lnTo>
                    <a:lnTo>
                      <a:pt x="1289" y="76"/>
                    </a:lnTo>
                    <a:lnTo>
                      <a:pt x="1311" y="94"/>
                    </a:lnTo>
                    <a:lnTo>
                      <a:pt x="1331" y="114"/>
                    </a:lnTo>
                    <a:lnTo>
                      <a:pt x="1350" y="136"/>
                    </a:lnTo>
                    <a:lnTo>
                      <a:pt x="1367" y="160"/>
                    </a:lnTo>
                    <a:lnTo>
                      <a:pt x="1382" y="184"/>
                    </a:lnTo>
                    <a:lnTo>
                      <a:pt x="1396" y="211"/>
                    </a:lnTo>
                    <a:lnTo>
                      <a:pt x="1406" y="237"/>
                    </a:lnTo>
                    <a:lnTo>
                      <a:pt x="1416" y="266"/>
                    </a:lnTo>
                    <a:lnTo>
                      <a:pt x="1416" y="266"/>
                    </a:lnTo>
                    <a:lnTo>
                      <a:pt x="1442" y="259"/>
                    </a:lnTo>
                    <a:lnTo>
                      <a:pt x="1468" y="254"/>
                    </a:lnTo>
                    <a:lnTo>
                      <a:pt x="1496" y="251"/>
                    </a:lnTo>
                    <a:lnTo>
                      <a:pt x="1524" y="250"/>
                    </a:lnTo>
                    <a:lnTo>
                      <a:pt x="1524" y="250"/>
                    </a:lnTo>
                    <a:lnTo>
                      <a:pt x="1547" y="251"/>
                    </a:lnTo>
                    <a:lnTo>
                      <a:pt x="1569" y="253"/>
                    </a:lnTo>
                    <a:lnTo>
                      <a:pt x="1591" y="255"/>
                    </a:lnTo>
                    <a:lnTo>
                      <a:pt x="1613" y="259"/>
                    </a:lnTo>
                    <a:lnTo>
                      <a:pt x="1634" y="265"/>
                    </a:lnTo>
                    <a:lnTo>
                      <a:pt x="1655" y="270"/>
                    </a:lnTo>
                    <a:lnTo>
                      <a:pt x="1676" y="277"/>
                    </a:lnTo>
                    <a:lnTo>
                      <a:pt x="1696" y="285"/>
                    </a:lnTo>
                    <a:lnTo>
                      <a:pt x="1715" y="294"/>
                    </a:lnTo>
                    <a:lnTo>
                      <a:pt x="1734" y="304"/>
                    </a:lnTo>
                    <a:lnTo>
                      <a:pt x="1753" y="315"/>
                    </a:lnTo>
                    <a:lnTo>
                      <a:pt x="1771" y="326"/>
                    </a:lnTo>
                    <a:lnTo>
                      <a:pt x="1788" y="338"/>
                    </a:lnTo>
                    <a:lnTo>
                      <a:pt x="1804" y="352"/>
                    </a:lnTo>
                    <a:lnTo>
                      <a:pt x="1820" y="366"/>
                    </a:lnTo>
                    <a:lnTo>
                      <a:pt x="1836" y="381"/>
                    </a:lnTo>
                    <a:lnTo>
                      <a:pt x="1850" y="395"/>
                    </a:lnTo>
                    <a:lnTo>
                      <a:pt x="1864" y="411"/>
                    </a:lnTo>
                    <a:lnTo>
                      <a:pt x="1877" y="428"/>
                    </a:lnTo>
                    <a:lnTo>
                      <a:pt x="1889" y="445"/>
                    </a:lnTo>
                    <a:lnTo>
                      <a:pt x="1901" y="463"/>
                    </a:lnTo>
                    <a:lnTo>
                      <a:pt x="1911" y="483"/>
                    </a:lnTo>
                    <a:lnTo>
                      <a:pt x="1922" y="502"/>
                    </a:lnTo>
                    <a:lnTo>
                      <a:pt x="1930" y="521"/>
                    </a:lnTo>
                    <a:lnTo>
                      <a:pt x="1938" y="541"/>
                    </a:lnTo>
                    <a:lnTo>
                      <a:pt x="1945" y="561"/>
                    </a:lnTo>
                    <a:lnTo>
                      <a:pt x="1951" y="582"/>
                    </a:lnTo>
                    <a:lnTo>
                      <a:pt x="1955" y="604"/>
                    </a:lnTo>
                    <a:lnTo>
                      <a:pt x="1960" y="626"/>
                    </a:lnTo>
                    <a:lnTo>
                      <a:pt x="1963" y="648"/>
                    </a:lnTo>
                    <a:lnTo>
                      <a:pt x="1964" y="671"/>
                    </a:lnTo>
                    <a:lnTo>
                      <a:pt x="1965" y="694"/>
                    </a:lnTo>
                  </a:path>
                </a:pathLst>
              </a:custGeom>
              <a:grp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77" name="Group 576"/>
              <p:cNvGrpSpPr/>
              <p:nvPr/>
            </p:nvGrpSpPr>
            <p:grpSpPr>
              <a:xfrm>
                <a:off x="9958162" y="3842127"/>
                <a:ext cx="131264" cy="64413"/>
                <a:chOff x="9930806" y="3846035"/>
                <a:chExt cx="131264" cy="64413"/>
              </a:xfrm>
              <a:grpFill/>
            </p:grpSpPr>
            <p:cxnSp>
              <p:nvCxnSpPr>
                <p:cNvPr id="578" name="Straight Connector 577"/>
                <p:cNvCxnSpPr/>
                <p:nvPr/>
              </p:nvCxnSpPr>
              <p:spPr>
                <a:xfrm flipH="1">
                  <a:off x="99308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9" name="Straight Connector 578"/>
                <p:cNvCxnSpPr/>
                <p:nvPr/>
              </p:nvCxnSpPr>
              <p:spPr>
                <a:xfrm flipH="1">
                  <a:off x="9964673"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0" name="Straight Connector 579"/>
                <p:cNvCxnSpPr/>
                <p:nvPr/>
              </p:nvCxnSpPr>
              <p:spPr>
                <a:xfrm flipH="1">
                  <a:off x="9998540"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1" name="Straight Connector 580"/>
                <p:cNvCxnSpPr/>
                <p:nvPr/>
              </p:nvCxnSpPr>
              <p:spPr>
                <a:xfrm flipH="1">
                  <a:off x="100324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548" name="Group 547"/>
            <p:cNvGrpSpPr>
              <a:grpSpLocks noChangeAspect="1"/>
            </p:cNvGrpSpPr>
            <p:nvPr/>
          </p:nvGrpSpPr>
          <p:grpSpPr>
            <a:xfrm>
              <a:off x="1481826" y="1713902"/>
              <a:ext cx="111498" cy="108326"/>
              <a:chOff x="9935552" y="3704492"/>
              <a:chExt cx="207963" cy="202048"/>
            </a:xfrm>
            <a:solidFill>
              <a:schemeClr val="accent1"/>
            </a:solidFill>
          </p:grpSpPr>
          <p:sp>
            <p:nvSpPr>
              <p:cNvPr id="570" name="Freeform 1165"/>
              <p:cNvSpPr>
                <a:spLocks/>
              </p:cNvSpPr>
              <p:nvPr/>
            </p:nvSpPr>
            <p:spPr bwMode="auto">
              <a:xfrm>
                <a:off x="9935552" y="3704492"/>
                <a:ext cx="207963" cy="120650"/>
              </a:xfrm>
              <a:custGeom>
                <a:avLst/>
                <a:gdLst>
                  <a:gd name="T0" fmla="*/ 1963 w 1965"/>
                  <a:gd name="T1" fmla="*/ 735 h 1136"/>
                  <a:gd name="T2" fmla="*/ 1948 w 1965"/>
                  <a:gd name="T3" fmla="*/ 815 h 1136"/>
                  <a:gd name="T4" fmla="*/ 1920 w 1965"/>
                  <a:gd name="T5" fmla="*/ 891 h 1136"/>
                  <a:gd name="T6" fmla="*/ 1878 w 1965"/>
                  <a:gd name="T7" fmla="*/ 959 h 1136"/>
                  <a:gd name="T8" fmla="*/ 1827 w 1965"/>
                  <a:gd name="T9" fmla="*/ 1017 h 1136"/>
                  <a:gd name="T10" fmla="*/ 1765 w 1965"/>
                  <a:gd name="T11" fmla="*/ 1067 h 1136"/>
                  <a:gd name="T12" fmla="*/ 1696 w 1965"/>
                  <a:gd name="T13" fmla="*/ 1104 h 1136"/>
                  <a:gd name="T14" fmla="*/ 1621 w 1965"/>
                  <a:gd name="T15" fmla="*/ 1130 h 1136"/>
                  <a:gd name="T16" fmla="*/ 302 w 1965"/>
                  <a:gd name="T17" fmla="*/ 1136 h 1136"/>
                  <a:gd name="T18" fmla="*/ 256 w 1965"/>
                  <a:gd name="T19" fmla="*/ 1133 h 1136"/>
                  <a:gd name="T20" fmla="*/ 199 w 1965"/>
                  <a:gd name="T21" fmla="*/ 1118 h 1136"/>
                  <a:gd name="T22" fmla="*/ 145 w 1965"/>
                  <a:gd name="T23" fmla="*/ 1092 h 1136"/>
                  <a:gd name="T24" fmla="*/ 98 w 1965"/>
                  <a:gd name="T25" fmla="*/ 1057 h 1136"/>
                  <a:gd name="T26" fmla="*/ 60 w 1965"/>
                  <a:gd name="T27" fmla="*/ 1014 h 1136"/>
                  <a:gd name="T28" fmla="*/ 29 w 1965"/>
                  <a:gd name="T29" fmla="*/ 964 h 1136"/>
                  <a:gd name="T30" fmla="*/ 9 w 1965"/>
                  <a:gd name="T31" fmla="*/ 909 h 1136"/>
                  <a:gd name="T32" fmla="*/ 0 w 1965"/>
                  <a:gd name="T33" fmla="*/ 848 h 1136"/>
                  <a:gd name="T34" fmla="*/ 1 w 1965"/>
                  <a:gd name="T35" fmla="*/ 801 h 1136"/>
                  <a:gd name="T36" fmla="*/ 14 w 1965"/>
                  <a:gd name="T37" fmla="*/ 742 h 1136"/>
                  <a:gd name="T38" fmla="*/ 36 w 1965"/>
                  <a:gd name="T39" fmla="*/ 688 h 1136"/>
                  <a:gd name="T40" fmla="*/ 69 w 1965"/>
                  <a:gd name="T41" fmla="*/ 639 h 1136"/>
                  <a:gd name="T42" fmla="*/ 110 w 1965"/>
                  <a:gd name="T43" fmla="*/ 597 h 1136"/>
                  <a:gd name="T44" fmla="*/ 157 w 1965"/>
                  <a:gd name="T45" fmla="*/ 564 h 1136"/>
                  <a:gd name="T46" fmla="*/ 212 w 1965"/>
                  <a:gd name="T47" fmla="*/ 542 h 1136"/>
                  <a:gd name="T48" fmla="*/ 271 w 1965"/>
                  <a:gd name="T49" fmla="*/ 529 h 1136"/>
                  <a:gd name="T50" fmla="*/ 316 w 1965"/>
                  <a:gd name="T51" fmla="*/ 528 h 1136"/>
                  <a:gd name="T52" fmla="*/ 366 w 1965"/>
                  <a:gd name="T53" fmla="*/ 519 h 1136"/>
                  <a:gd name="T54" fmla="*/ 412 w 1965"/>
                  <a:gd name="T55" fmla="*/ 462 h 1136"/>
                  <a:gd name="T56" fmla="*/ 470 w 1965"/>
                  <a:gd name="T57" fmla="*/ 421 h 1136"/>
                  <a:gd name="T58" fmla="*/ 538 w 1965"/>
                  <a:gd name="T59" fmla="*/ 396 h 1136"/>
                  <a:gd name="T60" fmla="*/ 594 w 1965"/>
                  <a:gd name="T61" fmla="*/ 390 h 1136"/>
                  <a:gd name="T62" fmla="*/ 657 w 1965"/>
                  <a:gd name="T63" fmla="*/ 399 h 1136"/>
                  <a:gd name="T64" fmla="*/ 715 w 1965"/>
                  <a:gd name="T65" fmla="*/ 420 h 1136"/>
                  <a:gd name="T66" fmla="*/ 710 w 1965"/>
                  <a:gd name="T67" fmla="*/ 362 h 1136"/>
                  <a:gd name="T68" fmla="*/ 714 w 1965"/>
                  <a:gd name="T69" fmla="*/ 307 h 1136"/>
                  <a:gd name="T70" fmla="*/ 731 w 1965"/>
                  <a:gd name="T71" fmla="*/ 237 h 1136"/>
                  <a:gd name="T72" fmla="*/ 762 w 1965"/>
                  <a:gd name="T73" fmla="*/ 174 h 1136"/>
                  <a:gd name="T74" fmla="*/ 803 w 1965"/>
                  <a:gd name="T75" fmla="*/ 118 h 1136"/>
                  <a:gd name="T76" fmla="*/ 854 w 1965"/>
                  <a:gd name="T77" fmla="*/ 71 h 1136"/>
                  <a:gd name="T78" fmla="*/ 914 w 1965"/>
                  <a:gd name="T79" fmla="*/ 35 h 1136"/>
                  <a:gd name="T80" fmla="*/ 979 w 1965"/>
                  <a:gd name="T81" fmla="*/ 11 h 1136"/>
                  <a:gd name="T82" fmla="*/ 1051 w 1965"/>
                  <a:gd name="T83" fmla="*/ 0 h 1136"/>
                  <a:gd name="T84" fmla="*/ 1101 w 1965"/>
                  <a:gd name="T85" fmla="*/ 1 h 1136"/>
                  <a:gd name="T86" fmla="*/ 1187 w 1965"/>
                  <a:gd name="T87" fmla="*/ 19 h 1136"/>
                  <a:gd name="T88" fmla="*/ 1289 w 1965"/>
                  <a:gd name="T89" fmla="*/ 76 h 1136"/>
                  <a:gd name="T90" fmla="*/ 1367 w 1965"/>
                  <a:gd name="T91" fmla="*/ 160 h 1136"/>
                  <a:gd name="T92" fmla="*/ 1416 w 1965"/>
                  <a:gd name="T93" fmla="*/ 266 h 1136"/>
                  <a:gd name="T94" fmla="*/ 1496 w 1965"/>
                  <a:gd name="T95" fmla="*/ 251 h 1136"/>
                  <a:gd name="T96" fmla="*/ 1569 w 1965"/>
                  <a:gd name="T97" fmla="*/ 253 h 1136"/>
                  <a:gd name="T98" fmla="*/ 1655 w 1965"/>
                  <a:gd name="T99" fmla="*/ 270 h 1136"/>
                  <a:gd name="T100" fmla="*/ 1734 w 1965"/>
                  <a:gd name="T101" fmla="*/ 304 h 1136"/>
                  <a:gd name="T102" fmla="*/ 1804 w 1965"/>
                  <a:gd name="T103" fmla="*/ 352 h 1136"/>
                  <a:gd name="T104" fmla="*/ 1864 w 1965"/>
                  <a:gd name="T105" fmla="*/ 411 h 1136"/>
                  <a:gd name="T106" fmla="*/ 1911 w 1965"/>
                  <a:gd name="T107" fmla="*/ 483 h 1136"/>
                  <a:gd name="T108" fmla="*/ 1945 w 1965"/>
                  <a:gd name="T109" fmla="*/ 561 h 1136"/>
                  <a:gd name="T110" fmla="*/ 1963 w 1965"/>
                  <a:gd name="T111" fmla="*/ 648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5" h="1136">
                    <a:moveTo>
                      <a:pt x="1965" y="694"/>
                    </a:moveTo>
                    <a:lnTo>
                      <a:pt x="1965" y="694"/>
                    </a:lnTo>
                    <a:lnTo>
                      <a:pt x="1964" y="714"/>
                    </a:lnTo>
                    <a:lnTo>
                      <a:pt x="1963" y="735"/>
                    </a:lnTo>
                    <a:lnTo>
                      <a:pt x="1961" y="756"/>
                    </a:lnTo>
                    <a:lnTo>
                      <a:pt x="1957" y="776"/>
                    </a:lnTo>
                    <a:lnTo>
                      <a:pt x="1952" y="796"/>
                    </a:lnTo>
                    <a:lnTo>
                      <a:pt x="1948" y="815"/>
                    </a:lnTo>
                    <a:lnTo>
                      <a:pt x="1942" y="835"/>
                    </a:lnTo>
                    <a:lnTo>
                      <a:pt x="1935" y="853"/>
                    </a:lnTo>
                    <a:lnTo>
                      <a:pt x="1927" y="872"/>
                    </a:lnTo>
                    <a:lnTo>
                      <a:pt x="1920" y="891"/>
                    </a:lnTo>
                    <a:lnTo>
                      <a:pt x="1910" y="908"/>
                    </a:lnTo>
                    <a:lnTo>
                      <a:pt x="1901" y="926"/>
                    </a:lnTo>
                    <a:lnTo>
                      <a:pt x="1890" y="942"/>
                    </a:lnTo>
                    <a:lnTo>
                      <a:pt x="1878" y="959"/>
                    </a:lnTo>
                    <a:lnTo>
                      <a:pt x="1867" y="973"/>
                    </a:lnTo>
                    <a:lnTo>
                      <a:pt x="1854" y="989"/>
                    </a:lnTo>
                    <a:lnTo>
                      <a:pt x="1840" y="1003"/>
                    </a:lnTo>
                    <a:lnTo>
                      <a:pt x="1827" y="1017"/>
                    </a:lnTo>
                    <a:lnTo>
                      <a:pt x="1812" y="1031"/>
                    </a:lnTo>
                    <a:lnTo>
                      <a:pt x="1797" y="1044"/>
                    </a:lnTo>
                    <a:lnTo>
                      <a:pt x="1781" y="1055"/>
                    </a:lnTo>
                    <a:lnTo>
                      <a:pt x="1765" y="1067"/>
                    </a:lnTo>
                    <a:lnTo>
                      <a:pt x="1748" y="1078"/>
                    </a:lnTo>
                    <a:lnTo>
                      <a:pt x="1732" y="1087"/>
                    </a:lnTo>
                    <a:lnTo>
                      <a:pt x="1715" y="1097"/>
                    </a:lnTo>
                    <a:lnTo>
                      <a:pt x="1696" y="1104"/>
                    </a:lnTo>
                    <a:lnTo>
                      <a:pt x="1678" y="1112"/>
                    </a:lnTo>
                    <a:lnTo>
                      <a:pt x="1659" y="1119"/>
                    </a:lnTo>
                    <a:lnTo>
                      <a:pt x="1640" y="1124"/>
                    </a:lnTo>
                    <a:lnTo>
                      <a:pt x="1621" y="1130"/>
                    </a:lnTo>
                    <a:lnTo>
                      <a:pt x="1601" y="1134"/>
                    </a:lnTo>
                    <a:lnTo>
                      <a:pt x="1580" y="1136"/>
                    </a:lnTo>
                    <a:lnTo>
                      <a:pt x="335" y="1136"/>
                    </a:lnTo>
                    <a:lnTo>
                      <a:pt x="302" y="1136"/>
                    </a:lnTo>
                    <a:lnTo>
                      <a:pt x="302" y="1136"/>
                    </a:lnTo>
                    <a:lnTo>
                      <a:pt x="286" y="1136"/>
                    </a:lnTo>
                    <a:lnTo>
                      <a:pt x="271" y="1135"/>
                    </a:lnTo>
                    <a:lnTo>
                      <a:pt x="256" y="1133"/>
                    </a:lnTo>
                    <a:lnTo>
                      <a:pt x="241" y="1131"/>
                    </a:lnTo>
                    <a:lnTo>
                      <a:pt x="226" y="1126"/>
                    </a:lnTo>
                    <a:lnTo>
                      <a:pt x="212" y="1123"/>
                    </a:lnTo>
                    <a:lnTo>
                      <a:pt x="199" y="1118"/>
                    </a:lnTo>
                    <a:lnTo>
                      <a:pt x="185" y="1113"/>
                    </a:lnTo>
                    <a:lnTo>
                      <a:pt x="171" y="1106"/>
                    </a:lnTo>
                    <a:lnTo>
                      <a:pt x="157" y="1100"/>
                    </a:lnTo>
                    <a:lnTo>
                      <a:pt x="145" y="1092"/>
                    </a:lnTo>
                    <a:lnTo>
                      <a:pt x="133" y="1084"/>
                    </a:lnTo>
                    <a:lnTo>
                      <a:pt x="121" y="1075"/>
                    </a:lnTo>
                    <a:lnTo>
                      <a:pt x="110" y="1067"/>
                    </a:lnTo>
                    <a:lnTo>
                      <a:pt x="98" y="1057"/>
                    </a:lnTo>
                    <a:lnTo>
                      <a:pt x="89" y="1048"/>
                    </a:lnTo>
                    <a:lnTo>
                      <a:pt x="78" y="1037"/>
                    </a:lnTo>
                    <a:lnTo>
                      <a:pt x="69" y="1025"/>
                    </a:lnTo>
                    <a:lnTo>
                      <a:pt x="60" y="1014"/>
                    </a:lnTo>
                    <a:lnTo>
                      <a:pt x="52" y="1002"/>
                    </a:lnTo>
                    <a:lnTo>
                      <a:pt x="43" y="989"/>
                    </a:lnTo>
                    <a:lnTo>
                      <a:pt x="36" y="977"/>
                    </a:lnTo>
                    <a:lnTo>
                      <a:pt x="29" y="964"/>
                    </a:lnTo>
                    <a:lnTo>
                      <a:pt x="23" y="950"/>
                    </a:lnTo>
                    <a:lnTo>
                      <a:pt x="18" y="936"/>
                    </a:lnTo>
                    <a:lnTo>
                      <a:pt x="14" y="922"/>
                    </a:lnTo>
                    <a:lnTo>
                      <a:pt x="9" y="909"/>
                    </a:lnTo>
                    <a:lnTo>
                      <a:pt x="5" y="894"/>
                    </a:lnTo>
                    <a:lnTo>
                      <a:pt x="3" y="879"/>
                    </a:lnTo>
                    <a:lnTo>
                      <a:pt x="1" y="863"/>
                    </a:lnTo>
                    <a:lnTo>
                      <a:pt x="0" y="848"/>
                    </a:lnTo>
                    <a:lnTo>
                      <a:pt x="0" y="832"/>
                    </a:lnTo>
                    <a:lnTo>
                      <a:pt x="0" y="832"/>
                    </a:lnTo>
                    <a:lnTo>
                      <a:pt x="0" y="816"/>
                    </a:lnTo>
                    <a:lnTo>
                      <a:pt x="1" y="801"/>
                    </a:lnTo>
                    <a:lnTo>
                      <a:pt x="3" y="785"/>
                    </a:lnTo>
                    <a:lnTo>
                      <a:pt x="5" y="770"/>
                    </a:lnTo>
                    <a:lnTo>
                      <a:pt x="9" y="757"/>
                    </a:lnTo>
                    <a:lnTo>
                      <a:pt x="14" y="742"/>
                    </a:lnTo>
                    <a:lnTo>
                      <a:pt x="18" y="728"/>
                    </a:lnTo>
                    <a:lnTo>
                      <a:pt x="23" y="714"/>
                    </a:lnTo>
                    <a:lnTo>
                      <a:pt x="29" y="700"/>
                    </a:lnTo>
                    <a:lnTo>
                      <a:pt x="36" y="688"/>
                    </a:lnTo>
                    <a:lnTo>
                      <a:pt x="43" y="675"/>
                    </a:lnTo>
                    <a:lnTo>
                      <a:pt x="52" y="662"/>
                    </a:lnTo>
                    <a:lnTo>
                      <a:pt x="60" y="650"/>
                    </a:lnTo>
                    <a:lnTo>
                      <a:pt x="69" y="639"/>
                    </a:lnTo>
                    <a:lnTo>
                      <a:pt x="78" y="628"/>
                    </a:lnTo>
                    <a:lnTo>
                      <a:pt x="89" y="617"/>
                    </a:lnTo>
                    <a:lnTo>
                      <a:pt x="98" y="607"/>
                    </a:lnTo>
                    <a:lnTo>
                      <a:pt x="110" y="597"/>
                    </a:lnTo>
                    <a:lnTo>
                      <a:pt x="121" y="589"/>
                    </a:lnTo>
                    <a:lnTo>
                      <a:pt x="133" y="580"/>
                    </a:lnTo>
                    <a:lnTo>
                      <a:pt x="145" y="572"/>
                    </a:lnTo>
                    <a:lnTo>
                      <a:pt x="157" y="564"/>
                    </a:lnTo>
                    <a:lnTo>
                      <a:pt x="171" y="558"/>
                    </a:lnTo>
                    <a:lnTo>
                      <a:pt x="185" y="552"/>
                    </a:lnTo>
                    <a:lnTo>
                      <a:pt x="199" y="546"/>
                    </a:lnTo>
                    <a:lnTo>
                      <a:pt x="212" y="542"/>
                    </a:lnTo>
                    <a:lnTo>
                      <a:pt x="226" y="538"/>
                    </a:lnTo>
                    <a:lnTo>
                      <a:pt x="241" y="535"/>
                    </a:lnTo>
                    <a:lnTo>
                      <a:pt x="256" y="531"/>
                    </a:lnTo>
                    <a:lnTo>
                      <a:pt x="271" y="529"/>
                    </a:lnTo>
                    <a:lnTo>
                      <a:pt x="286" y="528"/>
                    </a:lnTo>
                    <a:lnTo>
                      <a:pt x="302" y="528"/>
                    </a:lnTo>
                    <a:lnTo>
                      <a:pt x="302" y="528"/>
                    </a:lnTo>
                    <a:lnTo>
                      <a:pt x="316" y="528"/>
                    </a:lnTo>
                    <a:lnTo>
                      <a:pt x="331" y="529"/>
                    </a:lnTo>
                    <a:lnTo>
                      <a:pt x="358" y="534"/>
                    </a:lnTo>
                    <a:lnTo>
                      <a:pt x="358" y="534"/>
                    </a:lnTo>
                    <a:lnTo>
                      <a:pt x="366" y="519"/>
                    </a:lnTo>
                    <a:lnTo>
                      <a:pt x="377" y="503"/>
                    </a:lnTo>
                    <a:lnTo>
                      <a:pt x="388" y="489"/>
                    </a:lnTo>
                    <a:lnTo>
                      <a:pt x="399" y="475"/>
                    </a:lnTo>
                    <a:lnTo>
                      <a:pt x="412" y="462"/>
                    </a:lnTo>
                    <a:lnTo>
                      <a:pt x="426" y="451"/>
                    </a:lnTo>
                    <a:lnTo>
                      <a:pt x="439" y="440"/>
                    </a:lnTo>
                    <a:lnTo>
                      <a:pt x="454" y="430"/>
                    </a:lnTo>
                    <a:lnTo>
                      <a:pt x="470" y="421"/>
                    </a:lnTo>
                    <a:lnTo>
                      <a:pt x="486" y="413"/>
                    </a:lnTo>
                    <a:lnTo>
                      <a:pt x="503" y="406"/>
                    </a:lnTo>
                    <a:lnTo>
                      <a:pt x="520" y="401"/>
                    </a:lnTo>
                    <a:lnTo>
                      <a:pt x="538" y="396"/>
                    </a:lnTo>
                    <a:lnTo>
                      <a:pt x="557" y="393"/>
                    </a:lnTo>
                    <a:lnTo>
                      <a:pt x="575" y="391"/>
                    </a:lnTo>
                    <a:lnTo>
                      <a:pt x="594" y="390"/>
                    </a:lnTo>
                    <a:lnTo>
                      <a:pt x="594" y="390"/>
                    </a:lnTo>
                    <a:lnTo>
                      <a:pt x="611" y="391"/>
                    </a:lnTo>
                    <a:lnTo>
                      <a:pt x="626" y="392"/>
                    </a:lnTo>
                    <a:lnTo>
                      <a:pt x="642" y="395"/>
                    </a:lnTo>
                    <a:lnTo>
                      <a:pt x="657" y="399"/>
                    </a:lnTo>
                    <a:lnTo>
                      <a:pt x="672" y="403"/>
                    </a:lnTo>
                    <a:lnTo>
                      <a:pt x="687" y="408"/>
                    </a:lnTo>
                    <a:lnTo>
                      <a:pt x="701" y="413"/>
                    </a:lnTo>
                    <a:lnTo>
                      <a:pt x="715" y="420"/>
                    </a:lnTo>
                    <a:lnTo>
                      <a:pt x="715" y="420"/>
                    </a:lnTo>
                    <a:lnTo>
                      <a:pt x="711" y="391"/>
                    </a:lnTo>
                    <a:lnTo>
                      <a:pt x="710" y="376"/>
                    </a:lnTo>
                    <a:lnTo>
                      <a:pt x="710" y="362"/>
                    </a:lnTo>
                    <a:lnTo>
                      <a:pt x="710" y="362"/>
                    </a:lnTo>
                    <a:lnTo>
                      <a:pt x="710" y="343"/>
                    </a:lnTo>
                    <a:lnTo>
                      <a:pt x="711" y="325"/>
                    </a:lnTo>
                    <a:lnTo>
                      <a:pt x="714" y="307"/>
                    </a:lnTo>
                    <a:lnTo>
                      <a:pt x="717" y="289"/>
                    </a:lnTo>
                    <a:lnTo>
                      <a:pt x="720" y="271"/>
                    </a:lnTo>
                    <a:lnTo>
                      <a:pt x="726" y="254"/>
                    </a:lnTo>
                    <a:lnTo>
                      <a:pt x="731" y="237"/>
                    </a:lnTo>
                    <a:lnTo>
                      <a:pt x="737" y="221"/>
                    </a:lnTo>
                    <a:lnTo>
                      <a:pt x="745" y="205"/>
                    </a:lnTo>
                    <a:lnTo>
                      <a:pt x="753" y="189"/>
                    </a:lnTo>
                    <a:lnTo>
                      <a:pt x="762" y="174"/>
                    </a:lnTo>
                    <a:lnTo>
                      <a:pt x="771" y="160"/>
                    </a:lnTo>
                    <a:lnTo>
                      <a:pt x="781" y="146"/>
                    </a:lnTo>
                    <a:lnTo>
                      <a:pt x="791" y="132"/>
                    </a:lnTo>
                    <a:lnTo>
                      <a:pt x="803" y="118"/>
                    </a:lnTo>
                    <a:lnTo>
                      <a:pt x="814" y="105"/>
                    </a:lnTo>
                    <a:lnTo>
                      <a:pt x="827" y="94"/>
                    </a:lnTo>
                    <a:lnTo>
                      <a:pt x="841" y="82"/>
                    </a:lnTo>
                    <a:lnTo>
                      <a:pt x="854" y="71"/>
                    </a:lnTo>
                    <a:lnTo>
                      <a:pt x="868" y="62"/>
                    </a:lnTo>
                    <a:lnTo>
                      <a:pt x="883" y="52"/>
                    </a:lnTo>
                    <a:lnTo>
                      <a:pt x="898" y="44"/>
                    </a:lnTo>
                    <a:lnTo>
                      <a:pt x="914" y="35"/>
                    </a:lnTo>
                    <a:lnTo>
                      <a:pt x="930" y="28"/>
                    </a:lnTo>
                    <a:lnTo>
                      <a:pt x="945" y="21"/>
                    </a:lnTo>
                    <a:lnTo>
                      <a:pt x="962" y="16"/>
                    </a:lnTo>
                    <a:lnTo>
                      <a:pt x="979" y="11"/>
                    </a:lnTo>
                    <a:lnTo>
                      <a:pt x="997" y="8"/>
                    </a:lnTo>
                    <a:lnTo>
                      <a:pt x="1015" y="4"/>
                    </a:lnTo>
                    <a:lnTo>
                      <a:pt x="1033" y="1"/>
                    </a:lnTo>
                    <a:lnTo>
                      <a:pt x="1051" y="0"/>
                    </a:lnTo>
                    <a:lnTo>
                      <a:pt x="1070" y="0"/>
                    </a:lnTo>
                    <a:lnTo>
                      <a:pt x="1070" y="0"/>
                    </a:lnTo>
                    <a:lnTo>
                      <a:pt x="1085" y="0"/>
                    </a:lnTo>
                    <a:lnTo>
                      <a:pt x="1101" y="1"/>
                    </a:lnTo>
                    <a:lnTo>
                      <a:pt x="1116" y="2"/>
                    </a:lnTo>
                    <a:lnTo>
                      <a:pt x="1130" y="4"/>
                    </a:lnTo>
                    <a:lnTo>
                      <a:pt x="1159" y="11"/>
                    </a:lnTo>
                    <a:lnTo>
                      <a:pt x="1187" y="19"/>
                    </a:lnTo>
                    <a:lnTo>
                      <a:pt x="1215" y="31"/>
                    </a:lnTo>
                    <a:lnTo>
                      <a:pt x="1240" y="44"/>
                    </a:lnTo>
                    <a:lnTo>
                      <a:pt x="1266" y="59"/>
                    </a:lnTo>
                    <a:lnTo>
                      <a:pt x="1289" y="76"/>
                    </a:lnTo>
                    <a:lnTo>
                      <a:pt x="1311" y="94"/>
                    </a:lnTo>
                    <a:lnTo>
                      <a:pt x="1331" y="114"/>
                    </a:lnTo>
                    <a:lnTo>
                      <a:pt x="1350" y="136"/>
                    </a:lnTo>
                    <a:lnTo>
                      <a:pt x="1367" y="160"/>
                    </a:lnTo>
                    <a:lnTo>
                      <a:pt x="1382" y="184"/>
                    </a:lnTo>
                    <a:lnTo>
                      <a:pt x="1396" y="211"/>
                    </a:lnTo>
                    <a:lnTo>
                      <a:pt x="1406" y="237"/>
                    </a:lnTo>
                    <a:lnTo>
                      <a:pt x="1416" y="266"/>
                    </a:lnTo>
                    <a:lnTo>
                      <a:pt x="1416" y="266"/>
                    </a:lnTo>
                    <a:lnTo>
                      <a:pt x="1442" y="259"/>
                    </a:lnTo>
                    <a:lnTo>
                      <a:pt x="1468" y="254"/>
                    </a:lnTo>
                    <a:lnTo>
                      <a:pt x="1496" y="251"/>
                    </a:lnTo>
                    <a:lnTo>
                      <a:pt x="1524" y="250"/>
                    </a:lnTo>
                    <a:lnTo>
                      <a:pt x="1524" y="250"/>
                    </a:lnTo>
                    <a:lnTo>
                      <a:pt x="1547" y="251"/>
                    </a:lnTo>
                    <a:lnTo>
                      <a:pt x="1569" y="253"/>
                    </a:lnTo>
                    <a:lnTo>
                      <a:pt x="1591" y="255"/>
                    </a:lnTo>
                    <a:lnTo>
                      <a:pt x="1613" y="259"/>
                    </a:lnTo>
                    <a:lnTo>
                      <a:pt x="1634" y="265"/>
                    </a:lnTo>
                    <a:lnTo>
                      <a:pt x="1655" y="270"/>
                    </a:lnTo>
                    <a:lnTo>
                      <a:pt x="1676" y="277"/>
                    </a:lnTo>
                    <a:lnTo>
                      <a:pt x="1696" y="285"/>
                    </a:lnTo>
                    <a:lnTo>
                      <a:pt x="1715" y="294"/>
                    </a:lnTo>
                    <a:lnTo>
                      <a:pt x="1734" y="304"/>
                    </a:lnTo>
                    <a:lnTo>
                      <a:pt x="1753" y="315"/>
                    </a:lnTo>
                    <a:lnTo>
                      <a:pt x="1771" y="326"/>
                    </a:lnTo>
                    <a:lnTo>
                      <a:pt x="1788" y="338"/>
                    </a:lnTo>
                    <a:lnTo>
                      <a:pt x="1804" y="352"/>
                    </a:lnTo>
                    <a:lnTo>
                      <a:pt x="1820" y="366"/>
                    </a:lnTo>
                    <a:lnTo>
                      <a:pt x="1836" y="381"/>
                    </a:lnTo>
                    <a:lnTo>
                      <a:pt x="1850" y="395"/>
                    </a:lnTo>
                    <a:lnTo>
                      <a:pt x="1864" y="411"/>
                    </a:lnTo>
                    <a:lnTo>
                      <a:pt x="1877" y="428"/>
                    </a:lnTo>
                    <a:lnTo>
                      <a:pt x="1889" y="445"/>
                    </a:lnTo>
                    <a:lnTo>
                      <a:pt x="1901" y="463"/>
                    </a:lnTo>
                    <a:lnTo>
                      <a:pt x="1911" y="483"/>
                    </a:lnTo>
                    <a:lnTo>
                      <a:pt x="1922" y="502"/>
                    </a:lnTo>
                    <a:lnTo>
                      <a:pt x="1930" y="521"/>
                    </a:lnTo>
                    <a:lnTo>
                      <a:pt x="1938" y="541"/>
                    </a:lnTo>
                    <a:lnTo>
                      <a:pt x="1945" y="561"/>
                    </a:lnTo>
                    <a:lnTo>
                      <a:pt x="1951" y="582"/>
                    </a:lnTo>
                    <a:lnTo>
                      <a:pt x="1955" y="604"/>
                    </a:lnTo>
                    <a:lnTo>
                      <a:pt x="1960" y="626"/>
                    </a:lnTo>
                    <a:lnTo>
                      <a:pt x="1963" y="648"/>
                    </a:lnTo>
                    <a:lnTo>
                      <a:pt x="1964" y="671"/>
                    </a:lnTo>
                    <a:lnTo>
                      <a:pt x="1965" y="694"/>
                    </a:lnTo>
                  </a:path>
                </a:pathLst>
              </a:custGeom>
              <a:grp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71" name="Group 570"/>
              <p:cNvGrpSpPr/>
              <p:nvPr/>
            </p:nvGrpSpPr>
            <p:grpSpPr>
              <a:xfrm>
                <a:off x="9958162" y="3842127"/>
                <a:ext cx="131264" cy="64413"/>
                <a:chOff x="9930806" y="3846035"/>
                <a:chExt cx="131264" cy="64413"/>
              </a:xfrm>
              <a:grpFill/>
            </p:grpSpPr>
            <p:cxnSp>
              <p:nvCxnSpPr>
                <p:cNvPr id="572" name="Straight Connector 571"/>
                <p:cNvCxnSpPr/>
                <p:nvPr/>
              </p:nvCxnSpPr>
              <p:spPr>
                <a:xfrm flipH="1">
                  <a:off x="99308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3" name="Straight Connector 572"/>
                <p:cNvCxnSpPr/>
                <p:nvPr/>
              </p:nvCxnSpPr>
              <p:spPr>
                <a:xfrm flipH="1">
                  <a:off x="9964673"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4" name="Straight Connector 573"/>
                <p:cNvCxnSpPr/>
                <p:nvPr/>
              </p:nvCxnSpPr>
              <p:spPr>
                <a:xfrm flipH="1">
                  <a:off x="9998540"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5" name="Straight Connector 574"/>
                <p:cNvCxnSpPr/>
                <p:nvPr/>
              </p:nvCxnSpPr>
              <p:spPr>
                <a:xfrm flipH="1">
                  <a:off x="100324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549" name="Group 548"/>
            <p:cNvGrpSpPr>
              <a:grpSpLocks noChangeAspect="1"/>
            </p:cNvGrpSpPr>
            <p:nvPr/>
          </p:nvGrpSpPr>
          <p:grpSpPr>
            <a:xfrm>
              <a:off x="1634226" y="1713902"/>
              <a:ext cx="111498" cy="108326"/>
              <a:chOff x="9935552" y="3704492"/>
              <a:chExt cx="207963" cy="202048"/>
            </a:xfrm>
            <a:solidFill>
              <a:schemeClr val="accent1"/>
            </a:solidFill>
          </p:grpSpPr>
          <p:sp>
            <p:nvSpPr>
              <p:cNvPr id="564" name="Freeform 1165"/>
              <p:cNvSpPr>
                <a:spLocks/>
              </p:cNvSpPr>
              <p:nvPr/>
            </p:nvSpPr>
            <p:spPr bwMode="auto">
              <a:xfrm>
                <a:off x="9935552" y="3704492"/>
                <a:ext cx="207963" cy="120650"/>
              </a:xfrm>
              <a:custGeom>
                <a:avLst/>
                <a:gdLst>
                  <a:gd name="T0" fmla="*/ 1963 w 1965"/>
                  <a:gd name="T1" fmla="*/ 735 h 1136"/>
                  <a:gd name="T2" fmla="*/ 1948 w 1965"/>
                  <a:gd name="T3" fmla="*/ 815 h 1136"/>
                  <a:gd name="T4" fmla="*/ 1920 w 1965"/>
                  <a:gd name="T5" fmla="*/ 891 h 1136"/>
                  <a:gd name="T6" fmla="*/ 1878 w 1965"/>
                  <a:gd name="T7" fmla="*/ 959 h 1136"/>
                  <a:gd name="T8" fmla="*/ 1827 w 1965"/>
                  <a:gd name="T9" fmla="*/ 1017 h 1136"/>
                  <a:gd name="T10" fmla="*/ 1765 w 1965"/>
                  <a:gd name="T11" fmla="*/ 1067 h 1136"/>
                  <a:gd name="T12" fmla="*/ 1696 w 1965"/>
                  <a:gd name="T13" fmla="*/ 1104 h 1136"/>
                  <a:gd name="T14" fmla="*/ 1621 w 1965"/>
                  <a:gd name="T15" fmla="*/ 1130 h 1136"/>
                  <a:gd name="T16" fmla="*/ 302 w 1965"/>
                  <a:gd name="T17" fmla="*/ 1136 h 1136"/>
                  <a:gd name="T18" fmla="*/ 256 w 1965"/>
                  <a:gd name="T19" fmla="*/ 1133 h 1136"/>
                  <a:gd name="T20" fmla="*/ 199 w 1965"/>
                  <a:gd name="T21" fmla="*/ 1118 h 1136"/>
                  <a:gd name="T22" fmla="*/ 145 w 1965"/>
                  <a:gd name="T23" fmla="*/ 1092 h 1136"/>
                  <a:gd name="T24" fmla="*/ 98 w 1965"/>
                  <a:gd name="T25" fmla="*/ 1057 h 1136"/>
                  <a:gd name="T26" fmla="*/ 60 w 1965"/>
                  <a:gd name="T27" fmla="*/ 1014 h 1136"/>
                  <a:gd name="T28" fmla="*/ 29 w 1965"/>
                  <a:gd name="T29" fmla="*/ 964 h 1136"/>
                  <a:gd name="T30" fmla="*/ 9 w 1965"/>
                  <a:gd name="T31" fmla="*/ 909 h 1136"/>
                  <a:gd name="T32" fmla="*/ 0 w 1965"/>
                  <a:gd name="T33" fmla="*/ 848 h 1136"/>
                  <a:gd name="T34" fmla="*/ 1 w 1965"/>
                  <a:gd name="T35" fmla="*/ 801 h 1136"/>
                  <a:gd name="T36" fmla="*/ 14 w 1965"/>
                  <a:gd name="T37" fmla="*/ 742 h 1136"/>
                  <a:gd name="T38" fmla="*/ 36 w 1965"/>
                  <a:gd name="T39" fmla="*/ 688 h 1136"/>
                  <a:gd name="T40" fmla="*/ 69 w 1965"/>
                  <a:gd name="T41" fmla="*/ 639 h 1136"/>
                  <a:gd name="T42" fmla="*/ 110 w 1965"/>
                  <a:gd name="T43" fmla="*/ 597 h 1136"/>
                  <a:gd name="T44" fmla="*/ 157 w 1965"/>
                  <a:gd name="T45" fmla="*/ 564 h 1136"/>
                  <a:gd name="T46" fmla="*/ 212 w 1965"/>
                  <a:gd name="T47" fmla="*/ 542 h 1136"/>
                  <a:gd name="T48" fmla="*/ 271 w 1965"/>
                  <a:gd name="T49" fmla="*/ 529 h 1136"/>
                  <a:gd name="T50" fmla="*/ 316 w 1965"/>
                  <a:gd name="T51" fmla="*/ 528 h 1136"/>
                  <a:gd name="T52" fmla="*/ 366 w 1965"/>
                  <a:gd name="T53" fmla="*/ 519 h 1136"/>
                  <a:gd name="T54" fmla="*/ 412 w 1965"/>
                  <a:gd name="T55" fmla="*/ 462 h 1136"/>
                  <a:gd name="T56" fmla="*/ 470 w 1965"/>
                  <a:gd name="T57" fmla="*/ 421 h 1136"/>
                  <a:gd name="T58" fmla="*/ 538 w 1965"/>
                  <a:gd name="T59" fmla="*/ 396 h 1136"/>
                  <a:gd name="T60" fmla="*/ 594 w 1965"/>
                  <a:gd name="T61" fmla="*/ 390 h 1136"/>
                  <a:gd name="T62" fmla="*/ 657 w 1965"/>
                  <a:gd name="T63" fmla="*/ 399 h 1136"/>
                  <a:gd name="T64" fmla="*/ 715 w 1965"/>
                  <a:gd name="T65" fmla="*/ 420 h 1136"/>
                  <a:gd name="T66" fmla="*/ 710 w 1965"/>
                  <a:gd name="T67" fmla="*/ 362 h 1136"/>
                  <a:gd name="T68" fmla="*/ 714 w 1965"/>
                  <a:gd name="T69" fmla="*/ 307 h 1136"/>
                  <a:gd name="T70" fmla="*/ 731 w 1965"/>
                  <a:gd name="T71" fmla="*/ 237 h 1136"/>
                  <a:gd name="T72" fmla="*/ 762 w 1965"/>
                  <a:gd name="T73" fmla="*/ 174 h 1136"/>
                  <a:gd name="T74" fmla="*/ 803 w 1965"/>
                  <a:gd name="T75" fmla="*/ 118 h 1136"/>
                  <a:gd name="T76" fmla="*/ 854 w 1965"/>
                  <a:gd name="T77" fmla="*/ 71 h 1136"/>
                  <a:gd name="T78" fmla="*/ 914 w 1965"/>
                  <a:gd name="T79" fmla="*/ 35 h 1136"/>
                  <a:gd name="T80" fmla="*/ 979 w 1965"/>
                  <a:gd name="T81" fmla="*/ 11 h 1136"/>
                  <a:gd name="T82" fmla="*/ 1051 w 1965"/>
                  <a:gd name="T83" fmla="*/ 0 h 1136"/>
                  <a:gd name="T84" fmla="*/ 1101 w 1965"/>
                  <a:gd name="T85" fmla="*/ 1 h 1136"/>
                  <a:gd name="T86" fmla="*/ 1187 w 1965"/>
                  <a:gd name="T87" fmla="*/ 19 h 1136"/>
                  <a:gd name="T88" fmla="*/ 1289 w 1965"/>
                  <a:gd name="T89" fmla="*/ 76 h 1136"/>
                  <a:gd name="T90" fmla="*/ 1367 w 1965"/>
                  <a:gd name="T91" fmla="*/ 160 h 1136"/>
                  <a:gd name="T92" fmla="*/ 1416 w 1965"/>
                  <a:gd name="T93" fmla="*/ 266 h 1136"/>
                  <a:gd name="T94" fmla="*/ 1496 w 1965"/>
                  <a:gd name="T95" fmla="*/ 251 h 1136"/>
                  <a:gd name="T96" fmla="*/ 1569 w 1965"/>
                  <a:gd name="T97" fmla="*/ 253 h 1136"/>
                  <a:gd name="T98" fmla="*/ 1655 w 1965"/>
                  <a:gd name="T99" fmla="*/ 270 h 1136"/>
                  <a:gd name="T100" fmla="*/ 1734 w 1965"/>
                  <a:gd name="T101" fmla="*/ 304 h 1136"/>
                  <a:gd name="T102" fmla="*/ 1804 w 1965"/>
                  <a:gd name="T103" fmla="*/ 352 h 1136"/>
                  <a:gd name="T104" fmla="*/ 1864 w 1965"/>
                  <a:gd name="T105" fmla="*/ 411 h 1136"/>
                  <a:gd name="T106" fmla="*/ 1911 w 1965"/>
                  <a:gd name="T107" fmla="*/ 483 h 1136"/>
                  <a:gd name="T108" fmla="*/ 1945 w 1965"/>
                  <a:gd name="T109" fmla="*/ 561 h 1136"/>
                  <a:gd name="T110" fmla="*/ 1963 w 1965"/>
                  <a:gd name="T111" fmla="*/ 648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5" h="1136">
                    <a:moveTo>
                      <a:pt x="1965" y="694"/>
                    </a:moveTo>
                    <a:lnTo>
                      <a:pt x="1965" y="694"/>
                    </a:lnTo>
                    <a:lnTo>
                      <a:pt x="1964" y="714"/>
                    </a:lnTo>
                    <a:lnTo>
                      <a:pt x="1963" y="735"/>
                    </a:lnTo>
                    <a:lnTo>
                      <a:pt x="1961" y="756"/>
                    </a:lnTo>
                    <a:lnTo>
                      <a:pt x="1957" y="776"/>
                    </a:lnTo>
                    <a:lnTo>
                      <a:pt x="1952" y="796"/>
                    </a:lnTo>
                    <a:lnTo>
                      <a:pt x="1948" y="815"/>
                    </a:lnTo>
                    <a:lnTo>
                      <a:pt x="1942" y="835"/>
                    </a:lnTo>
                    <a:lnTo>
                      <a:pt x="1935" y="853"/>
                    </a:lnTo>
                    <a:lnTo>
                      <a:pt x="1927" y="872"/>
                    </a:lnTo>
                    <a:lnTo>
                      <a:pt x="1920" y="891"/>
                    </a:lnTo>
                    <a:lnTo>
                      <a:pt x="1910" y="908"/>
                    </a:lnTo>
                    <a:lnTo>
                      <a:pt x="1901" y="926"/>
                    </a:lnTo>
                    <a:lnTo>
                      <a:pt x="1890" y="942"/>
                    </a:lnTo>
                    <a:lnTo>
                      <a:pt x="1878" y="959"/>
                    </a:lnTo>
                    <a:lnTo>
                      <a:pt x="1867" y="973"/>
                    </a:lnTo>
                    <a:lnTo>
                      <a:pt x="1854" y="989"/>
                    </a:lnTo>
                    <a:lnTo>
                      <a:pt x="1840" y="1003"/>
                    </a:lnTo>
                    <a:lnTo>
                      <a:pt x="1827" y="1017"/>
                    </a:lnTo>
                    <a:lnTo>
                      <a:pt x="1812" y="1031"/>
                    </a:lnTo>
                    <a:lnTo>
                      <a:pt x="1797" y="1044"/>
                    </a:lnTo>
                    <a:lnTo>
                      <a:pt x="1781" y="1055"/>
                    </a:lnTo>
                    <a:lnTo>
                      <a:pt x="1765" y="1067"/>
                    </a:lnTo>
                    <a:lnTo>
                      <a:pt x="1748" y="1078"/>
                    </a:lnTo>
                    <a:lnTo>
                      <a:pt x="1732" y="1087"/>
                    </a:lnTo>
                    <a:lnTo>
                      <a:pt x="1715" y="1097"/>
                    </a:lnTo>
                    <a:lnTo>
                      <a:pt x="1696" y="1104"/>
                    </a:lnTo>
                    <a:lnTo>
                      <a:pt x="1678" y="1112"/>
                    </a:lnTo>
                    <a:lnTo>
                      <a:pt x="1659" y="1119"/>
                    </a:lnTo>
                    <a:lnTo>
                      <a:pt x="1640" y="1124"/>
                    </a:lnTo>
                    <a:lnTo>
                      <a:pt x="1621" y="1130"/>
                    </a:lnTo>
                    <a:lnTo>
                      <a:pt x="1601" y="1134"/>
                    </a:lnTo>
                    <a:lnTo>
                      <a:pt x="1580" y="1136"/>
                    </a:lnTo>
                    <a:lnTo>
                      <a:pt x="335" y="1136"/>
                    </a:lnTo>
                    <a:lnTo>
                      <a:pt x="302" y="1136"/>
                    </a:lnTo>
                    <a:lnTo>
                      <a:pt x="302" y="1136"/>
                    </a:lnTo>
                    <a:lnTo>
                      <a:pt x="286" y="1136"/>
                    </a:lnTo>
                    <a:lnTo>
                      <a:pt x="271" y="1135"/>
                    </a:lnTo>
                    <a:lnTo>
                      <a:pt x="256" y="1133"/>
                    </a:lnTo>
                    <a:lnTo>
                      <a:pt x="241" y="1131"/>
                    </a:lnTo>
                    <a:lnTo>
                      <a:pt x="226" y="1126"/>
                    </a:lnTo>
                    <a:lnTo>
                      <a:pt x="212" y="1123"/>
                    </a:lnTo>
                    <a:lnTo>
                      <a:pt x="199" y="1118"/>
                    </a:lnTo>
                    <a:lnTo>
                      <a:pt x="185" y="1113"/>
                    </a:lnTo>
                    <a:lnTo>
                      <a:pt x="171" y="1106"/>
                    </a:lnTo>
                    <a:lnTo>
                      <a:pt x="157" y="1100"/>
                    </a:lnTo>
                    <a:lnTo>
                      <a:pt x="145" y="1092"/>
                    </a:lnTo>
                    <a:lnTo>
                      <a:pt x="133" y="1084"/>
                    </a:lnTo>
                    <a:lnTo>
                      <a:pt x="121" y="1075"/>
                    </a:lnTo>
                    <a:lnTo>
                      <a:pt x="110" y="1067"/>
                    </a:lnTo>
                    <a:lnTo>
                      <a:pt x="98" y="1057"/>
                    </a:lnTo>
                    <a:lnTo>
                      <a:pt x="89" y="1048"/>
                    </a:lnTo>
                    <a:lnTo>
                      <a:pt x="78" y="1037"/>
                    </a:lnTo>
                    <a:lnTo>
                      <a:pt x="69" y="1025"/>
                    </a:lnTo>
                    <a:lnTo>
                      <a:pt x="60" y="1014"/>
                    </a:lnTo>
                    <a:lnTo>
                      <a:pt x="52" y="1002"/>
                    </a:lnTo>
                    <a:lnTo>
                      <a:pt x="43" y="989"/>
                    </a:lnTo>
                    <a:lnTo>
                      <a:pt x="36" y="977"/>
                    </a:lnTo>
                    <a:lnTo>
                      <a:pt x="29" y="964"/>
                    </a:lnTo>
                    <a:lnTo>
                      <a:pt x="23" y="950"/>
                    </a:lnTo>
                    <a:lnTo>
                      <a:pt x="18" y="936"/>
                    </a:lnTo>
                    <a:lnTo>
                      <a:pt x="14" y="922"/>
                    </a:lnTo>
                    <a:lnTo>
                      <a:pt x="9" y="909"/>
                    </a:lnTo>
                    <a:lnTo>
                      <a:pt x="5" y="894"/>
                    </a:lnTo>
                    <a:lnTo>
                      <a:pt x="3" y="879"/>
                    </a:lnTo>
                    <a:lnTo>
                      <a:pt x="1" y="863"/>
                    </a:lnTo>
                    <a:lnTo>
                      <a:pt x="0" y="848"/>
                    </a:lnTo>
                    <a:lnTo>
                      <a:pt x="0" y="832"/>
                    </a:lnTo>
                    <a:lnTo>
                      <a:pt x="0" y="832"/>
                    </a:lnTo>
                    <a:lnTo>
                      <a:pt x="0" y="816"/>
                    </a:lnTo>
                    <a:lnTo>
                      <a:pt x="1" y="801"/>
                    </a:lnTo>
                    <a:lnTo>
                      <a:pt x="3" y="785"/>
                    </a:lnTo>
                    <a:lnTo>
                      <a:pt x="5" y="770"/>
                    </a:lnTo>
                    <a:lnTo>
                      <a:pt x="9" y="757"/>
                    </a:lnTo>
                    <a:lnTo>
                      <a:pt x="14" y="742"/>
                    </a:lnTo>
                    <a:lnTo>
                      <a:pt x="18" y="728"/>
                    </a:lnTo>
                    <a:lnTo>
                      <a:pt x="23" y="714"/>
                    </a:lnTo>
                    <a:lnTo>
                      <a:pt x="29" y="700"/>
                    </a:lnTo>
                    <a:lnTo>
                      <a:pt x="36" y="688"/>
                    </a:lnTo>
                    <a:lnTo>
                      <a:pt x="43" y="675"/>
                    </a:lnTo>
                    <a:lnTo>
                      <a:pt x="52" y="662"/>
                    </a:lnTo>
                    <a:lnTo>
                      <a:pt x="60" y="650"/>
                    </a:lnTo>
                    <a:lnTo>
                      <a:pt x="69" y="639"/>
                    </a:lnTo>
                    <a:lnTo>
                      <a:pt x="78" y="628"/>
                    </a:lnTo>
                    <a:lnTo>
                      <a:pt x="89" y="617"/>
                    </a:lnTo>
                    <a:lnTo>
                      <a:pt x="98" y="607"/>
                    </a:lnTo>
                    <a:lnTo>
                      <a:pt x="110" y="597"/>
                    </a:lnTo>
                    <a:lnTo>
                      <a:pt x="121" y="589"/>
                    </a:lnTo>
                    <a:lnTo>
                      <a:pt x="133" y="580"/>
                    </a:lnTo>
                    <a:lnTo>
                      <a:pt x="145" y="572"/>
                    </a:lnTo>
                    <a:lnTo>
                      <a:pt x="157" y="564"/>
                    </a:lnTo>
                    <a:lnTo>
                      <a:pt x="171" y="558"/>
                    </a:lnTo>
                    <a:lnTo>
                      <a:pt x="185" y="552"/>
                    </a:lnTo>
                    <a:lnTo>
                      <a:pt x="199" y="546"/>
                    </a:lnTo>
                    <a:lnTo>
                      <a:pt x="212" y="542"/>
                    </a:lnTo>
                    <a:lnTo>
                      <a:pt x="226" y="538"/>
                    </a:lnTo>
                    <a:lnTo>
                      <a:pt x="241" y="535"/>
                    </a:lnTo>
                    <a:lnTo>
                      <a:pt x="256" y="531"/>
                    </a:lnTo>
                    <a:lnTo>
                      <a:pt x="271" y="529"/>
                    </a:lnTo>
                    <a:lnTo>
                      <a:pt x="286" y="528"/>
                    </a:lnTo>
                    <a:lnTo>
                      <a:pt x="302" y="528"/>
                    </a:lnTo>
                    <a:lnTo>
                      <a:pt x="302" y="528"/>
                    </a:lnTo>
                    <a:lnTo>
                      <a:pt x="316" y="528"/>
                    </a:lnTo>
                    <a:lnTo>
                      <a:pt x="331" y="529"/>
                    </a:lnTo>
                    <a:lnTo>
                      <a:pt x="358" y="534"/>
                    </a:lnTo>
                    <a:lnTo>
                      <a:pt x="358" y="534"/>
                    </a:lnTo>
                    <a:lnTo>
                      <a:pt x="366" y="519"/>
                    </a:lnTo>
                    <a:lnTo>
                      <a:pt x="377" y="503"/>
                    </a:lnTo>
                    <a:lnTo>
                      <a:pt x="388" y="489"/>
                    </a:lnTo>
                    <a:lnTo>
                      <a:pt x="399" y="475"/>
                    </a:lnTo>
                    <a:lnTo>
                      <a:pt x="412" y="462"/>
                    </a:lnTo>
                    <a:lnTo>
                      <a:pt x="426" y="451"/>
                    </a:lnTo>
                    <a:lnTo>
                      <a:pt x="439" y="440"/>
                    </a:lnTo>
                    <a:lnTo>
                      <a:pt x="454" y="430"/>
                    </a:lnTo>
                    <a:lnTo>
                      <a:pt x="470" y="421"/>
                    </a:lnTo>
                    <a:lnTo>
                      <a:pt x="486" y="413"/>
                    </a:lnTo>
                    <a:lnTo>
                      <a:pt x="503" y="406"/>
                    </a:lnTo>
                    <a:lnTo>
                      <a:pt x="520" y="401"/>
                    </a:lnTo>
                    <a:lnTo>
                      <a:pt x="538" y="396"/>
                    </a:lnTo>
                    <a:lnTo>
                      <a:pt x="557" y="393"/>
                    </a:lnTo>
                    <a:lnTo>
                      <a:pt x="575" y="391"/>
                    </a:lnTo>
                    <a:lnTo>
                      <a:pt x="594" y="390"/>
                    </a:lnTo>
                    <a:lnTo>
                      <a:pt x="594" y="390"/>
                    </a:lnTo>
                    <a:lnTo>
                      <a:pt x="611" y="391"/>
                    </a:lnTo>
                    <a:lnTo>
                      <a:pt x="626" y="392"/>
                    </a:lnTo>
                    <a:lnTo>
                      <a:pt x="642" y="395"/>
                    </a:lnTo>
                    <a:lnTo>
                      <a:pt x="657" y="399"/>
                    </a:lnTo>
                    <a:lnTo>
                      <a:pt x="672" y="403"/>
                    </a:lnTo>
                    <a:lnTo>
                      <a:pt x="687" y="408"/>
                    </a:lnTo>
                    <a:lnTo>
                      <a:pt x="701" y="413"/>
                    </a:lnTo>
                    <a:lnTo>
                      <a:pt x="715" y="420"/>
                    </a:lnTo>
                    <a:lnTo>
                      <a:pt x="715" y="420"/>
                    </a:lnTo>
                    <a:lnTo>
                      <a:pt x="711" y="391"/>
                    </a:lnTo>
                    <a:lnTo>
                      <a:pt x="710" y="376"/>
                    </a:lnTo>
                    <a:lnTo>
                      <a:pt x="710" y="362"/>
                    </a:lnTo>
                    <a:lnTo>
                      <a:pt x="710" y="362"/>
                    </a:lnTo>
                    <a:lnTo>
                      <a:pt x="710" y="343"/>
                    </a:lnTo>
                    <a:lnTo>
                      <a:pt x="711" y="325"/>
                    </a:lnTo>
                    <a:lnTo>
                      <a:pt x="714" y="307"/>
                    </a:lnTo>
                    <a:lnTo>
                      <a:pt x="717" y="289"/>
                    </a:lnTo>
                    <a:lnTo>
                      <a:pt x="720" y="271"/>
                    </a:lnTo>
                    <a:lnTo>
                      <a:pt x="726" y="254"/>
                    </a:lnTo>
                    <a:lnTo>
                      <a:pt x="731" y="237"/>
                    </a:lnTo>
                    <a:lnTo>
                      <a:pt x="737" y="221"/>
                    </a:lnTo>
                    <a:lnTo>
                      <a:pt x="745" y="205"/>
                    </a:lnTo>
                    <a:lnTo>
                      <a:pt x="753" y="189"/>
                    </a:lnTo>
                    <a:lnTo>
                      <a:pt x="762" y="174"/>
                    </a:lnTo>
                    <a:lnTo>
                      <a:pt x="771" y="160"/>
                    </a:lnTo>
                    <a:lnTo>
                      <a:pt x="781" y="146"/>
                    </a:lnTo>
                    <a:lnTo>
                      <a:pt x="791" y="132"/>
                    </a:lnTo>
                    <a:lnTo>
                      <a:pt x="803" y="118"/>
                    </a:lnTo>
                    <a:lnTo>
                      <a:pt x="814" y="105"/>
                    </a:lnTo>
                    <a:lnTo>
                      <a:pt x="827" y="94"/>
                    </a:lnTo>
                    <a:lnTo>
                      <a:pt x="841" y="82"/>
                    </a:lnTo>
                    <a:lnTo>
                      <a:pt x="854" y="71"/>
                    </a:lnTo>
                    <a:lnTo>
                      <a:pt x="868" y="62"/>
                    </a:lnTo>
                    <a:lnTo>
                      <a:pt x="883" y="52"/>
                    </a:lnTo>
                    <a:lnTo>
                      <a:pt x="898" y="44"/>
                    </a:lnTo>
                    <a:lnTo>
                      <a:pt x="914" y="35"/>
                    </a:lnTo>
                    <a:lnTo>
                      <a:pt x="930" y="28"/>
                    </a:lnTo>
                    <a:lnTo>
                      <a:pt x="945" y="21"/>
                    </a:lnTo>
                    <a:lnTo>
                      <a:pt x="962" y="16"/>
                    </a:lnTo>
                    <a:lnTo>
                      <a:pt x="979" y="11"/>
                    </a:lnTo>
                    <a:lnTo>
                      <a:pt x="997" y="8"/>
                    </a:lnTo>
                    <a:lnTo>
                      <a:pt x="1015" y="4"/>
                    </a:lnTo>
                    <a:lnTo>
                      <a:pt x="1033" y="1"/>
                    </a:lnTo>
                    <a:lnTo>
                      <a:pt x="1051" y="0"/>
                    </a:lnTo>
                    <a:lnTo>
                      <a:pt x="1070" y="0"/>
                    </a:lnTo>
                    <a:lnTo>
                      <a:pt x="1070" y="0"/>
                    </a:lnTo>
                    <a:lnTo>
                      <a:pt x="1085" y="0"/>
                    </a:lnTo>
                    <a:lnTo>
                      <a:pt x="1101" y="1"/>
                    </a:lnTo>
                    <a:lnTo>
                      <a:pt x="1116" y="2"/>
                    </a:lnTo>
                    <a:lnTo>
                      <a:pt x="1130" y="4"/>
                    </a:lnTo>
                    <a:lnTo>
                      <a:pt x="1159" y="11"/>
                    </a:lnTo>
                    <a:lnTo>
                      <a:pt x="1187" y="19"/>
                    </a:lnTo>
                    <a:lnTo>
                      <a:pt x="1215" y="31"/>
                    </a:lnTo>
                    <a:lnTo>
                      <a:pt x="1240" y="44"/>
                    </a:lnTo>
                    <a:lnTo>
                      <a:pt x="1266" y="59"/>
                    </a:lnTo>
                    <a:lnTo>
                      <a:pt x="1289" y="76"/>
                    </a:lnTo>
                    <a:lnTo>
                      <a:pt x="1311" y="94"/>
                    </a:lnTo>
                    <a:lnTo>
                      <a:pt x="1331" y="114"/>
                    </a:lnTo>
                    <a:lnTo>
                      <a:pt x="1350" y="136"/>
                    </a:lnTo>
                    <a:lnTo>
                      <a:pt x="1367" y="160"/>
                    </a:lnTo>
                    <a:lnTo>
                      <a:pt x="1382" y="184"/>
                    </a:lnTo>
                    <a:lnTo>
                      <a:pt x="1396" y="211"/>
                    </a:lnTo>
                    <a:lnTo>
                      <a:pt x="1406" y="237"/>
                    </a:lnTo>
                    <a:lnTo>
                      <a:pt x="1416" y="266"/>
                    </a:lnTo>
                    <a:lnTo>
                      <a:pt x="1416" y="266"/>
                    </a:lnTo>
                    <a:lnTo>
                      <a:pt x="1442" y="259"/>
                    </a:lnTo>
                    <a:lnTo>
                      <a:pt x="1468" y="254"/>
                    </a:lnTo>
                    <a:lnTo>
                      <a:pt x="1496" y="251"/>
                    </a:lnTo>
                    <a:lnTo>
                      <a:pt x="1524" y="250"/>
                    </a:lnTo>
                    <a:lnTo>
                      <a:pt x="1524" y="250"/>
                    </a:lnTo>
                    <a:lnTo>
                      <a:pt x="1547" y="251"/>
                    </a:lnTo>
                    <a:lnTo>
                      <a:pt x="1569" y="253"/>
                    </a:lnTo>
                    <a:lnTo>
                      <a:pt x="1591" y="255"/>
                    </a:lnTo>
                    <a:lnTo>
                      <a:pt x="1613" y="259"/>
                    </a:lnTo>
                    <a:lnTo>
                      <a:pt x="1634" y="265"/>
                    </a:lnTo>
                    <a:lnTo>
                      <a:pt x="1655" y="270"/>
                    </a:lnTo>
                    <a:lnTo>
                      <a:pt x="1676" y="277"/>
                    </a:lnTo>
                    <a:lnTo>
                      <a:pt x="1696" y="285"/>
                    </a:lnTo>
                    <a:lnTo>
                      <a:pt x="1715" y="294"/>
                    </a:lnTo>
                    <a:lnTo>
                      <a:pt x="1734" y="304"/>
                    </a:lnTo>
                    <a:lnTo>
                      <a:pt x="1753" y="315"/>
                    </a:lnTo>
                    <a:lnTo>
                      <a:pt x="1771" y="326"/>
                    </a:lnTo>
                    <a:lnTo>
                      <a:pt x="1788" y="338"/>
                    </a:lnTo>
                    <a:lnTo>
                      <a:pt x="1804" y="352"/>
                    </a:lnTo>
                    <a:lnTo>
                      <a:pt x="1820" y="366"/>
                    </a:lnTo>
                    <a:lnTo>
                      <a:pt x="1836" y="381"/>
                    </a:lnTo>
                    <a:lnTo>
                      <a:pt x="1850" y="395"/>
                    </a:lnTo>
                    <a:lnTo>
                      <a:pt x="1864" y="411"/>
                    </a:lnTo>
                    <a:lnTo>
                      <a:pt x="1877" y="428"/>
                    </a:lnTo>
                    <a:lnTo>
                      <a:pt x="1889" y="445"/>
                    </a:lnTo>
                    <a:lnTo>
                      <a:pt x="1901" y="463"/>
                    </a:lnTo>
                    <a:lnTo>
                      <a:pt x="1911" y="483"/>
                    </a:lnTo>
                    <a:lnTo>
                      <a:pt x="1922" y="502"/>
                    </a:lnTo>
                    <a:lnTo>
                      <a:pt x="1930" y="521"/>
                    </a:lnTo>
                    <a:lnTo>
                      <a:pt x="1938" y="541"/>
                    </a:lnTo>
                    <a:lnTo>
                      <a:pt x="1945" y="561"/>
                    </a:lnTo>
                    <a:lnTo>
                      <a:pt x="1951" y="582"/>
                    </a:lnTo>
                    <a:lnTo>
                      <a:pt x="1955" y="604"/>
                    </a:lnTo>
                    <a:lnTo>
                      <a:pt x="1960" y="626"/>
                    </a:lnTo>
                    <a:lnTo>
                      <a:pt x="1963" y="648"/>
                    </a:lnTo>
                    <a:lnTo>
                      <a:pt x="1964" y="671"/>
                    </a:lnTo>
                    <a:lnTo>
                      <a:pt x="1965" y="694"/>
                    </a:lnTo>
                  </a:path>
                </a:pathLst>
              </a:custGeom>
              <a:grp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65" name="Group 564"/>
              <p:cNvGrpSpPr/>
              <p:nvPr/>
            </p:nvGrpSpPr>
            <p:grpSpPr>
              <a:xfrm>
                <a:off x="9958162" y="3842127"/>
                <a:ext cx="131264" cy="64413"/>
                <a:chOff x="9930806" y="3846035"/>
                <a:chExt cx="131264" cy="64413"/>
              </a:xfrm>
              <a:grpFill/>
            </p:grpSpPr>
            <p:cxnSp>
              <p:nvCxnSpPr>
                <p:cNvPr id="566" name="Straight Connector 565"/>
                <p:cNvCxnSpPr/>
                <p:nvPr/>
              </p:nvCxnSpPr>
              <p:spPr>
                <a:xfrm flipH="1">
                  <a:off x="99308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7" name="Straight Connector 566"/>
                <p:cNvCxnSpPr/>
                <p:nvPr/>
              </p:nvCxnSpPr>
              <p:spPr>
                <a:xfrm flipH="1">
                  <a:off x="9964673"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8" name="Straight Connector 567"/>
                <p:cNvCxnSpPr/>
                <p:nvPr/>
              </p:nvCxnSpPr>
              <p:spPr>
                <a:xfrm flipH="1">
                  <a:off x="9998540"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9" name="Straight Connector 568"/>
                <p:cNvCxnSpPr/>
                <p:nvPr/>
              </p:nvCxnSpPr>
              <p:spPr>
                <a:xfrm flipH="1">
                  <a:off x="100324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550" name="Group 549"/>
            <p:cNvGrpSpPr>
              <a:grpSpLocks noChangeAspect="1"/>
            </p:cNvGrpSpPr>
            <p:nvPr/>
          </p:nvGrpSpPr>
          <p:grpSpPr>
            <a:xfrm>
              <a:off x="1786626" y="1713902"/>
              <a:ext cx="111498" cy="108326"/>
              <a:chOff x="9935552" y="3704492"/>
              <a:chExt cx="207963" cy="202048"/>
            </a:xfrm>
            <a:solidFill>
              <a:schemeClr val="accent1"/>
            </a:solidFill>
          </p:grpSpPr>
          <p:sp>
            <p:nvSpPr>
              <p:cNvPr id="558" name="Freeform 1165"/>
              <p:cNvSpPr>
                <a:spLocks/>
              </p:cNvSpPr>
              <p:nvPr/>
            </p:nvSpPr>
            <p:spPr bwMode="auto">
              <a:xfrm>
                <a:off x="9935552" y="3704492"/>
                <a:ext cx="207963" cy="120650"/>
              </a:xfrm>
              <a:custGeom>
                <a:avLst/>
                <a:gdLst>
                  <a:gd name="T0" fmla="*/ 1963 w 1965"/>
                  <a:gd name="T1" fmla="*/ 735 h 1136"/>
                  <a:gd name="T2" fmla="*/ 1948 w 1965"/>
                  <a:gd name="T3" fmla="*/ 815 h 1136"/>
                  <a:gd name="T4" fmla="*/ 1920 w 1965"/>
                  <a:gd name="T5" fmla="*/ 891 h 1136"/>
                  <a:gd name="T6" fmla="*/ 1878 w 1965"/>
                  <a:gd name="T7" fmla="*/ 959 h 1136"/>
                  <a:gd name="T8" fmla="*/ 1827 w 1965"/>
                  <a:gd name="T9" fmla="*/ 1017 h 1136"/>
                  <a:gd name="T10" fmla="*/ 1765 w 1965"/>
                  <a:gd name="T11" fmla="*/ 1067 h 1136"/>
                  <a:gd name="T12" fmla="*/ 1696 w 1965"/>
                  <a:gd name="T13" fmla="*/ 1104 h 1136"/>
                  <a:gd name="T14" fmla="*/ 1621 w 1965"/>
                  <a:gd name="T15" fmla="*/ 1130 h 1136"/>
                  <a:gd name="T16" fmla="*/ 302 w 1965"/>
                  <a:gd name="T17" fmla="*/ 1136 h 1136"/>
                  <a:gd name="T18" fmla="*/ 256 w 1965"/>
                  <a:gd name="T19" fmla="*/ 1133 h 1136"/>
                  <a:gd name="T20" fmla="*/ 199 w 1965"/>
                  <a:gd name="T21" fmla="*/ 1118 h 1136"/>
                  <a:gd name="T22" fmla="*/ 145 w 1965"/>
                  <a:gd name="T23" fmla="*/ 1092 h 1136"/>
                  <a:gd name="T24" fmla="*/ 98 w 1965"/>
                  <a:gd name="T25" fmla="*/ 1057 h 1136"/>
                  <a:gd name="T26" fmla="*/ 60 w 1965"/>
                  <a:gd name="T27" fmla="*/ 1014 h 1136"/>
                  <a:gd name="T28" fmla="*/ 29 w 1965"/>
                  <a:gd name="T29" fmla="*/ 964 h 1136"/>
                  <a:gd name="T30" fmla="*/ 9 w 1965"/>
                  <a:gd name="T31" fmla="*/ 909 h 1136"/>
                  <a:gd name="T32" fmla="*/ 0 w 1965"/>
                  <a:gd name="T33" fmla="*/ 848 h 1136"/>
                  <a:gd name="T34" fmla="*/ 1 w 1965"/>
                  <a:gd name="T35" fmla="*/ 801 h 1136"/>
                  <a:gd name="T36" fmla="*/ 14 w 1965"/>
                  <a:gd name="T37" fmla="*/ 742 h 1136"/>
                  <a:gd name="T38" fmla="*/ 36 w 1965"/>
                  <a:gd name="T39" fmla="*/ 688 h 1136"/>
                  <a:gd name="T40" fmla="*/ 69 w 1965"/>
                  <a:gd name="T41" fmla="*/ 639 h 1136"/>
                  <a:gd name="T42" fmla="*/ 110 w 1965"/>
                  <a:gd name="T43" fmla="*/ 597 h 1136"/>
                  <a:gd name="T44" fmla="*/ 157 w 1965"/>
                  <a:gd name="T45" fmla="*/ 564 h 1136"/>
                  <a:gd name="T46" fmla="*/ 212 w 1965"/>
                  <a:gd name="T47" fmla="*/ 542 h 1136"/>
                  <a:gd name="T48" fmla="*/ 271 w 1965"/>
                  <a:gd name="T49" fmla="*/ 529 h 1136"/>
                  <a:gd name="T50" fmla="*/ 316 w 1965"/>
                  <a:gd name="T51" fmla="*/ 528 h 1136"/>
                  <a:gd name="T52" fmla="*/ 366 w 1965"/>
                  <a:gd name="T53" fmla="*/ 519 h 1136"/>
                  <a:gd name="T54" fmla="*/ 412 w 1965"/>
                  <a:gd name="T55" fmla="*/ 462 h 1136"/>
                  <a:gd name="T56" fmla="*/ 470 w 1965"/>
                  <a:gd name="T57" fmla="*/ 421 h 1136"/>
                  <a:gd name="T58" fmla="*/ 538 w 1965"/>
                  <a:gd name="T59" fmla="*/ 396 h 1136"/>
                  <a:gd name="T60" fmla="*/ 594 w 1965"/>
                  <a:gd name="T61" fmla="*/ 390 h 1136"/>
                  <a:gd name="T62" fmla="*/ 657 w 1965"/>
                  <a:gd name="T63" fmla="*/ 399 h 1136"/>
                  <a:gd name="T64" fmla="*/ 715 w 1965"/>
                  <a:gd name="T65" fmla="*/ 420 h 1136"/>
                  <a:gd name="T66" fmla="*/ 710 w 1965"/>
                  <a:gd name="T67" fmla="*/ 362 h 1136"/>
                  <a:gd name="T68" fmla="*/ 714 w 1965"/>
                  <a:gd name="T69" fmla="*/ 307 h 1136"/>
                  <a:gd name="T70" fmla="*/ 731 w 1965"/>
                  <a:gd name="T71" fmla="*/ 237 h 1136"/>
                  <a:gd name="T72" fmla="*/ 762 w 1965"/>
                  <a:gd name="T73" fmla="*/ 174 h 1136"/>
                  <a:gd name="T74" fmla="*/ 803 w 1965"/>
                  <a:gd name="T75" fmla="*/ 118 h 1136"/>
                  <a:gd name="T76" fmla="*/ 854 w 1965"/>
                  <a:gd name="T77" fmla="*/ 71 h 1136"/>
                  <a:gd name="T78" fmla="*/ 914 w 1965"/>
                  <a:gd name="T79" fmla="*/ 35 h 1136"/>
                  <a:gd name="T80" fmla="*/ 979 w 1965"/>
                  <a:gd name="T81" fmla="*/ 11 h 1136"/>
                  <a:gd name="T82" fmla="*/ 1051 w 1965"/>
                  <a:gd name="T83" fmla="*/ 0 h 1136"/>
                  <a:gd name="T84" fmla="*/ 1101 w 1965"/>
                  <a:gd name="T85" fmla="*/ 1 h 1136"/>
                  <a:gd name="T86" fmla="*/ 1187 w 1965"/>
                  <a:gd name="T87" fmla="*/ 19 h 1136"/>
                  <a:gd name="T88" fmla="*/ 1289 w 1965"/>
                  <a:gd name="T89" fmla="*/ 76 h 1136"/>
                  <a:gd name="T90" fmla="*/ 1367 w 1965"/>
                  <a:gd name="T91" fmla="*/ 160 h 1136"/>
                  <a:gd name="T92" fmla="*/ 1416 w 1965"/>
                  <a:gd name="T93" fmla="*/ 266 h 1136"/>
                  <a:gd name="T94" fmla="*/ 1496 w 1965"/>
                  <a:gd name="T95" fmla="*/ 251 h 1136"/>
                  <a:gd name="T96" fmla="*/ 1569 w 1965"/>
                  <a:gd name="T97" fmla="*/ 253 h 1136"/>
                  <a:gd name="T98" fmla="*/ 1655 w 1965"/>
                  <a:gd name="T99" fmla="*/ 270 h 1136"/>
                  <a:gd name="T100" fmla="*/ 1734 w 1965"/>
                  <a:gd name="T101" fmla="*/ 304 h 1136"/>
                  <a:gd name="T102" fmla="*/ 1804 w 1965"/>
                  <a:gd name="T103" fmla="*/ 352 h 1136"/>
                  <a:gd name="T104" fmla="*/ 1864 w 1965"/>
                  <a:gd name="T105" fmla="*/ 411 h 1136"/>
                  <a:gd name="T106" fmla="*/ 1911 w 1965"/>
                  <a:gd name="T107" fmla="*/ 483 h 1136"/>
                  <a:gd name="T108" fmla="*/ 1945 w 1965"/>
                  <a:gd name="T109" fmla="*/ 561 h 1136"/>
                  <a:gd name="T110" fmla="*/ 1963 w 1965"/>
                  <a:gd name="T111" fmla="*/ 648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5" h="1136">
                    <a:moveTo>
                      <a:pt x="1965" y="694"/>
                    </a:moveTo>
                    <a:lnTo>
                      <a:pt x="1965" y="694"/>
                    </a:lnTo>
                    <a:lnTo>
                      <a:pt x="1964" y="714"/>
                    </a:lnTo>
                    <a:lnTo>
                      <a:pt x="1963" y="735"/>
                    </a:lnTo>
                    <a:lnTo>
                      <a:pt x="1961" y="756"/>
                    </a:lnTo>
                    <a:lnTo>
                      <a:pt x="1957" y="776"/>
                    </a:lnTo>
                    <a:lnTo>
                      <a:pt x="1952" y="796"/>
                    </a:lnTo>
                    <a:lnTo>
                      <a:pt x="1948" y="815"/>
                    </a:lnTo>
                    <a:lnTo>
                      <a:pt x="1942" y="835"/>
                    </a:lnTo>
                    <a:lnTo>
                      <a:pt x="1935" y="853"/>
                    </a:lnTo>
                    <a:lnTo>
                      <a:pt x="1927" y="872"/>
                    </a:lnTo>
                    <a:lnTo>
                      <a:pt x="1920" y="891"/>
                    </a:lnTo>
                    <a:lnTo>
                      <a:pt x="1910" y="908"/>
                    </a:lnTo>
                    <a:lnTo>
                      <a:pt x="1901" y="926"/>
                    </a:lnTo>
                    <a:lnTo>
                      <a:pt x="1890" y="942"/>
                    </a:lnTo>
                    <a:lnTo>
                      <a:pt x="1878" y="959"/>
                    </a:lnTo>
                    <a:lnTo>
                      <a:pt x="1867" y="973"/>
                    </a:lnTo>
                    <a:lnTo>
                      <a:pt x="1854" y="989"/>
                    </a:lnTo>
                    <a:lnTo>
                      <a:pt x="1840" y="1003"/>
                    </a:lnTo>
                    <a:lnTo>
                      <a:pt x="1827" y="1017"/>
                    </a:lnTo>
                    <a:lnTo>
                      <a:pt x="1812" y="1031"/>
                    </a:lnTo>
                    <a:lnTo>
                      <a:pt x="1797" y="1044"/>
                    </a:lnTo>
                    <a:lnTo>
                      <a:pt x="1781" y="1055"/>
                    </a:lnTo>
                    <a:lnTo>
                      <a:pt x="1765" y="1067"/>
                    </a:lnTo>
                    <a:lnTo>
                      <a:pt x="1748" y="1078"/>
                    </a:lnTo>
                    <a:lnTo>
                      <a:pt x="1732" y="1087"/>
                    </a:lnTo>
                    <a:lnTo>
                      <a:pt x="1715" y="1097"/>
                    </a:lnTo>
                    <a:lnTo>
                      <a:pt x="1696" y="1104"/>
                    </a:lnTo>
                    <a:lnTo>
                      <a:pt x="1678" y="1112"/>
                    </a:lnTo>
                    <a:lnTo>
                      <a:pt x="1659" y="1119"/>
                    </a:lnTo>
                    <a:lnTo>
                      <a:pt x="1640" y="1124"/>
                    </a:lnTo>
                    <a:lnTo>
                      <a:pt x="1621" y="1130"/>
                    </a:lnTo>
                    <a:lnTo>
                      <a:pt x="1601" y="1134"/>
                    </a:lnTo>
                    <a:lnTo>
                      <a:pt x="1580" y="1136"/>
                    </a:lnTo>
                    <a:lnTo>
                      <a:pt x="335" y="1136"/>
                    </a:lnTo>
                    <a:lnTo>
                      <a:pt x="302" y="1136"/>
                    </a:lnTo>
                    <a:lnTo>
                      <a:pt x="302" y="1136"/>
                    </a:lnTo>
                    <a:lnTo>
                      <a:pt x="286" y="1136"/>
                    </a:lnTo>
                    <a:lnTo>
                      <a:pt x="271" y="1135"/>
                    </a:lnTo>
                    <a:lnTo>
                      <a:pt x="256" y="1133"/>
                    </a:lnTo>
                    <a:lnTo>
                      <a:pt x="241" y="1131"/>
                    </a:lnTo>
                    <a:lnTo>
                      <a:pt x="226" y="1126"/>
                    </a:lnTo>
                    <a:lnTo>
                      <a:pt x="212" y="1123"/>
                    </a:lnTo>
                    <a:lnTo>
                      <a:pt x="199" y="1118"/>
                    </a:lnTo>
                    <a:lnTo>
                      <a:pt x="185" y="1113"/>
                    </a:lnTo>
                    <a:lnTo>
                      <a:pt x="171" y="1106"/>
                    </a:lnTo>
                    <a:lnTo>
                      <a:pt x="157" y="1100"/>
                    </a:lnTo>
                    <a:lnTo>
                      <a:pt x="145" y="1092"/>
                    </a:lnTo>
                    <a:lnTo>
                      <a:pt x="133" y="1084"/>
                    </a:lnTo>
                    <a:lnTo>
                      <a:pt x="121" y="1075"/>
                    </a:lnTo>
                    <a:lnTo>
                      <a:pt x="110" y="1067"/>
                    </a:lnTo>
                    <a:lnTo>
                      <a:pt x="98" y="1057"/>
                    </a:lnTo>
                    <a:lnTo>
                      <a:pt x="89" y="1048"/>
                    </a:lnTo>
                    <a:lnTo>
                      <a:pt x="78" y="1037"/>
                    </a:lnTo>
                    <a:lnTo>
                      <a:pt x="69" y="1025"/>
                    </a:lnTo>
                    <a:lnTo>
                      <a:pt x="60" y="1014"/>
                    </a:lnTo>
                    <a:lnTo>
                      <a:pt x="52" y="1002"/>
                    </a:lnTo>
                    <a:lnTo>
                      <a:pt x="43" y="989"/>
                    </a:lnTo>
                    <a:lnTo>
                      <a:pt x="36" y="977"/>
                    </a:lnTo>
                    <a:lnTo>
                      <a:pt x="29" y="964"/>
                    </a:lnTo>
                    <a:lnTo>
                      <a:pt x="23" y="950"/>
                    </a:lnTo>
                    <a:lnTo>
                      <a:pt x="18" y="936"/>
                    </a:lnTo>
                    <a:lnTo>
                      <a:pt x="14" y="922"/>
                    </a:lnTo>
                    <a:lnTo>
                      <a:pt x="9" y="909"/>
                    </a:lnTo>
                    <a:lnTo>
                      <a:pt x="5" y="894"/>
                    </a:lnTo>
                    <a:lnTo>
                      <a:pt x="3" y="879"/>
                    </a:lnTo>
                    <a:lnTo>
                      <a:pt x="1" y="863"/>
                    </a:lnTo>
                    <a:lnTo>
                      <a:pt x="0" y="848"/>
                    </a:lnTo>
                    <a:lnTo>
                      <a:pt x="0" y="832"/>
                    </a:lnTo>
                    <a:lnTo>
                      <a:pt x="0" y="832"/>
                    </a:lnTo>
                    <a:lnTo>
                      <a:pt x="0" y="816"/>
                    </a:lnTo>
                    <a:lnTo>
                      <a:pt x="1" y="801"/>
                    </a:lnTo>
                    <a:lnTo>
                      <a:pt x="3" y="785"/>
                    </a:lnTo>
                    <a:lnTo>
                      <a:pt x="5" y="770"/>
                    </a:lnTo>
                    <a:lnTo>
                      <a:pt x="9" y="757"/>
                    </a:lnTo>
                    <a:lnTo>
                      <a:pt x="14" y="742"/>
                    </a:lnTo>
                    <a:lnTo>
                      <a:pt x="18" y="728"/>
                    </a:lnTo>
                    <a:lnTo>
                      <a:pt x="23" y="714"/>
                    </a:lnTo>
                    <a:lnTo>
                      <a:pt x="29" y="700"/>
                    </a:lnTo>
                    <a:lnTo>
                      <a:pt x="36" y="688"/>
                    </a:lnTo>
                    <a:lnTo>
                      <a:pt x="43" y="675"/>
                    </a:lnTo>
                    <a:lnTo>
                      <a:pt x="52" y="662"/>
                    </a:lnTo>
                    <a:lnTo>
                      <a:pt x="60" y="650"/>
                    </a:lnTo>
                    <a:lnTo>
                      <a:pt x="69" y="639"/>
                    </a:lnTo>
                    <a:lnTo>
                      <a:pt x="78" y="628"/>
                    </a:lnTo>
                    <a:lnTo>
                      <a:pt x="89" y="617"/>
                    </a:lnTo>
                    <a:lnTo>
                      <a:pt x="98" y="607"/>
                    </a:lnTo>
                    <a:lnTo>
                      <a:pt x="110" y="597"/>
                    </a:lnTo>
                    <a:lnTo>
                      <a:pt x="121" y="589"/>
                    </a:lnTo>
                    <a:lnTo>
                      <a:pt x="133" y="580"/>
                    </a:lnTo>
                    <a:lnTo>
                      <a:pt x="145" y="572"/>
                    </a:lnTo>
                    <a:lnTo>
                      <a:pt x="157" y="564"/>
                    </a:lnTo>
                    <a:lnTo>
                      <a:pt x="171" y="558"/>
                    </a:lnTo>
                    <a:lnTo>
                      <a:pt x="185" y="552"/>
                    </a:lnTo>
                    <a:lnTo>
                      <a:pt x="199" y="546"/>
                    </a:lnTo>
                    <a:lnTo>
                      <a:pt x="212" y="542"/>
                    </a:lnTo>
                    <a:lnTo>
                      <a:pt x="226" y="538"/>
                    </a:lnTo>
                    <a:lnTo>
                      <a:pt x="241" y="535"/>
                    </a:lnTo>
                    <a:lnTo>
                      <a:pt x="256" y="531"/>
                    </a:lnTo>
                    <a:lnTo>
                      <a:pt x="271" y="529"/>
                    </a:lnTo>
                    <a:lnTo>
                      <a:pt x="286" y="528"/>
                    </a:lnTo>
                    <a:lnTo>
                      <a:pt x="302" y="528"/>
                    </a:lnTo>
                    <a:lnTo>
                      <a:pt x="302" y="528"/>
                    </a:lnTo>
                    <a:lnTo>
                      <a:pt x="316" y="528"/>
                    </a:lnTo>
                    <a:lnTo>
                      <a:pt x="331" y="529"/>
                    </a:lnTo>
                    <a:lnTo>
                      <a:pt x="358" y="534"/>
                    </a:lnTo>
                    <a:lnTo>
                      <a:pt x="358" y="534"/>
                    </a:lnTo>
                    <a:lnTo>
                      <a:pt x="366" y="519"/>
                    </a:lnTo>
                    <a:lnTo>
                      <a:pt x="377" y="503"/>
                    </a:lnTo>
                    <a:lnTo>
                      <a:pt x="388" y="489"/>
                    </a:lnTo>
                    <a:lnTo>
                      <a:pt x="399" y="475"/>
                    </a:lnTo>
                    <a:lnTo>
                      <a:pt x="412" y="462"/>
                    </a:lnTo>
                    <a:lnTo>
                      <a:pt x="426" y="451"/>
                    </a:lnTo>
                    <a:lnTo>
                      <a:pt x="439" y="440"/>
                    </a:lnTo>
                    <a:lnTo>
                      <a:pt x="454" y="430"/>
                    </a:lnTo>
                    <a:lnTo>
                      <a:pt x="470" y="421"/>
                    </a:lnTo>
                    <a:lnTo>
                      <a:pt x="486" y="413"/>
                    </a:lnTo>
                    <a:lnTo>
                      <a:pt x="503" y="406"/>
                    </a:lnTo>
                    <a:lnTo>
                      <a:pt x="520" y="401"/>
                    </a:lnTo>
                    <a:lnTo>
                      <a:pt x="538" y="396"/>
                    </a:lnTo>
                    <a:lnTo>
                      <a:pt x="557" y="393"/>
                    </a:lnTo>
                    <a:lnTo>
                      <a:pt x="575" y="391"/>
                    </a:lnTo>
                    <a:lnTo>
                      <a:pt x="594" y="390"/>
                    </a:lnTo>
                    <a:lnTo>
                      <a:pt x="594" y="390"/>
                    </a:lnTo>
                    <a:lnTo>
                      <a:pt x="611" y="391"/>
                    </a:lnTo>
                    <a:lnTo>
                      <a:pt x="626" y="392"/>
                    </a:lnTo>
                    <a:lnTo>
                      <a:pt x="642" y="395"/>
                    </a:lnTo>
                    <a:lnTo>
                      <a:pt x="657" y="399"/>
                    </a:lnTo>
                    <a:lnTo>
                      <a:pt x="672" y="403"/>
                    </a:lnTo>
                    <a:lnTo>
                      <a:pt x="687" y="408"/>
                    </a:lnTo>
                    <a:lnTo>
                      <a:pt x="701" y="413"/>
                    </a:lnTo>
                    <a:lnTo>
                      <a:pt x="715" y="420"/>
                    </a:lnTo>
                    <a:lnTo>
                      <a:pt x="715" y="420"/>
                    </a:lnTo>
                    <a:lnTo>
                      <a:pt x="711" y="391"/>
                    </a:lnTo>
                    <a:lnTo>
                      <a:pt x="710" y="376"/>
                    </a:lnTo>
                    <a:lnTo>
                      <a:pt x="710" y="362"/>
                    </a:lnTo>
                    <a:lnTo>
                      <a:pt x="710" y="362"/>
                    </a:lnTo>
                    <a:lnTo>
                      <a:pt x="710" y="343"/>
                    </a:lnTo>
                    <a:lnTo>
                      <a:pt x="711" y="325"/>
                    </a:lnTo>
                    <a:lnTo>
                      <a:pt x="714" y="307"/>
                    </a:lnTo>
                    <a:lnTo>
                      <a:pt x="717" y="289"/>
                    </a:lnTo>
                    <a:lnTo>
                      <a:pt x="720" y="271"/>
                    </a:lnTo>
                    <a:lnTo>
                      <a:pt x="726" y="254"/>
                    </a:lnTo>
                    <a:lnTo>
                      <a:pt x="731" y="237"/>
                    </a:lnTo>
                    <a:lnTo>
                      <a:pt x="737" y="221"/>
                    </a:lnTo>
                    <a:lnTo>
                      <a:pt x="745" y="205"/>
                    </a:lnTo>
                    <a:lnTo>
                      <a:pt x="753" y="189"/>
                    </a:lnTo>
                    <a:lnTo>
                      <a:pt x="762" y="174"/>
                    </a:lnTo>
                    <a:lnTo>
                      <a:pt x="771" y="160"/>
                    </a:lnTo>
                    <a:lnTo>
                      <a:pt x="781" y="146"/>
                    </a:lnTo>
                    <a:lnTo>
                      <a:pt x="791" y="132"/>
                    </a:lnTo>
                    <a:lnTo>
                      <a:pt x="803" y="118"/>
                    </a:lnTo>
                    <a:lnTo>
                      <a:pt x="814" y="105"/>
                    </a:lnTo>
                    <a:lnTo>
                      <a:pt x="827" y="94"/>
                    </a:lnTo>
                    <a:lnTo>
                      <a:pt x="841" y="82"/>
                    </a:lnTo>
                    <a:lnTo>
                      <a:pt x="854" y="71"/>
                    </a:lnTo>
                    <a:lnTo>
                      <a:pt x="868" y="62"/>
                    </a:lnTo>
                    <a:lnTo>
                      <a:pt x="883" y="52"/>
                    </a:lnTo>
                    <a:lnTo>
                      <a:pt x="898" y="44"/>
                    </a:lnTo>
                    <a:lnTo>
                      <a:pt x="914" y="35"/>
                    </a:lnTo>
                    <a:lnTo>
                      <a:pt x="930" y="28"/>
                    </a:lnTo>
                    <a:lnTo>
                      <a:pt x="945" y="21"/>
                    </a:lnTo>
                    <a:lnTo>
                      <a:pt x="962" y="16"/>
                    </a:lnTo>
                    <a:lnTo>
                      <a:pt x="979" y="11"/>
                    </a:lnTo>
                    <a:lnTo>
                      <a:pt x="997" y="8"/>
                    </a:lnTo>
                    <a:lnTo>
                      <a:pt x="1015" y="4"/>
                    </a:lnTo>
                    <a:lnTo>
                      <a:pt x="1033" y="1"/>
                    </a:lnTo>
                    <a:lnTo>
                      <a:pt x="1051" y="0"/>
                    </a:lnTo>
                    <a:lnTo>
                      <a:pt x="1070" y="0"/>
                    </a:lnTo>
                    <a:lnTo>
                      <a:pt x="1070" y="0"/>
                    </a:lnTo>
                    <a:lnTo>
                      <a:pt x="1085" y="0"/>
                    </a:lnTo>
                    <a:lnTo>
                      <a:pt x="1101" y="1"/>
                    </a:lnTo>
                    <a:lnTo>
                      <a:pt x="1116" y="2"/>
                    </a:lnTo>
                    <a:lnTo>
                      <a:pt x="1130" y="4"/>
                    </a:lnTo>
                    <a:lnTo>
                      <a:pt x="1159" y="11"/>
                    </a:lnTo>
                    <a:lnTo>
                      <a:pt x="1187" y="19"/>
                    </a:lnTo>
                    <a:lnTo>
                      <a:pt x="1215" y="31"/>
                    </a:lnTo>
                    <a:lnTo>
                      <a:pt x="1240" y="44"/>
                    </a:lnTo>
                    <a:lnTo>
                      <a:pt x="1266" y="59"/>
                    </a:lnTo>
                    <a:lnTo>
                      <a:pt x="1289" y="76"/>
                    </a:lnTo>
                    <a:lnTo>
                      <a:pt x="1311" y="94"/>
                    </a:lnTo>
                    <a:lnTo>
                      <a:pt x="1331" y="114"/>
                    </a:lnTo>
                    <a:lnTo>
                      <a:pt x="1350" y="136"/>
                    </a:lnTo>
                    <a:lnTo>
                      <a:pt x="1367" y="160"/>
                    </a:lnTo>
                    <a:lnTo>
                      <a:pt x="1382" y="184"/>
                    </a:lnTo>
                    <a:lnTo>
                      <a:pt x="1396" y="211"/>
                    </a:lnTo>
                    <a:lnTo>
                      <a:pt x="1406" y="237"/>
                    </a:lnTo>
                    <a:lnTo>
                      <a:pt x="1416" y="266"/>
                    </a:lnTo>
                    <a:lnTo>
                      <a:pt x="1416" y="266"/>
                    </a:lnTo>
                    <a:lnTo>
                      <a:pt x="1442" y="259"/>
                    </a:lnTo>
                    <a:lnTo>
                      <a:pt x="1468" y="254"/>
                    </a:lnTo>
                    <a:lnTo>
                      <a:pt x="1496" y="251"/>
                    </a:lnTo>
                    <a:lnTo>
                      <a:pt x="1524" y="250"/>
                    </a:lnTo>
                    <a:lnTo>
                      <a:pt x="1524" y="250"/>
                    </a:lnTo>
                    <a:lnTo>
                      <a:pt x="1547" y="251"/>
                    </a:lnTo>
                    <a:lnTo>
                      <a:pt x="1569" y="253"/>
                    </a:lnTo>
                    <a:lnTo>
                      <a:pt x="1591" y="255"/>
                    </a:lnTo>
                    <a:lnTo>
                      <a:pt x="1613" y="259"/>
                    </a:lnTo>
                    <a:lnTo>
                      <a:pt x="1634" y="265"/>
                    </a:lnTo>
                    <a:lnTo>
                      <a:pt x="1655" y="270"/>
                    </a:lnTo>
                    <a:lnTo>
                      <a:pt x="1676" y="277"/>
                    </a:lnTo>
                    <a:lnTo>
                      <a:pt x="1696" y="285"/>
                    </a:lnTo>
                    <a:lnTo>
                      <a:pt x="1715" y="294"/>
                    </a:lnTo>
                    <a:lnTo>
                      <a:pt x="1734" y="304"/>
                    </a:lnTo>
                    <a:lnTo>
                      <a:pt x="1753" y="315"/>
                    </a:lnTo>
                    <a:lnTo>
                      <a:pt x="1771" y="326"/>
                    </a:lnTo>
                    <a:lnTo>
                      <a:pt x="1788" y="338"/>
                    </a:lnTo>
                    <a:lnTo>
                      <a:pt x="1804" y="352"/>
                    </a:lnTo>
                    <a:lnTo>
                      <a:pt x="1820" y="366"/>
                    </a:lnTo>
                    <a:lnTo>
                      <a:pt x="1836" y="381"/>
                    </a:lnTo>
                    <a:lnTo>
                      <a:pt x="1850" y="395"/>
                    </a:lnTo>
                    <a:lnTo>
                      <a:pt x="1864" y="411"/>
                    </a:lnTo>
                    <a:lnTo>
                      <a:pt x="1877" y="428"/>
                    </a:lnTo>
                    <a:lnTo>
                      <a:pt x="1889" y="445"/>
                    </a:lnTo>
                    <a:lnTo>
                      <a:pt x="1901" y="463"/>
                    </a:lnTo>
                    <a:lnTo>
                      <a:pt x="1911" y="483"/>
                    </a:lnTo>
                    <a:lnTo>
                      <a:pt x="1922" y="502"/>
                    </a:lnTo>
                    <a:lnTo>
                      <a:pt x="1930" y="521"/>
                    </a:lnTo>
                    <a:lnTo>
                      <a:pt x="1938" y="541"/>
                    </a:lnTo>
                    <a:lnTo>
                      <a:pt x="1945" y="561"/>
                    </a:lnTo>
                    <a:lnTo>
                      <a:pt x="1951" y="582"/>
                    </a:lnTo>
                    <a:lnTo>
                      <a:pt x="1955" y="604"/>
                    </a:lnTo>
                    <a:lnTo>
                      <a:pt x="1960" y="626"/>
                    </a:lnTo>
                    <a:lnTo>
                      <a:pt x="1963" y="648"/>
                    </a:lnTo>
                    <a:lnTo>
                      <a:pt x="1964" y="671"/>
                    </a:lnTo>
                    <a:lnTo>
                      <a:pt x="1965" y="694"/>
                    </a:lnTo>
                  </a:path>
                </a:pathLst>
              </a:custGeom>
              <a:grp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59" name="Group 558"/>
              <p:cNvGrpSpPr/>
              <p:nvPr/>
            </p:nvGrpSpPr>
            <p:grpSpPr>
              <a:xfrm>
                <a:off x="9958162" y="3842127"/>
                <a:ext cx="131264" cy="64413"/>
                <a:chOff x="9930806" y="3846035"/>
                <a:chExt cx="131264" cy="64413"/>
              </a:xfrm>
              <a:grpFill/>
            </p:grpSpPr>
            <p:cxnSp>
              <p:nvCxnSpPr>
                <p:cNvPr id="560" name="Straight Connector 559"/>
                <p:cNvCxnSpPr/>
                <p:nvPr/>
              </p:nvCxnSpPr>
              <p:spPr>
                <a:xfrm flipH="1">
                  <a:off x="99308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1" name="Straight Connector 560"/>
                <p:cNvCxnSpPr/>
                <p:nvPr/>
              </p:nvCxnSpPr>
              <p:spPr>
                <a:xfrm flipH="1">
                  <a:off x="9964673"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2" name="Straight Connector 561"/>
                <p:cNvCxnSpPr/>
                <p:nvPr/>
              </p:nvCxnSpPr>
              <p:spPr>
                <a:xfrm flipH="1">
                  <a:off x="9998540"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3" name="Straight Connector 562"/>
                <p:cNvCxnSpPr/>
                <p:nvPr/>
              </p:nvCxnSpPr>
              <p:spPr>
                <a:xfrm flipH="1">
                  <a:off x="100324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551" name="Group 550"/>
            <p:cNvGrpSpPr>
              <a:grpSpLocks noChangeAspect="1"/>
            </p:cNvGrpSpPr>
            <p:nvPr/>
          </p:nvGrpSpPr>
          <p:grpSpPr>
            <a:xfrm>
              <a:off x="1939026" y="1713902"/>
              <a:ext cx="111498" cy="108326"/>
              <a:chOff x="9935552" y="3704492"/>
              <a:chExt cx="207963" cy="202048"/>
            </a:xfrm>
            <a:solidFill>
              <a:schemeClr val="accent1"/>
            </a:solidFill>
          </p:grpSpPr>
          <p:sp>
            <p:nvSpPr>
              <p:cNvPr id="552" name="Freeform 1165"/>
              <p:cNvSpPr>
                <a:spLocks/>
              </p:cNvSpPr>
              <p:nvPr/>
            </p:nvSpPr>
            <p:spPr bwMode="auto">
              <a:xfrm>
                <a:off x="9935552" y="3704492"/>
                <a:ext cx="207963" cy="120650"/>
              </a:xfrm>
              <a:custGeom>
                <a:avLst/>
                <a:gdLst>
                  <a:gd name="T0" fmla="*/ 1963 w 1965"/>
                  <a:gd name="T1" fmla="*/ 735 h 1136"/>
                  <a:gd name="T2" fmla="*/ 1948 w 1965"/>
                  <a:gd name="T3" fmla="*/ 815 h 1136"/>
                  <a:gd name="T4" fmla="*/ 1920 w 1965"/>
                  <a:gd name="T5" fmla="*/ 891 h 1136"/>
                  <a:gd name="T6" fmla="*/ 1878 w 1965"/>
                  <a:gd name="T7" fmla="*/ 959 h 1136"/>
                  <a:gd name="T8" fmla="*/ 1827 w 1965"/>
                  <a:gd name="T9" fmla="*/ 1017 h 1136"/>
                  <a:gd name="T10" fmla="*/ 1765 w 1965"/>
                  <a:gd name="T11" fmla="*/ 1067 h 1136"/>
                  <a:gd name="T12" fmla="*/ 1696 w 1965"/>
                  <a:gd name="T13" fmla="*/ 1104 h 1136"/>
                  <a:gd name="T14" fmla="*/ 1621 w 1965"/>
                  <a:gd name="T15" fmla="*/ 1130 h 1136"/>
                  <a:gd name="T16" fmla="*/ 302 w 1965"/>
                  <a:gd name="T17" fmla="*/ 1136 h 1136"/>
                  <a:gd name="T18" fmla="*/ 256 w 1965"/>
                  <a:gd name="T19" fmla="*/ 1133 h 1136"/>
                  <a:gd name="T20" fmla="*/ 199 w 1965"/>
                  <a:gd name="T21" fmla="*/ 1118 h 1136"/>
                  <a:gd name="T22" fmla="*/ 145 w 1965"/>
                  <a:gd name="T23" fmla="*/ 1092 h 1136"/>
                  <a:gd name="T24" fmla="*/ 98 w 1965"/>
                  <a:gd name="T25" fmla="*/ 1057 h 1136"/>
                  <a:gd name="T26" fmla="*/ 60 w 1965"/>
                  <a:gd name="T27" fmla="*/ 1014 h 1136"/>
                  <a:gd name="T28" fmla="*/ 29 w 1965"/>
                  <a:gd name="T29" fmla="*/ 964 h 1136"/>
                  <a:gd name="T30" fmla="*/ 9 w 1965"/>
                  <a:gd name="T31" fmla="*/ 909 h 1136"/>
                  <a:gd name="T32" fmla="*/ 0 w 1965"/>
                  <a:gd name="T33" fmla="*/ 848 h 1136"/>
                  <a:gd name="T34" fmla="*/ 1 w 1965"/>
                  <a:gd name="T35" fmla="*/ 801 h 1136"/>
                  <a:gd name="T36" fmla="*/ 14 w 1965"/>
                  <a:gd name="T37" fmla="*/ 742 h 1136"/>
                  <a:gd name="T38" fmla="*/ 36 w 1965"/>
                  <a:gd name="T39" fmla="*/ 688 h 1136"/>
                  <a:gd name="T40" fmla="*/ 69 w 1965"/>
                  <a:gd name="T41" fmla="*/ 639 h 1136"/>
                  <a:gd name="T42" fmla="*/ 110 w 1965"/>
                  <a:gd name="T43" fmla="*/ 597 h 1136"/>
                  <a:gd name="T44" fmla="*/ 157 w 1965"/>
                  <a:gd name="T45" fmla="*/ 564 h 1136"/>
                  <a:gd name="T46" fmla="*/ 212 w 1965"/>
                  <a:gd name="T47" fmla="*/ 542 h 1136"/>
                  <a:gd name="T48" fmla="*/ 271 w 1965"/>
                  <a:gd name="T49" fmla="*/ 529 h 1136"/>
                  <a:gd name="T50" fmla="*/ 316 w 1965"/>
                  <a:gd name="T51" fmla="*/ 528 h 1136"/>
                  <a:gd name="T52" fmla="*/ 366 w 1965"/>
                  <a:gd name="T53" fmla="*/ 519 h 1136"/>
                  <a:gd name="T54" fmla="*/ 412 w 1965"/>
                  <a:gd name="T55" fmla="*/ 462 h 1136"/>
                  <a:gd name="T56" fmla="*/ 470 w 1965"/>
                  <a:gd name="T57" fmla="*/ 421 h 1136"/>
                  <a:gd name="T58" fmla="*/ 538 w 1965"/>
                  <a:gd name="T59" fmla="*/ 396 h 1136"/>
                  <a:gd name="T60" fmla="*/ 594 w 1965"/>
                  <a:gd name="T61" fmla="*/ 390 h 1136"/>
                  <a:gd name="T62" fmla="*/ 657 w 1965"/>
                  <a:gd name="T63" fmla="*/ 399 h 1136"/>
                  <a:gd name="T64" fmla="*/ 715 w 1965"/>
                  <a:gd name="T65" fmla="*/ 420 h 1136"/>
                  <a:gd name="T66" fmla="*/ 710 w 1965"/>
                  <a:gd name="T67" fmla="*/ 362 h 1136"/>
                  <a:gd name="T68" fmla="*/ 714 w 1965"/>
                  <a:gd name="T69" fmla="*/ 307 h 1136"/>
                  <a:gd name="T70" fmla="*/ 731 w 1965"/>
                  <a:gd name="T71" fmla="*/ 237 h 1136"/>
                  <a:gd name="T72" fmla="*/ 762 w 1965"/>
                  <a:gd name="T73" fmla="*/ 174 h 1136"/>
                  <a:gd name="T74" fmla="*/ 803 w 1965"/>
                  <a:gd name="T75" fmla="*/ 118 h 1136"/>
                  <a:gd name="T76" fmla="*/ 854 w 1965"/>
                  <a:gd name="T77" fmla="*/ 71 h 1136"/>
                  <a:gd name="T78" fmla="*/ 914 w 1965"/>
                  <a:gd name="T79" fmla="*/ 35 h 1136"/>
                  <a:gd name="T80" fmla="*/ 979 w 1965"/>
                  <a:gd name="T81" fmla="*/ 11 h 1136"/>
                  <a:gd name="T82" fmla="*/ 1051 w 1965"/>
                  <a:gd name="T83" fmla="*/ 0 h 1136"/>
                  <a:gd name="T84" fmla="*/ 1101 w 1965"/>
                  <a:gd name="T85" fmla="*/ 1 h 1136"/>
                  <a:gd name="T86" fmla="*/ 1187 w 1965"/>
                  <a:gd name="T87" fmla="*/ 19 h 1136"/>
                  <a:gd name="T88" fmla="*/ 1289 w 1965"/>
                  <a:gd name="T89" fmla="*/ 76 h 1136"/>
                  <a:gd name="T90" fmla="*/ 1367 w 1965"/>
                  <a:gd name="T91" fmla="*/ 160 h 1136"/>
                  <a:gd name="T92" fmla="*/ 1416 w 1965"/>
                  <a:gd name="T93" fmla="*/ 266 h 1136"/>
                  <a:gd name="T94" fmla="*/ 1496 w 1965"/>
                  <a:gd name="T95" fmla="*/ 251 h 1136"/>
                  <a:gd name="T96" fmla="*/ 1569 w 1965"/>
                  <a:gd name="T97" fmla="*/ 253 h 1136"/>
                  <a:gd name="T98" fmla="*/ 1655 w 1965"/>
                  <a:gd name="T99" fmla="*/ 270 h 1136"/>
                  <a:gd name="T100" fmla="*/ 1734 w 1965"/>
                  <a:gd name="T101" fmla="*/ 304 h 1136"/>
                  <a:gd name="T102" fmla="*/ 1804 w 1965"/>
                  <a:gd name="T103" fmla="*/ 352 h 1136"/>
                  <a:gd name="T104" fmla="*/ 1864 w 1965"/>
                  <a:gd name="T105" fmla="*/ 411 h 1136"/>
                  <a:gd name="T106" fmla="*/ 1911 w 1965"/>
                  <a:gd name="T107" fmla="*/ 483 h 1136"/>
                  <a:gd name="T108" fmla="*/ 1945 w 1965"/>
                  <a:gd name="T109" fmla="*/ 561 h 1136"/>
                  <a:gd name="T110" fmla="*/ 1963 w 1965"/>
                  <a:gd name="T111" fmla="*/ 648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5" h="1136">
                    <a:moveTo>
                      <a:pt x="1965" y="694"/>
                    </a:moveTo>
                    <a:lnTo>
                      <a:pt x="1965" y="694"/>
                    </a:lnTo>
                    <a:lnTo>
                      <a:pt x="1964" y="714"/>
                    </a:lnTo>
                    <a:lnTo>
                      <a:pt x="1963" y="735"/>
                    </a:lnTo>
                    <a:lnTo>
                      <a:pt x="1961" y="756"/>
                    </a:lnTo>
                    <a:lnTo>
                      <a:pt x="1957" y="776"/>
                    </a:lnTo>
                    <a:lnTo>
                      <a:pt x="1952" y="796"/>
                    </a:lnTo>
                    <a:lnTo>
                      <a:pt x="1948" y="815"/>
                    </a:lnTo>
                    <a:lnTo>
                      <a:pt x="1942" y="835"/>
                    </a:lnTo>
                    <a:lnTo>
                      <a:pt x="1935" y="853"/>
                    </a:lnTo>
                    <a:lnTo>
                      <a:pt x="1927" y="872"/>
                    </a:lnTo>
                    <a:lnTo>
                      <a:pt x="1920" y="891"/>
                    </a:lnTo>
                    <a:lnTo>
                      <a:pt x="1910" y="908"/>
                    </a:lnTo>
                    <a:lnTo>
                      <a:pt x="1901" y="926"/>
                    </a:lnTo>
                    <a:lnTo>
                      <a:pt x="1890" y="942"/>
                    </a:lnTo>
                    <a:lnTo>
                      <a:pt x="1878" y="959"/>
                    </a:lnTo>
                    <a:lnTo>
                      <a:pt x="1867" y="973"/>
                    </a:lnTo>
                    <a:lnTo>
                      <a:pt x="1854" y="989"/>
                    </a:lnTo>
                    <a:lnTo>
                      <a:pt x="1840" y="1003"/>
                    </a:lnTo>
                    <a:lnTo>
                      <a:pt x="1827" y="1017"/>
                    </a:lnTo>
                    <a:lnTo>
                      <a:pt x="1812" y="1031"/>
                    </a:lnTo>
                    <a:lnTo>
                      <a:pt x="1797" y="1044"/>
                    </a:lnTo>
                    <a:lnTo>
                      <a:pt x="1781" y="1055"/>
                    </a:lnTo>
                    <a:lnTo>
                      <a:pt x="1765" y="1067"/>
                    </a:lnTo>
                    <a:lnTo>
                      <a:pt x="1748" y="1078"/>
                    </a:lnTo>
                    <a:lnTo>
                      <a:pt x="1732" y="1087"/>
                    </a:lnTo>
                    <a:lnTo>
                      <a:pt x="1715" y="1097"/>
                    </a:lnTo>
                    <a:lnTo>
                      <a:pt x="1696" y="1104"/>
                    </a:lnTo>
                    <a:lnTo>
                      <a:pt x="1678" y="1112"/>
                    </a:lnTo>
                    <a:lnTo>
                      <a:pt x="1659" y="1119"/>
                    </a:lnTo>
                    <a:lnTo>
                      <a:pt x="1640" y="1124"/>
                    </a:lnTo>
                    <a:lnTo>
                      <a:pt x="1621" y="1130"/>
                    </a:lnTo>
                    <a:lnTo>
                      <a:pt x="1601" y="1134"/>
                    </a:lnTo>
                    <a:lnTo>
                      <a:pt x="1580" y="1136"/>
                    </a:lnTo>
                    <a:lnTo>
                      <a:pt x="335" y="1136"/>
                    </a:lnTo>
                    <a:lnTo>
                      <a:pt x="302" y="1136"/>
                    </a:lnTo>
                    <a:lnTo>
                      <a:pt x="302" y="1136"/>
                    </a:lnTo>
                    <a:lnTo>
                      <a:pt x="286" y="1136"/>
                    </a:lnTo>
                    <a:lnTo>
                      <a:pt x="271" y="1135"/>
                    </a:lnTo>
                    <a:lnTo>
                      <a:pt x="256" y="1133"/>
                    </a:lnTo>
                    <a:lnTo>
                      <a:pt x="241" y="1131"/>
                    </a:lnTo>
                    <a:lnTo>
                      <a:pt x="226" y="1126"/>
                    </a:lnTo>
                    <a:lnTo>
                      <a:pt x="212" y="1123"/>
                    </a:lnTo>
                    <a:lnTo>
                      <a:pt x="199" y="1118"/>
                    </a:lnTo>
                    <a:lnTo>
                      <a:pt x="185" y="1113"/>
                    </a:lnTo>
                    <a:lnTo>
                      <a:pt x="171" y="1106"/>
                    </a:lnTo>
                    <a:lnTo>
                      <a:pt x="157" y="1100"/>
                    </a:lnTo>
                    <a:lnTo>
                      <a:pt x="145" y="1092"/>
                    </a:lnTo>
                    <a:lnTo>
                      <a:pt x="133" y="1084"/>
                    </a:lnTo>
                    <a:lnTo>
                      <a:pt x="121" y="1075"/>
                    </a:lnTo>
                    <a:lnTo>
                      <a:pt x="110" y="1067"/>
                    </a:lnTo>
                    <a:lnTo>
                      <a:pt x="98" y="1057"/>
                    </a:lnTo>
                    <a:lnTo>
                      <a:pt x="89" y="1048"/>
                    </a:lnTo>
                    <a:lnTo>
                      <a:pt x="78" y="1037"/>
                    </a:lnTo>
                    <a:lnTo>
                      <a:pt x="69" y="1025"/>
                    </a:lnTo>
                    <a:lnTo>
                      <a:pt x="60" y="1014"/>
                    </a:lnTo>
                    <a:lnTo>
                      <a:pt x="52" y="1002"/>
                    </a:lnTo>
                    <a:lnTo>
                      <a:pt x="43" y="989"/>
                    </a:lnTo>
                    <a:lnTo>
                      <a:pt x="36" y="977"/>
                    </a:lnTo>
                    <a:lnTo>
                      <a:pt x="29" y="964"/>
                    </a:lnTo>
                    <a:lnTo>
                      <a:pt x="23" y="950"/>
                    </a:lnTo>
                    <a:lnTo>
                      <a:pt x="18" y="936"/>
                    </a:lnTo>
                    <a:lnTo>
                      <a:pt x="14" y="922"/>
                    </a:lnTo>
                    <a:lnTo>
                      <a:pt x="9" y="909"/>
                    </a:lnTo>
                    <a:lnTo>
                      <a:pt x="5" y="894"/>
                    </a:lnTo>
                    <a:lnTo>
                      <a:pt x="3" y="879"/>
                    </a:lnTo>
                    <a:lnTo>
                      <a:pt x="1" y="863"/>
                    </a:lnTo>
                    <a:lnTo>
                      <a:pt x="0" y="848"/>
                    </a:lnTo>
                    <a:lnTo>
                      <a:pt x="0" y="832"/>
                    </a:lnTo>
                    <a:lnTo>
                      <a:pt x="0" y="832"/>
                    </a:lnTo>
                    <a:lnTo>
                      <a:pt x="0" y="816"/>
                    </a:lnTo>
                    <a:lnTo>
                      <a:pt x="1" y="801"/>
                    </a:lnTo>
                    <a:lnTo>
                      <a:pt x="3" y="785"/>
                    </a:lnTo>
                    <a:lnTo>
                      <a:pt x="5" y="770"/>
                    </a:lnTo>
                    <a:lnTo>
                      <a:pt x="9" y="757"/>
                    </a:lnTo>
                    <a:lnTo>
                      <a:pt x="14" y="742"/>
                    </a:lnTo>
                    <a:lnTo>
                      <a:pt x="18" y="728"/>
                    </a:lnTo>
                    <a:lnTo>
                      <a:pt x="23" y="714"/>
                    </a:lnTo>
                    <a:lnTo>
                      <a:pt x="29" y="700"/>
                    </a:lnTo>
                    <a:lnTo>
                      <a:pt x="36" y="688"/>
                    </a:lnTo>
                    <a:lnTo>
                      <a:pt x="43" y="675"/>
                    </a:lnTo>
                    <a:lnTo>
                      <a:pt x="52" y="662"/>
                    </a:lnTo>
                    <a:lnTo>
                      <a:pt x="60" y="650"/>
                    </a:lnTo>
                    <a:lnTo>
                      <a:pt x="69" y="639"/>
                    </a:lnTo>
                    <a:lnTo>
                      <a:pt x="78" y="628"/>
                    </a:lnTo>
                    <a:lnTo>
                      <a:pt x="89" y="617"/>
                    </a:lnTo>
                    <a:lnTo>
                      <a:pt x="98" y="607"/>
                    </a:lnTo>
                    <a:lnTo>
                      <a:pt x="110" y="597"/>
                    </a:lnTo>
                    <a:lnTo>
                      <a:pt x="121" y="589"/>
                    </a:lnTo>
                    <a:lnTo>
                      <a:pt x="133" y="580"/>
                    </a:lnTo>
                    <a:lnTo>
                      <a:pt x="145" y="572"/>
                    </a:lnTo>
                    <a:lnTo>
                      <a:pt x="157" y="564"/>
                    </a:lnTo>
                    <a:lnTo>
                      <a:pt x="171" y="558"/>
                    </a:lnTo>
                    <a:lnTo>
                      <a:pt x="185" y="552"/>
                    </a:lnTo>
                    <a:lnTo>
                      <a:pt x="199" y="546"/>
                    </a:lnTo>
                    <a:lnTo>
                      <a:pt x="212" y="542"/>
                    </a:lnTo>
                    <a:lnTo>
                      <a:pt x="226" y="538"/>
                    </a:lnTo>
                    <a:lnTo>
                      <a:pt x="241" y="535"/>
                    </a:lnTo>
                    <a:lnTo>
                      <a:pt x="256" y="531"/>
                    </a:lnTo>
                    <a:lnTo>
                      <a:pt x="271" y="529"/>
                    </a:lnTo>
                    <a:lnTo>
                      <a:pt x="286" y="528"/>
                    </a:lnTo>
                    <a:lnTo>
                      <a:pt x="302" y="528"/>
                    </a:lnTo>
                    <a:lnTo>
                      <a:pt x="302" y="528"/>
                    </a:lnTo>
                    <a:lnTo>
                      <a:pt x="316" y="528"/>
                    </a:lnTo>
                    <a:lnTo>
                      <a:pt x="331" y="529"/>
                    </a:lnTo>
                    <a:lnTo>
                      <a:pt x="358" y="534"/>
                    </a:lnTo>
                    <a:lnTo>
                      <a:pt x="358" y="534"/>
                    </a:lnTo>
                    <a:lnTo>
                      <a:pt x="366" y="519"/>
                    </a:lnTo>
                    <a:lnTo>
                      <a:pt x="377" y="503"/>
                    </a:lnTo>
                    <a:lnTo>
                      <a:pt x="388" y="489"/>
                    </a:lnTo>
                    <a:lnTo>
                      <a:pt x="399" y="475"/>
                    </a:lnTo>
                    <a:lnTo>
                      <a:pt x="412" y="462"/>
                    </a:lnTo>
                    <a:lnTo>
                      <a:pt x="426" y="451"/>
                    </a:lnTo>
                    <a:lnTo>
                      <a:pt x="439" y="440"/>
                    </a:lnTo>
                    <a:lnTo>
                      <a:pt x="454" y="430"/>
                    </a:lnTo>
                    <a:lnTo>
                      <a:pt x="470" y="421"/>
                    </a:lnTo>
                    <a:lnTo>
                      <a:pt x="486" y="413"/>
                    </a:lnTo>
                    <a:lnTo>
                      <a:pt x="503" y="406"/>
                    </a:lnTo>
                    <a:lnTo>
                      <a:pt x="520" y="401"/>
                    </a:lnTo>
                    <a:lnTo>
                      <a:pt x="538" y="396"/>
                    </a:lnTo>
                    <a:lnTo>
                      <a:pt x="557" y="393"/>
                    </a:lnTo>
                    <a:lnTo>
                      <a:pt x="575" y="391"/>
                    </a:lnTo>
                    <a:lnTo>
                      <a:pt x="594" y="390"/>
                    </a:lnTo>
                    <a:lnTo>
                      <a:pt x="594" y="390"/>
                    </a:lnTo>
                    <a:lnTo>
                      <a:pt x="611" y="391"/>
                    </a:lnTo>
                    <a:lnTo>
                      <a:pt x="626" y="392"/>
                    </a:lnTo>
                    <a:lnTo>
                      <a:pt x="642" y="395"/>
                    </a:lnTo>
                    <a:lnTo>
                      <a:pt x="657" y="399"/>
                    </a:lnTo>
                    <a:lnTo>
                      <a:pt x="672" y="403"/>
                    </a:lnTo>
                    <a:lnTo>
                      <a:pt x="687" y="408"/>
                    </a:lnTo>
                    <a:lnTo>
                      <a:pt x="701" y="413"/>
                    </a:lnTo>
                    <a:lnTo>
                      <a:pt x="715" y="420"/>
                    </a:lnTo>
                    <a:lnTo>
                      <a:pt x="715" y="420"/>
                    </a:lnTo>
                    <a:lnTo>
                      <a:pt x="711" y="391"/>
                    </a:lnTo>
                    <a:lnTo>
                      <a:pt x="710" y="376"/>
                    </a:lnTo>
                    <a:lnTo>
                      <a:pt x="710" y="362"/>
                    </a:lnTo>
                    <a:lnTo>
                      <a:pt x="710" y="362"/>
                    </a:lnTo>
                    <a:lnTo>
                      <a:pt x="710" y="343"/>
                    </a:lnTo>
                    <a:lnTo>
                      <a:pt x="711" y="325"/>
                    </a:lnTo>
                    <a:lnTo>
                      <a:pt x="714" y="307"/>
                    </a:lnTo>
                    <a:lnTo>
                      <a:pt x="717" y="289"/>
                    </a:lnTo>
                    <a:lnTo>
                      <a:pt x="720" y="271"/>
                    </a:lnTo>
                    <a:lnTo>
                      <a:pt x="726" y="254"/>
                    </a:lnTo>
                    <a:lnTo>
                      <a:pt x="731" y="237"/>
                    </a:lnTo>
                    <a:lnTo>
                      <a:pt x="737" y="221"/>
                    </a:lnTo>
                    <a:lnTo>
                      <a:pt x="745" y="205"/>
                    </a:lnTo>
                    <a:lnTo>
                      <a:pt x="753" y="189"/>
                    </a:lnTo>
                    <a:lnTo>
                      <a:pt x="762" y="174"/>
                    </a:lnTo>
                    <a:lnTo>
                      <a:pt x="771" y="160"/>
                    </a:lnTo>
                    <a:lnTo>
                      <a:pt x="781" y="146"/>
                    </a:lnTo>
                    <a:lnTo>
                      <a:pt x="791" y="132"/>
                    </a:lnTo>
                    <a:lnTo>
                      <a:pt x="803" y="118"/>
                    </a:lnTo>
                    <a:lnTo>
                      <a:pt x="814" y="105"/>
                    </a:lnTo>
                    <a:lnTo>
                      <a:pt x="827" y="94"/>
                    </a:lnTo>
                    <a:lnTo>
                      <a:pt x="841" y="82"/>
                    </a:lnTo>
                    <a:lnTo>
                      <a:pt x="854" y="71"/>
                    </a:lnTo>
                    <a:lnTo>
                      <a:pt x="868" y="62"/>
                    </a:lnTo>
                    <a:lnTo>
                      <a:pt x="883" y="52"/>
                    </a:lnTo>
                    <a:lnTo>
                      <a:pt x="898" y="44"/>
                    </a:lnTo>
                    <a:lnTo>
                      <a:pt x="914" y="35"/>
                    </a:lnTo>
                    <a:lnTo>
                      <a:pt x="930" y="28"/>
                    </a:lnTo>
                    <a:lnTo>
                      <a:pt x="945" y="21"/>
                    </a:lnTo>
                    <a:lnTo>
                      <a:pt x="962" y="16"/>
                    </a:lnTo>
                    <a:lnTo>
                      <a:pt x="979" y="11"/>
                    </a:lnTo>
                    <a:lnTo>
                      <a:pt x="997" y="8"/>
                    </a:lnTo>
                    <a:lnTo>
                      <a:pt x="1015" y="4"/>
                    </a:lnTo>
                    <a:lnTo>
                      <a:pt x="1033" y="1"/>
                    </a:lnTo>
                    <a:lnTo>
                      <a:pt x="1051" y="0"/>
                    </a:lnTo>
                    <a:lnTo>
                      <a:pt x="1070" y="0"/>
                    </a:lnTo>
                    <a:lnTo>
                      <a:pt x="1070" y="0"/>
                    </a:lnTo>
                    <a:lnTo>
                      <a:pt x="1085" y="0"/>
                    </a:lnTo>
                    <a:lnTo>
                      <a:pt x="1101" y="1"/>
                    </a:lnTo>
                    <a:lnTo>
                      <a:pt x="1116" y="2"/>
                    </a:lnTo>
                    <a:lnTo>
                      <a:pt x="1130" y="4"/>
                    </a:lnTo>
                    <a:lnTo>
                      <a:pt x="1159" y="11"/>
                    </a:lnTo>
                    <a:lnTo>
                      <a:pt x="1187" y="19"/>
                    </a:lnTo>
                    <a:lnTo>
                      <a:pt x="1215" y="31"/>
                    </a:lnTo>
                    <a:lnTo>
                      <a:pt x="1240" y="44"/>
                    </a:lnTo>
                    <a:lnTo>
                      <a:pt x="1266" y="59"/>
                    </a:lnTo>
                    <a:lnTo>
                      <a:pt x="1289" y="76"/>
                    </a:lnTo>
                    <a:lnTo>
                      <a:pt x="1311" y="94"/>
                    </a:lnTo>
                    <a:lnTo>
                      <a:pt x="1331" y="114"/>
                    </a:lnTo>
                    <a:lnTo>
                      <a:pt x="1350" y="136"/>
                    </a:lnTo>
                    <a:lnTo>
                      <a:pt x="1367" y="160"/>
                    </a:lnTo>
                    <a:lnTo>
                      <a:pt x="1382" y="184"/>
                    </a:lnTo>
                    <a:lnTo>
                      <a:pt x="1396" y="211"/>
                    </a:lnTo>
                    <a:lnTo>
                      <a:pt x="1406" y="237"/>
                    </a:lnTo>
                    <a:lnTo>
                      <a:pt x="1416" y="266"/>
                    </a:lnTo>
                    <a:lnTo>
                      <a:pt x="1416" y="266"/>
                    </a:lnTo>
                    <a:lnTo>
                      <a:pt x="1442" y="259"/>
                    </a:lnTo>
                    <a:lnTo>
                      <a:pt x="1468" y="254"/>
                    </a:lnTo>
                    <a:lnTo>
                      <a:pt x="1496" y="251"/>
                    </a:lnTo>
                    <a:lnTo>
                      <a:pt x="1524" y="250"/>
                    </a:lnTo>
                    <a:lnTo>
                      <a:pt x="1524" y="250"/>
                    </a:lnTo>
                    <a:lnTo>
                      <a:pt x="1547" y="251"/>
                    </a:lnTo>
                    <a:lnTo>
                      <a:pt x="1569" y="253"/>
                    </a:lnTo>
                    <a:lnTo>
                      <a:pt x="1591" y="255"/>
                    </a:lnTo>
                    <a:lnTo>
                      <a:pt x="1613" y="259"/>
                    </a:lnTo>
                    <a:lnTo>
                      <a:pt x="1634" y="265"/>
                    </a:lnTo>
                    <a:lnTo>
                      <a:pt x="1655" y="270"/>
                    </a:lnTo>
                    <a:lnTo>
                      <a:pt x="1676" y="277"/>
                    </a:lnTo>
                    <a:lnTo>
                      <a:pt x="1696" y="285"/>
                    </a:lnTo>
                    <a:lnTo>
                      <a:pt x="1715" y="294"/>
                    </a:lnTo>
                    <a:lnTo>
                      <a:pt x="1734" y="304"/>
                    </a:lnTo>
                    <a:lnTo>
                      <a:pt x="1753" y="315"/>
                    </a:lnTo>
                    <a:lnTo>
                      <a:pt x="1771" y="326"/>
                    </a:lnTo>
                    <a:lnTo>
                      <a:pt x="1788" y="338"/>
                    </a:lnTo>
                    <a:lnTo>
                      <a:pt x="1804" y="352"/>
                    </a:lnTo>
                    <a:lnTo>
                      <a:pt x="1820" y="366"/>
                    </a:lnTo>
                    <a:lnTo>
                      <a:pt x="1836" y="381"/>
                    </a:lnTo>
                    <a:lnTo>
                      <a:pt x="1850" y="395"/>
                    </a:lnTo>
                    <a:lnTo>
                      <a:pt x="1864" y="411"/>
                    </a:lnTo>
                    <a:lnTo>
                      <a:pt x="1877" y="428"/>
                    </a:lnTo>
                    <a:lnTo>
                      <a:pt x="1889" y="445"/>
                    </a:lnTo>
                    <a:lnTo>
                      <a:pt x="1901" y="463"/>
                    </a:lnTo>
                    <a:lnTo>
                      <a:pt x="1911" y="483"/>
                    </a:lnTo>
                    <a:lnTo>
                      <a:pt x="1922" y="502"/>
                    </a:lnTo>
                    <a:lnTo>
                      <a:pt x="1930" y="521"/>
                    </a:lnTo>
                    <a:lnTo>
                      <a:pt x="1938" y="541"/>
                    </a:lnTo>
                    <a:lnTo>
                      <a:pt x="1945" y="561"/>
                    </a:lnTo>
                    <a:lnTo>
                      <a:pt x="1951" y="582"/>
                    </a:lnTo>
                    <a:lnTo>
                      <a:pt x="1955" y="604"/>
                    </a:lnTo>
                    <a:lnTo>
                      <a:pt x="1960" y="626"/>
                    </a:lnTo>
                    <a:lnTo>
                      <a:pt x="1963" y="648"/>
                    </a:lnTo>
                    <a:lnTo>
                      <a:pt x="1964" y="671"/>
                    </a:lnTo>
                    <a:lnTo>
                      <a:pt x="1965" y="694"/>
                    </a:lnTo>
                  </a:path>
                </a:pathLst>
              </a:custGeom>
              <a:grp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53" name="Group 552"/>
              <p:cNvGrpSpPr/>
              <p:nvPr/>
            </p:nvGrpSpPr>
            <p:grpSpPr>
              <a:xfrm>
                <a:off x="9958162" y="3842127"/>
                <a:ext cx="131264" cy="64413"/>
                <a:chOff x="9930806" y="3846035"/>
                <a:chExt cx="131264" cy="64413"/>
              </a:xfrm>
              <a:grpFill/>
            </p:grpSpPr>
            <p:cxnSp>
              <p:nvCxnSpPr>
                <p:cNvPr id="554" name="Straight Connector 553"/>
                <p:cNvCxnSpPr/>
                <p:nvPr/>
              </p:nvCxnSpPr>
              <p:spPr>
                <a:xfrm flipH="1">
                  <a:off x="99308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5" name="Straight Connector 554"/>
                <p:cNvCxnSpPr/>
                <p:nvPr/>
              </p:nvCxnSpPr>
              <p:spPr>
                <a:xfrm flipH="1">
                  <a:off x="9964673"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6" name="Straight Connector 555"/>
                <p:cNvCxnSpPr/>
                <p:nvPr/>
              </p:nvCxnSpPr>
              <p:spPr>
                <a:xfrm flipH="1">
                  <a:off x="9998540"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7" name="Straight Connector 556"/>
                <p:cNvCxnSpPr/>
                <p:nvPr/>
              </p:nvCxnSpPr>
              <p:spPr>
                <a:xfrm flipH="1">
                  <a:off x="10032406" y="3846035"/>
                  <a:ext cx="29664" cy="64413"/>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grpSp>
        </p:grpSp>
      </p:grpSp>
      <p:grpSp>
        <p:nvGrpSpPr>
          <p:cNvPr id="306" name="Group 305"/>
          <p:cNvGrpSpPr/>
          <p:nvPr/>
        </p:nvGrpSpPr>
        <p:grpSpPr>
          <a:xfrm>
            <a:off x="2407929" y="1167947"/>
            <a:ext cx="614104" cy="745369"/>
            <a:chOff x="468203" y="4773979"/>
            <a:chExt cx="680098" cy="825468"/>
          </a:xfrm>
        </p:grpSpPr>
        <p:sp>
          <p:nvSpPr>
            <p:cNvPr id="307" name="Rectangle 306"/>
            <p:cNvSpPr/>
            <p:nvPr/>
          </p:nvSpPr>
          <p:spPr bwMode="auto">
            <a:xfrm>
              <a:off x="520656" y="4830844"/>
              <a:ext cx="587466" cy="722652"/>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08" name="Group 307"/>
            <p:cNvGrpSpPr/>
            <p:nvPr/>
          </p:nvGrpSpPr>
          <p:grpSpPr>
            <a:xfrm rot="3554732">
              <a:off x="502562" y="4950944"/>
              <a:ext cx="651141" cy="576538"/>
              <a:chOff x="10829750" y="-453599"/>
              <a:chExt cx="1238426" cy="1096537"/>
            </a:xfrm>
            <a:solidFill>
              <a:schemeClr val="accent5"/>
            </a:solidFill>
          </p:grpSpPr>
          <p:sp>
            <p:nvSpPr>
              <p:cNvPr id="312" name="Freeform 21"/>
              <p:cNvSpPr>
                <a:spLocks/>
              </p:cNvSpPr>
              <p:nvPr/>
            </p:nvSpPr>
            <p:spPr bwMode="auto">
              <a:xfrm>
                <a:off x="10923183" y="-71358"/>
                <a:ext cx="611189" cy="679451"/>
              </a:xfrm>
              <a:custGeom>
                <a:avLst/>
                <a:gdLst>
                  <a:gd name="T0" fmla="*/ 0 w 770"/>
                  <a:gd name="T1" fmla="*/ 0 h 855"/>
                  <a:gd name="T2" fmla="*/ 713 w 770"/>
                  <a:gd name="T3" fmla="*/ 855 h 855"/>
                  <a:gd name="T4" fmla="*/ 770 w 770"/>
                  <a:gd name="T5" fmla="*/ 848 h 855"/>
                  <a:gd name="T6" fmla="*/ 0 w 770"/>
                  <a:gd name="T7" fmla="*/ 0 h 855"/>
                </a:gdLst>
                <a:ahLst/>
                <a:cxnLst>
                  <a:cxn ang="0">
                    <a:pos x="T0" y="T1"/>
                  </a:cxn>
                  <a:cxn ang="0">
                    <a:pos x="T2" y="T3"/>
                  </a:cxn>
                  <a:cxn ang="0">
                    <a:pos x="T4" y="T5"/>
                  </a:cxn>
                  <a:cxn ang="0">
                    <a:pos x="T6" y="T7"/>
                  </a:cxn>
                </a:cxnLst>
                <a:rect l="0" t="0" r="r" b="b"/>
                <a:pathLst>
                  <a:path w="770" h="855">
                    <a:moveTo>
                      <a:pt x="0" y="0"/>
                    </a:moveTo>
                    <a:lnTo>
                      <a:pt x="713" y="855"/>
                    </a:lnTo>
                    <a:lnTo>
                      <a:pt x="770" y="84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3" name="Freeform 22"/>
              <p:cNvSpPr>
                <a:spLocks/>
              </p:cNvSpPr>
              <p:nvPr/>
            </p:nvSpPr>
            <p:spPr bwMode="auto">
              <a:xfrm>
                <a:off x="11179292" y="-291387"/>
                <a:ext cx="404813" cy="444499"/>
              </a:xfrm>
              <a:custGeom>
                <a:avLst/>
                <a:gdLst>
                  <a:gd name="T0" fmla="*/ 0 w 509"/>
                  <a:gd name="T1" fmla="*/ 0 h 561"/>
                  <a:gd name="T2" fmla="*/ 450 w 509"/>
                  <a:gd name="T3" fmla="*/ 561 h 561"/>
                  <a:gd name="T4" fmla="*/ 509 w 509"/>
                  <a:gd name="T5" fmla="*/ 553 h 561"/>
                  <a:gd name="T6" fmla="*/ 0 w 509"/>
                  <a:gd name="T7" fmla="*/ 0 h 561"/>
                </a:gdLst>
                <a:ahLst/>
                <a:cxnLst>
                  <a:cxn ang="0">
                    <a:pos x="T0" y="T1"/>
                  </a:cxn>
                  <a:cxn ang="0">
                    <a:pos x="T2" y="T3"/>
                  </a:cxn>
                  <a:cxn ang="0">
                    <a:pos x="T4" y="T5"/>
                  </a:cxn>
                  <a:cxn ang="0">
                    <a:pos x="T6" y="T7"/>
                  </a:cxn>
                </a:cxnLst>
                <a:rect l="0" t="0" r="r" b="b"/>
                <a:pathLst>
                  <a:path w="509" h="561">
                    <a:moveTo>
                      <a:pt x="0" y="0"/>
                    </a:moveTo>
                    <a:lnTo>
                      <a:pt x="450" y="561"/>
                    </a:lnTo>
                    <a:lnTo>
                      <a:pt x="509"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4" name="Freeform 23"/>
              <p:cNvSpPr>
                <a:spLocks/>
              </p:cNvSpPr>
              <p:nvPr/>
            </p:nvSpPr>
            <p:spPr bwMode="auto">
              <a:xfrm>
                <a:off x="11182351" y="-112712"/>
                <a:ext cx="403225" cy="444500"/>
              </a:xfrm>
              <a:custGeom>
                <a:avLst/>
                <a:gdLst>
                  <a:gd name="T0" fmla="*/ 0 w 508"/>
                  <a:gd name="T1" fmla="*/ 0 h 560"/>
                  <a:gd name="T2" fmla="*/ 449 w 508"/>
                  <a:gd name="T3" fmla="*/ 560 h 560"/>
                  <a:gd name="T4" fmla="*/ 508 w 508"/>
                  <a:gd name="T5" fmla="*/ 552 h 560"/>
                  <a:gd name="T6" fmla="*/ 0 w 508"/>
                  <a:gd name="T7" fmla="*/ 0 h 560"/>
                </a:gdLst>
                <a:ahLst/>
                <a:cxnLst>
                  <a:cxn ang="0">
                    <a:pos x="T0" y="T1"/>
                  </a:cxn>
                  <a:cxn ang="0">
                    <a:pos x="T2" y="T3"/>
                  </a:cxn>
                  <a:cxn ang="0">
                    <a:pos x="T4" y="T5"/>
                  </a:cxn>
                  <a:cxn ang="0">
                    <a:pos x="T6" y="T7"/>
                  </a:cxn>
                </a:cxnLst>
                <a:rect l="0" t="0" r="r" b="b"/>
                <a:pathLst>
                  <a:path w="508" h="560">
                    <a:moveTo>
                      <a:pt x="0" y="0"/>
                    </a:moveTo>
                    <a:lnTo>
                      <a:pt x="449" y="560"/>
                    </a:lnTo>
                    <a:lnTo>
                      <a:pt x="508" y="55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5" name="Freeform 24"/>
              <p:cNvSpPr>
                <a:spLocks/>
              </p:cNvSpPr>
              <p:nvPr/>
            </p:nvSpPr>
            <p:spPr bwMode="auto">
              <a:xfrm>
                <a:off x="11239501" y="119063"/>
                <a:ext cx="403225" cy="446088"/>
              </a:xfrm>
              <a:custGeom>
                <a:avLst/>
                <a:gdLst>
                  <a:gd name="T0" fmla="*/ 0 w 508"/>
                  <a:gd name="T1" fmla="*/ 0 h 561"/>
                  <a:gd name="T2" fmla="*/ 451 w 508"/>
                  <a:gd name="T3" fmla="*/ 561 h 561"/>
                  <a:gd name="T4" fmla="*/ 508 w 508"/>
                  <a:gd name="T5" fmla="*/ 553 h 561"/>
                  <a:gd name="T6" fmla="*/ 0 w 508"/>
                  <a:gd name="T7" fmla="*/ 0 h 561"/>
                </a:gdLst>
                <a:ahLst/>
                <a:cxnLst>
                  <a:cxn ang="0">
                    <a:pos x="T0" y="T1"/>
                  </a:cxn>
                  <a:cxn ang="0">
                    <a:pos x="T2" y="T3"/>
                  </a:cxn>
                  <a:cxn ang="0">
                    <a:pos x="T4" y="T5"/>
                  </a:cxn>
                  <a:cxn ang="0">
                    <a:pos x="T6" y="T7"/>
                  </a:cxn>
                </a:cxnLst>
                <a:rect l="0" t="0" r="r" b="b"/>
                <a:pathLst>
                  <a:path w="508" h="561">
                    <a:moveTo>
                      <a:pt x="0" y="0"/>
                    </a:moveTo>
                    <a:lnTo>
                      <a:pt x="451" y="561"/>
                    </a:lnTo>
                    <a:lnTo>
                      <a:pt x="508"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6" name="Freeform 25"/>
              <p:cNvSpPr>
                <a:spLocks/>
              </p:cNvSpPr>
              <p:nvPr/>
            </p:nvSpPr>
            <p:spPr bwMode="auto">
              <a:xfrm>
                <a:off x="11453813" y="-179387"/>
                <a:ext cx="403225" cy="446088"/>
              </a:xfrm>
              <a:custGeom>
                <a:avLst/>
                <a:gdLst>
                  <a:gd name="T0" fmla="*/ 0 w 509"/>
                  <a:gd name="T1" fmla="*/ 0 h 561"/>
                  <a:gd name="T2" fmla="*/ 450 w 509"/>
                  <a:gd name="T3" fmla="*/ 561 h 561"/>
                  <a:gd name="T4" fmla="*/ 509 w 509"/>
                  <a:gd name="T5" fmla="*/ 553 h 561"/>
                  <a:gd name="T6" fmla="*/ 0 w 509"/>
                  <a:gd name="T7" fmla="*/ 0 h 561"/>
                </a:gdLst>
                <a:ahLst/>
                <a:cxnLst>
                  <a:cxn ang="0">
                    <a:pos x="T0" y="T1"/>
                  </a:cxn>
                  <a:cxn ang="0">
                    <a:pos x="T2" y="T3"/>
                  </a:cxn>
                  <a:cxn ang="0">
                    <a:pos x="T4" y="T5"/>
                  </a:cxn>
                  <a:cxn ang="0">
                    <a:pos x="T6" y="T7"/>
                  </a:cxn>
                </a:cxnLst>
                <a:rect l="0" t="0" r="r" b="b"/>
                <a:pathLst>
                  <a:path w="509" h="561">
                    <a:moveTo>
                      <a:pt x="0" y="0"/>
                    </a:moveTo>
                    <a:lnTo>
                      <a:pt x="450" y="561"/>
                    </a:lnTo>
                    <a:lnTo>
                      <a:pt x="509"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7" name="Freeform 26"/>
              <p:cNvSpPr>
                <a:spLocks/>
              </p:cNvSpPr>
              <p:nvPr/>
            </p:nvSpPr>
            <p:spPr bwMode="auto">
              <a:xfrm>
                <a:off x="11615271" y="178144"/>
                <a:ext cx="312738" cy="323850"/>
              </a:xfrm>
              <a:custGeom>
                <a:avLst/>
                <a:gdLst>
                  <a:gd name="T0" fmla="*/ 0 w 394"/>
                  <a:gd name="T1" fmla="*/ 0 h 409"/>
                  <a:gd name="T2" fmla="*/ 335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5"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8" name="Freeform 27"/>
              <p:cNvSpPr>
                <a:spLocks/>
              </p:cNvSpPr>
              <p:nvPr/>
            </p:nvSpPr>
            <p:spPr bwMode="auto">
              <a:xfrm>
                <a:off x="11618913" y="319088"/>
                <a:ext cx="312738" cy="323850"/>
              </a:xfrm>
              <a:custGeom>
                <a:avLst/>
                <a:gdLst>
                  <a:gd name="T0" fmla="*/ 0 w 394"/>
                  <a:gd name="T1" fmla="*/ 0 h 408"/>
                  <a:gd name="T2" fmla="*/ 337 w 394"/>
                  <a:gd name="T3" fmla="*/ 408 h 408"/>
                  <a:gd name="T4" fmla="*/ 394 w 394"/>
                  <a:gd name="T5" fmla="*/ 400 h 408"/>
                  <a:gd name="T6" fmla="*/ 0 w 394"/>
                  <a:gd name="T7" fmla="*/ 0 h 408"/>
                </a:gdLst>
                <a:ahLst/>
                <a:cxnLst>
                  <a:cxn ang="0">
                    <a:pos x="T0" y="T1"/>
                  </a:cxn>
                  <a:cxn ang="0">
                    <a:pos x="T2" y="T3"/>
                  </a:cxn>
                  <a:cxn ang="0">
                    <a:pos x="T4" y="T5"/>
                  </a:cxn>
                  <a:cxn ang="0">
                    <a:pos x="T6" y="T7"/>
                  </a:cxn>
                </a:cxnLst>
                <a:rect l="0" t="0" r="r" b="b"/>
                <a:pathLst>
                  <a:path w="394" h="408">
                    <a:moveTo>
                      <a:pt x="0" y="0"/>
                    </a:moveTo>
                    <a:lnTo>
                      <a:pt x="337" y="408"/>
                    </a:lnTo>
                    <a:lnTo>
                      <a:pt x="394" y="4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 name="Freeform 28"/>
              <p:cNvSpPr>
                <a:spLocks/>
              </p:cNvSpPr>
              <p:nvPr/>
            </p:nvSpPr>
            <p:spPr bwMode="auto">
              <a:xfrm>
                <a:off x="10829750" y="8911"/>
                <a:ext cx="311150" cy="323850"/>
              </a:xfrm>
              <a:custGeom>
                <a:avLst/>
                <a:gdLst>
                  <a:gd name="T0" fmla="*/ 0 w 394"/>
                  <a:gd name="T1" fmla="*/ 0 h 409"/>
                  <a:gd name="T2" fmla="*/ 336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6"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 name="Freeform 29"/>
              <p:cNvSpPr>
                <a:spLocks/>
              </p:cNvSpPr>
              <p:nvPr/>
            </p:nvSpPr>
            <p:spPr bwMode="auto">
              <a:xfrm>
                <a:off x="11366518" y="-453599"/>
                <a:ext cx="312738" cy="323849"/>
              </a:xfrm>
              <a:custGeom>
                <a:avLst/>
                <a:gdLst>
                  <a:gd name="T0" fmla="*/ 0 w 394"/>
                  <a:gd name="T1" fmla="*/ 0 h 409"/>
                  <a:gd name="T2" fmla="*/ 337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7"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1" name="Freeform 30"/>
              <p:cNvSpPr>
                <a:spLocks/>
              </p:cNvSpPr>
              <p:nvPr/>
            </p:nvSpPr>
            <p:spPr bwMode="auto">
              <a:xfrm>
                <a:off x="11755438" y="-6350"/>
                <a:ext cx="312738" cy="325438"/>
              </a:xfrm>
              <a:custGeom>
                <a:avLst/>
                <a:gdLst>
                  <a:gd name="T0" fmla="*/ 0 w 394"/>
                  <a:gd name="T1" fmla="*/ 0 h 409"/>
                  <a:gd name="T2" fmla="*/ 336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6"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09" name="Frame 308"/>
            <p:cNvSpPr/>
            <p:nvPr/>
          </p:nvSpPr>
          <p:spPr bwMode="auto">
            <a:xfrm>
              <a:off x="468203" y="4779094"/>
              <a:ext cx="680098" cy="820353"/>
            </a:xfrm>
            <a:prstGeom prst="frame">
              <a:avLst>
                <a:gd name="adj1" fmla="val 836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0" name="Oval 211"/>
            <p:cNvSpPr>
              <a:spLocks noChangeAspect="1"/>
            </p:cNvSpPr>
            <p:nvPr/>
          </p:nvSpPr>
          <p:spPr bwMode="auto">
            <a:xfrm rot="975581">
              <a:off x="608813" y="4773979"/>
              <a:ext cx="501610" cy="225736"/>
            </a:xfrm>
            <a:custGeom>
              <a:avLst/>
              <a:gdLst/>
              <a:ahLst/>
              <a:cxnLst/>
              <a:rect l="l" t="t" r="r" b="b"/>
              <a:pathLst>
                <a:path w="501610" h="225736">
                  <a:moveTo>
                    <a:pt x="0" y="134319"/>
                  </a:moveTo>
                  <a:lnTo>
                    <a:pt x="460536" y="0"/>
                  </a:lnTo>
                  <a:lnTo>
                    <a:pt x="501610" y="140829"/>
                  </a:lnTo>
                  <a:cubicBezTo>
                    <a:pt x="489496" y="156731"/>
                    <a:pt x="469998" y="165302"/>
                    <a:pt x="448497" y="165302"/>
                  </a:cubicBezTo>
                  <a:cubicBezTo>
                    <a:pt x="434401" y="165302"/>
                    <a:pt x="421165" y="161618"/>
                    <a:pt x="410297" y="154102"/>
                  </a:cubicBezTo>
                  <a:cubicBezTo>
                    <a:pt x="402463" y="195340"/>
                    <a:pt x="365811" y="225736"/>
                    <a:pt x="322059" y="225736"/>
                  </a:cubicBezTo>
                  <a:cubicBezTo>
                    <a:pt x="293094" y="225736"/>
                    <a:pt x="267240" y="212414"/>
                    <a:pt x="251336" y="190712"/>
                  </a:cubicBezTo>
                  <a:cubicBezTo>
                    <a:pt x="230577" y="212392"/>
                    <a:pt x="201307" y="225735"/>
                    <a:pt x="168922" y="225735"/>
                  </a:cubicBezTo>
                  <a:cubicBezTo>
                    <a:pt x="111484" y="225735"/>
                    <a:pt x="63849" y="183765"/>
                    <a:pt x="57198" y="128469"/>
                  </a:cubicBezTo>
                  <a:cubicBezTo>
                    <a:pt x="45499" y="134762"/>
                    <a:pt x="32091" y="137941"/>
                    <a:pt x="17942" y="13794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1B3B41"/>
                </a:solidFill>
                <a:effectLst/>
                <a:uLnTx/>
                <a:uFillTx/>
              </a:endParaRPr>
            </a:p>
          </p:txBody>
        </p:sp>
        <p:sp>
          <p:nvSpPr>
            <p:cNvPr id="311" name="Rectangle 310"/>
            <p:cNvSpPr/>
            <p:nvPr/>
          </p:nvSpPr>
          <p:spPr bwMode="auto">
            <a:xfrm>
              <a:off x="520656" y="5174181"/>
              <a:ext cx="587466" cy="30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733" name="Rectangle 732"/>
          <p:cNvSpPr/>
          <p:nvPr/>
        </p:nvSpPr>
        <p:spPr>
          <a:xfrm>
            <a:off x="3949748" y="1932144"/>
            <a:ext cx="518092"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8C00"/>
                </a:solidFill>
                <a:effectLst/>
                <a:uLnTx/>
                <a:uFillTx/>
                <a:cs typeface="Arial" charset="0"/>
              </a:rPr>
              <a:t>Weath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8C00"/>
                </a:solidFill>
                <a:effectLst/>
                <a:uLnTx/>
                <a:uFillTx/>
                <a:cs typeface="Arial" charset="0"/>
              </a:rPr>
              <a:t>Data</a:t>
            </a:r>
            <a:endParaRPr kumimoji="0" lang="en-US" sz="700" b="0" i="0" u="none" strike="noStrike" kern="0" cap="none" spc="0" normalizeH="0" baseline="0" noProof="0" dirty="0">
              <a:ln>
                <a:noFill/>
              </a:ln>
              <a:solidFill>
                <a:srgbClr val="FF8C00"/>
              </a:solidFill>
              <a:effectLst/>
              <a:uLnTx/>
              <a:uFillTx/>
            </a:endParaRPr>
          </a:p>
        </p:txBody>
      </p:sp>
      <p:sp>
        <p:nvSpPr>
          <p:cNvPr id="473" name="Rectangle 472"/>
          <p:cNvSpPr/>
          <p:nvPr/>
        </p:nvSpPr>
        <p:spPr bwMode="auto">
          <a:xfrm>
            <a:off x="4042422" y="4079874"/>
            <a:ext cx="742596" cy="1603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74" name="Rectangle 1024"/>
          <p:cNvSpPr/>
          <p:nvPr/>
        </p:nvSpPr>
        <p:spPr>
          <a:xfrm>
            <a:off x="4003892" y="3962370"/>
            <a:ext cx="781127" cy="277843"/>
          </a:xfrm>
          <a:custGeom>
            <a:avLst/>
            <a:gdLst/>
            <a:ahLst/>
            <a:cxnLst/>
            <a:rect l="l" t="t" r="r" b="b"/>
            <a:pathLst>
              <a:path w="781127" h="277843">
                <a:moveTo>
                  <a:pt x="60626" y="138921"/>
                </a:moveTo>
                <a:lnTo>
                  <a:pt x="60626" y="235316"/>
                </a:lnTo>
                <a:lnTo>
                  <a:pt x="392349" y="235316"/>
                </a:lnTo>
                <a:lnTo>
                  <a:pt x="392349" y="138921"/>
                </a:lnTo>
                <a:close/>
                <a:moveTo>
                  <a:pt x="0" y="0"/>
                </a:moveTo>
                <a:lnTo>
                  <a:pt x="781127" y="0"/>
                </a:lnTo>
                <a:lnTo>
                  <a:pt x="781127" y="138921"/>
                </a:lnTo>
                <a:lnTo>
                  <a:pt x="686884" y="138921"/>
                </a:lnTo>
                <a:lnTo>
                  <a:pt x="686884" y="235316"/>
                </a:lnTo>
                <a:lnTo>
                  <a:pt x="781127" y="235316"/>
                </a:lnTo>
                <a:lnTo>
                  <a:pt x="781127" y="277843"/>
                </a:lnTo>
                <a:lnTo>
                  <a:pt x="655817" y="277843"/>
                </a:lnTo>
                <a:lnTo>
                  <a:pt x="655817" y="138921"/>
                </a:lnTo>
                <a:lnTo>
                  <a:pt x="542303" y="138921"/>
                </a:lnTo>
                <a:lnTo>
                  <a:pt x="542303" y="277843"/>
                </a:lnTo>
                <a:lnTo>
                  <a:pt x="536928" y="277843"/>
                </a:lnTo>
                <a:lnTo>
                  <a:pt x="536928" y="138921"/>
                </a:lnTo>
                <a:lnTo>
                  <a:pt x="423415" y="138921"/>
                </a:lnTo>
                <a:lnTo>
                  <a:pt x="423415" y="277843"/>
                </a:lnTo>
                <a:lnTo>
                  <a:pt x="0" y="277843"/>
                </a:lnTo>
                <a:close/>
              </a:path>
            </a:pathLst>
          </a:cu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75" name="Trapezoid 652"/>
          <p:cNvSpPr/>
          <p:nvPr/>
        </p:nvSpPr>
        <p:spPr bwMode="auto">
          <a:xfrm>
            <a:off x="3873097" y="3772960"/>
            <a:ext cx="911923" cy="250972"/>
          </a:xfrm>
          <a:custGeom>
            <a:avLst/>
            <a:gdLst/>
            <a:ahLst/>
            <a:cxnLst/>
            <a:rect l="l" t="t" r="r" b="b"/>
            <a:pathLst>
              <a:path w="911923" h="181044">
                <a:moveTo>
                  <a:pt x="45261" y="0"/>
                </a:moveTo>
                <a:lnTo>
                  <a:pt x="911923" y="0"/>
                </a:lnTo>
                <a:lnTo>
                  <a:pt x="911923" y="181044"/>
                </a:lnTo>
                <a:lnTo>
                  <a:pt x="0" y="181044"/>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02" name="Rectangle 501"/>
          <p:cNvSpPr/>
          <p:nvPr/>
        </p:nvSpPr>
        <p:spPr bwMode="auto">
          <a:xfrm>
            <a:off x="4064277" y="3963958"/>
            <a:ext cx="731520" cy="222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503" name="Group 5"/>
          <p:cNvGrpSpPr>
            <a:grpSpLocks noChangeAspect="1"/>
          </p:cNvGrpSpPr>
          <p:nvPr/>
        </p:nvGrpSpPr>
        <p:grpSpPr bwMode="auto">
          <a:xfrm>
            <a:off x="4249315" y="3812280"/>
            <a:ext cx="463672" cy="126096"/>
            <a:chOff x="0" y="1123"/>
            <a:chExt cx="7678" cy="2088"/>
          </a:xfrm>
          <a:solidFill>
            <a:schemeClr val="tx2"/>
          </a:solidFill>
        </p:grpSpPr>
        <p:sp>
          <p:nvSpPr>
            <p:cNvPr id="504" name="Freeform 6"/>
            <p:cNvSpPr>
              <a:spLocks noEditPoints="1"/>
            </p:cNvSpPr>
            <p:nvPr/>
          </p:nvSpPr>
          <p:spPr bwMode="auto">
            <a:xfrm>
              <a:off x="0" y="1127"/>
              <a:ext cx="2030" cy="2084"/>
            </a:xfrm>
            <a:custGeom>
              <a:avLst/>
              <a:gdLst>
                <a:gd name="T0" fmla="*/ 552 w 2030"/>
                <a:gd name="T1" fmla="*/ 6 h 2084"/>
                <a:gd name="T2" fmla="*/ 908 w 2030"/>
                <a:gd name="T3" fmla="*/ 0 h 2084"/>
                <a:gd name="T4" fmla="*/ 1144 w 2030"/>
                <a:gd name="T5" fmla="*/ 21 h 2084"/>
                <a:gd name="T6" fmla="*/ 1346 w 2030"/>
                <a:gd name="T7" fmla="*/ 86 h 2084"/>
                <a:gd name="T8" fmla="*/ 1444 w 2030"/>
                <a:gd name="T9" fmla="*/ 147 h 2084"/>
                <a:gd name="T10" fmla="*/ 1543 w 2030"/>
                <a:gd name="T11" fmla="*/ 251 h 2084"/>
                <a:gd name="T12" fmla="*/ 1592 w 2030"/>
                <a:gd name="T13" fmla="*/ 357 h 2084"/>
                <a:gd name="T14" fmla="*/ 1609 w 2030"/>
                <a:gd name="T15" fmla="*/ 489 h 2084"/>
                <a:gd name="T16" fmla="*/ 1590 w 2030"/>
                <a:gd name="T17" fmla="*/ 618 h 2084"/>
                <a:gd name="T18" fmla="*/ 1545 w 2030"/>
                <a:gd name="T19" fmla="*/ 703 h 2084"/>
                <a:gd name="T20" fmla="*/ 1464 w 2030"/>
                <a:gd name="T21" fmla="*/ 789 h 2084"/>
                <a:gd name="T22" fmla="*/ 1338 w 2030"/>
                <a:gd name="T23" fmla="*/ 862 h 2084"/>
                <a:gd name="T24" fmla="*/ 1144 w 2030"/>
                <a:gd name="T25" fmla="*/ 919 h 2084"/>
                <a:gd name="T26" fmla="*/ 1179 w 2030"/>
                <a:gd name="T27" fmla="*/ 972 h 2084"/>
                <a:gd name="T28" fmla="*/ 1444 w 2030"/>
                <a:gd name="T29" fmla="*/ 1051 h 2084"/>
                <a:gd name="T30" fmla="*/ 1541 w 2030"/>
                <a:gd name="T31" fmla="*/ 1119 h 2084"/>
                <a:gd name="T32" fmla="*/ 1613 w 2030"/>
                <a:gd name="T33" fmla="*/ 1218 h 2084"/>
                <a:gd name="T34" fmla="*/ 1653 w 2030"/>
                <a:gd name="T35" fmla="*/ 1326 h 2084"/>
                <a:gd name="T36" fmla="*/ 1672 w 2030"/>
                <a:gd name="T37" fmla="*/ 1463 h 2084"/>
                <a:gd name="T38" fmla="*/ 1712 w 2030"/>
                <a:gd name="T39" fmla="*/ 1888 h 2084"/>
                <a:gd name="T40" fmla="*/ 1749 w 2030"/>
                <a:gd name="T41" fmla="*/ 1990 h 2084"/>
                <a:gd name="T42" fmla="*/ 1816 w 2030"/>
                <a:gd name="T43" fmla="*/ 2019 h 2084"/>
                <a:gd name="T44" fmla="*/ 1904 w 2030"/>
                <a:gd name="T45" fmla="*/ 2009 h 2084"/>
                <a:gd name="T46" fmla="*/ 1971 w 2030"/>
                <a:gd name="T47" fmla="*/ 1956 h 2084"/>
                <a:gd name="T48" fmla="*/ 1975 w 2030"/>
                <a:gd name="T49" fmla="*/ 2005 h 2084"/>
                <a:gd name="T50" fmla="*/ 1910 w 2030"/>
                <a:gd name="T51" fmla="*/ 2047 h 2084"/>
                <a:gd name="T52" fmla="*/ 1824 w 2030"/>
                <a:gd name="T53" fmla="*/ 2074 h 2084"/>
                <a:gd name="T54" fmla="*/ 1696 w 2030"/>
                <a:gd name="T55" fmla="*/ 2084 h 2084"/>
                <a:gd name="T56" fmla="*/ 1525 w 2030"/>
                <a:gd name="T57" fmla="*/ 2064 h 2084"/>
                <a:gd name="T58" fmla="*/ 1427 w 2030"/>
                <a:gd name="T59" fmla="*/ 2021 h 2084"/>
                <a:gd name="T60" fmla="*/ 1342 w 2030"/>
                <a:gd name="T61" fmla="*/ 1945 h 2084"/>
                <a:gd name="T62" fmla="*/ 1283 w 2030"/>
                <a:gd name="T63" fmla="*/ 1833 h 2084"/>
                <a:gd name="T64" fmla="*/ 1252 w 2030"/>
                <a:gd name="T65" fmla="*/ 1583 h 2084"/>
                <a:gd name="T66" fmla="*/ 1228 w 2030"/>
                <a:gd name="T67" fmla="*/ 1302 h 2084"/>
                <a:gd name="T68" fmla="*/ 1179 w 2030"/>
                <a:gd name="T69" fmla="*/ 1139 h 2084"/>
                <a:gd name="T70" fmla="*/ 1112 w 2030"/>
                <a:gd name="T71" fmla="*/ 1051 h 2084"/>
                <a:gd name="T72" fmla="*/ 1036 w 2030"/>
                <a:gd name="T73" fmla="*/ 1000 h 2084"/>
                <a:gd name="T74" fmla="*/ 900 w 2030"/>
                <a:gd name="T75" fmla="*/ 972 h 2084"/>
                <a:gd name="T76" fmla="*/ 943 w 2030"/>
                <a:gd name="T77" fmla="*/ 2045 h 2084"/>
                <a:gd name="T78" fmla="*/ 0 w 2030"/>
                <a:gd name="T79" fmla="*/ 47 h 2084"/>
                <a:gd name="T80" fmla="*/ 912 w 2030"/>
                <a:gd name="T81" fmla="*/ 923 h 2084"/>
                <a:gd name="T82" fmla="*/ 1000 w 2030"/>
                <a:gd name="T83" fmla="*/ 897 h 2084"/>
                <a:gd name="T84" fmla="*/ 1079 w 2030"/>
                <a:gd name="T85" fmla="*/ 844 h 2084"/>
                <a:gd name="T86" fmla="*/ 1128 w 2030"/>
                <a:gd name="T87" fmla="*/ 774 h 2084"/>
                <a:gd name="T88" fmla="*/ 1163 w 2030"/>
                <a:gd name="T89" fmla="*/ 634 h 2084"/>
                <a:gd name="T90" fmla="*/ 1167 w 2030"/>
                <a:gd name="T91" fmla="*/ 459 h 2084"/>
                <a:gd name="T92" fmla="*/ 1142 w 2030"/>
                <a:gd name="T93" fmla="*/ 261 h 2084"/>
                <a:gd name="T94" fmla="*/ 1083 w 2030"/>
                <a:gd name="T95" fmla="*/ 141 h 2084"/>
                <a:gd name="T96" fmla="*/ 1018 w 2030"/>
                <a:gd name="T97" fmla="*/ 84 h 2084"/>
                <a:gd name="T98" fmla="*/ 947 w 2030"/>
                <a:gd name="T99" fmla="*/ 55 h 2084"/>
                <a:gd name="T100" fmla="*/ 774 w 2030"/>
                <a:gd name="T101" fmla="*/ 39 h 2084"/>
                <a:gd name="T102" fmla="*/ 796 w 2030"/>
                <a:gd name="T103" fmla="*/ 931 h 2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30" h="2084">
                  <a:moveTo>
                    <a:pt x="0" y="47"/>
                  </a:moveTo>
                  <a:lnTo>
                    <a:pt x="0" y="8"/>
                  </a:lnTo>
                  <a:lnTo>
                    <a:pt x="432" y="8"/>
                  </a:lnTo>
                  <a:lnTo>
                    <a:pt x="432" y="8"/>
                  </a:lnTo>
                  <a:lnTo>
                    <a:pt x="552" y="6"/>
                  </a:lnTo>
                  <a:lnTo>
                    <a:pt x="670" y="4"/>
                  </a:lnTo>
                  <a:lnTo>
                    <a:pt x="670" y="4"/>
                  </a:lnTo>
                  <a:lnTo>
                    <a:pt x="788" y="0"/>
                  </a:lnTo>
                  <a:lnTo>
                    <a:pt x="908" y="0"/>
                  </a:lnTo>
                  <a:lnTo>
                    <a:pt x="908" y="0"/>
                  </a:lnTo>
                  <a:lnTo>
                    <a:pt x="965" y="0"/>
                  </a:lnTo>
                  <a:lnTo>
                    <a:pt x="1024" y="6"/>
                  </a:lnTo>
                  <a:lnTo>
                    <a:pt x="1083" y="11"/>
                  </a:lnTo>
                  <a:lnTo>
                    <a:pt x="1144" y="21"/>
                  </a:lnTo>
                  <a:lnTo>
                    <a:pt x="1144" y="21"/>
                  </a:lnTo>
                  <a:lnTo>
                    <a:pt x="1205" y="35"/>
                  </a:lnTo>
                  <a:lnTo>
                    <a:pt x="1264" y="53"/>
                  </a:lnTo>
                  <a:lnTo>
                    <a:pt x="1291" y="63"/>
                  </a:lnTo>
                  <a:lnTo>
                    <a:pt x="1319" y="74"/>
                  </a:lnTo>
                  <a:lnTo>
                    <a:pt x="1346" y="86"/>
                  </a:lnTo>
                  <a:lnTo>
                    <a:pt x="1372" y="100"/>
                  </a:lnTo>
                  <a:lnTo>
                    <a:pt x="1372" y="100"/>
                  </a:lnTo>
                  <a:lnTo>
                    <a:pt x="1397" y="116"/>
                  </a:lnTo>
                  <a:lnTo>
                    <a:pt x="1421" y="131"/>
                  </a:lnTo>
                  <a:lnTo>
                    <a:pt x="1444" y="147"/>
                  </a:lnTo>
                  <a:lnTo>
                    <a:pt x="1466" y="167"/>
                  </a:lnTo>
                  <a:lnTo>
                    <a:pt x="1486" y="184"/>
                  </a:lnTo>
                  <a:lnTo>
                    <a:pt x="1505" y="206"/>
                  </a:lnTo>
                  <a:lnTo>
                    <a:pt x="1525" y="228"/>
                  </a:lnTo>
                  <a:lnTo>
                    <a:pt x="1543" y="251"/>
                  </a:lnTo>
                  <a:lnTo>
                    <a:pt x="1543" y="251"/>
                  </a:lnTo>
                  <a:lnTo>
                    <a:pt x="1558" y="275"/>
                  </a:lnTo>
                  <a:lnTo>
                    <a:pt x="1572" y="300"/>
                  </a:lnTo>
                  <a:lnTo>
                    <a:pt x="1582" y="328"/>
                  </a:lnTo>
                  <a:lnTo>
                    <a:pt x="1592" y="357"/>
                  </a:lnTo>
                  <a:lnTo>
                    <a:pt x="1600" y="387"/>
                  </a:lnTo>
                  <a:lnTo>
                    <a:pt x="1606" y="420"/>
                  </a:lnTo>
                  <a:lnTo>
                    <a:pt x="1608" y="453"/>
                  </a:lnTo>
                  <a:lnTo>
                    <a:pt x="1609" y="489"/>
                  </a:lnTo>
                  <a:lnTo>
                    <a:pt x="1609" y="489"/>
                  </a:lnTo>
                  <a:lnTo>
                    <a:pt x="1608" y="516"/>
                  </a:lnTo>
                  <a:lnTo>
                    <a:pt x="1606" y="544"/>
                  </a:lnTo>
                  <a:lnTo>
                    <a:pt x="1602" y="569"/>
                  </a:lnTo>
                  <a:lnTo>
                    <a:pt x="1596" y="595"/>
                  </a:lnTo>
                  <a:lnTo>
                    <a:pt x="1590" y="618"/>
                  </a:lnTo>
                  <a:lnTo>
                    <a:pt x="1580" y="642"/>
                  </a:lnTo>
                  <a:lnTo>
                    <a:pt x="1570" y="664"/>
                  </a:lnTo>
                  <a:lnTo>
                    <a:pt x="1558" y="683"/>
                  </a:lnTo>
                  <a:lnTo>
                    <a:pt x="1558" y="683"/>
                  </a:lnTo>
                  <a:lnTo>
                    <a:pt x="1545" y="703"/>
                  </a:lnTo>
                  <a:lnTo>
                    <a:pt x="1531" y="723"/>
                  </a:lnTo>
                  <a:lnTo>
                    <a:pt x="1515" y="740"/>
                  </a:lnTo>
                  <a:lnTo>
                    <a:pt x="1499" y="758"/>
                  </a:lnTo>
                  <a:lnTo>
                    <a:pt x="1482" y="774"/>
                  </a:lnTo>
                  <a:lnTo>
                    <a:pt x="1464" y="789"/>
                  </a:lnTo>
                  <a:lnTo>
                    <a:pt x="1444" y="803"/>
                  </a:lnTo>
                  <a:lnTo>
                    <a:pt x="1425" y="817"/>
                  </a:lnTo>
                  <a:lnTo>
                    <a:pt x="1425" y="817"/>
                  </a:lnTo>
                  <a:lnTo>
                    <a:pt x="1383" y="840"/>
                  </a:lnTo>
                  <a:lnTo>
                    <a:pt x="1338" y="862"/>
                  </a:lnTo>
                  <a:lnTo>
                    <a:pt x="1291" y="880"/>
                  </a:lnTo>
                  <a:lnTo>
                    <a:pt x="1242" y="895"/>
                  </a:lnTo>
                  <a:lnTo>
                    <a:pt x="1242" y="895"/>
                  </a:lnTo>
                  <a:lnTo>
                    <a:pt x="1193" y="907"/>
                  </a:lnTo>
                  <a:lnTo>
                    <a:pt x="1144" y="919"/>
                  </a:lnTo>
                  <a:lnTo>
                    <a:pt x="1095" y="927"/>
                  </a:lnTo>
                  <a:lnTo>
                    <a:pt x="1045" y="931"/>
                  </a:lnTo>
                  <a:lnTo>
                    <a:pt x="1045" y="947"/>
                  </a:lnTo>
                  <a:lnTo>
                    <a:pt x="1045" y="947"/>
                  </a:lnTo>
                  <a:lnTo>
                    <a:pt x="1179" y="972"/>
                  </a:lnTo>
                  <a:lnTo>
                    <a:pt x="1295" y="998"/>
                  </a:lnTo>
                  <a:lnTo>
                    <a:pt x="1295" y="998"/>
                  </a:lnTo>
                  <a:lnTo>
                    <a:pt x="1348" y="1011"/>
                  </a:lnTo>
                  <a:lnTo>
                    <a:pt x="1399" y="1029"/>
                  </a:lnTo>
                  <a:lnTo>
                    <a:pt x="1444" y="1051"/>
                  </a:lnTo>
                  <a:lnTo>
                    <a:pt x="1486" y="1074"/>
                  </a:lnTo>
                  <a:lnTo>
                    <a:pt x="1486" y="1074"/>
                  </a:lnTo>
                  <a:lnTo>
                    <a:pt x="1505" y="1088"/>
                  </a:lnTo>
                  <a:lnTo>
                    <a:pt x="1525" y="1104"/>
                  </a:lnTo>
                  <a:lnTo>
                    <a:pt x="1541" y="1119"/>
                  </a:lnTo>
                  <a:lnTo>
                    <a:pt x="1558" y="1135"/>
                  </a:lnTo>
                  <a:lnTo>
                    <a:pt x="1574" y="1155"/>
                  </a:lnTo>
                  <a:lnTo>
                    <a:pt x="1588" y="1174"/>
                  </a:lnTo>
                  <a:lnTo>
                    <a:pt x="1602" y="1196"/>
                  </a:lnTo>
                  <a:lnTo>
                    <a:pt x="1613" y="1218"/>
                  </a:lnTo>
                  <a:lnTo>
                    <a:pt x="1613" y="1218"/>
                  </a:lnTo>
                  <a:lnTo>
                    <a:pt x="1625" y="1241"/>
                  </a:lnTo>
                  <a:lnTo>
                    <a:pt x="1635" y="1267"/>
                  </a:lnTo>
                  <a:lnTo>
                    <a:pt x="1645" y="1294"/>
                  </a:lnTo>
                  <a:lnTo>
                    <a:pt x="1653" y="1326"/>
                  </a:lnTo>
                  <a:lnTo>
                    <a:pt x="1659" y="1357"/>
                  </a:lnTo>
                  <a:lnTo>
                    <a:pt x="1665" y="1391"/>
                  </a:lnTo>
                  <a:lnTo>
                    <a:pt x="1668" y="1426"/>
                  </a:lnTo>
                  <a:lnTo>
                    <a:pt x="1672" y="1463"/>
                  </a:lnTo>
                  <a:lnTo>
                    <a:pt x="1672" y="1463"/>
                  </a:lnTo>
                  <a:lnTo>
                    <a:pt x="1696" y="1752"/>
                  </a:lnTo>
                  <a:lnTo>
                    <a:pt x="1696" y="1752"/>
                  </a:lnTo>
                  <a:lnTo>
                    <a:pt x="1700" y="1803"/>
                  </a:lnTo>
                  <a:lnTo>
                    <a:pt x="1706" y="1848"/>
                  </a:lnTo>
                  <a:lnTo>
                    <a:pt x="1712" y="1888"/>
                  </a:lnTo>
                  <a:lnTo>
                    <a:pt x="1720" y="1921"/>
                  </a:lnTo>
                  <a:lnTo>
                    <a:pt x="1720" y="1921"/>
                  </a:lnTo>
                  <a:lnTo>
                    <a:pt x="1727" y="1948"/>
                  </a:lnTo>
                  <a:lnTo>
                    <a:pt x="1737" y="1972"/>
                  </a:lnTo>
                  <a:lnTo>
                    <a:pt x="1749" y="1990"/>
                  </a:lnTo>
                  <a:lnTo>
                    <a:pt x="1763" y="2001"/>
                  </a:lnTo>
                  <a:lnTo>
                    <a:pt x="1763" y="2001"/>
                  </a:lnTo>
                  <a:lnTo>
                    <a:pt x="1777" y="2009"/>
                  </a:lnTo>
                  <a:lnTo>
                    <a:pt x="1796" y="2017"/>
                  </a:lnTo>
                  <a:lnTo>
                    <a:pt x="1816" y="2019"/>
                  </a:lnTo>
                  <a:lnTo>
                    <a:pt x="1841" y="2021"/>
                  </a:lnTo>
                  <a:lnTo>
                    <a:pt x="1841" y="2021"/>
                  </a:lnTo>
                  <a:lnTo>
                    <a:pt x="1869" y="2019"/>
                  </a:lnTo>
                  <a:lnTo>
                    <a:pt x="1892" y="2013"/>
                  </a:lnTo>
                  <a:lnTo>
                    <a:pt x="1904" y="2009"/>
                  </a:lnTo>
                  <a:lnTo>
                    <a:pt x="1916" y="2003"/>
                  </a:lnTo>
                  <a:lnTo>
                    <a:pt x="1926" y="1996"/>
                  </a:lnTo>
                  <a:lnTo>
                    <a:pt x="1936" y="1988"/>
                  </a:lnTo>
                  <a:lnTo>
                    <a:pt x="1936" y="1988"/>
                  </a:lnTo>
                  <a:lnTo>
                    <a:pt x="1971" y="1956"/>
                  </a:lnTo>
                  <a:lnTo>
                    <a:pt x="2001" y="1927"/>
                  </a:lnTo>
                  <a:lnTo>
                    <a:pt x="2030" y="1952"/>
                  </a:lnTo>
                  <a:lnTo>
                    <a:pt x="2030" y="1952"/>
                  </a:lnTo>
                  <a:lnTo>
                    <a:pt x="1975" y="2005"/>
                  </a:lnTo>
                  <a:lnTo>
                    <a:pt x="1975" y="2005"/>
                  </a:lnTo>
                  <a:lnTo>
                    <a:pt x="1959" y="2017"/>
                  </a:lnTo>
                  <a:lnTo>
                    <a:pt x="1946" y="2029"/>
                  </a:lnTo>
                  <a:lnTo>
                    <a:pt x="1928" y="2039"/>
                  </a:lnTo>
                  <a:lnTo>
                    <a:pt x="1910" y="2047"/>
                  </a:lnTo>
                  <a:lnTo>
                    <a:pt x="1910" y="2047"/>
                  </a:lnTo>
                  <a:lnTo>
                    <a:pt x="1892" y="2055"/>
                  </a:lnTo>
                  <a:lnTo>
                    <a:pt x="1871" y="2062"/>
                  </a:lnTo>
                  <a:lnTo>
                    <a:pt x="1849" y="2068"/>
                  </a:lnTo>
                  <a:lnTo>
                    <a:pt x="1824" y="2074"/>
                  </a:lnTo>
                  <a:lnTo>
                    <a:pt x="1824" y="2074"/>
                  </a:lnTo>
                  <a:lnTo>
                    <a:pt x="1796" y="2078"/>
                  </a:lnTo>
                  <a:lnTo>
                    <a:pt x="1767" y="2082"/>
                  </a:lnTo>
                  <a:lnTo>
                    <a:pt x="1731" y="2084"/>
                  </a:lnTo>
                  <a:lnTo>
                    <a:pt x="1696" y="2084"/>
                  </a:lnTo>
                  <a:lnTo>
                    <a:pt x="1696" y="2084"/>
                  </a:lnTo>
                  <a:lnTo>
                    <a:pt x="1657" y="2084"/>
                  </a:lnTo>
                  <a:lnTo>
                    <a:pt x="1621" y="2082"/>
                  </a:lnTo>
                  <a:lnTo>
                    <a:pt x="1586" y="2078"/>
                  </a:lnTo>
                  <a:lnTo>
                    <a:pt x="1554" y="2072"/>
                  </a:lnTo>
                  <a:lnTo>
                    <a:pt x="1525" y="2064"/>
                  </a:lnTo>
                  <a:lnTo>
                    <a:pt x="1497" y="2056"/>
                  </a:lnTo>
                  <a:lnTo>
                    <a:pt x="1472" y="2047"/>
                  </a:lnTo>
                  <a:lnTo>
                    <a:pt x="1448" y="2035"/>
                  </a:lnTo>
                  <a:lnTo>
                    <a:pt x="1448" y="2035"/>
                  </a:lnTo>
                  <a:lnTo>
                    <a:pt x="1427" y="2021"/>
                  </a:lnTo>
                  <a:lnTo>
                    <a:pt x="1407" y="2007"/>
                  </a:lnTo>
                  <a:lnTo>
                    <a:pt x="1389" y="1994"/>
                  </a:lnTo>
                  <a:lnTo>
                    <a:pt x="1372" y="1978"/>
                  </a:lnTo>
                  <a:lnTo>
                    <a:pt x="1356" y="1962"/>
                  </a:lnTo>
                  <a:lnTo>
                    <a:pt x="1342" y="1945"/>
                  </a:lnTo>
                  <a:lnTo>
                    <a:pt x="1328" y="1929"/>
                  </a:lnTo>
                  <a:lnTo>
                    <a:pt x="1317" y="1909"/>
                  </a:lnTo>
                  <a:lnTo>
                    <a:pt x="1317" y="1909"/>
                  </a:lnTo>
                  <a:lnTo>
                    <a:pt x="1297" y="1872"/>
                  </a:lnTo>
                  <a:lnTo>
                    <a:pt x="1283" y="1833"/>
                  </a:lnTo>
                  <a:lnTo>
                    <a:pt x="1271" y="1791"/>
                  </a:lnTo>
                  <a:lnTo>
                    <a:pt x="1264" y="1748"/>
                  </a:lnTo>
                  <a:lnTo>
                    <a:pt x="1264" y="1748"/>
                  </a:lnTo>
                  <a:lnTo>
                    <a:pt x="1256" y="1664"/>
                  </a:lnTo>
                  <a:lnTo>
                    <a:pt x="1252" y="1583"/>
                  </a:lnTo>
                  <a:lnTo>
                    <a:pt x="1252" y="1583"/>
                  </a:lnTo>
                  <a:lnTo>
                    <a:pt x="1244" y="1469"/>
                  </a:lnTo>
                  <a:lnTo>
                    <a:pt x="1236" y="1357"/>
                  </a:lnTo>
                  <a:lnTo>
                    <a:pt x="1236" y="1357"/>
                  </a:lnTo>
                  <a:lnTo>
                    <a:pt x="1228" y="1302"/>
                  </a:lnTo>
                  <a:lnTo>
                    <a:pt x="1218" y="1253"/>
                  </a:lnTo>
                  <a:lnTo>
                    <a:pt x="1205" y="1204"/>
                  </a:lnTo>
                  <a:lnTo>
                    <a:pt x="1189" y="1161"/>
                  </a:lnTo>
                  <a:lnTo>
                    <a:pt x="1189" y="1161"/>
                  </a:lnTo>
                  <a:lnTo>
                    <a:pt x="1179" y="1139"/>
                  </a:lnTo>
                  <a:lnTo>
                    <a:pt x="1167" y="1119"/>
                  </a:lnTo>
                  <a:lnTo>
                    <a:pt x="1156" y="1102"/>
                  </a:lnTo>
                  <a:lnTo>
                    <a:pt x="1142" y="1084"/>
                  </a:lnTo>
                  <a:lnTo>
                    <a:pt x="1128" y="1066"/>
                  </a:lnTo>
                  <a:lnTo>
                    <a:pt x="1112" y="1051"/>
                  </a:lnTo>
                  <a:lnTo>
                    <a:pt x="1095" y="1037"/>
                  </a:lnTo>
                  <a:lnTo>
                    <a:pt x="1077" y="1023"/>
                  </a:lnTo>
                  <a:lnTo>
                    <a:pt x="1077" y="1023"/>
                  </a:lnTo>
                  <a:lnTo>
                    <a:pt x="1057" y="1011"/>
                  </a:lnTo>
                  <a:lnTo>
                    <a:pt x="1036" y="1000"/>
                  </a:lnTo>
                  <a:lnTo>
                    <a:pt x="1012" y="992"/>
                  </a:lnTo>
                  <a:lnTo>
                    <a:pt x="987" y="984"/>
                  </a:lnTo>
                  <a:lnTo>
                    <a:pt x="961" y="978"/>
                  </a:lnTo>
                  <a:lnTo>
                    <a:pt x="932" y="974"/>
                  </a:lnTo>
                  <a:lnTo>
                    <a:pt x="900" y="972"/>
                  </a:lnTo>
                  <a:lnTo>
                    <a:pt x="869" y="972"/>
                  </a:lnTo>
                  <a:lnTo>
                    <a:pt x="680" y="972"/>
                  </a:lnTo>
                  <a:lnTo>
                    <a:pt x="680" y="2003"/>
                  </a:lnTo>
                  <a:lnTo>
                    <a:pt x="943" y="2003"/>
                  </a:lnTo>
                  <a:lnTo>
                    <a:pt x="943" y="2045"/>
                  </a:lnTo>
                  <a:lnTo>
                    <a:pt x="0" y="2045"/>
                  </a:lnTo>
                  <a:lnTo>
                    <a:pt x="0" y="2003"/>
                  </a:lnTo>
                  <a:lnTo>
                    <a:pt x="263" y="2003"/>
                  </a:lnTo>
                  <a:lnTo>
                    <a:pt x="263" y="47"/>
                  </a:lnTo>
                  <a:lnTo>
                    <a:pt x="0" y="47"/>
                  </a:lnTo>
                  <a:close/>
                  <a:moveTo>
                    <a:pt x="796" y="931"/>
                  </a:moveTo>
                  <a:lnTo>
                    <a:pt x="796" y="931"/>
                  </a:lnTo>
                  <a:lnTo>
                    <a:pt x="857" y="929"/>
                  </a:lnTo>
                  <a:lnTo>
                    <a:pt x="886" y="927"/>
                  </a:lnTo>
                  <a:lnTo>
                    <a:pt x="912" y="923"/>
                  </a:lnTo>
                  <a:lnTo>
                    <a:pt x="935" y="917"/>
                  </a:lnTo>
                  <a:lnTo>
                    <a:pt x="959" y="911"/>
                  </a:lnTo>
                  <a:lnTo>
                    <a:pt x="981" y="905"/>
                  </a:lnTo>
                  <a:lnTo>
                    <a:pt x="1000" y="897"/>
                  </a:lnTo>
                  <a:lnTo>
                    <a:pt x="1000" y="897"/>
                  </a:lnTo>
                  <a:lnTo>
                    <a:pt x="1018" y="888"/>
                  </a:lnTo>
                  <a:lnTo>
                    <a:pt x="1034" y="878"/>
                  </a:lnTo>
                  <a:lnTo>
                    <a:pt x="1049" y="868"/>
                  </a:lnTo>
                  <a:lnTo>
                    <a:pt x="1065" y="856"/>
                  </a:lnTo>
                  <a:lnTo>
                    <a:pt x="1079" y="844"/>
                  </a:lnTo>
                  <a:lnTo>
                    <a:pt x="1091" y="833"/>
                  </a:lnTo>
                  <a:lnTo>
                    <a:pt x="1101" y="819"/>
                  </a:lnTo>
                  <a:lnTo>
                    <a:pt x="1110" y="805"/>
                  </a:lnTo>
                  <a:lnTo>
                    <a:pt x="1110" y="805"/>
                  </a:lnTo>
                  <a:lnTo>
                    <a:pt x="1128" y="774"/>
                  </a:lnTo>
                  <a:lnTo>
                    <a:pt x="1142" y="742"/>
                  </a:lnTo>
                  <a:lnTo>
                    <a:pt x="1152" y="707"/>
                  </a:lnTo>
                  <a:lnTo>
                    <a:pt x="1159" y="672"/>
                  </a:lnTo>
                  <a:lnTo>
                    <a:pt x="1159" y="672"/>
                  </a:lnTo>
                  <a:lnTo>
                    <a:pt x="1163" y="634"/>
                  </a:lnTo>
                  <a:lnTo>
                    <a:pt x="1165" y="597"/>
                  </a:lnTo>
                  <a:lnTo>
                    <a:pt x="1167" y="558"/>
                  </a:lnTo>
                  <a:lnTo>
                    <a:pt x="1169" y="520"/>
                  </a:lnTo>
                  <a:lnTo>
                    <a:pt x="1169" y="520"/>
                  </a:lnTo>
                  <a:lnTo>
                    <a:pt x="1167" y="459"/>
                  </a:lnTo>
                  <a:lnTo>
                    <a:pt x="1163" y="402"/>
                  </a:lnTo>
                  <a:lnTo>
                    <a:pt x="1159" y="351"/>
                  </a:lnTo>
                  <a:lnTo>
                    <a:pt x="1152" y="304"/>
                  </a:lnTo>
                  <a:lnTo>
                    <a:pt x="1152" y="304"/>
                  </a:lnTo>
                  <a:lnTo>
                    <a:pt x="1142" y="261"/>
                  </a:lnTo>
                  <a:lnTo>
                    <a:pt x="1128" y="222"/>
                  </a:lnTo>
                  <a:lnTo>
                    <a:pt x="1112" y="186"/>
                  </a:lnTo>
                  <a:lnTo>
                    <a:pt x="1095" y="155"/>
                  </a:lnTo>
                  <a:lnTo>
                    <a:pt x="1095" y="155"/>
                  </a:lnTo>
                  <a:lnTo>
                    <a:pt x="1083" y="141"/>
                  </a:lnTo>
                  <a:lnTo>
                    <a:pt x="1073" y="127"/>
                  </a:lnTo>
                  <a:lnTo>
                    <a:pt x="1059" y="116"/>
                  </a:lnTo>
                  <a:lnTo>
                    <a:pt x="1047" y="104"/>
                  </a:lnTo>
                  <a:lnTo>
                    <a:pt x="1032" y="94"/>
                  </a:lnTo>
                  <a:lnTo>
                    <a:pt x="1018" y="84"/>
                  </a:lnTo>
                  <a:lnTo>
                    <a:pt x="1000" y="74"/>
                  </a:lnTo>
                  <a:lnTo>
                    <a:pt x="985" y="68"/>
                  </a:lnTo>
                  <a:lnTo>
                    <a:pt x="985" y="68"/>
                  </a:lnTo>
                  <a:lnTo>
                    <a:pt x="965" y="61"/>
                  </a:lnTo>
                  <a:lnTo>
                    <a:pt x="947" y="55"/>
                  </a:lnTo>
                  <a:lnTo>
                    <a:pt x="904" y="47"/>
                  </a:lnTo>
                  <a:lnTo>
                    <a:pt x="857" y="41"/>
                  </a:lnTo>
                  <a:lnTo>
                    <a:pt x="806" y="39"/>
                  </a:lnTo>
                  <a:lnTo>
                    <a:pt x="806" y="39"/>
                  </a:lnTo>
                  <a:lnTo>
                    <a:pt x="774" y="39"/>
                  </a:lnTo>
                  <a:lnTo>
                    <a:pt x="743" y="41"/>
                  </a:lnTo>
                  <a:lnTo>
                    <a:pt x="743" y="41"/>
                  </a:lnTo>
                  <a:lnTo>
                    <a:pt x="680" y="47"/>
                  </a:lnTo>
                  <a:lnTo>
                    <a:pt x="680" y="931"/>
                  </a:lnTo>
                  <a:lnTo>
                    <a:pt x="796" y="9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5" name="Freeform 7"/>
            <p:cNvSpPr>
              <a:spLocks noEditPoints="1"/>
            </p:cNvSpPr>
            <p:nvPr/>
          </p:nvSpPr>
          <p:spPr bwMode="auto">
            <a:xfrm>
              <a:off x="2067" y="1905"/>
              <a:ext cx="1231" cy="1304"/>
            </a:xfrm>
            <a:custGeom>
              <a:avLst/>
              <a:gdLst>
                <a:gd name="T0" fmla="*/ 395 w 1231"/>
                <a:gd name="T1" fmla="*/ 884 h 1304"/>
                <a:gd name="T2" fmla="*/ 425 w 1231"/>
                <a:gd name="T3" fmla="*/ 1029 h 1304"/>
                <a:gd name="T4" fmla="*/ 462 w 1231"/>
                <a:gd name="T5" fmla="*/ 1113 h 1304"/>
                <a:gd name="T6" fmla="*/ 515 w 1231"/>
                <a:gd name="T7" fmla="*/ 1182 h 1304"/>
                <a:gd name="T8" fmla="*/ 568 w 1231"/>
                <a:gd name="T9" fmla="*/ 1225 h 1304"/>
                <a:gd name="T10" fmla="*/ 661 w 1231"/>
                <a:gd name="T11" fmla="*/ 1259 h 1304"/>
                <a:gd name="T12" fmla="*/ 749 w 1231"/>
                <a:gd name="T13" fmla="*/ 1267 h 1304"/>
                <a:gd name="T14" fmla="*/ 855 w 1231"/>
                <a:gd name="T15" fmla="*/ 1255 h 1304"/>
                <a:gd name="T16" fmla="*/ 944 w 1231"/>
                <a:gd name="T17" fmla="*/ 1223 h 1304"/>
                <a:gd name="T18" fmla="*/ 1046 w 1231"/>
                <a:gd name="T19" fmla="*/ 1151 h 1304"/>
                <a:gd name="T20" fmla="*/ 1115 w 1231"/>
                <a:gd name="T21" fmla="*/ 1068 h 1304"/>
                <a:gd name="T22" fmla="*/ 1166 w 1231"/>
                <a:gd name="T23" fmla="*/ 968 h 1304"/>
                <a:gd name="T24" fmla="*/ 1213 w 1231"/>
                <a:gd name="T25" fmla="*/ 948 h 1304"/>
                <a:gd name="T26" fmla="*/ 1166 w 1231"/>
                <a:gd name="T27" fmla="*/ 1064 h 1304"/>
                <a:gd name="T28" fmla="*/ 1099 w 1231"/>
                <a:gd name="T29" fmla="*/ 1153 h 1304"/>
                <a:gd name="T30" fmla="*/ 1003 w 1231"/>
                <a:gd name="T31" fmla="*/ 1227 h 1304"/>
                <a:gd name="T32" fmla="*/ 898 w 1231"/>
                <a:gd name="T33" fmla="*/ 1277 h 1304"/>
                <a:gd name="T34" fmla="*/ 796 w 1231"/>
                <a:gd name="T35" fmla="*/ 1298 h 1304"/>
                <a:gd name="T36" fmla="*/ 671 w 1231"/>
                <a:gd name="T37" fmla="*/ 1302 h 1304"/>
                <a:gd name="T38" fmla="*/ 529 w 1231"/>
                <a:gd name="T39" fmla="*/ 1286 h 1304"/>
                <a:gd name="T40" fmla="*/ 429 w 1231"/>
                <a:gd name="T41" fmla="*/ 1259 h 1304"/>
                <a:gd name="T42" fmla="*/ 309 w 1231"/>
                <a:gd name="T43" fmla="*/ 1204 h 1304"/>
                <a:gd name="T44" fmla="*/ 205 w 1231"/>
                <a:gd name="T45" fmla="*/ 1131 h 1304"/>
                <a:gd name="T46" fmla="*/ 138 w 1231"/>
                <a:gd name="T47" fmla="*/ 1062 h 1304"/>
                <a:gd name="T48" fmla="*/ 69 w 1231"/>
                <a:gd name="T49" fmla="*/ 954 h 1304"/>
                <a:gd name="T50" fmla="*/ 30 w 1231"/>
                <a:gd name="T51" fmla="*/ 862 h 1304"/>
                <a:gd name="T52" fmla="*/ 4 w 1231"/>
                <a:gd name="T53" fmla="*/ 725 h 1304"/>
                <a:gd name="T54" fmla="*/ 0 w 1231"/>
                <a:gd name="T55" fmla="*/ 618 h 1304"/>
                <a:gd name="T56" fmla="*/ 20 w 1231"/>
                <a:gd name="T57" fmla="*/ 497 h 1304"/>
                <a:gd name="T58" fmla="*/ 51 w 1231"/>
                <a:gd name="T59" fmla="*/ 408 h 1304"/>
                <a:gd name="T60" fmla="*/ 112 w 1231"/>
                <a:gd name="T61" fmla="*/ 298 h 1304"/>
                <a:gd name="T62" fmla="*/ 193 w 1231"/>
                <a:gd name="T63" fmla="*/ 200 h 1304"/>
                <a:gd name="T64" fmla="*/ 266 w 1231"/>
                <a:gd name="T65" fmla="*/ 137 h 1304"/>
                <a:gd name="T66" fmla="*/ 376 w 1231"/>
                <a:gd name="T67" fmla="*/ 68 h 1304"/>
                <a:gd name="T68" fmla="*/ 466 w 1231"/>
                <a:gd name="T69" fmla="*/ 31 h 1304"/>
                <a:gd name="T70" fmla="*/ 598 w 1231"/>
                <a:gd name="T71" fmla="*/ 2 h 1304"/>
                <a:gd name="T72" fmla="*/ 718 w 1231"/>
                <a:gd name="T73" fmla="*/ 2 h 1304"/>
                <a:gd name="T74" fmla="*/ 867 w 1231"/>
                <a:gd name="T75" fmla="*/ 31 h 1304"/>
                <a:gd name="T76" fmla="*/ 961 w 1231"/>
                <a:gd name="T77" fmla="*/ 70 h 1304"/>
                <a:gd name="T78" fmla="*/ 1048 w 1231"/>
                <a:gd name="T79" fmla="*/ 127 h 1304"/>
                <a:gd name="T80" fmla="*/ 1103 w 1231"/>
                <a:gd name="T81" fmla="*/ 182 h 1304"/>
                <a:gd name="T82" fmla="*/ 1166 w 1231"/>
                <a:gd name="T83" fmla="*/ 273 h 1304"/>
                <a:gd name="T84" fmla="*/ 1201 w 1231"/>
                <a:gd name="T85" fmla="*/ 353 h 1304"/>
                <a:gd name="T86" fmla="*/ 1227 w 1231"/>
                <a:gd name="T87" fmla="*/ 477 h 1304"/>
                <a:gd name="T88" fmla="*/ 386 w 1231"/>
                <a:gd name="T89" fmla="*/ 677 h 1304"/>
                <a:gd name="T90" fmla="*/ 841 w 1231"/>
                <a:gd name="T91" fmla="*/ 239 h 1304"/>
                <a:gd name="T92" fmla="*/ 822 w 1231"/>
                <a:gd name="T93" fmla="*/ 147 h 1304"/>
                <a:gd name="T94" fmla="*/ 784 w 1231"/>
                <a:gd name="T95" fmla="*/ 88 h 1304"/>
                <a:gd name="T96" fmla="*/ 745 w 1231"/>
                <a:gd name="T97" fmla="*/ 57 h 1304"/>
                <a:gd name="T98" fmla="*/ 659 w 1231"/>
                <a:gd name="T99" fmla="*/ 39 h 1304"/>
                <a:gd name="T100" fmla="*/ 592 w 1231"/>
                <a:gd name="T101" fmla="*/ 45 h 1304"/>
                <a:gd name="T102" fmla="*/ 521 w 1231"/>
                <a:gd name="T103" fmla="*/ 74 h 1304"/>
                <a:gd name="T104" fmla="*/ 462 w 1231"/>
                <a:gd name="T105" fmla="*/ 137 h 1304"/>
                <a:gd name="T106" fmla="*/ 417 w 1231"/>
                <a:gd name="T107" fmla="*/ 237 h 1304"/>
                <a:gd name="T108" fmla="*/ 397 w 1231"/>
                <a:gd name="T109" fmla="*/ 353 h 1304"/>
                <a:gd name="T110" fmla="*/ 843 w 1231"/>
                <a:gd name="T111" fmla="*/ 316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1" h="1304">
                  <a:moveTo>
                    <a:pt x="386" y="677"/>
                  </a:moveTo>
                  <a:lnTo>
                    <a:pt x="386" y="677"/>
                  </a:lnTo>
                  <a:lnTo>
                    <a:pt x="389" y="780"/>
                  </a:lnTo>
                  <a:lnTo>
                    <a:pt x="395" y="884"/>
                  </a:lnTo>
                  <a:lnTo>
                    <a:pt x="395" y="884"/>
                  </a:lnTo>
                  <a:lnTo>
                    <a:pt x="401" y="935"/>
                  </a:lnTo>
                  <a:lnTo>
                    <a:pt x="411" y="984"/>
                  </a:lnTo>
                  <a:lnTo>
                    <a:pt x="425" y="1029"/>
                  </a:lnTo>
                  <a:lnTo>
                    <a:pt x="441" y="1072"/>
                  </a:lnTo>
                  <a:lnTo>
                    <a:pt x="441" y="1072"/>
                  </a:lnTo>
                  <a:lnTo>
                    <a:pt x="450" y="1094"/>
                  </a:lnTo>
                  <a:lnTo>
                    <a:pt x="462" y="1113"/>
                  </a:lnTo>
                  <a:lnTo>
                    <a:pt x="474" y="1133"/>
                  </a:lnTo>
                  <a:lnTo>
                    <a:pt x="486" y="1151"/>
                  </a:lnTo>
                  <a:lnTo>
                    <a:pt x="502" y="1167"/>
                  </a:lnTo>
                  <a:lnTo>
                    <a:pt x="515" y="1182"/>
                  </a:lnTo>
                  <a:lnTo>
                    <a:pt x="533" y="1198"/>
                  </a:lnTo>
                  <a:lnTo>
                    <a:pt x="549" y="1212"/>
                  </a:lnTo>
                  <a:lnTo>
                    <a:pt x="549" y="1212"/>
                  </a:lnTo>
                  <a:lnTo>
                    <a:pt x="568" y="1225"/>
                  </a:lnTo>
                  <a:lnTo>
                    <a:pt x="588" y="1235"/>
                  </a:lnTo>
                  <a:lnTo>
                    <a:pt x="612" y="1245"/>
                  </a:lnTo>
                  <a:lnTo>
                    <a:pt x="635" y="1253"/>
                  </a:lnTo>
                  <a:lnTo>
                    <a:pt x="661" y="1259"/>
                  </a:lnTo>
                  <a:lnTo>
                    <a:pt x="688" y="1263"/>
                  </a:lnTo>
                  <a:lnTo>
                    <a:pt x="718" y="1265"/>
                  </a:lnTo>
                  <a:lnTo>
                    <a:pt x="749" y="1267"/>
                  </a:lnTo>
                  <a:lnTo>
                    <a:pt x="749" y="1267"/>
                  </a:lnTo>
                  <a:lnTo>
                    <a:pt x="779" y="1265"/>
                  </a:lnTo>
                  <a:lnTo>
                    <a:pt x="804" y="1263"/>
                  </a:lnTo>
                  <a:lnTo>
                    <a:pt x="830" y="1261"/>
                  </a:lnTo>
                  <a:lnTo>
                    <a:pt x="855" y="1255"/>
                  </a:lnTo>
                  <a:lnTo>
                    <a:pt x="879" y="1249"/>
                  </a:lnTo>
                  <a:lnTo>
                    <a:pt x="900" y="1241"/>
                  </a:lnTo>
                  <a:lnTo>
                    <a:pt x="922" y="1233"/>
                  </a:lnTo>
                  <a:lnTo>
                    <a:pt x="944" y="1223"/>
                  </a:lnTo>
                  <a:lnTo>
                    <a:pt x="944" y="1223"/>
                  </a:lnTo>
                  <a:lnTo>
                    <a:pt x="981" y="1202"/>
                  </a:lnTo>
                  <a:lnTo>
                    <a:pt x="1014" y="1176"/>
                  </a:lnTo>
                  <a:lnTo>
                    <a:pt x="1046" y="1151"/>
                  </a:lnTo>
                  <a:lnTo>
                    <a:pt x="1071" y="1125"/>
                  </a:lnTo>
                  <a:lnTo>
                    <a:pt x="1071" y="1125"/>
                  </a:lnTo>
                  <a:lnTo>
                    <a:pt x="1095" y="1098"/>
                  </a:lnTo>
                  <a:lnTo>
                    <a:pt x="1115" y="1068"/>
                  </a:lnTo>
                  <a:lnTo>
                    <a:pt x="1132" y="1043"/>
                  </a:lnTo>
                  <a:lnTo>
                    <a:pt x="1146" y="1015"/>
                  </a:lnTo>
                  <a:lnTo>
                    <a:pt x="1146" y="1015"/>
                  </a:lnTo>
                  <a:lnTo>
                    <a:pt x="1166" y="968"/>
                  </a:lnTo>
                  <a:lnTo>
                    <a:pt x="1170" y="948"/>
                  </a:lnTo>
                  <a:lnTo>
                    <a:pt x="1174" y="935"/>
                  </a:lnTo>
                  <a:lnTo>
                    <a:pt x="1213" y="948"/>
                  </a:lnTo>
                  <a:lnTo>
                    <a:pt x="1213" y="948"/>
                  </a:lnTo>
                  <a:lnTo>
                    <a:pt x="1205" y="976"/>
                  </a:lnTo>
                  <a:lnTo>
                    <a:pt x="1193" y="1005"/>
                  </a:lnTo>
                  <a:lnTo>
                    <a:pt x="1181" y="1035"/>
                  </a:lnTo>
                  <a:lnTo>
                    <a:pt x="1166" y="1064"/>
                  </a:lnTo>
                  <a:lnTo>
                    <a:pt x="1166" y="1064"/>
                  </a:lnTo>
                  <a:lnTo>
                    <a:pt x="1146" y="1096"/>
                  </a:lnTo>
                  <a:lnTo>
                    <a:pt x="1124" y="1123"/>
                  </a:lnTo>
                  <a:lnTo>
                    <a:pt x="1099" y="1153"/>
                  </a:lnTo>
                  <a:lnTo>
                    <a:pt x="1069" y="1178"/>
                  </a:lnTo>
                  <a:lnTo>
                    <a:pt x="1069" y="1178"/>
                  </a:lnTo>
                  <a:lnTo>
                    <a:pt x="1038" y="1204"/>
                  </a:lnTo>
                  <a:lnTo>
                    <a:pt x="1003" y="1227"/>
                  </a:lnTo>
                  <a:lnTo>
                    <a:pt x="963" y="1249"/>
                  </a:lnTo>
                  <a:lnTo>
                    <a:pt x="922" y="1269"/>
                  </a:lnTo>
                  <a:lnTo>
                    <a:pt x="922" y="1269"/>
                  </a:lnTo>
                  <a:lnTo>
                    <a:pt x="898" y="1277"/>
                  </a:lnTo>
                  <a:lnTo>
                    <a:pt x="875" y="1282"/>
                  </a:lnTo>
                  <a:lnTo>
                    <a:pt x="849" y="1290"/>
                  </a:lnTo>
                  <a:lnTo>
                    <a:pt x="824" y="1294"/>
                  </a:lnTo>
                  <a:lnTo>
                    <a:pt x="796" y="1298"/>
                  </a:lnTo>
                  <a:lnTo>
                    <a:pt x="767" y="1302"/>
                  </a:lnTo>
                  <a:lnTo>
                    <a:pt x="708" y="1304"/>
                  </a:lnTo>
                  <a:lnTo>
                    <a:pt x="708" y="1304"/>
                  </a:lnTo>
                  <a:lnTo>
                    <a:pt x="671" y="1302"/>
                  </a:lnTo>
                  <a:lnTo>
                    <a:pt x="633" y="1300"/>
                  </a:lnTo>
                  <a:lnTo>
                    <a:pt x="598" y="1298"/>
                  </a:lnTo>
                  <a:lnTo>
                    <a:pt x="562" y="1292"/>
                  </a:lnTo>
                  <a:lnTo>
                    <a:pt x="529" y="1286"/>
                  </a:lnTo>
                  <a:lnTo>
                    <a:pt x="496" y="1278"/>
                  </a:lnTo>
                  <a:lnTo>
                    <a:pt x="462" y="1269"/>
                  </a:lnTo>
                  <a:lnTo>
                    <a:pt x="429" y="1259"/>
                  </a:lnTo>
                  <a:lnTo>
                    <a:pt x="429" y="1259"/>
                  </a:lnTo>
                  <a:lnTo>
                    <a:pt x="397" y="1247"/>
                  </a:lnTo>
                  <a:lnTo>
                    <a:pt x="368" y="1235"/>
                  </a:lnTo>
                  <a:lnTo>
                    <a:pt x="336" y="1220"/>
                  </a:lnTo>
                  <a:lnTo>
                    <a:pt x="309" y="1204"/>
                  </a:lnTo>
                  <a:lnTo>
                    <a:pt x="281" y="1188"/>
                  </a:lnTo>
                  <a:lnTo>
                    <a:pt x="254" y="1170"/>
                  </a:lnTo>
                  <a:lnTo>
                    <a:pt x="228" y="1151"/>
                  </a:lnTo>
                  <a:lnTo>
                    <a:pt x="205" y="1131"/>
                  </a:lnTo>
                  <a:lnTo>
                    <a:pt x="205" y="1131"/>
                  </a:lnTo>
                  <a:lnTo>
                    <a:pt x="181" y="1110"/>
                  </a:lnTo>
                  <a:lnTo>
                    <a:pt x="160" y="1086"/>
                  </a:lnTo>
                  <a:lnTo>
                    <a:pt x="138" y="1062"/>
                  </a:lnTo>
                  <a:lnTo>
                    <a:pt x="118" y="1037"/>
                  </a:lnTo>
                  <a:lnTo>
                    <a:pt x="101" y="1011"/>
                  </a:lnTo>
                  <a:lnTo>
                    <a:pt x="85" y="984"/>
                  </a:lnTo>
                  <a:lnTo>
                    <a:pt x="69" y="954"/>
                  </a:lnTo>
                  <a:lnTo>
                    <a:pt x="53" y="925"/>
                  </a:lnTo>
                  <a:lnTo>
                    <a:pt x="53" y="925"/>
                  </a:lnTo>
                  <a:lnTo>
                    <a:pt x="42" y="893"/>
                  </a:lnTo>
                  <a:lnTo>
                    <a:pt x="30" y="862"/>
                  </a:lnTo>
                  <a:lnTo>
                    <a:pt x="22" y="829"/>
                  </a:lnTo>
                  <a:lnTo>
                    <a:pt x="14" y="795"/>
                  </a:lnTo>
                  <a:lnTo>
                    <a:pt x="8" y="760"/>
                  </a:lnTo>
                  <a:lnTo>
                    <a:pt x="4" y="725"/>
                  </a:lnTo>
                  <a:lnTo>
                    <a:pt x="0" y="687"/>
                  </a:lnTo>
                  <a:lnTo>
                    <a:pt x="0" y="648"/>
                  </a:lnTo>
                  <a:lnTo>
                    <a:pt x="0" y="648"/>
                  </a:lnTo>
                  <a:lnTo>
                    <a:pt x="0" y="618"/>
                  </a:lnTo>
                  <a:lnTo>
                    <a:pt x="2" y="587"/>
                  </a:lnTo>
                  <a:lnTo>
                    <a:pt x="8" y="558"/>
                  </a:lnTo>
                  <a:lnTo>
                    <a:pt x="12" y="526"/>
                  </a:lnTo>
                  <a:lnTo>
                    <a:pt x="20" y="497"/>
                  </a:lnTo>
                  <a:lnTo>
                    <a:pt x="30" y="467"/>
                  </a:lnTo>
                  <a:lnTo>
                    <a:pt x="40" y="438"/>
                  </a:lnTo>
                  <a:lnTo>
                    <a:pt x="51" y="408"/>
                  </a:lnTo>
                  <a:lnTo>
                    <a:pt x="51" y="408"/>
                  </a:lnTo>
                  <a:lnTo>
                    <a:pt x="65" y="379"/>
                  </a:lnTo>
                  <a:lnTo>
                    <a:pt x="79" y="351"/>
                  </a:lnTo>
                  <a:lnTo>
                    <a:pt x="95" y="324"/>
                  </a:lnTo>
                  <a:lnTo>
                    <a:pt x="112" y="298"/>
                  </a:lnTo>
                  <a:lnTo>
                    <a:pt x="130" y="273"/>
                  </a:lnTo>
                  <a:lnTo>
                    <a:pt x="150" y="247"/>
                  </a:lnTo>
                  <a:lnTo>
                    <a:pt x="171" y="224"/>
                  </a:lnTo>
                  <a:lnTo>
                    <a:pt x="193" y="200"/>
                  </a:lnTo>
                  <a:lnTo>
                    <a:pt x="193" y="200"/>
                  </a:lnTo>
                  <a:lnTo>
                    <a:pt x="217" y="178"/>
                  </a:lnTo>
                  <a:lnTo>
                    <a:pt x="240" y="159"/>
                  </a:lnTo>
                  <a:lnTo>
                    <a:pt x="266" y="137"/>
                  </a:lnTo>
                  <a:lnTo>
                    <a:pt x="291" y="119"/>
                  </a:lnTo>
                  <a:lnTo>
                    <a:pt x="319" y="102"/>
                  </a:lnTo>
                  <a:lnTo>
                    <a:pt x="346" y="84"/>
                  </a:lnTo>
                  <a:lnTo>
                    <a:pt x="376" y="68"/>
                  </a:lnTo>
                  <a:lnTo>
                    <a:pt x="405" y="55"/>
                  </a:lnTo>
                  <a:lnTo>
                    <a:pt x="405" y="55"/>
                  </a:lnTo>
                  <a:lnTo>
                    <a:pt x="435" y="41"/>
                  </a:lnTo>
                  <a:lnTo>
                    <a:pt x="466" y="31"/>
                  </a:lnTo>
                  <a:lnTo>
                    <a:pt x="500" y="21"/>
                  </a:lnTo>
                  <a:lnTo>
                    <a:pt x="531" y="13"/>
                  </a:lnTo>
                  <a:lnTo>
                    <a:pt x="564" y="7"/>
                  </a:lnTo>
                  <a:lnTo>
                    <a:pt x="598" y="2"/>
                  </a:lnTo>
                  <a:lnTo>
                    <a:pt x="631" y="0"/>
                  </a:lnTo>
                  <a:lnTo>
                    <a:pt x="667" y="0"/>
                  </a:lnTo>
                  <a:lnTo>
                    <a:pt x="667" y="0"/>
                  </a:lnTo>
                  <a:lnTo>
                    <a:pt x="718" y="2"/>
                  </a:lnTo>
                  <a:lnTo>
                    <a:pt x="767" y="7"/>
                  </a:lnTo>
                  <a:lnTo>
                    <a:pt x="818" y="17"/>
                  </a:lnTo>
                  <a:lnTo>
                    <a:pt x="867" y="31"/>
                  </a:lnTo>
                  <a:lnTo>
                    <a:pt x="867" y="31"/>
                  </a:lnTo>
                  <a:lnTo>
                    <a:pt x="893" y="39"/>
                  </a:lnTo>
                  <a:lnTo>
                    <a:pt x="916" y="49"/>
                  </a:lnTo>
                  <a:lnTo>
                    <a:pt x="940" y="59"/>
                  </a:lnTo>
                  <a:lnTo>
                    <a:pt x="961" y="70"/>
                  </a:lnTo>
                  <a:lnTo>
                    <a:pt x="985" y="84"/>
                  </a:lnTo>
                  <a:lnTo>
                    <a:pt x="1007" y="98"/>
                  </a:lnTo>
                  <a:lnTo>
                    <a:pt x="1026" y="112"/>
                  </a:lnTo>
                  <a:lnTo>
                    <a:pt x="1048" y="127"/>
                  </a:lnTo>
                  <a:lnTo>
                    <a:pt x="1048" y="127"/>
                  </a:lnTo>
                  <a:lnTo>
                    <a:pt x="1067" y="145"/>
                  </a:lnTo>
                  <a:lnTo>
                    <a:pt x="1085" y="163"/>
                  </a:lnTo>
                  <a:lnTo>
                    <a:pt x="1103" y="182"/>
                  </a:lnTo>
                  <a:lnTo>
                    <a:pt x="1121" y="204"/>
                  </a:lnTo>
                  <a:lnTo>
                    <a:pt x="1136" y="226"/>
                  </a:lnTo>
                  <a:lnTo>
                    <a:pt x="1152" y="249"/>
                  </a:lnTo>
                  <a:lnTo>
                    <a:pt x="1166" y="273"/>
                  </a:lnTo>
                  <a:lnTo>
                    <a:pt x="1179" y="298"/>
                  </a:lnTo>
                  <a:lnTo>
                    <a:pt x="1179" y="298"/>
                  </a:lnTo>
                  <a:lnTo>
                    <a:pt x="1191" y="324"/>
                  </a:lnTo>
                  <a:lnTo>
                    <a:pt x="1201" y="353"/>
                  </a:lnTo>
                  <a:lnTo>
                    <a:pt x="1211" y="383"/>
                  </a:lnTo>
                  <a:lnTo>
                    <a:pt x="1217" y="412"/>
                  </a:lnTo>
                  <a:lnTo>
                    <a:pt x="1223" y="446"/>
                  </a:lnTo>
                  <a:lnTo>
                    <a:pt x="1227" y="477"/>
                  </a:lnTo>
                  <a:lnTo>
                    <a:pt x="1231" y="512"/>
                  </a:lnTo>
                  <a:lnTo>
                    <a:pt x="1231" y="548"/>
                  </a:lnTo>
                  <a:lnTo>
                    <a:pt x="386" y="548"/>
                  </a:lnTo>
                  <a:lnTo>
                    <a:pt x="386" y="677"/>
                  </a:lnTo>
                  <a:close/>
                  <a:moveTo>
                    <a:pt x="843" y="316"/>
                  </a:moveTo>
                  <a:lnTo>
                    <a:pt x="843" y="316"/>
                  </a:lnTo>
                  <a:lnTo>
                    <a:pt x="841" y="239"/>
                  </a:lnTo>
                  <a:lnTo>
                    <a:pt x="841" y="239"/>
                  </a:lnTo>
                  <a:lnTo>
                    <a:pt x="840" y="216"/>
                  </a:lnTo>
                  <a:lnTo>
                    <a:pt x="836" y="194"/>
                  </a:lnTo>
                  <a:lnTo>
                    <a:pt x="830" y="171"/>
                  </a:lnTo>
                  <a:lnTo>
                    <a:pt x="822" y="147"/>
                  </a:lnTo>
                  <a:lnTo>
                    <a:pt x="822" y="147"/>
                  </a:lnTo>
                  <a:lnTo>
                    <a:pt x="812" y="125"/>
                  </a:lnTo>
                  <a:lnTo>
                    <a:pt x="798" y="106"/>
                  </a:lnTo>
                  <a:lnTo>
                    <a:pt x="784" y="88"/>
                  </a:lnTo>
                  <a:lnTo>
                    <a:pt x="765" y="70"/>
                  </a:lnTo>
                  <a:lnTo>
                    <a:pt x="765" y="70"/>
                  </a:lnTo>
                  <a:lnTo>
                    <a:pt x="755" y="62"/>
                  </a:lnTo>
                  <a:lnTo>
                    <a:pt x="745" y="57"/>
                  </a:lnTo>
                  <a:lnTo>
                    <a:pt x="731" y="51"/>
                  </a:lnTo>
                  <a:lnTo>
                    <a:pt x="720" y="47"/>
                  </a:lnTo>
                  <a:lnTo>
                    <a:pt x="690" y="41"/>
                  </a:lnTo>
                  <a:lnTo>
                    <a:pt x="659" y="39"/>
                  </a:lnTo>
                  <a:lnTo>
                    <a:pt x="659" y="39"/>
                  </a:lnTo>
                  <a:lnTo>
                    <a:pt x="635" y="39"/>
                  </a:lnTo>
                  <a:lnTo>
                    <a:pt x="612" y="43"/>
                  </a:lnTo>
                  <a:lnTo>
                    <a:pt x="592" y="45"/>
                  </a:lnTo>
                  <a:lnTo>
                    <a:pt x="572" y="51"/>
                  </a:lnTo>
                  <a:lnTo>
                    <a:pt x="555" y="57"/>
                  </a:lnTo>
                  <a:lnTo>
                    <a:pt x="537" y="64"/>
                  </a:lnTo>
                  <a:lnTo>
                    <a:pt x="521" y="74"/>
                  </a:lnTo>
                  <a:lnTo>
                    <a:pt x="507" y="84"/>
                  </a:lnTo>
                  <a:lnTo>
                    <a:pt x="507" y="84"/>
                  </a:lnTo>
                  <a:lnTo>
                    <a:pt x="484" y="110"/>
                  </a:lnTo>
                  <a:lnTo>
                    <a:pt x="462" y="137"/>
                  </a:lnTo>
                  <a:lnTo>
                    <a:pt x="445" y="167"/>
                  </a:lnTo>
                  <a:lnTo>
                    <a:pt x="429" y="200"/>
                  </a:lnTo>
                  <a:lnTo>
                    <a:pt x="429" y="200"/>
                  </a:lnTo>
                  <a:lnTo>
                    <a:pt x="417" y="237"/>
                  </a:lnTo>
                  <a:lnTo>
                    <a:pt x="409" y="273"/>
                  </a:lnTo>
                  <a:lnTo>
                    <a:pt x="401" y="312"/>
                  </a:lnTo>
                  <a:lnTo>
                    <a:pt x="397" y="353"/>
                  </a:lnTo>
                  <a:lnTo>
                    <a:pt x="397" y="353"/>
                  </a:lnTo>
                  <a:lnTo>
                    <a:pt x="389" y="432"/>
                  </a:lnTo>
                  <a:lnTo>
                    <a:pt x="386" y="508"/>
                  </a:lnTo>
                  <a:lnTo>
                    <a:pt x="843" y="508"/>
                  </a:lnTo>
                  <a:lnTo>
                    <a:pt x="843" y="3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6" name="Freeform 8"/>
            <p:cNvSpPr>
              <a:spLocks/>
            </p:cNvSpPr>
            <p:nvPr/>
          </p:nvSpPr>
          <p:spPr bwMode="auto">
            <a:xfrm>
              <a:off x="3494" y="1575"/>
              <a:ext cx="975" cy="1634"/>
            </a:xfrm>
            <a:custGeom>
              <a:avLst/>
              <a:gdLst>
                <a:gd name="T0" fmla="*/ 279 w 975"/>
                <a:gd name="T1" fmla="*/ 29 h 1634"/>
                <a:gd name="T2" fmla="*/ 324 w 975"/>
                <a:gd name="T3" fmla="*/ 37 h 1634"/>
                <a:gd name="T4" fmla="*/ 368 w 975"/>
                <a:gd name="T5" fmla="*/ 41 h 1634"/>
                <a:gd name="T6" fmla="*/ 389 w 975"/>
                <a:gd name="T7" fmla="*/ 39 h 1634"/>
                <a:gd name="T8" fmla="*/ 432 w 975"/>
                <a:gd name="T9" fmla="*/ 33 h 1634"/>
                <a:gd name="T10" fmla="*/ 454 w 975"/>
                <a:gd name="T11" fmla="*/ 29 h 1634"/>
                <a:gd name="T12" fmla="*/ 543 w 975"/>
                <a:gd name="T13" fmla="*/ 0 h 1634"/>
                <a:gd name="T14" fmla="*/ 877 w 975"/>
                <a:gd name="T15" fmla="*/ 369 h 1634"/>
                <a:gd name="T16" fmla="*/ 543 w 975"/>
                <a:gd name="T17" fmla="*/ 408 h 1634"/>
                <a:gd name="T18" fmla="*/ 543 w 975"/>
                <a:gd name="T19" fmla="*/ 1367 h 1634"/>
                <a:gd name="T20" fmla="*/ 548 w 975"/>
                <a:gd name="T21" fmla="*/ 1447 h 1634"/>
                <a:gd name="T22" fmla="*/ 550 w 975"/>
                <a:gd name="T23" fmla="*/ 1465 h 1634"/>
                <a:gd name="T24" fmla="*/ 562 w 975"/>
                <a:gd name="T25" fmla="*/ 1498 h 1634"/>
                <a:gd name="T26" fmla="*/ 570 w 975"/>
                <a:gd name="T27" fmla="*/ 1514 h 1634"/>
                <a:gd name="T28" fmla="*/ 588 w 975"/>
                <a:gd name="T29" fmla="*/ 1542 h 1634"/>
                <a:gd name="T30" fmla="*/ 615 w 975"/>
                <a:gd name="T31" fmla="*/ 1561 h 1634"/>
                <a:gd name="T32" fmla="*/ 631 w 975"/>
                <a:gd name="T33" fmla="*/ 1569 h 1634"/>
                <a:gd name="T34" fmla="*/ 670 w 975"/>
                <a:gd name="T35" fmla="*/ 1577 h 1634"/>
                <a:gd name="T36" fmla="*/ 694 w 975"/>
                <a:gd name="T37" fmla="*/ 1579 h 1634"/>
                <a:gd name="T38" fmla="*/ 745 w 975"/>
                <a:gd name="T39" fmla="*/ 1573 h 1634"/>
                <a:gd name="T40" fmla="*/ 786 w 975"/>
                <a:gd name="T41" fmla="*/ 1555 h 1634"/>
                <a:gd name="T42" fmla="*/ 806 w 975"/>
                <a:gd name="T43" fmla="*/ 1544 h 1634"/>
                <a:gd name="T44" fmla="*/ 839 w 975"/>
                <a:gd name="T45" fmla="*/ 1514 h 1634"/>
                <a:gd name="T46" fmla="*/ 853 w 975"/>
                <a:gd name="T47" fmla="*/ 1498 h 1634"/>
                <a:gd name="T48" fmla="*/ 881 w 975"/>
                <a:gd name="T49" fmla="*/ 1459 h 1634"/>
                <a:gd name="T50" fmla="*/ 900 w 975"/>
                <a:gd name="T51" fmla="*/ 1416 h 1634"/>
                <a:gd name="T52" fmla="*/ 918 w 975"/>
                <a:gd name="T53" fmla="*/ 1371 h 1634"/>
                <a:gd name="T54" fmla="*/ 975 w 975"/>
                <a:gd name="T55" fmla="*/ 1335 h 1634"/>
                <a:gd name="T56" fmla="*/ 963 w 975"/>
                <a:gd name="T57" fmla="*/ 1383 h 1634"/>
                <a:gd name="T58" fmla="*/ 943 w 975"/>
                <a:gd name="T59" fmla="*/ 1442 h 1634"/>
                <a:gd name="T60" fmla="*/ 926 w 975"/>
                <a:gd name="T61" fmla="*/ 1477 h 1634"/>
                <a:gd name="T62" fmla="*/ 916 w 975"/>
                <a:gd name="T63" fmla="*/ 1493 h 1634"/>
                <a:gd name="T64" fmla="*/ 871 w 975"/>
                <a:gd name="T65" fmla="*/ 1544 h 1634"/>
                <a:gd name="T66" fmla="*/ 822 w 975"/>
                <a:gd name="T67" fmla="*/ 1581 h 1634"/>
                <a:gd name="T68" fmla="*/ 794 w 975"/>
                <a:gd name="T69" fmla="*/ 1597 h 1634"/>
                <a:gd name="T70" fmla="*/ 737 w 975"/>
                <a:gd name="T71" fmla="*/ 1616 h 1634"/>
                <a:gd name="T72" fmla="*/ 708 w 975"/>
                <a:gd name="T73" fmla="*/ 1624 h 1634"/>
                <a:gd name="T74" fmla="*/ 621 w 975"/>
                <a:gd name="T75" fmla="*/ 1632 h 1634"/>
                <a:gd name="T76" fmla="*/ 594 w 975"/>
                <a:gd name="T77" fmla="*/ 1634 h 1634"/>
                <a:gd name="T78" fmla="*/ 491 w 975"/>
                <a:gd name="T79" fmla="*/ 1628 h 1634"/>
                <a:gd name="T80" fmla="*/ 434 w 975"/>
                <a:gd name="T81" fmla="*/ 1620 h 1634"/>
                <a:gd name="T82" fmla="*/ 385 w 975"/>
                <a:gd name="T83" fmla="*/ 1607 h 1634"/>
                <a:gd name="T84" fmla="*/ 364 w 975"/>
                <a:gd name="T85" fmla="*/ 1599 h 1634"/>
                <a:gd name="T86" fmla="*/ 293 w 975"/>
                <a:gd name="T87" fmla="*/ 1561 h 1634"/>
                <a:gd name="T88" fmla="*/ 265 w 975"/>
                <a:gd name="T89" fmla="*/ 1538 h 1634"/>
                <a:gd name="T90" fmla="*/ 244 w 975"/>
                <a:gd name="T91" fmla="*/ 1514 h 1634"/>
                <a:gd name="T92" fmla="*/ 226 w 975"/>
                <a:gd name="T93" fmla="*/ 1487 h 1634"/>
                <a:gd name="T94" fmla="*/ 203 w 975"/>
                <a:gd name="T95" fmla="*/ 1432 h 1634"/>
                <a:gd name="T96" fmla="*/ 199 w 975"/>
                <a:gd name="T97" fmla="*/ 1402 h 1634"/>
                <a:gd name="T98" fmla="*/ 193 w 975"/>
                <a:gd name="T99" fmla="*/ 1290 h 1634"/>
                <a:gd name="T100" fmla="*/ 0 w 975"/>
                <a:gd name="T101" fmla="*/ 408 h 1634"/>
                <a:gd name="T102" fmla="*/ 193 w 975"/>
                <a:gd name="T103" fmla="*/ 369 h 1634"/>
                <a:gd name="T104" fmla="*/ 193 w 975"/>
                <a:gd name="T105" fmla="*/ 0 h 1634"/>
                <a:gd name="T106" fmla="*/ 279 w 975"/>
                <a:gd name="T107" fmla="*/ 29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5" h="1634">
                  <a:moveTo>
                    <a:pt x="279" y="29"/>
                  </a:moveTo>
                  <a:lnTo>
                    <a:pt x="279" y="29"/>
                  </a:lnTo>
                  <a:lnTo>
                    <a:pt x="303" y="33"/>
                  </a:lnTo>
                  <a:lnTo>
                    <a:pt x="324" y="37"/>
                  </a:lnTo>
                  <a:lnTo>
                    <a:pt x="346" y="39"/>
                  </a:lnTo>
                  <a:lnTo>
                    <a:pt x="368" y="41"/>
                  </a:lnTo>
                  <a:lnTo>
                    <a:pt x="368" y="41"/>
                  </a:lnTo>
                  <a:lnTo>
                    <a:pt x="389" y="39"/>
                  </a:lnTo>
                  <a:lnTo>
                    <a:pt x="411" y="37"/>
                  </a:lnTo>
                  <a:lnTo>
                    <a:pt x="432" y="33"/>
                  </a:lnTo>
                  <a:lnTo>
                    <a:pt x="454" y="29"/>
                  </a:lnTo>
                  <a:lnTo>
                    <a:pt x="454" y="29"/>
                  </a:lnTo>
                  <a:lnTo>
                    <a:pt x="499" y="15"/>
                  </a:lnTo>
                  <a:lnTo>
                    <a:pt x="543" y="0"/>
                  </a:lnTo>
                  <a:lnTo>
                    <a:pt x="543" y="369"/>
                  </a:lnTo>
                  <a:lnTo>
                    <a:pt x="877" y="369"/>
                  </a:lnTo>
                  <a:lnTo>
                    <a:pt x="877" y="408"/>
                  </a:lnTo>
                  <a:lnTo>
                    <a:pt x="543" y="408"/>
                  </a:lnTo>
                  <a:lnTo>
                    <a:pt x="543" y="1367"/>
                  </a:lnTo>
                  <a:lnTo>
                    <a:pt x="543" y="1367"/>
                  </a:lnTo>
                  <a:lnTo>
                    <a:pt x="543" y="1408"/>
                  </a:lnTo>
                  <a:lnTo>
                    <a:pt x="548" y="1447"/>
                  </a:lnTo>
                  <a:lnTo>
                    <a:pt x="548" y="1447"/>
                  </a:lnTo>
                  <a:lnTo>
                    <a:pt x="550" y="1465"/>
                  </a:lnTo>
                  <a:lnTo>
                    <a:pt x="556" y="1483"/>
                  </a:lnTo>
                  <a:lnTo>
                    <a:pt x="562" y="1498"/>
                  </a:lnTo>
                  <a:lnTo>
                    <a:pt x="570" y="1514"/>
                  </a:lnTo>
                  <a:lnTo>
                    <a:pt x="570" y="1514"/>
                  </a:lnTo>
                  <a:lnTo>
                    <a:pt x="578" y="1530"/>
                  </a:lnTo>
                  <a:lnTo>
                    <a:pt x="588" y="1542"/>
                  </a:lnTo>
                  <a:lnTo>
                    <a:pt x="601" y="1553"/>
                  </a:lnTo>
                  <a:lnTo>
                    <a:pt x="615" y="1561"/>
                  </a:lnTo>
                  <a:lnTo>
                    <a:pt x="615" y="1561"/>
                  </a:lnTo>
                  <a:lnTo>
                    <a:pt x="631" y="1569"/>
                  </a:lnTo>
                  <a:lnTo>
                    <a:pt x="649" y="1575"/>
                  </a:lnTo>
                  <a:lnTo>
                    <a:pt x="670" y="1577"/>
                  </a:lnTo>
                  <a:lnTo>
                    <a:pt x="694" y="1579"/>
                  </a:lnTo>
                  <a:lnTo>
                    <a:pt x="694" y="1579"/>
                  </a:lnTo>
                  <a:lnTo>
                    <a:pt x="719" y="1577"/>
                  </a:lnTo>
                  <a:lnTo>
                    <a:pt x="745" y="1573"/>
                  </a:lnTo>
                  <a:lnTo>
                    <a:pt x="767" y="1565"/>
                  </a:lnTo>
                  <a:lnTo>
                    <a:pt x="786" y="1555"/>
                  </a:lnTo>
                  <a:lnTo>
                    <a:pt x="786" y="1555"/>
                  </a:lnTo>
                  <a:lnTo>
                    <a:pt x="806" y="1544"/>
                  </a:lnTo>
                  <a:lnTo>
                    <a:pt x="824" y="1530"/>
                  </a:lnTo>
                  <a:lnTo>
                    <a:pt x="839" y="1514"/>
                  </a:lnTo>
                  <a:lnTo>
                    <a:pt x="853" y="1498"/>
                  </a:lnTo>
                  <a:lnTo>
                    <a:pt x="853" y="1498"/>
                  </a:lnTo>
                  <a:lnTo>
                    <a:pt x="867" y="1479"/>
                  </a:lnTo>
                  <a:lnTo>
                    <a:pt x="881" y="1459"/>
                  </a:lnTo>
                  <a:lnTo>
                    <a:pt x="890" y="1438"/>
                  </a:lnTo>
                  <a:lnTo>
                    <a:pt x="900" y="1416"/>
                  </a:lnTo>
                  <a:lnTo>
                    <a:pt x="900" y="1416"/>
                  </a:lnTo>
                  <a:lnTo>
                    <a:pt x="918" y="1371"/>
                  </a:lnTo>
                  <a:lnTo>
                    <a:pt x="932" y="1328"/>
                  </a:lnTo>
                  <a:lnTo>
                    <a:pt x="975" y="1335"/>
                  </a:lnTo>
                  <a:lnTo>
                    <a:pt x="975" y="1335"/>
                  </a:lnTo>
                  <a:lnTo>
                    <a:pt x="963" y="1383"/>
                  </a:lnTo>
                  <a:lnTo>
                    <a:pt x="951" y="1424"/>
                  </a:lnTo>
                  <a:lnTo>
                    <a:pt x="943" y="1442"/>
                  </a:lnTo>
                  <a:lnTo>
                    <a:pt x="934" y="1459"/>
                  </a:lnTo>
                  <a:lnTo>
                    <a:pt x="926" y="1477"/>
                  </a:lnTo>
                  <a:lnTo>
                    <a:pt x="916" y="1493"/>
                  </a:lnTo>
                  <a:lnTo>
                    <a:pt x="916" y="1493"/>
                  </a:lnTo>
                  <a:lnTo>
                    <a:pt x="894" y="1520"/>
                  </a:lnTo>
                  <a:lnTo>
                    <a:pt x="871" y="1544"/>
                  </a:lnTo>
                  <a:lnTo>
                    <a:pt x="847" y="1565"/>
                  </a:lnTo>
                  <a:lnTo>
                    <a:pt x="822" y="1581"/>
                  </a:lnTo>
                  <a:lnTo>
                    <a:pt x="822" y="1581"/>
                  </a:lnTo>
                  <a:lnTo>
                    <a:pt x="794" y="1597"/>
                  </a:lnTo>
                  <a:lnTo>
                    <a:pt x="767" y="1608"/>
                  </a:lnTo>
                  <a:lnTo>
                    <a:pt x="737" y="1616"/>
                  </a:lnTo>
                  <a:lnTo>
                    <a:pt x="708" y="1624"/>
                  </a:lnTo>
                  <a:lnTo>
                    <a:pt x="708" y="1624"/>
                  </a:lnTo>
                  <a:lnTo>
                    <a:pt x="649" y="1630"/>
                  </a:lnTo>
                  <a:lnTo>
                    <a:pt x="621" y="1632"/>
                  </a:lnTo>
                  <a:lnTo>
                    <a:pt x="594" y="1634"/>
                  </a:lnTo>
                  <a:lnTo>
                    <a:pt x="594" y="1634"/>
                  </a:lnTo>
                  <a:lnTo>
                    <a:pt x="523" y="1632"/>
                  </a:lnTo>
                  <a:lnTo>
                    <a:pt x="491" y="1628"/>
                  </a:lnTo>
                  <a:lnTo>
                    <a:pt x="462" y="1624"/>
                  </a:lnTo>
                  <a:lnTo>
                    <a:pt x="434" y="1620"/>
                  </a:lnTo>
                  <a:lnTo>
                    <a:pt x="409" y="1614"/>
                  </a:lnTo>
                  <a:lnTo>
                    <a:pt x="385" y="1607"/>
                  </a:lnTo>
                  <a:lnTo>
                    <a:pt x="364" y="1599"/>
                  </a:lnTo>
                  <a:lnTo>
                    <a:pt x="364" y="1599"/>
                  </a:lnTo>
                  <a:lnTo>
                    <a:pt x="324" y="1581"/>
                  </a:lnTo>
                  <a:lnTo>
                    <a:pt x="293" y="1561"/>
                  </a:lnTo>
                  <a:lnTo>
                    <a:pt x="277" y="1550"/>
                  </a:lnTo>
                  <a:lnTo>
                    <a:pt x="265" y="1538"/>
                  </a:lnTo>
                  <a:lnTo>
                    <a:pt x="254" y="1526"/>
                  </a:lnTo>
                  <a:lnTo>
                    <a:pt x="244" y="1514"/>
                  </a:lnTo>
                  <a:lnTo>
                    <a:pt x="244" y="1514"/>
                  </a:lnTo>
                  <a:lnTo>
                    <a:pt x="226" y="1487"/>
                  </a:lnTo>
                  <a:lnTo>
                    <a:pt x="212" y="1459"/>
                  </a:lnTo>
                  <a:lnTo>
                    <a:pt x="203" y="1432"/>
                  </a:lnTo>
                  <a:lnTo>
                    <a:pt x="199" y="1402"/>
                  </a:lnTo>
                  <a:lnTo>
                    <a:pt x="199" y="1402"/>
                  </a:lnTo>
                  <a:lnTo>
                    <a:pt x="195" y="1343"/>
                  </a:lnTo>
                  <a:lnTo>
                    <a:pt x="193" y="1290"/>
                  </a:lnTo>
                  <a:lnTo>
                    <a:pt x="193" y="408"/>
                  </a:lnTo>
                  <a:lnTo>
                    <a:pt x="0" y="408"/>
                  </a:lnTo>
                  <a:lnTo>
                    <a:pt x="0" y="369"/>
                  </a:lnTo>
                  <a:lnTo>
                    <a:pt x="193" y="369"/>
                  </a:lnTo>
                  <a:lnTo>
                    <a:pt x="193" y="0"/>
                  </a:lnTo>
                  <a:lnTo>
                    <a:pt x="193" y="0"/>
                  </a:lnTo>
                  <a:lnTo>
                    <a:pt x="236" y="15"/>
                  </a:lnTo>
                  <a:lnTo>
                    <a:pt x="279" y="29"/>
                  </a:lnTo>
                  <a:lnTo>
                    <a:pt x="279"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7" name="Freeform 9"/>
            <p:cNvSpPr>
              <a:spLocks noEditPoints="1"/>
            </p:cNvSpPr>
            <p:nvPr/>
          </p:nvSpPr>
          <p:spPr bwMode="auto">
            <a:xfrm>
              <a:off x="4577" y="1905"/>
              <a:ext cx="1330" cy="1304"/>
            </a:xfrm>
            <a:custGeom>
              <a:avLst/>
              <a:gdLst>
                <a:gd name="T0" fmla="*/ 1073 w 1330"/>
                <a:gd name="T1" fmla="*/ 1304 h 1304"/>
                <a:gd name="T2" fmla="*/ 920 w 1330"/>
                <a:gd name="T3" fmla="*/ 1282 h 1304"/>
                <a:gd name="T4" fmla="*/ 825 w 1330"/>
                <a:gd name="T5" fmla="*/ 1223 h 1304"/>
                <a:gd name="T6" fmla="*/ 770 w 1330"/>
                <a:gd name="T7" fmla="*/ 1110 h 1304"/>
                <a:gd name="T8" fmla="*/ 709 w 1330"/>
                <a:gd name="T9" fmla="*/ 1204 h 1304"/>
                <a:gd name="T10" fmla="*/ 617 w 1330"/>
                <a:gd name="T11" fmla="*/ 1273 h 1304"/>
                <a:gd name="T12" fmla="*/ 442 w 1330"/>
                <a:gd name="T13" fmla="*/ 1302 h 1304"/>
                <a:gd name="T14" fmla="*/ 265 w 1330"/>
                <a:gd name="T15" fmla="*/ 1288 h 1304"/>
                <a:gd name="T16" fmla="*/ 134 w 1330"/>
                <a:gd name="T17" fmla="*/ 1243 h 1304"/>
                <a:gd name="T18" fmla="*/ 27 w 1330"/>
                <a:gd name="T19" fmla="*/ 1141 h 1304"/>
                <a:gd name="T20" fmla="*/ 0 w 1330"/>
                <a:gd name="T21" fmla="*/ 1041 h 1304"/>
                <a:gd name="T22" fmla="*/ 18 w 1330"/>
                <a:gd name="T23" fmla="*/ 911 h 1304"/>
                <a:gd name="T24" fmla="*/ 92 w 1330"/>
                <a:gd name="T25" fmla="*/ 807 h 1304"/>
                <a:gd name="T26" fmla="*/ 238 w 1330"/>
                <a:gd name="T27" fmla="*/ 725 h 1304"/>
                <a:gd name="T28" fmla="*/ 568 w 1330"/>
                <a:gd name="T29" fmla="*/ 618 h 1304"/>
                <a:gd name="T30" fmla="*/ 680 w 1330"/>
                <a:gd name="T31" fmla="*/ 567 h 1304"/>
                <a:gd name="T32" fmla="*/ 743 w 1330"/>
                <a:gd name="T33" fmla="*/ 487 h 1304"/>
                <a:gd name="T34" fmla="*/ 753 w 1330"/>
                <a:gd name="T35" fmla="*/ 224 h 1304"/>
                <a:gd name="T36" fmla="*/ 723 w 1330"/>
                <a:gd name="T37" fmla="*/ 117 h 1304"/>
                <a:gd name="T38" fmla="*/ 662 w 1330"/>
                <a:gd name="T39" fmla="*/ 55 h 1304"/>
                <a:gd name="T40" fmla="*/ 542 w 1330"/>
                <a:gd name="T41" fmla="*/ 41 h 1304"/>
                <a:gd name="T42" fmla="*/ 440 w 1330"/>
                <a:gd name="T43" fmla="*/ 88 h 1304"/>
                <a:gd name="T44" fmla="*/ 413 w 1330"/>
                <a:gd name="T45" fmla="*/ 178 h 1304"/>
                <a:gd name="T46" fmla="*/ 426 w 1330"/>
                <a:gd name="T47" fmla="*/ 304 h 1304"/>
                <a:gd name="T48" fmla="*/ 419 w 1330"/>
                <a:gd name="T49" fmla="*/ 391 h 1304"/>
                <a:gd name="T50" fmla="*/ 362 w 1330"/>
                <a:gd name="T51" fmla="*/ 440 h 1304"/>
                <a:gd name="T52" fmla="*/ 305 w 1330"/>
                <a:gd name="T53" fmla="*/ 451 h 1304"/>
                <a:gd name="T54" fmla="*/ 181 w 1330"/>
                <a:gd name="T55" fmla="*/ 448 h 1304"/>
                <a:gd name="T56" fmla="*/ 122 w 1330"/>
                <a:gd name="T57" fmla="*/ 410 h 1304"/>
                <a:gd name="T58" fmla="*/ 90 w 1330"/>
                <a:gd name="T59" fmla="*/ 332 h 1304"/>
                <a:gd name="T60" fmla="*/ 98 w 1330"/>
                <a:gd name="T61" fmla="*/ 237 h 1304"/>
                <a:gd name="T62" fmla="*/ 153 w 1330"/>
                <a:gd name="T63" fmla="*/ 147 h 1304"/>
                <a:gd name="T64" fmla="*/ 314 w 1330"/>
                <a:gd name="T65" fmla="*/ 43 h 1304"/>
                <a:gd name="T66" fmla="*/ 531 w 1330"/>
                <a:gd name="T67" fmla="*/ 0 h 1304"/>
                <a:gd name="T68" fmla="*/ 782 w 1330"/>
                <a:gd name="T69" fmla="*/ 15 h 1304"/>
                <a:gd name="T70" fmla="*/ 949 w 1330"/>
                <a:gd name="T71" fmla="*/ 78 h 1304"/>
                <a:gd name="T72" fmla="*/ 1038 w 1330"/>
                <a:gd name="T73" fmla="*/ 167 h 1304"/>
                <a:gd name="T74" fmla="*/ 1085 w 1330"/>
                <a:gd name="T75" fmla="*/ 269 h 1304"/>
                <a:gd name="T76" fmla="*/ 1102 w 1330"/>
                <a:gd name="T77" fmla="*/ 1112 h 1304"/>
                <a:gd name="T78" fmla="*/ 1118 w 1330"/>
                <a:gd name="T79" fmla="*/ 1208 h 1304"/>
                <a:gd name="T80" fmla="*/ 1167 w 1330"/>
                <a:gd name="T81" fmla="*/ 1247 h 1304"/>
                <a:gd name="T82" fmla="*/ 1244 w 1330"/>
                <a:gd name="T83" fmla="*/ 1241 h 1304"/>
                <a:gd name="T84" fmla="*/ 1330 w 1330"/>
                <a:gd name="T85" fmla="*/ 1220 h 1304"/>
                <a:gd name="T86" fmla="*/ 1266 w 1330"/>
                <a:gd name="T87" fmla="*/ 1277 h 1304"/>
                <a:gd name="T88" fmla="*/ 747 w 1330"/>
                <a:gd name="T89" fmla="*/ 558 h 1304"/>
                <a:gd name="T90" fmla="*/ 703 w 1330"/>
                <a:gd name="T91" fmla="*/ 607 h 1304"/>
                <a:gd name="T92" fmla="*/ 509 w 1330"/>
                <a:gd name="T93" fmla="*/ 703 h 1304"/>
                <a:gd name="T94" fmla="*/ 409 w 1330"/>
                <a:gd name="T95" fmla="*/ 803 h 1304"/>
                <a:gd name="T96" fmla="*/ 365 w 1330"/>
                <a:gd name="T97" fmla="*/ 968 h 1304"/>
                <a:gd name="T98" fmla="*/ 377 w 1330"/>
                <a:gd name="T99" fmla="*/ 1094 h 1304"/>
                <a:gd name="T100" fmla="*/ 432 w 1330"/>
                <a:gd name="T101" fmla="*/ 1194 h 1304"/>
                <a:gd name="T102" fmla="*/ 493 w 1330"/>
                <a:gd name="T103" fmla="*/ 1233 h 1304"/>
                <a:gd name="T104" fmla="*/ 607 w 1330"/>
                <a:gd name="T105" fmla="*/ 1231 h 1304"/>
                <a:gd name="T106" fmla="*/ 690 w 1330"/>
                <a:gd name="T107" fmla="*/ 1170 h 1304"/>
                <a:gd name="T108" fmla="*/ 735 w 1330"/>
                <a:gd name="T109" fmla="*/ 1076 h 1304"/>
                <a:gd name="T110" fmla="*/ 747 w 1330"/>
                <a:gd name="T111" fmla="*/ 558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30" h="1304">
                  <a:moveTo>
                    <a:pt x="1214" y="1292"/>
                  </a:moveTo>
                  <a:lnTo>
                    <a:pt x="1214" y="1292"/>
                  </a:lnTo>
                  <a:lnTo>
                    <a:pt x="1177" y="1296"/>
                  </a:lnTo>
                  <a:lnTo>
                    <a:pt x="1142" y="1300"/>
                  </a:lnTo>
                  <a:lnTo>
                    <a:pt x="1106" y="1302"/>
                  </a:lnTo>
                  <a:lnTo>
                    <a:pt x="1073" y="1304"/>
                  </a:lnTo>
                  <a:lnTo>
                    <a:pt x="1073" y="1304"/>
                  </a:lnTo>
                  <a:lnTo>
                    <a:pt x="1038" y="1302"/>
                  </a:lnTo>
                  <a:lnTo>
                    <a:pt x="1004" y="1300"/>
                  </a:lnTo>
                  <a:lnTo>
                    <a:pt x="975" y="1296"/>
                  </a:lnTo>
                  <a:lnTo>
                    <a:pt x="945" y="1290"/>
                  </a:lnTo>
                  <a:lnTo>
                    <a:pt x="920" y="1282"/>
                  </a:lnTo>
                  <a:lnTo>
                    <a:pt x="896" y="1275"/>
                  </a:lnTo>
                  <a:lnTo>
                    <a:pt x="876" y="1265"/>
                  </a:lnTo>
                  <a:lnTo>
                    <a:pt x="857" y="1251"/>
                  </a:lnTo>
                  <a:lnTo>
                    <a:pt x="857" y="1251"/>
                  </a:lnTo>
                  <a:lnTo>
                    <a:pt x="841" y="1239"/>
                  </a:lnTo>
                  <a:lnTo>
                    <a:pt x="825" y="1223"/>
                  </a:lnTo>
                  <a:lnTo>
                    <a:pt x="812" y="1208"/>
                  </a:lnTo>
                  <a:lnTo>
                    <a:pt x="800" y="1190"/>
                  </a:lnTo>
                  <a:lnTo>
                    <a:pt x="790" y="1172"/>
                  </a:lnTo>
                  <a:lnTo>
                    <a:pt x="782" y="1153"/>
                  </a:lnTo>
                  <a:lnTo>
                    <a:pt x="774" y="1131"/>
                  </a:lnTo>
                  <a:lnTo>
                    <a:pt x="770" y="1110"/>
                  </a:lnTo>
                  <a:lnTo>
                    <a:pt x="764" y="1110"/>
                  </a:lnTo>
                  <a:lnTo>
                    <a:pt x="764" y="1110"/>
                  </a:lnTo>
                  <a:lnTo>
                    <a:pt x="753" y="1137"/>
                  </a:lnTo>
                  <a:lnTo>
                    <a:pt x="739" y="1161"/>
                  </a:lnTo>
                  <a:lnTo>
                    <a:pt x="725" y="1184"/>
                  </a:lnTo>
                  <a:lnTo>
                    <a:pt x="709" y="1204"/>
                  </a:lnTo>
                  <a:lnTo>
                    <a:pt x="694" y="1223"/>
                  </a:lnTo>
                  <a:lnTo>
                    <a:pt x="676" y="1239"/>
                  </a:lnTo>
                  <a:lnTo>
                    <a:pt x="658" y="1253"/>
                  </a:lnTo>
                  <a:lnTo>
                    <a:pt x="639" y="1263"/>
                  </a:lnTo>
                  <a:lnTo>
                    <a:pt x="639" y="1263"/>
                  </a:lnTo>
                  <a:lnTo>
                    <a:pt x="617" y="1273"/>
                  </a:lnTo>
                  <a:lnTo>
                    <a:pt x="593" y="1280"/>
                  </a:lnTo>
                  <a:lnTo>
                    <a:pt x="568" y="1288"/>
                  </a:lnTo>
                  <a:lnTo>
                    <a:pt x="540" y="1294"/>
                  </a:lnTo>
                  <a:lnTo>
                    <a:pt x="509" y="1298"/>
                  </a:lnTo>
                  <a:lnTo>
                    <a:pt x="477" y="1300"/>
                  </a:lnTo>
                  <a:lnTo>
                    <a:pt x="442" y="1302"/>
                  </a:lnTo>
                  <a:lnTo>
                    <a:pt x="407" y="1304"/>
                  </a:lnTo>
                  <a:lnTo>
                    <a:pt x="407" y="1304"/>
                  </a:lnTo>
                  <a:lnTo>
                    <a:pt x="371" y="1302"/>
                  </a:lnTo>
                  <a:lnTo>
                    <a:pt x="336" y="1300"/>
                  </a:lnTo>
                  <a:lnTo>
                    <a:pt x="301" y="1296"/>
                  </a:lnTo>
                  <a:lnTo>
                    <a:pt x="265" y="1288"/>
                  </a:lnTo>
                  <a:lnTo>
                    <a:pt x="265" y="1288"/>
                  </a:lnTo>
                  <a:lnTo>
                    <a:pt x="230" y="1280"/>
                  </a:lnTo>
                  <a:lnTo>
                    <a:pt x="196" y="1271"/>
                  </a:lnTo>
                  <a:lnTo>
                    <a:pt x="165" y="1259"/>
                  </a:lnTo>
                  <a:lnTo>
                    <a:pt x="134" y="1243"/>
                  </a:lnTo>
                  <a:lnTo>
                    <a:pt x="134" y="1243"/>
                  </a:lnTo>
                  <a:lnTo>
                    <a:pt x="106" y="1225"/>
                  </a:lnTo>
                  <a:lnTo>
                    <a:pt x="81" y="1206"/>
                  </a:lnTo>
                  <a:lnTo>
                    <a:pt x="57" y="1182"/>
                  </a:lnTo>
                  <a:lnTo>
                    <a:pt x="37" y="1157"/>
                  </a:lnTo>
                  <a:lnTo>
                    <a:pt x="37" y="1157"/>
                  </a:lnTo>
                  <a:lnTo>
                    <a:pt x="27" y="1141"/>
                  </a:lnTo>
                  <a:lnTo>
                    <a:pt x="22" y="1127"/>
                  </a:lnTo>
                  <a:lnTo>
                    <a:pt x="14" y="1112"/>
                  </a:lnTo>
                  <a:lnTo>
                    <a:pt x="10" y="1094"/>
                  </a:lnTo>
                  <a:lnTo>
                    <a:pt x="6" y="1076"/>
                  </a:lnTo>
                  <a:lnTo>
                    <a:pt x="2" y="1058"/>
                  </a:lnTo>
                  <a:lnTo>
                    <a:pt x="0" y="1041"/>
                  </a:lnTo>
                  <a:lnTo>
                    <a:pt x="0" y="1021"/>
                  </a:lnTo>
                  <a:lnTo>
                    <a:pt x="0" y="1021"/>
                  </a:lnTo>
                  <a:lnTo>
                    <a:pt x="2" y="980"/>
                  </a:lnTo>
                  <a:lnTo>
                    <a:pt x="8" y="945"/>
                  </a:lnTo>
                  <a:lnTo>
                    <a:pt x="12" y="927"/>
                  </a:lnTo>
                  <a:lnTo>
                    <a:pt x="18" y="911"/>
                  </a:lnTo>
                  <a:lnTo>
                    <a:pt x="25" y="895"/>
                  </a:lnTo>
                  <a:lnTo>
                    <a:pt x="33" y="882"/>
                  </a:lnTo>
                  <a:lnTo>
                    <a:pt x="33" y="882"/>
                  </a:lnTo>
                  <a:lnTo>
                    <a:pt x="51" y="854"/>
                  </a:lnTo>
                  <a:lnTo>
                    <a:pt x="71" y="831"/>
                  </a:lnTo>
                  <a:lnTo>
                    <a:pt x="92" y="807"/>
                  </a:lnTo>
                  <a:lnTo>
                    <a:pt x="118" y="787"/>
                  </a:lnTo>
                  <a:lnTo>
                    <a:pt x="118" y="787"/>
                  </a:lnTo>
                  <a:lnTo>
                    <a:pt x="145" y="768"/>
                  </a:lnTo>
                  <a:lnTo>
                    <a:pt x="175" y="752"/>
                  </a:lnTo>
                  <a:lnTo>
                    <a:pt x="206" y="736"/>
                  </a:lnTo>
                  <a:lnTo>
                    <a:pt x="238" y="725"/>
                  </a:lnTo>
                  <a:lnTo>
                    <a:pt x="238" y="725"/>
                  </a:lnTo>
                  <a:lnTo>
                    <a:pt x="306" y="701"/>
                  </a:lnTo>
                  <a:lnTo>
                    <a:pt x="377" y="677"/>
                  </a:lnTo>
                  <a:lnTo>
                    <a:pt x="377" y="677"/>
                  </a:lnTo>
                  <a:lnTo>
                    <a:pt x="483" y="646"/>
                  </a:lnTo>
                  <a:lnTo>
                    <a:pt x="568" y="618"/>
                  </a:lnTo>
                  <a:lnTo>
                    <a:pt x="568" y="618"/>
                  </a:lnTo>
                  <a:lnTo>
                    <a:pt x="601" y="607"/>
                  </a:lnTo>
                  <a:lnTo>
                    <a:pt x="633" y="593"/>
                  </a:lnTo>
                  <a:lnTo>
                    <a:pt x="658" y="581"/>
                  </a:lnTo>
                  <a:lnTo>
                    <a:pt x="680" y="567"/>
                  </a:lnTo>
                  <a:lnTo>
                    <a:pt x="680" y="567"/>
                  </a:lnTo>
                  <a:lnTo>
                    <a:pt x="700" y="554"/>
                  </a:lnTo>
                  <a:lnTo>
                    <a:pt x="715" y="538"/>
                  </a:lnTo>
                  <a:lnTo>
                    <a:pt x="727" y="522"/>
                  </a:lnTo>
                  <a:lnTo>
                    <a:pt x="737" y="504"/>
                  </a:lnTo>
                  <a:lnTo>
                    <a:pt x="737" y="504"/>
                  </a:lnTo>
                  <a:lnTo>
                    <a:pt x="743" y="487"/>
                  </a:lnTo>
                  <a:lnTo>
                    <a:pt x="749" y="465"/>
                  </a:lnTo>
                  <a:lnTo>
                    <a:pt x="751" y="442"/>
                  </a:lnTo>
                  <a:lnTo>
                    <a:pt x="753" y="416"/>
                  </a:lnTo>
                  <a:lnTo>
                    <a:pt x="753" y="241"/>
                  </a:lnTo>
                  <a:lnTo>
                    <a:pt x="753" y="241"/>
                  </a:lnTo>
                  <a:lnTo>
                    <a:pt x="753" y="224"/>
                  </a:lnTo>
                  <a:lnTo>
                    <a:pt x="751" y="204"/>
                  </a:lnTo>
                  <a:lnTo>
                    <a:pt x="747" y="186"/>
                  </a:lnTo>
                  <a:lnTo>
                    <a:pt x="743" y="169"/>
                  </a:lnTo>
                  <a:lnTo>
                    <a:pt x="737" y="151"/>
                  </a:lnTo>
                  <a:lnTo>
                    <a:pt x="731" y="135"/>
                  </a:lnTo>
                  <a:lnTo>
                    <a:pt x="723" y="117"/>
                  </a:lnTo>
                  <a:lnTo>
                    <a:pt x="715" y="102"/>
                  </a:lnTo>
                  <a:lnTo>
                    <a:pt x="715" y="102"/>
                  </a:lnTo>
                  <a:lnTo>
                    <a:pt x="705" y="88"/>
                  </a:lnTo>
                  <a:lnTo>
                    <a:pt x="692" y="74"/>
                  </a:lnTo>
                  <a:lnTo>
                    <a:pt x="678" y="64"/>
                  </a:lnTo>
                  <a:lnTo>
                    <a:pt x="662" y="55"/>
                  </a:lnTo>
                  <a:lnTo>
                    <a:pt x="643" y="49"/>
                  </a:lnTo>
                  <a:lnTo>
                    <a:pt x="623" y="43"/>
                  </a:lnTo>
                  <a:lnTo>
                    <a:pt x="599" y="41"/>
                  </a:lnTo>
                  <a:lnTo>
                    <a:pt x="576" y="39"/>
                  </a:lnTo>
                  <a:lnTo>
                    <a:pt x="576" y="39"/>
                  </a:lnTo>
                  <a:lnTo>
                    <a:pt x="542" y="41"/>
                  </a:lnTo>
                  <a:lnTo>
                    <a:pt x="513" y="47"/>
                  </a:lnTo>
                  <a:lnTo>
                    <a:pt x="485" y="57"/>
                  </a:lnTo>
                  <a:lnTo>
                    <a:pt x="460" y="68"/>
                  </a:lnTo>
                  <a:lnTo>
                    <a:pt x="460" y="68"/>
                  </a:lnTo>
                  <a:lnTo>
                    <a:pt x="450" y="78"/>
                  </a:lnTo>
                  <a:lnTo>
                    <a:pt x="440" y="88"/>
                  </a:lnTo>
                  <a:lnTo>
                    <a:pt x="430" y="98"/>
                  </a:lnTo>
                  <a:lnTo>
                    <a:pt x="424" y="112"/>
                  </a:lnTo>
                  <a:lnTo>
                    <a:pt x="419" y="125"/>
                  </a:lnTo>
                  <a:lnTo>
                    <a:pt x="415" y="143"/>
                  </a:lnTo>
                  <a:lnTo>
                    <a:pt x="413" y="161"/>
                  </a:lnTo>
                  <a:lnTo>
                    <a:pt x="413" y="178"/>
                  </a:lnTo>
                  <a:lnTo>
                    <a:pt x="413" y="178"/>
                  </a:lnTo>
                  <a:lnTo>
                    <a:pt x="415" y="210"/>
                  </a:lnTo>
                  <a:lnTo>
                    <a:pt x="415" y="210"/>
                  </a:lnTo>
                  <a:lnTo>
                    <a:pt x="420" y="257"/>
                  </a:lnTo>
                  <a:lnTo>
                    <a:pt x="420" y="257"/>
                  </a:lnTo>
                  <a:lnTo>
                    <a:pt x="426" y="304"/>
                  </a:lnTo>
                  <a:lnTo>
                    <a:pt x="426" y="304"/>
                  </a:lnTo>
                  <a:lnTo>
                    <a:pt x="428" y="338"/>
                  </a:lnTo>
                  <a:lnTo>
                    <a:pt x="428" y="338"/>
                  </a:lnTo>
                  <a:lnTo>
                    <a:pt x="428" y="357"/>
                  </a:lnTo>
                  <a:lnTo>
                    <a:pt x="424" y="375"/>
                  </a:lnTo>
                  <a:lnTo>
                    <a:pt x="419" y="391"/>
                  </a:lnTo>
                  <a:lnTo>
                    <a:pt x="409" y="404"/>
                  </a:lnTo>
                  <a:lnTo>
                    <a:pt x="409" y="404"/>
                  </a:lnTo>
                  <a:lnTo>
                    <a:pt x="399" y="416"/>
                  </a:lnTo>
                  <a:lnTo>
                    <a:pt x="387" y="424"/>
                  </a:lnTo>
                  <a:lnTo>
                    <a:pt x="375" y="434"/>
                  </a:lnTo>
                  <a:lnTo>
                    <a:pt x="362" y="440"/>
                  </a:lnTo>
                  <a:lnTo>
                    <a:pt x="362" y="440"/>
                  </a:lnTo>
                  <a:lnTo>
                    <a:pt x="348" y="446"/>
                  </a:lnTo>
                  <a:lnTo>
                    <a:pt x="334" y="448"/>
                  </a:lnTo>
                  <a:lnTo>
                    <a:pt x="320" y="451"/>
                  </a:lnTo>
                  <a:lnTo>
                    <a:pt x="305" y="451"/>
                  </a:lnTo>
                  <a:lnTo>
                    <a:pt x="305" y="451"/>
                  </a:lnTo>
                  <a:lnTo>
                    <a:pt x="253" y="453"/>
                  </a:lnTo>
                  <a:lnTo>
                    <a:pt x="253" y="453"/>
                  </a:lnTo>
                  <a:lnTo>
                    <a:pt x="226" y="453"/>
                  </a:lnTo>
                  <a:lnTo>
                    <a:pt x="196" y="449"/>
                  </a:lnTo>
                  <a:lnTo>
                    <a:pt x="196" y="449"/>
                  </a:lnTo>
                  <a:lnTo>
                    <a:pt x="181" y="448"/>
                  </a:lnTo>
                  <a:lnTo>
                    <a:pt x="167" y="442"/>
                  </a:lnTo>
                  <a:lnTo>
                    <a:pt x="155" y="436"/>
                  </a:lnTo>
                  <a:lnTo>
                    <a:pt x="143" y="430"/>
                  </a:lnTo>
                  <a:lnTo>
                    <a:pt x="143" y="430"/>
                  </a:lnTo>
                  <a:lnTo>
                    <a:pt x="132" y="420"/>
                  </a:lnTo>
                  <a:lnTo>
                    <a:pt x="122" y="410"/>
                  </a:lnTo>
                  <a:lnTo>
                    <a:pt x="112" y="398"/>
                  </a:lnTo>
                  <a:lnTo>
                    <a:pt x="104" y="385"/>
                  </a:lnTo>
                  <a:lnTo>
                    <a:pt x="104" y="385"/>
                  </a:lnTo>
                  <a:lnTo>
                    <a:pt x="98" y="369"/>
                  </a:lnTo>
                  <a:lnTo>
                    <a:pt x="92" y="351"/>
                  </a:lnTo>
                  <a:lnTo>
                    <a:pt x="90" y="332"/>
                  </a:lnTo>
                  <a:lnTo>
                    <a:pt x="88" y="308"/>
                  </a:lnTo>
                  <a:lnTo>
                    <a:pt x="88" y="308"/>
                  </a:lnTo>
                  <a:lnTo>
                    <a:pt x="88" y="290"/>
                  </a:lnTo>
                  <a:lnTo>
                    <a:pt x="90" y="273"/>
                  </a:lnTo>
                  <a:lnTo>
                    <a:pt x="94" y="255"/>
                  </a:lnTo>
                  <a:lnTo>
                    <a:pt x="98" y="237"/>
                  </a:lnTo>
                  <a:lnTo>
                    <a:pt x="104" y="222"/>
                  </a:lnTo>
                  <a:lnTo>
                    <a:pt x="112" y="206"/>
                  </a:lnTo>
                  <a:lnTo>
                    <a:pt x="120" y="190"/>
                  </a:lnTo>
                  <a:lnTo>
                    <a:pt x="130" y="174"/>
                  </a:lnTo>
                  <a:lnTo>
                    <a:pt x="130" y="174"/>
                  </a:lnTo>
                  <a:lnTo>
                    <a:pt x="153" y="147"/>
                  </a:lnTo>
                  <a:lnTo>
                    <a:pt x="179" y="121"/>
                  </a:lnTo>
                  <a:lnTo>
                    <a:pt x="208" y="98"/>
                  </a:lnTo>
                  <a:lnTo>
                    <a:pt x="240" y="78"/>
                  </a:lnTo>
                  <a:lnTo>
                    <a:pt x="240" y="78"/>
                  </a:lnTo>
                  <a:lnTo>
                    <a:pt x="275" y="59"/>
                  </a:lnTo>
                  <a:lnTo>
                    <a:pt x="314" y="43"/>
                  </a:lnTo>
                  <a:lnTo>
                    <a:pt x="354" y="31"/>
                  </a:lnTo>
                  <a:lnTo>
                    <a:pt x="397" y="19"/>
                  </a:lnTo>
                  <a:lnTo>
                    <a:pt x="397" y="19"/>
                  </a:lnTo>
                  <a:lnTo>
                    <a:pt x="440" y="9"/>
                  </a:lnTo>
                  <a:lnTo>
                    <a:pt x="485" y="4"/>
                  </a:lnTo>
                  <a:lnTo>
                    <a:pt x="531" y="0"/>
                  </a:lnTo>
                  <a:lnTo>
                    <a:pt x="578" y="0"/>
                  </a:lnTo>
                  <a:lnTo>
                    <a:pt x="578" y="0"/>
                  </a:lnTo>
                  <a:lnTo>
                    <a:pt x="631" y="0"/>
                  </a:lnTo>
                  <a:lnTo>
                    <a:pt x="684" y="4"/>
                  </a:lnTo>
                  <a:lnTo>
                    <a:pt x="733" y="9"/>
                  </a:lnTo>
                  <a:lnTo>
                    <a:pt x="782" y="15"/>
                  </a:lnTo>
                  <a:lnTo>
                    <a:pt x="782" y="15"/>
                  </a:lnTo>
                  <a:lnTo>
                    <a:pt x="829" y="27"/>
                  </a:lnTo>
                  <a:lnTo>
                    <a:pt x="872" y="41"/>
                  </a:lnTo>
                  <a:lnTo>
                    <a:pt x="912" y="59"/>
                  </a:lnTo>
                  <a:lnTo>
                    <a:pt x="949" y="78"/>
                  </a:lnTo>
                  <a:lnTo>
                    <a:pt x="949" y="78"/>
                  </a:lnTo>
                  <a:lnTo>
                    <a:pt x="965" y="92"/>
                  </a:lnTo>
                  <a:lnTo>
                    <a:pt x="983" y="104"/>
                  </a:lnTo>
                  <a:lnTo>
                    <a:pt x="996" y="117"/>
                  </a:lnTo>
                  <a:lnTo>
                    <a:pt x="1012" y="133"/>
                  </a:lnTo>
                  <a:lnTo>
                    <a:pt x="1026" y="149"/>
                  </a:lnTo>
                  <a:lnTo>
                    <a:pt x="1038" y="167"/>
                  </a:lnTo>
                  <a:lnTo>
                    <a:pt x="1049" y="184"/>
                  </a:lnTo>
                  <a:lnTo>
                    <a:pt x="1059" y="204"/>
                  </a:lnTo>
                  <a:lnTo>
                    <a:pt x="1059" y="204"/>
                  </a:lnTo>
                  <a:lnTo>
                    <a:pt x="1069" y="224"/>
                  </a:lnTo>
                  <a:lnTo>
                    <a:pt x="1079" y="245"/>
                  </a:lnTo>
                  <a:lnTo>
                    <a:pt x="1085" y="269"/>
                  </a:lnTo>
                  <a:lnTo>
                    <a:pt x="1091" y="292"/>
                  </a:lnTo>
                  <a:lnTo>
                    <a:pt x="1097" y="318"/>
                  </a:lnTo>
                  <a:lnTo>
                    <a:pt x="1098" y="345"/>
                  </a:lnTo>
                  <a:lnTo>
                    <a:pt x="1100" y="373"/>
                  </a:lnTo>
                  <a:lnTo>
                    <a:pt x="1102" y="402"/>
                  </a:lnTo>
                  <a:lnTo>
                    <a:pt x="1102" y="1112"/>
                  </a:lnTo>
                  <a:lnTo>
                    <a:pt x="1102" y="1112"/>
                  </a:lnTo>
                  <a:lnTo>
                    <a:pt x="1102" y="1139"/>
                  </a:lnTo>
                  <a:lnTo>
                    <a:pt x="1106" y="1163"/>
                  </a:lnTo>
                  <a:lnTo>
                    <a:pt x="1110" y="1186"/>
                  </a:lnTo>
                  <a:lnTo>
                    <a:pt x="1118" y="1208"/>
                  </a:lnTo>
                  <a:lnTo>
                    <a:pt x="1118" y="1208"/>
                  </a:lnTo>
                  <a:lnTo>
                    <a:pt x="1122" y="1218"/>
                  </a:lnTo>
                  <a:lnTo>
                    <a:pt x="1128" y="1225"/>
                  </a:lnTo>
                  <a:lnTo>
                    <a:pt x="1136" y="1233"/>
                  </a:lnTo>
                  <a:lnTo>
                    <a:pt x="1146" y="1239"/>
                  </a:lnTo>
                  <a:lnTo>
                    <a:pt x="1155" y="1243"/>
                  </a:lnTo>
                  <a:lnTo>
                    <a:pt x="1167" y="1247"/>
                  </a:lnTo>
                  <a:lnTo>
                    <a:pt x="1181" y="1249"/>
                  </a:lnTo>
                  <a:lnTo>
                    <a:pt x="1197" y="1249"/>
                  </a:lnTo>
                  <a:lnTo>
                    <a:pt x="1197" y="1249"/>
                  </a:lnTo>
                  <a:lnTo>
                    <a:pt x="1214" y="1249"/>
                  </a:lnTo>
                  <a:lnTo>
                    <a:pt x="1230" y="1245"/>
                  </a:lnTo>
                  <a:lnTo>
                    <a:pt x="1244" y="1241"/>
                  </a:lnTo>
                  <a:lnTo>
                    <a:pt x="1258" y="1235"/>
                  </a:lnTo>
                  <a:lnTo>
                    <a:pt x="1258" y="1235"/>
                  </a:lnTo>
                  <a:lnTo>
                    <a:pt x="1269" y="1227"/>
                  </a:lnTo>
                  <a:lnTo>
                    <a:pt x="1281" y="1218"/>
                  </a:lnTo>
                  <a:lnTo>
                    <a:pt x="1305" y="1194"/>
                  </a:lnTo>
                  <a:lnTo>
                    <a:pt x="1330" y="1220"/>
                  </a:lnTo>
                  <a:lnTo>
                    <a:pt x="1330" y="1220"/>
                  </a:lnTo>
                  <a:lnTo>
                    <a:pt x="1321" y="1235"/>
                  </a:lnTo>
                  <a:lnTo>
                    <a:pt x="1309" y="1247"/>
                  </a:lnTo>
                  <a:lnTo>
                    <a:pt x="1295" y="1259"/>
                  </a:lnTo>
                  <a:lnTo>
                    <a:pt x="1281" y="1269"/>
                  </a:lnTo>
                  <a:lnTo>
                    <a:pt x="1266" y="1277"/>
                  </a:lnTo>
                  <a:lnTo>
                    <a:pt x="1250" y="1282"/>
                  </a:lnTo>
                  <a:lnTo>
                    <a:pt x="1232" y="1288"/>
                  </a:lnTo>
                  <a:lnTo>
                    <a:pt x="1214" y="1292"/>
                  </a:lnTo>
                  <a:lnTo>
                    <a:pt x="1214" y="1292"/>
                  </a:lnTo>
                  <a:close/>
                  <a:moveTo>
                    <a:pt x="747" y="558"/>
                  </a:moveTo>
                  <a:lnTo>
                    <a:pt x="747" y="558"/>
                  </a:lnTo>
                  <a:lnTo>
                    <a:pt x="743" y="565"/>
                  </a:lnTo>
                  <a:lnTo>
                    <a:pt x="739" y="573"/>
                  </a:lnTo>
                  <a:lnTo>
                    <a:pt x="725" y="589"/>
                  </a:lnTo>
                  <a:lnTo>
                    <a:pt x="725" y="589"/>
                  </a:lnTo>
                  <a:lnTo>
                    <a:pt x="715" y="599"/>
                  </a:lnTo>
                  <a:lnTo>
                    <a:pt x="703" y="607"/>
                  </a:lnTo>
                  <a:lnTo>
                    <a:pt x="670" y="626"/>
                  </a:lnTo>
                  <a:lnTo>
                    <a:pt x="670" y="626"/>
                  </a:lnTo>
                  <a:lnTo>
                    <a:pt x="560" y="675"/>
                  </a:lnTo>
                  <a:lnTo>
                    <a:pt x="560" y="675"/>
                  </a:lnTo>
                  <a:lnTo>
                    <a:pt x="534" y="689"/>
                  </a:lnTo>
                  <a:lnTo>
                    <a:pt x="509" y="703"/>
                  </a:lnTo>
                  <a:lnTo>
                    <a:pt x="485" y="719"/>
                  </a:lnTo>
                  <a:lnTo>
                    <a:pt x="464" y="736"/>
                  </a:lnTo>
                  <a:lnTo>
                    <a:pt x="464" y="736"/>
                  </a:lnTo>
                  <a:lnTo>
                    <a:pt x="442" y="756"/>
                  </a:lnTo>
                  <a:lnTo>
                    <a:pt x="424" y="780"/>
                  </a:lnTo>
                  <a:lnTo>
                    <a:pt x="409" y="803"/>
                  </a:lnTo>
                  <a:lnTo>
                    <a:pt x="393" y="829"/>
                  </a:lnTo>
                  <a:lnTo>
                    <a:pt x="393" y="829"/>
                  </a:lnTo>
                  <a:lnTo>
                    <a:pt x="381" y="858"/>
                  </a:lnTo>
                  <a:lnTo>
                    <a:pt x="373" y="891"/>
                  </a:lnTo>
                  <a:lnTo>
                    <a:pt x="367" y="927"/>
                  </a:lnTo>
                  <a:lnTo>
                    <a:pt x="365" y="968"/>
                  </a:lnTo>
                  <a:lnTo>
                    <a:pt x="365" y="968"/>
                  </a:lnTo>
                  <a:lnTo>
                    <a:pt x="367" y="1005"/>
                  </a:lnTo>
                  <a:lnTo>
                    <a:pt x="369" y="1049"/>
                  </a:lnTo>
                  <a:lnTo>
                    <a:pt x="369" y="1049"/>
                  </a:lnTo>
                  <a:lnTo>
                    <a:pt x="373" y="1072"/>
                  </a:lnTo>
                  <a:lnTo>
                    <a:pt x="377" y="1094"/>
                  </a:lnTo>
                  <a:lnTo>
                    <a:pt x="385" y="1115"/>
                  </a:lnTo>
                  <a:lnTo>
                    <a:pt x="393" y="1137"/>
                  </a:lnTo>
                  <a:lnTo>
                    <a:pt x="393" y="1137"/>
                  </a:lnTo>
                  <a:lnTo>
                    <a:pt x="403" y="1159"/>
                  </a:lnTo>
                  <a:lnTo>
                    <a:pt x="417" y="1176"/>
                  </a:lnTo>
                  <a:lnTo>
                    <a:pt x="432" y="1194"/>
                  </a:lnTo>
                  <a:lnTo>
                    <a:pt x="450" y="1210"/>
                  </a:lnTo>
                  <a:lnTo>
                    <a:pt x="450" y="1210"/>
                  </a:lnTo>
                  <a:lnTo>
                    <a:pt x="458" y="1218"/>
                  </a:lnTo>
                  <a:lnTo>
                    <a:pt x="470" y="1223"/>
                  </a:lnTo>
                  <a:lnTo>
                    <a:pt x="481" y="1229"/>
                  </a:lnTo>
                  <a:lnTo>
                    <a:pt x="493" y="1233"/>
                  </a:lnTo>
                  <a:lnTo>
                    <a:pt x="521" y="1239"/>
                  </a:lnTo>
                  <a:lnTo>
                    <a:pt x="552" y="1241"/>
                  </a:lnTo>
                  <a:lnTo>
                    <a:pt x="552" y="1241"/>
                  </a:lnTo>
                  <a:lnTo>
                    <a:pt x="570" y="1239"/>
                  </a:lnTo>
                  <a:lnTo>
                    <a:pt x="589" y="1235"/>
                  </a:lnTo>
                  <a:lnTo>
                    <a:pt x="607" y="1231"/>
                  </a:lnTo>
                  <a:lnTo>
                    <a:pt x="625" y="1223"/>
                  </a:lnTo>
                  <a:lnTo>
                    <a:pt x="625" y="1223"/>
                  </a:lnTo>
                  <a:lnTo>
                    <a:pt x="643" y="1214"/>
                  </a:lnTo>
                  <a:lnTo>
                    <a:pt x="658" y="1202"/>
                  </a:lnTo>
                  <a:lnTo>
                    <a:pt x="674" y="1188"/>
                  </a:lnTo>
                  <a:lnTo>
                    <a:pt x="690" y="1170"/>
                  </a:lnTo>
                  <a:lnTo>
                    <a:pt x="690" y="1170"/>
                  </a:lnTo>
                  <a:lnTo>
                    <a:pt x="703" y="1151"/>
                  </a:lnTo>
                  <a:lnTo>
                    <a:pt x="715" y="1129"/>
                  </a:lnTo>
                  <a:lnTo>
                    <a:pt x="725" y="1104"/>
                  </a:lnTo>
                  <a:lnTo>
                    <a:pt x="735" y="1076"/>
                  </a:lnTo>
                  <a:lnTo>
                    <a:pt x="735" y="1076"/>
                  </a:lnTo>
                  <a:lnTo>
                    <a:pt x="743" y="1045"/>
                  </a:lnTo>
                  <a:lnTo>
                    <a:pt x="749" y="1011"/>
                  </a:lnTo>
                  <a:lnTo>
                    <a:pt x="751" y="974"/>
                  </a:lnTo>
                  <a:lnTo>
                    <a:pt x="753" y="935"/>
                  </a:lnTo>
                  <a:lnTo>
                    <a:pt x="753" y="558"/>
                  </a:lnTo>
                  <a:lnTo>
                    <a:pt x="747" y="5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8" name="Freeform 10"/>
            <p:cNvSpPr>
              <a:spLocks noEditPoints="1"/>
            </p:cNvSpPr>
            <p:nvPr/>
          </p:nvSpPr>
          <p:spPr bwMode="auto">
            <a:xfrm>
              <a:off x="6045" y="1141"/>
              <a:ext cx="733" cy="2045"/>
            </a:xfrm>
            <a:custGeom>
              <a:avLst/>
              <a:gdLst>
                <a:gd name="T0" fmla="*/ 540 w 733"/>
                <a:gd name="T1" fmla="*/ 2003 h 2045"/>
                <a:gd name="T2" fmla="*/ 733 w 733"/>
                <a:gd name="T3" fmla="*/ 2045 h 2045"/>
                <a:gd name="T4" fmla="*/ 0 w 733"/>
                <a:gd name="T5" fmla="*/ 2003 h 2045"/>
                <a:gd name="T6" fmla="*/ 191 w 733"/>
                <a:gd name="T7" fmla="*/ 856 h 2045"/>
                <a:gd name="T8" fmla="*/ 0 w 733"/>
                <a:gd name="T9" fmla="*/ 817 h 2045"/>
                <a:gd name="T10" fmla="*/ 224 w 733"/>
                <a:gd name="T11" fmla="*/ 59 h 2045"/>
                <a:gd name="T12" fmla="*/ 238 w 733"/>
                <a:gd name="T13" fmla="*/ 45 h 2045"/>
                <a:gd name="T14" fmla="*/ 271 w 733"/>
                <a:gd name="T15" fmla="*/ 23 h 2045"/>
                <a:gd name="T16" fmla="*/ 306 w 733"/>
                <a:gd name="T17" fmla="*/ 8 h 2045"/>
                <a:gd name="T18" fmla="*/ 346 w 733"/>
                <a:gd name="T19" fmla="*/ 0 h 2045"/>
                <a:gd name="T20" fmla="*/ 365 w 733"/>
                <a:gd name="T21" fmla="*/ 0 h 2045"/>
                <a:gd name="T22" fmla="*/ 407 w 733"/>
                <a:gd name="T23" fmla="*/ 4 h 2045"/>
                <a:gd name="T24" fmla="*/ 444 w 733"/>
                <a:gd name="T25" fmla="*/ 13 h 2045"/>
                <a:gd name="T26" fmla="*/ 477 w 733"/>
                <a:gd name="T27" fmla="*/ 33 h 2045"/>
                <a:gd name="T28" fmla="*/ 509 w 733"/>
                <a:gd name="T29" fmla="*/ 59 h 2045"/>
                <a:gd name="T30" fmla="*/ 523 w 733"/>
                <a:gd name="T31" fmla="*/ 74 h 2045"/>
                <a:gd name="T32" fmla="*/ 546 w 733"/>
                <a:gd name="T33" fmla="*/ 108 h 2045"/>
                <a:gd name="T34" fmla="*/ 560 w 733"/>
                <a:gd name="T35" fmla="*/ 143 h 2045"/>
                <a:gd name="T36" fmla="*/ 568 w 733"/>
                <a:gd name="T37" fmla="*/ 182 h 2045"/>
                <a:gd name="T38" fmla="*/ 570 w 733"/>
                <a:gd name="T39" fmla="*/ 202 h 2045"/>
                <a:gd name="T40" fmla="*/ 566 w 733"/>
                <a:gd name="T41" fmla="*/ 241 h 2045"/>
                <a:gd name="T42" fmla="*/ 554 w 733"/>
                <a:gd name="T43" fmla="*/ 279 h 2045"/>
                <a:gd name="T44" fmla="*/ 534 w 733"/>
                <a:gd name="T45" fmla="*/ 314 h 2045"/>
                <a:gd name="T46" fmla="*/ 509 w 733"/>
                <a:gd name="T47" fmla="*/ 345 h 2045"/>
                <a:gd name="T48" fmla="*/ 493 w 733"/>
                <a:gd name="T49" fmla="*/ 359 h 2045"/>
                <a:gd name="T50" fmla="*/ 462 w 733"/>
                <a:gd name="T51" fmla="*/ 381 h 2045"/>
                <a:gd name="T52" fmla="*/ 424 w 733"/>
                <a:gd name="T53" fmla="*/ 397 h 2045"/>
                <a:gd name="T54" fmla="*/ 387 w 733"/>
                <a:gd name="T55" fmla="*/ 404 h 2045"/>
                <a:gd name="T56" fmla="*/ 365 w 733"/>
                <a:gd name="T57" fmla="*/ 404 h 2045"/>
                <a:gd name="T58" fmla="*/ 326 w 733"/>
                <a:gd name="T59" fmla="*/ 400 h 2045"/>
                <a:gd name="T60" fmla="*/ 289 w 733"/>
                <a:gd name="T61" fmla="*/ 391 h 2045"/>
                <a:gd name="T62" fmla="*/ 255 w 733"/>
                <a:gd name="T63" fmla="*/ 371 h 2045"/>
                <a:gd name="T64" fmla="*/ 224 w 733"/>
                <a:gd name="T65" fmla="*/ 345 h 2045"/>
                <a:gd name="T66" fmla="*/ 208 w 733"/>
                <a:gd name="T67" fmla="*/ 330 h 2045"/>
                <a:gd name="T68" fmla="*/ 187 w 733"/>
                <a:gd name="T69" fmla="*/ 296 h 2045"/>
                <a:gd name="T70" fmla="*/ 171 w 733"/>
                <a:gd name="T71" fmla="*/ 261 h 2045"/>
                <a:gd name="T72" fmla="*/ 163 w 733"/>
                <a:gd name="T73" fmla="*/ 222 h 2045"/>
                <a:gd name="T74" fmla="*/ 163 w 733"/>
                <a:gd name="T75" fmla="*/ 202 h 2045"/>
                <a:gd name="T76" fmla="*/ 167 w 733"/>
                <a:gd name="T77" fmla="*/ 163 h 2045"/>
                <a:gd name="T78" fmla="*/ 179 w 733"/>
                <a:gd name="T79" fmla="*/ 125 h 2045"/>
                <a:gd name="T80" fmla="*/ 196 w 733"/>
                <a:gd name="T81" fmla="*/ 90 h 2045"/>
                <a:gd name="T82" fmla="*/ 224 w 733"/>
                <a:gd name="T83" fmla="*/ 59 h 2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3" h="2045">
                  <a:moveTo>
                    <a:pt x="540" y="817"/>
                  </a:moveTo>
                  <a:lnTo>
                    <a:pt x="540" y="2003"/>
                  </a:lnTo>
                  <a:lnTo>
                    <a:pt x="733" y="2003"/>
                  </a:lnTo>
                  <a:lnTo>
                    <a:pt x="733" y="2045"/>
                  </a:lnTo>
                  <a:lnTo>
                    <a:pt x="0" y="2045"/>
                  </a:lnTo>
                  <a:lnTo>
                    <a:pt x="0" y="2003"/>
                  </a:lnTo>
                  <a:lnTo>
                    <a:pt x="191" y="2003"/>
                  </a:lnTo>
                  <a:lnTo>
                    <a:pt x="191" y="856"/>
                  </a:lnTo>
                  <a:lnTo>
                    <a:pt x="0" y="856"/>
                  </a:lnTo>
                  <a:lnTo>
                    <a:pt x="0" y="817"/>
                  </a:lnTo>
                  <a:lnTo>
                    <a:pt x="540" y="817"/>
                  </a:lnTo>
                  <a:close/>
                  <a:moveTo>
                    <a:pt x="224" y="59"/>
                  </a:moveTo>
                  <a:lnTo>
                    <a:pt x="224" y="59"/>
                  </a:lnTo>
                  <a:lnTo>
                    <a:pt x="238" y="45"/>
                  </a:lnTo>
                  <a:lnTo>
                    <a:pt x="255" y="33"/>
                  </a:lnTo>
                  <a:lnTo>
                    <a:pt x="271" y="23"/>
                  </a:lnTo>
                  <a:lnTo>
                    <a:pt x="289" y="13"/>
                  </a:lnTo>
                  <a:lnTo>
                    <a:pt x="306" y="8"/>
                  </a:lnTo>
                  <a:lnTo>
                    <a:pt x="326" y="4"/>
                  </a:lnTo>
                  <a:lnTo>
                    <a:pt x="346" y="0"/>
                  </a:lnTo>
                  <a:lnTo>
                    <a:pt x="365" y="0"/>
                  </a:lnTo>
                  <a:lnTo>
                    <a:pt x="365" y="0"/>
                  </a:lnTo>
                  <a:lnTo>
                    <a:pt x="387" y="0"/>
                  </a:lnTo>
                  <a:lnTo>
                    <a:pt x="407" y="4"/>
                  </a:lnTo>
                  <a:lnTo>
                    <a:pt x="424" y="8"/>
                  </a:lnTo>
                  <a:lnTo>
                    <a:pt x="444" y="13"/>
                  </a:lnTo>
                  <a:lnTo>
                    <a:pt x="462" y="23"/>
                  </a:lnTo>
                  <a:lnTo>
                    <a:pt x="477" y="33"/>
                  </a:lnTo>
                  <a:lnTo>
                    <a:pt x="493" y="45"/>
                  </a:lnTo>
                  <a:lnTo>
                    <a:pt x="509" y="59"/>
                  </a:lnTo>
                  <a:lnTo>
                    <a:pt x="509" y="59"/>
                  </a:lnTo>
                  <a:lnTo>
                    <a:pt x="523" y="74"/>
                  </a:lnTo>
                  <a:lnTo>
                    <a:pt x="534" y="90"/>
                  </a:lnTo>
                  <a:lnTo>
                    <a:pt x="546" y="108"/>
                  </a:lnTo>
                  <a:lnTo>
                    <a:pt x="554" y="125"/>
                  </a:lnTo>
                  <a:lnTo>
                    <a:pt x="560" y="143"/>
                  </a:lnTo>
                  <a:lnTo>
                    <a:pt x="566" y="163"/>
                  </a:lnTo>
                  <a:lnTo>
                    <a:pt x="568" y="182"/>
                  </a:lnTo>
                  <a:lnTo>
                    <a:pt x="570" y="202"/>
                  </a:lnTo>
                  <a:lnTo>
                    <a:pt x="570" y="202"/>
                  </a:lnTo>
                  <a:lnTo>
                    <a:pt x="568" y="222"/>
                  </a:lnTo>
                  <a:lnTo>
                    <a:pt x="566" y="241"/>
                  </a:lnTo>
                  <a:lnTo>
                    <a:pt x="560" y="261"/>
                  </a:lnTo>
                  <a:lnTo>
                    <a:pt x="554" y="279"/>
                  </a:lnTo>
                  <a:lnTo>
                    <a:pt x="546" y="296"/>
                  </a:lnTo>
                  <a:lnTo>
                    <a:pt x="534" y="314"/>
                  </a:lnTo>
                  <a:lnTo>
                    <a:pt x="523" y="330"/>
                  </a:lnTo>
                  <a:lnTo>
                    <a:pt x="509" y="345"/>
                  </a:lnTo>
                  <a:lnTo>
                    <a:pt x="509" y="345"/>
                  </a:lnTo>
                  <a:lnTo>
                    <a:pt x="493" y="359"/>
                  </a:lnTo>
                  <a:lnTo>
                    <a:pt x="477" y="371"/>
                  </a:lnTo>
                  <a:lnTo>
                    <a:pt x="462" y="381"/>
                  </a:lnTo>
                  <a:lnTo>
                    <a:pt x="444" y="391"/>
                  </a:lnTo>
                  <a:lnTo>
                    <a:pt x="424" y="397"/>
                  </a:lnTo>
                  <a:lnTo>
                    <a:pt x="407" y="400"/>
                  </a:lnTo>
                  <a:lnTo>
                    <a:pt x="387" y="404"/>
                  </a:lnTo>
                  <a:lnTo>
                    <a:pt x="365" y="404"/>
                  </a:lnTo>
                  <a:lnTo>
                    <a:pt x="365" y="404"/>
                  </a:lnTo>
                  <a:lnTo>
                    <a:pt x="346" y="404"/>
                  </a:lnTo>
                  <a:lnTo>
                    <a:pt x="326" y="400"/>
                  </a:lnTo>
                  <a:lnTo>
                    <a:pt x="306" y="397"/>
                  </a:lnTo>
                  <a:lnTo>
                    <a:pt x="289" y="391"/>
                  </a:lnTo>
                  <a:lnTo>
                    <a:pt x="271" y="381"/>
                  </a:lnTo>
                  <a:lnTo>
                    <a:pt x="255" y="371"/>
                  </a:lnTo>
                  <a:lnTo>
                    <a:pt x="238" y="359"/>
                  </a:lnTo>
                  <a:lnTo>
                    <a:pt x="224" y="345"/>
                  </a:lnTo>
                  <a:lnTo>
                    <a:pt x="224" y="345"/>
                  </a:lnTo>
                  <a:lnTo>
                    <a:pt x="208" y="330"/>
                  </a:lnTo>
                  <a:lnTo>
                    <a:pt x="196" y="314"/>
                  </a:lnTo>
                  <a:lnTo>
                    <a:pt x="187" y="296"/>
                  </a:lnTo>
                  <a:lnTo>
                    <a:pt x="179" y="279"/>
                  </a:lnTo>
                  <a:lnTo>
                    <a:pt x="171" y="261"/>
                  </a:lnTo>
                  <a:lnTo>
                    <a:pt x="167" y="241"/>
                  </a:lnTo>
                  <a:lnTo>
                    <a:pt x="163" y="222"/>
                  </a:lnTo>
                  <a:lnTo>
                    <a:pt x="163" y="202"/>
                  </a:lnTo>
                  <a:lnTo>
                    <a:pt x="163" y="202"/>
                  </a:lnTo>
                  <a:lnTo>
                    <a:pt x="163" y="182"/>
                  </a:lnTo>
                  <a:lnTo>
                    <a:pt x="167" y="163"/>
                  </a:lnTo>
                  <a:lnTo>
                    <a:pt x="171" y="143"/>
                  </a:lnTo>
                  <a:lnTo>
                    <a:pt x="179" y="125"/>
                  </a:lnTo>
                  <a:lnTo>
                    <a:pt x="187" y="108"/>
                  </a:lnTo>
                  <a:lnTo>
                    <a:pt x="196" y="90"/>
                  </a:lnTo>
                  <a:lnTo>
                    <a:pt x="208" y="74"/>
                  </a:lnTo>
                  <a:lnTo>
                    <a:pt x="224" y="59"/>
                  </a:lnTo>
                  <a:lnTo>
                    <a:pt x="22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9" name="Freeform 11"/>
            <p:cNvSpPr>
              <a:spLocks/>
            </p:cNvSpPr>
            <p:nvPr/>
          </p:nvSpPr>
          <p:spPr bwMode="auto">
            <a:xfrm>
              <a:off x="6947" y="1123"/>
              <a:ext cx="731" cy="2063"/>
            </a:xfrm>
            <a:custGeom>
              <a:avLst/>
              <a:gdLst>
                <a:gd name="T0" fmla="*/ 540 w 731"/>
                <a:gd name="T1" fmla="*/ 0 h 2063"/>
                <a:gd name="T2" fmla="*/ 540 w 731"/>
                <a:gd name="T3" fmla="*/ 2021 h 2063"/>
                <a:gd name="T4" fmla="*/ 731 w 731"/>
                <a:gd name="T5" fmla="*/ 2021 h 2063"/>
                <a:gd name="T6" fmla="*/ 731 w 731"/>
                <a:gd name="T7" fmla="*/ 2063 h 2063"/>
                <a:gd name="T8" fmla="*/ 0 w 731"/>
                <a:gd name="T9" fmla="*/ 2063 h 2063"/>
                <a:gd name="T10" fmla="*/ 0 w 731"/>
                <a:gd name="T11" fmla="*/ 2021 h 2063"/>
                <a:gd name="T12" fmla="*/ 191 w 731"/>
                <a:gd name="T13" fmla="*/ 2021 h 2063"/>
                <a:gd name="T14" fmla="*/ 191 w 731"/>
                <a:gd name="T15" fmla="*/ 39 h 2063"/>
                <a:gd name="T16" fmla="*/ 0 w 731"/>
                <a:gd name="T17" fmla="*/ 39 h 2063"/>
                <a:gd name="T18" fmla="*/ 0 w 731"/>
                <a:gd name="T19" fmla="*/ 0 h 2063"/>
                <a:gd name="T20" fmla="*/ 540 w 731"/>
                <a:gd name="T21" fmla="*/ 0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1" h="2063">
                  <a:moveTo>
                    <a:pt x="540" y="0"/>
                  </a:moveTo>
                  <a:lnTo>
                    <a:pt x="540" y="2021"/>
                  </a:lnTo>
                  <a:lnTo>
                    <a:pt x="731" y="2021"/>
                  </a:lnTo>
                  <a:lnTo>
                    <a:pt x="731" y="2063"/>
                  </a:lnTo>
                  <a:lnTo>
                    <a:pt x="0" y="2063"/>
                  </a:lnTo>
                  <a:lnTo>
                    <a:pt x="0" y="2021"/>
                  </a:lnTo>
                  <a:lnTo>
                    <a:pt x="191" y="2021"/>
                  </a:lnTo>
                  <a:lnTo>
                    <a:pt x="191" y="39"/>
                  </a:lnTo>
                  <a:lnTo>
                    <a:pt x="0" y="39"/>
                  </a:lnTo>
                  <a:lnTo>
                    <a:pt x="0" y="0"/>
                  </a:lnTo>
                  <a:lnTo>
                    <a:pt x="5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744" name="Group 743"/>
          <p:cNvGrpSpPr>
            <a:grpSpLocks noChangeAspect="1"/>
          </p:cNvGrpSpPr>
          <p:nvPr/>
        </p:nvGrpSpPr>
        <p:grpSpPr>
          <a:xfrm>
            <a:off x="4406593" y="4157902"/>
            <a:ext cx="275792" cy="127458"/>
            <a:chOff x="-1906588" y="3775483"/>
            <a:chExt cx="1195388" cy="552450"/>
          </a:xfrm>
        </p:grpSpPr>
        <p:sp>
          <p:nvSpPr>
            <p:cNvPr id="745" name="Trapezoid 744"/>
            <p:cNvSpPr/>
            <p:nvPr/>
          </p:nvSpPr>
          <p:spPr bwMode="auto">
            <a:xfrm>
              <a:off x="-1553757" y="3792879"/>
              <a:ext cx="682047" cy="218734"/>
            </a:xfrm>
            <a:prstGeom prst="trapezoid">
              <a:avLst>
                <a:gd name="adj" fmla="val 78668"/>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46" name="Oval 745"/>
            <p:cNvSpPr/>
            <p:nvPr/>
          </p:nvSpPr>
          <p:spPr bwMode="auto">
            <a:xfrm>
              <a:off x="-1085851" y="4118618"/>
              <a:ext cx="207963" cy="207963"/>
            </a:xfrm>
            <a:prstGeom prst="ellipse">
              <a:avLst/>
            </a:prstGeom>
            <a:solidFill>
              <a:schemeClr val="accent5">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47" name="Oval 746"/>
            <p:cNvSpPr/>
            <p:nvPr/>
          </p:nvSpPr>
          <p:spPr bwMode="auto">
            <a:xfrm>
              <a:off x="-1846263" y="4118618"/>
              <a:ext cx="207963" cy="207963"/>
            </a:xfrm>
            <a:prstGeom prst="ellipse">
              <a:avLst/>
            </a:prstGeom>
            <a:solidFill>
              <a:schemeClr val="accent5">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748" name="Group 747"/>
            <p:cNvGrpSpPr/>
            <p:nvPr/>
          </p:nvGrpSpPr>
          <p:grpSpPr>
            <a:xfrm>
              <a:off x="-1906588" y="3775483"/>
              <a:ext cx="1195388" cy="552450"/>
              <a:chOff x="-3025776" y="4090988"/>
              <a:chExt cx="1195388" cy="552450"/>
            </a:xfrm>
          </p:grpSpPr>
          <p:sp>
            <p:nvSpPr>
              <p:cNvPr id="749" name="Freeform 199"/>
              <p:cNvSpPr>
                <a:spLocks noEditPoints="1"/>
              </p:cNvSpPr>
              <p:nvPr/>
            </p:nvSpPr>
            <p:spPr bwMode="auto">
              <a:xfrm>
                <a:off x="-2965451" y="4433888"/>
                <a:ext cx="207963" cy="209550"/>
              </a:xfrm>
              <a:custGeom>
                <a:avLst/>
                <a:gdLst>
                  <a:gd name="T0" fmla="*/ 176 w 394"/>
                  <a:gd name="T1" fmla="*/ 2 h 395"/>
                  <a:gd name="T2" fmla="*/ 120 w 394"/>
                  <a:gd name="T3" fmla="*/ 16 h 395"/>
                  <a:gd name="T4" fmla="*/ 72 w 394"/>
                  <a:gd name="T5" fmla="*/ 46 h 395"/>
                  <a:gd name="T6" fmla="*/ 33 w 394"/>
                  <a:gd name="T7" fmla="*/ 87 h 395"/>
                  <a:gd name="T8" fmla="*/ 9 w 394"/>
                  <a:gd name="T9" fmla="*/ 139 h 395"/>
                  <a:gd name="T10" fmla="*/ 0 w 394"/>
                  <a:gd name="T11" fmla="*/ 198 h 395"/>
                  <a:gd name="T12" fmla="*/ 4 w 394"/>
                  <a:gd name="T13" fmla="*/ 237 h 395"/>
                  <a:gd name="T14" fmla="*/ 24 w 394"/>
                  <a:gd name="T15" fmla="*/ 292 h 395"/>
                  <a:gd name="T16" fmla="*/ 57 w 394"/>
                  <a:gd name="T17" fmla="*/ 337 h 395"/>
                  <a:gd name="T18" fmla="*/ 103 w 394"/>
                  <a:gd name="T19" fmla="*/ 371 h 395"/>
                  <a:gd name="T20" fmla="*/ 157 w 394"/>
                  <a:gd name="T21" fmla="*/ 391 h 395"/>
                  <a:gd name="T22" fmla="*/ 196 w 394"/>
                  <a:gd name="T23" fmla="*/ 395 h 395"/>
                  <a:gd name="T24" fmla="*/ 255 w 394"/>
                  <a:gd name="T25" fmla="*/ 385 h 395"/>
                  <a:gd name="T26" fmla="*/ 307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7 w 394"/>
                  <a:gd name="T41" fmla="*/ 35 h 395"/>
                  <a:gd name="T42" fmla="*/ 255 w 394"/>
                  <a:gd name="T43" fmla="*/ 10 h 395"/>
                  <a:gd name="T44" fmla="*/ 196 w 394"/>
                  <a:gd name="T45" fmla="*/ 0 h 395"/>
                  <a:gd name="T46" fmla="*/ 196 w 394"/>
                  <a:gd name="T47" fmla="*/ 300 h 395"/>
                  <a:gd name="T48" fmla="*/ 166 w 394"/>
                  <a:gd name="T49" fmla="*/ 296 h 395"/>
                  <a:gd name="T50" fmla="*/ 139 w 394"/>
                  <a:gd name="T51" fmla="*/ 282 h 395"/>
                  <a:gd name="T52" fmla="*/ 116 w 394"/>
                  <a:gd name="T53" fmla="*/ 262 h 395"/>
                  <a:gd name="T54" fmla="*/ 100 w 394"/>
                  <a:gd name="T55" fmla="*/ 237 h 395"/>
                  <a:gd name="T56" fmla="*/ 92 w 394"/>
                  <a:gd name="T57" fmla="*/ 208 h 395"/>
                  <a:gd name="T58" fmla="*/ 92 w 394"/>
                  <a:gd name="T59" fmla="*/ 187 h 395"/>
                  <a:gd name="T60" fmla="*/ 100 w 394"/>
                  <a:gd name="T61" fmla="*/ 158 h 395"/>
                  <a:gd name="T62" fmla="*/ 116 w 394"/>
                  <a:gd name="T63" fmla="*/ 133 h 395"/>
                  <a:gd name="T64" fmla="*/ 139 w 394"/>
                  <a:gd name="T65" fmla="*/ 113 h 395"/>
                  <a:gd name="T66" fmla="*/ 166 w 394"/>
                  <a:gd name="T67" fmla="*/ 101 h 395"/>
                  <a:gd name="T68" fmla="*/ 196 w 394"/>
                  <a:gd name="T69" fmla="*/ 95 h 395"/>
                  <a:gd name="T70" fmla="*/ 218 w 394"/>
                  <a:gd name="T71" fmla="*/ 98 h 395"/>
                  <a:gd name="T72" fmla="*/ 247 w 394"/>
                  <a:gd name="T73" fmla="*/ 107 h 395"/>
                  <a:gd name="T74" fmla="*/ 271 w 394"/>
                  <a:gd name="T75" fmla="*/ 126 h 395"/>
                  <a:gd name="T76" fmla="*/ 290 w 394"/>
                  <a:gd name="T77" fmla="*/ 149 h 395"/>
                  <a:gd name="T78" fmla="*/ 299 w 394"/>
                  <a:gd name="T79" fmla="*/ 177 h 395"/>
                  <a:gd name="T80" fmla="*/ 302 w 394"/>
                  <a:gd name="T81" fmla="*/ 198 h 395"/>
                  <a:gd name="T82" fmla="*/ 297 w 394"/>
                  <a:gd name="T83" fmla="*/ 228 h 395"/>
                  <a:gd name="T84" fmla="*/ 284 w 394"/>
                  <a:gd name="T85" fmla="*/ 254 h 395"/>
                  <a:gd name="T86" fmla="*/ 263 w 394"/>
                  <a:gd name="T87" fmla="*/ 277 h 395"/>
                  <a:gd name="T88" fmla="*/ 238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6" y="0"/>
                    </a:moveTo>
                    <a:lnTo>
                      <a:pt x="196" y="0"/>
                    </a:lnTo>
                    <a:lnTo>
                      <a:pt x="176" y="2"/>
                    </a:lnTo>
                    <a:lnTo>
                      <a:pt x="157" y="4"/>
                    </a:lnTo>
                    <a:lnTo>
                      <a:pt x="139" y="10"/>
                    </a:lnTo>
                    <a:lnTo>
                      <a:pt x="120" y="16"/>
                    </a:lnTo>
                    <a:lnTo>
                      <a:pt x="103" y="24"/>
                    </a:lnTo>
                    <a:lnTo>
                      <a:pt x="87" y="35"/>
                    </a:lnTo>
                    <a:lnTo>
                      <a:pt x="72" y="46"/>
                    </a:lnTo>
                    <a:lnTo>
                      <a:pt x="57" y="59"/>
                    </a:lnTo>
                    <a:lnTo>
                      <a:pt x="45" y="73"/>
                    </a:lnTo>
                    <a:lnTo>
                      <a:pt x="33" y="87"/>
                    </a:lnTo>
                    <a:lnTo>
                      <a:pt x="24" y="103"/>
                    </a:lnTo>
                    <a:lnTo>
                      <a:pt x="16" y="121"/>
                    </a:lnTo>
                    <a:lnTo>
                      <a:pt x="9" y="139"/>
                    </a:lnTo>
                    <a:lnTo>
                      <a:pt x="4" y="158"/>
                    </a:lnTo>
                    <a:lnTo>
                      <a:pt x="1" y="178"/>
                    </a:lnTo>
                    <a:lnTo>
                      <a:pt x="0" y="198"/>
                    </a:lnTo>
                    <a:lnTo>
                      <a:pt x="0" y="198"/>
                    </a:lnTo>
                    <a:lnTo>
                      <a:pt x="1" y="218"/>
                    </a:lnTo>
                    <a:lnTo>
                      <a:pt x="4" y="237"/>
                    </a:lnTo>
                    <a:lnTo>
                      <a:pt x="9" y="256"/>
                    </a:lnTo>
                    <a:lnTo>
                      <a:pt x="16" y="274"/>
                    </a:lnTo>
                    <a:lnTo>
                      <a:pt x="24" y="292"/>
                    </a:lnTo>
                    <a:lnTo>
                      <a:pt x="33" y="308"/>
                    </a:lnTo>
                    <a:lnTo>
                      <a:pt x="45" y="322"/>
                    </a:lnTo>
                    <a:lnTo>
                      <a:pt x="57" y="337"/>
                    </a:lnTo>
                    <a:lnTo>
                      <a:pt x="72" y="349"/>
                    </a:lnTo>
                    <a:lnTo>
                      <a:pt x="87" y="361"/>
                    </a:lnTo>
                    <a:lnTo>
                      <a:pt x="103" y="371"/>
                    </a:lnTo>
                    <a:lnTo>
                      <a:pt x="120" y="379"/>
                    </a:lnTo>
                    <a:lnTo>
                      <a:pt x="139" y="385"/>
                    </a:lnTo>
                    <a:lnTo>
                      <a:pt x="157" y="391"/>
                    </a:lnTo>
                    <a:lnTo>
                      <a:pt x="176" y="393"/>
                    </a:lnTo>
                    <a:lnTo>
                      <a:pt x="196" y="395"/>
                    </a:lnTo>
                    <a:lnTo>
                      <a:pt x="196" y="395"/>
                    </a:lnTo>
                    <a:lnTo>
                      <a:pt x="218" y="393"/>
                    </a:lnTo>
                    <a:lnTo>
                      <a:pt x="236" y="391"/>
                    </a:lnTo>
                    <a:lnTo>
                      <a:pt x="255" y="385"/>
                    </a:lnTo>
                    <a:lnTo>
                      <a:pt x="274" y="379"/>
                    </a:lnTo>
                    <a:lnTo>
                      <a:pt x="291" y="371"/>
                    </a:lnTo>
                    <a:lnTo>
                      <a:pt x="307"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7" y="35"/>
                    </a:lnTo>
                    <a:lnTo>
                      <a:pt x="291" y="24"/>
                    </a:lnTo>
                    <a:lnTo>
                      <a:pt x="274" y="16"/>
                    </a:lnTo>
                    <a:lnTo>
                      <a:pt x="255" y="10"/>
                    </a:lnTo>
                    <a:lnTo>
                      <a:pt x="236" y="4"/>
                    </a:lnTo>
                    <a:lnTo>
                      <a:pt x="218" y="2"/>
                    </a:lnTo>
                    <a:lnTo>
                      <a:pt x="196" y="0"/>
                    </a:lnTo>
                    <a:lnTo>
                      <a:pt x="196" y="0"/>
                    </a:lnTo>
                    <a:close/>
                    <a:moveTo>
                      <a:pt x="196" y="300"/>
                    </a:moveTo>
                    <a:lnTo>
                      <a:pt x="196" y="300"/>
                    </a:lnTo>
                    <a:lnTo>
                      <a:pt x="186" y="300"/>
                    </a:lnTo>
                    <a:lnTo>
                      <a:pt x="176" y="298"/>
                    </a:lnTo>
                    <a:lnTo>
                      <a:pt x="166" y="296"/>
                    </a:lnTo>
                    <a:lnTo>
                      <a:pt x="156" y="292"/>
                    </a:lnTo>
                    <a:lnTo>
                      <a:pt x="147" y="288"/>
                    </a:lnTo>
                    <a:lnTo>
                      <a:pt x="139" y="282"/>
                    </a:lnTo>
                    <a:lnTo>
                      <a:pt x="129" y="277"/>
                    </a:lnTo>
                    <a:lnTo>
                      <a:pt x="123" y="270"/>
                    </a:lnTo>
                    <a:lnTo>
                      <a:pt x="116" y="262"/>
                    </a:lnTo>
                    <a:lnTo>
                      <a:pt x="109" y="254"/>
                    </a:lnTo>
                    <a:lnTo>
                      <a:pt x="104" y="246"/>
                    </a:lnTo>
                    <a:lnTo>
                      <a:pt x="100" y="237"/>
                    </a:lnTo>
                    <a:lnTo>
                      <a:pt x="96" y="228"/>
                    </a:lnTo>
                    <a:lnTo>
                      <a:pt x="93" y="218"/>
                    </a:lnTo>
                    <a:lnTo>
                      <a:pt x="92" y="208"/>
                    </a:lnTo>
                    <a:lnTo>
                      <a:pt x="92" y="198"/>
                    </a:lnTo>
                    <a:lnTo>
                      <a:pt x="92" y="198"/>
                    </a:lnTo>
                    <a:lnTo>
                      <a:pt x="92" y="187"/>
                    </a:lnTo>
                    <a:lnTo>
                      <a:pt x="93" y="177"/>
                    </a:lnTo>
                    <a:lnTo>
                      <a:pt x="96" y="167"/>
                    </a:lnTo>
                    <a:lnTo>
                      <a:pt x="100" y="158"/>
                    </a:lnTo>
                    <a:lnTo>
                      <a:pt x="104" y="149"/>
                    </a:lnTo>
                    <a:lnTo>
                      <a:pt x="109" y="141"/>
                    </a:lnTo>
                    <a:lnTo>
                      <a:pt x="116" y="133"/>
                    </a:lnTo>
                    <a:lnTo>
                      <a:pt x="123" y="126"/>
                    </a:lnTo>
                    <a:lnTo>
                      <a:pt x="129" y="119"/>
                    </a:lnTo>
                    <a:lnTo>
                      <a:pt x="139" y="113"/>
                    </a:lnTo>
                    <a:lnTo>
                      <a:pt x="147" y="107"/>
                    </a:lnTo>
                    <a:lnTo>
                      <a:pt x="156" y="103"/>
                    </a:lnTo>
                    <a:lnTo>
                      <a:pt x="166" y="101"/>
                    </a:lnTo>
                    <a:lnTo>
                      <a:pt x="176" y="98"/>
                    </a:lnTo>
                    <a:lnTo>
                      <a:pt x="186" y="95"/>
                    </a:lnTo>
                    <a:lnTo>
                      <a:pt x="196" y="95"/>
                    </a:lnTo>
                    <a:lnTo>
                      <a:pt x="196" y="95"/>
                    </a:lnTo>
                    <a:lnTo>
                      <a:pt x="207" y="95"/>
                    </a:lnTo>
                    <a:lnTo>
                      <a:pt x="218" y="98"/>
                    </a:lnTo>
                    <a:lnTo>
                      <a:pt x="228" y="101"/>
                    </a:lnTo>
                    <a:lnTo>
                      <a:pt x="238" y="103"/>
                    </a:lnTo>
                    <a:lnTo>
                      <a:pt x="247" y="107"/>
                    </a:lnTo>
                    <a:lnTo>
                      <a:pt x="255" y="113"/>
                    </a:lnTo>
                    <a:lnTo>
                      <a:pt x="263" y="119"/>
                    </a:lnTo>
                    <a:lnTo>
                      <a:pt x="271" y="126"/>
                    </a:lnTo>
                    <a:lnTo>
                      <a:pt x="278" y="133"/>
                    </a:lnTo>
                    <a:lnTo>
                      <a:pt x="284" y="141"/>
                    </a:lnTo>
                    <a:lnTo>
                      <a:pt x="290" y="149"/>
                    </a:lnTo>
                    <a:lnTo>
                      <a:pt x="294" y="158"/>
                    </a:lnTo>
                    <a:lnTo>
                      <a:pt x="297" y="167"/>
                    </a:lnTo>
                    <a:lnTo>
                      <a:pt x="299" y="177"/>
                    </a:lnTo>
                    <a:lnTo>
                      <a:pt x="302" y="187"/>
                    </a:lnTo>
                    <a:lnTo>
                      <a:pt x="302" y="198"/>
                    </a:lnTo>
                    <a:lnTo>
                      <a:pt x="302" y="198"/>
                    </a:lnTo>
                    <a:lnTo>
                      <a:pt x="302" y="208"/>
                    </a:lnTo>
                    <a:lnTo>
                      <a:pt x="299" y="218"/>
                    </a:lnTo>
                    <a:lnTo>
                      <a:pt x="297" y="228"/>
                    </a:lnTo>
                    <a:lnTo>
                      <a:pt x="294" y="237"/>
                    </a:lnTo>
                    <a:lnTo>
                      <a:pt x="290" y="246"/>
                    </a:lnTo>
                    <a:lnTo>
                      <a:pt x="284" y="254"/>
                    </a:lnTo>
                    <a:lnTo>
                      <a:pt x="278" y="262"/>
                    </a:lnTo>
                    <a:lnTo>
                      <a:pt x="271" y="270"/>
                    </a:lnTo>
                    <a:lnTo>
                      <a:pt x="263" y="277"/>
                    </a:lnTo>
                    <a:lnTo>
                      <a:pt x="255" y="282"/>
                    </a:lnTo>
                    <a:lnTo>
                      <a:pt x="247" y="288"/>
                    </a:lnTo>
                    <a:lnTo>
                      <a:pt x="238" y="292"/>
                    </a:lnTo>
                    <a:lnTo>
                      <a:pt x="228" y="296"/>
                    </a:lnTo>
                    <a:lnTo>
                      <a:pt x="218" y="298"/>
                    </a:lnTo>
                    <a:lnTo>
                      <a:pt x="207" y="300"/>
                    </a:lnTo>
                    <a:lnTo>
                      <a:pt x="196" y="300"/>
                    </a:lnTo>
                    <a:lnTo>
                      <a:pt x="196"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0" name="Freeform 200"/>
              <p:cNvSpPr>
                <a:spLocks noEditPoints="1"/>
              </p:cNvSpPr>
              <p:nvPr/>
            </p:nvSpPr>
            <p:spPr bwMode="auto">
              <a:xfrm>
                <a:off x="-2205038" y="4433888"/>
                <a:ext cx="207963" cy="209550"/>
              </a:xfrm>
              <a:custGeom>
                <a:avLst/>
                <a:gdLst>
                  <a:gd name="T0" fmla="*/ 178 w 394"/>
                  <a:gd name="T1" fmla="*/ 2 h 395"/>
                  <a:gd name="T2" fmla="*/ 120 w 394"/>
                  <a:gd name="T3" fmla="*/ 16 h 395"/>
                  <a:gd name="T4" fmla="*/ 72 w 394"/>
                  <a:gd name="T5" fmla="*/ 46 h 395"/>
                  <a:gd name="T6" fmla="*/ 35 w 394"/>
                  <a:gd name="T7" fmla="*/ 87 h 395"/>
                  <a:gd name="T8" fmla="*/ 9 w 394"/>
                  <a:gd name="T9" fmla="*/ 139 h 395"/>
                  <a:gd name="T10" fmla="*/ 0 w 394"/>
                  <a:gd name="T11" fmla="*/ 198 h 395"/>
                  <a:gd name="T12" fmla="*/ 4 w 394"/>
                  <a:gd name="T13" fmla="*/ 237 h 395"/>
                  <a:gd name="T14" fmla="*/ 24 w 394"/>
                  <a:gd name="T15" fmla="*/ 292 h 395"/>
                  <a:gd name="T16" fmla="*/ 59 w 394"/>
                  <a:gd name="T17" fmla="*/ 337 h 395"/>
                  <a:gd name="T18" fmla="*/ 103 w 394"/>
                  <a:gd name="T19" fmla="*/ 371 h 395"/>
                  <a:gd name="T20" fmla="*/ 158 w 394"/>
                  <a:gd name="T21" fmla="*/ 391 h 395"/>
                  <a:gd name="T22" fmla="*/ 198 w 394"/>
                  <a:gd name="T23" fmla="*/ 395 h 395"/>
                  <a:gd name="T24" fmla="*/ 255 w 394"/>
                  <a:gd name="T25" fmla="*/ 385 h 395"/>
                  <a:gd name="T26" fmla="*/ 307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7 w 394"/>
                  <a:gd name="T41" fmla="*/ 35 h 395"/>
                  <a:gd name="T42" fmla="*/ 255 w 394"/>
                  <a:gd name="T43" fmla="*/ 10 h 395"/>
                  <a:gd name="T44" fmla="*/ 198 w 394"/>
                  <a:gd name="T45" fmla="*/ 0 h 395"/>
                  <a:gd name="T46" fmla="*/ 198 w 394"/>
                  <a:gd name="T47" fmla="*/ 300 h 395"/>
                  <a:gd name="T48" fmla="*/ 167 w 394"/>
                  <a:gd name="T49" fmla="*/ 296 h 395"/>
                  <a:gd name="T50" fmla="*/ 140 w 394"/>
                  <a:gd name="T51" fmla="*/ 282 h 395"/>
                  <a:gd name="T52" fmla="*/ 119 w 394"/>
                  <a:gd name="T53" fmla="*/ 262 h 395"/>
                  <a:gd name="T54" fmla="*/ 103 w 394"/>
                  <a:gd name="T55" fmla="*/ 237 h 395"/>
                  <a:gd name="T56" fmla="*/ 95 w 394"/>
                  <a:gd name="T57" fmla="*/ 208 h 395"/>
                  <a:gd name="T58" fmla="*/ 95 w 394"/>
                  <a:gd name="T59" fmla="*/ 187 h 395"/>
                  <a:gd name="T60" fmla="*/ 103 w 394"/>
                  <a:gd name="T61" fmla="*/ 158 h 395"/>
                  <a:gd name="T62" fmla="*/ 119 w 394"/>
                  <a:gd name="T63" fmla="*/ 133 h 395"/>
                  <a:gd name="T64" fmla="*/ 140 w 394"/>
                  <a:gd name="T65" fmla="*/ 113 h 395"/>
                  <a:gd name="T66" fmla="*/ 167 w 394"/>
                  <a:gd name="T67" fmla="*/ 101 h 395"/>
                  <a:gd name="T68" fmla="*/ 198 w 394"/>
                  <a:gd name="T69" fmla="*/ 95 h 395"/>
                  <a:gd name="T70" fmla="*/ 218 w 394"/>
                  <a:gd name="T71" fmla="*/ 98 h 395"/>
                  <a:gd name="T72" fmla="*/ 246 w 394"/>
                  <a:gd name="T73" fmla="*/ 107 h 395"/>
                  <a:gd name="T74" fmla="*/ 270 w 394"/>
                  <a:gd name="T75" fmla="*/ 126 h 395"/>
                  <a:gd name="T76" fmla="*/ 287 w 394"/>
                  <a:gd name="T77" fmla="*/ 149 h 395"/>
                  <a:gd name="T78" fmla="*/ 298 w 394"/>
                  <a:gd name="T79" fmla="*/ 177 h 395"/>
                  <a:gd name="T80" fmla="*/ 299 w 394"/>
                  <a:gd name="T81" fmla="*/ 198 h 395"/>
                  <a:gd name="T82" fmla="*/ 295 w 394"/>
                  <a:gd name="T83" fmla="*/ 228 h 395"/>
                  <a:gd name="T84" fmla="*/ 282 w 394"/>
                  <a:gd name="T85" fmla="*/ 254 h 395"/>
                  <a:gd name="T86" fmla="*/ 262 w 394"/>
                  <a:gd name="T87" fmla="*/ 277 h 395"/>
                  <a:gd name="T88" fmla="*/ 237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8" y="0"/>
                    </a:moveTo>
                    <a:lnTo>
                      <a:pt x="198" y="0"/>
                    </a:lnTo>
                    <a:lnTo>
                      <a:pt x="178" y="2"/>
                    </a:lnTo>
                    <a:lnTo>
                      <a:pt x="158" y="4"/>
                    </a:lnTo>
                    <a:lnTo>
                      <a:pt x="139" y="10"/>
                    </a:lnTo>
                    <a:lnTo>
                      <a:pt x="120" y="16"/>
                    </a:lnTo>
                    <a:lnTo>
                      <a:pt x="103" y="24"/>
                    </a:lnTo>
                    <a:lnTo>
                      <a:pt x="87" y="35"/>
                    </a:lnTo>
                    <a:lnTo>
                      <a:pt x="72" y="46"/>
                    </a:lnTo>
                    <a:lnTo>
                      <a:pt x="59" y="59"/>
                    </a:lnTo>
                    <a:lnTo>
                      <a:pt x="45" y="73"/>
                    </a:lnTo>
                    <a:lnTo>
                      <a:pt x="35" y="87"/>
                    </a:lnTo>
                    <a:lnTo>
                      <a:pt x="24" y="103"/>
                    </a:lnTo>
                    <a:lnTo>
                      <a:pt x="16" y="121"/>
                    </a:lnTo>
                    <a:lnTo>
                      <a:pt x="9" y="139"/>
                    </a:lnTo>
                    <a:lnTo>
                      <a:pt x="4" y="158"/>
                    </a:lnTo>
                    <a:lnTo>
                      <a:pt x="1" y="178"/>
                    </a:lnTo>
                    <a:lnTo>
                      <a:pt x="0" y="198"/>
                    </a:lnTo>
                    <a:lnTo>
                      <a:pt x="0" y="198"/>
                    </a:lnTo>
                    <a:lnTo>
                      <a:pt x="1" y="218"/>
                    </a:lnTo>
                    <a:lnTo>
                      <a:pt x="4" y="237"/>
                    </a:lnTo>
                    <a:lnTo>
                      <a:pt x="9" y="256"/>
                    </a:lnTo>
                    <a:lnTo>
                      <a:pt x="16" y="274"/>
                    </a:lnTo>
                    <a:lnTo>
                      <a:pt x="24" y="292"/>
                    </a:lnTo>
                    <a:lnTo>
                      <a:pt x="35" y="308"/>
                    </a:lnTo>
                    <a:lnTo>
                      <a:pt x="45" y="322"/>
                    </a:lnTo>
                    <a:lnTo>
                      <a:pt x="59" y="337"/>
                    </a:lnTo>
                    <a:lnTo>
                      <a:pt x="72" y="349"/>
                    </a:lnTo>
                    <a:lnTo>
                      <a:pt x="87" y="361"/>
                    </a:lnTo>
                    <a:lnTo>
                      <a:pt x="103" y="371"/>
                    </a:lnTo>
                    <a:lnTo>
                      <a:pt x="120" y="379"/>
                    </a:lnTo>
                    <a:lnTo>
                      <a:pt x="139" y="385"/>
                    </a:lnTo>
                    <a:lnTo>
                      <a:pt x="158" y="391"/>
                    </a:lnTo>
                    <a:lnTo>
                      <a:pt x="178" y="393"/>
                    </a:lnTo>
                    <a:lnTo>
                      <a:pt x="198" y="395"/>
                    </a:lnTo>
                    <a:lnTo>
                      <a:pt x="198" y="395"/>
                    </a:lnTo>
                    <a:lnTo>
                      <a:pt x="218" y="393"/>
                    </a:lnTo>
                    <a:lnTo>
                      <a:pt x="237" y="391"/>
                    </a:lnTo>
                    <a:lnTo>
                      <a:pt x="255" y="385"/>
                    </a:lnTo>
                    <a:lnTo>
                      <a:pt x="274" y="379"/>
                    </a:lnTo>
                    <a:lnTo>
                      <a:pt x="291" y="371"/>
                    </a:lnTo>
                    <a:lnTo>
                      <a:pt x="307"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7" y="35"/>
                    </a:lnTo>
                    <a:lnTo>
                      <a:pt x="291" y="24"/>
                    </a:lnTo>
                    <a:lnTo>
                      <a:pt x="274" y="16"/>
                    </a:lnTo>
                    <a:lnTo>
                      <a:pt x="255" y="10"/>
                    </a:lnTo>
                    <a:lnTo>
                      <a:pt x="237" y="4"/>
                    </a:lnTo>
                    <a:lnTo>
                      <a:pt x="218" y="2"/>
                    </a:lnTo>
                    <a:lnTo>
                      <a:pt x="198" y="0"/>
                    </a:lnTo>
                    <a:lnTo>
                      <a:pt x="198" y="0"/>
                    </a:lnTo>
                    <a:close/>
                    <a:moveTo>
                      <a:pt x="198" y="300"/>
                    </a:moveTo>
                    <a:lnTo>
                      <a:pt x="198" y="300"/>
                    </a:lnTo>
                    <a:lnTo>
                      <a:pt x="187" y="300"/>
                    </a:lnTo>
                    <a:lnTo>
                      <a:pt x="176" y="298"/>
                    </a:lnTo>
                    <a:lnTo>
                      <a:pt x="167" y="296"/>
                    </a:lnTo>
                    <a:lnTo>
                      <a:pt x="158" y="292"/>
                    </a:lnTo>
                    <a:lnTo>
                      <a:pt x="148" y="288"/>
                    </a:lnTo>
                    <a:lnTo>
                      <a:pt x="140" y="282"/>
                    </a:lnTo>
                    <a:lnTo>
                      <a:pt x="132" y="277"/>
                    </a:lnTo>
                    <a:lnTo>
                      <a:pt x="126" y="270"/>
                    </a:lnTo>
                    <a:lnTo>
                      <a:pt x="119" y="262"/>
                    </a:lnTo>
                    <a:lnTo>
                      <a:pt x="112" y="254"/>
                    </a:lnTo>
                    <a:lnTo>
                      <a:pt x="107" y="246"/>
                    </a:lnTo>
                    <a:lnTo>
                      <a:pt x="103" y="237"/>
                    </a:lnTo>
                    <a:lnTo>
                      <a:pt x="100" y="228"/>
                    </a:lnTo>
                    <a:lnTo>
                      <a:pt x="98" y="218"/>
                    </a:lnTo>
                    <a:lnTo>
                      <a:pt x="95" y="208"/>
                    </a:lnTo>
                    <a:lnTo>
                      <a:pt x="95" y="198"/>
                    </a:lnTo>
                    <a:lnTo>
                      <a:pt x="95" y="198"/>
                    </a:lnTo>
                    <a:lnTo>
                      <a:pt x="95" y="187"/>
                    </a:lnTo>
                    <a:lnTo>
                      <a:pt x="98" y="177"/>
                    </a:lnTo>
                    <a:lnTo>
                      <a:pt x="100" y="167"/>
                    </a:lnTo>
                    <a:lnTo>
                      <a:pt x="103" y="158"/>
                    </a:lnTo>
                    <a:lnTo>
                      <a:pt x="107" y="149"/>
                    </a:lnTo>
                    <a:lnTo>
                      <a:pt x="112" y="141"/>
                    </a:lnTo>
                    <a:lnTo>
                      <a:pt x="119" y="133"/>
                    </a:lnTo>
                    <a:lnTo>
                      <a:pt x="126" y="126"/>
                    </a:lnTo>
                    <a:lnTo>
                      <a:pt x="132" y="119"/>
                    </a:lnTo>
                    <a:lnTo>
                      <a:pt x="140" y="113"/>
                    </a:lnTo>
                    <a:lnTo>
                      <a:pt x="148" y="107"/>
                    </a:lnTo>
                    <a:lnTo>
                      <a:pt x="158" y="103"/>
                    </a:lnTo>
                    <a:lnTo>
                      <a:pt x="167" y="101"/>
                    </a:lnTo>
                    <a:lnTo>
                      <a:pt x="176" y="98"/>
                    </a:lnTo>
                    <a:lnTo>
                      <a:pt x="187" y="95"/>
                    </a:lnTo>
                    <a:lnTo>
                      <a:pt x="198" y="95"/>
                    </a:lnTo>
                    <a:lnTo>
                      <a:pt x="198" y="95"/>
                    </a:lnTo>
                    <a:lnTo>
                      <a:pt x="207" y="95"/>
                    </a:lnTo>
                    <a:lnTo>
                      <a:pt x="218" y="98"/>
                    </a:lnTo>
                    <a:lnTo>
                      <a:pt x="227" y="101"/>
                    </a:lnTo>
                    <a:lnTo>
                      <a:pt x="237" y="103"/>
                    </a:lnTo>
                    <a:lnTo>
                      <a:pt x="246" y="107"/>
                    </a:lnTo>
                    <a:lnTo>
                      <a:pt x="254" y="113"/>
                    </a:lnTo>
                    <a:lnTo>
                      <a:pt x="262" y="119"/>
                    </a:lnTo>
                    <a:lnTo>
                      <a:pt x="270" y="126"/>
                    </a:lnTo>
                    <a:lnTo>
                      <a:pt x="277" y="133"/>
                    </a:lnTo>
                    <a:lnTo>
                      <a:pt x="282" y="141"/>
                    </a:lnTo>
                    <a:lnTo>
                      <a:pt x="287" y="149"/>
                    </a:lnTo>
                    <a:lnTo>
                      <a:pt x="291" y="158"/>
                    </a:lnTo>
                    <a:lnTo>
                      <a:pt x="295" y="167"/>
                    </a:lnTo>
                    <a:lnTo>
                      <a:pt x="298" y="177"/>
                    </a:lnTo>
                    <a:lnTo>
                      <a:pt x="299" y="187"/>
                    </a:lnTo>
                    <a:lnTo>
                      <a:pt x="299" y="198"/>
                    </a:lnTo>
                    <a:lnTo>
                      <a:pt x="299" y="198"/>
                    </a:lnTo>
                    <a:lnTo>
                      <a:pt x="299" y="208"/>
                    </a:lnTo>
                    <a:lnTo>
                      <a:pt x="298" y="218"/>
                    </a:lnTo>
                    <a:lnTo>
                      <a:pt x="295" y="228"/>
                    </a:lnTo>
                    <a:lnTo>
                      <a:pt x="291" y="237"/>
                    </a:lnTo>
                    <a:lnTo>
                      <a:pt x="287" y="246"/>
                    </a:lnTo>
                    <a:lnTo>
                      <a:pt x="282" y="254"/>
                    </a:lnTo>
                    <a:lnTo>
                      <a:pt x="277" y="262"/>
                    </a:lnTo>
                    <a:lnTo>
                      <a:pt x="270" y="270"/>
                    </a:lnTo>
                    <a:lnTo>
                      <a:pt x="262" y="277"/>
                    </a:lnTo>
                    <a:lnTo>
                      <a:pt x="254" y="282"/>
                    </a:lnTo>
                    <a:lnTo>
                      <a:pt x="246" y="288"/>
                    </a:lnTo>
                    <a:lnTo>
                      <a:pt x="237" y="292"/>
                    </a:lnTo>
                    <a:lnTo>
                      <a:pt x="227" y="296"/>
                    </a:lnTo>
                    <a:lnTo>
                      <a:pt x="218" y="298"/>
                    </a:lnTo>
                    <a:lnTo>
                      <a:pt x="207" y="300"/>
                    </a:lnTo>
                    <a:lnTo>
                      <a:pt x="198" y="300"/>
                    </a:lnTo>
                    <a:lnTo>
                      <a:pt x="198"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1" name="Freeform 201"/>
              <p:cNvSpPr>
                <a:spLocks noEditPoints="1"/>
              </p:cNvSpPr>
              <p:nvPr/>
            </p:nvSpPr>
            <p:spPr bwMode="auto">
              <a:xfrm>
                <a:off x="-3025776" y="4090988"/>
                <a:ext cx="1195388" cy="460375"/>
              </a:xfrm>
              <a:custGeom>
                <a:avLst/>
                <a:gdLst>
                  <a:gd name="T0" fmla="*/ 2209 w 2257"/>
                  <a:gd name="T1" fmla="*/ 473 h 869"/>
                  <a:gd name="T2" fmla="*/ 2143 w 2257"/>
                  <a:gd name="T3" fmla="*/ 456 h 869"/>
                  <a:gd name="T4" fmla="*/ 2083 w 2257"/>
                  <a:gd name="T5" fmla="*/ 423 h 869"/>
                  <a:gd name="T6" fmla="*/ 2050 w 2257"/>
                  <a:gd name="T7" fmla="*/ 392 h 869"/>
                  <a:gd name="T8" fmla="*/ 1804 w 2257"/>
                  <a:gd name="T9" fmla="*/ 135 h 869"/>
                  <a:gd name="T10" fmla="*/ 1754 w 2257"/>
                  <a:gd name="T11" fmla="*/ 91 h 869"/>
                  <a:gd name="T12" fmla="*/ 1700 w 2257"/>
                  <a:gd name="T13" fmla="*/ 55 h 869"/>
                  <a:gd name="T14" fmla="*/ 1641 w 2257"/>
                  <a:gd name="T15" fmla="*/ 27 h 869"/>
                  <a:gd name="T16" fmla="*/ 1578 w 2257"/>
                  <a:gd name="T17" fmla="*/ 10 h 869"/>
                  <a:gd name="T18" fmla="*/ 1513 w 2257"/>
                  <a:gd name="T19" fmla="*/ 2 h 869"/>
                  <a:gd name="T20" fmla="*/ 1013 w 2257"/>
                  <a:gd name="T21" fmla="*/ 0 h 869"/>
                  <a:gd name="T22" fmla="*/ 970 w 2257"/>
                  <a:gd name="T23" fmla="*/ 6 h 869"/>
                  <a:gd name="T24" fmla="*/ 912 w 2257"/>
                  <a:gd name="T25" fmla="*/ 32 h 869"/>
                  <a:gd name="T26" fmla="*/ 867 w 2257"/>
                  <a:gd name="T27" fmla="*/ 79 h 869"/>
                  <a:gd name="T28" fmla="*/ 96 w 2257"/>
                  <a:gd name="T29" fmla="*/ 460 h 869"/>
                  <a:gd name="T30" fmla="*/ 86 w 2257"/>
                  <a:gd name="T31" fmla="*/ 463 h 869"/>
                  <a:gd name="T32" fmla="*/ 58 w 2257"/>
                  <a:gd name="T33" fmla="*/ 473 h 869"/>
                  <a:gd name="T34" fmla="*/ 34 w 2257"/>
                  <a:gd name="T35" fmla="*/ 489 h 869"/>
                  <a:gd name="T36" fmla="*/ 16 w 2257"/>
                  <a:gd name="T37" fmla="*/ 512 h 869"/>
                  <a:gd name="T38" fmla="*/ 4 w 2257"/>
                  <a:gd name="T39" fmla="*/ 540 h 869"/>
                  <a:gd name="T40" fmla="*/ 0 w 2257"/>
                  <a:gd name="T41" fmla="*/ 570 h 869"/>
                  <a:gd name="T42" fmla="*/ 0 w 2257"/>
                  <a:gd name="T43" fmla="*/ 779 h 869"/>
                  <a:gd name="T44" fmla="*/ 6 w 2257"/>
                  <a:gd name="T45" fmla="*/ 806 h 869"/>
                  <a:gd name="T46" fmla="*/ 37 w 2257"/>
                  <a:gd name="T47" fmla="*/ 849 h 869"/>
                  <a:gd name="T48" fmla="*/ 60 w 2257"/>
                  <a:gd name="T49" fmla="*/ 862 h 869"/>
                  <a:gd name="T50" fmla="*/ 86 w 2257"/>
                  <a:gd name="T51" fmla="*/ 869 h 869"/>
                  <a:gd name="T52" fmla="*/ 86 w 2257"/>
                  <a:gd name="T53" fmla="*/ 846 h 869"/>
                  <a:gd name="T54" fmla="*/ 90 w 2257"/>
                  <a:gd name="T55" fmla="*/ 801 h 869"/>
                  <a:gd name="T56" fmla="*/ 113 w 2257"/>
                  <a:gd name="T57" fmla="*/ 739 h 869"/>
                  <a:gd name="T58" fmla="*/ 151 w 2257"/>
                  <a:gd name="T59" fmla="*/ 688 h 869"/>
                  <a:gd name="T60" fmla="*/ 203 w 2257"/>
                  <a:gd name="T61" fmla="*/ 650 h 869"/>
                  <a:gd name="T62" fmla="*/ 264 w 2257"/>
                  <a:gd name="T63" fmla="*/ 627 h 869"/>
                  <a:gd name="T64" fmla="*/ 308 w 2257"/>
                  <a:gd name="T65" fmla="*/ 623 h 869"/>
                  <a:gd name="T66" fmla="*/ 375 w 2257"/>
                  <a:gd name="T67" fmla="*/ 632 h 869"/>
                  <a:gd name="T68" fmla="*/ 434 w 2257"/>
                  <a:gd name="T69" fmla="*/ 660 h 869"/>
                  <a:gd name="T70" fmla="*/ 481 w 2257"/>
                  <a:gd name="T71" fmla="*/ 703 h 869"/>
                  <a:gd name="T72" fmla="*/ 514 w 2257"/>
                  <a:gd name="T73" fmla="*/ 759 h 869"/>
                  <a:gd name="T74" fmla="*/ 530 w 2257"/>
                  <a:gd name="T75" fmla="*/ 823 h 869"/>
                  <a:gd name="T76" fmla="*/ 530 w 2257"/>
                  <a:gd name="T77" fmla="*/ 869 h 869"/>
                  <a:gd name="T78" fmla="*/ 1526 w 2257"/>
                  <a:gd name="T79" fmla="*/ 869 h 869"/>
                  <a:gd name="T80" fmla="*/ 1525 w 2257"/>
                  <a:gd name="T81" fmla="*/ 846 h 869"/>
                  <a:gd name="T82" fmla="*/ 1534 w 2257"/>
                  <a:gd name="T83" fmla="*/ 779 h 869"/>
                  <a:gd name="T84" fmla="*/ 1562 w 2257"/>
                  <a:gd name="T85" fmla="*/ 721 h 869"/>
                  <a:gd name="T86" fmla="*/ 1606 w 2257"/>
                  <a:gd name="T87" fmla="*/ 674 h 869"/>
                  <a:gd name="T88" fmla="*/ 1661 w 2257"/>
                  <a:gd name="T89" fmla="*/ 640 h 869"/>
                  <a:gd name="T90" fmla="*/ 1725 w 2257"/>
                  <a:gd name="T91" fmla="*/ 624 h 869"/>
                  <a:gd name="T92" fmla="*/ 1771 w 2257"/>
                  <a:gd name="T93" fmla="*/ 624 h 869"/>
                  <a:gd name="T94" fmla="*/ 1835 w 2257"/>
                  <a:gd name="T95" fmla="*/ 640 h 869"/>
                  <a:gd name="T96" fmla="*/ 1889 w 2257"/>
                  <a:gd name="T97" fmla="*/ 674 h 869"/>
                  <a:gd name="T98" fmla="*/ 1932 w 2257"/>
                  <a:gd name="T99" fmla="*/ 721 h 869"/>
                  <a:gd name="T100" fmla="*/ 1960 w 2257"/>
                  <a:gd name="T101" fmla="*/ 779 h 869"/>
                  <a:gd name="T102" fmla="*/ 1971 w 2257"/>
                  <a:gd name="T103" fmla="*/ 846 h 869"/>
                  <a:gd name="T104" fmla="*/ 1971 w 2257"/>
                  <a:gd name="T105" fmla="*/ 869 h 869"/>
                  <a:gd name="T106" fmla="*/ 2257 w 2257"/>
                  <a:gd name="T107" fmla="*/ 528 h 869"/>
                  <a:gd name="T108" fmla="*/ 2249 w 2257"/>
                  <a:gd name="T109" fmla="*/ 500 h 869"/>
                  <a:gd name="T110" fmla="*/ 2228 w 2257"/>
                  <a:gd name="T111" fmla="*/ 480 h 869"/>
                  <a:gd name="T112" fmla="*/ 2209 w 2257"/>
                  <a:gd name="T113" fmla="*/ 473 h 869"/>
                  <a:gd name="T114" fmla="*/ 936 w 2257"/>
                  <a:gd name="T115" fmla="*/ 114 h 869"/>
                  <a:gd name="T116" fmla="*/ 1367 w 2257"/>
                  <a:gd name="T117" fmla="*/ 386 h 869"/>
                  <a:gd name="T118" fmla="*/ 1855 w 2257"/>
                  <a:gd name="T119" fmla="*/ 386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7" h="869">
                    <a:moveTo>
                      <a:pt x="2209" y="473"/>
                    </a:moveTo>
                    <a:lnTo>
                      <a:pt x="2209" y="473"/>
                    </a:lnTo>
                    <a:lnTo>
                      <a:pt x="2209" y="473"/>
                    </a:lnTo>
                    <a:lnTo>
                      <a:pt x="2186" y="469"/>
                    </a:lnTo>
                    <a:lnTo>
                      <a:pt x="2165" y="463"/>
                    </a:lnTo>
                    <a:lnTo>
                      <a:pt x="2143" y="456"/>
                    </a:lnTo>
                    <a:lnTo>
                      <a:pt x="2122" y="447"/>
                    </a:lnTo>
                    <a:lnTo>
                      <a:pt x="2102" y="435"/>
                    </a:lnTo>
                    <a:lnTo>
                      <a:pt x="2083" y="423"/>
                    </a:lnTo>
                    <a:lnTo>
                      <a:pt x="2066" y="408"/>
                    </a:lnTo>
                    <a:lnTo>
                      <a:pt x="2049" y="392"/>
                    </a:lnTo>
                    <a:lnTo>
                      <a:pt x="2050" y="392"/>
                    </a:lnTo>
                    <a:lnTo>
                      <a:pt x="1805" y="134"/>
                    </a:lnTo>
                    <a:lnTo>
                      <a:pt x="1804" y="135"/>
                    </a:lnTo>
                    <a:lnTo>
                      <a:pt x="1804" y="135"/>
                    </a:lnTo>
                    <a:lnTo>
                      <a:pt x="1789" y="119"/>
                    </a:lnTo>
                    <a:lnTo>
                      <a:pt x="1772" y="104"/>
                    </a:lnTo>
                    <a:lnTo>
                      <a:pt x="1754" y="91"/>
                    </a:lnTo>
                    <a:lnTo>
                      <a:pt x="1737" y="78"/>
                    </a:lnTo>
                    <a:lnTo>
                      <a:pt x="1720" y="66"/>
                    </a:lnTo>
                    <a:lnTo>
                      <a:pt x="1700" y="55"/>
                    </a:lnTo>
                    <a:lnTo>
                      <a:pt x="1681" y="44"/>
                    </a:lnTo>
                    <a:lnTo>
                      <a:pt x="1661" y="36"/>
                    </a:lnTo>
                    <a:lnTo>
                      <a:pt x="1641" y="27"/>
                    </a:lnTo>
                    <a:lnTo>
                      <a:pt x="1621" y="20"/>
                    </a:lnTo>
                    <a:lnTo>
                      <a:pt x="1599" y="15"/>
                    </a:lnTo>
                    <a:lnTo>
                      <a:pt x="1578" y="10"/>
                    </a:lnTo>
                    <a:lnTo>
                      <a:pt x="1557" y="6"/>
                    </a:lnTo>
                    <a:lnTo>
                      <a:pt x="1534" y="3"/>
                    </a:lnTo>
                    <a:lnTo>
                      <a:pt x="1513" y="2"/>
                    </a:lnTo>
                    <a:lnTo>
                      <a:pt x="1490" y="0"/>
                    </a:lnTo>
                    <a:lnTo>
                      <a:pt x="1015" y="0"/>
                    </a:lnTo>
                    <a:lnTo>
                      <a:pt x="1013" y="0"/>
                    </a:lnTo>
                    <a:lnTo>
                      <a:pt x="1013" y="0"/>
                    </a:lnTo>
                    <a:lnTo>
                      <a:pt x="991" y="2"/>
                    </a:lnTo>
                    <a:lnTo>
                      <a:pt x="970" y="6"/>
                    </a:lnTo>
                    <a:lnTo>
                      <a:pt x="950" y="12"/>
                    </a:lnTo>
                    <a:lnTo>
                      <a:pt x="930" y="22"/>
                    </a:lnTo>
                    <a:lnTo>
                      <a:pt x="912" y="32"/>
                    </a:lnTo>
                    <a:lnTo>
                      <a:pt x="895" y="46"/>
                    </a:lnTo>
                    <a:lnTo>
                      <a:pt x="880" y="62"/>
                    </a:lnTo>
                    <a:lnTo>
                      <a:pt x="867" y="79"/>
                    </a:lnTo>
                    <a:lnTo>
                      <a:pt x="868" y="79"/>
                    </a:lnTo>
                    <a:lnTo>
                      <a:pt x="669" y="386"/>
                    </a:lnTo>
                    <a:lnTo>
                      <a:pt x="96" y="460"/>
                    </a:lnTo>
                    <a:lnTo>
                      <a:pt x="96" y="461"/>
                    </a:lnTo>
                    <a:lnTo>
                      <a:pt x="96" y="461"/>
                    </a:lnTo>
                    <a:lnTo>
                      <a:pt x="86" y="463"/>
                    </a:lnTo>
                    <a:lnTo>
                      <a:pt x="76" y="465"/>
                    </a:lnTo>
                    <a:lnTo>
                      <a:pt x="66" y="468"/>
                    </a:lnTo>
                    <a:lnTo>
                      <a:pt x="58" y="473"/>
                    </a:lnTo>
                    <a:lnTo>
                      <a:pt x="49" y="477"/>
                    </a:lnTo>
                    <a:lnTo>
                      <a:pt x="41" y="484"/>
                    </a:lnTo>
                    <a:lnTo>
                      <a:pt x="34" y="489"/>
                    </a:lnTo>
                    <a:lnTo>
                      <a:pt x="28" y="497"/>
                    </a:lnTo>
                    <a:lnTo>
                      <a:pt x="21" y="504"/>
                    </a:lnTo>
                    <a:lnTo>
                      <a:pt x="16" y="512"/>
                    </a:lnTo>
                    <a:lnTo>
                      <a:pt x="10" y="521"/>
                    </a:lnTo>
                    <a:lnTo>
                      <a:pt x="6" y="531"/>
                    </a:lnTo>
                    <a:lnTo>
                      <a:pt x="4" y="540"/>
                    </a:lnTo>
                    <a:lnTo>
                      <a:pt x="1" y="549"/>
                    </a:lnTo>
                    <a:lnTo>
                      <a:pt x="0" y="560"/>
                    </a:lnTo>
                    <a:lnTo>
                      <a:pt x="0" y="570"/>
                    </a:lnTo>
                    <a:lnTo>
                      <a:pt x="0" y="770"/>
                    </a:lnTo>
                    <a:lnTo>
                      <a:pt x="0" y="770"/>
                    </a:lnTo>
                    <a:lnTo>
                      <a:pt x="0" y="779"/>
                    </a:lnTo>
                    <a:lnTo>
                      <a:pt x="1" y="789"/>
                    </a:lnTo>
                    <a:lnTo>
                      <a:pt x="4" y="797"/>
                    </a:lnTo>
                    <a:lnTo>
                      <a:pt x="6" y="806"/>
                    </a:lnTo>
                    <a:lnTo>
                      <a:pt x="14" y="822"/>
                    </a:lnTo>
                    <a:lnTo>
                      <a:pt x="24" y="835"/>
                    </a:lnTo>
                    <a:lnTo>
                      <a:pt x="37" y="849"/>
                    </a:lnTo>
                    <a:lnTo>
                      <a:pt x="44" y="853"/>
                    </a:lnTo>
                    <a:lnTo>
                      <a:pt x="52" y="858"/>
                    </a:lnTo>
                    <a:lnTo>
                      <a:pt x="60" y="862"/>
                    </a:lnTo>
                    <a:lnTo>
                      <a:pt x="68" y="865"/>
                    </a:lnTo>
                    <a:lnTo>
                      <a:pt x="77" y="868"/>
                    </a:lnTo>
                    <a:lnTo>
                      <a:pt x="86" y="869"/>
                    </a:lnTo>
                    <a:lnTo>
                      <a:pt x="86" y="869"/>
                    </a:lnTo>
                    <a:lnTo>
                      <a:pt x="86" y="869"/>
                    </a:lnTo>
                    <a:lnTo>
                      <a:pt x="86" y="846"/>
                    </a:lnTo>
                    <a:lnTo>
                      <a:pt x="86" y="846"/>
                    </a:lnTo>
                    <a:lnTo>
                      <a:pt x="86" y="823"/>
                    </a:lnTo>
                    <a:lnTo>
                      <a:pt x="90" y="801"/>
                    </a:lnTo>
                    <a:lnTo>
                      <a:pt x="96" y="779"/>
                    </a:lnTo>
                    <a:lnTo>
                      <a:pt x="104" y="759"/>
                    </a:lnTo>
                    <a:lnTo>
                      <a:pt x="113" y="739"/>
                    </a:lnTo>
                    <a:lnTo>
                      <a:pt x="124" y="721"/>
                    </a:lnTo>
                    <a:lnTo>
                      <a:pt x="137" y="703"/>
                    </a:lnTo>
                    <a:lnTo>
                      <a:pt x="151" y="688"/>
                    </a:lnTo>
                    <a:lnTo>
                      <a:pt x="167" y="674"/>
                    </a:lnTo>
                    <a:lnTo>
                      <a:pt x="184" y="660"/>
                    </a:lnTo>
                    <a:lnTo>
                      <a:pt x="203" y="650"/>
                    </a:lnTo>
                    <a:lnTo>
                      <a:pt x="221" y="640"/>
                    </a:lnTo>
                    <a:lnTo>
                      <a:pt x="243" y="632"/>
                    </a:lnTo>
                    <a:lnTo>
                      <a:pt x="264" y="627"/>
                    </a:lnTo>
                    <a:lnTo>
                      <a:pt x="286" y="624"/>
                    </a:lnTo>
                    <a:lnTo>
                      <a:pt x="308" y="623"/>
                    </a:lnTo>
                    <a:lnTo>
                      <a:pt x="308" y="623"/>
                    </a:lnTo>
                    <a:lnTo>
                      <a:pt x="332" y="624"/>
                    </a:lnTo>
                    <a:lnTo>
                      <a:pt x="354" y="627"/>
                    </a:lnTo>
                    <a:lnTo>
                      <a:pt x="375" y="632"/>
                    </a:lnTo>
                    <a:lnTo>
                      <a:pt x="395" y="640"/>
                    </a:lnTo>
                    <a:lnTo>
                      <a:pt x="415" y="650"/>
                    </a:lnTo>
                    <a:lnTo>
                      <a:pt x="434" y="660"/>
                    </a:lnTo>
                    <a:lnTo>
                      <a:pt x="451" y="674"/>
                    </a:lnTo>
                    <a:lnTo>
                      <a:pt x="466" y="688"/>
                    </a:lnTo>
                    <a:lnTo>
                      <a:pt x="481" y="703"/>
                    </a:lnTo>
                    <a:lnTo>
                      <a:pt x="494" y="721"/>
                    </a:lnTo>
                    <a:lnTo>
                      <a:pt x="505" y="739"/>
                    </a:lnTo>
                    <a:lnTo>
                      <a:pt x="514" y="759"/>
                    </a:lnTo>
                    <a:lnTo>
                      <a:pt x="522" y="779"/>
                    </a:lnTo>
                    <a:lnTo>
                      <a:pt x="527" y="801"/>
                    </a:lnTo>
                    <a:lnTo>
                      <a:pt x="530" y="823"/>
                    </a:lnTo>
                    <a:lnTo>
                      <a:pt x="531" y="846"/>
                    </a:lnTo>
                    <a:lnTo>
                      <a:pt x="531" y="846"/>
                    </a:lnTo>
                    <a:lnTo>
                      <a:pt x="530" y="869"/>
                    </a:lnTo>
                    <a:lnTo>
                      <a:pt x="531" y="869"/>
                    </a:lnTo>
                    <a:lnTo>
                      <a:pt x="1527" y="869"/>
                    </a:lnTo>
                    <a:lnTo>
                      <a:pt x="1526" y="869"/>
                    </a:lnTo>
                    <a:lnTo>
                      <a:pt x="1526" y="869"/>
                    </a:lnTo>
                    <a:lnTo>
                      <a:pt x="1525" y="846"/>
                    </a:lnTo>
                    <a:lnTo>
                      <a:pt x="1525" y="846"/>
                    </a:lnTo>
                    <a:lnTo>
                      <a:pt x="1526" y="823"/>
                    </a:lnTo>
                    <a:lnTo>
                      <a:pt x="1529" y="801"/>
                    </a:lnTo>
                    <a:lnTo>
                      <a:pt x="1534" y="779"/>
                    </a:lnTo>
                    <a:lnTo>
                      <a:pt x="1542" y="759"/>
                    </a:lnTo>
                    <a:lnTo>
                      <a:pt x="1551" y="739"/>
                    </a:lnTo>
                    <a:lnTo>
                      <a:pt x="1562" y="721"/>
                    </a:lnTo>
                    <a:lnTo>
                      <a:pt x="1575" y="703"/>
                    </a:lnTo>
                    <a:lnTo>
                      <a:pt x="1590" y="688"/>
                    </a:lnTo>
                    <a:lnTo>
                      <a:pt x="1606" y="674"/>
                    </a:lnTo>
                    <a:lnTo>
                      <a:pt x="1622" y="660"/>
                    </a:lnTo>
                    <a:lnTo>
                      <a:pt x="1641" y="650"/>
                    </a:lnTo>
                    <a:lnTo>
                      <a:pt x="1661" y="640"/>
                    </a:lnTo>
                    <a:lnTo>
                      <a:pt x="1681" y="632"/>
                    </a:lnTo>
                    <a:lnTo>
                      <a:pt x="1702" y="627"/>
                    </a:lnTo>
                    <a:lnTo>
                      <a:pt x="1725" y="624"/>
                    </a:lnTo>
                    <a:lnTo>
                      <a:pt x="1748" y="623"/>
                    </a:lnTo>
                    <a:lnTo>
                      <a:pt x="1748" y="623"/>
                    </a:lnTo>
                    <a:lnTo>
                      <a:pt x="1771" y="624"/>
                    </a:lnTo>
                    <a:lnTo>
                      <a:pt x="1792" y="627"/>
                    </a:lnTo>
                    <a:lnTo>
                      <a:pt x="1813" y="632"/>
                    </a:lnTo>
                    <a:lnTo>
                      <a:pt x="1835" y="640"/>
                    </a:lnTo>
                    <a:lnTo>
                      <a:pt x="1853" y="650"/>
                    </a:lnTo>
                    <a:lnTo>
                      <a:pt x="1872" y="660"/>
                    </a:lnTo>
                    <a:lnTo>
                      <a:pt x="1889" y="674"/>
                    </a:lnTo>
                    <a:lnTo>
                      <a:pt x="1906" y="688"/>
                    </a:lnTo>
                    <a:lnTo>
                      <a:pt x="1919" y="703"/>
                    </a:lnTo>
                    <a:lnTo>
                      <a:pt x="1932" y="721"/>
                    </a:lnTo>
                    <a:lnTo>
                      <a:pt x="1943" y="739"/>
                    </a:lnTo>
                    <a:lnTo>
                      <a:pt x="1952" y="759"/>
                    </a:lnTo>
                    <a:lnTo>
                      <a:pt x="1960" y="779"/>
                    </a:lnTo>
                    <a:lnTo>
                      <a:pt x="1966" y="801"/>
                    </a:lnTo>
                    <a:lnTo>
                      <a:pt x="1970" y="823"/>
                    </a:lnTo>
                    <a:lnTo>
                      <a:pt x="1971" y="846"/>
                    </a:lnTo>
                    <a:lnTo>
                      <a:pt x="1971" y="846"/>
                    </a:lnTo>
                    <a:lnTo>
                      <a:pt x="1970" y="869"/>
                    </a:lnTo>
                    <a:lnTo>
                      <a:pt x="1971" y="869"/>
                    </a:lnTo>
                    <a:lnTo>
                      <a:pt x="2257" y="846"/>
                    </a:lnTo>
                    <a:lnTo>
                      <a:pt x="2257" y="528"/>
                    </a:lnTo>
                    <a:lnTo>
                      <a:pt x="2257" y="528"/>
                    </a:lnTo>
                    <a:lnTo>
                      <a:pt x="2256" y="517"/>
                    </a:lnTo>
                    <a:lnTo>
                      <a:pt x="2253" y="508"/>
                    </a:lnTo>
                    <a:lnTo>
                      <a:pt x="2249" y="500"/>
                    </a:lnTo>
                    <a:lnTo>
                      <a:pt x="2244" y="492"/>
                    </a:lnTo>
                    <a:lnTo>
                      <a:pt x="2236" y="485"/>
                    </a:lnTo>
                    <a:lnTo>
                      <a:pt x="2228" y="480"/>
                    </a:lnTo>
                    <a:lnTo>
                      <a:pt x="2220" y="476"/>
                    </a:lnTo>
                    <a:lnTo>
                      <a:pt x="2209" y="473"/>
                    </a:lnTo>
                    <a:lnTo>
                      <a:pt x="2209" y="473"/>
                    </a:lnTo>
                    <a:close/>
                    <a:moveTo>
                      <a:pt x="1317" y="386"/>
                    </a:moveTo>
                    <a:lnTo>
                      <a:pt x="757" y="386"/>
                    </a:lnTo>
                    <a:lnTo>
                      <a:pt x="936" y="114"/>
                    </a:lnTo>
                    <a:lnTo>
                      <a:pt x="1317" y="114"/>
                    </a:lnTo>
                    <a:lnTo>
                      <a:pt x="1317" y="386"/>
                    </a:lnTo>
                    <a:close/>
                    <a:moveTo>
                      <a:pt x="1367" y="386"/>
                    </a:moveTo>
                    <a:lnTo>
                      <a:pt x="1367" y="114"/>
                    </a:lnTo>
                    <a:lnTo>
                      <a:pt x="1595" y="114"/>
                    </a:lnTo>
                    <a:lnTo>
                      <a:pt x="1855" y="386"/>
                    </a:lnTo>
                    <a:lnTo>
                      <a:pt x="1367" y="386"/>
                    </a:lnTo>
                    <a:close/>
                  </a:path>
                </a:pathLst>
              </a:custGeom>
              <a:solidFill>
                <a:schemeClr val="accent5">
                  <a:lumMod val="60000"/>
                  <a:lumOff val="40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52" name="Group 751"/>
          <p:cNvGrpSpPr/>
          <p:nvPr/>
        </p:nvGrpSpPr>
        <p:grpSpPr>
          <a:xfrm>
            <a:off x="3589234" y="4202195"/>
            <a:ext cx="307594" cy="113497"/>
            <a:chOff x="7057893" y="4732011"/>
            <a:chExt cx="1436818" cy="530162"/>
          </a:xfrm>
        </p:grpSpPr>
        <p:sp>
          <p:nvSpPr>
            <p:cNvPr id="753" name="Rectangle 1235"/>
            <p:cNvSpPr/>
            <p:nvPr/>
          </p:nvSpPr>
          <p:spPr bwMode="auto">
            <a:xfrm>
              <a:off x="7360767" y="4756776"/>
              <a:ext cx="911364" cy="194233"/>
            </a:xfrm>
            <a:custGeom>
              <a:avLst/>
              <a:gdLst>
                <a:gd name="connsiteX0" fmla="*/ 0 w 841562"/>
                <a:gd name="connsiteY0" fmla="*/ 0 h 194233"/>
                <a:gd name="connsiteX1" fmla="*/ 841562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841562"/>
                <a:gd name="connsiteY0" fmla="*/ 0 h 194233"/>
                <a:gd name="connsiteX1" fmla="*/ 429733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0 w 911364"/>
                <a:gd name="connsiteY4" fmla="*/ 0 h 194233"/>
                <a:gd name="connsiteX0" fmla="*/ 4886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48861 w 911364"/>
                <a:gd name="connsiteY4" fmla="*/ 0 h 194233"/>
                <a:gd name="connsiteX0" fmla="*/ 7678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76781 w 911364"/>
                <a:gd name="connsiteY4" fmla="*/ 0 h 19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64" h="194233">
                  <a:moveTo>
                    <a:pt x="76781" y="0"/>
                  </a:moveTo>
                  <a:lnTo>
                    <a:pt x="429733" y="0"/>
                  </a:lnTo>
                  <a:lnTo>
                    <a:pt x="911364" y="194233"/>
                  </a:lnTo>
                  <a:lnTo>
                    <a:pt x="0" y="194233"/>
                  </a:lnTo>
                  <a:lnTo>
                    <a:pt x="76781" y="0"/>
                  </a:lnTo>
                  <a:close/>
                </a:path>
              </a:pathLst>
            </a:cu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754" name="Group 753"/>
            <p:cNvGrpSpPr/>
            <p:nvPr/>
          </p:nvGrpSpPr>
          <p:grpSpPr>
            <a:xfrm>
              <a:off x="7057893" y="4732011"/>
              <a:ext cx="1436818" cy="530162"/>
              <a:chOff x="26353675" y="5217211"/>
              <a:chExt cx="1436818" cy="530162"/>
            </a:xfrm>
          </p:grpSpPr>
          <p:sp>
            <p:nvSpPr>
              <p:cNvPr id="755" name="Freeform 94"/>
              <p:cNvSpPr>
                <a:spLocks noEditPoints="1"/>
              </p:cNvSpPr>
              <p:nvPr/>
            </p:nvSpPr>
            <p:spPr bwMode="auto">
              <a:xfrm>
                <a:off x="26463166" y="5526472"/>
                <a:ext cx="220901" cy="220901"/>
              </a:xfrm>
              <a:custGeom>
                <a:avLst/>
                <a:gdLst>
                  <a:gd name="T0" fmla="*/ 173 w 345"/>
                  <a:gd name="T1" fmla="*/ 0 h 343"/>
                  <a:gd name="T2" fmla="*/ 138 w 345"/>
                  <a:gd name="T3" fmla="*/ 2 h 343"/>
                  <a:gd name="T4" fmla="*/ 106 w 345"/>
                  <a:gd name="T5" fmla="*/ 13 h 343"/>
                  <a:gd name="T6" fmla="*/ 76 w 345"/>
                  <a:gd name="T7" fmla="*/ 29 h 343"/>
                  <a:gd name="T8" fmla="*/ 51 w 345"/>
                  <a:gd name="T9" fmla="*/ 49 h 343"/>
                  <a:gd name="T10" fmla="*/ 30 w 345"/>
                  <a:gd name="T11" fmla="*/ 75 h 343"/>
                  <a:gd name="T12" fmla="*/ 14 w 345"/>
                  <a:gd name="T13" fmla="*/ 104 h 343"/>
                  <a:gd name="T14" fmla="*/ 4 w 345"/>
                  <a:gd name="T15" fmla="*/ 137 h 343"/>
                  <a:gd name="T16" fmla="*/ 0 w 345"/>
                  <a:gd name="T17" fmla="*/ 172 h 343"/>
                  <a:gd name="T18" fmla="*/ 2 w 345"/>
                  <a:gd name="T19" fmla="*/ 190 h 343"/>
                  <a:gd name="T20" fmla="*/ 8 w 345"/>
                  <a:gd name="T21" fmla="*/ 223 h 343"/>
                  <a:gd name="T22" fmla="*/ 22 w 345"/>
                  <a:gd name="T23" fmla="*/ 254 h 343"/>
                  <a:gd name="T24" fmla="*/ 39 w 345"/>
                  <a:gd name="T25" fmla="*/ 280 h 343"/>
                  <a:gd name="T26" fmla="*/ 63 w 345"/>
                  <a:gd name="T27" fmla="*/ 305 h 343"/>
                  <a:gd name="T28" fmla="*/ 91 w 345"/>
                  <a:gd name="T29" fmla="*/ 323 h 343"/>
                  <a:gd name="T30" fmla="*/ 122 w 345"/>
                  <a:gd name="T31" fmla="*/ 337 h 343"/>
                  <a:gd name="T32" fmla="*/ 155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6 w 345"/>
                  <a:gd name="T45" fmla="*/ 268 h 343"/>
                  <a:gd name="T46" fmla="*/ 332 w 345"/>
                  <a:gd name="T47" fmla="*/ 239 h 343"/>
                  <a:gd name="T48" fmla="*/ 341 w 345"/>
                  <a:gd name="T49" fmla="*/ 206 h 343"/>
                  <a:gd name="T50" fmla="*/ 345 w 345"/>
                  <a:gd name="T51" fmla="*/ 172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3 w 345"/>
                  <a:gd name="T65" fmla="*/ 6 h 343"/>
                  <a:gd name="T66" fmla="*/ 190 w 345"/>
                  <a:gd name="T67" fmla="*/ 0 h 343"/>
                  <a:gd name="T68" fmla="*/ 173 w 345"/>
                  <a:gd name="T69" fmla="*/ 0 h 343"/>
                  <a:gd name="T70" fmla="*/ 173 w 345"/>
                  <a:gd name="T71" fmla="*/ 244 h 343"/>
                  <a:gd name="T72" fmla="*/ 145 w 345"/>
                  <a:gd name="T73" fmla="*/ 238 h 343"/>
                  <a:gd name="T74" fmla="*/ 121 w 345"/>
                  <a:gd name="T75" fmla="*/ 223 h 343"/>
                  <a:gd name="T76" fmla="*/ 106 w 345"/>
                  <a:gd name="T77" fmla="*/ 199 h 343"/>
                  <a:gd name="T78" fmla="*/ 101 w 345"/>
                  <a:gd name="T79" fmla="*/ 171 h 343"/>
                  <a:gd name="T80" fmla="*/ 102 w 345"/>
                  <a:gd name="T81" fmla="*/ 156 h 343"/>
                  <a:gd name="T82" fmla="*/ 113 w 345"/>
                  <a:gd name="T83" fmla="*/ 131 h 343"/>
                  <a:gd name="T84" fmla="*/ 133 w 345"/>
                  <a:gd name="T85" fmla="*/ 111 h 343"/>
                  <a:gd name="T86" fmla="*/ 158 w 345"/>
                  <a:gd name="T87" fmla="*/ 100 h 343"/>
                  <a:gd name="T88" fmla="*/ 173 w 345"/>
                  <a:gd name="T89" fmla="*/ 99 h 343"/>
                  <a:gd name="T90" fmla="*/ 201 w 345"/>
                  <a:gd name="T91" fmla="*/ 104 h 343"/>
                  <a:gd name="T92" fmla="*/ 223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5" y="0"/>
                    </a:lnTo>
                    <a:lnTo>
                      <a:pt x="138" y="2"/>
                    </a:lnTo>
                    <a:lnTo>
                      <a:pt x="122" y="6"/>
                    </a:lnTo>
                    <a:lnTo>
                      <a:pt x="106" y="13"/>
                    </a:lnTo>
                    <a:lnTo>
                      <a:pt x="91" y="20"/>
                    </a:lnTo>
                    <a:lnTo>
                      <a:pt x="76" y="29"/>
                    </a:lnTo>
                    <a:lnTo>
                      <a:pt x="63" y="39"/>
                    </a:lnTo>
                    <a:lnTo>
                      <a:pt x="51" y="49"/>
                    </a:lnTo>
                    <a:lnTo>
                      <a:pt x="39" y="63"/>
                    </a:lnTo>
                    <a:lnTo>
                      <a:pt x="30" y="75"/>
                    </a:lnTo>
                    <a:lnTo>
                      <a:pt x="22" y="89"/>
                    </a:lnTo>
                    <a:lnTo>
                      <a:pt x="14" y="104"/>
                    </a:lnTo>
                    <a:lnTo>
                      <a:pt x="8" y="120"/>
                    </a:lnTo>
                    <a:lnTo>
                      <a:pt x="4" y="137"/>
                    </a:lnTo>
                    <a:lnTo>
                      <a:pt x="2" y="153"/>
                    </a:lnTo>
                    <a:lnTo>
                      <a:pt x="0" y="172"/>
                    </a:lnTo>
                    <a:lnTo>
                      <a:pt x="0" y="172"/>
                    </a:lnTo>
                    <a:lnTo>
                      <a:pt x="2" y="190"/>
                    </a:lnTo>
                    <a:lnTo>
                      <a:pt x="4" y="206"/>
                    </a:lnTo>
                    <a:lnTo>
                      <a:pt x="8" y="223"/>
                    </a:lnTo>
                    <a:lnTo>
                      <a:pt x="14" y="239"/>
                    </a:lnTo>
                    <a:lnTo>
                      <a:pt x="22" y="254"/>
                    </a:lnTo>
                    <a:lnTo>
                      <a:pt x="30" y="268"/>
                    </a:lnTo>
                    <a:lnTo>
                      <a:pt x="39" y="280"/>
                    </a:lnTo>
                    <a:lnTo>
                      <a:pt x="51" y="294"/>
                    </a:lnTo>
                    <a:lnTo>
                      <a:pt x="63" y="305"/>
                    </a:lnTo>
                    <a:lnTo>
                      <a:pt x="76" y="314"/>
                    </a:lnTo>
                    <a:lnTo>
                      <a:pt x="91" y="323"/>
                    </a:lnTo>
                    <a:lnTo>
                      <a:pt x="106" y="330"/>
                    </a:lnTo>
                    <a:lnTo>
                      <a:pt x="122" y="337"/>
                    </a:lnTo>
                    <a:lnTo>
                      <a:pt x="138" y="341"/>
                    </a:lnTo>
                    <a:lnTo>
                      <a:pt x="155" y="343"/>
                    </a:lnTo>
                    <a:lnTo>
                      <a:pt x="173" y="343"/>
                    </a:lnTo>
                    <a:lnTo>
                      <a:pt x="173" y="343"/>
                    </a:lnTo>
                    <a:lnTo>
                      <a:pt x="190" y="343"/>
                    </a:lnTo>
                    <a:lnTo>
                      <a:pt x="207" y="341"/>
                    </a:lnTo>
                    <a:lnTo>
                      <a:pt x="223" y="337"/>
                    </a:lnTo>
                    <a:lnTo>
                      <a:pt x="240" y="330"/>
                    </a:lnTo>
                    <a:lnTo>
                      <a:pt x="254" y="323"/>
                    </a:lnTo>
                    <a:lnTo>
                      <a:pt x="269" y="314"/>
                    </a:lnTo>
                    <a:lnTo>
                      <a:pt x="282" y="305"/>
                    </a:lnTo>
                    <a:lnTo>
                      <a:pt x="294" y="294"/>
                    </a:lnTo>
                    <a:lnTo>
                      <a:pt x="305" y="280"/>
                    </a:lnTo>
                    <a:lnTo>
                      <a:pt x="316" y="268"/>
                    </a:lnTo>
                    <a:lnTo>
                      <a:pt x="324" y="254"/>
                    </a:lnTo>
                    <a:lnTo>
                      <a:pt x="332" y="239"/>
                    </a:lnTo>
                    <a:lnTo>
                      <a:pt x="337" y="223"/>
                    </a:lnTo>
                    <a:lnTo>
                      <a:pt x="341" y="206"/>
                    </a:lnTo>
                    <a:lnTo>
                      <a:pt x="344" y="190"/>
                    </a:lnTo>
                    <a:lnTo>
                      <a:pt x="345" y="172"/>
                    </a:lnTo>
                    <a:lnTo>
                      <a:pt x="345" y="172"/>
                    </a:lnTo>
                    <a:lnTo>
                      <a:pt x="344" y="153"/>
                    </a:lnTo>
                    <a:lnTo>
                      <a:pt x="341" y="137"/>
                    </a:lnTo>
                    <a:lnTo>
                      <a:pt x="337" y="120"/>
                    </a:lnTo>
                    <a:lnTo>
                      <a:pt x="332" y="104"/>
                    </a:lnTo>
                    <a:lnTo>
                      <a:pt x="324" y="89"/>
                    </a:lnTo>
                    <a:lnTo>
                      <a:pt x="316" y="75"/>
                    </a:lnTo>
                    <a:lnTo>
                      <a:pt x="305" y="63"/>
                    </a:lnTo>
                    <a:lnTo>
                      <a:pt x="294" y="49"/>
                    </a:lnTo>
                    <a:lnTo>
                      <a:pt x="282" y="39"/>
                    </a:lnTo>
                    <a:lnTo>
                      <a:pt x="269" y="29"/>
                    </a:lnTo>
                    <a:lnTo>
                      <a:pt x="254" y="20"/>
                    </a:lnTo>
                    <a:lnTo>
                      <a:pt x="240" y="13"/>
                    </a:lnTo>
                    <a:lnTo>
                      <a:pt x="223" y="6"/>
                    </a:lnTo>
                    <a:lnTo>
                      <a:pt x="207" y="2"/>
                    </a:lnTo>
                    <a:lnTo>
                      <a:pt x="190" y="0"/>
                    </a:lnTo>
                    <a:lnTo>
                      <a:pt x="173" y="0"/>
                    </a:lnTo>
                    <a:lnTo>
                      <a:pt x="173" y="0"/>
                    </a:lnTo>
                    <a:close/>
                    <a:moveTo>
                      <a:pt x="173" y="244"/>
                    </a:moveTo>
                    <a:lnTo>
                      <a:pt x="173" y="244"/>
                    </a:lnTo>
                    <a:lnTo>
                      <a:pt x="158" y="242"/>
                    </a:lnTo>
                    <a:lnTo>
                      <a:pt x="145" y="238"/>
                    </a:lnTo>
                    <a:lnTo>
                      <a:pt x="133" y="231"/>
                    </a:lnTo>
                    <a:lnTo>
                      <a:pt x="121" y="223"/>
                    </a:lnTo>
                    <a:lnTo>
                      <a:pt x="113" y="212"/>
                    </a:lnTo>
                    <a:lnTo>
                      <a:pt x="106" y="199"/>
                    </a:lnTo>
                    <a:lnTo>
                      <a:pt x="102" y="186"/>
                    </a:lnTo>
                    <a:lnTo>
                      <a:pt x="101" y="171"/>
                    </a:lnTo>
                    <a:lnTo>
                      <a:pt x="101" y="171"/>
                    </a:lnTo>
                    <a:lnTo>
                      <a:pt x="102" y="156"/>
                    </a:lnTo>
                    <a:lnTo>
                      <a:pt x="106" y="143"/>
                    </a:lnTo>
                    <a:lnTo>
                      <a:pt x="113" y="131"/>
                    </a:lnTo>
                    <a:lnTo>
                      <a:pt x="121" y="120"/>
                    </a:lnTo>
                    <a:lnTo>
                      <a:pt x="133" y="111"/>
                    </a:lnTo>
                    <a:lnTo>
                      <a:pt x="145" y="104"/>
                    </a:lnTo>
                    <a:lnTo>
                      <a:pt x="158" y="100"/>
                    </a:lnTo>
                    <a:lnTo>
                      <a:pt x="173" y="99"/>
                    </a:lnTo>
                    <a:lnTo>
                      <a:pt x="173" y="99"/>
                    </a:lnTo>
                    <a:lnTo>
                      <a:pt x="187" y="100"/>
                    </a:lnTo>
                    <a:lnTo>
                      <a:pt x="201" y="104"/>
                    </a:lnTo>
                    <a:lnTo>
                      <a:pt x="213" y="111"/>
                    </a:lnTo>
                    <a:lnTo>
                      <a:pt x="223" y="120"/>
                    </a:lnTo>
                    <a:lnTo>
                      <a:pt x="233" y="131"/>
                    </a:lnTo>
                    <a:lnTo>
                      <a:pt x="240" y="143"/>
                    </a:lnTo>
                    <a:lnTo>
                      <a:pt x="244" y="156"/>
                    </a:lnTo>
                    <a:lnTo>
                      <a:pt x="245" y="171"/>
                    </a:lnTo>
                    <a:lnTo>
                      <a:pt x="245" y="171"/>
                    </a:lnTo>
                    <a:lnTo>
                      <a:pt x="244" y="186"/>
                    </a:lnTo>
                    <a:lnTo>
                      <a:pt x="240" y="199"/>
                    </a:lnTo>
                    <a:lnTo>
                      <a:pt x="233" y="212"/>
                    </a:lnTo>
                    <a:lnTo>
                      <a:pt x="223"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6" name="Freeform 95"/>
              <p:cNvSpPr>
                <a:spLocks noEditPoints="1"/>
              </p:cNvSpPr>
              <p:nvPr/>
            </p:nvSpPr>
            <p:spPr bwMode="auto">
              <a:xfrm>
                <a:off x="27433211" y="5526472"/>
                <a:ext cx="220901" cy="220901"/>
              </a:xfrm>
              <a:custGeom>
                <a:avLst/>
                <a:gdLst>
                  <a:gd name="T0" fmla="*/ 173 w 345"/>
                  <a:gd name="T1" fmla="*/ 0 h 343"/>
                  <a:gd name="T2" fmla="*/ 138 w 345"/>
                  <a:gd name="T3" fmla="*/ 2 h 343"/>
                  <a:gd name="T4" fmla="*/ 105 w 345"/>
                  <a:gd name="T5" fmla="*/ 13 h 343"/>
                  <a:gd name="T6" fmla="*/ 76 w 345"/>
                  <a:gd name="T7" fmla="*/ 29 h 343"/>
                  <a:gd name="T8" fmla="*/ 50 w 345"/>
                  <a:gd name="T9" fmla="*/ 49 h 343"/>
                  <a:gd name="T10" fmla="*/ 30 w 345"/>
                  <a:gd name="T11" fmla="*/ 75 h 343"/>
                  <a:gd name="T12" fmla="*/ 14 w 345"/>
                  <a:gd name="T13" fmla="*/ 104 h 343"/>
                  <a:gd name="T14" fmla="*/ 3 w 345"/>
                  <a:gd name="T15" fmla="*/ 137 h 343"/>
                  <a:gd name="T16" fmla="*/ 0 w 345"/>
                  <a:gd name="T17" fmla="*/ 171 h 343"/>
                  <a:gd name="T18" fmla="*/ 0 w 345"/>
                  <a:gd name="T19" fmla="*/ 190 h 343"/>
                  <a:gd name="T20" fmla="*/ 8 w 345"/>
                  <a:gd name="T21" fmla="*/ 223 h 343"/>
                  <a:gd name="T22" fmla="*/ 20 w 345"/>
                  <a:gd name="T23" fmla="*/ 254 h 343"/>
                  <a:gd name="T24" fmla="*/ 39 w 345"/>
                  <a:gd name="T25" fmla="*/ 280 h 343"/>
                  <a:gd name="T26" fmla="*/ 63 w 345"/>
                  <a:gd name="T27" fmla="*/ 305 h 343"/>
                  <a:gd name="T28" fmla="*/ 90 w 345"/>
                  <a:gd name="T29" fmla="*/ 323 h 343"/>
                  <a:gd name="T30" fmla="*/ 121 w 345"/>
                  <a:gd name="T31" fmla="*/ 337 h 343"/>
                  <a:gd name="T32" fmla="*/ 154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4 w 345"/>
                  <a:gd name="T45" fmla="*/ 268 h 343"/>
                  <a:gd name="T46" fmla="*/ 330 w 345"/>
                  <a:gd name="T47" fmla="*/ 239 h 343"/>
                  <a:gd name="T48" fmla="*/ 341 w 345"/>
                  <a:gd name="T49" fmla="*/ 206 h 343"/>
                  <a:gd name="T50" fmla="*/ 345 w 345"/>
                  <a:gd name="T51" fmla="*/ 171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4 w 345"/>
                  <a:gd name="T65" fmla="*/ 6 h 343"/>
                  <a:gd name="T66" fmla="*/ 190 w 345"/>
                  <a:gd name="T67" fmla="*/ 0 h 343"/>
                  <a:gd name="T68" fmla="*/ 173 w 345"/>
                  <a:gd name="T69" fmla="*/ 0 h 343"/>
                  <a:gd name="T70" fmla="*/ 173 w 345"/>
                  <a:gd name="T71" fmla="*/ 244 h 343"/>
                  <a:gd name="T72" fmla="*/ 143 w 345"/>
                  <a:gd name="T73" fmla="*/ 238 h 343"/>
                  <a:gd name="T74" fmla="*/ 121 w 345"/>
                  <a:gd name="T75" fmla="*/ 223 h 343"/>
                  <a:gd name="T76" fmla="*/ 106 w 345"/>
                  <a:gd name="T77" fmla="*/ 199 h 343"/>
                  <a:gd name="T78" fmla="*/ 99 w 345"/>
                  <a:gd name="T79" fmla="*/ 171 h 343"/>
                  <a:gd name="T80" fmla="*/ 101 w 345"/>
                  <a:gd name="T81" fmla="*/ 156 h 343"/>
                  <a:gd name="T82" fmla="*/ 113 w 345"/>
                  <a:gd name="T83" fmla="*/ 131 h 343"/>
                  <a:gd name="T84" fmla="*/ 131 w 345"/>
                  <a:gd name="T85" fmla="*/ 111 h 343"/>
                  <a:gd name="T86" fmla="*/ 158 w 345"/>
                  <a:gd name="T87" fmla="*/ 100 h 343"/>
                  <a:gd name="T88" fmla="*/ 173 w 345"/>
                  <a:gd name="T89" fmla="*/ 99 h 343"/>
                  <a:gd name="T90" fmla="*/ 201 w 345"/>
                  <a:gd name="T91" fmla="*/ 104 h 343"/>
                  <a:gd name="T92" fmla="*/ 224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4" y="0"/>
                    </a:lnTo>
                    <a:lnTo>
                      <a:pt x="138" y="2"/>
                    </a:lnTo>
                    <a:lnTo>
                      <a:pt x="121" y="6"/>
                    </a:lnTo>
                    <a:lnTo>
                      <a:pt x="105" y="13"/>
                    </a:lnTo>
                    <a:lnTo>
                      <a:pt x="90" y="20"/>
                    </a:lnTo>
                    <a:lnTo>
                      <a:pt x="76" y="29"/>
                    </a:lnTo>
                    <a:lnTo>
                      <a:pt x="63" y="39"/>
                    </a:lnTo>
                    <a:lnTo>
                      <a:pt x="50" y="49"/>
                    </a:lnTo>
                    <a:lnTo>
                      <a:pt x="39" y="63"/>
                    </a:lnTo>
                    <a:lnTo>
                      <a:pt x="30" y="75"/>
                    </a:lnTo>
                    <a:lnTo>
                      <a:pt x="20" y="89"/>
                    </a:lnTo>
                    <a:lnTo>
                      <a:pt x="14" y="104"/>
                    </a:lnTo>
                    <a:lnTo>
                      <a:pt x="8" y="120"/>
                    </a:lnTo>
                    <a:lnTo>
                      <a:pt x="3" y="137"/>
                    </a:lnTo>
                    <a:lnTo>
                      <a:pt x="0" y="153"/>
                    </a:lnTo>
                    <a:lnTo>
                      <a:pt x="0" y="171"/>
                    </a:lnTo>
                    <a:lnTo>
                      <a:pt x="0" y="171"/>
                    </a:lnTo>
                    <a:lnTo>
                      <a:pt x="0" y="190"/>
                    </a:lnTo>
                    <a:lnTo>
                      <a:pt x="3" y="206"/>
                    </a:lnTo>
                    <a:lnTo>
                      <a:pt x="8" y="223"/>
                    </a:lnTo>
                    <a:lnTo>
                      <a:pt x="14" y="239"/>
                    </a:lnTo>
                    <a:lnTo>
                      <a:pt x="20" y="254"/>
                    </a:lnTo>
                    <a:lnTo>
                      <a:pt x="30" y="268"/>
                    </a:lnTo>
                    <a:lnTo>
                      <a:pt x="39" y="280"/>
                    </a:lnTo>
                    <a:lnTo>
                      <a:pt x="50" y="294"/>
                    </a:lnTo>
                    <a:lnTo>
                      <a:pt x="63" y="305"/>
                    </a:lnTo>
                    <a:lnTo>
                      <a:pt x="76" y="314"/>
                    </a:lnTo>
                    <a:lnTo>
                      <a:pt x="90" y="323"/>
                    </a:lnTo>
                    <a:lnTo>
                      <a:pt x="105" y="330"/>
                    </a:lnTo>
                    <a:lnTo>
                      <a:pt x="121" y="337"/>
                    </a:lnTo>
                    <a:lnTo>
                      <a:pt x="138" y="341"/>
                    </a:lnTo>
                    <a:lnTo>
                      <a:pt x="154" y="343"/>
                    </a:lnTo>
                    <a:lnTo>
                      <a:pt x="173" y="343"/>
                    </a:lnTo>
                    <a:lnTo>
                      <a:pt x="173" y="343"/>
                    </a:lnTo>
                    <a:lnTo>
                      <a:pt x="190" y="343"/>
                    </a:lnTo>
                    <a:lnTo>
                      <a:pt x="207" y="341"/>
                    </a:lnTo>
                    <a:lnTo>
                      <a:pt x="224" y="337"/>
                    </a:lnTo>
                    <a:lnTo>
                      <a:pt x="240" y="330"/>
                    </a:lnTo>
                    <a:lnTo>
                      <a:pt x="254" y="323"/>
                    </a:lnTo>
                    <a:lnTo>
                      <a:pt x="269" y="314"/>
                    </a:lnTo>
                    <a:lnTo>
                      <a:pt x="282" y="305"/>
                    </a:lnTo>
                    <a:lnTo>
                      <a:pt x="294" y="294"/>
                    </a:lnTo>
                    <a:lnTo>
                      <a:pt x="305" y="280"/>
                    </a:lnTo>
                    <a:lnTo>
                      <a:pt x="314" y="268"/>
                    </a:lnTo>
                    <a:lnTo>
                      <a:pt x="324" y="254"/>
                    </a:lnTo>
                    <a:lnTo>
                      <a:pt x="330" y="239"/>
                    </a:lnTo>
                    <a:lnTo>
                      <a:pt x="337" y="223"/>
                    </a:lnTo>
                    <a:lnTo>
                      <a:pt x="341" y="206"/>
                    </a:lnTo>
                    <a:lnTo>
                      <a:pt x="344" y="190"/>
                    </a:lnTo>
                    <a:lnTo>
                      <a:pt x="345" y="171"/>
                    </a:lnTo>
                    <a:lnTo>
                      <a:pt x="345" y="171"/>
                    </a:lnTo>
                    <a:lnTo>
                      <a:pt x="344" y="153"/>
                    </a:lnTo>
                    <a:lnTo>
                      <a:pt x="341" y="137"/>
                    </a:lnTo>
                    <a:lnTo>
                      <a:pt x="337" y="120"/>
                    </a:lnTo>
                    <a:lnTo>
                      <a:pt x="330" y="104"/>
                    </a:lnTo>
                    <a:lnTo>
                      <a:pt x="324" y="89"/>
                    </a:lnTo>
                    <a:lnTo>
                      <a:pt x="314" y="75"/>
                    </a:lnTo>
                    <a:lnTo>
                      <a:pt x="305" y="63"/>
                    </a:lnTo>
                    <a:lnTo>
                      <a:pt x="294" y="49"/>
                    </a:lnTo>
                    <a:lnTo>
                      <a:pt x="282" y="39"/>
                    </a:lnTo>
                    <a:lnTo>
                      <a:pt x="269" y="29"/>
                    </a:lnTo>
                    <a:lnTo>
                      <a:pt x="254" y="20"/>
                    </a:lnTo>
                    <a:lnTo>
                      <a:pt x="240" y="13"/>
                    </a:lnTo>
                    <a:lnTo>
                      <a:pt x="224" y="6"/>
                    </a:lnTo>
                    <a:lnTo>
                      <a:pt x="207" y="2"/>
                    </a:lnTo>
                    <a:lnTo>
                      <a:pt x="190" y="0"/>
                    </a:lnTo>
                    <a:lnTo>
                      <a:pt x="173" y="0"/>
                    </a:lnTo>
                    <a:lnTo>
                      <a:pt x="173" y="0"/>
                    </a:lnTo>
                    <a:close/>
                    <a:moveTo>
                      <a:pt x="173" y="244"/>
                    </a:moveTo>
                    <a:lnTo>
                      <a:pt x="173" y="244"/>
                    </a:lnTo>
                    <a:lnTo>
                      <a:pt x="158" y="242"/>
                    </a:lnTo>
                    <a:lnTo>
                      <a:pt x="143" y="238"/>
                    </a:lnTo>
                    <a:lnTo>
                      <a:pt x="131" y="231"/>
                    </a:lnTo>
                    <a:lnTo>
                      <a:pt x="121" y="223"/>
                    </a:lnTo>
                    <a:lnTo>
                      <a:pt x="113" y="212"/>
                    </a:lnTo>
                    <a:lnTo>
                      <a:pt x="106" y="199"/>
                    </a:lnTo>
                    <a:lnTo>
                      <a:pt x="101" y="186"/>
                    </a:lnTo>
                    <a:lnTo>
                      <a:pt x="99" y="171"/>
                    </a:lnTo>
                    <a:lnTo>
                      <a:pt x="99" y="171"/>
                    </a:lnTo>
                    <a:lnTo>
                      <a:pt x="101" y="156"/>
                    </a:lnTo>
                    <a:lnTo>
                      <a:pt x="105" y="143"/>
                    </a:lnTo>
                    <a:lnTo>
                      <a:pt x="113" y="131"/>
                    </a:lnTo>
                    <a:lnTo>
                      <a:pt x="121" y="120"/>
                    </a:lnTo>
                    <a:lnTo>
                      <a:pt x="131" y="111"/>
                    </a:lnTo>
                    <a:lnTo>
                      <a:pt x="143" y="104"/>
                    </a:lnTo>
                    <a:lnTo>
                      <a:pt x="158" y="100"/>
                    </a:lnTo>
                    <a:lnTo>
                      <a:pt x="173" y="99"/>
                    </a:lnTo>
                    <a:lnTo>
                      <a:pt x="173" y="99"/>
                    </a:lnTo>
                    <a:lnTo>
                      <a:pt x="187" y="100"/>
                    </a:lnTo>
                    <a:lnTo>
                      <a:pt x="201" y="104"/>
                    </a:lnTo>
                    <a:lnTo>
                      <a:pt x="213" y="111"/>
                    </a:lnTo>
                    <a:lnTo>
                      <a:pt x="224" y="120"/>
                    </a:lnTo>
                    <a:lnTo>
                      <a:pt x="233" y="131"/>
                    </a:lnTo>
                    <a:lnTo>
                      <a:pt x="240" y="143"/>
                    </a:lnTo>
                    <a:lnTo>
                      <a:pt x="244" y="156"/>
                    </a:lnTo>
                    <a:lnTo>
                      <a:pt x="245" y="171"/>
                    </a:lnTo>
                    <a:lnTo>
                      <a:pt x="245" y="171"/>
                    </a:lnTo>
                    <a:lnTo>
                      <a:pt x="244" y="186"/>
                    </a:lnTo>
                    <a:lnTo>
                      <a:pt x="240" y="199"/>
                    </a:lnTo>
                    <a:lnTo>
                      <a:pt x="233" y="212"/>
                    </a:lnTo>
                    <a:lnTo>
                      <a:pt x="224"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7" name="Freeform 96"/>
              <p:cNvSpPr>
                <a:spLocks noEditPoints="1"/>
              </p:cNvSpPr>
              <p:nvPr/>
            </p:nvSpPr>
            <p:spPr bwMode="auto">
              <a:xfrm>
                <a:off x="26353675" y="5217211"/>
                <a:ext cx="1436818" cy="453328"/>
              </a:xfrm>
              <a:custGeom>
                <a:avLst/>
                <a:gdLst>
                  <a:gd name="T0" fmla="*/ 1617 w 2244"/>
                  <a:gd name="T1" fmla="*/ 175 h 707"/>
                  <a:gd name="T2" fmla="*/ 1302 w 2244"/>
                  <a:gd name="T3" fmla="*/ 44 h 707"/>
                  <a:gd name="T4" fmla="*/ 1200 w 2244"/>
                  <a:gd name="T5" fmla="*/ 12 h 707"/>
                  <a:gd name="T6" fmla="*/ 1049 w 2244"/>
                  <a:gd name="T7" fmla="*/ 0 h 707"/>
                  <a:gd name="T8" fmla="*/ 743 w 2244"/>
                  <a:gd name="T9" fmla="*/ 11 h 707"/>
                  <a:gd name="T10" fmla="*/ 591 w 2244"/>
                  <a:gd name="T11" fmla="*/ 28 h 707"/>
                  <a:gd name="T12" fmla="*/ 296 w 2244"/>
                  <a:gd name="T13" fmla="*/ 166 h 707"/>
                  <a:gd name="T14" fmla="*/ 0 w 2244"/>
                  <a:gd name="T15" fmla="*/ 553 h 707"/>
                  <a:gd name="T16" fmla="*/ 8 w 2244"/>
                  <a:gd name="T17" fmla="*/ 707 h 707"/>
                  <a:gd name="T18" fmla="*/ 137 w 2244"/>
                  <a:gd name="T19" fmla="*/ 635 h 707"/>
                  <a:gd name="T20" fmla="*/ 161 w 2244"/>
                  <a:gd name="T21" fmla="*/ 556 h 707"/>
                  <a:gd name="T22" fmla="*/ 211 w 2244"/>
                  <a:gd name="T23" fmla="*/ 494 h 707"/>
                  <a:gd name="T24" fmla="*/ 282 w 2244"/>
                  <a:gd name="T25" fmla="*/ 456 h 707"/>
                  <a:gd name="T26" fmla="*/ 344 w 2244"/>
                  <a:gd name="T27" fmla="*/ 446 h 707"/>
                  <a:gd name="T28" fmla="*/ 425 w 2244"/>
                  <a:gd name="T29" fmla="*/ 464 h 707"/>
                  <a:gd name="T30" fmla="*/ 491 w 2244"/>
                  <a:gd name="T31" fmla="*/ 508 h 707"/>
                  <a:gd name="T32" fmla="*/ 536 w 2244"/>
                  <a:gd name="T33" fmla="*/ 575 h 707"/>
                  <a:gd name="T34" fmla="*/ 552 w 2244"/>
                  <a:gd name="T35" fmla="*/ 656 h 707"/>
                  <a:gd name="T36" fmla="*/ 1648 w 2244"/>
                  <a:gd name="T37" fmla="*/ 643 h 707"/>
                  <a:gd name="T38" fmla="*/ 1663 w 2244"/>
                  <a:gd name="T39" fmla="*/ 563 h 707"/>
                  <a:gd name="T40" fmla="*/ 1706 w 2244"/>
                  <a:gd name="T41" fmla="*/ 500 h 707"/>
                  <a:gd name="T42" fmla="*/ 1770 w 2244"/>
                  <a:gd name="T43" fmla="*/ 457 h 707"/>
                  <a:gd name="T44" fmla="*/ 1850 w 2244"/>
                  <a:gd name="T45" fmla="*/ 442 h 707"/>
                  <a:gd name="T46" fmla="*/ 1913 w 2244"/>
                  <a:gd name="T47" fmla="*/ 450 h 707"/>
                  <a:gd name="T48" fmla="*/ 1985 w 2244"/>
                  <a:gd name="T49" fmla="*/ 486 h 707"/>
                  <a:gd name="T50" fmla="*/ 2039 w 2244"/>
                  <a:gd name="T51" fmla="*/ 545 h 707"/>
                  <a:gd name="T52" fmla="*/ 2064 w 2244"/>
                  <a:gd name="T53" fmla="*/ 621 h 707"/>
                  <a:gd name="T54" fmla="*/ 2091 w 2244"/>
                  <a:gd name="T55" fmla="*/ 703 h 707"/>
                  <a:gd name="T56" fmla="*/ 2223 w 2244"/>
                  <a:gd name="T57" fmla="*/ 698 h 707"/>
                  <a:gd name="T58" fmla="*/ 2244 w 2244"/>
                  <a:gd name="T59" fmla="*/ 658 h 707"/>
                  <a:gd name="T60" fmla="*/ 2234 w 2244"/>
                  <a:gd name="T61" fmla="*/ 523 h 707"/>
                  <a:gd name="T62" fmla="*/ 2204 w 2244"/>
                  <a:gd name="T63" fmla="*/ 428 h 707"/>
                  <a:gd name="T64" fmla="*/ 2178 w 2244"/>
                  <a:gd name="T65" fmla="*/ 392 h 707"/>
                  <a:gd name="T66" fmla="*/ 2111 w 2244"/>
                  <a:gd name="T67" fmla="*/ 346 h 707"/>
                  <a:gd name="T68" fmla="*/ 2017 w 2244"/>
                  <a:gd name="T69" fmla="*/ 306 h 707"/>
                  <a:gd name="T70" fmla="*/ 1759 w 2244"/>
                  <a:gd name="T71" fmla="*/ 239 h 707"/>
                  <a:gd name="T72" fmla="*/ 588 w 2244"/>
                  <a:gd name="T73" fmla="*/ 251 h 707"/>
                  <a:gd name="T74" fmla="*/ 648 w 2244"/>
                  <a:gd name="T75" fmla="*/ 156 h 707"/>
                  <a:gd name="T76" fmla="*/ 691 w 2244"/>
                  <a:gd name="T77" fmla="*/ 114 h 707"/>
                  <a:gd name="T78" fmla="*/ 733 w 2244"/>
                  <a:gd name="T79" fmla="*/ 96 h 707"/>
                  <a:gd name="T80" fmla="*/ 848 w 2244"/>
                  <a:gd name="T81" fmla="*/ 82 h 707"/>
                  <a:gd name="T82" fmla="*/ 980 w 2244"/>
                  <a:gd name="T83" fmla="*/ 297 h 707"/>
                  <a:gd name="T84" fmla="*/ 1039 w 2244"/>
                  <a:gd name="T85" fmla="*/ 78 h 707"/>
                  <a:gd name="T86" fmla="*/ 1158 w 2244"/>
                  <a:gd name="T87" fmla="*/ 84 h 707"/>
                  <a:gd name="T88" fmla="*/ 1317 w 2244"/>
                  <a:gd name="T89" fmla="*/ 123 h 707"/>
                  <a:gd name="T90" fmla="*/ 1464 w 2244"/>
                  <a:gd name="T91" fmla="*/ 180 h 707"/>
                  <a:gd name="T92" fmla="*/ 1616 w 2244"/>
                  <a:gd name="T93" fmla="*/ 259 h 707"/>
                  <a:gd name="T94" fmla="*/ 1672 w 2244"/>
                  <a:gd name="T95" fmla="*/ 302 h 707"/>
                  <a:gd name="T96" fmla="*/ 1670 w 2244"/>
                  <a:gd name="T97" fmla="*/ 318 h 707"/>
                  <a:gd name="T98" fmla="*/ 1630 w 2244"/>
                  <a:gd name="T99" fmla="*/ 323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4" h="707">
                    <a:moveTo>
                      <a:pt x="1759" y="239"/>
                    </a:moveTo>
                    <a:lnTo>
                      <a:pt x="1759" y="239"/>
                    </a:lnTo>
                    <a:lnTo>
                      <a:pt x="1691" y="207"/>
                    </a:lnTo>
                    <a:lnTo>
                      <a:pt x="1617" y="175"/>
                    </a:lnTo>
                    <a:lnTo>
                      <a:pt x="1531" y="136"/>
                    </a:lnTo>
                    <a:lnTo>
                      <a:pt x="1437" y="96"/>
                    </a:lnTo>
                    <a:lnTo>
                      <a:pt x="1345" y="60"/>
                    </a:lnTo>
                    <a:lnTo>
                      <a:pt x="1302" y="44"/>
                    </a:lnTo>
                    <a:lnTo>
                      <a:pt x="1263" y="31"/>
                    </a:lnTo>
                    <a:lnTo>
                      <a:pt x="1229" y="20"/>
                    </a:lnTo>
                    <a:lnTo>
                      <a:pt x="1200" y="12"/>
                    </a:lnTo>
                    <a:lnTo>
                      <a:pt x="1200" y="12"/>
                    </a:lnTo>
                    <a:lnTo>
                      <a:pt x="1171" y="8"/>
                    </a:lnTo>
                    <a:lnTo>
                      <a:pt x="1136" y="4"/>
                    </a:lnTo>
                    <a:lnTo>
                      <a:pt x="1095" y="1"/>
                    </a:lnTo>
                    <a:lnTo>
                      <a:pt x="1049" y="0"/>
                    </a:lnTo>
                    <a:lnTo>
                      <a:pt x="1000" y="0"/>
                    </a:lnTo>
                    <a:lnTo>
                      <a:pt x="949" y="0"/>
                    </a:lnTo>
                    <a:lnTo>
                      <a:pt x="844" y="4"/>
                    </a:lnTo>
                    <a:lnTo>
                      <a:pt x="743" y="11"/>
                    </a:lnTo>
                    <a:lnTo>
                      <a:pt x="698" y="13"/>
                    </a:lnTo>
                    <a:lnTo>
                      <a:pt x="656" y="19"/>
                    </a:lnTo>
                    <a:lnTo>
                      <a:pt x="620" y="23"/>
                    </a:lnTo>
                    <a:lnTo>
                      <a:pt x="591" y="28"/>
                    </a:lnTo>
                    <a:lnTo>
                      <a:pt x="568" y="33"/>
                    </a:lnTo>
                    <a:lnTo>
                      <a:pt x="562" y="36"/>
                    </a:lnTo>
                    <a:lnTo>
                      <a:pt x="556" y="39"/>
                    </a:lnTo>
                    <a:lnTo>
                      <a:pt x="296" y="166"/>
                    </a:lnTo>
                    <a:lnTo>
                      <a:pt x="42" y="290"/>
                    </a:lnTo>
                    <a:lnTo>
                      <a:pt x="0" y="531"/>
                    </a:lnTo>
                    <a:lnTo>
                      <a:pt x="0" y="531"/>
                    </a:lnTo>
                    <a:lnTo>
                      <a:pt x="0" y="553"/>
                    </a:lnTo>
                    <a:lnTo>
                      <a:pt x="0" y="607"/>
                    </a:lnTo>
                    <a:lnTo>
                      <a:pt x="3" y="666"/>
                    </a:lnTo>
                    <a:lnTo>
                      <a:pt x="6" y="690"/>
                    </a:lnTo>
                    <a:lnTo>
                      <a:pt x="8" y="707"/>
                    </a:lnTo>
                    <a:lnTo>
                      <a:pt x="134" y="707"/>
                    </a:lnTo>
                    <a:lnTo>
                      <a:pt x="135" y="656"/>
                    </a:lnTo>
                    <a:lnTo>
                      <a:pt x="135" y="656"/>
                    </a:lnTo>
                    <a:lnTo>
                      <a:pt x="137" y="635"/>
                    </a:lnTo>
                    <a:lnTo>
                      <a:pt x="139" y="613"/>
                    </a:lnTo>
                    <a:lnTo>
                      <a:pt x="145" y="593"/>
                    </a:lnTo>
                    <a:lnTo>
                      <a:pt x="151" y="575"/>
                    </a:lnTo>
                    <a:lnTo>
                      <a:pt x="161" y="556"/>
                    </a:lnTo>
                    <a:lnTo>
                      <a:pt x="171" y="539"/>
                    </a:lnTo>
                    <a:lnTo>
                      <a:pt x="183" y="523"/>
                    </a:lnTo>
                    <a:lnTo>
                      <a:pt x="197" y="508"/>
                    </a:lnTo>
                    <a:lnTo>
                      <a:pt x="211" y="494"/>
                    </a:lnTo>
                    <a:lnTo>
                      <a:pt x="227" y="482"/>
                    </a:lnTo>
                    <a:lnTo>
                      <a:pt x="245" y="472"/>
                    </a:lnTo>
                    <a:lnTo>
                      <a:pt x="262" y="464"/>
                    </a:lnTo>
                    <a:lnTo>
                      <a:pt x="282" y="456"/>
                    </a:lnTo>
                    <a:lnTo>
                      <a:pt x="302" y="452"/>
                    </a:lnTo>
                    <a:lnTo>
                      <a:pt x="322" y="448"/>
                    </a:lnTo>
                    <a:lnTo>
                      <a:pt x="344" y="446"/>
                    </a:lnTo>
                    <a:lnTo>
                      <a:pt x="344" y="446"/>
                    </a:lnTo>
                    <a:lnTo>
                      <a:pt x="365" y="448"/>
                    </a:lnTo>
                    <a:lnTo>
                      <a:pt x="385" y="452"/>
                    </a:lnTo>
                    <a:lnTo>
                      <a:pt x="405" y="456"/>
                    </a:lnTo>
                    <a:lnTo>
                      <a:pt x="425" y="464"/>
                    </a:lnTo>
                    <a:lnTo>
                      <a:pt x="443" y="472"/>
                    </a:lnTo>
                    <a:lnTo>
                      <a:pt x="460" y="482"/>
                    </a:lnTo>
                    <a:lnTo>
                      <a:pt x="476" y="494"/>
                    </a:lnTo>
                    <a:lnTo>
                      <a:pt x="491" y="508"/>
                    </a:lnTo>
                    <a:lnTo>
                      <a:pt x="504" y="523"/>
                    </a:lnTo>
                    <a:lnTo>
                      <a:pt x="516" y="539"/>
                    </a:lnTo>
                    <a:lnTo>
                      <a:pt x="527" y="556"/>
                    </a:lnTo>
                    <a:lnTo>
                      <a:pt x="536" y="575"/>
                    </a:lnTo>
                    <a:lnTo>
                      <a:pt x="543" y="593"/>
                    </a:lnTo>
                    <a:lnTo>
                      <a:pt x="548" y="613"/>
                    </a:lnTo>
                    <a:lnTo>
                      <a:pt x="551" y="635"/>
                    </a:lnTo>
                    <a:lnTo>
                      <a:pt x="552" y="656"/>
                    </a:lnTo>
                    <a:lnTo>
                      <a:pt x="556" y="707"/>
                    </a:lnTo>
                    <a:lnTo>
                      <a:pt x="1647" y="707"/>
                    </a:lnTo>
                    <a:lnTo>
                      <a:pt x="1648" y="643"/>
                    </a:lnTo>
                    <a:lnTo>
                      <a:pt x="1648" y="643"/>
                    </a:lnTo>
                    <a:lnTo>
                      <a:pt x="1648" y="621"/>
                    </a:lnTo>
                    <a:lnTo>
                      <a:pt x="1652" y="601"/>
                    </a:lnTo>
                    <a:lnTo>
                      <a:pt x="1656" y="581"/>
                    </a:lnTo>
                    <a:lnTo>
                      <a:pt x="1663" y="563"/>
                    </a:lnTo>
                    <a:lnTo>
                      <a:pt x="1671" y="545"/>
                    </a:lnTo>
                    <a:lnTo>
                      <a:pt x="1682" y="528"/>
                    </a:lnTo>
                    <a:lnTo>
                      <a:pt x="1692" y="513"/>
                    </a:lnTo>
                    <a:lnTo>
                      <a:pt x="1706" y="500"/>
                    </a:lnTo>
                    <a:lnTo>
                      <a:pt x="1720" y="486"/>
                    </a:lnTo>
                    <a:lnTo>
                      <a:pt x="1735" y="476"/>
                    </a:lnTo>
                    <a:lnTo>
                      <a:pt x="1752" y="465"/>
                    </a:lnTo>
                    <a:lnTo>
                      <a:pt x="1770" y="457"/>
                    </a:lnTo>
                    <a:lnTo>
                      <a:pt x="1789" y="450"/>
                    </a:lnTo>
                    <a:lnTo>
                      <a:pt x="1809" y="446"/>
                    </a:lnTo>
                    <a:lnTo>
                      <a:pt x="1829" y="444"/>
                    </a:lnTo>
                    <a:lnTo>
                      <a:pt x="1850" y="442"/>
                    </a:lnTo>
                    <a:lnTo>
                      <a:pt x="1850" y="442"/>
                    </a:lnTo>
                    <a:lnTo>
                      <a:pt x="1871" y="444"/>
                    </a:lnTo>
                    <a:lnTo>
                      <a:pt x="1893" y="446"/>
                    </a:lnTo>
                    <a:lnTo>
                      <a:pt x="1913" y="450"/>
                    </a:lnTo>
                    <a:lnTo>
                      <a:pt x="1932" y="457"/>
                    </a:lnTo>
                    <a:lnTo>
                      <a:pt x="1950" y="465"/>
                    </a:lnTo>
                    <a:lnTo>
                      <a:pt x="1969" y="476"/>
                    </a:lnTo>
                    <a:lnTo>
                      <a:pt x="1985" y="486"/>
                    </a:lnTo>
                    <a:lnTo>
                      <a:pt x="2001" y="500"/>
                    </a:lnTo>
                    <a:lnTo>
                      <a:pt x="2014" y="513"/>
                    </a:lnTo>
                    <a:lnTo>
                      <a:pt x="2028" y="528"/>
                    </a:lnTo>
                    <a:lnTo>
                      <a:pt x="2039" y="545"/>
                    </a:lnTo>
                    <a:lnTo>
                      <a:pt x="2048" y="563"/>
                    </a:lnTo>
                    <a:lnTo>
                      <a:pt x="2055" y="581"/>
                    </a:lnTo>
                    <a:lnTo>
                      <a:pt x="2060" y="601"/>
                    </a:lnTo>
                    <a:lnTo>
                      <a:pt x="2064" y="621"/>
                    </a:lnTo>
                    <a:lnTo>
                      <a:pt x="2065" y="643"/>
                    </a:lnTo>
                    <a:lnTo>
                      <a:pt x="2069" y="702"/>
                    </a:lnTo>
                    <a:lnTo>
                      <a:pt x="2069" y="702"/>
                    </a:lnTo>
                    <a:lnTo>
                      <a:pt x="2091" y="703"/>
                    </a:lnTo>
                    <a:lnTo>
                      <a:pt x="2140" y="703"/>
                    </a:lnTo>
                    <a:lnTo>
                      <a:pt x="2169" y="703"/>
                    </a:lnTo>
                    <a:lnTo>
                      <a:pt x="2198" y="702"/>
                    </a:lnTo>
                    <a:lnTo>
                      <a:pt x="2223" y="698"/>
                    </a:lnTo>
                    <a:lnTo>
                      <a:pt x="2234" y="696"/>
                    </a:lnTo>
                    <a:lnTo>
                      <a:pt x="2243" y="694"/>
                    </a:lnTo>
                    <a:lnTo>
                      <a:pt x="2243" y="694"/>
                    </a:lnTo>
                    <a:lnTo>
                      <a:pt x="2244" y="658"/>
                    </a:lnTo>
                    <a:lnTo>
                      <a:pt x="2243" y="619"/>
                    </a:lnTo>
                    <a:lnTo>
                      <a:pt x="2240" y="573"/>
                    </a:lnTo>
                    <a:lnTo>
                      <a:pt x="2238" y="548"/>
                    </a:lnTo>
                    <a:lnTo>
                      <a:pt x="2234" y="523"/>
                    </a:lnTo>
                    <a:lnTo>
                      <a:pt x="2228" y="497"/>
                    </a:lnTo>
                    <a:lnTo>
                      <a:pt x="2222" y="473"/>
                    </a:lnTo>
                    <a:lnTo>
                      <a:pt x="2214" y="449"/>
                    </a:lnTo>
                    <a:lnTo>
                      <a:pt x="2204" y="428"/>
                    </a:lnTo>
                    <a:lnTo>
                      <a:pt x="2192" y="409"/>
                    </a:lnTo>
                    <a:lnTo>
                      <a:pt x="2186" y="400"/>
                    </a:lnTo>
                    <a:lnTo>
                      <a:pt x="2178" y="392"/>
                    </a:lnTo>
                    <a:lnTo>
                      <a:pt x="2178" y="392"/>
                    </a:lnTo>
                    <a:lnTo>
                      <a:pt x="2164" y="380"/>
                    </a:lnTo>
                    <a:lnTo>
                      <a:pt x="2148" y="368"/>
                    </a:lnTo>
                    <a:lnTo>
                      <a:pt x="2129" y="357"/>
                    </a:lnTo>
                    <a:lnTo>
                      <a:pt x="2111" y="346"/>
                    </a:lnTo>
                    <a:lnTo>
                      <a:pt x="2089" y="335"/>
                    </a:lnTo>
                    <a:lnTo>
                      <a:pt x="2068" y="325"/>
                    </a:lnTo>
                    <a:lnTo>
                      <a:pt x="2044" y="315"/>
                    </a:lnTo>
                    <a:lnTo>
                      <a:pt x="2017" y="306"/>
                    </a:lnTo>
                    <a:lnTo>
                      <a:pt x="1962" y="289"/>
                    </a:lnTo>
                    <a:lnTo>
                      <a:pt x="1900" y="271"/>
                    </a:lnTo>
                    <a:lnTo>
                      <a:pt x="1833" y="255"/>
                    </a:lnTo>
                    <a:lnTo>
                      <a:pt x="1759" y="239"/>
                    </a:lnTo>
                    <a:lnTo>
                      <a:pt x="1759" y="239"/>
                    </a:lnTo>
                    <a:close/>
                    <a:moveTo>
                      <a:pt x="579" y="270"/>
                    </a:moveTo>
                    <a:lnTo>
                      <a:pt x="579" y="270"/>
                    </a:lnTo>
                    <a:lnTo>
                      <a:pt x="588" y="251"/>
                    </a:lnTo>
                    <a:lnTo>
                      <a:pt x="599" y="231"/>
                    </a:lnTo>
                    <a:lnTo>
                      <a:pt x="614" y="207"/>
                    </a:lnTo>
                    <a:lnTo>
                      <a:pt x="630" y="182"/>
                    </a:lnTo>
                    <a:lnTo>
                      <a:pt x="648" y="156"/>
                    </a:lnTo>
                    <a:lnTo>
                      <a:pt x="659" y="144"/>
                    </a:lnTo>
                    <a:lnTo>
                      <a:pt x="668" y="132"/>
                    </a:lnTo>
                    <a:lnTo>
                      <a:pt x="679" y="123"/>
                    </a:lnTo>
                    <a:lnTo>
                      <a:pt x="691" y="114"/>
                    </a:lnTo>
                    <a:lnTo>
                      <a:pt x="691" y="114"/>
                    </a:lnTo>
                    <a:lnTo>
                      <a:pt x="701" y="107"/>
                    </a:lnTo>
                    <a:lnTo>
                      <a:pt x="715" y="102"/>
                    </a:lnTo>
                    <a:lnTo>
                      <a:pt x="733" y="96"/>
                    </a:lnTo>
                    <a:lnTo>
                      <a:pt x="753" y="92"/>
                    </a:lnTo>
                    <a:lnTo>
                      <a:pt x="775" y="90"/>
                    </a:lnTo>
                    <a:lnTo>
                      <a:pt x="798" y="86"/>
                    </a:lnTo>
                    <a:lnTo>
                      <a:pt x="848" y="82"/>
                    </a:lnTo>
                    <a:lnTo>
                      <a:pt x="894" y="79"/>
                    </a:lnTo>
                    <a:lnTo>
                      <a:pt x="934" y="78"/>
                    </a:lnTo>
                    <a:lnTo>
                      <a:pt x="972" y="78"/>
                    </a:lnTo>
                    <a:lnTo>
                      <a:pt x="980" y="297"/>
                    </a:lnTo>
                    <a:lnTo>
                      <a:pt x="579" y="270"/>
                    </a:lnTo>
                    <a:close/>
                    <a:moveTo>
                      <a:pt x="1609" y="322"/>
                    </a:moveTo>
                    <a:lnTo>
                      <a:pt x="1052" y="299"/>
                    </a:lnTo>
                    <a:lnTo>
                      <a:pt x="1039" y="78"/>
                    </a:lnTo>
                    <a:lnTo>
                      <a:pt x="1039" y="78"/>
                    </a:lnTo>
                    <a:lnTo>
                      <a:pt x="1079" y="78"/>
                    </a:lnTo>
                    <a:lnTo>
                      <a:pt x="1118" y="80"/>
                    </a:lnTo>
                    <a:lnTo>
                      <a:pt x="1158" y="84"/>
                    </a:lnTo>
                    <a:lnTo>
                      <a:pt x="1198" y="91"/>
                    </a:lnTo>
                    <a:lnTo>
                      <a:pt x="1238" y="100"/>
                    </a:lnTo>
                    <a:lnTo>
                      <a:pt x="1277" y="111"/>
                    </a:lnTo>
                    <a:lnTo>
                      <a:pt x="1317" y="123"/>
                    </a:lnTo>
                    <a:lnTo>
                      <a:pt x="1354" y="136"/>
                    </a:lnTo>
                    <a:lnTo>
                      <a:pt x="1392" y="150"/>
                    </a:lnTo>
                    <a:lnTo>
                      <a:pt x="1429" y="164"/>
                    </a:lnTo>
                    <a:lnTo>
                      <a:pt x="1464" y="180"/>
                    </a:lnTo>
                    <a:lnTo>
                      <a:pt x="1499" y="196"/>
                    </a:lnTo>
                    <a:lnTo>
                      <a:pt x="1561" y="229"/>
                    </a:lnTo>
                    <a:lnTo>
                      <a:pt x="1616" y="259"/>
                    </a:lnTo>
                    <a:lnTo>
                      <a:pt x="1616" y="259"/>
                    </a:lnTo>
                    <a:lnTo>
                      <a:pt x="1639" y="273"/>
                    </a:lnTo>
                    <a:lnTo>
                      <a:pt x="1655" y="285"/>
                    </a:lnTo>
                    <a:lnTo>
                      <a:pt x="1666" y="294"/>
                    </a:lnTo>
                    <a:lnTo>
                      <a:pt x="1672" y="302"/>
                    </a:lnTo>
                    <a:lnTo>
                      <a:pt x="1675" y="309"/>
                    </a:lnTo>
                    <a:lnTo>
                      <a:pt x="1675" y="311"/>
                    </a:lnTo>
                    <a:lnTo>
                      <a:pt x="1674" y="314"/>
                    </a:lnTo>
                    <a:lnTo>
                      <a:pt x="1670" y="318"/>
                    </a:lnTo>
                    <a:lnTo>
                      <a:pt x="1664" y="321"/>
                    </a:lnTo>
                    <a:lnTo>
                      <a:pt x="1656" y="322"/>
                    </a:lnTo>
                    <a:lnTo>
                      <a:pt x="1647" y="323"/>
                    </a:lnTo>
                    <a:lnTo>
                      <a:pt x="1630" y="323"/>
                    </a:lnTo>
                    <a:lnTo>
                      <a:pt x="1609" y="322"/>
                    </a:lnTo>
                    <a:lnTo>
                      <a:pt x="1609" y="322"/>
                    </a:lnTo>
                    <a:close/>
                  </a:path>
                </a:pathLst>
              </a:custGeom>
              <a:solidFill>
                <a:schemeClr val="accent1">
                  <a:lumMod val="60000"/>
                  <a:lumOff val="40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58" name="Group 757"/>
          <p:cNvGrpSpPr/>
          <p:nvPr/>
        </p:nvGrpSpPr>
        <p:grpSpPr>
          <a:xfrm>
            <a:off x="3541345" y="4252130"/>
            <a:ext cx="307594" cy="113497"/>
            <a:chOff x="7057893" y="4732011"/>
            <a:chExt cx="1436818" cy="530162"/>
          </a:xfrm>
        </p:grpSpPr>
        <p:sp>
          <p:nvSpPr>
            <p:cNvPr id="759" name="Rectangle 1235"/>
            <p:cNvSpPr/>
            <p:nvPr/>
          </p:nvSpPr>
          <p:spPr bwMode="auto">
            <a:xfrm>
              <a:off x="7360767" y="4756776"/>
              <a:ext cx="911364" cy="194233"/>
            </a:xfrm>
            <a:custGeom>
              <a:avLst/>
              <a:gdLst>
                <a:gd name="connsiteX0" fmla="*/ 0 w 841562"/>
                <a:gd name="connsiteY0" fmla="*/ 0 h 194233"/>
                <a:gd name="connsiteX1" fmla="*/ 841562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841562"/>
                <a:gd name="connsiteY0" fmla="*/ 0 h 194233"/>
                <a:gd name="connsiteX1" fmla="*/ 429733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0 w 911364"/>
                <a:gd name="connsiteY4" fmla="*/ 0 h 194233"/>
                <a:gd name="connsiteX0" fmla="*/ 4886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48861 w 911364"/>
                <a:gd name="connsiteY4" fmla="*/ 0 h 194233"/>
                <a:gd name="connsiteX0" fmla="*/ 7678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76781 w 911364"/>
                <a:gd name="connsiteY4" fmla="*/ 0 h 19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64" h="194233">
                  <a:moveTo>
                    <a:pt x="76781" y="0"/>
                  </a:moveTo>
                  <a:lnTo>
                    <a:pt x="429733" y="0"/>
                  </a:lnTo>
                  <a:lnTo>
                    <a:pt x="911364" y="194233"/>
                  </a:lnTo>
                  <a:lnTo>
                    <a:pt x="0" y="194233"/>
                  </a:lnTo>
                  <a:lnTo>
                    <a:pt x="76781" y="0"/>
                  </a:lnTo>
                  <a:close/>
                </a:path>
              </a:pathLst>
            </a:cu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760" name="Group 759"/>
            <p:cNvGrpSpPr/>
            <p:nvPr/>
          </p:nvGrpSpPr>
          <p:grpSpPr>
            <a:xfrm>
              <a:off x="7057893" y="4732011"/>
              <a:ext cx="1436818" cy="530162"/>
              <a:chOff x="26353675" y="5217211"/>
              <a:chExt cx="1436818" cy="530162"/>
            </a:xfrm>
          </p:grpSpPr>
          <p:sp>
            <p:nvSpPr>
              <p:cNvPr id="761" name="Freeform 94"/>
              <p:cNvSpPr>
                <a:spLocks noEditPoints="1"/>
              </p:cNvSpPr>
              <p:nvPr/>
            </p:nvSpPr>
            <p:spPr bwMode="auto">
              <a:xfrm>
                <a:off x="26463166" y="5526472"/>
                <a:ext cx="220901" cy="220901"/>
              </a:xfrm>
              <a:custGeom>
                <a:avLst/>
                <a:gdLst>
                  <a:gd name="T0" fmla="*/ 173 w 345"/>
                  <a:gd name="T1" fmla="*/ 0 h 343"/>
                  <a:gd name="T2" fmla="*/ 138 w 345"/>
                  <a:gd name="T3" fmla="*/ 2 h 343"/>
                  <a:gd name="T4" fmla="*/ 106 w 345"/>
                  <a:gd name="T5" fmla="*/ 13 h 343"/>
                  <a:gd name="T6" fmla="*/ 76 w 345"/>
                  <a:gd name="T7" fmla="*/ 29 h 343"/>
                  <a:gd name="T8" fmla="*/ 51 w 345"/>
                  <a:gd name="T9" fmla="*/ 49 h 343"/>
                  <a:gd name="T10" fmla="*/ 30 w 345"/>
                  <a:gd name="T11" fmla="*/ 75 h 343"/>
                  <a:gd name="T12" fmla="*/ 14 w 345"/>
                  <a:gd name="T13" fmla="*/ 104 h 343"/>
                  <a:gd name="T14" fmla="*/ 4 w 345"/>
                  <a:gd name="T15" fmla="*/ 137 h 343"/>
                  <a:gd name="T16" fmla="*/ 0 w 345"/>
                  <a:gd name="T17" fmla="*/ 172 h 343"/>
                  <a:gd name="T18" fmla="*/ 2 w 345"/>
                  <a:gd name="T19" fmla="*/ 190 h 343"/>
                  <a:gd name="T20" fmla="*/ 8 w 345"/>
                  <a:gd name="T21" fmla="*/ 223 h 343"/>
                  <a:gd name="T22" fmla="*/ 22 w 345"/>
                  <a:gd name="T23" fmla="*/ 254 h 343"/>
                  <a:gd name="T24" fmla="*/ 39 w 345"/>
                  <a:gd name="T25" fmla="*/ 280 h 343"/>
                  <a:gd name="T26" fmla="*/ 63 w 345"/>
                  <a:gd name="T27" fmla="*/ 305 h 343"/>
                  <a:gd name="T28" fmla="*/ 91 w 345"/>
                  <a:gd name="T29" fmla="*/ 323 h 343"/>
                  <a:gd name="T30" fmla="*/ 122 w 345"/>
                  <a:gd name="T31" fmla="*/ 337 h 343"/>
                  <a:gd name="T32" fmla="*/ 155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6 w 345"/>
                  <a:gd name="T45" fmla="*/ 268 h 343"/>
                  <a:gd name="T46" fmla="*/ 332 w 345"/>
                  <a:gd name="T47" fmla="*/ 239 h 343"/>
                  <a:gd name="T48" fmla="*/ 341 w 345"/>
                  <a:gd name="T49" fmla="*/ 206 h 343"/>
                  <a:gd name="T50" fmla="*/ 345 w 345"/>
                  <a:gd name="T51" fmla="*/ 172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3 w 345"/>
                  <a:gd name="T65" fmla="*/ 6 h 343"/>
                  <a:gd name="T66" fmla="*/ 190 w 345"/>
                  <a:gd name="T67" fmla="*/ 0 h 343"/>
                  <a:gd name="T68" fmla="*/ 173 w 345"/>
                  <a:gd name="T69" fmla="*/ 0 h 343"/>
                  <a:gd name="T70" fmla="*/ 173 w 345"/>
                  <a:gd name="T71" fmla="*/ 244 h 343"/>
                  <a:gd name="T72" fmla="*/ 145 w 345"/>
                  <a:gd name="T73" fmla="*/ 238 h 343"/>
                  <a:gd name="T74" fmla="*/ 121 w 345"/>
                  <a:gd name="T75" fmla="*/ 223 h 343"/>
                  <a:gd name="T76" fmla="*/ 106 w 345"/>
                  <a:gd name="T77" fmla="*/ 199 h 343"/>
                  <a:gd name="T78" fmla="*/ 101 w 345"/>
                  <a:gd name="T79" fmla="*/ 171 h 343"/>
                  <a:gd name="T80" fmla="*/ 102 w 345"/>
                  <a:gd name="T81" fmla="*/ 156 h 343"/>
                  <a:gd name="T82" fmla="*/ 113 w 345"/>
                  <a:gd name="T83" fmla="*/ 131 h 343"/>
                  <a:gd name="T84" fmla="*/ 133 w 345"/>
                  <a:gd name="T85" fmla="*/ 111 h 343"/>
                  <a:gd name="T86" fmla="*/ 158 w 345"/>
                  <a:gd name="T87" fmla="*/ 100 h 343"/>
                  <a:gd name="T88" fmla="*/ 173 w 345"/>
                  <a:gd name="T89" fmla="*/ 99 h 343"/>
                  <a:gd name="T90" fmla="*/ 201 w 345"/>
                  <a:gd name="T91" fmla="*/ 104 h 343"/>
                  <a:gd name="T92" fmla="*/ 223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5" y="0"/>
                    </a:lnTo>
                    <a:lnTo>
                      <a:pt x="138" y="2"/>
                    </a:lnTo>
                    <a:lnTo>
                      <a:pt x="122" y="6"/>
                    </a:lnTo>
                    <a:lnTo>
                      <a:pt x="106" y="13"/>
                    </a:lnTo>
                    <a:lnTo>
                      <a:pt x="91" y="20"/>
                    </a:lnTo>
                    <a:lnTo>
                      <a:pt x="76" y="29"/>
                    </a:lnTo>
                    <a:lnTo>
                      <a:pt x="63" y="39"/>
                    </a:lnTo>
                    <a:lnTo>
                      <a:pt x="51" y="49"/>
                    </a:lnTo>
                    <a:lnTo>
                      <a:pt x="39" y="63"/>
                    </a:lnTo>
                    <a:lnTo>
                      <a:pt x="30" y="75"/>
                    </a:lnTo>
                    <a:lnTo>
                      <a:pt x="22" y="89"/>
                    </a:lnTo>
                    <a:lnTo>
                      <a:pt x="14" y="104"/>
                    </a:lnTo>
                    <a:lnTo>
                      <a:pt x="8" y="120"/>
                    </a:lnTo>
                    <a:lnTo>
                      <a:pt x="4" y="137"/>
                    </a:lnTo>
                    <a:lnTo>
                      <a:pt x="2" y="153"/>
                    </a:lnTo>
                    <a:lnTo>
                      <a:pt x="0" y="172"/>
                    </a:lnTo>
                    <a:lnTo>
                      <a:pt x="0" y="172"/>
                    </a:lnTo>
                    <a:lnTo>
                      <a:pt x="2" y="190"/>
                    </a:lnTo>
                    <a:lnTo>
                      <a:pt x="4" y="206"/>
                    </a:lnTo>
                    <a:lnTo>
                      <a:pt x="8" y="223"/>
                    </a:lnTo>
                    <a:lnTo>
                      <a:pt x="14" y="239"/>
                    </a:lnTo>
                    <a:lnTo>
                      <a:pt x="22" y="254"/>
                    </a:lnTo>
                    <a:lnTo>
                      <a:pt x="30" y="268"/>
                    </a:lnTo>
                    <a:lnTo>
                      <a:pt x="39" y="280"/>
                    </a:lnTo>
                    <a:lnTo>
                      <a:pt x="51" y="294"/>
                    </a:lnTo>
                    <a:lnTo>
                      <a:pt x="63" y="305"/>
                    </a:lnTo>
                    <a:lnTo>
                      <a:pt x="76" y="314"/>
                    </a:lnTo>
                    <a:lnTo>
                      <a:pt x="91" y="323"/>
                    </a:lnTo>
                    <a:lnTo>
                      <a:pt x="106" y="330"/>
                    </a:lnTo>
                    <a:lnTo>
                      <a:pt x="122" y="337"/>
                    </a:lnTo>
                    <a:lnTo>
                      <a:pt x="138" y="341"/>
                    </a:lnTo>
                    <a:lnTo>
                      <a:pt x="155" y="343"/>
                    </a:lnTo>
                    <a:lnTo>
                      <a:pt x="173" y="343"/>
                    </a:lnTo>
                    <a:lnTo>
                      <a:pt x="173" y="343"/>
                    </a:lnTo>
                    <a:lnTo>
                      <a:pt x="190" y="343"/>
                    </a:lnTo>
                    <a:lnTo>
                      <a:pt x="207" y="341"/>
                    </a:lnTo>
                    <a:lnTo>
                      <a:pt x="223" y="337"/>
                    </a:lnTo>
                    <a:lnTo>
                      <a:pt x="240" y="330"/>
                    </a:lnTo>
                    <a:lnTo>
                      <a:pt x="254" y="323"/>
                    </a:lnTo>
                    <a:lnTo>
                      <a:pt x="269" y="314"/>
                    </a:lnTo>
                    <a:lnTo>
                      <a:pt x="282" y="305"/>
                    </a:lnTo>
                    <a:lnTo>
                      <a:pt x="294" y="294"/>
                    </a:lnTo>
                    <a:lnTo>
                      <a:pt x="305" y="280"/>
                    </a:lnTo>
                    <a:lnTo>
                      <a:pt x="316" y="268"/>
                    </a:lnTo>
                    <a:lnTo>
                      <a:pt x="324" y="254"/>
                    </a:lnTo>
                    <a:lnTo>
                      <a:pt x="332" y="239"/>
                    </a:lnTo>
                    <a:lnTo>
                      <a:pt x="337" y="223"/>
                    </a:lnTo>
                    <a:lnTo>
                      <a:pt x="341" y="206"/>
                    </a:lnTo>
                    <a:lnTo>
                      <a:pt x="344" y="190"/>
                    </a:lnTo>
                    <a:lnTo>
                      <a:pt x="345" y="172"/>
                    </a:lnTo>
                    <a:lnTo>
                      <a:pt x="345" y="172"/>
                    </a:lnTo>
                    <a:lnTo>
                      <a:pt x="344" y="153"/>
                    </a:lnTo>
                    <a:lnTo>
                      <a:pt x="341" y="137"/>
                    </a:lnTo>
                    <a:lnTo>
                      <a:pt x="337" y="120"/>
                    </a:lnTo>
                    <a:lnTo>
                      <a:pt x="332" y="104"/>
                    </a:lnTo>
                    <a:lnTo>
                      <a:pt x="324" y="89"/>
                    </a:lnTo>
                    <a:lnTo>
                      <a:pt x="316" y="75"/>
                    </a:lnTo>
                    <a:lnTo>
                      <a:pt x="305" y="63"/>
                    </a:lnTo>
                    <a:lnTo>
                      <a:pt x="294" y="49"/>
                    </a:lnTo>
                    <a:lnTo>
                      <a:pt x="282" y="39"/>
                    </a:lnTo>
                    <a:lnTo>
                      <a:pt x="269" y="29"/>
                    </a:lnTo>
                    <a:lnTo>
                      <a:pt x="254" y="20"/>
                    </a:lnTo>
                    <a:lnTo>
                      <a:pt x="240" y="13"/>
                    </a:lnTo>
                    <a:lnTo>
                      <a:pt x="223" y="6"/>
                    </a:lnTo>
                    <a:lnTo>
                      <a:pt x="207" y="2"/>
                    </a:lnTo>
                    <a:lnTo>
                      <a:pt x="190" y="0"/>
                    </a:lnTo>
                    <a:lnTo>
                      <a:pt x="173" y="0"/>
                    </a:lnTo>
                    <a:lnTo>
                      <a:pt x="173" y="0"/>
                    </a:lnTo>
                    <a:close/>
                    <a:moveTo>
                      <a:pt x="173" y="244"/>
                    </a:moveTo>
                    <a:lnTo>
                      <a:pt x="173" y="244"/>
                    </a:lnTo>
                    <a:lnTo>
                      <a:pt x="158" y="242"/>
                    </a:lnTo>
                    <a:lnTo>
                      <a:pt x="145" y="238"/>
                    </a:lnTo>
                    <a:lnTo>
                      <a:pt x="133" y="231"/>
                    </a:lnTo>
                    <a:lnTo>
                      <a:pt x="121" y="223"/>
                    </a:lnTo>
                    <a:lnTo>
                      <a:pt x="113" y="212"/>
                    </a:lnTo>
                    <a:lnTo>
                      <a:pt x="106" y="199"/>
                    </a:lnTo>
                    <a:lnTo>
                      <a:pt x="102" y="186"/>
                    </a:lnTo>
                    <a:lnTo>
                      <a:pt x="101" y="171"/>
                    </a:lnTo>
                    <a:lnTo>
                      <a:pt x="101" y="171"/>
                    </a:lnTo>
                    <a:lnTo>
                      <a:pt x="102" y="156"/>
                    </a:lnTo>
                    <a:lnTo>
                      <a:pt x="106" y="143"/>
                    </a:lnTo>
                    <a:lnTo>
                      <a:pt x="113" y="131"/>
                    </a:lnTo>
                    <a:lnTo>
                      <a:pt x="121" y="120"/>
                    </a:lnTo>
                    <a:lnTo>
                      <a:pt x="133" y="111"/>
                    </a:lnTo>
                    <a:lnTo>
                      <a:pt x="145" y="104"/>
                    </a:lnTo>
                    <a:lnTo>
                      <a:pt x="158" y="100"/>
                    </a:lnTo>
                    <a:lnTo>
                      <a:pt x="173" y="99"/>
                    </a:lnTo>
                    <a:lnTo>
                      <a:pt x="173" y="99"/>
                    </a:lnTo>
                    <a:lnTo>
                      <a:pt x="187" y="100"/>
                    </a:lnTo>
                    <a:lnTo>
                      <a:pt x="201" y="104"/>
                    </a:lnTo>
                    <a:lnTo>
                      <a:pt x="213" y="111"/>
                    </a:lnTo>
                    <a:lnTo>
                      <a:pt x="223" y="120"/>
                    </a:lnTo>
                    <a:lnTo>
                      <a:pt x="233" y="131"/>
                    </a:lnTo>
                    <a:lnTo>
                      <a:pt x="240" y="143"/>
                    </a:lnTo>
                    <a:lnTo>
                      <a:pt x="244" y="156"/>
                    </a:lnTo>
                    <a:lnTo>
                      <a:pt x="245" y="171"/>
                    </a:lnTo>
                    <a:lnTo>
                      <a:pt x="245" y="171"/>
                    </a:lnTo>
                    <a:lnTo>
                      <a:pt x="244" y="186"/>
                    </a:lnTo>
                    <a:lnTo>
                      <a:pt x="240" y="199"/>
                    </a:lnTo>
                    <a:lnTo>
                      <a:pt x="233" y="212"/>
                    </a:lnTo>
                    <a:lnTo>
                      <a:pt x="223"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62" name="Freeform 95"/>
              <p:cNvSpPr>
                <a:spLocks noEditPoints="1"/>
              </p:cNvSpPr>
              <p:nvPr/>
            </p:nvSpPr>
            <p:spPr bwMode="auto">
              <a:xfrm>
                <a:off x="27433211" y="5526472"/>
                <a:ext cx="220901" cy="220901"/>
              </a:xfrm>
              <a:custGeom>
                <a:avLst/>
                <a:gdLst>
                  <a:gd name="T0" fmla="*/ 173 w 345"/>
                  <a:gd name="T1" fmla="*/ 0 h 343"/>
                  <a:gd name="T2" fmla="*/ 138 w 345"/>
                  <a:gd name="T3" fmla="*/ 2 h 343"/>
                  <a:gd name="T4" fmla="*/ 105 w 345"/>
                  <a:gd name="T5" fmla="*/ 13 h 343"/>
                  <a:gd name="T6" fmla="*/ 76 w 345"/>
                  <a:gd name="T7" fmla="*/ 29 h 343"/>
                  <a:gd name="T8" fmla="*/ 50 w 345"/>
                  <a:gd name="T9" fmla="*/ 49 h 343"/>
                  <a:gd name="T10" fmla="*/ 30 w 345"/>
                  <a:gd name="T11" fmla="*/ 75 h 343"/>
                  <a:gd name="T12" fmla="*/ 14 w 345"/>
                  <a:gd name="T13" fmla="*/ 104 h 343"/>
                  <a:gd name="T14" fmla="*/ 3 w 345"/>
                  <a:gd name="T15" fmla="*/ 137 h 343"/>
                  <a:gd name="T16" fmla="*/ 0 w 345"/>
                  <a:gd name="T17" fmla="*/ 171 h 343"/>
                  <a:gd name="T18" fmla="*/ 0 w 345"/>
                  <a:gd name="T19" fmla="*/ 190 h 343"/>
                  <a:gd name="T20" fmla="*/ 8 w 345"/>
                  <a:gd name="T21" fmla="*/ 223 h 343"/>
                  <a:gd name="T22" fmla="*/ 20 w 345"/>
                  <a:gd name="T23" fmla="*/ 254 h 343"/>
                  <a:gd name="T24" fmla="*/ 39 w 345"/>
                  <a:gd name="T25" fmla="*/ 280 h 343"/>
                  <a:gd name="T26" fmla="*/ 63 w 345"/>
                  <a:gd name="T27" fmla="*/ 305 h 343"/>
                  <a:gd name="T28" fmla="*/ 90 w 345"/>
                  <a:gd name="T29" fmla="*/ 323 h 343"/>
                  <a:gd name="T30" fmla="*/ 121 w 345"/>
                  <a:gd name="T31" fmla="*/ 337 h 343"/>
                  <a:gd name="T32" fmla="*/ 154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4 w 345"/>
                  <a:gd name="T45" fmla="*/ 268 h 343"/>
                  <a:gd name="T46" fmla="*/ 330 w 345"/>
                  <a:gd name="T47" fmla="*/ 239 h 343"/>
                  <a:gd name="T48" fmla="*/ 341 w 345"/>
                  <a:gd name="T49" fmla="*/ 206 h 343"/>
                  <a:gd name="T50" fmla="*/ 345 w 345"/>
                  <a:gd name="T51" fmla="*/ 171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4 w 345"/>
                  <a:gd name="T65" fmla="*/ 6 h 343"/>
                  <a:gd name="T66" fmla="*/ 190 w 345"/>
                  <a:gd name="T67" fmla="*/ 0 h 343"/>
                  <a:gd name="T68" fmla="*/ 173 w 345"/>
                  <a:gd name="T69" fmla="*/ 0 h 343"/>
                  <a:gd name="T70" fmla="*/ 173 w 345"/>
                  <a:gd name="T71" fmla="*/ 244 h 343"/>
                  <a:gd name="T72" fmla="*/ 143 w 345"/>
                  <a:gd name="T73" fmla="*/ 238 h 343"/>
                  <a:gd name="T74" fmla="*/ 121 w 345"/>
                  <a:gd name="T75" fmla="*/ 223 h 343"/>
                  <a:gd name="T76" fmla="*/ 106 w 345"/>
                  <a:gd name="T77" fmla="*/ 199 h 343"/>
                  <a:gd name="T78" fmla="*/ 99 w 345"/>
                  <a:gd name="T79" fmla="*/ 171 h 343"/>
                  <a:gd name="T80" fmla="*/ 101 w 345"/>
                  <a:gd name="T81" fmla="*/ 156 h 343"/>
                  <a:gd name="T82" fmla="*/ 113 w 345"/>
                  <a:gd name="T83" fmla="*/ 131 h 343"/>
                  <a:gd name="T84" fmla="*/ 131 w 345"/>
                  <a:gd name="T85" fmla="*/ 111 h 343"/>
                  <a:gd name="T86" fmla="*/ 158 w 345"/>
                  <a:gd name="T87" fmla="*/ 100 h 343"/>
                  <a:gd name="T88" fmla="*/ 173 w 345"/>
                  <a:gd name="T89" fmla="*/ 99 h 343"/>
                  <a:gd name="T90" fmla="*/ 201 w 345"/>
                  <a:gd name="T91" fmla="*/ 104 h 343"/>
                  <a:gd name="T92" fmla="*/ 224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4" y="0"/>
                    </a:lnTo>
                    <a:lnTo>
                      <a:pt x="138" y="2"/>
                    </a:lnTo>
                    <a:lnTo>
                      <a:pt x="121" y="6"/>
                    </a:lnTo>
                    <a:lnTo>
                      <a:pt x="105" y="13"/>
                    </a:lnTo>
                    <a:lnTo>
                      <a:pt x="90" y="20"/>
                    </a:lnTo>
                    <a:lnTo>
                      <a:pt x="76" y="29"/>
                    </a:lnTo>
                    <a:lnTo>
                      <a:pt x="63" y="39"/>
                    </a:lnTo>
                    <a:lnTo>
                      <a:pt x="50" y="49"/>
                    </a:lnTo>
                    <a:lnTo>
                      <a:pt x="39" y="63"/>
                    </a:lnTo>
                    <a:lnTo>
                      <a:pt x="30" y="75"/>
                    </a:lnTo>
                    <a:lnTo>
                      <a:pt x="20" y="89"/>
                    </a:lnTo>
                    <a:lnTo>
                      <a:pt x="14" y="104"/>
                    </a:lnTo>
                    <a:lnTo>
                      <a:pt x="8" y="120"/>
                    </a:lnTo>
                    <a:lnTo>
                      <a:pt x="3" y="137"/>
                    </a:lnTo>
                    <a:lnTo>
                      <a:pt x="0" y="153"/>
                    </a:lnTo>
                    <a:lnTo>
                      <a:pt x="0" y="171"/>
                    </a:lnTo>
                    <a:lnTo>
                      <a:pt x="0" y="171"/>
                    </a:lnTo>
                    <a:lnTo>
                      <a:pt x="0" y="190"/>
                    </a:lnTo>
                    <a:lnTo>
                      <a:pt x="3" y="206"/>
                    </a:lnTo>
                    <a:lnTo>
                      <a:pt x="8" y="223"/>
                    </a:lnTo>
                    <a:lnTo>
                      <a:pt x="14" y="239"/>
                    </a:lnTo>
                    <a:lnTo>
                      <a:pt x="20" y="254"/>
                    </a:lnTo>
                    <a:lnTo>
                      <a:pt x="30" y="268"/>
                    </a:lnTo>
                    <a:lnTo>
                      <a:pt x="39" y="280"/>
                    </a:lnTo>
                    <a:lnTo>
                      <a:pt x="50" y="294"/>
                    </a:lnTo>
                    <a:lnTo>
                      <a:pt x="63" y="305"/>
                    </a:lnTo>
                    <a:lnTo>
                      <a:pt x="76" y="314"/>
                    </a:lnTo>
                    <a:lnTo>
                      <a:pt x="90" y="323"/>
                    </a:lnTo>
                    <a:lnTo>
                      <a:pt x="105" y="330"/>
                    </a:lnTo>
                    <a:lnTo>
                      <a:pt x="121" y="337"/>
                    </a:lnTo>
                    <a:lnTo>
                      <a:pt x="138" y="341"/>
                    </a:lnTo>
                    <a:lnTo>
                      <a:pt x="154" y="343"/>
                    </a:lnTo>
                    <a:lnTo>
                      <a:pt x="173" y="343"/>
                    </a:lnTo>
                    <a:lnTo>
                      <a:pt x="173" y="343"/>
                    </a:lnTo>
                    <a:lnTo>
                      <a:pt x="190" y="343"/>
                    </a:lnTo>
                    <a:lnTo>
                      <a:pt x="207" y="341"/>
                    </a:lnTo>
                    <a:lnTo>
                      <a:pt x="224" y="337"/>
                    </a:lnTo>
                    <a:lnTo>
                      <a:pt x="240" y="330"/>
                    </a:lnTo>
                    <a:lnTo>
                      <a:pt x="254" y="323"/>
                    </a:lnTo>
                    <a:lnTo>
                      <a:pt x="269" y="314"/>
                    </a:lnTo>
                    <a:lnTo>
                      <a:pt x="282" y="305"/>
                    </a:lnTo>
                    <a:lnTo>
                      <a:pt x="294" y="294"/>
                    </a:lnTo>
                    <a:lnTo>
                      <a:pt x="305" y="280"/>
                    </a:lnTo>
                    <a:lnTo>
                      <a:pt x="314" y="268"/>
                    </a:lnTo>
                    <a:lnTo>
                      <a:pt x="324" y="254"/>
                    </a:lnTo>
                    <a:lnTo>
                      <a:pt x="330" y="239"/>
                    </a:lnTo>
                    <a:lnTo>
                      <a:pt x="337" y="223"/>
                    </a:lnTo>
                    <a:lnTo>
                      <a:pt x="341" y="206"/>
                    </a:lnTo>
                    <a:lnTo>
                      <a:pt x="344" y="190"/>
                    </a:lnTo>
                    <a:lnTo>
                      <a:pt x="345" y="171"/>
                    </a:lnTo>
                    <a:lnTo>
                      <a:pt x="345" y="171"/>
                    </a:lnTo>
                    <a:lnTo>
                      <a:pt x="344" y="153"/>
                    </a:lnTo>
                    <a:lnTo>
                      <a:pt x="341" y="137"/>
                    </a:lnTo>
                    <a:lnTo>
                      <a:pt x="337" y="120"/>
                    </a:lnTo>
                    <a:lnTo>
                      <a:pt x="330" y="104"/>
                    </a:lnTo>
                    <a:lnTo>
                      <a:pt x="324" y="89"/>
                    </a:lnTo>
                    <a:lnTo>
                      <a:pt x="314" y="75"/>
                    </a:lnTo>
                    <a:lnTo>
                      <a:pt x="305" y="63"/>
                    </a:lnTo>
                    <a:lnTo>
                      <a:pt x="294" y="49"/>
                    </a:lnTo>
                    <a:lnTo>
                      <a:pt x="282" y="39"/>
                    </a:lnTo>
                    <a:lnTo>
                      <a:pt x="269" y="29"/>
                    </a:lnTo>
                    <a:lnTo>
                      <a:pt x="254" y="20"/>
                    </a:lnTo>
                    <a:lnTo>
                      <a:pt x="240" y="13"/>
                    </a:lnTo>
                    <a:lnTo>
                      <a:pt x="224" y="6"/>
                    </a:lnTo>
                    <a:lnTo>
                      <a:pt x="207" y="2"/>
                    </a:lnTo>
                    <a:lnTo>
                      <a:pt x="190" y="0"/>
                    </a:lnTo>
                    <a:lnTo>
                      <a:pt x="173" y="0"/>
                    </a:lnTo>
                    <a:lnTo>
                      <a:pt x="173" y="0"/>
                    </a:lnTo>
                    <a:close/>
                    <a:moveTo>
                      <a:pt x="173" y="244"/>
                    </a:moveTo>
                    <a:lnTo>
                      <a:pt x="173" y="244"/>
                    </a:lnTo>
                    <a:lnTo>
                      <a:pt x="158" y="242"/>
                    </a:lnTo>
                    <a:lnTo>
                      <a:pt x="143" y="238"/>
                    </a:lnTo>
                    <a:lnTo>
                      <a:pt x="131" y="231"/>
                    </a:lnTo>
                    <a:lnTo>
                      <a:pt x="121" y="223"/>
                    </a:lnTo>
                    <a:lnTo>
                      <a:pt x="113" y="212"/>
                    </a:lnTo>
                    <a:lnTo>
                      <a:pt x="106" y="199"/>
                    </a:lnTo>
                    <a:lnTo>
                      <a:pt x="101" y="186"/>
                    </a:lnTo>
                    <a:lnTo>
                      <a:pt x="99" y="171"/>
                    </a:lnTo>
                    <a:lnTo>
                      <a:pt x="99" y="171"/>
                    </a:lnTo>
                    <a:lnTo>
                      <a:pt x="101" y="156"/>
                    </a:lnTo>
                    <a:lnTo>
                      <a:pt x="105" y="143"/>
                    </a:lnTo>
                    <a:lnTo>
                      <a:pt x="113" y="131"/>
                    </a:lnTo>
                    <a:lnTo>
                      <a:pt x="121" y="120"/>
                    </a:lnTo>
                    <a:lnTo>
                      <a:pt x="131" y="111"/>
                    </a:lnTo>
                    <a:lnTo>
                      <a:pt x="143" y="104"/>
                    </a:lnTo>
                    <a:lnTo>
                      <a:pt x="158" y="100"/>
                    </a:lnTo>
                    <a:lnTo>
                      <a:pt x="173" y="99"/>
                    </a:lnTo>
                    <a:lnTo>
                      <a:pt x="173" y="99"/>
                    </a:lnTo>
                    <a:lnTo>
                      <a:pt x="187" y="100"/>
                    </a:lnTo>
                    <a:lnTo>
                      <a:pt x="201" y="104"/>
                    </a:lnTo>
                    <a:lnTo>
                      <a:pt x="213" y="111"/>
                    </a:lnTo>
                    <a:lnTo>
                      <a:pt x="224" y="120"/>
                    </a:lnTo>
                    <a:lnTo>
                      <a:pt x="233" y="131"/>
                    </a:lnTo>
                    <a:lnTo>
                      <a:pt x="240" y="143"/>
                    </a:lnTo>
                    <a:lnTo>
                      <a:pt x="244" y="156"/>
                    </a:lnTo>
                    <a:lnTo>
                      <a:pt x="245" y="171"/>
                    </a:lnTo>
                    <a:lnTo>
                      <a:pt x="245" y="171"/>
                    </a:lnTo>
                    <a:lnTo>
                      <a:pt x="244" y="186"/>
                    </a:lnTo>
                    <a:lnTo>
                      <a:pt x="240" y="199"/>
                    </a:lnTo>
                    <a:lnTo>
                      <a:pt x="233" y="212"/>
                    </a:lnTo>
                    <a:lnTo>
                      <a:pt x="224"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63" name="Freeform 96"/>
              <p:cNvSpPr>
                <a:spLocks noEditPoints="1"/>
              </p:cNvSpPr>
              <p:nvPr/>
            </p:nvSpPr>
            <p:spPr bwMode="auto">
              <a:xfrm>
                <a:off x="26353675" y="5217211"/>
                <a:ext cx="1436818" cy="453328"/>
              </a:xfrm>
              <a:custGeom>
                <a:avLst/>
                <a:gdLst>
                  <a:gd name="T0" fmla="*/ 1617 w 2244"/>
                  <a:gd name="T1" fmla="*/ 175 h 707"/>
                  <a:gd name="T2" fmla="*/ 1302 w 2244"/>
                  <a:gd name="T3" fmla="*/ 44 h 707"/>
                  <a:gd name="T4" fmla="*/ 1200 w 2244"/>
                  <a:gd name="T5" fmla="*/ 12 h 707"/>
                  <a:gd name="T6" fmla="*/ 1049 w 2244"/>
                  <a:gd name="T7" fmla="*/ 0 h 707"/>
                  <a:gd name="T8" fmla="*/ 743 w 2244"/>
                  <a:gd name="T9" fmla="*/ 11 h 707"/>
                  <a:gd name="T10" fmla="*/ 591 w 2244"/>
                  <a:gd name="T11" fmla="*/ 28 h 707"/>
                  <a:gd name="T12" fmla="*/ 296 w 2244"/>
                  <a:gd name="T13" fmla="*/ 166 h 707"/>
                  <a:gd name="T14" fmla="*/ 0 w 2244"/>
                  <a:gd name="T15" fmla="*/ 553 h 707"/>
                  <a:gd name="T16" fmla="*/ 8 w 2244"/>
                  <a:gd name="T17" fmla="*/ 707 h 707"/>
                  <a:gd name="T18" fmla="*/ 137 w 2244"/>
                  <a:gd name="T19" fmla="*/ 635 h 707"/>
                  <a:gd name="T20" fmla="*/ 161 w 2244"/>
                  <a:gd name="T21" fmla="*/ 556 h 707"/>
                  <a:gd name="T22" fmla="*/ 211 w 2244"/>
                  <a:gd name="T23" fmla="*/ 494 h 707"/>
                  <a:gd name="T24" fmla="*/ 282 w 2244"/>
                  <a:gd name="T25" fmla="*/ 456 h 707"/>
                  <a:gd name="T26" fmla="*/ 344 w 2244"/>
                  <a:gd name="T27" fmla="*/ 446 h 707"/>
                  <a:gd name="T28" fmla="*/ 425 w 2244"/>
                  <a:gd name="T29" fmla="*/ 464 h 707"/>
                  <a:gd name="T30" fmla="*/ 491 w 2244"/>
                  <a:gd name="T31" fmla="*/ 508 h 707"/>
                  <a:gd name="T32" fmla="*/ 536 w 2244"/>
                  <a:gd name="T33" fmla="*/ 575 h 707"/>
                  <a:gd name="T34" fmla="*/ 552 w 2244"/>
                  <a:gd name="T35" fmla="*/ 656 h 707"/>
                  <a:gd name="T36" fmla="*/ 1648 w 2244"/>
                  <a:gd name="T37" fmla="*/ 643 h 707"/>
                  <a:gd name="T38" fmla="*/ 1663 w 2244"/>
                  <a:gd name="T39" fmla="*/ 563 h 707"/>
                  <a:gd name="T40" fmla="*/ 1706 w 2244"/>
                  <a:gd name="T41" fmla="*/ 500 h 707"/>
                  <a:gd name="T42" fmla="*/ 1770 w 2244"/>
                  <a:gd name="T43" fmla="*/ 457 h 707"/>
                  <a:gd name="T44" fmla="*/ 1850 w 2244"/>
                  <a:gd name="T45" fmla="*/ 442 h 707"/>
                  <a:gd name="T46" fmla="*/ 1913 w 2244"/>
                  <a:gd name="T47" fmla="*/ 450 h 707"/>
                  <a:gd name="T48" fmla="*/ 1985 w 2244"/>
                  <a:gd name="T49" fmla="*/ 486 h 707"/>
                  <a:gd name="T50" fmla="*/ 2039 w 2244"/>
                  <a:gd name="T51" fmla="*/ 545 h 707"/>
                  <a:gd name="T52" fmla="*/ 2064 w 2244"/>
                  <a:gd name="T53" fmla="*/ 621 h 707"/>
                  <a:gd name="T54" fmla="*/ 2091 w 2244"/>
                  <a:gd name="T55" fmla="*/ 703 h 707"/>
                  <a:gd name="T56" fmla="*/ 2223 w 2244"/>
                  <a:gd name="T57" fmla="*/ 698 h 707"/>
                  <a:gd name="T58" fmla="*/ 2244 w 2244"/>
                  <a:gd name="T59" fmla="*/ 658 h 707"/>
                  <a:gd name="T60" fmla="*/ 2234 w 2244"/>
                  <a:gd name="T61" fmla="*/ 523 h 707"/>
                  <a:gd name="T62" fmla="*/ 2204 w 2244"/>
                  <a:gd name="T63" fmla="*/ 428 h 707"/>
                  <a:gd name="T64" fmla="*/ 2178 w 2244"/>
                  <a:gd name="T65" fmla="*/ 392 h 707"/>
                  <a:gd name="T66" fmla="*/ 2111 w 2244"/>
                  <a:gd name="T67" fmla="*/ 346 h 707"/>
                  <a:gd name="T68" fmla="*/ 2017 w 2244"/>
                  <a:gd name="T69" fmla="*/ 306 h 707"/>
                  <a:gd name="T70" fmla="*/ 1759 w 2244"/>
                  <a:gd name="T71" fmla="*/ 239 h 707"/>
                  <a:gd name="T72" fmla="*/ 588 w 2244"/>
                  <a:gd name="T73" fmla="*/ 251 h 707"/>
                  <a:gd name="T74" fmla="*/ 648 w 2244"/>
                  <a:gd name="T75" fmla="*/ 156 h 707"/>
                  <a:gd name="T76" fmla="*/ 691 w 2244"/>
                  <a:gd name="T77" fmla="*/ 114 h 707"/>
                  <a:gd name="T78" fmla="*/ 733 w 2244"/>
                  <a:gd name="T79" fmla="*/ 96 h 707"/>
                  <a:gd name="T80" fmla="*/ 848 w 2244"/>
                  <a:gd name="T81" fmla="*/ 82 h 707"/>
                  <a:gd name="T82" fmla="*/ 980 w 2244"/>
                  <a:gd name="T83" fmla="*/ 297 h 707"/>
                  <a:gd name="T84" fmla="*/ 1039 w 2244"/>
                  <a:gd name="T85" fmla="*/ 78 h 707"/>
                  <a:gd name="T86" fmla="*/ 1158 w 2244"/>
                  <a:gd name="T87" fmla="*/ 84 h 707"/>
                  <a:gd name="T88" fmla="*/ 1317 w 2244"/>
                  <a:gd name="T89" fmla="*/ 123 h 707"/>
                  <a:gd name="T90" fmla="*/ 1464 w 2244"/>
                  <a:gd name="T91" fmla="*/ 180 h 707"/>
                  <a:gd name="T92" fmla="*/ 1616 w 2244"/>
                  <a:gd name="T93" fmla="*/ 259 h 707"/>
                  <a:gd name="T94" fmla="*/ 1672 w 2244"/>
                  <a:gd name="T95" fmla="*/ 302 h 707"/>
                  <a:gd name="T96" fmla="*/ 1670 w 2244"/>
                  <a:gd name="T97" fmla="*/ 318 h 707"/>
                  <a:gd name="T98" fmla="*/ 1630 w 2244"/>
                  <a:gd name="T99" fmla="*/ 323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4" h="707">
                    <a:moveTo>
                      <a:pt x="1759" y="239"/>
                    </a:moveTo>
                    <a:lnTo>
                      <a:pt x="1759" y="239"/>
                    </a:lnTo>
                    <a:lnTo>
                      <a:pt x="1691" y="207"/>
                    </a:lnTo>
                    <a:lnTo>
                      <a:pt x="1617" y="175"/>
                    </a:lnTo>
                    <a:lnTo>
                      <a:pt x="1531" y="136"/>
                    </a:lnTo>
                    <a:lnTo>
                      <a:pt x="1437" y="96"/>
                    </a:lnTo>
                    <a:lnTo>
                      <a:pt x="1345" y="60"/>
                    </a:lnTo>
                    <a:lnTo>
                      <a:pt x="1302" y="44"/>
                    </a:lnTo>
                    <a:lnTo>
                      <a:pt x="1263" y="31"/>
                    </a:lnTo>
                    <a:lnTo>
                      <a:pt x="1229" y="20"/>
                    </a:lnTo>
                    <a:lnTo>
                      <a:pt x="1200" y="12"/>
                    </a:lnTo>
                    <a:lnTo>
                      <a:pt x="1200" y="12"/>
                    </a:lnTo>
                    <a:lnTo>
                      <a:pt x="1171" y="8"/>
                    </a:lnTo>
                    <a:lnTo>
                      <a:pt x="1136" y="4"/>
                    </a:lnTo>
                    <a:lnTo>
                      <a:pt x="1095" y="1"/>
                    </a:lnTo>
                    <a:lnTo>
                      <a:pt x="1049" y="0"/>
                    </a:lnTo>
                    <a:lnTo>
                      <a:pt x="1000" y="0"/>
                    </a:lnTo>
                    <a:lnTo>
                      <a:pt x="949" y="0"/>
                    </a:lnTo>
                    <a:lnTo>
                      <a:pt x="844" y="4"/>
                    </a:lnTo>
                    <a:lnTo>
                      <a:pt x="743" y="11"/>
                    </a:lnTo>
                    <a:lnTo>
                      <a:pt x="698" y="13"/>
                    </a:lnTo>
                    <a:lnTo>
                      <a:pt x="656" y="19"/>
                    </a:lnTo>
                    <a:lnTo>
                      <a:pt x="620" y="23"/>
                    </a:lnTo>
                    <a:lnTo>
                      <a:pt x="591" y="28"/>
                    </a:lnTo>
                    <a:lnTo>
                      <a:pt x="568" y="33"/>
                    </a:lnTo>
                    <a:lnTo>
                      <a:pt x="562" y="36"/>
                    </a:lnTo>
                    <a:lnTo>
                      <a:pt x="556" y="39"/>
                    </a:lnTo>
                    <a:lnTo>
                      <a:pt x="296" y="166"/>
                    </a:lnTo>
                    <a:lnTo>
                      <a:pt x="42" y="290"/>
                    </a:lnTo>
                    <a:lnTo>
                      <a:pt x="0" y="531"/>
                    </a:lnTo>
                    <a:lnTo>
                      <a:pt x="0" y="531"/>
                    </a:lnTo>
                    <a:lnTo>
                      <a:pt x="0" y="553"/>
                    </a:lnTo>
                    <a:lnTo>
                      <a:pt x="0" y="607"/>
                    </a:lnTo>
                    <a:lnTo>
                      <a:pt x="3" y="666"/>
                    </a:lnTo>
                    <a:lnTo>
                      <a:pt x="6" y="690"/>
                    </a:lnTo>
                    <a:lnTo>
                      <a:pt x="8" y="707"/>
                    </a:lnTo>
                    <a:lnTo>
                      <a:pt x="134" y="707"/>
                    </a:lnTo>
                    <a:lnTo>
                      <a:pt x="135" y="656"/>
                    </a:lnTo>
                    <a:lnTo>
                      <a:pt x="135" y="656"/>
                    </a:lnTo>
                    <a:lnTo>
                      <a:pt x="137" y="635"/>
                    </a:lnTo>
                    <a:lnTo>
                      <a:pt x="139" y="613"/>
                    </a:lnTo>
                    <a:lnTo>
                      <a:pt x="145" y="593"/>
                    </a:lnTo>
                    <a:lnTo>
                      <a:pt x="151" y="575"/>
                    </a:lnTo>
                    <a:lnTo>
                      <a:pt x="161" y="556"/>
                    </a:lnTo>
                    <a:lnTo>
                      <a:pt x="171" y="539"/>
                    </a:lnTo>
                    <a:lnTo>
                      <a:pt x="183" y="523"/>
                    </a:lnTo>
                    <a:lnTo>
                      <a:pt x="197" y="508"/>
                    </a:lnTo>
                    <a:lnTo>
                      <a:pt x="211" y="494"/>
                    </a:lnTo>
                    <a:lnTo>
                      <a:pt x="227" y="482"/>
                    </a:lnTo>
                    <a:lnTo>
                      <a:pt x="245" y="472"/>
                    </a:lnTo>
                    <a:lnTo>
                      <a:pt x="262" y="464"/>
                    </a:lnTo>
                    <a:lnTo>
                      <a:pt x="282" y="456"/>
                    </a:lnTo>
                    <a:lnTo>
                      <a:pt x="302" y="452"/>
                    </a:lnTo>
                    <a:lnTo>
                      <a:pt x="322" y="448"/>
                    </a:lnTo>
                    <a:lnTo>
                      <a:pt x="344" y="446"/>
                    </a:lnTo>
                    <a:lnTo>
                      <a:pt x="344" y="446"/>
                    </a:lnTo>
                    <a:lnTo>
                      <a:pt x="365" y="448"/>
                    </a:lnTo>
                    <a:lnTo>
                      <a:pt x="385" y="452"/>
                    </a:lnTo>
                    <a:lnTo>
                      <a:pt x="405" y="456"/>
                    </a:lnTo>
                    <a:lnTo>
                      <a:pt x="425" y="464"/>
                    </a:lnTo>
                    <a:lnTo>
                      <a:pt x="443" y="472"/>
                    </a:lnTo>
                    <a:lnTo>
                      <a:pt x="460" y="482"/>
                    </a:lnTo>
                    <a:lnTo>
                      <a:pt x="476" y="494"/>
                    </a:lnTo>
                    <a:lnTo>
                      <a:pt x="491" y="508"/>
                    </a:lnTo>
                    <a:lnTo>
                      <a:pt x="504" y="523"/>
                    </a:lnTo>
                    <a:lnTo>
                      <a:pt x="516" y="539"/>
                    </a:lnTo>
                    <a:lnTo>
                      <a:pt x="527" y="556"/>
                    </a:lnTo>
                    <a:lnTo>
                      <a:pt x="536" y="575"/>
                    </a:lnTo>
                    <a:lnTo>
                      <a:pt x="543" y="593"/>
                    </a:lnTo>
                    <a:lnTo>
                      <a:pt x="548" y="613"/>
                    </a:lnTo>
                    <a:lnTo>
                      <a:pt x="551" y="635"/>
                    </a:lnTo>
                    <a:lnTo>
                      <a:pt x="552" y="656"/>
                    </a:lnTo>
                    <a:lnTo>
                      <a:pt x="556" y="707"/>
                    </a:lnTo>
                    <a:lnTo>
                      <a:pt x="1647" y="707"/>
                    </a:lnTo>
                    <a:lnTo>
                      <a:pt x="1648" y="643"/>
                    </a:lnTo>
                    <a:lnTo>
                      <a:pt x="1648" y="643"/>
                    </a:lnTo>
                    <a:lnTo>
                      <a:pt x="1648" y="621"/>
                    </a:lnTo>
                    <a:lnTo>
                      <a:pt x="1652" y="601"/>
                    </a:lnTo>
                    <a:lnTo>
                      <a:pt x="1656" y="581"/>
                    </a:lnTo>
                    <a:lnTo>
                      <a:pt x="1663" y="563"/>
                    </a:lnTo>
                    <a:lnTo>
                      <a:pt x="1671" y="545"/>
                    </a:lnTo>
                    <a:lnTo>
                      <a:pt x="1682" y="528"/>
                    </a:lnTo>
                    <a:lnTo>
                      <a:pt x="1692" y="513"/>
                    </a:lnTo>
                    <a:lnTo>
                      <a:pt x="1706" y="500"/>
                    </a:lnTo>
                    <a:lnTo>
                      <a:pt x="1720" y="486"/>
                    </a:lnTo>
                    <a:lnTo>
                      <a:pt x="1735" y="476"/>
                    </a:lnTo>
                    <a:lnTo>
                      <a:pt x="1752" y="465"/>
                    </a:lnTo>
                    <a:lnTo>
                      <a:pt x="1770" y="457"/>
                    </a:lnTo>
                    <a:lnTo>
                      <a:pt x="1789" y="450"/>
                    </a:lnTo>
                    <a:lnTo>
                      <a:pt x="1809" y="446"/>
                    </a:lnTo>
                    <a:lnTo>
                      <a:pt x="1829" y="444"/>
                    </a:lnTo>
                    <a:lnTo>
                      <a:pt x="1850" y="442"/>
                    </a:lnTo>
                    <a:lnTo>
                      <a:pt x="1850" y="442"/>
                    </a:lnTo>
                    <a:lnTo>
                      <a:pt x="1871" y="444"/>
                    </a:lnTo>
                    <a:lnTo>
                      <a:pt x="1893" y="446"/>
                    </a:lnTo>
                    <a:lnTo>
                      <a:pt x="1913" y="450"/>
                    </a:lnTo>
                    <a:lnTo>
                      <a:pt x="1932" y="457"/>
                    </a:lnTo>
                    <a:lnTo>
                      <a:pt x="1950" y="465"/>
                    </a:lnTo>
                    <a:lnTo>
                      <a:pt x="1969" y="476"/>
                    </a:lnTo>
                    <a:lnTo>
                      <a:pt x="1985" y="486"/>
                    </a:lnTo>
                    <a:lnTo>
                      <a:pt x="2001" y="500"/>
                    </a:lnTo>
                    <a:lnTo>
                      <a:pt x="2014" y="513"/>
                    </a:lnTo>
                    <a:lnTo>
                      <a:pt x="2028" y="528"/>
                    </a:lnTo>
                    <a:lnTo>
                      <a:pt x="2039" y="545"/>
                    </a:lnTo>
                    <a:lnTo>
                      <a:pt x="2048" y="563"/>
                    </a:lnTo>
                    <a:lnTo>
                      <a:pt x="2055" y="581"/>
                    </a:lnTo>
                    <a:lnTo>
                      <a:pt x="2060" y="601"/>
                    </a:lnTo>
                    <a:lnTo>
                      <a:pt x="2064" y="621"/>
                    </a:lnTo>
                    <a:lnTo>
                      <a:pt x="2065" y="643"/>
                    </a:lnTo>
                    <a:lnTo>
                      <a:pt x="2069" y="702"/>
                    </a:lnTo>
                    <a:lnTo>
                      <a:pt x="2069" y="702"/>
                    </a:lnTo>
                    <a:lnTo>
                      <a:pt x="2091" y="703"/>
                    </a:lnTo>
                    <a:lnTo>
                      <a:pt x="2140" y="703"/>
                    </a:lnTo>
                    <a:lnTo>
                      <a:pt x="2169" y="703"/>
                    </a:lnTo>
                    <a:lnTo>
                      <a:pt x="2198" y="702"/>
                    </a:lnTo>
                    <a:lnTo>
                      <a:pt x="2223" y="698"/>
                    </a:lnTo>
                    <a:lnTo>
                      <a:pt x="2234" y="696"/>
                    </a:lnTo>
                    <a:lnTo>
                      <a:pt x="2243" y="694"/>
                    </a:lnTo>
                    <a:lnTo>
                      <a:pt x="2243" y="694"/>
                    </a:lnTo>
                    <a:lnTo>
                      <a:pt x="2244" y="658"/>
                    </a:lnTo>
                    <a:lnTo>
                      <a:pt x="2243" y="619"/>
                    </a:lnTo>
                    <a:lnTo>
                      <a:pt x="2240" y="573"/>
                    </a:lnTo>
                    <a:lnTo>
                      <a:pt x="2238" y="548"/>
                    </a:lnTo>
                    <a:lnTo>
                      <a:pt x="2234" y="523"/>
                    </a:lnTo>
                    <a:lnTo>
                      <a:pt x="2228" y="497"/>
                    </a:lnTo>
                    <a:lnTo>
                      <a:pt x="2222" y="473"/>
                    </a:lnTo>
                    <a:lnTo>
                      <a:pt x="2214" y="449"/>
                    </a:lnTo>
                    <a:lnTo>
                      <a:pt x="2204" y="428"/>
                    </a:lnTo>
                    <a:lnTo>
                      <a:pt x="2192" y="409"/>
                    </a:lnTo>
                    <a:lnTo>
                      <a:pt x="2186" y="400"/>
                    </a:lnTo>
                    <a:lnTo>
                      <a:pt x="2178" y="392"/>
                    </a:lnTo>
                    <a:lnTo>
                      <a:pt x="2178" y="392"/>
                    </a:lnTo>
                    <a:lnTo>
                      <a:pt x="2164" y="380"/>
                    </a:lnTo>
                    <a:lnTo>
                      <a:pt x="2148" y="368"/>
                    </a:lnTo>
                    <a:lnTo>
                      <a:pt x="2129" y="357"/>
                    </a:lnTo>
                    <a:lnTo>
                      <a:pt x="2111" y="346"/>
                    </a:lnTo>
                    <a:lnTo>
                      <a:pt x="2089" y="335"/>
                    </a:lnTo>
                    <a:lnTo>
                      <a:pt x="2068" y="325"/>
                    </a:lnTo>
                    <a:lnTo>
                      <a:pt x="2044" y="315"/>
                    </a:lnTo>
                    <a:lnTo>
                      <a:pt x="2017" y="306"/>
                    </a:lnTo>
                    <a:lnTo>
                      <a:pt x="1962" y="289"/>
                    </a:lnTo>
                    <a:lnTo>
                      <a:pt x="1900" y="271"/>
                    </a:lnTo>
                    <a:lnTo>
                      <a:pt x="1833" y="255"/>
                    </a:lnTo>
                    <a:lnTo>
                      <a:pt x="1759" y="239"/>
                    </a:lnTo>
                    <a:lnTo>
                      <a:pt x="1759" y="239"/>
                    </a:lnTo>
                    <a:close/>
                    <a:moveTo>
                      <a:pt x="579" y="270"/>
                    </a:moveTo>
                    <a:lnTo>
                      <a:pt x="579" y="270"/>
                    </a:lnTo>
                    <a:lnTo>
                      <a:pt x="588" y="251"/>
                    </a:lnTo>
                    <a:lnTo>
                      <a:pt x="599" y="231"/>
                    </a:lnTo>
                    <a:lnTo>
                      <a:pt x="614" y="207"/>
                    </a:lnTo>
                    <a:lnTo>
                      <a:pt x="630" y="182"/>
                    </a:lnTo>
                    <a:lnTo>
                      <a:pt x="648" y="156"/>
                    </a:lnTo>
                    <a:lnTo>
                      <a:pt x="659" y="144"/>
                    </a:lnTo>
                    <a:lnTo>
                      <a:pt x="668" y="132"/>
                    </a:lnTo>
                    <a:lnTo>
                      <a:pt x="679" y="123"/>
                    </a:lnTo>
                    <a:lnTo>
                      <a:pt x="691" y="114"/>
                    </a:lnTo>
                    <a:lnTo>
                      <a:pt x="691" y="114"/>
                    </a:lnTo>
                    <a:lnTo>
                      <a:pt x="701" y="107"/>
                    </a:lnTo>
                    <a:lnTo>
                      <a:pt x="715" y="102"/>
                    </a:lnTo>
                    <a:lnTo>
                      <a:pt x="733" y="96"/>
                    </a:lnTo>
                    <a:lnTo>
                      <a:pt x="753" y="92"/>
                    </a:lnTo>
                    <a:lnTo>
                      <a:pt x="775" y="90"/>
                    </a:lnTo>
                    <a:lnTo>
                      <a:pt x="798" y="86"/>
                    </a:lnTo>
                    <a:lnTo>
                      <a:pt x="848" y="82"/>
                    </a:lnTo>
                    <a:lnTo>
                      <a:pt x="894" y="79"/>
                    </a:lnTo>
                    <a:lnTo>
                      <a:pt x="934" y="78"/>
                    </a:lnTo>
                    <a:lnTo>
                      <a:pt x="972" y="78"/>
                    </a:lnTo>
                    <a:lnTo>
                      <a:pt x="980" y="297"/>
                    </a:lnTo>
                    <a:lnTo>
                      <a:pt x="579" y="270"/>
                    </a:lnTo>
                    <a:close/>
                    <a:moveTo>
                      <a:pt x="1609" y="322"/>
                    </a:moveTo>
                    <a:lnTo>
                      <a:pt x="1052" y="299"/>
                    </a:lnTo>
                    <a:lnTo>
                      <a:pt x="1039" y="78"/>
                    </a:lnTo>
                    <a:lnTo>
                      <a:pt x="1039" y="78"/>
                    </a:lnTo>
                    <a:lnTo>
                      <a:pt x="1079" y="78"/>
                    </a:lnTo>
                    <a:lnTo>
                      <a:pt x="1118" y="80"/>
                    </a:lnTo>
                    <a:lnTo>
                      <a:pt x="1158" y="84"/>
                    </a:lnTo>
                    <a:lnTo>
                      <a:pt x="1198" y="91"/>
                    </a:lnTo>
                    <a:lnTo>
                      <a:pt x="1238" y="100"/>
                    </a:lnTo>
                    <a:lnTo>
                      <a:pt x="1277" y="111"/>
                    </a:lnTo>
                    <a:lnTo>
                      <a:pt x="1317" y="123"/>
                    </a:lnTo>
                    <a:lnTo>
                      <a:pt x="1354" y="136"/>
                    </a:lnTo>
                    <a:lnTo>
                      <a:pt x="1392" y="150"/>
                    </a:lnTo>
                    <a:lnTo>
                      <a:pt x="1429" y="164"/>
                    </a:lnTo>
                    <a:lnTo>
                      <a:pt x="1464" y="180"/>
                    </a:lnTo>
                    <a:lnTo>
                      <a:pt x="1499" y="196"/>
                    </a:lnTo>
                    <a:lnTo>
                      <a:pt x="1561" y="229"/>
                    </a:lnTo>
                    <a:lnTo>
                      <a:pt x="1616" y="259"/>
                    </a:lnTo>
                    <a:lnTo>
                      <a:pt x="1616" y="259"/>
                    </a:lnTo>
                    <a:lnTo>
                      <a:pt x="1639" y="273"/>
                    </a:lnTo>
                    <a:lnTo>
                      <a:pt x="1655" y="285"/>
                    </a:lnTo>
                    <a:lnTo>
                      <a:pt x="1666" y="294"/>
                    </a:lnTo>
                    <a:lnTo>
                      <a:pt x="1672" y="302"/>
                    </a:lnTo>
                    <a:lnTo>
                      <a:pt x="1675" y="309"/>
                    </a:lnTo>
                    <a:lnTo>
                      <a:pt x="1675" y="311"/>
                    </a:lnTo>
                    <a:lnTo>
                      <a:pt x="1674" y="314"/>
                    </a:lnTo>
                    <a:lnTo>
                      <a:pt x="1670" y="318"/>
                    </a:lnTo>
                    <a:lnTo>
                      <a:pt x="1664" y="321"/>
                    </a:lnTo>
                    <a:lnTo>
                      <a:pt x="1656" y="322"/>
                    </a:lnTo>
                    <a:lnTo>
                      <a:pt x="1647" y="323"/>
                    </a:lnTo>
                    <a:lnTo>
                      <a:pt x="1630" y="323"/>
                    </a:lnTo>
                    <a:lnTo>
                      <a:pt x="1609" y="322"/>
                    </a:lnTo>
                    <a:lnTo>
                      <a:pt x="1609" y="322"/>
                    </a:lnTo>
                    <a:close/>
                  </a:path>
                </a:pathLst>
              </a:custGeom>
              <a:solidFill>
                <a:schemeClr val="bg2">
                  <a:lumMod val="7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64" name="Group 763"/>
          <p:cNvGrpSpPr/>
          <p:nvPr/>
        </p:nvGrpSpPr>
        <p:grpSpPr>
          <a:xfrm>
            <a:off x="3497532" y="4302828"/>
            <a:ext cx="307594" cy="113497"/>
            <a:chOff x="7057893" y="4732011"/>
            <a:chExt cx="1436818" cy="530162"/>
          </a:xfrm>
        </p:grpSpPr>
        <p:sp>
          <p:nvSpPr>
            <p:cNvPr id="765" name="Rectangle 1235"/>
            <p:cNvSpPr/>
            <p:nvPr/>
          </p:nvSpPr>
          <p:spPr bwMode="auto">
            <a:xfrm>
              <a:off x="7360767" y="4756776"/>
              <a:ext cx="911364" cy="194233"/>
            </a:xfrm>
            <a:custGeom>
              <a:avLst/>
              <a:gdLst>
                <a:gd name="connsiteX0" fmla="*/ 0 w 841562"/>
                <a:gd name="connsiteY0" fmla="*/ 0 h 194233"/>
                <a:gd name="connsiteX1" fmla="*/ 841562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841562"/>
                <a:gd name="connsiteY0" fmla="*/ 0 h 194233"/>
                <a:gd name="connsiteX1" fmla="*/ 429733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0 w 911364"/>
                <a:gd name="connsiteY4" fmla="*/ 0 h 194233"/>
                <a:gd name="connsiteX0" fmla="*/ 4886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48861 w 911364"/>
                <a:gd name="connsiteY4" fmla="*/ 0 h 194233"/>
                <a:gd name="connsiteX0" fmla="*/ 7678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76781 w 911364"/>
                <a:gd name="connsiteY4" fmla="*/ 0 h 19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64" h="194233">
                  <a:moveTo>
                    <a:pt x="76781" y="0"/>
                  </a:moveTo>
                  <a:lnTo>
                    <a:pt x="429733" y="0"/>
                  </a:lnTo>
                  <a:lnTo>
                    <a:pt x="911364" y="194233"/>
                  </a:lnTo>
                  <a:lnTo>
                    <a:pt x="0" y="194233"/>
                  </a:lnTo>
                  <a:lnTo>
                    <a:pt x="76781" y="0"/>
                  </a:lnTo>
                  <a:close/>
                </a:path>
              </a:pathLst>
            </a:cu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766" name="Group 765"/>
            <p:cNvGrpSpPr/>
            <p:nvPr/>
          </p:nvGrpSpPr>
          <p:grpSpPr>
            <a:xfrm>
              <a:off x="7057893" y="4732011"/>
              <a:ext cx="1436818" cy="530162"/>
              <a:chOff x="26353675" y="5217211"/>
              <a:chExt cx="1436818" cy="530162"/>
            </a:xfrm>
          </p:grpSpPr>
          <p:sp>
            <p:nvSpPr>
              <p:cNvPr id="767" name="Freeform 94"/>
              <p:cNvSpPr>
                <a:spLocks noEditPoints="1"/>
              </p:cNvSpPr>
              <p:nvPr/>
            </p:nvSpPr>
            <p:spPr bwMode="auto">
              <a:xfrm>
                <a:off x="26463166" y="5526472"/>
                <a:ext cx="220901" cy="220901"/>
              </a:xfrm>
              <a:custGeom>
                <a:avLst/>
                <a:gdLst>
                  <a:gd name="T0" fmla="*/ 173 w 345"/>
                  <a:gd name="T1" fmla="*/ 0 h 343"/>
                  <a:gd name="T2" fmla="*/ 138 w 345"/>
                  <a:gd name="T3" fmla="*/ 2 h 343"/>
                  <a:gd name="T4" fmla="*/ 106 w 345"/>
                  <a:gd name="T5" fmla="*/ 13 h 343"/>
                  <a:gd name="T6" fmla="*/ 76 w 345"/>
                  <a:gd name="T7" fmla="*/ 29 h 343"/>
                  <a:gd name="T8" fmla="*/ 51 w 345"/>
                  <a:gd name="T9" fmla="*/ 49 h 343"/>
                  <a:gd name="T10" fmla="*/ 30 w 345"/>
                  <a:gd name="T11" fmla="*/ 75 h 343"/>
                  <a:gd name="T12" fmla="*/ 14 w 345"/>
                  <a:gd name="T13" fmla="*/ 104 h 343"/>
                  <a:gd name="T14" fmla="*/ 4 w 345"/>
                  <a:gd name="T15" fmla="*/ 137 h 343"/>
                  <a:gd name="T16" fmla="*/ 0 w 345"/>
                  <a:gd name="T17" fmla="*/ 172 h 343"/>
                  <a:gd name="T18" fmla="*/ 2 w 345"/>
                  <a:gd name="T19" fmla="*/ 190 h 343"/>
                  <a:gd name="T20" fmla="*/ 8 w 345"/>
                  <a:gd name="T21" fmla="*/ 223 h 343"/>
                  <a:gd name="T22" fmla="*/ 22 w 345"/>
                  <a:gd name="T23" fmla="*/ 254 h 343"/>
                  <a:gd name="T24" fmla="*/ 39 w 345"/>
                  <a:gd name="T25" fmla="*/ 280 h 343"/>
                  <a:gd name="T26" fmla="*/ 63 w 345"/>
                  <a:gd name="T27" fmla="*/ 305 h 343"/>
                  <a:gd name="T28" fmla="*/ 91 w 345"/>
                  <a:gd name="T29" fmla="*/ 323 h 343"/>
                  <a:gd name="T30" fmla="*/ 122 w 345"/>
                  <a:gd name="T31" fmla="*/ 337 h 343"/>
                  <a:gd name="T32" fmla="*/ 155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6 w 345"/>
                  <a:gd name="T45" fmla="*/ 268 h 343"/>
                  <a:gd name="T46" fmla="*/ 332 w 345"/>
                  <a:gd name="T47" fmla="*/ 239 h 343"/>
                  <a:gd name="T48" fmla="*/ 341 w 345"/>
                  <a:gd name="T49" fmla="*/ 206 h 343"/>
                  <a:gd name="T50" fmla="*/ 345 w 345"/>
                  <a:gd name="T51" fmla="*/ 172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3 w 345"/>
                  <a:gd name="T65" fmla="*/ 6 h 343"/>
                  <a:gd name="T66" fmla="*/ 190 w 345"/>
                  <a:gd name="T67" fmla="*/ 0 h 343"/>
                  <a:gd name="T68" fmla="*/ 173 w 345"/>
                  <a:gd name="T69" fmla="*/ 0 h 343"/>
                  <a:gd name="T70" fmla="*/ 173 w 345"/>
                  <a:gd name="T71" fmla="*/ 244 h 343"/>
                  <a:gd name="T72" fmla="*/ 145 w 345"/>
                  <a:gd name="T73" fmla="*/ 238 h 343"/>
                  <a:gd name="T74" fmla="*/ 121 w 345"/>
                  <a:gd name="T75" fmla="*/ 223 h 343"/>
                  <a:gd name="T76" fmla="*/ 106 w 345"/>
                  <a:gd name="T77" fmla="*/ 199 h 343"/>
                  <a:gd name="T78" fmla="*/ 101 w 345"/>
                  <a:gd name="T79" fmla="*/ 171 h 343"/>
                  <a:gd name="T80" fmla="*/ 102 w 345"/>
                  <a:gd name="T81" fmla="*/ 156 h 343"/>
                  <a:gd name="T82" fmla="*/ 113 w 345"/>
                  <a:gd name="T83" fmla="*/ 131 h 343"/>
                  <a:gd name="T84" fmla="*/ 133 w 345"/>
                  <a:gd name="T85" fmla="*/ 111 h 343"/>
                  <a:gd name="T86" fmla="*/ 158 w 345"/>
                  <a:gd name="T87" fmla="*/ 100 h 343"/>
                  <a:gd name="T88" fmla="*/ 173 w 345"/>
                  <a:gd name="T89" fmla="*/ 99 h 343"/>
                  <a:gd name="T90" fmla="*/ 201 w 345"/>
                  <a:gd name="T91" fmla="*/ 104 h 343"/>
                  <a:gd name="T92" fmla="*/ 223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5" y="0"/>
                    </a:lnTo>
                    <a:lnTo>
                      <a:pt x="138" y="2"/>
                    </a:lnTo>
                    <a:lnTo>
                      <a:pt x="122" y="6"/>
                    </a:lnTo>
                    <a:lnTo>
                      <a:pt x="106" y="13"/>
                    </a:lnTo>
                    <a:lnTo>
                      <a:pt x="91" y="20"/>
                    </a:lnTo>
                    <a:lnTo>
                      <a:pt x="76" y="29"/>
                    </a:lnTo>
                    <a:lnTo>
                      <a:pt x="63" y="39"/>
                    </a:lnTo>
                    <a:lnTo>
                      <a:pt x="51" y="49"/>
                    </a:lnTo>
                    <a:lnTo>
                      <a:pt x="39" y="63"/>
                    </a:lnTo>
                    <a:lnTo>
                      <a:pt x="30" y="75"/>
                    </a:lnTo>
                    <a:lnTo>
                      <a:pt x="22" y="89"/>
                    </a:lnTo>
                    <a:lnTo>
                      <a:pt x="14" y="104"/>
                    </a:lnTo>
                    <a:lnTo>
                      <a:pt x="8" y="120"/>
                    </a:lnTo>
                    <a:lnTo>
                      <a:pt x="4" y="137"/>
                    </a:lnTo>
                    <a:lnTo>
                      <a:pt x="2" y="153"/>
                    </a:lnTo>
                    <a:lnTo>
                      <a:pt x="0" y="172"/>
                    </a:lnTo>
                    <a:lnTo>
                      <a:pt x="0" y="172"/>
                    </a:lnTo>
                    <a:lnTo>
                      <a:pt x="2" y="190"/>
                    </a:lnTo>
                    <a:lnTo>
                      <a:pt x="4" y="206"/>
                    </a:lnTo>
                    <a:lnTo>
                      <a:pt x="8" y="223"/>
                    </a:lnTo>
                    <a:lnTo>
                      <a:pt x="14" y="239"/>
                    </a:lnTo>
                    <a:lnTo>
                      <a:pt x="22" y="254"/>
                    </a:lnTo>
                    <a:lnTo>
                      <a:pt x="30" y="268"/>
                    </a:lnTo>
                    <a:lnTo>
                      <a:pt x="39" y="280"/>
                    </a:lnTo>
                    <a:lnTo>
                      <a:pt x="51" y="294"/>
                    </a:lnTo>
                    <a:lnTo>
                      <a:pt x="63" y="305"/>
                    </a:lnTo>
                    <a:lnTo>
                      <a:pt x="76" y="314"/>
                    </a:lnTo>
                    <a:lnTo>
                      <a:pt x="91" y="323"/>
                    </a:lnTo>
                    <a:lnTo>
                      <a:pt x="106" y="330"/>
                    </a:lnTo>
                    <a:lnTo>
                      <a:pt x="122" y="337"/>
                    </a:lnTo>
                    <a:lnTo>
                      <a:pt x="138" y="341"/>
                    </a:lnTo>
                    <a:lnTo>
                      <a:pt x="155" y="343"/>
                    </a:lnTo>
                    <a:lnTo>
                      <a:pt x="173" y="343"/>
                    </a:lnTo>
                    <a:lnTo>
                      <a:pt x="173" y="343"/>
                    </a:lnTo>
                    <a:lnTo>
                      <a:pt x="190" y="343"/>
                    </a:lnTo>
                    <a:lnTo>
                      <a:pt x="207" y="341"/>
                    </a:lnTo>
                    <a:lnTo>
                      <a:pt x="223" y="337"/>
                    </a:lnTo>
                    <a:lnTo>
                      <a:pt x="240" y="330"/>
                    </a:lnTo>
                    <a:lnTo>
                      <a:pt x="254" y="323"/>
                    </a:lnTo>
                    <a:lnTo>
                      <a:pt x="269" y="314"/>
                    </a:lnTo>
                    <a:lnTo>
                      <a:pt x="282" y="305"/>
                    </a:lnTo>
                    <a:lnTo>
                      <a:pt x="294" y="294"/>
                    </a:lnTo>
                    <a:lnTo>
                      <a:pt x="305" y="280"/>
                    </a:lnTo>
                    <a:lnTo>
                      <a:pt x="316" y="268"/>
                    </a:lnTo>
                    <a:lnTo>
                      <a:pt x="324" y="254"/>
                    </a:lnTo>
                    <a:lnTo>
                      <a:pt x="332" y="239"/>
                    </a:lnTo>
                    <a:lnTo>
                      <a:pt x="337" y="223"/>
                    </a:lnTo>
                    <a:lnTo>
                      <a:pt x="341" y="206"/>
                    </a:lnTo>
                    <a:lnTo>
                      <a:pt x="344" y="190"/>
                    </a:lnTo>
                    <a:lnTo>
                      <a:pt x="345" y="172"/>
                    </a:lnTo>
                    <a:lnTo>
                      <a:pt x="345" y="172"/>
                    </a:lnTo>
                    <a:lnTo>
                      <a:pt x="344" y="153"/>
                    </a:lnTo>
                    <a:lnTo>
                      <a:pt x="341" y="137"/>
                    </a:lnTo>
                    <a:lnTo>
                      <a:pt x="337" y="120"/>
                    </a:lnTo>
                    <a:lnTo>
                      <a:pt x="332" y="104"/>
                    </a:lnTo>
                    <a:lnTo>
                      <a:pt x="324" y="89"/>
                    </a:lnTo>
                    <a:lnTo>
                      <a:pt x="316" y="75"/>
                    </a:lnTo>
                    <a:lnTo>
                      <a:pt x="305" y="63"/>
                    </a:lnTo>
                    <a:lnTo>
                      <a:pt x="294" y="49"/>
                    </a:lnTo>
                    <a:lnTo>
                      <a:pt x="282" y="39"/>
                    </a:lnTo>
                    <a:lnTo>
                      <a:pt x="269" y="29"/>
                    </a:lnTo>
                    <a:lnTo>
                      <a:pt x="254" y="20"/>
                    </a:lnTo>
                    <a:lnTo>
                      <a:pt x="240" y="13"/>
                    </a:lnTo>
                    <a:lnTo>
                      <a:pt x="223" y="6"/>
                    </a:lnTo>
                    <a:lnTo>
                      <a:pt x="207" y="2"/>
                    </a:lnTo>
                    <a:lnTo>
                      <a:pt x="190" y="0"/>
                    </a:lnTo>
                    <a:lnTo>
                      <a:pt x="173" y="0"/>
                    </a:lnTo>
                    <a:lnTo>
                      <a:pt x="173" y="0"/>
                    </a:lnTo>
                    <a:close/>
                    <a:moveTo>
                      <a:pt x="173" y="244"/>
                    </a:moveTo>
                    <a:lnTo>
                      <a:pt x="173" y="244"/>
                    </a:lnTo>
                    <a:lnTo>
                      <a:pt x="158" y="242"/>
                    </a:lnTo>
                    <a:lnTo>
                      <a:pt x="145" y="238"/>
                    </a:lnTo>
                    <a:lnTo>
                      <a:pt x="133" y="231"/>
                    </a:lnTo>
                    <a:lnTo>
                      <a:pt x="121" y="223"/>
                    </a:lnTo>
                    <a:lnTo>
                      <a:pt x="113" y="212"/>
                    </a:lnTo>
                    <a:lnTo>
                      <a:pt x="106" y="199"/>
                    </a:lnTo>
                    <a:lnTo>
                      <a:pt x="102" y="186"/>
                    </a:lnTo>
                    <a:lnTo>
                      <a:pt x="101" y="171"/>
                    </a:lnTo>
                    <a:lnTo>
                      <a:pt x="101" y="171"/>
                    </a:lnTo>
                    <a:lnTo>
                      <a:pt x="102" y="156"/>
                    </a:lnTo>
                    <a:lnTo>
                      <a:pt x="106" y="143"/>
                    </a:lnTo>
                    <a:lnTo>
                      <a:pt x="113" y="131"/>
                    </a:lnTo>
                    <a:lnTo>
                      <a:pt x="121" y="120"/>
                    </a:lnTo>
                    <a:lnTo>
                      <a:pt x="133" y="111"/>
                    </a:lnTo>
                    <a:lnTo>
                      <a:pt x="145" y="104"/>
                    </a:lnTo>
                    <a:lnTo>
                      <a:pt x="158" y="100"/>
                    </a:lnTo>
                    <a:lnTo>
                      <a:pt x="173" y="99"/>
                    </a:lnTo>
                    <a:lnTo>
                      <a:pt x="173" y="99"/>
                    </a:lnTo>
                    <a:lnTo>
                      <a:pt x="187" y="100"/>
                    </a:lnTo>
                    <a:lnTo>
                      <a:pt x="201" y="104"/>
                    </a:lnTo>
                    <a:lnTo>
                      <a:pt x="213" y="111"/>
                    </a:lnTo>
                    <a:lnTo>
                      <a:pt x="223" y="120"/>
                    </a:lnTo>
                    <a:lnTo>
                      <a:pt x="233" y="131"/>
                    </a:lnTo>
                    <a:lnTo>
                      <a:pt x="240" y="143"/>
                    </a:lnTo>
                    <a:lnTo>
                      <a:pt x="244" y="156"/>
                    </a:lnTo>
                    <a:lnTo>
                      <a:pt x="245" y="171"/>
                    </a:lnTo>
                    <a:lnTo>
                      <a:pt x="245" y="171"/>
                    </a:lnTo>
                    <a:lnTo>
                      <a:pt x="244" y="186"/>
                    </a:lnTo>
                    <a:lnTo>
                      <a:pt x="240" y="199"/>
                    </a:lnTo>
                    <a:lnTo>
                      <a:pt x="233" y="212"/>
                    </a:lnTo>
                    <a:lnTo>
                      <a:pt x="223"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68" name="Freeform 95"/>
              <p:cNvSpPr>
                <a:spLocks noEditPoints="1"/>
              </p:cNvSpPr>
              <p:nvPr/>
            </p:nvSpPr>
            <p:spPr bwMode="auto">
              <a:xfrm>
                <a:off x="27433211" y="5526472"/>
                <a:ext cx="220901" cy="220901"/>
              </a:xfrm>
              <a:custGeom>
                <a:avLst/>
                <a:gdLst>
                  <a:gd name="T0" fmla="*/ 173 w 345"/>
                  <a:gd name="T1" fmla="*/ 0 h 343"/>
                  <a:gd name="T2" fmla="*/ 138 w 345"/>
                  <a:gd name="T3" fmla="*/ 2 h 343"/>
                  <a:gd name="T4" fmla="*/ 105 w 345"/>
                  <a:gd name="T5" fmla="*/ 13 h 343"/>
                  <a:gd name="T6" fmla="*/ 76 w 345"/>
                  <a:gd name="T7" fmla="*/ 29 h 343"/>
                  <a:gd name="T8" fmla="*/ 50 w 345"/>
                  <a:gd name="T9" fmla="*/ 49 h 343"/>
                  <a:gd name="T10" fmla="*/ 30 w 345"/>
                  <a:gd name="T11" fmla="*/ 75 h 343"/>
                  <a:gd name="T12" fmla="*/ 14 w 345"/>
                  <a:gd name="T13" fmla="*/ 104 h 343"/>
                  <a:gd name="T14" fmla="*/ 3 w 345"/>
                  <a:gd name="T15" fmla="*/ 137 h 343"/>
                  <a:gd name="T16" fmla="*/ 0 w 345"/>
                  <a:gd name="T17" fmla="*/ 171 h 343"/>
                  <a:gd name="T18" fmla="*/ 0 w 345"/>
                  <a:gd name="T19" fmla="*/ 190 h 343"/>
                  <a:gd name="T20" fmla="*/ 8 w 345"/>
                  <a:gd name="T21" fmla="*/ 223 h 343"/>
                  <a:gd name="T22" fmla="*/ 20 w 345"/>
                  <a:gd name="T23" fmla="*/ 254 h 343"/>
                  <a:gd name="T24" fmla="*/ 39 w 345"/>
                  <a:gd name="T25" fmla="*/ 280 h 343"/>
                  <a:gd name="T26" fmla="*/ 63 w 345"/>
                  <a:gd name="T27" fmla="*/ 305 h 343"/>
                  <a:gd name="T28" fmla="*/ 90 w 345"/>
                  <a:gd name="T29" fmla="*/ 323 h 343"/>
                  <a:gd name="T30" fmla="*/ 121 w 345"/>
                  <a:gd name="T31" fmla="*/ 337 h 343"/>
                  <a:gd name="T32" fmla="*/ 154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4 w 345"/>
                  <a:gd name="T45" fmla="*/ 268 h 343"/>
                  <a:gd name="T46" fmla="*/ 330 w 345"/>
                  <a:gd name="T47" fmla="*/ 239 h 343"/>
                  <a:gd name="T48" fmla="*/ 341 w 345"/>
                  <a:gd name="T49" fmla="*/ 206 h 343"/>
                  <a:gd name="T50" fmla="*/ 345 w 345"/>
                  <a:gd name="T51" fmla="*/ 171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4 w 345"/>
                  <a:gd name="T65" fmla="*/ 6 h 343"/>
                  <a:gd name="T66" fmla="*/ 190 w 345"/>
                  <a:gd name="T67" fmla="*/ 0 h 343"/>
                  <a:gd name="T68" fmla="*/ 173 w 345"/>
                  <a:gd name="T69" fmla="*/ 0 h 343"/>
                  <a:gd name="T70" fmla="*/ 173 w 345"/>
                  <a:gd name="T71" fmla="*/ 244 h 343"/>
                  <a:gd name="T72" fmla="*/ 143 w 345"/>
                  <a:gd name="T73" fmla="*/ 238 h 343"/>
                  <a:gd name="T74" fmla="*/ 121 w 345"/>
                  <a:gd name="T75" fmla="*/ 223 h 343"/>
                  <a:gd name="T76" fmla="*/ 106 w 345"/>
                  <a:gd name="T77" fmla="*/ 199 h 343"/>
                  <a:gd name="T78" fmla="*/ 99 w 345"/>
                  <a:gd name="T79" fmla="*/ 171 h 343"/>
                  <a:gd name="T80" fmla="*/ 101 w 345"/>
                  <a:gd name="T81" fmla="*/ 156 h 343"/>
                  <a:gd name="T82" fmla="*/ 113 w 345"/>
                  <a:gd name="T83" fmla="*/ 131 h 343"/>
                  <a:gd name="T84" fmla="*/ 131 w 345"/>
                  <a:gd name="T85" fmla="*/ 111 h 343"/>
                  <a:gd name="T86" fmla="*/ 158 w 345"/>
                  <a:gd name="T87" fmla="*/ 100 h 343"/>
                  <a:gd name="T88" fmla="*/ 173 w 345"/>
                  <a:gd name="T89" fmla="*/ 99 h 343"/>
                  <a:gd name="T90" fmla="*/ 201 w 345"/>
                  <a:gd name="T91" fmla="*/ 104 h 343"/>
                  <a:gd name="T92" fmla="*/ 224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4" y="0"/>
                    </a:lnTo>
                    <a:lnTo>
                      <a:pt x="138" y="2"/>
                    </a:lnTo>
                    <a:lnTo>
                      <a:pt x="121" y="6"/>
                    </a:lnTo>
                    <a:lnTo>
                      <a:pt x="105" y="13"/>
                    </a:lnTo>
                    <a:lnTo>
                      <a:pt x="90" y="20"/>
                    </a:lnTo>
                    <a:lnTo>
                      <a:pt x="76" y="29"/>
                    </a:lnTo>
                    <a:lnTo>
                      <a:pt x="63" y="39"/>
                    </a:lnTo>
                    <a:lnTo>
                      <a:pt x="50" y="49"/>
                    </a:lnTo>
                    <a:lnTo>
                      <a:pt x="39" y="63"/>
                    </a:lnTo>
                    <a:lnTo>
                      <a:pt x="30" y="75"/>
                    </a:lnTo>
                    <a:lnTo>
                      <a:pt x="20" y="89"/>
                    </a:lnTo>
                    <a:lnTo>
                      <a:pt x="14" y="104"/>
                    </a:lnTo>
                    <a:lnTo>
                      <a:pt x="8" y="120"/>
                    </a:lnTo>
                    <a:lnTo>
                      <a:pt x="3" y="137"/>
                    </a:lnTo>
                    <a:lnTo>
                      <a:pt x="0" y="153"/>
                    </a:lnTo>
                    <a:lnTo>
                      <a:pt x="0" y="171"/>
                    </a:lnTo>
                    <a:lnTo>
                      <a:pt x="0" y="171"/>
                    </a:lnTo>
                    <a:lnTo>
                      <a:pt x="0" y="190"/>
                    </a:lnTo>
                    <a:lnTo>
                      <a:pt x="3" y="206"/>
                    </a:lnTo>
                    <a:lnTo>
                      <a:pt x="8" y="223"/>
                    </a:lnTo>
                    <a:lnTo>
                      <a:pt x="14" y="239"/>
                    </a:lnTo>
                    <a:lnTo>
                      <a:pt x="20" y="254"/>
                    </a:lnTo>
                    <a:lnTo>
                      <a:pt x="30" y="268"/>
                    </a:lnTo>
                    <a:lnTo>
                      <a:pt x="39" y="280"/>
                    </a:lnTo>
                    <a:lnTo>
                      <a:pt x="50" y="294"/>
                    </a:lnTo>
                    <a:lnTo>
                      <a:pt x="63" y="305"/>
                    </a:lnTo>
                    <a:lnTo>
                      <a:pt x="76" y="314"/>
                    </a:lnTo>
                    <a:lnTo>
                      <a:pt x="90" y="323"/>
                    </a:lnTo>
                    <a:lnTo>
                      <a:pt x="105" y="330"/>
                    </a:lnTo>
                    <a:lnTo>
                      <a:pt x="121" y="337"/>
                    </a:lnTo>
                    <a:lnTo>
                      <a:pt x="138" y="341"/>
                    </a:lnTo>
                    <a:lnTo>
                      <a:pt x="154" y="343"/>
                    </a:lnTo>
                    <a:lnTo>
                      <a:pt x="173" y="343"/>
                    </a:lnTo>
                    <a:lnTo>
                      <a:pt x="173" y="343"/>
                    </a:lnTo>
                    <a:lnTo>
                      <a:pt x="190" y="343"/>
                    </a:lnTo>
                    <a:lnTo>
                      <a:pt x="207" y="341"/>
                    </a:lnTo>
                    <a:lnTo>
                      <a:pt x="224" y="337"/>
                    </a:lnTo>
                    <a:lnTo>
                      <a:pt x="240" y="330"/>
                    </a:lnTo>
                    <a:lnTo>
                      <a:pt x="254" y="323"/>
                    </a:lnTo>
                    <a:lnTo>
                      <a:pt x="269" y="314"/>
                    </a:lnTo>
                    <a:lnTo>
                      <a:pt x="282" y="305"/>
                    </a:lnTo>
                    <a:lnTo>
                      <a:pt x="294" y="294"/>
                    </a:lnTo>
                    <a:lnTo>
                      <a:pt x="305" y="280"/>
                    </a:lnTo>
                    <a:lnTo>
                      <a:pt x="314" y="268"/>
                    </a:lnTo>
                    <a:lnTo>
                      <a:pt x="324" y="254"/>
                    </a:lnTo>
                    <a:lnTo>
                      <a:pt x="330" y="239"/>
                    </a:lnTo>
                    <a:lnTo>
                      <a:pt x="337" y="223"/>
                    </a:lnTo>
                    <a:lnTo>
                      <a:pt x="341" y="206"/>
                    </a:lnTo>
                    <a:lnTo>
                      <a:pt x="344" y="190"/>
                    </a:lnTo>
                    <a:lnTo>
                      <a:pt x="345" y="171"/>
                    </a:lnTo>
                    <a:lnTo>
                      <a:pt x="345" y="171"/>
                    </a:lnTo>
                    <a:lnTo>
                      <a:pt x="344" y="153"/>
                    </a:lnTo>
                    <a:lnTo>
                      <a:pt x="341" y="137"/>
                    </a:lnTo>
                    <a:lnTo>
                      <a:pt x="337" y="120"/>
                    </a:lnTo>
                    <a:lnTo>
                      <a:pt x="330" y="104"/>
                    </a:lnTo>
                    <a:lnTo>
                      <a:pt x="324" y="89"/>
                    </a:lnTo>
                    <a:lnTo>
                      <a:pt x="314" y="75"/>
                    </a:lnTo>
                    <a:lnTo>
                      <a:pt x="305" y="63"/>
                    </a:lnTo>
                    <a:lnTo>
                      <a:pt x="294" y="49"/>
                    </a:lnTo>
                    <a:lnTo>
                      <a:pt x="282" y="39"/>
                    </a:lnTo>
                    <a:lnTo>
                      <a:pt x="269" y="29"/>
                    </a:lnTo>
                    <a:lnTo>
                      <a:pt x="254" y="20"/>
                    </a:lnTo>
                    <a:lnTo>
                      <a:pt x="240" y="13"/>
                    </a:lnTo>
                    <a:lnTo>
                      <a:pt x="224" y="6"/>
                    </a:lnTo>
                    <a:lnTo>
                      <a:pt x="207" y="2"/>
                    </a:lnTo>
                    <a:lnTo>
                      <a:pt x="190" y="0"/>
                    </a:lnTo>
                    <a:lnTo>
                      <a:pt x="173" y="0"/>
                    </a:lnTo>
                    <a:lnTo>
                      <a:pt x="173" y="0"/>
                    </a:lnTo>
                    <a:close/>
                    <a:moveTo>
                      <a:pt x="173" y="244"/>
                    </a:moveTo>
                    <a:lnTo>
                      <a:pt x="173" y="244"/>
                    </a:lnTo>
                    <a:lnTo>
                      <a:pt x="158" y="242"/>
                    </a:lnTo>
                    <a:lnTo>
                      <a:pt x="143" y="238"/>
                    </a:lnTo>
                    <a:lnTo>
                      <a:pt x="131" y="231"/>
                    </a:lnTo>
                    <a:lnTo>
                      <a:pt x="121" y="223"/>
                    </a:lnTo>
                    <a:lnTo>
                      <a:pt x="113" y="212"/>
                    </a:lnTo>
                    <a:lnTo>
                      <a:pt x="106" y="199"/>
                    </a:lnTo>
                    <a:lnTo>
                      <a:pt x="101" y="186"/>
                    </a:lnTo>
                    <a:lnTo>
                      <a:pt x="99" y="171"/>
                    </a:lnTo>
                    <a:lnTo>
                      <a:pt x="99" y="171"/>
                    </a:lnTo>
                    <a:lnTo>
                      <a:pt x="101" y="156"/>
                    </a:lnTo>
                    <a:lnTo>
                      <a:pt x="105" y="143"/>
                    </a:lnTo>
                    <a:lnTo>
                      <a:pt x="113" y="131"/>
                    </a:lnTo>
                    <a:lnTo>
                      <a:pt x="121" y="120"/>
                    </a:lnTo>
                    <a:lnTo>
                      <a:pt x="131" y="111"/>
                    </a:lnTo>
                    <a:lnTo>
                      <a:pt x="143" y="104"/>
                    </a:lnTo>
                    <a:lnTo>
                      <a:pt x="158" y="100"/>
                    </a:lnTo>
                    <a:lnTo>
                      <a:pt x="173" y="99"/>
                    </a:lnTo>
                    <a:lnTo>
                      <a:pt x="173" y="99"/>
                    </a:lnTo>
                    <a:lnTo>
                      <a:pt x="187" y="100"/>
                    </a:lnTo>
                    <a:lnTo>
                      <a:pt x="201" y="104"/>
                    </a:lnTo>
                    <a:lnTo>
                      <a:pt x="213" y="111"/>
                    </a:lnTo>
                    <a:lnTo>
                      <a:pt x="224" y="120"/>
                    </a:lnTo>
                    <a:lnTo>
                      <a:pt x="233" y="131"/>
                    </a:lnTo>
                    <a:lnTo>
                      <a:pt x="240" y="143"/>
                    </a:lnTo>
                    <a:lnTo>
                      <a:pt x="244" y="156"/>
                    </a:lnTo>
                    <a:lnTo>
                      <a:pt x="245" y="171"/>
                    </a:lnTo>
                    <a:lnTo>
                      <a:pt x="245" y="171"/>
                    </a:lnTo>
                    <a:lnTo>
                      <a:pt x="244" y="186"/>
                    </a:lnTo>
                    <a:lnTo>
                      <a:pt x="240" y="199"/>
                    </a:lnTo>
                    <a:lnTo>
                      <a:pt x="233" y="212"/>
                    </a:lnTo>
                    <a:lnTo>
                      <a:pt x="224"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69" name="Freeform 96"/>
              <p:cNvSpPr>
                <a:spLocks noEditPoints="1"/>
              </p:cNvSpPr>
              <p:nvPr/>
            </p:nvSpPr>
            <p:spPr bwMode="auto">
              <a:xfrm>
                <a:off x="26353675" y="5217211"/>
                <a:ext cx="1436818" cy="453328"/>
              </a:xfrm>
              <a:custGeom>
                <a:avLst/>
                <a:gdLst>
                  <a:gd name="T0" fmla="*/ 1617 w 2244"/>
                  <a:gd name="T1" fmla="*/ 175 h 707"/>
                  <a:gd name="T2" fmla="*/ 1302 w 2244"/>
                  <a:gd name="T3" fmla="*/ 44 h 707"/>
                  <a:gd name="T4" fmla="*/ 1200 w 2244"/>
                  <a:gd name="T5" fmla="*/ 12 h 707"/>
                  <a:gd name="T6" fmla="*/ 1049 w 2244"/>
                  <a:gd name="T7" fmla="*/ 0 h 707"/>
                  <a:gd name="T8" fmla="*/ 743 w 2244"/>
                  <a:gd name="T9" fmla="*/ 11 h 707"/>
                  <a:gd name="T10" fmla="*/ 591 w 2244"/>
                  <a:gd name="T11" fmla="*/ 28 h 707"/>
                  <a:gd name="T12" fmla="*/ 296 w 2244"/>
                  <a:gd name="T13" fmla="*/ 166 h 707"/>
                  <a:gd name="T14" fmla="*/ 0 w 2244"/>
                  <a:gd name="T15" fmla="*/ 553 h 707"/>
                  <a:gd name="T16" fmla="*/ 8 w 2244"/>
                  <a:gd name="T17" fmla="*/ 707 h 707"/>
                  <a:gd name="T18" fmla="*/ 137 w 2244"/>
                  <a:gd name="T19" fmla="*/ 635 h 707"/>
                  <a:gd name="T20" fmla="*/ 161 w 2244"/>
                  <a:gd name="T21" fmla="*/ 556 h 707"/>
                  <a:gd name="T22" fmla="*/ 211 w 2244"/>
                  <a:gd name="T23" fmla="*/ 494 h 707"/>
                  <a:gd name="T24" fmla="*/ 282 w 2244"/>
                  <a:gd name="T25" fmla="*/ 456 h 707"/>
                  <a:gd name="T26" fmla="*/ 344 w 2244"/>
                  <a:gd name="T27" fmla="*/ 446 h 707"/>
                  <a:gd name="T28" fmla="*/ 425 w 2244"/>
                  <a:gd name="T29" fmla="*/ 464 h 707"/>
                  <a:gd name="T30" fmla="*/ 491 w 2244"/>
                  <a:gd name="T31" fmla="*/ 508 h 707"/>
                  <a:gd name="T32" fmla="*/ 536 w 2244"/>
                  <a:gd name="T33" fmla="*/ 575 h 707"/>
                  <a:gd name="T34" fmla="*/ 552 w 2244"/>
                  <a:gd name="T35" fmla="*/ 656 h 707"/>
                  <a:gd name="T36" fmla="*/ 1648 w 2244"/>
                  <a:gd name="T37" fmla="*/ 643 h 707"/>
                  <a:gd name="T38" fmla="*/ 1663 w 2244"/>
                  <a:gd name="T39" fmla="*/ 563 h 707"/>
                  <a:gd name="T40" fmla="*/ 1706 w 2244"/>
                  <a:gd name="T41" fmla="*/ 500 h 707"/>
                  <a:gd name="T42" fmla="*/ 1770 w 2244"/>
                  <a:gd name="T43" fmla="*/ 457 h 707"/>
                  <a:gd name="T44" fmla="*/ 1850 w 2244"/>
                  <a:gd name="T45" fmla="*/ 442 h 707"/>
                  <a:gd name="T46" fmla="*/ 1913 w 2244"/>
                  <a:gd name="T47" fmla="*/ 450 h 707"/>
                  <a:gd name="T48" fmla="*/ 1985 w 2244"/>
                  <a:gd name="T49" fmla="*/ 486 h 707"/>
                  <a:gd name="T50" fmla="*/ 2039 w 2244"/>
                  <a:gd name="T51" fmla="*/ 545 h 707"/>
                  <a:gd name="T52" fmla="*/ 2064 w 2244"/>
                  <a:gd name="T53" fmla="*/ 621 h 707"/>
                  <a:gd name="T54" fmla="*/ 2091 w 2244"/>
                  <a:gd name="T55" fmla="*/ 703 h 707"/>
                  <a:gd name="T56" fmla="*/ 2223 w 2244"/>
                  <a:gd name="T57" fmla="*/ 698 h 707"/>
                  <a:gd name="T58" fmla="*/ 2244 w 2244"/>
                  <a:gd name="T59" fmla="*/ 658 h 707"/>
                  <a:gd name="T60" fmla="*/ 2234 w 2244"/>
                  <a:gd name="T61" fmla="*/ 523 h 707"/>
                  <a:gd name="T62" fmla="*/ 2204 w 2244"/>
                  <a:gd name="T63" fmla="*/ 428 h 707"/>
                  <a:gd name="T64" fmla="*/ 2178 w 2244"/>
                  <a:gd name="T65" fmla="*/ 392 h 707"/>
                  <a:gd name="T66" fmla="*/ 2111 w 2244"/>
                  <a:gd name="T67" fmla="*/ 346 h 707"/>
                  <a:gd name="T68" fmla="*/ 2017 w 2244"/>
                  <a:gd name="T69" fmla="*/ 306 h 707"/>
                  <a:gd name="T70" fmla="*/ 1759 w 2244"/>
                  <a:gd name="T71" fmla="*/ 239 h 707"/>
                  <a:gd name="T72" fmla="*/ 588 w 2244"/>
                  <a:gd name="T73" fmla="*/ 251 h 707"/>
                  <a:gd name="T74" fmla="*/ 648 w 2244"/>
                  <a:gd name="T75" fmla="*/ 156 h 707"/>
                  <a:gd name="T76" fmla="*/ 691 w 2244"/>
                  <a:gd name="T77" fmla="*/ 114 h 707"/>
                  <a:gd name="T78" fmla="*/ 733 w 2244"/>
                  <a:gd name="T79" fmla="*/ 96 h 707"/>
                  <a:gd name="T80" fmla="*/ 848 w 2244"/>
                  <a:gd name="T81" fmla="*/ 82 h 707"/>
                  <a:gd name="T82" fmla="*/ 980 w 2244"/>
                  <a:gd name="T83" fmla="*/ 297 h 707"/>
                  <a:gd name="T84" fmla="*/ 1039 w 2244"/>
                  <a:gd name="T85" fmla="*/ 78 h 707"/>
                  <a:gd name="T86" fmla="*/ 1158 w 2244"/>
                  <a:gd name="T87" fmla="*/ 84 h 707"/>
                  <a:gd name="T88" fmla="*/ 1317 w 2244"/>
                  <a:gd name="T89" fmla="*/ 123 h 707"/>
                  <a:gd name="T90" fmla="*/ 1464 w 2244"/>
                  <a:gd name="T91" fmla="*/ 180 h 707"/>
                  <a:gd name="T92" fmla="*/ 1616 w 2244"/>
                  <a:gd name="T93" fmla="*/ 259 h 707"/>
                  <a:gd name="T94" fmla="*/ 1672 w 2244"/>
                  <a:gd name="T95" fmla="*/ 302 h 707"/>
                  <a:gd name="T96" fmla="*/ 1670 w 2244"/>
                  <a:gd name="T97" fmla="*/ 318 h 707"/>
                  <a:gd name="T98" fmla="*/ 1630 w 2244"/>
                  <a:gd name="T99" fmla="*/ 323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4" h="707">
                    <a:moveTo>
                      <a:pt x="1759" y="239"/>
                    </a:moveTo>
                    <a:lnTo>
                      <a:pt x="1759" y="239"/>
                    </a:lnTo>
                    <a:lnTo>
                      <a:pt x="1691" y="207"/>
                    </a:lnTo>
                    <a:lnTo>
                      <a:pt x="1617" y="175"/>
                    </a:lnTo>
                    <a:lnTo>
                      <a:pt x="1531" y="136"/>
                    </a:lnTo>
                    <a:lnTo>
                      <a:pt x="1437" y="96"/>
                    </a:lnTo>
                    <a:lnTo>
                      <a:pt x="1345" y="60"/>
                    </a:lnTo>
                    <a:lnTo>
                      <a:pt x="1302" y="44"/>
                    </a:lnTo>
                    <a:lnTo>
                      <a:pt x="1263" y="31"/>
                    </a:lnTo>
                    <a:lnTo>
                      <a:pt x="1229" y="20"/>
                    </a:lnTo>
                    <a:lnTo>
                      <a:pt x="1200" y="12"/>
                    </a:lnTo>
                    <a:lnTo>
                      <a:pt x="1200" y="12"/>
                    </a:lnTo>
                    <a:lnTo>
                      <a:pt x="1171" y="8"/>
                    </a:lnTo>
                    <a:lnTo>
                      <a:pt x="1136" y="4"/>
                    </a:lnTo>
                    <a:lnTo>
                      <a:pt x="1095" y="1"/>
                    </a:lnTo>
                    <a:lnTo>
                      <a:pt x="1049" y="0"/>
                    </a:lnTo>
                    <a:lnTo>
                      <a:pt x="1000" y="0"/>
                    </a:lnTo>
                    <a:lnTo>
                      <a:pt x="949" y="0"/>
                    </a:lnTo>
                    <a:lnTo>
                      <a:pt x="844" y="4"/>
                    </a:lnTo>
                    <a:lnTo>
                      <a:pt x="743" y="11"/>
                    </a:lnTo>
                    <a:lnTo>
                      <a:pt x="698" y="13"/>
                    </a:lnTo>
                    <a:lnTo>
                      <a:pt x="656" y="19"/>
                    </a:lnTo>
                    <a:lnTo>
                      <a:pt x="620" y="23"/>
                    </a:lnTo>
                    <a:lnTo>
                      <a:pt x="591" y="28"/>
                    </a:lnTo>
                    <a:lnTo>
                      <a:pt x="568" y="33"/>
                    </a:lnTo>
                    <a:lnTo>
                      <a:pt x="562" y="36"/>
                    </a:lnTo>
                    <a:lnTo>
                      <a:pt x="556" y="39"/>
                    </a:lnTo>
                    <a:lnTo>
                      <a:pt x="296" y="166"/>
                    </a:lnTo>
                    <a:lnTo>
                      <a:pt x="42" y="290"/>
                    </a:lnTo>
                    <a:lnTo>
                      <a:pt x="0" y="531"/>
                    </a:lnTo>
                    <a:lnTo>
                      <a:pt x="0" y="531"/>
                    </a:lnTo>
                    <a:lnTo>
                      <a:pt x="0" y="553"/>
                    </a:lnTo>
                    <a:lnTo>
                      <a:pt x="0" y="607"/>
                    </a:lnTo>
                    <a:lnTo>
                      <a:pt x="3" y="666"/>
                    </a:lnTo>
                    <a:lnTo>
                      <a:pt x="6" y="690"/>
                    </a:lnTo>
                    <a:lnTo>
                      <a:pt x="8" y="707"/>
                    </a:lnTo>
                    <a:lnTo>
                      <a:pt x="134" y="707"/>
                    </a:lnTo>
                    <a:lnTo>
                      <a:pt x="135" y="656"/>
                    </a:lnTo>
                    <a:lnTo>
                      <a:pt x="135" y="656"/>
                    </a:lnTo>
                    <a:lnTo>
                      <a:pt x="137" y="635"/>
                    </a:lnTo>
                    <a:lnTo>
                      <a:pt x="139" y="613"/>
                    </a:lnTo>
                    <a:lnTo>
                      <a:pt x="145" y="593"/>
                    </a:lnTo>
                    <a:lnTo>
                      <a:pt x="151" y="575"/>
                    </a:lnTo>
                    <a:lnTo>
                      <a:pt x="161" y="556"/>
                    </a:lnTo>
                    <a:lnTo>
                      <a:pt x="171" y="539"/>
                    </a:lnTo>
                    <a:lnTo>
                      <a:pt x="183" y="523"/>
                    </a:lnTo>
                    <a:lnTo>
                      <a:pt x="197" y="508"/>
                    </a:lnTo>
                    <a:lnTo>
                      <a:pt x="211" y="494"/>
                    </a:lnTo>
                    <a:lnTo>
                      <a:pt x="227" y="482"/>
                    </a:lnTo>
                    <a:lnTo>
                      <a:pt x="245" y="472"/>
                    </a:lnTo>
                    <a:lnTo>
                      <a:pt x="262" y="464"/>
                    </a:lnTo>
                    <a:lnTo>
                      <a:pt x="282" y="456"/>
                    </a:lnTo>
                    <a:lnTo>
                      <a:pt x="302" y="452"/>
                    </a:lnTo>
                    <a:lnTo>
                      <a:pt x="322" y="448"/>
                    </a:lnTo>
                    <a:lnTo>
                      <a:pt x="344" y="446"/>
                    </a:lnTo>
                    <a:lnTo>
                      <a:pt x="344" y="446"/>
                    </a:lnTo>
                    <a:lnTo>
                      <a:pt x="365" y="448"/>
                    </a:lnTo>
                    <a:lnTo>
                      <a:pt x="385" y="452"/>
                    </a:lnTo>
                    <a:lnTo>
                      <a:pt x="405" y="456"/>
                    </a:lnTo>
                    <a:lnTo>
                      <a:pt x="425" y="464"/>
                    </a:lnTo>
                    <a:lnTo>
                      <a:pt x="443" y="472"/>
                    </a:lnTo>
                    <a:lnTo>
                      <a:pt x="460" y="482"/>
                    </a:lnTo>
                    <a:lnTo>
                      <a:pt x="476" y="494"/>
                    </a:lnTo>
                    <a:lnTo>
                      <a:pt x="491" y="508"/>
                    </a:lnTo>
                    <a:lnTo>
                      <a:pt x="504" y="523"/>
                    </a:lnTo>
                    <a:lnTo>
                      <a:pt x="516" y="539"/>
                    </a:lnTo>
                    <a:lnTo>
                      <a:pt x="527" y="556"/>
                    </a:lnTo>
                    <a:lnTo>
                      <a:pt x="536" y="575"/>
                    </a:lnTo>
                    <a:lnTo>
                      <a:pt x="543" y="593"/>
                    </a:lnTo>
                    <a:lnTo>
                      <a:pt x="548" y="613"/>
                    </a:lnTo>
                    <a:lnTo>
                      <a:pt x="551" y="635"/>
                    </a:lnTo>
                    <a:lnTo>
                      <a:pt x="552" y="656"/>
                    </a:lnTo>
                    <a:lnTo>
                      <a:pt x="556" y="707"/>
                    </a:lnTo>
                    <a:lnTo>
                      <a:pt x="1647" y="707"/>
                    </a:lnTo>
                    <a:lnTo>
                      <a:pt x="1648" y="643"/>
                    </a:lnTo>
                    <a:lnTo>
                      <a:pt x="1648" y="643"/>
                    </a:lnTo>
                    <a:lnTo>
                      <a:pt x="1648" y="621"/>
                    </a:lnTo>
                    <a:lnTo>
                      <a:pt x="1652" y="601"/>
                    </a:lnTo>
                    <a:lnTo>
                      <a:pt x="1656" y="581"/>
                    </a:lnTo>
                    <a:lnTo>
                      <a:pt x="1663" y="563"/>
                    </a:lnTo>
                    <a:lnTo>
                      <a:pt x="1671" y="545"/>
                    </a:lnTo>
                    <a:lnTo>
                      <a:pt x="1682" y="528"/>
                    </a:lnTo>
                    <a:lnTo>
                      <a:pt x="1692" y="513"/>
                    </a:lnTo>
                    <a:lnTo>
                      <a:pt x="1706" y="500"/>
                    </a:lnTo>
                    <a:lnTo>
                      <a:pt x="1720" y="486"/>
                    </a:lnTo>
                    <a:lnTo>
                      <a:pt x="1735" y="476"/>
                    </a:lnTo>
                    <a:lnTo>
                      <a:pt x="1752" y="465"/>
                    </a:lnTo>
                    <a:lnTo>
                      <a:pt x="1770" y="457"/>
                    </a:lnTo>
                    <a:lnTo>
                      <a:pt x="1789" y="450"/>
                    </a:lnTo>
                    <a:lnTo>
                      <a:pt x="1809" y="446"/>
                    </a:lnTo>
                    <a:lnTo>
                      <a:pt x="1829" y="444"/>
                    </a:lnTo>
                    <a:lnTo>
                      <a:pt x="1850" y="442"/>
                    </a:lnTo>
                    <a:lnTo>
                      <a:pt x="1850" y="442"/>
                    </a:lnTo>
                    <a:lnTo>
                      <a:pt x="1871" y="444"/>
                    </a:lnTo>
                    <a:lnTo>
                      <a:pt x="1893" y="446"/>
                    </a:lnTo>
                    <a:lnTo>
                      <a:pt x="1913" y="450"/>
                    </a:lnTo>
                    <a:lnTo>
                      <a:pt x="1932" y="457"/>
                    </a:lnTo>
                    <a:lnTo>
                      <a:pt x="1950" y="465"/>
                    </a:lnTo>
                    <a:lnTo>
                      <a:pt x="1969" y="476"/>
                    </a:lnTo>
                    <a:lnTo>
                      <a:pt x="1985" y="486"/>
                    </a:lnTo>
                    <a:lnTo>
                      <a:pt x="2001" y="500"/>
                    </a:lnTo>
                    <a:lnTo>
                      <a:pt x="2014" y="513"/>
                    </a:lnTo>
                    <a:lnTo>
                      <a:pt x="2028" y="528"/>
                    </a:lnTo>
                    <a:lnTo>
                      <a:pt x="2039" y="545"/>
                    </a:lnTo>
                    <a:lnTo>
                      <a:pt x="2048" y="563"/>
                    </a:lnTo>
                    <a:lnTo>
                      <a:pt x="2055" y="581"/>
                    </a:lnTo>
                    <a:lnTo>
                      <a:pt x="2060" y="601"/>
                    </a:lnTo>
                    <a:lnTo>
                      <a:pt x="2064" y="621"/>
                    </a:lnTo>
                    <a:lnTo>
                      <a:pt x="2065" y="643"/>
                    </a:lnTo>
                    <a:lnTo>
                      <a:pt x="2069" y="702"/>
                    </a:lnTo>
                    <a:lnTo>
                      <a:pt x="2069" y="702"/>
                    </a:lnTo>
                    <a:lnTo>
                      <a:pt x="2091" y="703"/>
                    </a:lnTo>
                    <a:lnTo>
                      <a:pt x="2140" y="703"/>
                    </a:lnTo>
                    <a:lnTo>
                      <a:pt x="2169" y="703"/>
                    </a:lnTo>
                    <a:lnTo>
                      <a:pt x="2198" y="702"/>
                    </a:lnTo>
                    <a:lnTo>
                      <a:pt x="2223" y="698"/>
                    </a:lnTo>
                    <a:lnTo>
                      <a:pt x="2234" y="696"/>
                    </a:lnTo>
                    <a:lnTo>
                      <a:pt x="2243" y="694"/>
                    </a:lnTo>
                    <a:lnTo>
                      <a:pt x="2243" y="694"/>
                    </a:lnTo>
                    <a:lnTo>
                      <a:pt x="2244" y="658"/>
                    </a:lnTo>
                    <a:lnTo>
                      <a:pt x="2243" y="619"/>
                    </a:lnTo>
                    <a:lnTo>
                      <a:pt x="2240" y="573"/>
                    </a:lnTo>
                    <a:lnTo>
                      <a:pt x="2238" y="548"/>
                    </a:lnTo>
                    <a:lnTo>
                      <a:pt x="2234" y="523"/>
                    </a:lnTo>
                    <a:lnTo>
                      <a:pt x="2228" y="497"/>
                    </a:lnTo>
                    <a:lnTo>
                      <a:pt x="2222" y="473"/>
                    </a:lnTo>
                    <a:lnTo>
                      <a:pt x="2214" y="449"/>
                    </a:lnTo>
                    <a:lnTo>
                      <a:pt x="2204" y="428"/>
                    </a:lnTo>
                    <a:lnTo>
                      <a:pt x="2192" y="409"/>
                    </a:lnTo>
                    <a:lnTo>
                      <a:pt x="2186" y="400"/>
                    </a:lnTo>
                    <a:lnTo>
                      <a:pt x="2178" y="392"/>
                    </a:lnTo>
                    <a:lnTo>
                      <a:pt x="2178" y="392"/>
                    </a:lnTo>
                    <a:lnTo>
                      <a:pt x="2164" y="380"/>
                    </a:lnTo>
                    <a:lnTo>
                      <a:pt x="2148" y="368"/>
                    </a:lnTo>
                    <a:lnTo>
                      <a:pt x="2129" y="357"/>
                    </a:lnTo>
                    <a:lnTo>
                      <a:pt x="2111" y="346"/>
                    </a:lnTo>
                    <a:lnTo>
                      <a:pt x="2089" y="335"/>
                    </a:lnTo>
                    <a:lnTo>
                      <a:pt x="2068" y="325"/>
                    </a:lnTo>
                    <a:lnTo>
                      <a:pt x="2044" y="315"/>
                    </a:lnTo>
                    <a:lnTo>
                      <a:pt x="2017" y="306"/>
                    </a:lnTo>
                    <a:lnTo>
                      <a:pt x="1962" y="289"/>
                    </a:lnTo>
                    <a:lnTo>
                      <a:pt x="1900" y="271"/>
                    </a:lnTo>
                    <a:lnTo>
                      <a:pt x="1833" y="255"/>
                    </a:lnTo>
                    <a:lnTo>
                      <a:pt x="1759" y="239"/>
                    </a:lnTo>
                    <a:lnTo>
                      <a:pt x="1759" y="239"/>
                    </a:lnTo>
                    <a:close/>
                    <a:moveTo>
                      <a:pt x="579" y="270"/>
                    </a:moveTo>
                    <a:lnTo>
                      <a:pt x="579" y="270"/>
                    </a:lnTo>
                    <a:lnTo>
                      <a:pt x="588" y="251"/>
                    </a:lnTo>
                    <a:lnTo>
                      <a:pt x="599" y="231"/>
                    </a:lnTo>
                    <a:lnTo>
                      <a:pt x="614" y="207"/>
                    </a:lnTo>
                    <a:lnTo>
                      <a:pt x="630" y="182"/>
                    </a:lnTo>
                    <a:lnTo>
                      <a:pt x="648" y="156"/>
                    </a:lnTo>
                    <a:lnTo>
                      <a:pt x="659" y="144"/>
                    </a:lnTo>
                    <a:lnTo>
                      <a:pt x="668" y="132"/>
                    </a:lnTo>
                    <a:lnTo>
                      <a:pt x="679" y="123"/>
                    </a:lnTo>
                    <a:lnTo>
                      <a:pt x="691" y="114"/>
                    </a:lnTo>
                    <a:lnTo>
                      <a:pt x="691" y="114"/>
                    </a:lnTo>
                    <a:lnTo>
                      <a:pt x="701" y="107"/>
                    </a:lnTo>
                    <a:lnTo>
                      <a:pt x="715" y="102"/>
                    </a:lnTo>
                    <a:lnTo>
                      <a:pt x="733" y="96"/>
                    </a:lnTo>
                    <a:lnTo>
                      <a:pt x="753" y="92"/>
                    </a:lnTo>
                    <a:lnTo>
                      <a:pt x="775" y="90"/>
                    </a:lnTo>
                    <a:lnTo>
                      <a:pt x="798" y="86"/>
                    </a:lnTo>
                    <a:lnTo>
                      <a:pt x="848" y="82"/>
                    </a:lnTo>
                    <a:lnTo>
                      <a:pt x="894" y="79"/>
                    </a:lnTo>
                    <a:lnTo>
                      <a:pt x="934" y="78"/>
                    </a:lnTo>
                    <a:lnTo>
                      <a:pt x="972" y="78"/>
                    </a:lnTo>
                    <a:lnTo>
                      <a:pt x="980" y="297"/>
                    </a:lnTo>
                    <a:lnTo>
                      <a:pt x="579" y="270"/>
                    </a:lnTo>
                    <a:close/>
                    <a:moveTo>
                      <a:pt x="1609" y="322"/>
                    </a:moveTo>
                    <a:lnTo>
                      <a:pt x="1052" y="299"/>
                    </a:lnTo>
                    <a:lnTo>
                      <a:pt x="1039" y="78"/>
                    </a:lnTo>
                    <a:lnTo>
                      <a:pt x="1039" y="78"/>
                    </a:lnTo>
                    <a:lnTo>
                      <a:pt x="1079" y="78"/>
                    </a:lnTo>
                    <a:lnTo>
                      <a:pt x="1118" y="80"/>
                    </a:lnTo>
                    <a:lnTo>
                      <a:pt x="1158" y="84"/>
                    </a:lnTo>
                    <a:lnTo>
                      <a:pt x="1198" y="91"/>
                    </a:lnTo>
                    <a:lnTo>
                      <a:pt x="1238" y="100"/>
                    </a:lnTo>
                    <a:lnTo>
                      <a:pt x="1277" y="111"/>
                    </a:lnTo>
                    <a:lnTo>
                      <a:pt x="1317" y="123"/>
                    </a:lnTo>
                    <a:lnTo>
                      <a:pt x="1354" y="136"/>
                    </a:lnTo>
                    <a:lnTo>
                      <a:pt x="1392" y="150"/>
                    </a:lnTo>
                    <a:lnTo>
                      <a:pt x="1429" y="164"/>
                    </a:lnTo>
                    <a:lnTo>
                      <a:pt x="1464" y="180"/>
                    </a:lnTo>
                    <a:lnTo>
                      <a:pt x="1499" y="196"/>
                    </a:lnTo>
                    <a:lnTo>
                      <a:pt x="1561" y="229"/>
                    </a:lnTo>
                    <a:lnTo>
                      <a:pt x="1616" y="259"/>
                    </a:lnTo>
                    <a:lnTo>
                      <a:pt x="1616" y="259"/>
                    </a:lnTo>
                    <a:lnTo>
                      <a:pt x="1639" y="273"/>
                    </a:lnTo>
                    <a:lnTo>
                      <a:pt x="1655" y="285"/>
                    </a:lnTo>
                    <a:lnTo>
                      <a:pt x="1666" y="294"/>
                    </a:lnTo>
                    <a:lnTo>
                      <a:pt x="1672" y="302"/>
                    </a:lnTo>
                    <a:lnTo>
                      <a:pt x="1675" y="309"/>
                    </a:lnTo>
                    <a:lnTo>
                      <a:pt x="1675" y="311"/>
                    </a:lnTo>
                    <a:lnTo>
                      <a:pt x="1674" y="314"/>
                    </a:lnTo>
                    <a:lnTo>
                      <a:pt x="1670" y="318"/>
                    </a:lnTo>
                    <a:lnTo>
                      <a:pt x="1664" y="321"/>
                    </a:lnTo>
                    <a:lnTo>
                      <a:pt x="1656" y="322"/>
                    </a:lnTo>
                    <a:lnTo>
                      <a:pt x="1647" y="323"/>
                    </a:lnTo>
                    <a:lnTo>
                      <a:pt x="1630" y="323"/>
                    </a:lnTo>
                    <a:lnTo>
                      <a:pt x="1609" y="322"/>
                    </a:lnTo>
                    <a:lnTo>
                      <a:pt x="1609" y="322"/>
                    </a:lnTo>
                    <a:close/>
                  </a:path>
                </a:pathLst>
              </a:custGeom>
              <a:solidFill>
                <a:schemeClr val="bg2">
                  <a:lumMod val="50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70" name="Group 769"/>
          <p:cNvGrpSpPr>
            <a:grpSpLocks noChangeAspect="1"/>
          </p:cNvGrpSpPr>
          <p:nvPr/>
        </p:nvGrpSpPr>
        <p:grpSpPr>
          <a:xfrm>
            <a:off x="4444501" y="4207356"/>
            <a:ext cx="275792" cy="127458"/>
            <a:chOff x="-1906588" y="3775483"/>
            <a:chExt cx="1195388" cy="552450"/>
          </a:xfrm>
        </p:grpSpPr>
        <p:sp>
          <p:nvSpPr>
            <p:cNvPr id="771" name="Trapezoid 770"/>
            <p:cNvSpPr/>
            <p:nvPr/>
          </p:nvSpPr>
          <p:spPr bwMode="auto">
            <a:xfrm>
              <a:off x="-1553757" y="3792879"/>
              <a:ext cx="682047" cy="218734"/>
            </a:xfrm>
            <a:prstGeom prst="trapezoid">
              <a:avLst>
                <a:gd name="adj" fmla="val 78668"/>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72" name="Oval 771"/>
            <p:cNvSpPr/>
            <p:nvPr/>
          </p:nvSpPr>
          <p:spPr bwMode="auto">
            <a:xfrm>
              <a:off x="-1085851" y="4118618"/>
              <a:ext cx="207963" cy="207963"/>
            </a:xfrm>
            <a:prstGeom prst="ellipse">
              <a:avLst/>
            </a:prstGeom>
            <a:solidFill>
              <a:schemeClr val="accent5">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73" name="Oval 772"/>
            <p:cNvSpPr/>
            <p:nvPr/>
          </p:nvSpPr>
          <p:spPr bwMode="auto">
            <a:xfrm>
              <a:off x="-1846263" y="4118618"/>
              <a:ext cx="207963" cy="207963"/>
            </a:xfrm>
            <a:prstGeom prst="ellipse">
              <a:avLst/>
            </a:prstGeom>
            <a:solidFill>
              <a:schemeClr val="accent5">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774" name="Group 773"/>
            <p:cNvGrpSpPr/>
            <p:nvPr/>
          </p:nvGrpSpPr>
          <p:grpSpPr>
            <a:xfrm>
              <a:off x="-1906588" y="3775483"/>
              <a:ext cx="1195388" cy="552450"/>
              <a:chOff x="-3025776" y="4090988"/>
              <a:chExt cx="1195388" cy="552450"/>
            </a:xfrm>
          </p:grpSpPr>
          <p:sp>
            <p:nvSpPr>
              <p:cNvPr id="775" name="Freeform 199"/>
              <p:cNvSpPr>
                <a:spLocks noEditPoints="1"/>
              </p:cNvSpPr>
              <p:nvPr/>
            </p:nvSpPr>
            <p:spPr bwMode="auto">
              <a:xfrm>
                <a:off x="-2965451" y="4433888"/>
                <a:ext cx="207963" cy="209550"/>
              </a:xfrm>
              <a:custGeom>
                <a:avLst/>
                <a:gdLst>
                  <a:gd name="T0" fmla="*/ 176 w 394"/>
                  <a:gd name="T1" fmla="*/ 2 h 395"/>
                  <a:gd name="T2" fmla="*/ 120 w 394"/>
                  <a:gd name="T3" fmla="*/ 16 h 395"/>
                  <a:gd name="T4" fmla="*/ 72 w 394"/>
                  <a:gd name="T5" fmla="*/ 46 h 395"/>
                  <a:gd name="T6" fmla="*/ 33 w 394"/>
                  <a:gd name="T7" fmla="*/ 87 h 395"/>
                  <a:gd name="T8" fmla="*/ 9 w 394"/>
                  <a:gd name="T9" fmla="*/ 139 h 395"/>
                  <a:gd name="T10" fmla="*/ 0 w 394"/>
                  <a:gd name="T11" fmla="*/ 198 h 395"/>
                  <a:gd name="T12" fmla="*/ 4 w 394"/>
                  <a:gd name="T13" fmla="*/ 237 h 395"/>
                  <a:gd name="T14" fmla="*/ 24 w 394"/>
                  <a:gd name="T15" fmla="*/ 292 h 395"/>
                  <a:gd name="T16" fmla="*/ 57 w 394"/>
                  <a:gd name="T17" fmla="*/ 337 h 395"/>
                  <a:gd name="T18" fmla="*/ 103 w 394"/>
                  <a:gd name="T19" fmla="*/ 371 h 395"/>
                  <a:gd name="T20" fmla="*/ 157 w 394"/>
                  <a:gd name="T21" fmla="*/ 391 h 395"/>
                  <a:gd name="T22" fmla="*/ 196 w 394"/>
                  <a:gd name="T23" fmla="*/ 395 h 395"/>
                  <a:gd name="T24" fmla="*/ 255 w 394"/>
                  <a:gd name="T25" fmla="*/ 385 h 395"/>
                  <a:gd name="T26" fmla="*/ 307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7 w 394"/>
                  <a:gd name="T41" fmla="*/ 35 h 395"/>
                  <a:gd name="T42" fmla="*/ 255 w 394"/>
                  <a:gd name="T43" fmla="*/ 10 h 395"/>
                  <a:gd name="T44" fmla="*/ 196 w 394"/>
                  <a:gd name="T45" fmla="*/ 0 h 395"/>
                  <a:gd name="T46" fmla="*/ 196 w 394"/>
                  <a:gd name="T47" fmla="*/ 300 h 395"/>
                  <a:gd name="T48" fmla="*/ 166 w 394"/>
                  <a:gd name="T49" fmla="*/ 296 h 395"/>
                  <a:gd name="T50" fmla="*/ 139 w 394"/>
                  <a:gd name="T51" fmla="*/ 282 h 395"/>
                  <a:gd name="T52" fmla="*/ 116 w 394"/>
                  <a:gd name="T53" fmla="*/ 262 h 395"/>
                  <a:gd name="T54" fmla="*/ 100 w 394"/>
                  <a:gd name="T55" fmla="*/ 237 h 395"/>
                  <a:gd name="T56" fmla="*/ 92 w 394"/>
                  <a:gd name="T57" fmla="*/ 208 h 395"/>
                  <a:gd name="T58" fmla="*/ 92 w 394"/>
                  <a:gd name="T59" fmla="*/ 187 h 395"/>
                  <a:gd name="T60" fmla="*/ 100 w 394"/>
                  <a:gd name="T61" fmla="*/ 158 h 395"/>
                  <a:gd name="T62" fmla="*/ 116 w 394"/>
                  <a:gd name="T63" fmla="*/ 133 h 395"/>
                  <a:gd name="T64" fmla="*/ 139 w 394"/>
                  <a:gd name="T65" fmla="*/ 113 h 395"/>
                  <a:gd name="T66" fmla="*/ 166 w 394"/>
                  <a:gd name="T67" fmla="*/ 101 h 395"/>
                  <a:gd name="T68" fmla="*/ 196 w 394"/>
                  <a:gd name="T69" fmla="*/ 95 h 395"/>
                  <a:gd name="T70" fmla="*/ 218 w 394"/>
                  <a:gd name="T71" fmla="*/ 98 h 395"/>
                  <a:gd name="T72" fmla="*/ 247 w 394"/>
                  <a:gd name="T73" fmla="*/ 107 h 395"/>
                  <a:gd name="T74" fmla="*/ 271 w 394"/>
                  <a:gd name="T75" fmla="*/ 126 h 395"/>
                  <a:gd name="T76" fmla="*/ 290 w 394"/>
                  <a:gd name="T77" fmla="*/ 149 h 395"/>
                  <a:gd name="T78" fmla="*/ 299 w 394"/>
                  <a:gd name="T79" fmla="*/ 177 h 395"/>
                  <a:gd name="T80" fmla="*/ 302 w 394"/>
                  <a:gd name="T81" fmla="*/ 198 h 395"/>
                  <a:gd name="T82" fmla="*/ 297 w 394"/>
                  <a:gd name="T83" fmla="*/ 228 h 395"/>
                  <a:gd name="T84" fmla="*/ 284 w 394"/>
                  <a:gd name="T85" fmla="*/ 254 h 395"/>
                  <a:gd name="T86" fmla="*/ 263 w 394"/>
                  <a:gd name="T87" fmla="*/ 277 h 395"/>
                  <a:gd name="T88" fmla="*/ 238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6" y="0"/>
                    </a:moveTo>
                    <a:lnTo>
                      <a:pt x="196" y="0"/>
                    </a:lnTo>
                    <a:lnTo>
                      <a:pt x="176" y="2"/>
                    </a:lnTo>
                    <a:lnTo>
                      <a:pt x="157" y="4"/>
                    </a:lnTo>
                    <a:lnTo>
                      <a:pt x="139" y="10"/>
                    </a:lnTo>
                    <a:lnTo>
                      <a:pt x="120" y="16"/>
                    </a:lnTo>
                    <a:lnTo>
                      <a:pt x="103" y="24"/>
                    </a:lnTo>
                    <a:lnTo>
                      <a:pt x="87" y="35"/>
                    </a:lnTo>
                    <a:lnTo>
                      <a:pt x="72" y="46"/>
                    </a:lnTo>
                    <a:lnTo>
                      <a:pt x="57" y="59"/>
                    </a:lnTo>
                    <a:lnTo>
                      <a:pt x="45" y="73"/>
                    </a:lnTo>
                    <a:lnTo>
                      <a:pt x="33" y="87"/>
                    </a:lnTo>
                    <a:lnTo>
                      <a:pt x="24" y="103"/>
                    </a:lnTo>
                    <a:lnTo>
                      <a:pt x="16" y="121"/>
                    </a:lnTo>
                    <a:lnTo>
                      <a:pt x="9" y="139"/>
                    </a:lnTo>
                    <a:lnTo>
                      <a:pt x="4" y="158"/>
                    </a:lnTo>
                    <a:lnTo>
                      <a:pt x="1" y="178"/>
                    </a:lnTo>
                    <a:lnTo>
                      <a:pt x="0" y="198"/>
                    </a:lnTo>
                    <a:lnTo>
                      <a:pt x="0" y="198"/>
                    </a:lnTo>
                    <a:lnTo>
                      <a:pt x="1" y="218"/>
                    </a:lnTo>
                    <a:lnTo>
                      <a:pt x="4" y="237"/>
                    </a:lnTo>
                    <a:lnTo>
                      <a:pt x="9" y="256"/>
                    </a:lnTo>
                    <a:lnTo>
                      <a:pt x="16" y="274"/>
                    </a:lnTo>
                    <a:lnTo>
                      <a:pt x="24" y="292"/>
                    </a:lnTo>
                    <a:lnTo>
                      <a:pt x="33" y="308"/>
                    </a:lnTo>
                    <a:lnTo>
                      <a:pt x="45" y="322"/>
                    </a:lnTo>
                    <a:lnTo>
                      <a:pt x="57" y="337"/>
                    </a:lnTo>
                    <a:lnTo>
                      <a:pt x="72" y="349"/>
                    </a:lnTo>
                    <a:lnTo>
                      <a:pt x="87" y="361"/>
                    </a:lnTo>
                    <a:lnTo>
                      <a:pt x="103" y="371"/>
                    </a:lnTo>
                    <a:lnTo>
                      <a:pt x="120" y="379"/>
                    </a:lnTo>
                    <a:lnTo>
                      <a:pt x="139" y="385"/>
                    </a:lnTo>
                    <a:lnTo>
                      <a:pt x="157" y="391"/>
                    </a:lnTo>
                    <a:lnTo>
                      <a:pt x="176" y="393"/>
                    </a:lnTo>
                    <a:lnTo>
                      <a:pt x="196" y="395"/>
                    </a:lnTo>
                    <a:lnTo>
                      <a:pt x="196" y="395"/>
                    </a:lnTo>
                    <a:lnTo>
                      <a:pt x="218" y="393"/>
                    </a:lnTo>
                    <a:lnTo>
                      <a:pt x="236" y="391"/>
                    </a:lnTo>
                    <a:lnTo>
                      <a:pt x="255" y="385"/>
                    </a:lnTo>
                    <a:lnTo>
                      <a:pt x="274" y="379"/>
                    </a:lnTo>
                    <a:lnTo>
                      <a:pt x="291" y="371"/>
                    </a:lnTo>
                    <a:lnTo>
                      <a:pt x="307"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7" y="35"/>
                    </a:lnTo>
                    <a:lnTo>
                      <a:pt x="291" y="24"/>
                    </a:lnTo>
                    <a:lnTo>
                      <a:pt x="274" y="16"/>
                    </a:lnTo>
                    <a:lnTo>
                      <a:pt x="255" y="10"/>
                    </a:lnTo>
                    <a:lnTo>
                      <a:pt x="236" y="4"/>
                    </a:lnTo>
                    <a:lnTo>
                      <a:pt x="218" y="2"/>
                    </a:lnTo>
                    <a:lnTo>
                      <a:pt x="196" y="0"/>
                    </a:lnTo>
                    <a:lnTo>
                      <a:pt x="196" y="0"/>
                    </a:lnTo>
                    <a:close/>
                    <a:moveTo>
                      <a:pt x="196" y="300"/>
                    </a:moveTo>
                    <a:lnTo>
                      <a:pt x="196" y="300"/>
                    </a:lnTo>
                    <a:lnTo>
                      <a:pt x="186" y="300"/>
                    </a:lnTo>
                    <a:lnTo>
                      <a:pt x="176" y="298"/>
                    </a:lnTo>
                    <a:lnTo>
                      <a:pt x="166" y="296"/>
                    </a:lnTo>
                    <a:lnTo>
                      <a:pt x="156" y="292"/>
                    </a:lnTo>
                    <a:lnTo>
                      <a:pt x="147" y="288"/>
                    </a:lnTo>
                    <a:lnTo>
                      <a:pt x="139" y="282"/>
                    </a:lnTo>
                    <a:lnTo>
                      <a:pt x="129" y="277"/>
                    </a:lnTo>
                    <a:lnTo>
                      <a:pt x="123" y="270"/>
                    </a:lnTo>
                    <a:lnTo>
                      <a:pt x="116" y="262"/>
                    </a:lnTo>
                    <a:lnTo>
                      <a:pt x="109" y="254"/>
                    </a:lnTo>
                    <a:lnTo>
                      <a:pt x="104" y="246"/>
                    </a:lnTo>
                    <a:lnTo>
                      <a:pt x="100" y="237"/>
                    </a:lnTo>
                    <a:lnTo>
                      <a:pt x="96" y="228"/>
                    </a:lnTo>
                    <a:lnTo>
                      <a:pt x="93" y="218"/>
                    </a:lnTo>
                    <a:lnTo>
                      <a:pt x="92" y="208"/>
                    </a:lnTo>
                    <a:lnTo>
                      <a:pt x="92" y="198"/>
                    </a:lnTo>
                    <a:lnTo>
                      <a:pt x="92" y="198"/>
                    </a:lnTo>
                    <a:lnTo>
                      <a:pt x="92" y="187"/>
                    </a:lnTo>
                    <a:lnTo>
                      <a:pt x="93" y="177"/>
                    </a:lnTo>
                    <a:lnTo>
                      <a:pt x="96" y="167"/>
                    </a:lnTo>
                    <a:lnTo>
                      <a:pt x="100" y="158"/>
                    </a:lnTo>
                    <a:lnTo>
                      <a:pt x="104" y="149"/>
                    </a:lnTo>
                    <a:lnTo>
                      <a:pt x="109" y="141"/>
                    </a:lnTo>
                    <a:lnTo>
                      <a:pt x="116" y="133"/>
                    </a:lnTo>
                    <a:lnTo>
                      <a:pt x="123" y="126"/>
                    </a:lnTo>
                    <a:lnTo>
                      <a:pt x="129" y="119"/>
                    </a:lnTo>
                    <a:lnTo>
                      <a:pt x="139" y="113"/>
                    </a:lnTo>
                    <a:lnTo>
                      <a:pt x="147" y="107"/>
                    </a:lnTo>
                    <a:lnTo>
                      <a:pt x="156" y="103"/>
                    </a:lnTo>
                    <a:lnTo>
                      <a:pt x="166" y="101"/>
                    </a:lnTo>
                    <a:lnTo>
                      <a:pt x="176" y="98"/>
                    </a:lnTo>
                    <a:lnTo>
                      <a:pt x="186" y="95"/>
                    </a:lnTo>
                    <a:lnTo>
                      <a:pt x="196" y="95"/>
                    </a:lnTo>
                    <a:lnTo>
                      <a:pt x="196" y="95"/>
                    </a:lnTo>
                    <a:lnTo>
                      <a:pt x="207" y="95"/>
                    </a:lnTo>
                    <a:lnTo>
                      <a:pt x="218" y="98"/>
                    </a:lnTo>
                    <a:lnTo>
                      <a:pt x="228" y="101"/>
                    </a:lnTo>
                    <a:lnTo>
                      <a:pt x="238" y="103"/>
                    </a:lnTo>
                    <a:lnTo>
                      <a:pt x="247" y="107"/>
                    </a:lnTo>
                    <a:lnTo>
                      <a:pt x="255" y="113"/>
                    </a:lnTo>
                    <a:lnTo>
                      <a:pt x="263" y="119"/>
                    </a:lnTo>
                    <a:lnTo>
                      <a:pt x="271" y="126"/>
                    </a:lnTo>
                    <a:lnTo>
                      <a:pt x="278" y="133"/>
                    </a:lnTo>
                    <a:lnTo>
                      <a:pt x="284" y="141"/>
                    </a:lnTo>
                    <a:lnTo>
                      <a:pt x="290" y="149"/>
                    </a:lnTo>
                    <a:lnTo>
                      <a:pt x="294" y="158"/>
                    </a:lnTo>
                    <a:lnTo>
                      <a:pt x="297" y="167"/>
                    </a:lnTo>
                    <a:lnTo>
                      <a:pt x="299" y="177"/>
                    </a:lnTo>
                    <a:lnTo>
                      <a:pt x="302" y="187"/>
                    </a:lnTo>
                    <a:lnTo>
                      <a:pt x="302" y="198"/>
                    </a:lnTo>
                    <a:lnTo>
                      <a:pt x="302" y="198"/>
                    </a:lnTo>
                    <a:lnTo>
                      <a:pt x="302" y="208"/>
                    </a:lnTo>
                    <a:lnTo>
                      <a:pt x="299" y="218"/>
                    </a:lnTo>
                    <a:lnTo>
                      <a:pt x="297" y="228"/>
                    </a:lnTo>
                    <a:lnTo>
                      <a:pt x="294" y="237"/>
                    </a:lnTo>
                    <a:lnTo>
                      <a:pt x="290" y="246"/>
                    </a:lnTo>
                    <a:lnTo>
                      <a:pt x="284" y="254"/>
                    </a:lnTo>
                    <a:lnTo>
                      <a:pt x="278" y="262"/>
                    </a:lnTo>
                    <a:lnTo>
                      <a:pt x="271" y="270"/>
                    </a:lnTo>
                    <a:lnTo>
                      <a:pt x="263" y="277"/>
                    </a:lnTo>
                    <a:lnTo>
                      <a:pt x="255" y="282"/>
                    </a:lnTo>
                    <a:lnTo>
                      <a:pt x="247" y="288"/>
                    </a:lnTo>
                    <a:lnTo>
                      <a:pt x="238" y="292"/>
                    </a:lnTo>
                    <a:lnTo>
                      <a:pt x="228" y="296"/>
                    </a:lnTo>
                    <a:lnTo>
                      <a:pt x="218" y="298"/>
                    </a:lnTo>
                    <a:lnTo>
                      <a:pt x="207" y="300"/>
                    </a:lnTo>
                    <a:lnTo>
                      <a:pt x="196" y="300"/>
                    </a:lnTo>
                    <a:lnTo>
                      <a:pt x="196"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76" name="Freeform 200"/>
              <p:cNvSpPr>
                <a:spLocks noEditPoints="1"/>
              </p:cNvSpPr>
              <p:nvPr/>
            </p:nvSpPr>
            <p:spPr bwMode="auto">
              <a:xfrm>
                <a:off x="-2205038" y="4433888"/>
                <a:ext cx="207963" cy="209550"/>
              </a:xfrm>
              <a:custGeom>
                <a:avLst/>
                <a:gdLst>
                  <a:gd name="T0" fmla="*/ 178 w 394"/>
                  <a:gd name="T1" fmla="*/ 2 h 395"/>
                  <a:gd name="T2" fmla="*/ 120 w 394"/>
                  <a:gd name="T3" fmla="*/ 16 h 395"/>
                  <a:gd name="T4" fmla="*/ 72 w 394"/>
                  <a:gd name="T5" fmla="*/ 46 h 395"/>
                  <a:gd name="T6" fmla="*/ 35 w 394"/>
                  <a:gd name="T7" fmla="*/ 87 h 395"/>
                  <a:gd name="T8" fmla="*/ 9 w 394"/>
                  <a:gd name="T9" fmla="*/ 139 h 395"/>
                  <a:gd name="T10" fmla="*/ 0 w 394"/>
                  <a:gd name="T11" fmla="*/ 198 h 395"/>
                  <a:gd name="T12" fmla="*/ 4 w 394"/>
                  <a:gd name="T13" fmla="*/ 237 h 395"/>
                  <a:gd name="T14" fmla="*/ 24 w 394"/>
                  <a:gd name="T15" fmla="*/ 292 h 395"/>
                  <a:gd name="T16" fmla="*/ 59 w 394"/>
                  <a:gd name="T17" fmla="*/ 337 h 395"/>
                  <a:gd name="T18" fmla="*/ 103 w 394"/>
                  <a:gd name="T19" fmla="*/ 371 h 395"/>
                  <a:gd name="T20" fmla="*/ 158 w 394"/>
                  <a:gd name="T21" fmla="*/ 391 h 395"/>
                  <a:gd name="T22" fmla="*/ 198 w 394"/>
                  <a:gd name="T23" fmla="*/ 395 h 395"/>
                  <a:gd name="T24" fmla="*/ 255 w 394"/>
                  <a:gd name="T25" fmla="*/ 385 h 395"/>
                  <a:gd name="T26" fmla="*/ 307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7 w 394"/>
                  <a:gd name="T41" fmla="*/ 35 h 395"/>
                  <a:gd name="T42" fmla="*/ 255 w 394"/>
                  <a:gd name="T43" fmla="*/ 10 h 395"/>
                  <a:gd name="T44" fmla="*/ 198 w 394"/>
                  <a:gd name="T45" fmla="*/ 0 h 395"/>
                  <a:gd name="T46" fmla="*/ 198 w 394"/>
                  <a:gd name="T47" fmla="*/ 300 h 395"/>
                  <a:gd name="T48" fmla="*/ 167 w 394"/>
                  <a:gd name="T49" fmla="*/ 296 h 395"/>
                  <a:gd name="T50" fmla="*/ 140 w 394"/>
                  <a:gd name="T51" fmla="*/ 282 h 395"/>
                  <a:gd name="T52" fmla="*/ 119 w 394"/>
                  <a:gd name="T53" fmla="*/ 262 h 395"/>
                  <a:gd name="T54" fmla="*/ 103 w 394"/>
                  <a:gd name="T55" fmla="*/ 237 h 395"/>
                  <a:gd name="T56" fmla="*/ 95 w 394"/>
                  <a:gd name="T57" fmla="*/ 208 h 395"/>
                  <a:gd name="T58" fmla="*/ 95 w 394"/>
                  <a:gd name="T59" fmla="*/ 187 h 395"/>
                  <a:gd name="T60" fmla="*/ 103 w 394"/>
                  <a:gd name="T61" fmla="*/ 158 h 395"/>
                  <a:gd name="T62" fmla="*/ 119 w 394"/>
                  <a:gd name="T63" fmla="*/ 133 h 395"/>
                  <a:gd name="T64" fmla="*/ 140 w 394"/>
                  <a:gd name="T65" fmla="*/ 113 h 395"/>
                  <a:gd name="T66" fmla="*/ 167 w 394"/>
                  <a:gd name="T67" fmla="*/ 101 h 395"/>
                  <a:gd name="T68" fmla="*/ 198 w 394"/>
                  <a:gd name="T69" fmla="*/ 95 h 395"/>
                  <a:gd name="T70" fmla="*/ 218 w 394"/>
                  <a:gd name="T71" fmla="*/ 98 h 395"/>
                  <a:gd name="T72" fmla="*/ 246 w 394"/>
                  <a:gd name="T73" fmla="*/ 107 h 395"/>
                  <a:gd name="T74" fmla="*/ 270 w 394"/>
                  <a:gd name="T75" fmla="*/ 126 h 395"/>
                  <a:gd name="T76" fmla="*/ 287 w 394"/>
                  <a:gd name="T77" fmla="*/ 149 h 395"/>
                  <a:gd name="T78" fmla="*/ 298 w 394"/>
                  <a:gd name="T79" fmla="*/ 177 h 395"/>
                  <a:gd name="T80" fmla="*/ 299 w 394"/>
                  <a:gd name="T81" fmla="*/ 198 h 395"/>
                  <a:gd name="T82" fmla="*/ 295 w 394"/>
                  <a:gd name="T83" fmla="*/ 228 h 395"/>
                  <a:gd name="T84" fmla="*/ 282 w 394"/>
                  <a:gd name="T85" fmla="*/ 254 h 395"/>
                  <a:gd name="T86" fmla="*/ 262 w 394"/>
                  <a:gd name="T87" fmla="*/ 277 h 395"/>
                  <a:gd name="T88" fmla="*/ 237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8" y="0"/>
                    </a:moveTo>
                    <a:lnTo>
                      <a:pt x="198" y="0"/>
                    </a:lnTo>
                    <a:lnTo>
                      <a:pt x="178" y="2"/>
                    </a:lnTo>
                    <a:lnTo>
                      <a:pt x="158" y="4"/>
                    </a:lnTo>
                    <a:lnTo>
                      <a:pt x="139" y="10"/>
                    </a:lnTo>
                    <a:lnTo>
                      <a:pt x="120" y="16"/>
                    </a:lnTo>
                    <a:lnTo>
                      <a:pt x="103" y="24"/>
                    </a:lnTo>
                    <a:lnTo>
                      <a:pt x="87" y="35"/>
                    </a:lnTo>
                    <a:lnTo>
                      <a:pt x="72" y="46"/>
                    </a:lnTo>
                    <a:lnTo>
                      <a:pt x="59" y="59"/>
                    </a:lnTo>
                    <a:lnTo>
                      <a:pt x="45" y="73"/>
                    </a:lnTo>
                    <a:lnTo>
                      <a:pt x="35" y="87"/>
                    </a:lnTo>
                    <a:lnTo>
                      <a:pt x="24" y="103"/>
                    </a:lnTo>
                    <a:lnTo>
                      <a:pt x="16" y="121"/>
                    </a:lnTo>
                    <a:lnTo>
                      <a:pt x="9" y="139"/>
                    </a:lnTo>
                    <a:lnTo>
                      <a:pt x="4" y="158"/>
                    </a:lnTo>
                    <a:lnTo>
                      <a:pt x="1" y="178"/>
                    </a:lnTo>
                    <a:lnTo>
                      <a:pt x="0" y="198"/>
                    </a:lnTo>
                    <a:lnTo>
                      <a:pt x="0" y="198"/>
                    </a:lnTo>
                    <a:lnTo>
                      <a:pt x="1" y="218"/>
                    </a:lnTo>
                    <a:lnTo>
                      <a:pt x="4" y="237"/>
                    </a:lnTo>
                    <a:lnTo>
                      <a:pt x="9" y="256"/>
                    </a:lnTo>
                    <a:lnTo>
                      <a:pt x="16" y="274"/>
                    </a:lnTo>
                    <a:lnTo>
                      <a:pt x="24" y="292"/>
                    </a:lnTo>
                    <a:lnTo>
                      <a:pt x="35" y="308"/>
                    </a:lnTo>
                    <a:lnTo>
                      <a:pt x="45" y="322"/>
                    </a:lnTo>
                    <a:lnTo>
                      <a:pt x="59" y="337"/>
                    </a:lnTo>
                    <a:lnTo>
                      <a:pt x="72" y="349"/>
                    </a:lnTo>
                    <a:lnTo>
                      <a:pt x="87" y="361"/>
                    </a:lnTo>
                    <a:lnTo>
                      <a:pt x="103" y="371"/>
                    </a:lnTo>
                    <a:lnTo>
                      <a:pt x="120" y="379"/>
                    </a:lnTo>
                    <a:lnTo>
                      <a:pt x="139" y="385"/>
                    </a:lnTo>
                    <a:lnTo>
                      <a:pt x="158" y="391"/>
                    </a:lnTo>
                    <a:lnTo>
                      <a:pt x="178" y="393"/>
                    </a:lnTo>
                    <a:lnTo>
                      <a:pt x="198" y="395"/>
                    </a:lnTo>
                    <a:lnTo>
                      <a:pt x="198" y="395"/>
                    </a:lnTo>
                    <a:lnTo>
                      <a:pt x="218" y="393"/>
                    </a:lnTo>
                    <a:lnTo>
                      <a:pt x="237" y="391"/>
                    </a:lnTo>
                    <a:lnTo>
                      <a:pt x="255" y="385"/>
                    </a:lnTo>
                    <a:lnTo>
                      <a:pt x="274" y="379"/>
                    </a:lnTo>
                    <a:lnTo>
                      <a:pt x="291" y="371"/>
                    </a:lnTo>
                    <a:lnTo>
                      <a:pt x="307"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7" y="35"/>
                    </a:lnTo>
                    <a:lnTo>
                      <a:pt x="291" y="24"/>
                    </a:lnTo>
                    <a:lnTo>
                      <a:pt x="274" y="16"/>
                    </a:lnTo>
                    <a:lnTo>
                      <a:pt x="255" y="10"/>
                    </a:lnTo>
                    <a:lnTo>
                      <a:pt x="237" y="4"/>
                    </a:lnTo>
                    <a:lnTo>
                      <a:pt x="218" y="2"/>
                    </a:lnTo>
                    <a:lnTo>
                      <a:pt x="198" y="0"/>
                    </a:lnTo>
                    <a:lnTo>
                      <a:pt x="198" y="0"/>
                    </a:lnTo>
                    <a:close/>
                    <a:moveTo>
                      <a:pt x="198" y="300"/>
                    </a:moveTo>
                    <a:lnTo>
                      <a:pt x="198" y="300"/>
                    </a:lnTo>
                    <a:lnTo>
                      <a:pt x="187" y="300"/>
                    </a:lnTo>
                    <a:lnTo>
                      <a:pt x="176" y="298"/>
                    </a:lnTo>
                    <a:lnTo>
                      <a:pt x="167" y="296"/>
                    </a:lnTo>
                    <a:lnTo>
                      <a:pt x="158" y="292"/>
                    </a:lnTo>
                    <a:lnTo>
                      <a:pt x="148" y="288"/>
                    </a:lnTo>
                    <a:lnTo>
                      <a:pt x="140" y="282"/>
                    </a:lnTo>
                    <a:lnTo>
                      <a:pt x="132" y="277"/>
                    </a:lnTo>
                    <a:lnTo>
                      <a:pt x="126" y="270"/>
                    </a:lnTo>
                    <a:lnTo>
                      <a:pt x="119" y="262"/>
                    </a:lnTo>
                    <a:lnTo>
                      <a:pt x="112" y="254"/>
                    </a:lnTo>
                    <a:lnTo>
                      <a:pt x="107" y="246"/>
                    </a:lnTo>
                    <a:lnTo>
                      <a:pt x="103" y="237"/>
                    </a:lnTo>
                    <a:lnTo>
                      <a:pt x="100" y="228"/>
                    </a:lnTo>
                    <a:lnTo>
                      <a:pt x="98" y="218"/>
                    </a:lnTo>
                    <a:lnTo>
                      <a:pt x="95" y="208"/>
                    </a:lnTo>
                    <a:lnTo>
                      <a:pt x="95" y="198"/>
                    </a:lnTo>
                    <a:lnTo>
                      <a:pt x="95" y="198"/>
                    </a:lnTo>
                    <a:lnTo>
                      <a:pt x="95" y="187"/>
                    </a:lnTo>
                    <a:lnTo>
                      <a:pt x="98" y="177"/>
                    </a:lnTo>
                    <a:lnTo>
                      <a:pt x="100" y="167"/>
                    </a:lnTo>
                    <a:lnTo>
                      <a:pt x="103" y="158"/>
                    </a:lnTo>
                    <a:lnTo>
                      <a:pt x="107" y="149"/>
                    </a:lnTo>
                    <a:lnTo>
                      <a:pt x="112" y="141"/>
                    </a:lnTo>
                    <a:lnTo>
                      <a:pt x="119" y="133"/>
                    </a:lnTo>
                    <a:lnTo>
                      <a:pt x="126" y="126"/>
                    </a:lnTo>
                    <a:lnTo>
                      <a:pt x="132" y="119"/>
                    </a:lnTo>
                    <a:lnTo>
                      <a:pt x="140" y="113"/>
                    </a:lnTo>
                    <a:lnTo>
                      <a:pt x="148" y="107"/>
                    </a:lnTo>
                    <a:lnTo>
                      <a:pt x="158" y="103"/>
                    </a:lnTo>
                    <a:lnTo>
                      <a:pt x="167" y="101"/>
                    </a:lnTo>
                    <a:lnTo>
                      <a:pt x="176" y="98"/>
                    </a:lnTo>
                    <a:lnTo>
                      <a:pt x="187" y="95"/>
                    </a:lnTo>
                    <a:lnTo>
                      <a:pt x="198" y="95"/>
                    </a:lnTo>
                    <a:lnTo>
                      <a:pt x="198" y="95"/>
                    </a:lnTo>
                    <a:lnTo>
                      <a:pt x="207" y="95"/>
                    </a:lnTo>
                    <a:lnTo>
                      <a:pt x="218" y="98"/>
                    </a:lnTo>
                    <a:lnTo>
                      <a:pt x="227" y="101"/>
                    </a:lnTo>
                    <a:lnTo>
                      <a:pt x="237" y="103"/>
                    </a:lnTo>
                    <a:lnTo>
                      <a:pt x="246" y="107"/>
                    </a:lnTo>
                    <a:lnTo>
                      <a:pt x="254" y="113"/>
                    </a:lnTo>
                    <a:lnTo>
                      <a:pt x="262" y="119"/>
                    </a:lnTo>
                    <a:lnTo>
                      <a:pt x="270" y="126"/>
                    </a:lnTo>
                    <a:lnTo>
                      <a:pt x="277" y="133"/>
                    </a:lnTo>
                    <a:lnTo>
                      <a:pt x="282" y="141"/>
                    </a:lnTo>
                    <a:lnTo>
                      <a:pt x="287" y="149"/>
                    </a:lnTo>
                    <a:lnTo>
                      <a:pt x="291" y="158"/>
                    </a:lnTo>
                    <a:lnTo>
                      <a:pt x="295" y="167"/>
                    </a:lnTo>
                    <a:lnTo>
                      <a:pt x="298" y="177"/>
                    </a:lnTo>
                    <a:lnTo>
                      <a:pt x="299" y="187"/>
                    </a:lnTo>
                    <a:lnTo>
                      <a:pt x="299" y="198"/>
                    </a:lnTo>
                    <a:lnTo>
                      <a:pt x="299" y="198"/>
                    </a:lnTo>
                    <a:lnTo>
                      <a:pt x="299" y="208"/>
                    </a:lnTo>
                    <a:lnTo>
                      <a:pt x="298" y="218"/>
                    </a:lnTo>
                    <a:lnTo>
                      <a:pt x="295" y="228"/>
                    </a:lnTo>
                    <a:lnTo>
                      <a:pt x="291" y="237"/>
                    </a:lnTo>
                    <a:lnTo>
                      <a:pt x="287" y="246"/>
                    </a:lnTo>
                    <a:lnTo>
                      <a:pt x="282" y="254"/>
                    </a:lnTo>
                    <a:lnTo>
                      <a:pt x="277" y="262"/>
                    </a:lnTo>
                    <a:lnTo>
                      <a:pt x="270" y="270"/>
                    </a:lnTo>
                    <a:lnTo>
                      <a:pt x="262" y="277"/>
                    </a:lnTo>
                    <a:lnTo>
                      <a:pt x="254" y="282"/>
                    </a:lnTo>
                    <a:lnTo>
                      <a:pt x="246" y="288"/>
                    </a:lnTo>
                    <a:lnTo>
                      <a:pt x="237" y="292"/>
                    </a:lnTo>
                    <a:lnTo>
                      <a:pt x="227" y="296"/>
                    </a:lnTo>
                    <a:lnTo>
                      <a:pt x="218" y="298"/>
                    </a:lnTo>
                    <a:lnTo>
                      <a:pt x="207" y="300"/>
                    </a:lnTo>
                    <a:lnTo>
                      <a:pt x="198" y="300"/>
                    </a:lnTo>
                    <a:lnTo>
                      <a:pt x="198"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77" name="Freeform 201"/>
              <p:cNvSpPr>
                <a:spLocks noEditPoints="1"/>
              </p:cNvSpPr>
              <p:nvPr/>
            </p:nvSpPr>
            <p:spPr bwMode="auto">
              <a:xfrm>
                <a:off x="-3025776" y="4090988"/>
                <a:ext cx="1195388" cy="460375"/>
              </a:xfrm>
              <a:custGeom>
                <a:avLst/>
                <a:gdLst>
                  <a:gd name="T0" fmla="*/ 2209 w 2257"/>
                  <a:gd name="T1" fmla="*/ 473 h 869"/>
                  <a:gd name="T2" fmla="*/ 2143 w 2257"/>
                  <a:gd name="T3" fmla="*/ 456 h 869"/>
                  <a:gd name="T4" fmla="*/ 2083 w 2257"/>
                  <a:gd name="T5" fmla="*/ 423 h 869"/>
                  <a:gd name="T6" fmla="*/ 2050 w 2257"/>
                  <a:gd name="T7" fmla="*/ 392 h 869"/>
                  <a:gd name="T8" fmla="*/ 1804 w 2257"/>
                  <a:gd name="T9" fmla="*/ 135 h 869"/>
                  <a:gd name="T10" fmla="*/ 1754 w 2257"/>
                  <a:gd name="T11" fmla="*/ 91 h 869"/>
                  <a:gd name="T12" fmla="*/ 1700 w 2257"/>
                  <a:gd name="T13" fmla="*/ 55 h 869"/>
                  <a:gd name="T14" fmla="*/ 1641 w 2257"/>
                  <a:gd name="T15" fmla="*/ 27 h 869"/>
                  <a:gd name="T16" fmla="*/ 1578 w 2257"/>
                  <a:gd name="T17" fmla="*/ 10 h 869"/>
                  <a:gd name="T18" fmla="*/ 1513 w 2257"/>
                  <a:gd name="T19" fmla="*/ 2 h 869"/>
                  <a:gd name="T20" fmla="*/ 1013 w 2257"/>
                  <a:gd name="T21" fmla="*/ 0 h 869"/>
                  <a:gd name="T22" fmla="*/ 970 w 2257"/>
                  <a:gd name="T23" fmla="*/ 6 h 869"/>
                  <a:gd name="T24" fmla="*/ 912 w 2257"/>
                  <a:gd name="T25" fmla="*/ 32 h 869"/>
                  <a:gd name="T26" fmla="*/ 867 w 2257"/>
                  <a:gd name="T27" fmla="*/ 79 h 869"/>
                  <a:gd name="T28" fmla="*/ 96 w 2257"/>
                  <a:gd name="T29" fmla="*/ 460 h 869"/>
                  <a:gd name="T30" fmla="*/ 86 w 2257"/>
                  <a:gd name="T31" fmla="*/ 463 h 869"/>
                  <a:gd name="T32" fmla="*/ 58 w 2257"/>
                  <a:gd name="T33" fmla="*/ 473 h 869"/>
                  <a:gd name="T34" fmla="*/ 34 w 2257"/>
                  <a:gd name="T35" fmla="*/ 489 h 869"/>
                  <a:gd name="T36" fmla="*/ 16 w 2257"/>
                  <a:gd name="T37" fmla="*/ 512 h 869"/>
                  <a:gd name="T38" fmla="*/ 4 w 2257"/>
                  <a:gd name="T39" fmla="*/ 540 h 869"/>
                  <a:gd name="T40" fmla="*/ 0 w 2257"/>
                  <a:gd name="T41" fmla="*/ 570 h 869"/>
                  <a:gd name="T42" fmla="*/ 0 w 2257"/>
                  <a:gd name="T43" fmla="*/ 779 h 869"/>
                  <a:gd name="T44" fmla="*/ 6 w 2257"/>
                  <a:gd name="T45" fmla="*/ 806 h 869"/>
                  <a:gd name="T46" fmla="*/ 37 w 2257"/>
                  <a:gd name="T47" fmla="*/ 849 h 869"/>
                  <a:gd name="T48" fmla="*/ 60 w 2257"/>
                  <a:gd name="T49" fmla="*/ 862 h 869"/>
                  <a:gd name="T50" fmla="*/ 86 w 2257"/>
                  <a:gd name="T51" fmla="*/ 869 h 869"/>
                  <a:gd name="T52" fmla="*/ 86 w 2257"/>
                  <a:gd name="T53" fmla="*/ 846 h 869"/>
                  <a:gd name="T54" fmla="*/ 90 w 2257"/>
                  <a:gd name="T55" fmla="*/ 801 h 869"/>
                  <a:gd name="T56" fmla="*/ 113 w 2257"/>
                  <a:gd name="T57" fmla="*/ 739 h 869"/>
                  <a:gd name="T58" fmla="*/ 151 w 2257"/>
                  <a:gd name="T59" fmla="*/ 688 h 869"/>
                  <a:gd name="T60" fmla="*/ 203 w 2257"/>
                  <a:gd name="T61" fmla="*/ 650 h 869"/>
                  <a:gd name="T62" fmla="*/ 264 w 2257"/>
                  <a:gd name="T63" fmla="*/ 627 h 869"/>
                  <a:gd name="T64" fmla="*/ 308 w 2257"/>
                  <a:gd name="T65" fmla="*/ 623 h 869"/>
                  <a:gd name="T66" fmla="*/ 375 w 2257"/>
                  <a:gd name="T67" fmla="*/ 632 h 869"/>
                  <a:gd name="T68" fmla="*/ 434 w 2257"/>
                  <a:gd name="T69" fmla="*/ 660 h 869"/>
                  <a:gd name="T70" fmla="*/ 481 w 2257"/>
                  <a:gd name="T71" fmla="*/ 703 h 869"/>
                  <a:gd name="T72" fmla="*/ 514 w 2257"/>
                  <a:gd name="T73" fmla="*/ 759 h 869"/>
                  <a:gd name="T74" fmla="*/ 530 w 2257"/>
                  <a:gd name="T75" fmla="*/ 823 h 869"/>
                  <a:gd name="T76" fmla="*/ 530 w 2257"/>
                  <a:gd name="T77" fmla="*/ 869 h 869"/>
                  <a:gd name="T78" fmla="*/ 1526 w 2257"/>
                  <a:gd name="T79" fmla="*/ 869 h 869"/>
                  <a:gd name="T80" fmla="*/ 1525 w 2257"/>
                  <a:gd name="T81" fmla="*/ 846 h 869"/>
                  <a:gd name="T82" fmla="*/ 1534 w 2257"/>
                  <a:gd name="T83" fmla="*/ 779 h 869"/>
                  <a:gd name="T84" fmla="*/ 1562 w 2257"/>
                  <a:gd name="T85" fmla="*/ 721 h 869"/>
                  <a:gd name="T86" fmla="*/ 1606 w 2257"/>
                  <a:gd name="T87" fmla="*/ 674 h 869"/>
                  <a:gd name="T88" fmla="*/ 1661 w 2257"/>
                  <a:gd name="T89" fmla="*/ 640 h 869"/>
                  <a:gd name="T90" fmla="*/ 1725 w 2257"/>
                  <a:gd name="T91" fmla="*/ 624 h 869"/>
                  <a:gd name="T92" fmla="*/ 1771 w 2257"/>
                  <a:gd name="T93" fmla="*/ 624 h 869"/>
                  <a:gd name="T94" fmla="*/ 1835 w 2257"/>
                  <a:gd name="T95" fmla="*/ 640 h 869"/>
                  <a:gd name="T96" fmla="*/ 1889 w 2257"/>
                  <a:gd name="T97" fmla="*/ 674 h 869"/>
                  <a:gd name="T98" fmla="*/ 1932 w 2257"/>
                  <a:gd name="T99" fmla="*/ 721 h 869"/>
                  <a:gd name="T100" fmla="*/ 1960 w 2257"/>
                  <a:gd name="T101" fmla="*/ 779 h 869"/>
                  <a:gd name="T102" fmla="*/ 1971 w 2257"/>
                  <a:gd name="T103" fmla="*/ 846 h 869"/>
                  <a:gd name="T104" fmla="*/ 1971 w 2257"/>
                  <a:gd name="T105" fmla="*/ 869 h 869"/>
                  <a:gd name="T106" fmla="*/ 2257 w 2257"/>
                  <a:gd name="T107" fmla="*/ 528 h 869"/>
                  <a:gd name="T108" fmla="*/ 2249 w 2257"/>
                  <a:gd name="T109" fmla="*/ 500 h 869"/>
                  <a:gd name="T110" fmla="*/ 2228 w 2257"/>
                  <a:gd name="T111" fmla="*/ 480 h 869"/>
                  <a:gd name="T112" fmla="*/ 2209 w 2257"/>
                  <a:gd name="T113" fmla="*/ 473 h 869"/>
                  <a:gd name="T114" fmla="*/ 936 w 2257"/>
                  <a:gd name="T115" fmla="*/ 114 h 869"/>
                  <a:gd name="T116" fmla="*/ 1367 w 2257"/>
                  <a:gd name="T117" fmla="*/ 386 h 869"/>
                  <a:gd name="T118" fmla="*/ 1855 w 2257"/>
                  <a:gd name="T119" fmla="*/ 386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7" h="869">
                    <a:moveTo>
                      <a:pt x="2209" y="473"/>
                    </a:moveTo>
                    <a:lnTo>
                      <a:pt x="2209" y="473"/>
                    </a:lnTo>
                    <a:lnTo>
                      <a:pt x="2209" y="473"/>
                    </a:lnTo>
                    <a:lnTo>
                      <a:pt x="2186" y="469"/>
                    </a:lnTo>
                    <a:lnTo>
                      <a:pt x="2165" y="463"/>
                    </a:lnTo>
                    <a:lnTo>
                      <a:pt x="2143" y="456"/>
                    </a:lnTo>
                    <a:lnTo>
                      <a:pt x="2122" y="447"/>
                    </a:lnTo>
                    <a:lnTo>
                      <a:pt x="2102" y="435"/>
                    </a:lnTo>
                    <a:lnTo>
                      <a:pt x="2083" y="423"/>
                    </a:lnTo>
                    <a:lnTo>
                      <a:pt x="2066" y="408"/>
                    </a:lnTo>
                    <a:lnTo>
                      <a:pt x="2049" y="392"/>
                    </a:lnTo>
                    <a:lnTo>
                      <a:pt x="2050" y="392"/>
                    </a:lnTo>
                    <a:lnTo>
                      <a:pt x="1805" y="134"/>
                    </a:lnTo>
                    <a:lnTo>
                      <a:pt x="1804" y="135"/>
                    </a:lnTo>
                    <a:lnTo>
                      <a:pt x="1804" y="135"/>
                    </a:lnTo>
                    <a:lnTo>
                      <a:pt x="1789" y="119"/>
                    </a:lnTo>
                    <a:lnTo>
                      <a:pt x="1772" y="104"/>
                    </a:lnTo>
                    <a:lnTo>
                      <a:pt x="1754" y="91"/>
                    </a:lnTo>
                    <a:lnTo>
                      <a:pt x="1737" y="78"/>
                    </a:lnTo>
                    <a:lnTo>
                      <a:pt x="1720" y="66"/>
                    </a:lnTo>
                    <a:lnTo>
                      <a:pt x="1700" y="55"/>
                    </a:lnTo>
                    <a:lnTo>
                      <a:pt x="1681" y="44"/>
                    </a:lnTo>
                    <a:lnTo>
                      <a:pt x="1661" y="36"/>
                    </a:lnTo>
                    <a:lnTo>
                      <a:pt x="1641" y="27"/>
                    </a:lnTo>
                    <a:lnTo>
                      <a:pt x="1621" y="20"/>
                    </a:lnTo>
                    <a:lnTo>
                      <a:pt x="1599" y="15"/>
                    </a:lnTo>
                    <a:lnTo>
                      <a:pt x="1578" y="10"/>
                    </a:lnTo>
                    <a:lnTo>
                      <a:pt x="1557" y="6"/>
                    </a:lnTo>
                    <a:lnTo>
                      <a:pt x="1534" y="3"/>
                    </a:lnTo>
                    <a:lnTo>
                      <a:pt x="1513" y="2"/>
                    </a:lnTo>
                    <a:lnTo>
                      <a:pt x="1490" y="0"/>
                    </a:lnTo>
                    <a:lnTo>
                      <a:pt x="1015" y="0"/>
                    </a:lnTo>
                    <a:lnTo>
                      <a:pt x="1013" y="0"/>
                    </a:lnTo>
                    <a:lnTo>
                      <a:pt x="1013" y="0"/>
                    </a:lnTo>
                    <a:lnTo>
                      <a:pt x="991" y="2"/>
                    </a:lnTo>
                    <a:lnTo>
                      <a:pt x="970" y="6"/>
                    </a:lnTo>
                    <a:lnTo>
                      <a:pt x="950" y="12"/>
                    </a:lnTo>
                    <a:lnTo>
                      <a:pt x="930" y="22"/>
                    </a:lnTo>
                    <a:lnTo>
                      <a:pt x="912" y="32"/>
                    </a:lnTo>
                    <a:lnTo>
                      <a:pt x="895" y="46"/>
                    </a:lnTo>
                    <a:lnTo>
                      <a:pt x="880" y="62"/>
                    </a:lnTo>
                    <a:lnTo>
                      <a:pt x="867" y="79"/>
                    </a:lnTo>
                    <a:lnTo>
                      <a:pt x="868" y="79"/>
                    </a:lnTo>
                    <a:lnTo>
                      <a:pt x="669" y="386"/>
                    </a:lnTo>
                    <a:lnTo>
                      <a:pt x="96" y="460"/>
                    </a:lnTo>
                    <a:lnTo>
                      <a:pt x="96" y="461"/>
                    </a:lnTo>
                    <a:lnTo>
                      <a:pt x="96" y="461"/>
                    </a:lnTo>
                    <a:lnTo>
                      <a:pt x="86" y="463"/>
                    </a:lnTo>
                    <a:lnTo>
                      <a:pt x="76" y="465"/>
                    </a:lnTo>
                    <a:lnTo>
                      <a:pt x="66" y="468"/>
                    </a:lnTo>
                    <a:lnTo>
                      <a:pt x="58" y="473"/>
                    </a:lnTo>
                    <a:lnTo>
                      <a:pt x="49" y="477"/>
                    </a:lnTo>
                    <a:lnTo>
                      <a:pt x="41" y="484"/>
                    </a:lnTo>
                    <a:lnTo>
                      <a:pt x="34" y="489"/>
                    </a:lnTo>
                    <a:lnTo>
                      <a:pt x="28" y="497"/>
                    </a:lnTo>
                    <a:lnTo>
                      <a:pt x="21" y="504"/>
                    </a:lnTo>
                    <a:lnTo>
                      <a:pt x="16" y="512"/>
                    </a:lnTo>
                    <a:lnTo>
                      <a:pt x="10" y="521"/>
                    </a:lnTo>
                    <a:lnTo>
                      <a:pt x="6" y="531"/>
                    </a:lnTo>
                    <a:lnTo>
                      <a:pt x="4" y="540"/>
                    </a:lnTo>
                    <a:lnTo>
                      <a:pt x="1" y="549"/>
                    </a:lnTo>
                    <a:lnTo>
                      <a:pt x="0" y="560"/>
                    </a:lnTo>
                    <a:lnTo>
                      <a:pt x="0" y="570"/>
                    </a:lnTo>
                    <a:lnTo>
                      <a:pt x="0" y="770"/>
                    </a:lnTo>
                    <a:lnTo>
                      <a:pt x="0" y="770"/>
                    </a:lnTo>
                    <a:lnTo>
                      <a:pt x="0" y="779"/>
                    </a:lnTo>
                    <a:lnTo>
                      <a:pt x="1" y="789"/>
                    </a:lnTo>
                    <a:lnTo>
                      <a:pt x="4" y="797"/>
                    </a:lnTo>
                    <a:lnTo>
                      <a:pt x="6" y="806"/>
                    </a:lnTo>
                    <a:lnTo>
                      <a:pt x="14" y="822"/>
                    </a:lnTo>
                    <a:lnTo>
                      <a:pt x="24" y="835"/>
                    </a:lnTo>
                    <a:lnTo>
                      <a:pt x="37" y="849"/>
                    </a:lnTo>
                    <a:lnTo>
                      <a:pt x="44" y="853"/>
                    </a:lnTo>
                    <a:lnTo>
                      <a:pt x="52" y="858"/>
                    </a:lnTo>
                    <a:lnTo>
                      <a:pt x="60" y="862"/>
                    </a:lnTo>
                    <a:lnTo>
                      <a:pt x="68" y="865"/>
                    </a:lnTo>
                    <a:lnTo>
                      <a:pt x="77" y="868"/>
                    </a:lnTo>
                    <a:lnTo>
                      <a:pt x="86" y="869"/>
                    </a:lnTo>
                    <a:lnTo>
                      <a:pt x="86" y="869"/>
                    </a:lnTo>
                    <a:lnTo>
                      <a:pt x="86" y="869"/>
                    </a:lnTo>
                    <a:lnTo>
                      <a:pt x="86" y="846"/>
                    </a:lnTo>
                    <a:lnTo>
                      <a:pt x="86" y="846"/>
                    </a:lnTo>
                    <a:lnTo>
                      <a:pt x="86" y="823"/>
                    </a:lnTo>
                    <a:lnTo>
                      <a:pt x="90" y="801"/>
                    </a:lnTo>
                    <a:lnTo>
                      <a:pt x="96" y="779"/>
                    </a:lnTo>
                    <a:lnTo>
                      <a:pt x="104" y="759"/>
                    </a:lnTo>
                    <a:lnTo>
                      <a:pt x="113" y="739"/>
                    </a:lnTo>
                    <a:lnTo>
                      <a:pt x="124" y="721"/>
                    </a:lnTo>
                    <a:lnTo>
                      <a:pt x="137" y="703"/>
                    </a:lnTo>
                    <a:lnTo>
                      <a:pt x="151" y="688"/>
                    </a:lnTo>
                    <a:lnTo>
                      <a:pt x="167" y="674"/>
                    </a:lnTo>
                    <a:lnTo>
                      <a:pt x="184" y="660"/>
                    </a:lnTo>
                    <a:lnTo>
                      <a:pt x="203" y="650"/>
                    </a:lnTo>
                    <a:lnTo>
                      <a:pt x="221" y="640"/>
                    </a:lnTo>
                    <a:lnTo>
                      <a:pt x="243" y="632"/>
                    </a:lnTo>
                    <a:lnTo>
                      <a:pt x="264" y="627"/>
                    </a:lnTo>
                    <a:lnTo>
                      <a:pt x="286" y="624"/>
                    </a:lnTo>
                    <a:lnTo>
                      <a:pt x="308" y="623"/>
                    </a:lnTo>
                    <a:lnTo>
                      <a:pt x="308" y="623"/>
                    </a:lnTo>
                    <a:lnTo>
                      <a:pt x="332" y="624"/>
                    </a:lnTo>
                    <a:lnTo>
                      <a:pt x="354" y="627"/>
                    </a:lnTo>
                    <a:lnTo>
                      <a:pt x="375" y="632"/>
                    </a:lnTo>
                    <a:lnTo>
                      <a:pt x="395" y="640"/>
                    </a:lnTo>
                    <a:lnTo>
                      <a:pt x="415" y="650"/>
                    </a:lnTo>
                    <a:lnTo>
                      <a:pt x="434" y="660"/>
                    </a:lnTo>
                    <a:lnTo>
                      <a:pt x="451" y="674"/>
                    </a:lnTo>
                    <a:lnTo>
                      <a:pt x="466" y="688"/>
                    </a:lnTo>
                    <a:lnTo>
                      <a:pt x="481" y="703"/>
                    </a:lnTo>
                    <a:lnTo>
                      <a:pt x="494" y="721"/>
                    </a:lnTo>
                    <a:lnTo>
                      <a:pt x="505" y="739"/>
                    </a:lnTo>
                    <a:lnTo>
                      <a:pt x="514" y="759"/>
                    </a:lnTo>
                    <a:lnTo>
                      <a:pt x="522" y="779"/>
                    </a:lnTo>
                    <a:lnTo>
                      <a:pt x="527" y="801"/>
                    </a:lnTo>
                    <a:lnTo>
                      <a:pt x="530" y="823"/>
                    </a:lnTo>
                    <a:lnTo>
                      <a:pt x="531" y="846"/>
                    </a:lnTo>
                    <a:lnTo>
                      <a:pt x="531" y="846"/>
                    </a:lnTo>
                    <a:lnTo>
                      <a:pt x="530" y="869"/>
                    </a:lnTo>
                    <a:lnTo>
                      <a:pt x="531" y="869"/>
                    </a:lnTo>
                    <a:lnTo>
                      <a:pt x="1527" y="869"/>
                    </a:lnTo>
                    <a:lnTo>
                      <a:pt x="1526" y="869"/>
                    </a:lnTo>
                    <a:lnTo>
                      <a:pt x="1526" y="869"/>
                    </a:lnTo>
                    <a:lnTo>
                      <a:pt x="1525" y="846"/>
                    </a:lnTo>
                    <a:lnTo>
                      <a:pt x="1525" y="846"/>
                    </a:lnTo>
                    <a:lnTo>
                      <a:pt x="1526" y="823"/>
                    </a:lnTo>
                    <a:lnTo>
                      <a:pt x="1529" y="801"/>
                    </a:lnTo>
                    <a:lnTo>
                      <a:pt x="1534" y="779"/>
                    </a:lnTo>
                    <a:lnTo>
                      <a:pt x="1542" y="759"/>
                    </a:lnTo>
                    <a:lnTo>
                      <a:pt x="1551" y="739"/>
                    </a:lnTo>
                    <a:lnTo>
                      <a:pt x="1562" y="721"/>
                    </a:lnTo>
                    <a:lnTo>
                      <a:pt x="1575" y="703"/>
                    </a:lnTo>
                    <a:lnTo>
                      <a:pt x="1590" y="688"/>
                    </a:lnTo>
                    <a:lnTo>
                      <a:pt x="1606" y="674"/>
                    </a:lnTo>
                    <a:lnTo>
                      <a:pt x="1622" y="660"/>
                    </a:lnTo>
                    <a:lnTo>
                      <a:pt x="1641" y="650"/>
                    </a:lnTo>
                    <a:lnTo>
                      <a:pt x="1661" y="640"/>
                    </a:lnTo>
                    <a:lnTo>
                      <a:pt x="1681" y="632"/>
                    </a:lnTo>
                    <a:lnTo>
                      <a:pt x="1702" y="627"/>
                    </a:lnTo>
                    <a:lnTo>
                      <a:pt x="1725" y="624"/>
                    </a:lnTo>
                    <a:lnTo>
                      <a:pt x="1748" y="623"/>
                    </a:lnTo>
                    <a:lnTo>
                      <a:pt x="1748" y="623"/>
                    </a:lnTo>
                    <a:lnTo>
                      <a:pt x="1771" y="624"/>
                    </a:lnTo>
                    <a:lnTo>
                      <a:pt x="1792" y="627"/>
                    </a:lnTo>
                    <a:lnTo>
                      <a:pt x="1813" y="632"/>
                    </a:lnTo>
                    <a:lnTo>
                      <a:pt x="1835" y="640"/>
                    </a:lnTo>
                    <a:lnTo>
                      <a:pt x="1853" y="650"/>
                    </a:lnTo>
                    <a:lnTo>
                      <a:pt x="1872" y="660"/>
                    </a:lnTo>
                    <a:lnTo>
                      <a:pt x="1889" y="674"/>
                    </a:lnTo>
                    <a:lnTo>
                      <a:pt x="1906" y="688"/>
                    </a:lnTo>
                    <a:lnTo>
                      <a:pt x="1919" y="703"/>
                    </a:lnTo>
                    <a:lnTo>
                      <a:pt x="1932" y="721"/>
                    </a:lnTo>
                    <a:lnTo>
                      <a:pt x="1943" y="739"/>
                    </a:lnTo>
                    <a:lnTo>
                      <a:pt x="1952" y="759"/>
                    </a:lnTo>
                    <a:lnTo>
                      <a:pt x="1960" y="779"/>
                    </a:lnTo>
                    <a:lnTo>
                      <a:pt x="1966" y="801"/>
                    </a:lnTo>
                    <a:lnTo>
                      <a:pt x="1970" y="823"/>
                    </a:lnTo>
                    <a:lnTo>
                      <a:pt x="1971" y="846"/>
                    </a:lnTo>
                    <a:lnTo>
                      <a:pt x="1971" y="846"/>
                    </a:lnTo>
                    <a:lnTo>
                      <a:pt x="1970" y="869"/>
                    </a:lnTo>
                    <a:lnTo>
                      <a:pt x="1971" y="869"/>
                    </a:lnTo>
                    <a:lnTo>
                      <a:pt x="2257" y="846"/>
                    </a:lnTo>
                    <a:lnTo>
                      <a:pt x="2257" y="528"/>
                    </a:lnTo>
                    <a:lnTo>
                      <a:pt x="2257" y="528"/>
                    </a:lnTo>
                    <a:lnTo>
                      <a:pt x="2256" y="517"/>
                    </a:lnTo>
                    <a:lnTo>
                      <a:pt x="2253" y="508"/>
                    </a:lnTo>
                    <a:lnTo>
                      <a:pt x="2249" y="500"/>
                    </a:lnTo>
                    <a:lnTo>
                      <a:pt x="2244" y="492"/>
                    </a:lnTo>
                    <a:lnTo>
                      <a:pt x="2236" y="485"/>
                    </a:lnTo>
                    <a:lnTo>
                      <a:pt x="2228" y="480"/>
                    </a:lnTo>
                    <a:lnTo>
                      <a:pt x="2220" y="476"/>
                    </a:lnTo>
                    <a:lnTo>
                      <a:pt x="2209" y="473"/>
                    </a:lnTo>
                    <a:lnTo>
                      <a:pt x="2209" y="473"/>
                    </a:lnTo>
                    <a:close/>
                    <a:moveTo>
                      <a:pt x="1317" y="386"/>
                    </a:moveTo>
                    <a:lnTo>
                      <a:pt x="757" y="386"/>
                    </a:lnTo>
                    <a:lnTo>
                      <a:pt x="936" y="114"/>
                    </a:lnTo>
                    <a:lnTo>
                      <a:pt x="1317" y="114"/>
                    </a:lnTo>
                    <a:lnTo>
                      <a:pt x="1317" y="386"/>
                    </a:lnTo>
                    <a:close/>
                    <a:moveTo>
                      <a:pt x="1367" y="386"/>
                    </a:moveTo>
                    <a:lnTo>
                      <a:pt x="1367" y="114"/>
                    </a:lnTo>
                    <a:lnTo>
                      <a:pt x="1595" y="114"/>
                    </a:lnTo>
                    <a:lnTo>
                      <a:pt x="1855" y="386"/>
                    </a:lnTo>
                    <a:lnTo>
                      <a:pt x="1367" y="386"/>
                    </a:lnTo>
                    <a:close/>
                  </a:path>
                </a:pathLst>
              </a:custGeom>
              <a:solidFill>
                <a:schemeClr val="bg2">
                  <a:lumMod val="7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78" name="Group 777"/>
          <p:cNvGrpSpPr/>
          <p:nvPr/>
        </p:nvGrpSpPr>
        <p:grpSpPr>
          <a:xfrm flipH="1">
            <a:off x="4437598" y="4268325"/>
            <a:ext cx="338353" cy="124847"/>
            <a:chOff x="7057893" y="4732011"/>
            <a:chExt cx="1436818" cy="530162"/>
          </a:xfrm>
        </p:grpSpPr>
        <p:sp>
          <p:nvSpPr>
            <p:cNvPr id="779" name="Rectangle 1235"/>
            <p:cNvSpPr/>
            <p:nvPr/>
          </p:nvSpPr>
          <p:spPr bwMode="auto">
            <a:xfrm>
              <a:off x="7360767" y="4756776"/>
              <a:ext cx="911364" cy="194233"/>
            </a:xfrm>
            <a:custGeom>
              <a:avLst/>
              <a:gdLst>
                <a:gd name="connsiteX0" fmla="*/ 0 w 841562"/>
                <a:gd name="connsiteY0" fmla="*/ 0 h 194233"/>
                <a:gd name="connsiteX1" fmla="*/ 841562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841562"/>
                <a:gd name="connsiteY0" fmla="*/ 0 h 194233"/>
                <a:gd name="connsiteX1" fmla="*/ 429733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0 w 911364"/>
                <a:gd name="connsiteY4" fmla="*/ 0 h 194233"/>
                <a:gd name="connsiteX0" fmla="*/ 4886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48861 w 911364"/>
                <a:gd name="connsiteY4" fmla="*/ 0 h 194233"/>
                <a:gd name="connsiteX0" fmla="*/ 7678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76781 w 911364"/>
                <a:gd name="connsiteY4" fmla="*/ 0 h 19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64" h="194233">
                  <a:moveTo>
                    <a:pt x="76781" y="0"/>
                  </a:moveTo>
                  <a:lnTo>
                    <a:pt x="429733" y="0"/>
                  </a:lnTo>
                  <a:lnTo>
                    <a:pt x="911364" y="194233"/>
                  </a:lnTo>
                  <a:lnTo>
                    <a:pt x="0" y="194233"/>
                  </a:lnTo>
                  <a:lnTo>
                    <a:pt x="76781" y="0"/>
                  </a:lnTo>
                  <a:close/>
                </a:path>
              </a:pathLst>
            </a:cu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780" name="Group 779"/>
            <p:cNvGrpSpPr/>
            <p:nvPr/>
          </p:nvGrpSpPr>
          <p:grpSpPr>
            <a:xfrm>
              <a:off x="7057893" y="4732011"/>
              <a:ext cx="1436818" cy="530162"/>
              <a:chOff x="26353675" y="5217211"/>
              <a:chExt cx="1436818" cy="530162"/>
            </a:xfrm>
          </p:grpSpPr>
          <p:sp>
            <p:nvSpPr>
              <p:cNvPr id="781" name="Freeform 94"/>
              <p:cNvSpPr>
                <a:spLocks noEditPoints="1"/>
              </p:cNvSpPr>
              <p:nvPr/>
            </p:nvSpPr>
            <p:spPr bwMode="auto">
              <a:xfrm>
                <a:off x="26463166" y="5526472"/>
                <a:ext cx="220901" cy="220901"/>
              </a:xfrm>
              <a:custGeom>
                <a:avLst/>
                <a:gdLst>
                  <a:gd name="T0" fmla="*/ 173 w 345"/>
                  <a:gd name="T1" fmla="*/ 0 h 343"/>
                  <a:gd name="T2" fmla="*/ 138 w 345"/>
                  <a:gd name="T3" fmla="*/ 2 h 343"/>
                  <a:gd name="T4" fmla="*/ 106 w 345"/>
                  <a:gd name="T5" fmla="*/ 13 h 343"/>
                  <a:gd name="T6" fmla="*/ 76 w 345"/>
                  <a:gd name="T7" fmla="*/ 29 h 343"/>
                  <a:gd name="T8" fmla="*/ 51 w 345"/>
                  <a:gd name="T9" fmla="*/ 49 h 343"/>
                  <a:gd name="T10" fmla="*/ 30 w 345"/>
                  <a:gd name="T11" fmla="*/ 75 h 343"/>
                  <a:gd name="T12" fmla="*/ 14 w 345"/>
                  <a:gd name="T13" fmla="*/ 104 h 343"/>
                  <a:gd name="T14" fmla="*/ 4 w 345"/>
                  <a:gd name="T15" fmla="*/ 137 h 343"/>
                  <a:gd name="T16" fmla="*/ 0 w 345"/>
                  <a:gd name="T17" fmla="*/ 172 h 343"/>
                  <a:gd name="T18" fmla="*/ 2 w 345"/>
                  <a:gd name="T19" fmla="*/ 190 h 343"/>
                  <a:gd name="T20" fmla="*/ 8 w 345"/>
                  <a:gd name="T21" fmla="*/ 223 h 343"/>
                  <a:gd name="T22" fmla="*/ 22 w 345"/>
                  <a:gd name="T23" fmla="*/ 254 h 343"/>
                  <a:gd name="T24" fmla="*/ 39 w 345"/>
                  <a:gd name="T25" fmla="*/ 280 h 343"/>
                  <a:gd name="T26" fmla="*/ 63 w 345"/>
                  <a:gd name="T27" fmla="*/ 305 h 343"/>
                  <a:gd name="T28" fmla="*/ 91 w 345"/>
                  <a:gd name="T29" fmla="*/ 323 h 343"/>
                  <a:gd name="T30" fmla="*/ 122 w 345"/>
                  <a:gd name="T31" fmla="*/ 337 h 343"/>
                  <a:gd name="T32" fmla="*/ 155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6 w 345"/>
                  <a:gd name="T45" fmla="*/ 268 h 343"/>
                  <a:gd name="T46" fmla="*/ 332 w 345"/>
                  <a:gd name="T47" fmla="*/ 239 h 343"/>
                  <a:gd name="T48" fmla="*/ 341 w 345"/>
                  <a:gd name="T49" fmla="*/ 206 h 343"/>
                  <a:gd name="T50" fmla="*/ 345 w 345"/>
                  <a:gd name="T51" fmla="*/ 172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3 w 345"/>
                  <a:gd name="T65" fmla="*/ 6 h 343"/>
                  <a:gd name="T66" fmla="*/ 190 w 345"/>
                  <a:gd name="T67" fmla="*/ 0 h 343"/>
                  <a:gd name="T68" fmla="*/ 173 w 345"/>
                  <a:gd name="T69" fmla="*/ 0 h 343"/>
                  <a:gd name="T70" fmla="*/ 173 w 345"/>
                  <a:gd name="T71" fmla="*/ 244 h 343"/>
                  <a:gd name="T72" fmla="*/ 145 w 345"/>
                  <a:gd name="T73" fmla="*/ 238 h 343"/>
                  <a:gd name="T74" fmla="*/ 121 w 345"/>
                  <a:gd name="T75" fmla="*/ 223 h 343"/>
                  <a:gd name="T76" fmla="*/ 106 w 345"/>
                  <a:gd name="T77" fmla="*/ 199 h 343"/>
                  <a:gd name="T78" fmla="*/ 101 w 345"/>
                  <a:gd name="T79" fmla="*/ 171 h 343"/>
                  <a:gd name="T80" fmla="*/ 102 w 345"/>
                  <a:gd name="T81" fmla="*/ 156 h 343"/>
                  <a:gd name="T82" fmla="*/ 113 w 345"/>
                  <a:gd name="T83" fmla="*/ 131 h 343"/>
                  <a:gd name="T84" fmla="*/ 133 w 345"/>
                  <a:gd name="T85" fmla="*/ 111 h 343"/>
                  <a:gd name="T86" fmla="*/ 158 w 345"/>
                  <a:gd name="T87" fmla="*/ 100 h 343"/>
                  <a:gd name="T88" fmla="*/ 173 w 345"/>
                  <a:gd name="T89" fmla="*/ 99 h 343"/>
                  <a:gd name="T90" fmla="*/ 201 w 345"/>
                  <a:gd name="T91" fmla="*/ 104 h 343"/>
                  <a:gd name="T92" fmla="*/ 223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5" y="0"/>
                    </a:lnTo>
                    <a:lnTo>
                      <a:pt x="138" y="2"/>
                    </a:lnTo>
                    <a:lnTo>
                      <a:pt x="122" y="6"/>
                    </a:lnTo>
                    <a:lnTo>
                      <a:pt x="106" y="13"/>
                    </a:lnTo>
                    <a:lnTo>
                      <a:pt x="91" y="20"/>
                    </a:lnTo>
                    <a:lnTo>
                      <a:pt x="76" y="29"/>
                    </a:lnTo>
                    <a:lnTo>
                      <a:pt x="63" y="39"/>
                    </a:lnTo>
                    <a:lnTo>
                      <a:pt x="51" y="49"/>
                    </a:lnTo>
                    <a:lnTo>
                      <a:pt x="39" y="63"/>
                    </a:lnTo>
                    <a:lnTo>
                      <a:pt x="30" y="75"/>
                    </a:lnTo>
                    <a:lnTo>
                      <a:pt x="22" y="89"/>
                    </a:lnTo>
                    <a:lnTo>
                      <a:pt x="14" y="104"/>
                    </a:lnTo>
                    <a:lnTo>
                      <a:pt x="8" y="120"/>
                    </a:lnTo>
                    <a:lnTo>
                      <a:pt x="4" y="137"/>
                    </a:lnTo>
                    <a:lnTo>
                      <a:pt x="2" y="153"/>
                    </a:lnTo>
                    <a:lnTo>
                      <a:pt x="0" y="172"/>
                    </a:lnTo>
                    <a:lnTo>
                      <a:pt x="0" y="172"/>
                    </a:lnTo>
                    <a:lnTo>
                      <a:pt x="2" y="190"/>
                    </a:lnTo>
                    <a:lnTo>
                      <a:pt x="4" y="206"/>
                    </a:lnTo>
                    <a:lnTo>
                      <a:pt x="8" y="223"/>
                    </a:lnTo>
                    <a:lnTo>
                      <a:pt x="14" y="239"/>
                    </a:lnTo>
                    <a:lnTo>
                      <a:pt x="22" y="254"/>
                    </a:lnTo>
                    <a:lnTo>
                      <a:pt x="30" y="268"/>
                    </a:lnTo>
                    <a:lnTo>
                      <a:pt x="39" y="280"/>
                    </a:lnTo>
                    <a:lnTo>
                      <a:pt x="51" y="294"/>
                    </a:lnTo>
                    <a:lnTo>
                      <a:pt x="63" y="305"/>
                    </a:lnTo>
                    <a:lnTo>
                      <a:pt x="76" y="314"/>
                    </a:lnTo>
                    <a:lnTo>
                      <a:pt x="91" y="323"/>
                    </a:lnTo>
                    <a:lnTo>
                      <a:pt x="106" y="330"/>
                    </a:lnTo>
                    <a:lnTo>
                      <a:pt x="122" y="337"/>
                    </a:lnTo>
                    <a:lnTo>
                      <a:pt x="138" y="341"/>
                    </a:lnTo>
                    <a:lnTo>
                      <a:pt x="155" y="343"/>
                    </a:lnTo>
                    <a:lnTo>
                      <a:pt x="173" y="343"/>
                    </a:lnTo>
                    <a:lnTo>
                      <a:pt x="173" y="343"/>
                    </a:lnTo>
                    <a:lnTo>
                      <a:pt x="190" y="343"/>
                    </a:lnTo>
                    <a:lnTo>
                      <a:pt x="207" y="341"/>
                    </a:lnTo>
                    <a:lnTo>
                      <a:pt x="223" y="337"/>
                    </a:lnTo>
                    <a:lnTo>
                      <a:pt x="240" y="330"/>
                    </a:lnTo>
                    <a:lnTo>
                      <a:pt x="254" y="323"/>
                    </a:lnTo>
                    <a:lnTo>
                      <a:pt x="269" y="314"/>
                    </a:lnTo>
                    <a:lnTo>
                      <a:pt x="282" y="305"/>
                    </a:lnTo>
                    <a:lnTo>
                      <a:pt x="294" y="294"/>
                    </a:lnTo>
                    <a:lnTo>
                      <a:pt x="305" y="280"/>
                    </a:lnTo>
                    <a:lnTo>
                      <a:pt x="316" y="268"/>
                    </a:lnTo>
                    <a:lnTo>
                      <a:pt x="324" y="254"/>
                    </a:lnTo>
                    <a:lnTo>
                      <a:pt x="332" y="239"/>
                    </a:lnTo>
                    <a:lnTo>
                      <a:pt x="337" y="223"/>
                    </a:lnTo>
                    <a:lnTo>
                      <a:pt x="341" y="206"/>
                    </a:lnTo>
                    <a:lnTo>
                      <a:pt x="344" y="190"/>
                    </a:lnTo>
                    <a:lnTo>
                      <a:pt x="345" y="172"/>
                    </a:lnTo>
                    <a:lnTo>
                      <a:pt x="345" y="172"/>
                    </a:lnTo>
                    <a:lnTo>
                      <a:pt x="344" y="153"/>
                    </a:lnTo>
                    <a:lnTo>
                      <a:pt x="341" y="137"/>
                    </a:lnTo>
                    <a:lnTo>
                      <a:pt x="337" y="120"/>
                    </a:lnTo>
                    <a:lnTo>
                      <a:pt x="332" y="104"/>
                    </a:lnTo>
                    <a:lnTo>
                      <a:pt x="324" y="89"/>
                    </a:lnTo>
                    <a:lnTo>
                      <a:pt x="316" y="75"/>
                    </a:lnTo>
                    <a:lnTo>
                      <a:pt x="305" y="63"/>
                    </a:lnTo>
                    <a:lnTo>
                      <a:pt x="294" y="49"/>
                    </a:lnTo>
                    <a:lnTo>
                      <a:pt x="282" y="39"/>
                    </a:lnTo>
                    <a:lnTo>
                      <a:pt x="269" y="29"/>
                    </a:lnTo>
                    <a:lnTo>
                      <a:pt x="254" y="20"/>
                    </a:lnTo>
                    <a:lnTo>
                      <a:pt x="240" y="13"/>
                    </a:lnTo>
                    <a:lnTo>
                      <a:pt x="223" y="6"/>
                    </a:lnTo>
                    <a:lnTo>
                      <a:pt x="207" y="2"/>
                    </a:lnTo>
                    <a:lnTo>
                      <a:pt x="190" y="0"/>
                    </a:lnTo>
                    <a:lnTo>
                      <a:pt x="173" y="0"/>
                    </a:lnTo>
                    <a:lnTo>
                      <a:pt x="173" y="0"/>
                    </a:lnTo>
                    <a:close/>
                    <a:moveTo>
                      <a:pt x="173" y="244"/>
                    </a:moveTo>
                    <a:lnTo>
                      <a:pt x="173" y="244"/>
                    </a:lnTo>
                    <a:lnTo>
                      <a:pt x="158" y="242"/>
                    </a:lnTo>
                    <a:lnTo>
                      <a:pt x="145" y="238"/>
                    </a:lnTo>
                    <a:lnTo>
                      <a:pt x="133" y="231"/>
                    </a:lnTo>
                    <a:lnTo>
                      <a:pt x="121" y="223"/>
                    </a:lnTo>
                    <a:lnTo>
                      <a:pt x="113" y="212"/>
                    </a:lnTo>
                    <a:lnTo>
                      <a:pt x="106" y="199"/>
                    </a:lnTo>
                    <a:lnTo>
                      <a:pt x="102" y="186"/>
                    </a:lnTo>
                    <a:lnTo>
                      <a:pt x="101" y="171"/>
                    </a:lnTo>
                    <a:lnTo>
                      <a:pt x="101" y="171"/>
                    </a:lnTo>
                    <a:lnTo>
                      <a:pt x="102" y="156"/>
                    </a:lnTo>
                    <a:lnTo>
                      <a:pt x="106" y="143"/>
                    </a:lnTo>
                    <a:lnTo>
                      <a:pt x="113" y="131"/>
                    </a:lnTo>
                    <a:lnTo>
                      <a:pt x="121" y="120"/>
                    </a:lnTo>
                    <a:lnTo>
                      <a:pt x="133" y="111"/>
                    </a:lnTo>
                    <a:lnTo>
                      <a:pt x="145" y="104"/>
                    </a:lnTo>
                    <a:lnTo>
                      <a:pt x="158" y="100"/>
                    </a:lnTo>
                    <a:lnTo>
                      <a:pt x="173" y="99"/>
                    </a:lnTo>
                    <a:lnTo>
                      <a:pt x="173" y="99"/>
                    </a:lnTo>
                    <a:lnTo>
                      <a:pt x="187" y="100"/>
                    </a:lnTo>
                    <a:lnTo>
                      <a:pt x="201" y="104"/>
                    </a:lnTo>
                    <a:lnTo>
                      <a:pt x="213" y="111"/>
                    </a:lnTo>
                    <a:lnTo>
                      <a:pt x="223" y="120"/>
                    </a:lnTo>
                    <a:lnTo>
                      <a:pt x="233" y="131"/>
                    </a:lnTo>
                    <a:lnTo>
                      <a:pt x="240" y="143"/>
                    </a:lnTo>
                    <a:lnTo>
                      <a:pt x="244" y="156"/>
                    </a:lnTo>
                    <a:lnTo>
                      <a:pt x="245" y="171"/>
                    </a:lnTo>
                    <a:lnTo>
                      <a:pt x="245" y="171"/>
                    </a:lnTo>
                    <a:lnTo>
                      <a:pt x="244" y="186"/>
                    </a:lnTo>
                    <a:lnTo>
                      <a:pt x="240" y="199"/>
                    </a:lnTo>
                    <a:lnTo>
                      <a:pt x="233" y="212"/>
                    </a:lnTo>
                    <a:lnTo>
                      <a:pt x="223"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82" name="Freeform 95"/>
              <p:cNvSpPr>
                <a:spLocks noEditPoints="1"/>
              </p:cNvSpPr>
              <p:nvPr/>
            </p:nvSpPr>
            <p:spPr bwMode="auto">
              <a:xfrm>
                <a:off x="27433211" y="5526472"/>
                <a:ext cx="220901" cy="220901"/>
              </a:xfrm>
              <a:custGeom>
                <a:avLst/>
                <a:gdLst>
                  <a:gd name="T0" fmla="*/ 173 w 345"/>
                  <a:gd name="T1" fmla="*/ 0 h 343"/>
                  <a:gd name="T2" fmla="*/ 138 w 345"/>
                  <a:gd name="T3" fmla="*/ 2 h 343"/>
                  <a:gd name="T4" fmla="*/ 105 w 345"/>
                  <a:gd name="T5" fmla="*/ 13 h 343"/>
                  <a:gd name="T6" fmla="*/ 76 w 345"/>
                  <a:gd name="T7" fmla="*/ 29 h 343"/>
                  <a:gd name="T8" fmla="*/ 50 w 345"/>
                  <a:gd name="T9" fmla="*/ 49 h 343"/>
                  <a:gd name="T10" fmla="*/ 30 w 345"/>
                  <a:gd name="T11" fmla="*/ 75 h 343"/>
                  <a:gd name="T12" fmla="*/ 14 w 345"/>
                  <a:gd name="T13" fmla="*/ 104 h 343"/>
                  <a:gd name="T14" fmla="*/ 3 w 345"/>
                  <a:gd name="T15" fmla="*/ 137 h 343"/>
                  <a:gd name="T16" fmla="*/ 0 w 345"/>
                  <a:gd name="T17" fmla="*/ 171 h 343"/>
                  <a:gd name="T18" fmla="*/ 0 w 345"/>
                  <a:gd name="T19" fmla="*/ 190 h 343"/>
                  <a:gd name="T20" fmla="*/ 8 w 345"/>
                  <a:gd name="T21" fmla="*/ 223 h 343"/>
                  <a:gd name="T22" fmla="*/ 20 w 345"/>
                  <a:gd name="T23" fmla="*/ 254 h 343"/>
                  <a:gd name="T24" fmla="*/ 39 w 345"/>
                  <a:gd name="T25" fmla="*/ 280 h 343"/>
                  <a:gd name="T26" fmla="*/ 63 w 345"/>
                  <a:gd name="T27" fmla="*/ 305 h 343"/>
                  <a:gd name="T28" fmla="*/ 90 w 345"/>
                  <a:gd name="T29" fmla="*/ 323 h 343"/>
                  <a:gd name="T30" fmla="*/ 121 w 345"/>
                  <a:gd name="T31" fmla="*/ 337 h 343"/>
                  <a:gd name="T32" fmla="*/ 154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4 w 345"/>
                  <a:gd name="T45" fmla="*/ 268 h 343"/>
                  <a:gd name="T46" fmla="*/ 330 w 345"/>
                  <a:gd name="T47" fmla="*/ 239 h 343"/>
                  <a:gd name="T48" fmla="*/ 341 w 345"/>
                  <a:gd name="T49" fmla="*/ 206 h 343"/>
                  <a:gd name="T50" fmla="*/ 345 w 345"/>
                  <a:gd name="T51" fmla="*/ 171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4 w 345"/>
                  <a:gd name="T65" fmla="*/ 6 h 343"/>
                  <a:gd name="T66" fmla="*/ 190 w 345"/>
                  <a:gd name="T67" fmla="*/ 0 h 343"/>
                  <a:gd name="T68" fmla="*/ 173 w 345"/>
                  <a:gd name="T69" fmla="*/ 0 h 343"/>
                  <a:gd name="T70" fmla="*/ 173 w 345"/>
                  <a:gd name="T71" fmla="*/ 244 h 343"/>
                  <a:gd name="T72" fmla="*/ 143 w 345"/>
                  <a:gd name="T73" fmla="*/ 238 h 343"/>
                  <a:gd name="T74" fmla="*/ 121 w 345"/>
                  <a:gd name="T75" fmla="*/ 223 h 343"/>
                  <a:gd name="T76" fmla="*/ 106 w 345"/>
                  <a:gd name="T77" fmla="*/ 199 h 343"/>
                  <a:gd name="T78" fmla="*/ 99 w 345"/>
                  <a:gd name="T79" fmla="*/ 171 h 343"/>
                  <a:gd name="T80" fmla="*/ 101 w 345"/>
                  <a:gd name="T81" fmla="*/ 156 h 343"/>
                  <a:gd name="T82" fmla="*/ 113 w 345"/>
                  <a:gd name="T83" fmla="*/ 131 h 343"/>
                  <a:gd name="T84" fmla="*/ 131 w 345"/>
                  <a:gd name="T85" fmla="*/ 111 h 343"/>
                  <a:gd name="T86" fmla="*/ 158 w 345"/>
                  <a:gd name="T87" fmla="*/ 100 h 343"/>
                  <a:gd name="T88" fmla="*/ 173 w 345"/>
                  <a:gd name="T89" fmla="*/ 99 h 343"/>
                  <a:gd name="T90" fmla="*/ 201 w 345"/>
                  <a:gd name="T91" fmla="*/ 104 h 343"/>
                  <a:gd name="T92" fmla="*/ 224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4" y="0"/>
                    </a:lnTo>
                    <a:lnTo>
                      <a:pt x="138" y="2"/>
                    </a:lnTo>
                    <a:lnTo>
                      <a:pt x="121" y="6"/>
                    </a:lnTo>
                    <a:lnTo>
                      <a:pt x="105" y="13"/>
                    </a:lnTo>
                    <a:lnTo>
                      <a:pt x="90" y="20"/>
                    </a:lnTo>
                    <a:lnTo>
                      <a:pt x="76" y="29"/>
                    </a:lnTo>
                    <a:lnTo>
                      <a:pt x="63" y="39"/>
                    </a:lnTo>
                    <a:lnTo>
                      <a:pt x="50" y="49"/>
                    </a:lnTo>
                    <a:lnTo>
                      <a:pt x="39" y="63"/>
                    </a:lnTo>
                    <a:lnTo>
                      <a:pt x="30" y="75"/>
                    </a:lnTo>
                    <a:lnTo>
                      <a:pt x="20" y="89"/>
                    </a:lnTo>
                    <a:lnTo>
                      <a:pt x="14" y="104"/>
                    </a:lnTo>
                    <a:lnTo>
                      <a:pt x="8" y="120"/>
                    </a:lnTo>
                    <a:lnTo>
                      <a:pt x="3" y="137"/>
                    </a:lnTo>
                    <a:lnTo>
                      <a:pt x="0" y="153"/>
                    </a:lnTo>
                    <a:lnTo>
                      <a:pt x="0" y="171"/>
                    </a:lnTo>
                    <a:lnTo>
                      <a:pt x="0" y="171"/>
                    </a:lnTo>
                    <a:lnTo>
                      <a:pt x="0" y="190"/>
                    </a:lnTo>
                    <a:lnTo>
                      <a:pt x="3" y="206"/>
                    </a:lnTo>
                    <a:lnTo>
                      <a:pt x="8" y="223"/>
                    </a:lnTo>
                    <a:lnTo>
                      <a:pt x="14" y="239"/>
                    </a:lnTo>
                    <a:lnTo>
                      <a:pt x="20" y="254"/>
                    </a:lnTo>
                    <a:lnTo>
                      <a:pt x="30" y="268"/>
                    </a:lnTo>
                    <a:lnTo>
                      <a:pt x="39" y="280"/>
                    </a:lnTo>
                    <a:lnTo>
                      <a:pt x="50" y="294"/>
                    </a:lnTo>
                    <a:lnTo>
                      <a:pt x="63" y="305"/>
                    </a:lnTo>
                    <a:lnTo>
                      <a:pt x="76" y="314"/>
                    </a:lnTo>
                    <a:lnTo>
                      <a:pt x="90" y="323"/>
                    </a:lnTo>
                    <a:lnTo>
                      <a:pt x="105" y="330"/>
                    </a:lnTo>
                    <a:lnTo>
                      <a:pt x="121" y="337"/>
                    </a:lnTo>
                    <a:lnTo>
                      <a:pt x="138" y="341"/>
                    </a:lnTo>
                    <a:lnTo>
                      <a:pt x="154" y="343"/>
                    </a:lnTo>
                    <a:lnTo>
                      <a:pt x="173" y="343"/>
                    </a:lnTo>
                    <a:lnTo>
                      <a:pt x="173" y="343"/>
                    </a:lnTo>
                    <a:lnTo>
                      <a:pt x="190" y="343"/>
                    </a:lnTo>
                    <a:lnTo>
                      <a:pt x="207" y="341"/>
                    </a:lnTo>
                    <a:lnTo>
                      <a:pt x="224" y="337"/>
                    </a:lnTo>
                    <a:lnTo>
                      <a:pt x="240" y="330"/>
                    </a:lnTo>
                    <a:lnTo>
                      <a:pt x="254" y="323"/>
                    </a:lnTo>
                    <a:lnTo>
                      <a:pt x="269" y="314"/>
                    </a:lnTo>
                    <a:lnTo>
                      <a:pt x="282" y="305"/>
                    </a:lnTo>
                    <a:lnTo>
                      <a:pt x="294" y="294"/>
                    </a:lnTo>
                    <a:lnTo>
                      <a:pt x="305" y="280"/>
                    </a:lnTo>
                    <a:lnTo>
                      <a:pt x="314" y="268"/>
                    </a:lnTo>
                    <a:lnTo>
                      <a:pt x="324" y="254"/>
                    </a:lnTo>
                    <a:lnTo>
                      <a:pt x="330" y="239"/>
                    </a:lnTo>
                    <a:lnTo>
                      <a:pt x="337" y="223"/>
                    </a:lnTo>
                    <a:lnTo>
                      <a:pt x="341" y="206"/>
                    </a:lnTo>
                    <a:lnTo>
                      <a:pt x="344" y="190"/>
                    </a:lnTo>
                    <a:lnTo>
                      <a:pt x="345" y="171"/>
                    </a:lnTo>
                    <a:lnTo>
                      <a:pt x="345" y="171"/>
                    </a:lnTo>
                    <a:lnTo>
                      <a:pt x="344" y="153"/>
                    </a:lnTo>
                    <a:lnTo>
                      <a:pt x="341" y="137"/>
                    </a:lnTo>
                    <a:lnTo>
                      <a:pt x="337" y="120"/>
                    </a:lnTo>
                    <a:lnTo>
                      <a:pt x="330" y="104"/>
                    </a:lnTo>
                    <a:lnTo>
                      <a:pt x="324" y="89"/>
                    </a:lnTo>
                    <a:lnTo>
                      <a:pt x="314" y="75"/>
                    </a:lnTo>
                    <a:lnTo>
                      <a:pt x="305" y="63"/>
                    </a:lnTo>
                    <a:lnTo>
                      <a:pt x="294" y="49"/>
                    </a:lnTo>
                    <a:lnTo>
                      <a:pt x="282" y="39"/>
                    </a:lnTo>
                    <a:lnTo>
                      <a:pt x="269" y="29"/>
                    </a:lnTo>
                    <a:lnTo>
                      <a:pt x="254" y="20"/>
                    </a:lnTo>
                    <a:lnTo>
                      <a:pt x="240" y="13"/>
                    </a:lnTo>
                    <a:lnTo>
                      <a:pt x="224" y="6"/>
                    </a:lnTo>
                    <a:lnTo>
                      <a:pt x="207" y="2"/>
                    </a:lnTo>
                    <a:lnTo>
                      <a:pt x="190" y="0"/>
                    </a:lnTo>
                    <a:lnTo>
                      <a:pt x="173" y="0"/>
                    </a:lnTo>
                    <a:lnTo>
                      <a:pt x="173" y="0"/>
                    </a:lnTo>
                    <a:close/>
                    <a:moveTo>
                      <a:pt x="173" y="244"/>
                    </a:moveTo>
                    <a:lnTo>
                      <a:pt x="173" y="244"/>
                    </a:lnTo>
                    <a:lnTo>
                      <a:pt x="158" y="242"/>
                    </a:lnTo>
                    <a:lnTo>
                      <a:pt x="143" y="238"/>
                    </a:lnTo>
                    <a:lnTo>
                      <a:pt x="131" y="231"/>
                    </a:lnTo>
                    <a:lnTo>
                      <a:pt x="121" y="223"/>
                    </a:lnTo>
                    <a:lnTo>
                      <a:pt x="113" y="212"/>
                    </a:lnTo>
                    <a:lnTo>
                      <a:pt x="106" y="199"/>
                    </a:lnTo>
                    <a:lnTo>
                      <a:pt x="101" y="186"/>
                    </a:lnTo>
                    <a:lnTo>
                      <a:pt x="99" y="171"/>
                    </a:lnTo>
                    <a:lnTo>
                      <a:pt x="99" y="171"/>
                    </a:lnTo>
                    <a:lnTo>
                      <a:pt x="101" y="156"/>
                    </a:lnTo>
                    <a:lnTo>
                      <a:pt x="105" y="143"/>
                    </a:lnTo>
                    <a:lnTo>
                      <a:pt x="113" y="131"/>
                    </a:lnTo>
                    <a:lnTo>
                      <a:pt x="121" y="120"/>
                    </a:lnTo>
                    <a:lnTo>
                      <a:pt x="131" y="111"/>
                    </a:lnTo>
                    <a:lnTo>
                      <a:pt x="143" y="104"/>
                    </a:lnTo>
                    <a:lnTo>
                      <a:pt x="158" y="100"/>
                    </a:lnTo>
                    <a:lnTo>
                      <a:pt x="173" y="99"/>
                    </a:lnTo>
                    <a:lnTo>
                      <a:pt x="173" y="99"/>
                    </a:lnTo>
                    <a:lnTo>
                      <a:pt x="187" y="100"/>
                    </a:lnTo>
                    <a:lnTo>
                      <a:pt x="201" y="104"/>
                    </a:lnTo>
                    <a:lnTo>
                      <a:pt x="213" y="111"/>
                    </a:lnTo>
                    <a:lnTo>
                      <a:pt x="224" y="120"/>
                    </a:lnTo>
                    <a:lnTo>
                      <a:pt x="233" y="131"/>
                    </a:lnTo>
                    <a:lnTo>
                      <a:pt x="240" y="143"/>
                    </a:lnTo>
                    <a:lnTo>
                      <a:pt x="244" y="156"/>
                    </a:lnTo>
                    <a:lnTo>
                      <a:pt x="245" y="171"/>
                    </a:lnTo>
                    <a:lnTo>
                      <a:pt x="245" y="171"/>
                    </a:lnTo>
                    <a:lnTo>
                      <a:pt x="244" y="186"/>
                    </a:lnTo>
                    <a:lnTo>
                      <a:pt x="240" y="199"/>
                    </a:lnTo>
                    <a:lnTo>
                      <a:pt x="233" y="212"/>
                    </a:lnTo>
                    <a:lnTo>
                      <a:pt x="224"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83" name="Freeform 96"/>
              <p:cNvSpPr>
                <a:spLocks noEditPoints="1"/>
              </p:cNvSpPr>
              <p:nvPr/>
            </p:nvSpPr>
            <p:spPr bwMode="auto">
              <a:xfrm>
                <a:off x="26353675" y="5217211"/>
                <a:ext cx="1436818" cy="453328"/>
              </a:xfrm>
              <a:custGeom>
                <a:avLst/>
                <a:gdLst>
                  <a:gd name="T0" fmla="*/ 1617 w 2244"/>
                  <a:gd name="T1" fmla="*/ 175 h 707"/>
                  <a:gd name="T2" fmla="*/ 1302 w 2244"/>
                  <a:gd name="T3" fmla="*/ 44 h 707"/>
                  <a:gd name="T4" fmla="*/ 1200 w 2244"/>
                  <a:gd name="T5" fmla="*/ 12 h 707"/>
                  <a:gd name="T6" fmla="*/ 1049 w 2244"/>
                  <a:gd name="T7" fmla="*/ 0 h 707"/>
                  <a:gd name="T8" fmla="*/ 743 w 2244"/>
                  <a:gd name="T9" fmla="*/ 11 h 707"/>
                  <a:gd name="T10" fmla="*/ 591 w 2244"/>
                  <a:gd name="T11" fmla="*/ 28 h 707"/>
                  <a:gd name="T12" fmla="*/ 296 w 2244"/>
                  <a:gd name="T13" fmla="*/ 166 h 707"/>
                  <a:gd name="T14" fmla="*/ 0 w 2244"/>
                  <a:gd name="T15" fmla="*/ 553 h 707"/>
                  <a:gd name="T16" fmla="*/ 8 w 2244"/>
                  <a:gd name="T17" fmla="*/ 707 h 707"/>
                  <a:gd name="T18" fmla="*/ 137 w 2244"/>
                  <a:gd name="T19" fmla="*/ 635 h 707"/>
                  <a:gd name="T20" fmla="*/ 161 w 2244"/>
                  <a:gd name="T21" fmla="*/ 556 h 707"/>
                  <a:gd name="T22" fmla="*/ 211 w 2244"/>
                  <a:gd name="T23" fmla="*/ 494 h 707"/>
                  <a:gd name="T24" fmla="*/ 282 w 2244"/>
                  <a:gd name="T25" fmla="*/ 456 h 707"/>
                  <a:gd name="T26" fmla="*/ 344 w 2244"/>
                  <a:gd name="T27" fmla="*/ 446 h 707"/>
                  <a:gd name="T28" fmla="*/ 425 w 2244"/>
                  <a:gd name="T29" fmla="*/ 464 h 707"/>
                  <a:gd name="T30" fmla="*/ 491 w 2244"/>
                  <a:gd name="T31" fmla="*/ 508 h 707"/>
                  <a:gd name="T32" fmla="*/ 536 w 2244"/>
                  <a:gd name="T33" fmla="*/ 575 h 707"/>
                  <a:gd name="T34" fmla="*/ 552 w 2244"/>
                  <a:gd name="T35" fmla="*/ 656 h 707"/>
                  <a:gd name="T36" fmla="*/ 1648 w 2244"/>
                  <a:gd name="T37" fmla="*/ 643 h 707"/>
                  <a:gd name="T38" fmla="*/ 1663 w 2244"/>
                  <a:gd name="T39" fmla="*/ 563 h 707"/>
                  <a:gd name="T40" fmla="*/ 1706 w 2244"/>
                  <a:gd name="T41" fmla="*/ 500 h 707"/>
                  <a:gd name="T42" fmla="*/ 1770 w 2244"/>
                  <a:gd name="T43" fmla="*/ 457 h 707"/>
                  <a:gd name="T44" fmla="*/ 1850 w 2244"/>
                  <a:gd name="T45" fmla="*/ 442 h 707"/>
                  <a:gd name="T46" fmla="*/ 1913 w 2244"/>
                  <a:gd name="T47" fmla="*/ 450 h 707"/>
                  <a:gd name="T48" fmla="*/ 1985 w 2244"/>
                  <a:gd name="T49" fmla="*/ 486 h 707"/>
                  <a:gd name="T50" fmla="*/ 2039 w 2244"/>
                  <a:gd name="T51" fmla="*/ 545 h 707"/>
                  <a:gd name="T52" fmla="*/ 2064 w 2244"/>
                  <a:gd name="T53" fmla="*/ 621 h 707"/>
                  <a:gd name="T54" fmla="*/ 2091 w 2244"/>
                  <a:gd name="T55" fmla="*/ 703 h 707"/>
                  <a:gd name="T56" fmla="*/ 2223 w 2244"/>
                  <a:gd name="T57" fmla="*/ 698 h 707"/>
                  <a:gd name="T58" fmla="*/ 2244 w 2244"/>
                  <a:gd name="T59" fmla="*/ 658 h 707"/>
                  <a:gd name="T60" fmla="*/ 2234 w 2244"/>
                  <a:gd name="T61" fmla="*/ 523 h 707"/>
                  <a:gd name="T62" fmla="*/ 2204 w 2244"/>
                  <a:gd name="T63" fmla="*/ 428 h 707"/>
                  <a:gd name="T64" fmla="*/ 2178 w 2244"/>
                  <a:gd name="T65" fmla="*/ 392 h 707"/>
                  <a:gd name="T66" fmla="*/ 2111 w 2244"/>
                  <a:gd name="T67" fmla="*/ 346 h 707"/>
                  <a:gd name="T68" fmla="*/ 2017 w 2244"/>
                  <a:gd name="T69" fmla="*/ 306 h 707"/>
                  <a:gd name="T70" fmla="*/ 1759 w 2244"/>
                  <a:gd name="T71" fmla="*/ 239 h 707"/>
                  <a:gd name="T72" fmla="*/ 588 w 2244"/>
                  <a:gd name="T73" fmla="*/ 251 h 707"/>
                  <a:gd name="T74" fmla="*/ 648 w 2244"/>
                  <a:gd name="T75" fmla="*/ 156 h 707"/>
                  <a:gd name="T76" fmla="*/ 691 w 2244"/>
                  <a:gd name="T77" fmla="*/ 114 h 707"/>
                  <a:gd name="T78" fmla="*/ 733 w 2244"/>
                  <a:gd name="T79" fmla="*/ 96 h 707"/>
                  <a:gd name="T80" fmla="*/ 848 w 2244"/>
                  <a:gd name="T81" fmla="*/ 82 h 707"/>
                  <a:gd name="T82" fmla="*/ 980 w 2244"/>
                  <a:gd name="T83" fmla="*/ 297 h 707"/>
                  <a:gd name="T84" fmla="*/ 1039 w 2244"/>
                  <a:gd name="T85" fmla="*/ 78 h 707"/>
                  <a:gd name="T86" fmla="*/ 1158 w 2244"/>
                  <a:gd name="T87" fmla="*/ 84 h 707"/>
                  <a:gd name="T88" fmla="*/ 1317 w 2244"/>
                  <a:gd name="T89" fmla="*/ 123 h 707"/>
                  <a:gd name="T90" fmla="*/ 1464 w 2244"/>
                  <a:gd name="T91" fmla="*/ 180 h 707"/>
                  <a:gd name="T92" fmla="*/ 1616 w 2244"/>
                  <a:gd name="T93" fmla="*/ 259 h 707"/>
                  <a:gd name="T94" fmla="*/ 1672 w 2244"/>
                  <a:gd name="T95" fmla="*/ 302 h 707"/>
                  <a:gd name="T96" fmla="*/ 1670 w 2244"/>
                  <a:gd name="T97" fmla="*/ 318 h 707"/>
                  <a:gd name="T98" fmla="*/ 1630 w 2244"/>
                  <a:gd name="T99" fmla="*/ 323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4" h="707">
                    <a:moveTo>
                      <a:pt x="1759" y="239"/>
                    </a:moveTo>
                    <a:lnTo>
                      <a:pt x="1759" y="239"/>
                    </a:lnTo>
                    <a:lnTo>
                      <a:pt x="1691" y="207"/>
                    </a:lnTo>
                    <a:lnTo>
                      <a:pt x="1617" y="175"/>
                    </a:lnTo>
                    <a:lnTo>
                      <a:pt x="1531" y="136"/>
                    </a:lnTo>
                    <a:lnTo>
                      <a:pt x="1437" y="96"/>
                    </a:lnTo>
                    <a:lnTo>
                      <a:pt x="1345" y="60"/>
                    </a:lnTo>
                    <a:lnTo>
                      <a:pt x="1302" y="44"/>
                    </a:lnTo>
                    <a:lnTo>
                      <a:pt x="1263" y="31"/>
                    </a:lnTo>
                    <a:lnTo>
                      <a:pt x="1229" y="20"/>
                    </a:lnTo>
                    <a:lnTo>
                      <a:pt x="1200" y="12"/>
                    </a:lnTo>
                    <a:lnTo>
                      <a:pt x="1200" y="12"/>
                    </a:lnTo>
                    <a:lnTo>
                      <a:pt x="1171" y="8"/>
                    </a:lnTo>
                    <a:lnTo>
                      <a:pt x="1136" y="4"/>
                    </a:lnTo>
                    <a:lnTo>
                      <a:pt x="1095" y="1"/>
                    </a:lnTo>
                    <a:lnTo>
                      <a:pt x="1049" y="0"/>
                    </a:lnTo>
                    <a:lnTo>
                      <a:pt x="1000" y="0"/>
                    </a:lnTo>
                    <a:lnTo>
                      <a:pt x="949" y="0"/>
                    </a:lnTo>
                    <a:lnTo>
                      <a:pt x="844" y="4"/>
                    </a:lnTo>
                    <a:lnTo>
                      <a:pt x="743" y="11"/>
                    </a:lnTo>
                    <a:lnTo>
                      <a:pt x="698" y="13"/>
                    </a:lnTo>
                    <a:lnTo>
                      <a:pt x="656" y="19"/>
                    </a:lnTo>
                    <a:lnTo>
                      <a:pt x="620" y="23"/>
                    </a:lnTo>
                    <a:lnTo>
                      <a:pt x="591" y="28"/>
                    </a:lnTo>
                    <a:lnTo>
                      <a:pt x="568" y="33"/>
                    </a:lnTo>
                    <a:lnTo>
                      <a:pt x="562" y="36"/>
                    </a:lnTo>
                    <a:lnTo>
                      <a:pt x="556" y="39"/>
                    </a:lnTo>
                    <a:lnTo>
                      <a:pt x="296" y="166"/>
                    </a:lnTo>
                    <a:lnTo>
                      <a:pt x="42" y="290"/>
                    </a:lnTo>
                    <a:lnTo>
                      <a:pt x="0" y="531"/>
                    </a:lnTo>
                    <a:lnTo>
                      <a:pt x="0" y="531"/>
                    </a:lnTo>
                    <a:lnTo>
                      <a:pt x="0" y="553"/>
                    </a:lnTo>
                    <a:lnTo>
                      <a:pt x="0" y="607"/>
                    </a:lnTo>
                    <a:lnTo>
                      <a:pt x="3" y="666"/>
                    </a:lnTo>
                    <a:lnTo>
                      <a:pt x="6" y="690"/>
                    </a:lnTo>
                    <a:lnTo>
                      <a:pt x="8" y="707"/>
                    </a:lnTo>
                    <a:lnTo>
                      <a:pt x="134" y="707"/>
                    </a:lnTo>
                    <a:lnTo>
                      <a:pt x="135" y="656"/>
                    </a:lnTo>
                    <a:lnTo>
                      <a:pt x="135" y="656"/>
                    </a:lnTo>
                    <a:lnTo>
                      <a:pt x="137" y="635"/>
                    </a:lnTo>
                    <a:lnTo>
                      <a:pt x="139" y="613"/>
                    </a:lnTo>
                    <a:lnTo>
                      <a:pt x="145" y="593"/>
                    </a:lnTo>
                    <a:lnTo>
                      <a:pt x="151" y="575"/>
                    </a:lnTo>
                    <a:lnTo>
                      <a:pt x="161" y="556"/>
                    </a:lnTo>
                    <a:lnTo>
                      <a:pt x="171" y="539"/>
                    </a:lnTo>
                    <a:lnTo>
                      <a:pt x="183" y="523"/>
                    </a:lnTo>
                    <a:lnTo>
                      <a:pt x="197" y="508"/>
                    </a:lnTo>
                    <a:lnTo>
                      <a:pt x="211" y="494"/>
                    </a:lnTo>
                    <a:lnTo>
                      <a:pt x="227" y="482"/>
                    </a:lnTo>
                    <a:lnTo>
                      <a:pt x="245" y="472"/>
                    </a:lnTo>
                    <a:lnTo>
                      <a:pt x="262" y="464"/>
                    </a:lnTo>
                    <a:lnTo>
                      <a:pt x="282" y="456"/>
                    </a:lnTo>
                    <a:lnTo>
                      <a:pt x="302" y="452"/>
                    </a:lnTo>
                    <a:lnTo>
                      <a:pt x="322" y="448"/>
                    </a:lnTo>
                    <a:lnTo>
                      <a:pt x="344" y="446"/>
                    </a:lnTo>
                    <a:lnTo>
                      <a:pt x="344" y="446"/>
                    </a:lnTo>
                    <a:lnTo>
                      <a:pt x="365" y="448"/>
                    </a:lnTo>
                    <a:lnTo>
                      <a:pt x="385" y="452"/>
                    </a:lnTo>
                    <a:lnTo>
                      <a:pt x="405" y="456"/>
                    </a:lnTo>
                    <a:lnTo>
                      <a:pt x="425" y="464"/>
                    </a:lnTo>
                    <a:lnTo>
                      <a:pt x="443" y="472"/>
                    </a:lnTo>
                    <a:lnTo>
                      <a:pt x="460" y="482"/>
                    </a:lnTo>
                    <a:lnTo>
                      <a:pt x="476" y="494"/>
                    </a:lnTo>
                    <a:lnTo>
                      <a:pt x="491" y="508"/>
                    </a:lnTo>
                    <a:lnTo>
                      <a:pt x="504" y="523"/>
                    </a:lnTo>
                    <a:lnTo>
                      <a:pt x="516" y="539"/>
                    </a:lnTo>
                    <a:lnTo>
                      <a:pt x="527" y="556"/>
                    </a:lnTo>
                    <a:lnTo>
                      <a:pt x="536" y="575"/>
                    </a:lnTo>
                    <a:lnTo>
                      <a:pt x="543" y="593"/>
                    </a:lnTo>
                    <a:lnTo>
                      <a:pt x="548" y="613"/>
                    </a:lnTo>
                    <a:lnTo>
                      <a:pt x="551" y="635"/>
                    </a:lnTo>
                    <a:lnTo>
                      <a:pt x="552" y="656"/>
                    </a:lnTo>
                    <a:lnTo>
                      <a:pt x="556" y="707"/>
                    </a:lnTo>
                    <a:lnTo>
                      <a:pt x="1647" y="707"/>
                    </a:lnTo>
                    <a:lnTo>
                      <a:pt x="1648" y="643"/>
                    </a:lnTo>
                    <a:lnTo>
                      <a:pt x="1648" y="643"/>
                    </a:lnTo>
                    <a:lnTo>
                      <a:pt x="1648" y="621"/>
                    </a:lnTo>
                    <a:lnTo>
                      <a:pt x="1652" y="601"/>
                    </a:lnTo>
                    <a:lnTo>
                      <a:pt x="1656" y="581"/>
                    </a:lnTo>
                    <a:lnTo>
                      <a:pt x="1663" y="563"/>
                    </a:lnTo>
                    <a:lnTo>
                      <a:pt x="1671" y="545"/>
                    </a:lnTo>
                    <a:lnTo>
                      <a:pt x="1682" y="528"/>
                    </a:lnTo>
                    <a:lnTo>
                      <a:pt x="1692" y="513"/>
                    </a:lnTo>
                    <a:lnTo>
                      <a:pt x="1706" y="500"/>
                    </a:lnTo>
                    <a:lnTo>
                      <a:pt x="1720" y="486"/>
                    </a:lnTo>
                    <a:lnTo>
                      <a:pt x="1735" y="476"/>
                    </a:lnTo>
                    <a:lnTo>
                      <a:pt x="1752" y="465"/>
                    </a:lnTo>
                    <a:lnTo>
                      <a:pt x="1770" y="457"/>
                    </a:lnTo>
                    <a:lnTo>
                      <a:pt x="1789" y="450"/>
                    </a:lnTo>
                    <a:lnTo>
                      <a:pt x="1809" y="446"/>
                    </a:lnTo>
                    <a:lnTo>
                      <a:pt x="1829" y="444"/>
                    </a:lnTo>
                    <a:lnTo>
                      <a:pt x="1850" y="442"/>
                    </a:lnTo>
                    <a:lnTo>
                      <a:pt x="1850" y="442"/>
                    </a:lnTo>
                    <a:lnTo>
                      <a:pt x="1871" y="444"/>
                    </a:lnTo>
                    <a:lnTo>
                      <a:pt x="1893" y="446"/>
                    </a:lnTo>
                    <a:lnTo>
                      <a:pt x="1913" y="450"/>
                    </a:lnTo>
                    <a:lnTo>
                      <a:pt x="1932" y="457"/>
                    </a:lnTo>
                    <a:lnTo>
                      <a:pt x="1950" y="465"/>
                    </a:lnTo>
                    <a:lnTo>
                      <a:pt x="1969" y="476"/>
                    </a:lnTo>
                    <a:lnTo>
                      <a:pt x="1985" y="486"/>
                    </a:lnTo>
                    <a:lnTo>
                      <a:pt x="2001" y="500"/>
                    </a:lnTo>
                    <a:lnTo>
                      <a:pt x="2014" y="513"/>
                    </a:lnTo>
                    <a:lnTo>
                      <a:pt x="2028" y="528"/>
                    </a:lnTo>
                    <a:lnTo>
                      <a:pt x="2039" y="545"/>
                    </a:lnTo>
                    <a:lnTo>
                      <a:pt x="2048" y="563"/>
                    </a:lnTo>
                    <a:lnTo>
                      <a:pt x="2055" y="581"/>
                    </a:lnTo>
                    <a:lnTo>
                      <a:pt x="2060" y="601"/>
                    </a:lnTo>
                    <a:lnTo>
                      <a:pt x="2064" y="621"/>
                    </a:lnTo>
                    <a:lnTo>
                      <a:pt x="2065" y="643"/>
                    </a:lnTo>
                    <a:lnTo>
                      <a:pt x="2069" y="702"/>
                    </a:lnTo>
                    <a:lnTo>
                      <a:pt x="2069" y="702"/>
                    </a:lnTo>
                    <a:lnTo>
                      <a:pt x="2091" y="703"/>
                    </a:lnTo>
                    <a:lnTo>
                      <a:pt x="2140" y="703"/>
                    </a:lnTo>
                    <a:lnTo>
                      <a:pt x="2169" y="703"/>
                    </a:lnTo>
                    <a:lnTo>
                      <a:pt x="2198" y="702"/>
                    </a:lnTo>
                    <a:lnTo>
                      <a:pt x="2223" y="698"/>
                    </a:lnTo>
                    <a:lnTo>
                      <a:pt x="2234" y="696"/>
                    </a:lnTo>
                    <a:lnTo>
                      <a:pt x="2243" y="694"/>
                    </a:lnTo>
                    <a:lnTo>
                      <a:pt x="2243" y="694"/>
                    </a:lnTo>
                    <a:lnTo>
                      <a:pt x="2244" y="658"/>
                    </a:lnTo>
                    <a:lnTo>
                      <a:pt x="2243" y="619"/>
                    </a:lnTo>
                    <a:lnTo>
                      <a:pt x="2240" y="573"/>
                    </a:lnTo>
                    <a:lnTo>
                      <a:pt x="2238" y="548"/>
                    </a:lnTo>
                    <a:lnTo>
                      <a:pt x="2234" y="523"/>
                    </a:lnTo>
                    <a:lnTo>
                      <a:pt x="2228" y="497"/>
                    </a:lnTo>
                    <a:lnTo>
                      <a:pt x="2222" y="473"/>
                    </a:lnTo>
                    <a:lnTo>
                      <a:pt x="2214" y="449"/>
                    </a:lnTo>
                    <a:lnTo>
                      <a:pt x="2204" y="428"/>
                    </a:lnTo>
                    <a:lnTo>
                      <a:pt x="2192" y="409"/>
                    </a:lnTo>
                    <a:lnTo>
                      <a:pt x="2186" y="400"/>
                    </a:lnTo>
                    <a:lnTo>
                      <a:pt x="2178" y="392"/>
                    </a:lnTo>
                    <a:lnTo>
                      <a:pt x="2178" y="392"/>
                    </a:lnTo>
                    <a:lnTo>
                      <a:pt x="2164" y="380"/>
                    </a:lnTo>
                    <a:lnTo>
                      <a:pt x="2148" y="368"/>
                    </a:lnTo>
                    <a:lnTo>
                      <a:pt x="2129" y="357"/>
                    </a:lnTo>
                    <a:lnTo>
                      <a:pt x="2111" y="346"/>
                    </a:lnTo>
                    <a:lnTo>
                      <a:pt x="2089" y="335"/>
                    </a:lnTo>
                    <a:lnTo>
                      <a:pt x="2068" y="325"/>
                    </a:lnTo>
                    <a:lnTo>
                      <a:pt x="2044" y="315"/>
                    </a:lnTo>
                    <a:lnTo>
                      <a:pt x="2017" y="306"/>
                    </a:lnTo>
                    <a:lnTo>
                      <a:pt x="1962" y="289"/>
                    </a:lnTo>
                    <a:lnTo>
                      <a:pt x="1900" y="271"/>
                    </a:lnTo>
                    <a:lnTo>
                      <a:pt x="1833" y="255"/>
                    </a:lnTo>
                    <a:lnTo>
                      <a:pt x="1759" y="239"/>
                    </a:lnTo>
                    <a:lnTo>
                      <a:pt x="1759" y="239"/>
                    </a:lnTo>
                    <a:close/>
                    <a:moveTo>
                      <a:pt x="579" y="270"/>
                    </a:moveTo>
                    <a:lnTo>
                      <a:pt x="579" y="270"/>
                    </a:lnTo>
                    <a:lnTo>
                      <a:pt x="588" y="251"/>
                    </a:lnTo>
                    <a:lnTo>
                      <a:pt x="599" y="231"/>
                    </a:lnTo>
                    <a:lnTo>
                      <a:pt x="614" y="207"/>
                    </a:lnTo>
                    <a:lnTo>
                      <a:pt x="630" y="182"/>
                    </a:lnTo>
                    <a:lnTo>
                      <a:pt x="648" y="156"/>
                    </a:lnTo>
                    <a:lnTo>
                      <a:pt x="659" y="144"/>
                    </a:lnTo>
                    <a:lnTo>
                      <a:pt x="668" y="132"/>
                    </a:lnTo>
                    <a:lnTo>
                      <a:pt x="679" y="123"/>
                    </a:lnTo>
                    <a:lnTo>
                      <a:pt x="691" y="114"/>
                    </a:lnTo>
                    <a:lnTo>
                      <a:pt x="691" y="114"/>
                    </a:lnTo>
                    <a:lnTo>
                      <a:pt x="701" y="107"/>
                    </a:lnTo>
                    <a:lnTo>
                      <a:pt x="715" y="102"/>
                    </a:lnTo>
                    <a:lnTo>
                      <a:pt x="733" y="96"/>
                    </a:lnTo>
                    <a:lnTo>
                      <a:pt x="753" y="92"/>
                    </a:lnTo>
                    <a:lnTo>
                      <a:pt x="775" y="90"/>
                    </a:lnTo>
                    <a:lnTo>
                      <a:pt x="798" y="86"/>
                    </a:lnTo>
                    <a:lnTo>
                      <a:pt x="848" y="82"/>
                    </a:lnTo>
                    <a:lnTo>
                      <a:pt x="894" y="79"/>
                    </a:lnTo>
                    <a:lnTo>
                      <a:pt x="934" y="78"/>
                    </a:lnTo>
                    <a:lnTo>
                      <a:pt x="972" y="78"/>
                    </a:lnTo>
                    <a:lnTo>
                      <a:pt x="980" y="297"/>
                    </a:lnTo>
                    <a:lnTo>
                      <a:pt x="579" y="270"/>
                    </a:lnTo>
                    <a:close/>
                    <a:moveTo>
                      <a:pt x="1609" y="322"/>
                    </a:moveTo>
                    <a:lnTo>
                      <a:pt x="1052" y="299"/>
                    </a:lnTo>
                    <a:lnTo>
                      <a:pt x="1039" y="78"/>
                    </a:lnTo>
                    <a:lnTo>
                      <a:pt x="1039" y="78"/>
                    </a:lnTo>
                    <a:lnTo>
                      <a:pt x="1079" y="78"/>
                    </a:lnTo>
                    <a:lnTo>
                      <a:pt x="1118" y="80"/>
                    </a:lnTo>
                    <a:lnTo>
                      <a:pt x="1158" y="84"/>
                    </a:lnTo>
                    <a:lnTo>
                      <a:pt x="1198" y="91"/>
                    </a:lnTo>
                    <a:lnTo>
                      <a:pt x="1238" y="100"/>
                    </a:lnTo>
                    <a:lnTo>
                      <a:pt x="1277" y="111"/>
                    </a:lnTo>
                    <a:lnTo>
                      <a:pt x="1317" y="123"/>
                    </a:lnTo>
                    <a:lnTo>
                      <a:pt x="1354" y="136"/>
                    </a:lnTo>
                    <a:lnTo>
                      <a:pt x="1392" y="150"/>
                    </a:lnTo>
                    <a:lnTo>
                      <a:pt x="1429" y="164"/>
                    </a:lnTo>
                    <a:lnTo>
                      <a:pt x="1464" y="180"/>
                    </a:lnTo>
                    <a:lnTo>
                      <a:pt x="1499" y="196"/>
                    </a:lnTo>
                    <a:lnTo>
                      <a:pt x="1561" y="229"/>
                    </a:lnTo>
                    <a:lnTo>
                      <a:pt x="1616" y="259"/>
                    </a:lnTo>
                    <a:lnTo>
                      <a:pt x="1616" y="259"/>
                    </a:lnTo>
                    <a:lnTo>
                      <a:pt x="1639" y="273"/>
                    </a:lnTo>
                    <a:lnTo>
                      <a:pt x="1655" y="285"/>
                    </a:lnTo>
                    <a:lnTo>
                      <a:pt x="1666" y="294"/>
                    </a:lnTo>
                    <a:lnTo>
                      <a:pt x="1672" y="302"/>
                    </a:lnTo>
                    <a:lnTo>
                      <a:pt x="1675" y="309"/>
                    </a:lnTo>
                    <a:lnTo>
                      <a:pt x="1675" y="311"/>
                    </a:lnTo>
                    <a:lnTo>
                      <a:pt x="1674" y="314"/>
                    </a:lnTo>
                    <a:lnTo>
                      <a:pt x="1670" y="318"/>
                    </a:lnTo>
                    <a:lnTo>
                      <a:pt x="1664" y="321"/>
                    </a:lnTo>
                    <a:lnTo>
                      <a:pt x="1656" y="322"/>
                    </a:lnTo>
                    <a:lnTo>
                      <a:pt x="1647" y="323"/>
                    </a:lnTo>
                    <a:lnTo>
                      <a:pt x="1630" y="323"/>
                    </a:lnTo>
                    <a:lnTo>
                      <a:pt x="1609" y="322"/>
                    </a:lnTo>
                    <a:lnTo>
                      <a:pt x="1609" y="322"/>
                    </a:lnTo>
                    <a:close/>
                  </a:path>
                </a:pathLst>
              </a:custGeom>
              <a:solidFill>
                <a:schemeClr val="accent1">
                  <a:lumMod val="60000"/>
                  <a:lumOff val="40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84" name="Group 783"/>
          <p:cNvGrpSpPr>
            <a:grpSpLocks noChangeAspect="1"/>
          </p:cNvGrpSpPr>
          <p:nvPr/>
        </p:nvGrpSpPr>
        <p:grpSpPr>
          <a:xfrm flipH="1">
            <a:off x="3425097" y="4321672"/>
            <a:ext cx="367079" cy="169646"/>
            <a:chOff x="-1906588" y="3775483"/>
            <a:chExt cx="1195388" cy="552450"/>
          </a:xfrm>
        </p:grpSpPr>
        <p:sp>
          <p:nvSpPr>
            <p:cNvPr id="785" name="Trapezoid 784"/>
            <p:cNvSpPr/>
            <p:nvPr/>
          </p:nvSpPr>
          <p:spPr bwMode="auto">
            <a:xfrm>
              <a:off x="-1553757" y="3792879"/>
              <a:ext cx="682047" cy="218734"/>
            </a:xfrm>
            <a:prstGeom prst="trapezoid">
              <a:avLst>
                <a:gd name="adj" fmla="val 78668"/>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86" name="Oval 785"/>
            <p:cNvSpPr/>
            <p:nvPr/>
          </p:nvSpPr>
          <p:spPr bwMode="auto">
            <a:xfrm>
              <a:off x="-1085851" y="4118618"/>
              <a:ext cx="207963" cy="207963"/>
            </a:xfrm>
            <a:prstGeom prst="ellipse">
              <a:avLst/>
            </a:prstGeom>
            <a:solidFill>
              <a:schemeClr val="accent5">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87" name="Oval 786"/>
            <p:cNvSpPr/>
            <p:nvPr/>
          </p:nvSpPr>
          <p:spPr bwMode="auto">
            <a:xfrm>
              <a:off x="-1846263" y="4118618"/>
              <a:ext cx="207963" cy="207963"/>
            </a:xfrm>
            <a:prstGeom prst="ellipse">
              <a:avLst/>
            </a:prstGeom>
            <a:solidFill>
              <a:schemeClr val="accent5">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788" name="Group 787"/>
            <p:cNvGrpSpPr/>
            <p:nvPr/>
          </p:nvGrpSpPr>
          <p:grpSpPr>
            <a:xfrm>
              <a:off x="-1906588" y="3775483"/>
              <a:ext cx="1195388" cy="552450"/>
              <a:chOff x="-3025776" y="4090988"/>
              <a:chExt cx="1195388" cy="552450"/>
            </a:xfrm>
          </p:grpSpPr>
          <p:sp>
            <p:nvSpPr>
              <p:cNvPr id="789" name="Freeform 199"/>
              <p:cNvSpPr>
                <a:spLocks noEditPoints="1"/>
              </p:cNvSpPr>
              <p:nvPr/>
            </p:nvSpPr>
            <p:spPr bwMode="auto">
              <a:xfrm>
                <a:off x="-2965451" y="4433888"/>
                <a:ext cx="207963" cy="209550"/>
              </a:xfrm>
              <a:custGeom>
                <a:avLst/>
                <a:gdLst>
                  <a:gd name="T0" fmla="*/ 176 w 394"/>
                  <a:gd name="T1" fmla="*/ 2 h 395"/>
                  <a:gd name="T2" fmla="*/ 120 w 394"/>
                  <a:gd name="T3" fmla="*/ 16 h 395"/>
                  <a:gd name="T4" fmla="*/ 72 w 394"/>
                  <a:gd name="T5" fmla="*/ 46 h 395"/>
                  <a:gd name="T6" fmla="*/ 33 w 394"/>
                  <a:gd name="T7" fmla="*/ 87 h 395"/>
                  <a:gd name="T8" fmla="*/ 9 w 394"/>
                  <a:gd name="T9" fmla="*/ 139 h 395"/>
                  <a:gd name="T10" fmla="*/ 0 w 394"/>
                  <a:gd name="T11" fmla="*/ 198 h 395"/>
                  <a:gd name="T12" fmla="*/ 4 w 394"/>
                  <a:gd name="T13" fmla="*/ 237 h 395"/>
                  <a:gd name="T14" fmla="*/ 24 w 394"/>
                  <a:gd name="T15" fmla="*/ 292 h 395"/>
                  <a:gd name="T16" fmla="*/ 57 w 394"/>
                  <a:gd name="T17" fmla="*/ 337 h 395"/>
                  <a:gd name="T18" fmla="*/ 103 w 394"/>
                  <a:gd name="T19" fmla="*/ 371 h 395"/>
                  <a:gd name="T20" fmla="*/ 157 w 394"/>
                  <a:gd name="T21" fmla="*/ 391 h 395"/>
                  <a:gd name="T22" fmla="*/ 196 w 394"/>
                  <a:gd name="T23" fmla="*/ 395 h 395"/>
                  <a:gd name="T24" fmla="*/ 255 w 394"/>
                  <a:gd name="T25" fmla="*/ 385 h 395"/>
                  <a:gd name="T26" fmla="*/ 307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7 w 394"/>
                  <a:gd name="T41" fmla="*/ 35 h 395"/>
                  <a:gd name="T42" fmla="*/ 255 w 394"/>
                  <a:gd name="T43" fmla="*/ 10 h 395"/>
                  <a:gd name="T44" fmla="*/ 196 w 394"/>
                  <a:gd name="T45" fmla="*/ 0 h 395"/>
                  <a:gd name="T46" fmla="*/ 196 w 394"/>
                  <a:gd name="T47" fmla="*/ 300 h 395"/>
                  <a:gd name="T48" fmla="*/ 166 w 394"/>
                  <a:gd name="T49" fmla="*/ 296 h 395"/>
                  <a:gd name="T50" fmla="*/ 139 w 394"/>
                  <a:gd name="T51" fmla="*/ 282 h 395"/>
                  <a:gd name="T52" fmla="*/ 116 w 394"/>
                  <a:gd name="T53" fmla="*/ 262 h 395"/>
                  <a:gd name="T54" fmla="*/ 100 w 394"/>
                  <a:gd name="T55" fmla="*/ 237 h 395"/>
                  <a:gd name="T56" fmla="*/ 92 w 394"/>
                  <a:gd name="T57" fmla="*/ 208 h 395"/>
                  <a:gd name="T58" fmla="*/ 92 w 394"/>
                  <a:gd name="T59" fmla="*/ 187 h 395"/>
                  <a:gd name="T60" fmla="*/ 100 w 394"/>
                  <a:gd name="T61" fmla="*/ 158 h 395"/>
                  <a:gd name="T62" fmla="*/ 116 w 394"/>
                  <a:gd name="T63" fmla="*/ 133 h 395"/>
                  <a:gd name="T64" fmla="*/ 139 w 394"/>
                  <a:gd name="T65" fmla="*/ 113 h 395"/>
                  <a:gd name="T66" fmla="*/ 166 w 394"/>
                  <a:gd name="T67" fmla="*/ 101 h 395"/>
                  <a:gd name="T68" fmla="*/ 196 w 394"/>
                  <a:gd name="T69" fmla="*/ 95 h 395"/>
                  <a:gd name="T70" fmla="*/ 218 w 394"/>
                  <a:gd name="T71" fmla="*/ 98 h 395"/>
                  <a:gd name="T72" fmla="*/ 247 w 394"/>
                  <a:gd name="T73" fmla="*/ 107 h 395"/>
                  <a:gd name="T74" fmla="*/ 271 w 394"/>
                  <a:gd name="T75" fmla="*/ 126 h 395"/>
                  <a:gd name="T76" fmla="*/ 290 w 394"/>
                  <a:gd name="T77" fmla="*/ 149 h 395"/>
                  <a:gd name="T78" fmla="*/ 299 w 394"/>
                  <a:gd name="T79" fmla="*/ 177 h 395"/>
                  <a:gd name="T80" fmla="*/ 302 w 394"/>
                  <a:gd name="T81" fmla="*/ 198 h 395"/>
                  <a:gd name="T82" fmla="*/ 297 w 394"/>
                  <a:gd name="T83" fmla="*/ 228 h 395"/>
                  <a:gd name="T84" fmla="*/ 284 w 394"/>
                  <a:gd name="T85" fmla="*/ 254 h 395"/>
                  <a:gd name="T86" fmla="*/ 263 w 394"/>
                  <a:gd name="T87" fmla="*/ 277 h 395"/>
                  <a:gd name="T88" fmla="*/ 238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6" y="0"/>
                    </a:moveTo>
                    <a:lnTo>
                      <a:pt x="196" y="0"/>
                    </a:lnTo>
                    <a:lnTo>
                      <a:pt x="176" y="2"/>
                    </a:lnTo>
                    <a:lnTo>
                      <a:pt x="157" y="4"/>
                    </a:lnTo>
                    <a:lnTo>
                      <a:pt x="139" y="10"/>
                    </a:lnTo>
                    <a:lnTo>
                      <a:pt x="120" y="16"/>
                    </a:lnTo>
                    <a:lnTo>
                      <a:pt x="103" y="24"/>
                    </a:lnTo>
                    <a:lnTo>
                      <a:pt x="87" y="35"/>
                    </a:lnTo>
                    <a:lnTo>
                      <a:pt x="72" y="46"/>
                    </a:lnTo>
                    <a:lnTo>
                      <a:pt x="57" y="59"/>
                    </a:lnTo>
                    <a:lnTo>
                      <a:pt x="45" y="73"/>
                    </a:lnTo>
                    <a:lnTo>
                      <a:pt x="33" y="87"/>
                    </a:lnTo>
                    <a:lnTo>
                      <a:pt x="24" y="103"/>
                    </a:lnTo>
                    <a:lnTo>
                      <a:pt x="16" y="121"/>
                    </a:lnTo>
                    <a:lnTo>
                      <a:pt x="9" y="139"/>
                    </a:lnTo>
                    <a:lnTo>
                      <a:pt x="4" y="158"/>
                    </a:lnTo>
                    <a:lnTo>
                      <a:pt x="1" y="178"/>
                    </a:lnTo>
                    <a:lnTo>
                      <a:pt x="0" y="198"/>
                    </a:lnTo>
                    <a:lnTo>
                      <a:pt x="0" y="198"/>
                    </a:lnTo>
                    <a:lnTo>
                      <a:pt x="1" y="218"/>
                    </a:lnTo>
                    <a:lnTo>
                      <a:pt x="4" y="237"/>
                    </a:lnTo>
                    <a:lnTo>
                      <a:pt x="9" y="256"/>
                    </a:lnTo>
                    <a:lnTo>
                      <a:pt x="16" y="274"/>
                    </a:lnTo>
                    <a:lnTo>
                      <a:pt x="24" y="292"/>
                    </a:lnTo>
                    <a:lnTo>
                      <a:pt x="33" y="308"/>
                    </a:lnTo>
                    <a:lnTo>
                      <a:pt x="45" y="322"/>
                    </a:lnTo>
                    <a:lnTo>
                      <a:pt x="57" y="337"/>
                    </a:lnTo>
                    <a:lnTo>
                      <a:pt x="72" y="349"/>
                    </a:lnTo>
                    <a:lnTo>
                      <a:pt x="87" y="361"/>
                    </a:lnTo>
                    <a:lnTo>
                      <a:pt x="103" y="371"/>
                    </a:lnTo>
                    <a:lnTo>
                      <a:pt x="120" y="379"/>
                    </a:lnTo>
                    <a:lnTo>
                      <a:pt x="139" y="385"/>
                    </a:lnTo>
                    <a:lnTo>
                      <a:pt x="157" y="391"/>
                    </a:lnTo>
                    <a:lnTo>
                      <a:pt x="176" y="393"/>
                    </a:lnTo>
                    <a:lnTo>
                      <a:pt x="196" y="395"/>
                    </a:lnTo>
                    <a:lnTo>
                      <a:pt x="196" y="395"/>
                    </a:lnTo>
                    <a:lnTo>
                      <a:pt x="218" y="393"/>
                    </a:lnTo>
                    <a:lnTo>
                      <a:pt x="236" y="391"/>
                    </a:lnTo>
                    <a:lnTo>
                      <a:pt x="255" y="385"/>
                    </a:lnTo>
                    <a:lnTo>
                      <a:pt x="274" y="379"/>
                    </a:lnTo>
                    <a:lnTo>
                      <a:pt x="291" y="371"/>
                    </a:lnTo>
                    <a:lnTo>
                      <a:pt x="307"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7" y="35"/>
                    </a:lnTo>
                    <a:lnTo>
                      <a:pt x="291" y="24"/>
                    </a:lnTo>
                    <a:lnTo>
                      <a:pt x="274" y="16"/>
                    </a:lnTo>
                    <a:lnTo>
                      <a:pt x="255" y="10"/>
                    </a:lnTo>
                    <a:lnTo>
                      <a:pt x="236" y="4"/>
                    </a:lnTo>
                    <a:lnTo>
                      <a:pt x="218" y="2"/>
                    </a:lnTo>
                    <a:lnTo>
                      <a:pt x="196" y="0"/>
                    </a:lnTo>
                    <a:lnTo>
                      <a:pt x="196" y="0"/>
                    </a:lnTo>
                    <a:close/>
                    <a:moveTo>
                      <a:pt x="196" y="300"/>
                    </a:moveTo>
                    <a:lnTo>
                      <a:pt x="196" y="300"/>
                    </a:lnTo>
                    <a:lnTo>
                      <a:pt x="186" y="300"/>
                    </a:lnTo>
                    <a:lnTo>
                      <a:pt x="176" y="298"/>
                    </a:lnTo>
                    <a:lnTo>
                      <a:pt x="166" y="296"/>
                    </a:lnTo>
                    <a:lnTo>
                      <a:pt x="156" y="292"/>
                    </a:lnTo>
                    <a:lnTo>
                      <a:pt x="147" y="288"/>
                    </a:lnTo>
                    <a:lnTo>
                      <a:pt x="139" y="282"/>
                    </a:lnTo>
                    <a:lnTo>
                      <a:pt x="129" y="277"/>
                    </a:lnTo>
                    <a:lnTo>
                      <a:pt x="123" y="270"/>
                    </a:lnTo>
                    <a:lnTo>
                      <a:pt x="116" y="262"/>
                    </a:lnTo>
                    <a:lnTo>
                      <a:pt x="109" y="254"/>
                    </a:lnTo>
                    <a:lnTo>
                      <a:pt x="104" y="246"/>
                    </a:lnTo>
                    <a:lnTo>
                      <a:pt x="100" y="237"/>
                    </a:lnTo>
                    <a:lnTo>
                      <a:pt x="96" y="228"/>
                    </a:lnTo>
                    <a:lnTo>
                      <a:pt x="93" y="218"/>
                    </a:lnTo>
                    <a:lnTo>
                      <a:pt x="92" y="208"/>
                    </a:lnTo>
                    <a:lnTo>
                      <a:pt x="92" y="198"/>
                    </a:lnTo>
                    <a:lnTo>
                      <a:pt x="92" y="198"/>
                    </a:lnTo>
                    <a:lnTo>
                      <a:pt x="92" y="187"/>
                    </a:lnTo>
                    <a:lnTo>
                      <a:pt x="93" y="177"/>
                    </a:lnTo>
                    <a:lnTo>
                      <a:pt x="96" y="167"/>
                    </a:lnTo>
                    <a:lnTo>
                      <a:pt x="100" y="158"/>
                    </a:lnTo>
                    <a:lnTo>
                      <a:pt x="104" y="149"/>
                    </a:lnTo>
                    <a:lnTo>
                      <a:pt x="109" y="141"/>
                    </a:lnTo>
                    <a:lnTo>
                      <a:pt x="116" y="133"/>
                    </a:lnTo>
                    <a:lnTo>
                      <a:pt x="123" y="126"/>
                    </a:lnTo>
                    <a:lnTo>
                      <a:pt x="129" y="119"/>
                    </a:lnTo>
                    <a:lnTo>
                      <a:pt x="139" y="113"/>
                    </a:lnTo>
                    <a:lnTo>
                      <a:pt x="147" y="107"/>
                    </a:lnTo>
                    <a:lnTo>
                      <a:pt x="156" y="103"/>
                    </a:lnTo>
                    <a:lnTo>
                      <a:pt x="166" y="101"/>
                    </a:lnTo>
                    <a:lnTo>
                      <a:pt x="176" y="98"/>
                    </a:lnTo>
                    <a:lnTo>
                      <a:pt x="186" y="95"/>
                    </a:lnTo>
                    <a:lnTo>
                      <a:pt x="196" y="95"/>
                    </a:lnTo>
                    <a:lnTo>
                      <a:pt x="196" y="95"/>
                    </a:lnTo>
                    <a:lnTo>
                      <a:pt x="207" y="95"/>
                    </a:lnTo>
                    <a:lnTo>
                      <a:pt x="218" y="98"/>
                    </a:lnTo>
                    <a:lnTo>
                      <a:pt x="228" y="101"/>
                    </a:lnTo>
                    <a:lnTo>
                      <a:pt x="238" y="103"/>
                    </a:lnTo>
                    <a:lnTo>
                      <a:pt x="247" y="107"/>
                    </a:lnTo>
                    <a:lnTo>
                      <a:pt x="255" y="113"/>
                    </a:lnTo>
                    <a:lnTo>
                      <a:pt x="263" y="119"/>
                    </a:lnTo>
                    <a:lnTo>
                      <a:pt x="271" y="126"/>
                    </a:lnTo>
                    <a:lnTo>
                      <a:pt x="278" y="133"/>
                    </a:lnTo>
                    <a:lnTo>
                      <a:pt x="284" y="141"/>
                    </a:lnTo>
                    <a:lnTo>
                      <a:pt x="290" y="149"/>
                    </a:lnTo>
                    <a:lnTo>
                      <a:pt x="294" y="158"/>
                    </a:lnTo>
                    <a:lnTo>
                      <a:pt x="297" y="167"/>
                    </a:lnTo>
                    <a:lnTo>
                      <a:pt x="299" y="177"/>
                    </a:lnTo>
                    <a:lnTo>
                      <a:pt x="302" y="187"/>
                    </a:lnTo>
                    <a:lnTo>
                      <a:pt x="302" y="198"/>
                    </a:lnTo>
                    <a:lnTo>
                      <a:pt x="302" y="198"/>
                    </a:lnTo>
                    <a:lnTo>
                      <a:pt x="302" y="208"/>
                    </a:lnTo>
                    <a:lnTo>
                      <a:pt x="299" y="218"/>
                    </a:lnTo>
                    <a:lnTo>
                      <a:pt x="297" y="228"/>
                    </a:lnTo>
                    <a:lnTo>
                      <a:pt x="294" y="237"/>
                    </a:lnTo>
                    <a:lnTo>
                      <a:pt x="290" y="246"/>
                    </a:lnTo>
                    <a:lnTo>
                      <a:pt x="284" y="254"/>
                    </a:lnTo>
                    <a:lnTo>
                      <a:pt x="278" y="262"/>
                    </a:lnTo>
                    <a:lnTo>
                      <a:pt x="271" y="270"/>
                    </a:lnTo>
                    <a:lnTo>
                      <a:pt x="263" y="277"/>
                    </a:lnTo>
                    <a:lnTo>
                      <a:pt x="255" y="282"/>
                    </a:lnTo>
                    <a:lnTo>
                      <a:pt x="247" y="288"/>
                    </a:lnTo>
                    <a:lnTo>
                      <a:pt x="238" y="292"/>
                    </a:lnTo>
                    <a:lnTo>
                      <a:pt x="228" y="296"/>
                    </a:lnTo>
                    <a:lnTo>
                      <a:pt x="218" y="298"/>
                    </a:lnTo>
                    <a:lnTo>
                      <a:pt x="207" y="300"/>
                    </a:lnTo>
                    <a:lnTo>
                      <a:pt x="196" y="300"/>
                    </a:lnTo>
                    <a:lnTo>
                      <a:pt x="196"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90" name="Freeform 200"/>
              <p:cNvSpPr>
                <a:spLocks noEditPoints="1"/>
              </p:cNvSpPr>
              <p:nvPr/>
            </p:nvSpPr>
            <p:spPr bwMode="auto">
              <a:xfrm>
                <a:off x="-2205038" y="4433888"/>
                <a:ext cx="207963" cy="209550"/>
              </a:xfrm>
              <a:custGeom>
                <a:avLst/>
                <a:gdLst>
                  <a:gd name="T0" fmla="*/ 178 w 394"/>
                  <a:gd name="T1" fmla="*/ 2 h 395"/>
                  <a:gd name="T2" fmla="*/ 120 w 394"/>
                  <a:gd name="T3" fmla="*/ 16 h 395"/>
                  <a:gd name="T4" fmla="*/ 72 w 394"/>
                  <a:gd name="T5" fmla="*/ 46 h 395"/>
                  <a:gd name="T6" fmla="*/ 35 w 394"/>
                  <a:gd name="T7" fmla="*/ 87 h 395"/>
                  <a:gd name="T8" fmla="*/ 9 w 394"/>
                  <a:gd name="T9" fmla="*/ 139 h 395"/>
                  <a:gd name="T10" fmla="*/ 0 w 394"/>
                  <a:gd name="T11" fmla="*/ 198 h 395"/>
                  <a:gd name="T12" fmla="*/ 4 w 394"/>
                  <a:gd name="T13" fmla="*/ 237 h 395"/>
                  <a:gd name="T14" fmla="*/ 24 w 394"/>
                  <a:gd name="T15" fmla="*/ 292 h 395"/>
                  <a:gd name="T16" fmla="*/ 59 w 394"/>
                  <a:gd name="T17" fmla="*/ 337 h 395"/>
                  <a:gd name="T18" fmla="*/ 103 w 394"/>
                  <a:gd name="T19" fmla="*/ 371 h 395"/>
                  <a:gd name="T20" fmla="*/ 158 w 394"/>
                  <a:gd name="T21" fmla="*/ 391 h 395"/>
                  <a:gd name="T22" fmla="*/ 198 w 394"/>
                  <a:gd name="T23" fmla="*/ 395 h 395"/>
                  <a:gd name="T24" fmla="*/ 255 w 394"/>
                  <a:gd name="T25" fmla="*/ 385 h 395"/>
                  <a:gd name="T26" fmla="*/ 307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7 w 394"/>
                  <a:gd name="T41" fmla="*/ 35 h 395"/>
                  <a:gd name="T42" fmla="*/ 255 w 394"/>
                  <a:gd name="T43" fmla="*/ 10 h 395"/>
                  <a:gd name="T44" fmla="*/ 198 w 394"/>
                  <a:gd name="T45" fmla="*/ 0 h 395"/>
                  <a:gd name="T46" fmla="*/ 198 w 394"/>
                  <a:gd name="T47" fmla="*/ 300 h 395"/>
                  <a:gd name="T48" fmla="*/ 167 w 394"/>
                  <a:gd name="T49" fmla="*/ 296 h 395"/>
                  <a:gd name="T50" fmla="*/ 140 w 394"/>
                  <a:gd name="T51" fmla="*/ 282 h 395"/>
                  <a:gd name="T52" fmla="*/ 119 w 394"/>
                  <a:gd name="T53" fmla="*/ 262 h 395"/>
                  <a:gd name="T54" fmla="*/ 103 w 394"/>
                  <a:gd name="T55" fmla="*/ 237 h 395"/>
                  <a:gd name="T56" fmla="*/ 95 w 394"/>
                  <a:gd name="T57" fmla="*/ 208 h 395"/>
                  <a:gd name="T58" fmla="*/ 95 w 394"/>
                  <a:gd name="T59" fmla="*/ 187 h 395"/>
                  <a:gd name="T60" fmla="*/ 103 w 394"/>
                  <a:gd name="T61" fmla="*/ 158 h 395"/>
                  <a:gd name="T62" fmla="*/ 119 w 394"/>
                  <a:gd name="T63" fmla="*/ 133 h 395"/>
                  <a:gd name="T64" fmla="*/ 140 w 394"/>
                  <a:gd name="T65" fmla="*/ 113 h 395"/>
                  <a:gd name="T66" fmla="*/ 167 w 394"/>
                  <a:gd name="T67" fmla="*/ 101 h 395"/>
                  <a:gd name="T68" fmla="*/ 198 w 394"/>
                  <a:gd name="T69" fmla="*/ 95 h 395"/>
                  <a:gd name="T70" fmla="*/ 218 w 394"/>
                  <a:gd name="T71" fmla="*/ 98 h 395"/>
                  <a:gd name="T72" fmla="*/ 246 w 394"/>
                  <a:gd name="T73" fmla="*/ 107 h 395"/>
                  <a:gd name="T74" fmla="*/ 270 w 394"/>
                  <a:gd name="T75" fmla="*/ 126 h 395"/>
                  <a:gd name="T76" fmla="*/ 287 w 394"/>
                  <a:gd name="T77" fmla="*/ 149 h 395"/>
                  <a:gd name="T78" fmla="*/ 298 w 394"/>
                  <a:gd name="T79" fmla="*/ 177 h 395"/>
                  <a:gd name="T80" fmla="*/ 299 w 394"/>
                  <a:gd name="T81" fmla="*/ 198 h 395"/>
                  <a:gd name="T82" fmla="*/ 295 w 394"/>
                  <a:gd name="T83" fmla="*/ 228 h 395"/>
                  <a:gd name="T84" fmla="*/ 282 w 394"/>
                  <a:gd name="T85" fmla="*/ 254 h 395"/>
                  <a:gd name="T86" fmla="*/ 262 w 394"/>
                  <a:gd name="T87" fmla="*/ 277 h 395"/>
                  <a:gd name="T88" fmla="*/ 237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8" y="0"/>
                    </a:moveTo>
                    <a:lnTo>
                      <a:pt x="198" y="0"/>
                    </a:lnTo>
                    <a:lnTo>
                      <a:pt x="178" y="2"/>
                    </a:lnTo>
                    <a:lnTo>
                      <a:pt x="158" y="4"/>
                    </a:lnTo>
                    <a:lnTo>
                      <a:pt x="139" y="10"/>
                    </a:lnTo>
                    <a:lnTo>
                      <a:pt x="120" y="16"/>
                    </a:lnTo>
                    <a:lnTo>
                      <a:pt x="103" y="24"/>
                    </a:lnTo>
                    <a:lnTo>
                      <a:pt x="87" y="35"/>
                    </a:lnTo>
                    <a:lnTo>
                      <a:pt x="72" y="46"/>
                    </a:lnTo>
                    <a:lnTo>
                      <a:pt x="59" y="59"/>
                    </a:lnTo>
                    <a:lnTo>
                      <a:pt x="45" y="73"/>
                    </a:lnTo>
                    <a:lnTo>
                      <a:pt x="35" y="87"/>
                    </a:lnTo>
                    <a:lnTo>
                      <a:pt x="24" y="103"/>
                    </a:lnTo>
                    <a:lnTo>
                      <a:pt x="16" y="121"/>
                    </a:lnTo>
                    <a:lnTo>
                      <a:pt x="9" y="139"/>
                    </a:lnTo>
                    <a:lnTo>
                      <a:pt x="4" y="158"/>
                    </a:lnTo>
                    <a:lnTo>
                      <a:pt x="1" y="178"/>
                    </a:lnTo>
                    <a:lnTo>
                      <a:pt x="0" y="198"/>
                    </a:lnTo>
                    <a:lnTo>
                      <a:pt x="0" y="198"/>
                    </a:lnTo>
                    <a:lnTo>
                      <a:pt x="1" y="218"/>
                    </a:lnTo>
                    <a:lnTo>
                      <a:pt x="4" y="237"/>
                    </a:lnTo>
                    <a:lnTo>
                      <a:pt x="9" y="256"/>
                    </a:lnTo>
                    <a:lnTo>
                      <a:pt x="16" y="274"/>
                    </a:lnTo>
                    <a:lnTo>
                      <a:pt x="24" y="292"/>
                    </a:lnTo>
                    <a:lnTo>
                      <a:pt x="35" y="308"/>
                    </a:lnTo>
                    <a:lnTo>
                      <a:pt x="45" y="322"/>
                    </a:lnTo>
                    <a:lnTo>
                      <a:pt x="59" y="337"/>
                    </a:lnTo>
                    <a:lnTo>
                      <a:pt x="72" y="349"/>
                    </a:lnTo>
                    <a:lnTo>
                      <a:pt x="87" y="361"/>
                    </a:lnTo>
                    <a:lnTo>
                      <a:pt x="103" y="371"/>
                    </a:lnTo>
                    <a:lnTo>
                      <a:pt x="120" y="379"/>
                    </a:lnTo>
                    <a:lnTo>
                      <a:pt x="139" y="385"/>
                    </a:lnTo>
                    <a:lnTo>
                      <a:pt x="158" y="391"/>
                    </a:lnTo>
                    <a:lnTo>
                      <a:pt x="178" y="393"/>
                    </a:lnTo>
                    <a:lnTo>
                      <a:pt x="198" y="395"/>
                    </a:lnTo>
                    <a:lnTo>
                      <a:pt x="198" y="395"/>
                    </a:lnTo>
                    <a:lnTo>
                      <a:pt x="218" y="393"/>
                    </a:lnTo>
                    <a:lnTo>
                      <a:pt x="237" y="391"/>
                    </a:lnTo>
                    <a:lnTo>
                      <a:pt x="255" y="385"/>
                    </a:lnTo>
                    <a:lnTo>
                      <a:pt x="274" y="379"/>
                    </a:lnTo>
                    <a:lnTo>
                      <a:pt x="291" y="371"/>
                    </a:lnTo>
                    <a:lnTo>
                      <a:pt x="307"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7" y="35"/>
                    </a:lnTo>
                    <a:lnTo>
                      <a:pt x="291" y="24"/>
                    </a:lnTo>
                    <a:lnTo>
                      <a:pt x="274" y="16"/>
                    </a:lnTo>
                    <a:lnTo>
                      <a:pt x="255" y="10"/>
                    </a:lnTo>
                    <a:lnTo>
                      <a:pt x="237" y="4"/>
                    </a:lnTo>
                    <a:lnTo>
                      <a:pt x="218" y="2"/>
                    </a:lnTo>
                    <a:lnTo>
                      <a:pt x="198" y="0"/>
                    </a:lnTo>
                    <a:lnTo>
                      <a:pt x="198" y="0"/>
                    </a:lnTo>
                    <a:close/>
                    <a:moveTo>
                      <a:pt x="198" y="300"/>
                    </a:moveTo>
                    <a:lnTo>
                      <a:pt x="198" y="300"/>
                    </a:lnTo>
                    <a:lnTo>
                      <a:pt x="187" y="300"/>
                    </a:lnTo>
                    <a:lnTo>
                      <a:pt x="176" y="298"/>
                    </a:lnTo>
                    <a:lnTo>
                      <a:pt x="167" y="296"/>
                    </a:lnTo>
                    <a:lnTo>
                      <a:pt x="158" y="292"/>
                    </a:lnTo>
                    <a:lnTo>
                      <a:pt x="148" y="288"/>
                    </a:lnTo>
                    <a:lnTo>
                      <a:pt x="140" y="282"/>
                    </a:lnTo>
                    <a:lnTo>
                      <a:pt x="132" y="277"/>
                    </a:lnTo>
                    <a:lnTo>
                      <a:pt x="126" y="270"/>
                    </a:lnTo>
                    <a:lnTo>
                      <a:pt x="119" y="262"/>
                    </a:lnTo>
                    <a:lnTo>
                      <a:pt x="112" y="254"/>
                    </a:lnTo>
                    <a:lnTo>
                      <a:pt x="107" y="246"/>
                    </a:lnTo>
                    <a:lnTo>
                      <a:pt x="103" y="237"/>
                    </a:lnTo>
                    <a:lnTo>
                      <a:pt x="100" y="228"/>
                    </a:lnTo>
                    <a:lnTo>
                      <a:pt x="98" y="218"/>
                    </a:lnTo>
                    <a:lnTo>
                      <a:pt x="95" y="208"/>
                    </a:lnTo>
                    <a:lnTo>
                      <a:pt x="95" y="198"/>
                    </a:lnTo>
                    <a:lnTo>
                      <a:pt x="95" y="198"/>
                    </a:lnTo>
                    <a:lnTo>
                      <a:pt x="95" y="187"/>
                    </a:lnTo>
                    <a:lnTo>
                      <a:pt x="98" y="177"/>
                    </a:lnTo>
                    <a:lnTo>
                      <a:pt x="100" y="167"/>
                    </a:lnTo>
                    <a:lnTo>
                      <a:pt x="103" y="158"/>
                    </a:lnTo>
                    <a:lnTo>
                      <a:pt x="107" y="149"/>
                    </a:lnTo>
                    <a:lnTo>
                      <a:pt x="112" y="141"/>
                    </a:lnTo>
                    <a:lnTo>
                      <a:pt x="119" y="133"/>
                    </a:lnTo>
                    <a:lnTo>
                      <a:pt x="126" y="126"/>
                    </a:lnTo>
                    <a:lnTo>
                      <a:pt x="132" y="119"/>
                    </a:lnTo>
                    <a:lnTo>
                      <a:pt x="140" y="113"/>
                    </a:lnTo>
                    <a:lnTo>
                      <a:pt x="148" y="107"/>
                    </a:lnTo>
                    <a:lnTo>
                      <a:pt x="158" y="103"/>
                    </a:lnTo>
                    <a:lnTo>
                      <a:pt x="167" y="101"/>
                    </a:lnTo>
                    <a:lnTo>
                      <a:pt x="176" y="98"/>
                    </a:lnTo>
                    <a:lnTo>
                      <a:pt x="187" y="95"/>
                    </a:lnTo>
                    <a:lnTo>
                      <a:pt x="198" y="95"/>
                    </a:lnTo>
                    <a:lnTo>
                      <a:pt x="198" y="95"/>
                    </a:lnTo>
                    <a:lnTo>
                      <a:pt x="207" y="95"/>
                    </a:lnTo>
                    <a:lnTo>
                      <a:pt x="218" y="98"/>
                    </a:lnTo>
                    <a:lnTo>
                      <a:pt x="227" y="101"/>
                    </a:lnTo>
                    <a:lnTo>
                      <a:pt x="237" y="103"/>
                    </a:lnTo>
                    <a:lnTo>
                      <a:pt x="246" y="107"/>
                    </a:lnTo>
                    <a:lnTo>
                      <a:pt x="254" y="113"/>
                    </a:lnTo>
                    <a:lnTo>
                      <a:pt x="262" y="119"/>
                    </a:lnTo>
                    <a:lnTo>
                      <a:pt x="270" y="126"/>
                    </a:lnTo>
                    <a:lnTo>
                      <a:pt x="277" y="133"/>
                    </a:lnTo>
                    <a:lnTo>
                      <a:pt x="282" y="141"/>
                    </a:lnTo>
                    <a:lnTo>
                      <a:pt x="287" y="149"/>
                    </a:lnTo>
                    <a:lnTo>
                      <a:pt x="291" y="158"/>
                    </a:lnTo>
                    <a:lnTo>
                      <a:pt x="295" y="167"/>
                    </a:lnTo>
                    <a:lnTo>
                      <a:pt x="298" y="177"/>
                    </a:lnTo>
                    <a:lnTo>
                      <a:pt x="299" y="187"/>
                    </a:lnTo>
                    <a:lnTo>
                      <a:pt x="299" y="198"/>
                    </a:lnTo>
                    <a:lnTo>
                      <a:pt x="299" y="198"/>
                    </a:lnTo>
                    <a:lnTo>
                      <a:pt x="299" y="208"/>
                    </a:lnTo>
                    <a:lnTo>
                      <a:pt x="298" y="218"/>
                    </a:lnTo>
                    <a:lnTo>
                      <a:pt x="295" y="228"/>
                    </a:lnTo>
                    <a:lnTo>
                      <a:pt x="291" y="237"/>
                    </a:lnTo>
                    <a:lnTo>
                      <a:pt x="287" y="246"/>
                    </a:lnTo>
                    <a:lnTo>
                      <a:pt x="282" y="254"/>
                    </a:lnTo>
                    <a:lnTo>
                      <a:pt x="277" y="262"/>
                    </a:lnTo>
                    <a:lnTo>
                      <a:pt x="270" y="270"/>
                    </a:lnTo>
                    <a:lnTo>
                      <a:pt x="262" y="277"/>
                    </a:lnTo>
                    <a:lnTo>
                      <a:pt x="254" y="282"/>
                    </a:lnTo>
                    <a:lnTo>
                      <a:pt x="246" y="288"/>
                    </a:lnTo>
                    <a:lnTo>
                      <a:pt x="237" y="292"/>
                    </a:lnTo>
                    <a:lnTo>
                      <a:pt x="227" y="296"/>
                    </a:lnTo>
                    <a:lnTo>
                      <a:pt x="218" y="298"/>
                    </a:lnTo>
                    <a:lnTo>
                      <a:pt x="207" y="300"/>
                    </a:lnTo>
                    <a:lnTo>
                      <a:pt x="198" y="300"/>
                    </a:lnTo>
                    <a:lnTo>
                      <a:pt x="198"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91" name="Freeform 201"/>
              <p:cNvSpPr>
                <a:spLocks noEditPoints="1"/>
              </p:cNvSpPr>
              <p:nvPr/>
            </p:nvSpPr>
            <p:spPr bwMode="auto">
              <a:xfrm>
                <a:off x="-3025776" y="4090988"/>
                <a:ext cx="1195388" cy="460375"/>
              </a:xfrm>
              <a:custGeom>
                <a:avLst/>
                <a:gdLst>
                  <a:gd name="T0" fmla="*/ 2209 w 2257"/>
                  <a:gd name="T1" fmla="*/ 473 h 869"/>
                  <a:gd name="T2" fmla="*/ 2143 w 2257"/>
                  <a:gd name="T3" fmla="*/ 456 h 869"/>
                  <a:gd name="T4" fmla="*/ 2083 w 2257"/>
                  <a:gd name="T5" fmla="*/ 423 h 869"/>
                  <a:gd name="T6" fmla="*/ 2050 w 2257"/>
                  <a:gd name="T7" fmla="*/ 392 h 869"/>
                  <a:gd name="T8" fmla="*/ 1804 w 2257"/>
                  <a:gd name="T9" fmla="*/ 135 h 869"/>
                  <a:gd name="T10" fmla="*/ 1754 w 2257"/>
                  <a:gd name="T11" fmla="*/ 91 h 869"/>
                  <a:gd name="T12" fmla="*/ 1700 w 2257"/>
                  <a:gd name="T13" fmla="*/ 55 h 869"/>
                  <a:gd name="T14" fmla="*/ 1641 w 2257"/>
                  <a:gd name="T15" fmla="*/ 27 h 869"/>
                  <a:gd name="T16" fmla="*/ 1578 w 2257"/>
                  <a:gd name="T17" fmla="*/ 10 h 869"/>
                  <a:gd name="T18" fmla="*/ 1513 w 2257"/>
                  <a:gd name="T19" fmla="*/ 2 h 869"/>
                  <a:gd name="T20" fmla="*/ 1013 w 2257"/>
                  <a:gd name="T21" fmla="*/ 0 h 869"/>
                  <a:gd name="T22" fmla="*/ 970 w 2257"/>
                  <a:gd name="T23" fmla="*/ 6 h 869"/>
                  <a:gd name="T24" fmla="*/ 912 w 2257"/>
                  <a:gd name="T25" fmla="*/ 32 h 869"/>
                  <a:gd name="T26" fmla="*/ 867 w 2257"/>
                  <a:gd name="T27" fmla="*/ 79 h 869"/>
                  <a:gd name="T28" fmla="*/ 96 w 2257"/>
                  <a:gd name="T29" fmla="*/ 460 h 869"/>
                  <a:gd name="T30" fmla="*/ 86 w 2257"/>
                  <a:gd name="T31" fmla="*/ 463 h 869"/>
                  <a:gd name="T32" fmla="*/ 58 w 2257"/>
                  <a:gd name="T33" fmla="*/ 473 h 869"/>
                  <a:gd name="T34" fmla="*/ 34 w 2257"/>
                  <a:gd name="T35" fmla="*/ 489 h 869"/>
                  <a:gd name="T36" fmla="*/ 16 w 2257"/>
                  <a:gd name="T37" fmla="*/ 512 h 869"/>
                  <a:gd name="T38" fmla="*/ 4 w 2257"/>
                  <a:gd name="T39" fmla="*/ 540 h 869"/>
                  <a:gd name="T40" fmla="*/ 0 w 2257"/>
                  <a:gd name="T41" fmla="*/ 570 h 869"/>
                  <a:gd name="T42" fmla="*/ 0 w 2257"/>
                  <a:gd name="T43" fmla="*/ 779 h 869"/>
                  <a:gd name="T44" fmla="*/ 6 w 2257"/>
                  <a:gd name="T45" fmla="*/ 806 h 869"/>
                  <a:gd name="T46" fmla="*/ 37 w 2257"/>
                  <a:gd name="T47" fmla="*/ 849 h 869"/>
                  <a:gd name="T48" fmla="*/ 60 w 2257"/>
                  <a:gd name="T49" fmla="*/ 862 h 869"/>
                  <a:gd name="T50" fmla="*/ 86 w 2257"/>
                  <a:gd name="T51" fmla="*/ 869 h 869"/>
                  <a:gd name="T52" fmla="*/ 86 w 2257"/>
                  <a:gd name="T53" fmla="*/ 846 h 869"/>
                  <a:gd name="T54" fmla="*/ 90 w 2257"/>
                  <a:gd name="T55" fmla="*/ 801 h 869"/>
                  <a:gd name="T56" fmla="*/ 113 w 2257"/>
                  <a:gd name="T57" fmla="*/ 739 h 869"/>
                  <a:gd name="T58" fmla="*/ 151 w 2257"/>
                  <a:gd name="T59" fmla="*/ 688 h 869"/>
                  <a:gd name="T60" fmla="*/ 203 w 2257"/>
                  <a:gd name="T61" fmla="*/ 650 h 869"/>
                  <a:gd name="T62" fmla="*/ 264 w 2257"/>
                  <a:gd name="T63" fmla="*/ 627 h 869"/>
                  <a:gd name="T64" fmla="*/ 308 w 2257"/>
                  <a:gd name="T65" fmla="*/ 623 h 869"/>
                  <a:gd name="T66" fmla="*/ 375 w 2257"/>
                  <a:gd name="T67" fmla="*/ 632 h 869"/>
                  <a:gd name="T68" fmla="*/ 434 w 2257"/>
                  <a:gd name="T69" fmla="*/ 660 h 869"/>
                  <a:gd name="T70" fmla="*/ 481 w 2257"/>
                  <a:gd name="T71" fmla="*/ 703 h 869"/>
                  <a:gd name="T72" fmla="*/ 514 w 2257"/>
                  <a:gd name="T73" fmla="*/ 759 h 869"/>
                  <a:gd name="T74" fmla="*/ 530 w 2257"/>
                  <a:gd name="T75" fmla="*/ 823 h 869"/>
                  <a:gd name="T76" fmla="*/ 530 w 2257"/>
                  <a:gd name="T77" fmla="*/ 869 h 869"/>
                  <a:gd name="T78" fmla="*/ 1526 w 2257"/>
                  <a:gd name="T79" fmla="*/ 869 h 869"/>
                  <a:gd name="T80" fmla="*/ 1525 w 2257"/>
                  <a:gd name="T81" fmla="*/ 846 h 869"/>
                  <a:gd name="T82" fmla="*/ 1534 w 2257"/>
                  <a:gd name="T83" fmla="*/ 779 h 869"/>
                  <a:gd name="T84" fmla="*/ 1562 w 2257"/>
                  <a:gd name="T85" fmla="*/ 721 h 869"/>
                  <a:gd name="T86" fmla="*/ 1606 w 2257"/>
                  <a:gd name="T87" fmla="*/ 674 h 869"/>
                  <a:gd name="T88" fmla="*/ 1661 w 2257"/>
                  <a:gd name="T89" fmla="*/ 640 h 869"/>
                  <a:gd name="T90" fmla="*/ 1725 w 2257"/>
                  <a:gd name="T91" fmla="*/ 624 h 869"/>
                  <a:gd name="T92" fmla="*/ 1771 w 2257"/>
                  <a:gd name="T93" fmla="*/ 624 h 869"/>
                  <a:gd name="T94" fmla="*/ 1835 w 2257"/>
                  <a:gd name="T95" fmla="*/ 640 h 869"/>
                  <a:gd name="T96" fmla="*/ 1889 w 2257"/>
                  <a:gd name="T97" fmla="*/ 674 h 869"/>
                  <a:gd name="T98" fmla="*/ 1932 w 2257"/>
                  <a:gd name="T99" fmla="*/ 721 h 869"/>
                  <a:gd name="T100" fmla="*/ 1960 w 2257"/>
                  <a:gd name="T101" fmla="*/ 779 h 869"/>
                  <a:gd name="T102" fmla="*/ 1971 w 2257"/>
                  <a:gd name="T103" fmla="*/ 846 h 869"/>
                  <a:gd name="T104" fmla="*/ 1971 w 2257"/>
                  <a:gd name="T105" fmla="*/ 869 h 869"/>
                  <a:gd name="T106" fmla="*/ 2257 w 2257"/>
                  <a:gd name="T107" fmla="*/ 528 h 869"/>
                  <a:gd name="T108" fmla="*/ 2249 w 2257"/>
                  <a:gd name="T109" fmla="*/ 500 h 869"/>
                  <a:gd name="T110" fmla="*/ 2228 w 2257"/>
                  <a:gd name="T111" fmla="*/ 480 h 869"/>
                  <a:gd name="T112" fmla="*/ 2209 w 2257"/>
                  <a:gd name="T113" fmla="*/ 473 h 869"/>
                  <a:gd name="T114" fmla="*/ 936 w 2257"/>
                  <a:gd name="T115" fmla="*/ 114 h 869"/>
                  <a:gd name="T116" fmla="*/ 1367 w 2257"/>
                  <a:gd name="T117" fmla="*/ 386 h 869"/>
                  <a:gd name="T118" fmla="*/ 1855 w 2257"/>
                  <a:gd name="T119" fmla="*/ 386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7" h="869">
                    <a:moveTo>
                      <a:pt x="2209" y="473"/>
                    </a:moveTo>
                    <a:lnTo>
                      <a:pt x="2209" y="473"/>
                    </a:lnTo>
                    <a:lnTo>
                      <a:pt x="2209" y="473"/>
                    </a:lnTo>
                    <a:lnTo>
                      <a:pt x="2186" y="469"/>
                    </a:lnTo>
                    <a:lnTo>
                      <a:pt x="2165" y="463"/>
                    </a:lnTo>
                    <a:lnTo>
                      <a:pt x="2143" y="456"/>
                    </a:lnTo>
                    <a:lnTo>
                      <a:pt x="2122" y="447"/>
                    </a:lnTo>
                    <a:lnTo>
                      <a:pt x="2102" y="435"/>
                    </a:lnTo>
                    <a:lnTo>
                      <a:pt x="2083" y="423"/>
                    </a:lnTo>
                    <a:lnTo>
                      <a:pt x="2066" y="408"/>
                    </a:lnTo>
                    <a:lnTo>
                      <a:pt x="2049" y="392"/>
                    </a:lnTo>
                    <a:lnTo>
                      <a:pt x="2050" y="392"/>
                    </a:lnTo>
                    <a:lnTo>
                      <a:pt x="1805" y="134"/>
                    </a:lnTo>
                    <a:lnTo>
                      <a:pt x="1804" y="135"/>
                    </a:lnTo>
                    <a:lnTo>
                      <a:pt x="1804" y="135"/>
                    </a:lnTo>
                    <a:lnTo>
                      <a:pt x="1789" y="119"/>
                    </a:lnTo>
                    <a:lnTo>
                      <a:pt x="1772" y="104"/>
                    </a:lnTo>
                    <a:lnTo>
                      <a:pt x="1754" y="91"/>
                    </a:lnTo>
                    <a:lnTo>
                      <a:pt x="1737" y="78"/>
                    </a:lnTo>
                    <a:lnTo>
                      <a:pt x="1720" y="66"/>
                    </a:lnTo>
                    <a:lnTo>
                      <a:pt x="1700" y="55"/>
                    </a:lnTo>
                    <a:lnTo>
                      <a:pt x="1681" y="44"/>
                    </a:lnTo>
                    <a:lnTo>
                      <a:pt x="1661" y="36"/>
                    </a:lnTo>
                    <a:lnTo>
                      <a:pt x="1641" y="27"/>
                    </a:lnTo>
                    <a:lnTo>
                      <a:pt x="1621" y="20"/>
                    </a:lnTo>
                    <a:lnTo>
                      <a:pt x="1599" y="15"/>
                    </a:lnTo>
                    <a:lnTo>
                      <a:pt x="1578" y="10"/>
                    </a:lnTo>
                    <a:lnTo>
                      <a:pt x="1557" y="6"/>
                    </a:lnTo>
                    <a:lnTo>
                      <a:pt x="1534" y="3"/>
                    </a:lnTo>
                    <a:lnTo>
                      <a:pt x="1513" y="2"/>
                    </a:lnTo>
                    <a:lnTo>
                      <a:pt x="1490" y="0"/>
                    </a:lnTo>
                    <a:lnTo>
                      <a:pt x="1015" y="0"/>
                    </a:lnTo>
                    <a:lnTo>
                      <a:pt x="1013" y="0"/>
                    </a:lnTo>
                    <a:lnTo>
                      <a:pt x="1013" y="0"/>
                    </a:lnTo>
                    <a:lnTo>
                      <a:pt x="991" y="2"/>
                    </a:lnTo>
                    <a:lnTo>
                      <a:pt x="970" y="6"/>
                    </a:lnTo>
                    <a:lnTo>
                      <a:pt x="950" y="12"/>
                    </a:lnTo>
                    <a:lnTo>
                      <a:pt x="930" y="22"/>
                    </a:lnTo>
                    <a:lnTo>
                      <a:pt x="912" y="32"/>
                    </a:lnTo>
                    <a:lnTo>
                      <a:pt x="895" y="46"/>
                    </a:lnTo>
                    <a:lnTo>
                      <a:pt x="880" y="62"/>
                    </a:lnTo>
                    <a:lnTo>
                      <a:pt x="867" y="79"/>
                    </a:lnTo>
                    <a:lnTo>
                      <a:pt x="868" y="79"/>
                    </a:lnTo>
                    <a:lnTo>
                      <a:pt x="669" y="386"/>
                    </a:lnTo>
                    <a:lnTo>
                      <a:pt x="96" y="460"/>
                    </a:lnTo>
                    <a:lnTo>
                      <a:pt x="96" y="461"/>
                    </a:lnTo>
                    <a:lnTo>
                      <a:pt x="96" y="461"/>
                    </a:lnTo>
                    <a:lnTo>
                      <a:pt x="86" y="463"/>
                    </a:lnTo>
                    <a:lnTo>
                      <a:pt x="76" y="465"/>
                    </a:lnTo>
                    <a:lnTo>
                      <a:pt x="66" y="468"/>
                    </a:lnTo>
                    <a:lnTo>
                      <a:pt x="58" y="473"/>
                    </a:lnTo>
                    <a:lnTo>
                      <a:pt x="49" y="477"/>
                    </a:lnTo>
                    <a:lnTo>
                      <a:pt x="41" y="484"/>
                    </a:lnTo>
                    <a:lnTo>
                      <a:pt x="34" y="489"/>
                    </a:lnTo>
                    <a:lnTo>
                      <a:pt x="28" y="497"/>
                    </a:lnTo>
                    <a:lnTo>
                      <a:pt x="21" y="504"/>
                    </a:lnTo>
                    <a:lnTo>
                      <a:pt x="16" y="512"/>
                    </a:lnTo>
                    <a:lnTo>
                      <a:pt x="10" y="521"/>
                    </a:lnTo>
                    <a:lnTo>
                      <a:pt x="6" y="531"/>
                    </a:lnTo>
                    <a:lnTo>
                      <a:pt x="4" y="540"/>
                    </a:lnTo>
                    <a:lnTo>
                      <a:pt x="1" y="549"/>
                    </a:lnTo>
                    <a:lnTo>
                      <a:pt x="0" y="560"/>
                    </a:lnTo>
                    <a:lnTo>
                      <a:pt x="0" y="570"/>
                    </a:lnTo>
                    <a:lnTo>
                      <a:pt x="0" y="770"/>
                    </a:lnTo>
                    <a:lnTo>
                      <a:pt x="0" y="770"/>
                    </a:lnTo>
                    <a:lnTo>
                      <a:pt x="0" y="779"/>
                    </a:lnTo>
                    <a:lnTo>
                      <a:pt x="1" y="789"/>
                    </a:lnTo>
                    <a:lnTo>
                      <a:pt x="4" y="797"/>
                    </a:lnTo>
                    <a:lnTo>
                      <a:pt x="6" y="806"/>
                    </a:lnTo>
                    <a:lnTo>
                      <a:pt x="14" y="822"/>
                    </a:lnTo>
                    <a:lnTo>
                      <a:pt x="24" y="835"/>
                    </a:lnTo>
                    <a:lnTo>
                      <a:pt x="37" y="849"/>
                    </a:lnTo>
                    <a:lnTo>
                      <a:pt x="44" y="853"/>
                    </a:lnTo>
                    <a:lnTo>
                      <a:pt x="52" y="858"/>
                    </a:lnTo>
                    <a:lnTo>
                      <a:pt x="60" y="862"/>
                    </a:lnTo>
                    <a:lnTo>
                      <a:pt x="68" y="865"/>
                    </a:lnTo>
                    <a:lnTo>
                      <a:pt x="77" y="868"/>
                    </a:lnTo>
                    <a:lnTo>
                      <a:pt x="86" y="869"/>
                    </a:lnTo>
                    <a:lnTo>
                      <a:pt x="86" y="869"/>
                    </a:lnTo>
                    <a:lnTo>
                      <a:pt x="86" y="869"/>
                    </a:lnTo>
                    <a:lnTo>
                      <a:pt x="86" y="846"/>
                    </a:lnTo>
                    <a:lnTo>
                      <a:pt x="86" y="846"/>
                    </a:lnTo>
                    <a:lnTo>
                      <a:pt x="86" y="823"/>
                    </a:lnTo>
                    <a:lnTo>
                      <a:pt x="90" y="801"/>
                    </a:lnTo>
                    <a:lnTo>
                      <a:pt x="96" y="779"/>
                    </a:lnTo>
                    <a:lnTo>
                      <a:pt x="104" y="759"/>
                    </a:lnTo>
                    <a:lnTo>
                      <a:pt x="113" y="739"/>
                    </a:lnTo>
                    <a:lnTo>
                      <a:pt x="124" y="721"/>
                    </a:lnTo>
                    <a:lnTo>
                      <a:pt x="137" y="703"/>
                    </a:lnTo>
                    <a:lnTo>
                      <a:pt x="151" y="688"/>
                    </a:lnTo>
                    <a:lnTo>
                      <a:pt x="167" y="674"/>
                    </a:lnTo>
                    <a:lnTo>
                      <a:pt x="184" y="660"/>
                    </a:lnTo>
                    <a:lnTo>
                      <a:pt x="203" y="650"/>
                    </a:lnTo>
                    <a:lnTo>
                      <a:pt x="221" y="640"/>
                    </a:lnTo>
                    <a:lnTo>
                      <a:pt x="243" y="632"/>
                    </a:lnTo>
                    <a:lnTo>
                      <a:pt x="264" y="627"/>
                    </a:lnTo>
                    <a:lnTo>
                      <a:pt x="286" y="624"/>
                    </a:lnTo>
                    <a:lnTo>
                      <a:pt x="308" y="623"/>
                    </a:lnTo>
                    <a:lnTo>
                      <a:pt x="308" y="623"/>
                    </a:lnTo>
                    <a:lnTo>
                      <a:pt x="332" y="624"/>
                    </a:lnTo>
                    <a:lnTo>
                      <a:pt x="354" y="627"/>
                    </a:lnTo>
                    <a:lnTo>
                      <a:pt x="375" y="632"/>
                    </a:lnTo>
                    <a:lnTo>
                      <a:pt x="395" y="640"/>
                    </a:lnTo>
                    <a:lnTo>
                      <a:pt x="415" y="650"/>
                    </a:lnTo>
                    <a:lnTo>
                      <a:pt x="434" y="660"/>
                    </a:lnTo>
                    <a:lnTo>
                      <a:pt x="451" y="674"/>
                    </a:lnTo>
                    <a:lnTo>
                      <a:pt x="466" y="688"/>
                    </a:lnTo>
                    <a:lnTo>
                      <a:pt x="481" y="703"/>
                    </a:lnTo>
                    <a:lnTo>
                      <a:pt x="494" y="721"/>
                    </a:lnTo>
                    <a:lnTo>
                      <a:pt x="505" y="739"/>
                    </a:lnTo>
                    <a:lnTo>
                      <a:pt x="514" y="759"/>
                    </a:lnTo>
                    <a:lnTo>
                      <a:pt x="522" y="779"/>
                    </a:lnTo>
                    <a:lnTo>
                      <a:pt x="527" y="801"/>
                    </a:lnTo>
                    <a:lnTo>
                      <a:pt x="530" y="823"/>
                    </a:lnTo>
                    <a:lnTo>
                      <a:pt x="531" y="846"/>
                    </a:lnTo>
                    <a:lnTo>
                      <a:pt x="531" y="846"/>
                    </a:lnTo>
                    <a:lnTo>
                      <a:pt x="530" y="869"/>
                    </a:lnTo>
                    <a:lnTo>
                      <a:pt x="531" y="869"/>
                    </a:lnTo>
                    <a:lnTo>
                      <a:pt x="1527" y="869"/>
                    </a:lnTo>
                    <a:lnTo>
                      <a:pt x="1526" y="869"/>
                    </a:lnTo>
                    <a:lnTo>
                      <a:pt x="1526" y="869"/>
                    </a:lnTo>
                    <a:lnTo>
                      <a:pt x="1525" y="846"/>
                    </a:lnTo>
                    <a:lnTo>
                      <a:pt x="1525" y="846"/>
                    </a:lnTo>
                    <a:lnTo>
                      <a:pt x="1526" y="823"/>
                    </a:lnTo>
                    <a:lnTo>
                      <a:pt x="1529" y="801"/>
                    </a:lnTo>
                    <a:lnTo>
                      <a:pt x="1534" y="779"/>
                    </a:lnTo>
                    <a:lnTo>
                      <a:pt x="1542" y="759"/>
                    </a:lnTo>
                    <a:lnTo>
                      <a:pt x="1551" y="739"/>
                    </a:lnTo>
                    <a:lnTo>
                      <a:pt x="1562" y="721"/>
                    </a:lnTo>
                    <a:lnTo>
                      <a:pt x="1575" y="703"/>
                    </a:lnTo>
                    <a:lnTo>
                      <a:pt x="1590" y="688"/>
                    </a:lnTo>
                    <a:lnTo>
                      <a:pt x="1606" y="674"/>
                    </a:lnTo>
                    <a:lnTo>
                      <a:pt x="1622" y="660"/>
                    </a:lnTo>
                    <a:lnTo>
                      <a:pt x="1641" y="650"/>
                    </a:lnTo>
                    <a:lnTo>
                      <a:pt x="1661" y="640"/>
                    </a:lnTo>
                    <a:lnTo>
                      <a:pt x="1681" y="632"/>
                    </a:lnTo>
                    <a:lnTo>
                      <a:pt x="1702" y="627"/>
                    </a:lnTo>
                    <a:lnTo>
                      <a:pt x="1725" y="624"/>
                    </a:lnTo>
                    <a:lnTo>
                      <a:pt x="1748" y="623"/>
                    </a:lnTo>
                    <a:lnTo>
                      <a:pt x="1748" y="623"/>
                    </a:lnTo>
                    <a:lnTo>
                      <a:pt x="1771" y="624"/>
                    </a:lnTo>
                    <a:lnTo>
                      <a:pt x="1792" y="627"/>
                    </a:lnTo>
                    <a:lnTo>
                      <a:pt x="1813" y="632"/>
                    </a:lnTo>
                    <a:lnTo>
                      <a:pt x="1835" y="640"/>
                    </a:lnTo>
                    <a:lnTo>
                      <a:pt x="1853" y="650"/>
                    </a:lnTo>
                    <a:lnTo>
                      <a:pt x="1872" y="660"/>
                    </a:lnTo>
                    <a:lnTo>
                      <a:pt x="1889" y="674"/>
                    </a:lnTo>
                    <a:lnTo>
                      <a:pt x="1906" y="688"/>
                    </a:lnTo>
                    <a:lnTo>
                      <a:pt x="1919" y="703"/>
                    </a:lnTo>
                    <a:lnTo>
                      <a:pt x="1932" y="721"/>
                    </a:lnTo>
                    <a:lnTo>
                      <a:pt x="1943" y="739"/>
                    </a:lnTo>
                    <a:lnTo>
                      <a:pt x="1952" y="759"/>
                    </a:lnTo>
                    <a:lnTo>
                      <a:pt x="1960" y="779"/>
                    </a:lnTo>
                    <a:lnTo>
                      <a:pt x="1966" y="801"/>
                    </a:lnTo>
                    <a:lnTo>
                      <a:pt x="1970" y="823"/>
                    </a:lnTo>
                    <a:lnTo>
                      <a:pt x="1971" y="846"/>
                    </a:lnTo>
                    <a:lnTo>
                      <a:pt x="1971" y="846"/>
                    </a:lnTo>
                    <a:lnTo>
                      <a:pt x="1970" y="869"/>
                    </a:lnTo>
                    <a:lnTo>
                      <a:pt x="1971" y="869"/>
                    </a:lnTo>
                    <a:lnTo>
                      <a:pt x="2257" y="846"/>
                    </a:lnTo>
                    <a:lnTo>
                      <a:pt x="2257" y="528"/>
                    </a:lnTo>
                    <a:lnTo>
                      <a:pt x="2257" y="528"/>
                    </a:lnTo>
                    <a:lnTo>
                      <a:pt x="2256" y="517"/>
                    </a:lnTo>
                    <a:lnTo>
                      <a:pt x="2253" y="508"/>
                    </a:lnTo>
                    <a:lnTo>
                      <a:pt x="2249" y="500"/>
                    </a:lnTo>
                    <a:lnTo>
                      <a:pt x="2244" y="492"/>
                    </a:lnTo>
                    <a:lnTo>
                      <a:pt x="2236" y="485"/>
                    </a:lnTo>
                    <a:lnTo>
                      <a:pt x="2228" y="480"/>
                    </a:lnTo>
                    <a:lnTo>
                      <a:pt x="2220" y="476"/>
                    </a:lnTo>
                    <a:lnTo>
                      <a:pt x="2209" y="473"/>
                    </a:lnTo>
                    <a:lnTo>
                      <a:pt x="2209" y="473"/>
                    </a:lnTo>
                    <a:close/>
                    <a:moveTo>
                      <a:pt x="1317" y="386"/>
                    </a:moveTo>
                    <a:lnTo>
                      <a:pt x="757" y="386"/>
                    </a:lnTo>
                    <a:lnTo>
                      <a:pt x="936" y="114"/>
                    </a:lnTo>
                    <a:lnTo>
                      <a:pt x="1317" y="114"/>
                    </a:lnTo>
                    <a:lnTo>
                      <a:pt x="1317" y="386"/>
                    </a:lnTo>
                    <a:close/>
                    <a:moveTo>
                      <a:pt x="1367" y="386"/>
                    </a:moveTo>
                    <a:lnTo>
                      <a:pt x="1367" y="114"/>
                    </a:lnTo>
                    <a:lnTo>
                      <a:pt x="1595" y="114"/>
                    </a:lnTo>
                    <a:lnTo>
                      <a:pt x="1855" y="386"/>
                    </a:lnTo>
                    <a:lnTo>
                      <a:pt x="1367" y="386"/>
                    </a:lnTo>
                    <a:close/>
                  </a:path>
                </a:pathLst>
              </a:custGeom>
              <a:solidFill>
                <a:schemeClr val="bg2">
                  <a:lumMod val="7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92" name="Group 791"/>
          <p:cNvGrpSpPr/>
          <p:nvPr/>
        </p:nvGrpSpPr>
        <p:grpSpPr>
          <a:xfrm flipH="1">
            <a:off x="4006895" y="4177413"/>
            <a:ext cx="142265" cy="151064"/>
            <a:chOff x="3534470" y="3441286"/>
            <a:chExt cx="1097798" cy="1165692"/>
          </a:xfrm>
        </p:grpSpPr>
        <p:grpSp>
          <p:nvGrpSpPr>
            <p:cNvPr id="793" name="Group 792"/>
            <p:cNvGrpSpPr/>
            <p:nvPr/>
          </p:nvGrpSpPr>
          <p:grpSpPr>
            <a:xfrm flipH="1">
              <a:off x="3534470" y="3441286"/>
              <a:ext cx="438577" cy="1165692"/>
              <a:chOff x="2696470" y="3306661"/>
              <a:chExt cx="301625" cy="801687"/>
            </a:xfrm>
          </p:grpSpPr>
          <p:sp>
            <p:nvSpPr>
              <p:cNvPr id="795" name="Freeform 1966"/>
              <p:cNvSpPr>
                <a:spLocks/>
              </p:cNvSpPr>
              <p:nvPr/>
            </p:nvSpPr>
            <p:spPr bwMode="auto">
              <a:xfrm>
                <a:off x="2696470" y="3451123"/>
                <a:ext cx="301625" cy="657225"/>
              </a:xfrm>
              <a:custGeom>
                <a:avLst/>
                <a:gdLst>
                  <a:gd name="T0" fmla="*/ 719 w 1142"/>
                  <a:gd name="T1" fmla="*/ 19 h 2481"/>
                  <a:gd name="T2" fmla="*/ 765 w 1142"/>
                  <a:gd name="T3" fmla="*/ 4 h 2481"/>
                  <a:gd name="T4" fmla="*/ 813 w 1142"/>
                  <a:gd name="T5" fmla="*/ 0 h 2481"/>
                  <a:gd name="T6" fmla="*/ 861 w 1142"/>
                  <a:gd name="T7" fmla="*/ 9 h 2481"/>
                  <a:gd name="T8" fmla="*/ 906 w 1142"/>
                  <a:gd name="T9" fmla="*/ 27 h 2481"/>
                  <a:gd name="T10" fmla="*/ 945 w 1142"/>
                  <a:gd name="T11" fmla="*/ 56 h 2481"/>
                  <a:gd name="T12" fmla="*/ 978 w 1142"/>
                  <a:gd name="T13" fmla="*/ 92 h 2481"/>
                  <a:gd name="T14" fmla="*/ 999 w 1142"/>
                  <a:gd name="T15" fmla="*/ 136 h 2481"/>
                  <a:gd name="T16" fmla="*/ 1014 w 1142"/>
                  <a:gd name="T17" fmla="*/ 195 h 2481"/>
                  <a:gd name="T18" fmla="*/ 1056 w 1142"/>
                  <a:gd name="T19" fmla="*/ 455 h 2481"/>
                  <a:gd name="T20" fmla="*/ 1115 w 1142"/>
                  <a:gd name="T21" fmla="*/ 874 h 2481"/>
                  <a:gd name="T22" fmla="*/ 1139 w 1142"/>
                  <a:gd name="T23" fmla="*/ 1001 h 2481"/>
                  <a:gd name="T24" fmla="*/ 1141 w 1142"/>
                  <a:gd name="T25" fmla="*/ 1074 h 2481"/>
                  <a:gd name="T26" fmla="*/ 1117 w 1142"/>
                  <a:gd name="T27" fmla="*/ 1424 h 2481"/>
                  <a:gd name="T28" fmla="*/ 1070 w 1142"/>
                  <a:gd name="T29" fmla="*/ 1888 h 2481"/>
                  <a:gd name="T30" fmla="*/ 1018 w 1142"/>
                  <a:gd name="T31" fmla="*/ 2278 h 2481"/>
                  <a:gd name="T32" fmla="*/ 998 w 1142"/>
                  <a:gd name="T33" fmla="*/ 2387 h 2481"/>
                  <a:gd name="T34" fmla="*/ 976 w 1142"/>
                  <a:gd name="T35" fmla="*/ 2428 h 2481"/>
                  <a:gd name="T36" fmla="*/ 942 w 1142"/>
                  <a:gd name="T37" fmla="*/ 2457 h 2481"/>
                  <a:gd name="T38" fmla="*/ 900 w 1142"/>
                  <a:gd name="T39" fmla="*/ 2476 h 2481"/>
                  <a:gd name="T40" fmla="*/ 855 w 1142"/>
                  <a:gd name="T41" fmla="*/ 2481 h 2481"/>
                  <a:gd name="T42" fmla="*/ 810 w 1142"/>
                  <a:gd name="T43" fmla="*/ 2475 h 2481"/>
                  <a:gd name="T44" fmla="*/ 770 w 1142"/>
                  <a:gd name="T45" fmla="*/ 2456 h 2481"/>
                  <a:gd name="T46" fmla="*/ 737 w 1142"/>
                  <a:gd name="T47" fmla="*/ 2426 h 2481"/>
                  <a:gd name="T48" fmla="*/ 716 w 1142"/>
                  <a:gd name="T49" fmla="*/ 2382 h 2481"/>
                  <a:gd name="T50" fmla="*/ 712 w 1142"/>
                  <a:gd name="T51" fmla="*/ 2316 h 2481"/>
                  <a:gd name="T52" fmla="*/ 719 w 1142"/>
                  <a:gd name="T53" fmla="*/ 2207 h 2481"/>
                  <a:gd name="T54" fmla="*/ 740 w 1142"/>
                  <a:gd name="T55" fmla="*/ 2032 h 2481"/>
                  <a:gd name="T56" fmla="*/ 773 w 1142"/>
                  <a:gd name="T57" fmla="*/ 1692 h 2481"/>
                  <a:gd name="T58" fmla="*/ 817 w 1142"/>
                  <a:gd name="T59" fmla="*/ 1141 h 2481"/>
                  <a:gd name="T60" fmla="*/ 793 w 1142"/>
                  <a:gd name="T61" fmla="*/ 794 h 2481"/>
                  <a:gd name="T62" fmla="*/ 776 w 1142"/>
                  <a:gd name="T63" fmla="*/ 662 h 2481"/>
                  <a:gd name="T64" fmla="*/ 753 w 1142"/>
                  <a:gd name="T65" fmla="*/ 718 h 2481"/>
                  <a:gd name="T66" fmla="*/ 723 w 1142"/>
                  <a:gd name="T67" fmla="*/ 757 h 2481"/>
                  <a:gd name="T68" fmla="*/ 692 w 1142"/>
                  <a:gd name="T69" fmla="*/ 780 h 2481"/>
                  <a:gd name="T70" fmla="*/ 486 w 1142"/>
                  <a:gd name="T71" fmla="*/ 788 h 2481"/>
                  <a:gd name="T72" fmla="*/ 105 w 1142"/>
                  <a:gd name="T73" fmla="*/ 789 h 2481"/>
                  <a:gd name="T74" fmla="*/ 58 w 1142"/>
                  <a:gd name="T75" fmla="*/ 781 h 2481"/>
                  <a:gd name="T76" fmla="*/ 20 w 1142"/>
                  <a:gd name="T77" fmla="*/ 750 h 2481"/>
                  <a:gd name="T78" fmla="*/ 1 w 1142"/>
                  <a:gd name="T79" fmla="*/ 706 h 2481"/>
                  <a:gd name="T80" fmla="*/ 9 w 1142"/>
                  <a:gd name="T81" fmla="*/ 659 h 2481"/>
                  <a:gd name="T82" fmla="*/ 19 w 1142"/>
                  <a:gd name="T83" fmla="*/ 638 h 2481"/>
                  <a:gd name="T84" fmla="*/ 57 w 1142"/>
                  <a:gd name="T85" fmla="*/ 608 h 2481"/>
                  <a:gd name="T86" fmla="*/ 112 w 1142"/>
                  <a:gd name="T87" fmla="*/ 595 h 2481"/>
                  <a:gd name="T88" fmla="*/ 202 w 1142"/>
                  <a:gd name="T89" fmla="*/ 591 h 2481"/>
                  <a:gd name="T90" fmla="*/ 248 w 1142"/>
                  <a:gd name="T91" fmla="*/ 587 h 2481"/>
                  <a:gd name="T92" fmla="*/ 432 w 1142"/>
                  <a:gd name="T93" fmla="*/ 585 h 2481"/>
                  <a:gd name="T94" fmla="*/ 532 w 1142"/>
                  <a:gd name="T95" fmla="*/ 572 h 2481"/>
                  <a:gd name="T96" fmla="*/ 574 w 1142"/>
                  <a:gd name="T97" fmla="*/ 554 h 2481"/>
                  <a:gd name="T98" fmla="*/ 593 w 1142"/>
                  <a:gd name="T99" fmla="*/ 531 h 2481"/>
                  <a:gd name="T100" fmla="*/ 615 w 1142"/>
                  <a:gd name="T101" fmla="*/ 478 h 2481"/>
                  <a:gd name="T102" fmla="*/ 631 w 1142"/>
                  <a:gd name="T103" fmla="*/ 371 h 2481"/>
                  <a:gd name="T104" fmla="*/ 647 w 1142"/>
                  <a:gd name="T105" fmla="*/ 169 h 2481"/>
                  <a:gd name="T106" fmla="*/ 665 w 1142"/>
                  <a:gd name="T107" fmla="*/ 87 h 2481"/>
                  <a:gd name="T108" fmla="*/ 689 w 1142"/>
                  <a:gd name="T109" fmla="*/ 41 h 2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2" h="2481">
                    <a:moveTo>
                      <a:pt x="698" y="32"/>
                    </a:moveTo>
                    <a:lnTo>
                      <a:pt x="698" y="32"/>
                    </a:lnTo>
                    <a:lnTo>
                      <a:pt x="708" y="25"/>
                    </a:lnTo>
                    <a:lnTo>
                      <a:pt x="719" y="19"/>
                    </a:lnTo>
                    <a:lnTo>
                      <a:pt x="730" y="14"/>
                    </a:lnTo>
                    <a:lnTo>
                      <a:pt x="741" y="10"/>
                    </a:lnTo>
                    <a:lnTo>
                      <a:pt x="753" y="6"/>
                    </a:lnTo>
                    <a:lnTo>
                      <a:pt x="765" y="4"/>
                    </a:lnTo>
                    <a:lnTo>
                      <a:pt x="776" y="2"/>
                    </a:lnTo>
                    <a:lnTo>
                      <a:pt x="789" y="1"/>
                    </a:lnTo>
                    <a:lnTo>
                      <a:pt x="801" y="0"/>
                    </a:lnTo>
                    <a:lnTo>
                      <a:pt x="813" y="0"/>
                    </a:lnTo>
                    <a:lnTo>
                      <a:pt x="825" y="1"/>
                    </a:lnTo>
                    <a:lnTo>
                      <a:pt x="837" y="3"/>
                    </a:lnTo>
                    <a:lnTo>
                      <a:pt x="849" y="6"/>
                    </a:lnTo>
                    <a:lnTo>
                      <a:pt x="861" y="9"/>
                    </a:lnTo>
                    <a:lnTo>
                      <a:pt x="872" y="12"/>
                    </a:lnTo>
                    <a:lnTo>
                      <a:pt x="884" y="17"/>
                    </a:lnTo>
                    <a:lnTo>
                      <a:pt x="895" y="22"/>
                    </a:lnTo>
                    <a:lnTo>
                      <a:pt x="906" y="27"/>
                    </a:lnTo>
                    <a:lnTo>
                      <a:pt x="916" y="33"/>
                    </a:lnTo>
                    <a:lnTo>
                      <a:pt x="926" y="41"/>
                    </a:lnTo>
                    <a:lnTo>
                      <a:pt x="936" y="48"/>
                    </a:lnTo>
                    <a:lnTo>
                      <a:pt x="945" y="56"/>
                    </a:lnTo>
                    <a:lnTo>
                      <a:pt x="954" y="64"/>
                    </a:lnTo>
                    <a:lnTo>
                      <a:pt x="962" y="73"/>
                    </a:lnTo>
                    <a:lnTo>
                      <a:pt x="970" y="83"/>
                    </a:lnTo>
                    <a:lnTo>
                      <a:pt x="978" y="92"/>
                    </a:lnTo>
                    <a:lnTo>
                      <a:pt x="984" y="102"/>
                    </a:lnTo>
                    <a:lnTo>
                      <a:pt x="990" y="113"/>
                    </a:lnTo>
                    <a:lnTo>
                      <a:pt x="995" y="124"/>
                    </a:lnTo>
                    <a:lnTo>
                      <a:pt x="999" y="136"/>
                    </a:lnTo>
                    <a:lnTo>
                      <a:pt x="1003" y="147"/>
                    </a:lnTo>
                    <a:lnTo>
                      <a:pt x="1006" y="159"/>
                    </a:lnTo>
                    <a:lnTo>
                      <a:pt x="1006" y="159"/>
                    </a:lnTo>
                    <a:lnTo>
                      <a:pt x="1014" y="195"/>
                    </a:lnTo>
                    <a:lnTo>
                      <a:pt x="1023" y="238"/>
                    </a:lnTo>
                    <a:lnTo>
                      <a:pt x="1031" y="286"/>
                    </a:lnTo>
                    <a:lnTo>
                      <a:pt x="1039" y="339"/>
                    </a:lnTo>
                    <a:lnTo>
                      <a:pt x="1056" y="455"/>
                    </a:lnTo>
                    <a:lnTo>
                      <a:pt x="1074" y="580"/>
                    </a:lnTo>
                    <a:lnTo>
                      <a:pt x="1090" y="705"/>
                    </a:lnTo>
                    <a:lnTo>
                      <a:pt x="1107" y="821"/>
                    </a:lnTo>
                    <a:lnTo>
                      <a:pt x="1115" y="874"/>
                    </a:lnTo>
                    <a:lnTo>
                      <a:pt x="1124" y="922"/>
                    </a:lnTo>
                    <a:lnTo>
                      <a:pt x="1131" y="965"/>
                    </a:lnTo>
                    <a:lnTo>
                      <a:pt x="1139" y="1001"/>
                    </a:lnTo>
                    <a:lnTo>
                      <a:pt x="1139" y="1001"/>
                    </a:lnTo>
                    <a:lnTo>
                      <a:pt x="1141" y="1010"/>
                    </a:lnTo>
                    <a:lnTo>
                      <a:pt x="1142" y="1027"/>
                    </a:lnTo>
                    <a:lnTo>
                      <a:pt x="1142" y="1048"/>
                    </a:lnTo>
                    <a:lnTo>
                      <a:pt x="1141" y="1074"/>
                    </a:lnTo>
                    <a:lnTo>
                      <a:pt x="1139" y="1140"/>
                    </a:lnTo>
                    <a:lnTo>
                      <a:pt x="1133" y="1223"/>
                    </a:lnTo>
                    <a:lnTo>
                      <a:pt x="1126" y="1319"/>
                    </a:lnTo>
                    <a:lnTo>
                      <a:pt x="1117" y="1424"/>
                    </a:lnTo>
                    <a:lnTo>
                      <a:pt x="1106" y="1537"/>
                    </a:lnTo>
                    <a:lnTo>
                      <a:pt x="1095" y="1654"/>
                    </a:lnTo>
                    <a:lnTo>
                      <a:pt x="1083" y="1772"/>
                    </a:lnTo>
                    <a:lnTo>
                      <a:pt x="1070" y="1888"/>
                    </a:lnTo>
                    <a:lnTo>
                      <a:pt x="1056" y="2000"/>
                    </a:lnTo>
                    <a:lnTo>
                      <a:pt x="1043" y="2105"/>
                    </a:lnTo>
                    <a:lnTo>
                      <a:pt x="1031" y="2198"/>
                    </a:lnTo>
                    <a:lnTo>
                      <a:pt x="1018" y="2278"/>
                    </a:lnTo>
                    <a:lnTo>
                      <a:pt x="1007" y="2342"/>
                    </a:lnTo>
                    <a:lnTo>
                      <a:pt x="1002" y="2366"/>
                    </a:lnTo>
                    <a:lnTo>
                      <a:pt x="998" y="2387"/>
                    </a:lnTo>
                    <a:lnTo>
                      <a:pt x="998" y="2387"/>
                    </a:lnTo>
                    <a:lnTo>
                      <a:pt x="993" y="2398"/>
                    </a:lnTo>
                    <a:lnTo>
                      <a:pt x="988" y="2408"/>
                    </a:lnTo>
                    <a:lnTo>
                      <a:pt x="982" y="2418"/>
                    </a:lnTo>
                    <a:lnTo>
                      <a:pt x="976" y="2428"/>
                    </a:lnTo>
                    <a:lnTo>
                      <a:pt x="967" y="2437"/>
                    </a:lnTo>
                    <a:lnTo>
                      <a:pt x="959" y="2444"/>
                    </a:lnTo>
                    <a:lnTo>
                      <a:pt x="951" y="2451"/>
                    </a:lnTo>
                    <a:lnTo>
                      <a:pt x="942" y="2457"/>
                    </a:lnTo>
                    <a:lnTo>
                      <a:pt x="932" y="2463"/>
                    </a:lnTo>
                    <a:lnTo>
                      <a:pt x="921" y="2468"/>
                    </a:lnTo>
                    <a:lnTo>
                      <a:pt x="911" y="2473"/>
                    </a:lnTo>
                    <a:lnTo>
                      <a:pt x="900" y="2476"/>
                    </a:lnTo>
                    <a:lnTo>
                      <a:pt x="889" y="2478"/>
                    </a:lnTo>
                    <a:lnTo>
                      <a:pt x="877" y="2480"/>
                    </a:lnTo>
                    <a:lnTo>
                      <a:pt x="866" y="2481"/>
                    </a:lnTo>
                    <a:lnTo>
                      <a:pt x="855" y="2481"/>
                    </a:lnTo>
                    <a:lnTo>
                      <a:pt x="844" y="2481"/>
                    </a:lnTo>
                    <a:lnTo>
                      <a:pt x="832" y="2480"/>
                    </a:lnTo>
                    <a:lnTo>
                      <a:pt x="821" y="2478"/>
                    </a:lnTo>
                    <a:lnTo>
                      <a:pt x="810" y="2475"/>
                    </a:lnTo>
                    <a:lnTo>
                      <a:pt x="800" y="2472"/>
                    </a:lnTo>
                    <a:lnTo>
                      <a:pt x="790" y="2466"/>
                    </a:lnTo>
                    <a:lnTo>
                      <a:pt x="779" y="2462"/>
                    </a:lnTo>
                    <a:lnTo>
                      <a:pt x="770" y="2456"/>
                    </a:lnTo>
                    <a:lnTo>
                      <a:pt x="761" y="2449"/>
                    </a:lnTo>
                    <a:lnTo>
                      <a:pt x="752" y="2442"/>
                    </a:lnTo>
                    <a:lnTo>
                      <a:pt x="745" y="2434"/>
                    </a:lnTo>
                    <a:lnTo>
                      <a:pt x="737" y="2426"/>
                    </a:lnTo>
                    <a:lnTo>
                      <a:pt x="730" y="2415"/>
                    </a:lnTo>
                    <a:lnTo>
                      <a:pt x="725" y="2405"/>
                    </a:lnTo>
                    <a:lnTo>
                      <a:pt x="720" y="2394"/>
                    </a:lnTo>
                    <a:lnTo>
                      <a:pt x="716" y="2382"/>
                    </a:lnTo>
                    <a:lnTo>
                      <a:pt x="716" y="2382"/>
                    </a:lnTo>
                    <a:lnTo>
                      <a:pt x="714" y="2360"/>
                    </a:lnTo>
                    <a:lnTo>
                      <a:pt x="712" y="2339"/>
                    </a:lnTo>
                    <a:lnTo>
                      <a:pt x="712" y="2316"/>
                    </a:lnTo>
                    <a:lnTo>
                      <a:pt x="712" y="2295"/>
                    </a:lnTo>
                    <a:lnTo>
                      <a:pt x="713" y="2272"/>
                    </a:lnTo>
                    <a:lnTo>
                      <a:pt x="714" y="2251"/>
                    </a:lnTo>
                    <a:lnTo>
                      <a:pt x="719" y="2207"/>
                    </a:lnTo>
                    <a:lnTo>
                      <a:pt x="731" y="2119"/>
                    </a:lnTo>
                    <a:lnTo>
                      <a:pt x="736" y="2076"/>
                    </a:lnTo>
                    <a:lnTo>
                      <a:pt x="740" y="2032"/>
                    </a:lnTo>
                    <a:lnTo>
                      <a:pt x="740" y="2032"/>
                    </a:lnTo>
                    <a:lnTo>
                      <a:pt x="745" y="2000"/>
                    </a:lnTo>
                    <a:lnTo>
                      <a:pt x="750" y="1956"/>
                    </a:lnTo>
                    <a:lnTo>
                      <a:pt x="761" y="1837"/>
                    </a:lnTo>
                    <a:lnTo>
                      <a:pt x="773" y="1692"/>
                    </a:lnTo>
                    <a:lnTo>
                      <a:pt x="786" y="1537"/>
                    </a:lnTo>
                    <a:lnTo>
                      <a:pt x="808" y="1262"/>
                    </a:lnTo>
                    <a:lnTo>
                      <a:pt x="817" y="1141"/>
                    </a:lnTo>
                    <a:lnTo>
                      <a:pt x="817" y="1141"/>
                    </a:lnTo>
                    <a:lnTo>
                      <a:pt x="814" y="1085"/>
                    </a:lnTo>
                    <a:lnTo>
                      <a:pt x="806" y="951"/>
                    </a:lnTo>
                    <a:lnTo>
                      <a:pt x="800" y="872"/>
                    </a:lnTo>
                    <a:lnTo>
                      <a:pt x="793" y="794"/>
                    </a:lnTo>
                    <a:lnTo>
                      <a:pt x="784" y="721"/>
                    </a:lnTo>
                    <a:lnTo>
                      <a:pt x="780" y="689"/>
                    </a:lnTo>
                    <a:lnTo>
                      <a:pt x="776" y="662"/>
                    </a:lnTo>
                    <a:lnTo>
                      <a:pt x="776" y="662"/>
                    </a:lnTo>
                    <a:lnTo>
                      <a:pt x="771" y="675"/>
                    </a:lnTo>
                    <a:lnTo>
                      <a:pt x="766" y="690"/>
                    </a:lnTo>
                    <a:lnTo>
                      <a:pt x="758" y="708"/>
                    </a:lnTo>
                    <a:lnTo>
                      <a:pt x="753" y="718"/>
                    </a:lnTo>
                    <a:lnTo>
                      <a:pt x="747" y="727"/>
                    </a:lnTo>
                    <a:lnTo>
                      <a:pt x="739" y="737"/>
                    </a:lnTo>
                    <a:lnTo>
                      <a:pt x="732" y="748"/>
                    </a:lnTo>
                    <a:lnTo>
                      <a:pt x="723" y="757"/>
                    </a:lnTo>
                    <a:lnTo>
                      <a:pt x="714" y="765"/>
                    </a:lnTo>
                    <a:lnTo>
                      <a:pt x="704" y="773"/>
                    </a:lnTo>
                    <a:lnTo>
                      <a:pt x="692" y="780"/>
                    </a:lnTo>
                    <a:lnTo>
                      <a:pt x="692" y="780"/>
                    </a:lnTo>
                    <a:lnTo>
                      <a:pt x="668" y="782"/>
                    </a:lnTo>
                    <a:lnTo>
                      <a:pt x="639" y="784"/>
                    </a:lnTo>
                    <a:lnTo>
                      <a:pt x="569" y="787"/>
                    </a:lnTo>
                    <a:lnTo>
                      <a:pt x="486" y="788"/>
                    </a:lnTo>
                    <a:lnTo>
                      <a:pt x="399" y="789"/>
                    </a:lnTo>
                    <a:lnTo>
                      <a:pt x="229" y="789"/>
                    </a:lnTo>
                    <a:lnTo>
                      <a:pt x="105" y="789"/>
                    </a:lnTo>
                    <a:lnTo>
                      <a:pt x="105" y="789"/>
                    </a:lnTo>
                    <a:lnTo>
                      <a:pt x="93" y="790"/>
                    </a:lnTo>
                    <a:lnTo>
                      <a:pt x="80" y="789"/>
                    </a:lnTo>
                    <a:lnTo>
                      <a:pt x="69" y="786"/>
                    </a:lnTo>
                    <a:lnTo>
                      <a:pt x="58" y="781"/>
                    </a:lnTo>
                    <a:lnTo>
                      <a:pt x="47" y="775"/>
                    </a:lnTo>
                    <a:lnTo>
                      <a:pt x="36" y="768"/>
                    </a:lnTo>
                    <a:lnTo>
                      <a:pt x="28" y="760"/>
                    </a:lnTo>
                    <a:lnTo>
                      <a:pt x="20" y="750"/>
                    </a:lnTo>
                    <a:lnTo>
                      <a:pt x="13" y="740"/>
                    </a:lnTo>
                    <a:lnTo>
                      <a:pt x="8" y="729"/>
                    </a:lnTo>
                    <a:lnTo>
                      <a:pt x="4" y="718"/>
                    </a:lnTo>
                    <a:lnTo>
                      <a:pt x="1" y="706"/>
                    </a:lnTo>
                    <a:lnTo>
                      <a:pt x="0" y="695"/>
                    </a:lnTo>
                    <a:lnTo>
                      <a:pt x="1" y="682"/>
                    </a:lnTo>
                    <a:lnTo>
                      <a:pt x="4" y="670"/>
                    </a:lnTo>
                    <a:lnTo>
                      <a:pt x="9" y="659"/>
                    </a:lnTo>
                    <a:lnTo>
                      <a:pt x="9" y="659"/>
                    </a:lnTo>
                    <a:lnTo>
                      <a:pt x="12" y="652"/>
                    </a:lnTo>
                    <a:lnTo>
                      <a:pt x="15" y="645"/>
                    </a:lnTo>
                    <a:lnTo>
                      <a:pt x="19" y="638"/>
                    </a:lnTo>
                    <a:lnTo>
                      <a:pt x="24" y="632"/>
                    </a:lnTo>
                    <a:lnTo>
                      <a:pt x="33" y="622"/>
                    </a:lnTo>
                    <a:lnTo>
                      <a:pt x="45" y="614"/>
                    </a:lnTo>
                    <a:lnTo>
                      <a:pt x="57" y="608"/>
                    </a:lnTo>
                    <a:lnTo>
                      <a:pt x="69" y="603"/>
                    </a:lnTo>
                    <a:lnTo>
                      <a:pt x="83" y="600"/>
                    </a:lnTo>
                    <a:lnTo>
                      <a:pt x="98" y="598"/>
                    </a:lnTo>
                    <a:lnTo>
                      <a:pt x="112" y="595"/>
                    </a:lnTo>
                    <a:lnTo>
                      <a:pt x="127" y="594"/>
                    </a:lnTo>
                    <a:lnTo>
                      <a:pt x="158" y="593"/>
                    </a:lnTo>
                    <a:lnTo>
                      <a:pt x="188" y="592"/>
                    </a:lnTo>
                    <a:lnTo>
                      <a:pt x="202" y="591"/>
                    </a:lnTo>
                    <a:lnTo>
                      <a:pt x="215" y="590"/>
                    </a:lnTo>
                    <a:lnTo>
                      <a:pt x="215" y="590"/>
                    </a:lnTo>
                    <a:lnTo>
                      <a:pt x="230" y="588"/>
                    </a:lnTo>
                    <a:lnTo>
                      <a:pt x="248" y="587"/>
                    </a:lnTo>
                    <a:lnTo>
                      <a:pt x="293" y="587"/>
                    </a:lnTo>
                    <a:lnTo>
                      <a:pt x="346" y="587"/>
                    </a:lnTo>
                    <a:lnTo>
                      <a:pt x="403" y="586"/>
                    </a:lnTo>
                    <a:lnTo>
                      <a:pt x="432" y="585"/>
                    </a:lnTo>
                    <a:lnTo>
                      <a:pt x="459" y="583"/>
                    </a:lnTo>
                    <a:lnTo>
                      <a:pt x="486" y="581"/>
                    </a:lnTo>
                    <a:lnTo>
                      <a:pt x="511" y="577"/>
                    </a:lnTo>
                    <a:lnTo>
                      <a:pt x="532" y="572"/>
                    </a:lnTo>
                    <a:lnTo>
                      <a:pt x="551" y="566"/>
                    </a:lnTo>
                    <a:lnTo>
                      <a:pt x="560" y="562"/>
                    </a:lnTo>
                    <a:lnTo>
                      <a:pt x="568" y="558"/>
                    </a:lnTo>
                    <a:lnTo>
                      <a:pt x="574" y="554"/>
                    </a:lnTo>
                    <a:lnTo>
                      <a:pt x="579" y="548"/>
                    </a:lnTo>
                    <a:lnTo>
                      <a:pt x="579" y="548"/>
                    </a:lnTo>
                    <a:lnTo>
                      <a:pt x="587" y="540"/>
                    </a:lnTo>
                    <a:lnTo>
                      <a:pt x="593" y="531"/>
                    </a:lnTo>
                    <a:lnTo>
                      <a:pt x="599" y="520"/>
                    </a:lnTo>
                    <a:lnTo>
                      <a:pt x="606" y="507"/>
                    </a:lnTo>
                    <a:lnTo>
                      <a:pt x="611" y="493"/>
                    </a:lnTo>
                    <a:lnTo>
                      <a:pt x="615" y="478"/>
                    </a:lnTo>
                    <a:lnTo>
                      <a:pt x="618" y="462"/>
                    </a:lnTo>
                    <a:lnTo>
                      <a:pt x="622" y="445"/>
                    </a:lnTo>
                    <a:lnTo>
                      <a:pt x="627" y="408"/>
                    </a:lnTo>
                    <a:lnTo>
                      <a:pt x="631" y="371"/>
                    </a:lnTo>
                    <a:lnTo>
                      <a:pt x="637" y="289"/>
                    </a:lnTo>
                    <a:lnTo>
                      <a:pt x="639" y="248"/>
                    </a:lnTo>
                    <a:lnTo>
                      <a:pt x="643" y="208"/>
                    </a:lnTo>
                    <a:lnTo>
                      <a:pt x="647" y="169"/>
                    </a:lnTo>
                    <a:lnTo>
                      <a:pt x="653" y="134"/>
                    </a:lnTo>
                    <a:lnTo>
                      <a:pt x="657" y="117"/>
                    </a:lnTo>
                    <a:lnTo>
                      <a:pt x="661" y="101"/>
                    </a:lnTo>
                    <a:lnTo>
                      <a:pt x="665" y="87"/>
                    </a:lnTo>
                    <a:lnTo>
                      <a:pt x="670" y="73"/>
                    </a:lnTo>
                    <a:lnTo>
                      <a:pt x="676" y="61"/>
                    </a:lnTo>
                    <a:lnTo>
                      <a:pt x="682" y="50"/>
                    </a:lnTo>
                    <a:lnTo>
                      <a:pt x="689" y="41"/>
                    </a:lnTo>
                    <a:lnTo>
                      <a:pt x="698" y="32"/>
                    </a:lnTo>
                    <a:lnTo>
                      <a:pt x="698"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96" name="Freeform 1967"/>
              <p:cNvSpPr>
                <a:spLocks/>
              </p:cNvSpPr>
              <p:nvPr/>
            </p:nvSpPr>
            <p:spPr bwMode="auto">
              <a:xfrm>
                <a:off x="2802832" y="3306661"/>
                <a:ext cx="134938" cy="134938"/>
              </a:xfrm>
              <a:custGeom>
                <a:avLst/>
                <a:gdLst>
                  <a:gd name="T0" fmla="*/ 0 w 509"/>
                  <a:gd name="T1" fmla="*/ 254 h 509"/>
                  <a:gd name="T2" fmla="*/ 1 w 509"/>
                  <a:gd name="T3" fmla="*/ 228 h 509"/>
                  <a:gd name="T4" fmla="*/ 5 w 509"/>
                  <a:gd name="T5" fmla="*/ 203 h 509"/>
                  <a:gd name="T6" fmla="*/ 12 w 509"/>
                  <a:gd name="T7" fmla="*/ 179 h 509"/>
                  <a:gd name="T8" fmla="*/ 21 w 509"/>
                  <a:gd name="T9" fmla="*/ 155 h 509"/>
                  <a:gd name="T10" fmla="*/ 44 w 509"/>
                  <a:gd name="T11" fmla="*/ 112 h 509"/>
                  <a:gd name="T12" fmla="*/ 75 w 509"/>
                  <a:gd name="T13" fmla="*/ 75 h 509"/>
                  <a:gd name="T14" fmla="*/ 113 w 509"/>
                  <a:gd name="T15" fmla="*/ 43 h 509"/>
                  <a:gd name="T16" fmla="*/ 156 w 509"/>
                  <a:gd name="T17" fmla="*/ 19 h 509"/>
                  <a:gd name="T18" fmla="*/ 179 w 509"/>
                  <a:gd name="T19" fmla="*/ 11 h 509"/>
                  <a:gd name="T20" fmla="*/ 204 w 509"/>
                  <a:gd name="T21" fmla="*/ 5 h 509"/>
                  <a:gd name="T22" fmla="*/ 229 w 509"/>
                  <a:gd name="T23" fmla="*/ 1 h 509"/>
                  <a:gd name="T24" fmla="*/ 255 w 509"/>
                  <a:gd name="T25" fmla="*/ 0 h 509"/>
                  <a:gd name="T26" fmla="*/ 268 w 509"/>
                  <a:gd name="T27" fmla="*/ 0 h 509"/>
                  <a:gd name="T28" fmla="*/ 294 w 509"/>
                  <a:gd name="T29" fmla="*/ 3 h 509"/>
                  <a:gd name="T30" fmla="*/ 318 w 509"/>
                  <a:gd name="T31" fmla="*/ 8 h 509"/>
                  <a:gd name="T32" fmla="*/ 343 w 509"/>
                  <a:gd name="T33" fmla="*/ 15 h 509"/>
                  <a:gd name="T34" fmla="*/ 376 w 509"/>
                  <a:gd name="T35" fmla="*/ 31 h 509"/>
                  <a:gd name="T36" fmla="*/ 416 w 509"/>
                  <a:gd name="T37" fmla="*/ 58 h 509"/>
                  <a:gd name="T38" fmla="*/ 451 w 509"/>
                  <a:gd name="T39" fmla="*/ 92 h 509"/>
                  <a:gd name="T40" fmla="*/ 478 w 509"/>
                  <a:gd name="T41" fmla="*/ 133 h 509"/>
                  <a:gd name="T42" fmla="*/ 494 w 509"/>
                  <a:gd name="T43" fmla="*/ 167 h 509"/>
                  <a:gd name="T44" fmla="*/ 501 w 509"/>
                  <a:gd name="T45" fmla="*/ 191 h 509"/>
                  <a:gd name="T46" fmla="*/ 506 w 509"/>
                  <a:gd name="T47" fmla="*/ 216 h 509"/>
                  <a:gd name="T48" fmla="*/ 509 w 509"/>
                  <a:gd name="T49" fmla="*/ 241 h 509"/>
                  <a:gd name="T50" fmla="*/ 509 w 509"/>
                  <a:gd name="T51" fmla="*/ 254 h 509"/>
                  <a:gd name="T52" fmla="*/ 508 w 509"/>
                  <a:gd name="T53" fmla="*/ 280 h 509"/>
                  <a:gd name="T54" fmla="*/ 504 w 509"/>
                  <a:gd name="T55" fmla="*/ 306 h 509"/>
                  <a:gd name="T56" fmla="*/ 498 w 509"/>
                  <a:gd name="T57" fmla="*/ 330 h 509"/>
                  <a:gd name="T58" fmla="*/ 489 w 509"/>
                  <a:gd name="T59" fmla="*/ 354 h 509"/>
                  <a:gd name="T60" fmla="*/ 465 w 509"/>
                  <a:gd name="T61" fmla="*/ 396 h 509"/>
                  <a:gd name="T62" fmla="*/ 435 w 509"/>
                  <a:gd name="T63" fmla="*/ 434 h 509"/>
                  <a:gd name="T64" fmla="*/ 397 w 509"/>
                  <a:gd name="T65" fmla="*/ 465 h 509"/>
                  <a:gd name="T66" fmla="*/ 354 w 509"/>
                  <a:gd name="T67" fmla="*/ 488 h 509"/>
                  <a:gd name="T68" fmla="*/ 330 w 509"/>
                  <a:gd name="T69" fmla="*/ 498 h 509"/>
                  <a:gd name="T70" fmla="*/ 306 w 509"/>
                  <a:gd name="T71" fmla="*/ 504 h 509"/>
                  <a:gd name="T72" fmla="*/ 280 w 509"/>
                  <a:gd name="T73" fmla="*/ 507 h 509"/>
                  <a:gd name="T74" fmla="*/ 255 w 509"/>
                  <a:gd name="T75" fmla="*/ 509 h 509"/>
                  <a:gd name="T76" fmla="*/ 241 w 509"/>
                  <a:gd name="T77" fmla="*/ 508 h 509"/>
                  <a:gd name="T78" fmla="*/ 216 w 509"/>
                  <a:gd name="T79" fmla="*/ 506 h 509"/>
                  <a:gd name="T80" fmla="*/ 191 w 509"/>
                  <a:gd name="T81" fmla="*/ 501 h 509"/>
                  <a:gd name="T82" fmla="*/ 167 w 509"/>
                  <a:gd name="T83" fmla="*/ 494 h 509"/>
                  <a:gd name="T84" fmla="*/ 133 w 509"/>
                  <a:gd name="T85" fmla="*/ 478 h 509"/>
                  <a:gd name="T86" fmla="*/ 93 w 509"/>
                  <a:gd name="T87" fmla="*/ 451 h 509"/>
                  <a:gd name="T88" fmla="*/ 59 w 509"/>
                  <a:gd name="T89" fmla="*/ 416 h 509"/>
                  <a:gd name="T90" fmla="*/ 31 w 509"/>
                  <a:gd name="T91" fmla="*/ 375 h 509"/>
                  <a:gd name="T92" fmla="*/ 16 w 509"/>
                  <a:gd name="T93" fmla="*/ 341 h 509"/>
                  <a:gd name="T94" fmla="*/ 8 w 509"/>
                  <a:gd name="T95" fmla="*/ 318 h 509"/>
                  <a:gd name="T96" fmla="*/ 3 w 509"/>
                  <a:gd name="T97" fmla="*/ 293 h 509"/>
                  <a:gd name="T98" fmla="*/ 0 w 509"/>
                  <a:gd name="T99" fmla="*/ 268 h 509"/>
                  <a:gd name="T100" fmla="*/ 0 w 509"/>
                  <a:gd name="T101" fmla="*/ 25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9" h="509">
                    <a:moveTo>
                      <a:pt x="0" y="254"/>
                    </a:moveTo>
                    <a:lnTo>
                      <a:pt x="0" y="254"/>
                    </a:lnTo>
                    <a:lnTo>
                      <a:pt x="0" y="241"/>
                    </a:lnTo>
                    <a:lnTo>
                      <a:pt x="1" y="228"/>
                    </a:lnTo>
                    <a:lnTo>
                      <a:pt x="3" y="216"/>
                    </a:lnTo>
                    <a:lnTo>
                      <a:pt x="5" y="203"/>
                    </a:lnTo>
                    <a:lnTo>
                      <a:pt x="8" y="191"/>
                    </a:lnTo>
                    <a:lnTo>
                      <a:pt x="12" y="179"/>
                    </a:lnTo>
                    <a:lnTo>
                      <a:pt x="16" y="167"/>
                    </a:lnTo>
                    <a:lnTo>
                      <a:pt x="21" y="155"/>
                    </a:lnTo>
                    <a:lnTo>
                      <a:pt x="31" y="133"/>
                    </a:lnTo>
                    <a:lnTo>
                      <a:pt x="44" y="112"/>
                    </a:lnTo>
                    <a:lnTo>
                      <a:pt x="59" y="92"/>
                    </a:lnTo>
                    <a:lnTo>
                      <a:pt x="75" y="75"/>
                    </a:lnTo>
                    <a:lnTo>
                      <a:pt x="93" y="58"/>
                    </a:lnTo>
                    <a:lnTo>
                      <a:pt x="113" y="43"/>
                    </a:lnTo>
                    <a:lnTo>
                      <a:pt x="133" y="31"/>
                    </a:lnTo>
                    <a:lnTo>
                      <a:pt x="156" y="19"/>
                    </a:lnTo>
                    <a:lnTo>
                      <a:pt x="167" y="15"/>
                    </a:lnTo>
                    <a:lnTo>
                      <a:pt x="179" y="11"/>
                    </a:lnTo>
                    <a:lnTo>
                      <a:pt x="191" y="8"/>
                    </a:lnTo>
                    <a:lnTo>
                      <a:pt x="204" y="5"/>
                    </a:lnTo>
                    <a:lnTo>
                      <a:pt x="216" y="3"/>
                    </a:lnTo>
                    <a:lnTo>
                      <a:pt x="229" y="1"/>
                    </a:lnTo>
                    <a:lnTo>
                      <a:pt x="241" y="0"/>
                    </a:lnTo>
                    <a:lnTo>
                      <a:pt x="255" y="0"/>
                    </a:lnTo>
                    <a:lnTo>
                      <a:pt x="255" y="0"/>
                    </a:lnTo>
                    <a:lnTo>
                      <a:pt x="268" y="0"/>
                    </a:lnTo>
                    <a:lnTo>
                      <a:pt x="280" y="1"/>
                    </a:lnTo>
                    <a:lnTo>
                      <a:pt x="294" y="3"/>
                    </a:lnTo>
                    <a:lnTo>
                      <a:pt x="306" y="5"/>
                    </a:lnTo>
                    <a:lnTo>
                      <a:pt x="318" y="8"/>
                    </a:lnTo>
                    <a:lnTo>
                      <a:pt x="330" y="11"/>
                    </a:lnTo>
                    <a:lnTo>
                      <a:pt x="343" y="15"/>
                    </a:lnTo>
                    <a:lnTo>
                      <a:pt x="354" y="19"/>
                    </a:lnTo>
                    <a:lnTo>
                      <a:pt x="376" y="31"/>
                    </a:lnTo>
                    <a:lnTo>
                      <a:pt x="397" y="43"/>
                    </a:lnTo>
                    <a:lnTo>
                      <a:pt x="416" y="58"/>
                    </a:lnTo>
                    <a:lnTo>
                      <a:pt x="435" y="75"/>
                    </a:lnTo>
                    <a:lnTo>
                      <a:pt x="451" y="92"/>
                    </a:lnTo>
                    <a:lnTo>
                      <a:pt x="465" y="112"/>
                    </a:lnTo>
                    <a:lnTo>
                      <a:pt x="478" y="133"/>
                    </a:lnTo>
                    <a:lnTo>
                      <a:pt x="489" y="155"/>
                    </a:lnTo>
                    <a:lnTo>
                      <a:pt x="494" y="167"/>
                    </a:lnTo>
                    <a:lnTo>
                      <a:pt x="498" y="179"/>
                    </a:lnTo>
                    <a:lnTo>
                      <a:pt x="501" y="191"/>
                    </a:lnTo>
                    <a:lnTo>
                      <a:pt x="504" y="203"/>
                    </a:lnTo>
                    <a:lnTo>
                      <a:pt x="506" y="216"/>
                    </a:lnTo>
                    <a:lnTo>
                      <a:pt x="508" y="228"/>
                    </a:lnTo>
                    <a:lnTo>
                      <a:pt x="509" y="241"/>
                    </a:lnTo>
                    <a:lnTo>
                      <a:pt x="509" y="254"/>
                    </a:lnTo>
                    <a:lnTo>
                      <a:pt x="509" y="254"/>
                    </a:lnTo>
                    <a:lnTo>
                      <a:pt x="509" y="268"/>
                    </a:lnTo>
                    <a:lnTo>
                      <a:pt x="508" y="280"/>
                    </a:lnTo>
                    <a:lnTo>
                      <a:pt x="506" y="293"/>
                    </a:lnTo>
                    <a:lnTo>
                      <a:pt x="504" y="306"/>
                    </a:lnTo>
                    <a:lnTo>
                      <a:pt x="501" y="318"/>
                    </a:lnTo>
                    <a:lnTo>
                      <a:pt x="498" y="330"/>
                    </a:lnTo>
                    <a:lnTo>
                      <a:pt x="494" y="341"/>
                    </a:lnTo>
                    <a:lnTo>
                      <a:pt x="489" y="354"/>
                    </a:lnTo>
                    <a:lnTo>
                      <a:pt x="478" y="375"/>
                    </a:lnTo>
                    <a:lnTo>
                      <a:pt x="465" y="396"/>
                    </a:lnTo>
                    <a:lnTo>
                      <a:pt x="451" y="416"/>
                    </a:lnTo>
                    <a:lnTo>
                      <a:pt x="435" y="434"/>
                    </a:lnTo>
                    <a:lnTo>
                      <a:pt x="416" y="451"/>
                    </a:lnTo>
                    <a:lnTo>
                      <a:pt x="397" y="465"/>
                    </a:lnTo>
                    <a:lnTo>
                      <a:pt x="376" y="478"/>
                    </a:lnTo>
                    <a:lnTo>
                      <a:pt x="354" y="488"/>
                    </a:lnTo>
                    <a:lnTo>
                      <a:pt x="343" y="494"/>
                    </a:lnTo>
                    <a:lnTo>
                      <a:pt x="330" y="498"/>
                    </a:lnTo>
                    <a:lnTo>
                      <a:pt x="318" y="501"/>
                    </a:lnTo>
                    <a:lnTo>
                      <a:pt x="306" y="504"/>
                    </a:lnTo>
                    <a:lnTo>
                      <a:pt x="294" y="506"/>
                    </a:lnTo>
                    <a:lnTo>
                      <a:pt x="280" y="507"/>
                    </a:lnTo>
                    <a:lnTo>
                      <a:pt x="268" y="508"/>
                    </a:lnTo>
                    <a:lnTo>
                      <a:pt x="255" y="509"/>
                    </a:lnTo>
                    <a:lnTo>
                      <a:pt x="255" y="509"/>
                    </a:lnTo>
                    <a:lnTo>
                      <a:pt x="241" y="508"/>
                    </a:lnTo>
                    <a:lnTo>
                      <a:pt x="229" y="507"/>
                    </a:lnTo>
                    <a:lnTo>
                      <a:pt x="216" y="506"/>
                    </a:lnTo>
                    <a:lnTo>
                      <a:pt x="204" y="504"/>
                    </a:lnTo>
                    <a:lnTo>
                      <a:pt x="191" y="501"/>
                    </a:lnTo>
                    <a:lnTo>
                      <a:pt x="179" y="498"/>
                    </a:lnTo>
                    <a:lnTo>
                      <a:pt x="167" y="494"/>
                    </a:lnTo>
                    <a:lnTo>
                      <a:pt x="156" y="488"/>
                    </a:lnTo>
                    <a:lnTo>
                      <a:pt x="133" y="478"/>
                    </a:lnTo>
                    <a:lnTo>
                      <a:pt x="113" y="465"/>
                    </a:lnTo>
                    <a:lnTo>
                      <a:pt x="93" y="451"/>
                    </a:lnTo>
                    <a:lnTo>
                      <a:pt x="75" y="434"/>
                    </a:lnTo>
                    <a:lnTo>
                      <a:pt x="59" y="416"/>
                    </a:lnTo>
                    <a:lnTo>
                      <a:pt x="44" y="396"/>
                    </a:lnTo>
                    <a:lnTo>
                      <a:pt x="31" y="375"/>
                    </a:lnTo>
                    <a:lnTo>
                      <a:pt x="21" y="354"/>
                    </a:lnTo>
                    <a:lnTo>
                      <a:pt x="16" y="341"/>
                    </a:lnTo>
                    <a:lnTo>
                      <a:pt x="12" y="330"/>
                    </a:lnTo>
                    <a:lnTo>
                      <a:pt x="8" y="318"/>
                    </a:lnTo>
                    <a:lnTo>
                      <a:pt x="5" y="306"/>
                    </a:lnTo>
                    <a:lnTo>
                      <a:pt x="3" y="293"/>
                    </a:lnTo>
                    <a:lnTo>
                      <a:pt x="1" y="280"/>
                    </a:lnTo>
                    <a:lnTo>
                      <a:pt x="0" y="268"/>
                    </a:lnTo>
                    <a:lnTo>
                      <a:pt x="0" y="254"/>
                    </a:lnTo>
                    <a:lnTo>
                      <a:pt x="0" y="2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794" name="Freeform 169"/>
            <p:cNvSpPr>
              <a:spLocks noChangeAspect="1" noEditPoints="1"/>
            </p:cNvSpPr>
            <p:nvPr/>
          </p:nvSpPr>
          <p:spPr bwMode="auto">
            <a:xfrm flipH="1">
              <a:off x="3841957" y="3956867"/>
              <a:ext cx="790311" cy="649404"/>
            </a:xfrm>
            <a:custGeom>
              <a:avLst/>
              <a:gdLst>
                <a:gd name="T0" fmla="*/ 1626 w 1808"/>
                <a:gd name="T1" fmla="*/ 5 h 1487"/>
                <a:gd name="T2" fmla="*/ 1394 w 1808"/>
                <a:gd name="T3" fmla="*/ 47 h 1487"/>
                <a:gd name="T4" fmla="*/ 1323 w 1808"/>
                <a:gd name="T5" fmla="*/ 69 h 1487"/>
                <a:gd name="T6" fmla="*/ 1292 w 1808"/>
                <a:gd name="T7" fmla="*/ 113 h 1487"/>
                <a:gd name="T8" fmla="*/ 14 w 1808"/>
                <a:gd name="T9" fmla="*/ 317 h 1487"/>
                <a:gd name="T10" fmla="*/ 0 w 1808"/>
                <a:gd name="T11" fmla="*/ 342 h 1487"/>
                <a:gd name="T12" fmla="*/ 216 w 1808"/>
                <a:gd name="T13" fmla="*/ 1020 h 1487"/>
                <a:gd name="T14" fmla="*/ 248 w 1808"/>
                <a:gd name="T15" fmla="*/ 1039 h 1487"/>
                <a:gd name="T16" fmla="*/ 1127 w 1808"/>
                <a:gd name="T17" fmla="*/ 1044 h 1487"/>
                <a:gd name="T18" fmla="*/ 1160 w 1808"/>
                <a:gd name="T19" fmla="*/ 1084 h 1487"/>
                <a:gd name="T20" fmla="*/ 1152 w 1808"/>
                <a:gd name="T21" fmla="*/ 1126 h 1487"/>
                <a:gd name="T22" fmla="*/ 1106 w 1808"/>
                <a:gd name="T23" fmla="*/ 1150 h 1487"/>
                <a:gd name="T24" fmla="*/ 417 w 1808"/>
                <a:gd name="T25" fmla="*/ 1158 h 1487"/>
                <a:gd name="T26" fmla="*/ 348 w 1808"/>
                <a:gd name="T27" fmla="*/ 1200 h 1487"/>
                <a:gd name="T28" fmla="*/ 306 w 1808"/>
                <a:gd name="T29" fmla="*/ 1269 h 1487"/>
                <a:gd name="T30" fmla="*/ 300 w 1808"/>
                <a:gd name="T31" fmla="*/ 1337 h 1487"/>
                <a:gd name="T32" fmla="*/ 328 w 1808"/>
                <a:gd name="T33" fmla="*/ 1414 h 1487"/>
                <a:gd name="T34" fmla="*/ 387 w 1808"/>
                <a:gd name="T35" fmla="*/ 1467 h 1487"/>
                <a:gd name="T36" fmla="*/ 467 w 1808"/>
                <a:gd name="T37" fmla="*/ 1487 h 1487"/>
                <a:gd name="T38" fmla="*/ 533 w 1808"/>
                <a:gd name="T39" fmla="*/ 1474 h 1487"/>
                <a:gd name="T40" fmla="*/ 598 w 1808"/>
                <a:gd name="T41" fmla="*/ 1426 h 1487"/>
                <a:gd name="T42" fmla="*/ 632 w 1808"/>
                <a:gd name="T43" fmla="*/ 1353 h 1487"/>
                <a:gd name="T44" fmla="*/ 634 w 1808"/>
                <a:gd name="T45" fmla="*/ 1308 h 1487"/>
                <a:gd name="T46" fmla="*/ 804 w 1808"/>
                <a:gd name="T47" fmla="*/ 1319 h 1487"/>
                <a:gd name="T48" fmla="*/ 824 w 1808"/>
                <a:gd name="T49" fmla="*/ 1399 h 1487"/>
                <a:gd name="T50" fmla="*/ 878 w 1808"/>
                <a:gd name="T51" fmla="*/ 1459 h 1487"/>
                <a:gd name="T52" fmla="*/ 956 w 1808"/>
                <a:gd name="T53" fmla="*/ 1486 h 1487"/>
                <a:gd name="T54" fmla="*/ 1022 w 1808"/>
                <a:gd name="T55" fmla="*/ 1480 h 1487"/>
                <a:gd name="T56" fmla="*/ 1091 w 1808"/>
                <a:gd name="T57" fmla="*/ 1438 h 1487"/>
                <a:gd name="T58" fmla="*/ 1133 w 1808"/>
                <a:gd name="T59" fmla="*/ 1369 h 1487"/>
                <a:gd name="T60" fmla="*/ 1140 w 1808"/>
                <a:gd name="T61" fmla="*/ 1312 h 1487"/>
                <a:gd name="T62" fmla="*/ 1194 w 1808"/>
                <a:gd name="T63" fmla="*/ 1288 h 1487"/>
                <a:gd name="T64" fmla="*/ 1267 w 1808"/>
                <a:gd name="T65" fmla="*/ 1233 h 1487"/>
                <a:gd name="T66" fmla="*/ 1311 w 1808"/>
                <a:gd name="T67" fmla="*/ 1152 h 1487"/>
                <a:gd name="T68" fmla="*/ 1318 w 1808"/>
                <a:gd name="T69" fmla="*/ 1082 h 1487"/>
                <a:gd name="T70" fmla="*/ 1305 w 1808"/>
                <a:gd name="T71" fmla="*/ 1023 h 1487"/>
                <a:gd name="T72" fmla="*/ 1277 w 1808"/>
                <a:gd name="T73" fmla="*/ 969 h 1487"/>
                <a:gd name="T74" fmla="*/ 1235 w 1808"/>
                <a:gd name="T75" fmla="*/ 927 h 1487"/>
                <a:gd name="T76" fmla="*/ 1607 w 1808"/>
                <a:gd name="T77" fmla="*/ 200 h 1487"/>
                <a:gd name="T78" fmla="*/ 1675 w 1808"/>
                <a:gd name="T79" fmla="*/ 235 h 1487"/>
                <a:gd name="T80" fmla="*/ 1726 w 1808"/>
                <a:gd name="T81" fmla="*/ 231 h 1487"/>
                <a:gd name="T82" fmla="*/ 1774 w 1808"/>
                <a:gd name="T83" fmla="*/ 201 h 1487"/>
                <a:gd name="T84" fmla="*/ 1803 w 1808"/>
                <a:gd name="T85" fmla="*/ 153 h 1487"/>
                <a:gd name="T86" fmla="*/ 1808 w 1808"/>
                <a:gd name="T87" fmla="*/ 106 h 1487"/>
                <a:gd name="T88" fmla="*/ 1789 w 1808"/>
                <a:gd name="T89" fmla="*/ 52 h 1487"/>
                <a:gd name="T90" fmla="*/ 1747 w 1808"/>
                <a:gd name="T91" fmla="*/ 14 h 1487"/>
                <a:gd name="T92" fmla="*/ 1691 w 1808"/>
                <a:gd name="T93" fmla="*/ 0 h 1487"/>
                <a:gd name="T94" fmla="*/ 447 w 1808"/>
                <a:gd name="T95" fmla="*/ 1368 h 1487"/>
                <a:gd name="T96" fmla="*/ 415 w 1808"/>
                <a:gd name="T97" fmla="*/ 1329 h 1487"/>
                <a:gd name="T98" fmla="*/ 423 w 1808"/>
                <a:gd name="T99" fmla="*/ 1289 h 1487"/>
                <a:gd name="T100" fmla="*/ 467 w 1808"/>
                <a:gd name="T101" fmla="*/ 1266 h 1487"/>
                <a:gd name="T102" fmla="*/ 505 w 1808"/>
                <a:gd name="T103" fmla="*/ 1281 h 1487"/>
                <a:gd name="T104" fmla="*/ 521 w 1808"/>
                <a:gd name="T105" fmla="*/ 1319 h 1487"/>
                <a:gd name="T106" fmla="*/ 497 w 1808"/>
                <a:gd name="T107" fmla="*/ 1363 h 1487"/>
                <a:gd name="T108" fmla="*/ 972 w 1808"/>
                <a:gd name="T109" fmla="*/ 1373 h 1487"/>
                <a:gd name="T110" fmla="*/ 934 w 1808"/>
                <a:gd name="T111" fmla="*/ 1357 h 1487"/>
                <a:gd name="T112" fmla="*/ 919 w 1808"/>
                <a:gd name="T113" fmla="*/ 1319 h 1487"/>
                <a:gd name="T114" fmla="*/ 942 w 1808"/>
                <a:gd name="T115" fmla="*/ 1275 h 1487"/>
                <a:gd name="T116" fmla="*/ 983 w 1808"/>
                <a:gd name="T117" fmla="*/ 1267 h 1487"/>
                <a:gd name="T118" fmla="*/ 1021 w 1808"/>
                <a:gd name="T119" fmla="*/ 1298 h 1487"/>
                <a:gd name="T120" fmla="*/ 1021 w 1808"/>
                <a:gd name="T121" fmla="*/ 1340 h 1487"/>
                <a:gd name="T122" fmla="*/ 983 w 1808"/>
                <a:gd name="T123" fmla="*/ 1372 h 1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8" h="1487">
                  <a:moveTo>
                    <a:pt x="1691" y="0"/>
                  </a:moveTo>
                  <a:lnTo>
                    <a:pt x="1691" y="0"/>
                  </a:lnTo>
                  <a:lnTo>
                    <a:pt x="1672" y="1"/>
                  </a:lnTo>
                  <a:lnTo>
                    <a:pt x="1650" y="2"/>
                  </a:lnTo>
                  <a:lnTo>
                    <a:pt x="1626" y="5"/>
                  </a:lnTo>
                  <a:lnTo>
                    <a:pt x="1600" y="9"/>
                  </a:lnTo>
                  <a:lnTo>
                    <a:pt x="1544" y="17"/>
                  </a:lnTo>
                  <a:lnTo>
                    <a:pt x="1488" y="28"/>
                  </a:lnTo>
                  <a:lnTo>
                    <a:pt x="1437" y="38"/>
                  </a:lnTo>
                  <a:lnTo>
                    <a:pt x="1394" y="47"/>
                  </a:lnTo>
                  <a:lnTo>
                    <a:pt x="1355" y="56"/>
                  </a:lnTo>
                  <a:lnTo>
                    <a:pt x="1355" y="56"/>
                  </a:lnTo>
                  <a:lnTo>
                    <a:pt x="1343" y="58"/>
                  </a:lnTo>
                  <a:lnTo>
                    <a:pt x="1333" y="63"/>
                  </a:lnTo>
                  <a:lnTo>
                    <a:pt x="1323" y="69"/>
                  </a:lnTo>
                  <a:lnTo>
                    <a:pt x="1315" y="76"/>
                  </a:lnTo>
                  <a:lnTo>
                    <a:pt x="1308" y="83"/>
                  </a:lnTo>
                  <a:lnTo>
                    <a:pt x="1300" y="92"/>
                  </a:lnTo>
                  <a:lnTo>
                    <a:pt x="1295" y="103"/>
                  </a:lnTo>
                  <a:lnTo>
                    <a:pt x="1292" y="113"/>
                  </a:lnTo>
                  <a:lnTo>
                    <a:pt x="1237" y="315"/>
                  </a:lnTo>
                  <a:lnTo>
                    <a:pt x="26" y="315"/>
                  </a:lnTo>
                  <a:lnTo>
                    <a:pt x="26" y="315"/>
                  </a:lnTo>
                  <a:lnTo>
                    <a:pt x="20" y="315"/>
                  </a:lnTo>
                  <a:lnTo>
                    <a:pt x="14" y="317"/>
                  </a:lnTo>
                  <a:lnTo>
                    <a:pt x="9" y="320"/>
                  </a:lnTo>
                  <a:lnTo>
                    <a:pt x="4" y="325"/>
                  </a:lnTo>
                  <a:lnTo>
                    <a:pt x="1" y="329"/>
                  </a:lnTo>
                  <a:lnTo>
                    <a:pt x="0" y="335"/>
                  </a:lnTo>
                  <a:lnTo>
                    <a:pt x="0" y="342"/>
                  </a:lnTo>
                  <a:lnTo>
                    <a:pt x="1" y="349"/>
                  </a:lnTo>
                  <a:lnTo>
                    <a:pt x="209" y="1006"/>
                  </a:lnTo>
                  <a:lnTo>
                    <a:pt x="209" y="1006"/>
                  </a:lnTo>
                  <a:lnTo>
                    <a:pt x="212" y="1014"/>
                  </a:lnTo>
                  <a:lnTo>
                    <a:pt x="216" y="1020"/>
                  </a:lnTo>
                  <a:lnTo>
                    <a:pt x="221" y="1025"/>
                  </a:lnTo>
                  <a:lnTo>
                    <a:pt x="226" y="1030"/>
                  </a:lnTo>
                  <a:lnTo>
                    <a:pt x="233" y="1034"/>
                  </a:lnTo>
                  <a:lnTo>
                    <a:pt x="240" y="1038"/>
                  </a:lnTo>
                  <a:lnTo>
                    <a:pt x="248" y="1039"/>
                  </a:lnTo>
                  <a:lnTo>
                    <a:pt x="255" y="1040"/>
                  </a:lnTo>
                  <a:lnTo>
                    <a:pt x="1106" y="1040"/>
                  </a:lnTo>
                  <a:lnTo>
                    <a:pt x="1106" y="1040"/>
                  </a:lnTo>
                  <a:lnTo>
                    <a:pt x="1118" y="1041"/>
                  </a:lnTo>
                  <a:lnTo>
                    <a:pt x="1127" y="1044"/>
                  </a:lnTo>
                  <a:lnTo>
                    <a:pt x="1137" y="1049"/>
                  </a:lnTo>
                  <a:lnTo>
                    <a:pt x="1145" y="1057"/>
                  </a:lnTo>
                  <a:lnTo>
                    <a:pt x="1152" y="1065"/>
                  </a:lnTo>
                  <a:lnTo>
                    <a:pt x="1157" y="1074"/>
                  </a:lnTo>
                  <a:lnTo>
                    <a:pt x="1160" y="1084"/>
                  </a:lnTo>
                  <a:lnTo>
                    <a:pt x="1161" y="1096"/>
                  </a:lnTo>
                  <a:lnTo>
                    <a:pt x="1161" y="1096"/>
                  </a:lnTo>
                  <a:lnTo>
                    <a:pt x="1160" y="1106"/>
                  </a:lnTo>
                  <a:lnTo>
                    <a:pt x="1157" y="1116"/>
                  </a:lnTo>
                  <a:lnTo>
                    <a:pt x="1152" y="1126"/>
                  </a:lnTo>
                  <a:lnTo>
                    <a:pt x="1145" y="1134"/>
                  </a:lnTo>
                  <a:lnTo>
                    <a:pt x="1137" y="1141"/>
                  </a:lnTo>
                  <a:lnTo>
                    <a:pt x="1127" y="1146"/>
                  </a:lnTo>
                  <a:lnTo>
                    <a:pt x="1118" y="1149"/>
                  </a:lnTo>
                  <a:lnTo>
                    <a:pt x="1106" y="1150"/>
                  </a:lnTo>
                  <a:lnTo>
                    <a:pt x="467" y="1150"/>
                  </a:lnTo>
                  <a:lnTo>
                    <a:pt x="467" y="1150"/>
                  </a:lnTo>
                  <a:lnTo>
                    <a:pt x="450" y="1151"/>
                  </a:lnTo>
                  <a:lnTo>
                    <a:pt x="433" y="1154"/>
                  </a:lnTo>
                  <a:lnTo>
                    <a:pt x="417" y="1158"/>
                  </a:lnTo>
                  <a:lnTo>
                    <a:pt x="402" y="1163"/>
                  </a:lnTo>
                  <a:lnTo>
                    <a:pt x="387" y="1170"/>
                  </a:lnTo>
                  <a:lnTo>
                    <a:pt x="373" y="1179"/>
                  </a:lnTo>
                  <a:lnTo>
                    <a:pt x="360" y="1189"/>
                  </a:lnTo>
                  <a:lnTo>
                    <a:pt x="348" y="1200"/>
                  </a:lnTo>
                  <a:lnTo>
                    <a:pt x="337" y="1211"/>
                  </a:lnTo>
                  <a:lnTo>
                    <a:pt x="328" y="1225"/>
                  </a:lnTo>
                  <a:lnTo>
                    <a:pt x="319" y="1238"/>
                  </a:lnTo>
                  <a:lnTo>
                    <a:pt x="312" y="1254"/>
                  </a:lnTo>
                  <a:lnTo>
                    <a:pt x="306" y="1269"/>
                  </a:lnTo>
                  <a:lnTo>
                    <a:pt x="302" y="1285"/>
                  </a:lnTo>
                  <a:lnTo>
                    <a:pt x="300" y="1302"/>
                  </a:lnTo>
                  <a:lnTo>
                    <a:pt x="299" y="1319"/>
                  </a:lnTo>
                  <a:lnTo>
                    <a:pt x="299" y="1319"/>
                  </a:lnTo>
                  <a:lnTo>
                    <a:pt x="300" y="1337"/>
                  </a:lnTo>
                  <a:lnTo>
                    <a:pt x="302" y="1353"/>
                  </a:lnTo>
                  <a:lnTo>
                    <a:pt x="306" y="1369"/>
                  </a:lnTo>
                  <a:lnTo>
                    <a:pt x="312" y="1385"/>
                  </a:lnTo>
                  <a:lnTo>
                    <a:pt x="319" y="1399"/>
                  </a:lnTo>
                  <a:lnTo>
                    <a:pt x="328" y="1414"/>
                  </a:lnTo>
                  <a:lnTo>
                    <a:pt x="337" y="1426"/>
                  </a:lnTo>
                  <a:lnTo>
                    <a:pt x="348" y="1438"/>
                  </a:lnTo>
                  <a:lnTo>
                    <a:pt x="360" y="1450"/>
                  </a:lnTo>
                  <a:lnTo>
                    <a:pt x="373" y="1459"/>
                  </a:lnTo>
                  <a:lnTo>
                    <a:pt x="387" y="1467"/>
                  </a:lnTo>
                  <a:lnTo>
                    <a:pt x="402" y="1474"/>
                  </a:lnTo>
                  <a:lnTo>
                    <a:pt x="417" y="1480"/>
                  </a:lnTo>
                  <a:lnTo>
                    <a:pt x="433" y="1484"/>
                  </a:lnTo>
                  <a:lnTo>
                    <a:pt x="450" y="1486"/>
                  </a:lnTo>
                  <a:lnTo>
                    <a:pt x="467" y="1487"/>
                  </a:lnTo>
                  <a:lnTo>
                    <a:pt x="467" y="1487"/>
                  </a:lnTo>
                  <a:lnTo>
                    <a:pt x="485" y="1486"/>
                  </a:lnTo>
                  <a:lnTo>
                    <a:pt x="501" y="1484"/>
                  </a:lnTo>
                  <a:lnTo>
                    <a:pt x="517" y="1480"/>
                  </a:lnTo>
                  <a:lnTo>
                    <a:pt x="533" y="1474"/>
                  </a:lnTo>
                  <a:lnTo>
                    <a:pt x="547" y="1467"/>
                  </a:lnTo>
                  <a:lnTo>
                    <a:pt x="562" y="1459"/>
                  </a:lnTo>
                  <a:lnTo>
                    <a:pt x="575" y="1450"/>
                  </a:lnTo>
                  <a:lnTo>
                    <a:pt x="586" y="1438"/>
                  </a:lnTo>
                  <a:lnTo>
                    <a:pt x="598" y="1426"/>
                  </a:lnTo>
                  <a:lnTo>
                    <a:pt x="607" y="1414"/>
                  </a:lnTo>
                  <a:lnTo>
                    <a:pt x="616" y="1399"/>
                  </a:lnTo>
                  <a:lnTo>
                    <a:pt x="623" y="1385"/>
                  </a:lnTo>
                  <a:lnTo>
                    <a:pt x="628" y="1369"/>
                  </a:lnTo>
                  <a:lnTo>
                    <a:pt x="632" y="1353"/>
                  </a:lnTo>
                  <a:lnTo>
                    <a:pt x="635" y="1337"/>
                  </a:lnTo>
                  <a:lnTo>
                    <a:pt x="635" y="1319"/>
                  </a:lnTo>
                  <a:lnTo>
                    <a:pt x="635" y="1319"/>
                  </a:lnTo>
                  <a:lnTo>
                    <a:pt x="635" y="1313"/>
                  </a:lnTo>
                  <a:lnTo>
                    <a:pt x="634" y="1308"/>
                  </a:lnTo>
                  <a:lnTo>
                    <a:pt x="805" y="1308"/>
                  </a:lnTo>
                  <a:lnTo>
                    <a:pt x="805" y="1308"/>
                  </a:lnTo>
                  <a:lnTo>
                    <a:pt x="804" y="1313"/>
                  </a:lnTo>
                  <a:lnTo>
                    <a:pt x="804" y="1319"/>
                  </a:lnTo>
                  <a:lnTo>
                    <a:pt x="804" y="1319"/>
                  </a:lnTo>
                  <a:lnTo>
                    <a:pt x="805" y="1337"/>
                  </a:lnTo>
                  <a:lnTo>
                    <a:pt x="807" y="1353"/>
                  </a:lnTo>
                  <a:lnTo>
                    <a:pt x="811" y="1369"/>
                  </a:lnTo>
                  <a:lnTo>
                    <a:pt x="817" y="1385"/>
                  </a:lnTo>
                  <a:lnTo>
                    <a:pt x="824" y="1399"/>
                  </a:lnTo>
                  <a:lnTo>
                    <a:pt x="832" y="1414"/>
                  </a:lnTo>
                  <a:lnTo>
                    <a:pt x="842" y="1426"/>
                  </a:lnTo>
                  <a:lnTo>
                    <a:pt x="853" y="1438"/>
                  </a:lnTo>
                  <a:lnTo>
                    <a:pt x="865" y="1450"/>
                  </a:lnTo>
                  <a:lnTo>
                    <a:pt x="878" y="1459"/>
                  </a:lnTo>
                  <a:lnTo>
                    <a:pt x="892" y="1467"/>
                  </a:lnTo>
                  <a:lnTo>
                    <a:pt x="906" y="1474"/>
                  </a:lnTo>
                  <a:lnTo>
                    <a:pt x="922" y="1480"/>
                  </a:lnTo>
                  <a:lnTo>
                    <a:pt x="938" y="1484"/>
                  </a:lnTo>
                  <a:lnTo>
                    <a:pt x="956" y="1486"/>
                  </a:lnTo>
                  <a:lnTo>
                    <a:pt x="972" y="1487"/>
                  </a:lnTo>
                  <a:lnTo>
                    <a:pt x="972" y="1487"/>
                  </a:lnTo>
                  <a:lnTo>
                    <a:pt x="989" y="1486"/>
                  </a:lnTo>
                  <a:lnTo>
                    <a:pt x="1006" y="1484"/>
                  </a:lnTo>
                  <a:lnTo>
                    <a:pt x="1022" y="1480"/>
                  </a:lnTo>
                  <a:lnTo>
                    <a:pt x="1038" y="1474"/>
                  </a:lnTo>
                  <a:lnTo>
                    <a:pt x="1053" y="1467"/>
                  </a:lnTo>
                  <a:lnTo>
                    <a:pt x="1066" y="1459"/>
                  </a:lnTo>
                  <a:lnTo>
                    <a:pt x="1080" y="1450"/>
                  </a:lnTo>
                  <a:lnTo>
                    <a:pt x="1091" y="1438"/>
                  </a:lnTo>
                  <a:lnTo>
                    <a:pt x="1102" y="1426"/>
                  </a:lnTo>
                  <a:lnTo>
                    <a:pt x="1113" y="1414"/>
                  </a:lnTo>
                  <a:lnTo>
                    <a:pt x="1121" y="1399"/>
                  </a:lnTo>
                  <a:lnTo>
                    <a:pt x="1128" y="1385"/>
                  </a:lnTo>
                  <a:lnTo>
                    <a:pt x="1133" y="1369"/>
                  </a:lnTo>
                  <a:lnTo>
                    <a:pt x="1137" y="1353"/>
                  </a:lnTo>
                  <a:lnTo>
                    <a:pt x="1140" y="1337"/>
                  </a:lnTo>
                  <a:lnTo>
                    <a:pt x="1141" y="1319"/>
                  </a:lnTo>
                  <a:lnTo>
                    <a:pt x="1141" y="1319"/>
                  </a:lnTo>
                  <a:lnTo>
                    <a:pt x="1140" y="1312"/>
                  </a:lnTo>
                  <a:lnTo>
                    <a:pt x="1139" y="1304"/>
                  </a:lnTo>
                  <a:lnTo>
                    <a:pt x="1139" y="1304"/>
                  </a:lnTo>
                  <a:lnTo>
                    <a:pt x="1158" y="1301"/>
                  </a:lnTo>
                  <a:lnTo>
                    <a:pt x="1176" y="1295"/>
                  </a:lnTo>
                  <a:lnTo>
                    <a:pt x="1194" y="1288"/>
                  </a:lnTo>
                  <a:lnTo>
                    <a:pt x="1210" y="1279"/>
                  </a:lnTo>
                  <a:lnTo>
                    <a:pt x="1225" y="1270"/>
                  </a:lnTo>
                  <a:lnTo>
                    <a:pt x="1241" y="1259"/>
                  </a:lnTo>
                  <a:lnTo>
                    <a:pt x="1254" y="1246"/>
                  </a:lnTo>
                  <a:lnTo>
                    <a:pt x="1267" y="1233"/>
                  </a:lnTo>
                  <a:lnTo>
                    <a:pt x="1279" y="1219"/>
                  </a:lnTo>
                  <a:lnTo>
                    <a:pt x="1288" y="1203"/>
                  </a:lnTo>
                  <a:lnTo>
                    <a:pt x="1297" y="1187"/>
                  </a:lnTo>
                  <a:lnTo>
                    <a:pt x="1304" y="1170"/>
                  </a:lnTo>
                  <a:lnTo>
                    <a:pt x="1311" y="1152"/>
                  </a:lnTo>
                  <a:lnTo>
                    <a:pt x="1315" y="1134"/>
                  </a:lnTo>
                  <a:lnTo>
                    <a:pt x="1318" y="1115"/>
                  </a:lnTo>
                  <a:lnTo>
                    <a:pt x="1319" y="1096"/>
                  </a:lnTo>
                  <a:lnTo>
                    <a:pt x="1319" y="1096"/>
                  </a:lnTo>
                  <a:lnTo>
                    <a:pt x="1318" y="1082"/>
                  </a:lnTo>
                  <a:lnTo>
                    <a:pt x="1317" y="1070"/>
                  </a:lnTo>
                  <a:lnTo>
                    <a:pt x="1315" y="1058"/>
                  </a:lnTo>
                  <a:lnTo>
                    <a:pt x="1313" y="1045"/>
                  </a:lnTo>
                  <a:lnTo>
                    <a:pt x="1310" y="1034"/>
                  </a:lnTo>
                  <a:lnTo>
                    <a:pt x="1305" y="1023"/>
                  </a:lnTo>
                  <a:lnTo>
                    <a:pt x="1300" y="1011"/>
                  </a:lnTo>
                  <a:lnTo>
                    <a:pt x="1295" y="1000"/>
                  </a:lnTo>
                  <a:lnTo>
                    <a:pt x="1290" y="990"/>
                  </a:lnTo>
                  <a:lnTo>
                    <a:pt x="1284" y="980"/>
                  </a:lnTo>
                  <a:lnTo>
                    <a:pt x="1277" y="969"/>
                  </a:lnTo>
                  <a:lnTo>
                    <a:pt x="1270" y="960"/>
                  </a:lnTo>
                  <a:lnTo>
                    <a:pt x="1261" y="952"/>
                  </a:lnTo>
                  <a:lnTo>
                    <a:pt x="1253" y="943"/>
                  </a:lnTo>
                  <a:lnTo>
                    <a:pt x="1244" y="936"/>
                  </a:lnTo>
                  <a:lnTo>
                    <a:pt x="1235" y="927"/>
                  </a:lnTo>
                  <a:lnTo>
                    <a:pt x="1431" y="203"/>
                  </a:lnTo>
                  <a:lnTo>
                    <a:pt x="1589" y="175"/>
                  </a:lnTo>
                  <a:lnTo>
                    <a:pt x="1589" y="175"/>
                  </a:lnTo>
                  <a:lnTo>
                    <a:pt x="1597" y="189"/>
                  </a:lnTo>
                  <a:lnTo>
                    <a:pt x="1607" y="200"/>
                  </a:lnTo>
                  <a:lnTo>
                    <a:pt x="1618" y="210"/>
                  </a:lnTo>
                  <a:lnTo>
                    <a:pt x="1631" y="219"/>
                  </a:lnTo>
                  <a:lnTo>
                    <a:pt x="1645" y="226"/>
                  </a:lnTo>
                  <a:lnTo>
                    <a:pt x="1659" y="232"/>
                  </a:lnTo>
                  <a:lnTo>
                    <a:pt x="1675" y="235"/>
                  </a:lnTo>
                  <a:lnTo>
                    <a:pt x="1691" y="236"/>
                  </a:lnTo>
                  <a:lnTo>
                    <a:pt x="1691" y="236"/>
                  </a:lnTo>
                  <a:lnTo>
                    <a:pt x="1703" y="235"/>
                  </a:lnTo>
                  <a:lnTo>
                    <a:pt x="1715" y="233"/>
                  </a:lnTo>
                  <a:lnTo>
                    <a:pt x="1726" y="231"/>
                  </a:lnTo>
                  <a:lnTo>
                    <a:pt x="1736" y="227"/>
                  </a:lnTo>
                  <a:lnTo>
                    <a:pt x="1747" y="222"/>
                  </a:lnTo>
                  <a:lnTo>
                    <a:pt x="1757" y="215"/>
                  </a:lnTo>
                  <a:lnTo>
                    <a:pt x="1766" y="209"/>
                  </a:lnTo>
                  <a:lnTo>
                    <a:pt x="1774" y="201"/>
                  </a:lnTo>
                  <a:lnTo>
                    <a:pt x="1782" y="193"/>
                  </a:lnTo>
                  <a:lnTo>
                    <a:pt x="1789" y="184"/>
                  </a:lnTo>
                  <a:lnTo>
                    <a:pt x="1795" y="174"/>
                  </a:lnTo>
                  <a:lnTo>
                    <a:pt x="1799" y="164"/>
                  </a:lnTo>
                  <a:lnTo>
                    <a:pt x="1803" y="153"/>
                  </a:lnTo>
                  <a:lnTo>
                    <a:pt x="1806" y="141"/>
                  </a:lnTo>
                  <a:lnTo>
                    <a:pt x="1808" y="130"/>
                  </a:lnTo>
                  <a:lnTo>
                    <a:pt x="1808" y="118"/>
                  </a:lnTo>
                  <a:lnTo>
                    <a:pt x="1808" y="118"/>
                  </a:lnTo>
                  <a:lnTo>
                    <a:pt x="1808" y="106"/>
                  </a:lnTo>
                  <a:lnTo>
                    <a:pt x="1806" y="94"/>
                  </a:lnTo>
                  <a:lnTo>
                    <a:pt x="1803" y="83"/>
                  </a:lnTo>
                  <a:lnTo>
                    <a:pt x="1799" y="72"/>
                  </a:lnTo>
                  <a:lnTo>
                    <a:pt x="1795" y="61"/>
                  </a:lnTo>
                  <a:lnTo>
                    <a:pt x="1789" y="52"/>
                  </a:lnTo>
                  <a:lnTo>
                    <a:pt x="1782" y="43"/>
                  </a:lnTo>
                  <a:lnTo>
                    <a:pt x="1774" y="35"/>
                  </a:lnTo>
                  <a:lnTo>
                    <a:pt x="1766" y="27"/>
                  </a:lnTo>
                  <a:lnTo>
                    <a:pt x="1757" y="20"/>
                  </a:lnTo>
                  <a:lnTo>
                    <a:pt x="1747" y="14"/>
                  </a:lnTo>
                  <a:lnTo>
                    <a:pt x="1736" y="9"/>
                  </a:lnTo>
                  <a:lnTo>
                    <a:pt x="1726" y="5"/>
                  </a:lnTo>
                  <a:lnTo>
                    <a:pt x="1715" y="2"/>
                  </a:lnTo>
                  <a:lnTo>
                    <a:pt x="1703" y="1"/>
                  </a:lnTo>
                  <a:lnTo>
                    <a:pt x="1691" y="0"/>
                  </a:lnTo>
                  <a:lnTo>
                    <a:pt x="1691" y="0"/>
                  </a:lnTo>
                  <a:close/>
                  <a:moveTo>
                    <a:pt x="467" y="1373"/>
                  </a:moveTo>
                  <a:lnTo>
                    <a:pt x="467" y="1373"/>
                  </a:lnTo>
                  <a:lnTo>
                    <a:pt x="457" y="1372"/>
                  </a:lnTo>
                  <a:lnTo>
                    <a:pt x="447" y="1368"/>
                  </a:lnTo>
                  <a:lnTo>
                    <a:pt x="437" y="1363"/>
                  </a:lnTo>
                  <a:lnTo>
                    <a:pt x="429" y="1357"/>
                  </a:lnTo>
                  <a:lnTo>
                    <a:pt x="423" y="1349"/>
                  </a:lnTo>
                  <a:lnTo>
                    <a:pt x="418" y="1340"/>
                  </a:lnTo>
                  <a:lnTo>
                    <a:pt x="415" y="1329"/>
                  </a:lnTo>
                  <a:lnTo>
                    <a:pt x="414" y="1319"/>
                  </a:lnTo>
                  <a:lnTo>
                    <a:pt x="414" y="1319"/>
                  </a:lnTo>
                  <a:lnTo>
                    <a:pt x="415" y="1308"/>
                  </a:lnTo>
                  <a:lnTo>
                    <a:pt x="418" y="1298"/>
                  </a:lnTo>
                  <a:lnTo>
                    <a:pt x="423" y="1289"/>
                  </a:lnTo>
                  <a:lnTo>
                    <a:pt x="429" y="1281"/>
                  </a:lnTo>
                  <a:lnTo>
                    <a:pt x="437" y="1275"/>
                  </a:lnTo>
                  <a:lnTo>
                    <a:pt x="447" y="1270"/>
                  </a:lnTo>
                  <a:lnTo>
                    <a:pt x="457" y="1267"/>
                  </a:lnTo>
                  <a:lnTo>
                    <a:pt x="467" y="1266"/>
                  </a:lnTo>
                  <a:lnTo>
                    <a:pt x="467" y="1266"/>
                  </a:lnTo>
                  <a:lnTo>
                    <a:pt x="478" y="1267"/>
                  </a:lnTo>
                  <a:lnTo>
                    <a:pt x="488" y="1270"/>
                  </a:lnTo>
                  <a:lnTo>
                    <a:pt x="497" y="1275"/>
                  </a:lnTo>
                  <a:lnTo>
                    <a:pt x="505" y="1281"/>
                  </a:lnTo>
                  <a:lnTo>
                    <a:pt x="511" y="1289"/>
                  </a:lnTo>
                  <a:lnTo>
                    <a:pt x="516" y="1298"/>
                  </a:lnTo>
                  <a:lnTo>
                    <a:pt x="520" y="1308"/>
                  </a:lnTo>
                  <a:lnTo>
                    <a:pt x="521" y="1319"/>
                  </a:lnTo>
                  <a:lnTo>
                    <a:pt x="521" y="1319"/>
                  </a:lnTo>
                  <a:lnTo>
                    <a:pt x="520" y="1329"/>
                  </a:lnTo>
                  <a:lnTo>
                    <a:pt x="516" y="1340"/>
                  </a:lnTo>
                  <a:lnTo>
                    <a:pt x="511" y="1349"/>
                  </a:lnTo>
                  <a:lnTo>
                    <a:pt x="505" y="1357"/>
                  </a:lnTo>
                  <a:lnTo>
                    <a:pt x="497" y="1363"/>
                  </a:lnTo>
                  <a:lnTo>
                    <a:pt x="488" y="1368"/>
                  </a:lnTo>
                  <a:lnTo>
                    <a:pt x="478" y="1372"/>
                  </a:lnTo>
                  <a:lnTo>
                    <a:pt x="467" y="1373"/>
                  </a:lnTo>
                  <a:lnTo>
                    <a:pt x="467" y="1373"/>
                  </a:lnTo>
                  <a:close/>
                  <a:moveTo>
                    <a:pt x="972" y="1373"/>
                  </a:moveTo>
                  <a:lnTo>
                    <a:pt x="972" y="1373"/>
                  </a:lnTo>
                  <a:lnTo>
                    <a:pt x="962" y="1372"/>
                  </a:lnTo>
                  <a:lnTo>
                    <a:pt x="952" y="1368"/>
                  </a:lnTo>
                  <a:lnTo>
                    <a:pt x="942" y="1363"/>
                  </a:lnTo>
                  <a:lnTo>
                    <a:pt x="934" y="1357"/>
                  </a:lnTo>
                  <a:lnTo>
                    <a:pt x="928" y="1349"/>
                  </a:lnTo>
                  <a:lnTo>
                    <a:pt x="923" y="1340"/>
                  </a:lnTo>
                  <a:lnTo>
                    <a:pt x="920" y="1329"/>
                  </a:lnTo>
                  <a:lnTo>
                    <a:pt x="919" y="1319"/>
                  </a:lnTo>
                  <a:lnTo>
                    <a:pt x="919" y="1319"/>
                  </a:lnTo>
                  <a:lnTo>
                    <a:pt x="920" y="1308"/>
                  </a:lnTo>
                  <a:lnTo>
                    <a:pt x="923" y="1298"/>
                  </a:lnTo>
                  <a:lnTo>
                    <a:pt x="928" y="1289"/>
                  </a:lnTo>
                  <a:lnTo>
                    <a:pt x="934" y="1281"/>
                  </a:lnTo>
                  <a:lnTo>
                    <a:pt x="942" y="1275"/>
                  </a:lnTo>
                  <a:lnTo>
                    <a:pt x="952" y="1270"/>
                  </a:lnTo>
                  <a:lnTo>
                    <a:pt x="962" y="1267"/>
                  </a:lnTo>
                  <a:lnTo>
                    <a:pt x="972" y="1266"/>
                  </a:lnTo>
                  <a:lnTo>
                    <a:pt x="972" y="1266"/>
                  </a:lnTo>
                  <a:lnTo>
                    <a:pt x="983" y="1267"/>
                  </a:lnTo>
                  <a:lnTo>
                    <a:pt x="994" y="1270"/>
                  </a:lnTo>
                  <a:lnTo>
                    <a:pt x="1002" y="1275"/>
                  </a:lnTo>
                  <a:lnTo>
                    <a:pt x="1010" y="1281"/>
                  </a:lnTo>
                  <a:lnTo>
                    <a:pt x="1016" y="1289"/>
                  </a:lnTo>
                  <a:lnTo>
                    <a:pt x="1021" y="1298"/>
                  </a:lnTo>
                  <a:lnTo>
                    <a:pt x="1024" y="1308"/>
                  </a:lnTo>
                  <a:lnTo>
                    <a:pt x="1025" y="1319"/>
                  </a:lnTo>
                  <a:lnTo>
                    <a:pt x="1025" y="1319"/>
                  </a:lnTo>
                  <a:lnTo>
                    <a:pt x="1024" y="1329"/>
                  </a:lnTo>
                  <a:lnTo>
                    <a:pt x="1021" y="1340"/>
                  </a:lnTo>
                  <a:lnTo>
                    <a:pt x="1016" y="1349"/>
                  </a:lnTo>
                  <a:lnTo>
                    <a:pt x="1010" y="1357"/>
                  </a:lnTo>
                  <a:lnTo>
                    <a:pt x="1002" y="1363"/>
                  </a:lnTo>
                  <a:lnTo>
                    <a:pt x="994" y="1368"/>
                  </a:lnTo>
                  <a:lnTo>
                    <a:pt x="983" y="1372"/>
                  </a:lnTo>
                  <a:lnTo>
                    <a:pt x="972" y="1373"/>
                  </a:lnTo>
                  <a:lnTo>
                    <a:pt x="972" y="137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3B41"/>
                </a:solidFill>
                <a:effectLst/>
                <a:uLnTx/>
                <a:uFillTx/>
              </a:endParaRPr>
            </a:p>
          </p:txBody>
        </p:sp>
      </p:grpSp>
      <p:grpSp>
        <p:nvGrpSpPr>
          <p:cNvPr id="797" name="Group 796"/>
          <p:cNvGrpSpPr>
            <a:grpSpLocks noChangeAspect="1"/>
          </p:cNvGrpSpPr>
          <p:nvPr/>
        </p:nvGrpSpPr>
        <p:grpSpPr>
          <a:xfrm>
            <a:off x="4456617" y="4315190"/>
            <a:ext cx="367079" cy="169646"/>
            <a:chOff x="-1906588" y="3775483"/>
            <a:chExt cx="1195388" cy="552450"/>
          </a:xfrm>
        </p:grpSpPr>
        <p:sp>
          <p:nvSpPr>
            <p:cNvPr id="798" name="Trapezoid 797"/>
            <p:cNvSpPr/>
            <p:nvPr/>
          </p:nvSpPr>
          <p:spPr bwMode="auto">
            <a:xfrm>
              <a:off x="-1553757" y="3792879"/>
              <a:ext cx="682047" cy="218734"/>
            </a:xfrm>
            <a:prstGeom prst="trapezoid">
              <a:avLst>
                <a:gd name="adj" fmla="val 78668"/>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99" name="Oval 798"/>
            <p:cNvSpPr/>
            <p:nvPr/>
          </p:nvSpPr>
          <p:spPr bwMode="auto">
            <a:xfrm>
              <a:off x="-1085851" y="4118618"/>
              <a:ext cx="207963" cy="207963"/>
            </a:xfrm>
            <a:prstGeom prst="ellipse">
              <a:avLst/>
            </a:prstGeom>
            <a:solidFill>
              <a:schemeClr val="accent5">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00" name="Oval 799"/>
            <p:cNvSpPr/>
            <p:nvPr/>
          </p:nvSpPr>
          <p:spPr bwMode="auto">
            <a:xfrm>
              <a:off x="-1846263" y="4118618"/>
              <a:ext cx="207963" cy="207963"/>
            </a:xfrm>
            <a:prstGeom prst="ellipse">
              <a:avLst/>
            </a:prstGeom>
            <a:solidFill>
              <a:schemeClr val="accent5">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801" name="Group 800"/>
            <p:cNvGrpSpPr/>
            <p:nvPr/>
          </p:nvGrpSpPr>
          <p:grpSpPr>
            <a:xfrm>
              <a:off x="-1906588" y="3775483"/>
              <a:ext cx="1195388" cy="552450"/>
              <a:chOff x="-3025776" y="4090988"/>
              <a:chExt cx="1195388" cy="552450"/>
            </a:xfrm>
          </p:grpSpPr>
          <p:sp>
            <p:nvSpPr>
              <p:cNvPr id="802" name="Freeform 199"/>
              <p:cNvSpPr>
                <a:spLocks noEditPoints="1"/>
              </p:cNvSpPr>
              <p:nvPr/>
            </p:nvSpPr>
            <p:spPr bwMode="auto">
              <a:xfrm>
                <a:off x="-2965451" y="4433888"/>
                <a:ext cx="207963" cy="209550"/>
              </a:xfrm>
              <a:custGeom>
                <a:avLst/>
                <a:gdLst>
                  <a:gd name="T0" fmla="*/ 176 w 394"/>
                  <a:gd name="T1" fmla="*/ 2 h 395"/>
                  <a:gd name="T2" fmla="*/ 120 w 394"/>
                  <a:gd name="T3" fmla="*/ 16 h 395"/>
                  <a:gd name="T4" fmla="*/ 72 w 394"/>
                  <a:gd name="T5" fmla="*/ 46 h 395"/>
                  <a:gd name="T6" fmla="*/ 33 w 394"/>
                  <a:gd name="T7" fmla="*/ 87 h 395"/>
                  <a:gd name="T8" fmla="*/ 9 w 394"/>
                  <a:gd name="T9" fmla="*/ 139 h 395"/>
                  <a:gd name="T10" fmla="*/ 0 w 394"/>
                  <a:gd name="T11" fmla="*/ 198 h 395"/>
                  <a:gd name="T12" fmla="*/ 4 w 394"/>
                  <a:gd name="T13" fmla="*/ 237 h 395"/>
                  <a:gd name="T14" fmla="*/ 24 w 394"/>
                  <a:gd name="T15" fmla="*/ 292 h 395"/>
                  <a:gd name="T16" fmla="*/ 57 w 394"/>
                  <a:gd name="T17" fmla="*/ 337 h 395"/>
                  <a:gd name="T18" fmla="*/ 103 w 394"/>
                  <a:gd name="T19" fmla="*/ 371 h 395"/>
                  <a:gd name="T20" fmla="*/ 157 w 394"/>
                  <a:gd name="T21" fmla="*/ 391 h 395"/>
                  <a:gd name="T22" fmla="*/ 196 w 394"/>
                  <a:gd name="T23" fmla="*/ 395 h 395"/>
                  <a:gd name="T24" fmla="*/ 255 w 394"/>
                  <a:gd name="T25" fmla="*/ 385 h 395"/>
                  <a:gd name="T26" fmla="*/ 307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7 w 394"/>
                  <a:gd name="T41" fmla="*/ 35 h 395"/>
                  <a:gd name="T42" fmla="*/ 255 w 394"/>
                  <a:gd name="T43" fmla="*/ 10 h 395"/>
                  <a:gd name="T44" fmla="*/ 196 w 394"/>
                  <a:gd name="T45" fmla="*/ 0 h 395"/>
                  <a:gd name="T46" fmla="*/ 196 w 394"/>
                  <a:gd name="T47" fmla="*/ 300 h 395"/>
                  <a:gd name="T48" fmla="*/ 166 w 394"/>
                  <a:gd name="T49" fmla="*/ 296 h 395"/>
                  <a:gd name="T50" fmla="*/ 139 w 394"/>
                  <a:gd name="T51" fmla="*/ 282 h 395"/>
                  <a:gd name="T52" fmla="*/ 116 w 394"/>
                  <a:gd name="T53" fmla="*/ 262 h 395"/>
                  <a:gd name="T54" fmla="*/ 100 w 394"/>
                  <a:gd name="T55" fmla="*/ 237 h 395"/>
                  <a:gd name="T56" fmla="*/ 92 w 394"/>
                  <a:gd name="T57" fmla="*/ 208 h 395"/>
                  <a:gd name="T58" fmla="*/ 92 w 394"/>
                  <a:gd name="T59" fmla="*/ 187 h 395"/>
                  <a:gd name="T60" fmla="*/ 100 w 394"/>
                  <a:gd name="T61" fmla="*/ 158 h 395"/>
                  <a:gd name="T62" fmla="*/ 116 w 394"/>
                  <a:gd name="T63" fmla="*/ 133 h 395"/>
                  <a:gd name="T64" fmla="*/ 139 w 394"/>
                  <a:gd name="T65" fmla="*/ 113 h 395"/>
                  <a:gd name="T66" fmla="*/ 166 w 394"/>
                  <a:gd name="T67" fmla="*/ 101 h 395"/>
                  <a:gd name="T68" fmla="*/ 196 w 394"/>
                  <a:gd name="T69" fmla="*/ 95 h 395"/>
                  <a:gd name="T70" fmla="*/ 218 w 394"/>
                  <a:gd name="T71" fmla="*/ 98 h 395"/>
                  <a:gd name="T72" fmla="*/ 247 w 394"/>
                  <a:gd name="T73" fmla="*/ 107 h 395"/>
                  <a:gd name="T74" fmla="*/ 271 w 394"/>
                  <a:gd name="T75" fmla="*/ 126 h 395"/>
                  <a:gd name="T76" fmla="*/ 290 w 394"/>
                  <a:gd name="T77" fmla="*/ 149 h 395"/>
                  <a:gd name="T78" fmla="*/ 299 w 394"/>
                  <a:gd name="T79" fmla="*/ 177 h 395"/>
                  <a:gd name="T80" fmla="*/ 302 w 394"/>
                  <a:gd name="T81" fmla="*/ 198 h 395"/>
                  <a:gd name="T82" fmla="*/ 297 w 394"/>
                  <a:gd name="T83" fmla="*/ 228 h 395"/>
                  <a:gd name="T84" fmla="*/ 284 w 394"/>
                  <a:gd name="T85" fmla="*/ 254 h 395"/>
                  <a:gd name="T86" fmla="*/ 263 w 394"/>
                  <a:gd name="T87" fmla="*/ 277 h 395"/>
                  <a:gd name="T88" fmla="*/ 238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6" y="0"/>
                    </a:moveTo>
                    <a:lnTo>
                      <a:pt x="196" y="0"/>
                    </a:lnTo>
                    <a:lnTo>
                      <a:pt x="176" y="2"/>
                    </a:lnTo>
                    <a:lnTo>
                      <a:pt x="157" y="4"/>
                    </a:lnTo>
                    <a:lnTo>
                      <a:pt x="139" y="10"/>
                    </a:lnTo>
                    <a:lnTo>
                      <a:pt x="120" y="16"/>
                    </a:lnTo>
                    <a:lnTo>
                      <a:pt x="103" y="24"/>
                    </a:lnTo>
                    <a:lnTo>
                      <a:pt x="87" y="35"/>
                    </a:lnTo>
                    <a:lnTo>
                      <a:pt x="72" y="46"/>
                    </a:lnTo>
                    <a:lnTo>
                      <a:pt x="57" y="59"/>
                    </a:lnTo>
                    <a:lnTo>
                      <a:pt x="45" y="73"/>
                    </a:lnTo>
                    <a:lnTo>
                      <a:pt x="33" y="87"/>
                    </a:lnTo>
                    <a:lnTo>
                      <a:pt x="24" y="103"/>
                    </a:lnTo>
                    <a:lnTo>
                      <a:pt x="16" y="121"/>
                    </a:lnTo>
                    <a:lnTo>
                      <a:pt x="9" y="139"/>
                    </a:lnTo>
                    <a:lnTo>
                      <a:pt x="4" y="158"/>
                    </a:lnTo>
                    <a:lnTo>
                      <a:pt x="1" y="178"/>
                    </a:lnTo>
                    <a:lnTo>
                      <a:pt x="0" y="198"/>
                    </a:lnTo>
                    <a:lnTo>
                      <a:pt x="0" y="198"/>
                    </a:lnTo>
                    <a:lnTo>
                      <a:pt x="1" y="218"/>
                    </a:lnTo>
                    <a:lnTo>
                      <a:pt x="4" y="237"/>
                    </a:lnTo>
                    <a:lnTo>
                      <a:pt x="9" y="256"/>
                    </a:lnTo>
                    <a:lnTo>
                      <a:pt x="16" y="274"/>
                    </a:lnTo>
                    <a:lnTo>
                      <a:pt x="24" y="292"/>
                    </a:lnTo>
                    <a:lnTo>
                      <a:pt x="33" y="308"/>
                    </a:lnTo>
                    <a:lnTo>
                      <a:pt x="45" y="322"/>
                    </a:lnTo>
                    <a:lnTo>
                      <a:pt x="57" y="337"/>
                    </a:lnTo>
                    <a:lnTo>
                      <a:pt x="72" y="349"/>
                    </a:lnTo>
                    <a:lnTo>
                      <a:pt x="87" y="361"/>
                    </a:lnTo>
                    <a:lnTo>
                      <a:pt x="103" y="371"/>
                    </a:lnTo>
                    <a:lnTo>
                      <a:pt x="120" y="379"/>
                    </a:lnTo>
                    <a:lnTo>
                      <a:pt x="139" y="385"/>
                    </a:lnTo>
                    <a:lnTo>
                      <a:pt x="157" y="391"/>
                    </a:lnTo>
                    <a:lnTo>
                      <a:pt x="176" y="393"/>
                    </a:lnTo>
                    <a:lnTo>
                      <a:pt x="196" y="395"/>
                    </a:lnTo>
                    <a:lnTo>
                      <a:pt x="196" y="395"/>
                    </a:lnTo>
                    <a:lnTo>
                      <a:pt x="218" y="393"/>
                    </a:lnTo>
                    <a:lnTo>
                      <a:pt x="236" y="391"/>
                    </a:lnTo>
                    <a:lnTo>
                      <a:pt x="255" y="385"/>
                    </a:lnTo>
                    <a:lnTo>
                      <a:pt x="274" y="379"/>
                    </a:lnTo>
                    <a:lnTo>
                      <a:pt x="291" y="371"/>
                    </a:lnTo>
                    <a:lnTo>
                      <a:pt x="307"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7" y="35"/>
                    </a:lnTo>
                    <a:lnTo>
                      <a:pt x="291" y="24"/>
                    </a:lnTo>
                    <a:lnTo>
                      <a:pt x="274" y="16"/>
                    </a:lnTo>
                    <a:lnTo>
                      <a:pt x="255" y="10"/>
                    </a:lnTo>
                    <a:lnTo>
                      <a:pt x="236" y="4"/>
                    </a:lnTo>
                    <a:lnTo>
                      <a:pt x="218" y="2"/>
                    </a:lnTo>
                    <a:lnTo>
                      <a:pt x="196" y="0"/>
                    </a:lnTo>
                    <a:lnTo>
                      <a:pt x="196" y="0"/>
                    </a:lnTo>
                    <a:close/>
                    <a:moveTo>
                      <a:pt x="196" y="300"/>
                    </a:moveTo>
                    <a:lnTo>
                      <a:pt x="196" y="300"/>
                    </a:lnTo>
                    <a:lnTo>
                      <a:pt x="186" y="300"/>
                    </a:lnTo>
                    <a:lnTo>
                      <a:pt x="176" y="298"/>
                    </a:lnTo>
                    <a:lnTo>
                      <a:pt x="166" y="296"/>
                    </a:lnTo>
                    <a:lnTo>
                      <a:pt x="156" y="292"/>
                    </a:lnTo>
                    <a:lnTo>
                      <a:pt x="147" y="288"/>
                    </a:lnTo>
                    <a:lnTo>
                      <a:pt x="139" y="282"/>
                    </a:lnTo>
                    <a:lnTo>
                      <a:pt x="129" y="277"/>
                    </a:lnTo>
                    <a:lnTo>
                      <a:pt x="123" y="270"/>
                    </a:lnTo>
                    <a:lnTo>
                      <a:pt x="116" y="262"/>
                    </a:lnTo>
                    <a:lnTo>
                      <a:pt x="109" y="254"/>
                    </a:lnTo>
                    <a:lnTo>
                      <a:pt x="104" y="246"/>
                    </a:lnTo>
                    <a:lnTo>
                      <a:pt x="100" y="237"/>
                    </a:lnTo>
                    <a:lnTo>
                      <a:pt x="96" y="228"/>
                    </a:lnTo>
                    <a:lnTo>
                      <a:pt x="93" y="218"/>
                    </a:lnTo>
                    <a:lnTo>
                      <a:pt x="92" y="208"/>
                    </a:lnTo>
                    <a:lnTo>
                      <a:pt x="92" y="198"/>
                    </a:lnTo>
                    <a:lnTo>
                      <a:pt x="92" y="198"/>
                    </a:lnTo>
                    <a:lnTo>
                      <a:pt x="92" y="187"/>
                    </a:lnTo>
                    <a:lnTo>
                      <a:pt x="93" y="177"/>
                    </a:lnTo>
                    <a:lnTo>
                      <a:pt x="96" y="167"/>
                    </a:lnTo>
                    <a:lnTo>
                      <a:pt x="100" y="158"/>
                    </a:lnTo>
                    <a:lnTo>
                      <a:pt x="104" y="149"/>
                    </a:lnTo>
                    <a:lnTo>
                      <a:pt x="109" y="141"/>
                    </a:lnTo>
                    <a:lnTo>
                      <a:pt x="116" y="133"/>
                    </a:lnTo>
                    <a:lnTo>
                      <a:pt x="123" y="126"/>
                    </a:lnTo>
                    <a:lnTo>
                      <a:pt x="129" y="119"/>
                    </a:lnTo>
                    <a:lnTo>
                      <a:pt x="139" y="113"/>
                    </a:lnTo>
                    <a:lnTo>
                      <a:pt x="147" y="107"/>
                    </a:lnTo>
                    <a:lnTo>
                      <a:pt x="156" y="103"/>
                    </a:lnTo>
                    <a:lnTo>
                      <a:pt x="166" y="101"/>
                    </a:lnTo>
                    <a:lnTo>
                      <a:pt x="176" y="98"/>
                    </a:lnTo>
                    <a:lnTo>
                      <a:pt x="186" y="95"/>
                    </a:lnTo>
                    <a:lnTo>
                      <a:pt x="196" y="95"/>
                    </a:lnTo>
                    <a:lnTo>
                      <a:pt x="196" y="95"/>
                    </a:lnTo>
                    <a:lnTo>
                      <a:pt x="207" y="95"/>
                    </a:lnTo>
                    <a:lnTo>
                      <a:pt x="218" y="98"/>
                    </a:lnTo>
                    <a:lnTo>
                      <a:pt x="228" y="101"/>
                    </a:lnTo>
                    <a:lnTo>
                      <a:pt x="238" y="103"/>
                    </a:lnTo>
                    <a:lnTo>
                      <a:pt x="247" y="107"/>
                    </a:lnTo>
                    <a:lnTo>
                      <a:pt x="255" y="113"/>
                    </a:lnTo>
                    <a:lnTo>
                      <a:pt x="263" y="119"/>
                    </a:lnTo>
                    <a:lnTo>
                      <a:pt x="271" y="126"/>
                    </a:lnTo>
                    <a:lnTo>
                      <a:pt x="278" y="133"/>
                    </a:lnTo>
                    <a:lnTo>
                      <a:pt x="284" y="141"/>
                    </a:lnTo>
                    <a:lnTo>
                      <a:pt x="290" y="149"/>
                    </a:lnTo>
                    <a:lnTo>
                      <a:pt x="294" y="158"/>
                    </a:lnTo>
                    <a:lnTo>
                      <a:pt x="297" y="167"/>
                    </a:lnTo>
                    <a:lnTo>
                      <a:pt x="299" y="177"/>
                    </a:lnTo>
                    <a:lnTo>
                      <a:pt x="302" y="187"/>
                    </a:lnTo>
                    <a:lnTo>
                      <a:pt x="302" y="198"/>
                    </a:lnTo>
                    <a:lnTo>
                      <a:pt x="302" y="198"/>
                    </a:lnTo>
                    <a:lnTo>
                      <a:pt x="302" y="208"/>
                    </a:lnTo>
                    <a:lnTo>
                      <a:pt x="299" y="218"/>
                    </a:lnTo>
                    <a:lnTo>
                      <a:pt x="297" y="228"/>
                    </a:lnTo>
                    <a:lnTo>
                      <a:pt x="294" y="237"/>
                    </a:lnTo>
                    <a:lnTo>
                      <a:pt x="290" y="246"/>
                    </a:lnTo>
                    <a:lnTo>
                      <a:pt x="284" y="254"/>
                    </a:lnTo>
                    <a:lnTo>
                      <a:pt x="278" y="262"/>
                    </a:lnTo>
                    <a:lnTo>
                      <a:pt x="271" y="270"/>
                    </a:lnTo>
                    <a:lnTo>
                      <a:pt x="263" y="277"/>
                    </a:lnTo>
                    <a:lnTo>
                      <a:pt x="255" y="282"/>
                    </a:lnTo>
                    <a:lnTo>
                      <a:pt x="247" y="288"/>
                    </a:lnTo>
                    <a:lnTo>
                      <a:pt x="238" y="292"/>
                    </a:lnTo>
                    <a:lnTo>
                      <a:pt x="228" y="296"/>
                    </a:lnTo>
                    <a:lnTo>
                      <a:pt x="218" y="298"/>
                    </a:lnTo>
                    <a:lnTo>
                      <a:pt x="207" y="300"/>
                    </a:lnTo>
                    <a:lnTo>
                      <a:pt x="196" y="300"/>
                    </a:lnTo>
                    <a:lnTo>
                      <a:pt x="196"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03" name="Freeform 200"/>
              <p:cNvSpPr>
                <a:spLocks noEditPoints="1"/>
              </p:cNvSpPr>
              <p:nvPr/>
            </p:nvSpPr>
            <p:spPr bwMode="auto">
              <a:xfrm>
                <a:off x="-2205038" y="4433888"/>
                <a:ext cx="207963" cy="209550"/>
              </a:xfrm>
              <a:custGeom>
                <a:avLst/>
                <a:gdLst>
                  <a:gd name="T0" fmla="*/ 178 w 394"/>
                  <a:gd name="T1" fmla="*/ 2 h 395"/>
                  <a:gd name="T2" fmla="*/ 120 w 394"/>
                  <a:gd name="T3" fmla="*/ 16 h 395"/>
                  <a:gd name="T4" fmla="*/ 72 w 394"/>
                  <a:gd name="T5" fmla="*/ 46 h 395"/>
                  <a:gd name="T6" fmla="*/ 35 w 394"/>
                  <a:gd name="T7" fmla="*/ 87 h 395"/>
                  <a:gd name="T8" fmla="*/ 9 w 394"/>
                  <a:gd name="T9" fmla="*/ 139 h 395"/>
                  <a:gd name="T10" fmla="*/ 0 w 394"/>
                  <a:gd name="T11" fmla="*/ 198 h 395"/>
                  <a:gd name="T12" fmla="*/ 4 w 394"/>
                  <a:gd name="T13" fmla="*/ 237 h 395"/>
                  <a:gd name="T14" fmla="*/ 24 w 394"/>
                  <a:gd name="T15" fmla="*/ 292 h 395"/>
                  <a:gd name="T16" fmla="*/ 59 w 394"/>
                  <a:gd name="T17" fmla="*/ 337 h 395"/>
                  <a:gd name="T18" fmla="*/ 103 w 394"/>
                  <a:gd name="T19" fmla="*/ 371 h 395"/>
                  <a:gd name="T20" fmla="*/ 158 w 394"/>
                  <a:gd name="T21" fmla="*/ 391 h 395"/>
                  <a:gd name="T22" fmla="*/ 198 w 394"/>
                  <a:gd name="T23" fmla="*/ 395 h 395"/>
                  <a:gd name="T24" fmla="*/ 255 w 394"/>
                  <a:gd name="T25" fmla="*/ 385 h 395"/>
                  <a:gd name="T26" fmla="*/ 307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7 w 394"/>
                  <a:gd name="T41" fmla="*/ 35 h 395"/>
                  <a:gd name="T42" fmla="*/ 255 w 394"/>
                  <a:gd name="T43" fmla="*/ 10 h 395"/>
                  <a:gd name="T44" fmla="*/ 198 w 394"/>
                  <a:gd name="T45" fmla="*/ 0 h 395"/>
                  <a:gd name="T46" fmla="*/ 198 w 394"/>
                  <a:gd name="T47" fmla="*/ 300 h 395"/>
                  <a:gd name="T48" fmla="*/ 167 w 394"/>
                  <a:gd name="T49" fmla="*/ 296 h 395"/>
                  <a:gd name="T50" fmla="*/ 140 w 394"/>
                  <a:gd name="T51" fmla="*/ 282 h 395"/>
                  <a:gd name="T52" fmla="*/ 119 w 394"/>
                  <a:gd name="T53" fmla="*/ 262 h 395"/>
                  <a:gd name="T54" fmla="*/ 103 w 394"/>
                  <a:gd name="T55" fmla="*/ 237 h 395"/>
                  <a:gd name="T56" fmla="*/ 95 w 394"/>
                  <a:gd name="T57" fmla="*/ 208 h 395"/>
                  <a:gd name="T58" fmla="*/ 95 w 394"/>
                  <a:gd name="T59" fmla="*/ 187 h 395"/>
                  <a:gd name="T60" fmla="*/ 103 w 394"/>
                  <a:gd name="T61" fmla="*/ 158 h 395"/>
                  <a:gd name="T62" fmla="*/ 119 w 394"/>
                  <a:gd name="T63" fmla="*/ 133 h 395"/>
                  <a:gd name="T64" fmla="*/ 140 w 394"/>
                  <a:gd name="T65" fmla="*/ 113 h 395"/>
                  <a:gd name="T66" fmla="*/ 167 w 394"/>
                  <a:gd name="T67" fmla="*/ 101 h 395"/>
                  <a:gd name="T68" fmla="*/ 198 w 394"/>
                  <a:gd name="T69" fmla="*/ 95 h 395"/>
                  <a:gd name="T70" fmla="*/ 218 w 394"/>
                  <a:gd name="T71" fmla="*/ 98 h 395"/>
                  <a:gd name="T72" fmla="*/ 246 w 394"/>
                  <a:gd name="T73" fmla="*/ 107 h 395"/>
                  <a:gd name="T74" fmla="*/ 270 w 394"/>
                  <a:gd name="T75" fmla="*/ 126 h 395"/>
                  <a:gd name="T76" fmla="*/ 287 w 394"/>
                  <a:gd name="T77" fmla="*/ 149 h 395"/>
                  <a:gd name="T78" fmla="*/ 298 w 394"/>
                  <a:gd name="T79" fmla="*/ 177 h 395"/>
                  <a:gd name="T80" fmla="*/ 299 w 394"/>
                  <a:gd name="T81" fmla="*/ 198 h 395"/>
                  <a:gd name="T82" fmla="*/ 295 w 394"/>
                  <a:gd name="T83" fmla="*/ 228 h 395"/>
                  <a:gd name="T84" fmla="*/ 282 w 394"/>
                  <a:gd name="T85" fmla="*/ 254 h 395"/>
                  <a:gd name="T86" fmla="*/ 262 w 394"/>
                  <a:gd name="T87" fmla="*/ 277 h 395"/>
                  <a:gd name="T88" fmla="*/ 237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8" y="0"/>
                    </a:moveTo>
                    <a:lnTo>
                      <a:pt x="198" y="0"/>
                    </a:lnTo>
                    <a:lnTo>
                      <a:pt x="178" y="2"/>
                    </a:lnTo>
                    <a:lnTo>
                      <a:pt x="158" y="4"/>
                    </a:lnTo>
                    <a:lnTo>
                      <a:pt x="139" y="10"/>
                    </a:lnTo>
                    <a:lnTo>
                      <a:pt x="120" y="16"/>
                    </a:lnTo>
                    <a:lnTo>
                      <a:pt x="103" y="24"/>
                    </a:lnTo>
                    <a:lnTo>
                      <a:pt x="87" y="35"/>
                    </a:lnTo>
                    <a:lnTo>
                      <a:pt x="72" y="46"/>
                    </a:lnTo>
                    <a:lnTo>
                      <a:pt x="59" y="59"/>
                    </a:lnTo>
                    <a:lnTo>
                      <a:pt x="45" y="73"/>
                    </a:lnTo>
                    <a:lnTo>
                      <a:pt x="35" y="87"/>
                    </a:lnTo>
                    <a:lnTo>
                      <a:pt x="24" y="103"/>
                    </a:lnTo>
                    <a:lnTo>
                      <a:pt x="16" y="121"/>
                    </a:lnTo>
                    <a:lnTo>
                      <a:pt x="9" y="139"/>
                    </a:lnTo>
                    <a:lnTo>
                      <a:pt x="4" y="158"/>
                    </a:lnTo>
                    <a:lnTo>
                      <a:pt x="1" y="178"/>
                    </a:lnTo>
                    <a:lnTo>
                      <a:pt x="0" y="198"/>
                    </a:lnTo>
                    <a:lnTo>
                      <a:pt x="0" y="198"/>
                    </a:lnTo>
                    <a:lnTo>
                      <a:pt x="1" y="218"/>
                    </a:lnTo>
                    <a:lnTo>
                      <a:pt x="4" y="237"/>
                    </a:lnTo>
                    <a:lnTo>
                      <a:pt x="9" y="256"/>
                    </a:lnTo>
                    <a:lnTo>
                      <a:pt x="16" y="274"/>
                    </a:lnTo>
                    <a:lnTo>
                      <a:pt x="24" y="292"/>
                    </a:lnTo>
                    <a:lnTo>
                      <a:pt x="35" y="308"/>
                    </a:lnTo>
                    <a:lnTo>
                      <a:pt x="45" y="322"/>
                    </a:lnTo>
                    <a:lnTo>
                      <a:pt x="59" y="337"/>
                    </a:lnTo>
                    <a:lnTo>
                      <a:pt x="72" y="349"/>
                    </a:lnTo>
                    <a:lnTo>
                      <a:pt x="87" y="361"/>
                    </a:lnTo>
                    <a:lnTo>
                      <a:pt x="103" y="371"/>
                    </a:lnTo>
                    <a:lnTo>
                      <a:pt x="120" y="379"/>
                    </a:lnTo>
                    <a:lnTo>
                      <a:pt x="139" y="385"/>
                    </a:lnTo>
                    <a:lnTo>
                      <a:pt x="158" y="391"/>
                    </a:lnTo>
                    <a:lnTo>
                      <a:pt x="178" y="393"/>
                    </a:lnTo>
                    <a:lnTo>
                      <a:pt x="198" y="395"/>
                    </a:lnTo>
                    <a:lnTo>
                      <a:pt x="198" y="395"/>
                    </a:lnTo>
                    <a:lnTo>
                      <a:pt x="218" y="393"/>
                    </a:lnTo>
                    <a:lnTo>
                      <a:pt x="237" y="391"/>
                    </a:lnTo>
                    <a:lnTo>
                      <a:pt x="255" y="385"/>
                    </a:lnTo>
                    <a:lnTo>
                      <a:pt x="274" y="379"/>
                    </a:lnTo>
                    <a:lnTo>
                      <a:pt x="291" y="371"/>
                    </a:lnTo>
                    <a:lnTo>
                      <a:pt x="307"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7" y="35"/>
                    </a:lnTo>
                    <a:lnTo>
                      <a:pt x="291" y="24"/>
                    </a:lnTo>
                    <a:lnTo>
                      <a:pt x="274" y="16"/>
                    </a:lnTo>
                    <a:lnTo>
                      <a:pt x="255" y="10"/>
                    </a:lnTo>
                    <a:lnTo>
                      <a:pt x="237" y="4"/>
                    </a:lnTo>
                    <a:lnTo>
                      <a:pt x="218" y="2"/>
                    </a:lnTo>
                    <a:lnTo>
                      <a:pt x="198" y="0"/>
                    </a:lnTo>
                    <a:lnTo>
                      <a:pt x="198" y="0"/>
                    </a:lnTo>
                    <a:close/>
                    <a:moveTo>
                      <a:pt x="198" y="300"/>
                    </a:moveTo>
                    <a:lnTo>
                      <a:pt x="198" y="300"/>
                    </a:lnTo>
                    <a:lnTo>
                      <a:pt x="187" y="300"/>
                    </a:lnTo>
                    <a:lnTo>
                      <a:pt x="176" y="298"/>
                    </a:lnTo>
                    <a:lnTo>
                      <a:pt x="167" y="296"/>
                    </a:lnTo>
                    <a:lnTo>
                      <a:pt x="158" y="292"/>
                    </a:lnTo>
                    <a:lnTo>
                      <a:pt x="148" y="288"/>
                    </a:lnTo>
                    <a:lnTo>
                      <a:pt x="140" y="282"/>
                    </a:lnTo>
                    <a:lnTo>
                      <a:pt x="132" y="277"/>
                    </a:lnTo>
                    <a:lnTo>
                      <a:pt x="126" y="270"/>
                    </a:lnTo>
                    <a:lnTo>
                      <a:pt x="119" y="262"/>
                    </a:lnTo>
                    <a:lnTo>
                      <a:pt x="112" y="254"/>
                    </a:lnTo>
                    <a:lnTo>
                      <a:pt x="107" y="246"/>
                    </a:lnTo>
                    <a:lnTo>
                      <a:pt x="103" y="237"/>
                    </a:lnTo>
                    <a:lnTo>
                      <a:pt x="100" y="228"/>
                    </a:lnTo>
                    <a:lnTo>
                      <a:pt x="98" y="218"/>
                    </a:lnTo>
                    <a:lnTo>
                      <a:pt x="95" y="208"/>
                    </a:lnTo>
                    <a:lnTo>
                      <a:pt x="95" y="198"/>
                    </a:lnTo>
                    <a:lnTo>
                      <a:pt x="95" y="198"/>
                    </a:lnTo>
                    <a:lnTo>
                      <a:pt x="95" y="187"/>
                    </a:lnTo>
                    <a:lnTo>
                      <a:pt x="98" y="177"/>
                    </a:lnTo>
                    <a:lnTo>
                      <a:pt x="100" y="167"/>
                    </a:lnTo>
                    <a:lnTo>
                      <a:pt x="103" y="158"/>
                    </a:lnTo>
                    <a:lnTo>
                      <a:pt x="107" y="149"/>
                    </a:lnTo>
                    <a:lnTo>
                      <a:pt x="112" y="141"/>
                    </a:lnTo>
                    <a:lnTo>
                      <a:pt x="119" y="133"/>
                    </a:lnTo>
                    <a:lnTo>
                      <a:pt x="126" y="126"/>
                    </a:lnTo>
                    <a:lnTo>
                      <a:pt x="132" y="119"/>
                    </a:lnTo>
                    <a:lnTo>
                      <a:pt x="140" y="113"/>
                    </a:lnTo>
                    <a:lnTo>
                      <a:pt x="148" y="107"/>
                    </a:lnTo>
                    <a:lnTo>
                      <a:pt x="158" y="103"/>
                    </a:lnTo>
                    <a:lnTo>
                      <a:pt x="167" y="101"/>
                    </a:lnTo>
                    <a:lnTo>
                      <a:pt x="176" y="98"/>
                    </a:lnTo>
                    <a:lnTo>
                      <a:pt x="187" y="95"/>
                    </a:lnTo>
                    <a:lnTo>
                      <a:pt x="198" y="95"/>
                    </a:lnTo>
                    <a:lnTo>
                      <a:pt x="198" y="95"/>
                    </a:lnTo>
                    <a:lnTo>
                      <a:pt x="207" y="95"/>
                    </a:lnTo>
                    <a:lnTo>
                      <a:pt x="218" y="98"/>
                    </a:lnTo>
                    <a:lnTo>
                      <a:pt x="227" y="101"/>
                    </a:lnTo>
                    <a:lnTo>
                      <a:pt x="237" y="103"/>
                    </a:lnTo>
                    <a:lnTo>
                      <a:pt x="246" y="107"/>
                    </a:lnTo>
                    <a:lnTo>
                      <a:pt x="254" y="113"/>
                    </a:lnTo>
                    <a:lnTo>
                      <a:pt x="262" y="119"/>
                    </a:lnTo>
                    <a:lnTo>
                      <a:pt x="270" y="126"/>
                    </a:lnTo>
                    <a:lnTo>
                      <a:pt x="277" y="133"/>
                    </a:lnTo>
                    <a:lnTo>
                      <a:pt x="282" y="141"/>
                    </a:lnTo>
                    <a:lnTo>
                      <a:pt x="287" y="149"/>
                    </a:lnTo>
                    <a:lnTo>
                      <a:pt x="291" y="158"/>
                    </a:lnTo>
                    <a:lnTo>
                      <a:pt x="295" y="167"/>
                    </a:lnTo>
                    <a:lnTo>
                      <a:pt x="298" y="177"/>
                    </a:lnTo>
                    <a:lnTo>
                      <a:pt x="299" y="187"/>
                    </a:lnTo>
                    <a:lnTo>
                      <a:pt x="299" y="198"/>
                    </a:lnTo>
                    <a:lnTo>
                      <a:pt x="299" y="198"/>
                    </a:lnTo>
                    <a:lnTo>
                      <a:pt x="299" y="208"/>
                    </a:lnTo>
                    <a:lnTo>
                      <a:pt x="298" y="218"/>
                    </a:lnTo>
                    <a:lnTo>
                      <a:pt x="295" y="228"/>
                    </a:lnTo>
                    <a:lnTo>
                      <a:pt x="291" y="237"/>
                    </a:lnTo>
                    <a:lnTo>
                      <a:pt x="287" y="246"/>
                    </a:lnTo>
                    <a:lnTo>
                      <a:pt x="282" y="254"/>
                    </a:lnTo>
                    <a:lnTo>
                      <a:pt x="277" y="262"/>
                    </a:lnTo>
                    <a:lnTo>
                      <a:pt x="270" y="270"/>
                    </a:lnTo>
                    <a:lnTo>
                      <a:pt x="262" y="277"/>
                    </a:lnTo>
                    <a:lnTo>
                      <a:pt x="254" y="282"/>
                    </a:lnTo>
                    <a:lnTo>
                      <a:pt x="246" y="288"/>
                    </a:lnTo>
                    <a:lnTo>
                      <a:pt x="237" y="292"/>
                    </a:lnTo>
                    <a:lnTo>
                      <a:pt x="227" y="296"/>
                    </a:lnTo>
                    <a:lnTo>
                      <a:pt x="218" y="298"/>
                    </a:lnTo>
                    <a:lnTo>
                      <a:pt x="207" y="300"/>
                    </a:lnTo>
                    <a:lnTo>
                      <a:pt x="198" y="300"/>
                    </a:lnTo>
                    <a:lnTo>
                      <a:pt x="198"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04" name="Freeform 201"/>
              <p:cNvSpPr>
                <a:spLocks noEditPoints="1"/>
              </p:cNvSpPr>
              <p:nvPr/>
            </p:nvSpPr>
            <p:spPr bwMode="auto">
              <a:xfrm>
                <a:off x="-3025776" y="4090988"/>
                <a:ext cx="1195388" cy="460375"/>
              </a:xfrm>
              <a:custGeom>
                <a:avLst/>
                <a:gdLst>
                  <a:gd name="T0" fmla="*/ 2209 w 2257"/>
                  <a:gd name="T1" fmla="*/ 473 h 869"/>
                  <a:gd name="T2" fmla="*/ 2143 w 2257"/>
                  <a:gd name="T3" fmla="*/ 456 h 869"/>
                  <a:gd name="T4" fmla="*/ 2083 w 2257"/>
                  <a:gd name="T5" fmla="*/ 423 h 869"/>
                  <a:gd name="T6" fmla="*/ 2050 w 2257"/>
                  <a:gd name="T7" fmla="*/ 392 h 869"/>
                  <a:gd name="T8" fmla="*/ 1804 w 2257"/>
                  <a:gd name="T9" fmla="*/ 135 h 869"/>
                  <a:gd name="T10" fmla="*/ 1754 w 2257"/>
                  <a:gd name="T11" fmla="*/ 91 h 869"/>
                  <a:gd name="T12" fmla="*/ 1700 w 2257"/>
                  <a:gd name="T13" fmla="*/ 55 h 869"/>
                  <a:gd name="T14" fmla="*/ 1641 w 2257"/>
                  <a:gd name="T15" fmla="*/ 27 h 869"/>
                  <a:gd name="T16" fmla="*/ 1578 w 2257"/>
                  <a:gd name="T17" fmla="*/ 10 h 869"/>
                  <a:gd name="T18" fmla="*/ 1513 w 2257"/>
                  <a:gd name="T19" fmla="*/ 2 h 869"/>
                  <a:gd name="T20" fmla="*/ 1013 w 2257"/>
                  <a:gd name="T21" fmla="*/ 0 h 869"/>
                  <a:gd name="T22" fmla="*/ 970 w 2257"/>
                  <a:gd name="T23" fmla="*/ 6 h 869"/>
                  <a:gd name="T24" fmla="*/ 912 w 2257"/>
                  <a:gd name="T25" fmla="*/ 32 h 869"/>
                  <a:gd name="T26" fmla="*/ 867 w 2257"/>
                  <a:gd name="T27" fmla="*/ 79 h 869"/>
                  <a:gd name="T28" fmla="*/ 96 w 2257"/>
                  <a:gd name="T29" fmla="*/ 460 h 869"/>
                  <a:gd name="T30" fmla="*/ 86 w 2257"/>
                  <a:gd name="T31" fmla="*/ 463 h 869"/>
                  <a:gd name="T32" fmla="*/ 58 w 2257"/>
                  <a:gd name="T33" fmla="*/ 473 h 869"/>
                  <a:gd name="T34" fmla="*/ 34 w 2257"/>
                  <a:gd name="T35" fmla="*/ 489 h 869"/>
                  <a:gd name="T36" fmla="*/ 16 w 2257"/>
                  <a:gd name="T37" fmla="*/ 512 h 869"/>
                  <a:gd name="T38" fmla="*/ 4 w 2257"/>
                  <a:gd name="T39" fmla="*/ 540 h 869"/>
                  <a:gd name="T40" fmla="*/ 0 w 2257"/>
                  <a:gd name="T41" fmla="*/ 570 h 869"/>
                  <a:gd name="T42" fmla="*/ 0 w 2257"/>
                  <a:gd name="T43" fmla="*/ 779 h 869"/>
                  <a:gd name="T44" fmla="*/ 6 w 2257"/>
                  <a:gd name="T45" fmla="*/ 806 h 869"/>
                  <a:gd name="T46" fmla="*/ 37 w 2257"/>
                  <a:gd name="T47" fmla="*/ 849 h 869"/>
                  <a:gd name="T48" fmla="*/ 60 w 2257"/>
                  <a:gd name="T49" fmla="*/ 862 h 869"/>
                  <a:gd name="T50" fmla="*/ 86 w 2257"/>
                  <a:gd name="T51" fmla="*/ 869 h 869"/>
                  <a:gd name="T52" fmla="*/ 86 w 2257"/>
                  <a:gd name="T53" fmla="*/ 846 h 869"/>
                  <a:gd name="T54" fmla="*/ 90 w 2257"/>
                  <a:gd name="T55" fmla="*/ 801 h 869"/>
                  <a:gd name="T56" fmla="*/ 113 w 2257"/>
                  <a:gd name="T57" fmla="*/ 739 h 869"/>
                  <a:gd name="T58" fmla="*/ 151 w 2257"/>
                  <a:gd name="T59" fmla="*/ 688 h 869"/>
                  <a:gd name="T60" fmla="*/ 203 w 2257"/>
                  <a:gd name="T61" fmla="*/ 650 h 869"/>
                  <a:gd name="T62" fmla="*/ 264 w 2257"/>
                  <a:gd name="T63" fmla="*/ 627 h 869"/>
                  <a:gd name="T64" fmla="*/ 308 w 2257"/>
                  <a:gd name="T65" fmla="*/ 623 h 869"/>
                  <a:gd name="T66" fmla="*/ 375 w 2257"/>
                  <a:gd name="T67" fmla="*/ 632 h 869"/>
                  <a:gd name="T68" fmla="*/ 434 w 2257"/>
                  <a:gd name="T69" fmla="*/ 660 h 869"/>
                  <a:gd name="T70" fmla="*/ 481 w 2257"/>
                  <a:gd name="T71" fmla="*/ 703 h 869"/>
                  <a:gd name="T72" fmla="*/ 514 w 2257"/>
                  <a:gd name="T73" fmla="*/ 759 h 869"/>
                  <a:gd name="T74" fmla="*/ 530 w 2257"/>
                  <a:gd name="T75" fmla="*/ 823 h 869"/>
                  <a:gd name="T76" fmla="*/ 530 w 2257"/>
                  <a:gd name="T77" fmla="*/ 869 h 869"/>
                  <a:gd name="T78" fmla="*/ 1526 w 2257"/>
                  <a:gd name="T79" fmla="*/ 869 h 869"/>
                  <a:gd name="T80" fmla="*/ 1525 w 2257"/>
                  <a:gd name="T81" fmla="*/ 846 h 869"/>
                  <a:gd name="T82" fmla="*/ 1534 w 2257"/>
                  <a:gd name="T83" fmla="*/ 779 h 869"/>
                  <a:gd name="T84" fmla="*/ 1562 w 2257"/>
                  <a:gd name="T85" fmla="*/ 721 h 869"/>
                  <a:gd name="T86" fmla="*/ 1606 w 2257"/>
                  <a:gd name="T87" fmla="*/ 674 h 869"/>
                  <a:gd name="T88" fmla="*/ 1661 w 2257"/>
                  <a:gd name="T89" fmla="*/ 640 h 869"/>
                  <a:gd name="T90" fmla="*/ 1725 w 2257"/>
                  <a:gd name="T91" fmla="*/ 624 h 869"/>
                  <a:gd name="T92" fmla="*/ 1771 w 2257"/>
                  <a:gd name="T93" fmla="*/ 624 h 869"/>
                  <a:gd name="T94" fmla="*/ 1835 w 2257"/>
                  <a:gd name="T95" fmla="*/ 640 h 869"/>
                  <a:gd name="T96" fmla="*/ 1889 w 2257"/>
                  <a:gd name="T97" fmla="*/ 674 h 869"/>
                  <a:gd name="T98" fmla="*/ 1932 w 2257"/>
                  <a:gd name="T99" fmla="*/ 721 h 869"/>
                  <a:gd name="T100" fmla="*/ 1960 w 2257"/>
                  <a:gd name="T101" fmla="*/ 779 h 869"/>
                  <a:gd name="T102" fmla="*/ 1971 w 2257"/>
                  <a:gd name="T103" fmla="*/ 846 h 869"/>
                  <a:gd name="T104" fmla="*/ 1971 w 2257"/>
                  <a:gd name="T105" fmla="*/ 869 h 869"/>
                  <a:gd name="T106" fmla="*/ 2257 w 2257"/>
                  <a:gd name="T107" fmla="*/ 528 h 869"/>
                  <a:gd name="T108" fmla="*/ 2249 w 2257"/>
                  <a:gd name="T109" fmla="*/ 500 h 869"/>
                  <a:gd name="T110" fmla="*/ 2228 w 2257"/>
                  <a:gd name="T111" fmla="*/ 480 h 869"/>
                  <a:gd name="T112" fmla="*/ 2209 w 2257"/>
                  <a:gd name="T113" fmla="*/ 473 h 869"/>
                  <a:gd name="T114" fmla="*/ 936 w 2257"/>
                  <a:gd name="T115" fmla="*/ 114 h 869"/>
                  <a:gd name="T116" fmla="*/ 1367 w 2257"/>
                  <a:gd name="T117" fmla="*/ 386 h 869"/>
                  <a:gd name="T118" fmla="*/ 1855 w 2257"/>
                  <a:gd name="T119" fmla="*/ 386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7" h="869">
                    <a:moveTo>
                      <a:pt x="2209" y="473"/>
                    </a:moveTo>
                    <a:lnTo>
                      <a:pt x="2209" y="473"/>
                    </a:lnTo>
                    <a:lnTo>
                      <a:pt x="2209" y="473"/>
                    </a:lnTo>
                    <a:lnTo>
                      <a:pt x="2186" y="469"/>
                    </a:lnTo>
                    <a:lnTo>
                      <a:pt x="2165" y="463"/>
                    </a:lnTo>
                    <a:lnTo>
                      <a:pt x="2143" y="456"/>
                    </a:lnTo>
                    <a:lnTo>
                      <a:pt x="2122" y="447"/>
                    </a:lnTo>
                    <a:lnTo>
                      <a:pt x="2102" y="435"/>
                    </a:lnTo>
                    <a:lnTo>
                      <a:pt x="2083" y="423"/>
                    </a:lnTo>
                    <a:lnTo>
                      <a:pt x="2066" y="408"/>
                    </a:lnTo>
                    <a:lnTo>
                      <a:pt x="2049" y="392"/>
                    </a:lnTo>
                    <a:lnTo>
                      <a:pt x="2050" y="392"/>
                    </a:lnTo>
                    <a:lnTo>
                      <a:pt x="1805" y="134"/>
                    </a:lnTo>
                    <a:lnTo>
                      <a:pt x="1804" y="135"/>
                    </a:lnTo>
                    <a:lnTo>
                      <a:pt x="1804" y="135"/>
                    </a:lnTo>
                    <a:lnTo>
                      <a:pt x="1789" y="119"/>
                    </a:lnTo>
                    <a:lnTo>
                      <a:pt x="1772" y="104"/>
                    </a:lnTo>
                    <a:lnTo>
                      <a:pt x="1754" y="91"/>
                    </a:lnTo>
                    <a:lnTo>
                      <a:pt x="1737" y="78"/>
                    </a:lnTo>
                    <a:lnTo>
                      <a:pt x="1720" y="66"/>
                    </a:lnTo>
                    <a:lnTo>
                      <a:pt x="1700" y="55"/>
                    </a:lnTo>
                    <a:lnTo>
                      <a:pt x="1681" y="44"/>
                    </a:lnTo>
                    <a:lnTo>
                      <a:pt x="1661" y="36"/>
                    </a:lnTo>
                    <a:lnTo>
                      <a:pt x="1641" y="27"/>
                    </a:lnTo>
                    <a:lnTo>
                      <a:pt x="1621" y="20"/>
                    </a:lnTo>
                    <a:lnTo>
                      <a:pt x="1599" y="15"/>
                    </a:lnTo>
                    <a:lnTo>
                      <a:pt x="1578" y="10"/>
                    </a:lnTo>
                    <a:lnTo>
                      <a:pt x="1557" y="6"/>
                    </a:lnTo>
                    <a:lnTo>
                      <a:pt x="1534" y="3"/>
                    </a:lnTo>
                    <a:lnTo>
                      <a:pt x="1513" y="2"/>
                    </a:lnTo>
                    <a:lnTo>
                      <a:pt x="1490" y="0"/>
                    </a:lnTo>
                    <a:lnTo>
                      <a:pt x="1015" y="0"/>
                    </a:lnTo>
                    <a:lnTo>
                      <a:pt x="1013" y="0"/>
                    </a:lnTo>
                    <a:lnTo>
                      <a:pt x="1013" y="0"/>
                    </a:lnTo>
                    <a:lnTo>
                      <a:pt x="991" y="2"/>
                    </a:lnTo>
                    <a:lnTo>
                      <a:pt x="970" y="6"/>
                    </a:lnTo>
                    <a:lnTo>
                      <a:pt x="950" y="12"/>
                    </a:lnTo>
                    <a:lnTo>
                      <a:pt x="930" y="22"/>
                    </a:lnTo>
                    <a:lnTo>
                      <a:pt x="912" y="32"/>
                    </a:lnTo>
                    <a:lnTo>
                      <a:pt x="895" y="46"/>
                    </a:lnTo>
                    <a:lnTo>
                      <a:pt x="880" y="62"/>
                    </a:lnTo>
                    <a:lnTo>
                      <a:pt x="867" y="79"/>
                    </a:lnTo>
                    <a:lnTo>
                      <a:pt x="868" y="79"/>
                    </a:lnTo>
                    <a:lnTo>
                      <a:pt x="669" y="386"/>
                    </a:lnTo>
                    <a:lnTo>
                      <a:pt x="96" y="460"/>
                    </a:lnTo>
                    <a:lnTo>
                      <a:pt x="96" y="461"/>
                    </a:lnTo>
                    <a:lnTo>
                      <a:pt x="96" y="461"/>
                    </a:lnTo>
                    <a:lnTo>
                      <a:pt x="86" y="463"/>
                    </a:lnTo>
                    <a:lnTo>
                      <a:pt x="76" y="465"/>
                    </a:lnTo>
                    <a:lnTo>
                      <a:pt x="66" y="468"/>
                    </a:lnTo>
                    <a:lnTo>
                      <a:pt x="58" y="473"/>
                    </a:lnTo>
                    <a:lnTo>
                      <a:pt x="49" y="477"/>
                    </a:lnTo>
                    <a:lnTo>
                      <a:pt x="41" y="484"/>
                    </a:lnTo>
                    <a:lnTo>
                      <a:pt x="34" y="489"/>
                    </a:lnTo>
                    <a:lnTo>
                      <a:pt x="28" y="497"/>
                    </a:lnTo>
                    <a:lnTo>
                      <a:pt x="21" y="504"/>
                    </a:lnTo>
                    <a:lnTo>
                      <a:pt x="16" y="512"/>
                    </a:lnTo>
                    <a:lnTo>
                      <a:pt x="10" y="521"/>
                    </a:lnTo>
                    <a:lnTo>
                      <a:pt x="6" y="531"/>
                    </a:lnTo>
                    <a:lnTo>
                      <a:pt x="4" y="540"/>
                    </a:lnTo>
                    <a:lnTo>
                      <a:pt x="1" y="549"/>
                    </a:lnTo>
                    <a:lnTo>
                      <a:pt x="0" y="560"/>
                    </a:lnTo>
                    <a:lnTo>
                      <a:pt x="0" y="570"/>
                    </a:lnTo>
                    <a:lnTo>
                      <a:pt x="0" y="770"/>
                    </a:lnTo>
                    <a:lnTo>
                      <a:pt x="0" y="770"/>
                    </a:lnTo>
                    <a:lnTo>
                      <a:pt x="0" y="779"/>
                    </a:lnTo>
                    <a:lnTo>
                      <a:pt x="1" y="789"/>
                    </a:lnTo>
                    <a:lnTo>
                      <a:pt x="4" y="797"/>
                    </a:lnTo>
                    <a:lnTo>
                      <a:pt x="6" y="806"/>
                    </a:lnTo>
                    <a:lnTo>
                      <a:pt x="14" y="822"/>
                    </a:lnTo>
                    <a:lnTo>
                      <a:pt x="24" y="835"/>
                    </a:lnTo>
                    <a:lnTo>
                      <a:pt x="37" y="849"/>
                    </a:lnTo>
                    <a:lnTo>
                      <a:pt x="44" y="853"/>
                    </a:lnTo>
                    <a:lnTo>
                      <a:pt x="52" y="858"/>
                    </a:lnTo>
                    <a:lnTo>
                      <a:pt x="60" y="862"/>
                    </a:lnTo>
                    <a:lnTo>
                      <a:pt x="68" y="865"/>
                    </a:lnTo>
                    <a:lnTo>
                      <a:pt x="77" y="868"/>
                    </a:lnTo>
                    <a:lnTo>
                      <a:pt x="86" y="869"/>
                    </a:lnTo>
                    <a:lnTo>
                      <a:pt x="86" y="869"/>
                    </a:lnTo>
                    <a:lnTo>
                      <a:pt x="86" y="869"/>
                    </a:lnTo>
                    <a:lnTo>
                      <a:pt x="86" y="846"/>
                    </a:lnTo>
                    <a:lnTo>
                      <a:pt x="86" y="846"/>
                    </a:lnTo>
                    <a:lnTo>
                      <a:pt x="86" y="823"/>
                    </a:lnTo>
                    <a:lnTo>
                      <a:pt x="90" y="801"/>
                    </a:lnTo>
                    <a:lnTo>
                      <a:pt x="96" y="779"/>
                    </a:lnTo>
                    <a:lnTo>
                      <a:pt x="104" y="759"/>
                    </a:lnTo>
                    <a:lnTo>
                      <a:pt x="113" y="739"/>
                    </a:lnTo>
                    <a:lnTo>
                      <a:pt x="124" y="721"/>
                    </a:lnTo>
                    <a:lnTo>
                      <a:pt x="137" y="703"/>
                    </a:lnTo>
                    <a:lnTo>
                      <a:pt x="151" y="688"/>
                    </a:lnTo>
                    <a:lnTo>
                      <a:pt x="167" y="674"/>
                    </a:lnTo>
                    <a:lnTo>
                      <a:pt x="184" y="660"/>
                    </a:lnTo>
                    <a:lnTo>
                      <a:pt x="203" y="650"/>
                    </a:lnTo>
                    <a:lnTo>
                      <a:pt x="221" y="640"/>
                    </a:lnTo>
                    <a:lnTo>
                      <a:pt x="243" y="632"/>
                    </a:lnTo>
                    <a:lnTo>
                      <a:pt x="264" y="627"/>
                    </a:lnTo>
                    <a:lnTo>
                      <a:pt x="286" y="624"/>
                    </a:lnTo>
                    <a:lnTo>
                      <a:pt x="308" y="623"/>
                    </a:lnTo>
                    <a:lnTo>
                      <a:pt x="308" y="623"/>
                    </a:lnTo>
                    <a:lnTo>
                      <a:pt x="332" y="624"/>
                    </a:lnTo>
                    <a:lnTo>
                      <a:pt x="354" y="627"/>
                    </a:lnTo>
                    <a:lnTo>
                      <a:pt x="375" y="632"/>
                    </a:lnTo>
                    <a:lnTo>
                      <a:pt x="395" y="640"/>
                    </a:lnTo>
                    <a:lnTo>
                      <a:pt x="415" y="650"/>
                    </a:lnTo>
                    <a:lnTo>
                      <a:pt x="434" y="660"/>
                    </a:lnTo>
                    <a:lnTo>
                      <a:pt x="451" y="674"/>
                    </a:lnTo>
                    <a:lnTo>
                      <a:pt x="466" y="688"/>
                    </a:lnTo>
                    <a:lnTo>
                      <a:pt x="481" y="703"/>
                    </a:lnTo>
                    <a:lnTo>
                      <a:pt x="494" y="721"/>
                    </a:lnTo>
                    <a:lnTo>
                      <a:pt x="505" y="739"/>
                    </a:lnTo>
                    <a:lnTo>
                      <a:pt x="514" y="759"/>
                    </a:lnTo>
                    <a:lnTo>
                      <a:pt x="522" y="779"/>
                    </a:lnTo>
                    <a:lnTo>
                      <a:pt x="527" y="801"/>
                    </a:lnTo>
                    <a:lnTo>
                      <a:pt x="530" y="823"/>
                    </a:lnTo>
                    <a:lnTo>
                      <a:pt x="531" y="846"/>
                    </a:lnTo>
                    <a:lnTo>
                      <a:pt x="531" y="846"/>
                    </a:lnTo>
                    <a:lnTo>
                      <a:pt x="530" y="869"/>
                    </a:lnTo>
                    <a:lnTo>
                      <a:pt x="531" y="869"/>
                    </a:lnTo>
                    <a:lnTo>
                      <a:pt x="1527" y="869"/>
                    </a:lnTo>
                    <a:lnTo>
                      <a:pt x="1526" y="869"/>
                    </a:lnTo>
                    <a:lnTo>
                      <a:pt x="1526" y="869"/>
                    </a:lnTo>
                    <a:lnTo>
                      <a:pt x="1525" y="846"/>
                    </a:lnTo>
                    <a:lnTo>
                      <a:pt x="1525" y="846"/>
                    </a:lnTo>
                    <a:lnTo>
                      <a:pt x="1526" y="823"/>
                    </a:lnTo>
                    <a:lnTo>
                      <a:pt x="1529" y="801"/>
                    </a:lnTo>
                    <a:lnTo>
                      <a:pt x="1534" y="779"/>
                    </a:lnTo>
                    <a:lnTo>
                      <a:pt x="1542" y="759"/>
                    </a:lnTo>
                    <a:lnTo>
                      <a:pt x="1551" y="739"/>
                    </a:lnTo>
                    <a:lnTo>
                      <a:pt x="1562" y="721"/>
                    </a:lnTo>
                    <a:lnTo>
                      <a:pt x="1575" y="703"/>
                    </a:lnTo>
                    <a:lnTo>
                      <a:pt x="1590" y="688"/>
                    </a:lnTo>
                    <a:lnTo>
                      <a:pt x="1606" y="674"/>
                    </a:lnTo>
                    <a:lnTo>
                      <a:pt x="1622" y="660"/>
                    </a:lnTo>
                    <a:lnTo>
                      <a:pt x="1641" y="650"/>
                    </a:lnTo>
                    <a:lnTo>
                      <a:pt x="1661" y="640"/>
                    </a:lnTo>
                    <a:lnTo>
                      <a:pt x="1681" y="632"/>
                    </a:lnTo>
                    <a:lnTo>
                      <a:pt x="1702" y="627"/>
                    </a:lnTo>
                    <a:lnTo>
                      <a:pt x="1725" y="624"/>
                    </a:lnTo>
                    <a:lnTo>
                      <a:pt x="1748" y="623"/>
                    </a:lnTo>
                    <a:lnTo>
                      <a:pt x="1748" y="623"/>
                    </a:lnTo>
                    <a:lnTo>
                      <a:pt x="1771" y="624"/>
                    </a:lnTo>
                    <a:lnTo>
                      <a:pt x="1792" y="627"/>
                    </a:lnTo>
                    <a:lnTo>
                      <a:pt x="1813" y="632"/>
                    </a:lnTo>
                    <a:lnTo>
                      <a:pt x="1835" y="640"/>
                    </a:lnTo>
                    <a:lnTo>
                      <a:pt x="1853" y="650"/>
                    </a:lnTo>
                    <a:lnTo>
                      <a:pt x="1872" y="660"/>
                    </a:lnTo>
                    <a:lnTo>
                      <a:pt x="1889" y="674"/>
                    </a:lnTo>
                    <a:lnTo>
                      <a:pt x="1906" y="688"/>
                    </a:lnTo>
                    <a:lnTo>
                      <a:pt x="1919" y="703"/>
                    </a:lnTo>
                    <a:lnTo>
                      <a:pt x="1932" y="721"/>
                    </a:lnTo>
                    <a:lnTo>
                      <a:pt x="1943" y="739"/>
                    </a:lnTo>
                    <a:lnTo>
                      <a:pt x="1952" y="759"/>
                    </a:lnTo>
                    <a:lnTo>
                      <a:pt x="1960" y="779"/>
                    </a:lnTo>
                    <a:lnTo>
                      <a:pt x="1966" y="801"/>
                    </a:lnTo>
                    <a:lnTo>
                      <a:pt x="1970" y="823"/>
                    </a:lnTo>
                    <a:lnTo>
                      <a:pt x="1971" y="846"/>
                    </a:lnTo>
                    <a:lnTo>
                      <a:pt x="1971" y="846"/>
                    </a:lnTo>
                    <a:lnTo>
                      <a:pt x="1970" y="869"/>
                    </a:lnTo>
                    <a:lnTo>
                      <a:pt x="1971" y="869"/>
                    </a:lnTo>
                    <a:lnTo>
                      <a:pt x="2257" y="846"/>
                    </a:lnTo>
                    <a:lnTo>
                      <a:pt x="2257" y="528"/>
                    </a:lnTo>
                    <a:lnTo>
                      <a:pt x="2257" y="528"/>
                    </a:lnTo>
                    <a:lnTo>
                      <a:pt x="2256" y="517"/>
                    </a:lnTo>
                    <a:lnTo>
                      <a:pt x="2253" y="508"/>
                    </a:lnTo>
                    <a:lnTo>
                      <a:pt x="2249" y="500"/>
                    </a:lnTo>
                    <a:lnTo>
                      <a:pt x="2244" y="492"/>
                    </a:lnTo>
                    <a:lnTo>
                      <a:pt x="2236" y="485"/>
                    </a:lnTo>
                    <a:lnTo>
                      <a:pt x="2228" y="480"/>
                    </a:lnTo>
                    <a:lnTo>
                      <a:pt x="2220" y="476"/>
                    </a:lnTo>
                    <a:lnTo>
                      <a:pt x="2209" y="473"/>
                    </a:lnTo>
                    <a:lnTo>
                      <a:pt x="2209" y="473"/>
                    </a:lnTo>
                    <a:close/>
                    <a:moveTo>
                      <a:pt x="1317" y="386"/>
                    </a:moveTo>
                    <a:lnTo>
                      <a:pt x="757" y="386"/>
                    </a:lnTo>
                    <a:lnTo>
                      <a:pt x="936" y="114"/>
                    </a:lnTo>
                    <a:lnTo>
                      <a:pt x="1317" y="114"/>
                    </a:lnTo>
                    <a:lnTo>
                      <a:pt x="1317" y="386"/>
                    </a:lnTo>
                    <a:close/>
                    <a:moveTo>
                      <a:pt x="1367" y="386"/>
                    </a:moveTo>
                    <a:lnTo>
                      <a:pt x="1367" y="114"/>
                    </a:lnTo>
                    <a:lnTo>
                      <a:pt x="1595" y="114"/>
                    </a:lnTo>
                    <a:lnTo>
                      <a:pt x="1855" y="386"/>
                    </a:lnTo>
                    <a:lnTo>
                      <a:pt x="1367" y="386"/>
                    </a:lnTo>
                    <a:close/>
                  </a:path>
                </a:pathLst>
              </a:custGeom>
              <a:solidFill>
                <a:schemeClr val="accent1">
                  <a:lumMod val="7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213" name="Rectangle 212"/>
          <p:cNvSpPr/>
          <p:nvPr/>
        </p:nvSpPr>
        <p:spPr bwMode="auto">
          <a:xfrm>
            <a:off x="5277423" y="1507274"/>
            <a:ext cx="1649436" cy="1232561"/>
          </a:xfrm>
          <a:prstGeom prst="rect">
            <a:avLst/>
          </a:prstGeom>
          <a:gradFill>
            <a:gsLst>
              <a:gs pos="0">
                <a:schemeClr val="accent5">
                  <a:alpha val="0"/>
                </a:schemeClr>
              </a:gs>
              <a:gs pos="100000">
                <a:schemeClr val="bg2">
                  <a:lumMod val="50000"/>
                  <a:alpha val="0"/>
                </a:schemeClr>
              </a:gs>
              <a:gs pos="50000">
                <a:schemeClr val="accent1">
                  <a:lumMod val="50000"/>
                </a:schemeClr>
              </a:gs>
            </a:gsLst>
            <a:lin ang="0" scaled="0"/>
          </a:gra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19" name="Group 218"/>
          <p:cNvGrpSpPr/>
          <p:nvPr/>
        </p:nvGrpSpPr>
        <p:grpSpPr>
          <a:xfrm>
            <a:off x="7203982" y="1838999"/>
            <a:ext cx="1068498" cy="904343"/>
            <a:chOff x="3826289" y="1801087"/>
            <a:chExt cx="1140736" cy="965483"/>
          </a:xfrm>
        </p:grpSpPr>
        <p:sp>
          <p:nvSpPr>
            <p:cNvPr id="220" name="Rectangle 219"/>
            <p:cNvSpPr/>
            <p:nvPr/>
          </p:nvSpPr>
          <p:spPr bwMode="auto">
            <a:xfrm>
              <a:off x="3835907" y="1842716"/>
              <a:ext cx="1112333" cy="757505"/>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1" name="Freeform 32"/>
            <p:cNvSpPr>
              <a:spLocks noEditPoints="1"/>
            </p:cNvSpPr>
            <p:nvPr/>
          </p:nvSpPr>
          <p:spPr bwMode="auto">
            <a:xfrm>
              <a:off x="3826289" y="1801087"/>
              <a:ext cx="1140736" cy="965483"/>
            </a:xfrm>
            <a:custGeom>
              <a:avLst/>
              <a:gdLst>
                <a:gd name="T0" fmla="*/ 24 w 715"/>
                <a:gd name="T1" fmla="*/ 0 h 607"/>
                <a:gd name="T2" fmla="*/ 19 w 715"/>
                <a:gd name="T3" fmla="*/ 0 h 607"/>
                <a:gd name="T4" fmla="*/ 11 w 715"/>
                <a:gd name="T5" fmla="*/ 4 h 607"/>
                <a:gd name="T6" fmla="*/ 4 w 715"/>
                <a:gd name="T7" fmla="*/ 10 h 607"/>
                <a:gd name="T8" fmla="*/ 1 w 715"/>
                <a:gd name="T9" fmla="*/ 18 h 607"/>
                <a:gd name="T10" fmla="*/ 0 w 715"/>
                <a:gd name="T11" fmla="*/ 503 h 607"/>
                <a:gd name="T12" fmla="*/ 1 w 715"/>
                <a:gd name="T13" fmla="*/ 507 h 607"/>
                <a:gd name="T14" fmla="*/ 4 w 715"/>
                <a:gd name="T15" fmla="*/ 515 h 607"/>
                <a:gd name="T16" fmla="*/ 11 w 715"/>
                <a:gd name="T17" fmla="*/ 521 h 607"/>
                <a:gd name="T18" fmla="*/ 19 w 715"/>
                <a:gd name="T19" fmla="*/ 525 h 607"/>
                <a:gd name="T20" fmla="*/ 244 w 715"/>
                <a:gd name="T21" fmla="*/ 525 h 607"/>
                <a:gd name="T22" fmla="*/ 195 w 715"/>
                <a:gd name="T23" fmla="*/ 607 h 607"/>
                <a:gd name="T24" fmla="*/ 485 w 715"/>
                <a:gd name="T25" fmla="*/ 560 h 607"/>
                <a:gd name="T26" fmla="*/ 692 w 715"/>
                <a:gd name="T27" fmla="*/ 525 h 607"/>
                <a:gd name="T28" fmla="*/ 697 w 715"/>
                <a:gd name="T29" fmla="*/ 525 h 607"/>
                <a:gd name="T30" fmla="*/ 705 w 715"/>
                <a:gd name="T31" fmla="*/ 521 h 607"/>
                <a:gd name="T32" fmla="*/ 711 w 715"/>
                <a:gd name="T33" fmla="*/ 515 h 607"/>
                <a:gd name="T34" fmla="*/ 714 w 715"/>
                <a:gd name="T35" fmla="*/ 507 h 607"/>
                <a:gd name="T36" fmla="*/ 715 w 715"/>
                <a:gd name="T37" fmla="*/ 22 h 607"/>
                <a:gd name="T38" fmla="*/ 714 w 715"/>
                <a:gd name="T39" fmla="*/ 18 h 607"/>
                <a:gd name="T40" fmla="*/ 711 w 715"/>
                <a:gd name="T41" fmla="*/ 10 h 607"/>
                <a:gd name="T42" fmla="*/ 705 w 715"/>
                <a:gd name="T43" fmla="*/ 4 h 607"/>
                <a:gd name="T44" fmla="*/ 697 w 715"/>
                <a:gd name="T45" fmla="*/ 0 h 607"/>
                <a:gd name="T46" fmla="*/ 674 w 715"/>
                <a:gd name="T47" fmla="*/ 467 h 607"/>
                <a:gd name="T48" fmla="*/ 674 w 715"/>
                <a:gd name="T49" fmla="*/ 471 h 607"/>
                <a:gd name="T50" fmla="*/ 669 w 715"/>
                <a:gd name="T51" fmla="*/ 480 h 607"/>
                <a:gd name="T52" fmla="*/ 658 w 715"/>
                <a:gd name="T53" fmla="*/ 485 h 607"/>
                <a:gd name="T54" fmla="*/ 62 w 715"/>
                <a:gd name="T55" fmla="*/ 487 h 607"/>
                <a:gd name="T56" fmla="*/ 58 w 715"/>
                <a:gd name="T57" fmla="*/ 485 h 607"/>
                <a:gd name="T58" fmla="*/ 48 w 715"/>
                <a:gd name="T59" fmla="*/ 480 h 607"/>
                <a:gd name="T60" fmla="*/ 42 w 715"/>
                <a:gd name="T61" fmla="*/ 471 h 607"/>
                <a:gd name="T62" fmla="*/ 42 w 715"/>
                <a:gd name="T63" fmla="*/ 58 h 607"/>
                <a:gd name="T64" fmla="*/ 42 w 715"/>
                <a:gd name="T65" fmla="*/ 54 h 607"/>
                <a:gd name="T66" fmla="*/ 48 w 715"/>
                <a:gd name="T67" fmla="*/ 45 h 607"/>
                <a:gd name="T68" fmla="*/ 58 w 715"/>
                <a:gd name="T69" fmla="*/ 40 h 607"/>
                <a:gd name="T70" fmla="*/ 655 w 715"/>
                <a:gd name="T71" fmla="*/ 38 h 607"/>
                <a:gd name="T72" fmla="*/ 658 w 715"/>
                <a:gd name="T73" fmla="*/ 40 h 607"/>
                <a:gd name="T74" fmla="*/ 669 w 715"/>
                <a:gd name="T75" fmla="*/ 45 h 607"/>
                <a:gd name="T76" fmla="*/ 674 w 715"/>
                <a:gd name="T77" fmla="*/ 54 h 607"/>
                <a:gd name="T78" fmla="*/ 674 w 715"/>
                <a:gd name="T79" fmla="*/ 467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5" h="607">
                  <a:moveTo>
                    <a:pt x="692" y="0"/>
                  </a:moveTo>
                  <a:lnTo>
                    <a:pt x="24" y="0"/>
                  </a:lnTo>
                  <a:lnTo>
                    <a:pt x="24" y="0"/>
                  </a:lnTo>
                  <a:lnTo>
                    <a:pt x="19" y="0"/>
                  </a:lnTo>
                  <a:lnTo>
                    <a:pt x="15" y="1"/>
                  </a:lnTo>
                  <a:lnTo>
                    <a:pt x="11" y="4"/>
                  </a:lnTo>
                  <a:lnTo>
                    <a:pt x="8" y="6"/>
                  </a:lnTo>
                  <a:lnTo>
                    <a:pt x="4" y="10"/>
                  </a:lnTo>
                  <a:lnTo>
                    <a:pt x="2" y="14"/>
                  </a:lnTo>
                  <a:lnTo>
                    <a:pt x="1" y="18"/>
                  </a:lnTo>
                  <a:lnTo>
                    <a:pt x="0" y="22"/>
                  </a:lnTo>
                  <a:lnTo>
                    <a:pt x="0" y="503"/>
                  </a:lnTo>
                  <a:lnTo>
                    <a:pt x="0" y="503"/>
                  </a:lnTo>
                  <a:lnTo>
                    <a:pt x="1" y="507"/>
                  </a:lnTo>
                  <a:lnTo>
                    <a:pt x="2" y="511"/>
                  </a:lnTo>
                  <a:lnTo>
                    <a:pt x="4" y="515"/>
                  </a:lnTo>
                  <a:lnTo>
                    <a:pt x="8" y="519"/>
                  </a:lnTo>
                  <a:lnTo>
                    <a:pt x="11" y="521"/>
                  </a:lnTo>
                  <a:lnTo>
                    <a:pt x="15" y="524"/>
                  </a:lnTo>
                  <a:lnTo>
                    <a:pt x="19" y="525"/>
                  </a:lnTo>
                  <a:lnTo>
                    <a:pt x="24" y="525"/>
                  </a:lnTo>
                  <a:lnTo>
                    <a:pt x="244" y="525"/>
                  </a:lnTo>
                  <a:lnTo>
                    <a:pt x="244" y="560"/>
                  </a:lnTo>
                  <a:lnTo>
                    <a:pt x="195" y="607"/>
                  </a:lnTo>
                  <a:lnTo>
                    <a:pt x="533" y="607"/>
                  </a:lnTo>
                  <a:lnTo>
                    <a:pt x="485" y="560"/>
                  </a:lnTo>
                  <a:lnTo>
                    <a:pt x="485" y="525"/>
                  </a:lnTo>
                  <a:lnTo>
                    <a:pt x="692" y="525"/>
                  </a:lnTo>
                  <a:lnTo>
                    <a:pt x="692" y="525"/>
                  </a:lnTo>
                  <a:lnTo>
                    <a:pt x="697" y="525"/>
                  </a:lnTo>
                  <a:lnTo>
                    <a:pt x="701" y="524"/>
                  </a:lnTo>
                  <a:lnTo>
                    <a:pt x="705" y="521"/>
                  </a:lnTo>
                  <a:lnTo>
                    <a:pt x="709" y="519"/>
                  </a:lnTo>
                  <a:lnTo>
                    <a:pt x="711" y="515"/>
                  </a:lnTo>
                  <a:lnTo>
                    <a:pt x="713" y="511"/>
                  </a:lnTo>
                  <a:lnTo>
                    <a:pt x="714" y="507"/>
                  </a:lnTo>
                  <a:lnTo>
                    <a:pt x="715" y="503"/>
                  </a:lnTo>
                  <a:lnTo>
                    <a:pt x="715" y="22"/>
                  </a:lnTo>
                  <a:lnTo>
                    <a:pt x="715" y="22"/>
                  </a:lnTo>
                  <a:lnTo>
                    <a:pt x="714" y="18"/>
                  </a:lnTo>
                  <a:lnTo>
                    <a:pt x="713" y="14"/>
                  </a:lnTo>
                  <a:lnTo>
                    <a:pt x="711" y="10"/>
                  </a:lnTo>
                  <a:lnTo>
                    <a:pt x="709" y="6"/>
                  </a:lnTo>
                  <a:lnTo>
                    <a:pt x="705" y="4"/>
                  </a:lnTo>
                  <a:lnTo>
                    <a:pt x="701" y="1"/>
                  </a:lnTo>
                  <a:lnTo>
                    <a:pt x="697" y="0"/>
                  </a:lnTo>
                  <a:lnTo>
                    <a:pt x="692" y="0"/>
                  </a:lnTo>
                  <a:close/>
                  <a:moveTo>
                    <a:pt x="674" y="467"/>
                  </a:moveTo>
                  <a:lnTo>
                    <a:pt x="674" y="467"/>
                  </a:lnTo>
                  <a:lnTo>
                    <a:pt x="674" y="471"/>
                  </a:lnTo>
                  <a:lnTo>
                    <a:pt x="673" y="475"/>
                  </a:lnTo>
                  <a:lnTo>
                    <a:pt x="669" y="480"/>
                  </a:lnTo>
                  <a:lnTo>
                    <a:pt x="662" y="485"/>
                  </a:lnTo>
                  <a:lnTo>
                    <a:pt x="658" y="485"/>
                  </a:lnTo>
                  <a:lnTo>
                    <a:pt x="655" y="487"/>
                  </a:lnTo>
                  <a:lnTo>
                    <a:pt x="62" y="487"/>
                  </a:lnTo>
                  <a:lnTo>
                    <a:pt x="62" y="487"/>
                  </a:lnTo>
                  <a:lnTo>
                    <a:pt x="58" y="485"/>
                  </a:lnTo>
                  <a:lnTo>
                    <a:pt x="54" y="485"/>
                  </a:lnTo>
                  <a:lnTo>
                    <a:pt x="48" y="480"/>
                  </a:lnTo>
                  <a:lnTo>
                    <a:pt x="44" y="475"/>
                  </a:lnTo>
                  <a:lnTo>
                    <a:pt x="42" y="471"/>
                  </a:lnTo>
                  <a:lnTo>
                    <a:pt x="42" y="467"/>
                  </a:lnTo>
                  <a:lnTo>
                    <a:pt x="42" y="58"/>
                  </a:lnTo>
                  <a:lnTo>
                    <a:pt x="42" y="58"/>
                  </a:lnTo>
                  <a:lnTo>
                    <a:pt x="42" y="54"/>
                  </a:lnTo>
                  <a:lnTo>
                    <a:pt x="44" y="50"/>
                  </a:lnTo>
                  <a:lnTo>
                    <a:pt x="48" y="45"/>
                  </a:lnTo>
                  <a:lnTo>
                    <a:pt x="54" y="40"/>
                  </a:lnTo>
                  <a:lnTo>
                    <a:pt x="58" y="40"/>
                  </a:lnTo>
                  <a:lnTo>
                    <a:pt x="62" y="38"/>
                  </a:lnTo>
                  <a:lnTo>
                    <a:pt x="655" y="38"/>
                  </a:lnTo>
                  <a:lnTo>
                    <a:pt x="655" y="38"/>
                  </a:lnTo>
                  <a:lnTo>
                    <a:pt x="658" y="40"/>
                  </a:lnTo>
                  <a:lnTo>
                    <a:pt x="662" y="40"/>
                  </a:lnTo>
                  <a:lnTo>
                    <a:pt x="669" y="45"/>
                  </a:lnTo>
                  <a:lnTo>
                    <a:pt x="673" y="50"/>
                  </a:lnTo>
                  <a:lnTo>
                    <a:pt x="674" y="54"/>
                  </a:lnTo>
                  <a:lnTo>
                    <a:pt x="674" y="58"/>
                  </a:lnTo>
                  <a:lnTo>
                    <a:pt x="674" y="46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235" name="Rectangle 406"/>
          <p:cNvSpPr/>
          <p:nvPr/>
        </p:nvSpPr>
        <p:spPr bwMode="auto">
          <a:xfrm>
            <a:off x="10556084" y="4952341"/>
            <a:ext cx="1629409" cy="1913649"/>
          </a:xfrm>
          <a:custGeom>
            <a:avLst/>
            <a:gdLst/>
            <a:ahLst/>
            <a:cxnLst/>
            <a:rect l="l" t="t" r="r" b="b"/>
            <a:pathLst>
              <a:path w="1629409" h="1913649">
                <a:moveTo>
                  <a:pt x="0" y="0"/>
                </a:moveTo>
                <a:lnTo>
                  <a:pt x="1625538" y="1183817"/>
                </a:lnTo>
                <a:lnTo>
                  <a:pt x="1629409" y="1913649"/>
                </a:lnTo>
                <a:lnTo>
                  <a:pt x="2311" y="1913649"/>
                </a:lnTo>
                <a:cubicBezTo>
                  <a:pt x="1540" y="1275766"/>
                  <a:pt x="771" y="637884"/>
                  <a:pt x="0" y="0"/>
                </a:cubicBezTo>
                <a:close/>
              </a:path>
            </a:pathLst>
          </a:cu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6" name="Rectangle 235"/>
          <p:cNvSpPr/>
          <p:nvPr/>
        </p:nvSpPr>
        <p:spPr bwMode="auto">
          <a:xfrm>
            <a:off x="8500520" y="4943685"/>
            <a:ext cx="2074703" cy="1922305"/>
          </a:xfrm>
          <a:custGeom>
            <a:avLst/>
            <a:gdLst/>
            <a:ahLst/>
            <a:cxnLst/>
            <a:rect l="l" t="t" r="r" b="b"/>
            <a:pathLst>
              <a:path w="2074703" h="1922305">
                <a:moveTo>
                  <a:pt x="0" y="0"/>
                </a:moveTo>
                <a:lnTo>
                  <a:pt x="2074703" y="0"/>
                </a:lnTo>
                <a:lnTo>
                  <a:pt x="2074703" y="1922305"/>
                </a:lnTo>
                <a:lnTo>
                  <a:pt x="0" y="1922305"/>
                </a:lnTo>
                <a:close/>
              </a:path>
            </a:pathLst>
          </a:custGeom>
          <a:gradFill flip="none" rotWithShape="1">
            <a:gsLst>
              <a:gs pos="0">
                <a:schemeClr val="accent1">
                  <a:lumMod val="75000"/>
                </a:schemeClr>
              </a:gs>
              <a:gs pos="49000">
                <a:schemeClr val="accent1">
                  <a:lumMod val="50000"/>
                </a:schemeClr>
              </a:gs>
            </a:gsLst>
            <a:lin ang="9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74" name="Group 273"/>
          <p:cNvGrpSpPr>
            <a:grpSpLocks noChangeAspect="1"/>
          </p:cNvGrpSpPr>
          <p:nvPr/>
        </p:nvGrpSpPr>
        <p:grpSpPr>
          <a:xfrm>
            <a:off x="4556577" y="2242513"/>
            <a:ext cx="261976" cy="264595"/>
            <a:chOff x="2030456" y="2837736"/>
            <a:chExt cx="465093" cy="469743"/>
          </a:xfrm>
        </p:grpSpPr>
        <p:sp>
          <p:nvSpPr>
            <p:cNvPr id="275" name="Freeform 106"/>
            <p:cNvSpPr>
              <a:spLocks/>
            </p:cNvSpPr>
            <p:nvPr/>
          </p:nvSpPr>
          <p:spPr bwMode="auto">
            <a:xfrm>
              <a:off x="2030456" y="2837736"/>
              <a:ext cx="465093" cy="469743"/>
            </a:xfrm>
            <a:custGeom>
              <a:avLst/>
              <a:gdLst>
                <a:gd name="T0" fmla="*/ 1345 w 1346"/>
                <a:gd name="T1" fmla="*/ 708 h 1346"/>
                <a:gd name="T2" fmla="*/ 1332 w 1346"/>
                <a:gd name="T3" fmla="*/ 808 h 1346"/>
                <a:gd name="T4" fmla="*/ 1305 w 1346"/>
                <a:gd name="T5" fmla="*/ 903 h 1346"/>
                <a:gd name="T6" fmla="*/ 1264 w 1346"/>
                <a:gd name="T7" fmla="*/ 993 h 1346"/>
                <a:gd name="T8" fmla="*/ 1212 w 1346"/>
                <a:gd name="T9" fmla="*/ 1075 h 1346"/>
                <a:gd name="T10" fmla="*/ 1149 w 1346"/>
                <a:gd name="T11" fmla="*/ 1148 h 1346"/>
                <a:gd name="T12" fmla="*/ 1075 w 1346"/>
                <a:gd name="T13" fmla="*/ 1212 h 1346"/>
                <a:gd name="T14" fmla="*/ 993 w 1346"/>
                <a:gd name="T15" fmla="*/ 1264 h 1346"/>
                <a:gd name="T16" fmla="*/ 905 w 1346"/>
                <a:gd name="T17" fmla="*/ 1305 h 1346"/>
                <a:gd name="T18" fmla="*/ 809 w 1346"/>
                <a:gd name="T19" fmla="*/ 1331 h 1346"/>
                <a:gd name="T20" fmla="*/ 708 w 1346"/>
                <a:gd name="T21" fmla="*/ 1345 h 1346"/>
                <a:gd name="T22" fmla="*/ 638 w 1346"/>
                <a:gd name="T23" fmla="*/ 1345 h 1346"/>
                <a:gd name="T24" fmla="*/ 538 w 1346"/>
                <a:gd name="T25" fmla="*/ 1331 h 1346"/>
                <a:gd name="T26" fmla="*/ 442 w 1346"/>
                <a:gd name="T27" fmla="*/ 1305 h 1346"/>
                <a:gd name="T28" fmla="*/ 353 w 1346"/>
                <a:gd name="T29" fmla="*/ 1264 h 1346"/>
                <a:gd name="T30" fmla="*/ 271 w 1346"/>
                <a:gd name="T31" fmla="*/ 1212 h 1346"/>
                <a:gd name="T32" fmla="*/ 197 w 1346"/>
                <a:gd name="T33" fmla="*/ 1148 h 1346"/>
                <a:gd name="T34" fmla="*/ 134 w 1346"/>
                <a:gd name="T35" fmla="*/ 1075 h 1346"/>
                <a:gd name="T36" fmla="*/ 82 w 1346"/>
                <a:gd name="T37" fmla="*/ 993 h 1346"/>
                <a:gd name="T38" fmla="*/ 41 w 1346"/>
                <a:gd name="T39" fmla="*/ 903 h 1346"/>
                <a:gd name="T40" fmla="*/ 15 w 1346"/>
                <a:gd name="T41" fmla="*/ 808 h 1346"/>
                <a:gd name="T42" fmla="*/ 1 w 1346"/>
                <a:gd name="T43" fmla="*/ 708 h 1346"/>
                <a:gd name="T44" fmla="*/ 1 w 1346"/>
                <a:gd name="T45" fmla="*/ 638 h 1346"/>
                <a:gd name="T46" fmla="*/ 15 w 1346"/>
                <a:gd name="T47" fmla="*/ 537 h 1346"/>
                <a:gd name="T48" fmla="*/ 41 w 1346"/>
                <a:gd name="T49" fmla="*/ 441 h 1346"/>
                <a:gd name="T50" fmla="*/ 82 w 1346"/>
                <a:gd name="T51" fmla="*/ 351 h 1346"/>
                <a:gd name="T52" fmla="*/ 134 w 1346"/>
                <a:gd name="T53" fmla="*/ 269 h 1346"/>
                <a:gd name="T54" fmla="*/ 197 w 1346"/>
                <a:gd name="T55" fmla="*/ 196 h 1346"/>
                <a:gd name="T56" fmla="*/ 271 w 1346"/>
                <a:gd name="T57" fmla="*/ 133 h 1346"/>
                <a:gd name="T58" fmla="*/ 353 w 1346"/>
                <a:gd name="T59" fmla="*/ 81 h 1346"/>
                <a:gd name="T60" fmla="*/ 442 w 1346"/>
                <a:gd name="T61" fmla="*/ 40 h 1346"/>
                <a:gd name="T62" fmla="*/ 538 w 1346"/>
                <a:gd name="T63" fmla="*/ 14 h 1346"/>
                <a:gd name="T64" fmla="*/ 638 w 1346"/>
                <a:gd name="T65" fmla="*/ 1 h 1346"/>
                <a:gd name="T66" fmla="*/ 708 w 1346"/>
                <a:gd name="T67" fmla="*/ 1 h 1346"/>
                <a:gd name="T68" fmla="*/ 809 w 1346"/>
                <a:gd name="T69" fmla="*/ 14 h 1346"/>
                <a:gd name="T70" fmla="*/ 905 w 1346"/>
                <a:gd name="T71" fmla="*/ 40 h 1346"/>
                <a:gd name="T72" fmla="*/ 993 w 1346"/>
                <a:gd name="T73" fmla="*/ 81 h 1346"/>
                <a:gd name="T74" fmla="*/ 1075 w 1346"/>
                <a:gd name="T75" fmla="*/ 133 h 1346"/>
                <a:gd name="T76" fmla="*/ 1149 w 1346"/>
                <a:gd name="T77" fmla="*/ 196 h 1346"/>
                <a:gd name="T78" fmla="*/ 1212 w 1346"/>
                <a:gd name="T79" fmla="*/ 269 h 1346"/>
                <a:gd name="T80" fmla="*/ 1264 w 1346"/>
                <a:gd name="T81" fmla="*/ 351 h 1346"/>
                <a:gd name="T82" fmla="*/ 1305 w 1346"/>
                <a:gd name="T83" fmla="*/ 441 h 1346"/>
                <a:gd name="T84" fmla="*/ 1332 w 1346"/>
                <a:gd name="T85" fmla="*/ 537 h 1346"/>
                <a:gd name="T86" fmla="*/ 1345 w 1346"/>
                <a:gd name="T87" fmla="*/ 638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6" h="1346">
                  <a:moveTo>
                    <a:pt x="1346" y="672"/>
                  </a:moveTo>
                  <a:lnTo>
                    <a:pt x="1346" y="672"/>
                  </a:lnTo>
                  <a:lnTo>
                    <a:pt x="1345" y="708"/>
                  </a:lnTo>
                  <a:lnTo>
                    <a:pt x="1343" y="742"/>
                  </a:lnTo>
                  <a:lnTo>
                    <a:pt x="1338" y="775"/>
                  </a:lnTo>
                  <a:lnTo>
                    <a:pt x="1332" y="808"/>
                  </a:lnTo>
                  <a:lnTo>
                    <a:pt x="1325" y="840"/>
                  </a:lnTo>
                  <a:lnTo>
                    <a:pt x="1315" y="872"/>
                  </a:lnTo>
                  <a:lnTo>
                    <a:pt x="1305" y="903"/>
                  </a:lnTo>
                  <a:lnTo>
                    <a:pt x="1293" y="934"/>
                  </a:lnTo>
                  <a:lnTo>
                    <a:pt x="1280" y="964"/>
                  </a:lnTo>
                  <a:lnTo>
                    <a:pt x="1264" y="993"/>
                  </a:lnTo>
                  <a:lnTo>
                    <a:pt x="1249" y="1022"/>
                  </a:lnTo>
                  <a:lnTo>
                    <a:pt x="1231" y="1048"/>
                  </a:lnTo>
                  <a:lnTo>
                    <a:pt x="1212" y="1075"/>
                  </a:lnTo>
                  <a:lnTo>
                    <a:pt x="1192" y="1100"/>
                  </a:lnTo>
                  <a:lnTo>
                    <a:pt x="1171" y="1125"/>
                  </a:lnTo>
                  <a:lnTo>
                    <a:pt x="1149" y="1148"/>
                  </a:lnTo>
                  <a:lnTo>
                    <a:pt x="1125" y="1171"/>
                  </a:lnTo>
                  <a:lnTo>
                    <a:pt x="1101" y="1192"/>
                  </a:lnTo>
                  <a:lnTo>
                    <a:pt x="1075" y="1212"/>
                  </a:lnTo>
                  <a:lnTo>
                    <a:pt x="1050" y="1231"/>
                  </a:lnTo>
                  <a:lnTo>
                    <a:pt x="1022" y="1247"/>
                  </a:lnTo>
                  <a:lnTo>
                    <a:pt x="993" y="1264"/>
                  </a:lnTo>
                  <a:lnTo>
                    <a:pt x="965" y="1279"/>
                  </a:lnTo>
                  <a:lnTo>
                    <a:pt x="935" y="1293"/>
                  </a:lnTo>
                  <a:lnTo>
                    <a:pt x="905" y="1305"/>
                  </a:lnTo>
                  <a:lnTo>
                    <a:pt x="873" y="1315"/>
                  </a:lnTo>
                  <a:lnTo>
                    <a:pt x="842" y="1324"/>
                  </a:lnTo>
                  <a:lnTo>
                    <a:pt x="809" y="1331"/>
                  </a:lnTo>
                  <a:lnTo>
                    <a:pt x="775" y="1338"/>
                  </a:lnTo>
                  <a:lnTo>
                    <a:pt x="742" y="1341"/>
                  </a:lnTo>
                  <a:lnTo>
                    <a:pt x="708" y="1345"/>
                  </a:lnTo>
                  <a:lnTo>
                    <a:pt x="674" y="1346"/>
                  </a:lnTo>
                  <a:lnTo>
                    <a:pt x="674" y="1346"/>
                  </a:lnTo>
                  <a:lnTo>
                    <a:pt x="638" y="1345"/>
                  </a:lnTo>
                  <a:lnTo>
                    <a:pt x="604" y="1341"/>
                  </a:lnTo>
                  <a:lnTo>
                    <a:pt x="571" y="1338"/>
                  </a:lnTo>
                  <a:lnTo>
                    <a:pt x="538" y="1331"/>
                  </a:lnTo>
                  <a:lnTo>
                    <a:pt x="506" y="1324"/>
                  </a:lnTo>
                  <a:lnTo>
                    <a:pt x="474" y="1315"/>
                  </a:lnTo>
                  <a:lnTo>
                    <a:pt x="442" y="1305"/>
                  </a:lnTo>
                  <a:lnTo>
                    <a:pt x="412" y="1293"/>
                  </a:lnTo>
                  <a:lnTo>
                    <a:pt x="382" y="1279"/>
                  </a:lnTo>
                  <a:lnTo>
                    <a:pt x="353" y="1264"/>
                  </a:lnTo>
                  <a:lnTo>
                    <a:pt x="324" y="1247"/>
                  </a:lnTo>
                  <a:lnTo>
                    <a:pt x="298" y="1231"/>
                  </a:lnTo>
                  <a:lnTo>
                    <a:pt x="271" y="1212"/>
                  </a:lnTo>
                  <a:lnTo>
                    <a:pt x="246" y="1192"/>
                  </a:lnTo>
                  <a:lnTo>
                    <a:pt x="222" y="1171"/>
                  </a:lnTo>
                  <a:lnTo>
                    <a:pt x="197" y="1148"/>
                  </a:lnTo>
                  <a:lnTo>
                    <a:pt x="175" y="1125"/>
                  </a:lnTo>
                  <a:lnTo>
                    <a:pt x="154" y="1100"/>
                  </a:lnTo>
                  <a:lnTo>
                    <a:pt x="134" y="1075"/>
                  </a:lnTo>
                  <a:lnTo>
                    <a:pt x="115" y="1048"/>
                  </a:lnTo>
                  <a:lnTo>
                    <a:pt x="98" y="1022"/>
                  </a:lnTo>
                  <a:lnTo>
                    <a:pt x="82" y="993"/>
                  </a:lnTo>
                  <a:lnTo>
                    <a:pt x="67" y="964"/>
                  </a:lnTo>
                  <a:lnTo>
                    <a:pt x="53" y="934"/>
                  </a:lnTo>
                  <a:lnTo>
                    <a:pt x="41" y="903"/>
                  </a:lnTo>
                  <a:lnTo>
                    <a:pt x="31" y="872"/>
                  </a:lnTo>
                  <a:lnTo>
                    <a:pt x="22" y="840"/>
                  </a:lnTo>
                  <a:lnTo>
                    <a:pt x="15" y="808"/>
                  </a:lnTo>
                  <a:lnTo>
                    <a:pt x="8" y="775"/>
                  </a:lnTo>
                  <a:lnTo>
                    <a:pt x="4" y="742"/>
                  </a:lnTo>
                  <a:lnTo>
                    <a:pt x="1" y="708"/>
                  </a:lnTo>
                  <a:lnTo>
                    <a:pt x="0" y="672"/>
                  </a:lnTo>
                  <a:lnTo>
                    <a:pt x="0" y="672"/>
                  </a:lnTo>
                  <a:lnTo>
                    <a:pt x="1" y="638"/>
                  </a:lnTo>
                  <a:lnTo>
                    <a:pt x="4" y="604"/>
                  </a:lnTo>
                  <a:lnTo>
                    <a:pt x="8" y="570"/>
                  </a:lnTo>
                  <a:lnTo>
                    <a:pt x="15" y="537"/>
                  </a:lnTo>
                  <a:lnTo>
                    <a:pt x="22" y="504"/>
                  </a:lnTo>
                  <a:lnTo>
                    <a:pt x="31" y="473"/>
                  </a:lnTo>
                  <a:lnTo>
                    <a:pt x="41" y="441"/>
                  </a:lnTo>
                  <a:lnTo>
                    <a:pt x="53" y="411"/>
                  </a:lnTo>
                  <a:lnTo>
                    <a:pt x="67" y="381"/>
                  </a:lnTo>
                  <a:lnTo>
                    <a:pt x="82" y="351"/>
                  </a:lnTo>
                  <a:lnTo>
                    <a:pt x="98" y="324"/>
                  </a:lnTo>
                  <a:lnTo>
                    <a:pt x="115" y="296"/>
                  </a:lnTo>
                  <a:lnTo>
                    <a:pt x="134" y="269"/>
                  </a:lnTo>
                  <a:lnTo>
                    <a:pt x="154" y="245"/>
                  </a:lnTo>
                  <a:lnTo>
                    <a:pt x="175" y="220"/>
                  </a:lnTo>
                  <a:lnTo>
                    <a:pt x="197" y="196"/>
                  </a:lnTo>
                  <a:lnTo>
                    <a:pt x="222" y="174"/>
                  </a:lnTo>
                  <a:lnTo>
                    <a:pt x="246" y="153"/>
                  </a:lnTo>
                  <a:lnTo>
                    <a:pt x="271" y="133"/>
                  </a:lnTo>
                  <a:lnTo>
                    <a:pt x="298" y="115"/>
                  </a:lnTo>
                  <a:lnTo>
                    <a:pt x="324" y="97"/>
                  </a:lnTo>
                  <a:lnTo>
                    <a:pt x="353" y="81"/>
                  </a:lnTo>
                  <a:lnTo>
                    <a:pt x="382" y="66"/>
                  </a:lnTo>
                  <a:lnTo>
                    <a:pt x="412" y="53"/>
                  </a:lnTo>
                  <a:lnTo>
                    <a:pt x="442" y="40"/>
                  </a:lnTo>
                  <a:lnTo>
                    <a:pt x="474" y="31"/>
                  </a:lnTo>
                  <a:lnTo>
                    <a:pt x="506" y="21"/>
                  </a:lnTo>
                  <a:lnTo>
                    <a:pt x="538" y="14"/>
                  </a:lnTo>
                  <a:lnTo>
                    <a:pt x="571" y="7"/>
                  </a:lnTo>
                  <a:lnTo>
                    <a:pt x="604" y="3"/>
                  </a:lnTo>
                  <a:lnTo>
                    <a:pt x="638" y="1"/>
                  </a:lnTo>
                  <a:lnTo>
                    <a:pt x="674" y="0"/>
                  </a:lnTo>
                  <a:lnTo>
                    <a:pt x="674" y="0"/>
                  </a:lnTo>
                  <a:lnTo>
                    <a:pt x="708" y="1"/>
                  </a:lnTo>
                  <a:lnTo>
                    <a:pt x="742" y="3"/>
                  </a:lnTo>
                  <a:lnTo>
                    <a:pt x="775" y="7"/>
                  </a:lnTo>
                  <a:lnTo>
                    <a:pt x="809" y="14"/>
                  </a:lnTo>
                  <a:lnTo>
                    <a:pt x="842" y="21"/>
                  </a:lnTo>
                  <a:lnTo>
                    <a:pt x="873" y="31"/>
                  </a:lnTo>
                  <a:lnTo>
                    <a:pt x="905" y="40"/>
                  </a:lnTo>
                  <a:lnTo>
                    <a:pt x="935" y="53"/>
                  </a:lnTo>
                  <a:lnTo>
                    <a:pt x="965" y="66"/>
                  </a:lnTo>
                  <a:lnTo>
                    <a:pt x="993" y="81"/>
                  </a:lnTo>
                  <a:lnTo>
                    <a:pt x="1022" y="97"/>
                  </a:lnTo>
                  <a:lnTo>
                    <a:pt x="1050" y="115"/>
                  </a:lnTo>
                  <a:lnTo>
                    <a:pt x="1075" y="133"/>
                  </a:lnTo>
                  <a:lnTo>
                    <a:pt x="1101" y="153"/>
                  </a:lnTo>
                  <a:lnTo>
                    <a:pt x="1125" y="174"/>
                  </a:lnTo>
                  <a:lnTo>
                    <a:pt x="1149" y="196"/>
                  </a:lnTo>
                  <a:lnTo>
                    <a:pt x="1171" y="220"/>
                  </a:lnTo>
                  <a:lnTo>
                    <a:pt x="1192" y="245"/>
                  </a:lnTo>
                  <a:lnTo>
                    <a:pt x="1212" y="269"/>
                  </a:lnTo>
                  <a:lnTo>
                    <a:pt x="1231" y="296"/>
                  </a:lnTo>
                  <a:lnTo>
                    <a:pt x="1249" y="324"/>
                  </a:lnTo>
                  <a:lnTo>
                    <a:pt x="1264" y="351"/>
                  </a:lnTo>
                  <a:lnTo>
                    <a:pt x="1280" y="381"/>
                  </a:lnTo>
                  <a:lnTo>
                    <a:pt x="1293" y="411"/>
                  </a:lnTo>
                  <a:lnTo>
                    <a:pt x="1305" y="441"/>
                  </a:lnTo>
                  <a:lnTo>
                    <a:pt x="1315" y="473"/>
                  </a:lnTo>
                  <a:lnTo>
                    <a:pt x="1325" y="504"/>
                  </a:lnTo>
                  <a:lnTo>
                    <a:pt x="1332" y="537"/>
                  </a:lnTo>
                  <a:lnTo>
                    <a:pt x="1338" y="570"/>
                  </a:lnTo>
                  <a:lnTo>
                    <a:pt x="1343" y="604"/>
                  </a:lnTo>
                  <a:lnTo>
                    <a:pt x="1345" y="638"/>
                  </a:lnTo>
                  <a:lnTo>
                    <a:pt x="1346" y="6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6" name="Freeform 107"/>
            <p:cNvSpPr>
              <a:spLocks/>
            </p:cNvSpPr>
            <p:nvPr/>
          </p:nvSpPr>
          <p:spPr bwMode="auto">
            <a:xfrm>
              <a:off x="2047875" y="2859088"/>
              <a:ext cx="427038" cy="427038"/>
            </a:xfrm>
            <a:custGeom>
              <a:avLst/>
              <a:gdLst>
                <a:gd name="T0" fmla="*/ 1345 w 1346"/>
                <a:gd name="T1" fmla="*/ 708 h 1346"/>
                <a:gd name="T2" fmla="*/ 1332 w 1346"/>
                <a:gd name="T3" fmla="*/ 808 h 1346"/>
                <a:gd name="T4" fmla="*/ 1305 w 1346"/>
                <a:gd name="T5" fmla="*/ 903 h 1346"/>
                <a:gd name="T6" fmla="*/ 1264 w 1346"/>
                <a:gd name="T7" fmla="*/ 993 h 1346"/>
                <a:gd name="T8" fmla="*/ 1212 w 1346"/>
                <a:gd name="T9" fmla="*/ 1075 h 1346"/>
                <a:gd name="T10" fmla="*/ 1149 w 1346"/>
                <a:gd name="T11" fmla="*/ 1148 h 1346"/>
                <a:gd name="T12" fmla="*/ 1075 w 1346"/>
                <a:gd name="T13" fmla="*/ 1212 h 1346"/>
                <a:gd name="T14" fmla="*/ 993 w 1346"/>
                <a:gd name="T15" fmla="*/ 1264 h 1346"/>
                <a:gd name="T16" fmla="*/ 905 w 1346"/>
                <a:gd name="T17" fmla="*/ 1305 h 1346"/>
                <a:gd name="T18" fmla="*/ 809 w 1346"/>
                <a:gd name="T19" fmla="*/ 1331 h 1346"/>
                <a:gd name="T20" fmla="*/ 708 w 1346"/>
                <a:gd name="T21" fmla="*/ 1345 h 1346"/>
                <a:gd name="T22" fmla="*/ 638 w 1346"/>
                <a:gd name="T23" fmla="*/ 1345 h 1346"/>
                <a:gd name="T24" fmla="*/ 538 w 1346"/>
                <a:gd name="T25" fmla="*/ 1331 h 1346"/>
                <a:gd name="T26" fmla="*/ 442 w 1346"/>
                <a:gd name="T27" fmla="*/ 1305 h 1346"/>
                <a:gd name="T28" fmla="*/ 353 w 1346"/>
                <a:gd name="T29" fmla="*/ 1264 h 1346"/>
                <a:gd name="T30" fmla="*/ 271 w 1346"/>
                <a:gd name="T31" fmla="*/ 1212 h 1346"/>
                <a:gd name="T32" fmla="*/ 197 w 1346"/>
                <a:gd name="T33" fmla="*/ 1148 h 1346"/>
                <a:gd name="T34" fmla="*/ 134 w 1346"/>
                <a:gd name="T35" fmla="*/ 1075 h 1346"/>
                <a:gd name="T36" fmla="*/ 82 w 1346"/>
                <a:gd name="T37" fmla="*/ 993 h 1346"/>
                <a:gd name="T38" fmla="*/ 41 w 1346"/>
                <a:gd name="T39" fmla="*/ 903 h 1346"/>
                <a:gd name="T40" fmla="*/ 15 w 1346"/>
                <a:gd name="T41" fmla="*/ 808 h 1346"/>
                <a:gd name="T42" fmla="*/ 1 w 1346"/>
                <a:gd name="T43" fmla="*/ 708 h 1346"/>
                <a:gd name="T44" fmla="*/ 1 w 1346"/>
                <a:gd name="T45" fmla="*/ 638 h 1346"/>
                <a:gd name="T46" fmla="*/ 15 w 1346"/>
                <a:gd name="T47" fmla="*/ 537 h 1346"/>
                <a:gd name="T48" fmla="*/ 41 w 1346"/>
                <a:gd name="T49" fmla="*/ 441 h 1346"/>
                <a:gd name="T50" fmla="*/ 82 w 1346"/>
                <a:gd name="T51" fmla="*/ 351 h 1346"/>
                <a:gd name="T52" fmla="*/ 134 w 1346"/>
                <a:gd name="T53" fmla="*/ 269 h 1346"/>
                <a:gd name="T54" fmla="*/ 197 w 1346"/>
                <a:gd name="T55" fmla="*/ 196 h 1346"/>
                <a:gd name="T56" fmla="*/ 271 w 1346"/>
                <a:gd name="T57" fmla="*/ 133 h 1346"/>
                <a:gd name="T58" fmla="*/ 353 w 1346"/>
                <a:gd name="T59" fmla="*/ 81 h 1346"/>
                <a:gd name="T60" fmla="*/ 442 w 1346"/>
                <a:gd name="T61" fmla="*/ 40 h 1346"/>
                <a:gd name="T62" fmla="*/ 538 w 1346"/>
                <a:gd name="T63" fmla="*/ 14 h 1346"/>
                <a:gd name="T64" fmla="*/ 638 w 1346"/>
                <a:gd name="T65" fmla="*/ 1 h 1346"/>
                <a:gd name="T66" fmla="*/ 708 w 1346"/>
                <a:gd name="T67" fmla="*/ 1 h 1346"/>
                <a:gd name="T68" fmla="*/ 809 w 1346"/>
                <a:gd name="T69" fmla="*/ 14 h 1346"/>
                <a:gd name="T70" fmla="*/ 905 w 1346"/>
                <a:gd name="T71" fmla="*/ 40 h 1346"/>
                <a:gd name="T72" fmla="*/ 993 w 1346"/>
                <a:gd name="T73" fmla="*/ 81 h 1346"/>
                <a:gd name="T74" fmla="*/ 1075 w 1346"/>
                <a:gd name="T75" fmla="*/ 133 h 1346"/>
                <a:gd name="T76" fmla="*/ 1149 w 1346"/>
                <a:gd name="T77" fmla="*/ 196 h 1346"/>
                <a:gd name="T78" fmla="*/ 1212 w 1346"/>
                <a:gd name="T79" fmla="*/ 269 h 1346"/>
                <a:gd name="T80" fmla="*/ 1264 w 1346"/>
                <a:gd name="T81" fmla="*/ 351 h 1346"/>
                <a:gd name="T82" fmla="*/ 1305 w 1346"/>
                <a:gd name="T83" fmla="*/ 441 h 1346"/>
                <a:gd name="T84" fmla="*/ 1332 w 1346"/>
                <a:gd name="T85" fmla="*/ 537 h 1346"/>
                <a:gd name="T86" fmla="*/ 1345 w 1346"/>
                <a:gd name="T87" fmla="*/ 638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6" h="1346">
                  <a:moveTo>
                    <a:pt x="1346" y="672"/>
                  </a:moveTo>
                  <a:lnTo>
                    <a:pt x="1346" y="672"/>
                  </a:lnTo>
                  <a:lnTo>
                    <a:pt x="1345" y="708"/>
                  </a:lnTo>
                  <a:lnTo>
                    <a:pt x="1343" y="742"/>
                  </a:lnTo>
                  <a:lnTo>
                    <a:pt x="1338" y="775"/>
                  </a:lnTo>
                  <a:lnTo>
                    <a:pt x="1332" y="808"/>
                  </a:lnTo>
                  <a:lnTo>
                    <a:pt x="1325" y="840"/>
                  </a:lnTo>
                  <a:lnTo>
                    <a:pt x="1315" y="872"/>
                  </a:lnTo>
                  <a:lnTo>
                    <a:pt x="1305" y="903"/>
                  </a:lnTo>
                  <a:lnTo>
                    <a:pt x="1293" y="934"/>
                  </a:lnTo>
                  <a:lnTo>
                    <a:pt x="1280" y="964"/>
                  </a:lnTo>
                  <a:lnTo>
                    <a:pt x="1264" y="993"/>
                  </a:lnTo>
                  <a:lnTo>
                    <a:pt x="1249" y="1022"/>
                  </a:lnTo>
                  <a:lnTo>
                    <a:pt x="1231" y="1048"/>
                  </a:lnTo>
                  <a:lnTo>
                    <a:pt x="1212" y="1075"/>
                  </a:lnTo>
                  <a:lnTo>
                    <a:pt x="1192" y="1100"/>
                  </a:lnTo>
                  <a:lnTo>
                    <a:pt x="1171" y="1125"/>
                  </a:lnTo>
                  <a:lnTo>
                    <a:pt x="1149" y="1148"/>
                  </a:lnTo>
                  <a:lnTo>
                    <a:pt x="1125" y="1171"/>
                  </a:lnTo>
                  <a:lnTo>
                    <a:pt x="1101" y="1192"/>
                  </a:lnTo>
                  <a:lnTo>
                    <a:pt x="1075" y="1212"/>
                  </a:lnTo>
                  <a:lnTo>
                    <a:pt x="1050" y="1231"/>
                  </a:lnTo>
                  <a:lnTo>
                    <a:pt x="1022" y="1247"/>
                  </a:lnTo>
                  <a:lnTo>
                    <a:pt x="993" y="1264"/>
                  </a:lnTo>
                  <a:lnTo>
                    <a:pt x="965" y="1279"/>
                  </a:lnTo>
                  <a:lnTo>
                    <a:pt x="935" y="1293"/>
                  </a:lnTo>
                  <a:lnTo>
                    <a:pt x="905" y="1305"/>
                  </a:lnTo>
                  <a:lnTo>
                    <a:pt x="873" y="1315"/>
                  </a:lnTo>
                  <a:lnTo>
                    <a:pt x="842" y="1324"/>
                  </a:lnTo>
                  <a:lnTo>
                    <a:pt x="809" y="1331"/>
                  </a:lnTo>
                  <a:lnTo>
                    <a:pt x="775" y="1338"/>
                  </a:lnTo>
                  <a:lnTo>
                    <a:pt x="742" y="1341"/>
                  </a:lnTo>
                  <a:lnTo>
                    <a:pt x="708" y="1345"/>
                  </a:lnTo>
                  <a:lnTo>
                    <a:pt x="674" y="1346"/>
                  </a:lnTo>
                  <a:lnTo>
                    <a:pt x="674" y="1346"/>
                  </a:lnTo>
                  <a:lnTo>
                    <a:pt x="638" y="1345"/>
                  </a:lnTo>
                  <a:lnTo>
                    <a:pt x="604" y="1341"/>
                  </a:lnTo>
                  <a:lnTo>
                    <a:pt x="571" y="1338"/>
                  </a:lnTo>
                  <a:lnTo>
                    <a:pt x="538" y="1331"/>
                  </a:lnTo>
                  <a:lnTo>
                    <a:pt x="506" y="1324"/>
                  </a:lnTo>
                  <a:lnTo>
                    <a:pt x="474" y="1315"/>
                  </a:lnTo>
                  <a:lnTo>
                    <a:pt x="442" y="1305"/>
                  </a:lnTo>
                  <a:lnTo>
                    <a:pt x="412" y="1293"/>
                  </a:lnTo>
                  <a:lnTo>
                    <a:pt x="382" y="1279"/>
                  </a:lnTo>
                  <a:lnTo>
                    <a:pt x="353" y="1264"/>
                  </a:lnTo>
                  <a:lnTo>
                    <a:pt x="324" y="1247"/>
                  </a:lnTo>
                  <a:lnTo>
                    <a:pt x="298" y="1231"/>
                  </a:lnTo>
                  <a:lnTo>
                    <a:pt x="271" y="1212"/>
                  </a:lnTo>
                  <a:lnTo>
                    <a:pt x="246" y="1192"/>
                  </a:lnTo>
                  <a:lnTo>
                    <a:pt x="222" y="1171"/>
                  </a:lnTo>
                  <a:lnTo>
                    <a:pt x="197" y="1148"/>
                  </a:lnTo>
                  <a:lnTo>
                    <a:pt x="175" y="1125"/>
                  </a:lnTo>
                  <a:lnTo>
                    <a:pt x="154" y="1100"/>
                  </a:lnTo>
                  <a:lnTo>
                    <a:pt x="134" y="1075"/>
                  </a:lnTo>
                  <a:lnTo>
                    <a:pt x="115" y="1048"/>
                  </a:lnTo>
                  <a:lnTo>
                    <a:pt x="98" y="1022"/>
                  </a:lnTo>
                  <a:lnTo>
                    <a:pt x="82" y="993"/>
                  </a:lnTo>
                  <a:lnTo>
                    <a:pt x="67" y="964"/>
                  </a:lnTo>
                  <a:lnTo>
                    <a:pt x="53" y="934"/>
                  </a:lnTo>
                  <a:lnTo>
                    <a:pt x="41" y="903"/>
                  </a:lnTo>
                  <a:lnTo>
                    <a:pt x="31" y="872"/>
                  </a:lnTo>
                  <a:lnTo>
                    <a:pt x="22" y="840"/>
                  </a:lnTo>
                  <a:lnTo>
                    <a:pt x="15" y="808"/>
                  </a:lnTo>
                  <a:lnTo>
                    <a:pt x="8" y="775"/>
                  </a:lnTo>
                  <a:lnTo>
                    <a:pt x="4" y="742"/>
                  </a:lnTo>
                  <a:lnTo>
                    <a:pt x="1" y="708"/>
                  </a:lnTo>
                  <a:lnTo>
                    <a:pt x="0" y="672"/>
                  </a:lnTo>
                  <a:lnTo>
                    <a:pt x="0" y="672"/>
                  </a:lnTo>
                  <a:lnTo>
                    <a:pt x="1" y="638"/>
                  </a:lnTo>
                  <a:lnTo>
                    <a:pt x="4" y="604"/>
                  </a:lnTo>
                  <a:lnTo>
                    <a:pt x="8" y="570"/>
                  </a:lnTo>
                  <a:lnTo>
                    <a:pt x="15" y="537"/>
                  </a:lnTo>
                  <a:lnTo>
                    <a:pt x="22" y="504"/>
                  </a:lnTo>
                  <a:lnTo>
                    <a:pt x="31" y="473"/>
                  </a:lnTo>
                  <a:lnTo>
                    <a:pt x="41" y="441"/>
                  </a:lnTo>
                  <a:lnTo>
                    <a:pt x="53" y="411"/>
                  </a:lnTo>
                  <a:lnTo>
                    <a:pt x="67" y="381"/>
                  </a:lnTo>
                  <a:lnTo>
                    <a:pt x="82" y="351"/>
                  </a:lnTo>
                  <a:lnTo>
                    <a:pt x="98" y="324"/>
                  </a:lnTo>
                  <a:lnTo>
                    <a:pt x="115" y="296"/>
                  </a:lnTo>
                  <a:lnTo>
                    <a:pt x="134" y="269"/>
                  </a:lnTo>
                  <a:lnTo>
                    <a:pt x="154" y="245"/>
                  </a:lnTo>
                  <a:lnTo>
                    <a:pt x="175" y="220"/>
                  </a:lnTo>
                  <a:lnTo>
                    <a:pt x="197" y="196"/>
                  </a:lnTo>
                  <a:lnTo>
                    <a:pt x="222" y="174"/>
                  </a:lnTo>
                  <a:lnTo>
                    <a:pt x="246" y="153"/>
                  </a:lnTo>
                  <a:lnTo>
                    <a:pt x="271" y="133"/>
                  </a:lnTo>
                  <a:lnTo>
                    <a:pt x="298" y="115"/>
                  </a:lnTo>
                  <a:lnTo>
                    <a:pt x="324" y="97"/>
                  </a:lnTo>
                  <a:lnTo>
                    <a:pt x="353" y="81"/>
                  </a:lnTo>
                  <a:lnTo>
                    <a:pt x="382" y="66"/>
                  </a:lnTo>
                  <a:lnTo>
                    <a:pt x="412" y="53"/>
                  </a:lnTo>
                  <a:lnTo>
                    <a:pt x="442" y="40"/>
                  </a:lnTo>
                  <a:lnTo>
                    <a:pt x="474" y="31"/>
                  </a:lnTo>
                  <a:lnTo>
                    <a:pt x="506" y="21"/>
                  </a:lnTo>
                  <a:lnTo>
                    <a:pt x="538" y="14"/>
                  </a:lnTo>
                  <a:lnTo>
                    <a:pt x="571" y="7"/>
                  </a:lnTo>
                  <a:lnTo>
                    <a:pt x="604" y="3"/>
                  </a:lnTo>
                  <a:lnTo>
                    <a:pt x="638" y="1"/>
                  </a:lnTo>
                  <a:lnTo>
                    <a:pt x="674" y="0"/>
                  </a:lnTo>
                  <a:lnTo>
                    <a:pt x="674" y="0"/>
                  </a:lnTo>
                  <a:lnTo>
                    <a:pt x="708" y="1"/>
                  </a:lnTo>
                  <a:lnTo>
                    <a:pt x="742" y="3"/>
                  </a:lnTo>
                  <a:lnTo>
                    <a:pt x="775" y="7"/>
                  </a:lnTo>
                  <a:lnTo>
                    <a:pt x="809" y="14"/>
                  </a:lnTo>
                  <a:lnTo>
                    <a:pt x="842" y="21"/>
                  </a:lnTo>
                  <a:lnTo>
                    <a:pt x="873" y="31"/>
                  </a:lnTo>
                  <a:lnTo>
                    <a:pt x="905" y="40"/>
                  </a:lnTo>
                  <a:lnTo>
                    <a:pt x="935" y="53"/>
                  </a:lnTo>
                  <a:lnTo>
                    <a:pt x="965" y="66"/>
                  </a:lnTo>
                  <a:lnTo>
                    <a:pt x="993" y="81"/>
                  </a:lnTo>
                  <a:lnTo>
                    <a:pt x="1022" y="97"/>
                  </a:lnTo>
                  <a:lnTo>
                    <a:pt x="1050" y="115"/>
                  </a:lnTo>
                  <a:lnTo>
                    <a:pt x="1075" y="133"/>
                  </a:lnTo>
                  <a:lnTo>
                    <a:pt x="1101" y="153"/>
                  </a:lnTo>
                  <a:lnTo>
                    <a:pt x="1125" y="174"/>
                  </a:lnTo>
                  <a:lnTo>
                    <a:pt x="1149" y="196"/>
                  </a:lnTo>
                  <a:lnTo>
                    <a:pt x="1171" y="220"/>
                  </a:lnTo>
                  <a:lnTo>
                    <a:pt x="1192" y="245"/>
                  </a:lnTo>
                  <a:lnTo>
                    <a:pt x="1212" y="269"/>
                  </a:lnTo>
                  <a:lnTo>
                    <a:pt x="1231" y="296"/>
                  </a:lnTo>
                  <a:lnTo>
                    <a:pt x="1249" y="324"/>
                  </a:lnTo>
                  <a:lnTo>
                    <a:pt x="1264" y="351"/>
                  </a:lnTo>
                  <a:lnTo>
                    <a:pt x="1280" y="381"/>
                  </a:lnTo>
                  <a:lnTo>
                    <a:pt x="1293" y="411"/>
                  </a:lnTo>
                  <a:lnTo>
                    <a:pt x="1305" y="441"/>
                  </a:lnTo>
                  <a:lnTo>
                    <a:pt x="1315" y="473"/>
                  </a:lnTo>
                  <a:lnTo>
                    <a:pt x="1325" y="504"/>
                  </a:lnTo>
                  <a:lnTo>
                    <a:pt x="1332" y="537"/>
                  </a:lnTo>
                  <a:lnTo>
                    <a:pt x="1338" y="570"/>
                  </a:lnTo>
                  <a:lnTo>
                    <a:pt x="1343" y="604"/>
                  </a:lnTo>
                  <a:lnTo>
                    <a:pt x="1345" y="638"/>
                  </a:lnTo>
                  <a:lnTo>
                    <a:pt x="1346" y="6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7" name="Freeform 108"/>
            <p:cNvSpPr>
              <a:spLocks noEditPoints="1"/>
            </p:cNvSpPr>
            <p:nvPr/>
          </p:nvSpPr>
          <p:spPr bwMode="auto">
            <a:xfrm>
              <a:off x="2127250" y="2938463"/>
              <a:ext cx="268288" cy="266700"/>
            </a:xfrm>
            <a:custGeom>
              <a:avLst/>
              <a:gdLst>
                <a:gd name="T0" fmla="*/ 146 w 842"/>
                <a:gd name="T1" fmla="*/ 1 h 840"/>
                <a:gd name="T2" fmla="*/ 86 w 842"/>
                <a:gd name="T3" fmla="*/ 20 h 840"/>
                <a:gd name="T4" fmla="*/ 38 w 842"/>
                <a:gd name="T5" fmla="*/ 59 h 840"/>
                <a:gd name="T6" fmla="*/ 8 w 842"/>
                <a:gd name="T7" fmla="*/ 115 h 840"/>
                <a:gd name="T8" fmla="*/ 0 w 842"/>
                <a:gd name="T9" fmla="*/ 334 h 840"/>
                <a:gd name="T10" fmla="*/ 4 w 842"/>
                <a:gd name="T11" fmla="*/ 711 h 840"/>
                <a:gd name="T12" fmla="*/ 29 w 842"/>
                <a:gd name="T13" fmla="*/ 770 h 840"/>
                <a:gd name="T14" fmla="*/ 72 w 842"/>
                <a:gd name="T15" fmla="*/ 813 h 840"/>
                <a:gd name="T16" fmla="*/ 131 w 842"/>
                <a:gd name="T17" fmla="*/ 838 h 840"/>
                <a:gd name="T18" fmla="*/ 679 w 842"/>
                <a:gd name="T19" fmla="*/ 840 h 840"/>
                <a:gd name="T20" fmla="*/ 742 w 842"/>
                <a:gd name="T21" fmla="*/ 828 h 840"/>
                <a:gd name="T22" fmla="*/ 794 w 842"/>
                <a:gd name="T23" fmla="*/ 793 h 840"/>
                <a:gd name="T24" fmla="*/ 829 w 842"/>
                <a:gd name="T25" fmla="*/ 742 h 840"/>
                <a:gd name="T26" fmla="*/ 842 w 842"/>
                <a:gd name="T27" fmla="*/ 679 h 840"/>
                <a:gd name="T28" fmla="*/ 841 w 842"/>
                <a:gd name="T29" fmla="*/ 146 h 840"/>
                <a:gd name="T30" fmla="*/ 822 w 842"/>
                <a:gd name="T31" fmla="*/ 85 h 840"/>
                <a:gd name="T32" fmla="*/ 782 w 842"/>
                <a:gd name="T33" fmla="*/ 37 h 840"/>
                <a:gd name="T34" fmla="*/ 727 w 842"/>
                <a:gd name="T35" fmla="*/ 7 h 840"/>
                <a:gd name="T36" fmla="*/ 726 w 842"/>
                <a:gd name="T37" fmla="*/ 97 h 840"/>
                <a:gd name="T38" fmla="*/ 602 w 842"/>
                <a:gd name="T39" fmla="*/ 240 h 840"/>
                <a:gd name="T40" fmla="*/ 301 w 842"/>
                <a:gd name="T41" fmla="*/ 334 h 840"/>
                <a:gd name="T42" fmla="*/ 353 w 842"/>
                <a:gd name="T43" fmla="*/ 290 h 840"/>
                <a:gd name="T44" fmla="*/ 422 w 842"/>
                <a:gd name="T45" fmla="*/ 273 h 840"/>
                <a:gd name="T46" fmla="*/ 474 w 842"/>
                <a:gd name="T47" fmla="*/ 282 h 840"/>
                <a:gd name="T48" fmla="*/ 530 w 842"/>
                <a:gd name="T49" fmla="*/ 321 h 840"/>
                <a:gd name="T50" fmla="*/ 553 w 842"/>
                <a:gd name="T51" fmla="*/ 354 h 840"/>
                <a:gd name="T52" fmla="*/ 568 w 842"/>
                <a:gd name="T53" fmla="*/ 397 h 840"/>
                <a:gd name="T54" fmla="*/ 569 w 842"/>
                <a:gd name="T55" fmla="*/ 436 h 840"/>
                <a:gd name="T56" fmla="*/ 551 w 842"/>
                <a:gd name="T57" fmla="*/ 491 h 840"/>
                <a:gd name="T58" fmla="*/ 516 w 842"/>
                <a:gd name="T59" fmla="*/ 535 h 840"/>
                <a:gd name="T60" fmla="*/ 465 w 842"/>
                <a:gd name="T61" fmla="*/ 562 h 840"/>
                <a:gd name="T62" fmla="*/ 422 w 842"/>
                <a:gd name="T63" fmla="*/ 568 h 840"/>
                <a:gd name="T64" fmla="*/ 364 w 842"/>
                <a:gd name="T65" fmla="*/ 557 h 840"/>
                <a:gd name="T66" fmla="*/ 317 w 842"/>
                <a:gd name="T67" fmla="*/ 525 h 840"/>
                <a:gd name="T68" fmla="*/ 285 w 842"/>
                <a:gd name="T69" fmla="*/ 478 h 840"/>
                <a:gd name="T70" fmla="*/ 274 w 842"/>
                <a:gd name="T71" fmla="*/ 420 h 840"/>
                <a:gd name="T72" fmla="*/ 278 w 842"/>
                <a:gd name="T73" fmla="*/ 386 h 840"/>
                <a:gd name="T74" fmla="*/ 295 w 842"/>
                <a:gd name="T75" fmla="*/ 344 h 840"/>
                <a:gd name="T76" fmla="*/ 759 w 842"/>
                <a:gd name="T77" fmla="*/ 687 h 840"/>
                <a:gd name="T78" fmla="*/ 750 w 842"/>
                <a:gd name="T79" fmla="*/ 717 h 840"/>
                <a:gd name="T80" fmla="*/ 730 w 842"/>
                <a:gd name="T81" fmla="*/ 741 h 840"/>
                <a:gd name="T82" fmla="*/ 703 w 842"/>
                <a:gd name="T83" fmla="*/ 755 h 840"/>
                <a:gd name="T84" fmla="*/ 163 w 842"/>
                <a:gd name="T85" fmla="*/ 759 h 840"/>
                <a:gd name="T86" fmla="*/ 140 w 842"/>
                <a:gd name="T87" fmla="*/ 755 h 840"/>
                <a:gd name="T88" fmla="*/ 112 w 842"/>
                <a:gd name="T89" fmla="*/ 741 h 840"/>
                <a:gd name="T90" fmla="*/ 92 w 842"/>
                <a:gd name="T91" fmla="*/ 717 h 840"/>
                <a:gd name="T92" fmla="*/ 83 w 842"/>
                <a:gd name="T93" fmla="*/ 687 h 840"/>
                <a:gd name="T94" fmla="*/ 208 w 842"/>
                <a:gd name="T95" fmla="*/ 334 h 840"/>
                <a:gd name="T96" fmla="*/ 192 w 842"/>
                <a:gd name="T97" fmla="*/ 420 h 840"/>
                <a:gd name="T98" fmla="*/ 202 w 842"/>
                <a:gd name="T99" fmla="*/ 489 h 840"/>
                <a:gd name="T100" fmla="*/ 244 w 842"/>
                <a:gd name="T101" fmla="*/ 567 h 840"/>
                <a:gd name="T102" fmla="*/ 312 w 842"/>
                <a:gd name="T103" fmla="*/ 623 h 840"/>
                <a:gd name="T104" fmla="*/ 397 w 842"/>
                <a:gd name="T105" fmla="*/ 649 h 840"/>
                <a:gd name="T106" fmla="*/ 467 w 842"/>
                <a:gd name="T107" fmla="*/ 646 h 840"/>
                <a:gd name="T108" fmla="*/ 550 w 842"/>
                <a:gd name="T109" fmla="*/ 612 h 840"/>
                <a:gd name="T110" fmla="*/ 612 w 842"/>
                <a:gd name="T111" fmla="*/ 550 h 840"/>
                <a:gd name="T112" fmla="*/ 646 w 842"/>
                <a:gd name="T113" fmla="*/ 467 h 840"/>
                <a:gd name="T114" fmla="*/ 650 w 842"/>
                <a:gd name="T115" fmla="*/ 398 h 840"/>
                <a:gd name="T116" fmla="*/ 760 w 842"/>
                <a:gd name="T117" fmla="*/ 334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2" h="840">
                  <a:moveTo>
                    <a:pt x="679" y="0"/>
                  </a:moveTo>
                  <a:lnTo>
                    <a:pt x="163" y="0"/>
                  </a:lnTo>
                  <a:lnTo>
                    <a:pt x="163" y="0"/>
                  </a:lnTo>
                  <a:lnTo>
                    <a:pt x="146" y="1"/>
                  </a:lnTo>
                  <a:lnTo>
                    <a:pt x="131" y="3"/>
                  </a:lnTo>
                  <a:lnTo>
                    <a:pt x="115" y="7"/>
                  </a:lnTo>
                  <a:lnTo>
                    <a:pt x="100" y="13"/>
                  </a:lnTo>
                  <a:lnTo>
                    <a:pt x="86" y="20"/>
                  </a:lnTo>
                  <a:lnTo>
                    <a:pt x="72" y="27"/>
                  </a:lnTo>
                  <a:lnTo>
                    <a:pt x="60" y="37"/>
                  </a:lnTo>
                  <a:lnTo>
                    <a:pt x="49" y="47"/>
                  </a:lnTo>
                  <a:lnTo>
                    <a:pt x="38" y="59"/>
                  </a:lnTo>
                  <a:lnTo>
                    <a:pt x="29" y="72"/>
                  </a:lnTo>
                  <a:lnTo>
                    <a:pt x="20" y="85"/>
                  </a:lnTo>
                  <a:lnTo>
                    <a:pt x="14" y="99"/>
                  </a:lnTo>
                  <a:lnTo>
                    <a:pt x="8" y="115"/>
                  </a:lnTo>
                  <a:lnTo>
                    <a:pt x="4" y="130"/>
                  </a:lnTo>
                  <a:lnTo>
                    <a:pt x="2" y="146"/>
                  </a:lnTo>
                  <a:lnTo>
                    <a:pt x="0" y="162"/>
                  </a:lnTo>
                  <a:lnTo>
                    <a:pt x="0" y="334"/>
                  </a:lnTo>
                  <a:lnTo>
                    <a:pt x="0" y="679"/>
                  </a:lnTo>
                  <a:lnTo>
                    <a:pt x="0" y="679"/>
                  </a:lnTo>
                  <a:lnTo>
                    <a:pt x="2" y="696"/>
                  </a:lnTo>
                  <a:lnTo>
                    <a:pt x="4" y="711"/>
                  </a:lnTo>
                  <a:lnTo>
                    <a:pt x="8" y="727"/>
                  </a:lnTo>
                  <a:lnTo>
                    <a:pt x="14" y="742"/>
                  </a:lnTo>
                  <a:lnTo>
                    <a:pt x="20" y="756"/>
                  </a:lnTo>
                  <a:lnTo>
                    <a:pt x="29" y="770"/>
                  </a:lnTo>
                  <a:lnTo>
                    <a:pt x="38" y="782"/>
                  </a:lnTo>
                  <a:lnTo>
                    <a:pt x="49" y="793"/>
                  </a:lnTo>
                  <a:lnTo>
                    <a:pt x="60" y="804"/>
                  </a:lnTo>
                  <a:lnTo>
                    <a:pt x="72" y="813"/>
                  </a:lnTo>
                  <a:lnTo>
                    <a:pt x="86" y="822"/>
                  </a:lnTo>
                  <a:lnTo>
                    <a:pt x="100" y="828"/>
                  </a:lnTo>
                  <a:lnTo>
                    <a:pt x="115" y="834"/>
                  </a:lnTo>
                  <a:lnTo>
                    <a:pt x="131" y="838"/>
                  </a:lnTo>
                  <a:lnTo>
                    <a:pt x="146" y="840"/>
                  </a:lnTo>
                  <a:lnTo>
                    <a:pt x="163" y="840"/>
                  </a:lnTo>
                  <a:lnTo>
                    <a:pt x="679" y="840"/>
                  </a:lnTo>
                  <a:lnTo>
                    <a:pt x="679" y="840"/>
                  </a:lnTo>
                  <a:lnTo>
                    <a:pt x="696" y="840"/>
                  </a:lnTo>
                  <a:lnTo>
                    <a:pt x="711" y="838"/>
                  </a:lnTo>
                  <a:lnTo>
                    <a:pt x="727" y="834"/>
                  </a:lnTo>
                  <a:lnTo>
                    <a:pt x="742" y="828"/>
                  </a:lnTo>
                  <a:lnTo>
                    <a:pt x="757" y="822"/>
                  </a:lnTo>
                  <a:lnTo>
                    <a:pt x="770" y="813"/>
                  </a:lnTo>
                  <a:lnTo>
                    <a:pt x="782" y="804"/>
                  </a:lnTo>
                  <a:lnTo>
                    <a:pt x="794" y="793"/>
                  </a:lnTo>
                  <a:lnTo>
                    <a:pt x="804" y="782"/>
                  </a:lnTo>
                  <a:lnTo>
                    <a:pt x="814" y="770"/>
                  </a:lnTo>
                  <a:lnTo>
                    <a:pt x="822" y="756"/>
                  </a:lnTo>
                  <a:lnTo>
                    <a:pt x="829" y="742"/>
                  </a:lnTo>
                  <a:lnTo>
                    <a:pt x="834" y="727"/>
                  </a:lnTo>
                  <a:lnTo>
                    <a:pt x="839" y="711"/>
                  </a:lnTo>
                  <a:lnTo>
                    <a:pt x="841" y="696"/>
                  </a:lnTo>
                  <a:lnTo>
                    <a:pt x="842" y="679"/>
                  </a:lnTo>
                  <a:lnTo>
                    <a:pt x="842" y="334"/>
                  </a:lnTo>
                  <a:lnTo>
                    <a:pt x="842" y="162"/>
                  </a:lnTo>
                  <a:lnTo>
                    <a:pt x="842" y="162"/>
                  </a:lnTo>
                  <a:lnTo>
                    <a:pt x="841" y="146"/>
                  </a:lnTo>
                  <a:lnTo>
                    <a:pt x="839" y="130"/>
                  </a:lnTo>
                  <a:lnTo>
                    <a:pt x="834" y="115"/>
                  </a:lnTo>
                  <a:lnTo>
                    <a:pt x="829" y="99"/>
                  </a:lnTo>
                  <a:lnTo>
                    <a:pt x="822" y="85"/>
                  </a:lnTo>
                  <a:lnTo>
                    <a:pt x="814" y="72"/>
                  </a:lnTo>
                  <a:lnTo>
                    <a:pt x="804" y="59"/>
                  </a:lnTo>
                  <a:lnTo>
                    <a:pt x="794" y="47"/>
                  </a:lnTo>
                  <a:lnTo>
                    <a:pt x="782" y="37"/>
                  </a:lnTo>
                  <a:lnTo>
                    <a:pt x="770" y="27"/>
                  </a:lnTo>
                  <a:lnTo>
                    <a:pt x="757" y="20"/>
                  </a:lnTo>
                  <a:lnTo>
                    <a:pt x="742" y="13"/>
                  </a:lnTo>
                  <a:lnTo>
                    <a:pt x="727" y="7"/>
                  </a:lnTo>
                  <a:lnTo>
                    <a:pt x="711" y="3"/>
                  </a:lnTo>
                  <a:lnTo>
                    <a:pt x="696" y="1"/>
                  </a:lnTo>
                  <a:lnTo>
                    <a:pt x="679" y="0"/>
                  </a:lnTo>
                  <a:close/>
                  <a:moveTo>
                    <a:pt x="726" y="97"/>
                  </a:moveTo>
                  <a:lnTo>
                    <a:pt x="745" y="97"/>
                  </a:lnTo>
                  <a:lnTo>
                    <a:pt x="745" y="116"/>
                  </a:lnTo>
                  <a:lnTo>
                    <a:pt x="745" y="240"/>
                  </a:lnTo>
                  <a:lnTo>
                    <a:pt x="602" y="240"/>
                  </a:lnTo>
                  <a:lnTo>
                    <a:pt x="602" y="97"/>
                  </a:lnTo>
                  <a:lnTo>
                    <a:pt x="726" y="97"/>
                  </a:lnTo>
                  <a:close/>
                  <a:moveTo>
                    <a:pt x="301" y="334"/>
                  </a:moveTo>
                  <a:lnTo>
                    <a:pt x="301" y="334"/>
                  </a:lnTo>
                  <a:lnTo>
                    <a:pt x="312" y="321"/>
                  </a:lnTo>
                  <a:lnTo>
                    <a:pt x="324" y="308"/>
                  </a:lnTo>
                  <a:lnTo>
                    <a:pt x="338" y="298"/>
                  </a:lnTo>
                  <a:lnTo>
                    <a:pt x="353" y="290"/>
                  </a:lnTo>
                  <a:lnTo>
                    <a:pt x="369" y="282"/>
                  </a:lnTo>
                  <a:lnTo>
                    <a:pt x="385" y="277"/>
                  </a:lnTo>
                  <a:lnTo>
                    <a:pt x="403" y="274"/>
                  </a:lnTo>
                  <a:lnTo>
                    <a:pt x="422" y="273"/>
                  </a:lnTo>
                  <a:lnTo>
                    <a:pt x="422" y="273"/>
                  </a:lnTo>
                  <a:lnTo>
                    <a:pt x="439" y="274"/>
                  </a:lnTo>
                  <a:lnTo>
                    <a:pt x="457" y="277"/>
                  </a:lnTo>
                  <a:lnTo>
                    <a:pt x="474" y="282"/>
                  </a:lnTo>
                  <a:lnTo>
                    <a:pt x="489" y="290"/>
                  </a:lnTo>
                  <a:lnTo>
                    <a:pt x="505" y="298"/>
                  </a:lnTo>
                  <a:lnTo>
                    <a:pt x="518" y="308"/>
                  </a:lnTo>
                  <a:lnTo>
                    <a:pt x="530" y="321"/>
                  </a:lnTo>
                  <a:lnTo>
                    <a:pt x="541" y="334"/>
                  </a:lnTo>
                  <a:lnTo>
                    <a:pt x="541" y="334"/>
                  </a:lnTo>
                  <a:lnTo>
                    <a:pt x="548" y="344"/>
                  </a:lnTo>
                  <a:lnTo>
                    <a:pt x="553" y="354"/>
                  </a:lnTo>
                  <a:lnTo>
                    <a:pt x="558" y="364"/>
                  </a:lnTo>
                  <a:lnTo>
                    <a:pt x="562" y="375"/>
                  </a:lnTo>
                  <a:lnTo>
                    <a:pt x="565" y="386"/>
                  </a:lnTo>
                  <a:lnTo>
                    <a:pt x="568" y="397"/>
                  </a:lnTo>
                  <a:lnTo>
                    <a:pt x="569" y="409"/>
                  </a:lnTo>
                  <a:lnTo>
                    <a:pt x="569" y="420"/>
                  </a:lnTo>
                  <a:lnTo>
                    <a:pt x="569" y="420"/>
                  </a:lnTo>
                  <a:lnTo>
                    <a:pt x="569" y="436"/>
                  </a:lnTo>
                  <a:lnTo>
                    <a:pt x="567" y="450"/>
                  </a:lnTo>
                  <a:lnTo>
                    <a:pt x="562" y="464"/>
                  </a:lnTo>
                  <a:lnTo>
                    <a:pt x="558" y="478"/>
                  </a:lnTo>
                  <a:lnTo>
                    <a:pt x="551" y="491"/>
                  </a:lnTo>
                  <a:lnTo>
                    <a:pt x="543" y="503"/>
                  </a:lnTo>
                  <a:lnTo>
                    <a:pt x="536" y="514"/>
                  </a:lnTo>
                  <a:lnTo>
                    <a:pt x="526" y="525"/>
                  </a:lnTo>
                  <a:lnTo>
                    <a:pt x="516" y="535"/>
                  </a:lnTo>
                  <a:lnTo>
                    <a:pt x="504" y="543"/>
                  </a:lnTo>
                  <a:lnTo>
                    <a:pt x="491" y="551"/>
                  </a:lnTo>
                  <a:lnTo>
                    <a:pt x="479" y="557"/>
                  </a:lnTo>
                  <a:lnTo>
                    <a:pt x="465" y="562"/>
                  </a:lnTo>
                  <a:lnTo>
                    <a:pt x="450" y="565"/>
                  </a:lnTo>
                  <a:lnTo>
                    <a:pt x="436" y="567"/>
                  </a:lnTo>
                  <a:lnTo>
                    <a:pt x="422" y="568"/>
                  </a:lnTo>
                  <a:lnTo>
                    <a:pt x="422" y="568"/>
                  </a:lnTo>
                  <a:lnTo>
                    <a:pt x="406" y="567"/>
                  </a:lnTo>
                  <a:lnTo>
                    <a:pt x="392" y="565"/>
                  </a:lnTo>
                  <a:lnTo>
                    <a:pt x="378" y="562"/>
                  </a:lnTo>
                  <a:lnTo>
                    <a:pt x="364" y="557"/>
                  </a:lnTo>
                  <a:lnTo>
                    <a:pt x="351" y="551"/>
                  </a:lnTo>
                  <a:lnTo>
                    <a:pt x="339" y="543"/>
                  </a:lnTo>
                  <a:lnTo>
                    <a:pt x="327" y="535"/>
                  </a:lnTo>
                  <a:lnTo>
                    <a:pt x="317" y="525"/>
                  </a:lnTo>
                  <a:lnTo>
                    <a:pt x="307" y="514"/>
                  </a:lnTo>
                  <a:lnTo>
                    <a:pt x="299" y="503"/>
                  </a:lnTo>
                  <a:lnTo>
                    <a:pt x="291" y="491"/>
                  </a:lnTo>
                  <a:lnTo>
                    <a:pt x="285" y="478"/>
                  </a:lnTo>
                  <a:lnTo>
                    <a:pt x="280" y="464"/>
                  </a:lnTo>
                  <a:lnTo>
                    <a:pt x="276" y="450"/>
                  </a:lnTo>
                  <a:lnTo>
                    <a:pt x="274" y="436"/>
                  </a:lnTo>
                  <a:lnTo>
                    <a:pt x="274" y="420"/>
                  </a:lnTo>
                  <a:lnTo>
                    <a:pt x="274" y="420"/>
                  </a:lnTo>
                  <a:lnTo>
                    <a:pt x="274" y="409"/>
                  </a:lnTo>
                  <a:lnTo>
                    <a:pt x="275" y="397"/>
                  </a:lnTo>
                  <a:lnTo>
                    <a:pt x="278" y="386"/>
                  </a:lnTo>
                  <a:lnTo>
                    <a:pt x="280" y="375"/>
                  </a:lnTo>
                  <a:lnTo>
                    <a:pt x="285" y="364"/>
                  </a:lnTo>
                  <a:lnTo>
                    <a:pt x="289" y="354"/>
                  </a:lnTo>
                  <a:lnTo>
                    <a:pt x="295" y="344"/>
                  </a:lnTo>
                  <a:lnTo>
                    <a:pt x="301" y="334"/>
                  </a:lnTo>
                  <a:close/>
                  <a:moveTo>
                    <a:pt x="760" y="679"/>
                  </a:moveTo>
                  <a:lnTo>
                    <a:pt x="760" y="679"/>
                  </a:lnTo>
                  <a:lnTo>
                    <a:pt x="759" y="687"/>
                  </a:lnTo>
                  <a:lnTo>
                    <a:pt x="758" y="694"/>
                  </a:lnTo>
                  <a:lnTo>
                    <a:pt x="756" y="702"/>
                  </a:lnTo>
                  <a:lnTo>
                    <a:pt x="753" y="710"/>
                  </a:lnTo>
                  <a:lnTo>
                    <a:pt x="750" y="717"/>
                  </a:lnTo>
                  <a:lnTo>
                    <a:pt x="746" y="723"/>
                  </a:lnTo>
                  <a:lnTo>
                    <a:pt x="741" y="730"/>
                  </a:lnTo>
                  <a:lnTo>
                    <a:pt x="736" y="735"/>
                  </a:lnTo>
                  <a:lnTo>
                    <a:pt x="730" y="741"/>
                  </a:lnTo>
                  <a:lnTo>
                    <a:pt x="724" y="745"/>
                  </a:lnTo>
                  <a:lnTo>
                    <a:pt x="717" y="750"/>
                  </a:lnTo>
                  <a:lnTo>
                    <a:pt x="710" y="753"/>
                  </a:lnTo>
                  <a:lnTo>
                    <a:pt x="703" y="755"/>
                  </a:lnTo>
                  <a:lnTo>
                    <a:pt x="695" y="758"/>
                  </a:lnTo>
                  <a:lnTo>
                    <a:pt x="687" y="759"/>
                  </a:lnTo>
                  <a:lnTo>
                    <a:pt x="679" y="759"/>
                  </a:lnTo>
                  <a:lnTo>
                    <a:pt x="163" y="759"/>
                  </a:lnTo>
                  <a:lnTo>
                    <a:pt x="163" y="759"/>
                  </a:lnTo>
                  <a:lnTo>
                    <a:pt x="155" y="759"/>
                  </a:lnTo>
                  <a:lnTo>
                    <a:pt x="148" y="758"/>
                  </a:lnTo>
                  <a:lnTo>
                    <a:pt x="140" y="755"/>
                  </a:lnTo>
                  <a:lnTo>
                    <a:pt x="132" y="753"/>
                  </a:lnTo>
                  <a:lnTo>
                    <a:pt x="125" y="750"/>
                  </a:lnTo>
                  <a:lnTo>
                    <a:pt x="119" y="745"/>
                  </a:lnTo>
                  <a:lnTo>
                    <a:pt x="112" y="741"/>
                  </a:lnTo>
                  <a:lnTo>
                    <a:pt x="107" y="735"/>
                  </a:lnTo>
                  <a:lnTo>
                    <a:pt x="101" y="730"/>
                  </a:lnTo>
                  <a:lnTo>
                    <a:pt x="97" y="723"/>
                  </a:lnTo>
                  <a:lnTo>
                    <a:pt x="92" y="717"/>
                  </a:lnTo>
                  <a:lnTo>
                    <a:pt x="89" y="710"/>
                  </a:lnTo>
                  <a:lnTo>
                    <a:pt x="87" y="702"/>
                  </a:lnTo>
                  <a:lnTo>
                    <a:pt x="85" y="694"/>
                  </a:lnTo>
                  <a:lnTo>
                    <a:pt x="83" y="687"/>
                  </a:lnTo>
                  <a:lnTo>
                    <a:pt x="83" y="679"/>
                  </a:lnTo>
                  <a:lnTo>
                    <a:pt x="83" y="334"/>
                  </a:lnTo>
                  <a:lnTo>
                    <a:pt x="208" y="334"/>
                  </a:lnTo>
                  <a:lnTo>
                    <a:pt x="208" y="334"/>
                  </a:lnTo>
                  <a:lnTo>
                    <a:pt x="201" y="355"/>
                  </a:lnTo>
                  <a:lnTo>
                    <a:pt x="196" y="376"/>
                  </a:lnTo>
                  <a:lnTo>
                    <a:pt x="193" y="398"/>
                  </a:lnTo>
                  <a:lnTo>
                    <a:pt x="192" y="420"/>
                  </a:lnTo>
                  <a:lnTo>
                    <a:pt x="192" y="420"/>
                  </a:lnTo>
                  <a:lnTo>
                    <a:pt x="193" y="444"/>
                  </a:lnTo>
                  <a:lnTo>
                    <a:pt x="196" y="467"/>
                  </a:lnTo>
                  <a:lnTo>
                    <a:pt x="202" y="489"/>
                  </a:lnTo>
                  <a:lnTo>
                    <a:pt x="209" y="510"/>
                  </a:lnTo>
                  <a:lnTo>
                    <a:pt x="219" y="530"/>
                  </a:lnTo>
                  <a:lnTo>
                    <a:pt x="230" y="550"/>
                  </a:lnTo>
                  <a:lnTo>
                    <a:pt x="244" y="567"/>
                  </a:lnTo>
                  <a:lnTo>
                    <a:pt x="259" y="583"/>
                  </a:lnTo>
                  <a:lnTo>
                    <a:pt x="275" y="598"/>
                  </a:lnTo>
                  <a:lnTo>
                    <a:pt x="292" y="612"/>
                  </a:lnTo>
                  <a:lnTo>
                    <a:pt x="312" y="623"/>
                  </a:lnTo>
                  <a:lnTo>
                    <a:pt x="332" y="633"/>
                  </a:lnTo>
                  <a:lnTo>
                    <a:pt x="353" y="640"/>
                  </a:lnTo>
                  <a:lnTo>
                    <a:pt x="375" y="646"/>
                  </a:lnTo>
                  <a:lnTo>
                    <a:pt x="397" y="649"/>
                  </a:lnTo>
                  <a:lnTo>
                    <a:pt x="422" y="650"/>
                  </a:lnTo>
                  <a:lnTo>
                    <a:pt x="422" y="650"/>
                  </a:lnTo>
                  <a:lnTo>
                    <a:pt x="445" y="649"/>
                  </a:lnTo>
                  <a:lnTo>
                    <a:pt x="467" y="646"/>
                  </a:lnTo>
                  <a:lnTo>
                    <a:pt x="489" y="640"/>
                  </a:lnTo>
                  <a:lnTo>
                    <a:pt x="510" y="633"/>
                  </a:lnTo>
                  <a:lnTo>
                    <a:pt x="531" y="623"/>
                  </a:lnTo>
                  <a:lnTo>
                    <a:pt x="550" y="612"/>
                  </a:lnTo>
                  <a:lnTo>
                    <a:pt x="568" y="598"/>
                  </a:lnTo>
                  <a:lnTo>
                    <a:pt x="583" y="583"/>
                  </a:lnTo>
                  <a:lnTo>
                    <a:pt x="599" y="567"/>
                  </a:lnTo>
                  <a:lnTo>
                    <a:pt x="612" y="550"/>
                  </a:lnTo>
                  <a:lnTo>
                    <a:pt x="623" y="530"/>
                  </a:lnTo>
                  <a:lnTo>
                    <a:pt x="633" y="510"/>
                  </a:lnTo>
                  <a:lnTo>
                    <a:pt x="641" y="489"/>
                  </a:lnTo>
                  <a:lnTo>
                    <a:pt x="646" y="467"/>
                  </a:lnTo>
                  <a:lnTo>
                    <a:pt x="650" y="444"/>
                  </a:lnTo>
                  <a:lnTo>
                    <a:pt x="651" y="420"/>
                  </a:lnTo>
                  <a:lnTo>
                    <a:pt x="651" y="420"/>
                  </a:lnTo>
                  <a:lnTo>
                    <a:pt x="650" y="398"/>
                  </a:lnTo>
                  <a:lnTo>
                    <a:pt x="646" y="376"/>
                  </a:lnTo>
                  <a:lnTo>
                    <a:pt x="642" y="355"/>
                  </a:lnTo>
                  <a:lnTo>
                    <a:pt x="634" y="334"/>
                  </a:lnTo>
                  <a:lnTo>
                    <a:pt x="760" y="334"/>
                  </a:lnTo>
                  <a:lnTo>
                    <a:pt x="760" y="6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8" name="Freeform 109"/>
            <p:cNvSpPr>
              <a:spLocks/>
            </p:cNvSpPr>
            <p:nvPr/>
          </p:nvSpPr>
          <p:spPr bwMode="auto">
            <a:xfrm>
              <a:off x="2127250" y="2938463"/>
              <a:ext cx="268288" cy="266700"/>
            </a:xfrm>
            <a:custGeom>
              <a:avLst/>
              <a:gdLst>
                <a:gd name="T0" fmla="*/ 163 w 842"/>
                <a:gd name="T1" fmla="*/ 0 h 840"/>
                <a:gd name="T2" fmla="*/ 146 w 842"/>
                <a:gd name="T3" fmla="*/ 1 h 840"/>
                <a:gd name="T4" fmla="*/ 115 w 842"/>
                <a:gd name="T5" fmla="*/ 7 h 840"/>
                <a:gd name="T6" fmla="*/ 86 w 842"/>
                <a:gd name="T7" fmla="*/ 20 h 840"/>
                <a:gd name="T8" fmla="*/ 60 w 842"/>
                <a:gd name="T9" fmla="*/ 37 h 840"/>
                <a:gd name="T10" fmla="*/ 38 w 842"/>
                <a:gd name="T11" fmla="*/ 59 h 840"/>
                <a:gd name="T12" fmla="*/ 20 w 842"/>
                <a:gd name="T13" fmla="*/ 85 h 840"/>
                <a:gd name="T14" fmla="*/ 8 w 842"/>
                <a:gd name="T15" fmla="*/ 115 h 840"/>
                <a:gd name="T16" fmla="*/ 2 w 842"/>
                <a:gd name="T17" fmla="*/ 146 h 840"/>
                <a:gd name="T18" fmla="*/ 0 w 842"/>
                <a:gd name="T19" fmla="*/ 334 h 840"/>
                <a:gd name="T20" fmla="*/ 0 w 842"/>
                <a:gd name="T21" fmla="*/ 679 h 840"/>
                <a:gd name="T22" fmla="*/ 4 w 842"/>
                <a:gd name="T23" fmla="*/ 711 h 840"/>
                <a:gd name="T24" fmla="*/ 14 w 842"/>
                <a:gd name="T25" fmla="*/ 742 h 840"/>
                <a:gd name="T26" fmla="*/ 29 w 842"/>
                <a:gd name="T27" fmla="*/ 770 h 840"/>
                <a:gd name="T28" fmla="*/ 49 w 842"/>
                <a:gd name="T29" fmla="*/ 793 h 840"/>
                <a:gd name="T30" fmla="*/ 72 w 842"/>
                <a:gd name="T31" fmla="*/ 813 h 840"/>
                <a:gd name="T32" fmla="*/ 100 w 842"/>
                <a:gd name="T33" fmla="*/ 828 h 840"/>
                <a:gd name="T34" fmla="*/ 131 w 842"/>
                <a:gd name="T35" fmla="*/ 838 h 840"/>
                <a:gd name="T36" fmla="*/ 163 w 842"/>
                <a:gd name="T37" fmla="*/ 840 h 840"/>
                <a:gd name="T38" fmla="*/ 679 w 842"/>
                <a:gd name="T39" fmla="*/ 840 h 840"/>
                <a:gd name="T40" fmla="*/ 711 w 842"/>
                <a:gd name="T41" fmla="*/ 838 h 840"/>
                <a:gd name="T42" fmla="*/ 742 w 842"/>
                <a:gd name="T43" fmla="*/ 828 h 840"/>
                <a:gd name="T44" fmla="*/ 770 w 842"/>
                <a:gd name="T45" fmla="*/ 813 h 840"/>
                <a:gd name="T46" fmla="*/ 794 w 842"/>
                <a:gd name="T47" fmla="*/ 793 h 840"/>
                <a:gd name="T48" fmla="*/ 814 w 842"/>
                <a:gd name="T49" fmla="*/ 770 h 840"/>
                <a:gd name="T50" fmla="*/ 829 w 842"/>
                <a:gd name="T51" fmla="*/ 742 h 840"/>
                <a:gd name="T52" fmla="*/ 839 w 842"/>
                <a:gd name="T53" fmla="*/ 711 h 840"/>
                <a:gd name="T54" fmla="*/ 842 w 842"/>
                <a:gd name="T55" fmla="*/ 679 h 840"/>
                <a:gd name="T56" fmla="*/ 842 w 842"/>
                <a:gd name="T57" fmla="*/ 162 h 840"/>
                <a:gd name="T58" fmla="*/ 841 w 842"/>
                <a:gd name="T59" fmla="*/ 146 h 840"/>
                <a:gd name="T60" fmla="*/ 834 w 842"/>
                <a:gd name="T61" fmla="*/ 115 h 840"/>
                <a:gd name="T62" fmla="*/ 822 w 842"/>
                <a:gd name="T63" fmla="*/ 85 h 840"/>
                <a:gd name="T64" fmla="*/ 804 w 842"/>
                <a:gd name="T65" fmla="*/ 59 h 840"/>
                <a:gd name="T66" fmla="*/ 782 w 842"/>
                <a:gd name="T67" fmla="*/ 37 h 840"/>
                <a:gd name="T68" fmla="*/ 757 w 842"/>
                <a:gd name="T69" fmla="*/ 20 h 840"/>
                <a:gd name="T70" fmla="*/ 727 w 842"/>
                <a:gd name="T71" fmla="*/ 7 h 840"/>
                <a:gd name="T72" fmla="*/ 696 w 842"/>
                <a:gd name="T73" fmla="*/ 1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2" h="840">
                  <a:moveTo>
                    <a:pt x="679" y="0"/>
                  </a:moveTo>
                  <a:lnTo>
                    <a:pt x="163" y="0"/>
                  </a:lnTo>
                  <a:lnTo>
                    <a:pt x="163" y="0"/>
                  </a:lnTo>
                  <a:lnTo>
                    <a:pt x="146" y="1"/>
                  </a:lnTo>
                  <a:lnTo>
                    <a:pt x="131" y="3"/>
                  </a:lnTo>
                  <a:lnTo>
                    <a:pt x="115" y="7"/>
                  </a:lnTo>
                  <a:lnTo>
                    <a:pt x="100" y="13"/>
                  </a:lnTo>
                  <a:lnTo>
                    <a:pt x="86" y="20"/>
                  </a:lnTo>
                  <a:lnTo>
                    <a:pt x="72" y="27"/>
                  </a:lnTo>
                  <a:lnTo>
                    <a:pt x="60" y="37"/>
                  </a:lnTo>
                  <a:lnTo>
                    <a:pt x="49" y="47"/>
                  </a:lnTo>
                  <a:lnTo>
                    <a:pt x="38" y="59"/>
                  </a:lnTo>
                  <a:lnTo>
                    <a:pt x="29" y="72"/>
                  </a:lnTo>
                  <a:lnTo>
                    <a:pt x="20" y="85"/>
                  </a:lnTo>
                  <a:lnTo>
                    <a:pt x="14" y="99"/>
                  </a:lnTo>
                  <a:lnTo>
                    <a:pt x="8" y="115"/>
                  </a:lnTo>
                  <a:lnTo>
                    <a:pt x="4" y="130"/>
                  </a:lnTo>
                  <a:lnTo>
                    <a:pt x="2" y="146"/>
                  </a:lnTo>
                  <a:lnTo>
                    <a:pt x="0" y="162"/>
                  </a:lnTo>
                  <a:lnTo>
                    <a:pt x="0" y="334"/>
                  </a:lnTo>
                  <a:lnTo>
                    <a:pt x="0" y="679"/>
                  </a:lnTo>
                  <a:lnTo>
                    <a:pt x="0" y="679"/>
                  </a:lnTo>
                  <a:lnTo>
                    <a:pt x="2" y="696"/>
                  </a:lnTo>
                  <a:lnTo>
                    <a:pt x="4" y="711"/>
                  </a:lnTo>
                  <a:lnTo>
                    <a:pt x="8" y="727"/>
                  </a:lnTo>
                  <a:lnTo>
                    <a:pt x="14" y="742"/>
                  </a:lnTo>
                  <a:lnTo>
                    <a:pt x="20" y="756"/>
                  </a:lnTo>
                  <a:lnTo>
                    <a:pt x="29" y="770"/>
                  </a:lnTo>
                  <a:lnTo>
                    <a:pt x="38" y="782"/>
                  </a:lnTo>
                  <a:lnTo>
                    <a:pt x="49" y="793"/>
                  </a:lnTo>
                  <a:lnTo>
                    <a:pt x="60" y="804"/>
                  </a:lnTo>
                  <a:lnTo>
                    <a:pt x="72" y="813"/>
                  </a:lnTo>
                  <a:lnTo>
                    <a:pt x="86" y="822"/>
                  </a:lnTo>
                  <a:lnTo>
                    <a:pt x="100" y="828"/>
                  </a:lnTo>
                  <a:lnTo>
                    <a:pt x="115" y="834"/>
                  </a:lnTo>
                  <a:lnTo>
                    <a:pt x="131" y="838"/>
                  </a:lnTo>
                  <a:lnTo>
                    <a:pt x="146" y="840"/>
                  </a:lnTo>
                  <a:lnTo>
                    <a:pt x="163" y="840"/>
                  </a:lnTo>
                  <a:lnTo>
                    <a:pt x="679" y="840"/>
                  </a:lnTo>
                  <a:lnTo>
                    <a:pt x="679" y="840"/>
                  </a:lnTo>
                  <a:lnTo>
                    <a:pt x="696" y="840"/>
                  </a:lnTo>
                  <a:lnTo>
                    <a:pt x="711" y="838"/>
                  </a:lnTo>
                  <a:lnTo>
                    <a:pt x="727" y="834"/>
                  </a:lnTo>
                  <a:lnTo>
                    <a:pt x="742" y="828"/>
                  </a:lnTo>
                  <a:lnTo>
                    <a:pt x="757" y="822"/>
                  </a:lnTo>
                  <a:lnTo>
                    <a:pt x="770" y="813"/>
                  </a:lnTo>
                  <a:lnTo>
                    <a:pt x="782" y="804"/>
                  </a:lnTo>
                  <a:lnTo>
                    <a:pt x="794" y="793"/>
                  </a:lnTo>
                  <a:lnTo>
                    <a:pt x="804" y="782"/>
                  </a:lnTo>
                  <a:lnTo>
                    <a:pt x="814" y="770"/>
                  </a:lnTo>
                  <a:lnTo>
                    <a:pt x="822" y="756"/>
                  </a:lnTo>
                  <a:lnTo>
                    <a:pt x="829" y="742"/>
                  </a:lnTo>
                  <a:lnTo>
                    <a:pt x="834" y="727"/>
                  </a:lnTo>
                  <a:lnTo>
                    <a:pt x="839" y="711"/>
                  </a:lnTo>
                  <a:lnTo>
                    <a:pt x="841" y="696"/>
                  </a:lnTo>
                  <a:lnTo>
                    <a:pt x="842" y="679"/>
                  </a:lnTo>
                  <a:lnTo>
                    <a:pt x="842" y="334"/>
                  </a:lnTo>
                  <a:lnTo>
                    <a:pt x="842" y="162"/>
                  </a:lnTo>
                  <a:lnTo>
                    <a:pt x="842" y="162"/>
                  </a:lnTo>
                  <a:lnTo>
                    <a:pt x="841" y="146"/>
                  </a:lnTo>
                  <a:lnTo>
                    <a:pt x="839" y="130"/>
                  </a:lnTo>
                  <a:lnTo>
                    <a:pt x="834" y="115"/>
                  </a:lnTo>
                  <a:lnTo>
                    <a:pt x="829" y="99"/>
                  </a:lnTo>
                  <a:lnTo>
                    <a:pt x="822" y="85"/>
                  </a:lnTo>
                  <a:lnTo>
                    <a:pt x="814" y="72"/>
                  </a:lnTo>
                  <a:lnTo>
                    <a:pt x="804" y="59"/>
                  </a:lnTo>
                  <a:lnTo>
                    <a:pt x="794" y="47"/>
                  </a:lnTo>
                  <a:lnTo>
                    <a:pt x="782" y="37"/>
                  </a:lnTo>
                  <a:lnTo>
                    <a:pt x="770" y="27"/>
                  </a:lnTo>
                  <a:lnTo>
                    <a:pt x="757" y="20"/>
                  </a:lnTo>
                  <a:lnTo>
                    <a:pt x="742" y="13"/>
                  </a:lnTo>
                  <a:lnTo>
                    <a:pt x="727" y="7"/>
                  </a:lnTo>
                  <a:lnTo>
                    <a:pt x="711" y="3"/>
                  </a:lnTo>
                  <a:lnTo>
                    <a:pt x="696" y="1"/>
                  </a:lnTo>
                  <a:lnTo>
                    <a:pt x="6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9" name="Freeform 110"/>
            <p:cNvSpPr>
              <a:spLocks/>
            </p:cNvSpPr>
            <p:nvPr/>
          </p:nvSpPr>
          <p:spPr bwMode="auto">
            <a:xfrm>
              <a:off x="2319338" y="2970213"/>
              <a:ext cx="44450" cy="44450"/>
            </a:xfrm>
            <a:custGeom>
              <a:avLst/>
              <a:gdLst>
                <a:gd name="T0" fmla="*/ 124 w 143"/>
                <a:gd name="T1" fmla="*/ 0 h 143"/>
                <a:gd name="T2" fmla="*/ 143 w 143"/>
                <a:gd name="T3" fmla="*/ 0 h 143"/>
                <a:gd name="T4" fmla="*/ 143 w 143"/>
                <a:gd name="T5" fmla="*/ 19 h 143"/>
                <a:gd name="T6" fmla="*/ 143 w 143"/>
                <a:gd name="T7" fmla="*/ 143 h 143"/>
                <a:gd name="T8" fmla="*/ 0 w 143"/>
                <a:gd name="T9" fmla="*/ 143 h 143"/>
                <a:gd name="T10" fmla="*/ 0 w 143"/>
                <a:gd name="T11" fmla="*/ 0 h 143"/>
                <a:gd name="T12" fmla="*/ 124 w 143"/>
                <a:gd name="T13" fmla="*/ 0 h 143"/>
              </a:gdLst>
              <a:ahLst/>
              <a:cxnLst>
                <a:cxn ang="0">
                  <a:pos x="T0" y="T1"/>
                </a:cxn>
                <a:cxn ang="0">
                  <a:pos x="T2" y="T3"/>
                </a:cxn>
                <a:cxn ang="0">
                  <a:pos x="T4" y="T5"/>
                </a:cxn>
                <a:cxn ang="0">
                  <a:pos x="T6" y="T7"/>
                </a:cxn>
                <a:cxn ang="0">
                  <a:pos x="T8" y="T9"/>
                </a:cxn>
                <a:cxn ang="0">
                  <a:pos x="T10" y="T11"/>
                </a:cxn>
                <a:cxn ang="0">
                  <a:pos x="T12" y="T13"/>
                </a:cxn>
              </a:cxnLst>
              <a:rect l="0" t="0" r="r" b="b"/>
              <a:pathLst>
                <a:path w="143" h="143">
                  <a:moveTo>
                    <a:pt x="124" y="0"/>
                  </a:moveTo>
                  <a:lnTo>
                    <a:pt x="143" y="0"/>
                  </a:lnTo>
                  <a:lnTo>
                    <a:pt x="143" y="19"/>
                  </a:lnTo>
                  <a:lnTo>
                    <a:pt x="143" y="143"/>
                  </a:lnTo>
                  <a:lnTo>
                    <a:pt x="0" y="143"/>
                  </a:lnTo>
                  <a:lnTo>
                    <a:pt x="0" y="0"/>
                  </a:lnTo>
                  <a:lnTo>
                    <a:pt x="1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0" name="Freeform 111"/>
            <p:cNvSpPr>
              <a:spLocks/>
            </p:cNvSpPr>
            <p:nvPr/>
          </p:nvSpPr>
          <p:spPr bwMode="auto">
            <a:xfrm>
              <a:off x="2214563" y="3025776"/>
              <a:ext cx="93663" cy="93663"/>
            </a:xfrm>
            <a:custGeom>
              <a:avLst/>
              <a:gdLst>
                <a:gd name="T0" fmla="*/ 27 w 295"/>
                <a:gd name="T1" fmla="*/ 61 h 295"/>
                <a:gd name="T2" fmla="*/ 50 w 295"/>
                <a:gd name="T3" fmla="*/ 35 h 295"/>
                <a:gd name="T4" fmla="*/ 79 w 295"/>
                <a:gd name="T5" fmla="*/ 17 h 295"/>
                <a:gd name="T6" fmla="*/ 111 w 295"/>
                <a:gd name="T7" fmla="*/ 4 h 295"/>
                <a:gd name="T8" fmla="*/ 148 w 295"/>
                <a:gd name="T9" fmla="*/ 0 h 295"/>
                <a:gd name="T10" fmla="*/ 165 w 295"/>
                <a:gd name="T11" fmla="*/ 1 h 295"/>
                <a:gd name="T12" fmla="*/ 200 w 295"/>
                <a:gd name="T13" fmla="*/ 9 h 295"/>
                <a:gd name="T14" fmla="*/ 231 w 295"/>
                <a:gd name="T15" fmla="*/ 25 h 295"/>
                <a:gd name="T16" fmla="*/ 256 w 295"/>
                <a:gd name="T17" fmla="*/ 48 h 295"/>
                <a:gd name="T18" fmla="*/ 267 w 295"/>
                <a:gd name="T19" fmla="*/ 61 h 295"/>
                <a:gd name="T20" fmla="*/ 279 w 295"/>
                <a:gd name="T21" fmla="*/ 81 h 295"/>
                <a:gd name="T22" fmla="*/ 288 w 295"/>
                <a:gd name="T23" fmla="*/ 102 h 295"/>
                <a:gd name="T24" fmla="*/ 294 w 295"/>
                <a:gd name="T25" fmla="*/ 124 h 295"/>
                <a:gd name="T26" fmla="*/ 295 w 295"/>
                <a:gd name="T27" fmla="*/ 147 h 295"/>
                <a:gd name="T28" fmla="*/ 295 w 295"/>
                <a:gd name="T29" fmla="*/ 163 h 295"/>
                <a:gd name="T30" fmla="*/ 288 w 295"/>
                <a:gd name="T31" fmla="*/ 191 h 295"/>
                <a:gd name="T32" fmla="*/ 277 w 295"/>
                <a:gd name="T33" fmla="*/ 218 h 295"/>
                <a:gd name="T34" fmla="*/ 262 w 295"/>
                <a:gd name="T35" fmla="*/ 241 h 295"/>
                <a:gd name="T36" fmla="*/ 242 w 295"/>
                <a:gd name="T37" fmla="*/ 262 h 295"/>
                <a:gd name="T38" fmla="*/ 217 w 295"/>
                <a:gd name="T39" fmla="*/ 278 h 295"/>
                <a:gd name="T40" fmla="*/ 191 w 295"/>
                <a:gd name="T41" fmla="*/ 289 h 295"/>
                <a:gd name="T42" fmla="*/ 162 w 295"/>
                <a:gd name="T43" fmla="*/ 294 h 295"/>
                <a:gd name="T44" fmla="*/ 148 w 295"/>
                <a:gd name="T45" fmla="*/ 295 h 295"/>
                <a:gd name="T46" fmla="*/ 118 w 295"/>
                <a:gd name="T47" fmla="*/ 292 h 295"/>
                <a:gd name="T48" fmla="*/ 90 w 295"/>
                <a:gd name="T49" fmla="*/ 284 h 295"/>
                <a:gd name="T50" fmla="*/ 65 w 295"/>
                <a:gd name="T51" fmla="*/ 270 h 295"/>
                <a:gd name="T52" fmla="*/ 43 w 295"/>
                <a:gd name="T53" fmla="*/ 252 h 295"/>
                <a:gd name="T54" fmla="*/ 25 w 295"/>
                <a:gd name="T55" fmla="*/ 230 h 295"/>
                <a:gd name="T56" fmla="*/ 11 w 295"/>
                <a:gd name="T57" fmla="*/ 205 h 295"/>
                <a:gd name="T58" fmla="*/ 2 w 295"/>
                <a:gd name="T59" fmla="*/ 177 h 295"/>
                <a:gd name="T60" fmla="*/ 0 w 295"/>
                <a:gd name="T61" fmla="*/ 147 h 295"/>
                <a:gd name="T62" fmla="*/ 0 w 295"/>
                <a:gd name="T63" fmla="*/ 136 h 295"/>
                <a:gd name="T64" fmla="*/ 4 w 295"/>
                <a:gd name="T65" fmla="*/ 113 h 295"/>
                <a:gd name="T66" fmla="*/ 11 w 295"/>
                <a:gd name="T67" fmla="*/ 91 h 295"/>
                <a:gd name="T68" fmla="*/ 21 w 295"/>
                <a:gd name="T69" fmla="*/ 71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5" h="295">
                  <a:moveTo>
                    <a:pt x="27" y="61"/>
                  </a:moveTo>
                  <a:lnTo>
                    <a:pt x="27" y="61"/>
                  </a:lnTo>
                  <a:lnTo>
                    <a:pt x="38" y="48"/>
                  </a:lnTo>
                  <a:lnTo>
                    <a:pt x="50" y="35"/>
                  </a:lnTo>
                  <a:lnTo>
                    <a:pt x="64" y="25"/>
                  </a:lnTo>
                  <a:lnTo>
                    <a:pt x="79" y="17"/>
                  </a:lnTo>
                  <a:lnTo>
                    <a:pt x="95" y="9"/>
                  </a:lnTo>
                  <a:lnTo>
                    <a:pt x="111" y="4"/>
                  </a:lnTo>
                  <a:lnTo>
                    <a:pt x="129" y="1"/>
                  </a:lnTo>
                  <a:lnTo>
                    <a:pt x="148" y="0"/>
                  </a:lnTo>
                  <a:lnTo>
                    <a:pt x="148" y="0"/>
                  </a:lnTo>
                  <a:lnTo>
                    <a:pt x="165" y="1"/>
                  </a:lnTo>
                  <a:lnTo>
                    <a:pt x="183" y="4"/>
                  </a:lnTo>
                  <a:lnTo>
                    <a:pt x="200" y="9"/>
                  </a:lnTo>
                  <a:lnTo>
                    <a:pt x="215" y="17"/>
                  </a:lnTo>
                  <a:lnTo>
                    <a:pt x="231" y="25"/>
                  </a:lnTo>
                  <a:lnTo>
                    <a:pt x="244" y="35"/>
                  </a:lnTo>
                  <a:lnTo>
                    <a:pt x="256" y="48"/>
                  </a:lnTo>
                  <a:lnTo>
                    <a:pt x="267" y="61"/>
                  </a:lnTo>
                  <a:lnTo>
                    <a:pt x="267" y="61"/>
                  </a:lnTo>
                  <a:lnTo>
                    <a:pt x="274" y="71"/>
                  </a:lnTo>
                  <a:lnTo>
                    <a:pt x="279" y="81"/>
                  </a:lnTo>
                  <a:lnTo>
                    <a:pt x="284" y="91"/>
                  </a:lnTo>
                  <a:lnTo>
                    <a:pt x="288" y="102"/>
                  </a:lnTo>
                  <a:lnTo>
                    <a:pt x="291" y="113"/>
                  </a:lnTo>
                  <a:lnTo>
                    <a:pt x="294" y="124"/>
                  </a:lnTo>
                  <a:lnTo>
                    <a:pt x="295" y="136"/>
                  </a:lnTo>
                  <a:lnTo>
                    <a:pt x="295" y="147"/>
                  </a:lnTo>
                  <a:lnTo>
                    <a:pt x="295" y="147"/>
                  </a:lnTo>
                  <a:lnTo>
                    <a:pt x="295" y="163"/>
                  </a:lnTo>
                  <a:lnTo>
                    <a:pt x="293" y="177"/>
                  </a:lnTo>
                  <a:lnTo>
                    <a:pt x="288" y="191"/>
                  </a:lnTo>
                  <a:lnTo>
                    <a:pt x="284" y="205"/>
                  </a:lnTo>
                  <a:lnTo>
                    <a:pt x="277" y="218"/>
                  </a:lnTo>
                  <a:lnTo>
                    <a:pt x="269" y="230"/>
                  </a:lnTo>
                  <a:lnTo>
                    <a:pt x="262" y="241"/>
                  </a:lnTo>
                  <a:lnTo>
                    <a:pt x="252" y="252"/>
                  </a:lnTo>
                  <a:lnTo>
                    <a:pt x="242" y="262"/>
                  </a:lnTo>
                  <a:lnTo>
                    <a:pt x="230" y="270"/>
                  </a:lnTo>
                  <a:lnTo>
                    <a:pt x="217" y="278"/>
                  </a:lnTo>
                  <a:lnTo>
                    <a:pt x="205" y="284"/>
                  </a:lnTo>
                  <a:lnTo>
                    <a:pt x="191" y="289"/>
                  </a:lnTo>
                  <a:lnTo>
                    <a:pt x="176" y="292"/>
                  </a:lnTo>
                  <a:lnTo>
                    <a:pt x="162" y="294"/>
                  </a:lnTo>
                  <a:lnTo>
                    <a:pt x="148" y="295"/>
                  </a:lnTo>
                  <a:lnTo>
                    <a:pt x="148" y="295"/>
                  </a:lnTo>
                  <a:lnTo>
                    <a:pt x="132" y="294"/>
                  </a:lnTo>
                  <a:lnTo>
                    <a:pt x="118" y="292"/>
                  </a:lnTo>
                  <a:lnTo>
                    <a:pt x="104" y="289"/>
                  </a:lnTo>
                  <a:lnTo>
                    <a:pt x="90" y="284"/>
                  </a:lnTo>
                  <a:lnTo>
                    <a:pt x="77" y="278"/>
                  </a:lnTo>
                  <a:lnTo>
                    <a:pt x="65" y="270"/>
                  </a:lnTo>
                  <a:lnTo>
                    <a:pt x="53" y="262"/>
                  </a:lnTo>
                  <a:lnTo>
                    <a:pt x="43" y="252"/>
                  </a:lnTo>
                  <a:lnTo>
                    <a:pt x="33" y="241"/>
                  </a:lnTo>
                  <a:lnTo>
                    <a:pt x="25" y="230"/>
                  </a:lnTo>
                  <a:lnTo>
                    <a:pt x="17" y="218"/>
                  </a:lnTo>
                  <a:lnTo>
                    <a:pt x="11" y="205"/>
                  </a:lnTo>
                  <a:lnTo>
                    <a:pt x="6" y="191"/>
                  </a:lnTo>
                  <a:lnTo>
                    <a:pt x="2" y="177"/>
                  </a:lnTo>
                  <a:lnTo>
                    <a:pt x="0" y="163"/>
                  </a:lnTo>
                  <a:lnTo>
                    <a:pt x="0" y="147"/>
                  </a:lnTo>
                  <a:lnTo>
                    <a:pt x="0" y="147"/>
                  </a:lnTo>
                  <a:lnTo>
                    <a:pt x="0" y="136"/>
                  </a:lnTo>
                  <a:lnTo>
                    <a:pt x="1" y="124"/>
                  </a:lnTo>
                  <a:lnTo>
                    <a:pt x="4" y="113"/>
                  </a:lnTo>
                  <a:lnTo>
                    <a:pt x="6" y="102"/>
                  </a:lnTo>
                  <a:lnTo>
                    <a:pt x="11" y="91"/>
                  </a:lnTo>
                  <a:lnTo>
                    <a:pt x="15" y="81"/>
                  </a:lnTo>
                  <a:lnTo>
                    <a:pt x="21" y="71"/>
                  </a:lnTo>
                  <a:lnTo>
                    <a:pt x="27" y="6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1" name="Freeform 112"/>
            <p:cNvSpPr>
              <a:spLocks/>
            </p:cNvSpPr>
            <p:nvPr/>
          </p:nvSpPr>
          <p:spPr bwMode="auto">
            <a:xfrm>
              <a:off x="2154238" y="3044826"/>
              <a:ext cx="214313" cy="134938"/>
            </a:xfrm>
            <a:custGeom>
              <a:avLst/>
              <a:gdLst>
                <a:gd name="T0" fmla="*/ 677 w 677"/>
                <a:gd name="T1" fmla="*/ 345 h 425"/>
                <a:gd name="T2" fmla="*/ 675 w 677"/>
                <a:gd name="T3" fmla="*/ 360 h 425"/>
                <a:gd name="T4" fmla="*/ 670 w 677"/>
                <a:gd name="T5" fmla="*/ 376 h 425"/>
                <a:gd name="T6" fmla="*/ 663 w 677"/>
                <a:gd name="T7" fmla="*/ 389 h 425"/>
                <a:gd name="T8" fmla="*/ 653 w 677"/>
                <a:gd name="T9" fmla="*/ 401 h 425"/>
                <a:gd name="T10" fmla="*/ 641 w 677"/>
                <a:gd name="T11" fmla="*/ 411 h 425"/>
                <a:gd name="T12" fmla="*/ 627 w 677"/>
                <a:gd name="T13" fmla="*/ 419 h 425"/>
                <a:gd name="T14" fmla="*/ 612 w 677"/>
                <a:gd name="T15" fmla="*/ 424 h 425"/>
                <a:gd name="T16" fmla="*/ 596 w 677"/>
                <a:gd name="T17" fmla="*/ 425 h 425"/>
                <a:gd name="T18" fmla="*/ 80 w 677"/>
                <a:gd name="T19" fmla="*/ 425 h 425"/>
                <a:gd name="T20" fmla="*/ 65 w 677"/>
                <a:gd name="T21" fmla="*/ 424 h 425"/>
                <a:gd name="T22" fmla="*/ 49 w 677"/>
                <a:gd name="T23" fmla="*/ 419 h 425"/>
                <a:gd name="T24" fmla="*/ 36 w 677"/>
                <a:gd name="T25" fmla="*/ 411 h 425"/>
                <a:gd name="T26" fmla="*/ 24 w 677"/>
                <a:gd name="T27" fmla="*/ 401 h 425"/>
                <a:gd name="T28" fmla="*/ 14 w 677"/>
                <a:gd name="T29" fmla="*/ 389 h 425"/>
                <a:gd name="T30" fmla="*/ 6 w 677"/>
                <a:gd name="T31" fmla="*/ 376 h 425"/>
                <a:gd name="T32" fmla="*/ 2 w 677"/>
                <a:gd name="T33" fmla="*/ 360 h 425"/>
                <a:gd name="T34" fmla="*/ 0 w 677"/>
                <a:gd name="T35" fmla="*/ 345 h 425"/>
                <a:gd name="T36" fmla="*/ 125 w 677"/>
                <a:gd name="T37" fmla="*/ 0 h 425"/>
                <a:gd name="T38" fmla="*/ 118 w 677"/>
                <a:gd name="T39" fmla="*/ 21 h 425"/>
                <a:gd name="T40" fmla="*/ 110 w 677"/>
                <a:gd name="T41" fmla="*/ 64 h 425"/>
                <a:gd name="T42" fmla="*/ 109 w 677"/>
                <a:gd name="T43" fmla="*/ 86 h 425"/>
                <a:gd name="T44" fmla="*/ 113 w 677"/>
                <a:gd name="T45" fmla="*/ 133 h 425"/>
                <a:gd name="T46" fmla="*/ 126 w 677"/>
                <a:gd name="T47" fmla="*/ 176 h 425"/>
                <a:gd name="T48" fmla="*/ 147 w 677"/>
                <a:gd name="T49" fmla="*/ 216 h 425"/>
                <a:gd name="T50" fmla="*/ 176 w 677"/>
                <a:gd name="T51" fmla="*/ 249 h 425"/>
                <a:gd name="T52" fmla="*/ 209 w 677"/>
                <a:gd name="T53" fmla="*/ 278 h 425"/>
                <a:gd name="T54" fmla="*/ 249 w 677"/>
                <a:gd name="T55" fmla="*/ 299 h 425"/>
                <a:gd name="T56" fmla="*/ 292 w 677"/>
                <a:gd name="T57" fmla="*/ 312 h 425"/>
                <a:gd name="T58" fmla="*/ 339 w 677"/>
                <a:gd name="T59" fmla="*/ 316 h 425"/>
                <a:gd name="T60" fmla="*/ 362 w 677"/>
                <a:gd name="T61" fmla="*/ 315 h 425"/>
                <a:gd name="T62" fmla="*/ 406 w 677"/>
                <a:gd name="T63" fmla="*/ 306 h 425"/>
                <a:gd name="T64" fmla="*/ 448 w 677"/>
                <a:gd name="T65" fmla="*/ 289 h 425"/>
                <a:gd name="T66" fmla="*/ 485 w 677"/>
                <a:gd name="T67" fmla="*/ 264 h 425"/>
                <a:gd name="T68" fmla="*/ 516 w 677"/>
                <a:gd name="T69" fmla="*/ 233 h 425"/>
                <a:gd name="T70" fmla="*/ 540 w 677"/>
                <a:gd name="T71" fmla="*/ 196 h 425"/>
                <a:gd name="T72" fmla="*/ 558 w 677"/>
                <a:gd name="T73" fmla="*/ 155 h 425"/>
                <a:gd name="T74" fmla="*/ 567 w 677"/>
                <a:gd name="T75" fmla="*/ 110 h 425"/>
                <a:gd name="T76" fmla="*/ 568 w 677"/>
                <a:gd name="T77" fmla="*/ 86 h 425"/>
                <a:gd name="T78" fmla="*/ 563 w 677"/>
                <a:gd name="T79" fmla="*/ 42 h 425"/>
                <a:gd name="T80" fmla="*/ 551 w 677"/>
                <a:gd name="T81" fmla="*/ 0 h 425"/>
                <a:gd name="T82" fmla="*/ 677 w 677"/>
                <a:gd name="T83" fmla="*/ 34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7" h="425">
                  <a:moveTo>
                    <a:pt x="677" y="345"/>
                  </a:moveTo>
                  <a:lnTo>
                    <a:pt x="677" y="345"/>
                  </a:lnTo>
                  <a:lnTo>
                    <a:pt x="676" y="353"/>
                  </a:lnTo>
                  <a:lnTo>
                    <a:pt x="675" y="360"/>
                  </a:lnTo>
                  <a:lnTo>
                    <a:pt x="673" y="368"/>
                  </a:lnTo>
                  <a:lnTo>
                    <a:pt x="670" y="376"/>
                  </a:lnTo>
                  <a:lnTo>
                    <a:pt x="667" y="383"/>
                  </a:lnTo>
                  <a:lnTo>
                    <a:pt x="663" y="389"/>
                  </a:lnTo>
                  <a:lnTo>
                    <a:pt x="658" y="396"/>
                  </a:lnTo>
                  <a:lnTo>
                    <a:pt x="653" y="401"/>
                  </a:lnTo>
                  <a:lnTo>
                    <a:pt x="647" y="407"/>
                  </a:lnTo>
                  <a:lnTo>
                    <a:pt x="641" y="411"/>
                  </a:lnTo>
                  <a:lnTo>
                    <a:pt x="634" y="416"/>
                  </a:lnTo>
                  <a:lnTo>
                    <a:pt x="627" y="419"/>
                  </a:lnTo>
                  <a:lnTo>
                    <a:pt x="620" y="421"/>
                  </a:lnTo>
                  <a:lnTo>
                    <a:pt x="612" y="424"/>
                  </a:lnTo>
                  <a:lnTo>
                    <a:pt x="604" y="425"/>
                  </a:lnTo>
                  <a:lnTo>
                    <a:pt x="596" y="425"/>
                  </a:lnTo>
                  <a:lnTo>
                    <a:pt x="80" y="425"/>
                  </a:lnTo>
                  <a:lnTo>
                    <a:pt x="80" y="425"/>
                  </a:lnTo>
                  <a:lnTo>
                    <a:pt x="72" y="425"/>
                  </a:lnTo>
                  <a:lnTo>
                    <a:pt x="65" y="424"/>
                  </a:lnTo>
                  <a:lnTo>
                    <a:pt x="57" y="421"/>
                  </a:lnTo>
                  <a:lnTo>
                    <a:pt x="49" y="419"/>
                  </a:lnTo>
                  <a:lnTo>
                    <a:pt x="42" y="416"/>
                  </a:lnTo>
                  <a:lnTo>
                    <a:pt x="36" y="411"/>
                  </a:lnTo>
                  <a:lnTo>
                    <a:pt x="29" y="407"/>
                  </a:lnTo>
                  <a:lnTo>
                    <a:pt x="24" y="401"/>
                  </a:lnTo>
                  <a:lnTo>
                    <a:pt x="18" y="396"/>
                  </a:lnTo>
                  <a:lnTo>
                    <a:pt x="14" y="389"/>
                  </a:lnTo>
                  <a:lnTo>
                    <a:pt x="9" y="383"/>
                  </a:lnTo>
                  <a:lnTo>
                    <a:pt x="6" y="376"/>
                  </a:lnTo>
                  <a:lnTo>
                    <a:pt x="4" y="368"/>
                  </a:lnTo>
                  <a:lnTo>
                    <a:pt x="2" y="360"/>
                  </a:lnTo>
                  <a:lnTo>
                    <a:pt x="0" y="353"/>
                  </a:lnTo>
                  <a:lnTo>
                    <a:pt x="0" y="345"/>
                  </a:lnTo>
                  <a:lnTo>
                    <a:pt x="0" y="0"/>
                  </a:lnTo>
                  <a:lnTo>
                    <a:pt x="125" y="0"/>
                  </a:lnTo>
                  <a:lnTo>
                    <a:pt x="125" y="0"/>
                  </a:lnTo>
                  <a:lnTo>
                    <a:pt x="118" y="21"/>
                  </a:lnTo>
                  <a:lnTo>
                    <a:pt x="113" y="42"/>
                  </a:lnTo>
                  <a:lnTo>
                    <a:pt x="110" y="64"/>
                  </a:lnTo>
                  <a:lnTo>
                    <a:pt x="109" y="86"/>
                  </a:lnTo>
                  <a:lnTo>
                    <a:pt x="109" y="86"/>
                  </a:lnTo>
                  <a:lnTo>
                    <a:pt x="110" y="110"/>
                  </a:lnTo>
                  <a:lnTo>
                    <a:pt x="113" y="133"/>
                  </a:lnTo>
                  <a:lnTo>
                    <a:pt x="119" y="155"/>
                  </a:lnTo>
                  <a:lnTo>
                    <a:pt x="126" y="176"/>
                  </a:lnTo>
                  <a:lnTo>
                    <a:pt x="136" y="196"/>
                  </a:lnTo>
                  <a:lnTo>
                    <a:pt x="147" y="216"/>
                  </a:lnTo>
                  <a:lnTo>
                    <a:pt x="161" y="233"/>
                  </a:lnTo>
                  <a:lnTo>
                    <a:pt x="176" y="249"/>
                  </a:lnTo>
                  <a:lnTo>
                    <a:pt x="192" y="264"/>
                  </a:lnTo>
                  <a:lnTo>
                    <a:pt x="209" y="278"/>
                  </a:lnTo>
                  <a:lnTo>
                    <a:pt x="229" y="289"/>
                  </a:lnTo>
                  <a:lnTo>
                    <a:pt x="249" y="299"/>
                  </a:lnTo>
                  <a:lnTo>
                    <a:pt x="270" y="306"/>
                  </a:lnTo>
                  <a:lnTo>
                    <a:pt x="292" y="312"/>
                  </a:lnTo>
                  <a:lnTo>
                    <a:pt x="314" y="315"/>
                  </a:lnTo>
                  <a:lnTo>
                    <a:pt x="339" y="316"/>
                  </a:lnTo>
                  <a:lnTo>
                    <a:pt x="339" y="316"/>
                  </a:lnTo>
                  <a:lnTo>
                    <a:pt x="362" y="315"/>
                  </a:lnTo>
                  <a:lnTo>
                    <a:pt x="384" y="312"/>
                  </a:lnTo>
                  <a:lnTo>
                    <a:pt x="406" y="306"/>
                  </a:lnTo>
                  <a:lnTo>
                    <a:pt x="427" y="299"/>
                  </a:lnTo>
                  <a:lnTo>
                    <a:pt x="448" y="289"/>
                  </a:lnTo>
                  <a:lnTo>
                    <a:pt x="467" y="278"/>
                  </a:lnTo>
                  <a:lnTo>
                    <a:pt x="485" y="264"/>
                  </a:lnTo>
                  <a:lnTo>
                    <a:pt x="500" y="249"/>
                  </a:lnTo>
                  <a:lnTo>
                    <a:pt x="516" y="233"/>
                  </a:lnTo>
                  <a:lnTo>
                    <a:pt x="529" y="216"/>
                  </a:lnTo>
                  <a:lnTo>
                    <a:pt x="540" y="196"/>
                  </a:lnTo>
                  <a:lnTo>
                    <a:pt x="550" y="176"/>
                  </a:lnTo>
                  <a:lnTo>
                    <a:pt x="558" y="155"/>
                  </a:lnTo>
                  <a:lnTo>
                    <a:pt x="563" y="133"/>
                  </a:lnTo>
                  <a:lnTo>
                    <a:pt x="567" y="110"/>
                  </a:lnTo>
                  <a:lnTo>
                    <a:pt x="568" y="86"/>
                  </a:lnTo>
                  <a:lnTo>
                    <a:pt x="568" y="86"/>
                  </a:lnTo>
                  <a:lnTo>
                    <a:pt x="567" y="64"/>
                  </a:lnTo>
                  <a:lnTo>
                    <a:pt x="563" y="42"/>
                  </a:lnTo>
                  <a:lnTo>
                    <a:pt x="559" y="21"/>
                  </a:lnTo>
                  <a:lnTo>
                    <a:pt x="551" y="0"/>
                  </a:lnTo>
                  <a:lnTo>
                    <a:pt x="677" y="0"/>
                  </a:lnTo>
                  <a:lnTo>
                    <a:pt x="677"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61" name="Group 360"/>
          <p:cNvGrpSpPr/>
          <p:nvPr/>
        </p:nvGrpSpPr>
        <p:grpSpPr>
          <a:xfrm flipH="1">
            <a:off x="10899245" y="6511683"/>
            <a:ext cx="328819" cy="328819"/>
            <a:chOff x="4240530" y="3110866"/>
            <a:chExt cx="630556" cy="630556"/>
          </a:xfrm>
          <a:solidFill>
            <a:schemeClr val="tx1"/>
          </a:solidFill>
        </p:grpSpPr>
        <p:sp>
          <p:nvSpPr>
            <p:cNvPr id="362" name="Freeform 135"/>
            <p:cNvSpPr>
              <a:spLocks noEditPoints="1"/>
            </p:cNvSpPr>
            <p:nvPr/>
          </p:nvSpPr>
          <p:spPr bwMode="auto">
            <a:xfrm>
              <a:off x="4240530" y="3110866"/>
              <a:ext cx="630556" cy="630556"/>
            </a:xfrm>
            <a:custGeom>
              <a:avLst/>
              <a:gdLst>
                <a:gd name="T0" fmla="*/ 632 w 661"/>
                <a:gd name="T1" fmla="*/ 162 h 661"/>
                <a:gd name="T2" fmla="*/ 639 w 661"/>
                <a:gd name="T3" fmla="*/ 179 h 661"/>
                <a:gd name="T4" fmla="*/ 640 w 661"/>
                <a:gd name="T5" fmla="*/ 198 h 661"/>
                <a:gd name="T6" fmla="*/ 600 w 661"/>
                <a:gd name="T7" fmla="*/ 320 h 661"/>
                <a:gd name="T8" fmla="*/ 581 w 661"/>
                <a:gd name="T9" fmla="*/ 356 h 661"/>
                <a:gd name="T10" fmla="*/ 286 w 661"/>
                <a:gd name="T11" fmla="*/ 653 h 661"/>
                <a:gd name="T12" fmla="*/ 272 w 661"/>
                <a:gd name="T13" fmla="*/ 661 h 661"/>
                <a:gd name="T14" fmla="*/ 256 w 661"/>
                <a:gd name="T15" fmla="*/ 659 h 661"/>
                <a:gd name="T16" fmla="*/ 8 w 661"/>
                <a:gd name="T17" fmla="*/ 413 h 661"/>
                <a:gd name="T18" fmla="*/ 2 w 661"/>
                <a:gd name="T19" fmla="*/ 404 h 661"/>
                <a:gd name="T20" fmla="*/ 0 w 661"/>
                <a:gd name="T21" fmla="*/ 388 h 661"/>
                <a:gd name="T22" fmla="*/ 8 w 661"/>
                <a:gd name="T23" fmla="*/ 374 h 661"/>
                <a:gd name="T24" fmla="*/ 304 w 661"/>
                <a:gd name="T25" fmla="*/ 79 h 661"/>
                <a:gd name="T26" fmla="*/ 340 w 661"/>
                <a:gd name="T27" fmla="*/ 59 h 661"/>
                <a:gd name="T28" fmla="*/ 462 w 661"/>
                <a:gd name="T29" fmla="*/ 21 h 661"/>
                <a:gd name="T30" fmla="*/ 480 w 661"/>
                <a:gd name="T31" fmla="*/ 22 h 661"/>
                <a:gd name="T32" fmla="*/ 498 w 661"/>
                <a:gd name="T33" fmla="*/ 29 h 661"/>
                <a:gd name="T34" fmla="*/ 489 w 661"/>
                <a:gd name="T35" fmla="*/ 102 h 661"/>
                <a:gd name="T36" fmla="*/ 472 w 661"/>
                <a:gd name="T37" fmla="*/ 108 h 661"/>
                <a:gd name="T38" fmla="*/ 457 w 661"/>
                <a:gd name="T39" fmla="*/ 118 h 661"/>
                <a:gd name="T40" fmla="*/ 444 w 661"/>
                <a:gd name="T41" fmla="*/ 138 h 661"/>
                <a:gd name="T42" fmla="*/ 440 w 661"/>
                <a:gd name="T43" fmla="*/ 172 h 661"/>
                <a:gd name="T44" fmla="*/ 453 w 661"/>
                <a:gd name="T45" fmla="*/ 199 h 661"/>
                <a:gd name="T46" fmla="*/ 461 w 661"/>
                <a:gd name="T47" fmla="*/ 207 h 661"/>
                <a:gd name="T48" fmla="*/ 488 w 661"/>
                <a:gd name="T49" fmla="*/ 221 h 661"/>
                <a:gd name="T50" fmla="*/ 522 w 661"/>
                <a:gd name="T51" fmla="*/ 217 h 661"/>
                <a:gd name="T52" fmla="*/ 542 w 661"/>
                <a:gd name="T53" fmla="*/ 203 h 661"/>
                <a:gd name="T54" fmla="*/ 552 w 661"/>
                <a:gd name="T55" fmla="*/ 188 h 661"/>
                <a:gd name="T56" fmla="*/ 599 w 661"/>
                <a:gd name="T57" fmla="*/ 130 h 661"/>
                <a:gd name="T58" fmla="*/ 499 w 661"/>
                <a:gd name="T59" fmla="*/ 181 h 661"/>
                <a:gd name="T60" fmla="*/ 510 w 661"/>
                <a:gd name="T61" fmla="*/ 178 h 661"/>
                <a:gd name="T62" fmla="*/ 655 w 661"/>
                <a:gd name="T63" fmla="*/ 35 h 661"/>
                <a:gd name="T64" fmla="*/ 661 w 661"/>
                <a:gd name="T65" fmla="*/ 24 h 661"/>
                <a:gd name="T66" fmla="*/ 660 w 661"/>
                <a:gd name="T67" fmla="*/ 13 h 661"/>
                <a:gd name="T68" fmla="*/ 655 w 661"/>
                <a:gd name="T69" fmla="*/ 6 h 661"/>
                <a:gd name="T70" fmla="*/ 645 w 661"/>
                <a:gd name="T71" fmla="*/ 0 h 661"/>
                <a:gd name="T72" fmla="*/ 633 w 661"/>
                <a:gd name="T73" fmla="*/ 1 h 661"/>
                <a:gd name="T74" fmla="*/ 485 w 661"/>
                <a:gd name="T75" fmla="*/ 146 h 661"/>
                <a:gd name="T76" fmla="*/ 480 w 661"/>
                <a:gd name="T77" fmla="*/ 153 h 661"/>
                <a:gd name="T78" fmla="*/ 479 w 661"/>
                <a:gd name="T79" fmla="*/ 165 h 661"/>
                <a:gd name="T80" fmla="*/ 485 w 661"/>
                <a:gd name="T81" fmla="*/ 175 h 661"/>
                <a:gd name="T82" fmla="*/ 491 w 661"/>
                <a:gd name="T83" fmla="*/ 18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1" h="661">
                  <a:moveTo>
                    <a:pt x="628" y="158"/>
                  </a:moveTo>
                  <a:lnTo>
                    <a:pt x="628" y="158"/>
                  </a:lnTo>
                  <a:lnTo>
                    <a:pt x="632" y="162"/>
                  </a:lnTo>
                  <a:lnTo>
                    <a:pt x="635" y="167"/>
                  </a:lnTo>
                  <a:lnTo>
                    <a:pt x="637" y="173"/>
                  </a:lnTo>
                  <a:lnTo>
                    <a:pt x="639" y="179"/>
                  </a:lnTo>
                  <a:lnTo>
                    <a:pt x="640" y="186"/>
                  </a:lnTo>
                  <a:lnTo>
                    <a:pt x="641" y="192"/>
                  </a:lnTo>
                  <a:lnTo>
                    <a:pt x="640" y="198"/>
                  </a:lnTo>
                  <a:lnTo>
                    <a:pt x="639" y="204"/>
                  </a:lnTo>
                  <a:lnTo>
                    <a:pt x="600" y="320"/>
                  </a:lnTo>
                  <a:lnTo>
                    <a:pt x="600" y="320"/>
                  </a:lnTo>
                  <a:lnTo>
                    <a:pt x="596" y="331"/>
                  </a:lnTo>
                  <a:lnTo>
                    <a:pt x="589" y="344"/>
                  </a:lnTo>
                  <a:lnTo>
                    <a:pt x="581" y="356"/>
                  </a:lnTo>
                  <a:lnTo>
                    <a:pt x="572" y="366"/>
                  </a:lnTo>
                  <a:lnTo>
                    <a:pt x="286" y="653"/>
                  </a:lnTo>
                  <a:lnTo>
                    <a:pt x="286" y="653"/>
                  </a:lnTo>
                  <a:lnTo>
                    <a:pt x="282" y="657"/>
                  </a:lnTo>
                  <a:lnTo>
                    <a:pt x="277" y="659"/>
                  </a:lnTo>
                  <a:lnTo>
                    <a:pt x="272" y="661"/>
                  </a:lnTo>
                  <a:lnTo>
                    <a:pt x="267" y="661"/>
                  </a:lnTo>
                  <a:lnTo>
                    <a:pt x="261" y="661"/>
                  </a:lnTo>
                  <a:lnTo>
                    <a:pt x="256" y="659"/>
                  </a:lnTo>
                  <a:lnTo>
                    <a:pt x="251" y="657"/>
                  </a:lnTo>
                  <a:lnTo>
                    <a:pt x="247" y="653"/>
                  </a:lnTo>
                  <a:lnTo>
                    <a:pt x="8" y="413"/>
                  </a:lnTo>
                  <a:lnTo>
                    <a:pt x="8" y="413"/>
                  </a:lnTo>
                  <a:lnTo>
                    <a:pt x="4" y="409"/>
                  </a:lnTo>
                  <a:lnTo>
                    <a:pt x="2" y="404"/>
                  </a:lnTo>
                  <a:lnTo>
                    <a:pt x="0" y="399"/>
                  </a:lnTo>
                  <a:lnTo>
                    <a:pt x="0" y="394"/>
                  </a:lnTo>
                  <a:lnTo>
                    <a:pt x="0" y="388"/>
                  </a:lnTo>
                  <a:lnTo>
                    <a:pt x="2" y="383"/>
                  </a:lnTo>
                  <a:lnTo>
                    <a:pt x="4" y="378"/>
                  </a:lnTo>
                  <a:lnTo>
                    <a:pt x="8" y="374"/>
                  </a:lnTo>
                  <a:lnTo>
                    <a:pt x="294" y="88"/>
                  </a:lnTo>
                  <a:lnTo>
                    <a:pt x="294" y="88"/>
                  </a:lnTo>
                  <a:lnTo>
                    <a:pt x="304" y="79"/>
                  </a:lnTo>
                  <a:lnTo>
                    <a:pt x="316" y="71"/>
                  </a:lnTo>
                  <a:lnTo>
                    <a:pt x="328" y="64"/>
                  </a:lnTo>
                  <a:lnTo>
                    <a:pt x="340" y="59"/>
                  </a:lnTo>
                  <a:lnTo>
                    <a:pt x="456" y="22"/>
                  </a:lnTo>
                  <a:lnTo>
                    <a:pt x="456" y="22"/>
                  </a:lnTo>
                  <a:lnTo>
                    <a:pt x="462" y="21"/>
                  </a:lnTo>
                  <a:lnTo>
                    <a:pt x="468" y="20"/>
                  </a:lnTo>
                  <a:lnTo>
                    <a:pt x="474" y="21"/>
                  </a:lnTo>
                  <a:lnTo>
                    <a:pt x="480" y="22"/>
                  </a:lnTo>
                  <a:lnTo>
                    <a:pt x="487" y="24"/>
                  </a:lnTo>
                  <a:lnTo>
                    <a:pt x="492" y="26"/>
                  </a:lnTo>
                  <a:lnTo>
                    <a:pt x="498" y="29"/>
                  </a:lnTo>
                  <a:lnTo>
                    <a:pt x="502" y="33"/>
                  </a:lnTo>
                  <a:lnTo>
                    <a:pt x="530" y="61"/>
                  </a:lnTo>
                  <a:lnTo>
                    <a:pt x="489" y="102"/>
                  </a:lnTo>
                  <a:lnTo>
                    <a:pt x="489" y="102"/>
                  </a:lnTo>
                  <a:lnTo>
                    <a:pt x="480" y="104"/>
                  </a:lnTo>
                  <a:lnTo>
                    <a:pt x="472" y="108"/>
                  </a:lnTo>
                  <a:lnTo>
                    <a:pt x="464" y="112"/>
                  </a:lnTo>
                  <a:lnTo>
                    <a:pt x="457" y="118"/>
                  </a:lnTo>
                  <a:lnTo>
                    <a:pt x="457" y="118"/>
                  </a:lnTo>
                  <a:lnTo>
                    <a:pt x="453" y="123"/>
                  </a:lnTo>
                  <a:lnTo>
                    <a:pt x="449" y="128"/>
                  </a:lnTo>
                  <a:lnTo>
                    <a:pt x="444" y="138"/>
                  </a:lnTo>
                  <a:lnTo>
                    <a:pt x="440" y="149"/>
                  </a:lnTo>
                  <a:lnTo>
                    <a:pt x="439" y="161"/>
                  </a:lnTo>
                  <a:lnTo>
                    <a:pt x="440" y="172"/>
                  </a:lnTo>
                  <a:lnTo>
                    <a:pt x="444" y="183"/>
                  </a:lnTo>
                  <a:lnTo>
                    <a:pt x="449" y="194"/>
                  </a:lnTo>
                  <a:lnTo>
                    <a:pt x="453" y="199"/>
                  </a:lnTo>
                  <a:lnTo>
                    <a:pt x="457" y="203"/>
                  </a:lnTo>
                  <a:lnTo>
                    <a:pt x="457" y="203"/>
                  </a:lnTo>
                  <a:lnTo>
                    <a:pt x="461" y="207"/>
                  </a:lnTo>
                  <a:lnTo>
                    <a:pt x="466" y="212"/>
                  </a:lnTo>
                  <a:lnTo>
                    <a:pt x="477" y="217"/>
                  </a:lnTo>
                  <a:lnTo>
                    <a:pt x="488" y="221"/>
                  </a:lnTo>
                  <a:lnTo>
                    <a:pt x="499" y="222"/>
                  </a:lnTo>
                  <a:lnTo>
                    <a:pt x="511" y="221"/>
                  </a:lnTo>
                  <a:lnTo>
                    <a:pt x="522" y="217"/>
                  </a:lnTo>
                  <a:lnTo>
                    <a:pt x="532" y="212"/>
                  </a:lnTo>
                  <a:lnTo>
                    <a:pt x="537" y="207"/>
                  </a:lnTo>
                  <a:lnTo>
                    <a:pt x="542" y="203"/>
                  </a:lnTo>
                  <a:lnTo>
                    <a:pt x="542" y="203"/>
                  </a:lnTo>
                  <a:lnTo>
                    <a:pt x="548" y="196"/>
                  </a:lnTo>
                  <a:lnTo>
                    <a:pt x="552" y="188"/>
                  </a:lnTo>
                  <a:lnTo>
                    <a:pt x="556" y="180"/>
                  </a:lnTo>
                  <a:lnTo>
                    <a:pt x="558" y="171"/>
                  </a:lnTo>
                  <a:lnTo>
                    <a:pt x="599" y="130"/>
                  </a:lnTo>
                  <a:lnTo>
                    <a:pt x="628" y="158"/>
                  </a:lnTo>
                  <a:close/>
                  <a:moveTo>
                    <a:pt x="499" y="181"/>
                  </a:moveTo>
                  <a:lnTo>
                    <a:pt x="499" y="181"/>
                  </a:lnTo>
                  <a:lnTo>
                    <a:pt x="503" y="181"/>
                  </a:lnTo>
                  <a:lnTo>
                    <a:pt x="507" y="180"/>
                  </a:lnTo>
                  <a:lnTo>
                    <a:pt x="510" y="178"/>
                  </a:lnTo>
                  <a:lnTo>
                    <a:pt x="514" y="175"/>
                  </a:lnTo>
                  <a:lnTo>
                    <a:pt x="655" y="35"/>
                  </a:lnTo>
                  <a:lnTo>
                    <a:pt x="655" y="35"/>
                  </a:lnTo>
                  <a:lnTo>
                    <a:pt x="658" y="32"/>
                  </a:lnTo>
                  <a:lnTo>
                    <a:pt x="660" y="28"/>
                  </a:lnTo>
                  <a:lnTo>
                    <a:pt x="661" y="24"/>
                  </a:lnTo>
                  <a:lnTo>
                    <a:pt x="661" y="20"/>
                  </a:lnTo>
                  <a:lnTo>
                    <a:pt x="661" y="16"/>
                  </a:lnTo>
                  <a:lnTo>
                    <a:pt x="660" y="13"/>
                  </a:lnTo>
                  <a:lnTo>
                    <a:pt x="658" y="9"/>
                  </a:lnTo>
                  <a:lnTo>
                    <a:pt x="655" y="6"/>
                  </a:lnTo>
                  <a:lnTo>
                    <a:pt x="655" y="6"/>
                  </a:lnTo>
                  <a:lnTo>
                    <a:pt x="652" y="3"/>
                  </a:lnTo>
                  <a:lnTo>
                    <a:pt x="648" y="1"/>
                  </a:lnTo>
                  <a:lnTo>
                    <a:pt x="645" y="0"/>
                  </a:lnTo>
                  <a:lnTo>
                    <a:pt x="641" y="0"/>
                  </a:lnTo>
                  <a:lnTo>
                    <a:pt x="637" y="0"/>
                  </a:lnTo>
                  <a:lnTo>
                    <a:pt x="633" y="1"/>
                  </a:lnTo>
                  <a:lnTo>
                    <a:pt x="629" y="3"/>
                  </a:lnTo>
                  <a:lnTo>
                    <a:pt x="626" y="6"/>
                  </a:lnTo>
                  <a:lnTo>
                    <a:pt x="485" y="146"/>
                  </a:lnTo>
                  <a:lnTo>
                    <a:pt x="485" y="146"/>
                  </a:lnTo>
                  <a:lnTo>
                    <a:pt x="482" y="150"/>
                  </a:lnTo>
                  <a:lnTo>
                    <a:pt x="480" y="153"/>
                  </a:lnTo>
                  <a:lnTo>
                    <a:pt x="479" y="157"/>
                  </a:lnTo>
                  <a:lnTo>
                    <a:pt x="479" y="161"/>
                  </a:lnTo>
                  <a:lnTo>
                    <a:pt x="479" y="165"/>
                  </a:lnTo>
                  <a:lnTo>
                    <a:pt x="480" y="169"/>
                  </a:lnTo>
                  <a:lnTo>
                    <a:pt x="482" y="172"/>
                  </a:lnTo>
                  <a:lnTo>
                    <a:pt x="485" y="175"/>
                  </a:lnTo>
                  <a:lnTo>
                    <a:pt x="485" y="175"/>
                  </a:lnTo>
                  <a:lnTo>
                    <a:pt x="488" y="178"/>
                  </a:lnTo>
                  <a:lnTo>
                    <a:pt x="491" y="180"/>
                  </a:lnTo>
                  <a:lnTo>
                    <a:pt x="495" y="181"/>
                  </a:lnTo>
                  <a:lnTo>
                    <a:pt x="499"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 name="Freeform 136"/>
            <p:cNvSpPr>
              <a:spLocks/>
            </p:cNvSpPr>
            <p:nvPr/>
          </p:nvSpPr>
          <p:spPr bwMode="auto">
            <a:xfrm>
              <a:off x="4240530" y="3129916"/>
              <a:ext cx="611506" cy="611506"/>
            </a:xfrm>
            <a:custGeom>
              <a:avLst/>
              <a:gdLst>
                <a:gd name="T0" fmla="*/ 628 w 641"/>
                <a:gd name="T1" fmla="*/ 138 h 641"/>
                <a:gd name="T2" fmla="*/ 635 w 641"/>
                <a:gd name="T3" fmla="*/ 147 h 641"/>
                <a:gd name="T4" fmla="*/ 639 w 641"/>
                <a:gd name="T5" fmla="*/ 159 h 641"/>
                <a:gd name="T6" fmla="*/ 641 w 641"/>
                <a:gd name="T7" fmla="*/ 172 h 641"/>
                <a:gd name="T8" fmla="*/ 639 w 641"/>
                <a:gd name="T9" fmla="*/ 184 h 641"/>
                <a:gd name="T10" fmla="*/ 600 w 641"/>
                <a:gd name="T11" fmla="*/ 300 h 641"/>
                <a:gd name="T12" fmla="*/ 589 w 641"/>
                <a:gd name="T13" fmla="*/ 324 h 641"/>
                <a:gd name="T14" fmla="*/ 572 w 641"/>
                <a:gd name="T15" fmla="*/ 346 h 641"/>
                <a:gd name="T16" fmla="*/ 286 w 641"/>
                <a:gd name="T17" fmla="*/ 633 h 641"/>
                <a:gd name="T18" fmla="*/ 277 w 641"/>
                <a:gd name="T19" fmla="*/ 639 h 641"/>
                <a:gd name="T20" fmla="*/ 267 w 641"/>
                <a:gd name="T21" fmla="*/ 641 h 641"/>
                <a:gd name="T22" fmla="*/ 256 w 641"/>
                <a:gd name="T23" fmla="*/ 639 h 641"/>
                <a:gd name="T24" fmla="*/ 247 w 641"/>
                <a:gd name="T25" fmla="*/ 633 h 641"/>
                <a:gd name="T26" fmla="*/ 8 w 641"/>
                <a:gd name="T27" fmla="*/ 393 h 641"/>
                <a:gd name="T28" fmla="*/ 2 w 641"/>
                <a:gd name="T29" fmla="*/ 384 h 641"/>
                <a:gd name="T30" fmla="*/ 0 w 641"/>
                <a:gd name="T31" fmla="*/ 374 h 641"/>
                <a:gd name="T32" fmla="*/ 2 w 641"/>
                <a:gd name="T33" fmla="*/ 363 h 641"/>
                <a:gd name="T34" fmla="*/ 8 w 641"/>
                <a:gd name="T35" fmla="*/ 354 h 641"/>
                <a:gd name="T36" fmla="*/ 294 w 641"/>
                <a:gd name="T37" fmla="*/ 68 h 641"/>
                <a:gd name="T38" fmla="*/ 316 w 641"/>
                <a:gd name="T39" fmla="*/ 51 h 641"/>
                <a:gd name="T40" fmla="*/ 340 w 641"/>
                <a:gd name="T41" fmla="*/ 39 h 641"/>
                <a:gd name="T42" fmla="*/ 456 w 641"/>
                <a:gd name="T43" fmla="*/ 2 h 641"/>
                <a:gd name="T44" fmla="*/ 468 w 641"/>
                <a:gd name="T45" fmla="*/ 0 h 641"/>
                <a:gd name="T46" fmla="*/ 480 w 641"/>
                <a:gd name="T47" fmla="*/ 2 h 641"/>
                <a:gd name="T48" fmla="*/ 492 w 641"/>
                <a:gd name="T49" fmla="*/ 6 h 641"/>
                <a:gd name="T50" fmla="*/ 502 w 641"/>
                <a:gd name="T51" fmla="*/ 13 h 641"/>
                <a:gd name="T52" fmla="*/ 489 w 641"/>
                <a:gd name="T53" fmla="*/ 82 h 641"/>
                <a:gd name="T54" fmla="*/ 480 w 641"/>
                <a:gd name="T55" fmla="*/ 84 h 641"/>
                <a:gd name="T56" fmla="*/ 464 w 641"/>
                <a:gd name="T57" fmla="*/ 92 h 641"/>
                <a:gd name="T58" fmla="*/ 457 w 641"/>
                <a:gd name="T59" fmla="*/ 98 h 641"/>
                <a:gd name="T60" fmla="*/ 449 w 641"/>
                <a:gd name="T61" fmla="*/ 108 h 641"/>
                <a:gd name="T62" fmla="*/ 440 w 641"/>
                <a:gd name="T63" fmla="*/ 129 h 641"/>
                <a:gd name="T64" fmla="*/ 440 w 641"/>
                <a:gd name="T65" fmla="*/ 152 h 641"/>
                <a:gd name="T66" fmla="*/ 449 w 641"/>
                <a:gd name="T67" fmla="*/ 174 h 641"/>
                <a:gd name="T68" fmla="*/ 457 w 641"/>
                <a:gd name="T69" fmla="*/ 183 h 641"/>
                <a:gd name="T70" fmla="*/ 461 w 641"/>
                <a:gd name="T71" fmla="*/ 187 h 641"/>
                <a:gd name="T72" fmla="*/ 477 w 641"/>
                <a:gd name="T73" fmla="*/ 197 h 641"/>
                <a:gd name="T74" fmla="*/ 499 w 641"/>
                <a:gd name="T75" fmla="*/ 202 h 641"/>
                <a:gd name="T76" fmla="*/ 522 w 641"/>
                <a:gd name="T77" fmla="*/ 197 h 641"/>
                <a:gd name="T78" fmla="*/ 537 w 641"/>
                <a:gd name="T79" fmla="*/ 187 h 641"/>
                <a:gd name="T80" fmla="*/ 542 w 641"/>
                <a:gd name="T81" fmla="*/ 183 h 641"/>
                <a:gd name="T82" fmla="*/ 552 w 641"/>
                <a:gd name="T83" fmla="*/ 168 h 641"/>
                <a:gd name="T84" fmla="*/ 558 w 641"/>
                <a:gd name="T85" fmla="*/ 151 h 641"/>
                <a:gd name="T86" fmla="*/ 628 w 641"/>
                <a:gd name="T87" fmla="*/ 13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628" y="138"/>
                  </a:moveTo>
                  <a:lnTo>
                    <a:pt x="628" y="138"/>
                  </a:lnTo>
                  <a:lnTo>
                    <a:pt x="632" y="142"/>
                  </a:lnTo>
                  <a:lnTo>
                    <a:pt x="635" y="147"/>
                  </a:lnTo>
                  <a:lnTo>
                    <a:pt x="637" y="153"/>
                  </a:lnTo>
                  <a:lnTo>
                    <a:pt x="639" y="159"/>
                  </a:lnTo>
                  <a:lnTo>
                    <a:pt x="640" y="166"/>
                  </a:lnTo>
                  <a:lnTo>
                    <a:pt x="641" y="172"/>
                  </a:lnTo>
                  <a:lnTo>
                    <a:pt x="640" y="178"/>
                  </a:lnTo>
                  <a:lnTo>
                    <a:pt x="639" y="184"/>
                  </a:lnTo>
                  <a:lnTo>
                    <a:pt x="600" y="300"/>
                  </a:lnTo>
                  <a:lnTo>
                    <a:pt x="600" y="300"/>
                  </a:lnTo>
                  <a:lnTo>
                    <a:pt x="596" y="311"/>
                  </a:lnTo>
                  <a:lnTo>
                    <a:pt x="589" y="324"/>
                  </a:lnTo>
                  <a:lnTo>
                    <a:pt x="581" y="336"/>
                  </a:lnTo>
                  <a:lnTo>
                    <a:pt x="572" y="346"/>
                  </a:lnTo>
                  <a:lnTo>
                    <a:pt x="286" y="633"/>
                  </a:lnTo>
                  <a:lnTo>
                    <a:pt x="286" y="633"/>
                  </a:lnTo>
                  <a:lnTo>
                    <a:pt x="282" y="637"/>
                  </a:lnTo>
                  <a:lnTo>
                    <a:pt x="277" y="639"/>
                  </a:lnTo>
                  <a:lnTo>
                    <a:pt x="272" y="641"/>
                  </a:lnTo>
                  <a:lnTo>
                    <a:pt x="267" y="641"/>
                  </a:lnTo>
                  <a:lnTo>
                    <a:pt x="261" y="641"/>
                  </a:lnTo>
                  <a:lnTo>
                    <a:pt x="256" y="639"/>
                  </a:lnTo>
                  <a:lnTo>
                    <a:pt x="251" y="637"/>
                  </a:lnTo>
                  <a:lnTo>
                    <a:pt x="247" y="633"/>
                  </a:lnTo>
                  <a:lnTo>
                    <a:pt x="8" y="393"/>
                  </a:lnTo>
                  <a:lnTo>
                    <a:pt x="8" y="393"/>
                  </a:lnTo>
                  <a:lnTo>
                    <a:pt x="4" y="389"/>
                  </a:lnTo>
                  <a:lnTo>
                    <a:pt x="2" y="384"/>
                  </a:lnTo>
                  <a:lnTo>
                    <a:pt x="0" y="379"/>
                  </a:lnTo>
                  <a:lnTo>
                    <a:pt x="0" y="374"/>
                  </a:lnTo>
                  <a:lnTo>
                    <a:pt x="0" y="368"/>
                  </a:lnTo>
                  <a:lnTo>
                    <a:pt x="2" y="363"/>
                  </a:lnTo>
                  <a:lnTo>
                    <a:pt x="4" y="358"/>
                  </a:lnTo>
                  <a:lnTo>
                    <a:pt x="8" y="354"/>
                  </a:lnTo>
                  <a:lnTo>
                    <a:pt x="294" y="68"/>
                  </a:lnTo>
                  <a:lnTo>
                    <a:pt x="294" y="68"/>
                  </a:lnTo>
                  <a:lnTo>
                    <a:pt x="304" y="59"/>
                  </a:lnTo>
                  <a:lnTo>
                    <a:pt x="316" y="51"/>
                  </a:lnTo>
                  <a:lnTo>
                    <a:pt x="328" y="44"/>
                  </a:lnTo>
                  <a:lnTo>
                    <a:pt x="340" y="39"/>
                  </a:lnTo>
                  <a:lnTo>
                    <a:pt x="456" y="2"/>
                  </a:lnTo>
                  <a:lnTo>
                    <a:pt x="456" y="2"/>
                  </a:lnTo>
                  <a:lnTo>
                    <a:pt x="462" y="1"/>
                  </a:lnTo>
                  <a:lnTo>
                    <a:pt x="468" y="0"/>
                  </a:lnTo>
                  <a:lnTo>
                    <a:pt x="474" y="1"/>
                  </a:lnTo>
                  <a:lnTo>
                    <a:pt x="480" y="2"/>
                  </a:lnTo>
                  <a:lnTo>
                    <a:pt x="487" y="4"/>
                  </a:lnTo>
                  <a:lnTo>
                    <a:pt x="492" y="6"/>
                  </a:lnTo>
                  <a:lnTo>
                    <a:pt x="498" y="9"/>
                  </a:lnTo>
                  <a:lnTo>
                    <a:pt x="502" y="13"/>
                  </a:lnTo>
                  <a:lnTo>
                    <a:pt x="530" y="41"/>
                  </a:lnTo>
                  <a:lnTo>
                    <a:pt x="489" y="82"/>
                  </a:lnTo>
                  <a:lnTo>
                    <a:pt x="489" y="82"/>
                  </a:lnTo>
                  <a:lnTo>
                    <a:pt x="480" y="84"/>
                  </a:lnTo>
                  <a:lnTo>
                    <a:pt x="472" y="88"/>
                  </a:lnTo>
                  <a:lnTo>
                    <a:pt x="464" y="92"/>
                  </a:lnTo>
                  <a:lnTo>
                    <a:pt x="457" y="98"/>
                  </a:lnTo>
                  <a:lnTo>
                    <a:pt x="457" y="98"/>
                  </a:lnTo>
                  <a:lnTo>
                    <a:pt x="453" y="103"/>
                  </a:lnTo>
                  <a:lnTo>
                    <a:pt x="449" y="108"/>
                  </a:lnTo>
                  <a:lnTo>
                    <a:pt x="444" y="118"/>
                  </a:lnTo>
                  <a:lnTo>
                    <a:pt x="440" y="129"/>
                  </a:lnTo>
                  <a:lnTo>
                    <a:pt x="439" y="141"/>
                  </a:lnTo>
                  <a:lnTo>
                    <a:pt x="440" y="152"/>
                  </a:lnTo>
                  <a:lnTo>
                    <a:pt x="444" y="163"/>
                  </a:lnTo>
                  <a:lnTo>
                    <a:pt x="449" y="174"/>
                  </a:lnTo>
                  <a:lnTo>
                    <a:pt x="453" y="179"/>
                  </a:lnTo>
                  <a:lnTo>
                    <a:pt x="457" y="183"/>
                  </a:lnTo>
                  <a:lnTo>
                    <a:pt x="457" y="183"/>
                  </a:lnTo>
                  <a:lnTo>
                    <a:pt x="461" y="187"/>
                  </a:lnTo>
                  <a:lnTo>
                    <a:pt x="466" y="192"/>
                  </a:lnTo>
                  <a:lnTo>
                    <a:pt x="477" y="197"/>
                  </a:lnTo>
                  <a:lnTo>
                    <a:pt x="488" y="201"/>
                  </a:lnTo>
                  <a:lnTo>
                    <a:pt x="499" y="202"/>
                  </a:lnTo>
                  <a:lnTo>
                    <a:pt x="511" y="201"/>
                  </a:lnTo>
                  <a:lnTo>
                    <a:pt x="522" y="197"/>
                  </a:lnTo>
                  <a:lnTo>
                    <a:pt x="532" y="192"/>
                  </a:lnTo>
                  <a:lnTo>
                    <a:pt x="537" y="187"/>
                  </a:lnTo>
                  <a:lnTo>
                    <a:pt x="542" y="183"/>
                  </a:lnTo>
                  <a:lnTo>
                    <a:pt x="542" y="183"/>
                  </a:lnTo>
                  <a:lnTo>
                    <a:pt x="548" y="176"/>
                  </a:lnTo>
                  <a:lnTo>
                    <a:pt x="552" y="168"/>
                  </a:lnTo>
                  <a:lnTo>
                    <a:pt x="556" y="160"/>
                  </a:lnTo>
                  <a:lnTo>
                    <a:pt x="558" y="151"/>
                  </a:lnTo>
                  <a:lnTo>
                    <a:pt x="599" y="110"/>
                  </a:lnTo>
                  <a:lnTo>
                    <a:pt x="628" y="13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 name="Freeform 137"/>
            <p:cNvSpPr>
              <a:spLocks/>
            </p:cNvSpPr>
            <p:nvPr/>
          </p:nvSpPr>
          <p:spPr bwMode="auto">
            <a:xfrm>
              <a:off x="4697730" y="3110866"/>
              <a:ext cx="173356" cy="173356"/>
            </a:xfrm>
            <a:custGeom>
              <a:avLst/>
              <a:gdLst>
                <a:gd name="T0" fmla="*/ 20 w 182"/>
                <a:gd name="T1" fmla="*/ 181 h 181"/>
                <a:gd name="T2" fmla="*/ 20 w 182"/>
                <a:gd name="T3" fmla="*/ 181 h 181"/>
                <a:gd name="T4" fmla="*/ 24 w 182"/>
                <a:gd name="T5" fmla="*/ 181 h 181"/>
                <a:gd name="T6" fmla="*/ 28 w 182"/>
                <a:gd name="T7" fmla="*/ 180 h 181"/>
                <a:gd name="T8" fmla="*/ 31 w 182"/>
                <a:gd name="T9" fmla="*/ 178 h 181"/>
                <a:gd name="T10" fmla="*/ 35 w 182"/>
                <a:gd name="T11" fmla="*/ 175 h 181"/>
                <a:gd name="T12" fmla="*/ 176 w 182"/>
                <a:gd name="T13" fmla="*/ 35 h 181"/>
                <a:gd name="T14" fmla="*/ 176 w 182"/>
                <a:gd name="T15" fmla="*/ 35 h 181"/>
                <a:gd name="T16" fmla="*/ 179 w 182"/>
                <a:gd name="T17" fmla="*/ 32 h 181"/>
                <a:gd name="T18" fmla="*/ 181 w 182"/>
                <a:gd name="T19" fmla="*/ 28 h 181"/>
                <a:gd name="T20" fmla="*/ 182 w 182"/>
                <a:gd name="T21" fmla="*/ 24 h 181"/>
                <a:gd name="T22" fmla="*/ 182 w 182"/>
                <a:gd name="T23" fmla="*/ 20 h 181"/>
                <a:gd name="T24" fmla="*/ 182 w 182"/>
                <a:gd name="T25" fmla="*/ 16 h 181"/>
                <a:gd name="T26" fmla="*/ 181 w 182"/>
                <a:gd name="T27" fmla="*/ 13 h 181"/>
                <a:gd name="T28" fmla="*/ 179 w 182"/>
                <a:gd name="T29" fmla="*/ 9 h 181"/>
                <a:gd name="T30" fmla="*/ 176 w 182"/>
                <a:gd name="T31" fmla="*/ 6 h 181"/>
                <a:gd name="T32" fmla="*/ 176 w 182"/>
                <a:gd name="T33" fmla="*/ 6 h 181"/>
                <a:gd name="T34" fmla="*/ 173 w 182"/>
                <a:gd name="T35" fmla="*/ 3 h 181"/>
                <a:gd name="T36" fmla="*/ 169 w 182"/>
                <a:gd name="T37" fmla="*/ 1 h 181"/>
                <a:gd name="T38" fmla="*/ 166 w 182"/>
                <a:gd name="T39" fmla="*/ 0 h 181"/>
                <a:gd name="T40" fmla="*/ 162 w 182"/>
                <a:gd name="T41" fmla="*/ 0 h 181"/>
                <a:gd name="T42" fmla="*/ 158 w 182"/>
                <a:gd name="T43" fmla="*/ 0 h 181"/>
                <a:gd name="T44" fmla="*/ 154 w 182"/>
                <a:gd name="T45" fmla="*/ 1 h 181"/>
                <a:gd name="T46" fmla="*/ 150 w 182"/>
                <a:gd name="T47" fmla="*/ 3 h 181"/>
                <a:gd name="T48" fmla="*/ 147 w 182"/>
                <a:gd name="T49" fmla="*/ 6 h 181"/>
                <a:gd name="T50" fmla="*/ 6 w 182"/>
                <a:gd name="T51" fmla="*/ 146 h 181"/>
                <a:gd name="T52" fmla="*/ 6 w 182"/>
                <a:gd name="T53" fmla="*/ 146 h 181"/>
                <a:gd name="T54" fmla="*/ 3 w 182"/>
                <a:gd name="T55" fmla="*/ 150 h 181"/>
                <a:gd name="T56" fmla="*/ 1 w 182"/>
                <a:gd name="T57" fmla="*/ 153 h 181"/>
                <a:gd name="T58" fmla="*/ 0 w 182"/>
                <a:gd name="T59" fmla="*/ 157 h 181"/>
                <a:gd name="T60" fmla="*/ 0 w 182"/>
                <a:gd name="T61" fmla="*/ 161 h 181"/>
                <a:gd name="T62" fmla="*/ 0 w 182"/>
                <a:gd name="T63" fmla="*/ 165 h 181"/>
                <a:gd name="T64" fmla="*/ 1 w 182"/>
                <a:gd name="T65" fmla="*/ 169 h 181"/>
                <a:gd name="T66" fmla="*/ 3 w 182"/>
                <a:gd name="T67" fmla="*/ 172 h 181"/>
                <a:gd name="T68" fmla="*/ 6 w 182"/>
                <a:gd name="T69" fmla="*/ 175 h 181"/>
                <a:gd name="T70" fmla="*/ 6 w 182"/>
                <a:gd name="T71" fmla="*/ 175 h 181"/>
                <a:gd name="T72" fmla="*/ 9 w 182"/>
                <a:gd name="T73" fmla="*/ 178 h 181"/>
                <a:gd name="T74" fmla="*/ 12 w 182"/>
                <a:gd name="T75" fmla="*/ 180 h 181"/>
                <a:gd name="T76" fmla="*/ 16 w 182"/>
                <a:gd name="T77" fmla="*/ 181 h 181"/>
                <a:gd name="T78" fmla="*/ 20 w 182"/>
                <a:gd name="T79"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2" h="181">
                  <a:moveTo>
                    <a:pt x="20" y="181"/>
                  </a:moveTo>
                  <a:lnTo>
                    <a:pt x="20" y="181"/>
                  </a:lnTo>
                  <a:lnTo>
                    <a:pt x="24" y="181"/>
                  </a:lnTo>
                  <a:lnTo>
                    <a:pt x="28" y="180"/>
                  </a:lnTo>
                  <a:lnTo>
                    <a:pt x="31" y="178"/>
                  </a:lnTo>
                  <a:lnTo>
                    <a:pt x="35" y="175"/>
                  </a:lnTo>
                  <a:lnTo>
                    <a:pt x="176" y="35"/>
                  </a:lnTo>
                  <a:lnTo>
                    <a:pt x="176" y="35"/>
                  </a:lnTo>
                  <a:lnTo>
                    <a:pt x="179" y="32"/>
                  </a:lnTo>
                  <a:lnTo>
                    <a:pt x="181" y="28"/>
                  </a:lnTo>
                  <a:lnTo>
                    <a:pt x="182" y="24"/>
                  </a:lnTo>
                  <a:lnTo>
                    <a:pt x="182" y="20"/>
                  </a:lnTo>
                  <a:lnTo>
                    <a:pt x="182" y="16"/>
                  </a:lnTo>
                  <a:lnTo>
                    <a:pt x="181" y="13"/>
                  </a:lnTo>
                  <a:lnTo>
                    <a:pt x="179" y="9"/>
                  </a:lnTo>
                  <a:lnTo>
                    <a:pt x="176" y="6"/>
                  </a:lnTo>
                  <a:lnTo>
                    <a:pt x="176" y="6"/>
                  </a:lnTo>
                  <a:lnTo>
                    <a:pt x="173" y="3"/>
                  </a:lnTo>
                  <a:lnTo>
                    <a:pt x="169" y="1"/>
                  </a:lnTo>
                  <a:lnTo>
                    <a:pt x="166" y="0"/>
                  </a:lnTo>
                  <a:lnTo>
                    <a:pt x="162" y="0"/>
                  </a:lnTo>
                  <a:lnTo>
                    <a:pt x="158" y="0"/>
                  </a:lnTo>
                  <a:lnTo>
                    <a:pt x="154" y="1"/>
                  </a:lnTo>
                  <a:lnTo>
                    <a:pt x="150" y="3"/>
                  </a:lnTo>
                  <a:lnTo>
                    <a:pt x="147" y="6"/>
                  </a:lnTo>
                  <a:lnTo>
                    <a:pt x="6" y="146"/>
                  </a:lnTo>
                  <a:lnTo>
                    <a:pt x="6" y="146"/>
                  </a:lnTo>
                  <a:lnTo>
                    <a:pt x="3" y="150"/>
                  </a:lnTo>
                  <a:lnTo>
                    <a:pt x="1" y="153"/>
                  </a:lnTo>
                  <a:lnTo>
                    <a:pt x="0" y="157"/>
                  </a:lnTo>
                  <a:lnTo>
                    <a:pt x="0" y="161"/>
                  </a:lnTo>
                  <a:lnTo>
                    <a:pt x="0" y="165"/>
                  </a:lnTo>
                  <a:lnTo>
                    <a:pt x="1" y="169"/>
                  </a:lnTo>
                  <a:lnTo>
                    <a:pt x="3" y="172"/>
                  </a:lnTo>
                  <a:lnTo>
                    <a:pt x="6" y="175"/>
                  </a:lnTo>
                  <a:lnTo>
                    <a:pt x="6" y="175"/>
                  </a:lnTo>
                  <a:lnTo>
                    <a:pt x="9" y="178"/>
                  </a:lnTo>
                  <a:lnTo>
                    <a:pt x="12" y="180"/>
                  </a:lnTo>
                  <a:lnTo>
                    <a:pt x="16" y="181"/>
                  </a:lnTo>
                  <a:lnTo>
                    <a:pt x="20" y="18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56" name="Group 255"/>
          <p:cNvGrpSpPr/>
          <p:nvPr/>
        </p:nvGrpSpPr>
        <p:grpSpPr>
          <a:xfrm>
            <a:off x="5373409" y="1575773"/>
            <a:ext cx="202711" cy="279095"/>
            <a:chOff x="6038850" y="1693544"/>
            <a:chExt cx="525780" cy="723902"/>
          </a:xfrm>
          <a:solidFill>
            <a:schemeClr val="accent3"/>
          </a:solidFill>
        </p:grpSpPr>
        <p:sp>
          <p:nvSpPr>
            <p:cNvPr id="257" name="Freeform 396"/>
            <p:cNvSpPr>
              <a:spLocks noEditPoints="1"/>
            </p:cNvSpPr>
            <p:nvPr/>
          </p:nvSpPr>
          <p:spPr bwMode="auto">
            <a:xfrm>
              <a:off x="6038850" y="1693544"/>
              <a:ext cx="525780" cy="723900"/>
            </a:xfrm>
            <a:custGeom>
              <a:avLst/>
              <a:gdLst>
                <a:gd name="T0" fmla="*/ 22 w 553"/>
                <a:gd name="T1" fmla="*/ 94 h 760"/>
                <a:gd name="T2" fmla="*/ 43 w 553"/>
                <a:gd name="T3" fmla="*/ 100 h 760"/>
                <a:gd name="T4" fmla="*/ 139 w 553"/>
                <a:gd name="T5" fmla="*/ 202 h 760"/>
                <a:gd name="T6" fmla="*/ 131 w 553"/>
                <a:gd name="T7" fmla="*/ 225 h 760"/>
                <a:gd name="T8" fmla="*/ 113 w 553"/>
                <a:gd name="T9" fmla="*/ 233 h 760"/>
                <a:gd name="T10" fmla="*/ 6 w 553"/>
                <a:gd name="T11" fmla="*/ 136 h 760"/>
                <a:gd name="T12" fmla="*/ 0 w 553"/>
                <a:gd name="T13" fmla="*/ 119 h 760"/>
                <a:gd name="T14" fmla="*/ 276 w 553"/>
                <a:gd name="T15" fmla="*/ 0 h 760"/>
                <a:gd name="T16" fmla="*/ 295 w 553"/>
                <a:gd name="T17" fmla="*/ 6 h 760"/>
                <a:gd name="T18" fmla="*/ 304 w 553"/>
                <a:gd name="T19" fmla="*/ 149 h 760"/>
                <a:gd name="T20" fmla="*/ 297 w 553"/>
                <a:gd name="T21" fmla="*/ 166 h 760"/>
                <a:gd name="T22" fmla="*/ 278 w 553"/>
                <a:gd name="T23" fmla="*/ 173 h 760"/>
                <a:gd name="T24" fmla="*/ 257 w 553"/>
                <a:gd name="T25" fmla="*/ 163 h 760"/>
                <a:gd name="T26" fmla="*/ 251 w 553"/>
                <a:gd name="T27" fmla="*/ 23 h 760"/>
                <a:gd name="T28" fmla="*/ 262 w 553"/>
                <a:gd name="T29" fmla="*/ 4 h 760"/>
                <a:gd name="T30" fmla="*/ 545 w 553"/>
                <a:gd name="T31" fmla="*/ 102 h 760"/>
                <a:gd name="T32" fmla="*/ 553 w 553"/>
                <a:gd name="T33" fmla="*/ 124 h 760"/>
                <a:gd name="T34" fmla="*/ 457 w 553"/>
                <a:gd name="T35" fmla="*/ 227 h 760"/>
                <a:gd name="T36" fmla="*/ 435 w 553"/>
                <a:gd name="T37" fmla="*/ 232 h 760"/>
                <a:gd name="T38" fmla="*/ 418 w 553"/>
                <a:gd name="T39" fmla="*/ 221 h 760"/>
                <a:gd name="T40" fmla="*/ 415 w 553"/>
                <a:gd name="T41" fmla="*/ 198 h 760"/>
                <a:gd name="T42" fmla="*/ 514 w 553"/>
                <a:gd name="T43" fmla="*/ 97 h 760"/>
                <a:gd name="T44" fmla="*/ 537 w 553"/>
                <a:gd name="T45" fmla="*/ 96 h 760"/>
                <a:gd name="T46" fmla="*/ 364 w 553"/>
                <a:gd name="T47" fmla="*/ 627 h 760"/>
                <a:gd name="T48" fmla="*/ 350 w 553"/>
                <a:gd name="T49" fmla="*/ 646 h 760"/>
                <a:gd name="T50" fmla="*/ 209 w 553"/>
                <a:gd name="T51" fmla="*/ 647 h 760"/>
                <a:gd name="T52" fmla="*/ 192 w 553"/>
                <a:gd name="T53" fmla="*/ 632 h 760"/>
                <a:gd name="T54" fmla="*/ 192 w 553"/>
                <a:gd name="T55" fmla="*/ 612 h 760"/>
                <a:gd name="T56" fmla="*/ 209 w 553"/>
                <a:gd name="T57" fmla="*/ 596 h 760"/>
                <a:gd name="T58" fmla="*/ 350 w 553"/>
                <a:gd name="T59" fmla="*/ 597 h 760"/>
                <a:gd name="T60" fmla="*/ 364 w 553"/>
                <a:gd name="T61" fmla="*/ 617 h 760"/>
                <a:gd name="T62" fmla="*/ 363 w 553"/>
                <a:gd name="T63" fmla="*/ 701 h 760"/>
                <a:gd name="T64" fmla="*/ 346 w 553"/>
                <a:gd name="T65" fmla="*/ 717 h 760"/>
                <a:gd name="T66" fmla="*/ 205 w 553"/>
                <a:gd name="T67" fmla="*/ 715 h 760"/>
                <a:gd name="T68" fmla="*/ 191 w 553"/>
                <a:gd name="T69" fmla="*/ 696 h 760"/>
                <a:gd name="T70" fmla="*/ 194 w 553"/>
                <a:gd name="T71" fmla="*/ 677 h 760"/>
                <a:gd name="T72" fmla="*/ 214 w 553"/>
                <a:gd name="T73" fmla="*/ 665 h 760"/>
                <a:gd name="T74" fmla="*/ 354 w 553"/>
                <a:gd name="T75" fmla="*/ 670 h 760"/>
                <a:gd name="T76" fmla="*/ 364 w 553"/>
                <a:gd name="T77" fmla="*/ 691 h 760"/>
                <a:gd name="T78" fmla="*/ 258 w 553"/>
                <a:gd name="T79" fmla="*/ 756 h 760"/>
                <a:gd name="T80" fmla="*/ 229 w 553"/>
                <a:gd name="T81" fmla="*/ 734 h 760"/>
                <a:gd name="T82" fmla="*/ 308 w 553"/>
                <a:gd name="T83" fmla="*/ 750 h 760"/>
                <a:gd name="T84" fmla="*/ 277 w 553"/>
                <a:gd name="T85" fmla="*/ 760 h 760"/>
                <a:gd name="T86" fmla="*/ 165 w 553"/>
                <a:gd name="T87" fmla="*/ 555 h 760"/>
                <a:gd name="T88" fmla="*/ 124 w 553"/>
                <a:gd name="T89" fmla="*/ 512 h 760"/>
                <a:gd name="T90" fmla="*/ 99 w 553"/>
                <a:gd name="T91" fmla="*/ 457 h 760"/>
                <a:gd name="T92" fmla="*/ 92 w 553"/>
                <a:gd name="T93" fmla="*/ 408 h 760"/>
                <a:gd name="T94" fmla="*/ 115 w 553"/>
                <a:gd name="T95" fmla="*/ 319 h 760"/>
                <a:gd name="T96" fmla="*/ 174 w 553"/>
                <a:gd name="T97" fmla="*/ 254 h 760"/>
                <a:gd name="T98" fmla="*/ 259 w 553"/>
                <a:gd name="T99" fmla="*/ 223 h 760"/>
                <a:gd name="T100" fmla="*/ 333 w 553"/>
                <a:gd name="T101" fmla="*/ 231 h 760"/>
                <a:gd name="T102" fmla="*/ 408 w 553"/>
                <a:gd name="T103" fmla="*/ 277 h 760"/>
                <a:gd name="T104" fmla="*/ 455 w 553"/>
                <a:gd name="T105" fmla="*/ 352 h 760"/>
                <a:gd name="T106" fmla="*/ 463 w 553"/>
                <a:gd name="T107" fmla="*/ 421 h 760"/>
                <a:gd name="T108" fmla="*/ 448 w 553"/>
                <a:gd name="T109" fmla="*/ 480 h 760"/>
                <a:gd name="T110" fmla="*/ 416 w 553"/>
                <a:gd name="T111" fmla="*/ 531 h 760"/>
                <a:gd name="T112" fmla="*/ 370 w 553"/>
                <a:gd name="T113" fmla="*/ 568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760">
                  <a:moveTo>
                    <a:pt x="8" y="102"/>
                  </a:moveTo>
                  <a:lnTo>
                    <a:pt x="8" y="102"/>
                  </a:lnTo>
                  <a:lnTo>
                    <a:pt x="12" y="98"/>
                  </a:lnTo>
                  <a:lnTo>
                    <a:pt x="16" y="96"/>
                  </a:lnTo>
                  <a:lnTo>
                    <a:pt x="22" y="94"/>
                  </a:lnTo>
                  <a:lnTo>
                    <a:pt x="27" y="93"/>
                  </a:lnTo>
                  <a:lnTo>
                    <a:pt x="31" y="94"/>
                  </a:lnTo>
                  <a:lnTo>
                    <a:pt x="36" y="95"/>
                  </a:lnTo>
                  <a:lnTo>
                    <a:pt x="40" y="97"/>
                  </a:lnTo>
                  <a:lnTo>
                    <a:pt x="43" y="100"/>
                  </a:lnTo>
                  <a:lnTo>
                    <a:pt x="133" y="190"/>
                  </a:lnTo>
                  <a:lnTo>
                    <a:pt x="133" y="190"/>
                  </a:lnTo>
                  <a:lnTo>
                    <a:pt x="136" y="194"/>
                  </a:lnTo>
                  <a:lnTo>
                    <a:pt x="138" y="198"/>
                  </a:lnTo>
                  <a:lnTo>
                    <a:pt x="139" y="202"/>
                  </a:lnTo>
                  <a:lnTo>
                    <a:pt x="139" y="207"/>
                  </a:lnTo>
                  <a:lnTo>
                    <a:pt x="138" y="212"/>
                  </a:lnTo>
                  <a:lnTo>
                    <a:pt x="137" y="216"/>
                  </a:lnTo>
                  <a:lnTo>
                    <a:pt x="134" y="221"/>
                  </a:lnTo>
                  <a:lnTo>
                    <a:pt x="131" y="225"/>
                  </a:lnTo>
                  <a:lnTo>
                    <a:pt x="131" y="225"/>
                  </a:lnTo>
                  <a:lnTo>
                    <a:pt x="127" y="228"/>
                  </a:lnTo>
                  <a:lnTo>
                    <a:pt x="123" y="231"/>
                  </a:lnTo>
                  <a:lnTo>
                    <a:pt x="118" y="232"/>
                  </a:lnTo>
                  <a:lnTo>
                    <a:pt x="113" y="233"/>
                  </a:lnTo>
                  <a:lnTo>
                    <a:pt x="109" y="233"/>
                  </a:lnTo>
                  <a:lnTo>
                    <a:pt x="104" y="232"/>
                  </a:lnTo>
                  <a:lnTo>
                    <a:pt x="100" y="230"/>
                  </a:lnTo>
                  <a:lnTo>
                    <a:pt x="96" y="227"/>
                  </a:lnTo>
                  <a:lnTo>
                    <a:pt x="6" y="136"/>
                  </a:lnTo>
                  <a:lnTo>
                    <a:pt x="6" y="136"/>
                  </a:lnTo>
                  <a:lnTo>
                    <a:pt x="3" y="133"/>
                  </a:lnTo>
                  <a:lnTo>
                    <a:pt x="1" y="129"/>
                  </a:lnTo>
                  <a:lnTo>
                    <a:pt x="0" y="124"/>
                  </a:lnTo>
                  <a:lnTo>
                    <a:pt x="0" y="119"/>
                  </a:lnTo>
                  <a:lnTo>
                    <a:pt x="0" y="115"/>
                  </a:lnTo>
                  <a:lnTo>
                    <a:pt x="2" y="110"/>
                  </a:lnTo>
                  <a:lnTo>
                    <a:pt x="4" y="106"/>
                  </a:lnTo>
                  <a:lnTo>
                    <a:pt x="8" y="102"/>
                  </a:lnTo>
                  <a:close/>
                  <a:moveTo>
                    <a:pt x="276" y="0"/>
                  </a:moveTo>
                  <a:lnTo>
                    <a:pt x="276" y="0"/>
                  </a:lnTo>
                  <a:lnTo>
                    <a:pt x="282" y="0"/>
                  </a:lnTo>
                  <a:lnTo>
                    <a:pt x="287" y="1"/>
                  </a:lnTo>
                  <a:lnTo>
                    <a:pt x="291" y="3"/>
                  </a:lnTo>
                  <a:lnTo>
                    <a:pt x="295" y="6"/>
                  </a:lnTo>
                  <a:lnTo>
                    <a:pt x="298" y="10"/>
                  </a:lnTo>
                  <a:lnTo>
                    <a:pt x="300" y="13"/>
                  </a:lnTo>
                  <a:lnTo>
                    <a:pt x="302" y="18"/>
                  </a:lnTo>
                  <a:lnTo>
                    <a:pt x="303" y="22"/>
                  </a:lnTo>
                  <a:lnTo>
                    <a:pt x="304" y="149"/>
                  </a:lnTo>
                  <a:lnTo>
                    <a:pt x="304" y="149"/>
                  </a:lnTo>
                  <a:lnTo>
                    <a:pt x="304" y="154"/>
                  </a:lnTo>
                  <a:lnTo>
                    <a:pt x="302" y="158"/>
                  </a:lnTo>
                  <a:lnTo>
                    <a:pt x="300" y="162"/>
                  </a:lnTo>
                  <a:lnTo>
                    <a:pt x="297" y="166"/>
                  </a:lnTo>
                  <a:lnTo>
                    <a:pt x="293" y="168"/>
                  </a:lnTo>
                  <a:lnTo>
                    <a:pt x="288" y="171"/>
                  </a:lnTo>
                  <a:lnTo>
                    <a:pt x="284" y="172"/>
                  </a:lnTo>
                  <a:lnTo>
                    <a:pt x="278" y="173"/>
                  </a:lnTo>
                  <a:lnTo>
                    <a:pt x="278" y="173"/>
                  </a:lnTo>
                  <a:lnTo>
                    <a:pt x="273" y="172"/>
                  </a:lnTo>
                  <a:lnTo>
                    <a:pt x="268" y="171"/>
                  </a:lnTo>
                  <a:lnTo>
                    <a:pt x="264" y="169"/>
                  </a:lnTo>
                  <a:lnTo>
                    <a:pt x="260" y="166"/>
                  </a:lnTo>
                  <a:lnTo>
                    <a:pt x="257" y="163"/>
                  </a:lnTo>
                  <a:lnTo>
                    <a:pt x="254" y="159"/>
                  </a:lnTo>
                  <a:lnTo>
                    <a:pt x="253" y="154"/>
                  </a:lnTo>
                  <a:lnTo>
                    <a:pt x="252" y="150"/>
                  </a:lnTo>
                  <a:lnTo>
                    <a:pt x="251" y="23"/>
                  </a:lnTo>
                  <a:lnTo>
                    <a:pt x="251" y="23"/>
                  </a:lnTo>
                  <a:lnTo>
                    <a:pt x="251" y="18"/>
                  </a:lnTo>
                  <a:lnTo>
                    <a:pt x="253" y="14"/>
                  </a:lnTo>
                  <a:lnTo>
                    <a:pt x="255" y="10"/>
                  </a:lnTo>
                  <a:lnTo>
                    <a:pt x="258" y="7"/>
                  </a:lnTo>
                  <a:lnTo>
                    <a:pt x="262" y="4"/>
                  </a:lnTo>
                  <a:lnTo>
                    <a:pt x="266" y="2"/>
                  </a:lnTo>
                  <a:lnTo>
                    <a:pt x="271" y="0"/>
                  </a:lnTo>
                  <a:lnTo>
                    <a:pt x="276" y="0"/>
                  </a:lnTo>
                  <a:close/>
                  <a:moveTo>
                    <a:pt x="545" y="102"/>
                  </a:moveTo>
                  <a:lnTo>
                    <a:pt x="545" y="102"/>
                  </a:lnTo>
                  <a:lnTo>
                    <a:pt x="548" y="106"/>
                  </a:lnTo>
                  <a:lnTo>
                    <a:pt x="551" y="110"/>
                  </a:lnTo>
                  <a:lnTo>
                    <a:pt x="552" y="115"/>
                  </a:lnTo>
                  <a:lnTo>
                    <a:pt x="553" y="119"/>
                  </a:lnTo>
                  <a:lnTo>
                    <a:pt x="553" y="124"/>
                  </a:lnTo>
                  <a:lnTo>
                    <a:pt x="552" y="129"/>
                  </a:lnTo>
                  <a:lnTo>
                    <a:pt x="550" y="133"/>
                  </a:lnTo>
                  <a:lnTo>
                    <a:pt x="547" y="136"/>
                  </a:lnTo>
                  <a:lnTo>
                    <a:pt x="457" y="227"/>
                  </a:lnTo>
                  <a:lnTo>
                    <a:pt x="457" y="227"/>
                  </a:lnTo>
                  <a:lnTo>
                    <a:pt x="454" y="230"/>
                  </a:lnTo>
                  <a:lnTo>
                    <a:pt x="449" y="232"/>
                  </a:lnTo>
                  <a:lnTo>
                    <a:pt x="444" y="233"/>
                  </a:lnTo>
                  <a:lnTo>
                    <a:pt x="439" y="233"/>
                  </a:lnTo>
                  <a:lnTo>
                    <a:pt x="435" y="232"/>
                  </a:lnTo>
                  <a:lnTo>
                    <a:pt x="430" y="231"/>
                  </a:lnTo>
                  <a:lnTo>
                    <a:pt x="426" y="228"/>
                  </a:lnTo>
                  <a:lnTo>
                    <a:pt x="422" y="225"/>
                  </a:lnTo>
                  <a:lnTo>
                    <a:pt x="422" y="225"/>
                  </a:lnTo>
                  <a:lnTo>
                    <a:pt x="418" y="221"/>
                  </a:lnTo>
                  <a:lnTo>
                    <a:pt x="416" y="216"/>
                  </a:lnTo>
                  <a:lnTo>
                    <a:pt x="414" y="212"/>
                  </a:lnTo>
                  <a:lnTo>
                    <a:pt x="414" y="207"/>
                  </a:lnTo>
                  <a:lnTo>
                    <a:pt x="414" y="202"/>
                  </a:lnTo>
                  <a:lnTo>
                    <a:pt x="415" y="198"/>
                  </a:lnTo>
                  <a:lnTo>
                    <a:pt x="417" y="194"/>
                  </a:lnTo>
                  <a:lnTo>
                    <a:pt x="420" y="190"/>
                  </a:lnTo>
                  <a:lnTo>
                    <a:pt x="510" y="100"/>
                  </a:lnTo>
                  <a:lnTo>
                    <a:pt x="510" y="100"/>
                  </a:lnTo>
                  <a:lnTo>
                    <a:pt x="514" y="97"/>
                  </a:lnTo>
                  <a:lnTo>
                    <a:pt x="518" y="95"/>
                  </a:lnTo>
                  <a:lnTo>
                    <a:pt x="523" y="94"/>
                  </a:lnTo>
                  <a:lnTo>
                    <a:pt x="527" y="93"/>
                  </a:lnTo>
                  <a:lnTo>
                    <a:pt x="532" y="94"/>
                  </a:lnTo>
                  <a:lnTo>
                    <a:pt x="537" y="96"/>
                  </a:lnTo>
                  <a:lnTo>
                    <a:pt x="541" y="98"/>
                  </a:lnTo>
                  <a:lnTo>
                    <a:pt x="545" y="102"/>
                  </a:lnTo>
                  <a:close/>
                  <a:moveTo>
                    <a:pt x="364" y="622"/>
                  </a:moveTo>
                  <a:lnTo>
                    <a:pt x="364" y="622"/>
                  </a:lnTo>
                  <a:lnTo>
                    <a:pt x="364" y="627"/>
                  </a:lnTo>
                  <a:lnTo>
                    <a:pt x="363" y="632"/>
                  </a:lnTo>
                  <a:lnTo>
                    <a:pt x="360" y="637"/>
                  </a:lnTo>
                  <a:lnTo>
                    <a:pt x="358" y="640"/>
                  </a:lnTo>
                  <a:lnTo>
                    <a:pt x="354" y="644"/>
                  </a:lnTo>
                  <a:lnTo>
                    <a:pt x="350" y="646"/>
                  </a:lnTo>
                  <a:lnTo>
                    <a:pt x="346" y="647"/>
                  </a:lnTo>
                  <a:lnTo>
                    <a:pt x="341" y="648"/>
                  </a:lnTo>
                  <a:lnTo>
                    <a:pt x="214" y="648"/>
                  </a:lnTo>
                  <a:lnTo>
                    <a:pt x="214" y="648"/>
                  </a:lnTo>
                  <a:lnTo>
                    <a:pt x="209" y="647"/>
                  </a:lnTo>
                  <a:lnTo>
                    <a:pt x="205" y="646"/>
                  </a:lnTo>
                  <a:lnTo>
                    <a:pt x="201" y="644"/>
                  </a:lnTo>
                  <a:lnTo>
                    <a:pt x="197" y="640"/>
                  </a:lnTo>
                  <a:lnTo>
                    <a:pt x="194" y="637"/>
                  </a:lnTo>
                  <a:lnTo>
                    <a:pt x="192" y="632"/>
                  </a:lnTo>
                  <a:lnTo>
                    <a:pt x="191" y="627"/>
                  </a:lnTo>
                  <a:lnTo>
                    <a:pt x="191" y="622"/>
                  </a:lnTo>
                  <a:lnTo>
                    <a:pt x="191" y="622"/>
                  </a:lnTo>
                  <a:lnTo>
                    <a:pt x="191" y="617"/>
                  </a:lnTo>
                  <a:lnTo>
                    <a:pt x="192" y="612"/>
                  </a:lnTo>
                  <a:lnTo>
                    <a:pt x="194" y="607"/>
                  </a:lnTo>
                  <a:lnTo>
                    <a:pt x="197" y="603"/>
                  </a:lnTo>
                  <a:lnTo>
                    <a:pt x="201" y="600"/>
                  </a:lnTo>
                  <a:lnTo>
                    <a:pt x="205" y="597"/>
                  </a:lnTo>
                  <a:lnTo>
                    <a:pt x="209" y="596"/>
                  </a:lnTo>
                  <a:lnTo>
                    <a:pt x="214" y="595"/>
                  </a:lnTo>
                  <a:lnTo>
                    <a:pt x="341" y="595"/>
                  </a:lnTo>
                  <a:lnTo>
                    <a:pt x="341" y="595"/>
                  </a:lnTo>
                  <a:lnTo>
                    <a:pt x="346" y="596"/>
                  </a:lnTo>
                  <a:lnTo>
                    <a:pt x="350" y="597"/>
                  </a:lnTo>
                  <a:lnTo>
                    <a:pt x="354" y="600"/>
                  </a:lnTo>
                  <a:lnTo>
                    <a:pt x="358" y="603"/>
                  </a:lnTo>
                  <a:lnTo>
                    <a:pt x="360" y="607"/>
                  </a:lnTo>
                  <a:lnTo>
                    <a:pt x="363" y="612"/>
                  </a:lnTo>
                  <a:lnTo>
                    <a:pt x="364" y="617"/>
                  </a:lnTo>
                  <a:lnTo>
                    <a:pt x="364" y="622"/>
                  </a:lnTo>
                  <a:close/>
                  <a:moveTo>
                    <a:pt x="364" y="691"/>
                  </a:moveTo>
                  <a:lnTo>
                    <a:pt x="364" y="691"/>
                  </a:lnTo>
                  <a:lnTo>
                    <a:pt x="364" y="696"/>
                  </a:lnTo>
                  <a:lnTo>
                    <a:pt x="363" y="701"/>
                  </a:lnTo>
                  <a:lnTo>
                    <a:pt x="360" y="706"/>
                  </a:lnTo>
                  <a:lnTo>
                    <a:pt x="358" y="710"/>
                  </a:lnTo>
                  <a:lnTo>
                    <a:pt x="354" y="713"/>
                  </a:lnTo>
                  <a:lnTo>
                    <a:pt x="350" y="715"/>
                  </a:lnTo>
                  <a:lnTo>
                    <a:pt x="346" y="717"/>
                  </a:lnTo>
                  <a:lnTo>
                    <a:pt x="341" y="717"/>
                  </a:lnTo>
                  <a:lnTo>
                    <a:pt x="214" y="717"/>
                  </a:lnTo>
                  <a:lnTo>
                    <a:pt x="214" y="717"/>
                  </a:lnTo>
                  <a:lnTo>
                    <a:pt x="209" y="717"/>
                  </a:lnTo>
                  <a:lnTo>
                    <a:pt x="205" y="715"/>
                  </a:lnTo>
                  <a:lnTo>
                    <a:pt x="201" y="713"/>
                  </a:lnTo>
                  <a:lnTo>
                    <a:pt x="197" y="710"/>
                  </a:lnTo>
                  <a:lnTo>
                    <a:pt x="194" y="706"/>
                  </a:lnTo>
                  <a:lnTo>
                    <a:pt x="192" y="701"/>
                  </a:lnTo>
                  <a:lnTo>
                    <a:pt x="191" y="696"/>
                  </a:lnTo>
                  <a:lnTo>
                    <a:pt x="191" y="691"/>
                  </a:lnTo>
                  <a:lnTo>
                    <a:pt x="191" y="691"/>
                  </a:lnTo>
                  <a:lnTo>
                    <a:pt x="191" y="686"/>
                  </a:lnTo>
                  <a:lnTo>
                    <a:pt x="192" y="681"/>
                  </a:lnTo>
                  <a:lnTo>
                    <a:pt x="194" y="677"/>
                  </a:lnTo>
                  <a:lnTo>
                    <a:pt x="197" y="673"/>
                  </a:lnTo>
                  <a:lnTo>
                    <a:pt x="201" y="670"/>
                  </a:lnTo>
                  <a:lnTo>
                    <a:pt x="205" y="667"/>
                  </a:lnTo>
                  <a:lnTo>
                    <a:pt x="209" y="666"/>
                  </a:lnTo>
                  <a:lnTo>
                    <a:pt x="214" y="665"/>
                  </a:lnTo>
                  <a:lnTo>
                    <a:pt x="341" y="665"/>
                  </a:lnTo>
                  <a:lnTo>
                    <a:pt x="341" y="665"/>
                  </a:lnTo>
                  <a:lnTo>
                    <a:pt x="346" y="666"/>
                  </a:lnTo>
                  <a:lnTo>
                    <a:pt x="350" y="667"/>
                  </a:lnTo>
                  <a:lnTo>
                    <a:pt x="354" y="670"/>
                  </a:lnTo>
                  <a:lnTo>
                    <a:pt x="358" y="673"/>
                  </a:lnTo>
                  <a:lnTo>
                    <a:pt x="360" y="677"/>
                  </a:lnTo>
                  <a:lnTo>
                    <a:pt x="363" y="681"/>
                  </a:lnTo>
                  <a:lnTo>
                    <a:pt x="364" y="686"/>
                  </a:lnTo>
                  <a:lnTo>
                    <a:pt x="364" y="691"/>
                  </a:lnTo>
                  <a:close/>
                  <a:moveTo>
                    <a:pt x="277" y="760"/>
                  </a:moveTo>
                  <a:lnTo>
                    <a:pt x="277" y="760"/>
                  </a:lnTo>
                  <a:lnTo>
                    <a:pt x="271" y="760"/>
                  </a:lnTo>
                  <a:lnTo>
                    <a:pt x="265" y="759"/>
                  </a:lnTo>
                  <a:lnTo>
                    <a:pt x="258" y="756"/>
                  </a:lnTo>
                  <a:lnTo>
                    <a:pt x="252" y="754"/>
                  </a:lnTo>
                  <a:lnTo>
                    <a:pt x="246" y="750"/>
                  </a:lnTo>
                  <a:lnTo>
                    <a:pt x="241" y="745"/>
                  </a:lnTo>
                  <a:lnTo>
                    <a:pt x="234" y="740"/>
                  </a:lnTo>
                  <a:lnTo>
                    <a:pt x="229" y="734"/>
                  </a:lnTo>
                  <a:lnTo>
                    <a:pt x="325" y="734"/>
                  </a:lnTo>
                  <a:lnTo>
                    <a:pt x="325" y="734"/>
                  </a:lnTo>
                  <a:lnTo>
                    <a:pt x="320" y="740"/>
                  </a:lnTo>
                  <a:lnTo>
                    <a:pt x="314" y="745"/>
                  </a:lnTo>
                  <a:lnTo>
                    <a:pt x="308" y="750"/>
                  </a:lnTo>
                  <a:lnTo>
                    <a:pt x="302" y="754"/>
                  </a:lnTo>
                  <a:lnTo>
                    <a:pt x="296" y="756"/>
                  </a:lnTo>
                  <a:lnTo>
                    <a:pt x="290" y="759"/>
                  </a:lnTo>
                  <a:lnTo>
                    <a:pt x="284" y="760"/>
                  </a:lnTo>
                  <a:lnTo>
                    <a:pt x="277" y="760"/>
                  </a:lnTo>
                  <a:close/>
                  <a:moveTo>
                    <a:pt x="187" y="569"/>
                  </a:moveTo>
                  <a:lnTo>
                    <a:pt x="185" y="568"/>
                  </a:lnTo>
                  <a:lnTo>
                    <a:pt x="185" y="568"/>
                  </a:lnTo>
                  <a:lnTo>
                    <a:pt x="175" y="562"/>
                  </a:lnTo>
                  <a:lnTo>
                    <a:pt x="165" y="555"/>
                  </a:lnTo>
                  <a:lnTo>
                    <a:pt x="156" y="547"/>
                  </a:lnTo>
                  <a:lnTo>
                    <a:pt x="147" y="539"/>
                  </a:lnTo>
                  <a:lnTo>
                    <a:pt x="139" y="531"/>
                  </a:lnTo>
                  <a:lnTo>
                    <a:pt x="131" y="521"/>
                  </a:lnTo>
                  <a:lnTo>
                    <a:pt x="124" y="512"/>
                  </a:lnTo>
                  <a:lnTo>
                    <a:pt x="118" y="502"/>
                  </a:lnTo>
                  <a:lnTo>
                    <a:pt x="112" y="491"/>
                  </a:lnTo>
                  <a:lnTo>
                    <a:pt x="107" y="480"/>
                  </a:lnTo>
                  <a:lnTo>
                    <a:pt x="103" y="469"/>
                  </a:lnTo>
                  <a:lnTo>
                    <a:pt x="99" y="457"/>
                  </a:lnTo>
                  <a:lnTo>
                    <a:pt x="96" y="446"/>
                  </a:lnTo>
                  <a:lnTo>
                    <a:pt x="94" y="433"/>
                  </a:lnTo>
                  <a:lnTo>
                    <a:pt x="93" y="421"/>
                  </a:lnTo>
                  <a:lnTo>
                    <a:pt x="92" y="408"/>
                  </a:lnTo>
                  <a:lnTo>
                    <a:pt x="92" y="408"/>
                  </a:lnTo>
                  <a:lnTo>
                    <a:pt x="93" y="388"/>
                  </a:lnTo>
                  <a:lnTo>
                    <a:pt x="96" y="370"/>
                  </a:lnTo>
                  <a:lnTo>
                    <a:pt x="101" y="352"/>
                  </a:lnTo>
                  <a:lnTo>
                    <a:pt x="107" y="335"/>
                  </a:lnTo>
                  <a:lnTo>
                    <a:pt x="115" y="319"/>
                  </a:lnTo>
                  <a:lnTo>
                    <a:pt x="124" y="304"/>
                  </a:lnTo>
                  <a:lnTo>
                    <a:pt x="135" y="290"/>
                  </a:lnTo>
                  <a:lnTo>
                    <a:pt x="146" y="277"/>
                  </a:lnTo>
                  <a:lnTo>
                    <a:pt x="160" y="265"/>
                  </a:lnTo>
                  <a:lnTo>
                    <a:pt x="174" y="254"/>
                  </a:lnTo>
                  <a:lnTo>
                    <a:pt x="189" y="245"/>
                  </a:lnTo>
                  <a:lnTo>
                    <a:pt x="205" y="237"/>
                  </a:lnTo>
                  <a:lnTo>
                    <a:pt x="222" y="231"/>
                  </a:lnTo>
                  <a:lnTo>
                    <a:pt x="241" y="226"/>
                  </a:lnTo>
                  <a:lnTo>
                    <a:pt x="259" y="223"/>
                  </a:lnTo>
                  <a:lnTo>
                    <a:pt x="278" y="223"/>
                  </a:lnTo>
                  <a:lnTo>
                    <a:pt x="278" y="223"/>
                  </a:lnTo>
                  <a:lnTo>
                    <a:pt x="297" y="223"/>
                  </a:lnTo>
                  <a:lnTo>
                    <a:pt x="315" y="226"/>
                  </a:lnTo>
                  <a:lnTo>
                    <a:pt x="333" y="231"/>
                  </a:lnTo>
                  <a:lnTo>
                    <a:pt x="350" y="237"/>
                  </a:lnTo>
                  <a:lnTo>
                    <a:pt x="366" y="245"/>
                  </a:lnTo>
                  <a:lnTo>
                    <a:pt x="381" y="254"/>
                  </a:lnTo>
                  <a:lnTo>
                    <a:pt x="395" y="265"/>
                  </a:lnTo>
                  <a:lnTo>
                    <a:pt x="408" y="277"/>
                  </a:lnTo>
                  <a:lnTo>
                    <a:pt x="420" y="290"/>
                  </a:lnTo>
                  <a:lnTo>
                    <a:pt x="431" y="304"/>
                  </a:lnTo>
                  <a:lnTo>
                    <a:pt x="440" y="319"/>
                  </a:lnTo>
                  <a:lnTo>
                    <a:pt x="448" y="335"/>
                  </a:lnTo>
                  <a:lnTo>
                    <a:pt x="455" y="352"/>
                  </a:lnTo>
                  <a:lnTo>
                    <a:pt x="460" y="370"/>
                  </a:lnTo>
                  <a:lnTo>
                    <a:pt x="463" y="388"/>
                  </a:lnTo>
                  <a:lnTo>
                    <a:pt x="464" y="408"/>
                  </a:lnTo>
                  <a:lnTo>
                    <a:pt x="464" y="408"/>
                  </a:lnTo>
                  <a:lnTo>
                    <a:pt x="463" y="421"/>
                  </a:lnTo>
                  <a:lnTo>
                    <a:pt x="462" y="433"/>
                  </a:lnTo>
                  <a:lnTo>
                    <a:pt x="460" y="446"/>
                  </a:lnTo>
                  <a:lnTo>
                    <a:pt x="457" y="457"/>
                  </a:lnTo>
                  <a:lnTo>
                    <a:pt x="452" y="469"/>
                  </a:lnTo>
                  <a:lnTo>
                    <a:pt x="448" y="480"/>
                  </a:lnTo>
                  <a:lnTo>
                    <a:pt x="443" y="491"/>
                  </a:lnTo>
                  <a:lnTo>
                    <a:pt x="437" y="502"/>
                  </a:lnTo>
                  <a:lnTo>
                    <a:pt x="431" y="512"/>
                  </a:lnTo>
                  <a:lnTo>
                    <a:pt x="423" y="521"/>
                  </a:lnTo>
                  <a:lnTo>
                    <a:pt x="416" y="531"/>
                  </a:lnTo>
                  <a:lnTo>
                    <a:pt x="408" y="539"/>
                  </a:lnTo>
                  <a:lnTo>
                    <a:pt x="399" y="547"/>
                  </a:lnTo>
                  <a:lnTo>
                    <a:pt x="390" y="555"/>
                  </a:lnTo>
                  <a:lnTo>
                    <a:pt x="380" y="562"/>
                  </a:lnTo>
                  <a:lnTo>
                    <a:pt x="370" y="568"/>
                  </a:lnTo>
                  <a:lnTo>
                    <a:pt x="368" y="569"/>
                  </a:lnTo>
                  <a:lnTo>
                    <a:pt x="187" y="5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58" name="Freeform 397"/>
            <p:cNvSpPr>
              <a:spLocks/>
            </p:cNvSpPr>
            <p:nvPr/>
          </p:nvSpPr>
          <p:spPr bwMode="auto">
            <a:xfrm>
              <a:off x="6038850" y="1783080"/>
              <a:ext cx="131446" cy="131446"/>
            </a:xfrm>
            <a:custGeom>
              <a:avLst/>
              <a:gdLst>
                <a:gd name="T0" fmla="*/ 8 w 139"/>
                <a:gd name="T1" fmla="*/ 9 h 140"/>
                <a:gd name="T2" fmla="*/ 8 w 139"/>
                <a:gd name="T3" fmla="*/ 9 h 140"/>
                <a:gd name="T4" fmla="*/ 12 w 139"/>
                <a:gd name="T5" fmla="*/ 5 h 140"/>
                <a:gd name="T6" fmla="*/ 16 w 139"/>
                <a:gd name="T7" fmla="*/ 3 h 140"/>
                <a:gd name="T8" fmla="*/ 22 w 139"/>
                <a:gd name="T9" fmla="*/ 1 h 140"/>
                <a:gd name="T10" fmla="*/ 27 w 139"/>
                <a:gd name="T11" fmla="*/ 0 h 140"/>
                <a:gd name="T12" fmla="*/ 31 w 139"/>
                <a:gd name="T13" fmla="*/ 1 h 140"/>
                <a:gd name="T14" fmla="*/ 36 w 139"/>
                <a:gd name="T15" fmla="*/ 2 h 140"/>
                <a:gd name="T16" fmla="*/ 40 w 139"/>
                <a:gd name="T17" fmla="*/ 4 h 140"/>
                <a:gd name="T18" fmla="*/ 43 w 139"/>
                <a:gd name="T19" fmla="*/ 7 h 140"/>
                <a:gd name="T20" fmla="*/ 133 w 139"/>
                <a:gd name="T21" fmla="*/ 97 h 140"/>
                <a:gd name="T22" fmla="*/ 133 w 139"/>
                <a:gd name="T23" fmla="*/ 97 h 140"/>
                <a:gd name="T24" fmla="*/ 136 w 139"/>
                <a:gd name="T25" fmla="*/ 101 h 140"/>
                <a:gd name="T26" fmla="*/ 138 w 139"/>
                <a:gd name="T27" fmla="*/ 105 h 140"/>
                <a:gd name="T28" fmla="*/ 139 w 139"/>
                <a:gd name="T29" fmla="*/ 109 h 140"/>
                <a:gd name="T30" fmla="*/ 139 w 139"/>
                <a:gd name="T31" fmla="*/ 114 h 140"/>
                <a:gd name="T32" fmla="*/ 138 w 139"/>
                <a:gd name="T33" fmla="*/ 119 h 140"/>
                <a:gd name="T34" fmla="*/ 137 w 139"/>
                <a:gd name="T35" fmla="*/ 123 h 140"/>
                <a:gd name="T36" fmla="*/ 134 w 139"/>
                <a:gd name="T37" fmla="*/ 128 h 140"/>
                <a:gd name="T38" fmla="*/ 131 w 139"/>
                <a:gd name="T39" fmla="*/ 132 h 140"/>
                <a:gd name="T40" fmla="*/ 131 w 139"/>
                <a:gd name="T41" fmla="*/ 132 h 140"/>
                <a:gd name="T42" fmla="*/ 127 w 139"/>
                <a:gd name="T43" fmla="*/ 135 h 140"/>
                <a:gd name="T44" fmla="*/ 123 w 139"/>
                <a:gd name="T45" fmla="*/ 138 h 140"/>
                <a:gd name="T46" fmla="*/ 118 w 139"/>
                <a:gd name="T47" fmla="*/ 139 h 140"/>
                <a:gd name="T48" fmla="*/ 113 w 139"/>
                <a:gd name="T49" fmla="*/ 140 h 140"/>
                <a:gd name="T50" fmla="*/ 109 w 139"/>
                <a:gd name="T51" fmla="*/ 140 h 140"/>
                <a:gd name="T52" fmla="*/ 104 w 139"/>
                <a:gd name="T53" fmla="*/ 139 h 140"/>
                <a:gd name="T54" fmla="*/ 100 w 139"/>
                <a:gd name="T55" fmla="*/ 137 h 140"/>
                <a:gd name="T56" fmla="*/ 96 w 139"/>
                <a:gd name="T57" fmla="*/ 134 h 140"/>
                <a:gd name="T58" fmla="*/ 6 w 139"/>
                <a:gd name="T59" fmla="*/ 43 h 140"/>
                <a:gd name="T60" fmla="*/ 6 w 139"/>
                <a:gd name="T61" fmla="*/ 43 h 140"/>
                <a:gd name="T62" fmla="*/ 3 w 139"/>
                <a:gd name="T63" fmla="*/ 40 h 140"/>
                <a:gd name="T64" fmla="*/ 1 w 139"/>
                <a:gd name="T65" fmla="*/ 36 h 140"/>
                <a:gd name="T66" fmla="*/ 0 w 139"/>
                <a:gd name="T67" fmla="*/ 31 h 140"/>
                <a:gd name="T68" fmla="*/ 0 w 139"/>
                <a:gd name="T69" fmla="*/ 26 h 140"/>
                <a:gd name="T70" fmla="*/ 0 w 139"/>
                <a:gd name="T71" fmla="*/ 22 h 140"/>
                <a:gd name="T72" fmla="*/ 2 w 139"/>
                <a:gd name="T73" fmla="*/ 17 h 140"/>
                <a:gd name="T74" fmla="*/ 4 w 139"/>
                <a:gd name="T75" fmla="*/ 13 h 140"/>
                <a:gd name="T76" fmla="*/ 8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8" y="9"/>
                  </a:moveTo>
                  <a:lnTo>
                    <a:pt x="8" y="9"/>
                  </a:lnTo>
                  <a:lnTo>
                    <a:pt x="12" y="5"/>
                  </a:lnTo>
                  <a:lnTo>
                    <a:pt x="16" y="3"/>
                  </a:lnTo>
                  <a:lnTo>
                    <a:pt x="22" y="1"/>
                  </a:lnTo>
                  <a:lnTo>
                    <a:pt x="27" y="0"/>
                  </a:lnTo>
                  <a:lnTo>
                    <a:pt x="31" y="1"/>
                  </a:lnTo>
                  <a:lnTo>
                    <a:pt x="36" y="2"/>
                  </a:lnTo>
                  <a:lnTo>
                    <a:pt x="40" y="4"/>
                  </a:lnTo>
                  <a:lnTo>
                    <a:pt x="43" y="7"/>
                  </a:lnTo>
                  <a:lnTo>
                    <a:pt x="133" y="97"/>
                  </a:lnTo>
                  <a:lnTo>
                    <a:pt x="133" y="97"/>
                  </a:lnTo>
                  <a:lnTo>
                    <a:pt x="136" y="101"/>
                  </a:lnTo>
                  <a:lnTo>
                    <a:pt x="138" y="105"/>
                  </a:lnTo>
                  <a:lnTo>
                    <a:pt x="139" y="109"/>
                  </a:lnTo>
                  <a:lnTo>
                    <a:pt x="139" y="114"/>
                  </a:lnTo>
                  <a:lnTo>
                    <a:pt x="138" y="119"/>
                  </a:lnTo>
                  <a:lnTo>
                    <a:pt x="137" y="123"/>
                  </a:lnTo>
                  <a:lnTo>
                    <a:pt x="134" y="128"/>
                  </a:lnTo>
                  <a:lnTo>
                    <a:pt x="131" y="132"/>
                  </a:lnTo>
                  <a:lnTo>
                    <a:pt x="131" y="132"/>
                  </a:lnTo>
                  <a:lnTo>
                    <a:pt x="127" y="135"/>
                  </a:lnTo>
                  <a:lnTo>
                    <a:pt x="123" y="138"/>
                  </a:lnTo>
                  <a:lnTo>
                    <a:pt x="118" y="139"/>
                  </a:lnTo>
                  <a:lnTo>
                    <a:pt x="113" y="140"/>
                  </a:lnTo>
                  <a:lnTo>
                    <a:pt x="109" y="140"/>
                  </a:lnTo>
                  <a:lnTo>
                    <a:pt x="104" y="139"/>
                  </a:lnTo>
                  <a:lnTo>
                    <a:pt x="100" y="137"/>
                  </a:lnTo>
                  <a:lnTo>
                    <a:pt x="96" y="134"/>
                  </a:lnTo>
                  <a:lnTo>
                    <a:pt x="6" y="43"/>
                  </a:lnTo>
                  <a:lnTo>
                    <a:pt x="6" y="43"/>
                  </a:lnTo>
                  <a:lnTo>
                    <a:pt x="3" y="40"/>
                  </a:lnTo>
                  <a:lnTo>
                    <a:pt x="1" y="36"/>
                  </a:lnTo>
                  <a:lnTo>
                    <a:pt x="0" y="31"/>
                  </a:lnTo>
                  <a:lnTo>
                    <a:pt x="0" y="26"/>
                  </a:lnTo>
                  <a:lnTo>
                    <a:pt x="0" y="22"/>
                  </a:lnTo>
                  <a:lnTo>
                    <a:pt x="2" y="17"/>
                  </a:lnTo>
                  <a:lnTo>
                    <a:pt x="4" y="13"/>
                  </a:lnTo>
                  <a:lnTo>
                    <a:pt x="8"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59" name="Freeform 398"/>
            <p:cNvSpPr>
              <a:spLocks/>
            </p:cNvSpPr>
            <p:nvPr/>
          </p:nvSpPr>
          <p:spPr bwMode="auto">
            <a:xfrm>
              <a:off x="6276974" y="1693544"/>
              <a:ext cx="49530" cy="165736"/>
            </a:xfrm>
            <a:custGeom>
              <a:avLst/>
              <a:gdLst>
                <a:gd name="T0" fmla="*/ 25 w 53"/>
                <a:gd name="T1" fmla="*/ 0 h 173"/>
                <a:gd name="T2" fmla="*/ 25 w 53"/>
                <a:gd name="T3" fmla="*/ 0 h 173"/>
                <a:gd name="T4" fmla="*/ 31 w 53"/>
                <a:gd name="T5" fmla="*/ 0 h 173"/>
                <a:gd name="T6" fmla="*/ 36 w 53"/>
                <a:gd name="T7" fmla="*/ 1 h 173"/>
                <a:gd name="T8" fmla="*/ 40 w 53"/>
                <a:gd name="T9" fmla="*/ 3 h 173"/>
                <a:gd name="T10" fmla="*/ 44 w 53"/>
                <a:gd name="T11" fmla="*/ 6 h 173"/>
                <a:gd name="T12" fmla="*/ 47 w 53"/>
                <a:gd name="T13" fmla="*/ 10 h 173"/>
                <a:gd name="T14" fmla="*/ 49 w 53"/>
                <a:gd name="T15" fmla="*/ 13 h 173"/>
                <a:gd name="T16" fmla="*/ 51 w 53"/>
                <a:gd name="T17" fmla="*/ 18 h 173"/>
                <a:gd name="T18" fmla="*/ 52 w 53"/>
                <a:gd name="T19" fmla="*/ 22 h 173"/>
                <a:gd name="T20" fmla="*/ 53 w 53"/>
                <a:gd name="T21" fmla="*/ 149 h 173"/>
                <a:gd name="T22" fmla="*/ 53 w 53"/>
                <a:gd name="T23" fmla="*/ 149 h 173"/>
                <a:gd name="T24" fmla="*/ 53 w 53"/>
                <a:gd name="T25" fmla="*/ 154 h 173"/>
                <a:gd name="T26" fmla="*/ 51 w 53"/>
                <a:gd name="T27" fmla="*/ 158 h 173"/>
                <a:gd name="T28" fmla="*/ 49 w 53"/>
                <a:gd name="T29" fmla="*/ 162 h 173"/>
                <a:gd name="T30" fmla="*/ 46 w 53"/>
                <a:gd name="T31" fmla="*/ 166 h 173"/>
                <a:gd name="T32" fmla="*/ 42 w 53"/>
                <a:gd name="T33" fmla="*/ 168 h 173"/>
                <a:gd name="T34" fmla="*/ 37 w 53"/>
                <a:gd name="T35" fmla="*/ 171 h 173"/>
                <a:gd name="T36" fmla="*/ 33 w 53"/>
                <a:gd name="T37" fmla="*/ 172 h 173"/>
                <a:gd name="T38" fmla="*/ 27 w 53"/>
                <a:gd name="T39" fmla="*/ 173 h 173"/>
                <a:gd name="T40" fmla="*/ 27 w 53"/>
                <a:gd name="T41" fmla="*/ 173 h 173"/>
                <a:gd name="T42" fmla="*/ 22 w 53"/>
                <a:gd name="T43" fmla="*/ 172 h 173"/>
                <a:gd name="T44" fmla="*/ 17 w 53"/>
                <a:gd name="T45" fmla="*/ 171 h 173"/>
                <a:gd name="T46" fmla="*/ 13 w 53"/>
                <a:gd name="T47" fmla="*/ 169 h 173"/>
                <a:gd name="T48" fmla="*/ 9 w 53"/>
                <a:gd name="T49" fmla="*/ 166 h 173"/>
                <a:gd name="T50" fmla="*/ 6 w 53"/>
                <a:gd name="T51" fmla="*/ 163 h 173"/>
                <a:gd name="T52" fmla="*/ 3 w 53"/>
                <a:gd name="T53" fmla="*/ 159 h 173"/>
                <a:gd name="T54" fmla="*/ 2 w 53"/>
                <a:gd name="T55" fmla="*/ 154 h 173"/>
                <a:gd name="T56" fmla="*/ 1 w 53"/>
                <a:gd name="T57" fmla="*/ 150 h 173"/>
                <a:gd name="T58" fmla="*/ 0 w 53"/>
                <a:gd name="T59" fmla="*/ 23 h 173"/>
                <a:gd name="T60" fmla="*/ 0 w 53"/>
                <a:gd name="T61" fmla="*/ 23 h 173"/>
                <a:gd name="T62" fmla="*/ 0 w 53"/>
                <a:gd name="T63" fmla="*/ 18 h 173"/>
                <a:gd name="T64" fmla="*/ 2 w 53"/>
                <a:gd name="T65" fmla="*/ 14 h 173"/>
                <a:gd name="T66" fmla="*/ 4 w 53"/>
                <a:gd name="T67" fmla="*/ 10 h 173"/>
                <a:gd name="T68" fmla="*/ 7 w 53"/>
                <a:gd name="T69" fmla="*/ 7 h 173"/>
                <a:gd name="T70" fmla="*/ 11 w 53"/>
                <a:gd name="T71" fmla="*/ 4 h 173"/>
                <a:gd name="T72" fmla="*/ 15 w 53"/>
                <a:gd name="T73" fmla="*/ 2 h 173"/>
                <a:gd name="T74" fmla="*/ 20 w 53"/>
                <a:gd name="T75" fmla="*/ 0 h 173"/>
                <a:gd name="T76" fmla="*/ 25 w 53"/>
                <a:gd name="T7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173">
                  <a:moveTo>
                    <a:pt x="25" y="0"/>
                  </a:moveTo>
                  <a:lnTo>
                    <a:pt x="25" y="0"/>
                  </a:lnTo>
                  <a:lnTo>
                    <a:pt x="31" y="0"/>
                  </a:lnTo>
                  <a:lnTo>
                    <a:pt x="36" y="1"/>
                  </a:lnTo>
                  <a:lnTo>
                    <a:pt x="40" y="3"/>
                  </a:lnTo>
                  <a:lnTo>
                    <a:pt x="44" y="6"/>
                  </a:lnTo>
                  <a:lnTo>
                    <a:pt x="47" y="10"/>
                  </a:lnTo>
                  <a:lnTo>
                    <a:pt x="49" y="13"/>
                  </a:lnTo>
                  <a:lnTo>
                    <a:pt x="51" y="18"/>
                  </a:lnTo>
                  <a:lnTo>
                    <a:pt x="52" y="22"/>
                  </a:lnTo>
                  <a:lnTo>
                    <a:pt x="53" y="149"/>
                  </a:lnTo>
                  <a:lnTo>
                    <a:pt x="53" y="149"/>
                  </a:lnTo>
                  <a:lnTo>
                    <a:pt x="53" y="154"/>
                  </a:lnTo>
                  <a:lnTo>
                    <a:pt x="51" y="158"/>
                  </a:lnTo>
                  <a:lnTo>
                    <a:pt x="49" y="162"/>
                  </a:lnTo>
                  <a:lnTo>
                    <a:pt x="46" y="166"/>
                  </a:lnTo>
                  <a:lnTo>
                    <a:pt x="42" y="168"/>
                  </a:lnTo>
                  <a:lnTo>
                    <a:pt x="37" y="171"/>
                  </a:lnTo>
                  <a:lnTo>
                    <a:pt x="33" y="172"/>
                  </a:lnTo>
                  <a:lnTo>
                    <a:pt x="27" y="173"/>
                  </a:lnTo>
                  <a:lnTo>
                    <a:pt x="27" y="173"/>
                  </a:lnTo>
                  <a:lnTo>
                    <a:pt x="22" y="172"/>
                  </a:lnTo>
                  <a:lnTo>
                    <a:pt x="17" y="171"/>
                  </a:lnTo>
                  <a:lnTo>
                    <a:pt x="13" y="169"/>
                  </a:lnTo>
                  <a:lnTo>
                    <a:pt x="9" y="166"/>
                  </a:lnTo>
                  <a:lnTo>
                    <a:pt x="6" y="163"/>
                  </a:lnTo>
                  <a:lnTo>
                    <a:pt x="3" y="159"/>
                  </a:lnTo>
                  <a:lnTo>
                    <a:pt x="2" y="154"/>
                  </a:lnTo>
                  <a:lnTo>
                    <a:pt x="1" y="150"/>
                  </a:lnTo>
                  <a:lnTo>
                    <a:pt x="0" y="23"/>
                  </a:lnTo>
                  <a:lnTo>
                    <a:pt x="0" y="23"/>
                  </a:lnTo>
                  <a:lnTo>
                    <a:pt x="0" y="18"/>
                  </a:lnTo>
                  <a:lnTo>
                    <a:pt x="2" y="14"/>
                  </a:lnTo>
                  <a:lnTo>
                    <a:pt x="4" y="10"/>
                  </a:lnTo>
                  <a:lnTo>
                    <a:pt x="7" y="7"/>
                  </a:lnTo>
                  <a:lnTo>
                    <a:pt x="11" y="4"/>
                  </a:lnTo>
                  <a:lnTo>
                    <a:pt x="15" y="2"/>
                  </a:lnTo>
                  <a:lnTo>
                    <a:pt x="20" y="0"/>
                  </a:lnTo>
                  <a:lnTo>
                    <a:pt x="2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0" name="Freeform 399"/>
            <p:cNvSpPr>
              <a:spLocks/>
            </p:cNvSpPr>
            <p:nvPr/>
          </p:nvSpPr>
          <p:spPr bwMode="auto">
            <a:xfrm>
              <a:off x="6433184" y="1783080"/>
              <a:ext cx="131446" cy="131446"/>
            </a:xfrm>
            <a:custGeom>
              <a:avLst/>
              <a:gdLst>
                <a:gd name="T0" fmla="*/ 131 w 139"/>
                <a:gd name="T1" fmla="*/ 9 h 140"/>
                <a:gd name="T2" fmla="*/ 131 w 139"/>
                <a:gd name="T3" fmla="*/ 9 h 140"/>
                <a:gd name="T4" fmla="*/ 134 w 139"/>
                <a:gd name="T5" fmla="*/ 13 h 140"/>
                <a:gd name="T6" fmla="*/ 137 w 139"/>
                <a:gd name="T7" fmla="*/ 17 h 140"/>
                <a:gd name="T8" fmla="*/ 138 w 139"/>
                <a:gd name="T9" fmla="*/ 22 h 140"/>
                <a:gd name="T10" fmla="*/ 139 w 139"/>
                <a:gd name="T11" fmla="*/ 26 h 140"/>
                <a:gd name="T12" fmla="*/ 139 w 139"/>
                <a:gd name="T13" fmla="*/ 31 h 140"/>
                <a:gd name="T14" fmla="*/ 138 w 139"/>
                <a:gd name="T15" fmla="*/ 36 h 140"/>
                <a:gd name="T16" fmla="*/ 136 w 139"/>
                <a:gd name="T17" fmla="*/ 40 h 140"/>
                <a:gd name="T18" fmla="*/ 133 w 139"/>
                <a:gd name="T19" fmla="*/ 43 h 140"/>
                <a:gd name="T20" fmla="*/ 43 w 139"/>
                <a:gd name="T21" fmla="*/ 134 h 140"/>
                <a:gd name="T22" fmla="*/ 43 w 139"/>
                <a:gd name="T23" fmla="*/ 134 h 140"/>
                <a:gd name="T24" fmla="*/ 40 w 139"/>
                <a:gd name="T25" fmla="*/ 137 h 140"/>
                <a:gd name="T26" fmla="*/ 35 w 139"/>
                <a:gd name="T27" fmla="*/ 139 h 140"/>
                <a:gd name="T28" fmla="*/ 30 w 139"/>
                <a:gd name="T29" fmla="*/ 140 h 140"/>
                <a:gd name="T30" fmla="*/ 25 w 139"/>
                <a:gd name="T31" fmla="*/ 140 h 140"/>
                <a:gd name="T32" fmla="*/ 21 w 139"/>
                <a:gd name="T33" fmla="*/ 139 h 140"/>
                <a:gd name="T34" fmla="*/ 16 w 139"/>
                <a:gd name="T35" fmla="*/ 138 h 140"/>
                <a:gd name="T36" fmla="*/ 12 w 139"/>
                <a:gd name="T37" fmla="*/ 135 h 140"/>
                <a:gd name="T38" fmla="*/ 8 w 139"/>
                <a:gd name="T39" fmla="*/ 132 h 140"/>
                <a:gd name="T40" fmla="*/ 8 w 139"/>
                <a:gd name="T41" fmla="*/ 132 h 140"/>
                <a:gd name="T42" fmla="*/ 4 w 139"/>
                <a:gd name="T43" fmla="*/ 128 h 140"/>
                <a:gd name="T44" fmla="*/ 2 w 139"/>
                <a:gd name="T45" fmla="*/ 123 h 140"/>
                <a:gd name="T46" fmla="*/ 0 w 139"/>
                <a:gd name="T47" fmla="*/ 119 h 140"/>
                <a:gd name="T48" fmla="*/ 0 w 139"/>
                <a:gd name="T49" fmla="*/ 114 h 140"/>
                <a:gd name="T50" fmla="*/ 0 w 139"/>
                <a:gd name="T51" fmla="*/ 109 h 140"/>
                <a:gd name="T52" fmla="*/ 1 w 139"/>
                <a:gd name="T53" fmla="*/ 105 h 140"/>
                <a:gd name="T54" fmla="*/ 3 w 139"/>
                <a:gd name="T55" fmla="*/ 101 h 140"/>
                <a:gd name="T56" fmla="*/ 6 w 139"/>
                <a:gd name="T57" fmla="*/ 97 h 140"/>
                <a:gd name="T58" fmla="*/ 96 w 139"/>
                <a:gd name="T59" fmla="*/ 7 h 140"/>
                <a:gd name="T60" fmla="*/ 96 w 139"/>
                <a:gd name="T61" fmla="*/ 7 h 140"/>
                <a:gd name="T62" fmla="*/ 100 w 139"/>
                <a:gd name="T63" fmla="*/ 4 h 140"/>
                <a:gd name="T64" fmla="*/ 104 w 139"/>
                <a:gd name="T65" fmla="*/ 2 h 140"/>
                <a:gd name="T66" fmla="*/ 109 w 139"/>
                <a:gd name="T67" fmla="*/ 1 h 140"/>
                <a:gd name="T68" fmla="*/ 113 w 139"/>
                <a:gd name="T69" fmla="*/ 0 h 140"/>
                <a:gd name="T70" fmla="*/ 118 w 139"/>
                <a:gd name="T71" fmla="*/ 1 h 140"/>
                <a:gd name="T72" fmla="*/ 123 w 139"/>
                <a:gd name="T73" fmla="*/ 3 h 140"/>
                <a:gd name="T74" fmla="*/ 127 w 139"/>
                <a:gd name="T75" fmla="*/ 5 h 140"/>
                <a:gd name="T76" fmla="*/ 131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131" y="9"/>
                  </a:moveTo>
                  <a:lnTo>
                    <a:pt x="131" y="9"/>
                  </a:lnTo>
                  <a:lnTo>
                    <a:pt x="134" y="13"/>
                  </a:lnTo>
                  <a:lnTo>
                    <a:pt x="137" y="17"/>
                  </a:lnTo>
                  <a:lnTo>
                    <a:pt x="138" y="22"/>
                  </a:lnTo>
                  <a:lnTo>
                    <a:pt x="139" y="26"/>
                  </a:lnTo>
                  <a:lnTo>
                    <a:pt x="139" y="31"/>
                  </a:lnTo>
                  <a:lnTo>
                    <a:pt x="138" y="36"/>
                  </a:lnTo>
                  <a:lnTo>
                    <a:pt x="136" y="40"/>
                  </a:lnTo>
                  <a:lnTo>
                    <a:pt x="133" y="43"/>
                  </a:lnTo>
                  <a:lnTo>
                    <a:pt x="43" y="134"/>
                  </a:lnTo>
                  <a:lnTo>
                    <a:pt x="43" y="134"/>
                  </a:lnTo>
                  <a:lnTo>
                    <a:pt x="40" y="137"/>
                  </a:lnTo>
                  <a:lnTo>
                    <a:pt x="35" y="139"/>
                  </a:lnTo>
                  <a:lnTo>
                    <a:pt x="30" y="140"/>
                  </a:lnTo>
                  <a:lnTo>
                    <a:pt x="25" y="140"/>
                  </a:lnTo>
                  <a:lnTo>
                    <a:pt x="21" y="139"/>
                  </a:lnTo>
                  <a:lnTo>
                    <a:pt x="16" y="138"/>
                  </a:lnTo>
                  <a:lnTo>
                    <a:pt x="12" y="135"/>
                  </a:lnTo>
                  <a:lnTo>
                    <a:pt x="8" y="132"/>
                  </a:lnTo>
                  <a:lnTo>
                    <a:pt x="8" y="132"/>
                  </a:lnTo>
                  <a:lnTo>
                    <a:pt x="4" y="128"/>
                  </a:lnTo>
                  <a:lnTo>
                    <a:pt x="2" y="123"/>
                  </a:lnTo>
                  <a:lnTo>
                    <a:pt x="0" y="119"/>
                  </a:lnTo>
                  <a:lnTo>
                    <a:pt x="0" y="114"/>
                  </a:lnTo>
                  <a:lnTo>
                    <a:pt x="0" y="109"/>
                  </a:lnTo>
                  <a:lnTo>
                    <a:pt x="1" y="105"/>
                  </a:lnTo>
                  <a:lnTo>
                    <a:pt x="3" y="101"/>
                  </a:lnTo>
                  <a:lnTo>
                    <a:pt x="6" y="97"/>
                  </a:lnTo>
                  <a:lnTo>
                    <a:pt x="96" y="7"/>
                  </a:lnTo>
                  <a:lnTo>
                    <a:pt x="96" y="7"/>
                  </a:lnTo>
                  <a:lnTo>
                    <a:pt x="100" y="4"/>
                  </a:lnTo>
                  <a:lnTo>
                    <a:pt x="104" y="2"/>
                  </a:lnTo>
                  <a:lnTo>
                    <a:pt x="109" y="1"/>
                  </a:lnTo>
                  <a:lnTo>
                    <a:pt x="113" y="0"/>
                  </a:lnTo>
                  <a:lnTo>
                    <a:pt x="118" y="1"/>
                  </a:lnTo>
                  <a:lnTo>
                    <a:pt x="123" y="3"/>
                  </a:lnTo>
                  <a:lnTo>
                    <a:pt x="127" y="5"/>
                  </a:lnTo>
                  <a:lnTo>
                    <a:pt x="131"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1" name="Freeform 400"/>
            <p:cNvSpPr>
              <a:spLocks/>
            </p:cNvSpPr>
            <p:nvPr/>
          </p:nvSpPr>
          <p:spPr bwMode="auto">
            <a:xfrm>
              <a:off x="6219824" y="2261234"/>
              <a:ext cx="165736" cy="49530"/>
            </a:xfrm>
            <a:custGeom>
              <a:avLst/>
              <a:gdLst>
                <a:gd name="T0" fmla="*/ 173 w 173"/>
                <a:gd name="T1" fmla="*/ 27 h 53"/>
                <a:gd name="T2" fmla="*/ 173 w 173"/>
                <a:gd name="T3" fmla="*/ 27 h 53"/>
                <a:gd name="T4" fmla="*/ 173 w 173"/>
                <a:gd name="T5" fmla="*/ 32 h 53"/>
                <a:gd name="T6" fmla="*/ 172 w 173"/>
                <a:gd name="T7" fmla="*/ 37 h 53"/>
                <a:gd name="T8" fmla="*/ 169 w 173"/>
                <a:gd name="T9" fmla="*/ 42 h 53"/>
                <a:gd name="T10" fmla="*/ 167 w 173"/>
                <a:gd name="T11" fmla="*/ 45 h 53"/>
                <a:gd name="T12" fmla="*/ 163 w 173"/>
                <a:gd name="T13" fmla="*/ 49 h 53"/>
                <a:gd name="T14" fmla="*/ 159 w 173"/>
                <a:gd name="T15" fmla="*/ 51 h 53"/>
                <a:gd name="T16" fmla="*/ 155 w 173"/>
                <a:gd name="T17" fmla="*/ 52 h 53"/>
                <a:gd name="T18" fmla="*/ 150 w 173"/>
                <a:gd name="T19" fmla="*/ 53 h 53"/>
                <a:gd name="T20" fmla="*/ 23 w 173"/>
                <a:gd name="T21" fmla="*/ 53 h 53"/>
                <a:gd name="T22" fmla="*/ 23 w 173"/>
                <a:gd name="T23" fmla="*/ 53 h 53"/>
                <a:gd name="T24" fmla="*/ 18 w 173"/>
                <a:gd name="T25" fmla="*/ 52 h 53"/>
                <a:gd name="T26" fmla="*/ 14 w 173"/>
                <a:gd name="T27" fmla="*/ 51 h 53"/>
                <a:gd name="T28" fmla="*/ 10 w 173"/>
                <a:gd name="T29" fmla="*/ 49 h 53"/>
                <a:gd name="T30" fmla="*/ 6 w 173"/>
                <a:gd name="T31" fmla="*/ 45 h 53"/>
                <a:gd name="T32" fmla="*/ 3 w 173"/>
                <a:gd name="T33" fmla="*/ 42 h 53"/>
                <a:gd name="T34" fmla="*/ 1 w 173"/>
                <a:gd name="T35" fmla="*/ 37 h 53"/>
                <a:gd name="T36" fmla="*/ 0 w 173"/>
                <a:gd name="T37" fmla="*/ 32 h 53"/>
                <a:gd name="T38" fmla="*/ 0 w 173"/>
                <a:gd name="T39" fmla="*/ 27 h 53"/>
                <a:gd name="T40" fmla="*/ 0 w 173"/>
                <a:gd name="T41" fmla="*/ 27 h 53"/>
                <a:gd name="T42" fmla="*/ 0 w 173"/>
                <a:gd name="T43" fmla="*/ 22 h 53"/>
                <a:gd name="T44" fmla="*/ 1 w 173"/>
                <a:gd name="T45" fmla="*/ 17 h 53"/>
                <a:gd name="T46" fmla="*/ 3 w 173"/>
                <a:gd name="T47" fmla="*/ 12 h 53"/>
                <a:gd name="T48" fmla="*/ 6 w 173"/>
                <a:gd name="T49" fmla="*/ 8 h 53"/>
                <a:gd name="T50" fmla="*/ 10 w 173"/>
                <a:gd name="T51" fmla="*/ 5 h 53"/>
                <a:gd name="T52" fmla="*/ 14 w 173"/>
                <a:gd name="T53" fmla="*/ 2 h 53"/>
                <a:gd name="T54" fmla="*/ 18 w 173"/>
                <a:gd name="T55" fmla="*/ 1 h 53"/>
                <a:gd name="T56" fmla="*/ 23 w 173"/>
                <a:gd name="T57" fmla="*/ 0 h 53"/>
                <a:gd name="T58" fmla="*/ 150 w 173"/>
                <a:gd name="T59" fmla="*/ 0 h 53"/>
                <a:gd name="T60" fmla="*/ 150 w 173"/>
                <a:gd name="T61" fmla="*/ 0 h 53"/>
                <a:gd name="T62" fmla="*/ 155 w 173"/>
                <a:gd name="T63" fmla="*/ 1 h 53"/>
                <a:gd name="T64" fmla="*/ 159 w 173"/>
                <a:gd name="T65" fmla="*/ 2 h 53"/>
                <a:gd name="T66" fmla="*/ 163 w 173"/>
                <a:gd name="T67" fmla="*/ 5 h 53"/>
                <a:gd name="T68" fmla="*/ 167 w 173"/>
                <a:gd name="T69" fmla="*/ 8 h 53"/>
                <a:gd name="T70" fmla="*/ 169 w 173"/>
                <a:gd name="T71" fmla="*/ 12 h 53"/>
                <a:gd name="T72" fmla="*/ 172 w 173"/>
                <a:gd name="T73" fmla="*/ 17 h 53"/>
                <a:gd name="T74" fmla="*/ 173 w 173"/>
                <a:gd name="T75" fmla="*/ 22 h 53"/>
                <a:gd name="T76" fmla="*/ 173 w 173"/>
                <a:gd name="T7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 h="53">
                  <a:moveTo>
                    <a:pt x="173" y="27"/>
                  </a:moveTo>
                  <a:lnTo>
                    <a:pt x="173" y="27"/>
                  </a:lnTo>
                  <a:lnTo>
                    <a:pt x="173" y="32"/>
                  </a:lnTo>
                  <a:lnTo>
                    <a:pt x="172" y="37"/>
                  </a:lnTo>
                  <a:lnTo>
                    <a:pt x="169" y="42"/>
                  </a:lnTo>
                  <a:lnTo>
                    <a:pt x="167" y="45"/>
                  </a:lnTo>
                  <a:lnTo>
                    <a:pt x="163" y="49"/>
                  </a:lnTo>
                  <a:lnTo>
                    <a:pt x="159" y="51"/>
                  </a:lnTo>
                  <a:lnTo>
                    <a:pt x="155" y="52"/>
                  </a:lnTo>
                  <a:lnTo>
                    <a:pt x="150" y="53"/>
                  </a:lnTo>
                  <a:lnTo>
                    <a:pt x="23" y="53"/>
                  </a:lnTo>
                  <a:lnTo>
                    <a:pt x="23" y="53"/>
                  </a:lnTo>
                  <a:lnTo>
                    <a:pt x="18" y="52"/>
                  </a:lnTo>
                  <a:lnTo>
                    <a:pt x="14" y="51"/>
                  </a:lnTo>
                  <a:lnTo>
                    <a:pt x="10" y="49"/>
                  </a:lnTo>
                  <a:lnTo>
                    <a:pt x="6" y="45"/>
                  </a:lnTo>
                  <a:lnTo>
                    <a:pt x="3" y="42"/>
                  </a:lnTo>
                  <a:lnTo>
                    <a:pt x="1" y="37"/>
                  </a:lnTo>
                  <a:lnTo>
                    <a:pt x="0" y="32"/>
                  </a:lnTo>
                  <a:lnTo>
                    <a:pt x="0" y="27"/>
                  </a:lnTo>
                  <a:lnTo>
                    <a:pt x="0" y="27"/>
                  </a:lnTo>
                  <a:lnTo>
                    <a:pt x="0" y="22"/>
                  </a:lnTo>
                  <a:lnTo>
                    <a:pt x="1" y="17"/>
                  </a:lnTo>
                  <a:lnTo>
                    <a:pt x="3" y="12"/>
                  </a:lnTo>
                  <a:lnTo>
                    <a:pt x="6" y="8"/>
                  </a:lnTo>
                  <a:lnTo>
                    <a:pt x="10" y="5"/>
                  </a:lnTo>
                  <a:lnTo>
                    <a:pt x="14" y="2"/>
                  </a:lnTo>
                  <a:lnTo>
                    <a:pt x="18" y="1"/>
                  </a:lnTo>
                  <a:lnTo>
                    <a:pt x="23" y="0"/>
                  </a:lnTo>
                  <a:lnTo>
                    <a:pt x="150" y="0"/>
                  </a:lnTo>
                  <a:lnTo>
                    <a:pt x="150" y="0"/>
                  </a:lnTo>
                  <a:lnTo>
                    <a:pt x="155" y="1"/>
                  </a:lnTo>
                  <a:lnTo>
                    <a:pt x="159" y="2"/>
                  </a:lnTo>
                  <a:lnTo>
                    <a:pt x="163" y="5"/>
                  </a:lnTo>
                  <a:lnTo>
                    <a:pt x="167" y="8"/>
                  </a:lnTo>
                  <a:lnTo>
                    <a:pt x="169" y="12"/>
                  </a:lnTo>
                  <a:lnTo>
                    <a:pt x="172" y="17"/>
                  </a:lnTo>
                  <a:lnTo>
                    <a:pt x="173" y="22"/>
                  </a:lnTo>
                  <a:lnTo>
                    <a:pt x="173" y="2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2" name="Freeform 401"/>
            <p:cNvSpPr>
              <a:spLocks/>
            </p:cNvSpPr>
            <p:nvPr/>
          </p:nvSpPr>
          <p:spPr bwMode="auto">
            <a:xfrm>
              <a:off x="6219824" y="2326004"/>
              <a:ext cx="165736" cy="49530"/>
            </a:xfrm>
            <a:custGeom>
              <a:avLst/>
              <a:gdLst>
                <a:gd name="T0" fmla="*/ 173 w 173"/>
                <a:gd name="T1" fmla="*/ 26 h 52"/>
                <a:gd name="T2" fmla="*/ 173 w 173"/>
                <a:gd name="T3" fmla="*/ 26 h 52"/>
                <a:gd name="T4" fmla="*/ 173 w 173"/>
                <a:gd name="T5" fmla="*/ 31 h 52"/>
                <a:gd name="T6" fmla="*/ 172 w 173"/>
                <a:gd name="T7" fmla="*/ 36 h 52"/>
                <a:gd name="T8" fmla="*/ 169 w 173"/>
                <a:gd name="T9" fmla="*/ 41 h 52"/>
                <a:gd name="T10" fmla="*/ 167 w 173"/>
                <a:gd name="T11" fmla="*/ 45 h 52"/>
                <a:gd name="T12" fmla="*/ 163 w 173"/>
                <a:gd name="T13" fmla="*/ 48 h 52"/>
                <a:gd name="T14" fmla="*/ 159 w 173"/>
                <a:gd name="T15" fmla="*/ 50 h 52"/>
                <a:gd name="T16" fmla="*/ 155 w 173"/>
                <a:gd name="T17" fmla="*/ 52 h 52"/>
                <a:gd name="T18" fmla="*/ 150 w 173"/>
                <a:gd name="T19" fmla="*/ 52 h 52"/>
                <a:gd name="T20" fmla="*/ 23 w 173"/>
                <a:gd name="T21" fmla="*/ 52 h 52"/>
                <a:gd name="T22" fmla="*/ 23 w 173"/>
                <a:gd name="T23" fmla="*/ 52 h 52"/>
                <a:gd name="T24" fmla="*/ 18 w 173"/>
                <a:gd name="T25" fmla="*/ 52 h 52"/>
                <a:gd name="T26" fmla="*/ 14 w 173"/>
                <a:gd name="T27" fmla="*/ 50 h 52"/>
                <a:gd name="T28" fmla="*/ 10 w 173"/>
                <a:gd name="T29" fmla="*/ 48 h 52"/>
                <a:gd name="T30" fmla="*/ 6 w 173"/>
                <a:gd name="T31" fmla="*/ 45 h 52"/>
                <a:gd name="T32" fmla="*/ 3 w 173"/>
                <a:gd name="T33" fmla="*/ 41 h 52"/>
                <a:gd name="T34" fmla="*/ 1 w 173"/>
                <a:gd name="T35" fmla="*/ 36 h 52"/>
                <a:gd name="T36" fmla="*/ 0 w 173"/>
                <a:gd name="T37" fmla="*/ 31 h 52"/>
                <a:gd name="T38" fmla="*/ 0 w 173"/>
                <a:gd name="T39" fmla="*/ 26 h 52"/>
                <a:gd name="T40" fmla="*/ 0 w 173"/>
                <a:gd name="T41" fmla="*/ 26 h 52"/>
                <a:gd name="T42" fmla="*/ 0 w 173"/>
                <a:gd name="T43" fmla="*/ 21 h 52"/>
                <a:gd name="T44" fmla="*/ 1 w 173"/>
                <a:gd name="T45" fmla="*/ 16 h 52"/>
                <a:gd name="T46" fmla="*/ 3 w 173"/>
                <a:gd name="T47" fmla="*/ 12 h 52"/>
                <a:gd name="T48" fmla="*/ 6 w 173"/>
                <a:gd name="T49" fmla="*/ 8 h 52"/>
                <a:gd name="T50" fmla="*/ 10 w 173"/>
                <a:gd name="T51" fmla="*/ 5 h 52"/>
                <a:gd name="T52" fmla="*/ 14 w 173"/>
                <a:gd name="T53" fmla="*/ 2 h 52"/>
                <a:gd name="T54" fmla="*/ 18 w 173"/>
                <a:gd name="T55" fmla="*/ 1 h 52"/>
                <a:gd name="T56" fmla="*/ 23 w 173"/>
                <a:gd name="T57" fmla="*/ 0 h 52"/>
                <a:gd name="T58" fmla="*/ 150 w 173"/>
                <a:gd name="T59" fmla="*/ 0 h 52"/>
                <a:gd name="T60" fmla="*/ 150 w 173"/>
                <a:gd name="T61" fmla="*/ 0 h 52"/>
                <a:gd name="T62" fmla="*/ 155 w 173"/>
                <a:gd name="T63" fmla="*/ 1 h 52"/>
                <a:gd name="T64" fmla="*/ 159 w 173"/>
                <a:gd name="T65" fmla="*/ 2 h 52"/>
                <a:gd name="T66" fmla="*/ 163 w 173"/>
                <a:gd name="T67" fmla="*/ 5 h 52"/>
                <a:gd name="T68" fmla="*/ 167 w 173"/>
                <a:gd name="T69" fmla="*/ 8 h 52"/>
                <a:gd name="T70" fmla="*/ 169 w 173"/>
                <a:gd name="T71" fmla="*/ 12 h 52"/>
                <a:gd name="T72" fmla="*/ 172 w 173"/>
                <a:gd name="T73" fmla="*/ 16 h 52"/>
                <a:gd name="T74" fmla="*/ 173 w 173"/>
                <a:gd name="T75" fmla="*/ 21 h 52"/>
                <a:gd name="T76" fmla="*/ 173 w 173"/>
                <a:gd name="T7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 h="52">
                  <a:moveTo>
                    <a:pt x="173" y="26"/>
                  </a:moveTo>
                  <a:lnTo>
                    <a:pt x="173" y="26"/>
                  </a:lnTo>
                  <a:lnTo>
                    <a:pt x="173" y="31"/>
                  </a:lnTo>
                  <a:lnTo>
                    <a:pt x="172" y="36"/>
                  </a:lnTo>
                  <a:lnTo>
                    <a:pt x="169" y="41"/>
                  </a:lnTo>
                  <a:lnTo>
                    <a:pt x="167" y="45"/>
                  </a:lnTo>
                  <a:lnTo>
                    <a:pt x="163" y="48"/>
                  </a:lnTo>
                  <a:lnTo>
                    <a:pt x="159" y="50"/>
                  </a:lnTo>
                  <a:lnTo>
                    <a:pt x="155" y="52"/>
                  </a:lnTo>
                  <a:lnTo>
                    <a:pt x="150" y="52"/>
                  </a:lnTo>
                  <a:lnTo>
                    <a:pt x="23" y="52"/>
                  </a:lnTo>
                  <a:lnTo>
                    <a:pt x="23" y="52"/>
                  </a:lnTo>
                  <a:lnTo>
                    <a:pt x="18" y="52"/>
                  </a:lnTo>
                  <a:lnTo>
                    <a:pt x="14" y="50"/>
                  </a:lnTo>
                  <a:lnTo>
                    <a:pt x="10" y="48"/>
                  </a:lnTo>
                  <a:lnTo>
                    <a:pt x="6" y="45"/>
                  </a:lnTo>
                  <a:lnTo>
                    <a:pt x="3" y="41"/>
                  </a:lnTo>
                  <a:lnTo>
                    <a:pt x="1" y="36"/>
                  </a:lnTo>
                  <a:lnTo>
                    <a:pt x="0" y="31"/>
                  </a:lnTo>
                  <a:lnTo>
                    <a:pt x="0" y="26"/>
                  </a:lnTo>
                  <a:lnTo>
                    <a:pt x="0" y="26"/>
                  </a:lnTo>
                  <a:lnTo>
                    <a:pt x="0" y="21"/>
                  </a:lnTo>
                  <a:lnTo>
                    <a:pt x="1" y="16"/>
                  </a:lnTo>
                  <a:lnTo>
                    <a:pt x="3" y="12"/>
                  </a:lnTo>
                  <a:lnTo>
                    <a:pt x="6" y="8"/>
                  </a:lnTo>
                  <a:lnTo>
                    <a:pt x="10" y="5"/>
                  </a:lnTo>
                  <a:lnTo>
                    <a:pt x="14" y="2"/>
                  </a:lnTo>
                  <a:lnTo>
                    <a:pt x="18" y="1"/>
                  </a:lnTo>
                  <a:lnTo>
                    <a:pt x="23" y="0"/>
                  </a:lnTo>
                  <a:lnTo>
                    <a:pt x="150" y="0"/>
                  </a:lnTo>
                  <a:lnTo>
                    <a:pt x="150" y="0"/>
                  </a:lnTo>
                  <a:lnTo>
                    <a:pt x="155" y="1"/>
                  </a:lnTo>
                  <a:lnTo>
                    <a:pt x="159" y="2"/>
                  </a:lnTo>
                  <a:lnTo>
                    <a:pt x="163" y="5"/>
                  </a:lnTo>
                  <a:lnTo>
                    <a:pt x="167" y="8"/>
                  </a:lnTo>
                  <a:lnTo>
                    <a:pt x="169" y="12"/>
                  </a:lnTo>
                  <a:lnTo>
                    <a:pt x="172" y="16"/>
                  </a:lnTo>
                  <a:lnTo>
                    <a:pt x="173" y="21"/>
                  </a:lnTo>
                  <a:lnTo>
                    <a:pt x="173" y="2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3" name="Freeform 402"/>
            <p:cNvSpPr>
              <a:spLocks/>
            </p:cNvSpPr>
            <p:nvPr/>
          </p:nvSpPr>
          <p:spPr bwMode="auto">
            <a:xfrm>
              <a:off x="6256020" y="2392680"/>
              <a:ext cx="91440" cy="24766"/>
            </a:xfrm>
            <a:custGeom>
              <a:avLst/>
              <a:gdLst>
                <a:gd name="T0" fmla="*/ 48 w 96"/>
                <a:gd name="T1" fmla="*/ 26 h 26"/>
                <a:gd name="T2" fmla="*/ 48 w 96"/>
                <a:gd name="T3" fmla="*/ 26 h 26"/>
                <a:gd name="T4" fmla="*/ 42 w 96"/>
                <a:gd name="T5" fmla="*/ 26 h 26"/>
                <a:gd name="T6" fmla="*/ 36 w 96"/>
                <a:gd name="T7" fmla="*/ 25 h 26"/>
                <a:gd name="T8" fmla="*/ 29 w 96"/>
                <a:gd name="T9" fmla="*/ 22 h 26"/>
                <a:gd name="T10" fmla="*/ 23 w 96"/>
                <a:gd name="T11" fmla="*/ 20 h 26"/>
                <a:gd name="T12" fmla="*/ 17 w 96"/>
                <a:gd name="T13" fmla="*/ 16 h 26"/>
                <a:gd name="T14" fmla="*/ 12 w 96"/>
                <a:gd name="T15" fmla="*/ 11 h 26"/>
                <a:gd name="T16" fmla="*/ 5 w 96"/>
                <a:gd name="T17" fmla="*/ 6 h 26"/>
                <a:gd name="T18" fmla="*/ 0 w 96"/>
                <a:gd name="T19" fmla="*/ 0 h 26"/>
                <a:gd name="T20" fmla="*/ 96 w 96"/>
                <a:gd name="T21" fmla="*/ 0 h 26"/>
                <a:gd name="T22" fmla="*/ 96 w 96"/>
                <a:gd name="T23" fmla="*/ 0 h 26"/>
                <a:gd name="T24" fmla="*/ 91 w 96"/>
                <a:gd name="T25" fmla="*/ 6 h 26"/>
                <a:gd name="T26" fmla="*/ 85 w 96"/>
                <a:gd name="T27" fmla="*/ 11 h 26"/>
                <a:gd name="T28" fmla="*/ 79 w 96"/>
                <a:gd name="T29" fmla="*/ 16 h 26"/>
                <a:gd name="T30" fmla="*/ 73 w 96"/>
                <a:gd name="T31" fmla="*/ 20 h 26"/>
                <a:gd name="T32" fmla="*/ 67 w 96"/>
                <a:gd name="T33" fmla="*/ 22 h 26"/>
                <a:gd name="T34" fmla="*/ 61 w 96"/>
                <a:gd name="T35" fmla="*/ 25 h 26"/>
                <a:gd name="T36" fmla="*/ 55 w 96"/>
                <a:gd name="T37" fmla="*/ 26 h 26"/>
                <a:gd name="T38" fmla="*/ 48 w 96"/>
                <a:gd name="T3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26">
                  <a:moveTo>
                    <a:pt x="48" y="26"/>
                  </a:moveTo>
                  <a:lnTo>
                    <a:pt x="48" y="26"/>
                  </a:lnTo>
                  <a:lnTo>
                    <a:pt x="42" y="26"/>
                  </a:lnTo>
                  <a:lnTo>
                    <a:pt x="36" y="25"/>
                  </a:lnTo>
                  <a:lnTo>
                    <a:pt x="29" y="22"/>
                  </a:lnTo>
                  <a:lnTo>
                    <a:pt x="23" y="20"/>
                  </a:lnTo>
                  <a:lnTo>
                    <a:pt x="17" y="16"/>
                  </a:lnTo>
                  <a:lnTo>
                    <a:pt x="12" y="11"/>
                  </a:lnTo>
                  <a:lnTo>
                    <a:pt x="5" y="6"/>
                  </a:lnTo>
                  <a:lnTo>
                    <a:pt x="0" y="0"/>
                  </a:lnTo>
                  <a:lnTo>
                    <a:pt x="96" y="0"/>
                  </a:lnTo>
                  <a:lnTo>
                    <a:pt x="96" y="0"/>
                  </a:lnTo>
                  <a:lnTo>
                    <a:pt x="91" y="6"/>
                  </a:lnTo>
                  <a:lnTo>
                    <a:pt x="85" y="11"/>
                  </a:lnTo>
                  <a:lnTo>
                    <a:pt x="79" y="16"/>
                  </a:lnTo>
                  <a:lnTo>
                    <a:pt x="73" y="20"/>
                  </a:lnTo>
                  <a:lnTo>
                    <a:pt x="67" y="22"/>
                  </a:lnTo>
                  <a:lnTo>
                    <a:pt x="61" y="25"/>
                  </a:lnTo>
                  <a:lnTo>
                    <a:pt x="55" y="26"/>
                  </a:lnTo>
                  <a:lnTo>
                    <a:pt x="48" y="2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4" name="Freeform 403"/>
            <p:cNvSpPr>
              <a:spLocks/>
            </p:cNvSpPr>
            <p:nvPr/>
          </p:nvSpPr>
          <p:spPr bwMode="auto">
            <a:xfrm>
              <a:off x="6124574" y="1905000"/>
              <a:ext cx="354330" cy="331470"/>
            </a:xfrm>
            <a:custGeom>
              <a:avLst/>
              <a:gdLst>
                <a:gd name="T0" fmla="*/ 93 w 372"/>
                <a:gd name="T1" fmla="*/ 345 h 346"/>
                <a:gd name="T2" fmla="*/ 83 w 372"/>
                <a:gd name="T3" fmla="*/ 339 h 346"/>
                <a:gd name="T4" fmla="*/ 64 w 372"/>
                <a:gd name="T5" fmla="*/ 324 h 346"/>
                <a:gd name="T6" fmla="*/ 47 w 372"/>
                <a:gd name="T7" fmla="*/ 308 h 346"/>
                <a:gd name="T8" fmla="*/ 32 w 372"/>
                <a:gd name="T9" fmla="*/ 289 h 346"/>
                <a:gd name="T10" fmla="*/ 20 w 372"/>
                <a:gd name="T11" fmla="*/ 268 h 346"/>
                <a:gd name="T12" fmla="*/ 11 w 372"/>
                <a:gd name="T13" fmla="*/ 246 h 346"/>
                <a:gd name="T14" fmla="*/ 4 w 372"/>
                <a:gd name="T15" fmla="*/ 223 h 346"/>
                <a:gd name="T16" fmla="*/ 1 w 372"/>
                <a:gd name="T17" fmla="*/ 198 h 346"/>
                <a:gd name="T18" fmla="*/ 0 w 372"/>
                <a:gd name="T19" fmla="*/ 185 h 346"/>
                <a:gd name="T20" fmla="*/ 4 w 372"/>
                <a:gd name="T21" fmla="*/ 147 h 346"/>
                <a:gd name="T22" fmla="*/ 15 w 372"/>
                <a:gd name="T23" fmla="*/ 112 h 346"/>
                <a:gd name="T24" fmla="*/ 32 w 372"/>
                <a:gd name="T25" fmla="*/ 81 h 346"/>
                <a:gd name="T26" fmla="*/ 54 w 372"/>
                <a:gd name="T27" fmla="*/ 54 h 346"/>
                <a:gd name="T28" fmla="*/ 82 w 372"/>
                <a:gd name="T29" fmla="*/ 31 h 346"/>
                <a:gd name="T30" fmla="*/ 113 w 372"/>
                <a:gd name="T31" fmla="*/ 14 h 346"/>
                <a:gd name="T32" fmla="*/ 149 w 372"/>
                <a:gd name="T33" fmla="*/ 3 h 346"/>
                <a:gd name="T34" fmla="*/ 186 w 372"/>
                <a:gd name="T35" fmla="*/ 0 h 346"/>
                <a:gd name="T36" fmla="*/ 205 w 372"/>
                <a:gd name="T37" fmla="*/ 0 h 346"/>
                <a:gd name="T38" fmla="*/ 241 w 372"/>
                <a:gd name="T39" fmla="*/ 8 h 346"/>
                <a:gd name="T40" fmla="*/ 274 w 372"/>
                <a:gd name="T41" fmla="*/ 22 h 346"/>
                <a:gd name="T42" fmla="*/ 303 w 372"/>
                <a:gd name="T43" fmla="*/ 42 h 346"/>
                <a:gd name="T44" fmla="*/ 328 w 372"/>
                <a:gd name="T45" fmla="*/ 67 h 346"/>
                <a:gd name="T46" fmla="*/ 348 w 372"/>
                <a:gd name="T47" fmla="*/ 96 h 346"/>
                <a:gd name="T48" fmla="*/ 363 w 372"/>
                <a:gd name="T49" fmla="*/ 129 h 346"/>
                <a:gd name="T50" fmla="*/ 371 w 372"/>
                <a:gd name="T51" fmla="*/ 165 h 346"/>
                <a:gd name="T52" fmla="*/ 372 w 372"/>
                <a:gd name="T53" fmla="*/ 185 h 346"/>
                <a:gd name="T54" fmla="*/ 370 w 372"/>
                <a:gd name="T55" fmla="*/ 210 h 346"/>
                <a:gd name="T56" fmla="*/ 365 w 372"/>
                <a:gd name="T57" fmla="*/ 234 h 346"/>
                <a:gd name="T58" fmla="*/ 356 w 372"/>
                <a:gd name="T59" fmla="*/ 257 h 346"/>
                <a:gd name="T60" fmla="*/ 345 w 372"/>
                <a:gd name="T61" fmla="*/ 279 h 346"/>
                <a:gd name="T62" fmla="*/ 331 w 372"/>
                <a:gd name="T63" fmla="*/ 298 h 346"/>
                <a:gd name="T64" fmla="*/ 316 w 372"/>
                <a:gd name="T65" fmla="*/ 316 h 346"/>
                <a:gd name="T66" fmla="*/ 298 w 372"/>
                <a:gd name="T67" fmla="*/ 332 h 346"/>
                <a:gd name="T68" fmla="*/ 278 w 372"/>
                <a:gd name="T69" fmla="*/ 345 h 346"/>
                <a:gd name="T70" fmla="*/ 95 w 372"/>
                <a:gd name="T71"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2" h="346">
                  <a:moveTo>
                    <a:pt x="95" y="346"/>
                  </a:moveTo>
                  <a:lnTo>
                    <a:pt x="93" y="345"/>
                  </a:lnTo>
                  <a:lnTo>
                    <a:pt x="93" y="345"/>
                  </a:lnTo>
                  <a:lnTo>
                    <a:pt x="83" y="339"/>
                  </a:lnTo>
                  <a:lnTo>
                    <a:pt x="73" y="332"/>
                  </a:lnTo>
                  <a:lnTo>
                    <a:pt x="64" y="324"/>
                  </a:lnTo>
                  <a:lnTo>
                    <a:pt x="55" y="316"/>
                  </a:lnTo>
                  <a:lnTo>
                    <a:pt x="47" y="308"/>
                  </a:lnTo>
                  <a:lnTo>
                    <a:pt x="39" y="298"/>
                  </a:lnTo>
                  <a:lnTo>
                    <a:pt x="32" y="289"/>
                  </a:lnTo>
                  <a:lnTo>
                    <a:pt x="26" y="279"/>
                  </a:lnTo>
                  <a:lnTo>
                    <a:pt x="20" y="268"/>
                  </a:lnTo>
                  <a:lnTo>
                    <a:pt x="15" y="257"/>
                  </a:lnTo>
                  <a:lnTo>
                    <a:pt x="11" y="246"/>
                  </a:lnTo>
                  <a:lnTo>
                    <a:pt x="7" y="234"/>
                  </a:lnTo>
                  <a:lnTo>
                    <a:pt x="4" y="223"/>
                  </a:lnTo>
                  <a:lnTo>
                    <a:pt x="2" y="210"/>
                  </a:lnTo>
                  <a:lnTo>
                    <a:pt x="1" y="198"/>
                  </a:lnTo>
                  <a:lnTo>
                    <a:pt x="0" y="185"/>
                  </a:lnTo>
                  <a:lnTo>
                    <a:pt x="0" y="185"/>
                  </a:lnTo>
                  <a:lnTo>
                    <a:pt x="1" y="165"/>
                  </a:lnTo>
                  <a:lnTo>
                    <a:pt x="4" y="147"/>
                  </a:lnTo>
                  <a:lnTo>
                    <a:pt x="9" y="129"/>
                  </a:lnTo>
                  <a:lnTo>
                    <a:pt x="15" y="112"/>
                  </a:lnTo>
                  <a:lnTo>
                    <a:pt x="23" y="96"/>
                  </a:lnTo>
                  <a:lnTo>
                    <a:pt x="32" y="81"/>
                  </a:lnTo>
                  <a:lnTo>
                    <a:pt x="43" y="67"/>
                  </a:lnTo>
                  <a:lnTo>
                    <a:pt x="54" y="54"/>
                  </a:lnTo>
                  <a:lnTo>
                    <a:pt x="68" y="42"/>
                  </a:lnTo>
                  <a:lnTo>
                    <a:pt x="82" y="31"/>
                  </a:lnTo>
                  <a:lnTo>
                    <a:pt x="97" y="22"/>
                  </a:lnTo>
                  <a:lnTo>
                    <a:pt x="113" y="14"/>
                  </a:lnTo>
                  <a:lnTo>
                    <a:pt x="130" y="8"/>
                  </a:lnTo>
                  <a:lnTo>
                    <a:pt x="149" y="3"/>
                  </a:lnTo>
                  <a:lnTo>
                    <a:pt x="167" y="0"/>
                  </a:lnTo>
                  <a:lnTo>
                    <a:pt x="186" y="0"/>
                  </a:lnTo>
                  <a:lnTo>
                    <a:pt x="186" y="0"/>
                  </a:lnTo>
                  <a:lnTo>
                    <a:pt x="205" y="0"/>
                  </a:lnTo>
                  <a:lnTo>
                    <a:pt x="223" y="3"/>
                  </a:lnTo>
                  <a:lnTo>
                    <a:pt x="241" y="8"/>
                  </a:lnTo>
                  <a:lnTo>
                    <a:pt x="258" y="14"/>
                  </a:lnTo>
                  <a:lnTo>
                    <a:pt x="274" y="22"/>
                  </a:lnTo>
                  <a:lnTo>
                    <a:pt x="289" y="31"/>
                  </a:lnTo>
                  <a:lnTo>
                    <a:pt x="303" y="42"/>
                  </a:lnTo>
                  <a:lnTo>
                    <a:pt x="316" y="54"/>
                  </a:lnTo>
                  <a:lnTo>
                    <a:pt x="328" y="67"/>
                  </a:lnTo>
                  <a:lnTo>
                    <a:pt x="339" y="81"/>
                  </a:lnTo>
                  <a:lnTo>
                    <a:pt x="348" y="96"/>
                  </a:lnTo>
                  <a:lnTo>
                    <a:pt x="356" y="112"/>
                  </a:lnTo>
                  <a:lnTo>
                    <a:pt x="363" y="129"/>
                  </a:lnTo>
                  <a:lnTo>
                    <a:pt x="368" y="147"/>
                  </a:lnTo>
                  <a:lnTo>
                    <a:pt x="371" y="165"/>
                  </a:lnTo>
                  <a:lnTo>
                    <a:pt x="372" y="185"/>
                  </a:lnTo>
                  <a:lnTo>
                    <a:pt x="372" y="185"/>
                  </a:lnTo>
                  <a:lnTo>
                    <a:pt x="371" y="198"/>
                  </a:lnTo>
                  <a:lnTo>
                    <a:pt x="370" y="210"/>
                  </a:lnTo>
                  <a:lnTo>
                    <a:pt x="368" y="223"/>
                  </a:lnTo>
                  <a:lnTo>
                    <a:pt x="365" y="234"/>
                  </a:lnTo>
                  <a:lnTo>
                    <a:pt x="360" y="246"/>
                  </a:lnTo>
                  <a:lnTo>
                    <a:pt x="356" y="257"/>
                  </a:lnTo>
                  <a:lnTo>
                    <a:pt x="351" y="268"/>
                  </a:lnTo>
                  <a:lnTo>
                    <a:pt x="345" y="279"/>
                  </a:lnTo>
                  <a:lnTo>
                    <a:pt x="339" y="289"/>
                  </a:lnTo>
                  <a:lnTo>
                    <a:pt x="331" y="298"/>
                  </a:lnTo>
                  <a:lnTo>
                    <a:pt x="324" y="308"/>
                  </a:lnTo>
                  <a:lnTo>
                    <a:pt x="316" y="316"/>
                  </a:lnTo>
                  <a:lnTo>
                    <a:pt x="307" y="324"/>
                  </a:lnTo>
                  <a:lnTo>
                    <a:pt x="298" y="332"/>
                  </a:lnTo>
                  <a:lnTo>
                    <a:pt x="288" y="339"/>
                  </a:lnTo>
                  <a:lnTo>
                    <a:pt x="278" y="345"/>
                  </a:lnTo>
                  <a:lnTo>
                    <a:pt x="276" y="346"/>
                  </a:lnTo>
                  <a:lnTo>
                    <a:pt x="95" y="3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420" name="Freeform 98"/>
          <p:cNvSpPr>
            <a:spLocks/>
          </p:cNvSpPr>
          <p:nvPr/>
        </p:nvSpPr>
        <p:spPr bwMode="auto">
          <a:xfrm>
            <a:off x="5236746" y="2322785"/>
            <a:ext cx="479883" cy="420844"/>
          </a:xfrm>
          <a:custGeom>
            <a:avLst/>
            <a:gdLst/>
            <a:ahLst/>
            <a:cxnLst/>
            <a:rect l="l" t="t" r="r" b="b"/>
            <a:pathLst>
              <a:path w="479883" h="420844">
                <a:moveTo>
                  <a:pt x="302426" y="0"/>
                </a:moveTo>
                <a:lnTo>
                  <a:pt x="311583" y="596"/>
                </a:lnTo>
                <a:lnTo>
                  <a:pt x="341149" y="5778"/>
                </a:lnTo>
                <a:lnTo>
                  <a:pt x="366167" y="11998"/>
                </a:lnTo>
                <a:lnTo>
                  <a:pt x="388910" y="20290"/>
                </a:lnTo>
                <a:lnTo>
                  <a:pt x="407105" y="29619"/>
                </a:lnTo>
                <a:lnTo>
                  <a:pt x="423025" y="39984"/>
                </a:lnTo>
                <a:lnTo>
                  <a:pt x="438945" y="52422"/>
                </a:lnTo>
                <a:lnTo>
                  <a:pt x="450317" y="65897"/>
                </a:lnTo>
                <a:lnTo>
                  <a:pt x="459414" y="80409"/>
                </a:lnTo>
                <a:lnTo>
                  <a:pt x="466237" y="95957"/>
                </a:lnTo>
                <a:lnTo>
                  <a:pt x="473060" y="112541"/>
                </a:lnTo>
                <a:lnTo>
                  <a:pt x="475335" y="130162"/>
                </a:lnTo>
                <a:lnTo>
                  <a:pt x="479883" y="147783"/>
                </a:lnTo>
                <a:lnTo>
                  <a:pt x="479883" y="182552"/>
                </a:lnTo>
                <a:lnTo>
                  <a:pt x="479883" y="186135"/>
                </a:lnTo>
                <a:lnTo>
                  <a:pt x="479671" y="186135"/>
                </a:lnTo>
                <a:lnTo>
                  <a:pt x="477609" y="220904"/>
                </a:lnTo>
                <a:lnTo>
                  <a:pt x="475335" y="238525"/>
                </a:lnTo>
                <a:lnTo>
                  <a:pt x="470786" y="256146"/>
                </a:lnTo>
                <a:lnTo>
                  <a:pt x="466237" y="272730"/>
                </a:lnTo>
                <a:lnTo>
                  <a:pt x="457140" y="288278"/>
                </a:lnTo>
                <a:lnTo>
                  <a:pt x="449797" y="299991"/>
                </a:lnTo>
                <a:lnTo>
                  <a:pt x="450317" y="300606"/>
                </a:lnTo>
                <a:lnTo>
                  <a:pt x="459414" y="315118"/>
                </a:lnTo>
                <a:lnTo>
                  <a:pt x="466237" y="330666"/>
                </a:lnTo>
                <a:lnTo>
                  <a:pt x="473060" y="347250"/>
                </a:lnTo>
                <a:lnTo>
                  <a:pt x="475335" y="364871"/>
                </a:lnTo>
                <a:lnTo>
                  <a:pt x="479883" y="382492"/>
                </a:lnTo>
                <a:lnTo>
                  <a:pt x="479883" y="420844"/>
                </a:lnTo>
                <a:lnTo>
                  <a:pt x="0" y="420844"/>
                </a:lnTo>
                <a:lnTo>
                  <a:pt x="2275" y="382492"/>
                </a:lnTo>
                <a:lnTo>
                  <a:pt x="4549" y="364871"/>
                </a:lnTo>
                <a:lnTo>
                  <a:pt x="9098" y="347250"/>
                </a:lnTo>
                <a:lnTo>
                  <a:pt x="13646" y="330666"/>
                </a:lnTo>
                <a:lnTo>
                  <a:pt x="22744" y="315118"/>
                </a:lnTo>
                <a:lnTo>
                  <a:pt x="30086" y="303405"/>
                </a:lnTo>
                <a:lnTo>
                  <a:pt x="29567" y="302790"/>
                </a:lnTo>
                <a:lnTo>
                  <a:pt x="20469" y="288278"/>
                </a:lnTo>
                <a:lnTo>
                  <a:pt x="13646" y="272730"/>
                </a:lnTo>
                <a:lnTo>
                  <a:pt x="6823" y="256146"/>
                </a:lnTo>
                <a:lnTo>
                  <a:pt x="4549" y="238525"/>
                </a:lnTo>
                <a:lnTo>
                  <a:pt x="0" y="220904"/>
                </a:lnTo>
                <a:lnTo>
                  <a:pt x="0" y="186135"/>
                </a:lnTo>
                <a:lnTo>
                  <a:pt x="0" y="182552"/>
                </a:lnTo>
                <a:lnTo>
                  <a:pt x="213" y="182552"/>
                </a:lnTo>
                <a:lnTo>
                  <a:pt x="2275" y="147783"/>
                </a:lnTo>
                <a:lnTo>
                  <a:pt x="4549" y="130162"/>
                </a:lnTo>
                <a:lnTo>
                  <a:pt x="9098" y="112541"/>
                </a:lnTo>
                <a:lnTo>
                  <a:pt x="13646" y="95957"/>
                </a:lnTo>
                <a:lnTo>
                  <a:pt x="22744" y="80409"/>
                </a:lnTo>
                <a:lnTo>
                  <a:pt x="31841" y="65897"/>
                </a:lnTo>
                <a:lnTo>
                  <a:pt x="43212" y="52422"/>
                </a:lnTo>
                <a:lnTo>
                  <a:pt x="56858" y="39984"/>
                </a:lnTo>
                <a:lnTo>
                  <a:pt x="75053" y="29619"/>
                </a:lnTo>
                <a:lnTo>
                  <a:pt x="93248" y="20290"/>
                </a:lnTo>
                <a:lnTo>
                  <a:pt x="115991" y="11998"/>
                </a:lnTo>
                <a:lnTo>
                  <a:pt x="143283" y="5778"/>
                </a:lnTo>
                <a:lnTo>
                  <a:pt x="172849" y="596"/>
                </a:lnTo>
                <a:lnTo>
                  <a:pt x="177516" y="313"/>
                </a:lnTo>
                <a:lnTo>
                  <a:pt x="239941" y="33166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1" name="Freeform 102"/>
          <p:cNvSpPr>
            <a:spLocks/>
          </p:cNvSpPr>
          <p:nvPr/>
        </p:nvSpPr>
        <p:spPr bwMode="auto">
          <a:xfrm>
            <a:off x="5334197" y="1987477"/>
            <a:ext cx="287931" cy="292499"/>
          </a:xfrm>
          <a:custGeom>
            <a:avLst/>
            <a:gdLst>
              <a:gd name="T0" fmla="*/ 0 w 127"/>
              <a:gd name="T1" fmla="*/ 65 h 130"/>
              <a:gd name="T2" fmla="*/ 0 w 127"/>
              <a:gd name="T3" fmla="*/ 65 h 130"/>
              <a:gd name="T4" fmla="*/ 0 w 127"/>
              <a:gd name="T5" fmla="*/ 58 h 130"/>
              <a:gd name="T6" fmla="*/ 1 w 127"/>
              <a:gd name="T7" fmla="*/ 52 h 130"/>
              <a:gd name="T8" fmla="*/ 3 w 127"/>
              <a:gd name="T9" fmla="*/ 46 h 130"/>
              <a:gd name="T10" fmla="*/ 5 w 127"/>
              <a:gd name="T11" fmla="*/ 40 h 130"/>
              <a:gd name="T12" fmla="*/ 11 w 127"/>
              <a:gd name="T13" fmla="*/ 29 h 130"/>
              <a:gd name="T14" fmla="*/ 19 w 127"/>
              <a:gd name="T15" fmla="*/ 19 h 130"/>
              <a:gd name="T16" fmla="*/ 28 w 127"/>
              <a:gd name="T17" fmla="*/ 11 h 130"/>
              <a:gd name="T18" fmla="*/ 33 w 127"/>
              <a:gd name="T19" fmla="*/ 8 h 130"/>
              <a:gd name="T20" fmla="*/ 39 w 127"/>
              <a:gd name="T21" fmla="*/ 5 h 130"/>
              <a:gd name="T22" fmla="*/ 44 w 127"/>
              <a:gd name="T23" fmla="*/ 3 h 130"/>
              <a:gd name="T24" fmla="*/ 51 w 127"/>
              <a:gd name="T25" fmla="*/ 1 h 130"/>
              <a:gd name="T26" fmla="*/ 58 w 127"/>
              <a:gd name="T27" fmla="*/ 0 h 130"/>
              <a:gd name="T28" fmla="*/ 64 w 127"/>
              <a:gd name="T29" fmla="*/ 0 h 130"/>
              <a:gd name="T30" fmla="*/ 64 w 127"/>
              <a:gd name="T31" fmla="*/ 0 h 130"/>
              <a:gd name="T32" fmla="*/ 70 w 127"/>
              <a:gd name="T33" fmla="*/ 0 h 130"/>
              <a:gd name="T34" fmla="*/ 77 w 127"/>
              <a:gd name="T35" fmla="*/ 1 h 130"/>
              <a:gd name="T36" fmla="*/ 83 w 127"/>
              <a:gd name="T37" fmla="*/ 3 h 130"/>
              <a:gd name="T38" fmla="*/ 88 w 127"/>
              <a:gd name="T39" fmla="*/ 5 h 130"/>
              <a:gd name="T40" fmla="*/ 94 w 127"/>
              <a:gd name="T41" fmla="*/ 8 h 130"/>
              <a:gd name="T42" fmla="*/ 99 w 127"/>
              <a:gd name="T43" fmla="*/ 11 h 130"/>
              <a:gd name="T44" fmla="*/ 108 w 127"/>
              <a:gd name="T45" fmla="*/ 19 h 130"/>
              <a:gd name="T46" fmla="*/ 116 w 127"/>
              <a:gd name="T47" fmla="*/ 29 h 130"/>
              <a:gd name="T48" fmla="*/ 122 w 127"/>
              <a:gd name="T49" fmla="*/ 40 h 130"/>
              <a:gd name="T50" fmla="*/ 124 w 127"/>
              <a:gd name="T51" fmla="*/ 46 h 130"/>
              <a:gd name="T52" fmla="*/ 126 w 127"/>
              <a:gd name="T53" fmla="*/ 52 h 130"/>
              <a:gd name="T54" fmla="*/ 127 w 127"/>
              <a:gd name="T55" fmla="*/ 58 h 130"/>
              <a:gd name="T56" fmla="*/ 127 w 127"/>
              <a:gd name="T57" fmla="*/ 65 h 130"/>
              <a:gd name="T58" fmla="*/ 127 w 127"/>
              <a:gd name="T59" fmla="*/ 65 h 130"/>
              <a:gd name="T60" fmla="*/ 127 w 127"/>
              <a:gd name="T61" fmla="*/ 71 h 130"/>
              <a:gd name="T62" fmla="*/ 126 w 127"/>
              <a:gd name="T63" fmla="*/ 78 h 130"/>
              <a:gd name="T64" fmla="*/ 124 w 127"/>
              <a:gd name="T65" fmla="*/ 84 h 130"/>
              <a:gd name="T66" fmla="*/ 122 w 127"/>
              <a:gd name="T67" fmla="*/ 90 h 130"/>
              <a:gd name="T68" fmla="*/ 116 w 127"/>
              <a:gd name="T69" fmla="*/ 101 h 130"/>
              <a:gd name="T70" fmla="*/ 108 w 127"/>
              <a:gd name="T71" fmla="*/ 111 h 130"/>
              <a:gd name="T72" fmla="*/ 99 w 127"/>
              <a:gd name="T73" fmla="*/ 119 h 130"/>
              <a:gd name="T74" fmla="*/ 94 w 127"/>
              <a:gd name="T75" fmla="*/ 123 h 130"/>
              <a:gd name="T76" fmla="*/ 88 w 127"/>
              <a:gd name="T77" fmla="*/ 125 h 130"/>
              <a:gd name="T78" fmla="*/ 83 w 127"/>
              <a:gd name="T79" fmla="*/ 128 h 130"/>
              <a:gd name="T80" fmla="*/ 77 w 127"/>
              <a:gd name="T81" fmla="*/ 129 h 130"/>
              <a:gd name="T82" fmla="*/ 70 w 127"/>
              <a:gd name="T83" fmla="*/ 130 h 130"/>
              <a:gd name="T84" fmla="*/ 64 w 127"/>
              <a:gd name="T85" fmla="*/ 130 h 130"/>
              <a:gd name="T86" fmla="*/ 64 w 127"/>
              <a:gd name="T87" fmla="*/ 130 h 130"/>
              <a:gd name="T88" fmla="*/ 58 w 127"/>
              <a:gd name="T89" fmla="*/ 130 h 130"/>
              <a:gd name="T90" fmla="*/ 51 w 127"/>
              <a:gd name="T91" fmla="*/ 129 h 130"/>
              <a:gd name="T92" fmla="*/ 44 w 127"/>
              <a:gd name="T93" fmla="*/ 128 h 130"/>
              <a:gd name="T94" fmla="*/ 39 w 127"/>
              <a:gd name="T95" fmla="*/ 125 h 130"/>
              <a:gd name="T96" fmla="*/ 33 w 127"/>
              <a:gd name="T97" fmla="*/ 123 h 130"/>
              <a:gd name="T98" fmla="*/ 28 w 127"/>
              <a:gd name="T99" fmla="*/ 119 h 130"/>
              <a:gd name="T100" fmla="*/ 19 w 127"/>
              <a:gd name="T101" fmla="*/ 111 h 130"/>
              <a:gd name="T102" fmla="*/ 11 w 127"/>
              <a:gd name="T103" fmla="*/ 101 h 130"/>
              <a:gd name="T104" fmla="*/ 5 w 127"/>
              <a:gd name="T105" fmla="*/ 90 h 130"/>
              <a:gd name="T106" fmla="*/ 3 w 127"/>
              <a:gd name="T107" fmla="*/ 84 h 130"/>
              <a:gd name="T108" fmla="*/ 1 w 127"/>
              <a:gd name="T109" fmla="*/ 78 h 130"/>
              <a:gd name="T110" fmla="*/ 0 w 127"/>
              <a:gd name="T111" fmla="*/ 71 h 130"/>
              <a:gd name="T112" fmla="*/ 0 w 127"/>
              <a:gd name="T113" fmla="*/ 6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 h="130">
                <a:moveTo>
                  <a:pt x="0" y="65"/>
                </a:moveTo>
                <a:lnTo>
                  <a:pt x="0" y="65"/>
                </a:lnTo>
                <a:lnTo>
                  <a:pt x="0" y="58"/>
                </a:lnTo>
                <a:lnTo>
                  <a:pt x="1" y="52"/>
                </a:lnTo>
                <a:lnTo>
                  <a:pt x="3" y="46"/>
                </a:lnTo>
                <a:lnTo>
                  <a:pt x="5" y="40"/>
                </a:lnTo>
                <a:lnTo>
                  <a:pt x="11" y="29"/>
                </a:lnTo>
                <a:lnTo>
                  <a:pt x="19" y="19"/>
                </a:lnTo>
                <a:lnTo>
                  <a:pt x="28" y="11"/>
                </a:lnTo>
                <a:lnTo>
                  <a:pt x="33" y="8"/>
                </a:lnTo>
                <a:lnTo>
                  <a:pt x="39" y="5"/>
                </a:lnTo>
                <a:lnTo>
                  <a:pt x="44" y="3"/>
                </a:lnTo>
                <a:lnTo>
                  <a:pt x="51" y="1"/>
                </a:lnTo>
                <a:lnTo>
                  <a:pt x="58" y="0"/>
                </a:lnTo>
                <a:lnTo>
                  <a:pt x="64" y="0"/>
                </a:lnTo>
                <a:lnTo>
                  <a:pt x="64" y="0"/>
                </a:lnTo>
                <a:lnTo>
                  <a:pt x="70" y="0"/>
                </a:lnTo>
                <a:lnTo>
                  <a:pt x="77" y="1"/>
                </a:lnTo>
                <a:lnTo>
                  <a:pt x="83" y="3"/>
                </a:lnTo>
                <a:lnTo>
                  <a:pt x="88" y="5"/>
                </a:lnTo>
                <a:lnTo>
                  <a:pt x="94" y="8"/>
                </a:lnTo>
                <a:lnTo>
                  <a:pt x="99" y="11"/>
                </a:lnTo>
                <a:lnTo>
                  <a:pt x="108" y="19"/>
                </a:lnTo>
                <a:lnTo>
                  <a:pt x="116" y="29"/>
                </a:lnTo>
                <a:lnTo>
                  <a:pt x="122" y="40"/>
                </a:lnTo>
                <a:lnTo>
                  <a:pt x="124" y="46"/>
                </a:lnTo>
                <a:lnTo>
                  <a:pt x="126" y="52"/>
                </a:lnTo>
                <a:lnTo>
                  <a:pt x="127" y="58"/>
                </a:lnTo>
                <a:lnTo>
                  <a:pt x="127" y="65"/>
                </a:lnTo>
                <a:lnTo>
                  <a:pt x="127" y="65"/>
                </a:lnTo>
                <a:lnTo>
                  <a:pt x="127" y="71"/>
                </a:lnTo>
                <a:lnTo>
                  <a:pt x="126" y="78"/>
                </a:lnTo>
                <a:lnTo>
                  <a:pt x="124" y="84"/>
                </a:lnTo>
                <a:lnTo>
                  <a:pt x="122" y="90"/>
                </a:lnTo>
                <a:lnTo>
                  <a:pt x="116" y="101"/>
                </a:lnTo>
                <a:lnTo>
                  <a:pt x="108" y="111"/>
                </a:lnTo>
                <a:lnTo>
                  <a:pt x="99" y="119"/>
                </a:lnTo>
                <a:lnTo>
                  <a:pt x="94" y="123"/>
                </a:lnTo>
                <a:lnTo>
                  <a:pt x="88" y="125"/>
                </a:lnTo>
                <a:lnTo>
                  <a:pt x="83" y="128"/>
                </a:lnTo>
                <a:lnTo>
                  <a:pt x="77" y="129"/>
                </a:lnTo>
                <a:lnTo>
                  <a:pt x="70" y="130"/>
                </a:lnTo>
                <a:lnTo>
                  <a:pt x="64" y="130"/>
                </a:lnTo>
                <a:lnTo>
                  <a:pt x="64" y="130"/>
                </a:lnTo>
                <a:lnTo>
                  <a:pt x="58" y="130"/>
                </a:lnTo>
                <a:lnTo>
                  <a:pt x="51" y="129"/>
                </a:lnTo>
                <a:lnTo>
                  <a:pt x="44" y="128"/>
                </a:lnTo>
                <a:lnTo>
                  <a:pt x="39" y="125"/>
                </a:lnTo>
                <a:lnTo>
                  <a:pt x="33" y="123"/>
                </a:lnTo>
                <a:lnTo>
                  <a:pt x="28" y="119"/>
                </a:lnTo>
                <a:lnTo>
                  <a:pt x="19" y="111"/>
                </a:lnTo>
                <a:lnTo>
                  <a:pt x="11" y="101"/>
                </a:lnTo>
                <a:lnTo>
                  <a:pt x="5" y="90"/>
                </a:lnTo>
                <a:lnTo>
                  <a:pt x="3" y="84"/>
                </a:lnTo>
                <a:lnTo>
                  <a:pt x="1" y="78"/>
                </a:lnTo>
                <a:lnTo>
                  <a:pt x="0" y="71"/>
                </a:lnTo>
                <a:lnTo>
                  <a:pt x="0" y="65"/>
                </a:ln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6" name="Freeform 59"/>
          <p:cNvSpPr>
            <a:spLocks/>
          </p:cNvSpPr>
          <p:nvPr/>
        </p:nvSpPr>
        <p:spPr bwMode="auto">
          <a:xfrm>
            <a:off x="5256091" y="1925650"/>
            <a:ext cx="417576" cy="376286"/>
          </a:xfrm>
          <a:custGeom>
            <a:avLst/>
            <a:gdLst>
              <a:gd name="T0" fmla="*/ 516 w 536"/>
              <a:gd name="T1" fmla="*/ 437 h 483"/>
              <a:gd name="T2" fmla="*/ 536 w 536"/>
              <a:gd name="T3" fmla="*/ 433 h 483"/>
              <a:gd name="T4" fmla="*/ 514 w 536"/>
              <a:gd name="T5" fmla="*/ 407 h 483"/>
              <a:gd name="T6" fmla="*/ 496 w 536"/>
              <a:gd name="T7" fmla="*/ 373 h 483"/>
              <a:gd name="T8" fmla="*/ 484 w 536"/>
              <a:gd name="T9" fmla="*/ 330 h 483"/>
              <a:gd name="T10" fmla="*/ 481 w 536"/>
              <a:gd name="T11" fmla="*/ 255 h 483"/>
              <a:gd name="T12" fmla="*/ 479 w 536"/>
              <a:gd name="T13" fmla="*/ 167 h 483"/>
              <a:gd name="T14" fmla="*/ 471 w 536"/>
              <a:gd name="T15" fmla="*/ 137 h 483"/>
              <a:gd name="T16" fmla="*/ 444 w 536"/>
              <a:gd name="T17" fmla="*/ 83 h 483"/>
              <a:gd name="T18" fmla="*/ 402 w 536"/>
              <a:gd name="T19" fmla="*/ 41 h 483"/>
              <a:gd name="T20" fmla="*/ 352 w 536"/>
              <a:gd name="T21" fmla="*/ 15 h 483"/>
              <a:gd name="T22" fmla="*/ 296 w 536"/>
              <a:gd name="T23" fmla="*/ 0 h 483"/>
              <a:gd name="T24" fmla="*/ 237 w 536"/>
              <a:gd name="T25" fmla="*/ 1 h 483"/>
              <a:gd name="T26" fmla="*/ 194 w 536"/>
              <a:gd name="T27" fmla="*/ 11 h 483"/>
              <a:gd name="T28" fmla="*/ 127 w 536"/>
              <a:gd name="T29" fmla="*/ 51 h 483"/>
              <a:gd name="T30" fmla="*/ 80 w 536"/>
              <a:gd name="T31" fmla="*/ 113 h 483"/>
              <a:gd name="T32" fmla="*/ 67 w 536"/>
              <a:gd name="T33" fmla="*/ 152 h 483"/>
              <a:gd name="T34" fmla="*/ 62 w 536"/>
              <a:gd name="T35" fmla="*/ 198 h 483"/>
              <a:gd name="T36" fmla="*/ 64 w 536"/>
              <a:gd name="T37" fmla="*/ 290 h 483"/>
              <a:gd name="T38" fmla="*/ 55 w 536"/>
              <a:gd name="T39" fmla="*/ 350 h 483"/>
              <a:gd name="T40" fmla="*/ 42 w 536"/>
              <a:gd name="T41" fmla="*/ 380 h 483"/>
              <a:gd name="T42" fmla="*/ 10 w 536"/>
              <a:gd name="T43" fmla="*/ 427 h 483"/>
              <a:gd name="T44" fmla="*/ 0 w 536"/>
              <a:gd name="T45" fmla="*/ 433 h 483"/>
              <a:gd name="T46" fmla="*/ 35 w 536"/>
              <a:gd name="T47" fmla="*/ 442 h 483"/>
              <a:gd name="T48" fmla="*/ 24 w 536"/>
              <a:gd name="T49" fmla="*/ 453 h 483"/>
              <a:gd name="T50" fmla="*/ 12 w 536"/>
              <a:gd name="T51" fmla="*/ 465 h 483"/>
              <a:gd name="T52" fmla="*/ 72 w 536"/>
              <a:gd name="T53" fmla="*/ 482 h 483"/>
              <a:gd name="T54" fmla="*/ 107 w 536"/>
              <a:gd name="T55" fmla="*/ 478 h 483"/>
              <a:gd name="T56" fmla="*/ 124 w 536"/>
              <a:gd name="T57" fmla="*/ 465 h 483"/>
              <a:gd name="T58" fmla="*/ 139 w 536"/>
              <a:gd name="T59" fmla="*/ 442 h 483"/>
              <a:gd name="T60" fmla="*/ 152 w 536"/>
              <a:gd name="T61" fmla="*/ 403 h 483"/>
              <a:gd name="T62" fmla="*/ 157 w 536"/>
              <a:gd name="T63" fmla="*/ 333 h 483"/>
              <a:gd name="T64" fmla="*/ 150 w 536"/>
              <a:gd name="T65" fmla="*/ 248 h 483"/>
              <a:gd name="T66" fmla="*/ 145 w 536"/>
              <a:gd name="T67" fmla="*/ 187 h 483"/>
              <a:gd name="T68" fmla="*/ 154 w 536"/>
              <a:gd name="T69" fmla="*/ 155 h 483"/>
              <a:gd name="T70" fmla="*/ 176 w 536"/>
              <a:gd name="T71" fmla="*/ 143 h 483"/>
              <a:gd name="T72" fmla="*/ 271 w 536"/>
              <a:gd name="T73" fmla="*/ 116 h 483"/>
              <a:gd name="T74" fmla="*/ 381 w 536"/>
              <a:gd name="T75" fmla="*/ 150 h 483"/>
              <a:gd name="T76" fmla="*/ 394 w 536"/>
              <a:gd name="T77" fmla="*/ 162 h 483"/>
              <a:gd name="T78" fmla="*/ 396 w 536"/>
              <a:gd name="T79" fmla="*/ 200 h 483"/>
              <a:gd name="T80" fmla="*/ 392 w 536"/>
              <a:gd name="T81" fmla="*/ 248 h 483"/>
              <a:gd name="T82" fmla="*/ 386 w 536"/>
              <a:gd name="T83" fmla="*/ 362 h 483"/>
              <a:gd name="T84" fmla="*/ 394 w 536"/>
              <a:gd name="T85" fmla="*/ 415 h 483"/>
              <a:gd name="T86" fmla="*/ 411 w 536"/>
              <a:gd name="T87" fmla="*/ 453 h 483"/>
              <a:gd name="T88" fmla="*/ 422 w 536"/>
              <a:gd name="T89" fmla="*/ 472 h 483"/>
              <a:gd name="T90" fmla="*/ 441 w 536"/>
              <a:gd name="T91" fmla="*/ 480 h 483"/>
              <a:gd name="T92" fmla="*/ 482 w 536"/>
              <a:gd name="T93" fmla="*/ 477 h 483"/>
              <a:gd name="T94" fmla="*/ 524 w 536"/>
              <a:gd name="T95" fmla="*/ 462 h 483"/>
              <a:gd name="T96" fmla="*/ 497 w 536"/>
              <a:gd name="T97" fmla="*/ 443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6" h="483">
                <a:moveTo>
                  <a:pt x="497" y="443"/>
                </a:moveTo>
                <a:lnTo>
                  <a:pt x="497" y="443"/>
                </a:lnTo>
                <a:lnTo>
                  <a:pt x="516" y="437"/>
                </a:lnTo>
                <a:lnTo>
                  <a:pt x="526" y="435"/>
                </a:lnTo>
                <a:lnTo>
                  <a:pt x="536" y="433"/>
                </a:lnTo>
                <a:lnTo>
                  <a:pt x="536" y="433"/>
                </a:lnTo>
                <a:lnTo>
                  <a:pt x="531" y="432"/>
                </a:lnTo>
                <a:lnTo>
                  <a:pt x="526" y="425"/>
                </a:lnTo>
                <a:lnTo>
                  <a:pt x="514" y="407"/>
                </a:lnTo>
                <a:lnTo>
                  <a:pt x="502" y="387"/>
                </a:lnTo>
                <a:lnTo>
                  <a:pt x="496" y="373"/>
                </a:lnTo>
                <a:lnTo>
                  <a:pt x="496" y="373"/>
                </a:lnTo>
                <a:lnTo>
                  <a:pt x="491" y="358"/>
                </a:lnTo>
                <a:lnTo>
                  <a:pt x="487" y="343"/>
                </a:lnTo>
                <a:lnTo>
                  <a:pt x="484" y="330"/>
                </a:lnTo>
                <a:lnTo>
                  <a:pt x="482" y="315"/>
                </a:lnTo>
                <a:lnTo>
                  <a:pt x="481" y="285"/>
                </a:lnTo>
                <a:lnTo>
                  <a:pt x="481" y="255"/>
                </a:lnTo>
                <a:lnTo>
                  <a:pt x="482" y="225"/>
                </a:lnTo>
                <a:lnTo>
                  <a:pt x="481" y="195"/>
                </a:lnTo>
                <a:lnTo>
                  <a:pt x="479" y="167"/>
                </a:lnTo>
                <a:lnTo>
                  <a:pt x="476" y="152"/>
                </a:lnTo>
                <a:lnTo>
                  <a:pt x="471" y="137"/>
                </a:lnTo>
                <a:lnTo>
                  <a:pt x="471" y="137"/>
                </a:lnTo>
                <a:lnTo>
                  <a:pt x="464" y="118"/>
                </a:lnTo>
                <a:lnTo>
                  <a:pt x="454" y="100"/>
                </a:lnTo>
                <a:lnTo>
                  <a:pt x="444" y="83"/>
                </a:lnTo>
                <a:lnTo>
                  <a:pt x="431" y="68"/>
                </a:lnTo>
                <a:lnTo>
                  <a:pt x="417" y="55"/>
                </a:lnTo>
                <a:lnTo>
                  <a:pt x="402" y="41"/>
                </a:lnTo>
                <a:lnTo>
                  <a:pt x="387" y="31"/>
                </a:lnTo>
                <a:lnTo>
                  <a:pt x="371" y="21"/>
                </a:lnTo>
                <a:lnTo>
                  <a:pt x="352" y="15"/>
                </a:lnTo>
                <a:lnTo>
                  <a:pt x="334" y="8"/>
                </a:lnTo>
                <a:lnTo>
                  <a:pt x="316" y="3"/>
                </a:lnTo>
                <a:lnTo>
                  <a:pt x="296" y="0"/>
                </a:lnTo>
                <a:lnTo>
                  <a:pt x="277" y="0"/>
                </a:lnTo>
                <a:lnTo>
                  <a:pt x="257" y="0"/>
                </a:lnTo>
                <a:lnTo>
                  <a:pt x="237" y="1"/>
                </a:lnTo>
                <a:lnTo>
                  <a:pt x="217" y="5"/>
                </a:lnTo>
                <a:lnTo>
                  <a:pt x="217" y="5"/>
                </a:lnTo>
                <a:lnTo>
                  <a:pt x="194" y="11"/>
                </a:lnTo>
                <a:lnTo>
                  <a:pt x="171" y="21"/>
                </a:lnTo>
                <a:lnTo>
                  <a:pt x="149" y="36"/>
                </a:lnTo>
                <a:lnTo>
                  <a:pt x="127" y="51"/>
                </a:lnTo>
                <a:lnTo>
                  <a:pt x="110" y="71"/>
                </a:lnTo>
                <a:lnTo>
                  <a:pt x="94" y="91"/>
                </a:lnTo>
                <a:lnTo>
                  <a:pt x="80" y="113"/>
                </a:lnTo>
                <a:lnTo>
                  <a:pt x="72" y="137"/>
                </a:lnTo>
                <a:lnTo>
                  <a:pt x="72" y="137"/>
                </a:lnTo>
                <a:lnTo>
                  <a:pt x="67" y="152"/>
                </a:lnTo>
                <a:lnTo>
                  <a:pt x="64" y="167"/>
                </a:lnTo>
                <a:lnTo>
                  <a:pt x="62" y="182"/>
                </a:lnTo>
                <a:lnTo>
                  <a:pt x="62" y="198"/>
                </a:lnTo>
                <a:lnTo>
                  <a:pt x="62" y="228"/>
                </a:lnTo>
                <a:lnTo>
                  <a:pt x="62" y="260"/>
                </a:lnTo>
                <a:lnTo>
                  <a:pt x="64" y="290"/>
                </a:lnTo>
                <a:lnTo>
                  <a:pt x="60" y="320"/>
                </a:lnTo>
                <a:lnTo>
                  <a:pt x="59" y="335"/>
                </a:lnTo>
                <a:lnTo>
                  <a:pt x="55" y="350"/>
                </a:lnTo>
                <a:lnTo>
                  <a:pt x="50" y="365"/>
                </a:lnTo>
                <a:lnTo>
                  <a:pt x="42" y="380"/>
                </a:lnTo>
                <a:lnTo>
                  <a:pt x="42" y="380"/>
                </a:lnTo>
                <a:lnTo>
                  <a:pt x="35" y="393"/>
                </a:lnTo>
                <a:lnTo>
                  <a:pt x="24" y="410"/>
                </a:lnTo>
                <a:lnTo>
                  <a:pt x="10" y="427"/>
                </a:lnTo>
                <a:lnTo>
                  <a:pt x="4" y="432"/>
                </a:lnTo>
                <a:lnTo>
                  <a:pt x="0" y="433"/>
                </a:lnTo>
                <a:lnTo>
                  <a:pt x="0" y="433"/>
                </a:lnTo>
                <a:lnTo>
                  <a:pt x="9" y="435"/>
                </a:lnTo>
                <a:lnTo>
                  <a:pt x="19" y="437"/>
                </a:lnTo>
                <a:lnTo>
                  <a:pt x="35" y="442"/>
                </a:lnTo>
                <a:lnTo>
                  <a:pt x="35" y="442"/>
                </a:lnTo>
                <a:lnTo>
                  <a:pt x="30" y="448"/>
                </a:lnTo>
                <a:lnTo>
                  <a:pt x="24" y="453"/>
                </a:lnTo>
                <a:lnTo>
                  <a:pt x="17" y="458"/>
                </a:lnTo>
                <a:lnTo>
                  <a:pt x="12" y="465"/>
                </a:lnTo>
                <a:lnTo>
                  <a:pt x="12" y="465"/>
                </a:lnTo>
                <a:lnTo>
                  <a:pt x="40" y="475"/>
                </a:lnTo>
                <a:lnTo>
                  <a:pt x="55" y="480"/>
                </a:lnTo>
                <a:lnTo>
                  <a:pt x="72" y="482"/>
                </a:lnTo>
                <a:lnTo>
                  <a:pt x="87" y="483"/>
                </a:lnTo>
                <a:lnTo>
                  <a:pt x="100" y="482"/>
                </a:lnTo>
                <a:lnTo>
                  <a:pt x="107" y="478"/>
                </a:lnTo>
                <a:lnTo>
                  <a:pt x="114" y="475"/>
                </a:lnTo>
                <a:lnTo>
                  <a:pt x="119" y="472"/>
                </a:lnTo>
                <a:lnTo>
                  <a:pt x="124" y="465"/>
                </a:lnTo>
                <a:lnTo>
                  <a:pt x="124" y="465"/>
                </a:lnTo>
                <a:lnTo>
                  <a:pt x="132" y="453"/>
                </a:lnTo>
                <a:lnTo>
                  <a:pt x="139" y="442"/>
                </a:lnTo>
                <a:lnTo>
                  <a:pt x="145" y="428"/>
                </a:lnTo>
                <a:lnTo>
                  <a:pt x="149" y="415"/>
                </a:lnTo>
                <a:lnTo>
                  <a:pt x="152" y="403"/>
                </a:lnTo>
                <a:lnTo>
                  <a:pt x="156" y="388"/>
                </a:lnTo>
                <a:lnTo>
                  <a:pt x="157" y="362"/>
                </a:lnTo>
                <a:lnTo>
                  <a:pt x="157" y="333"/>
                </a:lnTo>
                <a:lnTo>
                  <a:pt x="156" y="305"/>
                </a:lnTo>
                <a:lnTo>
                  <a:pt x="150" y="248"/>
                </a:lnTo>
                <a:lnTo>
                  <a:pt x="150" y="248"/>
                </a:lnTo>
                <a:lnTo>
                  <a:pt x="149" y="228"/>
                </a:lnTo>
                <a:lnTo>
                  <a:pt x="145" y="200"/>
                </a:lnTo>
                <a:lnTo>
                  <a:pt x="145" y="187"/>
                </a:lnTo>
                <a:lnTo>
                  <a:pt x="147" y="173"/>
                </a:lnTo>
                <a:lnTo>
                  <a:pt x="149" y="162"/>
                </a:lnTo>
                <a:lnTo>
                  <a:pt x="154" y="155"/>
                </a:lnTo>
                <a:lnTo>
                  <a:pt x="154" y="155"/>
                </a:lnTo>
                <a:lnTo>
                  <a:pt x="161" y="150"/>
                </a:lnTo>
                <a:lnTo>
                  <a:pt x="176" y="143"/>
                </a:lnTo>
                <a:lnTo>
                  <a:pt x="216" y="132"/>
                </a:lnTo>
                <a:lnTo>
                  <a:pt x="271" y="116"/>
                </a:lnTo>
                <a:lnTo>
                  <a:pt x="271" y="116"/>
                </a:lnTo>
                <a:lnTo>
                  <a:pt x="327" y="132"/>
                </a:lnTo>
                <a:lnTo>
                  <a:pt x="367" y="143"/>
                </a:lnTo>
                <a:lnTo>
                  <a:pt x="381" y="150"/>
                </a:lnTo>
                <a:lnTo>
                  <a:pt x="389" y="155"/>
                </a:lnTo>
                <a:lnTo>
                  <a:pt x="389" y="155"/>
                </a:lnTo>
                <a:lnTo>
                  <a:pt x="394" y="162"/>
                </a:lnTo>
                <a:lnTo>
                  <a:pt x="396" y="173"/>
                </a:lnTo>
                <a:lnTo>
                  <a:pt x="397" y="187"/>
                </a:lnTo>
                <a:lnTo>
                  <a:pt x="396" y="200"/>
                </a:lnTo>
                <a:lnTo>
                  <a:pt x="394" y="228"/>
                </a:lnTo>
                <a:lnTo>
                  <a:pt x="392" y="248"/>
                </a:lnTo>
                <a:lnTo>
                  <a:pt x="392" y="248"/>
                </a:lnTo>
                <a:lnTo>
                  <a:pt x="387" y="305"/>
                </a:lnTo>
                <a:lnTo>
                  <a:pt x="386" y="333"/>
                </a:lnTo>
                <a:lnTo>
                  <a:pt x="386" y="362"/>
                </a:lnTo>
                <a:lnTo>
                  <a:pt x="387" y="388"/>
                </a:lnTo>
                <a:lnTo>
                  <a:pt x="391" y="403"/>
                </a:lnTo>
                <a:lnTo>
                  <a:pt x="394" y="415"/>
                </a:lnTo>
                <a:lnTo>
                  <a:pt x="397" y="428"/>
                </a:lnTo>
                <a:lnTo>
                  <a:pt x="404" y="442"/>
                </a:lnTo>
                <a:lnTo>
                  <a:pt x="411" y="453"/>
                </a:lnTo>
                <a:lnTo>
                  <a:pt x="417" y="465"/>
                </a:lnTo>
                <a:lnTo>
                  <a:pt x="417" y="465"/>
                </a:lnTo>
                <a:lnTo>
                  <a:pt x="422" y="472"/>
                </a:lnTo>
                <a:lnTo>
                  <a:pt x="429" y="475"/>
                </a:lnTo>
                <a:lnTo>
                  <a:pt x="434" y="478"/>
                </a:lnTo>
                <a:lnTo>
                  <a:pt x="441" y="480"/>
                </a:lnTo>
                <a:lnTo>
                  <a:pt x="454" y="482"/>
                </a:lnTo>
                <a:lnTo>
                  <a:pt x="467" y="480"/>
                </a:lnTo>
                <a:lnTo>
                  <a:pt x="482" y="477"/>
                </a:lnTo>
                <a:lnTo>
                  <a:pt x="497" y="472"/>
                </a:lnTo>
                <a:lnTo>
                  <a:pt x="524" y="462"/>
                </a:lnTo>
                <a:lnTo>
                  <a:pt x="524" y="462"/>
                </a:lnTo>
                <a:lnTo>
                  <a:pt x="517" y="453"/>
                </a:lnTo>
                <a:lnTo>
                  <a:pt x="512" y="450"/>
                </a:lnTo>
                <a:lnTo>
                  <a:pt x="497" y="443"/>
                </a:lnTo>
                <a:lnTo>
                  <a:pt x="497" y="44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15" name="Rectangle 514"/>
          <p:cNvSpPr/>
          <p:nvPr/>
        </p:nvSpPr>
        <p:spPr bwMode="auto">
          <a:xfrm rot="1344256">
            <a:off x="8297947" y="3537337"/>
            <a:ext cx="4062109" cy="111287"/>
          </a:xfrm>
          <a:custGeom>
            <a:avLst/>
            <a:gdLst/>
            <a:ahLst/>
            <a:cxnLst/>
            <a:rect l="l" t="t" r="r" b="b"/>
            <a:pathLst>
              <a:path w="4062109" h="91973">
                <a:moveTo>
                  <a:pt x="0" y="0"/>
                </a:moveTo>
                <a:lnTo>
                  <a:pt x="4024193" y="1"/>
                </a:lnTo>
                <a:lnTo>
                  <a:pt x="4062109" y="91973"/>
                </a:lnTo>
                <a:lnTo>
                  <a:pt x="0" y="91973"/>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500" b="0" i="0" u="none" strike="noStrike" kern="0" cap="none" spc="100" normalizeH="0" baseline="0" noProof="0" dirty="0">
                <a:ln w="3175">
                  <a:noFill/>
                </a:ln>
                <a:solidFill>
                  <a:srgbClr val="00BCF2">
                    <a:lumMod val="60000"/>
                    <a:lumOff val="40000"/>
                  </a:srgbClr>
                </a:solidFill>
                <a:effectLst/>
                <a:uLnTx/>
                <a:uFillTx/>
                <a:cs typeface="Arial" charset="0"/>
              </a:rPr>
              <a:t>1001001001001001001011010010101100101101001010000101010101011010010110100101010</a:t>
            </a:r>
          </a:p>
        </p:txBody>
      </p:sp>
      <p:sp>
        <p:nvSpPr>
          <p:cNvPr id="530" name="Rectangle 406"/>
          <p:cNvSpPr/>
          <p:nvPr/>
        </p:nvSpPr>
        <p:spPr bwMode="auto">
          <a:xfrm>
            <a:off x="8500519" y="4943685"/>
            <a:ext cx="834004" cy="1922305"/>
          </a:xfrm>
          <a:custGeom>
            <a:avLst/>
            <a:gdLst/>
            <a:ahLst/>
            <a:cxnLst/>
            <a:rect l="l" t="t" r="r" b="b"/>
            <a:pathLst>
              <a:path w="834004" h="1922305">
                <a:moveTo>
                  <a:pt x="0" y="0"/>
                </a:moveTo>
                <a:lnTo>
                  <a:pt x="834004" y="613185"/>
                </a:lnTo>
                <a:lnTo>
                  <a:pt x="824151" y="1922305"/>
                </a:lnTo>
                <a:lnTo>
                  <a:pt x="0" y="1922305"/>
                </a:lnTo>
                <a:close/>
              </a:path>
            </a:pathLst>
          </a:custGeom>
          <a:solidFill>
            <a:schemeClr val="accent1">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1" name="Rectangle 406"/>
          <p:cNvSpPr/>
          <p:nvPr/>
        </p:nvSpPr>
        <p:spPr bwMode="auto">
          <a:xfrm>
            <a:off x="11307132" y="5793756"/>
            <a:ext cx="532017" cy="1126565"/>
          </a:xfrm>
          <a:custGeom>
            <a:avLst/>
            <a:gdLst/>
            <a:ahLst/>
            <a:cxnLst/>
            <a:rect l="l" t="t" r="r" b="b"/>
            <a:pathLst>
              <a:path w="532017" h="1126565">
                <a:moveTo>
                  <a:pt x="0" y="0"/>
                </a:moveTo>
                <a:lnTo>
                  <a:pt x="532017" y="380225"/>
                </a:lnTo>
                <a:lnTo>
                  <a:pt x="526238" y="1126565"/>
                </a:lnTo>
                <a:lnTo>
                  <a:pt x="0" y="1126565"/>
                </a:lnTo>
                <a:close/>
              </a:path>
            </a:pathLst>
          </a:custGeom>
          <a:solidFill>
            <a:srgbClr val="2D5869"/>
          </a:solidFill>
          <a:ln w="28575">
            <a:solidFill>
              <a:schemeClr val="accent1"/>
            </a:solid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2" name="Freeform 1950"/>
          <p:cNvSpPr>
            <a:spLocks/>
          </p:cNvSpPr>
          <p:nvPr/>
        </p:nvSpPr>
        <p:spPr bwMode="auto">
          <a:xfrm>
            <a:off x="10149148" y="5855342"/>
            <a:ext cx="332853" cy="336638"/>
          </a:xfrm>
          <a:custGeom>
            <a:avLst/>
            <a:gdLst>
              <a:gd name="T0" fmla="*/ 163 w 528"/>
              <a:gd name="T1" fmla="*/ 26 h 530"/>
              <a:gd name="T2" fmla="*/ 199 w 528"/>
              <a:gd name="T3" fmla="*/ 10 h 530"/>
              <a:gd name="T4" fmla="*/ 237 w 528"/>
              <a:gd name="T5" fmla="*/ 2 h 530"/>
              <a:gd name="T6" fmla="*/ 272 w 528"/>
              <a:gd name="T7" fmla="*/ 0 h 530"/>
              <a:gd name="T8" fmla="*/ 309 w 528"/>
              <a:gd name="T9" fmla="*/ 4 h 530"/>
              <a:gd name="T10" fmla="*/ 344 w 528"/>
              <a:gd name="T11" fmla="*/ 13 h 530"/>
              <a:gd name="T12" fmla="*/ 378 w 528"/>
              <a:gd name="T13" fmla="*/ 29 h 530"/>
              <a:gd name="T14" fmla="*/ 408 w 528"/>
              <a:gd name="T15" fmla="*/ 47 h 530"/>
              <a:gd name="T16" fmla="*/ 437 w 528"/>
              <a:gd name="T17" fmla="*/ 71 h 530"/>
              <a:gd name="T18" fmla="*/ 463 w 528"/>
              <a:gd name="T19" fmla="*/ 98 h 530"/>
              <a:gd name="T20" fmla="*/ 485 w 528"/>
              <a:gd name="T21" fmla="*/ 128 h 530"/>
              <a:gd name="T22" fmla="*/ 503 w 528"/>
              <a:gd name="T23" fmla="*/ 160 h 530"/>
              <a:gd name="T24" fmla="*/ 517 w 528"/>
              <a:gd name="T25" fmla="*/ 194 h 530"/>
              <a:gd name="T26" fmla="*/ 525 w 528"/>
              <a:gd name="T27" fmla="*/ 230 h 530"/>
              <a:gd name="T28" fmla="*/ 528 w 528"/>
              <a:gd name="T29" fmla="*/ 267 h 530"/>
              <a:gd name="T30" fmla="*/ 525 w 528"/>
              <a:gd name="T31" fmla="*/ 305 h 530"/>
              <a:gd name="T32" fmla="*/ 516 w 528"/>
              <a:gd name="T33" fmla="*/ 341 h 530"/>
              <a:gd name="T34" fmla="*/ 511 w 528"/>
              <a:gd name="T35" fmla="*/ 360 h 530"/>
              <a:gd name="T36" fmla="*/ 498 w 528"/>
              <a:gd name="T37" fmla="*/ 392 h 530"/>
              <a:gd name="T38" fmla="*/ 481 w 528"/>
              <a:gd name="T39" fmla="*/ 421 h 530"/>
              <a:gd name="T40" fmla="*/ 459 w 528"/>
              <a:gd name="T41" fmla="*/ 448 h 530"/>
              <a:gd name="T42" fmla="*/ 435 w 528"/>
              <a:gd name="T43" fmla="*/ 470 h 530"/>
              <a:gd name="T44" fmla="*/ 407 w 528"/>
              <a:gd name="T45" fmla="*/ 490 h 530"/>
              <a:gd name="T46" fmla="*/ 378 w 528"/>
              <a:gd name="T47" fmla="*/ 506 h 530"/>
              <a:gd name="T48" fmla="*/ 345 w 528"/>
              <a:gd name="T49" fmla="*/ 517 h 530"/>
              <a:gd name="T50" fmla="*/ 312 w 528"/>
              <a:gd name="T51" fmla="*/ 525 h 530"/>
              <a:gd name="T52" fmla="*/ 277 w 528"/>
              <a:gd name="T53" fmla="*/ 529 h 530"/>
              <a:gd name="T54" fmla="*/ 244 w 528"/>
              <a:gd name="T55" fmla="*/ 529 h 530"/>
              <a:gd name="T56" fmla="*/ 210 w 528"/>
              <a:gd name="T57" fmla="*/ 526 h 530"/>
              <a:gd name="T58" fmla="*/ 176 w 528"/>
              <a:gd name="T59" fmla="*/ 517 h 530"/>
              <a:gd name="T60" fmla="*/ 146 w 528"/>
              <a:gd name="T61" fmla="*/ 505 h 530"/>
              <a:gd name="T62" fmla="*/ 116 w 528"/>
              <a:gd name="T63" fmla="*/ 488 h 530"/>
              <a:gd name="T64" fmla="*/ 88 w 528"/>
              <a:gd name="T65" fmla="*/ 466 h 530"/>
              <a:gd name="T66" fmla="*/ 76 w 528"/>
              <a:gd name="T67" fmla="*/ 454 h 530"/>
              <a:gd name="T68" fmla="*/ 54 w 528"/>
              <a:gd name="T69" fmla="*/ 429 h 530"/>
              <a:gd name="T70" fmla="*/ 35 w 528"/>
              <a:gd name="T71" fmla="*/ 403 h 530"/>
              <a:gd name="T72" fmla="*/ 21 w 528"/>
              <a:gd name="T73" fmla="*/ 374 h 530"/>
              <a:gd name="T74" fmla="*/ 11 w 528"/>
              <a:gd name="T75" fmla="*/ 343 h 530"/>
              <a:gd name="T76" fmla="*/ 4 w 528"/>
              <a:gd name="T77" fmla="*/ 312 h 530"/>
              <a:gd name="T78" fmla="*/ 0 w 528"/>
              <a:gd name="T79" fmla="*/ 280 h 530"/>
              <a:gd name="T80" fmla="*/ 2 w 528"/>
              <a:gd name="T81" fmla="*/ 248 h 530"/>
              <a:gd name="T82" fmla="*/ 7 w 528"/>
              <a:gd name="T83" fmla="*/ 217 h 530"/>
              <a:gd name="T84" fmla="*/ 15 w 528"/>
              <a:gd name="T85" fmla="*/ 186 h 530"/>
              <a:gd name="T86" fmla="*/ 26 w 528"/>
              <a:gd name="T87" fmla="*/ 155 h 530"/>
              <a:gd name="T88" fmla="*/ 41 w 528"/>
              <a:gd name="T89" fmla="*/ 128 h 530"/>
              <a:gd name="T90" fmla="*/ 59 w 528"/>
              <a:gd name="T91" fmla="*/ 101 h 530"/>
              <a:gd name="T92" fmla="*/ 80 w 528"/>
              <a:gd name="T93" fmla="*/ 78 h 530"/>
              <a:gd name="T94" fmla="*/ 105 w 528"/>
              <a:gd name="T95" fmla="*/ 57 h 530"/>
              <a:gd name="T96" fmla="*/ 132 w 528"/>
              <a:gd name="T97" fmla="*/ 40 h 530"/>
              <a:gd name="T98" fmla="*/ 163 w 528"/>
              <a:gd name="T99" fmla="*/ 2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8" h="530">
                <a:moveTo>
                  <a:pt x="163" y="26"/>
                </a:moveTo>
                <a:lnTo>
                  <a:pt x="163" y="26"/>
                </a:lnTo>
                <a:lnTo>
                  <a:pt x="180" y="18"/>
                </a:lnTo>
                <a:lnTo>
                  <a:pt x="199" y="10"/>
                </a:lnTo>
                <a:lnTo>
                  <a:pt x="217" y="5"/>
                </a:lnTo>
                <a:lnTo>
                  <a:pt x="237" y="2"/>
                </a:lnTo>
                <a:lnTo>
                  <a:pt x="255" y="0"/>
                </a:lnTo>
                <a:lnTo>
                  <a:pt x="272" y="0"/>
                </a:lnTo>
                <a:lnTo>
                  <a:pt x="291" y="1"/>
                </a:lnTo>
                <a:lnTo>
                  <a:pt x="309" y="4"/>
                </a:lnTo>
                <a:lnTo>
                  <a:pt x="326" y="8"/>
                </a:lnTo>
                <a:lnTo>
                  <a:pt x="344" y="13"/>
                </a:lnTo>
                <a:lnTo>
                  <a:pt x="361" y="21"/>
                </a:lnTo>
                <a:lnTo>
                  <a:pt x="378" y="29"/>
                </a:lnTo>
                <a:lnTo>
                  <a:pt x="393" y="38"/>
                </a:lnTo>
                <a:lnTo>
                  <a:pt x="408" y="47"/>
                </a:lnTo>
                <a:lnTo>
                  <a:pt x="424" y="58"/>
                </a:lnTo>
                <a:lnTo>
                  <a:pt x="437" y="71"/>
                </a:lnTo>
                <a:lnTo>
                  <a:pt x="450" y="84"/>
                </a:lnTo>
                <a:lnTo>
                  <a:pt x="463" y="98"/>
                </a:lnTo>
                <a:lnTo>
                  <a:pt x="475" y="113"/>
                </a:lnTo>
                <a:lnTo>
                  <a:pt x="485" y="128"/>
                </a:lnTo>
                <a:lnTo>
                  <a:pt x="494" y="143"/>
                </a:lnTo>
                <a:lnTo>
                  <a:pt x="503" y="160"/>
                </a:lnTo>
                <a:lnTo>
                  <a:pt x="510" y="177"/>
                </a:lnTo>
                <a:lnTo>
                  <a:pt x="517" y="194"/>
                </a:lnTo>
                <a:lnTo>
                  <a:pt x="522" y="212"/>
                </a:lnTo>
                <a:lnTo>
                  <a:pt x="525" y="230"/>
                </a:lnTo>
                <a:lnTo>
                  <a:pt x="527" y="248"/>
                </a:lnTo>
                <a:lnTo>
                  <a:pt x="528" y="267"/>
                </a:lnTo>
                <a:lnTo>
                  <a:pt x="527" y="286"/>
                </a:lnTo>
                <a:lnTo>
                  <a:pt x="525" y="305"/>
                </a:lnTo>
                <a:lnTo>
                  <a:pt x="521" y="323"/>
                </a:lnTo>
                <a:lnTo>
                  <a:pt x="516" y="341"/>
                </a:lnTo>
                <a:lnTo>
                  <a:pt x="516" y="341"/>
                </a:lnTo>
                <a:lnTo>
                  <a:pt x="511" y="360"/>
                </a:lnTo>
                <a:lnTo>
                  <a:pt x="505" y="376"/>
                </a:lnTo>
                <a:lnTo>
                  <a:pt x="498" y="392"/>
                </a:lnTo>
                <a:lnTo>
                  <a:pt x="490" y="407"/>
                </a:lnTo>
                <a:lnTo>
                  <a:pt x="481" y="421"/>
                </a:lnTo>
                <a:lnTo>
                  <a:pt x="471" y="435"/>
                </a:lnTo>
                <a:lnTo>
                  <a:pt x="459" y="448"/>
                </a:lnTo>
                <a:lnTo>
                  <a:pt x="448" y="460"/>
                </a:lnTo>
                <a:lnTo>
                  <a:pt x="435" y="470"/>
                </a:lnTo>
                <a:lnTo>
                  <a:pt x="421" y="480"/>
                </a:lnTo>
                <a:lnTo>
                  <a:pt x="407" y="490"/>
                </a:lnTo>
                <a:lnTo>
                  <a:pt x="393" y="498"/>
                </a:lnTo>
                <a:lnTo>
                  <a:pt x="378" y="506"/>
                </a:lnTo>
                <a:lnTo>
                  <a:pt x="361" y="512"/>
                </a:lnTo>
                <a:lnTo>
                  <a:pt x="345" y="517"/>
                </a:lnTo>
                <a:lnTo>
                  <a:pt x="329" y="522"/>
                </a:lnTo>
                <a:lnTo>
                  <a:pt x="312" y="525"/>
                </a:lnTo>
                <a:lnTo>
                  <a:pt x="295" y="528"/>
                </a:lnTo>
                <a:lnTo>
                  <a:pt x="277" y="529"/>
                </a:lnTo>
                <a:lnTo>
                  <a:pt x="261" y="530"/>
                </a:lnTo>
                <a:lnTo>
                  <a:pt x="244" y="529"/>
                </a:lnTo>
                <a:lnTo>
                  <a:pt x="226" y="528"/>
                </a:lnTo>
                <a:lnTo>
                  <a:pt x="210" y="526"/>
                </a:lnTo>
                <a:lnTo>
                  <a:pt x="193" y="522"/>
                </a:lnTo>
                <a:lnTo>
                  <a:pt x="176" y="517"/>
                </a:lnTo>
                <a:lnTo>
                  <a:pt x="161" y="512"/>
                </a:lnTo>
                <a:lnTo>
                  <a:pt x="146" y="505"/>
                </a:lnTo>
                <a:lnTo>
                  <a:pt x="130" y="497"/>
                </a:lnTo>
                <a:lnTo>
                  <a:pt x="116" y="488"/>
                </a:lnTo>
                <a:lnTo>
                  <a:pt x="102" y="477"/>
                </a:lnTo>
                <a:lnTo>
                  <a:pt x="88" y="466"/>
                </a:lnTo>
                <a:lnTo>
                  <a:pt x="76" y="454"/>
                </a:lnTo>
                <a:lnTo>
                  <a:pt x="76" y="454"/>
                </a:lnTo>
                <a:lnTo>
                  <a:pt x="65" y="442"/>
                </a:lnTo>
                <a:lnTo>
                  <a:pt x="54" y="429"/>
                </a:lnTo>
                <a:lnTo>
                  <a:pt x="44" y="416"/>
                </a:lnTo>
                <a:lnTo>
                  <a:pt x="35" y="403"/>
                </a:lnTo>
                <a:lnTo>
                  <a:pt x="27" y="388"/>
                </a:lnTo>
                <a:lnTo>
                  <a:pt x="21" y="374"/>
                </a:lnTo>
                <a:lnTo>
                  <a:pt x="15" y="359"/>
                </a:lnTo>
                <a:lnTo>
                  <a:pt x="11" y="343"/>
                </a:lnTo>
                <a:lnTo>
                  <a:pt x="7" y="328"/>
                </a:lnTo>
                <a:lnTo>
                  <a:pt x="4" y="312"/>
                </a:lnTo>
                <a:lnTo>
                  <a:pt x="2" y="296"/>
                </a:lnTo>
                <a:lnTo>
                  <a:pt x="0" y="280"/>
                </a:lnTo>
                <a:lnTo>
                  <a:pt x="0" y="265"/>
                </a:lnTo>
                <a:lnTo>
                  <a:pt x="2" y="248"/>
                </a:lnTo>
                <a:lnTo>
                  <a:pt x="4" y="232"/>
                </a:lnTo>
                <a:lnTo>
                  <a:pt x="7" y="217"/>
                </a:lnTo>
                <a:lnTo>
                  <a:pt x="10" y="201"/>
                </a:lnTo>
                <a:lnTo>
                  <a:pt x="15" y="186"/>
                </a:lnTo>
                <a:lnTo>
                  <a:pt x="20" y="171"/>
                </a:lnTo>
                <a:lnTo>
                  <a:pt x="26" y="155"/>
                </a:lnTo>
                <a:lnTo>
                  <a:pt x="33" y="141"/>
                </a:lnTo>
                <a:lnTo>
                  <a:pt x="41" y="128"/>
                </a:lnTo>
                <a:lnTo>
                  <a:pt x="50" y="115"/>
                </a:lnTo>
                <a:lnTo>
                  <a:pt x="59" y="101"/>
                </a:lnTo>
                <a:lnTo>
                  <a:pt x="69" y="89"/>
                </a:lnTo>
                <a:lnTo>
                  <a:pt x="80" y="78"/>
                </a:lnTo>
                <a:lnTo>
                  <a:pt x="92" y="67"/>
                </a:lnTo>
                <a:lnTo>
                  <a:pt x="105" y="57"/>
                </a:lnTo>
                <a:lnTo>
                  <a:pt x="118" y="48"/>
                </a:lnTo>
                <a:lnTo>
                  <a:pt x="132" y="40"/>
                </a:lnTo>
                <a:lnTo>
                  <a:pt x="147" y="32"/>
                </a:lnTo>
                <a:lnTo>
                  <a:pt x="163" y="26"/>
                </a:lnTo>
                <a:lnTo>
                  <a:pt x="163"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3" name="Rounded Rectangle 408"/>
          <p:cNvSpPr/>
          <p:nvPr/>
        </p:nvSpPr>
        <p:spPr bwMode="auto">
          <a:xfrm>
            <a:off x="10040179" y="6168476"/>
            <a:ext cx="475947" cy="690206"/>
          </a:xfrm>
          <a:custGeom>
            <a:avLst/>
            <a:gdLst/>
            <a:ahLst/>
            <a:cxnLst/>
            <a:rect l="l" t="t" r="r" b="b"/>
            <a:pathLst>
              <a:path w="470167" h="681824">
                <a:moveTo>
                  <a:pt x="236926" y="0"/>
                </a:moveTo>
                <a:cubicBezTo>
                  <a:pt x="323077" y="0"/>
                  <a:pt x="392916" y="69839"/>
                  <a:pt x="392916" y="155990"/>
                </a:cubicBezTo>
                <a:lnTo>
                  <a:pt x="469698" y="675636"/>
                </a:lnTo>
                <a:lnTo>
                  <a:pt x="470167" y="681824"/>
                </a:lnTo>
                <a:lnTo>
                  <a:pt x="0" y="681824"/>
                </a:lnTo>
                <a:lnTo>
                  <a:pt x="80936" y="155990"/>
                </a:lnTo>
                <a:cubicBezTo>
                  <a:pt x="80936" y="69839"/>
                  <a:pt x="150775" y="0"/>
                  <a:pt x="236926" y="0"/>
                </a:cubicBezTo>
                <a:close/>
              </a:path>
            </a:pathLst>
          </a:cu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34" name="Group 533"/>
          <p:cNvGrpSpPr/>
          <p:nvPr/>
        </p:nvGrpSpPr>
        <p:grpSpPr>
          <a:xfrm>
            <a:off x="10366808" y="6127051"/>
            <a:ext cx="637038" cy="687631"/>
            <a:chOff x="10372198" y="6073689"/>
            <a:chExt cx="698158" cy="753605"/>
          </a:xfrm>
        </p:grpSpPr>
        <p:sp>
          <p:nvSpPr>
            <p:cNvPr id="535" name="Freeform 2008"/>
            <p:cNvSpPr>
              <a:spLocks/>
            </p:cNvSpPr>
            <p:nvPr/>
          </p:nvSpPr>
          <p:spPr bwMode="auto">
            <a:xfrm>
              <a:off x="10559727" y="6465306"/>
              <a:ext cx="510629" cy="173991"/>
            </a:xfrm>
            <a:custGeom>
              <a:avLst/>
              <a:gdLst>
                <a:gd name="T0" fmla="*/ 810 w 810"/>
                <a:gd name="T1" fmla="*/ 137 h 273"/>
                <a:gd name="T2" fmla="*/ 807 w 810"/>
                <a:gd name="T3" fmla="*/ 110 h 273"/>
                <a:gd name="T4" fmla="*/ 799 w 810"/>
                <a:gd name="T5" fmla="*/ 83 h 273"/>
                <a:gd name="T6" fmla="*/ 787 w 810"/>
                <a:gd name="T7" fmla="*/ 61 h 273"/>
                <a:gd name="T8" fmla="*/ 770 w 810"/>
                <a:gd name="T9" fmla="*/ 40 h 273"/>
                <a:gd name="T10" fmla="*/ 750 w 810"/>
                <a:gd name="T11" fmla="*/ 24 h 273"/>
                <a:gd name="T12" fmla="*/ 727 w 810"/>
                <a:gd name="T13" fmla="*/ 11 h 273"/>
                <a:gd name="T14" fmla="*/ 701 w 810"/>
                <a:gd name="T15" fmla="*/ 3 h 273"/>
                <a:gd name="T16" fmla="*/ 673 w 810"/>
                <a:gd name="T17" fmla="*/ 0 h 273"/>
                <a:gd name="T18" fmla="*/ 136 w 810"/>
                <a:gd name="T19" fmla="*/ 0 h 273"/>
                <a:gd name="T20" fmla="*/ 108 w 810"/>
                <a:gd name="T21" fmla="*/ 3 h 273"/>
                <a:gd name="T22" fmla="*/ 83 w 810"/>
                <a:gd name="T23" fmla="*/ 11 h 273"/>
                <a:gd name="T24" fmla="*/ 60 w 810"/>
                <a:gd name="T25" fmla="*/ 24 h 273"/>
                <a:gd name="T26" fmla="*/ 40 w 810"/>
                <a:gd name="T27" fmla="*/ 40 h 273"/>
                <a:gd name="T28" fmla="*/ 24 w 810"/>
                <a:gd name="T29" fmla="*/ 61 h 273"/>
                <a:gd name="T30" fmla="*/ 10 w 810"/>
                <a:gd name="T31" fmla="*/ 83 h 273"/>
                <a:gd name="T32" fmla="*/ 2 w 810"/>
                <a:gd name="T33" fmla="*/ 110 h 273"/>
                <a:gd name="T34" fmla="*/ 0 w 810"/>
                <a:gd name="T35" fmla="*/ 137 h 273"/>
                <a:gd name="T36" fmla="*/ 0 w 810"/>
                <a:gd name="T37" fmla="*/ 137 h 273"/>
                <a:gd name="T38" fmla="*/ 2 w 810"/>
                <a:gd name="T39" fmla="*/ 164 h 273"/>
                <a:gd name="T40" fmla="*/ 10 w 810"/>
                <a:gd name="T41" fmla="*/ 190 h 273"/>
                <a:gd name="T42" fmla="*/ 24 w 810"/>
                <a:gd name="T43" fmla="*/ 213 h 273"/>
                <a:gd name="T44" fmla="*/ 40 w 810"/>
                <a:gd name="T45" fmla="*/ 233 h 273"/>
                <a:gd name="T46" fmla="*/ 60 w 810"/>
                <a:gd name="T47" fmla="*/ 250 h 273"/>
                <a:gd name="T48" fmla="*/ 83 w 810"/>
                <a:gd name="T49" fmla="*/ 263 h 273"/>
                <a:gd name="T50" fmla="*/ 108 w 810"/>
                <a:gd name="T51" fmla="*/ 271 h 273"/>
                <a:gd name="T52" fmla="*/ 136 w 810"/>
                <a:gd name="T53" fmla="*/ 273 h 273"/>
                <a:gd name="T54" fmla="*/ 673 w 810"/>
                <a:gd name="T55" fmla="*/ 273 h 273"/>
                <a:gd name="T56" fmla="*/ 701 w 810"/>
                <a:gd name="T57" fmla="*/ 271 h 273"/>
                <a:gd name="T58" fmla="*/ 727 w 810"/>
                <a:gd name="T59" fmla="*/ 263 h 273"/>
                <a:gd name="T60" fmla="*/ 750 w 810"/>
                <a:gd name="T61" fmla="*/ 250 h 273"/>
                <a:gd name="T62" fmla="*/ 770 w 810"/>
                <a:gd name="T63" fmla="*/ 233 h 273"/>
                <a:gd name="T64" fmla="*/ 787 w 810"/>
                <a:gd name="T65" fmla="*/ 213 h 273"/>
                <a:gd name="T66" fmla="*/ 799 w 810"/>
                <a:gd name="T67" fmla="*/ 190 h 273"/>
                <a:gd name="T68" fmla="*/ 807 w 810"/>
                <a:gd name="T69" fmla="*/ 164 h 273"/>
                <a:gd name="T70" fmla="*/ 810 w 810"/>
                <a:gd name="T71" fmla="*/ 13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0" h="273">
                  <a:moveTo>
                    <a:pt x="810" y="137"/>
                  </a:moveTo>
                  <a:lnTo>
                    <a:pt x="810" y="137"/>
                  </a:lnTo>
                  <a:lnTo>
                    <a:pt x="809" y="123"/>
                  </a:lnTo>
                  <a:lnTo>
                    <a:pt x="807" y="110"/>
                  </a:lnTo>
                  <a:lnTo>
                    <a:pt x="804" y="96"/>
                  </a:lnTo>
                  <a:lnTo>
                    <a:pt x="799" y="83"/>
                  </a:lnTo>
                  <a:lnTo>
                    <a:pt x="793" y="72"/>
                  </a:lnTo>
                  <a:lnTo>
                    <a:pt x="787" y="61"/>
                  </a:lnTo>
                  <a:lnTo>
                    <a:pt x="779" y="49"/>
                  </a:lnTo>
                  <a:lnTo>
                    <a:pt x="770" y="40"/>
                  </a:lnTo>
                  <a:lnTo>
                    <a:pt x="760" y="31"/>
                  </a:lnTo>
                  <a:lnTo>
                    <a:pt x="750" y="24"/>
                  </a:lnTo>
                  <a:lnTo>
                    <a:pt x="739" y="17"/>
                  </a:lnTo>
                  <a:lnTo>
                    <a:pt x="727" y="11"/>
                  </a:lnTo>
                  <a:lnTo>
                    <a:pt x="714" y="6"/>
                  </a:lnTo>
                  <a:lnTo>
                    <a:pt x="701" y="3"/>
                  </a:lnTo>
                  <a:lnTo>
                    <a:pt x="688" y="0"/>
                  </a:lnTo>
                  <a:lnTo>
                    <a:pt x="673" y="0"/>
                  </a:lnTo>
                  <a:lnTo>
                    <a:pt x="136" y="0"/>
                  </a:lnTo>
                  <a:lnTo>
                    <a:pt x="136" y="0"/>
                  </a:lnTo>
                  <a:lnTo>
                    <a:pt x="123" y="0"/>
                  </a:lnTo>
                  <a:lnTo>
                    <a:pt x="108" y="3"/>
                  </a:lnTo>
                  <a:lnTo>
                    <a:pt x="96" y="6"/>
                  </a:lnTo>
                  <a:lnTo>
                    <a:pt x="83" y="11"/>
                  </a:lnTo>
                  <a:lnTo>
                    <a:pt x="72" y="17"/>
                  </a:lnTo>
                  <a:lnTo>
                    <a:pt x="60" y="24"/>
                  </a:lnTo>
                  <a:lnTo>
                    <a:pt x="49" y="31"/>
                  </a:lnTo>
                  <a:lnTo>
                    <a:pt x="40" y="40"/>
                  </a:lnTo>
                  <a:lnTo>
                    <a:pt x="31" y="49"/>
                  </a:lnTo>
                  <a:lnTo>
                    <a:pt x="24" y="61"/>
                  </a:lnTo>
                  <a:lnTo>
                    <a:pt x="16" y="72"/>
                  </a:lnTo>
                  <a:lnTo>
                    <a:pt x="10" y="83"/>
                  </a:lnTo>
                  <a:lnTo>
                    <a:pt x="6" y="96"/>
                  </a:lnTo>
                  <a:lnTo>
                    <a:pt x="2" y="110"/>
                  </a:lnTo>
                  <a:lnTo>
                    <a:pt x="0" y="123"/>
                  </a:lnTo>
                  <a:lnTo>
                    <a:pt x="0" y="137"/>
                  </a:lnTo>
                  <a:lnTo>
                    <a:pt x="0" y="137"/>
                  </a:lnTo>
                  <a:lnTo>
                    <a:pt x="0" y="137"/>
                  </a:lnTo>
                  <a:lnTo>
                    <a:pt x="0" y="151"/>
                  </a:lnTo>
                  <a:lnTo>
                    <a:pt x="2" y="164"/>
                  </a:lnTo>
                  <a:lnTo>
                    <a:pt x="6" y="177"/>
                  </a:lnTo>
                  <a:lnTo>
                    <a:pt x="10" y="190"/>
                  </a:lnTo>
                  <a:lnTo>
                    <a:pt x="16" y="202"/>
                  </a:lnTo>
                  <a:lnTo>
                    <a:pt x="24" y="213"/>
                  </a:lnTo>
                  <a:lnTo>
                    <a:pt x="31" y="224"/>
                  </a:lnTo>
                  <a:lnTo>
                    <a:pt x="40" y="233"/>
                  </a:lnTo>
                  <a:lnTo>
                    <a:pt x="49" y="243"/>
                  </a:lnTo>
                  <a:lnTo>
                    <a:pt x="60" y="250"/>
                  </a:lnTo>
                  <a:lnTo>
                    <a:pt x="72" y="257"/>
                  </a:lnTo>
                  <a:lnTo>
                    <a:pt x="83" y="263"/>
                  </a:lnTo>
                  <a:lnTo>
                    <a:pt x="96" y="267"/>
                  </a:lnTo>
                  <a:lnTo>
                    <a:pt x="108" y="271"/>
                  </a:lnTo>
                  <a:lnTo>
                    <a:pt x="123" y="273"/>
                  </a:lnTo>
                  <a:lnTo>
                    <a:pt x="136" y="273"/>
                  </a:lnTo>
                  <a:lnTo>
                    <a:pt x="673" y="273"/>
                  </a:lnTo>
                  <a:lnTo>
                    <a:pt x="673" y="273"/>
                  </a:lnTo>
                  <a:lnTo>
                    <a:pt x="688" y="273"/>
                  </a:lnTo>
                  <a:lnTo>
                    <a:pt x="701" y="271"/>
                  </a:lnTo>
                  <a:lnTo>
                    <a:pt x="714" y="267"/>
                  </a:lnTo>
                  <a:lnTo>
                    <a:pt x="727" y="263"/>
                  </a:lnTo>
                  <a:lnTo>
                    <a:pt x="739" y="257"/>
                  </a:lnTo>
                  <a:lnTo>
                    <a:pt x="750" y="250"/>
                  </a:lnTo>
                  <a:lnTo>
                    <a:pt x="760" y="243"/>
                  </a:lnTo>
                  <a:lnTo>
                    <a:pt x="770" y="233"/>
                  </a:lnTo>
                  <a:lnTo>
                    <a:pt x="779" y="224"/>
                  </a:lnTo>
                  <a:lnTo>
                    <a:pt x="787" y="213"/>
                  </a:lnTo>
                  <a:lnTo>
                    <a:pt x="793" y="202"/>
                  </a:lnTo>
                  <a:lnTo>
                    <a:pt x="799" y="190"/>
                  </a:lnTo>
                  <a:lnTo>
                    <a:pt x="804" y="177"/>
                  </a:lnTo>
                  <a:lnTo>
                    <a:pt x="807" y="164"/>
                  </a:lnTo>
                  <a:lnTo>
                    <a:pt x="809" y="151"/>
                  </a:lnTo>
                  <a:lnTo>
                    <a:pt x="810" y="137"/>
                  </a:lnTo>
                  <a:lnTo>
                    <a:pt x="810" y="137"/>
                  </a:lnTo>
                  <a:close/>
                </a:path>
              </a:pathLst>
            </a:custGeom>
            <a:solidFill>
              <a:schemeClr val="bg1"/>
            </a:solidFill>
            <a:ln w="9525">
              <a:no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6" name="Rectangle 738"/>
            <p:cNvSpPr/>
            <p:nvPr/>
          </p:nvSpPr>
          <p:spPr bwMode="auto">
            <a:xfrm rot="2933897">
              <a:off x="10222588" y="6223299"/>
              <a:ext cx="753605" cy="454385"/>
            </a:xfrm>
            <a:custGeom>
              <a:avLst/>
              <a:gdLst>
                <a:gd name="connsiteX0" fmla="*/ 0 w 710739"/>
                <a:gd name="connsiteY0" fmla="*/ 251994 h 480568"/>
                <a:gd name="connsiteX1" fmla="*/ 318657 w 710739"/>
                <a:gd name="connsiteY1" fmla="*/ 251994 h 480568"/>
                <a:gd name="connsiteX2" fmla="*/ 538499 w 710739"/>
                <a:gd name="connsiteY2" fmla="*/ 0 h 480568"/>
                <a:gd name="connsiteX3" fmla="*/ 710739 w 710739"/>
                <a:gd name="connsiteY3" fmla="*/ 150264 h 480568"/>
                <a:gd name="connsiteX4" fmla="*/ 432849 w 710739"/>
                <a:gd name="connsiteY4" fmla="*/ 468797 h 480568"/>
                <a:gd name="connsiteX5" fmla="*/ 432848 w 710739"/>
                <a:gd name="connsiteY5" fmla="*/ 480568 h 480568"/>
                <a:gd name="connsiteX6" fmla="*/ 422579 w 710739"/>
                <a:gd name="connsiteY6" fmla="*/ 480568 h 480568"/>
                <a:gd name="connsiteX7" fmla="*/ 208833 w 710739"/>
                <a:gd name="connsiteY7" fmla="*/ 480567 h 480568"/>
                <a:gd name="connsiteX8" fmla="*/ 0 w 710739"/>
                <a:gd name="connsiteY8" fmla="*/ 480567 h 480568"/>
                <a:gd name="connsiteX9" fmla="*/ 0 w 710739"/>
                <a:gd name="connsiteY9" fmla="*/ 251994 h 480568"/>
                <a:gd name="connsiteX0" fmla="*/ 0 w 710739"/>
                <a:gd name="connsiteY0" fmla="*/ 251994 h 480568"/>
                <a:gd name="connsiteX1" fmla="*/ 318657 w 710739"/>
                <a:gd name="connsiteY1" fmla="*/ 251994 h 480568"/>
                <a:gd name="connsiteX2" fmla="*/ 538499 w 710739"/>
                <a:gd name="connsiteY2" fmla="*/ 0 h 480568"/>
                <a:gd name="connsiteX3" fmla="*/ 710739 w 710739"/>
                <a:gd name="connsiteY3" fmla="*/ 150264 h 480568"/>
                <a:gd name="connsiteX4" fmla="*/ 432849 w 710739"/>
                <a:gd name="connsiteY4" fmla="*/ 468797 h 480568"/>
                <a:gd name="connsiteX5" fmla="*/ 432848 w 710739"/>
                <a:gd name="connsiteY5" fmla="*/ 480568 h 480568"/>
                <a:gd name="connsiteX6" fmla="*/ 422579 w 710739"/>
                <a:gd name="connsiteY6" fmla="*/ 480568 h 480568"/>
                <a:gd name="connsiteX7" fmla="*/ 208833 w 710739"/>
                <a:gd name="connsiteY7" fmla="*/ 480567 h 480568"/>
                <a:gd name="connsiteX8" fmla="*/ 33988 w 710739"/>
                <a:gd name="connsiteY8" fmla="*/ 423544 h 480568"/>
                <a:gd name="connsiteX9" fmla="*/ 0 w 710739"/>
                <a:gd name="connsiteY9" fmla="*/ 251994 h 480568"/>
                <a:gd name="connsiteX0" fmla="*/ 0 w 710739"/>
                <a:gd name="connsiteY0" fmla="*/ 251994 h 491358"/>
                <a:gd name="connsiteX1" fmla="*/ 318657 w 710739"/>
                <a:gd name="connsiteY1" fmla="*/ 251994 h 491358"/>
                <a:gd name="connsiteX2" fmla="*/ 538499 w 710739"/>
                <a:gd name="connsiteY2" fmla="*/ 0 h 491358"/>
                <a:gd name="connsiteX3" fmla="*/ 710739 w 710739"/>
                <a:gd name="connsiteY3" fmla="*/ 150264 h 491358"/>
                <a:gd name="connsiteX4" fmla="*/ 432849 w 710739"/>
                <a:gd name="connsiteY4" fmla="*/ 468797 h 491358"/>
                <a:gd name="connsiteX5" fmla="*/ 432848 w 710739"/>
                <a:gd name="connsiteY5" fmla="*/ 480568 h 491358"/>
                <a:gd name="connsiteX6" fmla="*/ 422579 w 710739"/>
                <a:gd name="connsiteY6" fmla="*/ 480568 h 491358"/>
                <a:gd name="connsiteX7" fmla="*/ 208833 w 710739"/>
                <a:gd name="connsiteY7" fmla="*/ 480567 h 491358"/>
                <a:gd name="connsiteX8" fmla="*/ 33988 w 710739"/>
                <a:gd name="connsiteY8" fmla="*/ 423544 h 491358"/>
                <a:gd name="connsiteX9" fmla="*/ 0 w 710739"/>
                <a:gd name="connsiteY9" fmla="*/ 251994 h 491358"/>
                <a:gd name="connsiteX0" fmla="*/ 6661 w 717400"/>
                <a:gd name="connsiteY0" fmla="*/ 251994 h 491358"/>
                <a:gd name="connsiteX1" fmla="*/ 325318 w 717400"/>
                <a:gd name="connsiteY1" fmla="*/ 251994 h 491358"/>
                <a:gd name="connsiteX2" fmla="*/ 545160 w 717400"/>
                <a:gd name="connsiteY2" fmla="*/ 0 h 491358"/>
                <a:gd name="connsiteX3" fmla="*/ 717400 w 717400"/>
                <a:gd name="connsiteY3" fmla="*/ 150264 h 491358"/>
                <a:gd name="connsiteX4" fmla="*/ 439510 w 717400"/>
                <a:gd name="connsiteY4" fmla="*/ 468797 h 491358"/>
                <a:gd name="connsiteX5" fmla="*/ 439509 w 717400"/>
                <a:gd name="connsiteY5" fmla="*/ 480568 h 491358"/>
                <a:gd name="connsiteX6" fmla="*/ 429240 w 717400"/>
                <a:gd name="connsiteY6" fmla="*/ 480568 h 491358"/>
                <a:gd name="connsiteX7" fmla="*/ 215494 w 717400"/>
                <a:gd name="connsiteY7" fmla="*/ 480567 h 491358"/>
                <a:gd name="connsiteX8" fmla="*/ 40649 w 717400"/>
                <a:gd name="connsiteY8" fmla="*/ 423544 h 491358"/>
                <a:gd name="connsiteX9" fmla="*/ 6661 w 717400"/>
                <a:gd name="connsiteY9" fmla="*/ 251994 h 491358"/>
                <a:gd name="connsiteX0" fmla="*/ 26894 w 708025"/>
                <a:gd name="connsiteY0" fmla="*/ 254185 h 491358"/>
                <a:gd name="connsiteX1" fmla="*/ 315943 w 708025"/>
                <a:gd name="connsiteY1" fmla="*/ 251994 h 491358"/>
                <a:gd name="connsiteX2" fmla="*/ 535785 w 708025"/>
                <a:gd name="connsiteY2" fmla="*/ 0 h 491358"/>
                <a:gd name="connsiteX3" fmla="*/ 708025 w 708025"/>
                <a:gd name="connsiteY3" fmla="*/ 150264 h 491358"/>
                <a:gd name="connsiteX4" fmla="*/ 430135 w 708025"/>
                <a:gd name="connsiteY4" fmla="*/ 468797 h 491358"/>
                <a:gd name="connsiteX5" fmla="*/ 430134 w 708025"/>
                <a:gd name="connsiteY5" fmla="*/ 480568 h 491358"/>
                <a:gd name="connsiteX6" fmla="*/ 419865 w 708025"/>
                <a:gd name="connsiteY6" fmla="*/ 480568 h 491358"/>
                <a:gd name="connsiteX7" fmla="*/ 206119 w 708025"/>
                <a:gd name="connsiteY7" fmla="*/ 480567 h 491358"/>
                <a:gd name="connsiteX8" fmla="*/ 31274 w 708025"/>
                <a:gd name="connsiteY8" fmla="*/ 423544 h 491358"/>
                <a:gd name="connsiteX9" fmla="*/ 26894 w 708025"/>
                <a:gd name="connsiteY9" fmla="*/ 254185 h 491358"/>
                <a:gd name="connsiteX0" fmla="*/ 26894 w 708025"/>
                <a:gd name="connsiteY0" fmla="*/ 254185 h 493022"/>
                <a:gd name="connsiteX1" fmla="*/ 315943 w 708025"/>
                <a:gd name="connsiteY1" fmla="*/ 251994 h 493022"/>
                <a:gd name="connsiteX2" fmla="*/ 535785 w 708025"/>
                <a:gd name="connsiteY2" fmla="*/ 0 h 493022"/>
                <a:gd name="connsiteX3" fmla="*/ 708025 w 708025"/>
                <a:gd name="connsiteY3" fmla="*/ 150264 h 493022"/>
                <a:gd name="connsiteX4" fmla="*/ 430135 w 708025"/>
                <a:gd name="connsiteY4" fmla="*/ 468797 h 493022"/>
                <a:gd name="connsiteX5" fmla="*/ 430134 w 708025"/>
                <a:gd name="connsiteY5" fmla="*/ 480568 h 493022"/>
                <a:gd name="connsiteX6" fmla="*/ 419865 w 708025"/>
                <a:gd name="connsiteY6" fmla="*/ 480568 h 493022"/>
                <a:gd name="connsiteX7" fmla="*/ 206119 w 708025"/>
                <a:gd name="connsiteY7" fmla="*/ 480567 h 493022"/>
                <a:gd name="connsiteX8" fmla="*/ 31274 w 708025"/>
                <a:gd name="connsiteY8" fmla="*/ 423544 h 493022"/>
                <a:gd name="connsiteX9" fmla="*/ 26894 w 708025"/>
                <a:gd name="connsiteY9" fmla="*/ 254185 h 493022"/>
                <a:gd name="connsiteX0" fmla="*/ 59896 w 741027"/>
                <a:gd name="connsiteY0" fmla="*/ 254185 h 490498"/>
                <a:gd name="connsiteX1" fmla="*/ 348945 w 741027"/>
                <a:gd name="connsiteY1" fmla="*/ 251994 h 490498"/>
                <a:gd name="connsiteX2" fmla="*/ 568787 w 741027"/>
                <a:gd name="connsiteY2" fmla="*/ 0 h 490498"/>
                <a:gd name="connsiteX3" fmla="*/ 741027 w 741027"/>
                <a:gd name="connsiteY3" fmla="*/ 150264 h 490498"/>
                <a:gd name="connsiteX4" fmla="*/ 463137 w 741027"/>
                <a:gd name="connsiteY4" fmla="*/ 468797 h 490498"/>
                <a:gd name="connsiteX5" fmla="*/ 463136 w 741027"/>
                <a:gd name="connsiteY5" fmla="*/ 480568 h 490498"/>
                <a:gd name="connsiteX6" fmla="*/ 452867 w 741027"/>
                <a:gd name="connsiteY6" fmla="*/ 480568 h 490498"/>
                <a:gd name="connsiteX7" fmla="*/ 239121 w 741027"/>
                <a:gd name="connsiteY7" fmla="*/ 480567 h 490498"/>
                <a:gd name="connsiteX8" fmla="*/ 23804 w 741027"/>
                <a:gd name="connsiteY8" fmla="*/ 418999 h 490498"/>
                <a:gd name="connsiteX9" fmla="*/ 59896 w 741027"/>
                <a:gd name="connsiteY9" fmla="*/ 254185 h 490498"/>
                <a:gd name="connsiteX0" fmla="*/ 59896 w 741027"/>
                <a:gd name="connsiteY0" fmla="*/ 254185 h 480568"/>
                <a:gd name="connsiteX1" fmla="*/ 348945 w 741027"/>
                <a:gd name="connsiteY1" fmla="*/ 251994 h 480568"/>
                <a:gd name="connsiteX2" fmla="*/ 568787 w 741027"/>
                <a:gd name="connsiteY2" fmla="*/ 0 h 480568"/>
                <a:gd name="connsiteX3" fmla="*/ 741027 w 741027"/>
                <a:gd name="connsiteY3" fmla="*/ 150264 h 480568"/>
                <a:gd name="connsiteX4" fmla="*/ 463137 w 741027"/>
                <a:gd name="connsiteY4" fmla="*/ 468797 h 480568"/>
                <a:gd name="connsiteX5" fmla="*/ 463136 w 741027"/>
                <a:gd name="connsiteY5" fmla="*/ 480568 h 480568"/>
                <a:gd name="connsiteX6" fmla="*/ 452867 w 741027"/>
                <a:gd name="connsiteY6" fmla="*/ 480568 h 480568"/>
                <a:gd name="connsiteX7" fmla="*/ 239121 w 741027"/>
                <a:gd name="connsiteY7" fmla="*/ 480567 h 480568"/>
                <a:gd name="connsiteX8" fmla="*/ 23804 w 741027"/>
                <a:gd name="connsiteY8" fmla="*/ 418999 h 480568"/>
                <a:gd name="connsiteX9" fmla="*/ 59896 w 741027"/>
                <a:gd name="connsiteY9" fmla="*/ 254185 h 480568"/>
                <a:gd name="connsiteX0" fmla="*/ 61926 w 743057"/>
                <a:gd name="connsiteY0" fmla="*/ 254185 h 480568"/>
                <a:gd name="connsiteX1" fmla="*/ 350975 w 743057"/>
                <a:gd name="connsiteY1" fmla="*/ 251994 h 480568"/>
                <a:gd name="connsiteX2" fmla="*/ 570817 w 743057"/>
                <a:gd name="connsiteY2" fmla="*/ 0 h 480568"/>
                <a:gd name="connsiteX3" fmla="*/ 743057 w 743057"/>
                <a:gd name="connsiteY3" fmla="*/ 150264 h 480568"/>
                <a:gd name="connsiteX4" fmla="*/ 465167 w 743057"/>
                <a:gd name="connsiteY4" fmla="*/ 468797 h 480568"/>
                <a:gd name="connsiteX5" fmla="*/ 465166 w 743057"/>
                <a:gd name="connsiteY5" fmla="*/ 480568 h 480568"/>
                <a:gd name="connsiteX6" fmla="*/ 454897 w 743057"/>
                <a:gd name="connsiteY6" fmla="*/ 480568 h 480568"/>
                <a:gd name="connsiteX7" fmla="*/ 241151 w 743057"/>
                <a:gd name="connsiteY7" fmla="*/ 480567 h 480568"/>
                <a:gd name="connsiteX8" fmla="*/ 25834 w 743057"/>
                <a:gd name="connsiteY8" fmla="*/ 418999 h 480568"/>
                <a:gd name="connsiteX9" fmla="*/ 61926 w 743057"/>
                <a:gd name="connsiteY9" fmla="*/ 254185 h 480568"/>
                <a:gd name="connsiteX0" fmla="*/ 61926 w 753605"/>
                <a:gd name="connsiteY0" fmla="*/ 254185 h 480568"/>
                <a:gd name="connsiteX1" fmla="*/ 350975 w 753605"/>
                <a:gd name="connsiteY1" fmla="*/ 251994 h 480568"/>
                <a:gd name="connsiteX2" fmla="*/ 570817 w 753605"/>
                <a:gd name="connsiteY2" fmla="*/ 0 h 480568"/>
                <a:gd name="connsiteX3" fmla="*/ 743057 w 753605"/>
                <a:gd name="connsiteY3" fmla="*/ 150264 h 480568"/>
                <a:gd name="connsiteX4" fmla="*/ 753605 w 753605"/>
                <a:gd name="connsiteY4" fmla="*/ 200865 h 480568"/>
                <a:gd name="connsiteX5" fmla="*/ 465166 w 753605"/>
                <a:gd name="connsiteY5" fmla="*/ 480568 h 480568"/>
                <a:gd name="connsiteX6" fmla="*/ 454897 w 753605"/>
                <a:gd name="connsiteY6" fmla="*/ 480568 h 480568"/>
                <a:gd name="connsiteX7" fmla="*/ 241151 w 753605"/>
                <a:gd name="connsiteY7" fmla="*/ 480567 h 480568"/>
                <a:gd name="connsiteX8" fmla="*/ 25834 w 753605"/>
                <a:gd name="connsiteY8" fmla="*/ 418999 h 480568"/>
                <a:gd name="connsiteX9" fmla="*/ 61926 w 753605"/>
                <a:gd name="connsiteY9" fmla="*/ 254185 h 480568"/>
                <a:gd name="connsiteX0" fmla="*/ 61926 w 753605"/>
                <a:gd name="connsiteY0" fmla="*/ 254185 h 480568"/>
                <a:gd name="connsiteX1" fmla="*/ 350975 w 753605"/>
                <a:gd name="connsiteY1" fmla="*/ 251994 h 480568"/>
                <a:gd name="connsiteX2" fmla="*/ 570817 w 753605"/>
                <a:gd name="connsiteY2" fmla="*/ 0 h 480568"/>
                <a:gd name="connsiteX3" fmla="*/ 742313 w 753605"/>
                <a:gd name="connsiteY3" fmla="*/ 139361 h 480568"/>
                <a:gd name="connsiteX4" fmla="*/ 753605 w 753605"/>
                <a:gd name="connsiteY4" fmla="*/ 200865 h 480568"/>
                <a:gd name="connsiteX5" fmla="*/ 465166 w 753605"/>
                <a:gd name="connsiteY5" fmla="*/ 480568 h 480568"/>
                <a:gd name="connsiteX6" fmla="*/ 454897 w 753605"/>
                <a:gd name="connsiteY6" fmla="*/ 480568 h 480568"/>
                <a:gd name="connsiteX7" fmla="*/ 241151 w 753605"/>
                <a:gd name="connsiteY7" fmla="*/ 480567 h 480568"/>
                <a:gd name="connsiteX8" fmla="*/ 25834 w 753605"/>
                <a:gd name="connsiteY8" fmla="*/ 418999 h 480568"/>
                <a:gd name="connsiteX9" fmla="*/ 61926 w 753605"/>
                <a:gd name="connsiteY9" fmla="*/ 254185 h 480568"/>
                <a:gd name="connsiteX0" fmla="*/ 61926 w 753605"/>
                <a:gd name="connsiteY0" fmla="*/ 254185 h 480568"/>
                <a:gd name="connsiteX1" fmla="*/ 350975 w 753605"/>
                <a:gd name="connsiteY1" fmla="*/ 251994 h 480568"/>
                <a:gd name="connsiteX2" fmla="*/ 570817 w 753605"/>
                <a:gd name="connsiteY2" fmla="*/ 0 h 480568"/>
                <a:gd name="connsiteX3" fmla="*/ 742313 w 753605"/>
                <a:gd name="connsiteY3" fmla="*/ 139361 h 480568"/>
                <a:gd name="connsiteX4" fmla="*/ 753605 w 753605"/>
                <a:gd name="connsiteY4" fmla="*/ 200865 h 480568"/>
                <a:gd name="connsiteX5" fmla="*/ 465166 w 753605"/>
                <a:gd name="connsiteY5" fmla="*/ 480568 h 480568"/>
                <a:gd name="connsiteX6" fmla="*/ 454897 w 753605"/>
                <a:gd name="connsiteY6" fmla="*/ 480568 h 480568"/>
                <a:gd name="connsiteX7" fmla="*/ 241151 w 753605"/>
                <a:gd name="connsiteY7" fmla="*/ 480567 h 480568"/>
                <a:gd name="connsiteX8" fmla="*/ 25834 w 753605"/>
                <a:gd name="connsiteY8" fmla="*/ 418999 h 480568"/>
                <a:gd name="connsiteX9" fmla="*/ 61926 w 753605"/>
                <a:gd name="connsiteY9" fmla="*/ 254185 h 480568"/>
                <a:gd name="connsiteX0" fmla="*/ 61926 w 753605"/>
                <a:gd name="connsiteY0" fmla="*/ 228002 h 454385"/>
                <a:gd name="connsiteX1" fmla="*/ 350975 w 753605"/>
                <a:gd name="connsiteY1" fmla="*/ 225811 h 454385"/>
                <a:gd name="connsiteX2" fmla="*/ 561647 w 753605"/>
                <a:gd name="connsiteY2" fmla="*/ 0 h 454385"/>
                <a:gd name="connsiteX3" fmla="*/ 742313 w 753605"/>
                <a:gd name="connsiteY3" fmla="*/ 113178 h 454385"/>
                <a:gd name="connsiteX4" fmla="*/ 753605 w 753605"/>
                <a:gd name="connsiteY4" fmla="*/ 174682 h 454385"/>
                <a:gd name="connsiteX5" fmla="*/ 465166 w 753605"/>
                <a:gd name="connsiteY5" fmla="*/ 454385 h 454385"/>
                <a:gd name="connsiteX6" fmla="*/ 454897 w 753605"/>
                <a:gd name="connsiteY6" fmla="*/ 454385 h 454385"/>
                <a:gd name="connsiteX7" fmla="*/ 241151 w 753605"/>
                <a:gd name="connsiteY7" fmla="*/ 454384 h 454385"/>
                <a:gd name="connsiteX8" fmla="*/ 25834 w 753605"/>
                <a:gd name="connsiteY8" fmla="*/ 392816 h 454385"/>
                <a:gd name="connsiteX9" fmla="*/ 61926 w 753605"/>
                <a:gd name="connsiteY9" fmla="*/ 228002 h 454385"/>
                <a:gd name="connsiteX0" fmla="*/ 61926 w 753605"/>
                <a:gd name="connsiteY0" fmla="*/ 228002 h 454385"/>
                <a:gd name="connsiteX1" fmla="*/ 350975 w 753605"/>
                <a:gd name="connsiteY1" fmla="*/ 225811 h 454385"/>
                <a:gd name="connsiteX2" fmla="*/ 561647 w 753605"/>
                <a:gd name="connsiteY2" fmla="*/ 0 h 454385"/>
                <a:gd name="connsiteX3" fmla="*/ 742313 w 753605"/>
                <a:gd name="connsiteY3" fmla="*/ 113178 h 454385"/>
                <a:gd name="connsiteX4" fmla="*/ 753605 w 753605"/>
                <a:gd name="connsiteY4" fmla="*/ 174682 h 454385"/>
                <a:gd name="connsiteX5" fmla="*/ 465166 w 753605"/>
                <a:gd name="connsiteY5" fmla="*/ 454385 h 454385"/>
                <a:gd name="connsiteX6" fmla="*/ 454897 w 753605"/>
                <a:gd name="connsiteY6" fmla="*/ 454385 h 454385"/>
                <a:gd name="connsiteX7" fmla="*/ 241151 w 753605"/>
                <a:gd name="connsiteY7" fmla="*/ 454384 h 454385"/>
                <a:gd name="connsiteX8" fmla="*/ 25834 w 753605"/>
                <a:gd name="connsiteY8" fmla="*/ 392816 h 454385"/>
                <a:gd name="connsiteX9" fmla="*/ 61926 w 753605"/>
                <a:gd name="connsiteY9" fmla="*/ 228002 h 45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3605" h="454385">
                  <a:moveTo>
                    <a:pt x="61926" y="228002"/>
                  </a:moveTo>
                  <a:lnTo>
                    <a:pt x="350975" y="225811"/>
                  </a:lnTo>
                  <a:cubicBezTo>
                    <a:pt x="421199" y="150541"/>
                    <a:pt x="479777" y="65110"/>
                    <a:pt x="561647" y="0"/>
                  </a:cubicBezTo>
                  <a:cubicBezTo>
                    <a:pt x="618812" y="46454"/>
                    <a:pt x="641665" y="-8812"/>
                    <a:pt x="742313" y="113178"/>
                  </a:cubicBezTo>
                  <a:lnTo>
                    <a:pt x="753605" y="174682"/>
                  </a:lnTo>
                  <a:cubicBezTo>
                    <a:pt x="753605" y="178606"/>
                    <a:pt x="465166" y="450461"/>
                    <a:pt x="465166" y="454385"/>
                  </a:cubicBezTo>
                  <a:lnTo>
                    <a:pt x="454897" y="454385"/>
                  </a:lnTo>
                  <a:lnTo>
                    <a:pt x="241151" y="454384"/>
                  </a:lnTo>
                  <a:cubicBezTo>
                    <a:pt x="82802" y="440370"/>
                    <a:pt x="60097" y="431600"/>
                    <a:pt x="25834" y="392816"/>
                  </a:cubicBezTo>
                  <a:cubicBezTo>
                    <a:pt x="-47564" y="289363"/>
                    <a:pt x="58390" y="227780"/>
                    <a:pt x="61926" y="228002"/>
                  </a:cubicBezTo>
                  <a:close/>
                </a:path>
              </a:pathLst>
            </a:custGeom>
            <a:solidFill>
              <a:schemeClr val="accent2">
                <a:lumMod val="7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537" name="Parallelogram 536"/>
          <p:cNvSpPr/>
          <p:nvPr/>
        </p:nvSpPr>
        <p:spPr bwMode="auto">
          <a:xfrm rot="5400000">
            <a:off x="8444753" y="5485432"/>
            <a:ext cx="925494" cy="488021"/>
          </a:xfrm>
          <a:prstGeom prst="parallelogram">
            <a:avLst>
              <a:gd name="adj" fmla="val 69785"/>
            </a:avLst>
          </a:prstGeom>
          <a:solidFill>
            <a:schemeClr val="tx1"/>
          </a:solidFill>
          <a:ln w="19050">
            <a:solidFill>
              <a:srgbClr val="008D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w="3175">
                <a:noFill/>
              </a:ln>
              <a:solidFill>
                <a:srgbClr val="00BCF2"/>
              </a:solidFill>
              <a:effectLst/>
              <a:uLnTx/>
              <a:uFillTx/>
              <a:cs typeface="Arial" charset="0"/>
            </a:endParaRPr>
          </a:p>
        </p:txBody>
      </p:sp>
      <p:sp>
        <p:nvSpPr>
          <p:cNvPr id="538" name="Right Arrow 412"/>
          <p:cNvSpPr/>
          <p:nvPr/>
        </p:nvSpPr>
        <p:spPr bwMode="auto">
          <a:xfrm rot="2108133">
            <a:off x="8609189" y="6147202"/>
            <a:ext cx="620679" cy="282032"/>
          </a:xfrm>
          <a:custGeom>
            <a:avLst/>
            <a:gdLst>
              <a:gd name="connsiteX0" fmla="*/ 0 w 707452"/>
              <a:gd name="connsiteY0" fmla="*/ 91440 h 403052"/>
              <a:gd name="connsiteX1" fmla="*/ 524571 w 707452"/>
              <a:gd name="connsiteY1" fmla="*/ 91440 h 403052"/>
              <a:gd name="connsiteX2" fmla="*/ 524572 w 707452"/>
              <a:gd name="connsiteY2" fmla="*/ 0 h 403052"/>
              <a:gd name="connsiteX3" fmla="*/ 707452 w 707452"/>
              <a:gd name="connsiteY3" fmla="*/ 182880 h 403052"/>
              <a:gd name="connsiteX4" fmla="*/ 592594 w 707452"/>
              <a:gd name="connsiteY4" fmla="*/ 403052 h 403052"/>
              <a:gd name="connsiteX5" fmla="*/ 524572 w 707452"/>
              <a:gd name="connsiteY5" fmla="*/ 274320 h 403052"/>
              <a:gd name="connsiteX6" fmla="*/ 95514 w 707452"/>
              <a:gd name="connsiteY6" fmla="*/ 274320 h 403052"/>
              <a:gd name="connsiteX7" fmla="*/ 0 w 707452"/>
              <a:gd name="connsiteY7" fmla="*/ 91440 h 403052"/>
              <a:gd name="connsiteX0" fmla="*/ 0 w 707452"/>
              <a:gd name="connsiteY0" fmla="*/ 91440 h 403052"/>
              <a:gd name="connsiteX1" fmla="*/ 448794 w 707452"/>
              <a:gd name="connsiteY1" fmla="*/ 91664 h 403052"/>
              <a:gd name="connsiteX2" fmla="*/ 524572 w 707452"/>
              <a:gd name="connsiteY2" fmla="*/ 0 h 403052"/>
              <a:gd name="connsiteX3" fmla="*/ 707452 w 707452"/>
              <a:gd name="connsiteY3" fmla="*/ 182880 h 403052"/>
              <a:gd name="connsiteX4" fmla="*/ 592594 w 707452"/>
              <a:gd name="connsiteY4" fmla="*/ 403052 h 403052"/>
              <a:gd name="connsiteX5" fmla="*/ 524572 w 707452"/>
              <a:gd name="connsiteY5" fmla="*/ 274320 h 403052"/>
              <a:gd name="connsiteX6" fmla="*/ 95514 w 707452"/>
              <a:gd name="connsiteY6" fmla="*/ 274320 h 403052"/>
              <a:gd name="connsiteX7" fmla="*/ 0 w 707452"/>
              <a:gd name="connsiteY7" fmla="*/ 91440 h 403052"/>
              <a:gd name="connsiteX0" fmla="*/ 0 w 707452"/>
              <a:gd name="connsiteY0" fmla="*/ 101570 h 413182"/>
              <a:gd name="connsiteX1" fmla="*/ 448794 w 707452"/>
              <a:gd name="connsiteY1" fmla="*/ 101794 h 413182"/>
              <a:gd name="connsiteX2" fmla="*/ 404034 w 707452"/>
              <a:gd name="connsiteY2" fmla="*/ 0 h 413182"/>
              <a:gd name="connsiteX3" fmla="*/ 707452 w 707452"/>
              <a:gd name="connsiteY3" fmla="*/ 193010 h 413182"/>
              <a:gd name="connsiteX4" fmla="*/ 592594 w 707452"/>
              <a:gd name="connsiteY4" fmla="*/ 413182 h 413182"/>
              <a:gd name="connsiteX5" fmla="*/ 524572 w 707452"/>
              <a:gd name="connsiteY5" fmla="*/ 284450 h 413182"/>
              <a:gd name="connsiteX6" fmla="*/ 95514 w 707452"/>
              <a:gd name="connsiteY6" fmla="*/ 284450 h 413182"/>
              <a:gd name="connsiteX7" fmla="*/ 0 w 707452"/>
              <a:gd name="connsiteY7" fmla="*/ 101570 h 413182"/>
              <a:gd name="connsiteX0" fmla="*/ 0 w 721294"/>
              <a:gd name="connsiteY0" fmla="*/ 101570 h 413182"/>
              <a:gd name="connsiteX1" fmla="*/ 448794 w 721294"/>
              <a:gd name="connsiteY1" fmla="*/ 101794 h 413182"/>
              <a:gd name="connsiteX2" fmla="*/ 404034 w 721294"/>
              <a:gd name="connsiteY2" fmla="*/ 0 h 413182"/>
              <a:gd name="connsiteX3" fmla="*/ 721294 w 721294"/>
              <a:gd name="connsiteY3" fmla="*/ 219512 h 413182"/>
              <a:gd name="connsiteX4" fmla="*/ 592594 w 721294"/>
              <a:gd name="connsiteY4" fmla="*/ 413182 h 413182"/>
              <a:gd name="connsiteX5" fmla="*/ 524572 w 721294"/>
              <a:gd name="connsiteY5" fmla="*/ 284450 h 413182"/>
              <a:gd name="connsiteX6" fmla="*/ 95514 w 721294"/>
              <a:gd name="connsiteY6" fmla="*/ 284450 h 413182"/>
              <a:gd name="connsiteX7" fmla="*/ 0 w 721294"/>
              <a:gd name="connsiteY7" fmla="*/ 101570 h 413182"/>
              <a:gd name="connsiteX0" fmla="*/ 0 w 721294"/>
              <a:gd name="connsiteY0" fmla="*/ 101570 h 413182"/>
              <a:gd name="connsiteX1" fmla="*/ 448794 w 721294"/>
              <a:gd name="connsiteY1" fmla="*/ 101794 h 413182"/>
              <a:gd name="connsiteX2" fmla="*/ 404034 w 721294"/>
              <a:gd name="connsiteY2" fmla="*/ 0 h 413182"/>
              <a:gd name="connsiteX3" fmla="*/ 721294 w 721294"/>
              <a:gd name="connsiteY3" fmla="*/ 219512 h 413182"/>
              <a:gd name="connsiteX4" fmla="*/ 592594 w 721294"/>
              <a:gd name="connsiteY4" fmla="*/ 413182 h 413182"/>
              <a:gd name="connsiteX5" fmla="*/ 536965 w 721294"/>
              <a:gd name="connsiteY5" fmla="*/ 292032 h 413182"/>
              <a:gd name="connsiteX6" fmla="*/ 95514 w 721294"/>
              <a:gd name="connsiteY6" fmla="*/ 284450 h 413182"/>
              <a:gd name="connsiteX7" fmla="*/ 0 w 721294"/>
              <a:gd name="connsiteY7" fmla="*/ 101570 h 413182"/>
              <a:gd name="connsiteX0" fmla="*/ 0 w 721294"/>
              <a:gd name="connsiteY0" fmla="*/ 101570 h 413182"/>
              <a:gd name="connsiteX1" fmla="*/ 441015 w 721294"/>
              <a:gd name="connsiteY1" fmla="*/ 103045 h 413182"/>
              <a:gd name="connsiteX2" fmla="*/ 404034 w 721294"/>
              <a:gd name="connsiteY2" fmla="*/ 0 h 413182"/>
              <a:gd name="connsiteX3" fmla="*/ 721294 w 721294"/>
              <a:gd name="connsiteY3" fmla="*/ 219512 h 413182"/>
              <a:gd name="connsiteX4" fmla="*/ 592594 w 721294"/>
              <a:gd name="connsiteY4" fmla="*/ 413182 h 413182"/>
              <a:gd name="connsiteX5" fmla="*/ 536965 w 721294"/>
              <a:gd name="connsiteY5" fmla="*/ 292032 h 413182"/>
              <a:gd name="connsiteX6" fmla="*/ 95514 w 721294"/>
              <a:gd name="connsiteY6" fmla="*/ 284450 h 413182"/>
              <a:gd name="connsiteX7" fmla="*/ 0 w 721294"/>
              <a:gd name="connsiteY7" fmla="*/ 101570 h 413182"/>
              <a:gd name="connsiteX0" fmla="*/ 0 w 721294"/>
              <a:gd name="connsiteY0" fmla="*/ 101570 h 413182"/>
              <a:gd name="connsiteX1" fmla="*/ 441015 w 721294"/>
              <a:gd name="connsiteY1" fmla="*/ 103045 h 413182"/>
              <a:gd name="connsiteX2" fmla="*/ 404034 w 721294"/>
              <a:gd name="connsiteY2" fmla="*/ 0 h 413182"/>
              <a:gd name="connsiteX3" fmla="*/ 721294 w 721294"/>
              <a:gd name="connsiteY3" fmla="*/ 219512 h 413182"/>
              <a:gd name="connsiteX4" fmla="*/ 592594 w 721294"/>
              <a:gd name="connsiteY4" fmla="*/ 413182 h 413182"/>
              <a:gd name="connsiteX5" fmla="*/ 536965 w 721294"/>
              <a:gd name="connsiteY5" fmla="*/ 292032 h 413182"/>
              <a:gd name="connsiteX6" fmla="*/ 95514 w 721294"/>
              <a:gd name="connsiteY6" fmla="*/ 284450 h 413182"/>
              <a:gd name="connsiteX7" fmla="*/ 0 w 721294"/>
              <a:gd name="connsiteY7" fmla="*/ 101570 h 413182"/>
              <a:gd name="connsiteX0" fmla="*/ 0 w 721294"/>
              <a:gd name="connsiteY0" fmla="*/ 110306 h 421918"/>
              <a:gd name="connsiteX1" fmla="*/ 441015 w 721294"/>
              <a:gd name="connsiteY1" fmla="*/ 111781 h 421918"/>
              <a:gd name="connsiteX2" fmla="*/ 393849 w 721294"/>
              <a:gd name="connsiteY2" fmla="*/ 0 h 421918"/>
              <a:gd name="connsiteX3" fmla="*/ 721294 w 721294"/>
              <a:gd name="connsiteY3" fmla="*/ 228248 h 421918"/>
              <a:gd name="connsiteX4" fmla="*/ 592594 w 721294"/>
              <a:gd name="connsiteY4" fmla="*/ 421918 h 421918"/>
              <a:gd name="connsiteX5" fmla="*/ 536965 w 721294"/>
              <a:gd name="connsiteY5" fmla="*/ 300768 h 421918"/>
              <a:gd name="connsiteX6" fmla="*/ 95514 w 721294"/>
              <a:gd name="connsiteY6" fmla="*/ 293186 h 421918"/>
              <a:gd name="connsiteX7" fmla="*/ 0 w 721294"/>
              <a:gd name="connsiteY7" fmla="*/ 110306 h 421918"/>
              <a:gd name="connsiteX0" fmla="*/ 0 w 721294"/>
              <a:gd name="connsiteY0" fmla="*/ 110840 h 422452"/>
              <a:gd name="connsiteX1" fmla="*/ 441015 w 721294"/>
              <a:gd name="connsiteY1" fmla="*/ 112315 h 422452"/>
              <a:gd name="connsiteX2" fmla="*/ 393849 w 721294"/>
              <a:gd name="connsiteY2" fmla="*/ 534 h 422452"/>
              <a:gd name="connsiteX3" fmla="*/ 721294 w 721294"/>
              <a:gd name="connsiteY3" fmla="*/ 228782 h 422452"/>
              <a:gd name="connsiteX4" fmla="*/ 592594 w 721294"/>
              <a:gd name="connsiteY4" fmla="*/ 422452 h 422452"/>
              <a:gd name="connsiteX5" fmla="*/ 536965 w 721294"/>
              <a:gd name="connsiteY5" fmla="*/ 301302 h 422452"/>
              <a:gd name="connsiteX6" fmla="*/ 95514 w 721294"/>
              <a:gd name="connsiteY6" fmla="*/ 293720 h 422452"/>
              <a:gd name="connsiteX7" fmla="*/ 0 w 721294"/>
              <a:gd name="connsiteY7" fmla="*/ 110840 h 422452"/>
              <a:gd name="connsiteX0" fmla="*/ 0 w 721294"/>
              <a:gd name="connsiteY0" fmla="*/ 110645 h 422257"/>
              <a:gd name="connsiteX1" fmla="*/ 441015 w 721294"/>
              <a:gd name="connsiteY1" fmla="*/ 112120 h 422257"/>
              <a:gd name="connsiteX2" fmla="*/ 382709 w 721294"/>
              <a:gd name="connsiteY2" fmla="*/ 536 h 422257"/>
              <a:gd name="connsiteX3" fmla="*/ 721294 w 721294"/>
              <a:gd name="connsiteY3" fmla="*/ 228587 h 422257"/>
              <a:gd name="connsiteX4" fmla="*/ 592594 w 721294"/>
              <a:gd name="connsiteY4" fmla="*/ 422257 h 422257"/>
              <a:gd name="connsiteX5" fmla="*/ 536965 w 721294"/>
              <a:gd name="connsiteY5" fmla="*/ 301107 h 422257"/>
              <a:gd name="connsiteX6" fmla="*/ 95514 w 721294"/>
              <a:gd name="connsiteY6" fmla="*/ 293525 h 422257"/>
              <a:gd name="connsiteX7" fmla="*/ 0 w 721294"/>
              <a:gd name="connsiteY7" fmla="*/ 110645 h 422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1294" h="422257">
                <a:moveTo>
                  <a:pt x="0" y="110645"/>
                </a:moveTo>
                <a:lnTo>
                  <a:pt x="441015" y="112120"/>
                </a:lnTo>
                <a:cubicBezTo>
                  <a:pt x="440452" y="112854"/>
                  <a:pt x="378657" y="-9032"/>
                  <a:pt x="382709" y="536"/>
                </a:cubicBezTo>
                <a:lnTo>
                  <a:pt x="721294" y="228587"/>
                </a:lnTo>
                <a:lnTo>
                  <a:pt x="592594" y="422257"/>
                </a:lnTo>
                <a:lnTo>
                  <a:pt x="536965" y="301107"/>
                </a:lnTo>
                <a:lnTo>
                  <a:pt x="95514" y="293525"/>
                </a:lnTo>
                <a:lnTo>
                  <a:pt x="0" y="11064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9" name="Freeform 60"/>
          <p:cNvSpPr>
            <a:spLocks/>
          </p:cNvSpPr>
          <p:nvPr/>
        </p:nvSpPr>
        <p:spPr bwMode="auto">
          <a:xfrm flipH="1">
            <a:off x="10030322" y="5827443"/>
            <a:ext cx="382130" cy="412779"/>
          </a:xfrm>
          <a:custGeom>
            <a:avLst/>
            <a:gdLst>
              <a:gd name="T0" fmla="*/ 330 w 330"/>
              <a:gd name="T1" fmla="*/ 220 h 385"/>
              <a:gd name="T2" fmla="*/ 330 w 330"/>
              <a:gd name="T3" fmla="*/ 220 h 385"/>
              <a:gd name="T4" fmla="*/ 270 w 330"/>
              <a:gd name="T5" fmla="*/ 112 h 385"/>
              <a:gd name="T6" fmla="*/ 247 w 330"/>
              <a:gd name="T7" fmla="*/ 73 h 385"/>
              <a:gd name="T8" fmla="*/ 227 w 330"/>
              <a:gd name="T9" fmla="*/ 45 h 385"/>
              <a:gd name="T10" fmla="*/ 218 w 330"/>
              <a:gd name="T11" fmla="*/ 33 h 385"/>
              <a:gd name="T12" fmla="*/ 208 w 330"/>
              <a:gd name="T13" fmla="*/ 23 h 385"/>
              <a:gd name="T14" fmla="*/ 198 w 330"/>
              <a:gd name="T15" fmla="*/ 15 h 385"/>
              <a:gd name="T16" fmla="*/ 188 w 330"/>
              <a:gd name="T17" fmla="*/ 10 h 385"/>
              <a:gd name="T18" fmla="*/ 177 w 330"/>
              <a:gd name="T19" fmla="*/ 5 h 385"/>
              <a:gd name="T20" fmla="*/ 165 w 330"/>
              <a:gd name="T21" fmla="*/ 2 h 385"/>
              <a:gd name="T22" fmla="*/ 152 w 330"/>
              <a:gd name="T23" fmla="*/ 0 h 385"/>
              <a:gd name="T24" fmla="*/ 137 w 330"/>
              <a:gd name="T25" fmla="*/ 0 h 385"/>
              <a:gd name="T26" fmla="*/ 72 w 330"/>
              <a:gd name="T27" fmla="*/ 15 h 385"/>
              <a:gd name="T28" fmla="*/ 72 w 330"/>
              <a:gd name="T29" fmla="*/ 15 h 385"/>
              <a:gd name="T30" fmla="*/ 62 w 330"/>
              <a:gd name="T31" fmla="*/ 25 h 385"/>
              <a:gd name="T32" fmla="*/ 52 w 330"/>
              <a:gd name="T33" fmla="*/ 35 h 385"/>
              <a:gd name="T34" fmla="*/ 40 w 330"/>
              <a:gd name="T35" fmla="*/ 48 h 385"/>
              <a:gd name="T36" fmla="*/ 28 w 330"/>
              <a:gd name="T37" fmla="*/ 65 h 385"/>
              <a:gd name="T38" fmla="*/ 18 w 330"/>
              <a:gd name="T39" fmla="*/ 85 h 385"/>
              <a:gd name="T40" fmla="*/ 13 w 330"/>
              <a:gd name="T41" fmla="*/ 97 h 385"/>
              <a:gd name="T42" fmla="*/ 10 w 330"/>
              <a:gd name="T43" fmla="*/ 108 h 385"/>
              <a:gd name="T44" fmla="*/ 8 w 330"/>
              <a:gd name="T45" fmla="*/ 120 h 385"/>
              <a:gd name="T46" fmla="*/ 7 w 330"/>
              <a:gd name="T47" fmla="*/ 133 h 385"/>
              <a:gd name="T48" fmla="*/ 0 w 330"/>
              <a:gd name="T49" fmla="*/ 285 h 385"/>
              <a:gd name="T50" fmla="*/ 0 w 330"/>
              <a:gd name="T51" fmla="*/ 285 h 385"/>
              <a:gd name="T52" fmla="*/ 2 w 330"/>
              <a:gd name="T53" fmla="*/ 300 h 385"/>
              <a:gd name="T54" fmla="*/ 3 w 330"/>
              <a:gd name="T55" fmla="*/ 314 h 385"/>
              <a:gd name="T56" fmla="*/ 7 w 330"/>
              <a:gd name="T57" fmla="*/ 325 h 385"/>
              <a:gd name="T58" fmla="*/ 12 w 330"/>
              <a:gd name="T59" fmla="*/ 335 h 385"/>
              <a:gd name="T60" fmla="*/ 17 w 330"/>
              <a:gd name="T61" fmla="*/ 345 h 385"/>
              <a:gd name="T62" fmla="*/ 23 w 330"/>
              <a:gd name="T63" fmla="*/ 354 h 385"/>
              <a:gd name="T64" fmla="*/ 32 w 330"/>
              <a:gd name="T65" fmla="*/ 360 h 385"/>
              <a:gd name="T66" fmla="*/ 40 w 330"/>
              <a:gd name="T67" fmla="*/ 367 h 385"/>
              <a:gd name="T68" fmla="*/ 50 w 330"/>
              <a:gd name="T69" fmla="*/ 372 h 385"/>
              <a:gd name="T70" fmla="*/ 62 w 330"/>
              <a:gd name="T71" fmla="*/ 375 h 385"/>
              <a:gd name="T72" fmla="*/ 85 w 330"/>
              <a:gd name="T73" fmla="*/ 382 h 385"/>
              <a:gd name="T74" fmla="*/ 113 w 330"/>
              <a:gd name="T75" fmla="*/ 385 h 385"/>
              <a:gd name="T76" fmla="*/ 142 w 330"/>
              <a:gd name="T77" fmla="*/ 385 h 385"/>
              <a:gd name="T78" fmla="*/ 142 w 330"/>
              <a:gd name="T79" fmla="*/ 385 h 385"/>
              <a:gd name="T80" fmla="*/ 142 w 330"/>
              <a:gd name="T81" fmla="*/ 385 h 385"/>
              <a:gd name="T82" fmla="*/ 173 w 330"/>
              <a:gd name="T83" fmla="*/ 384 h 385"/>
              <a:gd name="T84" fmla="*/ 207 w 330"/>
              <a:gd name="T85" fmla="*/ 379 h 385"/>
              <a:gd name="T86" fmla="*/ 222 w 330"/>
              <a:gd name="T87" fmla="*/ 375 h 385"/>
              <a:gd name="T88" fmla="*/ 239 w 330"/>
              <a:gd name="T89" fmla="*/ 370 h 385"/>
              <a:gd name="T90" fmla="*/ 254 w 330"/>
              <a:gd name="T91" fmla="*/ 364 h 385"/>
              <a:gd name="T92" fmla="*/ 267 w 330"/>
              <a:gd name="T93" fmla="*/ 357 h 385"/>
              <a:gd name="T94" fmla="*/ 280 w 330"/>
              <a:gd name="T95" fmla="*/ 350 h 385"/>
              <a:gd name="T96" fmla="*/ 294 w 330"/>
              <a:gd name="T97" fmla="*/ 340 h 385"/>
              <a:gd name="T98" fmla="*/ 304 w 330"/>
              <a:gd name="T99" fmla="*/ 330 h 385"/>
              <a:gd name="T100" fmla="*/ 314 w 330"/>
              <a:gd name="T101" fmla="*/ 320 h 385"/>
              <a:gd name="T102" fmla="*/ 320 w 330"/>
              <a:gd name="T103" fmla="*/ 309 h 385"/>
              <a:gd name="T104" fmla="*/ 325 w 330"/>
              <a:gd name="T105" fmla="*/ 295 h 385"/>
              <a:gd name="T106" fmla="*/ 330 w 330"/>
              <a:gd name="T107" fmla="*/ 282 h 385"/>
              <a:gd name="T108" fmla="*/ 330 w 330"/>
              <a:gd name="T109" fmla="*/ 267 h 385"/>
              <a:gd name="T110" fmla="*/ 330 w 330"/>
              <a:gd name="T111" fmla="*/ 220 h 385"/>
              <a:gd name="connsiteX0" fmla="*/ 11757 w 11757"/>
              <a:gd name="connsiteY0" fmla="*/ 5714 h 10000"/>
              <a:gd name="connsiteX1" fmla="*/ 11757 w 11757"/>
              <a:gd name="connsiteY1" fmla="*/ 5714 h 10000"/>
              <a:gd name="connsiteX2" fmla="*/ 9939 w 11757"/>
              <a:gd name="connsiteY2" fmla="*/ 2909 h 10000"/>
              <a:gd name="connsiteX3" fmla="*/ 9242 w 11757"/>
              <a:gd name="connsiteY3" fmla="*/ 1896 h 10000"/>
              <a:gd name="connsiteX4" fmla="*/ 8636 w 11757"/>
              <a:gd name="connsiteY4" fmla="*/ 1169 h 10000"/>
              <a:gd name="connsiteX5" fmla="*/ 8363 w 11757"/>
              <a:gd name="connsiteY5" fmla="*/ 857 h 10000"/>
              <a:gd name="connsiteX6" fmla="*/ 8060 w 11757"/>
              <a:gd name="connsiteY6" fmla="*/ 597 h 10000"/>
              <a:gd name="connsiteX7" fmla="*/ 7757 w 11757"/>
              <a:gd name="connsiteY7" fmla="*/ 390 h 10000"/>
              <a:gd name="connsiteX8" fmla="*/ 7454 w 11757"/>
              <a:gd name="connsiteY8" fmla="*/ 260 h 10000"/>
              <a:gd name="connsiteX9" fmla="*/ 7121 w 11757"/>
              <a:gd name="connsiteY9" fmla="*/ 130 h 10000"/>
              <a:gd name="connsiteX10" fmla="*/ 6757 w 11757"/>
              <a:gd name="connsiteY10" fmla="*/ 52 h 10000"/>
              <a:gd name="connsiteX11" fmla="*/ 6363 w 11757"/>
              <a:gd name="connsiteY11" fmla="*/ 0 h 10000"/>
              <a:gd name="connsiteX12" fmla="*/ 5909 w 11757"/>
              <a:gd name="connsiteY12" fmla="*/ 0 h 10000"/>
              <a:gd name="connsiteX13" fmla="*/ 3939 w 11757"/>
              <a:gd name="connsiteY13" fmla="*/ 390 h 10000"/>
              <a:gd name="connsiteX14" fmla="*/ 3939 w 11757"/>
              <a:gd name="connsiteY14" fmla="*/ 390 h 10000"/>
              <a:gd name="connsiteX15" fmla="*/ 3636 w 11757"/>
              <a:gd name="connsiteY15" fmla="*/ 649 h 10000"/>
              <a:gd name="connsiteX16" fmla="*/ 3333 w 11757"/>
              <a:gd name="connsiteY16" fmla="*/ 909 h 10000"/>
              <a:gd name="connsiteX17" fmla="*/ 2969 w 11757"/>
              <a:gd name="connsiteY17" fmla="*/ 1247 h 10000"/>
              <a:gd name="connsiteX18" fmla="*/ 2605 w 11757"/>
              <a:gd name="connsiteY18" fmla="*/ 1688 h 10000"/>
              <a:gd name="connsiteX19" fmla="*/ 2302 w 11757"/>
              <a:gd name="connsiteY19" fmla="*/ 2208 h 10000"/>
              <a:gd name="connsiteX20" fmla="*/ 2151 w 11757"/>
              <a:gd name="connsiteY20" fmla="*/ 2519 h 10000"/>
              <a:gd name="connsiteX21" fmla="*/ 2060 w 11757"/>
              <a:gd name="connsiteY21" fmla="*/ 2805 h 10000"/>
              <a:gd name="connsiteX22" fmla="*/ 1999 w 11757"/>
              <a:gd name="connsiteY22" fmla="*/ 3117 h 10000"/>
              <a:gd name="connsiteX23" fmla="*/ 1969 w 11757"/>
              <a:gd name="connsiteY23" fmla="*/ 3455 h 10000"/>
              <a:gd name="connsiteX24" fmla="*/ 1757 w 11757"/>
              <a:gd name="connsiteY24" fmla="*/ 7403 h 10000"/>
              <a:gd name="connsiteX25" fmla="*/ 1757 w 11757"/>
              <a:gd name="connsiteY25" fmla="*/ 7403 h 10000"/>
              <a:gd name="connsiteX26" fmla="*/ 0 w 11757"/>
              <a:gd name="connsiteY26" fmla="*/ 9514 h 10000"/>
              <a:gd name="connsiteX27" fmla="*/ 1848 w 11757"/>
              <a:gd name="connsiteY27" fmla="*/ 8156 h 10000"/>
              <a:gd name="connsiteX28" fmla="*/ 1969 w 11757"/>
              <a:gd name="connsiteY28" fmla="*/ 8442 h 10000"/>
              <a:gd name="connsiteX29" fmla="*/ 2121 w 11757"/>
              <a:gd name="connsiteY29" fmla="*/ 8701 h 10000"/>
              <a:gd name="connsiteX30" fmla="*/ 2272 w 11757"/>
              <a:gd name="connsiteY30" fmla="*/ 8961 h 10000"/>
              <a:gd name="connsiteX31" fmla="*/ 2454 w 11757"/>
              <a:gd name="connsiteY31" fmla="*/ 9195 h 10000"/>
              <a:gd name="connsiteX32" fmla="*/ 2727 w 11757"/>
              <a:gd name="connsiteY32" fmla="*/ 9351 h 10000"/>
              <a:gd name="connsiteX33" fmla="*/ 2969 w 11757"/>
              <a:gd name="connsiteY33" fmla="*/ 9532 h 10000"/>
              <a:gd name="connsiteX34" fmla="*/ 3272 w 11757"/>
              <a:gd name="connsiteY34" fmla="*/ 9662 h 10000"/>
              <a:gd name="connsiteX35" fmla="*/ 3636 w 11757"/>
              <a:gd name="connsiteY35" fmla="*/ 9740 h 10000"/>
              <a:gd name="connsiteX36" fmla="*/ 4333 w 11757"/>
              <a:gd name="connsiteY36" fmla="*/ 9922 h 10000"/>
              <a:gd name="connsiteX37" fmla="*/ 5181 w 11757"/>
              <a:gd name="connsiteY37" fmla="*/ 10000 h 10000"/>
              <a:gd name="connsiteX38" fmla="*/ 6060 w 11757"/>
              <a:gd name="connsiteY38" fmla="*/ 10000 h 10000"/>
              <a:gd name="connsiteX39" fmla="*/ 6060 w 11757"/>
              <a:gd name="connsiteY39" fmla="*/ 10000 h 10000"/>
              <a:gd name="connsiteX40" fmla="*/ 6060 w 11757"/>
              <a:gd name="connsiteY40" fmla="*/ 10000 h 10000"/>
              <a:gd name="connsiteX41" fmla="*/ 6999 w 11757"/>
              <a:gd name="connsiteY41" fmla="*/ 9974 h 10000"/>
              <a:gd name="connsiteX42" fmla="*/ 8030 w 11757"/>
              <a:gd name="connsiteY42" fmla="*/ 9844 h 10000"/>
              <a:gd name="connsiteX43" fmla="*/ 8484 w 11757"/>
              <a:gd name="connsiteY43" fmla="*/ 9740 h 10000"/>
              <a:gd name="connsiteX44" fmla="*/ 8999 w 11757"/>
              <a:gd name="connsiteY44" fmla="*/ 9610 h 10000"/>
              <a:gd name="connsiteX45" fmla="*/ 9454 w 11757"/>
              <a:gd name="connsiteY45" fmla="*/ 9455 h 10000"/>
              <a:gd name="connsiteX46" fmla="*/ 9848 w 11757"/>
              <a:gd name="connsiteY46" fmla="*/ 9273 h 10000"/>
              <a:gd name="connsiteX47" fmla="*/ 10242 w 11757"/>
              <a:gd name="connsiteY47" fmla="*/ 9091 h 10000"/>
              <a:gd name="connsiteX48" fmla="*/ 10666 w 11757"/>
              <a:gd name="connsiteY48" fmla="*/ 8831 h 10000"/>
              <a:gd name="connsiteX49" fmla="*/ 10969 w 11757"/>
              <a:gd name="connsiteY49" fmla="*/ 8571 h 10000"/>
              <a:gd name="connsiteX50" fmla="*/ 11272 w 11757"/>
              <a:gd name="connsiteY50" fmla="*/ 8312 h 10000"/>
              <a:gd name="connsiteX51" fmla="*/ 11454 w 11757"/>
              <a:gd name="connsiteY51" fmla="*/ 8026 h 10000"/>
              <a:gd name="connsiteX52" fmla="*/ 11605 w 11757"/>
              <a:gd name="connsiteY52" fmla="*/ 7662 h 10000"/>
              <a:gd name="connsiteX53" fmla="*/ 11757 w 11757"/>
              <a:gd name="connsiteY53" fmla="*/ 7325 h 10000"/>
              <a:gd name="connsiteX54" fmla="*/ 11757 w 11757"/>
              <a:gd name="connsiteY54" fmla="*/ 6935 h 10000"/>
              <a:gd name="connsiteX55" fmla="*/ 11757 w 11757"/>
              <a:gd name="connsiteY55" fmla="*/ 5714 h 10000"/>
              <a:gd name="connsiteX0" fmla="*/ 11757 w 11757"/>
              <a:gd name="connsiteY0" fmla="*/ 5714 h 10000"/>
              <a:gd name="connsiteX1" fmla="*/ 11757 w 11757"/>
              <a:gd name="connsiteY1" fmla="*/ 5714 h 10000"/>
              <a:gd name="connsiteX2" fmla="*/ 9939 w 11757"/>
              <a:gd name="connsiteY2" fmla="*/ 2909 h 10000"/>
              <a:gd name="connsiteX3" fmla="*/ 9242 w 11757"/>
              <a:gd name="connsiteY3" fmla="*/ 1896 h 10000"/>
              <a:gd name="connsiteX4" fmla="*/ 8636 w 11757"/>
              <a:gd name="connsiteY4" fmla="*/ 1169 h 10000"/>
              <a:gd name="connsiteX5" fmla="*/ 8363 w 11757"/>
              <a:gd name="connsiteY5" fmla="*/ 857 h 10000"/>
              <a:gd name="connsiteX6" fmla="*/ 8060 w 11757"/>
              <a:gd name="connsiteY6" fmla="*/ 597 h 10000"/>
              <a:gd name="connsiteX7" fmla="*/ 7757 w 11757"/>
              <a:gd name="connsiteY7" fmla="*/ 390 h 10000"/>
              <a:gd name="connsiteX8" fmla="*/ 7454 w 11757"/>
              <a:gd name="connsiteY8" fmla="*/ 260 h 10000"/>
              <a:gd name="connsiteX9" fmla="*/ 7121 w 11757"/>
              <a:gd name="connsiteY9" fmla="*/ 130 h 10000"/>
              <a:gd name="connsiteX10" fmla="*/ 6757 w 11757"/>
              <a:gd name="connsiteY10" fmla="*/ 52 h 10000"/>
              <a:gd name="connsiteX11" fmla="*/ 6363 w 11757"/>
              <a:gd name="connsiteY11" fmla="*/ 0 h 10000"/>
              <a:gd name="connsiteX12" fmla="*/ 5909 w 11757"/>
              <a:gd name="connsiteY12" fmla="*/ 0 h 10000"/>
              <a:gd name="connsiteX13" fmla="*/ 3939 w 11757"/>
              <a:gd name="connsiteY13" fmla="*/ 390 h 10000"/>
              <a:gd name="connsiteX14" fmla="*/ 3939 w 11757"/>
              <a:gd name="connsiteY14" fmla="*/ 390 h 10000"/>
              <a:gd name="connsiteX15" fmla="*/ 3636 w 11757"/>
              <a:gd name="connsiteY15" fmla="*/ 649 h 10000"/>
              <a:gd name="connsiteX16" fmla="*/ 3333 w 11757"/>
              <a:gd name="connsiteY16" fmla="*/ 909 h 10000"/>
              <a:gd name="connsiteX17" fmla="*/ 2969 w 11757"/>
              <a:gd name="connsiteY17" fmla="*/ 1247 h 10000"/>
              <a:gd name="connsiteX18" fmla="*/ 2605 w 11757"/>
              <a:gd name="connsiteY18" fmla="*/ 1688 h 10000"/>
              <a:gd name="connsiteX19" fmla="*/ 2302 w 11757"/>
              <a:gd name="connsiteY19" fmla="*/ 2208 h 10000"/>
              <a:gd name="connsiteX20" fmla="*/ 2151 w 11757"/>
              <a:gd name="connsiteY20" fmla="*/ 2519 h 10000"/>
              <a:gd name="connsiteX21" fmla="*/ 2060 w 11757"/>
              <a:gd name="connsiteY21" fmla="*/ 2805 h 10000"/>
              <a:gd name="connsiteX22" fmla="*/ 1999 w 11757"/>
              <a:gd name="connsiteY22" fmla="*/ 3117 h 10000"/>
              <a:gd name="connsiteX23" fmla="*/ 1969 w 11757"/>
              <a:gd name="connsiteY23" fmla="*/ 3455 h 10000"/>
              <a:gd name="connsiteX24" fmla="*/ 1757 w 11757"/>
              <a:gd name="connsiteY24" fmla="*/ 7403 h 10000"/>
              <a:gd name="connsiteX25" fmla="*/ 1757 w 11757"/>
              <a:gd name="connsiteY25" fmla="*/ 7403 h 10000"/>
              <a:gd name="connsiteX26" fmla="*/ 0 w 11757"/>
              <a:gd name="connsiteY26" fmla="*/ 9514 h 10000"/>
              <a:gd name="connsiteX27" fmla="*/ 1444 w 11757"/>
              <a:gd name="connsiteY27" fmla="*/ 9179 h 10000"/>
              <a:gd name="connsiteX28" fmla="*/ 1969 w 11757"/>
              <a:gd name="connsiteY28" fmla="*/ 8442 h 10000"/>
              <a:gd name="connsiteX29" fmla="*/ 2121 w 11757"/>
              <a:gd name="connsiteY29" fmla="*/ 8701 h 10000"/>
              <a:gd name="connsiteX30" fmla="*/ 2272 w 11757"/>
              <a:gd name="connsiteY30" fmla="*/ 8961 h 10000"/>
              <a:gd name="connsiteX31" fmla="*/ 2454 w 11757"/>
              <a:gd name="connsiteY31" fmla="*/ 9195 h 10000"/>
              <a:gd name="connsiteX32" fmla="*/ 2727 w 11757"/>
              <a:gd name="connsiteY32" fmla="*/ 9351 h 10000"/>
              <a:gd name="connsiteX33" fmla="*/ 2969 w 11757"/>
              <a:gd name="connsiteY33" fmla="*/ 9532 h 10000"/>
              <a:gd name="connsiteX34" fmla="*/ 3272 w 11757"/>
              <a:gd name="connsiteY34" fmla="*/ 9662 h 10000"/>
              <a:gd name="connsiteX35" fmla="*/ 3636 w 11757"/>
              <a:gd name="connsiteY35" fmla="*/ 9740 h 10000"/>
              <a:gd name="connsiteX36" fmla="*/ 4333 w 11757"/>
              <a:gd name="connsiteY36" fmla="*/ 9922 h 10000"/>
              <a:gd name="connsiteX37" fmla="*/ 5181 w 11757"/>
              <a:gd name="connsiteY37" fmla="*/ 10000 h 10000"/>
              <a:gd name="connsiteX38" fmla="*/ 6060 w 11757"/>
              <a:gd name="connsiteY38" fmla="*/ 10000 h 10000"/>
              <a:gd name="connsiteX39" fmla="*/ 6060 w 11757"/>
              <a:gd name="connsiteY39" fmla="*/ 10000 h 10000"/>
              <a:gd name="connsiteX40" fmla="*/ 6060 w 11757"/>
              <a:gd name="connsiteY40" fmla="*/ 10000 h 10000"/>
              <a:gd name="connsiteX41" fmla="*/ 6999 w 11757"/>
              <a:gd name="connsiteY41" fmla="*/ 9974 h 10000"/>
              <a:gd name="connsiteX42" fmla="*/ 8030 w 11757"/>
              <a:gd name="connsiteY42" fmla="*/ 9844 h 10000"/>
              <a:gd name="connsiteX43" fmla="*/ 8484 w 11757"/>
              <a:gd name="connsiteY43" fmla="*/ 9740 h 10000"/>
              <a:gd name="connsiteX44" fmla="*/ 8999 w 11757"/>
              <a:gd name="connsiteY44" fmla="*/ 9610 h 10000"/>
              <a:gd name="connsiteX45" fmla="*/ 9454 w 11757"/>
              <a:gd name="connsiteY45" fmla="*/ 9455 h 10000"/>
              <a:gd name="connsiteX46" fmla="*/ 9848 w 11757"/>
              <a:gd name="connsiteY46" fmla="*/ 9273 h 10000"/>
              <a:gd name="connsiteX47" fmla="*/ 10242 w 11757"/>
              <a:gd name="connsiteY47" fmla="*/ 9091 h 10000"/>
              <a:gd name="connsiteX48" fmla="*/ 10666 w 11757"/>
              <a:gd name="connsiteY48" fmla="*/ 8831 h 10000"/>
              <a:gd name="connsiteX49" fmla="*/ 10969 w 11757"/>
              <a:gd name="connsiteY49" fmla="*/ 8571 h 10000"/>
              <a:gd name="connsiteX50" fmla="*/ 11272 w 11757"/>
              <a:gd name="connsiteY50" fmla="*/ 8312 h 10000"/>
              <a:gd name="connsiteX51" fmla="*/ 11454 w 11757"/>
              <a:gd name="connsiteY51" fmla="*/ 8026 h 10000"/>
              <a:gd name="connsiteX52" fmla="*/ 11605 w 11757"/>
              <a:gd name="connsiteY52" fmla="*/ 7662 h 10000"/>
              <a:gd name="connsiteX53" fmla="*/ 11757 w 11757"/>
              <a:gd name="connsiteY53" fmla="*/ 7325 h 10000"/>
              <a:gd name="connsiteX54" fmla="*/ 11757 w 11757"/>
              <a:gd name="connsiteY54" fmla="*/ 6935 h 10000"/>
              <a:gd name="connsiteX55" fmla="*/ 11757 w 11757"/>
              <a:gd name="connsiteY55" fmla="*/ 5714 h 10000"/>
              <a:gd name="connsiteX0" fmla="*/ 11757 w 11757"/>
              <a:gd name="connsiteY0" fmla="*/ 5714 h 10000"/>
              <a:gd name="connsiteX1" fmla="*/ 11757 w 11757"/>
              <a:gd name="connsiteY1" fmla="*/ 5714 h 10000"/>
              <a:gd name="connsiteX2" fmla="*/ 9939 w 11757"/>
              <a:gd name="connsiteY2" fmla="*/ 2909 h 10000"/>
              <a:gd name="connsiteX3" fmla="*/ 9242 w 11757"/>
              <a:gd name="connsiteY3" fmla="*/ 1896 h 10000"/>
              <a:gd name="connsiteX4" fmla="*/ 8636 w 11757"/>
              <a:gd name="connsiteY4" fmla="*/ 1169 h 10000"/>
              <a:gd name="connsiteX5" fmla="*/ 8363 w 11757"/>
              <a:gd name="connsiteY5" fmla="*/ 857 h 10000"/>
              <a:gd name="connsiteX6" fmla="*/ 8060 w 11757"/>
              <a:gd name="connsiteY6" fmla="*/ 597 h 10000"/>
              <a:gd name="connsiteX7" fmla="*/ 7757 w 11757"/>
              <a:gd name="connsiteY7" fmla="*/ 390 h 10000"/>
              <a:gd name="connsiteX8" fmla="*/ 7454 w 11757"/>
              <a:gd name="connsiteY8" fmla="*/ 260 h 10000"/>
              <a:gd name="connsiteX9" fmla="*/ 7121 w 11757"/>
              <a:gd name="connsiteY9" fmla="*/ 130 h 10000"/>
              <a:gd name="connsiteX10" fmla="*/ 6757 w 11757"/>
              <a:gd name="connsiteY10" fmla="*/ 52 h 10000"/>
              <a:gd name="connsiteX11" fmla="*/ 6363 w 11757"/>
              <a:gd name="connsiteY11" fmla="*/ 0 h 10000"/>
              <a:gd name="connsiteX12" fmla="*/ 5909 w 11757"/>
              <a:gd name="connsiteY12" fmla="*/ 0 h 10000"/>
              <a:gd name="connsiteX13" fmla="*/ 3939 w 11757"/>
              <a:gd name="connsiteY13" fmla="*/ 390 h 10000"/>
              <a:gd name="connsiteX14" fmla="*/ 3939 w 11757"/>
              <a:gd name="connsiteY14" fmla="*/ 390 h 10000"/>
              <a:gd name="connsiteX15" fmla="*/ 3636 w 11757"/>
              <a:gd name="connsiteY15" fmla="*/ 649 h 10000"/>
              <a:gd name="connsiteX16" fmla="*/ 3333 w 11757"/>
              <a:gd name="connsiteY16" fmla="*/ 909 h 10000"/>
              <a:gd name="connsiteX17" fmla="*/ 2969 w 11757"/>
              <a:gd name="connsiteY17" fmla="*/ 1247 h 10000"/>
              <a:gd name="connsiteX18" fmla="*/ 2605 w 11757"/>
              <a:gd name="connsiteY18" fmla="*/ 1688 h 10000"/>
              <a:gd name="connsiteX19" fmla="*/ 2302 w 11757"/>
              <a:gd name="connsiteY19" fmla="*/ 2208 h 10000"/>
              <a:gd name="connsiteX20" fmla="*/ 2151 w 11757"/>
              <a:gd name="connsiteY20" fmla="*/ 2519 h 10000"/>
              <a:gd name="connsiteX21" fmla="*/ 2060 w 11757"/>
              <a:gd name="connsiteY21" fmla="*/ 2805 h 10000"/>
              <a:gd name="connsiteX22" fmla="*/ 1999 w 11757"/>
              <a:gd name="connsiteY22" fmla="*/ 3117 h 10000"/>
              <a:gd name="connsiteX23" fmla="*/ 1969 w 11757"/>
              <a:gd name="connsiteY23" fmla="*/ 3455 h 10000"/>
              <a:gd name="connsiteX24" fmla="*/ 1757 w 11757"/>
              <a:gd name="connsiteY24" fmla="*/ 7403 h 10000"/>
              <a:gd name="connsiteX25" fmla="*/ 1757 w 11757"/>
              <a:gd name="connsiteY25" fmla="*/ 7403 h 10000"/>
              <a:gd name="connsiteX26" fmla="*/ 0 w 11757"/>
              <a:gd name="connsiteY26" fmla="*/ 9514 h 10000"/>
              <a:gd name="connsiteX27" fmla="*/ 1444 w 11757"/>
              <a:gd name="connsiteY27" fmla="*/ 9179 h 10000"/>
              <a:gd name="connsiteX28" fmla="*/ 2171 w 11757"/>
              <a:gd name="connsiteY28" fmla="*/ 9357 h 10000"/>
              <a:gd name="connsiteX29" fmla="*/ 2121 w 11757"/>
              <a:gd name="connsiteY29" fmla="*/ 8701 h 10000"/>
              <a:gd name="connsiteX30" fmla="*/ 2272 w 11757"/>
              <a:gd name="connsiteY30" fmla="*/ 8961 h 10000"/>
              <a:gd name="connsiteX31" fmla="*/ 2454 w 11757"/>
              <a:gd name="connsiteY31" fmla="*/ 9195 h 10000"/>
              <a:gd name="connsiteX32" fmla="*/ 2727 w 11757"/>
              <a:gd name="connsiteY32" fmla="*/ 9351 h 10000"/>
              <a:gd name="connsiteX33" fmla="*/ 2969 w 11757"/>
              <a:gd name="connsiteY33" fmla="*/ 9532 h 10000"/>
              <a:gd name="connsiteX34" fmla="*/ 3272 w 11757"/>
              <a:gd name="connsiteY34" fmla="*/ 9662 h 10000"/>
              <a:gd name="connsiteX35" fmla="*/ 3636 w 11757"/>
              <a:gd name="connsiteY35" fmla="*/ 9740 h 10000"/>
              <a:gd name="connsiteX36" fmla="*/ 4333 w 11757"/>
              <a:gd name="connsiteY36" fmla="*/ 9922 h 10000"/>
              <a:gd name="connsiteX37" fmla="*/ 5181 w 11757"/>
              <a:gd name="connsiteY37" fmla="*/ 10000 h 10000"/>
              <a:gd name="connsiteX38" fmla="*/ 6060 w 11757"/>
              <a:gd name="connsiteY38" fmla="*/ 10000 h 10000"/>
              <a:gd name="connsiteX39" fmla="*/ 6060 w 11757"/>
              <a:gd name="connsiteY39" fmla="*/ 10000 h 10000"/>
              <a:gd name="connsiteX40" fmla="*/ 6060 w 11757"/>
              <a:gd name="connsiteY40" fmla="*/ 10000 h 10000"/>
              <a:gd name="connsiteX41" fmla="*/ 6999 w 11757"/>
              <a:gd name="connsiteY41" fmla="*/ 9974 h 10000"/>
              <a:gd name="connsiteX42" fmla="*/ 8030 w 11757"/>
              <a:gd name="connsiteY42" fmla="*/ 9844 h 10000"/>
              <a:gd name="connsiteX43" fmla="*/ 8484 w 11757"/>
              <a:gd name="connsiteY43" fmla="*/ 9740 h 10000"/>
              <a:gd name="connsiteX44" fmla="*/ 8999 w 11757"/>
              <a:gd name="connsiteY44" fmla="*/ 9610 h 10000"/>
              <a:gd name="connsiteX45" fmla="*/ 9454 w 11757"/>
              <a:gd name="connsiteY45" fmla="*/ 9455 h 10000"/>
              <a:gd name="connsiteX46" fmla="*/ 9848 w 11757"/>
              <a:gd name="connsiteY46" fmla="*/ 9273 h 10000"/>
              <a:gd name="connsiteX47" fmla="*/ 10242 w 11757"/>
              <a:gd name="connsiteY47" fmla="*/ 9091 h 10000"/>
              <a:gd name="connsiteX48" fmla="*/ 10666 w 11757"/>
              <a:gd name="connsiteY48" fmla="*/ 8831 h 10000"/>
              <a:gd name="connsiteX49" fmla="*/ 10969 w 11757"/>
              <a:gd name="connsiteY49" fmla="*/ 8571 h 10000"/>
              <a:gd name="connsiteX50" fmla="*/ 11272 w 11757"/>
              <a:gd name="connsiteY50" fmla="*/ 8312 h 10000"/>
              <a:gd name="connsiteX51" fmla="*/ 11454 w 11757"/>
              <a:gd name="connsiteY51" fmla="*/ 8026 h 10000"/>
              <a:gd name="connsiteX52" fmla="*/ 11605 w 11757"/>
              <a:gd name="connsiteY52" fmla="*/ 7662 h 10000"/>
              <a:gd name="connsiteX53" fmla="*/ 11757 w 11757"/>
              <a:gd name="connsiteY53" fmla="*/ 7325 h 10000"/>
              <a:gd name="connsiteX54" fmla="*/ 11757 w 11757"/>
              <a:gd name="connsiteY54" fmla="*/ 6935 h 10000"/>
              <a:gd name="connsiteX55" fmla="*/ 11757 w 11757"/>
              <a:gd name="connsiteY55" fmla="*/ 5714 h 10000"/>
              <a:gd name="connsiteX0" fmla="*/ 11757 w 11757"/>
              <a:gd name="connsiteY0" fmla="*/ 5714 h 10000"/>
              <a:gd name="connsiteX1" fmla="*/ 11757 w 11757"/>
              <a:gd name="connsiteY1" fmla="*/ 5714 h 10000"/>
              <a:gd name="connsiteX2" fmla="*/ 9939 w 11757"/>
              <a:gd name="connsiteY2" fmla="*/ 2909 h 10000"/>
              <a:gd name="connsiteX3" fmla="*/ 9242 w 11757"/>
              <a:gd name="connsiteY3" fmla="*/ 1896 h 10000"/>
              <a:gd name="connsiteX4" fmla="*/ 8636 w 11757"/>
              <a:gd name="connsiteY4" fmla="*/ 1169 h 10000"/>
              <a:gd name="connsiteX5" fmla="*/ 8363 w 11757"/>
              <a:gd name="connsiteY5" fmla="*/ 857 h 10000"/>
              <a:gd name="connsiteX6" fmla="*/ 8060 w 11757"/>
              <a:gd name="connsiteY6" fmla="*/ 597 h 10000"/>
              <a:gd name="connsiteX7" fmla="*/ 7757 w 11757"/>
              <a:gd name="connsiteY7" fmla="*/ 390 h 10000"/>
              <a:gd name="connsiteX8" fmla="*/ 7454 w 11757"/>
              <a:gd name="connsiteY8" fmla="*/ 260 h 10000"/>
              <a:gd name="connsiteX9" fmla="*/ 7121 w 11757"/>
              <a:gd name="connsiteY9" fmla="*/ 130 h 10000"/>
              <a:gd name="connsiteX10" fmla="*/ 6757 w 11757"/>
              <a:gd name="connsiteY10" fmla="*/ 52 h 10000"/>
              <a:gd name="connsiteX11" fmla="*/ 6363 w 11757"/>
              <a:gd name="connsiteY11" fmla="*/ 0 h 10000"/>
              <a:gd name="connsiteX12" fmla="*/ 5909 w 11757"/>
              <a:gd name="connsiteY12" fmla="*/ 0 h 10000"/>
              <a:gd name="connsiteX13" fmla="*/ 3939 w 11757"/>
              <a:gd name="connsiteY13" fmla="*/ 390 h 10000"/>
              <a:gd name="connsiteX14" fmla="*/ 3939 w 11757"/>
              <a:gd name="connsiteY14" fmla="*/ 390 h 10000"/>
              <a:gd name="connsiteX15" fmla="*/ 3636 w 11757"/>
              <a:gd name="connsiteY15" fmla="*/ 649 h 10000"/>
              <a:gd name="connsiteX16" fmla="*/ 3333 w 11757"/>
              <a:gd name="connsiteY16" fmla="*/ 909 h 10000"/>
              <a:gd name="connsiteX17" fmla="*/ 2969 w 11757"/>
              <a:gd name="connsiteY17" fmla="*/ 1247 h 10000"/>
              <a:gd name="connsiteX18" fmla="*/ 2605 w 11757"/>
              <a:gd name="connsiteY18" fmla="*/ 1688 h 10000"/>
              <a:gd name="connsiteX19" fmla="*/ 2302 w 11757"/>
              <a:gd name="connsiteY19" fmla="*/ 2208 h 10000"/>
              <a:gd name="connsiteX20" fmla="*/ 2151 w 11757"/>
              <a:gd name="connsiteY20" fmla="*/ 2519 h 10000"/>
              <a:gd name="connsiteX21" fmla="*/ 2060 w 11757"/>
              <a:gd name="connsiteY21" fmla="*/ 2805 h 10000"/>
              <a:gd name="connsiteX22" fmla="*/ 1999 w 11757"/>
              <a:gd name="connsiteY22" fmla="*/ 3117 h 10000"/>
              <a:gd name="connsiteX23" fmla="*/ 1969 w 11757"/>
              <a:gd name="connsiteY23" fmla="*/ 3455 h 10000"/>
              <a:gd name="connsiteX24" fmla="*/ 1757 w 11757"/>
              <a:gd name="connsiteY24" fmla="*/ 7403 h 10000"/>
              <a:gd name="connsiteX25" fmla="*/ 1757 w 11757"/>
              <a:gd name="connsiteY25" fmla="*/ 7403 h 10000"/>
              <a:gd name="connsiteX26" fmla="*/ 0 w 11757"/>
              <a:gd name="connsiteY26" fmla="*/ 9514 h 10000"/>
              <a:gd name="connsiteX27" fmla="*/ 1444 w 11757"/>
              <a:gd name="connsiteY27" fmla="*/ 9179 h 10000"/>
              <a:gd name="connsiteX28" fmla="*/ 2171 w 11757"/>
              <a:gd name="connsiteY28" fmla="*/ 9357 h 10000"/>
              <a:gd name="connsiteX29" fmla="*/ 2323 w 11757"/>
              <a:gd name="connsiteY29" fmla="*/ 9239 h 10000"/>
              <a:gd name="connsiteX30" fmla="*/ 2272 w 11757"/>
              <a:gd name="connsiteY30" fmla="*/ 8961 h 10000"/>
              <a:gd name="connsiteX31" fmla="*/ 2454 w 11757"/>
              <a:gd name="connsiteY31" fmla="*/ 9195 h 10000"/>
              <a:gd name="connsiteX32" fmla="*/ 2727 w 11757"/>
              <a:gd name="connsiteY32" fmla="*/ 9351 h 10000"/>
              <a:gd name="connsiteX33" fmla="*/ 2969 w 11757"/>
              <a:gd name="connsiteY33" fmla="*/ 9532 h 10000"/>
              <a:gd name="connsiteX34" fmla="*/ 3272 w 11757"/>
              <a:gd name="connsiteY34" fmla="*/ 9662 h 10000"/>
              <a:gd name="connsiteX35" fmla="*/ 3636 w 11757"/>
              <a:gd name="connsiteY35" fmla="*/ 9740 h 10000"/>
              <a:gd name="connsiteX36" fmla="*/ 4333 w 11757"/>
              <a:gd name="connsiteY36" fmla="*/ 9922 h 10000"/>
              <a:gd name="connsiteX37" fmla="*/ 5181 w 11757"/>
              <a:gd name="connsiteY37" fmla="*/ 10000 h 10000"/>
              <a:gd name="connsiteX38" fmla="*/ 6060 w 11757"/>
              <a:gd name="connsiteY38" fmla="*/ 10000 h 10000"/>
              <a:gd name="connsiteX39" fmla="*/ 6060 w 11757"/>
              <a:gd name="connsiteY39" fmla="*/ 10000 h 10000"/>
              <a:gd name="connsiteX40" fmla="*/ 6060 w 11757"/>
              <a:gd name="connsiteY40" fmla="*/ 10000 h 10000"/>
              <a:gd name="connsiteX41" fmla="*/ 6999 w 11757"/>
              <a:gd name="connsiteY41" fmla="*/ 9974 h 10000"/>
              <a:gd name="connsiteX42" fmla="*/ 8030 w 11757"/>
              <a:gd name="connsiteY42" fmla="*/ 9844 h 10000"/>
              <a:gd name="connsiteX43" fmla="*/ 8484 w 11757"/>
              <a:gd name="connsiteY43" fmla="*/ 9740 h 10000"/>
              <a:gd name="connsiteX44" fmla="*/ 8999 w 11757"/>
              <a:gd name="connsiteY44" fmla="*/ 9610 h 10000"/>
              <a:gd name="connsiteX45" fmla="*/ 9454 w 11757"/>
              <a:gd name="connsiteY45" fmla="*/ 9455 h 10000"/>
              <a:gd name="connsiteX46" fmla="*/ 9848 w 11757"/>
              <a:gd name="connsiteY46" fmla="*/ 9273 h 10000"/>
              <a:gd name="connsiteX47" fmla="*/ 10242 w 11757"/>
              <a:gd name="connsiteY47" fmla="*/ 9091 h 10000"/>
              <a:gd name="connsiteX48" fmla="*/ 10666 w 11757"/>
              <a:gd name="connsiteY48" fmla="*/ 8831 h 10000"/>
              <a:gd name="connsiteX49" fmla="*/ 10969 w 11757"/>
              <a:gd name="connsiteY49" fmla="*/ 8571 h 10000"/>
              <a:gd name="connsiteX50" fmla="*/ 11272 w 11757"/>
              <a:gd name="connsiteY50" fmla="*/ 8312 h 10000"/>
              <a:gd name="connsiteX51" fmla="*/ 11454 w 11757"/>
              <a:gd name="connsiteY51" fmla="*/ 8026 h 10000"/>
              <a:gd name="connsiteX52" fmla="*/ 11605 w 11757"/>
              <a:gd name="connsiteY52" fmla="*/ 7662 h 10000"/>
              <a:gd name="connsiteX53" fmla="*/ 11757 w 11757"/>
              <a:gd name="connsiteY53" fmla="*/ 7325 h 10000"/>
              <a:gd name="connsiteX54" fmla="*/ 11757 w 11757"/>
              <a:gd name="connsiteY54" fmla="*/ 6935 h 10000"/>
              <a:gd name="connsiteX55" fmla="*/ 11757 w 11757"/>
              <a:gd name="connsiteY55" fmla="*/ 5714 h 10000"/>
              <a:gd name="connsiteX0" fmla="*/ 11757 w 11757"/>
              <a:gd name="connsiteY0" fmla="*/ 5714 h 10000"/>
              <a:gd name="connsiteX1" fmla="*/ 11757 w 11757"/>
              <a:gd name="connsiteY1" fmla="*/ 5714 h 10000"/>
              <a:gd name="connsiteX2" fmla="*/ 9939 w 11757"/>
              <a:gd name="connsiteY2" fmla="*/ 2909 h 10000"/>
              <a:gd name="connsiteX3" fmla="*/ 9242 w 11757"/>
              <a:gd name="connsiteY3" fmla="*/ 1896 h 10000"/>
              <a:gd name="connsiteX4" fmla="*/ 8636 w 11757"/>
              <a:gd name="connsiteY4" fmla="*/ 1169 h 10000"/>
              <a:gd name="connsiteX5" fmla="*/ 8363 w 11757"/>
              <a:gd name="connsiteY5" fmla="*/ 857 h 10000"/>
              <a:gd name="connsiteX6" fmla="*/ 8060 w 11757"/>
              <a:gd name="connsiteY6" fmla="*/ 597 h 10000"/>
              <a:gd name="connsiteX7" fmla="*/ 7757 w 11757"/>
              <a:gd name="connsiteY7" fmla="*/ 390 h 10000"/>
              <a:gd name="connsiteX8" fmla="*/ 7454 w 11757"/>
              <a:gd name="connsiteY8" fmla="*/ 260 h 10000"/>
              <a:gd name="connsiteX9" fmla="*/ 7121 w 11757"/>
              <a:gd name="connsiteY9" fmla="*/ 130 h 10000"/>
              <a:gd name="connsiteX10" fmla="*/ 6757 w 11757"/>
              <a:gd name="connsiteY10" fmla="*/ 52 h 10000"/>
              <a:gd name="connsiteX11" fmla="*/ 6363 w 11757"/>
              <a:gd name="connsiteY11" fmla="*/ 0 h 10000"/>
              <a:gd name="connsiteX12" fmla="*/ 5909 w 11757"/>
              <a:gd name="connsiteY12" fmla="*/ 0 h 10000"/>
              <a:gd name="connsiteX13" fmla="*/ 3939 w 11757"/>
              <a:gd name="connsiteY13" fmla="*/ 390 h 10000"/>
              <a:gd name="connsiteX14" fmla="*/ 3939 w 11757"/>
              <a:gd name="connsiteY14" fmla="*/ 390 h 10000"/>
              <a:gd name="connsiteX15" fmla="*/ 3636 w 11757"/>
              <a:gd name="connsiteY15" fmla="*/ 649 h 10000"/>
              <a:gd name="connsiteX16" fmla="*/ 3333 w 11757"/>
              <a:gd name="connsiteY16" fmla="*/ 909 h 10000"/>
              <a:gd name="connsiteX17" fmla="*/ 2969 w 11757"/>
              <a:gd name="connsiteY17" fmla="*/ 1247 h 10000"/>
              <a:gd name="connsiteX18" fmla="*/ 2605 w 11757"/>
              <a:gd name="connsiteY18" fmla="*/ 1688 h 10000"/>
              <a:gd name="connsiteX19" fmla="*/ 2302 w 11757"/>
              <a:gd name="connsiteY19" fmla="*/ 2208 h 10000"/>
              <a:gd name="connsiteX20" fmla="*/ 2151 w 11757"/>
              <a:gd name="connsiteY20" fmla="*/ 2519 h 10000"/>
              <a:gd name="connsiteX21" fmla="*/ 2060 w 11757"/>
              <a:gd name="connsiteY21" fmla="*/ 2805 h 10000"/>
              <a:gd name="connsiteX22" fmla="*/ 1999 w 11757"/>
              <a:gd name="connsiteY22" fmla="*/ 3117 h 10000"/>
              <a:gd name="connsiteX23" fmla="*/ 1969 w 11757"/>
              <a:gd name="connsiteY23" fmla="*/ 3455 h 10000"/>
              <a:gd name="connsiteX24" fmla="*/ 1757 w 11757"/>
              <a:gd name="connsiteY24" fmla="*/ 7403 h 10000"/>
              <a:gd name="connsiteX25" fmla="*/ 1757 w 11757"/>
              <a:gd name="connsiteY25" fmla="*/ 7403 h 10000"/>
              <a:gd name="connsiteX26" fmla="*/ 0 w 11757"/>
              <a:gd name="connsiteY26" fmla="*/ 9514 h 10000"/>
              <a:gd name="connsiteX27" fmla="*/ 1444 w 11757"/>
              <a:gd name="connsiteY27" fmla="*/ 9179 h 10000"/>
              <a:gd name="connsiteX28" fmla="*/ 2171 w 11757"/>
              <a:gd name="connsiteY28" fmla="*/ 9357 h 10000"/>
              <a:gd name="connsiteX29" fmla="*/ 2323 w 11757"/>
              <a:gd name="connsiteY29" fmla="*/ 9239 h 10000"/>
              <a:gd name="connsiteX30" fmla="*/ 2272 w 11757"/>
              <a:gd name="connsiteY30" fmla="*/ 8961 h 10000"/>
              <a:gd name="connsiteX31" fmla="*/ 2791 w 11757"/>
              <a:gd name="connsiteY31" fmla="*/ 9679 h 10000"/>
              <a:gd name="connsiteX32" fmla="*/ 2727 w 11757"/>
              <a:gd name="connsiteY32" fmla="*/ 9351 h 10000"/>
              <a:gd name="connsiteX33" fmla="*/ 2969 w 11757"/>
              <a:gd name="connsiteY33" fmla="*/ 9532 h 10000"/>
              <a:gd name="connsiteX34" fmla="*/ 3272 w 11757"/>
              <a:gd name="connsiteY34" fmla="*/ 9662 h 10000"/>
              <a:gd name="connsiteX35" fmla="*/ 3636 w 11757"/>
              <a:gd name="connsiteY35" fmla="*/ 9740 h 10000"/>
              <a:gd name="connsiteX36" fmla="*/ 4333 w 11757"/>
              <a:gd name="connsiteY36" fmla="*/ 9922 h 10000"/>
              <a:gd name="connsiteX37" fmla="*/ 5181 w 11757"/>
              <a:gd name="connsiteY37" fmla="*/ 10000 h 10000"/>
              <a:gd name="connsiteX38" fmla="*/ 6060 w 11757"/>
              <a:gd name="connsiteY38" fmla="*/ 10000 h 10000"/>
              <a:gd name="connsiteX39" fmla="*/ 6060 w 11757"/>
              <a:gd name="connsiteY39" fmla="*/ 10000 h 10000"/>
              <a:gd name="connsiteX40" fmla="*/ 6060 w 11757"/>
              <a:gd name="connsiteY40" fmla="*/ 10000 h 10000"/>
              <a:gd name="connsiteX41" fmla="*/ 6999 w 11757"/>
              <a:gd name="connsiteY41" fmla="*/ 9974 h 10000"/>
              <a:gd name="connsiteX42" fmla="*/ 8030 w 11757"/>
              <a:gd name="connsiteY42" fmla="*/ 9844 h 10000"/>
              <a:gd name="connsiteX43" fmla="*/ 8484 w 11757"/>
              <a:gd name="connsiteY43" fmla="*/ 9740 h 10000"/>
              <a:gd name="connsiteX44" fmla="*/ 8999 w 11757"/>
              <a:gd name="connsiteY44" fmla="*/ 9610 h 10000"/>
              <a:gd name="connsiteX45" fmla="*/ 9454 w 11757"/>
              <a:gd name="connsiteY45" fmla="*/ 9455 h 10000"/>
              <a:gd name="connsiteX46" fmla="*/ 9848 w 11757"/>
              <a:gd name="connsiteY46" fmla="*/ 9273 h 10000"/>
              <a:gd name="connsiteX47" fmla="*/ 10242 w 11757"/>
              <a:gd name="connsiteY47" fmla="*/ 9091 h 10000"/>
              <a:gd name="connsiteX48" fmla="*/ 10666 w 11757"/>
              <a:gd name="connsiteY48" fmla="*/ 8831 h 10000"/>
              <a:gd name="connsiteX49" fmla="*/ 10969 w 11757"/>
              <a:gd name="connsiteY49" fmla="*/ 8571 h 10000"/>
              <a:gd name="connsiteX50" fmla="*/ 11272 w 11757"/>
              <a:gd name="connsiteY50" fmla="*/ 8312 h 10000"/>
              <a:gd name="connsiteX51" fmla="*/ 11454 w 11757"/>
              <a:gd name="connsiteY51" fmla="*/ 8026 h 10000"/>
              <a:gd name="connsiteX52" fmla="*/ 11605 w 11757"/>
              <a:gd name="connsiteY52" fmla="*/ 7662 h 10000"/>
              <a:gd name="connsiteX53" fmla="*/ 11757 w 11757"/>
              <a:gd name="connsiteY53" fmla="*/ 7325 h 10000"/>
              <a:gd name="connsiteX54" fmla="*/ 11757 w 11757"/>
              <a:gd name="connsiteY54" fmla="*/ 6935 h 10000"/>
              <a:gd name="connsiteX55" fmla="*/ 11757 w 11757"/>
              <a:gd name="connsiteY55" fmla="*/ 5714 h 10000"/>
              <a:gd name="connsiteX0" fmla="*/ 11757 w 11757"/>
              <a:gd name="connsiteY0" fmla="*/ 5714 h 10000"/>
              <a:gd name="connsiteX1" fmla="*/ 11757 w 11757"/>
              <a:gd name="connsiteY1" fmla="*/ 5714 h 10000"/>
              <a:gd name="connsiteX2" fmla="*/ 9939 w 11757"/>
              <a:gd name="connsiteY2" fmla="*/ 2909 h 10000"/>
              <a:gd name="connsiteX3" fmla="*/ 9242 w 11757"/>
              <a:gd name="connsiteY3" fmla="*/ 1896 h 10000"/>
              <a:gd name="connsiteX4" fmla="*/ 8636 w 11757"/>
              <a:gd name="connsiteY4" fmla="*/ 1169 h 10000"/>
              <a:gd name="connsiteX5" fmla="*/ 8363 w 11757"/>
              <a:gd name="connsiteY5" fmla="*/ 857 h 10000"/>
              <a:gd name="connsiteX6" fmla="*/ 8060 w 11757"/>
              <a:gd name="connsiteY6" fmla="*/ 597 h 10000"/>
              <a:gd name="connsiteX7" fmla="*/ 7757 w 11757"/>
              <a:gd name="connsiteY7" fmla="*/ 390 h 10000"/>
              <a:gd name="connsiteX8" fmla="*/ 7454 w 11757"/>
              <a:gd name="connsiteY8" fmla="*/ 260 h 10000"/>
              <a:gd name="connsiteX9" fmla="*/ 7121 w 11757"/>
              <a:gd name="connsiteY9" fmla="*/ 130 h 10000"/>
              <a:gd name="connsiteX10" fmla="*/ 6757 w 11757"/>
              <a:gd name="connsiteY10" fmla="*/ 52 h 10000"/>
              <a:gd name="connsiteX11" fmla="*/ 6363 w 11757"/>
              <a:gd name="connsiteY11" fmla="*/ 0 h 10000"/>
              <a:gd name="connsiteX12" fmla="*/ 5909 w 11757"/>
              <a:gd name="connsiteY12" fmla="*/ 0 h 10000"/>
              <a:gd name="connsiteX13" fmla="*/ 3939 w 11757"/>
              <a:gd name="connsiteY13" fmla="*/ 390 h 10000"/>
              <a:gd name="connsiteX14" fmla="*/ 3939 w 11757"/>
              <a:gd name="connsiteY14" fmla="*/ 390 h 10000"/>
              <a:gd name="connsiteX15" fmla="*/ 3636 w 11757"/>
              <a:gd name="connsiteY15" fmla="*/ 649 h 10000"/>
              <a:gd name="connsiteX16" fmla="*/ 3333 w 11757"/>
              <a:gd name="connsiteY16" fmla="*/ 909 h 10000"/>
              <a:gd name="connsiteX17" fmla="*/ 2969 w 11757"/>
              <a:gd name="connsiteY17" fmla="*/ 1247 h 10000"/>
              <a:gd name="connsiteX18" fmla="*/ 2605 w 11757"/>
              <a:gd name="connsiteY18" fmla="*/ 1688 h 10000"/>
              <a:gd name="connsiteX19" fmla="*/ 2302 w 11757"/>
              <a:gd name="connsiteY19" fmla="*/ 2208 h 10000"/>
              <a:gd name="connsiteX20" fmla="*/ 2151 w 11757"/>
              <a:gd name="connsiteY20" fmla="*/ 2519 h 10000"/>
              <a:gd name="connsiteX21" fmla="*/ 2060 w 11757"/>
              <a:gd name="connsiteY21" fmla="*/ 2805 h 10000"/>
              <a:gd name="connsiteX22" fmla="*/ 1999 w 11757"/>
              <a:gd name="connsiteY22" fmla="*/ 3117 h 10000"/>
              <a:gd name="connsiteX23" fmla="*/ 1969 w 11757"/>
              <a:gd name="connsiteY23" fmla="*/ 3455 h 10000"/>
              <a:gd name="connsiteX24" fmla="*/ 1757 w 11757"/>
              <a:gd name="connsiteY24" fmla="*/ 7403 h 10000"/>
              <a:gd name="connsiteX25" fmla="*/ 1757 w 11757"/>
              <a:gd name="connsiteY25" fmla="*/ 7403 h 10000"/>
              <a:gd name="connsiteX26" fmla="*/ 0 w 11757"/>
              <a:gd name="connsiteY26" fmla="*/ 9514 h 10000"/>
              <a:gd name="connsiteX27" fmla="*/ 1444 w 11757"/>
              <a:gd name="connsiteY27" fmla="*/ 9179 h 10000"/>
              <a:gd name="connsiteX28" fmla="*/ 2171 w 11757"/>
              <a:gd name="connsiteY28" fmla="*/ 9357 h 10000"/>
              <a:gd name="connsiteX29" fmla="*/ 2323 w 11757"/>
              <a:gd name="connsiteY29" fmla="*/ 9239 h 10000"/>
              <a:gd name="connsiteX30" fmla="*/ 2474 w 11757"/>
              <a:gd name="connsiteY30" fmla="*/ 9284 h 10000"/>
              <a:gd name="connsiteX31" fmla="*/ 2791 w 11757"/>
              <a:gd name="connsiteY31" fmla="*/ 9679 h 10000"/>
              <a:gd name="connsiteX32" fmla="*/ 2727 w 11757"/>
              <a:gd name="connsiteY32" fmla="*/ 9351 h 10000"/>
              <a:gd name="connsiteX33" fmla="*/ 2969 w 11757"/>
              <a:gd name="connsiteY33" fmla="*/ 9532 h 10000"/>
              <a:gd name="connsiteX34" fmla="*/ 3272 w 11757"/>
              <a:gd name="connsiteY34" fmla="*/ 9662 h 10000"/>
              <a:gd name="connsiteX35" fmla="*/ 3636 w 11757"/>
              <a:gd name="connsiteY35" fmla="*/ 9740 h 10000"/>
              <a:gd name="connsiteX36" fmla="*/ 4333 w 11757"/>
              <a:gd name="connsiteY36" fmla="*/ 9922 h 10000"/>
              <a:gd name="connsiteX37" fmla="*/ 5181 w 11757"/>
              <a:gd name="connsiteY37" fmla="*/ 10000 h 10000"/>
              <a:gd name="connsiteX38" fmla="*/ 6060 w 11757"/>
              <a:gd name="connsiteY38" fmla="*/ 10000 h 10000"/>
              <a:gd name="connsiteX39" fmla="*/ 6060 w 11757"/>
              <a:gd name="connsiteY39" fmla="*/ 10000 h 10000"/>
              <a:gd name="connsiteX40" fmla="*/ 6060 w 11757"/>
              <a:gd name="connsiteY40" fmla="*/ 10000 h 10000"/>
              <a:gd name="connsiteX41" fmla="*/ 6999 w 11757"/>
              <a:gd name="connsiteY41" fmla="*/ 9974 h 10000"/>
              <a:gd name="connsiteX42" fmla="*/ 8030 w 11757"/>
              <a:gd name="connsiteY42" fmla="*/ 9844 h 10000"/>
              <a:gd name="connsiteX43" fmla="*/ 8484 w 11757"/>
              <a:gd name="connsiteY43" fmla="*/ 9740 h 10000"/>
              <a:gd name="connsiteX44" fmla="*/ 8999 w 11757"/>
              <a:gd name="connsiteY44" fmla="*/ 9610 h 10000"/>
              <a:gd name="connsiteX45" fmla="*/ 9454 w 11757"/>
              <a:gd name="connsiteY45" fmla="*/ 9455 h 10000"/>
              <a:gd name="connsiteX46" fmla="*/ 9848 w 11757"/>
              <a:gd name="connsiteY46" fmla="*/ 9273 h 10000"/>
              <a:gd name="connsiteX47" fmla="*/ 10242 w 11757"/>
              <a:gd name="connsiteY47" fmla="*/ 9091 h 10000"/>
              <a:gd name="connsiteX48" fmla="*/ 10666 w 11757"/>
              <a:gd name="connsiteY48" fmla="*/ 8831 h 10000"/>
              <a:gd name="connsiteX49" fmla="*/ 10969 w 11757"/>
              <a:gd name="connsiteY49" fmla="*/ 8571 h 10000"/>
              <a:gd name="connsiteX50" fmla="*/ 11272 w 11757"/>
              <a:gd name="connsiteY50" fmla="*/ 8312 h 10000"/>
              <a:gd name="connsiteX51" fmla="*/ 11454 w 11757"/>
              <a:gd name="connsiteY51" fmla="*/ 8026 h 10000"/>
              <a:gd name="connsiteX52" fmla="*/ 11605 w 11757"/>
              <a:gd name="connsiteY52" fmla="*/ 7662 h 10000"/>
              <a:gd name="connsiteX53" fmla="*/ 11757 w 11757"/>
              <a:gd name="connsiteY53" fmla="*/ 7325 h 10000"/>
              <a:gd name="connsiteX54" fmla="*/ 11757 w 11757"/>
              <a:gd name="connsiteY54" fmla="*/ 6935 h 10000"/>
              <a:gd name="connsiteX55" fmla="*/ 11757 w 11757"/>
              <a:gd name="connsiteY55" fmla="*/ 5714 h 10000"/>
              <a:gd name="connsiteX0" fmla="*/ 11757 w 11757"/>
              <a:gd name="connsiteY0" fmla="*/ 5714 h 10000"/>
              <a:gd name="connsiteX1" fmla="*/ 11757 w 11757"/>
              <a:gd name="connsiteY1" fmla="*/ 5714 h 10000"/>
              <a:gd name="connsiteX2" fmla="*/ 9939 w 11757"/>
              <a:gd name="connsiteY2" fmla="*/ 2909 h 10000"/>
              <a:gd name="connsiteX3" fmla="*/ 9242 w 11757"/>
              <a:gd name="connsiteY3" fmla="*/ 1896 h 10000"/>
              <a:gd name="connsiteX4" fmla="*/ 8636 w 11757"/>
              <a:gd name="connsiteY4" fmla="*/ 1169 h 10000"/>
              <a:gd name="connsiteX5" fmla="*/ 8363 w 11757"/>
              <a:gd name="connsiteY5" fmla="*/ 857 h 10000"/>
              <a:gd name="connsiteX6" fmla="*/ 8060 w 11757"/>
              <a:gd name="connsiteY6" fmla="*/ 597 h 10000"/>
              <a:gd name="connsiteX7" fmla="*/ 7757 w 11757"/>
              <a:gd name="connsiteY7" fmla="*/ 390 h 10000"/>
              <a:gd name="connsiteX8" fmla="*/ 7454 w 11757"/>
              <a:gd name="connsiteY8" fmla="*/ 260 h 10000"/>
              <a:gd name="connsiteX9" fmla="*/ 7121 w 11757"/>
              <a:gd name="connsiteY9" fmla="*/ 130 h 10000"/>
              <a:gd name="connsiteX10" fmla="*/ 6757 w 11757"/>
              <a:gd name="connsiteY10" fmla="*/ 52 h 10000"/>
              <a:gd name="connsiteX11" fmla="*/ 6363 w 11757"/>
              <a:gd name="connsiteY11" fmla="*/ 0 h 10000"/>
              <a:gd name="connsiteX12" fmla="*/ 5909 w 11757"/>
              <a:gd name="connsiteY12" fmla="*/ 0 h 10000"/>
              <a:gd name="connsiteX13" fmla="*/ 3939 w 11757"/>
              <a:gd name="connsiteY13" fmla="*/ 390 h 10000"/>
              <a:gd name="connsiteX14" fmla="*/ 3939 w 11757"/>
              <a:gd name="connsiteY14" fmla="*/ 390 h 10000"/>
              <a:gd name="connsiteX15" fmla="*/ 3636 w 11757"/>
              <a:gd name="connsiteY15" fmla="*/ 649 h 10000"/>
              <a:gd name="connsiteX16" fmla="*/ 3333 w 11757"/>
              <a:gd name="connsiteY16" fmla="*/ 909 h 10000"/>
              <a:gd name="connsiteX17" fmla="*/ 2969 w 11757"/>
              <a:gd name="connsiteY17" fmla="*/ 1247 h 10000"/>
              <a:gd name="connsiteX18" fmla="*/ 2605 w 11757"/>
              <a:gd name="connsiteY18" fmla="*/ 1688 h 10000"/>
              <a:gd name="connsiteX19" fmla="*/ 2302 w 11757"/>
              <a:gd name="connsiteY19" fmla="*/ 2208 h 10000"/>
              <a:gd name="connsiteX20" fmla="*/ 2151 w 11757"/>
              <a:gd name="connsiteY20" fmla="*/ 2519 h 10000"/>
              <a:gd name="connsiteX21" fmla="*/ 2060 w 11757"/>
              <a:gd name="connsiteY21" fmla="*/ 2805 h 10000"/>
              <a:gd name="connsiteX22" fmla="*/ 1999 w 11757"/>
              <a:gd name="connsiteY22" fmla="*/ 3117 h 10000"/>
              <a:gd name="connsiteX23" fmla="*/ 1969 w 11757"/>
              <a:gd name="connsiteY23" fmla="*/ 3455 h 10000"/>
              <a:gd name="connsiteX24" fmla="*/ 1757 w 11757"/>
              <a:gd name="connsiteY24" fmla="*/ 7403 h 10000"/>
              <a:gd name="connsiteX25" fmla="*/ 1151 w 11757"/>
              <a:gd name="connsiteY25" fmla="*/ 7511 h 10000"/>
              <a:gd name="connsiteX26" fmla="*/ 0 w 11757"/>
              <a:gd name="connsiteY26" fmla="*/ 9514 h 10000"/>
              <a:gd name="connsiteX27" fmla="*/ 1444 w 11757"/>
              <a:gd name="connsiteY27" fmla="*/ 9179 h 10000"/>
              <a:gd name="connsiteX28" fmla="*/ 2171 w 11757"/>
              <a:gd name="connsiteY28" fmla="*/ 9357 h 10000"/>
              <a:gd name="connsiteX29" fmla="*/ 2323 w 11757"/>
              <a:gd name="connsiteY29" fmla="*/ 9239 h 10000"/>
              <a:gd name="connsiteX30" fmla="*/ 2474 w 11757"/>
              <a:gd name="connsiteY30" fmla="*/ 9284 h 10000"/>
              <a:gd name="connsiteX31" fmla="*/ 2791 w 11757"/>
              <a:gd name="connsiteY31" fmla="*/ 9679 h 10000"/>
              <a:gd name="connsiteX32" fmla="*/ 2727 w 11757"/>
              <a:gd name="connsiteY32" fmla="*/ 9351 h 10000"/>
              <a:gd name="connsiteX33" fmla="*/ 2969 w 11757"/>
              <a:gd name="connsiteY33" fmla="*/ 9532 h 10000"/>
              <a:gd name="connsiteX34" fmla="*/ 3272 w 11757"/>
              <a:gd name="connsiteY34" fmla="*/ 9662 h 10000"/>
              <a:gd name="connsiteX35" fmla="*/ 3636 w 11757"/>
              <a:gd name="connsiteY35" fmla="*/ 9740 h 10000"/>
              <a:gd name="connsiteX36" fmla="*/ 4333 w 11757"/>
              <a:gd name="connsiteY36" fmla="*/ 9922 h 10000"/>
              <a:gd name="connsiteX37" fmla="*/ 5181 w 11757"/>
              <a:gd name="connsiteY37" fmla="*/ 10000 h 10000"/>
              <a:gd name="connsiteX38" fmla="*/ 6060 w 11757"/>
              <a:gd name="connsiteY38" fmla="*/ 10000 h 10000"/>
              <a:gd name="connsiteX39" fmla="*/ 6060 w 11757"/>
              <a:gd name="connsiteY39" fmla="*/ 10000 h 10000"/>
              <a:gd name="connsiteX40" fmla="*/ 6060 w 11757"/>
              <a:gd name="connsiteY40" fmla="*/ 10000 h 10000"/>
              <a:gd name="connsiteX41" fmla="*/ 6999 w 11757"/>
              <a:gd name="connsiteY41" fmla="*/ 9974 h 10000"/>
              <a:gd name="connsiteX42" fmla="*/ 8030 w 11757"/>
              <a:gd name="connsiteY42" fmla="*/ 9844 h 10000"/>
              <a:gd name="connsiteX43" fmla="*/ 8484 w 11757"/>
              <a:gd name="connsiteY43" fmla="*/ 9740 h 10000"/>
              <a:gd name="connsiteX44" fmla="*/ 8999 w 11757"/>
              <a:gd name="connsiteY44" fmla="*/ 9610 h 10000"/>
              <a:gd name="connsiteX45" fmla="*/ 9454 w 11757"/>
              <a:gd name="connsiteY45" fmla="*/ 9455 h 10000"/>
              <a:gd name="connsiteX46" fmla="*/ 9848 w 11757"/>
              <a:gd name="connsiteY46" fmla="*/ 9273 h 10000"/>
              <a:gd name="connsiteX47" fmla="*/ 10242 w 11757"/>
              <a:gd name="connsiteY47" fmla="*/ 9091 h 10000"/>
              <a:gd name="connsiteX48" fmla="*/ 10666 w 11757"/>
              <a:gd name="connsiteY48" fmla="*/ 8831 h 10000"/>
              <a:gd name="connsiteX49" fmla="*/ 10969 w 11757"/>
              <a:gd name="connsiteY49" fmla="*/ 8571 h 10000"/>
              <a:gd name="connsiteX50" fmla="*/ 11272 w 11757"/>
              <a:gd name="connsiteY50" fmla="*/ 8312 h 10000"/>
              <a:gd name="connsiteX51" fmla="*/ 11454 w 11757"/>
              <a:gd name="connsiteY51" fmla="*/ 8026 h 10000"/>
              <a:gd name="connsiteX52" fmla="*/ 11605 w 11757"/>
              <a:gd name="connsiteY52" fmla="*/ 7662 h 10000"/>
              <a:gd name="connsiteX53" fmla="*/ 11757 w 11757"/>
              <a:gd name="connsiteY53" fmla="*/ 7325 h 10000"/>
              <a:gd name="connsiteX54" fmla="*/ 11757 w 11757"/>
              <a:gd name="connsiteY54" fmla="*/ 6935 h 10000"/>
              <a:gd name="connsiteX55" fmla="*/ 11757 w 11757"/>
              <a:gd name="connsiteY55" fmla="*/ 5714 h 10000"/>
              <a:gd name="connsiteX0" fmla="*/ 11151 w 11151"/>
              <a:gd name="connsiteY0" fmla="*/ 5714 h 10000"/>
              <a:gd name="connsiteX1" fmla="*/ 11151 w 11151"/>
              <a:gd name="connsiteY1" fmla="*/ 5714 h 10000"/>
              <a:gd name="connsiteX2" fmla="*/ 9333 w 11151"/>
              <a:gd name="connsiteY2" fmla="*/ 2909 h 10000"/>
              <a:gd name="connsiteX3" fmla="*/ 8636 w 11151"/>
              <a:gd name="connsiteY3" fmla="*/ 1896 h 10000"/>
              <a:gd name="connsiteX4" fmla="*/ 8030 w 11151"/>
              <a:gd name="connsiteY4" fmla="*/ 1169 h 10000"/>
              <a:gd name="connsiteX5" fmla="*/ 7757 w 11151"/>
              <a:gd name="connsiteY5" fmla="*/ 857 h 10000"/>
              <a:gd name="connsiteX6" fmla="*/ 7454 w 11151"/>
              <a:gd name="connsiteY6" fmla="*/ 597 h 10000"/>
              <a:gd name="connsiteX7" fmla="*/ 7151 w 11151"/>
              <a:gd name="connsiteY7" fmla="*/ 390 h 10000"/>
              <a:gd name="connsiteX8" fmla="*/ 6848 w 11151"/>
              <a:gd name="connsiteY8" fmla="*/ 260 h 10000"/>
              <a:gd name="connsiteX9" fmla="*/ 6515 w 11151"/>
              <a:gd name="connsiteY9" fmla="*/ 130 h 10000"/>
              <a:gd name="connsiteX10" fmla="*/ 6151 w 11151"/>
              <a:gd name="connsiteY10" fmla="*/ 52 h 10000"/>
              <a:gd name="connsiteX11" fmla="*/ 5757 w 11151"/>
              <a:gd name="connsiteY11" fmla="*/ 0 h 10000"/>
              <a:gd name="connsiteX12" fmla="*/ 5303 w 11151"/>
              <a:gd name="connsiteY12" fmla="*/ 0 h 10000"/>
              <a:gd name="connsiteX13" fmla="*/ 3333 w 11151"/>
              <a:gd name="connsiteY13" fmla="*/ 390 h 10000"/>
              <a:gd name="connsiteX14" fmla="*/ 3333 w 11151"/>
              <a:gd name="connsiteY14" fmla="*/ 390 h 10000"/>
              <a:gd name="connsiteX15" fmla="*/ 3030 w 11151"/>
              <a:gd name="connsiteY15" fmla="*/ 649 h 10000"/>
              <a:gd name="connsiteX16" fmla="*/ 2727 w 11151"/>
              <a:gd name="connsiteY16" fmla="*/ 909 h 10000"/>
              <a:gd name="connsiteX17" fmla="*/ 2363 w 11151"/>
              <a:gd name="connsiteY17" fmla="*/ 1247 h 10000"/>
              <a:gd name="connsiteX18" fmla="*/ 1999 w 11151"/>
              <a:gd name="connsiteY18" fmla="*/ 1688 h 10000"/>
              <a:gd name="connsiteX19" fmla="*/ 1696 w 11151"/>
              <a:gd name="connsiteY19" fmla="*/ 2208 h 10000"/>
              <a:gd name="connsiteX20" fmla="*/ 1545 w 11151"/>
              <a:gd name="connsiteY20" fmla="*/ 2519 h 10000"/>
              <a:gd name="connsiteX21" fmla="*/ 1454 w 11151"/>
              <a:gd name="connsiteY21" fmla="*/ 2805 h 10000"/>
              <a:gd name="connsiteX22" fmla="*/ 1393 w 11151"/>
              <a:gd name="connsiteY22" fmla="*/ 3117 h 10000"/>
              <a:gd name="connsiteX23" fmla="*/ 1363 w 11151"/>
              <a:gd name="connsiteY23" fmla="*/ 3455 h 10000"/>
              <a:gd name="connsiteX24" fmla="*/ 1151 w 11151"/>
              <a:gd name="connsiteY24" fmla="*/ 7403 h 10000"/>
              <a:gd name="connsiteX25" fmla="*/ 545 w 11151"/>
              <a:gd name="connsiteY25" fmla="*/ 7511 h 10000"/>
              <a:gd name="connsiteX26" fmla="*/ 0 w 11151"/>
              <a:gd name="connsiteY26" fmla="*/ 8922 h 10000"/>
              <a:gd name="connsiteX27" fmla="*/ 838 w 11151"/>
              <a:gd name="connsiteY27" fmla="*/ 9179 h 10000"/>
              <a:gd name="connsiteX28" fmla="*/ 1565 w 11151"/>
              <a:gd name="connsiteY28" fmla="*/ 9357 h 10000"/>
              <a:gd name="connsiteX29" fmla="*/ 1717 w 11151"/>
              <a:gd name="connsiteY29" fmla="*/ 9239 h 10000"/>
              <a:gd name="connsiteX30" fmla="*/ 1868 w 11151"/>
              <a:gd name="connsiteY30" fmla="*/ 9284 h 10000"/>
              <a:gd name="connsiteX31" fmla="*/ 2185 w 11151"/>
              <a:gd name="connsiteY31" fmla="*/ 9679 h 10000"/>
              <a:gd name="connsiteX32" fmla="*/ 2121 w 11151"/>
              <a:gd name="connsiteY32" fmla="*/ 9351 h 10000"/>
              <a:gd name="connsiteX33" fmla="*/ 2363 w 11151"/>
              <a:gd name="connsiteY33" fmla="*/ 9532 h 10000"/>
              <a:gd name="connsiteX34" fmla="*/ 2666 w 11151"/>
              <a:gd name="connsiteY34" fmla="*/ 9662 h 10000"/>
              <a:gd name="connsiteX35" fmla="*/ 3030 w 11151"/>
              <a:gd name="connsiteY35" fmla="*/ 9740 h 10000"/>
              <a:gd name="connsiteX36" fmla="*/ 3727 w 11151"/>
              <a:gd name="connsiteY36" fmla="*/ 9922 h 10000"/>
              <a:gd name="connsiteX37" fmla="*/ 4575 w 11151"/>
              <a:gd name="connsiteY37" fmla="*/ 10000 h 10000"/>
              <a:gd name="connsiteX38" fmla="*/ 5454 w 11151"/>
              <a:gd name="connsiteY38" fmla="*/ 10000 h 10000"/>
              <a:gd name="connsiteX39" fmla="*/ 5454 w 11151"/>
              <a:gd name="connsiteY39" fmla="*/ 10000 h 10000"/>
              <a:gd name="connsiteX40" fmla="*/ 5454 w 11151"/>
              <a:gd name="connsiteY40" fmla="*/ 10000 h 10000"/>
              <a:gd name="connsiteX41" fmla="*/ 6393 w 11151"/>
              <a:gd name="connsiteY41" fmla="*/ 9974 h 10000"/>
              <a:gd name="connsiteX42" fmla="*/ 7424 w 11151"/>
              <a:gd name="connsiteY42" fmla="*/ 9844 h 10000"/>
              <a:gd name="connsiteX43" fmla="*/ 7878 w 11151"/>
              <a:gd name="connsiteY43" fmla="*/ 9740 h 10000"/>
              <a:gd name="connsiteX44" fmla="*/ 8393 w 11151"/>
              <a:gd name="connsiteY44" fmla="*/ 9610 h 10000"/>
              <a:gd name="connsiteX45" fmla="*/ 8848 w 11151"/>
              <a:gd name="connsiteY45" fmla="*/ 9455 h 10000"/>
              <a:gd name="connsiteX46" fmla="*/ 9242 w 11151"/>
              <a:gd name="connsiteY46" fmla="*/ 9273 h 10000"/>
              <a:gd name="connsiteX47" fmla="*/ 9636 w 11151"/>
              <a:gd name="connsiteY47" fmla="*/ 9091 h 10000"/>
              <a:gd name="connsiteX48" fmla="*/ 10060 w 11151"/>
              <a:gd name="connsiteY48" fmla="*/ 8831 h 10000"/>
              <a:gd name="connsiteX49" fmla="*/ 10363 w 11151"/>
              <a:gd name="connsiteY49" fmla="*/ 8571 h 10000"/>
              <a:gd name="connsiteX50" fmla="*/ 10666 w 11151"/>
              <a:gd name="connsiteY50" fmla="*/ 8312 h 10000"/>
              <a:gd name="connsiteX51" fmla="*/ 10848 w 11151"/>
              <a:gd name="connsiteY51" fmla="*/ 8026 h 10000"/>
              <a:gd name="connsiteX52" fmla="*/ 10999 w 11151"/>
              <a:gd name="connsiteY52" fmla="*/ 7662 h 10000"/>
              <a:gd name="connsiteX53" fmla="*/ 11151 w 11151"/>
              <a:gd name="connsiteY53" fmla="*/ 7325 h 10000"/>
              <a:gd name="connsiteX54" fmla="*/ 11151 w 11151"/>
              <a:gd name="connsiteY54" fmla="*/ 6935 h 10000"/>
              <a:gd name="connsiteX55" fmla="*/ 11151 w 11151"/>
              <a:gd name="connsiteY55" fmla="*/ 5714 h 10000"/>
              <a:gd name="connsiteX0" fmla="*/ 11200 w 11200"/>
              <a:gd name="connsiteY0" fmla="*/ 5714 h 10000"/>
              <a:gd name="connsiteX1" fmla="*/ 11200 w 11200"/>
              <a:gd name="connsiteY1" fmla="*/ 5714 h 10000"/>
              <a:gd name="connsiteX2" fmla="*/ 9382 w 11200"/>
              <a:gd name="connsiteY2" fmla="*/ 2909 h 10000"/>
              <a:gd name="connsiteX3" fmla="*/ 8685 w 11200"/>
              <a:gd name="connsiteY3" fmla="*/ 1896 h 10000"/>
              <a:gd name="connsiteX4" fmla="*/ 8079 w 11200"/>
              <a:gd name="connsiteY4" fmla="*/ 1169 h 10000"/>
              <a:gd name="connsiteX5" fmla="*/ 7806 w 11200"/>
              <a:gd name="connsiteY5" fmla="*/ 857 h 10000"/>
              <a:gd name="connsiteX6" fmla="*/ 7503 w 11200"/>
              <a:gd name="connsiteY6" fmla="*/ 597 h 10000"/>
              <a:gd name="connsiteX7" fmla="*/ 7200 w 11200"/>
              <a:gd name="connsiteY7" fmla="*/ 390 h 10000"/>
              <a:gd name="connsiteX8" fmla="*/ 6897 w 11200"/>
              <a:gd name="connsiteY8" fmla="*/ 260 h 10000"/>
              <a:gd name="connsiteX9" fmla="*/ 6564 w 11200"/>
              <a:gd name="connsiteY9" fmla="*/ 130 h 10000"/>
              <a:gd name="connsiteX10" fmla="*/ 6200 w 11200"/>
              <a:gd name="connsiteY10" fmla="*/ 52 h 10000"/>
              <a:gd name="connsiteX11" fmla="*/ 5806 w 11200"/>
              <a:gd name="connsiteY11" fmla="*/ 0 h 10000"/>
              <a:gd name="connsiteX12" fmla="*/ 5352 w 11200"/>
              <a:gd name="connsiteY12" fmla="*/ 0 h 10000"/>
              <a:gd name="connsiteX13" fmla="*/ 3382 w 11200"/>
              <a:gd name="connsiteY13" fmla="*/ 390 h 10000"/>
              <a:gd name="connsiteX14" fmla="*/ 3382 w 11200"/>
              <a:gd name="connsiteY14" fmla="*/ 390 h 10000"/>
              <a:gd name="connsiteX15" fmla="*/ 3079 w 11200"/>
              <a:gd name="connsiteY15" fmla="*/ 649 h 10000"/>
              <a:gd name="connsiteX16" fmla="*/ 2776 w 11200"/>
              <a:gd name="connsiteY16" fmla="*/ 909 h 10000"/>
              <a:gd name="connsiteX17" fmla="*/ 2412 w 11200"/>
              <a:gd name="connsiteY17" fmla="*/ 1247 h 10000"/>
              <a:gd name="connsiteX18" fmla="*/ 2048 w 11200"/>
              <a:gd name="connsiteY18" fmla="*/ 1688 h 10000"/>
              <a:gd name="connsiteX19" fmla="*/ 1745 w 11200"/>
              <a:gd name="connsiteY19" fmla="*/ 2208 h 10000"/>
              <a:gd name="connsiteX20" fmla="*/ 1594 w 11200"/>
              <a:gd name="connsiteY20" fmla="*/ 2519 h 10000"/>
              <a:gd name="connsiteX21" fmla="*/ 1503 w 11200"/>
              <a:gd name="connsiteY21" fmla="*/ 2805 h 10000"/>
              <a:gd name="connsiteX22" fmla="*/ 1442 w 11200"/>
              <a:gd name="connsiteY22" fmla="*/ 3117 h 10000"/>
              <a:gd name="connsiteX23" fmla="*/ 1412 w 11200"/>
              <a:gd name="connsiteY23" fmla="*/ 3455 h 10000"/>
              <a:gd name="connsiteX24" fmla="*/ 1200 w 11200"/>
              <a:gd name="connsiteY24" fmla="*/ 7403 h 10000"/>
              <a:gd name="connsiteX25" fmla="*/ 594 w 11200"/>
              <a:gd name="connsiteY25" fmla="*/ 7511 h 10000"/>
              <a:gd name="connsiteX26" fmla="*/ 49 w 11200"/>
              <a:gd name="connsiteY26" fmla="*/ 8922 h 10000"/>
              <a:gd name="connsiteX27" fmla="*/ 887 w 11200"/>
              <a:gd name="connsiteY27" fmla="*/ 9179 h 10000"/>
              <a:gd name="connsiteX28" fmla="*/ 1614 w 11200"/>
              <a:gd name="connsiteY28" fmla="*/ 9357 h 10000"/>
              <a:gd name="connsiteX29" fmla="*/ 1766 w 11200"/>
              <a:gd name="connsiteY29" fmla="*/ 9239 h 10000"/>
              <a:gd name="connsiteX30" fmla="*/ 1917 w 11200"/>
              <a:gd name="connsiteY30" fmla="*/ 9284 h 10000"/>
              <a:gd name="connsiteX31" fmla="*/ 2234 w 11200"/>
              <a:gd name="connsiteY31" fmla="*/ 9679 h 10000"/>
              <a:gd name="connsiteX32" fmla="*/ 2170 w 11200"/>
              <a:gd name="connsiteY32" fmla="*/ 9351 h 10000"/>
              <a:gd name="connsiteX33" fmla="*/ 2412 w 11200"/>
              <a:gd name="connsiteY33" fmla="*/ 9532 h 10000"/>
              <a:gd name="connsiteX34" fmla="*/ 2715 w 11200"/>
              <a:gd name="connsiteY34" fmla="*/ 9662 h 10000"/>
              <a:gd name="connsiteX35" fmla="*/ 3079 w 11200"/>
              <a:gd name="connsiteY35" fmla="*/ 9740 h 10000"/>
              <a:gd name="connsiteX36" fmla="*/ 3776 w 11200"/>
              <a:gd name="connsiteY36" fmla="*/ 9922 h 10000"/>
              <a:gd name="connsiteX37" fmla="*/ 4624 w 11200"/>
              <a:gd name="connsiteY37" fmla="*/ 10000 h 10000"/>
              <a:gd name="connsiteX38" fmla="*/ 5503 w 11200"/>
              <a:gd name="connsiteY38" fmla="*/ 10000 h 10000"/>
              <a:gd name="connsiteX39" fmla="*/ 5503 w 11200"/>
              <a:gd name="connsiteY39" fmla="*/ 10000 h 10000"/>
              <a:gd name="connsiteX40" fmla="*/ 5503 w 11200"/>
              <a:gd name="connsiteY40" fmla="*/ 10000 h 10000"/>
              <a:gd name="connsiteX41" fmla="*/ 6442 w 11200"/>
              <a:gd name="connsiteY41" fmla="*/ 9974 h 10000"/>
              <a:gd name="connsiteX42" fmla="*/ 7473 w 11200"/>
              <a:gd name="connsiteY42" fmla="*/ 9844 h 10000"/>
              <a:gd name="connsiteX43" fmla="*/ 7927 w 11200"/>
              <a:gd name="connsiteY43" fmla="*/ 9740 h 10000"/>
              <a:gd name="connsiteX44" fmla="*/ 8442 w 11200"/>
              <a:gd name="connsiteY44" fmla="*/ 9610 h 10000"/>
              <a:gd name="connsiteX45" fmla="*/ 8897 w 11200"/>
              <a:gd name="connsiteY45" fmla="*/ 9455 h 10000"/>
              <a:gd name="connsiteX46" fmla="*/ 9291 w 11200"/>
              <a:gd name="connsiteY46" fmla="*/ 9273 h 10000"/>
              <a:gd name="connsiteX47" fmla="*/ 9685 w 11200"/>
              <a:gd name="connsiteY47" fmla="*/ 9091 h 10000"/>
              <a:gd name="connsiteX48" fmla="*/ 10109 w 11200"/>
              <a:gd name="connsiteY48" fmla="*/ 8831 h 10000"/>
              <a:gd name="connsiteX49" fmla="*/ 10412 w 11200"/>
              <a:gd name="connsiteY49" fmla="*/ 8571 h 10000"/>
              <a:gd name="connsiteX50" fmla="*/ 10715 w 11200"/>
              <a:gd name="connsiteY50" fmla="*/ 8312 h 10000"/>
              <a:gd name="connsiteX51" fmla="*/ 10897 w 11200"/>
              <a:gd name="connsiteY51" fmla="*/ 8026 h 10000"/>
              <a:gd name="connsiteX52" fmla="*/ 11048 w 11200"/>
              <a:gd name="connsiteY52" fmla="*/ 7662 h 10000"/>
              <a:gd name="connsiteX53" fmla="*/ 11200 w 11200"/>
              <a:gd name="connsiteY53" fmla="*/ 7325 h 10000"/>
              <a:gd name="connsiteX54" fmla="*/ 11200 w 11200"/>
              <a:gd name="connsiteY54" fmla="*/ 6935 h 10000"/>
              <a:gd name="connsiteX55" fmla="*/ 11200 w 11200"/>
              <a:gd name="connsiteY55" fmla="*/ 5714 h 10000"/>
              <a:gd name="connsiteX0" fmla="*/ 10803 w 10803"/>
              <a:gd name="connsiteY0" fmla="*/ 5714 h 10000"/>
              <a:gd name="connsiteX1" fmla="*/ 10803 w 10803"/>
              <a:gd name="connsiteY1" fmla="*/ 5714 h 10000"/>
              <a:gd name="connsiteX2" fmla="*/ 8985 w 10803"/>
              <a:gd name="connsiteY2" fmla="*/ 2909 h 10000"/>
              <a:gd name="connsiteX3" fmla="*/ 8288 w 10803"/>
              <a:gd name="connsiteY3" fmla="*/ 1896 h 10000"/>
              <a:gd name="connsiteX4" fmla="*/ 7682 w 10803"/>
              <a:gd name="connsiteY4" fmla="*/ 1169 h 10000"/>
              <a:gd name="connsiteX5" fmla="*/ 7409 w 10803"/>
              <a:gd name="connsiteY5" fmla="*/ 857 h 10000"/>
              <a:gd name="connsiteX6" fmla="*/ 7106 w 10803"/>
              <a:gd name="connsiteY6" fmla="*/ 597 h 10000"/>
              <a:gd name="connsiteX7" fmla="*/ 6803 w 10803"/>
              <a:gd name="connsiteY7" fmla="*/ 390 h 10000"/>
              <a:gd name="connsiteX8" fmla="*/ 6500 w 10803"/>
              <a:gd name="connsiteY8" fmla="*/ 260 h 10000"/>
              <a:gd name="connsiteX9" fmla="*/ 6167 w 10803"/>
              <a:gd name="connsiteY9" fmla="*/ 130 h 10000"/>
              <a:gd name="connsiteX10" fmla="*/ 5803 w 10803"/>
              <a:gd name="connsiteY10" fmla="*/ 52 h 10000"/>
              <a:gd name="connsiteX11" fmla="*/ 5409 w 10803"/>
              <a:gd name="connsiteY11" fmla="*/ 0 h 10000"/>
              <a:gd name="connsiteX12" fmla="*/ 4955 w 10803"/>
              <a:gd name="connsiteY12" fmla="*/ 0 h 10000"/>
              <a:gd name="connsiteX13" fmla="*/ 2985 w 10803"/>
              <a:gd name="connsiteY13" fmla="*/ 390 h 10000"/>
              <a:gd name="connsiteX14" fmla="*/ 2985 w 10803"/>
              <a:gd name="connsiteY14" fmla="*/ 390 h 10000"/>
              <a:gd name="connsiteX15" fmla="*/ 2682 w 10803"/>
              <a:gd name="connsiteY15" fmla="*/ 649 h 10000"/>
              <a:gd name="connsiteX16" fmla="*/ 2379 w 10803"/>
              <a:gd name="connsiteY16" fmla="*/ 909 h 10000"/>
              <a:gd name="connsiteX17" fmla="*/ 2015 w 10803"/>
              <a:gd name="connsiteY17" fmla="*/ 1247 h 10000"/>
              <a:gd name="connsiteX18" fmla="*/ 1651 w 10803"/>
              <a:gd name="connsiteY18" fmla="*/ 1688 h 10000"/>
              <a:gd name="connsiteX19" fmla="*/ 1348 w 10803"/>
              <a:gd name="connsiteY19" fmla="*/ 2208 h 10000"/>
              <a:gd name="connsiteX20" fmla="*/ 1197 w 10803"/>
              <a:gd name="connsiteY20" fmla="*/ 2519 h 10000"/>
              <a:gd name="connsiteX21" fmla="*/ 1106 w 10803"/>
              <a:gd name="connsiteY21" fmla="*/ 2805 h 10000"/>
              <a:gd name="connsiteX22" fmla="*/ 1045 w 10803"/>
              <a:gd name="connsiteY22" fmla="*/ 3117 h 10000"/>
              <a:gd name="connsiteX23" fmla="*/ 1015 w 10803"/>
              <a:gd name="connsiteY23" fmla="*/ 3455 h 10000"/>
              <a:gd name="connsiteX24" fmla="*/ 803 w 10803"/>
              <a:gd name="connsiteY24" fmla="*/ 7403 h 10000"/>
              <a:gd name="connsiteX25" fmla="*/ 197 w 10803"/>
              <a:gd name="connsiteY25" fmla="*/ 7511 h 10000"/>
              <a:gd name="connsiteX26" fmla="*/ 123 w 10803"/>
              <a:gd name="connsiteY26" fmla="*/ 8922 h 10000"/>
              <a:gd name="connsiteX27" fmla="*/ 490 w 10803"/>
              <a:gd name="connsiteY27" fmla="*/ 9179 h 10000"/>
              <a:gd name="connsiteX28" fmla="*/ 1217 w 10803"/>
              <a:gd name="connsiteY28" fmla="*/ 9357 h 10000"/>
              <a:gd name="connsiteX29" fmla="*/ 1369 w 10803"/>
              <a:gd name="connsiteY29" fmla="*/ 9239 h 10000"/>
              <a:gd name="connsiteX30" fmla="*/ 1520 w 10803"/>
              <a:gd name="connsiteY30" fmla="*/ 9284 h 10000"/>
              <a:gd name="connsiteX31" fmla="*/ 1837 w 10803"/>
              <a:gd name="connsiteY31" fmla="*/ 9679 h 10000"/>
              <a:gd name="connsiteX32" fmla="*/ 1773 w 10803"/>
              <a:gd name="connsiteY32" fmla="*/ 9351 h 10000"/>
              <a:gd name="connsiteX33" fmla="*/ 2015 w 10803"/>
              <a:gd name="connsiteY33" fmla="*/ 9532 h 10000"/>
              <a:gd name="connsiteX34" fmla="*/ 2318 w 10803"/>
              <a:gd name="connsiteY34" fmla="*/ 9662 h 10000"/>
              <a:gd name="connsiteX35" fmla="*/ 2682 w 10803"/>
              <a:gd name="connsiteY35" fmla="*/ 9740 h 10000"/>
              <a:gd name="connsiteX36" fmla="*/ 3379 w 10803"/>
              <a:gd name="connsiteY36" fmla="*/ 9922 h 10000"/>
              <a:gd name="connsiteX37" fmla="*/ 4227 w 10803"/>
              <a:gd name="connsiteY37" fmla="*/ 10000 h 10000"/>
              <a:gd name="connsiteX38" fmla="*/ 5106 w 10803"/>
              <a:gd name="connsiteY38" fmla="*/ 10000 h 10000"/>
              <a:gd name="connsiteX39" fmla="*/ 5106 w 10803"/>
              <a:gd name="connsiteY39" fmla="*/ 10000 h 10000"/>
              <a:gd name="connsiteX40" fmla="*/ 5106 w 10803"/>
              <a:gd name="connsiteY40" fmla="*/ 10000 h 10000"/>
              <a:gd name="connsiteX41" fmla="*/ 6045 w 10803"/>
              <a:gd name="connsiteY41" fmla="*/ 9974 h 10000"/>
              <a:gd name="connsiteX42" fmla="*/ 7076 w 10803"/>
              <a:gd name="connsiteY42" fmla="*/ 9844 h 10000"/>
              <a:gd name="connsiteX43" fmla="*/ 7530 w 10803"/>
              <a:gd name="connsiteY43" fmla="*/ 9740 h 10000"/>
              <a:gd name="connsiteX44" fmla="*/ 8045 w 10803"/>
              <a:gd name="connsiteY44" fmla="*/ 9610 h 10000"/>
              <a:gd name="connsiteX45" fmla="*/ 8500 w 10803"/>
              <a:gd name="connsiteY45" fmla="*/ 9455 h 10000"/>
              <a:gd name="connsiteX46" fmla="*/ 8894 w 10803"/>
              <a:gd name="connsiteY46" fmla="*/ 9273 h 10000"/>
              <a:gd name="connsiteX47" fmla="*/ 9288 w 10803"/>
              <a:gd name="connsiteY47" fmla="*/ 9091 h 10000"/>
              <a:gd name="connsiteX48" fmla="*/ 9712 w 10803"/>
              <a:gd name="connsiteY48" fmla="*/ 8831 h 10000"/>
              <a:gd name="connsiteX49" fmla="*/ 10015 w 10803"/>
              <a:gd name="connsiteY49" fmla="*/ 8571 h 10000"/>
              <a:gd name="connsiteX50" fmla="*/ 10318 w 10803"/>
              <a:gd name="connsiteY50" fmla="*/ 8312 h 10000"/>
              <a:gd name="connsiteX51" fmla="*/ 10500 w 10803"/>
              <a:gd name="connsiteY51" fmla="*/ 8026 h 10000"/>
              <a:gd name="connsiteX52" fmla="*/ 10651 w 10803"/>
              <a:gd name="connsiteY52" fmla="*/ 7662 h 10000"/>
              <a:gd name="connsiteX53" fmla="*/ 10803 w 10803"/>
              <a:gd name="connsiteY53" fmla="*/ 7325 h 10000"/>
              <a:gd name="connsiteX54" fmla="*/ 10803 w 10803"/>
              <a:gd name="connsiteY54" fmla="*/ 6935 h 10000"/>
              <a:gd name="connsiteX55" fmla="*/ 10803 w 10803"/>
              <a:gd name="connsiteY55" fmla="*/ 5714 h 10000"/>
              <a:gd name="connsiteX0" fmla="*/ 10803 w 10803"/>
              <a:gd name="connsiteY0" fmla="*/ 5714 h 10000"/>
              <a:gd name="connsiteX1" fmla="*/ 10803 w 10803"/>
              <a:gd name="connsiteY1" fmla="*/ 5714 h 10000"/>
              <a:gd name="connsiteX2" fmla="*/ 8985 w 10803"/>
              <a:gd name="connsiteY2" fmla="*/ 2909 h 10000"/>
              <a:gd name="connsiteX3" fmla="*/ 8288 w 10803"/>
              <a:gd name="connsiteY3" fmla="*/ 1896 h 10000"/>
              <a:gd name="connsiteX4" fmla="*/ 7682 w 10803"/>
              <a:gd name="connsiteY4" fmla="*/ 1169 h 10000"/>
              <a:gd name="connsiteX5" fmla="*/ 7409 w 10803"/>
              <a:gd name="connsiteY5" fmla="*/ 857 h 10000"/>
              <a:gd name="connsiteX6" fmla="*/ 7106 w 10803"/>
              <a:gd name="connsiteY6" fmla="*/ 597 h 10000"/>
              <a:gd name="connsiteX7" fmla="*/ 6803 w 10803"/>
              <a:gd name="connsiteY7" fmla="*/ 390 h 10000"/>
              <a:gd name="connsiteX8" fmla="*/ 6500 w 10803"/>
              <a:gd name="connsiteY8" fmla="*/ 260 h 10000"/>
              <a:gd name="connsiteX9" fmla="*/ 6167 w 10803"/>
              <a:gd name="connsiteY9" fmla="*/ 130 h 10000"/>
              <a:gd name="connsiteX10" fmla="*/ 5803 w 10803"/>
              <a:gd name="connsiteY10" fmla="*/ 52 h 10000"/>
              <a:gd name="connsiteX11" fmla="*/ 5409 w 10803"/>
              <a:gd name="connsiteY11" fmla="*/ 0 h 10000"/>
              <a:gd name="connsiteX12" fmla="*/ 4955 w 10803"/>
              <a:gd name="connsiteY12" fmla="*/ 0 h 10000"/>
              <a:gd name="connsiteX13" fmla="*/ 2985 w 10803"/>
              <a:gd name="connsiteY13" fmla="*/ 390 h 10000"/>
              <a:gd name="connsiteX14" fmla="*/ 2985 w 10803"/>
              <a:gd name="connsiteY14" fmla="*/ 390 h 10000"/>
              <a:gd name="connsiteX15" fmla="*/ 2682 w 10803"/>
              <a:gd name="connsiteY15" fmla="*/ 649 h 10000"/>
              <a:gd name="connsiteX16" fmla="*/ 2379 w 10803"/>
              <a:gd name="connsiteY16" fmla="*/ 909 h 10000"/>
              <a:gd name="connsiteX17" fmla="*/ 2015 w 10803"/>
              <a:gd name="connsiteY17" fmla="*/ 1247 h 10000"/>
              <a:gd name="connsiteX18" fmla="*/ 1651 w 10803"/>
              <a:gd name="connsiteY18" fmla="*/ 1688 h 10000"/>
              <a:gd name="connsiteX19" fmla="*/ 1348 w 10803"/>
              <a:gd name="connsiteY19" fmla="*/ 2208 h 10000"/>
              <a:gd name="connsiteX20" fmla="*/ 1197 w 10803"/>
              <a:gd name="connsiteY20" fmla="*/ 2519 h 10000"/>
              <a:gd name="connsiteX21" fmla="*/ 1106 w 10803"/>
              <a:gd name="connsiteY21" fmla="*/ 2805 h 10000"/>
              <a:gd name="connsiteX22" fmla="*/ 1045 w 10803"/>
              <a:gd name="connsiteY22" fmla="*/ 3117 h 10000"/>
              <a:gd name="connsiteX23" fmla="*/ 1015 w 10803"/>
              <a:gd name="connsiteY23" fmla="*/ 3455 h 10000"/>
              <a:gd name="connsiteX24" fmla="*/ 332 w 10803"/>
              <a:gd name="connsiteY24" fmla="*/ 6919 h 10000"/>
              <a:gd name="connsiteX25" fmla="*/ 197 w 10803"/>
              <a:gd name="connsiteY25" fmla="*/ 7511 h 10000"/>
              <a:gd name="connsiteX26" fmla="*/ 123 w 10803"/>
              <a:gd name="connsiteY26" fmla="*/ 8922 h 10000"/>
              <a:gd name="connsiteX27" fmla="*/ 490 w 10803"/>
              <a:gd name="connsiteY27" fmla="*/ 9179 h 10000"/>
              <a:gd name="connsiteX28" fmla="*/ 1217 w 10803"/>
              <a:gd name="connsiteY28" fmla="*/ 9357 h 10000"/>
              <a:gd name="connsiteX29" fmla="*/ 1369 w 10803"/>
              <a:gd name="connsiteY29" fmla="*/ 9239 h 10000"/>
              <a:gd name="connsiteX30" fmla="*/ 1520 w 10803"/>
              <a:gd name="connsiteY30" fmla="*/ 9284 h 10000"/>
              <a:gd name="connsiteX31" fmla="*/ 1837 w 10803"/>
              <a:gd name="connsiteY31" fmla="*/ 9679 h 10000"/>
              <a:gd name="connsiteX32" fmla="*/ 1773 w 10803"/>
              <a:gd name="connsiteY32" fmla="*/ 9351 h 10000"/>
              <a:gd name="connsiteX33" fmla="*/ 2015 w 10803"/>
              <a:gd name="connsiteY33" fmla="*/ 9532 h 10000"/>
              <a:gd name="connsiteX34" fmla="*/ 2318 w 10803"/>
              <a:gd name="connsiteY34" fmla="*/ 9662 h 10000"/>
              <a:gd name="connsiteX35" fmla="*/ 2682 w 10803"/>
              <a:gd name="connsiteY35" fmla="*/ 9740 h 10000"/>
              <a:gd name="connsiteX36" fmla="*/ 3379 w 10803"/>
              <a:gd name="connsiteY36" fmla="*/ 9922 h 10000"/>
              <a:gd name="connsiteX37" fmla="*/ 4227 w 10803"/>
              <a:gd name="connsiteY37" fmla="*/ 10000 h 10000"/>
              <a:gd name="connsiteX38" fmla="*/ 5106 w 10803"/>
              <a:gd name="connsiteY38" fmla="*/ 10000 h 10000"/>
              <a:gd name="connsiteX39" fmla="*/ 5106 w 10803"/>
              <a:gd name="connsiteY39" fmla="*/ 10000 h 10000"/>
              <a:gd name="connsiteX40" fmla="*/ 5106 w 10803"/>
              <a:gd name="connsiteY40" fmla="*/ 10000 h 10000"/>
              <a:gd name="connsiteX41" fmla="*/ 6045 w 10803"/>
              <a:gd name="connsiteY41" fmla="*/ 9974 h 10000"/>
              <a:gd name="connsiteX42" fmla="*/ 7076 w 10803"/>
              <a:gd name="connsiteY42" fmla="*/ 9844 h 10000"/>
              <a:gd name="connsiteX43" fmla="*/ 7530 w 10803"/>
              <a:gd name="connsiteY43" fmla="*/ 9740 h 10000"/>
              <a:gd name="connsiteX44" fmla="*/ 8045 w 10803"/>
              <a:gd name="connsiteY44" fmla="*/ 9610 h 10000"/>
              <a:gd name="connsiteX45" fmla="*/ 8500 w 10803"/>
              <a:gd name="connsiteY45" fmla="*/ 9455 h 10000"/>
              <a:gd name="connsiteX46" fmla="*/ 8894 w 10803"/>
              <a:gd name="connsiteY46" fmla="*/ 9273 h 10000"/>
              <a:gd name="connsiteX47" fmla="*/ 9288 w 10803"/>
              <a:gd name="connsiteY47" fmla="*/ 9091 h 10000"/>
              <a:gd name="connsiteX48" fmla="*/ 9712 w 10803"/>
              <a:gd name="connsiteY48" fmla="*/ 8831 h 10000"/>
              <a:gd name="connsiteX49" fmla="*/ 10015 w 10803"/>
              <a:gd name="connsiteY49" fmla="*/ 8571 h 10000"/>
              <a:gd name="connsiteX50" fmla="*/ 10318 w 10803"/>
              <a:gd name="connsiteY50" fmla="*/ 8312 h 10000"/>
              <a:gd name="connsiteX51" fmla="*/ 10500 w 10803"/>
              <a:gd name="connsiteY51" fmla="*/ 8026 h 10000"/>
              <a:gd name="connsiteX52" fmla="*/ 10651 w 10803"/>
              <a:gd name="connsiteY52" fmla="*/ 7662 h 10000"/>
              <a:gd name="connsiteX53" fmla="*/ 10803 w 10803"/>
              <a:gd name="connsiteY53" fmla="*/ 7325 h 10000"/>
              <a:gd name="connsiteX54" fmla="*/ 10803 w 10803"/>
              <a:gd name="connsiteY54" fmla="*/ 6935 h 10000"/>
              <a:gd name="connsiteX55" fmla="*/ 10803 w 10803"/>
              <a:gd name="connsiteY55" fmla="*/ 5714 h 10000"/>
              <a:gd name="connsiteX0" fmla="*/ 10803 w 10803"/>
              <a:gd name="connsiteY0" fmla="*/ 5714 h 10000"/>
              <a:gd name="connsiteX1" fmla="*/ 10803 w 10803"/>
              <a:gd name="connsiteY1" fmla="*/ 5714 h 10000"/>
              <a:gd name="connsiteX2" fmla="*/ 8985 w 10803"/>
              <a:gd name="connsiteY2" fmla="*/ 2909 h 10000"/>
              <a:gd name="connsiteX3" fmla="*/ 8288 w 10803"/>
              <a:gd name="connsiteY3" fmla="*/ 1896 h 10000"/>
              <a:gd name="connsiteX4" fmla="*/ 7682 w 10803"/>
              <a:gd name="connsiteY4" fmla="*/ 1169 h 10000"/>
              <a:gd name="connsiteX5" fmla="*/ 7409 w 10803"/>
              <a:gd name="connsiteY5" fmla="*/ 857 h 10000"/>
              <a:gd name="connsiteX6" fmla="*/ 7106 w 10803"/>
              <a:gd name="connsiteY6" fmla="*/ 597 h 10000"/>
              <a:gd name="connsiteX7" fmla="*/ 6803 w 10803"/>
              <a:gd name="connsiteY7" fmla="*/ 390 h 10000"/>
              <a:gd name="connsiteX8" fmla="*/ 6500 w 10803"/>
              <a:gd name="connsiteY8" fmla="*/ 260 h 10000"/>
              <a:gd name="connsiteX9" fmla="*/ 6167 w 10803"/>
              <a:gd name="connsiteY9" fmla="*/ 130 h 10000"/>
              <a:gd name="connsiteX10" fmla="*/ 5803 w 10803"/>
              <a:gd name="connsiteY10" fmla="*/ 52 h 10000"/>
              <a:gd name="connsiteX11" fmla="*/ 5409 w 10803"/>
              <a:gd name="connsiteY11" fmla="*/ 0 h 10000"/>
              <a:gd name="connsiteX12" fmla="*/ 4955 w 10803"/>
              <a:gd name="connsiteY12" fmla="*/ 0 h 10000"/>
              <a:gd name="connsiteX13" fmla="*/ 2985 w 10803"/>
              <a:gd name="connsiteY13" fmla="*/ 390 h 10000"/>
              <a:gd name="connsiteX14" fmla="*/ 2985 w 10803"/>
              <a:gd name="connsiteY14" fmla="*/ 390 h 10000"/>
              <a:gd name="connsiteX15" fmla="*/ 2682 w 10803"/>
              <a:gd name="connsiteY15" fmla="*/ 649 h 10000"/>
              <a:gd name="connsiteX16" fmla="*/ 2379 w 10803"/>
              <a:gd name="connsiteY16" fmla="*/ 909 h 10000"/>
              <a:gd name="connsiteX17" fmla="*/ 2015 w 10803"/>
              <a:gd name="connsiteY17" fmla="*/ 1247 h 10000"/>
              <a:gd name="connsiteX18" fmla="*/ 1651 w 10803"/>
              <a:gd name="connsiteY18" fmla="*/ 1688 h 10000"/>
              <a:gd name="connsiteX19" fmla="*/ 1348 w 10803"/>
              <a:gd name="connsiteY19" fmla="*/ 2208 h 10000"/>
              <a:gd name="connsiteX20" fmla="*/ 1197 w 10803"/>
              <a:gd name="connsiteY20" fmla="*/ 2519 h 10000"/>
              <a:gd name="connsiteX21" fmla="*/ 1106 w 10803"/>
              <a:gd name="connsiteY21" fmla="*/ 2805 h 10000"/>
              <a:gd name="connsiteX22" fmla="*/ 1045 w 10803"/>
              <a:gd name="connsiteY22" fmla="*/ 3117 h 10000"/>
              <a:gd name="connsiteX23" fmla="*/ 1015 w 10803"/>
              <a:gd name="connsiteY23" fmla="*/ 3455 h 10000"/>
              <a:gd name="connsiteX24" fmla="*/ 332 w 10803"/>
              <a:gd name="connsiteY24" fmla="*/ 6919 h 10000"/>
              <a:gd name="connsiteX25" fmla="*/ 197 w 10803"/>
              <a:gd name="connsiteY25" fmla="*/ 7511 h 10000"/>
              <a:gd name="connsiteX26" fmla="*/ 123 w 10803"/>
              <a:gd name="connsiteY26" fmla="*/ 8922 h 10000"/>
              <a:gd name="connsiteX27" fmla="*/ 490 w 10803"/>
              <a:gd name="connsiteY27" fmla="*/ 9179 h 10000"/>
              <a:gd name="connsiteX28" fmla="*/ 1217 w 10803"/>
              <a:gd name="connsiteY28" fmla="*/ 9357 h 10000"/>
              <a:gd name="connsiteX29" fmla="*/ 1520 w 10803"/>
              <a:gd name="connsiteY29" fmla="*/ 9284 h 10000"/>
              <a:gd name="connsiteX30" fmla="*/ 1837 w 10803"/>
              <a:gd name="connsiteY30" fmla="*/ 9679 h 10000"/>
              <a:gd name="connsiteX31" fmla="*/ 1773 w 10803"/>
              <a:gd name="connsiteY31" fmla="*/ 9351 h 10000"/>
              <a:gd name="connsiteX32" fmla="*/ 2015 w 10803"/>
              <a:gd name="connsiteY32" fmla="*/ 9532 h 10000"/>
              <a:gd name="connsiteX33" fmla="*/ 2318 w 10803"/>
              <a:gd name="connsiteY33" fmla="*/ 9662 h 10000"/>
              <a:gd name="connsiteX34" fmla="*/ 2682 w 10803"/>
              <a:gd name="connsiteY34" fmla="*/ 9740 h 10000"/>
              <a:gd name="connsiteX35" fmla="*/ 3379 w 10803"/>
              <a:gd name="connsiteY35" fmla="*/ 9922 h 10000"/>
              <a:gd name="connsiteX36" fmla="*/ 4227 w 10803"/>
              <a:gd name="connsiteY36" fmla="*/ 10000 h 10000"/>
              <a:gd name="connsiteX37" fmla="*/ 5106 w 10803"/>
              <a:gd name="connsiteY37" fmla="*/ 10000 h 10000"/>
              <a:gd name="connsiteX38" fmla="*/ 5106 w 10803"/>
              <a:gd name="connsiteY38" fmla="*/ 10000 h 10000"/>
              <a:gd name="connsiteX39" fmla="*/ 5106 w 10803"/>
              <a:gd name="connsiteY39" fmla="*/ 10000 h 10000"/>
              <a:gd name="connsiteX40" fmla="*/ 6045 w 10803"/>
              <a:gd name="connsiteY40" fmla="*/ 9974 h 10000"/>
              <a:gd name="connsiteX41" fmla="*/ 7076 w 10803"/>
              <a:gd name="connsiteY41" fmla="*/ 9844 h 10000"/>
              <a:gd name="connsiteX42" fmla="*/ 7530 w 10803"/>
              <a:gd name="connsiteY42" fmla="*/ 9740 h 10000"/>
              <a:gd name="connsiteX43" fmla="*/ 8045 w 10803"/>
              <a:gd name="connsiteY43" fmla="*/ 9610 h 10000"/>
              <a:gd name="connsiteX44" fmla="*/ 8500 w 10803"/>
              <a:gd name="connsiteY44" fmla="*/ 9455 h 10000"/>
              <a:gd name="connsiteX45" fmla="*/ 8894 w 10803"/>
              <a:gd name="connsiteY45" fmla="*/ 9273 h 10000"/>
              <a:gd name="connsiteX46" fmla="*/ 9288 w 10803"/>
              <a:gd name="connsiteY46" fmla="*/ 9091 h 10000"/>
              <a:gd name="connsiteX47" fmla="*/ 9712 w 10803"/>
              <a:gd name="connsiteY47" fmla="*/ 8831 h 10000"/>
              <a:gd name="connsiteX48" fmla="*/ 10015 w 10803"/>
              <a:gd name="connsiteY48" fmla="*/ 8571 h 10000"/>
              <a:gd name="connsiteX49" fmla="*/ 10318 w 10803"/>
              <a:gd name="connsiteY49" fmla="*/ 8312 h 10000"/>
              <a:gd name="connsiteX50" fmla="*/ 10500 w 10803"/>
              <a:gd name="connsiteY50" fmla="*/ 8026 h 10000"/>
              <a:gd name="connsiteX51" fmla="*/ 10651 w 10803"/>
              <a:gd name="connsiteY51" fmla="*/ 7662 h 10000"/>
              <a:gd name="connsiteX52" fmla="*/ 10803 w 10803"/>
              <a:gd name="connsiteY52" fmla="*/ 7325 h 10000"/>
              <a:gd name="connsiteX53" fmla="*/ 10803 w 10803"/>
              <a:gd name="connsiteY53" fmla="*/ 6935 h 10000"/>
              <a:gd name="connsiteX54" fmla="*/ 10803 w 10803"/>
              <a:gd name="connsiteY54" fmla="*/ 5714 h 10000"/>
              <a:gd name="connsiteX0" fmla="*/ 10803 w 10803"/>
              <a:gd name="connsiteY0" fmla="*/ 5714 h 10000"/>
              <a:gd name="connsiteX1" fmla="*/ 10803 w 10803"/>
              <a:gd name="connsiteY1" fmla="*/ 5714 h 10000"/>
              <a:gd name="connsiteX2" fmla="*/ 8985 w 10803"/>
              <a:gd name="connsiteY2" fmla="*/ 2909 h 10000"/>
              <a:gd name="connsiteX3" fmla="*/ 8288 w 10803"/>
              <a:gd name="connsiteY3" fmla="*/ 1896 h 10000"/>
              <a:gd name="connsiteX4" fmla="*/ 7682 w 10803"/>
              <a:gd name="connsiteY4" fmla="*/ 1169 h 10000"/>
              <a:gd name="connsiteX5" fmla="*/ 7409 w 10803"/>
              <a:gd name="connsiteY5" fmla="*/ 857 h 10000"/>
              <a:gd name="connsiteX6" fmla="*/ 7106 w 10803"/>
              <a:gd name="connsiteY6" fmla="*/ 597 h 10000"/>
              <a:gd name="connsiteX7" fmla="*/ 6803 w 10803"/>
              <a:gd name="connsiteY7" fmla="*/ 390 h 10000"/>
              <a:gd name="connsiteX8" fmla="*/ 6500 w 10803"/>
              <a:gd name="connsiteY8" fmla="*/ 260 h 10000"/>
              <a:gd name="connsiteX9" fmla="*/ 6167 w 10803"/>
              <a:gd name="connsiteY9" fmla="*/ 130 h 10000"/>
              <a:gd name="connsiteX10" fmla="*/ 5803 w 10803"/>
              <a:gd name="connsiteY10" fmla="*/ 52 h 10000"/>
              <a:gd name="connsiteX11" fmla="*/ 5409 w 10803"/>
              <a:gd name="connsiteY11" fmla="*/ 0 h 10000"/>
              <a:gd name="connsiteX12" fmla="*/ 4955 w 10803"/>
              <a:gd name="connsiteY12" fmla="*/ 0 h 10000"/>
              <a:gd name="connsiteX13" fmla="*/ 2985 w 10803"/>
              <a:gd name="connsiteY13" fmla="*/ 390 h 10000"/>
              <a:gd name="connsiteX14" fmla="*/ 2985 w 10803"/>
              <a:gd name="connsiteY14" fmla="*/ 390 h 10000"/>
              <a:gd name="connsiteX15" fmla="*/ 2682 w 10803"/>
              <a:gd name="connsiteY15" fmla="*/ 649 h 10000"/>
              <a:gd name="connsiteX16" fmla="*/ 2379 w 10803"/>
              <a:gd name="connsiteY16" fmla="*/ 909 h 10000"/>
              <a:gd name="connsiteX17" fmla="*/ 2015 w 10803"/>
              <a:gd name="connsiteY17" fmla="*/ 1247 h 10000"/>
              <a:gd name="connsiteX18" fmla="*/ 1651 w 10803"/>
              <a:gd name="connsiteY18" fmla="*/ 1688 h 10000"/>
              <a:gd name="connsiteX19" fmla="*/ 1348 w 10803"/>
              <a:gd name="connsiteY19" fmla="*/ 2208 h 10000"/>
              <a:gd name="connsiteX20" fmla="*/ 1197 w 10803"/>
              <a:gd name="connsiteY20" fmla="*/ 2519 h 10000"/>
              <a:gd name="connsiteX21" fmla="*/ 1106 w 10803"/>
              <a:gd name="connsiteY21" fmla="*/ 2805 h 10000"/>
              <a:gd name="connsiteX22" fmla="*/ 1045 w 10803"/>
              <a:gd name="connsiteY22" fmla="*/ 3117 h 10000"/>
              <a:gd name="connsiteX23" fmla="*/ 1015 w 10803"/>
              <a:gd name="connsiteY23" fmla="*/ 3455 h 10000"/>
              <a:gd name="connsiteX24" fmla="*/ 332 w 10803"/>
              <a:gd name="connsiteY24" fmla="*/ 6919 h 10000"/>
              <a:gd name="connsiteX25" fmla="*/ 197 w 10803"/>
              <a:gd name="connsiteY25" fmla="*/ 7511 h 10000"/>
              <a:gd name="connsiteX26" fmla="*/ 123 w 10803"/>
              <a:gd name="connsiteY26" fmla="*/ 8922 h 10000"/>
              <a:gd name="connsiteX27" fmla="*/ 490 w 10803"/>
              <a:gd name="connsiteY27" fmla="*/ 9179 h 10000"/>
              <a:gd name="connsiteX28" fmla="*/ 1520 w 10803"/>
              <a:gd name="connsiteY28" fmla="*/ 9284 h 10000"/>
              <a:gd name="connsiteX29" fmla="*/ 1837 w 10803"/>
              <a:gd name="connsiteY29" fmla="*/ 9679 h 10000"/>
              <a:gd name="connsiteX30" fmla="*/ 1773 w 10803"/>
              <a:gd name="connsiteY30" fmla="*/ 9351 h 10000"/>
              <a:gd name="connsiteX31" fmla="*/ 2015 w 10803"/>
              <a:gd name="connsiteY31" fmla="*/ 9532 h 10000"/>
              <a:gd name="connsiteX32" fmla="*/ 2318 w 10803"/>
              <a:gd name="connsiteY32" fmla="*/ 9662 h 10000"/>
              <a:gd name="connsiteX33" fmla="*/ 2682 w 10803"/>
              <a:gd name="connsiteY33" fmla="*/ 9740 h 10000"/>
              <a:gd name="connsiteX34" fmla="*/ 3379 w 10803"/>
              <a:gd name="connsiteY34" fmla="*/ 9922 h 10000"/>
              <a:gd name="connsiteX35" fmla="*/ 4227 w 10803"/>
              <a:gd name="connsiteY35" fmla="*/ 10000 h 10000"/>
              <a:gd name="connsiteX36" fmla="*/ 5106 w 10803"/>
              <a:gd name="connsiteY36" fmla="*/ 10000 h 10000"/>
              <a:gd name="connsiteX37" fmla="*/ 5106 w 10803"/>
              <a:gd name="connsiteY37" fmla="*/ 10000 h 10000"/>
              <a:gd name="connsiteX38" fmla="*/ 5106 w 10803"/>
              <a:gd name="connsiteY38" fmla="*/ 10000 h 10000"/>
              <a:gd name="connsiteX39" fmla="*/ 6045 w 10803"/>
              <a:gd name="connsiteY39" fmla="*/ 9974 h 10000"/>
              <a:gd name="connsiteX40" fmla="*/ 7076 w 10803"/>
              <a:gd name="connsiteY40" fmla="*/ 9844 h 10000"/>
              <a:gd name="connsiteX41" fmla="*/ 7530 w 10803"/>
              <a:gd name="connsiteY41" fmla="*/ 9740 h 10000"/>
              <a:gd name="connsiteX42" fmla="*/ 8045 w 10803"/>
              <a:gd name="connsiteY42" fmla="*/ 9610 h 10000"/>
              <a:gd name="connsiteX43" fmla="*/ 8500 w 10803"/>
              <a:gd name="connsiteY43" fmla="*/ 9455 h 10000"/>
              <a:gd name="connsiteX44" fmla="*/ 8894 w 10803"/>
              <a:gd name="connsiteY44" fmla="*/ 9273 h 10000"/>
              <a:gd name="connsiteX45" fmla="*/ 9288 w 10803"/>
              <a:gd name="connsiteY45" fmla="*/ 9091 h 10000"/>
              <a:gd name="connsiteX46" fmla="*/ 9712 w 10803"/>
              <a:gd name="connsiteY46" fmla="*/ 8831 h 10000"/>
              <a:gd name="connsiteX47" fmla="*/ 10015 w 10803"/>
              <a:gd name="connsiteY47" fmla="*/ 8571 h 10000"/>
              <a:gd name="connsiteX48" fmla="*/ 10318 w 10803"/>
              <a:gd name="connsiteY48" fmla="*/ 8312 h 10000"/>
              <a:gd name="connsiteX49" fmla="*/ 10500 w 10803"/>
              <a:gd name="connsiteY49" fmla="*/ 8026 h 10000"/>
              <a:gd name="connsiteX50" fmla="*/ 10651 w 10803"/>
              <a:gd name="connsiteY50" fmla="*/ 7662 h 10000"/>
              <a:gd name="connsiteX51" fmla="*/ 10803 w 10803"/>
              <a:gd name="connsiteY51" fmla="*/ 7325 h 10000"/>
              <a:gd name="connsiteX52" fmla="*/ 10803 w 10803"/>
              <a:gd name="connsiteY52" fmla="*/ 6935 h 10000"/>
              <a:gd name="connsiteX53" fmla="*/ 10803 w 10803"/>
              <a:gd name="connsiteY53" fmla="*/ 5714 h 10000"/>
              <a:gd name="connsiteX0" fmla="*/ 10803 w 10803"/>
              <a:gd name="connsiteY0" fmla="*/ 5714 h 10000"/>
              <a:gd name="connsiteX1" fmla="*/ 10803 w 10803"/>
              <a:gd name="connsiteY1" fmla="*/ 5714 h 10000"/>
              <a:gd name="connsiteX2" fmla="*/ 8985 w 10803"/>
              <a:gd name="connsiteY2" fmla="*/ 2909 h 10000"/>
              <a:gd name="connsiteX3" fmla="*/ 8288 w 10803"/>
              <a:gd name="connsiteY3" fmla="*/ 1896 h 10000"/>
              <a:gd name="connsiteX4" fmla="*/ 7682 w 10803"/>
              <a:gd name="connsiteY4" fmla="*/ 1169 h 10000"/>
              <a:gd name="connsiteX5" fmla="*/ 7409 w 10803"/>
              <a:gd name="connsiteY5" fmla="*/ 857 h 10000"/>
              <a:gd name="connsiteX6" fmla="*/ 7106 w 10803"/>
              <a:gd name="connsiteY6" fmla="*/ 597 h 10000"/>
              <a:gd name="connsiteX7" fmla="*/ 6803 w 10803"/>
              <a:gd name="connsiteY7" fmla="*/ 390 h 10000"/>
              <a:gd name="connsiteX8" fmla="*/ 6500 w 10803"/>
              <a:gd name="connsiteY8" fmla="*/ 260 h 10000"/>
              <a:gd name="connsiteX9" fmla="*/ 6167 w 10803"/>
              <a:gd name="connsiteY9" fmla="*/ 130 h 10000"/>
              <a:gd name="connsiteX10" fmla="*/ 5803 w 10803"/>
              <a:gd name="connsiteY10" fmla="*/ 52 h 10000"/>
              <a:gd name="connsiteX11" fmla="*/ 5409 w 10803"/>
              <a:gd name="connsiteY11" fmla="*/ 0 h 10000"/>
              <a:gd name="connsiteX12" fmla="*/ 4955 w 10803"/>
              <a:gd name="connsiteY12" fmla="*/ 0 h 10000"/>
              <a:gd name="connsiteX13" fmla="*/ 2985 w 10803"/>
              <a:gd name="connsiteY13" fmla="*/ 390 h 10000"/>
              <a:gd name="connsiteX14" fmla="*/ 2985 w 10803"/>
              <a:gd name="connsiteY14" fmla="*/ 390 h 10000"/>
              <a:gd name="connsiteX15" fmla="*/ 2682 w 10803"/>
              <a:gd name="connsiteY15" fmla="*/ 649 h 10000"/>
              <a:gd name="connsiteX16" fmla="*/ 2379 w 10803"/>
              <a:gd name="connsiteY16" fmla="*/ 909 h 10000"/>
              <a:gd name="connsiteX17" fmla="*/ 2015 w 10803"/>
              <a:gd name="connsiteY17" fmla="*/ 1247 h 10000"/>
              <a:gd name="connsiteX18" fmla="*/ 1651 w 10803"/>
              <a:gd name="connsiteY18" fmla="*/ 1688 h 10000"/>
              <a:gd name="connsiteX19" fmla="*/ 1348 w 10803"/>
              <a:gd name="connsiteY19" fmla="*/ 2208 h 10000"/>
              <a:gd name="connsiteX20" fmla="*/ 1197 w 10803"/>
              <a:gd name="connsiteY20" fmla="*/ 2519 h 10000"/>
              <a:gd name="connsiteX21" fmla="*/ 1106 w 10803"/>
              <a:gd name="connsiteY21" fmla="*/ 2805 h 10000"/>
              <a:gd name="connsiteX22" fmla="*/ 1045 w 10803"/>
              <a:gd name="connsiteY22" fmla="*/ 3117 h 10000"/>
              <a:gd name="connsiteX23" fmla="*/ 1015 w 10803"/>
              <a:gd name="connsiteY23" fmla="*/ 3455 h 10000"/>
              <a:gd name="connsiteX24" fmla="*/ 332 w 10803"/>
              <a:gd name="connsiteY24" fmla="*/ 6919 h 10000"/>
              <a:gd name="connsiteX25" fmla="*/ 197 w 10803"/>
              <a:gd name="connsiteY25" fmla="*/ 7511 h 10000"/>
              <a:gd name="connsiteX26" fmla="*/ 123 w 10803"/>
              <a:gd name="connsiteY26" fmla="*/ 8922 h 10000"/>
              <a:gd name="connsiteX27" fmla="*/ 490 w 10803"/>
              <a:gd name="connsiteY27" fmla="*/ 9179 h 10000"/>
              <a:gd name="connsiteX28" fmla="*/ 1837 w 10803"/>
              <a:gd name="connsiteY28" fmla="*/ 9679 h 10000"/>
              <a:gd name="connsiteX29" fmla="*/ 1773 w 10803"/>
              <a:gd name="connsiteY29" fmla="*/ 9351 h 10000"/>
              <a:gd name="connsiteX30" fmla="*/ 2015 w 10803"/>
              <a:gd name="connsiteY30" fmla="*/ 9532 h 10000"/>
              <a:gd name="connsiteX31" fmla="*/ 2318 w 10803"/>
              <a:gd name="connsiteY31" fmla="*/ 9662 h 10000"/>
              <a:gd name="connsiteX32" fmla="*/ 2682 w 10803"/>
              <a:gd name="connsiteY32" fmla="*/ 9740 h 10000"/>
              <a:gd name="connsiteX33" fmla="*/ 3379 w 10803"/>
              <a:gd name="connsiteY33" fmla="*/ 9922 h 10000"/>
              <a:gd name="connsiteX34" fmla="*/ 4227 w 10803"/>
              <a:gd name="connsiteY34" fmla="*/ 10000 h 10000"/>
              <a:gd name="connsiteX35" fmla="*/ 5106 w 10803"/>
              <a:gd name="connsiteY35" fmla="*/ 10000 h 10000"/>
              <a:gd name="connsiteX36" fmla="*/ 5106 w 10803"/>
              <a:gd name="connsiteY36" fmla="*/ 10000 h 10000"/>
              <a:gd name="connsiteX37" fmla="*/ 5106 w 10803"/>
              <a:gd name="connsiteY37" fmla="*/ 10000 h 10000"/>
              <a:gd name="connsiteX38" fmla="*/ 6045 w 10803"/>
              <a:gd name="connsiteY38" fmla="*/ 9974 h 10000"/>
              <a:gd name="connsiteX39" fmla="*/ 7076 w 10803"/>
              <a:gd name="connsiteY39" fmla="*/ 9844 h 10000"/>
              <a:gd name="connsiteX40" fmla="*/ 7530 w 10803"/>
              <a:gd name="connsiteY40" fmla="*/ 9740 h 10000"/>
              <a:gd name="connsiteX41" fmla="*/ 8045 w 10803"/>
              <a:gd name="connsiteY41" fmla="*/ 9610 h 10000"/>
              <a:gd name="connsiteX42" fmla="*/ 8500 w 10803"/>
              <a:gd name="connsiteY42" fmla="*/ 9455 h 10000"/>
              <a:gd name="connsiteX43" fmla="*/ 8894 w 10803"/>
              <a:gd name="connsiteY43" fmla="*/ 9273 h 10000"/>
              <a:gd name="connsiteX44" fmla="*/ 9288 w 10803"/>
              <a:gd name="connsiteY44" fmla="*/ 9091 h 10000"/>
              <a:gd name="connsiteX45" fmla="*/ 9712 w 10803"/>
              <a:gd name="connsiteY45" fmla="*/ 8831 h 10000"/>
              <a:gd name="connsiteX46" fmla="*/ 10015 w 10803"/>
              <a:gd name="connsiteY46" fmla="*/ 8571 h 10000"/>
              <a:gd name="connsiteX47" fmla="*/ 10318 w 10803"/>
              <a:gd name="connsiteY47" fmla="*/ 8312 h 10000"/>
              <a:gd name="connsiteX48" fmla="*/ 10500 w 10803"/>
              <a:gd name="connsiteY48" fmla="*/ 8026 h 10000"/>
              <a:gd name="connsiteX49" fmla="*/ 10651 w 10803"/>
              <a:gd name="connsiteY49" fmla="*/ 7662 h 10000"/>
              <a:gd name="connsiteX50" fmla="*/ 10803 w 10803"/>
              <a:gd name="connsiteY50" fmla="*/ 7325 h 10000"/>
              <a:gd name="connsiteX51" fmla="*/ 10803 w 10803"/>
              <a:gd name="connsiteY51" fmla="*/ 6935 h 10000"/>
              <a:gd name="connsiteX52" fmla="*/ 10803 w 10803"/>
              <a:gd name="connsiteY52" fmla="*/ 5714 h 10000"/>
              <a:gd name="connsiteX0" fmla="*/ 10803 w 10803"/>
              <a:gd name="connsiteY0" fmla="*/ 5714 h 10000"/>
              <a:gd name="connsiteX1" fmla="*/ 10803 w 10803"/>
              <a:gd name="connsiteY1" fmla="*/ 5714 h 10000"/>
              <a:gd name="connsiteX2" fmla="*/ 8985 w 10803"/>
              <a:gd name="connsiteY2" fmla="*/ 2909 h 10000"/>
              <a:gd name="connsiteX3" fmla="*/ 8288 w 10803"/>
              <a:gd name="connsiteY3" fmla="*/ 1896 h 10000"/>
              <a:gd name="connsiteX4" fmla="*/ 7682 w 10803"/>
              <a:gd name="connsiteY4" fmla="*/ 1169 h 10000"/>
              <a:gd name="connsiteX5" fmla="*/ 7409 w 10803"/>
              <a:gd name="connsiteY5" fmla="*/ 857 h 10000"/>
              <a:gd name="connsiteX6" fmla="*/ 7106 w 10803"/>
              <a:gd name="connsiteY6" fmla="*/ 597 h 10000"/>
              <a:gd name="connsiteX7" fmla="*/ 6803 w 10803"/>
              <a:gd name="connsiteY7" fmla="*/ 390 h 10000"/>
              <a:gd name="connsiteX8" fmla="*/ 6500 w 10803"/>
              <a:gd name="connsiteY8" fmla="*/ 260 h 10000"/>
              <a:gd name="connsiteX9" fmla="*/ 6167 w 10803"/>
              <a:gd name="connsiteY9" fmla="*/ 130 h 10000"/>
              <a:gd name="connsiteX10" fmla="*/ 5803 w 10803"/>
              <a:gd name="connsiteY10" fmla="*/ 52 h 10000"/>
              <a:gd name="connsiteX11" fmla="*/ 5409 w 10803"/>
              <a:gd name="connsiteY11" fmla="*/ 0 h 10000"/>
              <a:gd name="connsiteX12" fmla="*/ 4955 w 10803"/>
              <a:gd name="connsiteY12" fmla="*/ 0 h 10000"/>
              <a:gd name="connsiteX13" fmla="*/ 2985 w 10803"/>
              <a:gd name="connsiteY13" fmla="*/ 390 h 10000"/>
              <a:gd name="connsiteX14" fmla="*/ 2985 w 10803"/>
              <a:gd name="connsiteY14" fmla="*/ 390 h 10000"/>
              <a:gd name="connsiteX15" fmla="*/ 2682 w 10803"/>
              <a:gd name="connsiteY15" fmla="*/ 649 h 10000"/>
              <a:gd name="connsiteX16" fmla="*/ 2379 w 10803"/>
              <a:gd name="connsiteY16" fmla="*/ 909 h 10000"/>
              <a:gd name="connsiteX17" fmla="*/ 2015 w 10803"/>
              <a:gd name="connsiteY17" fmla="*/ 1247 h 10000"/>
              <a:gd name="connsiteX18" fmla="*/ 1651 w 10803"/>
              <a:gd name="connsiteY18" fmla="*/ 1688 h 10000"/>
              <a:gd name="connsiteX19" fmla="*/ 1348 w 10803"/>
              <a:gd name="connsiteY19" fmla="*/ 2208 h 10000"/>
              <a:gd name="connsiteX20" fmla="*/ 1197 w 10803"/>
              <a:gd name="connsiteY20" fmla="*/ 2519 h 10000"/>
              <a:gd name="connsiteX21" fmla="*/ 1106 w 10803"/>
              <a:gd name="connsiteY21" fmla="*/ 2805 h 10000"/>
              <a:gd name="connsiteX22" fmla="*/ 1045 w 10803"/>
              <a:gd name="connsiteY22" fmla="*/ 3117 h 10000"/>
              <a:gd name="connsiteX23" fmla="*/ 1015 w 10803"/>
              <a:gd name="connsiteY23" fmla="*/ 3455 h 10000"/>
              <a:gd name="connsiteX24" fmla="*/ 332 w 10803"/>
              <a:gd name="connsiteY24" fmla="*/ 6919 h 10000"/>
              <a:gd name="connsiteX25" fmla="*/ 197 w 10803"/>
              <a:gd name="connsiteY25" fmla="*/ 7511 h 10000"/>
              <a:gd name="connsiteX26" fmla="*/ 123 w 10803"/>
              <a:gd name="connsiteY26" fmla="*/ 8922 h 10000"/>
              <a:gd name="connsiteX27" fmla="*/ 490 w 10803"/>
              <a:gd name="connsiteY27" fmla="*/ 9179 h 10000"/>
              <a:gd name="connsiteX28" fmla="*/ 1837 w 10803"/>
              <a:gd name="connsiteY28" fmla="*/ 9679 h 10000"/>
              <a:gd name="connsiteX29" fmla="*/ 1773 w 10803"/>
              <a:gd name="connsiteY29" fmla="*/ 9351 h 10000"/>
              <a:gd name="connsiteX30" fmla="*/ 2318 w 10803"/>
              <a:gd name="connsiteY30" fmla="*/ 9662 h 10000"/>
              <a:gd name="connsiteX31" fmla="*/ 2682 w 10803"/>
              <a:gd name="connsiteY31" fmla="*/ 9740 h 10000"/>
              <a:gd name="connsiteX32" fmla="*/ 3379 w 10803"/>
              <a:gd name="connsiteY32" fmla="*/ 9922 h 10000"/>
              <a:gd name="connsiteX33" fmla="*/ 4227 w 10803"/>
              <a:gd name="connsiteY33" fmla="*/ 10000 h 10000"/>
              <a:gd name="connsiteX34" fmla="*/ 5106 w 10803"/>
              <a:gd name="connsiteY34" fmla="*/ 10000 h 10000"/>
              <a:gd name="connsiteX35" fmla="*/ 5106 w 10803"/>
              <a:gd name="connsiteY35" fmla="*/ 10000 h 10000"/>
              <a:gd name="connsiteX36" fmla="*/ 5106 w 10803"/>
              <a:gd name="connsiteY36" fmla="*/ 10000 h 10000"/>
              <a:gd name="connsiteX37" fmla="*/ 6045 w 10803"/>
              <a:gd name="connsiteY37" fmla="*/ 9974 h 10000"/>
              <a:gd name="connsiteX38" fmla="*/ 7076 w 10803"/>
              <a:gd name="connsiteY38" fmla="*/ 9844 h 10000"/>
              <a:gd name="connsiteX39" fmla="*/ 7530 w 10803"/>
              <a:gd name="connsiteY39" fmla="*/ 9740 h 10000"/>
              <a:gd name="connsiteX40" fmla="*/ 8045 w 10803"/>
              <a:gd name="connsiteY40" fmla="*/ 9610 h 10000"/>
              <a:gd name="connsiteX41" fmla="*/ 8500 w 10803"/>
              <a:gd name="connsiteY41" fmla="*/ 9455 h 10000"/>
              <a:gd name="connsiteX42" fmla="*/ 8894 w 10803"/>
              <a:gd name="connsiteY42" fmla="*/ 9273 h 10000"/>
              <a:gd name="connsiteX43" fmla="*/ 9288 w 10803"/>
              <a:gd name="connsiteY43" fmla="*/ 9091 h 10000"/>
              <a:gd name="connsiteX44" fmla="*/ 9712 w 10803"/>
              <a:gd name="connsiteY44" fmla="*/ 8831 h 10000"/>
              <a:gd name="connsiteX45" fmla="*/ 10015 w 10803"/>
              <a:gd name="connsiteY45" fmla="*/ 8571 h 10000"/>
              <a:gd name="connsiteX46" fmla="*/ 10318 w 10803"/>
              <a:gd name="connsiteY46" fmla="*/ 8312 h 10000"/>
              <a:gd name="connsiteX47" fmla="*/ 10500 w 10803"/>
              <a:gd name="connsiteY47" fmla="*/ 8026 h 10000"/>
              <a:gd name="connsiteX48" fmla="*/ 10651 w 10803"/>
              <a:gd name="connsiteY48" fmla="*/ 7662 h 10000"/>
              <a:gd name="connsiteX49" fmla="*/ 10803 w 10803"/>
              <a:gd name="connsiteY49" fmla="*/ 7325 h 10000"/>
              <a:gd name="connsiteX50" fmla="*/ 10803 w 10803"/>
              <a:gd name="connsiteY50" fmla="*/ 6935 h 10000"/>
              <a:gd name="connsiteX51" fmla="*/ 10803 w 10803"/>
              <a:gd name="connsiteY51" fmla="*/ 5714 h 10000"/>
              <a:gd name="connsiteX0" fmla="*/ 10803 w 10803"/>
              <a:gd name="connsiteY0" fmla="*/ 5714 h 10000"/>
              <a:gd name="connsiteX1" fmla="*/ 10803 w 10803"/>
              <a:gd name="connsiteY1" fmla="*/ 5714 h 10000"/>
              <a:gd name="connsiteX2" fmla="*/ 8985 w 10803"/>
              <a:gd name="connsiteY2" fmla="*/ 2909 h 10000"/>
              <a:gd name="connsiteX3" fmla="*/ 8288 w 10803"/>
              <a:gd name="connsiteY3" fmla="*/ 1896 h 10000"/>
              <a:gd name="connsiteX4" fmla="*/ 7682 w 10803"/>
              <a:gd name="connsiteY4" fmla="*/ 1169 h 10000"/>
              <a:gd name="connsiteX5" fmla="*/ 7409 w 10803"/>
              <a:gd name="connsiteY5" fmla="*/ 857 h 10000"/>
              <a:gd name="connsiteX6" fmla="*/ 7106 w 10803"/>
              <a:gd name="connsiteY6" fmla="*/ 597 h 10000"/>
              <a:gd name="connsiteX7" fmla="*/ 6803 w 10803"/>
              <a:gd name="connsiteY7" fmla="*/ 390 h 10000"/>
              <a:gd name="connsiteX8" fmla="*/ 6500 w 10803"/>
              <a:gd name="connsiteY8" fmla="*/ 260 h 10000"/>
              <a:gd name="connsiteX9" fmla="*/ 6167 w 10803"/>
              <a:gd name="connsiteY9" fmla="*/ 130 h 10000"/>
              <a:gd name="connsiteX10" fmla="*/ 5803 w 10803"/>
              <a:gd name="connsiteY10" fmla="*/ 52 h 10000"/>
              <a:gd name="connsiteX11" fmla="*/ 5409 w 10803"/>
              <a:gd name="connsiteY11" fmla="*/ 0 h 10000"/>
              <a:gd name="connsiteX12" fmla="*/ 4955 w 10803"/>
              <a:gd name="connsiteY12" fmla="*/ 0 h 10000"/>
              <a:gd name="connsiteX13" fmla="*/ 2985 w 10803"/>
              <a:gd name="connsiteY13" fmla="*/ 390 h 10000"/>
              <a:gd name="connsiteX14" fmla="*/ 2985 w 10803"/>
              <a:gd name="connsiteY14" fmla="*/ 390 h 10000"/>
              <a:gd name="connsiteX15" fmla="*/ 2682 w 10803"/>
              <a:gd name="connsiteY15" fmla="*/ 649 h 10000"/>
              <a:gd name="connsiteX16" fmla="*/ 2379 w 10803"/>
              <a:gd name="connsiteY16" fmla="*/ 909 h 10000"/>
              <a:gd name="connsiteX17" fmla="*/ 2015 w 10803"/>
              <a:gd name="connsiteY17" fmla="*/ 1247 h 10000"/>
              <a:gd name="connsiteX18" fmla="*/ 1651 w 10803"/>
              <a:gd name="connsiteY18" fmla="*/ 1688 h 10000"/>
              <a:gd name="connsiteX19" fmla="*/ 1348 w 10803"/>
              <a:gd name="connsiteY19" fmla="*/ 2208 h 10000"/>
              <a:gd name="connsiteX20" fmla="*/ 1197 w 10803"/>
              <a:gd name="connsiteY20" fmla="*/ 2519 h 10000"/>
              <a:gd name="connsiteX21" fmla="*/ 1106 w 10803"/>
              <a:gd name="connsiteY21" fmla="*/ 2805 h 10000"/>
              <a:gd name="connsiteX22" fmla="*/ 1045 w 10803"/>
              <a:gd name="connsiteY22" fmla="*/ 3117 h 10000"/>
              <a:gd name="connsiteX23" fmla="*/ 1015 w 10803"/>
              <a:gd name="connsiteY23" fmla="*/ 3455 h 10000"/>
              <a:gd name="connsiteX24" fmla="*/ 332 w 10803"/>
              <a:gd name="connsiteY24" fmla="*/ 6919 h 10000"/>
              <a:gd name="connsiteX25" fmla="*/ 197 w 10803"/>
              <a:gd name="connsiteY25" fmla="*/ 7511 h 10000"/>
              <a:gd name="connsiteX26" fmla="*/ 123 w 10803"/>
              <a:gd name="connsiteY26" fmla="*/ 8922 h 10000"/>
              <a:gd name="connsiteX27" fmla="*/ 490 w 10803"/>
              <a:gd name="connsiteY27" fmla="*/ 9179 h 10000"/>
              <a:gd name="connsiteX28" fmla="*/ 1837 w 10803"/>
              <a:gd name="connsiteY28" fmla="*/ 9679 h 10000"/>
              <a:gd name="connsiteX29" fmla="*/ 2318 w 10803"/>
              <a:gd name="connsiteY29" fmla="*/ 9662 h 10000"/>
              <a:gd name="connsiteX30" fmla="*/ 2682 w 10803"/>
              <a:gd name="connsiteY30" fmla="*/ 9740 h 10000"/>
              <a:gd name="connsiteX31" fmla="*/ 3379 w 10803"/>
              <a:gd name="connsiteY31" fmla="*/ 9922 h 10000"/>
              <a:gd name="connsiteX32" fmla="*/ 4227 w 10803"/>
              <a:gd name="connsiteY32" fmla="*/ 10000 h 10000"/>
              <a:gd name="connsiteX33" fmla="*/ 5106 w 10803"/>
              <a:gd name="connsiteY33" fmla="*/ 10000 h 10000"/>
              <a:gd name="connsiteX34" fmla="*/ 5106 w 10803"/>
              <a:gd name="connsiteY34" fmla="*/ 10000 h 10000"/>
              <a:gd name="connsiteX35" fmla="*/ 5106 w 10803"/>
              <a:gd name="connsiteY35" fmla="*/ 10000 h 10000"/>
              <a:gd name="connsiteX36" fmla="*/ 6045 w 10803"/>
              <a:gd name="connsiteY36" fmla="*/ 9974 h 10000"/>
              <a:gd name="connsiteX37" fmla="*/ 7076 w 10803"/>
              <a:gd name="connsiteY37" fmla="*/ 9844 h 10000"/>
              <a:gd name="connsiteX38" fmla="*/ 7530 w 10803"/>
              <a:gd name="connsiteY38" fmla="*/ 9740 h 10000"/>
              <a:gd name="connsiteX39" fmla="*/ 8045 w 10803"/>
              <a:gd name="connsiteY39" fmla="*/ 9610 h 10000"/>
              <a:gd name="connsiteX40" fmla="*/ 8500 w 10803"/>
              <a:gd name="connsiteY40" fmla="*/ 9455 h 10000"/>
              <a:gd name="connsiteX41" fmla="*/ 8894 w 10803"/>
              <a:gd name="connsiteY41" fmla="*/ 9273 h 10000"/>
              <a:gd name="connsiteX42" fmla="*/ 9288 w 10803"/>
              <a:gd name="connsiteY42" fmla="*/ 9091 h 10000"/>
              <a:gd name="connsiteX43" fmla="*/ 9712 w 10803"/>
              <a:gd name="connsiteY43" fmla="*/ 8831 h 10000"/>
              <a:gd name="connsiteX44" fmla="*/ 10015 w 10803"/>
              <a:gd name="connsiteY44" fmla="*/ 8571 h 10000"/>
              <a:gd name="connsiteX45" fmla="*/ 10318 w 10803"/>
              <a:gd name="connsiteY45" fmla="*/ 8312 h 10000"/>
              <a:gd name="connsiteX46" fmla="*/ 10500 w 10803"/>
              <a:gd name="connsiteY46" fmla="*/ 8026 h 10000"/>
              <a:gd name="connsiteX47" fmla="*/ 10651 w 10803"/>
              <a:gd name="connsiteY47" fmla="*/ 7662 h 10000"/>
              <a:gd name="connsiteX48" fmla="*/ 10803 w 10803"/>
              <a:gd name="connsiteY48" fmla="*/ 7325 h 10000"/>
              <a:gd name="connsiteX49" fmla="*/ 10803 w 10803"/>
              <a:gd name="connsiteY49" fmla="*/ 6935 h 10000"/>
              <a:gd name="connsiteX50" fmla="*/ 10803 w 10803"/>
              <a:gd name="connsiteY50" fmla="*/ 5714 h 10000"/>
              <a:gd name="connsiteX0" fmla="*/ 10803 w 10803"/>
              <a:gd name="connsiteY0" fmla="*/ 5714 h 10000"/>
              <a:gd name="connsiteX1" fmla="*/ 10803 w 10803"/>
              <a:gd name="connsiteY1" fmla="*/ 5714 h 10000"/>
              <a:gd name="connsiteX2" fmla="*/ 8985 w 10803"/>
              <a:gd name="connsiteY2" fmla="*/ 2909 h 10000"/>
              <a:gd name="connsiteX3" fmla="*/ 8288 w 10803"/>
              <a:gd name="connsiteY3" fmla="*/ 1896 h 10000"/>
              <a:gd name="connsiteX4" fmla="*/ 7682 w 10803"/>
              <a:gd name="connsiteY4" fmla="*/ 1169 h 10000"/>
              <a:gd name="connsiteX5" fmla="*/ 7409 w 10803"/>
              <a:gd name="connsiteY5" fmla="*/ 857 h 10000"/>
              <a:gd name="connsiteX6" fmla="*/ 7106 w 10803"/>
              <a:gd name="connsiteY6" fmla="*/ 597 h 10000"/>
              <a:gd name="connsiteX7" fmla="*/ 6803 w 10803"/>
              <a:gd name="connsiteY7" fmla="*/ 390 h 10000"/>
              <a:gd name="connsiteX8" fmla="*/ 6500 w 10803"/>
              <a:gd name="connsiteY8" fmla="*/ 260 h 10000"/>
              <a:gd name="connsiteX9" fmla="*/ 6167 w 10803"/>
              <a:gd name="connsiteY9" fmla="*/ 130 h 10000"/>
              <a:gd name="connsiteX10" fmla="*/ 5803 w 10803"/>
              <a:gd name="connsiteY10" fmla="*/ 52 h 10000"/>
              <a:gd name="connsiteX11" fmla="*/ 5409 w 10803"/>
              <a:gd name="connsiteY11" fmla="*/ 0 h 10000"/>
              <a:gd name="connsiteX12" fmla="*/ 4955 w 10803"/>
              <a:gd name="connsiteY12" fmla="*/ 0 h 10000"/>
              <a:gd name="connsiteX13" fmla="*/ 2985 w 10803"/>
              <a:gd name="connsiteY13" fmla="*/ 390 h 10000"/>
              <a:gd name="connsiteX14" fmla="*/ 2985 w 10803"/>
              <a:gd name="connsiteY14" fmla="*/ 390 h 10000"/>
              <a:gd name="connsiteX15" fmla="*/ 2682 w 10803"/>
              <a:gd name="connsiteY15" fmla="*/ 649 h 10000"/>
              <a:gd name="connsiteX16" fmla="*/ 2379 w 10803"/>
              <a:gd name="connsiteY16" fmla="*/ 909 h 10000"/>
              <a:gd name="connsiteX17" fmla="*/ 2015 w 10803"/>
              <a:gd name="connsiteY17" fmla="*/ 1247 h 10000"/>
              <a:gd name="connsiteX18" fmla="*/ 1651 w 10803"/>
              <a:gd name="connsiteY18" fmla="*/ 1688 h 10000"/>
              <a:gd name="connsiteX19" fmla="*/ 1348 w 10803"/>
              <a:gd name="connsiteY19" fmla="*/ 2208 h 10000"/>
              <a:gd name="connsiteX20" fmla="*/ 1197 w 10803"/>
              <a:gd name="connsiteY20" fmla="*/ 2519 h 10000"/>
              <a:gd name="connsiteX21" fmla="*/ 1106 w 10803"/>
              <a:gd name="connsiteY21" fmla="*/ 2805 h 10000"/>
              <a:gd name="connsiteX22" fmla="*/ 1045 w 10803"/>
              <a:gd name="connsiteY22" fmla="*/ 3117 h 10000"/>
              <a:gd name="connsiteX23" fmla="*/ 1015 w 10803"/>
              <a:gd name="connsiteY23" fmla="*/ 3455 h 10000"/>
              <a:gd name="connsiteX24" fmla="*/ 332 w 10803"/>
              <a:gd name="connsiteY24" fmla="*/ 6919 h 10000"/>
              <a:gd name="connsiteX25" fmla="*/ 197 w 10803"/>
              <a:gd name="connsiteY25" fmla="*/ 7511 h 10000"/>
              <a:gd name="connsiteX26" fmla="*/ 123 w 10803"/>
              <a:gd name="connsiteY26" fmla="*/ 8922 h 10000"/>
              <a:gd name="connsiteX27" fmla="*/ 490 w 10803"/>
              <a:gd name="connsiteY27" fmla="*/ 9179 h 10000"/>
              <a:gd name="connsiteX28" fmla="*/ 2318 w 10803"/>
              <a:gd name="connsiteY28" fmla="*/ 9662 h 10000"/>
              <a:gd name="connsiteX29" fmla="*/ 2682 w 10803"/>
              <a:gd name="connsiteY29" fmla="*/ 9740 h 10000"/>
              <a:gd name="connsiteX30" fmla="*/ 3379 w 10803"/>
              <a:gd name="connsiteY30" fmla="*/ 9922 h 10000"/>
              <a:gd name="connsiteX31" fmla="*/ 4227 w 10803"/>
              <a:gd name="connsiteY31" fmla="*/ 10000 h 10000"/>
              <a:gd name="connsiteX32" fmla="*/ 5106 w 10803"/>
              <a:gd name="connsiteY32" fmla="*/ 10000 h 10000"/>
              <a:gd name="connsiteX33" fmla="*/ 5106 w 10803"/>
              <a:gd name="connsiteY33" fmla="*/ 10000 h 10000"/>
              <a:gd name="connsiteX34" fmla="*/ 5106 w 10803"/>
              <a:gd name="connsiteY34" fmla="*/ 10000 h 10000"/>
              <a:gd name="connsiteX35" fmla="*/ 6045 w 10803"/>
              <a:gd name="connsiteY35" fmla="*/ 9974 h 10000"/>
              <a:gd name="connsiteX36" fmla="*/ 7076 w 10803"/>
              <a:gd name="connsiteY36" fmla="*/ 9844 h 10000"/>
              <a:gd name="connsiteX37" fmla="*/ 7530 w 10803"/>
              <a:gd name="connsiteY37" fmla="*/ 9740 h 10000"/>
              <a:gd name="connsiteX38" fmla="*/ 8045 w 10803"/>
              <a:gd name="connsiteY38" fmla="*/ 9610 h 10000"/>
              <a:gd name="connsiteX39" fmla="*/ 8500 w 10803"/>
              <a:gd name="connsiteY39" fmla="*/ 9455 h 10000"/>
              <a:gd name="connsiteX40" fmla="*/ 8894 w 10803"/>
              <a:gd name="connsiteY40" fmla="*/ 9273 h 10000"/>
              <a:gd name="connsiteX41" fmla="*/ 9288 w 10803"/>
              <a:gd name="connsiteY41" fmla="*/ 9091 h 10000"/>
              <a:gd name="connsiteX42" fmla="*/ 9712 w 10803"/>
              <a:gd name="connsiteY42" fmla="*/ 8831 h 10000"/>
              <a:gd name="connsiteX43" fmla="*/ 10015 w 10803"/>
              <a:gd name="connsiteY43" fmla="*/ 8571 h 10000"/>
              <a:gd name="connsiteX44" fmla="*/ 10318 w 10803"/>
              <a:gd name="connsiteY44" fmla="*/ 8312 h 10000"/>
              <a:gd name="connsiteX45" fmla="*/ 10500 w 10803"/>
              <a:gd name="connsiteY45" fmla="*/ 8026 h 10000"/>
              <a:gd name="connsiteX46" fmla="*/ 10651 w 10803"/>
              <a:gd name="connsiteY46" fmla="*/ 7662 h 10000"/>
              <a:gd name="connsiteX47" fmla="*/ 10803 w 10803"/>
              <a:gd name="connsiteY47" fmla="*/ 7325 h 10000"/>
              <a:gd name="connsiteX48" fmla="*/ 10803 w 10803"/>
              <a:gd name="connsiteY48" fmla="*/ 6935 h 10000"/>
              <a:gd name="connsiteX49" fmla="*/ 10803 w 10803"/>
              <a:gd name="connsiteY49" fmla="*/ 571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803" h="10000">
                <a:moveTo>
                  <a:pt x="10803" y="5714"/>
                </a:moveTo>
                <a:lnTo>
                  <a:pt x="10803" y="5714"/>
                </a:lnTo>
                <a:lnTo>
                  <a:pt x="8985" y="2909"/>
                </a:lnTo>
                <a:lnTo>
                  <a:pt x="8288" y="1896"/>
                </a:lnTo>
                <a:lnTo>
                  <a:pt x="7682" y="1169"/>
                </a:lnTo>
                <a:lnTo>
                  <a:pt x="7409" y="857"/>
                </a:lnTo>
                <a:lnTo>
                  <a:pt x="7106" y="597"/>
                </a:lnTo>
                <a:lnTo>
                  <a:pt x="6803" y="390"/>
                </a:lnTo>
                <a:lnTo>
                  <a:pt x="6500" y="260"/>
                </a:lnTo>
                <a:lnTo>
                  <a:pt x="6167" y="130"/>
                </a:lnTo>
                <a:lnTo>
                  <a:pt x="5803" y="52"/>
                </a:lnTo>
                <a:lnTo>
                  <a:pt x="5409" y="0"/>
                </a:lnTo>
                <a:lnTo>
                  <a:pt x="4955" y="0"/>
                </a:lnTo>
                <a:lnTo>
                  <a:pt x="2985" y="390"/>
                </a:lnTo>
                <a:lnTo>
                  <a:pt x="2985" y="390"/>
                </a:lnTo>
                <a:lnTo>
                  <a:pt x="2682" y="649"/>
                </a:lnTo>
                <a:lnTo>
                  <a:pt x="2379" y="909"/>
                </a:lnTo>
                <a:lnTo>
                  <a:pt x="2015" y="1247"/>
                </a:lnTo>
                <a:lnTo>
                  <a:pt x="1651" y="1688"/>
                </a:lnTo>
                <a:lnTo>
                  <a:pt x="1348" y="2208"/>
                </a:lnTo>
                <a:cubicBezTo>
                  <a:pt x="1298" y="2312"/>
                  <a:pt x="1247" y="2415"/>
                  <a:pt x="1197" y="2519"/>
                </a:cubicBezTo>
                <a:cubicBezTo>
                  <a:pt x="1167" y="2614"/>
                  <a:pt x="1136" y="2710"/>
                  <a:pt x="1106" y="2805"/>
                </a:cubicBezTo>
                <a:cubicBezTo>
                  <a:pt x="1086" y="2909"/>
                  <a:pt x="1065" y="3013"/>
                  <a:pt x="1045" y="3117"/>
                </a:cubicBezTo>
                <a:cubicBezTo>
                  <a:pt x="1035" y="3230"/>
                  <a:pt x="1025" y="3342"/>
                  <a:pt x="1015" y="3455"/>
                </a:cubicBezTo>
                <a:cubicBezTo>
                  <a:pt x="944" y="4771"/>
                  <a:pt x="403" y="5603"/>
                  <a:pt x="332" y="6919"/>
                </a:cubicBezTo>
                <a:lnTo>
                  <a:pt x="197" y="7511"/>
                </a:lnTo>
                <a:cubicBezTo>
                  <a:pt x="15" y="7981"/>
                  <a:pt x="-99" y="8183"/>
                  <a:pt x="123" y="8922"/>
                </a:cubicBezTo>
                <a:lnTo>
                  <a:pt x="490" y="9179"/>
                </a:lnTo>
                <a:cubicBezTo>
                  <a:pt x="856" y="9302"/>
                  <a:pt x="1953" y="9569"/>
                  <a:pt x="2318" y="9662"/>
                </a:cubicBezTo>
                <a:lnTo>
                  <a:pt x="2682" y="9740"/>
                </a:lnTo>
                <a:lnTo>
                  <a:pt x="3379" y="9922"/>
                </a:lnTo>
                <a:lnTo>
                  <a:pt x="4227" y="10000"/>
                </a:lnTo>
                <a:lnTo>
                  <a:pt x="5106" y="10000"/>
                </a:lnTo>
                <a:lnTo>
                  <a:pt x="5106" y="10000"/>
                </a:lnTo>
                <a:lnTo>
                  <a:pt x="5106" y="10000"/>
                </a:lnTo>
                <a:lnTo>
                  <a:pt x="6045" y="9974"/>
                </a:lnTo>
                <a:lnTo>
                  <a:pt x="7076" y="9844"/>
                </a:lnTo>
                <a:lnTo>
                  <a:pt x="7530" y="9740"/>
                </a:lnTo>
                <a:lnTo>
                  <a:pt x="8045" y="9610"/>
                </a:lnTo>
                <a:lnTo>
                  <a:pt x="8500" y="9455"/>
                </a:lnTo>
                <a:lnTo>
                  <a:pt x="8894" y="9273"/>
                </a:lnTo>
                <a:lnTo>
                  <a:pt x="9288" y="9091"/>
                </a:lnTo>
                <a:lnTo>
                  <a:pt x="9712" y="8831"/>
                </a:lnTo>
                <a:lnTo>
                  <a:pt x="10015" y="8571"/>
                </a:lnTo>
                <a:lnTo>
                  <a:pt x="10318" y="8312"/>
                </a:lnTo>
                <a:cubicBezTo>
                  <a:pt x="10379" y="8217"/>
                  <a:pt x="10439" y="8121"/>
                  <a:pt x="10500" y="8026"/>
                </a:cubicBezTo>
                <a:lnTo>
                  <a:pt x="10651" y="7662"/>
                </a:lnTo>
                <a:cubicBezTo>
                  <a:pt x="10702" y="7550"/>
                  <a:pt x="10752" y="7437"/>
                  <a:pt x="10803" y="7325"/>
                </a:cubicBezTo>
                <a:lnTo>
                  <a:pt x="10803" y="6935"/>
                </a:lnTo>
                <a:lnTo>
                  <a:pt x="10803" y="5714"/>
                </a:lnTo>
                <a:close/>
              </a:path>
            </a:pathLst>
          </a:custGeom>
          <a:solidFill>
            <a:schemeClr val="accent2">
              <a:lumMod val="7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0" name="Rectangle 639"/>
          <p:cNvSpPr/>
          <p:nvPr/>
        </p:nvSpPr>
        <p:spPr bwMode="auto">
          <a:xfrm>
            <a:off x="6080162" y="1507273"/>
            <a:ext cx="67420" cy="1236068"/>
          </a:xfrm>
          <a:prstGeom prst="rect">
            <a:avLst/>
          </a:pr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42" name="Oval 641"/>
          <p:cNvSpPr/>
          <p:nvPr/>
        </p:nvSpPr>
        <p:spPr bwMode="auto">
          <a:xfrm>
            <a:off x="5915093" y="1939446"/>
            <a:ext cx="404012" cy="404012"/>
          </a:xfrm>
          <a:prstGeom prst="ellipse">
            <a:avLst/>
          </a:pr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43" name="Left-Right Arrow 642"/>
          <p:cNvSpPr/>
          <p:nvPr/>
        </p:nvSpPr>
        <p:spPr bwMode="auto">
          <a:xfrm>
            <a:off x="5967397" y="2062197"/>
            <a:ext cx="299404" cy="158513"/>
          </a:xfrm>
          <a:prstGeom prst="leftRightArrow">
            <a:avLst/>
          </a:prstGeom>
          <a:solidFill>
            <a:schemeClr val="tx2"/>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645" name="Group 644"/>
          <p:cNvGrpSpPr/>
          <p:nvPr/>
        </p:nvGrpSpPr>
        <p:grpSpPr>
          <a:xfrm rot="3554732">
            <a:off x="10193189" y="1073252"/>
            <a:ext cx="748862" cy="663061"/>
            <a:chOff x="10829750" y="-453599"/>
            <a:chExt cx="1238426" cy="1096537"/>
          </a:xfrm>
          <a:solidFill>
            <a:schemeClr val="accent6">
              <a:lumMod val="50000"/>
            </a:schemeClr>
          </a:solidFill>
        </p:grpSpPr>
        <p:sp>
          <p:nvSpPr>
            <p:cNvPr id="646" name="Freeform 21"/>
            <p:cNvSpPr>
              <a:spLocks/>
            </p:cNvSpPr>
            <p:nvPr/>
          </p:nvSpPr>
          <p:spPr bwMode="auto">
            <a:xfrm>
              <a:off x="10923183" y="-71358"/>
              <a:ext cx="611189" cy="679451"/>
            </a:xfrm>
            <a:custGeom>
              <a:avLst/>
              <a:gdLst>
                <a:gd name="T0" fmla="*/ 0 w 770"/>
                <a:gd name="T1" fmla="*/ 0 h 855"/>
                <a:gd name="T2" fmla="*/ 713 w 770"/>
                <a:gd name="T3" fmla="*/ 855 h 855"/>
                <a:gd name="T4" fmla="*/ 770 w 770"/>
                <a:gd name="T5" fmla="*/ 848 h 855"/>
                <a:gd name="T6" fmla="*/ 0 w 770"/>
                <a:gd name="T7" fmla="*/ 0 h 855"/>
              </a:gdLst>
              <a:ahLst/>
              <a:cxnLst>
                <a:cxn ang="0">
                  <a:pos x="T0" y="T1"/>
                </a:cxn>
                <a:cxn ang="0">
                  <a:pos x="T2" y="T3"/>
                </a:cxn>
                <a:cxn ang="0">
                  <a:pos x="T4" y="T5"/>
                </a:cxn>
                <a:cxn ang="0">
                  <a:pos x="T6" y="T7"/>
                </a:cxn>
              </a:cxnLst>
              <a:rect l="0" t="0" r="r" b="b"/>
              <a:pathLst>
                <a:path w="770" h="855">
                  <a:moveTo>
                    <a:pt x="0" y="0"/>
                  </a:moveTo>
                  <a:lnTo>
                    <a:pt x="713" y="855"/>
                  </a:lnTo>
                  <a:lnTo>
                    <a:pt x="770" y="84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47" name="Freeform 22"/>
            <p:cNvSpPr>
              <a:spLocks/>
            </p:cNvSpPr>
            <p:nvPr/>
          </p:nvSpPr>
          <p:spPr bwMode="auto">
            <a:xfrm>
              <a:off x="11179292" y="-291387"/>
              <a:ext cx="404813" cy="444499"/>
            </a:xfrm>
            <a:custGeom>
              <a:avLst/>
              <a:gdLst>
                <a:gd name="T0" fmla="*/ 0 w 509"/>
                <a:gd name="T1" fmla="*/ 0 h 561"/>
                <a:gd name="T2" fmla="*/ 450 w 509"/>
                <a:gd name="T3" fmla="*/ 561 h 561"/>
                <a:gd name="T4" fmla="*/ 509 w 509"/>
                <a:gd name="T5" fmla="*/ 553 h 561"/>
                <a:gd name="T6" fmla="*/ 0 w 509"/>
                <a:gd name="T7" fmla="*/ 0 h 561"/>
              </a:gdLst>
              <a:ahLst/>
              <a:cxnLst>
                <a:cxn ang="0">
                  <a:pos x="T0" y="T1"/>
                </a:cxn>
                <a:cxn ang="0">
                  <a:pos x="T2" y="T3"/>
                </a:cxn>
                <a:cxn ang="0">
                  <a:pos x="T4" y="T5"/>
                </a:cxn>
                <a:cxn ang="0">
                  <a:pos x="T6" y="T7"/>
                </a:cxn>
              </a:cxnLst>
              <a:rect l="0" t="0" r="r" b="b"/>
              <a:pathLst>
                <a:path w="509" h="561">
                  <a:moveTo>
                    <a:pt x="0" y="0"/>
                  </a:moveTo>
                  <a:lnTo>
                    <a:pt x="450" y="561"/>
                  </a:lnTo>
                  <a:lnTo>
                    <a:pt x="509"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48" name="Freeform 23"/>
            <p:cNvSpPr>
              <a:spLocks/>
            </p:cNvSpPr>
            <p:nvPr/>
          </p:nvSpPr>
          <p:spPr bwMode="auto">
            <a:xfrm>
              <a:off x="11182351" y="-112712"/>
              <a:ext cx="403225" cy="444500"/>
            </a:xfrm>
            <a:custGeom>
              <a:avLst/>
              <a:gdLst>
                <a:gd name="T0" fmla="*/ 0 w 508"/>
                <a:gd name="T1" fmla="*/ 0 h 560"/>
                <a:gd name="T2" fmla="*/ 449 w 508"/>
                <a:gd name="T3" fmla="*/ 560 h 560"/>
                <a:gd name="T4" fmla="*/ 508 w 508"/>
                <a:gd name="T5" fmla="*/ 552 h 560"/>
                <a:gd name="T6" fmla="*/ 0 w 508"/>
                <a:gd name="T7" fmla="*/ 0 h 560"/>
              </a:gdLst>
              <a:ahLst/>
              <a:cxnLst>
                <a:cxn ang="0">
                  <a:pos x="T0" y="T1"/>
                </a:cxn>
                <a:cxn ang="0">
                  <a:pos x="T2" y="T3"/>
                </a:cxn>
                <a:cxn ang="0">
                  <a:pos x="T4" y="T5"/>
                </a:cxn>
                <a:cxn ang="0">
                  <a:pos x="T6" y="T7"/>
                </a:cxn>
              </a:cxnLst>
              <a:rect l="0" t="0" r="r" b="b"/>
              <a:pathLst>
                <a:path w="508" h="560">
                  <a:moveTo>
                    <a:pt x="0" y="0"/>
                  </a:moveTo>
                  <a:lnTo>
                    <a:pt x="449" y="560"/>
                  </a:lnTo>
                  <a:lnTo>
                    <a:pt x="508" y="55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49" name="Freeform 24"/>
            <p:cNvSpPr>
              <a:spLocks/>
            </p:cNvSpPr>
            <p:nvPr/>
          </p:nvSpPr>
          <p:spPr bwMode="auto">
            <a:xfrm>
              <a:off x="11239501" y="119063"/>
              <a:ext cx="403225" cy="446088"/>
            </a:xfrm>
            <a:custGeom>
              <a:avLst/>
              <a:gdLst>
                <a:gd name="T0" fmla="*/ 0 w 508"/>
                <a:gd name="T1" fmla="*/ 0 h 561"/>
                <a:gd name="T2" fmla="*/ 451 w 508"/>
                <a:gd name="T3" fmla="*/ 561 h 561"/>
                <a:gd name="T4" fmla="*/ 508 w 508"/>
                <a:gd name="T5" fmla="*/ 553 h 561"/>
                <a:gd name="T6" fmla="*/ 0 w 508"/>
                <a:gd name="T7" fmla="*/ 0 h 561"/>
              </a:gdLst>
              <a:ahLst/>
              <a:cxnLst>
                <a:cxn ang="0">
                  <a:pos x="T0" y="T1"/>
                </a:cxn>
                <a:cxn ang="0">
                  <a:pos x="T2" y="T3"/>
                </a:cxn>
                <a:cxn ang="0">
                  <a:pos x="T4" y="T5"/>
                </a:cxn>
                <a:cxn ang="0">
                  <a:pos x="T6" y="T7"/>
                </a:cxn>
              </a:cxnLst>
              <a:rect l="0" t="0" r="r" b="b"/>
              <a:pathLst>
                <a:path w="508" h="561">
                  <a:moveTo>
                    <a:pt x="0" y="0"/>
                  </a:moveTo>
                  <a:lnTo>
                    <a:pt x="451" y="561"/>
                  </a:lnTo>
                  <a:lnTo>
                    <a:pt x="508"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50" name="Freeform 25"/>
            <p:cNvSpPr>
              <a:spLocks/>
            </p:cNvSpPr>
            <p:nvPr/>
          </p:nvSpPr>
          <p:spPr bwMode="auto">
            <a:xfrm>
              <a:off x="11453813" y="-179387"/>
              <a:ext cx="403225" cy="446088"/>
            </a:xfrm>
            <a:custGeom>
              <a:avLst/>
              <a:gdLst>
                <a:gd name="T0" fmla="*/ 0 w 509"/>
                <a:gd name="T1" fmla="*/ 0 h 561"/>
                <a:gd name="T2" fmla="*/ 450 w 509"/>
                <a:gd name="T3" fmla="*/ 561 h 561"/>
                <a:gd name="T4" fmla="*/ 509 w 509"/>
                <a:gd name="T5" fmla="*/ 553 h 561"/>
                <a:gd name="T6" fmla="*/ 0 w 509"/>
                <a:gd name="T7" fmla="*/ 0 h 561"/>
              </a:gdLst>
              <a:ahLst/>
              <a:cxnLst>
                <a:cxn ang="0">
                  <a:pos x="T0" y="T1"/>
                </a:cxn>
                <a:cxn ang="0">
                  <a:pos x="T2" y="T3"/>
                </a:cxn>
                <a:cxn ang="0">
                  <a:pos x="T4" y="T5"/>
                </a:cxn>
                <a:cxn ang="0">
                  <a:pos x="T6" y="T7"/>
                </a:cxn>
              </a:cxnLst>
              <a:rect l="0" t="0" r="r" b="b"/>
              <a:pathLst>
                <a:path w="509" h="561">
                  <a:moveTo>
                    <a:pt x="0" y="0"/>
                  </a:moveTo>
                  <a:lnTo>
                    <a:pt x="450" y="561"/>
                  </a:lnTo>
                  <a:lnTo>
                    <a:pt x="509"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51" name="Freeform 26"/>
            <p:cNvSpPr>
              <a:spLocks/>
            </p:cNvSpPr>
            <p:nvPr/>
          </p:nvSpPr>
          <p:spPr bwMode="auto">
            <a:xfrm>
              <a:off x="11615271" y="178144"/>
              <a:ext cx="312738" cy="323850"/>
            </a:xfrm>
            <a:custGeom>
              <a:avLst/>
              <a:gdLst>
                <a:gd name="T0" fmla="*/ 0 w 394"/>
                <a:gd name="T1" fmla="*/ 0 h 409"/>
                <a:gd name="T2" fmla="*/ 335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5"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52" name="Freeform 27"/>
            <p:cNvSpPr>
              <a:spLocks/>
            </p:cNvSpPr>
            <p:nvPr/>
          </p:nvSpPr>
          <p:spPr bwMode="auto">
            <a:xfrm>
              <a:off x="11618913" y="319088"/>
              <a:ext cx="312738" cy="323850"/>
            </a:xfrm>
            <a:custGeom>
              <a:avLst/>
              <a:gdLst>
                <a:gd name="T0" fmla="*/ 0 w 394"/>
                <a:gd name="T1" fmla="*/ 0 h 408"/>
                <a:gd name="T2" fmla="*/ 337 w 394"/>
                <a:gd name="T3" fmla="*/ 408 h 408"/>
                <a:gd name="T4" fmla="*/ 394 w 394"/>
                <a:gd name="T5" fmla="*/ 400 h 408"/>
                <a:gd name="T6" fmla="*/ 0 w 394"/>
                <a:gd name="T7" fmla="*/ 0 h 408"/>
              </a:gdLst>
              <a:ahLst/>
              <a:cxnLst>
                <a:cxn ang="0">
                  <a:pos x="T0" y="T1"/>
                </a:cxn>
                <a:cxn ang="0">
                  <a:pos x="T2" y="T3"/>
                </a:cxn>
                <a:cxn ang="0">
                  <a:pos x="T4" y="T5"/>
                </a:cxn>
                <a:cxn ang="0">
                  <a:pos x="T6" y="T7"/>
                </a:cxn>
              </a:cxnLst>
              <a:rect l="0" t="0" r="r" b="b"/>
              <a:pathLst>
                <a:path w="394" h="408">
                  <a:moveTo>
                    <a:pt x="0" y="0"/>
                  </a:moveTo>
                  <a:lnTo>
                    <a:pt x="337" y="408"/>
                  </a:lnTo>
                  <a:lnTo>
                    <a:pt x="394" y="4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53" name="Freeform 28"/>
            <p:cNvSpPr>
              <a:spLocks/>
            </p:cNvSpPr>
            <p:nvPr/>
          </p:nvSpPr>
          <p:spPr bwMode="auto">
            <a:xfrm>
              <a:off x="10829750" y="8911"/>
              <a:ext cx="311150" cy="323850"/>
            </a:xfrm>
            <a:custGeom>
              <a:avLst/>
              <a:gdLst>
                <a:gd name="T0" fmla="*/ 0 w 394"/>
                <a:gd name="T1" fmla="*/ 0 h 409"/>
                <a:gd name="T2" fmla="*/ 336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6"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54" name="Freeform 29"/>
            <p:cNvSpPr>
              <a:spLocks/>
            </p:cNvSpPr>
            <p:nvPr/>
          </p:nvSpPr>
          <p:spPr bwMode="auto">
            <a:xfrm>
              <a:off x="11366518" y="-453599"/>
              <a:ext cx="312738" cy="323849"/>
            </a:xfrm>
            <a:custGeom>
              <a:avLst/>
              <a:gdLst>
                <a:gd name="T0" fmla="*/ 0 w 394"/>
                <a:gd name="T1" fmla="*/ 0 h 409"/>
                <a:gd name="T2" fmla="*/ 337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7"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55" name="Freeform 30"/>
            <p:cNvSpPr>
              <a:spLocks/>
            </p:cNvSpPr>
            <p:nvPr/>
          </p:nvSpPr>
          <p:spPr bwMode="auto">
            <a:xfrm>
              <a:off x="11755438" y="-6350"/>
              <a:ext cx="312738" cy="325438"/>
            </a:xfrm>
            <a:custGeom>
              <a:avLst/>
              <a:gdLst>
                <a:gd name="T0" fmla="*/ 0 w 394"/>
                <a:gd name="T1" fmla="*/ 0 h 409"/>
                <a:gd name="T2" fmla="*/ 336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6"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696" name="Freeform 133"/>
          <p:cNvSpPr>
            <a:spLocks noEditPoints="1"/>
          </p:cNvSpPr>
          <p:nvPr/>
        </p:nvSpPr>
        <p:spPr bwMode="auto">
          <a:xfrm>
            <a:off x="6548438" y="3836988"/>
            <a:ext cx="1063114" cy="2154238"/>
          </a:xfrm>
          <a:custGeom>
            <a:avLst/>
            <a:gdLst>
              <a:gd name="T0" fmla="*/ 162 w 2033"/>
              <a:gd name="T1" fmla="*/ 4002 h 4072"/>
              <a:gd name="T2" fmla="*/ 8 w 2033"/>
              <a:gd name="T3" fmla="*/ 4072 h 4072"/>
              <a:gd name="T4" fmla="*/ 393 w 2033"/>
              <a:gd name="T5" fmla="*/ 4026 h 4072"/>
              <a:gd name="T6" fmla="*/ 453 w 2033"/>
              <a:gd name="T7" fmla="*/ 3971 h 4072"/>
              <a:gd name="T8" fmla="*/ 618 w 2033"/>
              <a:gd name="T9" fmla="*/ 4005 h 4072"/>
              <a:gd name="T10" fmla="*/ 678 w 2033"/>
              <a:gd name="T11" fmla="*/ 3950 h 4072"/>
              <a:gd name="T12" fmla="*/ 683 w 2033"/>
              <a:gd name="T13" fmla="*/ 3999 h 4072"/>
              <a:gd name="T14" fmla="*/ 1063 w 2033"/>
              <a:gd name="T15" fmla="*/ 3905 h 4072"/>
              <a:gd name="T16" fmla="*/ 908 w 2033"/>
              <a:gd name="T17" fmla="*/ 3975 h 4072"/>
              <a:gd name="T18" fmla="*/ 1284 w 2033"/>
              <a:gd name="T19" fmla="*/ 3863 h 4072"/>
              <a:gd name="T20" fmla="*/ 1134 w 2033"/>
              <a:gd name="T21" fmla="*/ 3942 h 4072"/>
              <a:gd name="T22" fmla="*/ 1426 w 2033"/>
              <a:gd name="T23" fmla="*/ 3828 h 4072"/>
              <a:gd name="T24" fmla="*/ 1479 w 2033"/>
              <a:gd name="T25" fmla="*/ 3862 h 4072"/>
              <a:gd name="T26" fmla="*/ 1577 w 2033"/>
              <a:gd name="T27" fmla="*/ 3829 h 4072"/>
              <a:gd name="T28" fmla="*/ 1669 w 2033"/>
              <a:gd name="T29" fmla="*/ 3733 h 4072"/>
              <a:gd name="T30" fmla="*/ 1656 w 2033"/>
              <a:gd name="T31" fmla="*/ 3795 h 4072"/>
              <a:gd name="T32" fmla="*/ 1756 w 2033"/>
              <a:gd name="T33" fmla="*/ 3683 h 4072"/>
              <a:gd name="T34" fmla="*/ 1847 w 2033"/>
              <a:gd name="T35" fmla="*/ 3607 h 4072"/>
              <a:gd name="T36" fmla="*/ 1895 w 2033"/>
              <a:gd name="T37" fmla="*/ 3628 h 4072"/>
              <a:gd name="T38" fmla="*/ 1819 w 2033"/>
              <a:gd name="T39" fmla="*/ 3697 h 4072"/>
              <a:gd name="T40" fmla="*/ 1909 w 2033"/>
              <a:gd name="T41" fmla="*/ 3532 h 4072"/>
              <a:gd name="T42" fmla="*/ 1945 w 2033"/>
              <a:gd name="T43" fmla="*/ 3465 h 4072"/>
              <a:gd name="T44" fmla="*/ 2017 w 2033"/>
              <a:gd name="T45" fmla="*/ 3404 h 4072"/>
              <a:gd name="T46" fmla="*/ 1989 w 2033"/>
              <a:gd name="T47" fmla="*/ 3485 h 4072"/>
              <a:gd name="T48" fmla="*/ 1949 w 2033"/>
              <a:gd name="T49" fmla="*/ 3559 h 4072"/>
              <a:gd name="T50" fmla="*/ 1984 w 2033"/>
              <a:gd name="T51" fmla="*/ 3266 h 4072"/>
              <a:gd name="T52" fmla="*/ 1979 w 2033"/>
              <a:gd name="T53" fmla="*/ 3177 h 4072"/>
              <a:gd name="T54" fmla="*/ 2033 w 2033"/>
              <a:gd name="T55" fmla="*/ 3242 h 4072"/>
              <a:gd name="T56" fmla="*/ 2028 w 2033"/>
              <a:gd name="T57" fmla="*/ 3338 h 4072"/>
              <a:gd name="T58" fmla="*/ 1945 w 2033"/>
              <a:gd name="T59" fmla="*/ 3025 h 4072"/>
              <a:gd name="T60" fmla="*/ 1970 w 2033"/>
              <a:gd name="T61" fmla="*/ 2947 h 4072"/>
              <a:gd name="T62" fmla="*/ 2008 w 2033"/>
              <a:gd name="T63" fmla="*/ 3074 h 4072"/>
              <a:gd name="T64" fmla="*/ 1888 w 2033"/>
              <a:gd name="T65" fmla="*/ 2867 h 4072"/>
              <a:gd name="T66" fmla="*/ 1883 w 2033"/>
              <a:gd name="T67" fmla="*/ 2736 h 4072"/>
              <a:gd name="T68" fmla="*/ 1902 w 2033"/>
              <a:gd name="T69" fmla="*/ 2903 h 4072"/>
              <a:gd name="T70" fmla="*/ 1780 w 2033"/>
              <a:gd name="T71" fmla="*/ 2532 h 4072"/>
              <a:gd name="T72" fmla="*/ 1705 w 2033"/>
              <a:gd name="T73" fmla="*/ 2500 h 4072"/>
              <a:gd name="T74" fmla="*/ 1665 w 2033"/>
              <a:gd name="T75" fmla="*/ 2336 h 4072"/>
              <a:gd name="T76" fmla="*/ 1590 w 2033"/>
              <a:gd name="T77" fmla="*/ 2306 h 4072"/>
              <a:gd name="T78" fmla="*/ 1555 w 2033"/>
              <a:gd name="T79" fmla="*/ 2156 h 4072"/>
              <a:gd name="T80" fmla="*/ 1392 w 2033"/>
              <a:gd name="T81" fmla="*/ 1982 h 4072"/>
              <a:gd name="T82" fmla="*/ 1513 w 2033"/>
              <a:gd name="T83" fmla="*/ 2088 h 4072"/>
              <a:gd name="T84" fmla="*/ 1275 w 2033"/>
              <a:gd name="T85" fmla="*/ 1778 h 4072"/>
              <a:gd name="T86" fmla="*/ 1355 w 2033"/>
              <a:gd name="T87" fmla="*/ 1919 h 4072"/>
              <a:gd name="T88" fmla="*/ 1208 w 2033"/>
              <a:gd name="T89" fmla="*/ 1556 h 4072"/>
              <a:gd name="T90" fmla="*/ 1061 w 2033"/>
              <a:gd name="T91" fmla="*/ 1378 h 4072"/>
              <a:gd name="T92" fmla="*/ 1031 w 2033"/>
              <a:gd name="T93" fmla="*/ 1320 h 4072"/>
              <a:gd name="T94" fmla="*/ 1074 w 2033"/>
              <a:gd name="T95" fmla="*/ 1298 h 4072"/>
              <a:gd name="T96" fmla="*/ 903 w 2033"/>
              <a:gd name="T97" fmla="*/ 951 h 4072"/>
              <a:gd name="T98" fmla="*/ 831 w 2033"/>
              <a:gd name="T99" fmla="*/ 914 h 4072"/>
              <a:gd name="T100" fmla="*/ 831 w 2033"/>
              <a:gd name="T101" fmla="*/ 914 h 4072"/>
              <a:gd name="T102" fmla="*/ 706 w 2033"/>
              <a:gd name="T103" fmla="*/ 543 h 4072"/>
              <a:gd name="T104" fmla="*/ 563 w 2033"/>
              <a:gd name="T105" fmla="*/ 360 h 4072"/>
              <a:gd name="T106" fmla="*/ 535 w 2033"/>
              <a:gd name="T107" fmla="*/ 302 h 4072"/>
              <a:gd name="T108" fmla="*/ 578 w 2033"/>
              <a:gd name="T109" fmla="*/ 281 h 4072"/>
              <a:gd name="T110" fmla="*/ 437 w 2033"/>
              <a:gd name="T111" fmla="*/ 0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33" h="4072">
                <a:moveTo>
                  <a:pt x="8" y="4072"/>
                </a:moveTo>
                <a:lnTo>
                  <a:pt x="0" y="4024"/>
                </a:lnTo>
                <a:lnTo>
                  <a:pt x="0" y="4024"/>
                </a:lnTo>
                <a:lnTo>
                  <a:pt x="76" y="4013"/>
                </a:lnTo>
                <a:lnTo>
                  <a:pt x="162" y="4002"/>
                </a:lnTo>
                <a:lnTo>
                  <a:pt x="167" y="4050"/>
                </a:lnTo>
                <a:lnTo>
                  <a:pt x="167" y="4050"/>
                </a:lnTo>
                <a:lnTo>
                  <a:pt x="84" y="4060"/>
                </a:lnTo>
                <a:lnTo>
                  <a:pt x="8" y="4072"/>
                </a:lnTo>
                <a:lnTo>
                  <a:pt x="8" y="4072"/>
                </a:lnTo>
                <a:close/>
                <a:moveTo>
                  <a:pt x="232" y="4042"/>
                </a:moveTo>
                <a:lnTo>
                  <a:pt x="227" y="3995"/>
                </a:lnTo>
                <a:lnTo>
                  <a:pt x="227" y="3995"/>
                </a:lnTo>
                <a:lnTo>
                  <a:pt x="389" y="3978"/>
                </a:lnTo>
                <a:lnTo>
                  <a:pt x="393" y="4026"/>
                </a:lnTo>
                <a:lnTo>
                  <a:pt x="393" y="4026"/>
                </a:lnTo>
                <a:lnTo>
                  <a:pt x="232" y="4042"/>
                </a:lnTo>
                <a:lnTo>
                  <a:pt x="232" y="4042"/>
                </a:lnTo>
                <a:close/>
                <a:moveTo>
                  <a:pt x="457" y="4020"/>
                </a:moveTo>
                <a:lnTo>
                  <a:pt x="453" y="3971"/>
                </a:lnTo>
                <a:lnTo>
                  <a:pt x="508" y="3967"/>
                </a:lnTo>
                <a:lnTo>
                  <a:pt x="508" y="3967"/>
                </a:lnTo>
                <a:lnTo>
                  <a:pt x="614" y="3957"/>
                </a:lnTo>
                <a:lnTo>
                  <a:pt x="618" y="4005"/>
                </a:lnTo>
                <a:lnTo>
                  <a:pt x="618" y="4005"/>
                </a:lnTo>
                <a:lnTo>
                  <a:pt x="512" y="4015"/>
                </a:lnTo>
                <a:lnTo>
                  <a:pt x="457" y="4020"/>
                </a:lnTo>
                <a:close/>
                <a:moveTo>
                  <a:pt x="683" y="3999"/>
                </a:moveTo>
                <a:lnTo>
                  <a:pt x="678" y="3950"/>
                </a:lnTo>
                <a:lnTo>
                  <a:pt x="678" y="3950"/>
                </a:lnTo>
                <a:lnTo>
                  <a:pt x="838" y="3934"/>
                </a:lnTo>
                <a:lnTo>
                  <a:pt x="844" y="3982"/>
                </a:lnTo>
                <a:lnTo>
                  <a:pt x="844" y="3982"/>
                </a:lnTo>
                <a:lnTo>
                  <a:pt x="683" y="3999"/>
                </a:lnTo>
                <a:lnTo>
                  <a:pt x="683" y="3999"/>
                </a:lnTo>
                <a:close/>
                <a:moveTo>
                  <a:pt x="908" y="3975"/>
                </a:moveTo>
                <a:lnTo>
                  <a:pt x="903" y="3926"/>
                </a:lnTo>
                <a:lnTo>
                  <a:pt x="903" y="3926"/>
                </a:lnTo>
                <a:lnTo>
                  <a:pt x="986" y="3915"/>
                </a:lnTo>
                <a:lnTo>
                  <a:pt x="1063" y="3905"/>
                </a:lnTo>
                <a:lnTo>
                  <a:pt x="1070" y="3952"/>
                </a:lnTo>
                <a:lnTo>
                  <a:pt x="1070" y="3952"/>
                </a:lnTo>
                <a:lnTo>
                  <a:pt x="992" y="3964"/>
                </a:lnTo>
                <a:lnTo>
                  <a:pt x="908" y="3975"/>
                </a:lnTo>
                <a:lnTo>
                  <a:pt x="908" y="3975"/>
                </a:lnTo>
                <a:close/>
                <a:moveTo>
                  <a:pt x="1134" y="3942"/>
                </a:moveTo>
                <a:lnTo>
                  <a:pt x="1126" y="3894"/>
                </a:lnTo>
                <a:lnTo>
                  <a:pt x="1126" y="3894"/>
                </a:lnTo>
                <a:lnTo>
                  <a:pt x="1208" y="3879"/>
                </a:lnTo>
                <a:lnTo>
                  <a:pt x="1284" y="3863"/>
                </a:lnTo>
                <a:lnTo>
                  <a:pt x="1295" y="3911"/>
                </a:lnTo>
                <a:lnTo>
                  <a:pt x="1295" y="3911"/>
                </a:lnTo>
                <a:lnTo>
                  <a:pt x="1217" y="3927"/>
                </a:lnTo>
                <a:lnTo>
                  <a:pt x="1134" y="3942"/>
                </a:lnTo>
                <a:lnTo>
                  <a:pt x="1134" y="3942"/>
                </a:lnTo>
                <a:close/>
                <a:moveTo>
                  <a:pt x="1358" y="3896"/>
                </a:moveTo>
                <a:lnTo>
                  <a:pt x="1347" y="3850"/>
                </a:lnTo>
                <a:lnTo>
                  <a:pt x="1347" y="3850"/>
                </a:lnTo>
                <a:lnTo>
                  <a:pt x="1387" y="3839"/>
                </a:lnTo>
                <a:lnTo>
                  <a:pt x="1426" y="3828"/>
                </a:lnTo>
                <a:lnTo>
                  <a:pt x="1464" y="3817"/>
                </a:lnTo>
                <a:lnTo>
                  <a:pt x="1500" y="3805"/>
                </a:lnTo>
                <a:lnTo>
                  <a:pt x="1516" y="3851"/>
                </a:lnTo>
                <a:lnTo>
                  <a:pt x="1516" y="3851"/>
                </a:lnTo>
                <a:lnTo>
                  <a:pt x="1479" y="3862"/>
                </a:lnTo>
                <a:lnTo>
                  <a:pt x="1440" y="3874"/>
                </a:lnTo>
                <a:lnTo>
                  <a:pt x="1399" y="3886"/>
                </a:lnTo>
                <a:lnTo>
                  <a:pt x="1358" y="3896"/>
                </a:lnTo>
                <a:lnTo>
                  <a:pt x="1358" y="3896"/>
                </a:lnTo>
                <a:close/>
                <a:moveTo>
                  <a:pt x="1577" y="3829"/>
                </a:moveTo>
                <a:lnTo>
                  <a:pt x="1559" y="3783"/>
                </a:lnTo>
                <a:lnTo>
                  <a:pt x="1559" y="3783"/>
                </a:lnTo>
                <a:lnTo>
                  <a:pt x="1599" y="3767"/>
                </a:lnTo>
                <a:lnTo>
                  <a:pt x="1635" y="3751"/>
                </a:lnTo>
                <a:lnTo>
                  <a:pt x="1669" y="3733"/>
                </a:lnTo>
                <a:lnTo>
                  <a:pt x="1702" y="3715"/>
                </a:lnTo>
                <a:lnTo>
                  <a:pt x="1727" y="3758"/>
                </a:lnTo>
                <a:lnTo>
                  <a:pt x="1727" y="3758"/>
                </a:lnTo>
                <a:lnTo>
                  <a:pt x="1693" y="3777"/>
                </a:lnTo>
                <a:lnTo>
                  <a:pt x="1656" y="3795"/>
                </a:lnTo>
                <a:lnTo>
                  <a:pt x="1618" y="3812"/>
                </a:lnTo>
                <a:lnTo>
                  <a:pt x="1577" y="3829"/>
                </a:lnTo>
                <a:lnTo>
                  <a:pt x="1577" y="3829"/>
                </a:lnTo>
                <a:close/>
                <a:moveTo>
                  <a:pt x="1783" y="3723"/>
                </a:moveTo>
                <a:lnTo>
                  <a:pt x="1756" y="3683"/>
                </a:lnTo>
                <a:lnTo>
                  <a:pt x="1756" y="3683"/>
                </a:lnTo>
                <a:lnTo>
                  <a:pt x="1789" y="3659"/>
                </a:lnTo>
                <a:lnTo>
                  <a:pt x="1819" y="3634"/>
                </a:lnTo>
                <a:lnTo>
                  <a:pt x="1834" y="3621"/>
                </a:lnTo>
                <a:lnTo>
                  <a:pt x="1847" y="3607"/>
                </a:lnTo>
                <a:lnTo>
                  <a:pt x="1860" y="3595"/>
                </a:lnTo>
                <a:lnTo>
                  <a:pt x="1872" y="3581"/>
                </a:lnTo>
                <a:lnTo>
                  <a:pt x="1909" y="3613"/>
                </a:lnTo>
                <a:lnTo>
                  <a:pt x="1909" y="3613"/>
                </a:lnTo>
                <a:lnTo>
                  <a:pt x="1895" y="3628"/>
                </a:lnTo>
                <a:lnTo>
                  <a:pt x="1881" y="3641"/>
                </a:lnTo>
                <a:lnTo>
                  <a:pt x="1866" y="3656"/>
                </a:lnTo>
                <a:lnTo>
                  <a:pt x="1852" y="3670"/>
                </a:lnTo>
                <a:lnTo>
                  <a:pt x="1836" y="3684"/>
                </a:lnTo>
                <a:lnTo>
                  <a:pt x="1819" y="3697"/>
                </a:lnTo>
                <a:lnTo>
                  <a:pt x="1801" y="3710"/>
                </a:lnTo>
                <a:lnTo>
                  <a:pt x="1783" y="3723"/>
                </a:lnTo>
                <a:lnTo>
                  <a:pt x="1783" y="3723"/>
                </a:lnTo>
                <a:close/>
                <a:moveTo>
                  <a:pt x="1949" y="3559"/>
                </a:moveTo>
                <a:lnTo>
                  <a:pt x="1909" y="3532"/>
                </a:lnTo>
                <a:lnTo>
                  <a:pt x="1909" y="3532"/>
                </a:lnTo>
                <a:lnTo>
                  <a:pt x="1919" y="3515"/>
                </a:lnTo>
                <a:lnTo>
                  <a:pt x="1929" y="3500"/>
                </a:lnTo>
                <a:lnTo>
                  <a:pt x="1937" y="3483"/>
                </a:lnTo>
                <a:lnTo>
                  <a:pt x="1945" y="3465"/>
                </a:lnTo>
                <a:lnTo>
                  <a:pt x="1952" y="3448"/>
                </a:lnTo>
                <a:lnTo>
                  <a:pt x="1958" y="3430"/>
                </a:lnTo>
                <a:lnTo>
                  <a:pt x="1965" y="3412"/>
                </a:lnTo>
                <a:lnTo>
                  <a:pt x="1969" y="3393"/>
                </a:lnTo>
                <a:lnTo>
                  <a:pt x="2017" y="3404"/>
                </a:lnTo>
                <a:lnTo>
                  <a:pt x="2017" y="3404"/>
                </a:lnTo>
                <a:lnTo>
                  <a:pt x="2011" y="3424"/>
                </a:lnTo>
                <a:lnTo>
                  <a:pt x="2005" y="3446"/>
                </a:lnTo>
                <a:lnTo>
                  <a:pt x="1998" y="3465"/>
                </a:lnTo>
                <a:lnTo>
                  <a:pt x="1989" y="3485"/>
                </a:lnTo>
                <a:lnTo>
                  <a:pt x="1981" y="3504"/>
                </a:lnTo>
                <a:lnTo>
                  <a:pt x="1971" y="3523"/>
                </a:lnTo>
                <a:lnTo>
                  <a:pt x="1961" y="3541"/>
                </a:lnTo>
                <a:lnTo>
                  <a:pt x="1949" y="3559"/>
                </a:lnTo>
                <a:lnTo>
                  <a:pt x="1949" y="3559"/>
                </a:lnTo>
                <a:close/>
                <a:moveTo>
                  <a:pt x="2028" y="3338"/>
                </a:moveTo>
                <a:lnTo>
                  <a:pt x="1981" y="3332"/>
                </a:lnTo>
                <a:lnTo>
                  <a:pt x="1981" y="3332"/>
                </a:lnTo>
                <a:lnTo>
                  <a:pt x="1983" y="3300"/>
                </a:lnTo>
                <a:lnTo>
                  <a:pt x="1984" y="3266"/>
                </a:lnTo>
                <a:lnTo>
                  <a:pt x="1984" y="3266"/>
                </a:lnTo>
                <a:lnTo>
                  <a:pt x="1984" y="3245"/>
                </a:lnTo>
                <a:lnTo>
                  <a:pt x="1983" y="3222"/>
                </a:lnTo>
                <a:lnTo>
                  <a:pt x="1981" y="3200"/>
                </a:lnTo>
                <a:lnTo>
                  <a:pt x="1979" y="3177"/>
                </a:lnTo>
                <a:lnTo>
                  <a:pt x="2026" y="3170"/>
                </a:lnTo>
                <a:lnTo>
                  <a:pt x="2026" y="3170"/>
                </a:lnTo>
                <a:lnTo>
                  <a:pt x="2029" y="3195"/>
                </a:lnTo>
                <a:lnTo>
                  <a:pt x="2031" y="3219"/>
                </a:lnTo>
                <a:lnTo>
                  <a:pt x="2033" y="3242"/>
                </a:lnTo>
                <a:lnTo>
                  <a:pt x="2033" y="3266"/>
                </a:lnTo>
                <a:lnTo>
                  <a:pt x="2033" y="3266"/>
                </a:lnTo>
                <a:lnTo>
                  <a:pt x="2031" y="3303"/>
                </a:lnTo>
                <a:lnTo>
                  <a:pt x="2028" y="3338"/>
                </a:lnTo>
                <a:lnTo>
                  <a:pt x="2028" y="3338"/>
                </a:lnTo>
                <a:close/>
                <a:moveTo>
                  <a:pt x="1968" y="3115"/>
                </a:moveTo>
                <a:lnTo>
                  <a:pt x="1968" y="3115"/>
                </a:lnTo>
                <a:lnTo>
                  <a:pt x="1962" y="3086"/>
                </a:lnTo>
                <a:lnTo>
                  <a:pt x="1953" y="3056"/>
                </a:lnTo>
                <a:lnTo>
                  <a:pt x="1945" y="3025"/>
                </a:lnTo>
                <a:lnTo>
                  <a:pt x="1935" y="2995"/>
                </a:lnTo>
                <a:lnTo>
                  <a:pt x="1935" y="2995"/>
                </a:lnTo>
                <a:lnTo>
                  <a:pt x="1925" y="2963"/>
                </a:lnTo>
                <a:lnTo>
                  <a:pt x="1970" y="2947"/>
                </a:lnTo>
                <a:lnTo>
                  <a:pt x="1970" y="2947"/>
                </a:lnTo>
                <a:lnTo>
                  <a:pt x="1981" y="2979"/>
                </a:lnTo>
                <a:lnTo>
                  <a:pt x="1981" y="2979"/>
                </a:lnTo>
                <a:lnTo>
                  <a:pt x="1991" y="3012"/>
                </a:lnTo>
                <a:lnTo>
                  <a:pt x="2001" y="3043"/>
                </a:lnTo>
                <a:lnTo>
                  <a:pt x="2008" y="3074"/>
                </a:lnTo>
                <a:lnTo>
                  <a:pt x="2016" y="3106"/>
                </a:lnTo>
                <a:lnTo>
                  <a:pt x="1968" y="3115"/>
                </a:lnTo>
                <a:close/>
                <a:moveTo>
                  <a:pt x="1902" y="2903"/>
                </a:moveTo>
                <a:lnTo>
                  <a:pt x="1902" y="2903"/>
                </a:lnTo>
                <a:lnTo>
                  <a:pt x="1888" y="2867"/>
                </a:lnTo>
                <a:lnTo>
                  <a:pt x="1873" y="2831"/>
                </a:lnTo>
                <a:lnTo>
                  <a:pt x="1857" y="2794"/>
                </a:lnTo>
                <a:lnTo>
                  <a:pt x="1839" y="2756"/>
                </a:lnTo>
                <a:lnTo>
                  <a:pt x="1883" y="2736"/>
                </a:lnTo>
                <a:lnTo>
                  <a:pt x="1883" y="2736"/>
                </a:lnTo>
                <a:lnTo>
                  <a:pt x="1900" y="2774"/>
                </a:lnTo>
                <a:lnTo>
                  <a:pt x="1917" y="2812"/>
                </a:lnTo>
                <a:lnTo>
                  <a:pt x="1933" y="2849"/>
                </a:lnTo>
                <a:lnTo>
                  <a:pt x="1948" y="2886"/>
                </a:lnTo>
                <a:lnTo>
                  <a:pt x="1902" y="2903"/>
                </a:lnTo>
                <a:close/>
                <a:moveTo>
                  <a:pt x="1811" y="2699"/>
                </a:moveTo>
                <a:lnTo>
                  <a:pt x="1811" y="2699"/>
                </a:lnTo>
                <a:lnTo>
                  <a:pt x="1776" y="2629"/>
                </a:lnTo>
                <a:lnTo>
                  <a:pt x="1737" y="2556"/>
                </a:lnTo>
                <a:lnTo>
                  <a:pt x="1780" y="2532"/>
                </a:lnTo>
                <a:lnTo>
                  <a:pt x="1780" y="2532"/>
                </a:lnTo>
                <a:lnTo>
                  <a:pt x="1819" y="2606"/>
                </a:lnTo>
                <a:lnTo>
                  <a:pt x="1855" y="2676"/>
                </a:lnTo>
                <a:lnTo>
                  <a:pt x="1811" y="2699"/>
                </a:lnTo>
                <a:close/>
                <a:moveTo>
                  <a:pt x="1705" y="2500"/>
                </a:moveTo>
                <a:lnTo>
                  <a:pt x="1705" y="2500"/>
                </a:lnTo>
                <a:lnTo>
                  <a:pt x="1667" y="2434"/>
                </a:lnTo>
                <a:lnTo>
                  <a:pt x="1624" y="2361"/>
                </a:lnTo>
                <a:lnTo>
                  <a:pt x="1665" y="2336"/>
                </a:lnTo>
                <a:lnTo>
                  <a:pt x="1665" y="2336"/>
                </a:lnTo>
                <a:lnTo>
                  <a:pt x="1709" y="2409"/>
                </a:lnTo>
                <a:lnTo>
                  <a:pt x="1748" y="2476"/>
                </a:lnTo>
                <a:lnTo>
                  <a:pt x="1705" y="2500"/>
                </a:lnTo>
                <a:close/>
                <a:moveTo>
                  <a:pt x="1590" y="2306"/>
                </a:moveTo>
                <a:lnTo>
                  <a:pt x="1590" y="2306"/>
                </a:lnTo>
                <a:lnTo>
                  <a:pt x="1514" y="2181"/>
                </a:lnTo>
                <a:lnTo>
                  <a:pt x="1505" y="2168"/>
                </a:lnTo>
                <a:lnTo>
                  <a:pt x="1547" y="2143"/>
                </a:lnTo>
                <a:lnTo>
                  <a:pt x="1555" y="2156"/>
                </a:lnTo>
                <a:lnTo>
                  <a:pt x="1555" y="2156"/>
                </a:lnTo>
                <a:lnTo>
                  <a:pt x="1631" y="2281"/>
                </a:lnTo>
                <a:lnTo>
                  <a:pt x="1590" y="2306"/>
                </a:lnTo>
                <a:close/>
                <a:moveTo>
                  <a:pt x="1471" y="2113"/>
                </a:moveTo>
                <a:lnTo>
                  <a:pt x="1471" y="2113"/>
                </a:lnTo>
                <a:lnTo>
                  <a:pt x="1392" y="1982"/>
                </a:lnTo>
                <a:lnTo>
                  <a:pt x="1388" y="1975"/>
                </a:lnTo>
                <a:lnTo>
                  <a:pt x="1429" y="1949"/>
                </a:lnTo>
                <a:lnTo>
                  <a:pt x="1434" y="1958"/>
                </a:lnTo>
                <a:lnTo>
                  <a:pt x="1434" y="1958"/>
                </a:lnTo>
                <a:lnTo>
                  <a:pt x="1513" y="2088"/>
                </a:lnTo>
                <a:lnTo>
                  <a:pt x="1471" y="2113"/>
                </a:lnTo>
                <a:close/>
                <a:moveTo>
                  <a:pt x="1355" y="1919"/>
                </a:moveTo>
                <a:lnTo>
                  <a:pt x="1355" y="1919"/>
                </a:lnTo>
                <a:lnTo>
                  <a:pt x="1315" y="1849"/>
                </a:lnTo>
                <a:lnTo>
                  <a:pt x="1275" y="1778"/>
                </a:lnTo>
                <a:lnTo>
                  <a:pt x="1317" y="1754"/>
                </a:lnTo>
                <a:lnTo>
                  <a:pt x="1317" y="1754"/>
                </a:lnTo>
                <a:lnTo>
                  <a:pt x="1356" y="1825"/>
                </a:lnTo>
                <a:lnTo>
                  <a:pt x="1396" y="1894"/>
                </a:lnTo>
                <a:lnTo>
                  <a:pt x="1355" y="1919"/>
                </a:lnTo>
                <a:close/>
                <a:moveTo>
                  <a:pt x="1243" y="1721"/>
                </a:moveTo>
                <a:lnTo>
                  <a:pt x="1243" y="1721"/>
                </a:lnTo>
                <a:lnTo>
                  <a:pt x="1166" y="1579"/>
                </a:lnTo>
                <a:lnTo>
                  <a:pt x="1208" y="1556"/>
                </a:lnTo>
                <a:lnTo>
                  <a:pt x="1208" y="1556"/>
                </a:lnTo>
                <a:lnTo>
                  <a:pt x="1285" y="1698"/>
                </a:lnTo>
                <a:lnTo>
                  <a:pt x="1243" y="1721"/>
                </a:lnTo>
                <a:close/>
                <a:moveTo>
                  <a:pt x="1135" y="1521"/>
                </a:moveTo>
                <a:lnTo>
                  <a:pt x="1135" y="1521"/>
                </a:lnTo>
                <a:lnTo>
                  <a:pt x="1061" y="1378"/>
                </a:lnTo>
                <a:lnTo>
                  <a:pt x="1104" y="1356"/>
                </a:lnTo>
                <a:lnTo>
                  <a:pt x="1104" y="1356"/>
                </a:lnTo>
                <a:lnTo>
                  <a:pt x="1178" y="1499"/>
                </a:lnTo>
                <a:lnTo>
                  <a:pt x="1135" y="1521"/>
                </a:lnTo>
                <a:close/>
                <a:moveTo>
                  <a:pt x="1031" y="1320"/>
                </a:moveTo>
                <a:lnTo>
                  <a:pt x="1031" y="1320"/>
                </a:lnTo>
                <a:lnTo>
                  <a:pt x="959" y="1175"/>
                </a:lnTo>
                <a:lnTo>
                  <a:pt x="1003" y="1154"/>
                </a:lnTo>
                <a:lnTo>
                  <a:pt x="1003" y="1154"/>
                </a:lnTo>
                <a:lnTo>
                  <a:pt x="1074" y="1298"/>
                </a:lnTo>
                <a:lnTo>
                  <a:pt x="1031" y="1320"/>
                </a:lnTo>
                <a:close/>
                <a:moveTo>
                  <a:pt x="929" y="1117"/>
                </a:moveTo>
                <a:lnTo>
                  <a:pt x="929" y="1117"/>
                </a:lnTo>
                <a:lnTo>
                  <a:pt x="859" y="972"/>
                </a:lnTo>
                <a:lnTo>
                  <a:pt x="903" y="951"/>
                </a:lnTo>
                <a:lnTo>
                  <a:pt x="903" y="951"/>
                </a:lnTo>
                <a:lnTo>
                  <a:pt x="974" y="1096"/>
                </a:lnTo>
                <a:lnTo>
                  <a:pt x="929" y="1117"/>
                </a:lnTo>
                <a:close/>
                <a:moveTo>
                  <a:pt x="831" y="914"/>
                </a:moveTo>
                <a:lnTo>
                  <a:pt x="831" y="914"/>
                </a:lnTo>
                <a:lnTo>
                  <a:pt x="760" y="768"/>
                </a:lnTo>
                <a:lnTo>
                  <a:pt x="805" y="746"/>
                </a:lnTo>
                <a:lnTo>
                  <a:pt x="805" y="746"/>
                </a:lnTo>
                <a:lnTo>
                  <a:pt x="874" y="892"/>
                </a:lnTo>
                <a:lnTo>
                  <a:pt x="831" y="914"/>
                </a:lnTo>
                <a:close/>
                <a:moveTo>
                  <a:pt x="733" y="709"/>
                </a:moveTo>
                <a:lnTo>
                  <a:pt x="733" y="709"/>
                </a:lnTo>
                <a:lnTo>
                  <a:pt x="663" y="563"/>
                </a:lnTo>
                <a:lnTo>
                  <a:pt x="706" y="543"/>
                </a:lnTo>
                <a:lnTo>
                  <a:pt x="706" y="543"/>
                </a:lnTo>
                <a:lnTo>
                  <a:pt x="776" y="688"/>
                </a:lnTo>
                <a:lnTo>
                  <a:pt x="733" y="709"/>
                </a:lnTo>
                <a:close/>
                <a:moveTo>
                  <a:pt x="634" y="505"/>
                </a:moveTo>
                <a:lnTo>
                  <a:pt x="634" y="505"/>
                </a:lnTo>
                <a:lnTo>
                  <a:pt x="563" y="360"/>
                </a:lnTo>
                <a:lnTo>
                  <a:pt x="607" y="339"/>
                </a:lnTo>
                <a:lnTo>
                  <a:pt x="607" y="339"/>
                </a:lnTo>
                <a:lnTo>
                  <a:pt x="678" y="484"/>
                </a:lnTo>
                <a:lnTo>
                  <a:pt x="634" y="505"/>
                </a:lnTo>
                <a:close/>
                <a:moveTo>
                  <a:pt x="535" y="302"/>
                </a:moveTo>
                <a:lnTo>
                  <a:pt x="535" y="302"/>
                </a:lnTo>
                <a:lnTo>
                  <a:pt x="463" y="158"/>
                </a:lnTo>
                <a:lnTo>
                  <a:pt x="506" y="136"/>
                </a:lnTo>
                <a:lnTo>
                  <a:pt x="506" y="136"/>
                </a:lnTo>
                <a:lnTo>
                  <a:pt x="578" y="281"/>
                </a:lnTo>
                <a:lnTo>
                  <a:pt x="535" y="302"/>
                </a:lnTo>
                <a:close/>
                <a:moveTo>
                  <a:pt x="434" y="100"/>
                </a:moveTo>
                <a:lnTo>
                  <a:pt x="434" y="100"/>
                </a:lnTo>
                <a:lnTo>
                  <a:pt x="395" y="23"/>
                </a:lnTo>
                <a:lnTo>
                  <a:pt x="437" y="0"/>
                </a:lnTo>
                <a:lnTo>
                  <a:pt x="437" y="0"/>
                </a:lnTo>
                <a:lnTo>
                  <a:pt x="477" y="78"/>
                </a:lnTo>
                <a:lnTo>
                  <a:pt x="434" y="10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98" name="Freeform 135"/>
          <p:cNvSpPr>
            <a:spLocks noEditPoints="1"/>
          </p:cNvSpPr>
          <p:nvPr/>
        </p:nvSpPr>
        <p:spPr bwMode="auto">
          <a:xfrm>
            <a:off x="7820098" y="4618039"/>
            <a:ext cx="558213" cy="1793875"/>
          </a:xfrm>
          <a:custGeom>
            <a:avLst/>
            <a:gdLst>
              <a:gd name="T0" fmla="*/ 727 w 1069"/>
              <a:gd name="T1" fmla="*/ 3341 h 3391"/>
              <a:gd name="T2" fmla="*/ 828 w 1069"/>
              <a:gd name="T3" fmla="*/ 3349 h 3391"/>
              <a:gd name="T4" fmla="*/ 640 w 1069"/>
              <a:gd name="T5" fmla="*/ 3278 h 3391"/>
              <a:gd name="T6" fmla="*/ 576 w 1069"/>
              <a:gd name="T7" fmla="*/ 3165 h 3391"/>
              <a:gd name="T8" fmla="*/ 669 w 1069"/>
              <a:gd name="T9" fmla="*/ 3239 h 3391"/>
              <a:gd name="T10" fmla="*/ 495 w 1069"/>
              <a:gd name="T11" fmla="*/ 3159 h 3391"/>
              <a:gd name="T12" fmla="*/ 380 w 1069"/>
              <a:gd name="T13" fmla="*/ 3043 h 3391"/>
              <a:gd name="T14" fmla="*/ 470 w 1069"/>
              <a:gd name="T15" fmla="*/ 3068 h 3391"/>
              <a:gd name="T16" fmla="*/ 336 w 1069"/>
              <a:gd name="T17" fmla="*/ 2994 h 3391"/>
              <a:gd name="T18" fmla="*/ 260 w 1069"/>
              <a:gd name="T19" fmla="*/ 2896 h 3391"/>
              <a:gd name="T20" fmla="*/ 299 w 1069"/>
              <a:gd name="T21" fmla="*/ 2869 h 3391"/>
              <a:gd name="T22" fmla="*/ 336 w 1069"/>
              <a:gd name="T23" fmla="*/ 2994 h 3391"/>
              <a:gd name="T24" fmla="*/ 161 w 1069"/>
              <a:gd name="T25" fmla="*/ 2737 h 3391"/>
              <a:gd name="T26" fmla="*/ 168 w 1069"/>
              <a:gd name="T27" fmla="*/ 2642 h 3391"/>
              <a:gd name="T28" fmla="*/ 243 w 1069"/>
              <a:gd name="T29" fmla="*/ 2783 h 3391"/>
              <a:gd name="T30" fmla="*/ 83 w 1069"/>
              <a:gd name="T31" fmla="*/ 2564 h 3391"/>
              <a:gd name="T32" fmla="*/ 93 w 1069"/>
              <a:gd name="T33" fmla="*/ 2434 h 3391"/>
              <a:gd name="T34" fmla="*/ 129 w 1069"/>
              <a:gd name="T35" fmla="*/ 2547 h 3391"/>
              <a:gd name="T36" fmla="*/ 32 w 1069"/>
              <a:gd name="T37" fmla="*/ 2382 h 3391"/>
              <a:gd name="T38" fmla="*/ 6 w 1069"/>
              <a:gd name="T39" fmla="*/ 2220 h 3391"/>
              <a:gd name="T40" fmla="*/ 64 w 1069"/>
              <a:gd name="T41" fmla="*/ 2294 h 3391"/>
              <a:gd name="T42" fmla="*/ 2 w 1069"/>
              <a:gd name="T43" fmla="*/ 2155 h 3391"/>
              <a:gd name="T44" fmla="*/ 0 w 1069"/>
              <a:gd name="T45" fmla="*/ 2079 h 3391"/>
              <a:gd name="T46" fmla="*/ 51 w 1069"/>
              <a:gd name="T47" fmla="*/ 1993 h 3391"/>
              <a:gd name="T48" fmla="*/ 48 w 1069"/>
              <a:gd name="T49" fmla="*/ 2116 h 3391"/>
              <a:gd name="T50" fmla="*/ 7 w 1069"/>
              <a:gd name="T51" fmla="*/ 1925 h 3391"/>
              <a:gd name="T52" fmla="*/ 23 w 1069"/>
              <a:gd name="T53" fmla="*/ 1803 h 3391"/>
              <a:gd name="T54" fmla="*/ 71 w 1069"/>
              <a:gd name="T55" fmla="*/ 1811 h 3391"/>
              <a:gd name="T56" fmla="*/ 56 w 1069"/>
              <a:gd name="T57" fmla="*/ 1929 h 3391"/>
              <a:gd name="T58" fmla="*/ 52 w 1069"/>
              <a:gd name="T59" fmla="*/ 1660 h 3391"/>
              <a:gd name="T60" fmla="*/ 130 w 1069"/>
              <a:gd name="T61" fmla="*/ 1554 h 3391"/>
              <a:gd name="T62" fmla="*/ 98 w 1069"/>
              <a:gd name="T63" fmla="*/ 1670 h 3391"/>
              <a:gd name="T64" fmla="*/ 102 w 1069"/>
              <a:gd name="T65" fmla="*/ 1478 h 3391"/>
              <a:gd name="T66" fmla="*/ 203 w 1069"/>
              <a:gd name="T67" fmla="*/ 1341 h 3391"/>
              <a:gd name="T68" fmla="*/ 148 w 1069"/>
              <a:gd name="T69" fmla="*/ 1492 h 3391"/>
              <a:gd name="T70" fmla="*/ 215 w 1069"/>
              <a:gd name="T71" fmla="*/ 1190 h 3391"/>
              <a:gd name="T72" fmla="*/ 258 w 1069"/>
              <a:gd name="T73" fmla="*/ 1209 h 3391"/>
              <a:gd name="T74" fmla="*/ 278 w 1069"/>
              <a:gd name="T75" fmla="*/ 1056 h 3391"/>
              <a:gd name="T76" fmla="*/ 397 w 1069"/>
              <a:gd name="T77" fmla="*/ 937 h 3391"/>
              <a:gd name="T78" fmla="*/ 322 w 1069"/>
              <a:gd name="T79" fmla="*/ 1079 h 3391"/>
              <a:gd name="T80" fmla="*/ 429 w 1069"/>
              <a:gd name="T81" fmla="*/ 787 h 3391"/>
              <a:gd name="T82" fmla="*/ 470 w 1069"/>
              <a:gd name="T83" fmla="*/ 812 h 3391"/>
              <a:gd name="T84" fmla="*/ 508 w 1069"/>
              <a:gd name="T85" fmla="*/ 663 h 3391"/>
              <a:gd name="T86" fmla="*/ 639 w 1069"/>
              <a:gd name="T87" fmla="*/ 557 h 3391"/>
              <a:gd name="T88" fmla="*/ 548 w 1069"/>
              <a:gd name="T89" fmla="*/ 689 h 3391"/>
              <a:gd name="T90" fmla="*/ 686 w 1069"/>
              <a:gd name="T91" fmla="*/ 411 h 3391"/>
              <a:gd name="T92" fmla="*/ 725 w 1069"/>
              <a:gd name="T93" fmla="*/ 440 h 3391"/>
              <a:gd name="T94" fmla="*/ 777 w 1069"/>
              <a:gd name="T95" fmla="*/ 295 h 3391"/>
              <a:gd name="T96" fmla="*/ 918 w 1069"/>
              <a:gd name="T97" fmla="*/ 202 h 3391"/>
              <a:gd name="T98" fmla="*/ 815 w 1069"/>
              <a:gd name="T99" fmla="*/ 325 h 3391"/>
              <a:gd name="T100" fmla="*/ 969 w 1069"/>
              <a:gd name="T101" fmla="*/ 70 h 3391"/>
              <a:gd name="T102" fmla="*/ 1069 w 1069"/>
              <a:gd name="T103" fmla="*/ 34 h 3391"/>
              <a:gd name="T104" fmla="*/ 960 w 1069"/>
              <a:gd name="T105" fmla="*/ 153 h 3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9" h="3391">
                <a:moveTo>
                  <a:pt x="802" y="3391"/>
                </a:moveTo>
                <a:lnTo>
                  <a:pt x="802" y="3391"/>
                </a:lnTo>
                <a:lnTo>
                  <a:pt x="764" y="3365"/>
                </a:lnTo>
                <a:lnTo>
                  <a:pt x="727" y="3341"/>
                </a:lnTo>
                <a:lnTo>
                  <a:pt x="755" y="3301"/>
                </a:lnTo>
                <a:lnTo>
                  <a:pt x="755" y="3301"/>
                </a:lnTo>
                <a:lnTo>
                  <a:pt x="791" y="3325"/>
                </a:lnTo>
                <a:lnTo>
                  <a:pt x="828" y="3349"/>
                </a:lnTo>
                <a:lnTo>
                  <a:pt x="802" y="3391"/>
                </a:lnTo>
                <a:close/>
                <a:moveTo>
                  <a:pt x="673" y="3303"/>
                </a:moveTo>
                <a:lnTo>
                  <a:pt x="673" y="3303"/>
                </a:lnTo>
                <a:lnTo>
                  <a:pt x="640" y="3278"/>
                </a:lnTo>
                <a:lnTo>
                  <a:pt x="607" y="3253"/>
                </a:lnTo>
                <a:lnTo>
                  <a:pt x="576" y="3228"/>
                </a:lnTo>
                <a:lnTo>
                  <a:pt x="545" y="3202"/>
                </a:lnTo>
                <a:lnTo>
                  <a:pt x="576" y="3165"/>
                </a:lnTo>
                <a:lnTo>
                  <a:pt x="576" y="3165"/>
                </a:lnTo>
                <a:lnTo>
                  <a:pt x="606" y="3191"/>
                </a:lnTo>
                <a:lnTo>
                  <a:pt x="637" y="3215"/>
                </a:lnTo>
                <a:lnTo>
                  <a:pt x="669" y="3239"/>
                </a:lnTo>
                <a:lnTo>
                  <a:pt x="702" y="3264"/>
                </a:lnTo>
                <a:lnTo>
                  <a:pt x="673" y="3303"/>
                </a:lnTo>
                <a:close/>
                <a:moveTo>
                  <a:pt x="495" y="3159"/>
                </a:moveTo>
                <a:lnTo>
                  <a:pt x="495" y="3159"/>
                </a:lnTo>
                <a:lnTo>
                  <a:pt x="466" y="3130"/>
                </a:lnTo>
                <a:lnTo>
                  <a:pt x="436" y="3102"/>
                </a:lnTo>
                <a:lnTo>
                  <a:pt x="407" y="3073"/>
                </a:lnTo>
                <a:lnTo>
                  <a:pt x="380" y="3043"/>
                </a:lnTo>
                <a:lnTo>
                  <a:pt x="415" y="3011"/>
                </a:lnTo>
                <a:lnTo>
                  <a:pt x="415" y="3011"/>
                </a:lnTo>
                <a:lnTo>
                  <a:pt x="442" y="3039"/>
                </a:lnTo>
                <a:lnTo>
                  <a:pt x="470" y="3068"/>
                </a:lnTo>
                <a:lnTo>
                  <a:pt x="498" y="3095"/>
                </a:lnTo>
                <a:lnTo>
                  <a:pt x="528" y="3123"/>
                </a:lnTo>
                <a:lnTo>
                  <a:pt x="495" y="3159"/>
                </a:lnTo>
                <a:close/>
                <a:moveTo>
                  <a:pt x="336" y="2994"/>
                </a:moveTo>
                <a:lnTo>
                  <a:pt x="336" y="2994"/>
                </a:lnTo>
                <a:lnTo>
                  <a:pt x="310" y="2962"/>
                </a:lnTo>
                <a:lnTo>
                  <a:pt x="285" y="2929"/>
                </a:lnTo>
                <a:lnTo>
                  <a:pt x="260" y="2896"/>
                </a:lnTo>
                <a:lnTo>
                  <a:pt x="237" y="2864"/>
                </a:lnTo>
                <a:lnTo>
                  <a:pt x="277" y="2836"/>
                </a:lnTo>
                <a:lnTo>
                  <a:pt x="277" y="2836"/>
                </a:lnTo>
                <a:lnTo>
                  <a:pt x="299" y="2869"/>
                </a:lnTo>
                <a:lnTo>
                  <a:pt x="323" y="2901"/>
                </a:lnTo>
                <a:lnTo>
                  <a:pt x="348" y="2932"/>
                </a:lnTo>
                <a:lnTo>
                  <a:pt x="373" y="2963"/>
                </a:lnTo>
                <a:lnTo>
                  <a:pt x="336" y="2994"/>
                </a:lnTo>
                <a:close/>
                <a:moveTo>
                  <a:pt x="201" y="2809"/>
                </a:moveTo>
                <a:lnTo>
                  <a:pt x="201" y="2809"/>
                </a:lnTo>
                <a:lnTo>
                  <a:pt x="181" y="2773"/>
                </a:lnTo>
                <a:lnTo>
                  <a:pt x="161" y="2737"/>
                </a:lnTo>
                <a:lnTo>
                  <a:pt x="142" y="2700"/>
                </a:lnTo>
                <a:lnTo>
                  <a:pt x="124" y="2663"/>
                </a:lnTo>
                <a:lnTo>
                  <a:pt x="168" y="2642"/>
                </a:lnTo>
                <a:lnTo>
                  <a:pt x="168" y="2642"/>
                </a:lnTo>
                <a:lnTo>
                  <a:pt x="185" y="2678"/>
                </a:lnTo>
                <a:lnTo>
                  <a:pt x="203" y="2713"/>
                </a:lnTo>
                <a:lnTo>
                  <a:pt x="222" y="2748"/>
                </a:lnTo>
                <a:lnTo>
                  <a:pt x="243" y="2783"/>
                </a:lnTo>
                <a:lnTo>
                  <a:pt x="201" y="2809"/>
                </a:lnTo>
                <a:close/>
                <a:moveTo>
                  <a:pt x="98" y="2602"/>
                </a:moveTo>
                <a:lnTo>
                  <a:pt x="98" y="2602"/>
                </a:lnTo>
                <a:lnTo>
                  <a:pt x="83" y="2564"/>
                </a:lnTo>
                <a:lnTo>
                  <a:pt x="70" y="2525"/>
                </a:lnTo>
                <a:lnTo>
                  <a:pt x="58" y="2486"/>
                </a:lnTo>
                <a:lnTo>
                  <a:pt x="46" y="2447"/>
                </a:lnTo>
                <a:lnTo>
                  <a:pt x="93" y="2434"/>
                </a:lnTo>
                <a:lnTo>
                  <a:pt x="93" y="2434"/>
                </a:lnTo>
                <a:lnTo>
                  <a:pt x="104" y="2472"/>
                </a:lnTo>
                <a:lnTo>
                  <a:pt x="116" y="2510"/>
                </a:lnTo>
                <a:lnTo>
                  <a:pt x="129" y="2547"/>
                </a:lnTo>
                <a:lnTo>
                  <a:pt x="143" y="2584"/>
                </a:lnTo>
                <a:lnTo>
                  <a:pt x="98" y="2602"/>
                </a:lnTo>
                <a:close/>
                <a:moveTo>
                  <a:pt x="32" y="2382"/>
                </a:moveTo>
                <a:lnTo>
                  <a:pt x="32" y="2382"/>
                </a:lnTo>
                <a:lnTo>
                  <a:pt x="23" y="2342"/>
                </a:lnTo>
                <a:lnTo>
                  <a:pt x="17" y="2302"/>
                </a:lnTo>
                <a:lnTo>
                  <a:pt x="11" y="2261"/>
                </a:lnTo>
                <a:lnTo>
                  <a:pt x="6" y="2220"/>
                </a:lnTo>
                <a:lnTo>
                  <a:pt x="55" y="2215"/>
                </a:lnTo>
                <a:lnTo>
                  <a:pt x="55" y="2215"/>
                </a:lnTo>
                <a:lnTo>
                  <a:pt x="59" y="2255"/>
                </a:lnTo>
                <a:lnTo>
                  <a:pt x="64" y="2294"/>
                </a:lnTo>
                <a:lnTo>
                  <a:pt x="71" y="2334"/>
                </a:lnTo>
                <a:lnTo>
                  <a:pt x="78" y="2373"/>
                </a:lnTo>
                <a:lnTo>
                  <a:pt x="32" y="2382"/>
                </a:lnTo>
                <a:close/>
                <a:moveTo>
                  <a:pt x="2" y="2155"/>
                </a:moveTo>
                <a:lnTo>
                  <a:pt x="2" y="2155"/>
                </a:lnTo>
                <a:lnTo>
                  <a:pt x="1" y="2117"/>
                </a:lnTo>
                <a:lnTo>
                  <a:pt x="0" y="2079"/>
                </a:lnTo>
                <a:lnTo>
                  <a:pt x="0" y="2079"/>
                </a:lnTo>
                <a:lnTo>
                  <a:pt x="1" y="2034"/>
                </a:lnTo>
                <a:lnTo>
                  <a:pt x="2" y="1991"/>
                </a:lnTo>
                <a:lnTo>
                  <a:pt x="51" y="1993"/>
                </a:lnTo>
                <a:lnTo>
                  <a:pt x="51" y="1993"/>
                </a:lnTo>
                <a:lnTo>
                  <a:pt x="50" y="2036"/>
                </a:lnTo>
                <a:lnTo>
                  <a:pt x="48" y="2079"/>
                </a:lnTo>
                <a:lnTo>
                  <a:pt x="48" y="2079"/>
                </a:lnTo>
                <a:lnTo>
                  <a:pt x="48" y="2116"/>
                </a:lnTo>
                <a:lnTo>
                  <a:pt x="51" y="2152"/>
                </a:lnTo>
                <a:lnTo>
                  <a:pt x="2" y="2155"/>
                </a:lnTo>
                <a:close/>
                <a:moveTo>
                  <a:pt x="56" y="1929"/>
                </a:moveTo>
                <a:lnTo>
                  <a:pt x="7" y="1925"/>
                </a:lnTo>
                <a:lnTo>
                  <a:pt x="7" y="1925"/>
                </a:lnTo>
                <a:lnTo>
                  <a:pt x="11" y="1885"/>
                </a:lnTo>
                <a:lnTo>
                  <a:pt x="17" y="1845"/>
                </a:lnTo>
                <a:lnTo>
                  <a:pt x="23" y="1803"/>
                </a:lnTo>
                <a:lnTo>
                  <a:pt x="29" y="1762"/>
                </a:lnTo>
                <a:lnTo>
                  <a:pt x="77" y="1772"/>
                </a:lnTo>
                <a:lnTo>
                  <a:pt x="77" y="1772"/>
                </a:lnTo>
                <a:lnTo>
                  <a:pt x="71" y="1811"/>
                </a:lnTo>
                <a:lnTo>
                  <a:pt x="64" y="1851"/>
                </a:lnTo>
                <a:lnTo>
                  <a:pt x="59" y="1890"/>
                </a:lnTo>
                <a:lnTo>
                  <a:pt x="56" y="1929"/>
                </a:lnTo>
                <a:lnTo>
                  <a:pt x="56" y="1929"/>
                </a:lnTo>
                <a:close/>
                <a:moveTo>
                  <a:pt x="90" y="1708"/>
                </a:moveTo>
                <a:lnTo>
                  <a:pt x="42" y="1699"/>
                </a:lnTo>
                <a:lnTo>
                  <a:pt x="42" y="1699"/>
                </a:lnTo>
                <a:lnTo>
                  <a:pt x="52" y="1660"/>
                </a:lnTo>
                <a:lnTo>
                  <a:pt x="61" y="1619"/>
                </a:lnTo>
                <a:lnTo>
                  <a:pt x="72" y="1580"/>
                </a:lnTo>
                <a:lnTo>
                  <a:pt x="83" y="1540"/>
                </a:lnTo>
                <a:lnTo>
                  <a:pt x="130" y="1554"/>
                </a:lnTo>
                <a:lnTo>
                  <a:pt x="130" y="1554"/>
                </a:lnTo>
                <a:lnTo>
                  <a:pt x="118" y="1593"/>
                </a:lnTo>
                <a:lnTo>
                  <a:pt x="108" y="1632"/>
                </a:lnTo>
                <a:lnTo>
                  <a:pt x="98" y="1670"/>
                </a:lnTo>
                <a:lnTo>
                  <a:pt x="90" y="1708"/>
                </a:lnTo>
                <a:lnTo>
                  <a:pt x="90" y="1708"/>
                </a:lnTo>
                <a:close/>
                <a:moveTo>
                  <a:pt x="148" y="1492"/>
                </a:moveTo>
                <a:lnTo>
                  <a:pt x="102" y="1478"/>
                </a:lnTo>
                <a:lnTo>
                  <a:pt x="102" y="1478"/>
                </a:lnTo>
                <a:lnTo>
                  <a:pt x="129" y="1401"/>
                </a:lnTo>
                <a:lnTo>
                  <a:pt x="158" y="1324"/>
                </a:lnTo>
                <a:lnTo>
                  <a:pt x="203" y="1341"/>
                </a:lnTo>
                <a:lnTo>
                  <a:pt x="203" y="1341"/>
                </a:lnTo>
                <a:lnTo>
                  <a:pt x="174" y="1417"/>
                </a:lnTo>
                <a:lnTo>
                  <a:pt x="148" y="1492"/>
                </a:lnTo>
                <a:lnTo>
                  <a:pt x="148" y="1492"/>
                </a:lnTo>
                <a:close/>
                <a:moveTo>
                  <a:pt x="226" y="1282"/>
                </a:moveTo>
                <a:lnTo>
                  <a:pt x="182" y="1264"/>
                </a:lnTo>
                <a:lnTo>
                  <a:pt x="182" y="1264"/>
                </a:lnTo>
                <a:lnTo>
                  <a:pt x="215" y="1190"/>
                </a:lnTo>
                <a:lnTo>
                  <a:pt x="249" y="1115"/>
                </a:lnTo>
                <a:lnTo>
                  <a:pt x="293" y="1136"/>
                </a:lnTo>
                <a:lnTo>
                  <a:pt x="293" y="1136"/>
                </a:lnTo>
                <a:lnTo>
                  <a:pt x="258" y="1209"/>
                </a:lnTo>
                <a:lnTo>
                  <a:pt x="226" y="1282"/>
                </a:lnTo>
                <a:lnTo>
                  <a:pt x="226" y="1282"/>
                </a:lnTo>
                <a:close/>
                <a:moveTo>
                  <a:pt x="322" y="1079"/>
                </a:moveTo>
                <a:lnTo>
                  <a:pt x="278" y="1056"/>
                </a:lnTo>
                <a:lnTo>
                  <a:pt x="278" y="1056"/>
                </a:lnTo>
                <a:lnTo>
                  <a:pt x="315" y="984"/>
                </a:lnTo>
                <a:lnTo>
                  <a:pt x="354" y="913"/>
                </a:lnTo>
                <a:lnTo>
                  <a:pt x="397" y="937"/>
                </a:lnTo>
                <a:lnTo>
                  <a:pt x="397" y="937"/>
                </a:lnTo>
                <a:lnTo>
                  <a:pt x="358" y="1008"/>
                </a:lnTo>
                <a:lnTo>
                  <a:pt x="322" y="1079"/>
                </a:lnTo>
                <a:lnTo>
                  <a:pt x="322" y="1079"/>
                </a:lnTo>
                <a:close/>
                <a:moveTo>
                  <a:pt x="430" y="881"/>
                </a:moveTo>
                <a:lnTo>
                  <a:pt x="387" y="856"/>
                </a:lnTo>
                <a:lnTo>
                  <a:pt x="387" y="856"/>
                </a:lnTo>
                <a:lnTo>
                  <a:pt x="429" y="787"/>
                </a:lnTo>
                <a:lnTo>
                  <a:pt x="472" y="718"/>
                </a:lnTo>
                <a:lnTo>
                  <a:pt x="513" y="743"/>
                </a:lnTo>
                <a:lnTo>
                  <a:pt x="513" y="743"/>
                </a:lnTo>
                <a:lnTo>
                  <a:pt x="470" y="812"/>
                </a:lnTo>
                <a:lnTo>
                  <a:pt x="430" y="881"/>
                </a:lnTo>
                <a:lnTo>
                  <a:pt x="430" y="881"/>
                </a:lnTo>
                <a:close/>
                <a:moveTo>
                  <a:pt x="548" y="689"/>
                </a:moveTo>
                <a:lnTo>
                  <a:pt x="508" y="663"/>
                </a:lnTo>
                <a:lnTo>
                  <a:pt x="508" y="663"/>
                </a:lnTo>
                <a:lnTo>
                  <a:pt x="553" y="595"/>
                </a:lnTo>
                <a:lnTo>
                  <a:pt x="600" y="528"/>
                </a:lnTo>
                <a:lnTo>
                  <a:pt x="639" y="557"/>
                </a:lnTo>
                <a:lnTo>
                  <a:pt x="639" y="557"/>
                </a:lnTo>
                <a:lnTo>
                  <a:pt x="593" y="623"/>
                </a:lnTo>
                <a:lnTo>
                  <a:pt x="548" y="689"/>
                </a:lnTo>
                <a:lnTo>
                  <a:pt x="548" y="689"/>
                </a:lnTo>
                <a:close/>
                <a:moveTo>
                  <a:pt x="677" y="504"/>
                </a:moveTo>
                <a:lnTo>
                  <a:pt x="638" y="476"/>
                </a:lnTo>
                <a:lnTo>
                  <a:pt x="638" y="476"/>
                </a:lnTo>
                <a:lnTo>
                  <a:pt x="686" y="411"/>
                </a:lnTo>
                <a:lnTo>
                  <a:pt x="737" y="346"/>
                </a:lnTo>
                <a:lnTo>
                  <a:pt x="775" y="376"/>
                </a:lnTo>
                <a:lnTo>
                  <a:pt x="775" y="376"/>
                </a:lnTo>
                <a:lnTo>
                  <a:pt x="725" y="440"/>
                </a:lnTo>
                <a:lnTo>
                  <a:pt x="677" y="504"/>
                </a:lnTo>
                <a:lnTo>
                  <a:pt x="677" y="504"/>
                </a:lnTo>
                <a:close/>
                <a:moveTo>
                  <a:pt x="815" y="325"/>
                </a:moveTo>
                <a:lnTo>
                  <a:pt x="777" y="295"/>
                </a:lnTo>
                <a:lnTo>
                  <a:pt x="777" y="295"/>
                </a:lnTo>
                <a:lnTo>
                  <a:pt x="829" y="232"/>
                </a:lnTo>
                <a:lnTo>
                  <a:pt x="881" y="170"/>
                </a:lnTo>
                <a:lnTo>
                  <a:pt x="918" y="202"/>
                </a:lnTo>
                <a:lnTo>
                  <a:pt x="918" y="202"/>
                </a:lnTo>
                <a:lnTo>
                  <a:pt x="866" y="263"/>
                </a:lnTo>
                <a:lnTo>
                  <a:pt x="815" y="325"/>
                </a:lnTo>
                <a:lnTo>
                  <a:pt x="815" y="325"/>
                </a:lnTo>
                <a:close/>
                <a:moveTo>
                  <a:pt x="960" y="153"/>
                </a:moveTo>
                <a:lnTo>
                  <a:pt x="924" y="121"/>
                </a:lnTo>
                <a:lnTo>
                  <a:pt x="924" y="121"/>
                </a:lnTo>
                <a:lnTo>
                  <a:pt x="969" y="70"/>
                </a:lnTo>
                <a:lnTo>
                  <a:pt x="1004" y="32"/>
                </a:lnTo>
                <a:lnTo>
                  <a:pt x="1035" y="0"/>
                </a:lnTo>
                <a:lnTo>
                  <a:pt x="1069" y="34"/>
                </a:lnTo>
                <a:lnTo>
                  <a:pt x="1069" y="34"/>
                </a:lnTo>
                <a:lnTo>
                  <a:pt x="1039" y="66"/>
                </a:lnTo>
                <a:lnTo>
                  <a:pt x="1005" y="103"/>
                </a:lnTo>
                <a:lnTo>
                  <a:pt x="960" y="153"/>
                </a:lnTo>
                <a:lnTo>
                  <a:pt x="960" y="15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99" name="Freeform 136"/>
          <p:cNvSpPr>
            <a:spLocks/>
          </p:cNvSpPr>
          <p:nvPr/>
        </p:nvSpPr>
        <p:spPr bwMode="auto">
          <a:xfrm>
            <a:off x="6736601" y="3822700"/>
            <a:ext cx="112897" cy="120650"/>
          </a:xfrm>
          <a:custGeom>
            <a:avLst/>
            <a:gdLst>
              <a:gd name="T0" fmla="*/ 0 w 215"/>
              <a:gd name="T1" fmla="*/ 227 h 227"/>
              <a:gd name="T2" fmla="*/ 36 w 215"/>
              <a:gd name="T3" fmla="*/ 0 h 227"/>
              <a:gd name="T4" fmla="*/ 215 w 215"/>
              <a:gd name="T5" fmla="*/ 145 h 227"/>
              <a:gd name="T6" fmla="*/ 0 w 215"/>
              <a:gd name="T7" fmla="*/ 227 h 227"/>
            </a:gdLst>
            <a:ahLst/>
            <a:cxnLst>
              <a:cxn ang="0">
                <a:pos x="T0" y="T1"/>
              </a:cxn>
              <a:cxn ang="0">
                <a:pos x="T2" y="T3"/>
              </a:cxn>
              <a:cxn ang="0">
                <a:pos x="T4" y="T5"/>
              </a:cxn>
              <a:cxn ang="0">
                <a:pos x="T6" y="T7"/>
              </a:cxn>
            </a:cxnLst>
            <a:rect l="0" t="0" r="r" b="b"/>
            <a:pathLst>
              <a:path w="215" h="227">
                <a:moveTo>
                  <a:pt x="0" y="227"/>
                </a:moveTo>
                <a:lnTo>
                  <a:pt x="36" y="0"/>
                </a:lnTo>
                <a:lnTo>
                  <a:pt x="215" y="145"/>
                </a:lnTo>
                <a:lnTo>
                  <a:pt x="0" y="22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00" name="Freeform 137"/>
          <p:cNvSpPr>
            <a:spLocks/>
          </p:cNvSpPr>
          <p:nvPr/>
        </p:nvSpPr>
        <p:spPr bwMode="auto">
          <a:xfrm>
            <a:off x="8298343" y="4475163"/>
            <a:ext cx="117601" cy="114300"/>
          </a:xfrm>
          <a:custGeom>
            <a:avLst/>
            <a:gdLst>
              <a:gd name="T0" fmla="*/ 0 w 227"/>
              <a:gd name="T1" fmla="*/ 0 h 215"/>
              <a:gd name="T2" fmla="*/ 227 w 227"/>
              <a:gd name="T3" fmla="*/ 36 h 215"/>
              <a:gd name="T4" fmla="*/ 82 w 227"/>
              <a:gd name="T5" fmla="*/ 215 h 215"/>
              <a:gd name="T6" fmla="*/ 0 w 227"/>
              <a:gd name="T7" fmla="*/ 0 h 215"/>
            </a:gdLst>
            <a:ahLst/>
            <a:cxnLst>
              <a:cxn ang="0">
                <a:pos x="T0" y="T1"/>
              </a:cxn>
              <a:cxn ang="0">
                <a:pos x="T2" y="T3"/>
              </a:cxn>
              <a:cxn ang="0">
                <a:pos x="T4" y="T5"/>
              </a:cxn>
              <a:cxn ang="0">
                <a:pos x="T6" y="T7"/>
              </a:cxn>
            </a:cxnLst>
            <a:rect l="0" t="0" r="r" b="b"/>
            <a:pathLst>
              <a:path w="227" h="215">
                <a:moveTo>
                  <a:pt x="0" y="0"/>
                </a:moveTo>
                <a:lnTo>
                  <a:pt x="227" y="36"/>
                </a:lnTo>
                <a:lnTo>
                  <a:pt x="82" y="215"/>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01" name="Freeform 138"/>
          <p:cNvSpPr>
            <a:spLocks/>
          </p:cNvSpPr>
          <p:nvPr/>
        </p:nvSpPr>
        <p:spPr bwMode="auto">
          <a:xfrm>
            <a:off x="8321863" y="6353176"/>
            <a:ext cx="119169" cy="111125"/>
          </a:xfrm>
          <a:custGeom>
            <a:avLst/>
            <a:gdLst>
              <a:gd name="T0" fmla="*/ 94 w 230"/>
              <a:gd name="T1" fmla="*/ 0 h 211"/>
              <a:gd name="T2" fmla="*/ 230 w 230"/>
              <a:gd name="T3" fmla="*/ 187 h 211"/>
              <a:gd name="T4" fmla="*/ 0 w 230"/>
              <a:gd name="T5" fmla="*/ 211 h 211"/>
              <a:gd name="T6" fmla="*/ 94 w 230"/>
              <a:gd name="T7" fmla="*/ 0 h 211"/>
            </a:gdLst>
            <a:ahLst/>
            <a:cxnLst>
              <a:cxn ang="0">
                <a:pos x="T0" y="T1"/>
              </a:cxn>
              <a:cxn ang="0">
                <a:pos x="T2" y="T3"/>
              </a:cxn>
              <a:cxn ang="0">
                <a:pos x="T4" y="T5"/>
              </a:cxn>
              <a:cxn ang="0">
                <a:pos x="T6" y="T7"/>
              </a:cxn>
            </a:cxnLst>
            <a:rect l="0" t="0" r="r" b="b"/>
            <a:pathLst>
              <a:path w="230" h="211">
                <a:moveTo>
                  <a:pt x="94" y="0"/>
                </a:moveTo>
                <a:lnTo>
                  <a:pt x="230" y="187"/>
                </a:lnTo>
                <a:lnTo>
                  <a:pt x="0" y="211"/>
                </a:lnTo>
                <a:lnTo>
                  <a:pt x="94"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02" name="Freeform 169"/>
          <p:cNvSpPr>
            <a:spLocks noChangeAspect="1" noEditPoints="1"/>
          </p:cNvSpPr>
          <p:nvPr/>
        </p:nvSpPr>
        <p:spPr bwMode="auto">
          <a:xfrm flipH="1">
            <a:off x="6254361" y="5421602"/>
            <a:ext cx="790311" cy="649404"/>
          </a:xfrm>
          <a:custGeom>
            <a:avLst/>
            <a:gdLst>
              <a:gd name="T0" fmla="*/ 1626 w 1808"/>
              <a:gd name="T1" fmla="*/ 5 h 1487"/>
              <a:gd name="T2" fmla="*/ 1394 w 1808"/>
              <a:gd name="T3" fmla="*/ 47 h 1487"/>
              <a:gd name="T4" fmla="*/ 1323 w 1808"/>
              <a:gd name="T5" fmla="*/ 69 h 1487"/>
              <a:gd name="T6" fmla="*/ 1292 w 1808"/>
              <a:gd name="T7" fmla="*/ 113 h 1487"/>
              <a:gd name="T8" fmla="*/ 14 w 1808"/>
              <a:gd name="T9" fmla="*/ 317 h 1487"/>
              <a:gd name="T10" fmla="*/ 0 w 1808"/>
              <a:gd name="T11" fmla="*/ 342 h 1487"/>
              <a:gd name="T12" fmla="*/ 216 w 1808"/>
              <a:gd name="T13" fmla="*/ 1020 h 1487"/>
              <a:gd name="T14" fmla="*/ 248 w 1808"/>
              <a:gd name="T15" fmla="*/ 1039 h 1487"/>
              <a:gd name="T16" fmla="*/ 1127 w 1808"/>
              <a:gd name="T17" fmla="*/ 1044 h 1487"/>
              <a:gd name="T18" fmla="*/ 1160 w 1808"/>
              <a:gd name="T19" fmla="*/ 1084 h 1487"/>
              <a:gd name="T20" fmla="*/ 1152 w 1808"/>
              <a:gd name="T21" fmla="*/ 1126 h 1487"/>
              <a:gd name="T22" fmla="*/ 1106 w 1808"/>
              <a:gd name="T23" fmla="*/ 1150 h 1487"/>
              <a:gd name="T24" fmla="*/ 417 w 1808"/>
              <a:gd name="T25" fmla="*/ 1158 h 1487"/>
              <a:gd name="T26" fmla="*/ 348 w 1808"/>
              <a:gd name="T27" fmla="*/ 1200 h 1487"/>
              <a:gd name="T28" fmla="*/ 306 w 1808"/>
              <a:gd name="T29" fmla="*/ 1269 h 1487"/>
              <a:gd name="T30" fmla="*/ 300 w 1808"/>
              <a:gd name="T31" fmla="*/ 1337 h 1487"/>
              <a:gd name="T32" fmla="*/ 328 w 1808"/>
              <a:gd name="T33" fmla="*/ 1414 h 1487"/>
              <a:gd name="T34" fmla="*/ 387 w 1808"/>
              <a:gd name="T35" fmla="*/ 1467 h 1487"/>
              <a:gd name="T36" fmla="*/ 467 w 1808"/>
              <a:gd name="T37" fmla="*/ 1487 h 1487"/>
              <a:gd name="T38" fmla="*/ 533 w 1808"/>
              <a:gd name="T39" fmla="*/ 1474 h 1487"/>
              <a:gd name="T40" fmla="*/ 598 w 1808"/>
              <a:gd name="T41" fmla="*/ 1426 h 1487"/>
              <a:gd name="T42" fmla="*/ 632 w 1808"/>
              <a:gd name="T43" fmla="*/ 1353 h 1487"/>
              <a:gd name="T44" fmla="*/ 634 w 1808"/>
              <a:gd name="T45" fmla="*/ 1308 h 1487"/>
              <a:gd name="T46" fmla="*/ 804 w 1808"/>
              <a:gd name="T47" fmla="*/ 1319 h 1487"/>
              <a:gd name="T48" fmla="*/ 824 w 1808"/>
              <a:gd name="T49" fmla="*/ 1399 h 1487"/>
              <a:gd name="T50" fmla="*/ 878 w 1808"/>
              <a:gd name="T51" fmla="*/ 1459 h 1487"/>
              <a:gd name="T52" fmla="*/ 956 w 1808"/>
              <a:gd name="T53" fmla="*/ 1486 h 1487"/>
              <a:gd name="T54" fmla="*/ 1022 w 1808"/>
              <a:gd name="T55" fmla="*/ 1480 h 1487"/>
              <a:gd name="T56" fmla="*/ 1091 w 1808"/>
              <a:gd name="T57" fmla="*/ 1438 h 1487"/>
              <a:gd name="T58" fmla="*/ 1133 w 1808"/>
              <a:gd name="T59" fmla="*/ 1369 h 1487"/>
              <a:gd name="T60" fmla="*/ 1140 w 1808"/>
              <a:gd name="T61" fmla="*/ 1312 h 1487"/>
              <a:gd name="T62" fmla="*/ 1194 w 1808"/>
              <a:gd name="T63" fmla="*/ 1288 h 1487"/>
              <a:gd name="T64" fmla="*/ 1267 w 1808"/>
              <a:gd name="T65" fmla="*/ 1233 h 1487"/>
              <a:gd name="T66" fmla="*/ 1311 w 1808"/>
              <a:gd name="T67" fmla="*/ 1152 h 1487"/>
              <a:gd name="T68" fmla="*/ 1318 w 1808"/>
              <a:gd name="T69" fmla="*/ 1082 h 1487"/>
              <a:gd name="T70" fmla="*/ 1305 w 1808"/>
              <a:gd name="T71" fmla="*/ 1023 h 1487"/>
              <a:gd name="T72" fmla="*/ 1277 w 1808"/>
              <a:gd name="T73" fmla="*/ 969 h 1487"/>
              <a:gd name="T74" fmla="*/ 1235 w 1808"/>
              <a:gd name="T75" fmla="*/ 927 h 1487"/>
              <a:gd name="T76" fmla="*/ 1607 w 1808"/>
              <a:gd name="T77" fmla="*/ 200 h 1487"/>
              <a:gd name="T78" fmla="*/ 1675 w 1808"/>
              <a:gd name="T79" fmla="*/ 235 h 1487"/>
              <a:gd name="T80" fmla="*/ 1726 w 1808"/>
              <a:gd name="T81" fmla="*/ 231 h 1487"/>
              <a:gd name="T82" fmla="*/ 1774 w 1808"/>
              <a:gd name="T83" fmla="*/ 201 h 1487"/>
              <a:gd name="T84" fmla="*/ 1803 w 1808"/>
              <a:gd name="T85" fmla="*/ 153 h 1487"/>
              <a:gd name="T86" fmla="*/ 1808 w 1808"/>
              <a:gd name="T87" fmla="*/ 106 h 1487"/>
              <a:gd name="T88" fmla="*/ 1789 w 1808"/>
              <a:gd name="T89" fmla="*/ 52 h 1487"/>
              <a:gd name="T90" fmla="*/ 1747 w 1808"/>
              <a:gd name="T91" fmla="*/ 14 h 1487"/>
              <a:gd name="T92" fmla="*/ 1691 w 1808"/>
              <a:gd name="T93" fmla="*/ 0 h 1487"/>
              <a:gd name="T94" fmla="*/ 447 w 1808"/>
              <a:gd name="T95" fmla="*/ 1368 h 1487"/>
              <a:gd name="T96" fmla="*/ 415 w 1808"/>
              <a:gd name="T97" fmla="*/ 1329 h 1487"/>
              <a:gd name="T98" fmla="*/ 423 w 1808"/>
              <a:gd name="T99" fmla="*/ 1289 h 1487"/>
              <a:gd name="T100" fmla="*/ 467 w 1808"/>
              <a:gd name="T101" fmla="*/ 1266 h 1487"/>
              <a:gd name="T102" fmla="*/ 505 w 1808"/>
              <a:gd name="T103" fmla="*/ 1281 h 1487"/>
              <a:gd name="T104" fmla="*/ 521 w 1808"/>
              <a:gd name="T105" fmla="*/ 1319 h 1487"/>
              <a:gd name="T106" fmla="*/ 497 w 1808"/>
              <a:gd name="T107" fmla="*/ 1363 h 1487"/>
              <a:gd name="T108" fmla="*/ 972 w 1808"/>
              <a:gd name="T109" fmla="*/ 1373 h 1487"/>
              <a:gd name="T110" fmla="*/ 934 w 1808"/>
              <a:gd name="T111" fmla="*/ 1357 h 1487"/>
              <a:gd name="T112" fmla="*/ 919 w 1808"/>
              <a:gd name="T113" fmla="*/ 1319 h 1487"/>
              <a:gd name="T114" fmla="*/ 942 w 1808"/>
              <a:gd name="T115" fmla="*/ 1275 h 1487"/>
              <a:gd name="T116" fmla="*/ 983 w 1808"/>
              <a:gd name="T117" fmla="*/ 1267 h 1487"/>
              <a:gd name="T118" fmla="*/ 1021 w 1808"/>
              <a:gd name="T119" fmla="*/ 1298 h 1487"/>
              <a:gd name="T120" fmla="*/ 1021 w 1808"/>
              <a:gd name="T121" fmla="*/ 1340 h 1487"/>
              <a:gd name="T122" fmla="*/ 983 w 1808"/>
              <a:gd name="T123" fmla="*/ 1372 h 1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8" h="1487">
                <a:moveTo>
                  <a:pt x="1691" y="0"/>
                </a:moveTo>
                <a:lnTo>
                  <a:pt x="1691" y="0"/>
                </a:lnTo>
                <a:lnTo>
                  <a:pt x="1672" y="1"/>
                </a:lnTo>
                <a:lnTo>
                  <a:pt x="1650" y="2"/>
                </a:lnTo>
                <a:lnTo>
                  <a:pt x="1626" y="5"/>
                </a:lnTo>
                <a:lnTo>
                  <a:pt x="1600" y="9"/>
                </a:lnTo>
                <a:lnTo>
                  <a:pt x="1544" y="17"/>
                </a:lnTo>
                <a:lnTo>
                  <a:pt x="1488" y="28"/>
                </a:lnTo>
                <a:lnTo>
                  <a:pt x="1437" y="38"/>
                </a:lnTo>
                <a:lnTo>
                  <a:pt x="1394" y="47"/>
                </a:lnTo>
                <a:lnTo>
                  <a:pt x="1355" y="56"/>
                </a:lnTo>
                <a:lnTo>
                  <a:pt x="1355" y="56"/>
                </a:lnTo>
                <a:lnTo>
                  <a:pt x="1343" y="58"/>
                </a:lnTo>
                <a:lnTo>
                  <a:pt x="1333" y="63"/>
                </a:lnTo>
                <a:lnTo>
                  <a:pt x="1323" y="69"/>
                </a:lnTo>
                <a:lnTo>
                  <a:pt x="1315" y="76"/>
                </a:lnTo>
                <a:lnTo>
                  <a:pt x="1308" y="83"/>
                </a:lnTo>
                <a:lnTo>
                  <a:pt x="1300" y="92"/>
                </a:lnTo>
                <a:lnTo>
                  <a:pt x="1295" y="103"/>
                </a:lnTo>
                <a:lnTo>
                  <a:pt x="1292" y="113"/>
                </a:lnTo>
                <a:lnTo>
                  <a:pt x="1237" y="315"/>
                </a:lnTo>
                <a:lnTo>
                  <a:pt x="26" y="315"/>
                </a:lnTo>
                <a:lnTo>
                  <a:pt x="26" y="315"/>
                </a:lnTo>
                <a:lnTo>
                  <a:pt x="20" y="315"/>
                </a:lnTo>
                <a:lnTo>
                  <a:pt x="14" y="317"/>
                </a:lnTo>
                <a:lnTo>
                  <a:pt x="9" y="320"/>
                </a:lnTo>
                <a:lnTo>
                  <a:pt x="4" y="325"/>
                </a:lnTo>
                <a:lnTo>
                  <a:pt x="1" y="329"/>
                </a:lnTo>
                <a:lnTo>
                  <a:pt x="0" y="335"/>
                </a:lnTo>
                <a:lnTo>
                  <a:pt x="0" y="342"/>
                </a:lnTo>
                <a:lnTo>
                  <a:pt x="1" y="349"/>
                </a:lnTo>
                <a:lnTo>
                  <a:pt x="209" y="1006"/>
                </a:lnTo>
                <a:lnTo>
                  <a:pt x="209" y="1006"/>
                </a:lnTo>
                <a:lnTo>
                  <a:pt x="212" y="1014"/>
                </a:lnTo>
                <a:lnTo>
                  <a:pt x="216" y="1020"/>
                </a:lnTo>
                <a:lnTo>
                  <a:pt x="221" y="1025"/>
                </a:lnTo>
                <a:lnTo>
                  <a:pt x="226" y="1030"/>
                </a:lnTo>
                <a:lnTo>
                  <a:pt x="233" y="1034"/>
                </a:lnTo>
                <a:lnTo>
                  <a:pt x="240" y="1038"/>
                </a:lnTo>
                <a:lnTo>
                  <a:pt x="248" y="1039"/>
                </a:lnTo>
                <a:lnTo>
                  <a:pt x="255" y="1040"/>
                </a:lnTo>
                <a:lnTo>
                  <a:pt x="1106" y="1040"/>
                </a:lnTo>
                <a:lnTo>
                  <a:pt x="1106" y="1040"/>
                </a:lnTo>
                <a:lnTo>
                  <a:pt x="1118" y="1041"/>
                </a:lnTo>
                <a:lnTo>
                  <a:pt x="1127" y="1044"/>
                </a:lnTo>
                <a:lnTo>
                  <a:pt x="1137" y="1049"/>
                </a:lnTo>
                <a:lnTo>
                  <a:pt x="1145" y="1057"/>
                </a:lnTo>
                <a:lnTo>
                  <a:pt x="1152" y="1065"/>
                </a:lnTo>
                <a:lnTo>
                  <a:pt x="1157" y="1074"/>
                </a:lnTo>
                <a:lnTo>
                  <a:pt x="1160" y="1084"/>
                </a:lnTo>
                <a:lnTo>
                  <a:pt x="1161" y="1096"/>
                </a:lnTo>
                <a:lnTo>
                  <a:pt x="1161" y="1096"/>
                </a:lnTo>
                <a:lnTo>
                  <a:pt x="1160" y="1106"/>
                </a:lnTo>
                <a:lnTo>
                  <a:pt x="1157" y="1116"/>
                </a:lnTo>
                <a:lnTo>
                  <a:pt x="1152" y="1126"/>
                </a:lnTo>
                <a:lnTo>
                  <a:pt x="1145" y="1134"/>
                </a:lnTo>
                <a:lnTo>
                  <a:pt x="1137" y="1141"/>
                </a:lnTo>
                <a:lnTo>
                  <a:pt x="1127" y="1146"/>
                </a:lnTo>
                <a:lnTo>
                  <a:pt x="1118" y="1149"/>
                </a:lnTo>
                <a:lnTo>
                  <a:pt x="1106" y="1150"/>
                </a:lnTo>
                <a:lnTo>
                  <a:pt x="467" y="1150"/>
                </a:lnTo>
                <a:lnTo>
                  <a:pt x="467" y="1150"/>
                </a:lnTo>
                <a:lnTo>
                  <a:pt x="450" y="1151"/>
                </a:lnTo>
                <a:lnTo>
                  <a:pt x="433" y="1154"/>
                </a:lnTo>
                <a:lnTo>
                  <a:pt x="417" y="1158"/>
                </a:lnTo>
                <a:lnTo>
                  <a:pt x="402" y="1163"/>
                </a:lnTo>
                <a:lnTo>
                  <a:pt x="387" y="1170"/>
                </a:lnTo>
                <a:lnTo>
                  <a:pt x="373" y="1179"/>
                </a:lnTo>
                <a:lnTo>
                  <a:pt x="360" y="1189"/>
                </a:lnTo>
                <a:lnTo>
                  <a:pt x="348" y="1200"/>
                </a:lnTo>
                <a:lnTo>
                  <a:pt x="337" y="1211"/>
                </a:lnTo>
                <a:lnTo>
                  <a:pt x="328" y="1225"/>
                </a:lnTo>
                <a:lnTo>
                  <a:pt x="319" y="1238"/>
                </a:lnTo>
                <a:lnTo>
                  <a:pt x="312" y="1254"/>
                </a:lnTo>
                <a:lnTo>
                  <a:pt x="306" y="1269"/>
                </a:lnTo>
                <a:lnTo>
                  <a:pt x="302" y="1285"/>
                </a:lnTo>
                <a:lnTo>
                  <a:pt x="300" y="1302"/>
                </a:lnTo>
                <a:lnTo>
                  <a:pt x="299" y="1319"/>
                </a:lnTo>
                <a:lnTo>
                  <a:pt x="299" y="1319"/>
                </a:lnTo>
                <a:lnTo>
                  <a:pt x="300" y="1337"/>
                </a:lnTo>
                <a:lnTo>
                  <a:pt x="302" y="1353"/>
                </a:lnTo>
                <a:lnTo>
                  <a:pt x="306" y="1369"/>
                </a:lnTo>
                <a:lnTo>
                  <a:pt x="312" y="1385"/>
                </a:lnTo>
                <a:lnTo>
                  <a:pt x="319" y="1399"/>
                </a:lnTo>
                <a:lnTo>
                  <a:pt x="328" y="1414"/>
                </a:lnTo>
                <a:lnTo>
                  <a:pt x="337" y="1426"/>
                </a:lnTo>
                <a:lnTo>
                  <a:pt x="348" y="1438"/>
                </a:lnTo>
                <a:lnTo>
                  <a:pt x="360" y="1450"/>
                </a:lnTo>
                <a:lnTo>
                  <a:pt x="373" y="1459"/>
                </a:lnTo>
                <a:lnTo>
                  <a:pt x="387" y="1467"/>
                </a:lnTo>
                <a:lnTo>
                  <a:pt x="402" y="1474"/>
                </a:lnTo>
                <a:lnTo>
                  <a:pt x="417" y="1480"/>
                </a:lnTo>
                <a:lnTo>
                  <a:pt x="433" y="1484"/>
                </a:lnTo>
                <a:lnTo>
                  <a:pt x="450" y="1486"/>
                </a:lnTo>
                <a:lnTo>
                  <a:pt x="467" y="1487"/>
                </a:lnTo>
                <a:lnTo>
                  <a:pt x="467" y="1487"/>
                </a:lnTo>
                <a:lnTo>
                  <a:pt x="485" y="1486"/>
                </a:lnTo>
                <a:lnTo>
                  <a:pt x="501" y="1484"/>
                </a:lnTo>
                <a:lnTo>
                  <a:pt x="517" y="1480"/>
                </a:lnTo>
                <a:lnTo>
                  <a:pt x="533" y="1474"/>
                </a:lnTo>
                <a:lnTo>
                  <a:pt x="547" y="1467"/>
                </a:lnTo>
                <a:lnTo>
                  <a:pt x="562" y="1459"/>
                </a:lnTo>
                <a:lnTo>
                  <a:pt x="575" y="1450"/>
                </a:lnTo>
                <a:lnTo>
                  <a:pt x="586" y="1438"/>
                </a:lnTo>
                <a:lnTo>
                  <a:pt x="598" y="1426"/>
                </a:lnTo>
                <a:lnTo>
                  <a:pt x="607" y="1414"/>
                </a:lnTo>
                <a:lnTo>
                  <a:pt x="616" y="1399"/>
                </a:lnTo>
                <a:lnTo>
                  <a:pt x="623" y="1385"/>
                </a:lnTo>
                <a:lnTo>
                  <a:pt x="628" y="1369"/>
                </a:lnTo>
                <a:lnTo>
                  <a:pt x="632" y="1353"/>
                </a:lnTo>
                <a:lnTo>
                  <a:pt x="635" y="1337"/>
                </a:lnTo>
                <a:lnTo>
                  <a:pt x="635" y="1319"/>
                </a:lnTo>
                <a:lnTo>
                  <a:pt x="635" y="1319"/>
                </a:lnTo>
                <a:lnTo>
                  <a:pt x="635" y="1313"/>
                </a:lnTo>
                <a:lnTo>
                  <a:pt x="634" y="1308"/>
                </a:lnTo>
                <a:lnTo>
                  <a:pt x="805" y="1308"/>
                </a:lnTo>
                <a:lnTo>
                  <a:pt x="805" y="1308"/>
                </a:lnTo>
                <a:lnTo>
                  <a:pt x="804" y="1313"/>
                </a:lnTo>
                <a:lnTo>
                  <a:pt x="804" y="1319"/>
                </a:lnTo>
                <a:lnTo>
                  <a:pt x="804" y="1319"/>
                </a:lnTo>
                <a:lnTo>
                  <a:pt x="805" y="1337"/>
                </a:lnTo>
                <a:lnTo>
                  <a:pt x="807" y="1353"/>
                </a:lnTo>
                <a:lnTo>
                  <a:pt x="811" y="1369"/>
                </a:lnTo>
                <a:lnTo>
                  <a:pt x="817" y="1385"/>
                </a:lnTo>
                <a:lnTo>
                  <a:pt x="824" y="1399"/>
                </a:lnTo>
                <a:lnTo>
                  <a:pt x="832" y="1414"/>
                </a:lnTo>
                <a:lnTo>
                  <a:pt x="842" y="1426"/>
                </a:lnTo>
                <a:lnTo>
                  <a:pt x="853" y="1438"/>
                </a:lnTo>
                <a:lnTo>
                  <a:pt x="865" y="1450"/>
                </a:lnTo>
                <a:lnTo>
                  <a:pt x="878" y="1459"/>
                </a:lnTo>
                <a:lnTo>
                  <a:pt x="892" y="1467"/>
                </a:lnTo>
                <a:lnTo>
                  <a:pt x="906" y="1474"/>
                </a:lnTo>
                <a:lnTo>
                  <a:pt x="922" y="1480"/>
                </a:lnTo>
                <a:lnTo>
                  <a:pt x="938" y="1484"/>
                </a:lnTo>
                <a:lnTo>
                  <a:pt x="956" y="1486"/>
                </a:lnTo>
                <a:lnTo>
                  <a:pt x="972" y="1487"/>
                </a:lnTo>
                <a:lnTo>
                  <a:pt x="972" y="1487"/>
                </a:lnTo>
                <a:lnTo>
                  <a:pt x="989" y="1486"/>
                </a:lnTo>
                <a:lnTo>
                  <a:pt x="1006" y="1484"/>
                </a:lnTo>
                <a:lnTo>
                  <a:pt x="1022" y="1480"/>
                </a:lnTo>
                <a:lnTo>
                  <a:pt x="1038" y="1474"/>
                </a:lnTo>
                <a:lnTo>
                  <a:pt x="1053" y="1467"/>
                </a:lnTo>
                <a:lnTo>
                  <a:pt x="1066" y="1459"/>
                </a:lnTo>
                <a:lnTo>
                  <a:pt x="1080" y="1450"/>
                </a:lnTo>
                <a:lnTo>
                  <a:pt x="1091" y="1438"/>
                </a:lnTo>
                <a:lnTo>
                  <a:pt x="1102" y="1426"/>
                </a:lnTo>
                <a:lnTo>
                  <a:pt x="1113" y="1414"/>
                </a:lnTo>
                <a:lnTo>
                  <a:pt x="1121" y="1399"/>
                </a:lnTo>
                <a:lnTo>
                  <a:pt x="1128" y="1385"/>
                </a:lnTo>
                <a:lnTo>
                  <a:pt x="1133" y="1369"/>
                </a:lnTo>
                <a:lnTo>
                  <a:pt x="1137" y="1353"/>
                </a:lnTo>
                <a:lnTo>
                  <a:pt x="1140" y="1337"/>
                </a:lnTo>
                <a:lnTo>
                  <a:pt x="1141" y="1319"/>
                </a:lnTo>
                <a:lnTo>
                  <a:pt x="1141" y="1319"/>
                </a:lnTo>
                <a:lnTo>
                  <a:pt x="1140" y="1312"/>
                </a:lnTo>
                <a:lnTo>
                  <a:pt x="1139" y="1304"/>
                </a:lnTo>
                <a:lnTo>
                  <a:pt x="1139" y="1304"/>
                </a:lnTo>
                <a:lnTo>
                  <a:pt x="1158" y="1301"/>
                </a:lnTo>
                <a:lnTo>
                  <a:pt x="1176" y="1295"/>
                </a:lnTo>
                <a:lnTo>
                  <a:pt x="1194" y="1288"/>
                </a:lnTo>
                <a:lnTo>
                  <a:pt x="1210" y="1279"/>
                </a:lnTo>
                <a:lnTo>
                  <a:pt x="1225" y="1270"/>
                </a:lnTo>
                <a:lnTo>
                  <a:pt x="1241" y="1259"/>
                </a:lnTo>
                <a:lnTo>
                  <a:pt x="1254" y="1246"/>
                </a:lnTo>
                <a:lnTo>
                  <a:pt x="1267" y="1233"/>
                </a:lnTo>
                <a:lnTo>
                  <a:pt x="1279" y="1219"/>
                </a:lnTo>
                <a:lnTo>
                  <a:pt x="1288" y="1203"/>
                </a:lnTo>
                <a:lnTo>
                  <a:pt x="1297" y="1187"/>
                </a:lnTo>
                <a:lnTo>
                  <a:pt x="1304" y="1170"/>
                </a:lnTo>
                <a:lnTo>
                  <a:pt x="1311" y="1152"/>
                </a:lnTo>
                <a:lnTo>
                  <a:pt x="1315" y="1134"/>
                </a:lnTo>
                <a:lnTo>
                  <a:pt x="1318" y="1115"/>
                </a:lnTo>
                <a:lnTo>
                  <a:pt x="1319" y="1096"/>
                </a:lnTo>
                <a:lnTo>
                  <a:pt x="1319" y="1096"/>
                </a:lnTo>
                <a:lnTo>
                  <a:pt x="1318" y="1082"/>
                </a:lnTo>
                <a:lnTo>
                  <a:pt x="1317" y="1070"/>
                </a:lnTo>
                <a:lnTo>
                  <a:pt x="1315" y="1058"/>
                </a:lnTo>
                <a:lnTo>
                  <a:pt x="1313" y="1045"/>
                </a:lnTo>
                <a:lnTo>
                  <a:pt x="1310" y="1034"/>
                </a:lnTo>
                <a:lnTo>
                  <a:pt x="1305" y="1023"/>
                </a:lnTo>
                <a:lnTo>
                  <a:pt x="1300" y="1011"/>
                </a:lnTo>
                <a:lnTo>
                  <a:pt x="1295" y="1000"/>
                </a:lnTo>
                <a:lnTo>
                  <a:pt x="1290" y="990"/>
                </a:lnTo>
                <a:lnTo>
                  <a:pt x="1284" y="980"/>
                </a:lnTo>
                <a:lnTo>
                  <a:pt x="1277" y="969"/>
                </a:lnTo>
                <a:lnTo>
                  <a:pt x="1270" y="960"/>
                </a:lnTo>
                <a:lnTo>
                  <a:pt x="1261" y="952"/>
                </a:lnTo>
                <a:lnTo>
                  <a:pt x="1253" y="943"/>
                </a:lnTo>
                <a:lnTo>
                  <a:pt x="1244" y="936"/>
                </a:lnTo>
                <a:lnTo>
                  <a:pt x="1235" y="927"/>
                </a:lnTo>
                <a:lnTo>
                  <a:pt x="1431" y="203"/>
                </a:lnTo>
                <a:lnTo>
                  <a:pt x="1589" y="175"/>
                </a:lnTo>
                <a:lnTo>
                  <a:pt x="1589" y="175"/>
                </a:lnTo>
                <a:lnTo>
                  <a:pt x="1597" y="189"/>
                </a:lnTo>
                <a:lnTo>
                  <a:pt x="1607" y="200"/>
                </a:lnTo>
                <a:lnTo>
                  <a:pt x="1618" y="210"/>
                </a:lnTo>
                <a:lnTo>
                  <a:pt x="1631" y="219"/>
                </a:lnTo>
                <a:lnTo>
                  <a:pt x="1645" y="226"/>
                </a:lnTo>
                <a:lnTo>
                  <a:pt x="1659" y="232"/>
                </a:lnTo>
                <a:lnTo>
                  <a:pt x="1675" y="235"/>
                </a:lnTo>
                <a:lnTo>
                  <a:pt x="1691" y="236"/>
                </a:lnTo>
                <a:lnTo>
                  <a:pt x="1691" y="236"/>
                </a:lnTo>
                <a:lnTo>
                  <a:pt x="1703" y="235"/>
                </a:lnTo>
                <a:lnTo>
                  <a:pt x="1715" y="233"/>
                </a:lnTo>
                <a:lnTo>
                  <a:pt x="1726" y="231"/>
                </a:lnTo>
                <a:lnTo>
                  <a:pt x="1736" y="227"/>
                </a:lnTo>
                <a:lnTo>
                  <a:pt x="1747" y="222"/>
                </a:lnTo>
                <a:lnTo>
                  <a:pt x="1757" y="215"/>
                </a:lnTo>
                <a:lnTo>
                  <a:pt x="1766" y="209"/>
                </a:lnTo>
                <a:lnTo>
                  <a:pt x="1774" y="201"/>
                </a:lnTo>
                <a:lnTo>
                  <a:pt x="1782" y="193"/>
                </a:lnTo>
                <a:lnTo>
                  <a:pt x="1789" y="184"/>
                </a:lnTo>
                <a:lnTo>
                  <a:pt x="1795" y="174"/>
                </a:lnTo>
                <a:lnTo>
                  <a:pt x="1799" y="164"/>
                </a:lnTo>
                <a:lnTo>
                  <a:pt x="1803" y="153"/>
                </a:lnTo>
                <a:lnTo>
                  <a:pt x="1806" y="141"/>
                </a:lnTo>
                <a:lnTo>
                  <a:pt x="1808" y="130"/>
                </a:lnTo>
                <a:lnTo>
                  <a:pt x="1808" y="118"/>
                </a:lnTo>
                <a:lnTo>
                  <a:pt x="1808" y="118"/>
                </a:lnTo>
                <a:lnTo>
                  <a:pt x="1808" y="106"/>
                </a:lnTo>
                <a:lnTo>
                  <a:pt x="1806" y="94"/>
                </a:lnTo>
                <a:lnTo>
                  <a:pt x="1803" y="83"/>
                </a:lnTo>
                <a:lnTo>
                  <a:pt x="1799" y="72"/>
                </a:lnTo>
                <a:lnTo>
                  <a:pt x="1795" y="61"/>
                </a:lnTo>
                <a:lnTo>
                  <a:pt x="1789" y="52"/>
                </a:lnTo>
                <a:lnTo>
                  <a:pt x="1782" y="43"/>
                </a:lnTo>
                <a:lnTo>
                  <a:pt x="1774" y="35"/>
                </a:lnTo>
                <a:lnTo>
                  <a:pt x="1766" y="27"/>
                </a:lnTo>
                <a:lnTo>
                  <a:pt x="1757" y="20"/>
                </a:lnTo>
                <a:lnTo>
                  <a:pt x="1747" y="14"/>
                </a:lnTo>
                <a:lnTo>
                  <a:pt x="1736" y="9"/>
                </a:lnTo>
                <a:lnTo>
                  <a:pt x="1726" y="5"/>
                </a:lnTo>
                <a:lnTo>
                  <a:pt x="1715" y="2"/>
                </a:lnTo>
                <a:lnTo>
                  <a:pt x="1703" y="1"/>
                </a:lnTo>
                <a:lnTo>
                  <a:pt x="1691" y="0"/>
                </a:lnTo>
                <a:lnTo>
                  <a:pt x="1691" y="0"/>
                </a:lnTo>
                <a:close/>
                <a:moveTo>
                  <a:pt x="467" y="1373"/>
                </a:moveTo>
                <a:lnTo>
                  <a:pt x="467" y="1373"/>
                </a:lnTo>
                <a:lnTo>
                  <a:pt x="457" y="1372"/>
                </a:lnTo>
                <a:lnTo>
                  <a:pt x="447" y="1368"/>
                </a:lnTo>
                <a:lnTo>
                  <a:pt x="437" y="1363"/>
                </a:lnTo>
                <a:lnTo>
                  <a:pt x="429" y="1357"/>
                </a:lnTo>
                <a:lnTo>
                  <a:pt x="423" y="1349"/>
                </a:lnTo>
                <a:lnTo>
                  <a:pt x="418" y="1340"/>
                </a:lnTo>
                <a:lnTo>
                  <a:pt x="415" y="1329"/>
                </a:lnTo>
                <a:lnTo>
                  <a:pt x="414" y="1319"/>
                </a:lnTo>
                <a:lnTo>
                  <a:pt x="414" y="1319"/>
                </a:lnTo>
                <a:lnTo>
                  <a:pt x="415" y="1308"/>
                </a:lnTo>
                <a:lnTo>
                  <a:pt x="418" y="1298"/>
                </a:lnTo>
                <a:lnTo>
                  <a:pt x="423" y="1289"/>
                </a:lnTo>
                <a:lnTo>
                  <a:pt x="429" y="1281"/>
                </a:lnTo>
                <a:lnTo>
                  <a:pt x="437" y="1275"/>
                </a:lnTo>
                <a:lnTo>
                  <a:pt x="447" y="1270"/>
                </a:lnTo>
                <a:lnTo>
                  <a:pt x="457" y="1267"/>
                </a:lnTo>
                <a:lnTo>
                  <a:pt x="467" y="1266"/>
                </a:lnTo>
                <a:lnTo>
                  <a:pt x="467" y="1266"/>
                </a:lnTo>
                <a:lnTo>
                  <a:pt x="478" y="1267"/>
                </a:lnTo>
                <a:lnTo>
                  <a:pt x="488" y="1270"/>
                </a:lnTo>
                <a:lnTo>
                  <a:pt x="497" y="1275"/>
                </a:lnTo>
                <a:lnTo>
                  <a:pt x="505" y="1281"/>
                </a:lnTo>
                <a:lnTo>
                  <a:pt x="511" y="1289"/>
                </a:lnTo>
                <a:lnTo>
                  <a:pt x="516" y="1298"/>
                </a:lnTo>
                <a:lnTo>
                  <a:pt x="520" y="1308"/>
                </a:lnTo>
                <a:lnTo>
                  <a:pt x="521" y="1319"/>
                </a:lnTo>
                <a:lnTo>
                  <a:pt x="521" y="1319"/>
                </a:lnTo>
                <a:lnTo>
                  <a:pt x="520" y="1329"/>
                </a:lnTo>
                <a:lnTo>
                  <a:pt x="516" y="1340"/>
                </a:lnTo>
                <a:lnTo>
                  <a:pt x="511" y="1349"/>
                </a:lnTo>
                <a:lnTo>
                  <a:pt x="505" y="1357"/>
                </a:lnTo>
                <a:lnTo>
                  <a:pt x="497" y="1363"/>
                </a:lnTo>
                <a:lnTo>
                  <a:pt x="488" y="1368"/>
                </a:lnTo>
                <a:lnTo>
                  <a:pt x="478" y="1372"/>
                </a:lnTo>
                <a:lnTo>
                  <a:pt x="467" y="1373"/>
                </a:lnTo>
                <a:lnTo>
                  <a:pt x="467" y="1373"/>
                </a:lnTo>
                <a:close/>
                <a:moveTo>
                  <a:pt x="972" y="1373"/>
                </a:moveTo>
                <a:lnTo>
                  <a:pt x="972" y="1373"/>
                </a:lnTo>
                <a:lnTo>
                  <a:pt x="962" y="1372"/>
                </a:lnTo>
                <a:lnTo>
                  <a:pt x="952" y="1368"/>
                </a:lnTo>
                <a:lnTo>
                  <a:pt x="942" y="1363"/>
                </a:lnTo>
                <a:lnTo>
                  <a:pt x="934" y="1357"/>
                </a:lnTo>
                <a:lnTo>
                  <a:pt x="928" y="1349"/>
                </a:lnTo>
                <a:lnTo>
                  <a:pt x="923" y="1340"/>
                </a:lnTo>
                <a:lnTo>
                  <a:pt x="920" y="1329"/>
                </a:lnTo>
                <a:lnTo>
                  <a:pt x="919" y="1319"/>
                </a:lnTo>
                <a:lnTo>
                  <a:pt x="919" y="1319"/>
                </a:lnTo>
                <a:lnTo>
                  <a:pt x="920" y="1308"/>
                </a:lnTo>
                <a:lnTo>
                  <a:pt x="923" y="1298"/>
                </a:lnTo>
                <a:lnTo>
                  <a:pt x="928" y="1289"/>
                </a:lnTo>
                <a:lnTo>
                  <a:pt x="934" y="1281"/>
                </a:lnTo>
                <a:lnTo>
                  <a:pt x="942" y="1275"/>
                </a:lnTo>
                <a:lnTo>
                  <a:pt x="952" y="1270"/>
                </a:lnTo>
                <a:lnTo>
                  <a:pt x="962" y="1267"/>
                </a:lnTo>
                <a:lnTo>
                  <a:pt x="972" y="1266"/>
                </a:lnTo>
                <a:lnTo>
                  <a:pt x="972" y="1266"/>
                </a:lnTo>
                <a:lnTo>
                  <a:pt x="983" y="1267"/>
                </a:lnTo>
                <a:lnTo>
                  <a:pt x="994" y="1270"/>
                </a:lnTo>
                <a:lnTo>
                  <a:pt x="1002" y="1275"/>
                </a:lnTo>
                <a:lnTo>
                  <a:pt x="1010" y="1281"/>
                </a:lnTo>
                <a:lnTo>
                  <a:pt x="1016" y="1289"/>
                </a:lnTo>
                <a:lnTo>
                  <a:pt x="1021" y="1298"/>
                </a:lnTo>
                <a:lnTo>
                  <a:pt x="1024" y="1308"/>
                </a:lnTo>
                <a:lnTo>
                  <a:pt x="1025" y="1319"/>
                </a:lnTo>
                <a:lnTo>
                  <a:pt x="1025" y="1319"/>
                </a:lnTo>
                <a:lnTo>
                  <a:pt x="1024" y="1329"/>
                </a:lnTo>
                <a:lnTo>
                  <a:pt x="1021" y="1340"/>
                </a:lnTo>
                <a:lnTo>
                  <a:pt x="1016" y="1349"/>
                </a:lnTo>
                <a:lnTo>
                  <a:pt x="1010" y="1357"/>
                </a:lnTo>
                <a:lnTo>
                  <a:pt x="1002" y="1363"/>
                </a:lnTo>
                <a:lnTo>
                  <a:pt x="994" y="1368"/>
                </a:lnTo>
                <a:lnTo>
                  <a:pt x="983" y="1372"/>
                </a:lnTo>
                <a:lnTo>
                  <a:pt x="972" y="1373"/>
                </a:lnTo>
                <a:lnTo>
                  <a:pt x="972" y="1373"/>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3B41"/>
              </a:solidFill>
              <a:effectLst/>
              <a:uLnTx/>
              <a:uFillTx/>
            </a:endParaRPr>
          </a:p>
        </p:txBody>
      </p:sp>
      <p:grpSp>
        <p:nvGrpSpPr>
          <p:cNvPr id="703" name="Group 702"/>
          <p:cNvGrpSpPr/>
          <p:nvPr/>
        </p:nvGrpSpPr>
        <p:grpSpPr>
          <a:xfrm>
            <a:off x="7360882" y="2127854"/>
            <a:ext cx="407459" cy="413695"/>
            <a:chOff x="7262448" y="1891436"/>
            <a:chExt cx="660685" cy="670797"/>
          </a:xfrm>
        </p:grpSpPr>
        <p:sp>
          <p:nvSpPr>
            <p:cNvPr id="704" name="Arc 703"/>
            <p:cNvSpPr/>
            <p:nvPr/>
          </p:nvSpPr>
          <p:spPr>
            <a:xfrm rot="1545439">
              <a:off x="7262448" y="2195478"/>
              <a:ext cx="393430" cy="366755"/>
            </a:xfrm>
            <a:prstGeom prst="arc">
              <a:avLst>
                <a:gd name="adj1" fmla="val 13625581"/>
                <a:gd name="adj2" fmla="val 0"/>
              </a:avLst>
            </a:prstGeom>
            <a:ln w="19050">
              <a:solidFill>
                <a:schemeClr val="accent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05" name="Arc 704"/>
            <p:cNvSpPr/>
            <p:nvPr/>
          </p:nvSpPr>
          <p:spPr>
            <a:xfrm rot="2444414" flipH="1" flipV="1">
              <a:off x="7295465" y="1891436"/>
              <a:ext cx="627668" cy="585112"/>
            </a:xfrm>
            <a:prstGeom prst="arc">
              <a:avLst>
                <a:gd name="adj1" fmla="val 14622696"/>
                <a:gd name="adj2" fmla="val 0"/>
              </a:avLst>
            </a:prstGeom>
            <a:ln w="19050">
              <a:solidFill>
                <a:schemeClr val="accent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706" name="TextBox 705"/>
          <p:cNvSpPr txBox="1"/>
          <p:nvPr/>
        </p:nvSpPr>
        <p:spPr>
          <a:xfrm>
            <a:off x="7284339" y="1596070"/>
            <a:ext cx="923820" cy="169277"/>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38" normalizeH="0" baseline="0" noProof="0" dirty="0">
                <a:ln>
                  <a:noFill/>
                </a:ln>
                <a:solidFill>
                  <a:srgbClr val="8DC548"/>
                </a:solidFill>
                <a:effectLst/>
                <a:uLnTx/>
                <a:uFillTx/>
                <a:ea typeface="Segoe UI" pitchFamily="34" charset="0"/>
                <a:cs typeface="Segoe UI" pitchFamily="34" charset="0"/>
              </a:rPr>
              <a:t>Merchandizing</a:t>
            </a:r>
          </a:p>
        </p:txBody>
      </p:sp>
      <p:sp>
        <p:nvSpPr>
          <p:cNvPr id="708" name="Isosceles Triangle 864"/>
          <p:cNvSpPr/>
          <p:nvPr/>
        </p:nvSpPr>
        <p:spPr bwMode="auto">
          <a:xfrm rot="5400000">
            <a:off x="9762349" y="1849598"/>
            <a:ext cx="1577209" cy="864177"/>
          </a:xfrm>
          <a:custGeom>
            <a:avLst/>
            <a:gdLst>
              <a:gd name="connsiteX0" fmla="*/ 0 w 371058"/>
              <a:gd name="connsiteY0" fmla="*/ 459348 h 459348"/>
              <a:gd name="connsiteX1" fmla="*/ 59885 w 371058"/>
              <a:gd name="connsiteY1" fmla="*/ 0 h 459348"/>
              <a:gd name="connsiteX2" fmla="*/ 371058 w 371058"/>
              <a:gd name="connsiteY2" fmla="*/ 459348 h 459348"/>
              <a:gd name="connsiteX3" fmla="*/ 0 w 371058"/>
              <a:gd name="connsiteY3" fmla="*/ 459348 h 459348"/>
              <a:gd name="connsiteX0" fmla="*/ 0 w 1296152"/>
              <a:gd name="connsiteY0" fmla="*/ 459348 h 459348"/>
              <a:gd name="connsiteX1" fmla="*/ 984979 w 1296152"/>
              <a:gd name="connsiteY1" fmla="*/ 0 h 459348"/>
              <a:gd name="connsiteX2" fmla="*/ 1296152 w 1296152"/>
              <a:gd name="connsiteY2" fmla="*/ 459348 h 459348"/>
              <a:gd name="connsiteX3" fmla="*/ 0 w 1296152"/>
              <a:gd name="connsiteY3" fmla="*/ 459348 h 459348"/>
              <a:gd name="connsiteX0" fmla="*/ 0 w 1296152"/>
              <a:gd name="connsiteY0" fmla="*/ 470043 h 470043"/>
              <a:gd name="connsiteX1" fmla="*/ 567884 w 1296152"/>
              <a:gd name="connsiteY1" fmla="*/ 0 h 470043"/>
              <a:gd name="connsiteX2" fmla="*/ 1296152 w 1296152"/>
              <a:gd name="connsiteY2" fmla="*/ 470043 h 470043"/>
              <a:gd name="connsiteX3" fmla="*/ 0 w 1296152"/>
              <a:gd name="connsiteY3" fmla="*/ 470043 h 470043"/>
            </a:gdLst>
            <a:ahLst/>
            <a:cxnLst>
              <a:cxn ang="0">
                <a:pos x="connsiteX0" y="connsiteY0"/>
              </a:cxn>
              <a:cxn ang="0">
                <a:pos x="connsiteX1" y="connsiteY1"/>
              </a:cxn>
              <a:cxn ang="0">
                <a:pos x="connsiteX2" y="connsiteY2"/>
              </a:cxn>
              <a:cxn ang="0">
                <a:pos x="connsiteX3" y="connsiteY3"/>
              </a:cxn>
            </a:cxnLst>
            <a:rect l="l" t="t" r="r" b="b"/>
            <a:pathLst>
              <a:path w="1296152" h="470043">
                <a:moveTo>
                  <a:pt x="0" y="470043"/>
                </a:moveTo>
                <a:lnTo>
                  <a:pt x="567884" y="0"/>
                </a:lnTo>
                <a:lnTo>
                  <a:pt x="1296152" y="470043"/>
                </a:lnTo>
                <a:lnTo>
                  <a:pt x="0" y="470043"/>
                </a:lnTo>
                <a:close/>
              </a:path>
            </a:pathLst>
          </a:cu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15" name="Freeform 6"/>
          <p:cNvSpPr>
            <a:spLocks/>
          </p:cNvSpPr>
          <p:nvPr/>
        </p:nvSpPr>
        <p:spPr bwMode="auto">
          <a:xfrm>
            <a:off x="11503005" y="2616957"/>
            <a:ext cx="228600" cy="935038"/>
          </a:xfrm>
          <a:custGeom>
            <a:avLst/>
            <a:gdLst>
              <a:gd name="T0" fmla="*/ 144 w 144"/>
              <a:gd name="T1" fmla="*/ 72 h 589"/>
              <a:gd name="T2" fmla="*/ 144 w 144"/>
              <a:gd name="T3" fmla="*/ 72 h 589"/>
              <a:gd name="T4" fmla="*/ 142 w 144"/>
              <a:gd name="T5" fmla="*/ 57 h 589"/>
              <a:gd name="T6" fmla="*/ 139 w 144"/>
              <a:gd name="T7" fmla="*/ 44 h 589"/>
              <a:gd name="T8" fmla="*/ 132 w 144"/>
              <a:gd name="T9" fmla="*/ 32 h 589"/>
              <a:gd name="T10" fmla="*/ 122 w 144"/>
              <a:gd name="T11" fmla="*/ 20 h 589"/>
              <a:gd name="T12" fmla="*/ 112 w 144"/>
              <a:gd name="T13" fmla="*/ 12 h 589"/>
              <a:gd name="T14" fmla="*/ 100 w 144"/>
              <a:gd name="T15" fmla="*/ 5 h 589"/>
              <a:gd name="T16" fmla="*/ 87 w 144"/>
              <a:gd name="T17" fmla="*/ 2 h 589"/>
              <a:gd name="T18" fmla="*/ 72 w 144"/>
              <a:gd name="T19" fmla="*/ 0 h 589"/>
              <a:gd name="T20" fmla="*/ 72 w 144"/>
              <a:gd name="T21" fmla="*/ 0 h 589"/>
              <a:gd name="T22" fmla="*/ 72 w 144"/>
              <a:gd name="T23" fmla="*/ 0 h 589"/>
              <a:gd name="T24" fmla="*/ 57 w 144"/>
              <a:gd name="T25" fmla="*/ 2 h 589"/>
              <a:gd name="T26" fmla="*/ 43 w 144"/>
              <a:gd name="T27" fmla="*/ 5 h 589"/>
              <a:gd name="T28" fmla="*/ 32 w 144"/>
              <a:gd name="T29" fmla="*/ 12 h 589"/>
              <a:gd name="T30" fmla="*/ 22 w 144"/>
              <a:gd name="T31" fmla="*/ 20 h 589"/>
              <a:gd name="T32" fmla="*/ 12 w 144"/>
              <a:gd name="T33" fmla="*/ 32 h 589"/>
              <a:gd name="T34" fmla="*/ 5 w 144"/>
              <a:gd name="T35" fmla="*/ 44 h 589"/>
              <a:gd name="T36" fmla="*/ 2 w 144"/>
              <a:gd name="T37" fmla="*/ 57 h 589"/>
              <a:gd name="T38" fmla="*/ 0 w 144"/>
              <a:gd name="T39" fmla="*/ 72 h 589"/>
              <a:gd name="T40" fmla="*/ 7 w 144"/>
              <a:gd name="T41" fmla="*/ 309 h 589"/>
              <a:gd name="T42" fmla="*/ 0 w 144"/>
              <a:gd name="T43" fmla="*/ 517 h 589"/>
              <a:gd name="T44" fmla="*/ 0 w 144"/>
              <a:gd name="T45" fmla="*/ 517 h 589"/>
              <a:gd name="T46" fmla="*/ 2 w 144"/>
              <a:gd name="T47" fmla="*/ 532 h 589"/>
              <a:gd name="T48" fmla="*/ 5 w 144"/>
              <a:gd name="T49" fmla="*/ 546 h 589"/>
              <a:gd name="T50" fmla="*/ 12 w 144"/>
              <a:gd name="T51" fmla="*/ 557 h 589"/>
              <a:gd name="T52" fmla="*/ 22 w 144"/>
              <a:gd name="T53" fmla="*/ 569 h 589"/>
              <a:gd name="T54" fmla="*/ 32 w 144"/>
              <a:gd name="T55" fmla="*/ 577 h 589"/>
              <a:gd name="T56" fmla="*/ 43 w 144"/>
              <a:gd name="T57" fmla="*/ 584 h 589"/>
              <a:gd name="T58" fmla="*/ 57 w 144"/>
              <a:gd name="T59" fmla="*/ 587 h 589"/>
              <a:gd name="T60" fmla="*/ 72 w 144"/>
              <a:gd name="T61" fmla="*/ 589 h 589"/>
              <a:gd name="T62" fmla="*/ 72 w 144"/>
              <a:gd name="T63" fmla="*/ 589 h 589"/>
              <a:gd name="T64" fmla="*/ 72 w 144"/>
              <a:gd name="T65" fmla="*/ 589 h 589"/>
              <a:gd name="T66" fmla="*/ 87 w 144"/>
              <a:gd name="T67" fmla="*/ 587 h 589"/>
              <a:gd name="T68" fmla="*/ 100 w 144"/>
              <a:gd name="T69" fmla="*/ 584 h 589"/>
              <a:gd name="T70" fmla="*/ 112 w 144"/>
              <a:gd name="T71" fmla="*/ 577 h 589"/>
              <a:gd name="T72" fmla="*/ 122 w 144"/>
              <a:gd name="T73" fmla="*/ 569 h 589"/>
              <a:gd name="T74" fmla="*/ 132 w 144"/>
              <a:gd name="T75" fmla="*/ 557 h 589"/>
              <a:gd name="T76" fmla="*/ 139 w 144"/>
              <a:gd name="T77" fmla="*/ 546 h 589"/>
              <a:gd name="T78" fmla="*/ 142 w 144"/>
              <a:gd name="T79" fmla="*/ 532 h 589"/>
              <a:gd name="T80" fmla="*/ 144 w 144"/>
              <a:gd name="T81" fmla="*/ 517 h 589"/>
              <a:gd name="T82" fmla="*/ 137 w 144"/>
              <a:gd name="T83" fmla="*/ 306 h 589"/>
              <a:gd name="T84" fmla="*/ 144 w 144"/>
              <a:gd name="T85" fmla="*/ 72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4" h="589">
                <a:moveTo>
                  <a:pt x="144" y="72"/>
                </a:moveTo>
                <a:lnTo>
                  <a:pt x="144" y="72"/>
                </a:lnTo>
                <a:lnTo>
                  <a:pt x="142" y="57"/>
                </a:lnTo>
                <a:lnTo>
                  <a:pt x="139" y="44"/>
                </a:lnTo>
                <a:lnTo>
                  <a:pt x="132" y="32"/>
                </a:lnTo>
                <a:lnTo>
                  <a:pt x="122" y="20"/>
                </a:lnTo>
                <a:lnTo>
                  <a:pt x="112" y="12"/>
                </a:lnTo>
                <a:lnTo>
                  <a:pt x="100" y="5"/>
                </a:lnTo>
                <a:lnTo>
                  <a:pt x="87" y="2"/>
                </a:lnTo>
                <a:lnTo>
                  <a:pt x="72" y="0"/>
                </a:lnTo>
                <a:lnTo>
                  <a:pt x="72" y="0"/>
                </a:lnTo>
                <a:lnTo>
                  <a:pt x="72" y="0"/>
                </a:lnTo>
                <a:lnTo>
                  <a:pt x="57" y="2"/>
                </a:lnTo>
                <a:lnTo>
                  <a:pt x="43" y="5"/>
                </a:lnTo>
                <a:lnTo>
                  <a:pt x="32" y="12"/>
                </a:lnTo>
                <a:lnTo>
                  <a:pt x="22" y="20"/>
                </a:lnTo>
                <a:lnTo>
                  <a:pt x="12" y="32"/>
                </a:lnTo>
                <a:lnTo>
                  <a:pt x="5" y="44"/>
                </a:lnTo>
                <a:lnTo>
                  <a:pt x="2" y="57"/>
                </a:lnTo>
                <a:lnTo>
                  <a:pt x="0" y="72"/>
                </a:lnTo>
                <a:lnTo>
                  <a:pt x="7" y="309"/>
                </a:lnTo>
                <a:lnTo>
                  <a:pt x="0" y="517"/>
                </a:lnTo>
                <a:lnTo>
                  <a:pt x="0" y="517"/>
                </a:lnTo>
                <a:lnTo>
                  <a:pt x="2" y="532"/>
                </a:lnTo>
                <a:lnTo>
                  <a:pt x="5" y="546"/>
                </a:lnTo>
                <a:lnTo>
                  <a:pt x="12" y="557"/>
                </a:lnTo>
                <a:lnTo>
                  <a:pt x="22" y="569"/>
                </a:lnTo>
                <a:lnTo>
                  <a:pt x="32" y="577"/>
                </a:lnTo>
                <a:lnTo>
                  <a:pt x="43" y="584"/>
                </a:lnTo>
                <a:lnTo>
                  <a:pt x="57" y="587"/>
                </a:lnTo>
                <a:lnTo>
                  <a:pt x="72" y="589"/>
                </a:lnTo>
                <a:lnTo>
                  <a:pt x="72" y="589"/>
                </a:lnTo>
                <a:lnTo>
                  <a:pt x="72" y="589"/>
                </a:lnTo>
                <a:lnTo>
                  <a:pt x="87" y="587"/>
                </a:lnTo>
                <a:lnTo>
                  <a:pt x="100" y="584"/>
                </a:lnTo>
                <a:lnTo>
                  <a:pt x="112" y="577"/>
                </a:lnTo>
                <a:lnTo>
                  <a:pt x="122" y="569"/>
                </a:lnTo>
                <a:lnTo>
                  <a:pt x="132" y="557"/>
                </a:lnTo>
                <a:lnTo>
                  <a:pt x="139" y="546"/>
                </a:lnTo>
                <a:lnTo>
                  <a:pt x="142" y="532"/>
                </a:lnTo>
                <a:lnTo>
                  <a:pt x="144" y="517"/>
                </a:lnTo>
                <a:lnTo>
                  <a:pt x="137" y="306"/>
                </a:lnTo>
                <a:lnTo>
                  <a:pt x="144" y="72"/>
                </a:lnTo>
                <a:close/>
              </a:path>
            </a:pathLst>
          </a:custGeom>
          <a:solidFill>
            <a:srgbClr val="FFFFFF"/>
          </a:solidFill>
          <a:ln w="7">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16" name="Freeform 51"/>
          <p:cNvSpPr>
            <a:spLocks/>
          </p:cNvSpPr>
          <p:nvPr/>
        </p:nvSpPr>
        <p:spPr bwMode="auto">
          <a:xfrm>
            <a:off x="11137364" y="1678056"/>
            <a:ext cx="477838" cy="477838"/>
          </a:xfrm>
          <a:prstGeom prst="ellipse">
            <a:avLst/>
          </a:prstGeom>
          <a:solidFill>
            <a:srgbClr val="FFFFFF"/>
          </a:solidFill>
          <a:ln w="7">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17" name="Freeform 52"/>
          <p:cNvSpPr>
            <a:spLocks/>
          </p:cNvSpPr>
          <p:nvPr/>
        </p:nvSpPr>
        <p:spPr bwMode="auto">
          <a:xfrm>
            <a:off x="11252181" y="2648707"/>
            <a:ext cx="227013" cy="935038"/>
          </a:xfrm>
          <a:custGeom>
            <a:avLst/>
            <a:gdLst>
              <a:gd name="T0" fmla="*/ 143 w 143"/>
              <a:gd name="T1" fmla="*/ 72 h 589"/>
              <a:gd name="T2" fmla="*/ 143 w 143"/>
              <a:gd name="T3" fmla="*/ 72 h 589"/>
              <a:gd name="T4" fmla="*/ 141 w 143"/>
              <a:gd name="T5" fmla="*/ 57 h 589"/>
              <a:gd name="T6" fmla="*/ 136 w 143"/>
              <a:gd name="T7" fmla="*/ 44 h 589"/>
              <a:gd name="T8" fmla="*/ 130 w 143"/>
              <a:gd name="T9" fmla="*/ 32 h 589"/>
              <a:gd name="T10" fmla="*/ 121 w 143"/>
              <a:gd name="T11" fmla="*/ 20 h 589"/>
              <a:gd name="T12" fmla="*/ 111 w 143"/>
              <a:gd name="T13" fmla="*/ 12 h 589"/>
              <a:gd name="T14" fmla="*/ 98 w 143"/>
              <a:gd name="T15" fmla="*/ 5 h 589"/>
              <a:gd name="T16" fmla="*/ 85 w 143"/>
              <a:gd name="T17" fmla="*/ 2 h 589"/>
              <a:gd name="T18" fmla="*/ 71 w 143"/>
              <a:gd name="T19" fmla="*/ 0 h 589"/>
              <a:gd name="T20" fmla="*/ 71 w 143"/>
              <a:gd name="T21" fmla="*/ 0 h 589"/>
              <a:gd name="T22" fmla="*/ 71 w 143"/>
              <a:gd name="T23" fmla="*/ 0 h 589"/>
              <a:gd name="T24" fmla="*/ 56 w 143"/>
              <a:gd name="T25" fmla="*/ 2 h 589"/>
              <a:gd name="T26" fmla="*/ 43 w 143"/>
              <a:gd name="T27" fmla="*/ 5 h 589"/>
              <a:gd name="T28" fmla="*/ 31 w 143"/>
              <a:gd name="T29" fmla="*/ 12 h 589"/>
              <a:gd name="T30" fmla="*/ 20 w 143"/>
              <a:gd name="T31" fmla="*/ 20 h 589"/>
              <a:gd name="T32" fmla="*/ 11 w 143"/>
              <a:gd name="T33" fmla="*/ 32 h 589"/>
              <a:gd name="T34" fmla="*/ 5 w 143"/>
              <a:gd name="T35" fmla="*/ 44 h 589"/>
              <a:gd name="T36" fmla="*/ 1 w 143"/>
              <a:gd name="T37" fmla="*/ 57 h 589"/>
              <a:gd name="T38" fmla="*/ 0 w 143"/>
              <a:gd name="T39" fmla="*/ 72 h 589"/>
              <a:gd name="T40" fmla="*/ 6 w 143"/>
              <a:gd name="T41" fmla="*/ 289 h 589"/>
              <a:gd name="T42" fmla="*/ 0 w 143"/>
              <a:gd name="T43" fmla="*/ 517 h 589"/>
              <a:gd name="T44" fmla="*/ 0 w 143"/>
              <a:gd name="T45" fmla="*/ 517 h 589"/>
              <a:gd name="T46" fmla="*/ 1 w 143"/>
              <a:gd name="T47" fmla="*/ 532 h 589"/>
              <a:gd name="T48" fmla="*/ 5 w 143"/>
              <a:gd name="T49" fmla="*/ 546 h 589"/>
              <a:gd name="T50" fmla="*/ 11 w 143"/>
              <a:gd name="T51" fmla="*/ 557 h 589"/>
              <a:gd name="T52" fmla="*/ 20 w 143"/>
              <a:gd name="T53" fmla="*/ 569 h 589"/>
              <a:gd name="T54" fmla="*/ 31 w 143"/>
              <a:gd name="T55" fmla="*/ 577 h 589"/>
              <a:gd name="T56" fmla="*/ 43 w 143"/>
              <a:gd name="T57" fmla="*/ 584 h 589"/>
              <a:gd name="T58" fmla="*/ 56 w 143"/>
              <a:gd name="T59" fmla="*/ 587 h 589"/>
              <a:gd name="T60" fmla="*/ 71 w 143"/>
              <a:gd name="T61" fmla="*/ 589 h 589"/>
              <a:gd name="T62" fmla="*/ 71 w 143"/>
              <a:gd name="T63" fmla="*/ 589 h 589"/>
              <a:gd name="T64" fmla="*/ 71 w 143"/>
              <a:gd name="T65" fmla="*/ 589 h 589"/>
              <a:gd name="T66" fmla="*/ 85 w 143"/>
              <a:gd name="T67" fmla="*/ 587 h 589"/>
              <a:gd name="T68" fmla="*/ 98 w 143"/>
              <a:gd name="T69" fmla="*/ 584 h 589"/>
              <a:gd name="T70" fmla="*/ 111 w 143"/>
              <a:gd name="T71" fmla="*/ 577 h 589"/>
              <a:gd name="T72" fmla="*/ 121 w 143"/>
              <a:gd name="T73" fmla="*/ 569 h 589"/>
              <a:gd name="T74" fmla="*/ 130 w 143"/>
              <a:gd name="T75" fmla="*/ 557 h 589"/>
              <a:gd name="T76" fmla="*/ 136 w 143"/>
              <a:gd name="T77" fmla="*/ 546 h 589"/>
              <a:gd name="T78" fmla="*/ 141 w 143"/>
              <a:gd name="T79" fmla="*/ 532 h 589"/>
              <a:gd name="T80" fmla="*/ 143 w 143"/>
              <a:gd name="T81" fmla="*/ 517 h 589"/>
              <a:gd name="T82" fmla="*/ 136 w 143"/>
              <a:gd name="T83" fmla="*/ 296 h 589"/>
              <a:gd name="T84" fmla="*/ 143 w 143"/>
              <a:gd name="T85" fmla="*/ 72 h 589"/>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0 w 10000"/>
              <a:gd name="connsiteY21" fmla="*/ 8778 h 10000"/>
              <a:gd name="connsiteX22" fmla="*/ 0 w 10000"/>
              <a:gd name="connsiteY22" fmla="*/ 8778 h 10000"/>
              <a:gd name="connsiteX23" fmla="*/ 70 w 10000"/>
              <a:gd name="connsiteY23" fmla="*/ 9032 h 10000"/>
              <a:gd name="connsiteX24" fmla="*/ 350 w 10000"/>
              <a:gd name="connsiteY24" fmla="*/ 9270 h 10000"/>
              <a:gd name="connsiteX25" fmla="*/ 769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9510 w 10000"/>
              <a:gd name="connsiteY38" fmla="*/ 9270 h 10000"/>
              <a:gd name="connsiteX39" fmla="*/ 9860 w 10000"/>
              <a:gd name="connsiteY39" fmla="*/ 9032 h 10000"/>
              <a:gd name="connsiteX40" fmla="*/ 8888 w 10000"/>
              <a:gd name="connsiteY40" fmla="*/ 8148 h 10000"/>
              <a:gd name="connsiteX41" fmla="*/ 9510 w 10000"/>
              <a:gd name="connsiteY41" fmla="*/ 5025 h 10000"/>
              <a:gd name="connsiteX42" fmla="*/ 10000 w 10000"/>
              <a:gd name="connsiteY42" fmla="*/ 1222 h 10000"/>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0 w 10000"/>
              <a:gd name="connsiteY21" fmla="*/ 8778 h 10000"/>
              <a:gd name="connsiteX22" fmla="*/ 0 w 10000"/>
              <a:gd name="connsiteY22" fmla="*/ 8778 h 10000"/>
              <a:gd name="connsiteX23" fmla="*/ 70 w 10000"/>
              <a:gd name="connsiteY23" fmla="*/ 9032 h 10000"/>
              <a:gd name="connsiteX24" fmla="*/ 350 w 10000"/>
              <a:gd name="connsiteY24" fmla="*/ 9270 h 10000"/>
              <a:gd name="connsiteX25" fmla="*/ 769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9510 w 10000"/>
              <a:gd name="connsiteY38" fmla="*/ 9270 h 10000"/>
              <a:gd name="connsiteX39" fmla="*/ 9860 w 10000"/>
              <a:gd name="connsiteY39" fmla="*/ 9032 h 10000"/>
              <a:gd name="connsiteX40" fmla="*/ 8397 w 10000"/>
              <a:gd name="connsiteY40" fmla="*/ 8840 h 10000"/>
              <a:gd name="connsiteX41" fmla="*/ 8888 w 10000"/>
              <a:gd name="connsiteY41" fmla="*/ 8148 h 10000"/>
              <a:gd name="connsiteX42" fmla="*/ 9510 w 10000"/>
              <a:gd name="connsiteY42" fmla="*/ 5025 h 10000"/>
              <a:gd name="connsiteX43" fmla="*/ 10000 w 10000"/>
              <a:gd name="connsiteY43" fmla="*/ 1222 h 10000"/>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0 w 10000"/>
              <a:gd name="connsiteY21" fmla="*/ 8778 h 10000"/>
              <a:gd name="connsiteX22" fmla="*/ 0 w 10000"/>
              <a:gd name="connsiteY22" fmla="*/ 8778 h 10000"/>
              <a:gd name="connsiteX23" fmla="*/ 70 w 10000"/>
              <a:gd name="connsiteY23" fmla="*/ 9032 h 10000"/>
              <a:gd name="connsiteX24" fmla="*/ 350 w 10000"/>
              <a:gd name="connsiteY24" fmla="*/ 9270 h 10000"/>
              <a:gd name="connsiteX25" fmla="*/ 769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9510 w 10000"/>
              <a:gd name="connsiteY38" fmla="*/ 9270 h 10000"/>
              <a:gd name="connsiteX39" fmla="*/ 8624 w 10000"/>
              <a:gd name="connsiteY39" fmla="*/ 9332 h 10000"/>
              <a:gd name="connsiteX40" fmla="*/ 8397 w 10000"/>
              <a:gd name="connsiteY40" fmla="*/ 8840 h 10000"/>
              <a:gd name="connsiteX41" fmla="*/ 8888 w 10000"/>
              <a:gd name="connsiteY41" fmla="*/ 8148 h 10000"/>
              <a:gd name="connsiteX42" fmla="*/ 9510 w 10000"/>
              <a:gd name="connsiteY42" fmla="*/ 5025 h 10000"/>
              <a:gd name="connsiteX43" fmla="*/ 10000 w 10000"/>
              <a:gd name="connsiteY43" fmla="*/ 1222 h 10000"/>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0 w 10000"/>
              <a:gd name="connsiteY21" fmla="*/ 8778 h 10000"/>
              <a:gd name="connsiteX22" fmla="*/ 0 w 10000"/>
              <a:gd name="connsiteY22" fmla="*/ 8778 h 10000"/>
              <a:gd name="connsiteX23" fmla="*/ 70 w 10000"/>
              <a:gd name="connsiteY23" fmla="*/ 9032 h 10000"/>
              <a:gd name="connsiteX24" fmla="*/ 350 w 10000"/>
              <a:gd name="connsiteY24" fmla="*/ 9270 h 10000"/>
              <a:gd name="connsiteX25" fmla="*/ 769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8151 w 10000"/>
              <a:gd name="connsiteY38" fmla="*/ 9480 h 10000"/>
              <a:gd name="connsiteX39" fmla="*/ 8624 w 10000"/>
              <a:gd name="connsiteY39" fmla="*/ 9332 h 10000"/>
              <a:gd name="connsiteX40" fmla="*/ 8397 w 10000"/>
              <a:gd name="connsiteY40" fmla="*/ 8840 h 10000"/>
              <a:gd name="connsiteX41" fmla="*/ 8888 w 10000"/>
              <a:gd name="connsiteY41" fmla="*/ 8148 h 10000"/>
              <a:gd name="connsiteX42" fmla="*/ 9510 w 10000"/>
              <a:gd name="connsiteY42" fmla="*/ 5025 h 10000"/>
              <a:gd name="connsiteX43" fmla="*/ 10000 w 10000"/>
              <a:gd name="connsiteY43" fmla="*/ 1222 h 10000"/>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0 w 10000"/>
              <a:gd name="connsiteY21" fmla="*/ 8778 h 10000"/>
              <a:gd name="connsiteX22" fmla="*/ 1359 w 10000"/>
              <a:gd name="connsiteY22" fmla="*/ 8808 h 10000"/>
              <a:gd name="connsiteX23" fmla="*/ 70 w 10000"/>
              <a:gd name="connsiteY23" fmla="*/ 9032 h 10000"/>
              <a:gd name="connsiteX24" fmla="*/ 350 w 10000"/>
              <a:gd name="connsiteY24" fmla="*/ 9270 h 10000"/>
              <a:gd name="connsiteX25" fmla="*/ 769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8151 w 10000"/>
              <a:gd name="connsiteY38" fmla="*/ 9480 h 10000"/>
              <a:gd name="connsiteX39" fmla="*/ 8624 w 10000"/>
              <a:gd name="connsiteY39" fmla="*/ 9332 h 10000"/>
              <a:gd name="connsiteX40" fmla="*/ 8397 w 10000"/>
              <a:gd name="connsiteY40" fmla="*/ 8840 h 10000"/>
              <a:gd name="connsiteX41" fmla="*/ 8888 w 10000"/>
              <a:gd name="connsiteY41" fmla="*/ 8148 h 10000"/>
              <a:gd name="connsiteX42" fmla="*/ 9510 w 10000"/>
              <a:gd name="connsiteY42" fmla="*/ 5025 h 10000"/>
              <a:gd name="connsiteX43" fmla="*/ 10000 w 10000"/>
              <a:gd name="connsiteY43" fmla="*/ 1222 h 10000"/>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1977 w 10000"/>
              <a:gd name="connsiteY21" fmla="*/ 9198 h 10000"/>
              <a:gd name="connsiteX22" fmla="*/ 1359 w 10000"/>
              <a:gd name="connsiteY22" fmla="*/ 8808 h 10000"/>
              <a:gd name="connsiteX23" fmla="*/ 70 w 10000"/>
              <a:gd name="connsiteY23" fmla="*/ 9032 h 10000"/>
              <a:gd name="connsiteX24" fmla="*/ 350 w 10000"/>
              <a:gd name="connsiteY24" fmla="*/ 9270 h 10000"/>
              <a:gd name="connsiteX25" fmla="*/ 769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8151 w 10000"/>
              <a:gd name="connsiteY38" fmla="*/ 9480 h 10000"/>
              <a:gd name="connsiteX39" fmla="*/ 8624 w 10000"/>
              <a:gd name="connsiteY39" fmla="*/ 9332 h 10000"/>
              <a:gd name="connsiteX40" fmla="*/ 8397 w 10000"/>
              <a:gd name="connsiteY40" fmla="*/ 8840 h 10000"/>
              <a:gd name="connsiteX41" fmla="*/ 8888 w 10000"/>
              <a:gd name="connsiteY41" fmla="*/ 8148 h 10000"/>
              <a:gd name="connsiteX42" fmla="*/ 9510 w 10000"/>
              <a:gd name="connsiteY42" fmla="*/ 5025 h 10000"/>
              <a:gd name="connsiteX43" fmla="*/ 10000 w 10000"/>
              <a:gd name="connsiteY43" fmla="*/ 1222 h 10000"/>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1977 w 10000"/>
              <a:gd name="connsiteY21" fmla="*/ 9198 h 10000"/>
              <a:gd name="connsiteX22" fmla="*/ 1359 w 10000"/>
              <a:gd name="connsiteY22" fmla="*/ 8808 h 10000"/>
              <a:gd name="connsiteX23" fmla="*/ 2047 w 10000"/>
              <a:gd name="connsiteY23" fmla="*/ 9152 h 10000"/>
              <a:gd name="connsiteX24" fmla="*/ 350 w 10000"/>
              <a:gd name="connsiteY24" fmla="*/ 9270 h 10000"/>
              <a:gd name="connsiteX25" fmla="*/ 769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8151 w 10000"/>
              <a:gd name="connsiteY38" fmla="*/ 9480 h 10000"/>
              <a:gd name="connsiteX39" fmla="*/ 8624 w 10000"/>
              <a:gd name="connsiteY39" fmla="*/ 9332 h 10000"/>
              <a:gd name="connsiteX40" fmla="*/ 8397 w 10000"/>
              <a:gd name="connsiteY40" fmla="*/ 8840 h 10000"/>
              <a:gd name="connsiteX41" fmla="*/ 8888 w 10000"/>
              <a:gd name="connsiteY41" fmla="*/ 8148 h 10000"/>
              <a:gd name="connsiteX42" fmla="*/ 9510 w 10000"/>
              <a:gd name="connsiteY42" fmla="*/ 5025 h 10000"/>
              <a:gd name="connsiteX43" fmla="*/ 10000 w 10000"/>
              <a:gd name="connsiteY43" fmla="*/ 1222 h 10000"/>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1977 w 10000"/>
              <a:gd name="connsiteY21" fmla="*/ 9198 h 10000"/>
              <a:gd name="connsiteX22" fmla="*/ 1359 w 10000"/>
              <a:gd name="connsiteY22" fmla="*/ 8808 h 10000"/>
              <a:gd name="connsiteX23" fmla="*/ 2047 w 10000"/>
              <a:gd name="connsiteY23" fmla="*/ 9152 h 10000"/>
              <a:gd name="connsiteX24" fmla="*/ 2080 w 10000"/>
              <a:gd name="connsiteY24" fmla="*/ 9360 h 10000"/>
              <a:gd name="connsiteX25" fmla="*/ 769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8151 w 10000"/>
              <a:gd name="connsiteY38" fmla="*/ 9480 h 10000"/>
              <a:gd name="connsiteX39" fmla="*/ 8624 w 10000"/>
              <a:gd name="connsiteY39" fmla="*/ 9332 h 10000"/>
              <a:gd name="connsiteX40" fmla="*/ 8397 w 10000"/>
              <a:gd name="connsiteY40" fmla="*/ 8840 h 10000"/>
              <a:gd name="connsiteX41" fmla="*/ 8888 w 10000"/>
              <a:gd name="connsiteY41" fmla="*/ 8148 h 10000"/>
              <a:gd name="connsiteX42" fmla="*/ 9510 w 10000"/>
              <a:gd name="connsiteY42" fmla="*/ 5025 h 10000"/>
              <a:gd name="connsiteX43" fmla="*/ 10000 w 10000"/>
              <a:gd name="connsiteY43" fmla="*/ 1222 h 10000"/>
              <a:gd name="connsiteX0" fmla="*/ 10000 w 10000"/>
              <a:gd name="connsiteY0" fmla="*/ 1222 h 10000"/>
              <a:gd name="connsiteX1" fmla="*/ 10000 w 10000"/>
              <a:gd name="connsiteY1" fmla="*/ 1222 h 10000"/>
              <a:gd name="connsiteX2" fmla="*/ 9860 w 10000"/>
              <a:gd name="connsiteY2" fmla="*/ 968 h 10000"/>
              <a:gd name="connsiteX3" fmla="*/ 9510 w 10000"/>
              <a:gd name="connsiteY3" fmla="*/ 747 h 10000"/>
              <a:gd name="connsiteX4" fmla="*/ 9091 w 10000"/>
              <a:gd name="connsiteY4" fmla="*/ 543 h 10000"/>
              <a:gd name="connsiteX5" fmla="*/ 8462 w 10000"/>
              <a:gd name="connsiteY5" fmla="*/ 340 h 10000"/>
              <a:gd name="connsiteX6" fmla="*/ 7762 w 10000"/>
              <a:gd name="connsiteY6" fmla="*/ 204 h 10000"/>
              <a:gd name="connsiteX7" fmla="*/ 6853 w 10000"/>
              <a:gd name="connsiteY7" fmla="*/ 85 h 10000"/>
              <a:gd name="connsiteX8" fmla="*/ 5944 w 10000"/>
              <a:gd name="connsiteY8" fmla="*/ 34 h 10000"/>
              <a:gd name="connsiteX9" fmla="*/ 4965 w 10000"/>
              <a:gd name="connsiteY9" fmla="*/ 0 h 10000"/>
              <a:gd name="connsiteX10" fmla="*/ 4965 w 10000"/>
              <a:gd name="connsiteY10" fmla="*/ 0 h 10000"/>
              <a:gd name="connsiteX11" fmla="*/ 4965 w 10000"/>
              <a:gd name="connsiteY11" fmla="*/ 0 h 10000"/>
              <a:gd name="connsiteX12" fmla="*/ 3916 w 10000"/>
              <a:gd name="connsiteY12" fmla="*/ 34 h 10000"/>
              <a:gd name="connsiteX13" fmla="*/ 3007 w 10000"/>
              <a:gd name="connsiteY13" fmla="*/ 85 h 10000"/>
              <a:gd name="connsiteX14" fmla="*/ 2168 w 10000"/>
              <a:gd name="connsiteY14" fmla="*/ 204 h 10000"/>
              <a:gd name="connsiteX15" fmla="*/ 1399 w 10000"/>
              <a:gd name="connsiteY15" fmla="*/ 340 h 10000"/>
              <a:gd name="connsiteX16" fmla="*/ 769 w 10000"/>
              <a:gd name="connsiteY16" fmla="*/ 543 h 10000"/>
              <a:gd name="connsiteX17" fmla="*/ 350 w 10000"/>
              <a:gd name="connsiteY17" fmla="*/ 747 h 10000"/>
              <a:gd name="connsiteX18" fmla="*/ 70 w 10000"/>
              <a:gd name="connsiteY18" fmla="*/ 968 h 10000"/>
              <a:gd name="connsiteX19" fmla="*/ 0 w 10000"/>
              <a:gd name="connsiteY19" fmla="*/ 1222 h 10000"/>
              <a:gd name="connsiteX20" fmla="*/ 420 w 10000"/>
              <a:gd name="connsiteY20" fmla="*/ 4907 h 10000"/>
              <a:gd name="connsiteX21" fmla="*/ 1977 w 10000"/>
              <a:gd name="connsiteY21" fmla="*/ 9198 h 10000"/>
              <a:gd name="connsiteX22" fmla="*/ 1359 w 10000"/>
              <a:gd name="connsiteY22" fmla="*/ 8808 h 10000"/>
              <a:gd name="connsiteX23" fmla="*/ 2047 w 10000"/>
              <a:gd name="connsiteY23" fmla="*/ 9152 h 10000"/>
              <a:gd name="connsiteX24" fmla="*/ 2080 w 10000"/>
              <a:gd name="connsiteY24" fmla="*/ 9360 h 10000"/>
              <a:gd name="connsiteX25" fmla="*/ 2005 w 10000"/>
              <a:gd name="connsiteY25" fmla="*/ 9457 h 10000"/>
              <a:gd name="connsiteX26" fmla="*/ 1399 w 10000"/>
              <a:gd name="connsiteY26" fmla="*/ 9660 h 10000"/>
              <a:gd name="connsiteX27" fmla="*/ 2168 w 10000"/>
              <a:gd name="connsiteY27" fmla="*/ 9796 h 10000"/>
              <a:gd name="connsiteX28" fmla="*/ 3007 w 10000"/>
              <a:gd name="connsiteY28" fmla="*/ 9915 h 10000"/>
              <a:gd name="connsiteX29" fmla="*/ 3916 w 10000"/>
              <a:gd name="connsiteY29" fmla="*/ 9966 h 10000"/>
              <a:gd name="connsiteX30" fmla="*/ 4965 w 10000"/>
              <a:gd name="connsiteY30" fmla="*/ 10000 h 10000"/>
              <a:gd name="connsiteX31" fmla="*/ 4965 w 10000"/>
              <a:gd name="connsiteY31" fmla="*/ 10000 h 10000"/>
              <a:gd name="connsiteX32" fmla="*/ 4965 w 10000"/>
              <a:gd name="connsiteY32" fmla="*/ 10000 h 10000"/>
              <a:gd name="connsiteX33" fmla="*/ 5944 w 10000"/>
              <a:gd name="connsiteY33" fmla="*/ 9966 h 10000"/>
              <a:gd name="connsiteX34" fmla="*/ 6853 w 10000"/>
              <a:gd name="connsiteY34" fmla="*/ 9915 h 10000"/>
              <a:gd name="connsiteX35" fmla="*/ 7762 w 10000"/>
              <a:gd name="connsiteY35" fmla="*/ 9796 h 10000"/>
              <a:gd name="connsiteX36" fmla="*/ 8462 w 10000"/>
              <a:gd name="connsiteY36" fmla="*/ 9660 h 10000"/>
              <a:gd name="connsiteX37" fmla="*/ 9091 w 10000"/>
              <a:gd name="connsiteY37" fmla="*/ 9457 h 10000"/>
              <a:gd name="connsiteX38" fmla="*/ 8151 w 10000"/>
              <a:gd name="connsiteY38" fmla="*/ 9480 h 10000"/>
              <a:gd name="connsiteX39" fmla="*/ 8624 w 10000"/>
              <a:gd name="connsiteY39" fmla="*/ 9332 h 10000"/>
              <a:gd name="connsiteX40" fmla="*/ 8397 w 10000"/>
              <a:gd name="connsiteY40" fmla="*/ 8840 h 10000"/>
              <a:gd name="connsiteX41" fmla="*/ 8888 w 10000"/>
              <a:gd name="connsiteY41" fmla="*/ 8148 h 10000"/>
              <a:gd name="connsiteX42" fmla="*/ 9510 w 10000"/>
              <a:gd name="connsiteY42" fmla="*/ 5025 h 10000"/>
              <a:gd name="connsiteX43" fmla="*/ 10000 w 10000"/>
              <a:gd name="connsiteY43" fmla="*/ 12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0000" h="10000">
                <a:moveTo>
                  <a:pt x="10000" y="1222"/>
                </a:moveTo>
                <a:lnTo>
                  <a:pt x="10000" y="1222"/>
                </a:lnTo>
                <a:lnTo>
                  <a:pt x="9860" y="968"/>
                </a:lnTo>
                <a:lnTo>
                  <a:pt x="9510" y="747"/>
                </a:lnTo>
                <a:lnTo>
                  <a:pt x="9091" y="543"/>
                </a:lnTo>
                <a:lnTo>
                  <a:pt x="8462" y="340"/>
                </a:lnTo>
                <a:lnTo>
                  <a:pt x="7762" y="204"/>
                </a:lnTo>
                <a:lnTo>
                  <a:pt x="6853" y="85"/>
                </a:lnTo>
                <a:lnTo>
                  <a:pt x="5944" y="34"/>
                </a:lnTo>
                <a:lnTo>
                  <a:pt x="4965" y="0"/>
                </a:lnTo>
                <a:lnTo>
                  <a:pt x="4965" y="0"/>
                </a:lnTo>
                <a:lnTo>
                  <a:pt x="4965" y="0"/>
                </a:lnTo>
                <a:lnTo>
                  <a:pt x="3916" y="34"/>
                </a:lnTo>
                <a:lnTo>
                  <a:pt x="3007" y="85"/>
                </a:lnTo>
                <a:lnTo>
                  <a:pt x="2168" y="204"/>
                </a:lnTo>
                <a:lnTo>
                  <a:pt x="1399" y="340"/>
                </a:lnTo>
                <a:lnTo>
                  <a:pt x="769" y="543"/>
                </a:lnTo>
                <a:lnTo>
                  <a:pt x="350" y="747"/>
                </a:lnTo>
                <a:lnTo>
                  <a:pt x="70" y="968"/>
                </a:lnTo>
                <a:cubicBezTo>
                  <a:pt x="47" y="1053"/>
                  <a:pt x="23" y="1137"/>
                  <a:pt x="0" y="1222"/>
                </a:cubicBezTo>
                <a:lnTo>
                  <a:pt x="420" y="4907"/>
                </a:lnTo>
                <a:lnTo>
                  <a:pt x="1977" y="9198"/>
                </a:lnTo>
                <a:lnTo>
                  <a:pt x="1359" y="8808"/>
                </a:lnTo>
                <a:cubicBezTo>
                  <a:pt x="1382" y="8893"/>
                  <a:pt x="2024" y="9067"/>
                  <a:pt x="2047" y="9152"/>
                </a:cubicBezTo>
                <a:cubicBezTo>
                  <a:pt x="2058" y="9221"/>
                  <a:pt x="2069" y="9291"/>
                  <a:pt x="2080" y="9360"/>
                </a:cubicBezTo>
                <a:cubicBezTo>
                  <a:pt x="2055" y="9392"/>
                  <a:pt x="2030" y="9425"/>
                  <a:pt x="2005" y="9457"/>
                </a:cubicBezTo>
                <a:lnTo>
                  <a:pt x="1399" y="9660"/>
                </a:lnTo>
                <a:lnTo>
                  <a:pt x="2168" y="9796"/>
                </a:lnTo>
                <a:lnTo>
                  <a:pt x="3007" y="9915"/>
                </a:lnTo>
                <a:lnTo>
                  <a:pt x="3916" y="9966"/>
                </a:lnTo>
                <a:lnTo>
                  <a:pt x="4965" y="10000"/>
                </a:lnTo>
                <a:lnTo>
                  <a:pt x="4965" y="10000"/>
                </a:lnTo>
                <a:lnTo>
                  <a:pt x="4965" y="10000"/>
                </a:lnTo>
                <a:lnTo>
                  <a:pt x="5944" y="9966"/>
                </a:lnTo>
                <a:lnTo>
                  <a:pt x="6853" y="9915"/>
                </a:lnTo>
                <a:lnTo>
                  <a:pt x="7762" y="9796"/>
                </a:lnTo>
                <a:lnTo>
                  <a:pt x="8462" y="9660"/>
                </a:lnTo>
                <a:lnTo>
                  <a:pt x="9091" y="9457"/>
                </a:lnTo>
                <a:lnTo>
                  <a:pt x="8151" y="9480"/>
                </a:lnTo>
                <a:lnTo>
                  <a:pt x="8624" y="9332"/>
                </a:lnTo>
                <a:cubicBezTo>
                  <a:pt x="8631" y="9258"/>
                  <a:pt x="8390" y="8914"/>
                  <a:pt x="8397" y="8840"/>
                </a:cubicBezTo>
                <a:lnTo>
                  <a:pt x="8888" y="8148"/>
                </a:lnTo>
                <a:lnTo>
                  <a:pt x="9510" y="5025"/>
                </a:lnTo>
                <a:cubicBezTo>
                  <a:pt x="9673" y="3757"/>
                  <a:pt x="9837" y="2490"/>
                  <a:pt x="10000" y="1222"/>
                </a:cubicBezTo>
                <a:close/>
              </a:path>
            </a:pathLst>
          </a:custGeom>
          <a:solidFill>
            <a:srgbClr val="FFFFFF"/>
          </a:solidFill>
          <a:ln w="7">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18" name="Freeform 54"/>
          <p:cNvSpPr>
            <a:spLocks/>
          </p:cNvSpPr>
          <p:nvPr/>
        </p:nvSpPr>
        <p:spPr bwMode="auto">
          <a:xfrm>
            <a:off x="10788630" y="1996244"/>
            <a:ext cx="222250" cy="306388"/>
          </a:xfrm>
          <a:custGeom>
            <a:avLst/>
            <a:gdLst>
              <a:gd name="T0" fmla="*/ 138 w 140"/>
              <a:gd name="T1" fmla="*/ 148 h 193"/>
              <a:gd name="T2" fmla="*/ 138 w 140"/>
              <a:gd name="T3" fmla="*/ 148 h 193"/>
              <a:gd name="T4" fmla="*/ 140 w 140"/>
              <a:gd name="T5" fmla="*/ 156 h 193"/>
              <a:gd name="T6" fmla="*/ 138 w 140"/>
              <a:gd name="T7" fmla="*/ 163 h 193"/>
              <a:gd name="T8" fmla="*/ 133 w 140"/>
              <a:gd name="T9" fmla="*/ 170 h 193"/>
              <a:gd name="T10" fmla="*/ 127 w 140"/>
              <a:gd name="T11" fmla="*/ 173 h 193"/>
              <a:gd name="T12" fmla="*/ 75 w 140"/>
              <a:gd name="T13" fmla="*/ 191 h 193"/>
              <a:gd name="T14" fmla="*/ 75 w 140"/>
              <a:gd name="T15" fmla="*/ 191 h 193"/>
              <a:gd name="T16" fmla="*/ 67 w 140"/>
              <a:gd name="T17" fmla="*/ 193 h 193"/>
              <a:gd name="T18" fmla="*/ 58 w 140"/>
              <a:gd name="T19" fmla="*/ 191 h 193"/>
              <a:gd name="T20" fmla="*/ 53 w 140"/>
              <a:gd name="T21" fmla="*/ 186 h 193"/>
              <a:gd name="T22" fmla="*/ 48 w 140"/>
              <a:gd name="T23" fmla="*/ 180 h 193"/>
              <a:gd name="T24" fmla="*/ 2 w 140"/>
              <a:gd name="T25" fmla="*/ 45 h 193"/>
              <a:gd name="T26" fmla="*/ 2 w 140"/>
              <a:gd name="T27" fmla="*/ 45 h 193"/>
              <a:gd name="T28" fmla="*/ 0 w 140"/>
              <a:gd name="T29" fmla="*/ 36 h 193"/>
              <a:gd name="T30" fmla="*/ 2 w 140"/>
              <a:gd name="T31" fmla="*/ 30 h 193"/>
              <a:gd name="T32" fmla="*/ 7 w 140"/>
              <a:gd name="T33" fmla="*/ 23 h 193"/>
              <a:gd name="T34" fmla="*/ 13 w 140"/>
              <a:gd name="T35" fmla="*/ 20 h 193"/>
              <a:gd name="T36" fmla="*/ 65 w 140"/>
              <a:gd name="T37" fmla="*/ 1 h 193"/>
              <a:gd name="T38" fmla="*/ 65 w 140"/>
              <a:gd name="T39" fmla="*/ 1 h 193"/>
              <a:gd name="T40" fmla="*/ 73 w 140"/>
              <a:gd name="T41" fmla="*/ 0 h 193"/>
              <a:gd name="T42" fmla="*/ 82 w 140"/>
              <a:gd name="T43" fmla="*/ 1 h 193"/>
              <a:gd name="T44" fmla="*/ 87 w 140"/>
              <a:gd name="T45" fmla="*/ 6 h 193"/>
              <a:gd name="T46" fmla="*/ 92 w 140"/>
              <a:gd name="T47" fmla="*/ 13 h 193"/>
              <a:gd name="T48" fmla="*/ 138 w 140"/>
              <a:gd name="T49" fmla="*/ 14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93">
                <a:moveTo>
                  <a:pt x="138" y="148"/>
                </a:moveTo>
                <a:lnTo>
                  <a:pt x="138" y="148"/>
                </a:lnTo>
                <a:lnTo>
                  <a:pt x="140" y="156"/>
                </a:lnTo>
                <a:lnTo>
                  <a:pt x="138" y="163"/>
                </a:lnTo>
                <a:lnTo>
                  <a:pt x="133" y="170"/>
                </a:lnTo>
                <a:lnTo>
                  <a:pt x="127" y="173"/>
                </a:lnTo>
                <a:lnTo>
                  <a:pt x="75" y="191"/>
                </a:lnTo>
                <a:lnTo>
                  <a:pt x="75" y="191"/>
                </a:lnTo>
                <a:lnTo>
                  <a:pt x="67" y="193"/>
                </a:lnTo>
                <a:lnTo>
                  <a:pt x="58" y="191"/>
                </a:lnTo>
                <a:lnTo>
                  <a:pt x="53" y="186"/>
                </a:lnTo>
                <a:lnTo>
                  <a:pt x="48" y="180"/>
                </a:lnTo>
                <a:lnTo>
                  <a:pt x="2" y="45"/>
                </a:lnTo>
                <a:lnTo>
                  <a:pt x="2" y="45"/>
                </a:lnTo>
                <a:lnTo>
                  <a:pt x="0" y="36"/>
                </a:lnTo>
                <a:lnTo>
                  <a:pt x="2" y="30"/>
                </a:lnTo>
                <a:lnTo>
                  <a:pt x="7" y="23"/>
                </a:lnTo>
                <a:lnTo>
                  <a:pt x="13" y="20"/>
                </a:lnTo>
                <a:lnTo>
                  <a:pt x="65" y="1"/>
                </a:lnTo>
                <a:lnTo>
                  <a:pt x="65" y="1"/>
                </a:lnTo>
                <a:lnTo>
                  <a:pt x="73" y="0"/>
                </a:lnTo>
                <a:lnTo>
                  <a:pt x="82" y="1"/>
                </a:lnTo>
                <a:lnTo>
                  <a:pt x="87" y="6"/>
                </a:lnTo>
                <a:lnTo>
                  <a:pt x="92" y="13"/>
                </a:lnTo>
                <a:lnTo>
                  <a:pt x="138" y="148"/>
                </a:lnTo>
                <a:close/>
              </a:path>
            </a:pathLst>
          </a:custGeom>
          <a:noFill/>
          <a:ln w="7">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19" name="Freeform 55"/>
          <p:cNvSpPr>
            <a:spLocks/>
          </p:cNvSpPr>
          <p:nvPr/>
        </p:nvSpPr>
        <p:spPr bwMode="auto">
          <a:xfrm>
            <a:off x="11077556" y="2083558"/>
            <a:ext cx="822325" cy="936625"/>
          </a:xfrm>
          <a:custGeom>
            <a:avLst/>
            <a:gdLst>
              <a:gd name="T0" fmla="*/ 445 w 518"/>
              <a:gd name="T1" fmla="*/ 160 h 590"/>
              <a:gd name="T2" fmla="*/ 445 w 518"/>
              <a:gd name="T3" fmla="*/ 160 h 590"/>
              <a:gd name="T4" fmla="*/ 445 w 518"/>
              <a:gd name="T5" fmla="*/ 145 h 590"/>
              <a:gd name="T6" fmla="*/ 442 w 518"/>
              <a:gd name="T7" fmla="*/ 128 h 590"/>
              <a:gd name="T8" fmla="*/ 438 w 518"/>
              <a:gd name="T9" fmla="*/ 113 h 590"/>
              <a:gd name="T10" fmla="*/ 432 w 518"/>
              <a:gd name="T11" fmla="*/ 98 h 590"/>
              <a:gd name="T12" fmla="*/ 425 w 518"/>
              <a:gd name="T13" fmla="*/ 85 h 590"/>
              <a:gd name="T14" fmla="*/ 418 w 518"/>
              <a:gd name="T15" fmla="*/ 71 h 590"/>
              <a:gd name="T16" fmla="*/ 408 w 518"/>
              <a:gd name="T17" fmla="*/ 58 h 590"/>
              <a:gd name="T18" fmla="*/ 398 w 518"/>
              <a:gd name="T19" fmla="*/ 46 h 590"/>
              <a:gd name="T20" fmla="*/ 387 w 518"/>
              <a:gd name="T21" fmla="*/ 36 h 590"/>
              <a:gd name="T22" fmla="*/ 375 w 518"/>
              <a:gd name="T23" fmla="*/ 28 h 590"/>
              <a:gd name="T24" fmla="*/ 362 w 518"/>
              <a:gd name="T25" fmla="*/ 20 h 590"/>
              <a:gd name="T26" fmla="*/ 347 w 518"/>
              <a:gd name="T27" fmla="*/ 13 h 590"/>
              <a:gd name="T28" fmla="*/ 333 w 518"/>
              <a:gd name="T29" fmla="*/ 8 h 590"/>
              <a:gd name="T30" fmla="*/ 316 w 518"/>
              <a:gd name="T31" fmla="*/ 3 h 590"/>
              <a:gd name="T32" fmla="*/ 301 w 518"/>
              <a:gd name="T33" fmla="*/ 1 h 590"/>
              <a:gd name="T34" fmla="*/ 285 w 518"/>
              <a:gd name="T35" fmla="*/ 0 h 590"/>
              <a:gd name="T36" fmla="*/ 226 w 518"/>
              <a:gd name="T37" fmla="*/ 0 h 590"/>
              <a:gd name="T38" fmla="*/ 226 w 518"/>
              <a:gd name="T39" fmla="*/ 0 h 590"/>
              <a:gd name="T40" fmla="*/ 211 w 518"/>
              <a:gd name="T41" fmla="*/ 1 h 590"/>
              <a:gd name="T42" fmla="*/ 195 w 518"/>
              <a:gd name="T43" fmla="*/ 3 h 590"/>
              <a:gd name="T44" fmla="*/ 180 w 518"/>
              <a:gd name="T45" fmla="*/ 8 h 590"/>
              <a:gd name="T46" fmla="*/ 165 w 518"/>
              <a:gd name="T47" fmla="*/ 13 h 590"/>
              <a:gd name="T48" fmla="*/ 151 w 518"/>
              <a:gd name="T49" fmla="*/ 20 h 590"/>
              <a:gd name="T50" fmla="*/ 138 w 518"/>
              <a:gd name="T51" fmla="*/ 28 h 590"/>
              <a:gd name="T52" fmla="*/ 125 w 518"/>
              <a:gd name="T53" fmla="*/ 36 h 590"/>
              <a:gd name="T54" fmla="*/ 113 w 518"/>
              <a:gd name="T55" fmla="*/ 46 h 590"/>
              <a:gd name="T56" fmla="*/ 103 w 518"/>
              <a:gd name="T57" fmla="*/ 58 h 590"/>
              <a:gd name="T58" fmla="*/ 95 w 518"/>
              <a:gd name="T59" fmla="*/ 71 h 590"/>
              <a:gd name="T60" fmla="*/ 86 w 518"/>
              <a:gd name="T61" fmla="*/ 85 h 590"/>
              <a:gd name="T62" fmla="*/ 80 w 518"/>
              <a:gd name="T63" fmla="*/ 98 h 590"/>
              <a:gd name="T64" fmla="*/ 75 w 518"/>
              <a:gd name="T65" fmla="*/ 113 h 590"/>
              <a:gd name="T66" fmla="*/ 70 w 518"/>
              <a:gd name="T67" fmla="*/ 128 h 590"/>
              <a:gd name="T68" fmla="*/ 68 w 518"/>
              <a:gd name="T69" fmla="*/ 145 h 590"/>
              <a:gd name="T70" fmla="*/ 66 w 518"/>
              <a:gd name="T71" fmla="*/ 160 h 590"/>
              <a:gd name="T72" fmla="*/ 0 w 518"/>
              <a:gd name="T73" fmla="*/ 557 h 590"/>
              <a:gd name="T74" fmla="*/ 0 w 518"/>
              <a:gd name="T75" fmla="*/ 557 h 590"/>
              <a:gd name="T76" fmla="*/ 25 w 518"/>
              <a:gd name="T77" fmla="*/ 567 h 590"/>
              <a:gd name="T78" fmla="*/ 50 w 518"/>
              <a:gd name="T79" fmla="*/ 573 h 590"/>
              <a:gd name="T80" fmla="*/ 76 w 518"/>
              <a:gd name="T81" fmla="*/ 580 h 590"/>
              <a:gd name="T82" fmla="*/ 105 w 518"/>
              <a:gd name="T83" fmla="*/ 583 h 590"/>
              <a:gd name="T84" fmla="*/ 133 w 518"/>
              <a:gd name="T85" fmla="*/ 587 h 590"/>
              <a:gd name="T86" fmla="*/ 163 w 518"/>
              <a:gd name="T87" fmla="*/ 588 h 590"/>
              <a:gd name="T88" fmla="*/ 226 w 518"/>
              <a:gd name="T89" fmla="*/ 590 h 590"/>
              <a:gd name="T90" fmla="*/ 285 w 518"/>
              <a:gd name="T91" fmla="*/ 590 h 590"/>
              <a:gd name="T92" fmla="*/ 285 w 518"/>
              <a:gd name="T93" fmla="*/ 590 h 590"/>
              <a:gd name="T94" fmla="*/ 348 w 518"/>
              <a:gd name="T95" fmla="*/ 588 h 590"/>
              <a:gd name="T96" fmla="*/ 377 w 518"/>
              <a:gd name="T97" fmla="*/ 587 h 590"/>
              <a:gd name="T98" fmla="*/ 407 w 518"/>
              <a:gd name="T99" fmla="*/ 583 h 590"/>
              <a:gd name="T100" fmla="*/ 433 w 518"/>
              <a:gd name="T101" fmla="*/ 578 h 590"/>
              <a:gd name="T102" fmla="*/ 462 w 518"/>
              <a:gd name="T103" fmla="*/ 570 h 590"/>
              <a:gd name="T104" fmla="*/ 490 w 518"/>
              <a:gd name="T105" fmla="*/ 558 h 590"/>
              <a:gd name="T106" fmla="*/ 518 w 518"/>
              <a:gd name="T107" fmla="*/ 543 h 590"/>
              <a:gd name="T108" fmla="*/ 445 w 518"/>
              <a:gd name="T109" fmla="*/ 16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8" h="590">
                <a:moveTo>
                  <a:pt x="445" y="160"/>
                </a:moveTo>
                <a:lnTo>
                  <a:pt x="445" y="160"/>
                </a:lnTo>
                <a:lnTo>
                  <a:pt x="445" y="145"/>
                </a:lnTo>
                <a:lnTo>
                  <a:pt x="442" y="128"/>
                </a:lnTo>
                <a:lnTo>
                  <a:pt x="438" y="113"/>
                </a:lnTo>
                <a:lnTo>
                  <a:pt x="432" y="98"/>
                </a:lnTo>
                <a:lnTo>
                  <a:pt x="425" y="85"/>
                </a:lnTo>
                <a:lnTo>
                  <a:pt x="418" y="71"/>
                </a:lnTo>
                <a:lnTo>
                  <a:pt x="408" y="58"/>
                </a:lnTo>
                <a:lnTo>
                  <a:pt x="398" y="46"/>
                </a:lnTo>
                <a:lnTo>
                  <a:pt x="387" y="36"/>
                </a:lnTo>
                <a:lnTo>
                  <a:pt x="375" y="28"/>
                </a:lnTo>
                <a:lnTo>
                  <a:pt x="362" y="20"/>
                </a:lnTo>
                <a:lnTo>
                  <a:pt x="347" y="13"/>
                </a:lnTo>
                <a:lnTo>
                  <a:pt x="333" y="8"/>
                </a:lnTo>
                <a:lnTo>
                  <a:pt x="316" y="3"/>
                </a:lnTo>
                <a:lnTo>
                  <a:pt x="301" y="1"/>
                </a:lnTo>
                <a:lnTo>
                  <a:pt x="285" y="0"/>
                </a:lnTo>
                <a:lnTo>
                  <a:pt x="226" y="0"/>
                </a:lnTo>
                <a:lnTo>
                  <a:pt x="226" y="0"/>
                </a:lnTo>
                <a:lnTo>
                  <a:pt x="211" y="1"/>
                </a:lnTo>
                <a:lnTo>
                  <a:pt x="195" y="3"/>
                </a:lnTo>
                <a:lnTo>
                  <a:pt x="180" y="8"/>
                </a:lnTo>
                <a:lnTo>
                  <a:pt x="165" y="13"/>
                </a:lnTo>
                <a:lnTo>
                  <a:pt x="151" y="20"/>
                </a:lnTo>
                <a:lnTo>
                  <a:pt x="138" y="28"/>
                </a:lnTo>
                <a:lnTo>
                  <a:pt x="125" y="36"/>
                </a:lnTo>
                <a:lnTo>
                  <a:pt x="113" y="46"/>
                </a:lnTo>
                <a:lnTo>
                  <a:pt x="103" y="58"/>
                </a:lnTo>
                <a:lnTo>
                  <a:pt x="95" y="71"/>
                </a:lnTo>
                <a:lnTo>
                  <a:pt x="86" y="85"/>
                </a:lnTo>
                <a:lnTo>
                  <a:pt x="80" y="98"/>
                </a:lnTo>
                <a:lnTo>
                  <a:pt x="75" y="113"/>
                </a:lnTo>
                <a:lnTo>
                  <a:pt x="70" y="128"/>
                </a:lnTo>
                <a:lnTo>
                  <a:pt x="68" y="145"/>
                </a:lnTo>
                <a:lnTo>
                  <a:pt x="66" y="160"/>
                </a:lnTo>
                <a:lnTo>
                  <a:pt x="0" y="557"/>
                </a:lnTo>
                <a:lnTo>
                  <a:pt x="0" y="557"/>
                </a:lnTo>
                <a:lnTo>
                  <a:pt x="25" y="567"/>
                </a:lnTo>
                <a:lnTo>
                  <a:pt x="50" y="573"/>
                </a:lnTo>
                <a:lnTo>
                  <a:pt x="76" y="580"/>
                </a:lnTo>
                <a:lnTo>
                  <a:pt x="105" y="583"/>
                </a:lnTo>
                <a:lnTo>
                  <a:pt x="133" y="587"/>
                </a:lnTo>
                <a:lnTo>
                  <a:pt x="163" y="588"/>
                </a:lnTo>
                <a:lnTo>
                  <a:pt x="226" y="590"/>
                </a:lnTo>
                <a:lnTo>
                  <a:pt x="285" y="590"/>
                </a:lnTo>
                <a:lnTo>
                  <a:pt x="285" y="590"/>
                </a:lnTo>
                <a:lnTo>
                  <a:pt x="348" y="588"/>
                </a:lnTo>
                <a:lnTo>
                  <a:pt x="377" y="587"/>
                </a:lnTo>
                <a:lnTo>
                  <a:pt x="407" y="583"/>
                </a:lnTo>
                <a:lnTo>
                  <a:pt x="433" y="578"/>
                </a:lnTo>
                <a:lnTo>
                  <a:pt x="462" y="570"/>
                </a:lnTo>
                <a:lnTo>
                  <a:pt x="490" y="558"/>
                </a:lnTo>
                <a:lnTo>
                  <a:pt x="518" y="543"/>
                </a:lnTo>
                <a:lnTo>
                  <a:pt x="445" y="160"/>
                </a:lnTo>
                <a:close/>
              </a:path>
            </a:pathLst>
          </a:cu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0" name="Freeform 56"/>
          <p:cNvSpPr>
            <a:spLocks/>
          </p:cNvSpPr>
          <p:nvPr/>
        </p:nvSpPr>
        <p:spPr bwMode="auto">
          <a:xfrm>
            <a:off x="10871181" y="2210557"/>
            <a:ext cx="354013" cy="357188"/>
          </a:xfrm>
          <a:custGeom>
            <a:avLst/>
            <a:gdLst>
              <a:gd name="T0" fmla="*/ 106 w 223"/>
              <a:gd name="T1" fmla="*/ 18 h 225"/>
              <a:gd name="T2" fmla="*/ 106 w 223"/>
              <a:gd name="T3" fmla="*/ 18 h 225"/>
              <a:gd name="T4" fmla="*/ 96 w 223"/>
              <a:gd name="T5" fmla="*/ 10 h 225"/>
              <a:gd name="T6" fmla="*/ 86 w 223"/>
              <a:gd name="T7" fmla="*/ 5 h 225"/>
              <a:gd name="T8" fmla="*/ 75 w 223"/>
              <a:gd name="T9" fmla="*/ 1 h 225"/>
              <a:gd name="T10" fmla="*/ 63 w 223"/>
              <a:gd name="T11" fmla="*/ 0 h 225"/>
              <a:gd name="T12" fmla="*/ 51 w 223"/>
              <a:gd name="T13" fmla="*/ 1 h 225"/>
              <a:gd name="T14" fmla="*/ 40 w 223"/>
              <a:gd name="T15" fmla="*/ 6 h 225"/>
              <a:gd name="T16" fmla="*/ 30 w 223"/>
              <a:gd name="T17" fmla="*/ 11 h 225"/>
              <a:gd name="T18" fmla="*/ 20 w 223"/>
              <a:gd name="T19" fmla="*/ 20 h 225"/>
              <a:gd name="T20" fmla="*/ 20 w 223"/>
              <a:gd name="T21" fmla="*/ 20 h 225"/>
              <a:gd name="T22" fmla="*/ 20 w 223"/>
              <a:gd name="T23" fmla="*/ 20 h 225"/>
              <a:gd name="T24" fmla="*/ 11 w 223"/>
              <a:gd name="T25" fmla="*/ 30 h 225"/>
              <a:gd name="T26" fmla="*/ 6 w 223"/>
              <a:gd name="T27" fmla="*/ 40 h 225"/>
              <a:gd name="T28" fmla="*/ 1 w 223"/>
              <a:gd name="T29" fmla="*/ 51 h 225"/>
              <a:gd name="T30" fmla="*/ 0 w 223"/>
              <a:gd name="T31" fmla="*/ 63 h 225"/>
              <a:gd name="T32" fmla="*/ 1 w 223"/>
              <a:gd name="T33" fmla="*/ 75 h 225"/>
              <a:gd name="T34" fmla="*/ 5 w 223"/>
              <a:gd name="T35" fmla="*/ 86 h 225"/>
              <a:gd name="T36" fmla="*/ 10 w 223"/>
              <a:gd name="T37" fmla="*/ 96 h 225"/>
              <a:gd name="T38" fmla="*/ 18 w 223"/>
              <a:gd name="T39" fmla="*/ 106 h 225"/>
              <a:gd name="T40" fmla="*/ 116 w 223"/>
              <a:gd name="T41" fmla="*/ 208 h 225"/>
              <a:gd name="T42" fmla="*/ 116 w 223"/>
              <a:gd name="T43" fmla="*/ 208 h 225"/>
              <a:gd name="T44" fmla="*/ 126 w 223"/>
              <a:gd name="T45" fmla="*/ 215 h 225"/>
              <a:gd name="T46" fmla="*/ 136 w 223"/>
              <a:gd name="T47" fmla="*/ 221 h 225"/>
              <a:gd name="T48" fmla="*/ 148 w 223"/>
              <a:gd name="T49" fmla="*/ 223 h 225"/>
              <a:gd name="T50" fmla="*/ 160 w 223"/>
              <a:gd name="T51" fmla="*/ 225 h 225"/>
              <a:gd name="T52" fmla="*/ 171 w 223"/>
              <a:gd name="T53" fmla="*/ 223 h 225"/>
              <a:gd name="T54" fmla="*/ 183 w 223"/>
              <a:gd name="T55" fmla="*/ 220 h 225"/>
              <a:gd name="T56" fmla="*/ 193 w 223"/>
              <a:gd name="T57" fmla="*/ 213 h 225"/>
              <a:gd name="T58" fmla="*/ 203 w 223"/>
              <a:gd name="T59" fmla="*/ 205 h 225"/>
              <a:gd name="T60" fmla="*/ 203 w 223"/>
              <a:gd name="T61" fmla="*/ 205 h 225"/>
              <a:gd name="T62" fmla="*/ 203 w 223"/>
              <a:gd name="T63" fmla="*/ 205 h 225"/>
              <a:gd name="T64" fmla="*/ 211 w 223"/>
              <a:gd name="T65" fmla="*/ 195 h 225"/>
              <a:gd name="T66" fmla="*/ 216 w 223"/>
              <a:gd name="T67" fmla="*/ 185 h 225"/>
              <a:gd name="T68" fmla="*/ 221 w 223"/>
              <a:gd name="T69" fmla="*/ 173 h 225"/>
              <a:gd name="T70" fmla="*/ 223 w 223"/>
              <a:gd name="T71" fmla="*/ 161 h 225"/>
              <a:gd name="T72" fmla="*/ 221 w 223"/>
              <a:gd name="T73" fmla="*/ 150 h 225"/>
              <a:gd name="T74" fmla="*/ 218 w 223"/>
              <a:gd name="T75" fmla="*/ 138 h 225"/>
              <a:gd name="T76" fmla="*/ 213 w 223"/>
              <a:gd name="T77" fmla="*/ 128 h 225"/>
              <a:gd name="T78" fmla="*/ 205 w 223"/>
              <a:gd name="T79" fmla="*/ 118 h 225"/>
              <a:gd name="T80" fmla="*/ 106 w 223"/>
              <a:gd name="T81" fmla="*/ 1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3" h="225">
                <a:moveTo>
                  <a:pt x="106" y="18"/>
                </a:moveTo>
                <a:lnTo>
                  <a:pt x="106" y="18"/>
                </a:lnTo>
                <a:lnTo>
                  <a:pt x="96" y="10"/>
                </a:lnTo>
                <a:lnTo>
                  <a:pt x="86" y="5"/>
                </a:lnTo>
                <a:lnTo>
                  <a:pt x="75" y="1"/>
                </a:lnTo>
                <a:lnTo>
                  <a:pt x="63" y="0"/>
                </a:lnTo>
                <a:lnTo>
                  <a:pt x="51" y="1"/>
                </a:lnTo>
                <a:lnTo>
                  <a:pt x="40" y="6"/>
                </a:lnTo>
                <a:lnTo>
                  <a:pt x="30" y="11"/>
                </a:lnTo>
                <a:lnTo>
                  <a:pt x="20" y="20"/>
                </a:lnTo>
                <a:lnTo>
                  <a:pt x="20" y="20"/>
                </a:lnTo>
                <a:lnTo>
                  <a:pt x="20" y="20"/>
                </a:lnTo>
                <a:lnTo>
                  <a:pt x="11" y="30"/>
                </a:lnTo>
                <a:lnTo>
                  <a:pt x="6" y="40"/>
                </a:lnTo>
                <a:lnTo>
                  <a:pt x="1" y="51"/>
                </a:lnTo>
                <a:lnTo>
                  <a:pt x="0" y="63"/>
                </a:lnTo>
                <a:lnTo>
                  <a:pt x="1" y="75"/>
                </a:lnTo>
                <a:lnTo>
                  <a:pt x="5" y="86"/>
                </a:lnTo>
                <a:lnTo>
                  <a:pt x="10" y="96"/>
                </a:lnTo>
                <a:lnTo>
                  <a:pt x="18" y="106"/>
                </a:lnTo>
                <a:lnTo>
                  <a:pt x="116" y="208"/>
                </a:lnTo>
                <a:lnTo>
                  <a:pt x="116" y="208"/>
                </a:lnTo>
                <a:lnTo>
                  <a:pt x="126" y="215"/>
                </a:lnTo>
                <a:lnTo>
                  <a:pt x="136" y="221"/>
                </a:lnTo>
                <a:lnTo>
                  <a:pt x="148" y="223"/>
                </a:lnTo>
                <a:lnTo>
                  <a:pt x="160" y="225"/>
                </a:lnTo>
                <a:lnTo>
                  <a:pt x="171" y="223"/>
                </a:lnTo>
                <a:lnTo>
                  <a:pt x="183" y="220"/>
                </a:lnTo>
                <a:lnTo>
                  <a:pt x="193" y="213"/>
                </a:lnTo>
                <a:lnTo>
                  <a:pt x="203" y="205"/>
                </a:lnTo>
                <a:lnTo>
                  <a:pt x="203" y="205"/>
                </a:lnTo>
                <a:lnTo>
                  <a:pt x="203" y="205"/>
                </a:lnTo>
                <a:lnTo>
                  <a:pt x="211" y="195"/>
                </a:lnTo>
                <a:lnTo>
                  <a:pt x="216" y="185"/>
                </a:lnTo>
                <a:lnTo>
                  <a:pt x="221" y="173"/>
                </a:lnTo>
                <a:lnTo>
                  <a:pt x="223" y="161"/>
                </a:lnTo>
                <a:lnTo>
                  <a:pt x="221" y="150"/>
                </a:lnTo>
                <a:lnTo>
                  <a:pt x="218" y="138"/>
                </a:lnTo>
                <a:lnTo>
                  <a:pt x="213" y="128"/>
                </a:lnTo>
                <a:lnTo>
                  <a:pt x="205" y="118"/>
                </a:lnTo>
                <a:lnTo>
                  <a:pt x="106" y="18"/>
                </a:lnTo>
                <a:close/>
              </a:path>
            </a:pathLst>
          </a:custGeom>
          <a:solidFill>
            <a:srgbClr val="FFFFFF"/>
          </a:solidFill>
          <a:ln w="7">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21" name="Freeform 57"/>
          <p:cNvSpPr>
            <a:spLocks/>
          </p:cNvSpPr>
          <p:nvPr/>
        </p:nvSpPr>
        <p:spPr bwMode="auto">
          <a:xfrm>
            <a:off x="10942618" y="2131183"/>
            <a:ext cx="393700" cy="517525"/>
          </a:xfrm>
          <a:custGeom>
            <a:avLst/>
            <a:gdLst>
              <a:gd name="T0" fmla="*/ 248 w 248"/>
              <a:gd name="T1" fmla="*/ 75 h 326"/>
              <a:gd name="T2" fmla="*/ 248 w 248"/>
              <a:gd name="T3" fmla="*/ 75 h 326"/>
              <a:gd name="T4" fmla="*/ 246 w 248"/>
              <a:gd name="T5" fmla="*/ 60 h 326"/>
              <a:gd name="T6" fmla="*/ 246 w 248"/>
              <a:gd name="T7" fmla="*/ 45 h 326"/>
              <a:gd name="T8" fmla="*/ 243 w 248"/>
              <a:gd name="T9" fmla="*/ 33 h 326"/>
              <a:gd name="T10" fmla="*/ 238 w 248"/>
              <a:gd name="T11" fmla="*/ 21 h 326"/>
              <a:gd name="T12" fmla="*/ 233 w 248"/>
              <a:gd name="T13" fmla="*/ 11 h 326"/>
              <a:gd name="T14" fmla="*/ 223 w 248"/>
              <a:gd name="T15" fmla="*/ 5 h 326"/>
              <a:gd name="T16" fmla="*/ 213 w 248"/>
              <a:gd name="T17" fmla="*/ 1 h 326"/>
              <a:gd name="T18" fmla="*/ 198 w 248"/>
              <a:gd name="T19" fmla="*/ 0 h 326"/>
              <a:gd name="T20" fmla="*/ 158 w 248"/>
              <a:gd name="T21" fmla="*/ 16 h 326"/>
              <a:gd name="T22" fmla="*/ 158 w 248"/>
              <a:gd name="T23" fmla="*/ 16 h 326"/>
              <a:gd name="T24" fmla="*/ 146 w 248"/>
              <a:gd name="T25" fmla="*/ 30 h 326"/>
              <a:gd name="T26" fmla="*/ 138 w 248"/>
              <a:gd name="T27" fmla="*/ 43 h 326"/>
              <a:gd name="T28" fmla="*/ 133 w 248"/>
              <a:gd name="T29" fmla="*/ 58 h 326"/>
              <a:gd name="T30" fmla="*/ 128 w 248"/>
              <a:gd name="T31" fmla="*/ 73 h 326"/>
              <a:gd name="T32" fmla="*/ 126 w 248"/>
              <a:gd name="T33" fmla="*/ 88 h 326"/>
              <a:gd name="T34" fmla="*/ 126 w 248"/>
              <a:gd name="T35" fmla="*/ 101 h 326"/>
              <a:gd name="T36" fmla="*/ 125 w 248"/>
              <a:gd name="T37" fmla="*/ 128 h 326"/>
              <a:gd name="T38" fmla="*/ 125 w 248"/>
              <a:gd name="T39" fmla="*/ 128 h 326"/>
              <a:gd name="T40" fmla="*/ 125 w 248"/>
              <a:gd name="T41" fmla="*/ 128 h 326"/>
              <a:gd name="T42" fmla="*/ 123 w 248"/>
              <a:gd name="T43" fmla="*/ 128 h 326"/>
              <a:gd name="T44" fmla="*/ 120 w 248"/>
              <a:gd name="T45" fmla="*/ 125 h 326"/>
              <a:gd name="T46" fmla="*/ 106 w 248"/>
              <a:gd name="T47" fmla="*/ 111 h 326"/>
              <a:gd name="T48" fmla="*/ 93 w 248"/>
              <a:gd name="T49" fmla="*/ 98 h 326"/>
              <a:gd name="T50" fmla="*/ 90 w 248"/>
              <a:gd name="T51" fmla="*/ 93 h 326"/>
              <a:gd name="T52" fmla="*/ 88 w 248"/>
              <a:gd name="T53" fmla="*/ 93 h 326"/>
              <a:gd name="T54" fmla="*/ 88 w 248"/>
              <a:gd name="T55" fmla="*/ 93 h 326"/>
              <a:gd name="T56" fmla="*/ 0 w 248"/>
              <a:gd name="T57" fmla="*/ 201 h 326"/>
              <a:gd name="T58" fmla="*/ 38 w 248"/>
              <a:gd name="T59" fmla="*/ 253 h 326"/>
              <a:gd name="T60" fmla="*/ 38 w 248"/>
              <a:gd name="T61" fmla="*/ 253 h 326"/>
              <a:gd name="T62" fmla="*/ 73 w 248"/>
              <a:gd name="T63" fmla="*/ 278 h 326"/>
              <a:gd name="T64" fmla="*/ 106 w 248"/>
              <a:gd name="T65" fmla="*/ 301 h 326"/>
              <a:gd name="T66" fmla="*/ 123 w 248"/>
              <a:gd name="T67" fmla="*/ 311 h 326"/>
              <a:gd name="T68" fmla="*/ 140 w 248"/>
              <a:gd name="T69" fmla="*/ 320 h 326"/>
              <a:gd name="T70" fmla="*/ 156 w 248"/>
              <a:gd name="T71" fmla="*/ 325 h 326"/>
              <a:gd name="T72" fmla="*/ 171 w 248"/>
              <a:gd name="T73" fmla="*/ 326 h 326"/>
              <a:gd name="T74" fmla="*/ 171 w 248"/>
              <a:gd name="T75" fmla="*/ 326 h 326"/>
              <a:gd name="T76" fmla="*/ 171 w 248"/>
              <a:gd name="T77" fmla="*/ 326 h 326"/>
              <a:gd name="T78" fmla="*/ 186 w 248"/>
              <a:gd name="T79" fmla="*/ 325 h 326"/>
              <a:gd name="T80" fmla="*/ 201 w 248"/>
              <a:gd name="T81" fmla="*/ 320 h 326"/>
              <a:gd name="T82" fmla="*/ 215 w 248"/>
              <a:gd name="T83" fmla="*/ 313 h 326"/>
              <a:gd name="T84" fmla="*/ 225 w 248"/>
              <a:gd name="T85" fmla="*/ 303 h 326"/>
              <a:gd name="T86" fmla="*/ 235 w 248"/>
              <a:gd name="T87" fmla="*/ 293 h 326"/>
              <a:gd name="T88" fmla="*/ 241 w 248"/>
              <a:gd name="T89" fmla="*/ 280 h 326"/>
              <a:gd name="T90" fmla="*/ 246 w 248"/>
              <a:gd name="T91" fmla="*/ 265 h 326"/>
              <a:gd name="T92" fmla="*/ 248 w 248"/>
              <a:gd name="T93" fmla="*/ 250 h 326"/>
              <a:gd name="T94" fmla="*/ 248 w 248"/>
              <a:gd name="T95" fmla="*/ 7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8" h="326">
                <a:moveTo>
                  <a:pt x="248" y="75"/>
                </a:moveTo>
                <a:lnTo>
                  <a:pt x="248" y="75"/>
                </a:lnTo>
                <a:lnTo>
                  <a:pt x="246" y="60"/>
                </a:lnTo>
                <a:lnTo>
                  <a:pt x="246" y="45"/>
                </a:lnTo>
                <a:lnTo>
                  <a:pt x="243" y="33"/>
                </a:lnTo>
                <a:lnTo>
                  <a:pt x="238" y="21"/>
                </a:lnTo>
                <a:lnTo>
                  <a:pt x="233" y="11"/>
                </a:lnTo>
                <a:lnTo>
                  <a:pt x="223" y="5"/>
                </a:lnTo>
                <a:lnTo>
                  <a:pt x="213" y="1"/>
                </a:lnTo>
                <a:lnTo>
                  <a:pt x="198" y="0"/>
                </a:lnTo>
                <a:lnTo>
                  <a:pt x="158" y="16"/>
                </a:lnTo>
                <a:lnTo>
                  <a:pt x="158" y="16"/>
                </a:lnTo>
                <a:lnTo>
                  <a:pt x="146" y="30"/>
                </a:lnTo>
                <a:lnTo>
                  <a:pt x="138" y="43"/>
                </a:lnTo>
                <a:lnTo>
                  <a:pt x="133" y="58"/>
                </a:lnTo>
                <a:lnTo>
                  <a:pt x="128" y="73"/>
                </a:lnTo>
                <a:lnTo>
                  <a:pt x="126" y="88"/>
                </a:lnTo>
                <a:lnTo>
                  <a:pt x="126" y="101"/>
                </a:lnTo>
                <a:lnTo>
                  <a:pt x="125" y="128"/>
                </a:lnTo>
                <a:lnTo>
                  <a:pt x="125" y="128"/>
                </a:lnTo>
                <a:lnTo>
                  <a:pt x="125" y="128"/>
                </a:lnTo>
                <a:lnTo>
                  <a:pt x="123" y="128"/>
                </a:lnTo>
                <a:lnTo>
                  <a:pt x="120" y="125"/>
                </a:lnTo>
                <a:lnTo>
                  <a:pt x="106" y="111"/>
                </a:lnTo>
                <a:lnTo>
                  <a:pt x="93" y="98"/>
                </a:lnTo>
                <a:lnTo>
                  <a:pt x="90" y="93"/>
                </a:lnTo>
                <a:lnTo>
                  <a:pt x="88" y="93"/>
                </a:lnTo>
                <a:lnTo>
                  <a:pt x="88" y="93"/>
                </a:lnTo>
                <a:lnTo>
                  <a:pt x="0" y="201"/>
                </a:lnTo>
                <a:lnTo>
                  <a:pt x="38" y="253"/>
                </a:lnTo>
                <a:lnTo>
                  <a:pt x="38" y="253"/>
                </a:lnTo>
                <a:lnTo>
                  <a:pt x="73" y="278"/>
                </a:lnTo>
                <a:lnTo>
                  <a:pt x="106" y="301"/>
                </a:lnTo>
                <a:lnTo>
                  <a:pt x="123" y="311"/>
                </a:lnTo>
                <a:lnTo>
                  <a:pt x="140" y="320"/>
                </a:lnTo>
                <a:lnTo>
                  <a:pt x="156" y="325"/>
                </a:lnTo>
                <a:lnTo>
                  <a:pt x="171" y="326"/>
                </a:lnTo>
                <a:lnTo>
                  <a:pt x="171" y="326"/>
                </a:lnTo>
                <a:lnTo>
                  <a:pt x="171" y="326"/>
                </a:lnTo>
                <a:lnTo>
                  <a:pt x="186" y="325"/>
                </a:lnTo>
                <a:lnTo>
                  <a:pt x="201" y="320"/>
                </a:lnTo>
                <a:lnTo>
                  <a:pt x="215" y="313"/>
                </a:lnTo>
                <a:lnTo>
                  <a:pt x="225" y="303"/>
                </a:lnTo>
                <a:lnTo>
                  <a:pt x="235" y="293"/>
                </a:lnTo>
                <a:lnTo>
                  <a:pt x="241" y="280"/>
                </a:lnTo>
                <a:lnTo>
                  <a:pt x="246" y="265"/>
                </a:lnTo>
                <a:lnTo>
                  <a:pt x="248" y="250"/>
                </a:lnTo>
                <a:lnTo>
                  <a:pt x="248" y="75"/>
                </a:lnTo>
                <a:close/>
              </a:path>
            </a:pathLst>
          </a:custGeom>
          <a:solidFill>
            <a:schemeClr val="accent2">
              <a:lumMod val="7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2" name="Freeform 60"/>
          <p:cNvSpPr>
            <a:spLocks/>
          </p:cNvSpPr>
          <p:nvPr/>
        </p:nvSpPr>
        <p:spPr bwMode="auto">
          <a:xfrm rot="20421559">
            <a:off x="11229428" y="1573104"/>
            <a:ext cx="523875" cy="599618"/>
          </a:xfrm>
          <a:custGeom>
            <a:avLst/>
            <a:gdLst/>
            <a:ahLst/>
            <a:cxnLst/>
            <a:rect l="l" t="t" r="r" b="b"/>
            <a:pathLst>
              <a:path w="523875" h="599618">
                <a:moveTo>
                  <a:pt x="280987" y="7937"/>
                </a:moveTo>
                <a:lnTo>
                  <a:pt x="298450" y="15875"/>
                </a:lnTo>
                <a:lnTo>
                  <a:pt x="314325" y="23812"/>
                </a:lnTo>
                <a:lnTo>
                  <a:pt x="330199" y="36512"/>
                </a:lnTo>
                <a:lnTo>
                  <a:pt x="346075" y="52387"/>
                </a:lnTo>
                <a:lnTo>
                  <a:pt x="360362" y="71437"/>
                </a:lnTo>
                <a:lnTo>
                  <a:pt x="392112" y="115887"/>
                </a:lnTo>
                <a:lnTo>
                  <a:pt x="428624" y="177800"/>
                </a:lnTo>
                <a:lnTo>
                  <a:pt x="523875" y="349250"/>
                </a:lnTo>
                <a:lnTo>
                  <a:pt x="523874" y="423862"/>
                </a:lnTo>
                <a:lnTo>
                  <a:pt x="523874" y="447675"/>
                </a:lnTo>
                <a:lnTo>
                  <a:pt x="515937" y="468312"/>
                </a:lnTo>
                <a:lnTo>
                  <a:pt x="508000" y="490538"/>
                </a:lnTo>
                <a:lnTo>
                  <a:pt x="498475" y="508000"/>
                </a:lnTo>
                <a:lnTo>
                  <a:pt x="482600" y="523875"/>
                </a:lnTo>
                <a:lnTo>
                  <a:pt x="466725" y="539750"/>
                </a:lnTo>
                <a:lnTo>
                  <a:pt x="444500" y="555625"/>
                </a:lnTo>
                <a:lnTo>
                  <a:pt x="423862" y="566738"/>
                </a:lnTo>
                <a:lnTo>
                  <a:pt x="403224" y="577850"/>
                </a:lnTo>
                <a:lnTo>
                  <a:pt x="379412" y="587375"/>
                </a:lnTo>
                <a:lnTo>
                  <a:pt x="352424" y="595312"/>
                </a:lnTo>
                <a:lnTo>
                  <a:pt x="336279" y="599618"/>
                </a:lnTo>
                <a:lnTo>
                  <a:pt x="328986" y="590532"/>
                </a:lnTo>
                <a:lnTo>
                  <a:pt x="310295" y="572063"/>
                </a:lnTo>
                <a:lnTo>
                  <a:pt x="292030" y="557116"/>
                </a:lnTo>
                <a:lnTo>
                  <a:pt x="269281" y="540570"/>
                </a:lnTo>
                <a:lnTo>
                  <a:pt x="247921" y="529575"/>
                </a:lnTo>
                <a:lnTo>
                  <a:pt x="224532" y="519543"/>
                </a:lnTo>
                <a:lnTo>
                  <a:pt x="136319" y="488061"/>
                </a:lnTo>
                <a:lnTo>
                  <a:pt x="113359" y="481553"/>
                </a:lnTo>
                <a:lnTo>
                  <a:pt x="88370" y="476005"/>
                </a:lnTo>
                <a:lnTo>
                  <a:pt x="63274" y="475477"/>
                </a:lnTo>
                <a:lnTo>
                  <a:pt x="38179" y="474949"/>
                </a:lnTo>
                <a:lnTo>
                  <a:pt x="13513" y="477945"/>
                </a:lnTo>
                <a:lnTo>
                  <a:pt x="3448" y="480078"/>
                </a:lnTo>
                <a:lnTo>
                  <a:pt x="3175" y="476250"/>
                </a:lnTo>
                <a:lnTo>
                  <a:pt x="0" y="452438"/>
                </a:lnTo>
                <a:lnTo>
                  <a:pt x="11112" y="211137"/>
                </a:lnTo>
                <a:lnTo>
                  <a:pt x="12700" y="190500"/>
                </a:lnTo>
                <a:lnTo>
                  <a:pt x="15874" y="171450"/>
                </a:lnTo>
                <a:lnTo>
                  <a:pt x="20637" y="153987"/>
                </a:lnTo>
                <a:lnTo>
                  <a:pt x="28575" y="134937"/>
                </a:lnTo>
                <a:lnTo>
                  <a:pt x="44449" y="103187"/>
                </a:lnTo>
                <a:lnTo>
                  <a:pt x="63500" y="76200"/>
                </a:lnTo>
                <a:lnTo>
                  <a:pt x="82550" y="55562"/>
                </a:lnTo>
                <a:lnTo>
                  <a:pt x="98424" y="39687"/>
                </a:lnTo>
                <a:lnTo>
                  <a:pt x="114300" y="23812"/>
                </a:lnTo>
                <a:lnTo>
                  <a:pt x="217487" y="0"/>
                </a:lnTo>
                <a:lnTo>
                  <a:pt x="241300" y="0"/>
                </a:lnTo>
                <a:lnTo>
                  <a:pt x="261937" y="3175"/>
                </a:lnTo>
                <a:close/>
              </a:path>
            </a:pathLst>
          </a:custGeom>
          <a:solidFill>
            <a:schemeClr val="accent2">
              <a:lumMod val="7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731" name="Straight Connector 730"/>
          <p:cNvCxnSpPr/>
          <p:nvPr/>
        </p:nvCxnSpPr>
        <p:spPr>
          <a:xfrm flipH="1" flipV="1">
            <a:off x="7731791" y="2012574"/>
            <a:ext cx="1494" cy="444544"/>
          </a:xfrm>
          <a:prstGeom prst="line">
            <a:avLst/>
          </a:prstGeom>
        </p:spPr>
        <p:style>
          <a:lnRef idx="1">
            <a:schemeClr val="accent1"/>
          </a:lnRef>
          <a:fillRef idx="0">
            <a:schemeClr val="accent1"/>
          </a:fillRef>
          <a:effectRef idx="0">
            <a:schemeClr val="accent1"/>
          </a:effectRef>
          <a:fontRef idx="minor">
            <a:schemeClr val="tx1"/>
          </a:fontRef>
        </p:style>
      </p:cxnSp>
      <p:grpSp>
        <p:nvGrpSpPr>
          <p:cNvPr id="736" name="Group 735"/>
          <p:cNvGrpSpPr/>
          <p:nvPr/>
        </p:nvGrpSpPr>
        <p:grpSpPr>
          <a:xfrm>
            <a:off x="10858273" y="2015485"/>
            <a:ext cx="212057" cy="285458"/>
            <a:chOff x="10862862" y="1959882"/>
            <a:chExt cx="291775" cy="392769"/>
          </a:xfrm>
        </p:grpSpPr>
        <p:sp>
          <p:nvSpPr>
            <p:cNvPr id="737" name="Freeform 2367"/>
            <p:cNvSpPr>
              <a:spLocks/>
            </p:cNvSpPr>
            <p:nvPr/>
          </p:nvSpPr>
          <p:spPr bwMode="auto">
            <a:xfrm>
              <a:off x="10868474" y="1959882"/>
              <a:ext cx="286163" cy="375938"/>
            </a:xfrm>
            <a:custGeom>
              <a:avLst/>
              <a:gdLst>
                <a:gd name="T0" fmla="*/ 266 w 306"/>
                <a:gd name="T1" fmla="*/ 371 h 402"/>
                <a:gd name="T2" fmla="*/ 266 w 306"/>
                <a:gd name="T3" fmla="*/ 371 h 402"/>
                <a:gd name="T4" fmla="*/ 277 w 306"/>
                <a:gd name="T5" fmla="*/ 368 h 402"/>
                <a:gd name="T6" fmla="*/ 287 w 306"/>
                <a:gd name="T7" fmla="*/ 363 h 402"/>
                <a:gd name="T8" fmla="*/ 294 w 306"/>
                <a:gd name="T9" fmla="*/ 358 h 402"/>
                <a:gd name="T10" fmla="*/ 300 w 306"/>
                <a:gd name="T11" fmla="*/ 353 h 402"/>
                <a:gd name="T12" fmla="*/ 303 w 306"/>
                <a:gd name="T13" fmla="*/ 346 h 402"/>
                <a:gd name="T14" fmla="*/ 306 w 306"/>
                <a:gd name="T15" fmla="*/ 338 h 402"/>
                <a:gd name="T16" fmla="*/ 306 w 306"/>
                <a:gd name="T17" fmla="*/ 330 h 402"/>
                <a:gd name="T18" fmla="*/ 305 w 306"/>
                <a:gd name="T19" fmla="*/ 322 h 402"/>
                <a:gd name="T20" fmla="*/ 301 w 306"/>
                <a:gd name="T21" fmla="*/ 309 h 402"/>
                <a:gd name="T22" fmla="*/ 301 w 306"/>
                <a:gd name="T23" fmla="*/ 309 h 402"/>
                <a:gd name="T24" fmla="*/ 208 w 306"/>
                <a:gd name="T25" fmla="*/ 43 h 402"/>
                <a:gd name="T26" fmla="*/ 208 w 306"/>
                <a:gd name="T27" fmla="*/ 43 h 402"/>
                <a:gd name="T28" fmla="*/ 201 w 306"/>
                <a:gd name="T29" fmla="*/ 25 h 402"/>
                <a:gd name="T30" fmla="*/ 196 w 306"/>
                <a:gd name="T31" fmla="*/ 17 h 402"/>
                <a:gd name="T32" fmla="*/ 191 w 306"/>
                <a:gd name="T33" fmla="*/ 10 h 402"/>
                <a:gd name="T34" fmla="*/ 185 w 306"/>
                <a:gd name="T35" fmla="*/ 5 h 402"/>
                <a:gd name="T36" fmla="*/ 182 w 306"/>
                <a:gd name="T37" fmla="*/ 3 h 402"/>
                <a:gd name="T38" fmla="*/ 178 w 306"/>
                <a:gd name="T39" fmla="*/ 1 h 402"/>
                <a:gd name="T40" fmla="*/ 174 w 306"/>
                <a:gd name="T41" fmla="*/ 0 h 402"/>
                <a:gd name="T42" fmla="*/ 170 w 306"/>
                <a:gd name="T43" fmla="*/ 0 h 402"/>
                <a:gd name="T44" fmla="*/ 165 w 306"/>
                <a:gd name="T45" fmla="*/ 0 h 402"/>
                <a:gd name="T46" fmla="*/ 159 w 306"/>
                <a:gd name="T47" fmla="*/ 1 h 402"/>
                <a:gd name="T48" fmla="*/ 37 w 306"/>
                <a:gd name="T49" fmla="*/ 22 h 402"/>
                <a:gd name="T50" fmla="*/ 37 w 306"/>
                <a:gd name="T51" fmla="*/ 22 h 402"/>
                <a:gd name="T52" fmla="*/ 30 w 306"/>
                <a:gd name="T53" fmla="*/ 24 h 402"/>
                <a:gd name="T54" fmla="*/ 24 w 306"/>
                <a:gd name="T55" fmla="*/ 26 h 402"/>
                <a:gd name="T56" fmla="*/ 19 w 306"/>
                <a:gd name="T57" fmla="*/ 29 h 402"/>
                <a:gd name="T58" fmla="*/ 14 w 306"/>
                <a:gd name="T59" fmla="*/ 31 h 402"/>
                <a:gd name="T60" fmla="*/ 10 w 306"/>
                <a:gd name="T61" fmla="*/ 35 h 402"/>
                <a:gd name="T62" fmla="*/ 7 w 306"/>
                <a:gd name="T63" fmla="*/ 38 h 402"/>
                <a:gd name="T64" fmla="*/ 4 w 306"/>
                <a:gd name="T65" fmla="*/ 42 h 402"/>
                <a:gd name="T66" fmla="*/ 2 w 306"/>
                <a:gd name="T67" fmla="*/ 46 h 402"/>
                <a:gd name="T68" fmla="*/ 0 w 306"/>
                <a:gd name="T69" fmla="*/ 51 h 402"/>
                <a:gd name="T70" fmla="*/ 0 w 306"/>
                <a:gd name="T71" fmla="*/ 55 h 402"/>
                <a:gd name="T72" fmla="*/ 0 w 306"/>
                <a:gd name="T73" fmla="*/ 65 h 402"/>
                <a:gd name="T74" fmla="*/ 1 w 306"/>
                <a:gd name="T75" fmla="*/ 74 h 402"/>
                <a:gd name="T76" fmla="*/ 5 w 306"/>
                <a:gd name="T77" fmla="*/ 84 h 402"/>
                <a:gd name="T78" fmla="*/ 119 w 306"/>
                <a:gd name="T79" fmla="*/ 372 h 402"/>
                <a:gd name="T80" fmla="*/ 119 w 306"/>
                <a:gd name="T81" fmla="*/ 372 h 402"/>
                <a:gd name="T82" fmla="*/ 124 w 306"/>
                <a:gd name="T83" fmla="*/ 381 h 402"/>
                <a:gd name="T84" fmla="*/ 130 w 306"/>
                <a:gd name="T85" fmla="*/ 389 h 402"/>
                <a:gd name="T86" fmla="*/ 138 w 306"/>
                <a:gd name="T87" fmla="*/ 395 h 402"/>
                <a:gd name="T88" fmla="*/ 147 w 306"/>
                <a:gd name="T89" fmla="*/ 399 h 402"/>
                <a:gd name="T90" fmla="*/ 157 w 306"/>
                <a:gd name="T91" fmla="*/ 402 h 402"/>
                <a:gd name="T92" fmla="*/ 169 w 306"/>
                <a:gd name="T93" fmla="*/ 402 h 402"/>
                <a:gd name="T94" fmla="*/ 180 w 306"/>
                <a:gd name="T95" fmla="*/ 400 h 402"/>
                <a:gd name="T96" fmla="*/ 193 w 306"/>
                <a:gd name="T97" fmla="*/ 396 h 402"/>
                <a:gd name="T98" fmla="*/ 266 w 306"/>
                <a:gd name="T99" fmla="*/ 37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 h="402">
                  <a:moveTo>
                    <a:pt x="266" y="371"/>
                  </a:moveTo>
                  <a:lnTo>
                    <a:pt x="266" y="371"/>
                  </a:lnTo>
                  <a:lnTo>
                    <a:pt x="277" y="368"/>
                  </a:lnTo>
                  <a:lnTo>
                    <a:pt x="287" y="363"/>
                  </a:lnTo>
                  <a:lnTo>
                    <a:pt x="294" y="358"/>
                  </a:lnTo>
                  <a:lnTo>
                    <a:pt x="300" y="353"/>
                  </a:lnTo>
                  <a:lnTo>
                    <a:pt x="303" y="346"/>
                  </a:lnTo>
                  <a:lnTo>
                    <a:pt x="306" y="338"/>
                  </a:lnTo>
                  <a:lnTo>
                    <a:pt x="306" y="330"/>
                  </a:lnTo>
                  <a:lnTo>
                    <a:pt x="305" y="322"/>
                  </a:lnTo>
                  <a:lnTo>
                    <a:pt x="301" y="309"/>
                  </a:lnTo>
                  <a:lnTo>
                    <a:pt x="301" y="309"/>
                  </a:lnTo>
                  <a:lnTo>
                    <a:pt x="208" y="43"/>
                  </a:lnTo>
                  <a:lnTo>
                    <a:pt x="208" y="43"/>
                  </a:lnTo>
                  <a:lnTo>
                    <a:pt x="201" y="25"/>
                  </a:lnTo>
                  <a:lnTo>
                    <a:pt x="196" y="17"/>
                  </a:lnTo>
                  <a:lnTo>
                    <a:pt x="191" y="10"/>
                  </a:lnTo>
                  <a:lnTo>
                    <a:pt x="185" y="5"/>
                  </a:lnTo>
                  <a:lnTo>
                    <a:pt x="182" y="3"/>
                  </a:lnTo>
                  <a:lnTo>
                    <a:pt x="178" y="1"/>
                  </a:lnTo>
                  <a:lnTo>
                    <a:pt x="174" y="0"/>
                  </a:lnTo>
                  <a:lnTo>
                    <a:pt x="170" y="0"/>
                  </a:lnTo>
                  <a:lnTo>
                    <a:pt x="165" y="0"/>
                  </a:lnTo>
                  <a:lnTo>
                    <a:pt x="159" y="1"/>
                  </a:lnTo>
                  <a:lnTo>
                    <a:pt x="37" y="22"/>
                  </a:lnTo>
                  <a:lnTo>
                    <a:pt x="37" y="22"/>
                  </a:lnTo>
                  <a:lnTo>
                    <a:pt x="30" y="24"/>
                  </a:lnTo>
                  <a:lnTo>
                    <a:pt x="24" y="26"/>
                  </a:lnTo>
                  <a:lnTo>
                    <a:pt x="19" y="29"/>
                  </a:lnTo>
                  <a:lnTo>
                    <a:pt x="14" y="31"/>
                  </a:lnTo>
                  <a:lnTo>
                    <a:pt x="10" y="35"/>
                  </a:lnTo>
                  <a:lnTo>
                    <a:pt x="7" y="38"/>
                  </a:lnTo>
                  <a:lnTo>
                    <a:pt x="4" y="42"/>
                  </a:lnTo>
                  <a:lnTo>
                    <a:pt x="2" y="46"/>
                  </a:lnTo>
                  <a:lnTo>
                    <a:pt x="0" y="51"/>
                  </a:lnTo>
                  <a:lnTo>
                    <a:pt x="0" y="55"/>
                  </a:lnTo>
                  <a:lnTo>
                    <a:pt x="0" y="65"/>
                  </a:lnTo>
                  <a:lnTo>
                    <a:pt x="1" y="74"/>
                  </a:lnTo>
                  <a:lnTo>
                    <a:pt x="5" y="84"/>
                  </a:lnTo>
                  <a:lnTo>
                    <a:pt x="119" y="372"/>
                  </a:lnTo>
                  <a:lnTo>
                    <a:pt x="119" y="372"/>
                  </a:lnTo>
                  <a:lnTo>
                    <a:pt x="124" y="381"/>
                  </a:lnTo>
                  <a:lnTo>
                    <a:pt x="130" y="389"/>
                  </a:lnTo>
                  <a:lnTo>
                    <a:pt x="138" y="395"/>
                  </a:lnTo>
                  <a:lnTo>
                    <a:pt x="147" y="399"/>
                  </a:lnTo>
                  <a:lnTo>
                    <a:pt x="157" y="402"/>
                  </a:lnTo>
                  <a:lnTo>
                    <a:pt x="169" y="402"/>
                  </a:lnTo>
                  <a:lnTo>
                    <a:pt x="180" y="400"/>
                  </a:lnTo>
                  <a:lnTo>
                    <a:pt x="193" y="396"/>
                  </a:lnTo>
                  <a:lnTo>
                    <a:pt x="266" y="37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38" name="Freeform 2368"/>
            <p:cNvSpPr>
              <a:spLocks/>
            </p:cNvSpPr>
            <p:nvPr/>
          </p:nvSpPr>
          <p:spPr bwMode="auto">
            <a:xfrm>
              <a:off x="10862862" y="2004769"/>
              <a:ext cx="291772" cy="347882"/>
            </a:xfrm>
            <a:custGeom>
              <a:avLst/>
              <a:gdLst>
                <a:gd name="T0" fmla="*/ 273 w 313"/>
                <a:gd name="T1" fmla="*/ 323 h 373"/>
                <a:gd name="T2" fmla="*/ 200 w 313"/>
                <a:gd name="T3" fmla="*/ 348 h 373"/>
                <a:gd name="T4" fmla="*/ 200 w 313"/>
                <a:gd name="T5" fmla="*/ 348 h 373"/>
                <a:gd name="T6" fmla="*/ 187 w 313"/>
                <a:gd name="T7" fmla="*/ 352 h 373"/>
                <a:gd name="T8" fmla="*/ 176 w 313"/>
                <a:gd name="T9" fmla="*/ 354 h 373"/>
                <a:gd name="T10" fmla="*/ 164 w 313"/>
                <a:gd name="T11" fmla="*/ 354 h 373"/>
                <a:gd name="T12" fmla="*/ 154 w 313"/>
                <a:gd name="T13" fmla="*/ 351 h 373"/>
                <a:gd name="T14" fmla="*/ 145 w 313"/>
                <a:gd name="T15" fmla="*/ 347 h 373"/>
                <a:gd name="T16" fmla="*/ 137 w 313"/>
                <a:gd name="T17" fmla="*/ 341 h 373"/>
                <a:gd name="T18" fmla="*/ 131 w 313"/>
                <a:gd name="T19" fmla="*/ 333 h 373"/>
                <a:gd name="T20" fmla="*/ 126 w 313"/>
                <a:gd name="T21" fmla="*/ 324 h 373"/>
                <a:gd name="T22" fmla="*/ 12 w 313"/>
                <a:gd name="T23" fmla="*/ 36 h 373"/>
                <a:gd name="T24" fmla="*/ 12 w 313"/>
                <a:gd name="T25" fmla="*/ 36 h 373"/>
                <a:gd name="T26" fmla="*/ 8 w 313"/>
                <a:gd name="T27" fmla="*/ 27 h 373"/>
                <a:gd name="T28" fmla="*/ 7 w 313"/>
                <a:gd name="T29" fmla="*/ 18 h 373"/>
                <a:gd name="T30" fmla="*/ 7 w 313"/>
                <a:gd name="T31" fmla="*/ 9 h 373"/>
                <a:gd name="T32" fmla="*/ 8 w 313"/>
                <a:gd name="T33" fmla="*/ 0 h 373"/>
                <a:gd name="T34" fmla="*/ 8 w 313"/>
                <a:gd name="T35" fmla="*/ 0 h 373"/>
                <a:gd name="T36" fmla="*/ 4 w 313"/>
                <a:gd name="T37" fmla="*/ 10 h 373"/>
                <a:gd name="T38" fmla="*/ 2 w 313"/>
                <a:gd name="T39" fmla="*/ 15 h 373"/>
                <a:gd name="T40" fmla="*/ 1 w 313"/>
                <a:gd name="T41" fmla="*/ 22 h 373"/>
                <a:gd name="T42" fmla="*/ 0 w 313"/>
                <a:gd name="T43" fmla="*/ 29 h 373"/>
                <a:gd name="T44" fmla="*/ 0 w 313"/>
                <a:gd name="T45" fmla="*/ 37 h 373"/>
                <a:gd name="T46" fmla="*/ 2 w 313"/>
                <a:gd name="T47" fmla="*/ 46 h 373"/>
                <a:gd name="T48" fmla="*/ 5 w 313"/>
                <a:gd name="T49" fmla="*/ 55 h 373"/>
                <a:gd name="T50" fmla="*/ 119 w 313"/>
                <a:gd name="T51" fmla="*/ 342 h 373"/>
                <a:gd name="T52" fmla="*/ 119 w 313"/>
                <a:gd name="T53" fmla="*/ 342 h 373"/>
                <a:gd name="T54" fmla="*/ 124 w 313"/>
                <a:gd name="T55" fmla="*/ 352 h 373"/>
                <a:gd name="T56" fmla="*/ 130 w 313"/>
                <a:gd name="T57" fmla="*/ 360 h 373"/>
                <a:gd name="T58" fmla="*/ 138 w 313"/>
                <a:gd name="T59" fmla="*/ 366 h 373"/>
                <a:gd name="T60" fmla="*/ 147 w 313"/>
                <a:gd name="T61" fmla="*/ 370 h 373"/>
                <a:gd name="T62" fmla="*/ 157 w 313"/>
                <a:gd name="T63" fmla="*/ 372 h 373"/>
                <a:gd name="T64" fmla="*/ 168 w 313"/>
                <a:gd name="T65" fmla="*/ 373 h 373"/>
                <a:gd name="T66" fmla="*/ 180 w 313"/>
                <a:gd name="T67" fmla="*/ 371 h 373"/>
                <a:gd name="T68" fmla="*/ 193 w 313"/>
                <a:gd name="T69" fmla="*/ 368 h 373"/>
                <a:gd name="T70" fmla="*/ 266 w 313"/>
                <a:gd name="T71" fmla="*/ 342 h 373"/>
                <a:gd name="T72" fmla="*/ 266 w 313"/>
                <a:gd name="T73" fmla="*/ 342 h 373"/>
                <a:gd name="T74" fmla="*/ 276 w 313"/>
                <a:gd name="T75" fmla="*/ 338 h 373"/>
                <a:gd name="T76" fmla="*/ 285 w 313"/>
                <a:gd name="T77" fmla="*/ 335 h 373"/>
                <a:gd name="T78" fmla="*/ 293 w 313"/>
                <a:gd name="T79" fmla="*/ 332 h 373"/>
                <a:gd name="T80" fmla="*/ 299 w 313"/>
                <a:gd name="T81" fmla="*/ 327 h 373"/>
                <a:gd name="T82" fmla="*/ 303 w 313"/>
                <a:gd name="T83" fmla="*/ 321 h 373"/>
                <a:gd name="T84" fmla="*/ 307 w 313"/>
                <a:gd name="T85" fmla="*/ 314 h 373"/>
                <a:gd name="T86" fmla="*/ 310 w 313"/>
                <a:gd name="T87" fmla="*/ 304 h 373"/>
                <a:gd name="T88" fmla="*/ 313 w 313"/>
                <a:gd name="T89" fmla="*/ 291 h 373"/>
                <a:gd name="T90" fmla="*/ 313 w 313"/>
                <a:gd name="T91" fmla="*/ 291 h 373"/>
                <a:gd name="T92" fmla="*/ 313 w 313"/>
                <a:gd name="T93" fmla="*/ 291 h 373"/>
                <a:gd name="T94" fmla="*/ 311 w 313"/>
                <a:gd name="T95" fmla="*/ 297 h 373"/>
                <a:gd name="T96" fmla="*/ 309 w 313"/>
                <a:gd name="T97" fmla="*/ 302 h 373"/>
                <a:gd name="T98" fmla="*/ 305 w 313"/>
                <a:gd name="T99" fmla="*/ 306 h 373"/>
                <a:gd name="T100" fmla="*/ 301 w 313"/>
                <a:gd name="T101" fmla="*/ 310 h 373"/>
                <a:gd name="T102" fmla="*/ 295 w 313"/>
                <a:gd name="T103" fmla="*/ 314 h 373"/>
                <a:gd name="T104" fmla="*/ 288 w 313"/>
                <a:gd name="T105" fmla="*/ 318 h 373"/>
                <a:gd name="T106" fmla="*/ 281 w 313"/>
                <a:gd name="T107" fmla="*/ 321 h 373"/>
                <a:gd name="T108" fmla="*/ 273 w 313"/>
                <a:gd name="T109" fmla="*/ 323 h 373"/>
                <a:gd name="T110" fmla="*/ 273 w 313"/>
                <a:gd name="T111" fmla="*/ 32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3" h="373">
                  <a:moveTo>
                    <a:pt x="273" y="323"/>
                  </a:moveTo>
                  <a:lnTo>
                    <a:pt x="200" y="348"/>
                  </a:lnTo>
                  <a:lnTo>
                    <a:pt x="200" y="348"/>
                  </a:lnTo>
                  <a:lnTo>
                    <a:pt x="187" y="352"/>
                  </a:lnTo>
                  <a:lnTo>
                    <a:pt x="176" y="354"/>
                  </a:lnTo>
                  <a:lnTo>
                    <a:pt x="164" y="354"/>
                  </a:lnTo>
                  <a:lnTo>
                    <a:pt x="154" y="351"/>
                  </a:lnTo>
                  <a:lnTo>
                    <a:pt x="145" y="347"/>
                  </a:lnTo>
                  <a:lnTo>
                    <a:pt x="137" y="341"/>
                  </a:lnTo>
                  <a:lnTo>
                    <a:pt x="131" y="333"/>
                  </a:lnTo>
                  <a:lnTo>
                    <a:pt x="126" y="324"/>
                  </a:lnTo>
                  <a:lnTo>
                    <a:pt x="12" y="36"/>
                  </a:lnTo>
                  <a:lnTo>
                    <a:pt x="12" y="36"/>
                  </a:lnTo>
                  <a:lnTo>
                    <a:pt x="8" y="27"/>
                  </a:lnTo>
                  <a:lnTo>
                    <a:pt x="7" y="18"/>
                  </a:lnTo>
                  <a:lnTo>
                    <a:pt x="7" y="9"/>
                  </a:lnTo>
                  <a:lnTo>
                    <a:pt x="8" y="0"/>
                  </a:lnTo>
                  <a:lnTo>
                    <a:pt x="8" y="0"/>
                  </a:lnTo>
                  <a:lnTo>
                    <a:pt x="4" y="10"/>
                  </a:lnTo>
                  <a:lnTo>
                    <a:pt x="2" y="15"/>
                  </a:lnTo>
                  <a:lnTo>
                    <a:pt x="1" y="22"/>
                  </a:lnTo>
                  <a:lnTo>
                    <a:pt x="0" y="29"/>
                  </a:lnTo>
                  <a:lnTo>
                    <a:pt x="0" y="37"/>
                  </a:lnTo>
                  <a:lnTo>
                    <a:pt x="2" y="46"/>
                  </a:lnTo>
                  <a:lnTo>
                    <a:pt x="5" y="55"/>
                  </a:lnTo>
                  <a:lnTo>
                    <a:pt x="119" y="342"/>
                  </a:lnTo>
                  <a:lnTo>
                    <a:pt x="119" y="342"/>
                  </a:lnTo>
                  <a:lnTo>
                    <a:pt x="124" y="352"/>
                  </a:lnTo>
                  <a:lnTo>
                    <a:pt x="130" y="360"/>
                  </a:lnTo>
                  <a:lnTo>
                    <a:pt x="138" y="366"/>
                  </a:lnTo>
                  <a:lnTo>
                    <a:pt x="147" y="370"/>
                  </a:lnTo>
                  <a:lnTo>
                    <a:pt x="157" y="372"/>
                  </a:lnTo>
                  <a:lnTo>
                    <a:pt x="168" y="373"/>
                  </a:lnTo>
                  <a:lnTo>
                    <a:pt x="180" y="371"/>
                  </a:lnTo>
                  <a:lnTo>
                    <a:pt x="193" y="368"/>
                  </a:lnTo>
                  <a:lnTo>
                    <a:pt x="266" y="342"/>
                  </a:lnTo>
                  <a:lnTo>
                    <a:pt x="266" y="342"/>
                  </a:lnTo>
                  <a:lnTo>
                    <a:pt x="276" y="338"/>
                  </a:lnTo>
                  <a:lnTo>
                    <a:pt x="285" y="335"/>
                  </a:lnTo>
                  <a:lnTo>
                    <a:pt x="293" y="332"/>
                  </a:lnTo>
                  <a:lnTo>
                    <a:pt x="299" y="327"/>
                  </a:lnTo>
                  <a:lnTo>
                    <a:pt x="303" y="321"/>
                  </a:lnTo>
                  <a:lnTo>
                    <a:pt x="307" y="314"/>
                  </a:lnTo>
                  <a:lnTo>
                    <a:pt x="310" y="304"/>
                  </a:lnTo>
                  <a:lnTo>
                    <a:pt x="313" y="291"/>
                  </a:lnTo>
                  <a:lnTo>
                    <a:pt x="313" y="291"/>
                  </a:lnTo>
                  <a:lnTo>
                    <a:pt x="313" y="291"/>
                  </a:lnTo>
                  <a:lnTo>
                    <a:pt x="311" y="297"/>
                  </a:lnTo>
                  <a:lnTo>
                    <a:pt x="309" y="302"/>
                  </a:lnTo>
                  <a:lnTo>
                    <a:pt x="305" y="306"/>
                  </a:lnTo>
                  <a:lnTo>
                    <a:pt x="301" y="310"/>
                  </a:lnTo>
                  <a:lnTo>
                    <a:pt x="295" y="314"/>
                  </a:lnTo>
                  <a:lnTo>
                    <a:pt x="288" y="318"/>
                  </a:lnTo>
                  <a:lnTo>
                    <a:pt x="281" y="321"/>
                  </a:lnTo>
                  <a:lnTo>
                    <a:pt x="273" y="323"/>
                  </a:lnTo>
                  <a:lnTo>
                    <a:pt x="273" y="323"/>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39" name="Freeform 2369"/>
            <p:cNvSpPr>
              <a:spLocks/>
            </p:cNvSpPr>
            <p:nvPr/>
          </p:nvSpPr>
          <p:spPr bwMode="auto">
            <a:xfrm>
              <a:off x="10890918" y="1987935"/>
              <a:ext cx="230053" cy="286162"/>
            </a:xfrm>
            <a:custGeom>
              <a:avLst/>
              <a:gdLst>
                <a:gd name="T0" fmla="*/ 166 w 243"/>
                <a:gd name="T1" fmla="*/ 18 h 305"/>
                <a:gd name="T2" fmla="*/ 166 w 243"/>
                <a:gd name="T3" fmla="*/ 18 h 305"/>
                <a:gd name="T4" fmla="*/ 162 w 243"/>
                <a:gd name="T5" fmla="*/ 11 h 305"/>
                <a:gd name="T6" fmla="*/ 158 w 243"/>
                <a:gd name="T7" fmla="*/ 6 h 305"/>
                <a:gd name="T8" fmla="*/ 153 w 243"/>
                <a:gd name="T9" fmla="*/ 3 h 305"/>
                <a:gd name="T10" fmla="*/ 148 w 243"/>
                <a:gd name="T11" fmla="*/ 1 h 305"/>
                <a:gd name="T12" fmla="*/ 144 w 243"/>
                <a:gd name="T13" fmla="*/ 0 h 305"/>
                <a:gd name="T14" fmla="*/ 139 w 243"/>
                <a:gd name="T15" fmla="*/ 0 h 305"/>
                <a:gd name="T16" fmla="*/ 131 w 243"/>
                <a:gd name="T17" fmla="*/ 0 h 305"/>
                <a:gd name="T18" fmla="*/ 131 w 243"/>
                <a:gd name="T19" fmla="*/ 0 h 305"/>
                <a:gd name="T20" fmla="*/ 122 w 243"/>
                <a:gd name="T21" fmla="*/ 2 h 305"/>
                <a:gd name="T22" fmla="*/ 122 w 243"/>
                <a:gd name="T23" fmla="*/ 2 h 305"/>
                <a:gd name="T24" fmla="*/ 30 w 243"/>
                <a:gd name="T25" fmla="*/ 22 h 305"/>
                <a:gd name="T26" fmla="*/ 30 w 243"/>
                <a:gd name="T27" fmla="*/ 22 h 305"/>
                <a:gd name="T28" fmla="*/ 20 w 243"/>
                <a:gd name="T29" fmla="*/ 25 h 305"/>
                <a:gd name="T30" fmla="*/ 10 w 243"/>
                <a:gd name="T31" fmla="*/ 29 h 305"/>
                <a:gd name="T32" fmla="*/ 10 w 243"/>
                <a:gd name="T33" fmla="*/ 29 h 305"/>
                <a:gd name="T34" fmla="*/ 5 w 243"/>
                <a:gd name="T35" fmla="*/ 32 h 305"/>
                <a:gd name="T36" fmla="*/ 2 w 243"/>
                <a:gd name="T37" fmla="*/ 37 h 305"/>
                <a:gd name="T38" fmla="*/ 0 w 243"/>
                <a:gd name="T39" fmla="*/ 42 h 305"/>
                <a:gd name="T40" fmla="*/ 0 w 243"/>
                <a:gd name="T41" fmla="*/ 48 h 305"/>
                <a:gd name="T42" fmla="*/ 1 w 243"/>
                <a:gd name="T43" fmla="*/ 53 h 305"/>
                <a:gd name="T44" fmla="*/ 2 w 243"/>
                <a:gd name="T45" fmla="*/ 59 h 305"/>
                <a:gd name="T46" fmla="*/ 5 w 243"/>
                <a:gd name="T47" fmla="*/ 68 h 305"/>
                <a:gd name="T48" fmla="*/ 5 w 243"/>
                <a:gd name="T49" fmla="*/ 68 h 305"/>
                <a:gd name="T50" fmla="*/ 89 w 243"/>
                <a:gd name="T51" fmla="*/ 276 h 305"/>
                <a:gd name="T52" fmla="*/ 89 w 243"/>
                <a:gd name="T53" fmla="*/ 276 h 305"/>
                <a:gd name="T54" fmla="*/ 96 w 243"/>
                <a:gd name="T55" fmla="*/ 291 h 305"/>
                <a:gd name="T56" fmla="*/ 99 w 243"/>
                <a:gd name="T57" fmla="*/ 296 h 305"/>
                <a:gd name="T58" fmla="*/ 104 w 243"/>
                <a:gd name="T59" fmla="*/ 301 h 305"/>
                <a:gd name="T60" fmla="*/ 109 w 243"/>
                <a:gd name="T61" fmla="*/ 303 h 305"/>
                <a:gd name="T62" fmla="*/ 115 w 243"/>
                <a:gd name="T63" fmla="*/ 305 h 305"/>
                <a:gd name="T64" fmla="*/ 122 w 243"/>
                <a:gd name="T65" fmla="*/ 305 h 305"/>
                <a:gd name="T66" fmla="*/ 131 w 243"/>
                <a:gd name="T67" fmla="*/ 303 h 305"/>
                <a:gd name="T68" fmla="*/ 131 w 243"/>
                <a:gd name="T69" fmla="*/ 303 h 305"/>
                <a:gd name="T70" fmla="*/ 170 w 243"/>
                <a:gd name="T71" fmla="*/ 291 h 305"/>
                <a:gd name="T72" fmla="*/ 204 w 243"/>
                <a:gd name="T73" fmla="*/ 281 h 305"/>
                <a:gd name="T74" fmla="*/ 204 w 243"/>
                <a:gd name="T75" fmla="*/ 281 h 305"/>
                <a:gd name="T76" fmla="*/ 223 w 243"/>
                <a:gd name="T77" fmla="*/ 275 h 305"/>
                <a:gd name="T78" fmla="*/ 231 w 243"/>
                <a:gd name="T79" fmla="*/ 272 h 305"/>
                <a:gd name="T80" fmla="*/ 237 w 243"/>
                <a:gd name="T81" fmla="*/ 268 h 305"/>
                <a:gd name="T82" fmla="*/ 241 w 243"/>
                <a:gd name="T83" fmla="*/ 264 h 305"/>
                <a:gd name="T84" fmla="*/ 242 w 243"/>
                <a:gd name="T85" fmla="*/ 262 h 305"/>
                <a:gd name="T86" fmla="*/ 243 w 243"/>
                <a:gd name="T87" fmla="*/ 259 h 305"/>
                <a:gd name="T88" fmla="*/ 243 w 243"/>
                <a:gd name="T89" fmla="*/ 251 h 305"/>
                <a:gd name="T90" fmla="*/ 241 w 243"/>
                <a:gd name="T91" fmla="*/ 242 h 305"/>
                <a:gd name="T92" fmla="*/ 241 w 243"/>
                <a:gd name="T93" fmla="*/ 242 h 305"/>
                <a:gd name="T94" fmla="*/ 166 w 243"/>
                <a:gd name="T95" fmla="*/ 18 h 305"/>
                <a:gd name="T96" fmla="*/ 166 w 243"/>
                <a:gd name="T97" fmla="*/ 18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305">
                  <a:moveTo>
                    <a:pt x="166" y="18"/>
                  </a:moveTo>
                  <a:lnTo>
                    <a:pt x="166" y="18"/>
                  </a:lnTo>
                  <a:lnTo>
                    <a:pt x="162" y="11"/>
                  </a:lnTo>
                  <a:lnTo>
                    <a:pt x="158" y="6"/>
                  </a:lnTo>
                  <a:lnTo>
                    <a:pt x="153" y="3"/>
                  </a:lnTo>
                  <a:lnTo>
                    <a:pt x="148" y="1"/>
                  </a:lnTo>
                  <a:lnTo>
                    <a:pt x="144" y="0"/>
                  </a:lnTo>
                  <a:lnTo>
                    <a:pt x="139" y="0"/>
                  </a:lnTo>
                  <a:lnTo>
                    <a:pt x="131" y="0"/>
                  </a:lnTo>
                  <a:lnTo>
                    <a:pt x="131" y="0"/>
                  </a:lnTo>
                  <a:lnTo>
                    <a:pt x="122" y="2"/>
                  </a:lnTo>
                  <a:lnTo>
                    <a:pt x="122" y="2"/>
                  </a:lnTo>
                  <a:lnTo>
                    <a:pt x="30" y="22"/>
                  </a:lnTo>
                  <a:lnTo>
                    <a:pt x="30" y="22"/>
                  </a:lnTo>
                  <a:lnTo>
                    <a:pt x="20" y="25"/>
                  </a:lnTo>
                  <a:lnTo>
                    <a:pt x="10" y="29"/>
                  </a:lnTo>
                  <a:lnTo>
                    <a:pt x="10" y="29"/>
                  </a:lnTo>
                  <a:lnTo>
                    <a:pt x="5" y="32"/>
                  </a:lnTo>
                  <a:lnTo>
                    <a:pt x="2" y="37"/>
                  </a:lnTo>
                  <a:lnTo>
                    <a:pt x="0" y="42"/>
                  </a:lnTo>
                  <a:lnTo>
                    <a:pt x="0" y="48"/>
                  </a:lnTo>
                  <a:lnTo>
                    <a:pt x="1" y="53"/>
                  </a:lnTo>
                  <a:lnTo>
                    <a:pt x="2" y="59"/>
                  </a:lnTo>
                  <a:lnTo>
                    <a:pt x="5" y="68"/>
                  </a:lnTo>
                  <a:lnTo>
                    <a:pt x="5" y="68"/>
                  </a:lnTo>
                  <a:lnTo>
                    <a:pt x="89" y="276"/>
                  </a:lnTo>
                  <a:lnTo>
                    <a:pt x="89" y="276"/>
                  </a:lnTo>
                  <a:lnTo>
                    <a:pt x="96" y="291"/>
                  </a:lnTo>
                  <a:lnTo>
                    <a:pt x="99" y="296"/>
                  </a:lnTo>
                  <a:lnTo>
                    <a:pt x="104" y="301"/>
                  </a:lnTo>
                  <a:lnTo>
                    <a:pt x="109" y="303"/>
                  </a:lnTo>
                  <a:lnTo>
                    <a:pt x="115" y="305"/>
                  </a:lnTo>
                  <a:lnTo>
                    <a:pt x="122" y="305"/>
                  </a:lnTo>
                  <a:lnTo>
                    <a:pt x="131" y="303"/>
                  </a:lnTo>
                  <a:lnTo>
                    <a:pt x="131" y="303"/>
                  </a:lnTo>
                  <a:lnTo>
                    <a:pt x="170" y="291"/>
                  </a:lnTo>
                  <a:lnTo>
                    <a:pt x="204" y="281"/>
                  </a:lnTo>
                  <a:lnTo>
                    <a:pt x="204" y="281"/>
                  </a:lnTo>
                  <a:lnTo>
                    <a:pt x="223" y="275"/>
                  </a:lnTo>
                  <a:lnTo>
                    <a:pt x="231" y="272"/>
                  </a:lnTo>
                  <a:lnTo>
                    <a:pt x="237" y="268"/>
                  </a:lnTo>
                  <a:lnTo>
                    <a:pt x="241" y="264"/>
                  </a:lnTo>
                  <a:lnTo>
                    <a:pt x="242" y="262"/>
                  </a:lnTo>
                  <a:lnTo>
                    <a:pt x="243" y="259"/>
                  </a:lnTo>
                  <a:lnTo>
                    <a:pt x="243" y="251"/>
                  </a:lnTo>
                  <a:lnTo>
                    <a:pt x="241" y="242"/>
                  </a:lnTo>
                  <a:lnTo>
                    <a:pt x="241" y="242"/>
                  </a:lnTo>
                  <a:lnTo>
                    <a:pt x="166" y="18"/>
                  </a:lnTo>
                  <a:lnTo>
                    <a:pt x="166"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889" name="Parallelogram 888"/>
          <p:cNvSpPr/>
          <p:nvPr/>
        </p:nvSpPr>
        <p:spPr bwMode="auto">
          <a:xfrm flipV="1">
            <a:off x="9630979" y="5704021"/>
            <a:ext cx="123359" cy="122237"/>
          </a:xfrm>
          <a:prstGeom prst="parallelogram">
            <a:avLst>
              <a:gd name="adj" fmla="val 72660"/>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0" name="Freeform 889"/>
          <p:cNvSpPr/>
          <p:nvPr/>
        </p:nvSpPr>
        <p:spPr bwMode="auto">
          <a:xfrm>
            <a:off x="9488609" y="5729355"/>
            <a:ext cx="438160" cy="313162"/>
          </a:xfrm>
          <a:custGeom>
            <a:avLst/>
            <a:gdLst/>
            <a:ahLst/>
            <a:cxnLst/>
            <a:rect l="l" t="t" r="r" b="b"/>
            <a:pathLst>
              <a:path w="3347247" h="2392348">
                <a:moveTo>
                  <a:pt x="1675007" y="1230201"/>
                </a:moveTo>
                <a:lnTo>
                  <a:pt x="282043" y="2064840"/>
                </a:lnTo>
                <a:cubicBezTo>
                  <a:pt x="234567" y="2103772"/>
                  <a:pt x="229819" y="2185430"/>
                  <a:pt x="319075" y="2190179"/>
                </a:cubicBezTo>
                <a:lnTo>
                  <a:pt x="3013849" y="2190179"/>
                </a:lnTo>
                <a:cubicBezTo>
                  <a:pt x="3100256" y="2183532"/>
                  <a:pt x="3129692" y="2097125"/>
                  <a:pt x="3059426" y="2059143"/>
                </a:cubicBezTo>
                <a:close/>
                <a:moveTo>
                  <a:pt x="1646153" y="105"/>
                </a:moveTo>
                <a:cubicBezTo>
                  <a:pt x="1960448" y="-6541"/>
                  <a:pt x="2090534" y="302059"/>
                  <a:pt x="2093382" y="407456"/>
                </a:cubicBezTo>
                <a:cubicBezTo>
                  <a:pt x="2096230" y="512853"/>
                  <a:pt x="2063945" y="568875"/>
                  <a:pt x="1990832" y="569826"/>
                </a:cubicBezTo>
                <a:cubicBezTo>
                  <a:pt x="1917719" y="570777"/>
                  <a:pt x="1838908" y="584068"/>
                  <a:pt x="1831312" y="430244"/>
                </a:cubicBezTo>
                <a:cubicBezTo>
                  <a:pt x="1823716" y="276420"/>
                  <a:pt x="1735882" y="257903"/>
                  <a:pt x="1680336" y="259328"/>
                </a:cubicBezTo>
                <a:cubicBezTo>
                  <a:pt x="1624790" y="260753"/>
                  <a:pt x="1485209" y="243186"/>
                  <a:pt x="1498027" y="455881"/>
                </a:cubicBezTo>
                <a:cubicBezTo>
                  <a:pt x="1510845" y="668576"/>
                  <a:pt x="1788583" y="722699"/>
                  <a:pt x="1791431" y="783469"/>
                </a:cubicBezTo>
                <a:cubicBezTo>
                  <a:pt x="1794279" y="844239"/>
                  <a:pt x="1797204" y="925488"/>
                  <a:pt x="1798667" y="1020710"/>
                </a:cubicBezTo>
                <a:lnTo>
                  <a:pt x="3261577" y="1887531"/>
                </a:lnTo>
                <a:cubicBezTo>
                  <a:pt x="3409653" y="2016872"/>
                  <a:pt x="3366872" y="2394043"/>
                  <a:pt x="3124690" y="2386651"/>
                </a:cubicBezTo>
                <a:lnTo>
                  <a:pt x="181857" y="2392348"/>
                </a:lnTo>
                <a:cubicBezTo>
                  <a:pt x="163" y="2374101"/>
                  <a:pt x="-84679" y="2025418"/>
                  <a:pt x="115338" y="1833407"/>
                </a:cubicBezTo>
                <a:lnTo>
                  <a:pt x="1536327" y="989375"/>
                </a:lnTo>
                <a:lnTo>
                  <a:pt x="1535056" y="888868"/>
                </a:lnTo>
                <a:cubicBezTo>
                  <a:pt x="1303370" y="762580"/>
                  <a:pt x="1223136" y="555582"/>
                  <a:pt x="1241652" y="407455"/>
                </a:cubicBezTo>
                <a:cubicBezTo>
                  <a:pt x="1260168" y="259328"/>
                  <a:pt x="1331858" y="6751"/>
                  <a:pt x="1646153" y="10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91" name="Rectangle 890"/>
          <p:cNvSpPr/>
          <p:nvPr/>
        </p:nvSpPr>
        <p:spPr bwMode="auto">
          <a:xfrm>
            <a:off x="5766674" y="6386981"/>
            <a:ext cx="1308391" cy="249405"/>
          </a:xfrm>
          <a:prstGeom prst="rect">
            <a:avLst/>
          </a:prstGeom>
          <a:solidFill>
            <a:schemeClr val="tx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IN-STORE SHOPPING</a:t>
            </a:r>
          </a:p>
        </p:txBody>
      </p:sp>
      <p:grpSp>
        <p:nvGrpSpPr>
          <p:cNvPr id="895" name="Group 894"/>
          <p:cNvGrpSpPr/>
          <p:nvPr/>
        </p:nvGrpSpPr>
        <p:grpSpPr>
          <a:xfrm flipH="1">
            <a:off x="8263494" y="5102990"/>
            <a:ext cx="393246" cy="303577"/>
            <a:chOff x="5239026" y="4102134"/>
            <a:chExt cx="333484" cy="257442"/>
          </a:xfrm>
          <a:solidFill>
            <a:schemeClr val="accent3"/>
          </a:solidFill>
        </p:grpSpPr>
        <p:sp>
          <p:nvSpPr>
            <p:cNvPr id="896" name="Freeform 207"/>
            <p:cNvSpPr>
              <a:spLocks noEditPoints="1"/>
            </p:cNvSpPr>
            <p:nvPr/>
          </p:nvSpPr>
          <p:spPr bwMode="auto">
            <a:xfrm flipH="1">
              <a:off x="5309239" y="4102134"/>
              <a:ext cx="263271" cy="159558"/>
            </a:xfrm>
            <a:custGeom>
              <a:avLst/>
              <a:gdLst>
                <a:gd name="T0" fmla="*/ 106 w 198"/>
                <a:gd name="T1" fmla="*/ 106 h 120"/>
                <a:gd name="T2" fmla="*/ 104 w 198"/>
                <a:gd name="T3" fmla="*/ 106 h 120"/>
                <a:gd name="T4" fmla="*/ 100 w 198"/>
                <a:gd name="T5" fmla="*/ 100 h 120"/>
                <a:gd name="T6" fmla="*/ 127 w 198"/>
                <a:gd name="T7" fmla="*/ 80 h 120"/>
                <a:gd name="T8" fmla="*/ 131 w 198"/>
                <a:gd name="T9" fmla="*/ 79 h 120"/>
                <a:gd name="T10" fmla="*/ 134 w 198"/>
                <a:gd name="T11" fmla="*/ 71 h 120"/>
                <a:gd name="T12" fmla="*/ 112 w 198"/>
                <a:gd name="T13" fmla="*/ 7 h 120"/>
                <a:gd name="T14" fmla="*/ 110 w 198"/>
                <a:gd name="T15" fmla="*/ 3 h 120"/>
                <a:gd name="T16" fmla="*/ 102 w 198"/>
                <a:gd name="T17" fmla="*/ 0 h 120"/>
                <a:gd name="T18" fmla="*/ 27 w 198"/>
                <a:gd name="T19" fmla="*/ 25 h 120"/>
                <a:gd name="T20" fmla="*/ 23 w 198"/>
                <a:gd name="T21" fmla="*/ 27 h 120"/>
                <a:gd name="T22" fmla="*/ 19 w 198"/>
                <a:gd name="T23" fmla="*/ 35 h 120"/>
                <a:gd name="T24" fmla="*/ 24 w 198"/>
                <a:gd name="T25" fmla="*/ 54 h 120"/>
                <a:gd name="T26" fmla="*/ 14 w 198"/>
                <a:gd name="T27" fmla="*/ 55 h 120"/>
                <a:gd name="T28" fmla="*/ 12 w 198"/>
                <a:gd name="T29" fmla="*/ 54 h 120"/>
                <a:gd name="T30" fmla="*/ 7 w 198"/>
                <a:gd name="T31" fmla="*/ 51 h 120"/>
                <a:gd name="T32" fmla="*/ 4 w 198"/>
                <a:gd name="T33" fmla="*/ 51 h 120"/>
                <a:gd name="T34" fmla="*/ 0 w 198"/>
                <a:gd name="T35" fmla="*/ 55 h 120"/>
                <a:gd name="T36" fmla="*/ 0 w 198"/>
                <a:gd name="T37" fmla="*/ 60 h 120"/>
                <a:gd name="T38" fmla="*/ 12 w 198"/>
                <a:gd name="T39" fmla="*/ 95 h 120"/>
                <a:gd name="T40" fmla="*/ 16 w 198"/>
                <a:gd name="T41" fmla="*/ 99 h 120"/>
                <a:gd name="T42" fmla="*/ 22 w 198"/>
                <a:gd name="T43" fmla="*/ 99 h 120"/>
                <a:gd name="T44" fmla="*/ 24 w 198"/>
                <a:gd name="T45" fmla="*/ 98 h 120"/>
                <a:gd name="T46" fmla="*/ 27 w 198"/>
                <a:gd name="T47" fmla="*/ 94 h 120"/>
                <a:gd name="T48" fmla="*/ 26 w 198"/>
                <a:gd name="T49" fmla="*/ 88 h 120"/>
                <a:gd name="T50" fmla="*/ 35 w 198"/>
                <a:gd name="T51" fmla="*/ 84 h 120"/>
                <a:gd name="T52" fmla="*/ 40 w 198"/>
                <a:gd name="T53" fmla="*/ 99 h 120"/>
                <a:gd name="T54" fmla="*/ 47 w 198"/>
                <a:gd name="T55" fmla="*/ 104 h 120"/>
                <a:gd name="T56" fmla="*/ 55 w 198"/>
                <a:gd name="T57" fmla="*/ 106 h 120"/>
                <a:gd name="T58" fmla="*/ 87 w 198"/>
                <a:gd name="T59" fmla="*/ 112 h 120"/>
                <a:gd name="T60" fmla="*/ 90 w 198"/>
                <a:gd name="T61" fmla="*/ 115 h 120"/>
                <a:gd name="T62" fmla="*/ 95 w 198"/>
                <a:gd name="T63" fmla="*/ 119 h 120"/>
                <a:gd name="T64" fmla="*/ 198 w 198"/>
                <a:gd name="T65" fmla="*/ 120 h 120"/>
                <a:gd name="T66" fmla="*/ 90 w 198"/>
                <a:gd name="T67" fmla="*/ 23 h 120"/>
                <a:gd name="T68" fmla="*/ 90 w 198"/>
                <a:gd name="T69" fmla="*/ 20 h 120"/>
                <a:gd name="T70" fmla="*/ 94 w 198"/>
                <a:gd name="T71" fmla="*/ 17 h 120"/>
                <a:gd name="T72" fmla="*/ 96 w 198"/>
                <a:gd name="T73" fmla="*/ 16 h 120"/>
                <a:gd name="T74" fmla="*/ 102 w 198"/>
                <a:gd name="T75" fmla="*/ 19 h 120"/>
                <a:gd name="T76" fmla="*/ 103 w 198"/>
                <a:gd name="T77" fmla="*/ 23 h 120"/>
                <a:gd name="T78" fmla="*/ 103 w 198"/>
                <a:gd name="T79" fmla="*/ 27 h 120"/>
                <a:gd name="T80" fmla="*/ 99 w 198"/>
                <a:gd name="T81" fmla="*/ 29 h 120"/>
                <a:gd name="T82" fmla="*/ 96 w 198"/>
                <a:gd name="T83" fmla="*/ 31 h 120"/>
                <a:gd name="T84" fmla="*/ 91 w 198"/>
                <a:gd name="T85" fmla="*/ 28 h 120"/>
                <a:gd name="T86" fmla="*/ 90 w 198"/>
                <a:gd name="T87"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 h="120">
                  <a:moveTo>
                    <a:pt x="198" y="106"/>
                  </a:moveTo>
                  <a:lnTo>
                    <a:pt x="106" y="106"/>
                  </a:lnTo>
                  <a:lnTo>
                    <a:pt x="106" y="106"/>
                  </a:lnTo>
                  <a:lnTo>
                    <a:pt x="104" y="106"/>
                  </a:lnTo>
                  <a:lnTo>
                    <a:pt x="103" y="104"/>
                  </a:lnTo>
                  <a:lnTo>
                    <a:pt x="100" y="100"/>
                  </a:lnTo>
                  <a:lnTo>
                    <a:pt x="98" y="91"/>
                  </a:lnTo>
                  <a:lnTo>
                    <a:pt x="127" y="80"/>
                  </a:lnTo>
                  <a:lnTo>
                    <a:pt x="127" y="80"/>
                  </a:lnTo>
                  <a:lnTo>
                    <a:pt x="131" y="79"/>
                  </a:lnTo>
                  <a:lnTo>
                    <a:pt x="132" y="75"/>
                  </a:lnTo>
                  <a:lnTo>
                    <a:pt x="134" y="71"/>
                  </a:lnTo>
                  <a:lnTo>
                    <a:pt x="134" y="66"/>
                  </a:lnTo>
                  <a:lnTo>
                    <a:pt x="112" y="7"/>
                  </a:lnTo>
                  <a:lnTo>
                    <a:pt x="112" y="7"/>
                  </a:lnTo>
                  <a:lnTo>
                    <a:pt x="110" y="3"/>
                  </a:lnTo>
                  <a:lnTo>
                    <a:pt x="107" y="1"/>
                  </a:lnTo>
                  <a:lnTo>
                    <a:pt x="102" y="0"/>
                  </a:lnTo>
                  <a:lnTo>
                    <a:pt x="98" y="0"/>
                  </a:lnTo>
                  <a:lnTo>
                    <a:pt x="27" y="25"/>
                  </a:lnTo>
                  <a:lnTo>
                    <a:pt x="27" y="25"/>
                  </a:lnTo>
                  <a:lnTo>
                    <a:pt x="23" y="27"/>
                  </a:lnTo>
                  <a:lnTo>
                    <a:pt x="20" y="31"/>
                  </a:lnTo>
                  <a:lnTo>
                    <a:pt x="19" y="35"/>
                  </a:lnTo>
                  <a:lnTo>
                    <a:pt x="20" y="40"/>
                  </a:lnTo>
                  <a:lnTo>
                    <a:pt x="24" y="54"/>
                  </a:lnTo>
                  <a:lnTo>
                    <a:pt x="14" y="56"/>
                  </a:lnTo>
                  <a:lnTo>
                    <a:pt x="14" y="55"/>
                  </a:lnTo>
                  <a:lnTo>
                    <a:pt x="14" y="55"/>
                  </a:lnTo>
                  <a:lnTo>
                    <a:pt x="12" y="54"/>
                  </a:lnTo>
                  <a:lnTo>
                    <a:pt x="10" y="51"/>
                  </a:lnTo>
                  <a:lnTo>
                    <a:pt x="7" y="51"/>
                  </a:lnTo>
                  <a:lnTo>
                    <a:pt x="4" y="51"/>
                  </a:lnTo>
                  <a:lnTo>
                    <a:pt x="4" y="51"/>
                  </a:lnTo>
                  <a:lnTo>
                    <a:pt x="2" y="52"/>
                  </a:lnTo>
                  <a:lnTo>
                    <a:pt x="0" y="55"/>
                  </a:lnTo>
                  <a:lnTo>
                    <a:pt x="0" y="58"/>
                  </a:lnTo>
                  <a:lnTo>
                    <a:pt x="0" y="60"/>
                  </a:lnTo>
                  <a:lnTo>
                    <a:pt x="12" y="95"/>
                  </a:lnTo>
                  <a:lnTo>
                    <a:pt x="12" y="95"/>
                  </a:lnTo>
                  <a:lnTo>
                    <a:pt x="15" y="98"/>
                  </a:lnTo>
                  <a:lnTo>
                    <a:pt x="16" y="99"/>
                  </a:lnTo>
                  <a:lnTo>
                    <a:pt x="19" y="100"/>
                  </a:lnTo>
                  <a:lnTo>
                    <a:pt x="22" y="99"/>
                  </a:lnTo>
                  <a:lnTo>
                    <a:pt x="22" y="99"/>
                  </a:lnTo>
                  <a:lnTo>
                    <a:pt x="24" y="98"/>
                  </a:lnTo>
                  <a:lnTo>
                    <a:pt x="26" y="96"/>
                  </a:lnTo>
                  <a:lnTo>
                    <a:pt x="27" y="94"/>
                  </a:lnTo>
                  <a:lnTo>
                    <a:pt x="26" y="91"/>
                  </a:lnTo>
                  <a:lnTo>
                    <a:pt x="26" y="88"/>
                  </a:lnTo>
                  <a:lnTo>
                    <a:pt x="30" y="86"/>
                  </a:lnTo>
                  <a:lnTo>
                    <a:pt x="35" y="84"/>
                  </a:lnTo>
                  <a:lnTo>
                    <a:pt x="40" y="99"/>
                  </a:lnTo>
                  <a:lnTo>
                    <a:pt x="40" y="99"/>
                  </a:lnTo>
                  <a:lnTo>
                    <a:pt x="43" y="103"/>
                  </a:lnTo>
                  <a:lnTo>
                    <a:pt x="47" y="104"/>
                  </a:lnTo>
                  <a:lnTo>
                    <a:pt x="51" y="106"/>
                  </a:lnTo>
                  <a:lnTo>
                    <a:pt x="55" y="106"/>
                  </a:lnTo>
                  <a:lnTo>
                    <a:pt x="83" y="95"/>
                  </a:lnTo>
                  <a:lnTo>
                    <a:pt x="87" y="112"/>
                  </a:lnTo>
                  <a:lnTo>
                    <a:pt x="87" y="112"/>
                  </a:lnTo>
                  <a:lnTo>
                    <a:pt x="90" y="115"/>
                  </a:lnTo>
                  <a:lnTo>
                    <a:pt x="92" y="118"/>
                  </a:lnTo>
                  <a:lnTo>
                    <a:pt x="95" y="119"/>
                  </a:lnTo>
                  <a:lnTo>
                    <a:pt x="99" y="120"/>
                  </a:lnTo>
                  <a:lnTo>
                    <a:pt x="198" y="120"/>
                  </a:lnTo>
                  <a:lnTo>
                    <a:pt x="198" y="106"/>
                  </a:lnTo>
                  <a:close/>
                  <a:moveTo>
                    <a:pt x="90" y="23"/>
                  </a:moveTo>
                  <a:lnTo>
                    <a:pt x="90" y="23"/>
                  </a:lnTo>
                  <a:lnTo>
                    <a:pt x="90" y="20"/>
                  </a:lnTo>
                  <a:lnTo>
                    <a:pt x="91" y="19"/>
                  </a:lnTo>
                  <a:lnTo>
                    <a:pt x="94" y="17"/>
                  </a:lnTo>
                  <a:lnTo>
                    <a:pt x="96" y="16"/>
                  </a:lnTo>
                  <a:lnTo>
                    <a:pt x="96" y="16"/>
                  </a:lnTo>
                  <a:lnTo>
                    <a:pt x="99" y="17"/>
                  </a:lnTo>
                  <a:lnTo>
                    <a:pt x="102" y="19"/>
                  </a:lnTo>
                  <a:lnTo>
                    <a:pt x="103" y="20"/>
                  </a:lnTo>
                  <a:lnTo>
                    <a:pt x="103" y="23"/>
                  </a:lnTo>
                  <a:lnTo>
                    <a:pt x="103" y="23"/>
                  </a:lnTo>
                  <a:lnTo>
                    <a:pt x="103" y="27"/>
                  </a:lnTo>
                  <a:lnTo>
                    <a:pt x="102" y="28"/>
                  </a:lnTo>
                  <a:lnTo>
                    <a:pt x="99" y="29"/>
                  </a:lnTo>
                  <a:lnTo>
                    <a:pt x="96" y="31"/>
                  </a:lnTo>
                  <a:lnTo>
                    <a:pt x="96" y="31"/>
                  </a:lnTo>
                  <a:lnTo>
                    <a:pt x="94" y="29"/>
                  </a:lnTo>
                  <a:lnTo>
                    <a:pt x="91" y="28"/>
                  </a:lnTo>
                  <a:lnTo>
                    <a:pt x="90" y="27"/>
                  </a:lnTo>
                  <a:lnTo>
                    <a:pt x="90" y="23"/>
                  </a:lnTo>
                  <a:lnTo>
                    <a:pt x="90" y="23"/>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97" name="Oval 896"/>
            <p:cNvSpPr/>
            <p:nvPr/>
          </p:nvSpPr>
          <p:spPr bwMode="auto">
            <a:xfrm>
              <a:off x="5239026" y="4142457"/>
              <a:ext cx="115959" cy="21711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5" name="Group 264"/>
          <p:cNvGrpSpPr/>
          <p:nvPr/>
        </p:nvGrpSpPr>
        <p:grpSpPr>
          <a:xfrm>
            <a:off x="6546689" y="1575773"/>
            <a:ext cx="202711" cy="279095"/>
            <a:chOff x="6038850" y="1693544"/>
            <a:chExt cx="525780" cy="723902"/>
          </a:xfrm>
          <a:solidFill>
            <a:schemeClr val="accent3"/>
          </a:solidFill>
        </p:grpSpPr>
        <p:sp>
          <p:nvSpPr>
            <p:cNvPr id="266" name="Freeform 396"/>
            <p:cNvSpPr>
              <a:spLocks noEditPoints="1"/>
            </p:cNvSpPr>
            <p:nvPr/>
          </p:nvSpPr>
          <p:spPr bwMode="auto">
            <a:xfrm>
              <a:off x="6038850" y="1693544"/>
              <a:ext cx="525780" cy="723900"/>
            </a:xfrm>
            <a:custGeom>
              <a:avLst/>
              <a:gdLst>
                <a:gd name="T0" fmla="*/ 22 w 553"/>
                <a:gd name="T1" fmla="*/ 94 h 760"/>
                <a:gd name="T2" fmla="*/ 43 w 553"/>
                <a:gd name="T3" fmla="*/ 100 h 760"/>
                <a:gd name="T4" fmla="*/ 139 w 553"/>
                <a:gd name="T5" fmla="*/ 202 h 760"/>
                <a:gd name="T6" fmla="*/ 131 w 553"/>
                <a:gd name="T7" fmla="*/ 225 h 760"/>
                <a:gd name="T8" fmla="*/ 113 w 553"/>
                <a:gd name="T9" fmla="*/ 233 h 760"/>
                <a:gd name="T10" fmla="*/ 6 w 553"/>
                <a:gd name="T11" fmla="*/ 136 h 760"/>
                <a:gd name="T12" fmla="*/ 0 w 553"/>
                <a:gd name="T13" fmla="*/ 119 h 760"/>
                <a:gd name="T14" fmla="*/ 276 w 553"/>
                <a:gd name="T15" fmla="*/ 0 h 760"/>
                <a:gd name="T16" fmla="*/ 295 w 553"/>
                <a:gd name="T17" fmla="*/ 6 h 760"/>
                <a:gd name="T18" fmla="*/ 304 w 553"/>
                <a:gd name="T19" fmla="*/ 149 h 760"/>
                <a:gd name="T20" fmla="*/ 297 w 553"/>
                <a:gd name="T21" fmla="*/ 166 h 760"/>
                <a:gd name="T22" fmla="*/ 278 w 553"/>
                <a:gd name="T23" fmla="*/ 173 h 760"/>
                <a:gd name="T24" fmla="*/ 257 w 553"/>
                <a:gd name="T25" fmla="*/ 163 h 760"/>
                <a:gd name="T26" fmla="*/ 251 w 553"/>
                <a:gd name="T27" fmla="*/ 23 h 760"/>
                <a:gd name="T28" fmla="*/ 262 w 553"/>
                <a:gd name="T29" fmla="*/ 4 h 760"/>
                <a:gd name="T30" fmla="*/ 545 w 553"/>
                <a:gd name="T31" fmla="*/ 102 h 760"/>
                <a:gd name="T32" fmla="*/ 553 w 553"/>
                <a:gd name="T33" fmla="*/ 124 h 760"/>
                <a:gd name="T34" fmla="*/ 457 w 553"/>
                <a:gd name="T35" fmla="*/ 227 h 760"/>
                <a:gd name="T36" fmla="*/ 435 w 553"/>
                <a:gd name="T37" fmla="*/ 232 h 760"/>
                <a:gd name="T38" fmla="*/ 418 w 553"/>
                <a:gd name="T39" fmla="*/ 221 h 760"/>
                <a:gd name="T40" fmla="*/ 415 w 553"/>
                <a:gd name="T41" fmla="*/ 198 h 760"/>
                <a:gd name="T42" fmla="*/ 514 w 553"/>
                <a:gd name="T43" fmla="*/ 97 h 760"/>
                <a:gd name="T44" fmla="*/ 537 w 553"/>
                <a:gd name="T45" fmla="*/ 96 h 760"/>
                <a:gd name="T46" fmla="*/ 364 w 553"/>
                <a:gd name="T47" fmla="*/ 627 h 760"/>
                <a:gd name="T48" fmla="*/ 350 w 553"/>
                <a:gd name="T49" fmla="*/ 646 h 760"/>
                <a:gd name="T50" fmla="*/ 209 w 553"/>
                <a:gd name="T51" fmla="*/ 647 h 760"/>
                <a:gd name="T52" fmla="*/ 192 w 553"/>
                <a:gd name="T53" fmla="*/ 632 h 760"/>
                <a:gd name="T54" fmla="*/ 192 w 553"/>
                <a:gd name="T55" fmla="*/ 612 h 760"/>
                <a:gd name="T56" fmla="*/ 209 w 553"/>
                <a:gd name="T57" fmla="*/ 596 h 760"/>
                <a:gd name="T58" fmla="*/ 350 w 553"/>
                <a:gd name="T59" fmla="*/ 597 h 760"/>
                <a:gd name="T60" fmla="*/ 364 w 553"/>
                <a:gd name="T61" fmla="*/ 617 h 760"/>
                <a:gd name="T62" fmla="*/ 363 w 553"/>
                <a:gd name="T63" fmla="*/ 701 h 760"/>
                <a:gd name="T64" fmla="*/ 346 w 553"/>
                <a:gd name="T65" fmla="*/ 717 h 760"/>
                <a:gd name="T66" fmla="*/ 205 w 553"/>
                <a:gd name="T67" fmla="*/ 715 h 760"/>
                <a:gd name="T68" fmla="*/ 191 w 553"/>
                <a:gd name="T69" fmla="*/ 696 h 760"/>
                <a:gd name="T70" fmla="*/ 194 w 553"/>
                <a:gd name="T71" fmla="*/ 677 h 760"/>
                <a:gd name="T72" fmla="*/ 214 w 553"/>
                <a:gd name="T73" fmla="*/ 665 h 760"/>
                <a:gd name="T74" fmla="*/ 354 w 553"/>
                <a:gd name="T75" fmla="*/ 670 h 760"/>
                <a:gd name="T76" fmla="*/ 364 w 553"/>
                <a:gd name="T77" fmla="*/ 691 h 760"/>
                <a:gd name="T78" fmla="*/ 258 w 553"/>
                <a:gd name="T79" fmla="*/ 756 h 760"/>
                <a:gd name="T80" fmla="*/ 229 w 553"/>
                <a:gd name="T81" fmla="*/ 734 h 760"/>
                <a:gd name="T82" fmla="*/ 308 w 553"/>
                <a:gd name="T83" fmla="*/ 750 h 760"/>
                <a:gd name="T84" fmla="*/ 277 w 553"/>
                <a:gd name="T85" fmla="*/ 760 h 760"/>
                <a:gd name="T86" fmla="*/ 165 w 553"/>
                <a:gd name="T87" fmla="*/ 555 h 760"/>
                <a:gd name="T88" fmla="*/ 124 w 553"/>
                <a:gd name="T89" fmla="*/ 512 h 760"/>
                <a:gd name="T90" fmla="*/ 99 w 553"/>
                <a:gd name="T91" fmla="*/ 457 h 760"/>
                <a:gd name="T92" fmla="*/ 92 w 553"/>
                <a:gd name="T93" fmla="*/ 408 h 760"/>
                <a:gd name="T94" fmla="*/ 115 w 553"/>
                <a:gd name="T95" fmla="*/ 319 h 760"/>
                <a:gd name="T96" fmla="*/ 174 w 553"/>
                <a:gd name="T97" fmla="*/ 254 h 760"/>
                <a:gd name="T98" fmla="*/ 259 w 553"/>
                <a:gd name="T99" fmla="*/ 223 h 760"/>
                <a:gd name="T100" fmla="*/ 333 w 553"/>
                <a:gd name="T101" fmla="*/ 231 h 760"/>
                <a:gd name="T102" fmla="*/ 408 w 553"/>
                <a:gd name="T103" fmla="*/ 277 h 760"/>
                <a:gd name="T104" fmla="*/ 455 w 553"/>
                <a:gd name="T105" fmla="*/ 352 h 760"/>
                <a:gd name="T106" fmla="*/ 463 w 553"/>
                <a:gd name="T107" fmla="*/ 421 h 760"/>
                <a:gd name="T108" fmla="*/ 448 w 553"/>
                <a:gd name="T109" fmla="*/ 480 h 760"/>
                <a:gd name="T110" fmla="*/ 416 w 553"/>
                <a:gd name="T111" fmla="*/ 531 h 760"/>
                <a:gd name="T112" fmla="*/ 370 w 553"/>
                <a:gd name="T113" fmla="*/ 568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760">
                  <a:moveTo>
                    <a:pt x="8" y="102"/>
                  </a:moveTo>
                  <a:lnTo>
                    <a:pt x="8" y="102"/>
                  </a:lnTo>
                  <a:lnTo>
                    <a:pt x="12" y="98"/>
                  </a:lnTo>
                  <a:lnTo>
                    <a:pt x="16" y="96"/>
                  </a:lnTo>
                  <a:lnTo>
                    <a:pt x="22" y="94"/>
                  </a:lnTo>
                  <a:lnTo>
                    <a:pt x="27" y="93"/>
                  </a:lnTo>
                  <a:lnTo>
                    <a:pt x="31" y="94"/>
                  </a:lnTo>
                  <a:lnTo>
                    <a:pt x="36" y="95"/>
                  </a:lnTo>
                  <a:lnTo>
                    <a:pt x="40" y="97"/>
                  </a:lnTo>
                  <a:lnTo>
                    <a:pt x="43" y="100"/>
                  </a:lnTo>
                  <a:lnTo>
                    <a:pt x="133" y="190"/>
                  </a:lnTo>
                  <a:lnTo>
                    <a:pt x="133" y="190"/>
                  </a:lnTo>
                  <a:lnTo>
                    <a:pt x="136" y="194"/>
                  </a:lnTo>
                  <a:lnTo>
                    <a:pt x="138" y="198"/>
                  </a:lnTo>
                  <a:lnTo>
                    <a:pt x="139" y="202"/>
                  </a:lnTo>
                  <a:lnTo>
                    <a:pt x="139" y="207"/>
                  </a:lnTo>
                  <a:lnTo>
                    <a:pt x="138" y="212"/>
                  </a:lnTo>
                  <a:lnTo>
                    <a:pt x="137" y="216"/>
                  </a:lnTo>
                  <a:lnTo>
                    <a:pt x="134" y="221"/>
                  </a:lnTo>
                  <a:lnTo>
                    <a:pt x="131" y="225"/>
                  </a:lnTo>
                  <a:lnTo>
                    <a:pt x="131" y="225"/>
                  </a:lnTo>
                  <a:lnTo>
                    <a:pt x="127" y="228"/>
                  </a:lnTo>
                  <a:lnTo>
                    <a:pt x="123" y="231"/>
                  </a:lnTo>
                  <a:lnTo>
                    <a:pt x="118" y="232"/>
                  </a:lnTo>
                  <a:lnTo>
                    <a:pt x="113" y="233"/>
                  </a:lnTo>
                  <a:lnTo>
                    <a:pt x="109" y="233"/>
                  </a:lnTo>
                  <a:lnTo>
                    <a:pt x="104" y="232"/>
                  </a:lnTo>
                  <a:lnTo>
                    <a:pt x="100" y="230"/>
                  </a:lnTo>
                  <a:lnTo>
                    <a:pt x="96" y="227"/>
                  </a:lnTo>
                  <a:lnTo>
                    <a:pt x="6" y="136"/>
                  </a:lnTo>
                  <a:lnTo>
                    <a:pt x="6" y="136"/>
                  </a:lnTo>
                  <a:lnTo>
                    <a:pt x="3" y="133"/>
                  </a:lnTo>
                  <a:lnTo>
                    <a:pt x="1" y="129"/>
                  </a:lnTo>
                  <a:lnTo>
                    <a:pt x="0" y="124"/>
                  </a:lnTo>
                  <a:lnTo>
                    <a:pt x="0" y="119"/>
                  </a:lnTo>
                  <a:lnTo>
                    <a:pt x="0" y="115"/>
                  </a:lnTo>
                  <a:lnTo>
                    <a:pt x="2" y="110"/>
                  </a:lnTo>
                  <a:lnTo>
                    <a:pt x="4" y="106"/>
                  </a:lnTo>
                  <a:lnTo>
                    <a:pt x="8" y="102"/>
                  </a:lnTo>
                  <a:close/>
                  <a:moveTo>
                    <a:pt x="276" y="0"/>
                  </a:moveTo>
                  <a:lnTo>
                    <a:pt x="276" y="0"/>
                  </a:lnTo>
                  <a:lnTo>
                    <a:pt x="282" y="0"/>
                  </a:lnTo>
                  <a:lnTo>
                    <a:pt x="287" y="1"/>
                  </a:lnTo>
                  <a:lnTo>
                    <a:pt x="291" y="3"/>
                  </a:lnTo>
                  <a:lnTo>
                    <a:pt x="295" y="6"/>
                  </a:lnTo>
                  <a:lnTo>
                    <a:pt x="298" y="10"/>
                  </a:lnTo>
                  <a:lnTo>
                    <a:pt x="300" y="13"/>
                  </a:lnTo>
                  <a:lnTo>
                    <a:pt x="302" y="18"/>
                  </a:lnTo>
                  <a:lnTo>
                    <a:pt x="303" y="22"/>
                  </a:lnTo>
                  <a:lnTo>
                    <a:pt x="304" y="149"/>
                  </a:lnTo>
                  <a:lnTo>
                    <a:pt x="304" y="149"/>
                  </a:lnTo>
                  <a:lnTo>
                    <a:pt x="304" y="154"/>
                  </a:lnTo>
                  <a:lnTo>
                    <a:pt x="302" y="158"/>
                  </a:lnTo>
                  <a:lnTo>
                    <a:pt x="300" y="162"/>
                  </a:lnTo>
                  <a:lnTo>
                    <a:pt x="297" y="166"/>
                  </a:lnTo>
                  <a:lnTo>
                    <a:pt x="293" y="168"/>
                  </a:lnTo>
                  <a:lnTo>
                    <a:pt x="288" y="171"/>
                  </a:lnTo>
                  <a:lnTo>
                    <a:pt x="284" y="172"/>
                  </a:lnTo>
                  <a:lnTo>
                    <a:pt x="278" y="173"/>
                  </a:lnTo>
                  <a:lnTo>
                    <a:pt x="278" y="173"/>
                  </a:lnTo>
                  <a:lnTo>
                    <a:pt x="273" y="172"/>
                  </a:lnTo>
                  <a:lnTo>
                    <a:pt x="268" y="171"/>
                  </a:lnTo>
                  <a:lnTo>
                    <a:pt x="264" y="169"/>
                  </a:lnTo>
                  <a:lnTo>
                    <a:pt x="260" y="166"/>
                  </a:lnTo>
                  <a:lnTo>
                    <a:pt x="257" y="163"/>
                  </a:lnTo>
                  <a:lnTo>
                    <a:pt x="254" y="159"/>
                  </a:lnTo>
                  <a:lnTo>
                    <a:pt x="253" y="154"/>
                  </a:lnTo>
                  <a:lnTo>
                    <a:pt x="252" y="150"/>
                  </a:lnTo>
                  <a:lnTo>
                    <a:pt x="251" y="23"/>
                  </a:lnTo>
                  <a:lnTo>
                    <a:pt x="251" y="23"/>
                  </a:lnTo>
                  <a:lnTo>
                    <a:pt x="251" y="18"/>
                  </a:lnTo>
                  <a:lnTo>
                    <a:pt x="253" y="14"/>
                  </a:lnTo>
                  <a:lnTo>
                    <a:pt x="255" y="10"/>
                  </a:lnTo>
                  <a:lnTo>
                    <a:pt x="258" y="7"/>
                  </a:lnTo>
                  <a:lnTo>
                    <a:pt x="262" y="4"/>
                  </a:lnTo>
                  <a:lnTo>
                    <a:pt x="266" y="2"/>
                  </a:lnTo>
                  <a:lnTo>
                    <a:pt x="271" y="0"/>
                  </a:lnTo>
                  <a:lnTo>
                    <a:pt x="276" y="0"/>
                  </a:lnTo>
                  <a:close/>
                  <a:moveTo>
                    <a:pt x="545" y="102"/>
                  </a:moveTo>
                  <a:lnTo>
                    <a:pt x="545" y="102"/>
                  </a:lnTo>
                  <a:lnTo>
                    <a:pt x="548" y="106"/>
                  </a:lnTo>
                  <a:lnTo>
                    <a:pt x="551" y="110"/>
                  </a:lnTo>
                  <a:lnTo>
                    <a:pt x="552" y="115"/>
                  </a:lnTo>
                  <a:lnTo>
                    <a:pt x="553" y="119"/>
                  </a:lnTo>
                  <a:lnTo>
                    <a:pt x="553" y="124"/>
                  </a:lnTo>
                  <a:lnTo>
                    <a:pt x="552" y="129"/>
                  </a:lnTo>
                  <a:lnTo>
                    <a:pt x="550" y="133"/>
                  </a:lnTo>
                  <a:lnTo>
                    <a:pt x="547" y="136"/>
                  </a:lnTo>
                  <a:lnTo>
                    <a:pt x="457" y="227"/>
                  </a:lnTo>
                  <a:lnTo>
                    <a:pt x="457" y="227"/>
                  </a:lnTo>
                  <a:lnTo>
                    <a:pt x="454" y="230"/>
                  </a:lnTo>
                  <a:lnTo>
                    <a:pt x="449" y="232"/>
                  </a:lnTo>
                  <a:lnTo>
                    <a:pt x="444" y="233"/>
                  </a:lnTo>
                  <a:lnTo>
                    <a:pt x="439" y="233"/>
                  </a:lnTo>
                  <a:lnTo>
                    <a:pt x="435" y="232"/>
                  </a:lnTo>
                  <a:lnTo>
                    <a:pt x="430" y="231"/>
                  </a:lnTo>
                  <a:lnTo>
                    <a:pt x="426" y="228"/>
                  </a:lnTo>
                  <a:lnTo>
                    <a:pt x="422" y="225"/>
                  </a:lnTo>
                  <a:lnTo>
                    <a:pt x="422" y="225"/>
                  </a:lnTo>
                  <a:lnTo>
                    <a:pt x="418" y="221"/>
                  </a:lnTo>
                  <a:lnTo>
                    <a:pt x="416" y="216"/>
                  </a:lnTo>
                  <a:lnTo>
                    <a:pt x="414" y="212"/>
                  </a:lnTo>
                  <a:lnTo>
                    <a:pt x="414" y="207"/>
                  </a:lnTo>
                  <a:lnTo>
                    <a:pt x="414" y="202"/>
                  </a:lnTo>
                  <a:lnTo>
                    <a:pt x="415" y="198"/>
                  </a:lnTo>
                  <a:lnTo>
                    <a:pt x="417" y="194"/>
                  </a:lnTo>
                  <a:lnTo>
                    <a:pt x="420" y="190"/>
                  </a:lnTo>
                  <a:lnTo>
                    <a:pt x="510" y="100"/>
                  </a:lnTo>
                  <a:lnTo>
                    <a:pt x="510" y="100"/>
                  </a:lnTo>
                  <a:lnTo>
                    <a:pt x="514" y="97"/>
                  </a:lnTo>
                  <a:lnTo>
                    <a:pt x="518" y="95"/>
                  </a:lnTo>
                  <a:lnTo>
                    <a:pt x="523" y="94"/>
                  </a:lnTo>
                  <a:lnTo>
                    <a:pt x="527" y="93"/>
                  </a:lnTo>
                  <a:lnTo>
                    <a:pt x="532" y="94"/>
                  </a:lnTo>
                  <a:lnTo>
                    <a:pt x="537" y="96"/>
                  </a:lnTo>
                  <a:lnTo>
                    <a:pt x="541" y="98"/>
                  </a:lnTo>
                  <a:lnTo>
                    <a:pt x="545" y="102"/>
                  </a:lnTo>
                  <a:close/>
                  <a:moveTo>
                    <a:pt x="364" y="622"/>
                  </a:moveTo>
                  <a:lnTo>
                    <a:pt x="364" y="622"/>
                  </a:lnTo>
                  <a:lnTo>
                    <a:pt x="364" y="627"/>
                  </a:lnTo>
                  <a:lnTo>
                    <a:pt x="363" y="632"/>
                  </a:lnTo>
                  <a:lnTo>
                    <a:pt x="360" y="637"/>
                  </a:lnTo>
                  <a:lnTo>
                    <a:pt x="358" y="640"/>
                  </a:lnTo>
                  <a:lnTo>
                    <a:pt x="354" y="644"/>
                  </a:lnTo>
                  <a:lnTo>
                    <a:pt x="350" y="646"/>
                  </a:lnTo>
                  <a:lnTo>
                    <a:pt x="346" y="647"/>
                  </a:lnTo>
                  <a:lnTo>
                    <a:pt x="341" y="648"/>
                  </a:lnTo>
                  <a:lnTo>
                    <a:pt x="214" y="648"/>
                  </a:lnTo>
                  <a:lnTo>
                    <a:pt x="214" y="648"/>
                  </a:lnTo>
                  <a:lnTo>
                    <a:pt x="209" y="647"/>
                  </a:lnTo>
                  <a:lnTo>
                    <a:pt x="205" y="646"/>
                  </a:lnTo>
                  <a:lnTo>
                    <a:pt x="201" y="644"/>
                  </a:lnTo>
                  <a:lnTo>
                    <a:pt x="197" y="640"/>
                  </a:lnTo>
                  <a:lnTo>
                    <a:pt x="194" y="637"/>
                  </a:lnTo>
                  <a:lnTo>
                    <a:pt x="192" y="632"/>
                  </a:lnTo>
                  <a:lnTo>
                    <a:pt x="191" y="627"/>
                  </a:lnTo>
                  <a:lnTo>
                    <a:pt x="191" y="622"/>
                  </a:lnTo>
                  <a:lnTo>
                    <a:pt x="191" y="622"/>
                  </a:lnTo>
                  <a:lnTo>
                    <a:pt x="191" y="617"/>
                  </a:lnTo>
                  <a:lnTo>
                    <a:pt x="192" y="612"/>
                  </a:lnTo>
                  <a:lnTo>
                    <a:pt x="194" y="607"/>
                  </a:lnTo>
                  <a:lnTo>
                    <a:pt x="197" y="603"/>
                  </a:lnTo>
                  <a:lnTo>
                    <a:pt x="201" y="600"/>
                  </a:lnTo>
                  <a:lnTo>
                    <a:pt x="205" y="597"/>
                  </a:lnTo>
                  <a:lnTo>
                    <a:pt x="209" y="596"/>
                  </a:lnTo>
                  <a:lnTo>
                    <a:pt x="214" y="595"/>
                  </a:lnTo>
                  <a:lnTo>
                    <a:pt x="341" y="595"/>
                  </a:lnTo>
                  <a:lnTo>
                    <a:pt x="341" y="595"/>
                  </a:lnTo>
                  <a:lnTo>
                    <a:pt x="346" y="596"/>
                  </a:lnTo>
                  <a:lnTo>
                    <a:pt x="350" y="597"/>
                  </a:lnTo>
                  <a:lnTo>
                    <a:pt x="354" y="600"/>
                  </a:lnTo>
                  <a:lnTo>
                    <a:pt x="358" y="603"/>
                  </a:lnTo>
                  <a:lnTo>
                    <a:pt x="360" y="607"/>
                  </a:lnTo>
                  <a:lnTo>
                    <a:pt x="363" y="612"/>
                  </a:lnTo>
                  <a:lnTo>
                    <a:pt x="364" y="617"/>
                  </a:lnTo>
                  <a:lnTo>
                    <a:pt x="364" y="622"/>
                  </a:lnTo>
                  <a:close/>
                  <a:moveTo>
                    <a:pt x="364" y="691"/>
                  </a:moveTo>
                  <a:lnTo>
                    <a:pt x="364" y="691"/>
                  </a:lnTo>
                  <a:lnTo>
                    <a:pt x="364" y="696"/>
                  </a:lnTo>
                  <a:lnTo>
                    <a:pt x="363" y="701"/>
                  </a:lnTo>
                  <a:lnTo>
                    <a:pt x="360" y="706"/>
                  </a:lnTo>
                  <a:lnTo>
                    <a:pt x="358" y="710"/>
                  </a:lnTo>
                  <a:lnTo>
                    <a:pt x="354" y="713"/>
                  </a:lnTo>
                  <a:lnTo>
                    <a:pt x="350" y="715"/>
                  </a:lnTo>
                  <a:lnTo>
                    <a:pt x="346" y="717"/>
                  </a:lnTo>
                  <a:lnTo>
                    <a:pt x="341" y="717"/>
                  </a:lnTo>
                  <a:lnTo>
                    <a:pt x="214" y="717"/>
                  </a:lnTo>
                  <a:lnTo>
                    <a:pt x="214" y="717"/>
                  </a:lnTo>
                  <a:lnTo>
                    <a:pt x="209" y="717"/>
                  </a:lnTo>
                  <a:lnTo>
                    <a:pt x="205" y="715"/>
                  </a:lnTo>
                  <a:lnTo>
                    <a:pt x="201" y="713"/>
                  </a:lnTo>
                  <a:lnTo>
                    <a:pt x="197" y="710"/>
                  </a:lnTo>
                  <a:lnTo>
                    <a:pt x="194" y="706"/>
                  </a:lnTo>
                  <a:lnTo>
                    <a:pt x="192" y="701"/>
                  </a:lnTo>
                  <a:lnTo>
                    <a:pt x="191" y="696"/>
                  </a:lnTo>
                  <a:lnTo>
                    <a:pt x="191" y="691"/>
                  </a:lnTo>
                  <a:lnTo>
                    <a:pt x="191" y="691"/>
                  </a:lnTo>
                  <a:lnTo>
                    <a:pt x="191" y="686"/>
                  </a:lnTo>
                  <a:lnTo>
                    <a:pt x="192" y="681"/>
                  </a:lnTo>
                  <a:lnTo>
                    <a:pt x="194" y="677"/>
                  </a:lnTo>
                  <a:lnTo>
                    <a:pt x="197" y="673"/>
                  </a:lnTo>
                  <a:lnTo>
                    <a:pt x="201" y="670"/>
                  </a:lnTo>
                  <a:lnTo>
                    <a:pt x="205" y="667"/>
                  </a:lnTo>
                  <a:lnTo>
                    <a:pt x="209" y="666"/>
                  </a:lnTo>
                  <a:lnTo>
                    <a:pt x="214" y="665"/>
                  </a:lnTo>
                  <a:lnTo>
                    <a:pt x="341" y="665"/>
                  </a:lnTo>
                  <a:lnTo>
                    <a:pt x="341" y="665"/>
                  </a:lnTo>
                  <a:lnTo>
                    <a:pt x="346" y="666"/>
                  </a:lnTo>
                  <a:lnTo>
                    <a:pt x="350" y="667"/>
                  </a:lnTo>
                  <a:lnTo>
                    <a:pt x="354" y="670"/>
                  </a:lnTo>
                  <a:lnTo>
                    <a:pt x="358" y="673"/>
                  </a:lnTo>
                  <a:lnTo>
                    <a:pt x="360" y="677"/>
                  </a:lnTo>
                  <a:lnTo>
                    <a:pt x="363" y="681"/>
                  </a:lnTo>
                  <a:lnTo>
                    <a:pt x="364" y="686"/>
                  </a:lnTo>
                  <a:lnTo>
                    <a:pt x="364" y="691"/>
                  </a:lnTo>
                  <a:close/>
                  <a:moveTo>
                    <a:pt x="277" y="760"/>
                  </a:moveTo>
                  <a:lnTo>
                    <a:pt x="277" y="760"/>
                  </a:lnTo>
                  <a:lnTo>
                    <a:pt x="271" y="760"/>
                  </a:lnTo>
                  <a:lnTo>
                    <a:pt x="265" y="759"/>
                  </a:lnTo>
                  <a:lnTo>
                    <a:pt x="258" y="756"/>
                  </a:lnTo>
                  <a:lnTo>
                    <a:pt x="252" y="754"/>
                  </a:lnTo>
                  <a:lnTo>
                    <a:pt x="246" y="750"/>
                  </a:lnTo>
                  <a:lnTo>
                    <a:pt x="241" y="745"/>
                  </a:lnTo>
                  <a:lnTo>
                    <a:pt x="234" y="740"/>
                  </a:lnTo>
                  <a:lnTo>
                    <a:pt x="229" y="734"/>
                  </a:lnTo>
                  <a:lnTo>
                    <a:pt x="325" y="734"/>
                  </a:lnTo>
                  <a:lnTo>
                    <a:pt x="325" y="734"/>
                  </a:lnTo>
                  <a:lnTo>
                    <a:pt x="320" y="740"/>
                  </a:lnTo>
                  <a:lnTo>
                    <a:pt x="314" y="745"/>
                  </a:lnTo>
                  <a:lnTo>
                    <a:pt x="308" y="750"/>
                  </a:lnTo>
                  <a:lnTo>
                    <a:pt x="302" y="754"/>
                  </a:lnTo>
                  <a:lnTo>
                    <a:pt x="296" y="756"/>
                  </a:lnTo>
                  <a:lnTo>
                    <a:pt x="290" y="759"/>
                  </a:lnTo>
                  <a:lnTo>
                    <a:pt x="284" y="760"/>
                  </a:lnTo>
                  <a:lnTo>
                    <a:pt x="277" y="760"/>
                  </a:lnTo>
                  <a:close/>
                  <a:moveTo>
                    <a:pt x="187" y="569"/>
                  </a:moveTo>
                  <a:lnTo>
                    <a:pt x="185" y="568"/>
                  </a:lnTo>
                  <a:lnTo>
                    <a:pt x="185" y="568"/>
                  </a:lnTo>
                  <a:lnTo>
                    <a:pt x="175" y="562"/>
                  </a:lnTo>
                  <a:lnTo>
                    <a:pt x="165" y="555"/>
                  </a:lnTo>
                  <a:lnTo>
                    <a:pt x="156" y="547"/>
                  </a:lnTo>
                  <a:lnTo>
                    <a:pt x="147" y="539"/>
                  </a:lnTo>
                  <a:lnTo>
                    <a:pt x="139" y="531"/>
                  </a:lnTo>
                  <a:lnTo>
                    <a:pt x="131" y="521"/>
                  </a:lnTo>
                  <a:lnTo>
                    <a:pt x="124" y="512"/>
                  </a:lnTo>
                  <a:lnTo>
                    <a:pt x="118" y="502"/>
                  </a:lnTo>
                  <a:lnTo>
                    <a:pt x="112" y="491"/>
                  </a:lnTo>
                  <a:lnTo>
                    <a:pt x="107" y="480"/>
                  </a:lnTo>
                  <a:lnTo>
                    <a:pt x="103" y="469"/>
                  </a:lnTo>
                  <a:lnTo>
                    <a:pt x="99" y="457"/>
                  </a:lnTo>
                  <a:lnTo>
                    <a:pt x="96" y="446"/>
                  </a:lnTo>
                  <a:lnTo>
                    <a:pt x="94" y="433"/>
                  </a:lnTo>
                  <a:lnTo>
                    <a:pt x="93" y="421"/>
                  </a:lnTo>
                  <a:lnTo>
                    <a:pt x="92" y="408"/>
                  </a:lnTo>
                  <a:lnTo>
                    <a:pt x="92" y="408"/>
                  </a:lnTo>
                  <a:lnTo>
                    <a:pt x="93" y="388"/>
                  </a:lnTo>
                  <a:lnTo>
                    <a:pt x="96" y="370"/>
                  </a:lnTo>
                  <a:lnTo>
                    <a:pt x="101" y="352"/>
                  </a:lnTo>
                  <a:lnTo>
                    <a:pt x="107" y="335"/>
                  </a:lnTo>
                  <a:lnTo>
                    <a:pt x="115" y="319"/>
                  </a:lnTo>
                  <a:lnTo>
                    <a:pt x="124" y="304"/>
                  </a:lnTo>
                  <a:lnTo>
                    <a:pt x="135" y="290"/>
                  </a:lnTo>
                  <a:lnTo>
                    <a:pt x="146" y="277"/>
                  </a:lnTo>
                  <a:lnTo>
                    <a:pt x="160" y="265"/>
                  </a:lnTo>
                  <a:lnTo>
                    <a:pt x="174" y="254"/>
                  </a:lnTo>
                  <a:lnTo>
                    <a:pt x="189" y="245"/>
                  </a:lnTo>
                  <a:lnTo>
                    <a:pt x="205" y="237"/>
                  </a:lnTo>
                  <a:lnTo>
                    <a:pt x="222" y="231"/>
                  </a:lnTo>
                  <a:lnTo>
                    <a:pt x="241" y="226"/>
                  </a:lnTo>
                  <a:lnTo>
                    <a:pt x="259" y="223"/>
                  </a:lnTo>
                  <a:lnTo>
                    <a:pt x="278" y="223"/>
                  </a:lnTo>
                  <a:lnTo>
                    <a:pt x="278" y="223"/>
                  </a:lnTo>
                  <a:lnTo>
                    <a:pt x="297" y="223"/>
                  </a:lnTo>
                  <a:lnTo>
                    <a:pt x="315" y="226"/>
                  </a:lnTo>
                  <a:lnTo>
                    <a:pt x="333" y="231"/>
                  </a:lnTo>
                  <a:lnTo>
                    <a:pt x="350" y="237"/>
                  </a:lnTo>
                  <a:lnTo>
                    <a:pt x="366" y="245"/>
                  </a:lnTo>
                  <a:lnTo>
                    <a:pt x="381" y="254"/>
                  </a:lnTo>
                  <a:lnTo>
                    <a:pt x="395" y="265"/>
                  </a:lnTo>
                  <a:lnTo>
                    <a:pt x="408" y="277"/>
                  </a:lnTo>
                  <a:lnTo>
                    <a:pt x="420" y="290"/>
                  </a:lnTo>
                  <a:lnTo>
                    <a:pt x="431" y="304"/>
                  </a:lnTo>
                  <a:lnTo>
                    <a:pt x="440" y="319"/>
                  </a:lnTo>
                  <a:lnTo>
                    <a:pt x="448" y="335"/>
                  </a:lnTo>
                  <a:lnTo>
                    <a:pt x="455" y="352"/>
                  </a:lnTo>
                  <a:lnTo>
                    <a:pt x="460" y="370"/>
                  </a:lnTo>
                  <a:lnTo>
                    <a:pt x="463" y="388"/>
                  </a:lnTo>
                  <a:lnTo>
                    <a:pt x="464" y="408"/>
                  </a:lnTo>
                  <a:lnTo>
                    <a:pt x="464" y="408"/>
                  </a:lnTo>
                  <a:lnTo>
                    <a:pt x="463" y="421"/>
                  </a:lnTo>
                  <a:lnTo>
                    <a:pt x="462" y="433"/>
                  </a:lnTo>
                  <a:lnTo>
                    <a:pt x="460" y="446"/>
                  </a:lnTo>
                  <a:lnTo>
                    <a:pt x="457" y="457"/>
                  </a:lnTo>
                  <a:lnTo>
                    <a:pt x="452" y="469"/>
                  </a:lnTo>
                  <a:lnTo>
                    <a:pt x="448" y="480"/>
                  </a:lnTo>
                  <a:lnTo>
                    <a:pt x="443" y="491"/>
                  </a:lnTo>
                  <a:lnTo>
                    <a:pt x="437" y="502"/>
                  </a:lnTo>
                  <a:lnTo>
                    <a:pt x="431" y="512"/>
                  </a:lnTo>
                  <a:lnTo>
                    <a:pt x="423" y="521"/>
                  </a:lnTo>
                  <a:lnTo>
                    <a:pt x="416" y="531"/>
                  </a:lnTo>
                  <a:lnTo>
                    <a:pt x="408" y="539"/>
                  </a:lnTo>
                  <a:lnTo>
                    <a:pt x="399" y="547"/>
                  </a:lnTo>
                  <a:lnTo>
                    <a:pt x="390" y="555"/>
                  </a:lnTo>
                  <a:lnTo>
                    <a:pt x="380" y="562"/>
                  </a:lnTo>
                  <a:lnTo>
                    <a:pt x="370" y="568"/>
                  </a:lnTo>
                  <a:lnTo>
                    <a:pt x="368" y="569"/>
                  </a:lnTo>
                  <a:lnTo>
                    <a:pt x="187" y="5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7" name="Freeform 397"/>
            <p:cNvSpPr>
              <a:spLocks/>
            </p:cNvSpPr>
            <p:nvPr/>
          </p:nvSpPr>
          <p:spPr bwMode="auto">
            <a:xfrm>
              <a:off x="6038850" y="1783080"/>
              <a:ext cx="131446" cy="131446"/>
            </a:xfrm>
            <a:custGeom>
              <a:avLst/>
              <a:gdLst>
                <a:gd name="T0" fmla="*/ 8 w 139"/>
                <a:gd name="T1" fmla="*/ 9 h 140"/>
                <a:gd name="T2" fmla="*/ 8 w 139"/>
                <a:gd name="T3" fmla="*/ 9 h 140"/>
                <a:gd name="T4" fmla="*/ 12 w 139"/>
                <a:gd name="T5" fmla="*/ 5 h 140"/>
                <a:gd name="T6" fmla="*/ 16 w 139"/>
                <a:gd name="T7" fmla="*/ 3 h 140"/>
                <a:gd name="T8" fmla="*/ 22 w 139"/>
                <a:gd name="T9" fmla="*/ 1 h 140"/>
                <a:gd name="T10" fmla="*/ 27 w 139"/>
                <a:gd name="T11" fmla="*/ 0 h 140"/>
                <a:gd name="T12" fmla="*/ 31 w 139"/>
                <a:gd name="T13" fmla="*/ 1 h 140"/>
                <a:gd name="T14" fmla="*/ 36 w 139"/>
                <a:gd name="T15" fmla="*/ 2 h 140"/>
                <a:gd name="T16" fmla="*/ 40 w 139"/>
                <a:gd name="T17" fmla="*/ 4 h 140"/>
                <a:gd name="T18" fmla="*/ 43 w 139"/>
                <a:gd name="T19" fmla="*/ 7 h 140"/>
                <a:gd name="T20" fmla="*/ 133 w 139"/>
                <a:gd name="T21" fmla="*/ 97 h 140"/>
                <a:gd name="T22" fmla="*/ 133 w 139"/>
                <a:gd name="T23" fmla="*/ 97 h 140"/>
                <a:gd name="T24" fmla="*/ 136 w 139"/>
                <a:gd name="T25" fmla="*/ 101 h 140"/>
                <a:gd name="T26" fmla="*/ 138 w 139"/>
                <a:gd name="T27" fmla="*/ 105 h 140"/>
                <a:gd name="T28" fmla="*/ 139 w 139"/>
                <a:gd name="T29" fmla="*/ 109 h 140"/>
                <a:gd name="T30" fmla="*/ 139 w 139"/>
                <a:gd name="T31" fmla="*/ 114 h 140"/>
                <a:gd name="T32" fmla="*/ 138 w 139"/>
                <a:gd name="T33" fmla="*/ 119 h 140"/>
                <a:gd name="T34" fmla="*/ 137 w 139"/>
                <a:gd name="T35" fmla="*/ 123 h 140"/>
                <a:gd name="T36" fmla="*/ 134 w 139"/>
                <a:gd name="T37" fmla="*/ 128 h 140"/>
                <a:gd name="T38" fmla="*/ 131 w 139"/>
                <a:gd name="T39" fmla="*/ 132 h 140"/>
                <a:gd name="T40" fmla="*/ 131 w 139"/>
                <a:gd name="T41" fmla="*/ 132 h 140"/>
                <a:gd name="T42" fmla="*/ 127 w 139"/>
                <a:gd name="T43" fmla="*/ 135 h 140"/>
                <a:gd name="T44" fmla="*/ 123 w 139"/>
                <a:gd name="T45" fmla="*/ 138 h 140"/>
                <a:gd name="T46" fmla="*/ 118 w 139"/>
                <a:gd name="T47" fmla="*/ 139 h 140"/>
                <a:gd name="T48" fmla="*/ 113 w 139"/>
                <a:gd name="T49" fmla="*/ 140 h 140"/>
                <a:gd name="T50" fmla="*/ 109 w 139"/>
                <a:gd name="T51" fmla="*/ 140 h 140"/>
                <a:gd name="T52" fmla="*/ 104 w 139"/>
                <a:gd name="T53" fmla="*/ 139 h 140"/>
                <a:gd name="T54" fmla="*/ 100 w 139"/>
                <a:gd name="T55" fmla="*/ 137 h 140"/>
                <a:gd name="T56" fmla="*/ 96 w 139"/>
                <a:gd name="T57" fmla="*/ 134 h 140"/>
                <a:gd name="T58" fmla="*/ 6 w 139"/>
                <a:gd name="T59" fmla="*/ 43 h 140"/>
                <a:gd name="T60" fmla="*/ 6 w 139"/>
                <a:gd name="T61" fmla="*/ 43 h 140"/>
                <a:gd name="T62" fmla="*/ 3 w 139"/>
                <a:gd name="T63" fmla="*/ 40 h 140"/>
                <a:gd name="T64" fmla="*/ 1 w 139"/>
                <a:gd name="T65" fmla="*/ 36 h 140"/>
                <a:gd name="T66" fmla="*/ 0 w 139"/>
                <a:gd name="T67" fmla="*/ 31 h 140"/>
                <a:gd name="T68" fmla="*/ 0 w 139"/>
                <a:gd name="T69" fmla="*/ 26 h 140"/>
                <a:gd name="T70" fmla="*/ 0 w 139"/>
                <a:gd name="T71" fmla="*/ 22 h 140"/>
                <a:gd name="T72" fmla="*/ 2 w 139"/>
                <a:gd name="T73" fmla="*/ 17 h 140"/>
                <a:gd name="T74" fmla="*/ 4 w 139"/>
                <a:gd name="T75" fmla="*/ 13 h 140"/>
                <a:gd name="T76" fmla="*/ 8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8" y="9"/>
                  </a:moveTo>
                  <a:lnTo>
                    <a:pt x="8" y="9"/>
                  </a:lnTo>
                  <a:lnTo>
                    <a:pt x="12" y="5"/>
                  </a:lnTo>
                  <a:lnTo>
                    <a:pt x="16" y="3"/>
                  </a:lnTo>
                  <a:lnTo>
                    <a:pt x="22" y="1"/>
                  </a:lnTo>
                  <a:lnTo>
                    <a:pt x="27" y="0"/>
                  </a:lnTo>
                  <a:lnTo>
                    <a:pt x="31" y="1"/>
                  </a:lnTo>
                  <a:lnTo>
                    <a:pt x="36" y="2"/>
                  </a:lnTo>
                  <a:lnTo>
                    <a:pt x="40" y="4"/>
                  </a:lnTo>
                  <a:lnTo>
                    <a:pt x="43" y="7"/>
                  </a:lnTo>
                  <a:lnTo>
                    <a:pt x="133" y="97"/>
                  </a:lnTo>
                  <a:lnTo>
                    <a:pt x="133" y="97"/>
                  </a:lnTo>
                  <a:lnTo>
                    <a:pt x="136" y="101"/>
                  </a:lnTo>
                  <a:lnTo>
                    <a:pt x="138" y="105"/>
                  </a:lnTo>
                  <a:lnTo>
                    <a:pt x="139" y="109"/>
                  </a:lnTo>
                  <a:lnTo>
                    <a:pt x="139" y="114"/>
                  </a:lnTo>
                  <a:lnTo>
                    <a:pt x="138" y="119"/>
                  </a:lnTo>
                  <a:lnTo>
                    <a:pt x="137" y="123"/>
                  </a:lnTo>
                  <a:lnTo>
                    <a:pt x="134" y="128"/>
                  </a:lnTo>
                  <a:lnTo>
                    <a:pt x="131" y="132"/>
                  </a:lnTo>
                  <a:lnTo>
                    <a:pt x="131" y="132"/>
                  </a:lnTo>
                  <a:lnTo>
                    <a:pt x="127" y="135"/>
                  </a:lnTo>
                  <a:lnTo>
                    <a:pt x="123" y="138"/>
                  </a:lnTo>
                  <a:lnTo>
                    <a:pt x="118" y="139"/>
                  </a:lnTo>
                  <a:lnTo>
                    <a:pt x="113" y="140"/>
                  </a:lnTo>
                  <a:lnTo>
                    <a:pt x="109" y="140"/>
                  </a:lnTo>
                  <a:lnTo>
                    <a:pt x="104" y="139"/>
                  </a:lnTo>
                  <a:lnTo>
                    <a:pt x="100" y="137"/>
                  </a:lnTo>
                  <a:lnTo>
                    <a:pt x="96" y="134"/>
                  </a:lnTo>
                  <a:lnTo>
                    <a:pt x="6" y="43"/>
                  </a:lnTo>
                  <a:lnTo>
                    <a:pt x="6" y="43"/>
                  </a:lnTo>
                  <a:lnTo>
                    <a:pt x="3" y="40"/>
                  </a:lnTo>
                  <a:lnTo>
                    <a:pt x="1" y="36"/>
                  </a:lnTo>
                  <a:lnTo>
                    <a:pt x="0" y="31"/>
                  </a:lnTo>
                  <a:lnTo>
                    <a:pt x="0" y="26"/>
                  </a:lnTo>
                  <a:lnTo>
                    <a:pt x="0" y="22"/>
                  </a:lnTo>
                  <a:lnTo>
                    <a:pt x="2" y="17"/>
                  </a:lnTo>
                  <a:lnTo>
                    <a:pt x="4" y="13"/>
                  </a:lnTo>
                  <a:lnTo>
                    <a:pt x="8"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8" name="Freeform 398"/>
            <p:cNvSpPr>
              <a:spLocks/>
            </p:cNvSpPr>
            <p:nvPr/>
          </p:nvSpPr>
          <p:spPr bwMode="auto">
            <a:xfrm>
              <a:off x="6276974" y="1693544"/>
              <a:ext cx="49530" cy="165736"/>
            </a:xfrm>
            <a:custGeom>
              <a:avLst/>
              <a:gdLst>
                <a:gd name="T0" fmla="*/ 25 w 53"/>
                <a:gd name="T1" fmla="*/ 0 h 173"/>
                <a:gd name="T2" fmla="*/ 25 w 53"/>
                <a:gd name="T3" fmla="*/ 0 h 173"/>
                <a:gd name="T4" fmla="*/ 31 w 53"/>
                <a:gd name="T5" fmla="*/ 0 h 173"/>
                <a:gd name="T6" fmla="*/ 36 w 53"/>
                <a:gd name="T7" fmla="*/ 1 h 173"/>
                <a:gd name="T8" fmla="*/ 40 w 53"/>
                <a:gd name="T9" fmla="*/ 3 h 173"/>
                <a:gd name="T10" fmla="*/ 44 w 53"/>
                <a:gd name="T11" fmla="*/ 6 h 173"/>
                <a:gd name="T12" fmla="*/ 47 w 53"/>
                <a:gd name="T13" fmla="*/ 10 h 173"/>
                <a:gd name="T14" fmla="*/ 49 w 53"/>
                <a:gd name="T15" fmla="*/ 13 h 173"/>
                <a:gd name="T16" fmla="*/ 51 w 53"/>
                <a:gd name="T17" fmla="*/ 18 h 173"/>
                <a:gd name="T18" fmla="*/ 52 w 53"/>
                <a:gd name="T19" fmla="*/ 22 h 173"/>
                <a:gd name="T20" fmla="*/ 53 w 53"/>
                <a:gd name="T21" fmla="*/ 149 h 173"/>
                <a:gd name="T22" fmla="*/ 53 w 53"/>
                <a:gd name="T23" fmla="*/ 149 h 173"/>
                <a:gd name="T24" fmla="*/ 53 w 53"/>
                <a:gd name="T25" fmla="*/ 154 h 173"/>
                <a:gd name="T26" fmla="*/ 51 w 53"/>
                <a:gd name="T27" fmla="*/ 158 h 173"/>
                <a:gd name="T28" fmla="*/ 49 w 53"/>
                <a:gd name="T29" fmla="*/ 162 h 173"/>
                <a:gd name="T30" fmla="*/ 46 w 53"/>
                <a:gd name="T31" fmla="*/ 166 h 173"/>
                <a:gd name="T32" fmla="*/ 42 w 53"/>
                <a:gd name="T33" fmla="*/ 168 h 173"/>
                <a:gd name="T34" fmla="*/ 37 w 53"/>
                <a:gd name="T35" fmla="*/ 171 h 173"/>
                <a:gd name="T36" fmla="*/ 33 w 53"/>
                <a:gd name="T37" fmla="*/ 172 h 173"/>
                <a:gd name="T38" fmla="*/ 27 w 53"/>
                <a:gd name="T39" fmla="*/ 173 h 173"/>
                <a:gd name="T40" fmla="*/ 27 w 53"/>
                <a:gd name="T41" fmla="*/ 173 h 173"/>
                <a:gd name="T42" fmla="*/ 22 w 53"/>
                <a:gd name="T43" fmla="*/ 172 h 173"/>
                <a:gd name="T44" fmla="*/ 17 w 53"/>
                <a:gd name="T45" fmla="*/ 171 h 173"/>
                <a:gd name="T46" fmla="*/ 13 w 53"/>
                <a:gd name="T47" fmla="*/ 169 h 173"/>
                <a:gd name="T48" fmla="*/ 9 w 53"/>
                <a:gd name="T49" fmla="*/ 166 h 173"/>
                <a:gd name="T50" fmla="*/ 6 w 53"/>
                <a:gd name="T51" fmla="*/ 163 h 173"/>
                <a:gd name="T52" fmla="*/ 3 w 53"/>
                <a:gd name="T53" fmla="*/ 159 h 173"/>
                <a:gd name="T54" fmla="*/ 2 w 53"/>
                <a:gd name="T55" fmla="*/ 154 h 173"/>
                <a:gd name="T56" fmla="*/ 1 w 53"/>
                <a:gd name="T57" fmla="*/ 150 h 173"/>
                <a:gd name="T58" fmla="*/ 0 w 53"/>
                <a:gd name="T59" fmla="*/ 23 h 173"/>
                <a:gd name="T60" fmla="*/ 0 w 53"/>
                <a:gd name="T61" fmla="*/ 23 h 173"/>
                <a:gd name="T62" fmla="*/ 0 w 53"/>
                <a:gd name="T63" fmla="*/ 18 h 173"/>
                <a:gd name="T64" fmla="*/ 2 w 53"/>
                <a:gd name="T65" fmla="*/ 14 h 173"/>
                <a:gd name="T66" fmla="*/ 4 w 53"/>
                <a:gd name="T67" fmla="*/ 10 h 173"/>
                <a:gd name="T68" fmla="*/ 7 w 53"/>
                <a:gd name="T69" fmla="*/ 7 h 173"/>
                <a:gd name="T70" fmla="*/ 11 w 53"/>
                <a:gd name="T71" fmla="*/ 4 h 173"/>
                <a:gd name="T72" fmla="*/ 15 w 53"/>
                <a:gd name="T73" fmla="*/ 2 h 173"/>
                <a:gd name="T74" fmla="*/ 20 w 53"/>
                <a:gd name="T75" fmla="*/ 0 h 173"/>
                <a:gd name="T76" fmla="*/ 25 w 53"/>
                <a:gd name="T7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173">
                  <a:moveTo>
                    <a:pt x="25" y="0"/>
                  </a:moveTo>
                  <a:lnTo>
                    <a:pt x="25" y="0"/>
                  </a:lnTo>
                  <a:lnTo>
                    <a:pt x="31" y="0"/>
                  </a:lnTo>
                  <a:lnTo>
                    <a:pt x="36" y="1"/>
                  </a:lnTo>
                  <a:lnTo>
                    <a:pt x="40" y="3"/>
                  </a:lnTo>
                  <a:lnTo>
                    <a:pt x="44" y="6"/>
                  </a:lnTo>
                  <a:lnTo>
                    <a:pt x="47" y="10"/>
                  </a:lnTo>
                  <a:lnTo>
                    <a:pt x="49" y="13"/>
                  </a:lnTo>
                  <a:lnTo>
                    <a:pt x="51" y="18"/>
                  </a:lnTo>
                  <a:lnTo>
                    <a:pt x="52" y="22"/>
                  </a:lnTo>
                  <a:lnTo>
                    <a:pt x="53" y="149"/>
                  </a:lnTo>
                  <a:lnTo>
                    <a:pt x="53" y="149"/>
                  </a:lnTo>
                  <a:lnTo>
                    <a:pt x="53" y="154"/>
                  </a:lnTo>
                  <a:lnTo>
                    <a:pt x="51" y="158"/>
                  </a:lnTo>
                  <a:lnTo>
                    <a:pt x="49" y="162"/>
                  </a:lnTo>
                  <a:lnTo>
                    <a:pt x="46" y="166"/>
                  </a:lnTo>
                  <a:lnTo>
                    <a:pt x="42" y="168"/>
                  </a:lnTo>
                  <a:lnTo>
                    <a:pt x="37" y="171"/>
                  </a:lnTo>
                  <a:lnTo>
                    <a:pt x="33" y="172"/>
                  </a:lnTo>
                  <a:lnTo>
                    <a:pt x="27" y="173"/>
                  </a:lnTo>
                  <a:lnTo>
                    <a:pt x="27" y="173"/>
                  </a:lnTo>
                  <a:lnTo>
                    <a:pt x="22" y="172"/>
                  </a:lnTo>
                  <a:lnTo>
                    <a:pt x="17" y="171"/>
                  </a:lnTo>
                  <a:lnTo>
                    <a:pt x="13" y="169"/>
                  </a:lnTo>
                  <a:lnTo>
                    <a:pt x="9" y="166"/>
                  </a:lnTo>
                  <a:lnTo>
                    <a:pt x="6" y="163"/>
                  </a:lnTo>
                  <a:lnTo>
                    <a:pt x="3" y="159"/>
                  </a:lnTo>
                  <a:lnTo>
                    <a:pt x="2" y="154"/>
                  </a:lnTo>
                  <a:lnTo>
                    <a:pt x="1" y="150"/>
                  </a:lnTo>
                  <a:lnTo>
                    <a:pt x="0" y="23"/>
                  </a:lnTo>
                  <a:lnTo>
                    <a:pt x="0" y="23"/>
                  </a:lnTo>
                  <a:lnTo>
                    <a:pt x="0" y="18"/>
                  </a:lnTo>
                  <a:lnTo>
                    <a:pt x="2" y="14"/>
                  </a:lnTo>
                  <a:lnTo>
                    <a:pt x="4" y="10"/>
                  </a:lnTo>
                  <a:lnTo>
                    <a:pt x="7" y="7"/>
                  </a:lnTo>
                  <a:lnTo>
                    <a:pt x="11" y="4"/>
                  </a:lnTo>
                  <a:lnTo>
                    <a:pt x="15" y="2"/>
                  </a:lnTo>
                  <a:lnTo>
                    <a:pt x="20" y="0"/>
                  </a:lnTo>
                  <a:lnTo>
                    <a:pt x="2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9" name="Freeform 399"/>
            <p:cNvSpPr>
              <a:spLocks/>
            </p:cNvSpPr>
            <p:nvPr/>
          </p:nvSpPr>
          <p:spPr bwMode="auto">
            <a:xfrm>
              <a:off x="6433184" y="1783080"/>
              <a:ext cx="131446" cy="131446"/>
            </a:xfrm>
            <a:custGeom>
              <a:avLst/>
              <a:gdLst>
                <a:gd name="T0" fmla="*/ 131 w 139"/>
                <a:gd name="T1" fmla="*/ 9 h 140"/>
                <a:gd name="T2" fmla="*/ 131 w 139"/>
                <a:gd name="T3" fmla="*/ 9 h 140"/>
                <a:gd name="T4" fmla="*/ 134 w 139"/>
                <a:gd name="T5" fmla="*/ 13 h 140"/>
                <a:gd name="T6" fmla="*/ 137 w 139"/>
                <a:gd name="T7" fmla="*/ 17 h 140"/>
                <a:gd name="T8" fmla="*/ 138 w 139"/>
                <a:gd name="T9" fmla="*/ 22 h 140"/>
                <a:gd name="T10" fmla="*/ 139 w 139"/>
                <a:gd name="T11" fmla="*/ 26 h 140"/>
                <a:gd name="T12" fmla="*/ 139 w 139"/>
                <a:gd name="T13" fmla="*/ 31 h 140"/>
                <a:gd name="T14" fmla="*/ 138 w 139"/>
                <a:gd name="T15" fmla="*/ 36 h 140"/>
                <a:gd name="T16" fmla="*/ 136 w 139"/>
                <a:gd name="T17" fmla="*/ 40 h 140"/>
                <a:gd name="T18" fmla="*/ 133 w 139"/>
                <a:gd name="T19" fmla="*/ 43 h 140"/>
                <a:gd name="T20" fmla="*/ 43 w 139"/>
                <a:gd name="T21" fmla="*/ 134 h 140"/>
                <a:gd name="T22" fmla="*/ 43 w 139"/>
                <a:gd name="T23" fmla="*/ 134 h 140"/>
                <a:gd name="T24" fmla="*/ 40 w 139"/>
                <a:gd name="T25" fmla="*/ 137 h 140"/>
                <a:gd name="T26" fmla="*/ 35 w 139"/>
                <a:gd name="T27" fmla="*/ 139 h 140"/>
                <a:gd name="T28" fmla="*/ 30 w 139"/>
                <a:gd name="T29" fmla="*/ 140 h 140"/>
                <a:gd name="T30" fmla="*/ 25 w 139"/>
                <a:gd name="T31" fmla="*/ 140 h 140"/>
                <a:gd name="T32" fmla="*/ 21 w 139"/>
                <a:gd name="T33" fmla="*/ 139 h 140"/>
                <a:gd name="T34" fmla="*/ 16 w 139"/>
                <a:gd name="T35" fmla="*/ 138 h 140"/>
                <a:gd name="T36" fmla="*/ 12 w 139"/>
                <a:gd name="T37" fmla="*/ 135 h 140"/>
                <a:gd name="T38" fmla="*/ 8 w 139"/>
                <a:gd name="T39" fmla="*/ 132 h 140"/>
                <a:gd name="T40" fmla="*/ 8 w 139"/>
                <a:gd name="T41" fmla="*/ 132 h 140"/>
                <a:gd name="T42" fmla="*/ 4 w 139"/>
                <a:gd name="T43" fmla="*/ 128 h 140"/>
                <a:gd name="T44" fmla="*/ 2 w 139"/>
                <a:gd name="T45" fmla="*/ 123 h 140"/>
                <a:gd name="T46" fmla="*/ 0 w 139"/>
                <a:gd name="T47" fmla="*/ 119 h 140"/>
                <a:gd name="T48" fmla="*/ 0 w 139"/>
                <a:gd name="T49" fmla="*/ 114 h 140"/>
                <a:gd name="T50" fmla="*/ 0 w 139"/>
                <a:gd name="T51" fmla="*/ 109 h 140"/>
                <a:gd name="T52" fmla="*/ 1 w 139"/>
                <a:gd name="T53" fmla="*/ 105 h 140"/>
                <a:gd name="T54" fmla="*/ 3 w 139"/>
                <a:gd name="T55" fmla="*/ 101 h 140"/>
                <a:gd name="T56" fmla="*/ 6 w 139"/>
                <a:gd name="T57" fmla="*/ 97 h 140"/>
                <a:gd name="T58" fmla="*/ 96 w 139"/>
                <a:gd name="T59" fmla="*/ 7 h 140"/>
                <a:gd name="T60" fmla="*/ 96 w 139"/>
                <a:gd name="T61" fmla="*/ 7 h 140"/>
                <a:gd name="T62" fmla="*/ 100 w 139"/>
                <a:gd name="T63" fmla="*/ 4 h 140"/>
                <a:gd name="T64" fmla="*/ 104 w 139"/>
                <a:gd name="T65" fmla="*/ 2 h 140"/>
                <a:gd name="T66" fmla="*/ 109 w 139"/>
                <a:gd name="T67" fmla="*/ 1 h 140"/>
                <a:gd name="T68" fmla="*/ 113 w 139"/>
                <a:gd name="T69" fmla="*/ 0 h 140"/>
                <a:gd name="T70" fmla="*/ 118 w 139"/>
                <a:gd name="T71" fmla="*/ 1 h 140"/>
                <a:gd name="T72" fmla="*/ 123 w 139"/>
                <a:gd name="T73" fmla="*/ 3 h 140"/>
                <a:gd name="T74" fmla="*/ 127 w 139"/>
                <a:gd name="T75" fmla="*/ 5 h 140"/>
                <a:gd name="T76" fmla="*/ 131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131" y="9"/>
                  </a:moveTo>
                  <a:lnTo>
                    <a:pt x="131" y="9"/>
                  </a:lnTo>
                  <a:lnTo>
                    <a:pt x="134" y="13"/>
                  </a:lnTo>
                  <a:lnTo>
                    <a:pt x="137" y="17"/>
                  </a:lnTo>
                  <a:lnTo>
                    <a:pt x="138" y="22"/>
                  </a:lnTo>
                  <a:lnTo>
                    <a:pt x="139" y="26"/>
                  </a:lnTo>
                  <a:lnTo>
                    <a:pt x="139" y="31"/>
                  </a:lnTo>
                  <a:lnTo>
                    <a:pt x="138" y="36"/>
                  </a:lnTo>
                  <a:lnTo>
                    <a:pt x="136" y="40"/>
                  </a:lnTo>
                  <a:lnTo>
                    <a:pt x="133" y="43"/>
                  </a:lnTo>
                  <a:lnTo>
                    <a:pt x="43" y="134"/>
                  </a:lnTo>
                  <a:lnTo>
                    <a:pt x="43" y="134"/>
                  </a:lnTo>
                  <a:lnTo>
                    <a:pt x="40" y="137"/>
                  </a:lnTo>
                  <a:lnTo>
                    <a:pt x="35" y="139"/>
                  </a:lnTo>
                  <a:lnTo>
                    <a:pt x="30" y="140"/>
                  </a:lnTo>
                  <a:lnTo>
                    <a:pt x="25" y="140"/>
                  </a:lnTo>
                  <a:lnTo>
                    <a:pt x="21" y="139"/>
                  </a:lnTo>
                  <a:lnTo>
                    <a:pt x="16" y="138"/>
                  </a:lnTo>
                  <a:lnTo>
                    <a:pt x="12" y="135"/>
                  </a:lnTo>
                  <a:lnTo>
                    <a:pt x="8" y="132"/>
                  </a:lnTo>
                  <a:lnTo>
                    <a:pt x="8" y="132"/>
                  </a:lnTo>
                  <a:lnTo>
                    <a:pt x="4" y="128"/>
                  </a:lnTo>
                  <a:lnTo>
                    <a:pt x="2" y="123"/>
                  </a:lnTo>
                  <a:lnTo>
                    <a:pt x="0" y="119"/>
                  </a:lnTo>
                  <a:lnTo>
                    <a:pt x="0" y="114"/>
                  </a:lnTo>
                  <a:lnTo>
                    <a:pt x="0" y="109"/>
                  </a:lnTo>
                  <a:lnTo>
                    <a:pt x="1" y="105"/>
                  </a:lnTo>
                  <a:lnTo>
                    <a:pt x="3" y="101"/>
                  </a:lnTo>
                  <a:lnTo>
                    <a:pt x="6" y="97"/>
                  </a:lnTo>
                  <a:lnTo>
                    <a:pt x="96" y="7"/>
                  </a:lnTo>
                  <a:lnTo>
                    <a:pt x="96" y="7"/>
                  </a:lnTo>
                  <a:lnTo>
                    <a:pt x="100" y="4"/>
                  </a:lnTo>
                  <a:lnTo>
                    <a:pt x="104" y="2"/>
                  </a:lnTo>
                  <a:lnTo>
                    <a:pt x="109" y="1"/>
                  </a:lnTo>
                  <a:lnTo>
                    <a:pt x="113" y="0"/>
                  </a:lnTo>
                  <a:lnTo>
                    <a:pt x="118" y="1"/>
                  </a:lnTo>
                  <a:lnTo>
                    <a:pt x="123" y="3"/>
                  </a:lnTo>
                  <a:lnTo>
                    <a:pt x="127" y="5"/>
                  </a:lnTo>
                  <a:lnTo>
                    <a:pt x="131"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0" name="Freeform 400"/>
            <p:cNvSpPr>
              <a:spLocks/>
            </p:cNvSpPr>
            <p:nvPr/>
          </p:nvSpPr>
          <p:spPr bwMode="auto">
            <a:xfrm>
              <a:off x="6219824" y="2261234"/>
              <a:ext cx="165736" cy="49530"/>
            </a:xfrm>
            <a:custGeom>
              <a:avLst/>
              <a:gdLst>
                <a:gd name="T0" fmla="*/ 173 w 173"/>
                <a:gd name="T1" fmla="*/ 27 h 53"/>
                <a:gd name="T2" fmla="*/ 173 w 173"/>
                <a:gd name="T3" fmla="*/ 27 h 53"/>
                <a:gd name="T4" fmla="*/ 173 w 173"/>
                <a:gd name="T5" fmla="*/ 32 h 53"/>
                <a:gd name="T6" fmla="*/ 172 w 173"/>
                <a:gd name="T7" fmla="*/ 37 h 53"/>
                <a:gd name="T8" fmla="*/ 169 w 173"/>
                <a:gd name="T9" fmla="*/ 42 h 53"/>
                <a:gd name="T10" fmla="*/ 167 w 173"/>
                <a:gd name="T11" fmla="*/ 45 h 53"/>
                <a:gd name="T12" fmla="*/ 163 w 173"/>
                <a:gd name="T13" fmla="*/ 49 h 53"/>
                <a:gd name="T14" fmla="*/ 159 w 173"/>
                <a:gd name="T15" fmla="*/ 51 h 53"/>
                <a:gd name="T16" fmla="*/ 155 w 173"/>
                <a:gd name="T17" fmla="*/ 52 h 53"/>
                <a:gd name="T18" fmla="*/ 150 w 173"/>
                <a:gd name="T19" fmla="*/ 53 h 53"/>
                <a:gd name="T20" fmla="*/ 23 w 173"/>
                <a:gd name="T21" fmla="*/ 53 h 53"/>
                <a:gd name="T22" fmla="*/ 23 w 173"/>
                <a:gd name="T23" fmla="*/ 53 h 53"/>
                <a:gd name="T24" fmla="*/ 18 w 173"/>
                <a:gd name="T25" fmla="*/ 52 h 53"/>
                <a:gd name="T26" fmla="*/ 14 w 173"/>
                <a:gd name="T27" fmla="*/ 51 h 53"/>
                <a:gd name="T28" fmla="*/ 10 w 173"/>
                <a:gd name="T29" fmla="*/ 49 h 53"/>
                <a:gd name="T30" fmla="*/ 6 w 173"/>
                <a:gd name="T31" fmla="*/ 45 h 53"/>
                <a:gd name="T32" fmla="*/ 3 w 173"/>
                <a:gd name="T33" fmla="*/ 42 h 53"/>
                <a:gd name="T34" fmla="*/ 1 w 173"/>
                <a:gd name="T35" fmla="*/ 37 h 53"/>
                <a:gd name="T36" fmla="*/ 0 w 173"/>
                <a:gd name="T37" fmla="*/ 32 h 53"/>
                <a:gd name="T38" fmla="*/ 0 w 173"/>
                <a:gd name="T39" fmla="*/ 27 h 53"/>
                <a:gd name="T40" fmla="*/ 0 w 173"/>
                <a:gd name="T41" fmla="*/ 27 h 53"/>
                <a:gd name="T42" fmla="*/ 0 w 173"/>
                <a:gd name="T43" fmla="*/ 22 h 53"/>
                <a:gd name="T44" fmla="*/ 1 w 173"/>
                <a:gd name="T45" fmla="*/ 17 h 53"/>
                <a:gd name="T46" fmla="*/ 3 w 173"/>
                <a:gd name="T47" fmla="*/ 12 h 53"/>
                <a:gd name="T48" fmla="*/ 6 w 173"/>
                <a:gd name="T49" fmla="*/ 8 h 53"/>
                <a:gd name="T50" fmla="*/ 10 w 173"/>
                <a:gd name="T51" fmla="*/ 5 h 53"/>
                <a:gd name="T52" fmla="*/ 14 w 173"/>
                <a:gd name="T53" fmla="*/ 2 h 53"/>
                <a:gd name="T54" fmla="*/ 18 w 173"/>
                <a:gd name="T55" fmla="*/ 1 h 53"/>
                <a:gd name="T56" fmla="*/ 23 w 173"/>
                <a:gd name="T57" fmla="*/ 0 h 53"/>
                <a:gd name="T58" fmla="*/ 150 w 173"/>
                <a:gd name="T59" fmla="*/ 0 h 53"/>
                <a:gd name="T60" fmla="*/ 150 w 173"/>
                <a:gd name="T61" fmla="*/ 0 h 53"/>
                <a:gd name="T62" fmla="*/ 155 w 173"/>
                <a:gd name="T63" fmla="*/ 1 h 53"/>
                <a:gd name="T64" fmla="*/ 159 w 173"/>
                <a:gd name="T65" fmla="*/ 2 h 53"/>
                <a:gd name="T66" fmla="*/ 163 w 173"/>
                <a:gd name="T67" fmla="*/ 5 h 53"/>
                <a:gd name="T68" fmla="*/ 167 w 173"/>
                <a:gd name="T69" fmla="*/ 8 h 53"/>
                <a:gd name="T70" fmla="*/ 169 w 173"/>
                <a:gd name="T71" fmla="*/ 12 h 53"/>
                <a:gd name="T72" fmla="*/ 172 w 173"/>
                <a:gd name="T73" fmla="*/ 17 h 53"/>
                <a:gd name="T74" fmla="*/ 173 w 173"/>
                <a:gd name="T75" fmla="*/ 22 h 53"/>
                <a:gd name="T76" fmla="*/ 173 w 173"/>
                <a:gd name="T7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 h="53">
                  <a:moveTo>
                    <a:pt x="173" y="27"/>
                  </a:moveTo>
                  <a:lnTo>
                    <a:pt x="173" y="27"/>
                  </a:lnTo>
                  <a:lnTo>
                    <a:pt x="173" y="32"/>
                  </a:lnTo>
                  <a:lnTo>
                    <a:pt x="172" y="37"/>
                  </a:lnTo>
                  <a:lnTo>
                    <a:pt x="169" y="42"/>
                  </a:lnTo>
                  <a:lnTo>
                    <a:pt x="167" y="45"/>
                  </a:lnTo>
                  <a:lnTo>
                    <a:pt x="163" y="49"/>
                  </a:lnTo>
                  <a:lnTo>
                    <a:pt x="159" y="51"/>
                  </a:lnTo>
                  <a:lnTo>
                    <a:pt x="155" y="52"/>
                  </a:lnTo>
                  <a:lnTo>
                    <a:pt x="150" y="53"/>
                  </a:lnTo>
                  <a:lnTo>
                    <a:pt x="23" y="53"/>
                  </a:lnTo>
                  <a:lnTo>
                    <a:pt x="23" y="53"/>
                  </a:lnTo>
                  <a:lnTo>
                    <a:pt x="18" y="52"/>
                  </a:lnTo>
                  <a:lnTo>
                    <a:pt x="14" y="51"/>
                  </a:lnTo>
                  <a:lnTo>
                    <a:pt x="10" y="49"/>
                  </a:lnTo>
                  <a:lnTo>
                    <a:pt x="6" y="45"/>
                  </a:lnTo>
                  <a:lnTo>
                    <a:pt x="3" y="42"/>
                  </a:lnTo>
                  <a:lnTo>
                    <a:pt x="1" y="37"/>
                  </a:lnTo>
                  <a:lnTo>
                    <a:pt x="0" y="32"/>
                  </a:lnTo>
                  <a:lnTo>
                    <a:pt x="0" y="27"/>
                  </a:lnTo>
                  <a:lnTo>
                    <a:pt x="0" y="27"/>
                  </a:lnTo>
                  <a:lnTo>
                    <a:pt x="0" y="22"/>
                  </a:lnTo>
                  <a:lnTo>
                    <a:pt x="1" y="17"/>
                  </a:lnTo>
                  <a:lnTo>
                    <a:pt x="3" y="12"/>
                  </a:lnTo>
                  <a:lnTo>
                    <a:pt x="6" y="8"/>
                  </a:lnTo>
                  <a:lnTo>
                    <a:pt x="10" y="5"/>
                  </a:lnTo>
                  <a:lnTo>
                    <a:pt x="14" y="2"/>
                  </a:lnTo>
                  <a:lnTo>
                    <a:pt x="18" y="1"/>
                  </a:lnTo>
                  <a:lnTo>
                    <a:pt x="23" y="0"/>
                  </a:lnTo>
                  <a:lnTo>
                    <a:pt x="150" y="0"/>
                  </a:lnTo>
                  <a:lnTo>
                    <a:pt x="150" y="0"/>
                  </a:lnTo>
                  <a:lnTo>
                    <a:pt x="155" y="1"/>
                  </a:lnTo>
                  <a:lnTo>
                    <a:pt x="159" y="2"/>
                  </a:lnTo>
                  <a:lnTo>
                    <a:pt x="163" y="5"/>
                  </a:lnTo>
                  <a:lnTo>
                    <a:pt x="167" y="8"/>
                  </a:lnTo>
                  <a:lnTo>
                    <a:pt x="169" y="12"/>
                  </a:lnTo>
                  <a:lnTo>
                    <a:pt x="172" y="17"/>
                  </a:lnTo>
                  <a:lnTo>
                    <a:pt x="173" y="22"/>
                  </a:lnTo>
                  <a:lnTo>
                    <a:pt x="173" y="2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1" name="Freeform 401"/>
            <p:cNvSpPr>
              <a:spLocks/>
            </p:cNvSpPr>
            <p:nvPr/>
          </p:nvSpPr>
          <p:spPr bwMode="auto">
            <a:xfrm>
              <a:off x="6219824" y="2326004"/>
              <a:ext cx="165736" cy="49530"/>
            </a:xfrm>
            <a:custGeom>
              <a:avLst/>
              <a:gdLst>
                <a:gd name="T0" fmla="*/ 173 w 173"/>
                <a:gd name="T1" fmla="*/ 26 h 52"/>
                <a:gd name="T2" fmla="*/ 173 w 173"/>
                <a:gd name="T3" fmla="*/ 26 h 52"/>
                <a:gd name="T4" fmla="*/ 173 w 173"/>
                <a:gd name="T5" fmla="*/ 31 h 52"/>
                <a:gd name="T6" fmla="*/ 172 w 173"/>
                <a:gd name="T7" fmla="*/ 36 h 52"/>
                <a:gd name="T8" fmla="*/ 169 w 173"/>
                <a:gd name="T9" fmla="*/ 41 h 52"/>
                <a:gd name="T10" fmla="*/ 167 w 173"/>
                <a:gd name="T11" fmla="*/ 45 h 52"/>
                <a:gd name="T12" fmla="*/ 163 w 173"/>
                <a:gd name="T13" fmla="*/ 48 h 52"/>
                <a:gd name="T14" fmla="*/ 159 w 173"/>
                <a:gd name="T15" fmla="*/ 50 h 52"/>
                <a:gd name="T16" fmla="*/ 155 w 173"/>
                <a:gd name="T17" fmla="*/ 52 h 52"/>
                <a:gd name="T18" fmla="*/ 150 w 173"/>
                <a:gd name="T19" fmla="*/ 52 h 52"/>
                <a:gd name="T20" fmla="*/ 23 w 173"/>
                <a:gd name="T21" fmla="*/ 52 h 52"/>
                <a:gd name="T22" fmla="*/ 23 w 173"/>
                <a:gd name="T23" fmla="*/ 52 h 52"/>
                <a:gd name="T24" fmla="*/ 18 w 173"/>
                <a:gd name="T25" fmla="*/ 52 h 52"/>
                <a:gd name="T26" fmla="*/ 14 w 173"/>
                <a:gd name="T27" fmla="*/ 50 h 52"/>
                <a:gd name="T28" fmla="*/ 10 w 173"/>
                <a:gd name="T29" fmla="*/ 48 h 52"/>
                <a:gd name="T30" fmla="*/ 6 w 173"/>
                <a:gd name="T31" fmla="*/ 45 h 52"/>
                <a:gd name="T32" fmla="*/ 3 w 173"/>
                <a:gd name="T33" fmla="*/ 41 h 52"/>
                <a:gd name="T34" fmla="*/ 1 w 173"/>
                <a:gd name="T35" fmla="*/ 36 h 52"/>
                <a:gd name="T36" fmla="*/ 0 w 173"/>
                <a:gd name="T37" fmla="*/ 31 h 52"/>
                <a:gd name="T38" fmla="*/ 0 w 173"/>
                <a:gd name="T39" fmla="*/ 26 h 52"/>
                <a:gd name="T40" fmla="*/ 0 w 173"/>
                <a:gd name="T41" fmla="*/ 26 h 52"/>
                <a:gd name="T42" fmla="*/ 0 w 173"/>
                <a:gd name="T43" fmla="*/ 21 h 52"/>
                <a:gd name="T44" fmla="*/ 1 w 173"/>
                <a:gd name="T45" fmla="*/ 16 h 52"/>
                <a:gd name="T46" fmla="*/ 3 w 173"/>
                <a:gd name="T47" fmla="*/ 12 h 52"/>
                <a:gd name="T48" fmla="*/ 6 w 173"/>
                <a:gd name="T49" fmla="*/ 8 h 52"/>
                <a:gd name="T50" fmla="*/ 10 w 173"/>
                <a:gd name="T51" fmla="*/ 5 h 52"/>
                <a:gd name="T52" fmla="*/ 14 w 173"/>
                <a:gd name="T53" fmla="*/ 2 h 52"/>
                <a:gd name="T54" fmla="*/ 18 w 173"/>
                <a:gd name="T55" fmla="*/ 1 h 52"/>
                <a:gd name="T56" fmla="*/ 23 w 173"/>
                <a:gd name="T57" fmla="*/ 0 h 52"/>
                <a:gd name="T58" fmla="*/ 150 w 173"/>
                <a:gd name="T59" fmla="*/ 0 h 52"/>
                <a:gd name="T60" fmla="*/ 150 w 173"/>
                <a:gd name="T61" fmla="*/ 0 h 52"/>
                <a:gd name="T62" fmla="*/ 155 w 173"/>
                <a:gd name="T63" fmla="*/ 1 h 52"/>
                <a:gd name="T64" fmla="*/ 159 w 173"/>
                <a:gd name="T65" fmla="*/ 2 h 52"/>
                <a:gd name="T66" fmla="*/ 163 w 173"/>
                <a:gd name="T67" fmla="*/ 5 h 52"/>
                <a:gd name="T68" fmla="*/ 167 w 173"/>
                <a:gd name="T69" fmla="*/ 8 h 52"/>
                <a:gd name="T70" fmla="*/ 169 w 173"/>
                <a:gd name="T71" fmla="*/ 12 h 52"/>
                <a:gd name="T72" fmla="*/ 172 w 173"/>
                <a:gd name="T73" fmla="*/ 16 h 52"/>
                <a:gd name="T74" fmla="*/ 173 w 173"/>
                <a:gd name="T75" fmla="*/ 21 h 52"/>
                <a:gd name="T76" fmla="*/ 173 w 173"/>
                <a:gd name="T7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 h="52">
                  <a:moveTo>
                    <a:pt x="173" y="26"/>
                  </a:moveTo>
                  <a:lnTo>
                    <a:pt x="173" y="26"/>
                  </a:lnTo>
                  <a:lnTo>
                    <a:pt x="173" y="31"/>
                  </a:lnTo>
                  <a:lnTo>
                    <a:pt x="172" y="36"/>
                  </a:lnTo>
                  <a:lnTo>
                    <a:pt x="169" y="41"/>
                  </a:lnTo>
                  <a:lnTo>
                    <a:pt x="167" y="45"/>
                  </a:lnTo>
                  <a:lnTo>
                    <a:pt x="163" y="48"/>
                  </a:lnTo>
                  <a:lnTo>
                    <a:pt x="159" y="50"/>
                  </a:lnTo>
                  <a:lnTo>
                    <a:pt x="155" y="52"/>
                  </a:lnTo>
                  <a:lnTo>
                    <a:pt x="150" y="52"/>
                  </a:lnTo>
                  <a:lnTo>
                    <a:pt x="23" y="52"/>
                  </a:lnTo>
                  <a:lnTo>
                    <a:pt x="23" y="52"/>
                  </a:lnTo>
                  <a:lnTo>
                    <a:pt x="18" y="52"/>
                  </a:lnTo>
                  <a:lnTo>
                    <a:pt x="14" y="50"/>
                  </a:lnTo>
                  <a:lnTo>
                    <a:pt x="10" y="48"/>
                  </a:lnTo>
                  <a:lnTo>
                    <a:pt x="6" y="45"/>
                  </a:lnTo>
                  <a:lnTo>
                    <a:pt x="3" y="41"/>
                  </a:lnTo>
                  <a:lnTo>
                    <a:pt x="1" y="36"/>
                  </a:lnTo>
                  <a:lnTo>
                    <a:pt x="0" y="31"/>
                  </a:lnTo>
                  <a:lnTo>
                    <a:pt x="0" y="26"/>
                  </a:lnTo>
                  <a:lnTo>
                    <a:pt x="0" y="26"/>
                  </a:lnTo>
                  <a:lnTo>
                    <a:pt x="0" y="21"/>
                  </a:lnTo>
                  <a:lnTo>
                    <a:pt x="1" y="16"/>
                  </a:lnTo>
                  <a:lnTo>
                    <a:pt x="3" y="12"/>
                  </a:lnTo>
                  <a:lnTo>
                    <a:pt x="6" y="8"/>
                  </a:lnTo>
                  <a:lnTo>
                    <a:pt x="10" y="5"/>
                  </a:lnTo>
                  <a:lnTo>
                    <a:pt x="14" y="2"/>
                  </a:lnTo>
                  <a:lnTo>
                    <a:pt x="18" y="1"/>
                  </a:lnTo>
                  <a:lnTo>
                    <a:pt x="23" y="0"/>
                  </a:lnTo>
                  <a:lnTo>
                    <a:pt x="150" y="0"/>
                  </a:lnTo>
                  <a:lnTo>
                    <a:pt x="150" y="0"/>
                  </a:lnTo>
                  <a:lnTo>
                    <a:pt x="155" y="1"/>
                  </a:lnTo>
                  <a:lnTo>
                    <a:pt x="159" y="2"/>
                  </a:lnTo>
                  <a:lnTo>
                    <a:pt x="163" y="5"/>
                  </a:lnTo>
                  <a:lnTo>
                    <a:pt x="167" y="8"/>
                  </a:lnTo>
                  <a:lnTo>
                    <a:pt x="169" y="12"/>
                  </a:lnTo>
                  <a:lnTo>
                    <a:pt x="172" y="16"/>
                  </a:lnTo>
                  <a:lnTo>
                    <a:pt x="173" y="21"/>
                  </a:lnTo>
                  <a:lnTo>
                    <a:pt x="173" y="2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2" name="Freeform 402"/>
            <p:cNvSpPr>
              <a:spLocks/>
            </p:cNvSpPr>
            <p:nvPr/>
          </p:nvSpPr>
          <p:spPr bwMode="auto">
            <a:xfrm>
              <a:off x="6256020" y="2392680"/>
              <a:ext cx="91440" cy="24766"/>
            </a:xfrm>
            <a:custGeom>
              <a:avLst/>
              <a:gdLst>
                <a:gd name="T0" fmla="*/ 48 w 96"/>
                <a:gd name="T1" fmla="*/ 26 h 26"/>
                <a:gd name="T2" fmla="*/ 48 w 96"/>
                <a:gd name="T3" fmla="*/ 26 h 26"/>
                <a:gd name="T4" fmla="*/ 42 w 96"/>
                <a:gd name="T5" fmla="*/ 26 h 26"/>
                <a:gd name="T6" fmla="*/ 36 w 96"/>
                <a:gd name="T7" fmla="*/ 25 h 26"/>
                <a:gd name="T8" fmla="*/ 29 w 96"/>
                <a:gd name="T9" fmla="*/ 22 h 26"/>
                <a:gd name="T10" fmla="*/ 23 w 96"/>
                <a:gd name="T11" fmla="*/ 20 h 26"/>
                <a:gd name="T12" fmla="*/ 17 w 96"/>
                <a:gd name="T13" fmla="*/ 16 h 26"/>
                <a:gd name="T14" fmla="*/ 12 w 96"/>
                <a:gd name="T15" fmla="*/ 11 h 26"/>
                <a:gd name="T16" fmla="*/ 5 w 96"/>
                <a:gd name="T17" fmla="*/ 6 h 26"/>
                <a:gd name="T18" fmla="*/ 0 w 96"/>
                <a:gd name="T19" fmla="*/ 0 h 26"/>
                <a:gd name="T20" fmla="*/ 96 w 96"/>
                <a:gd name="T21" fmla="*/ 0 h 26"/>
                <a:gd name="T22" fmla="*/ 96 w 96"/>
                <a:gd name="T23" fmla="*/ 0 h 26"/>
                <a:gd name="T24" fmla="*/ 91 w 96"/>
                <a:gd name="T25" fmla="*/ 6 h 26"/>
                <a:gd name="T26" fmla="*/ 85 w 96"/>
                <a:gd name="T27" fmla="*/ 11 h 26"/>
                <a:gd name="T28" fmla="*/ 79 w 96"/>
                <a:gd name="T29" fmla="*/ 16 h 26"/>
                <a:gd name="T30" fmla="*/ 73 w 96"/>
                <a:gd name="T31" fmla="*/ 20 h 26"/>
                <a:gd name="T32" fmla="*/ 67 w 96"/>
                <a:gd name="T33" fmla="*/ 22 h 26"/>
                <a:gd name="T34" fmla="*/ 61 w 96"/>
                <a:gd name="T35" fmla="*/ 25 h 26"/>
                <a:gd name="T36" fmla="*/ 55 w 96"/>
                <a:gd name="T37" fmla="*/ 26 h 26"/>
                <a:gd name="T38" fmla="*/ 48 w 96"/>
                <a:gd name="T3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26">
                  <a:moveTo>
                    <a:pt x="48" y="26"/>
                  </a:moveTo>
                  <a:lnTo>
                    <a:pt x="48" y="26"/>
                  </a:lnTo>
                  <a:lnTo>
                    <a:pt x="42" y="26"/>
                  </a:lnTo>
                  <a:lnTo>
                    <a:pt x="36" y="25"/>
                  </a:lnTo>
                  <a:lnTo>
                    <a:pt x="29" y="22"/>
                  </a:lnTo>
                  <a:lnTo>
                    <a:pt x="23" y="20"/>
                  </a:lnTo>
                  <a:lnTo>
                    <a:pt x="17" y="16"/>
                  </a:lnTo>
                  <a:lnTo>
                    <a:pt x="12" y="11"/>
                  </a:lnTo>
                  <a:lnTo>
                    <a:pt x="5" y="6"/>
                  </a:lnTo>
                  <a:lnTo>
                    <a:pt x="0" y="0"/>
                  </a:lnTo>
                  <a:lnTo>
                    <a:pt x="96" y="0"/>
                  </a:lnTo>
                  <a:lnTo>
                    <a:pt x="96" y="0"/>
                  </a:lnTo>
                  <a:lnTo>
                    <a:pt x="91" y="6"/>
                  </a:lnTo>
                  <a:lnTo>
                    <a:pt x="85" y="11"/>
                  </a:lnTo>
                  <a:lnTo>
                    <a:pt x="79" y="16"/>
                  </a:lnTo>
                  <a:lnTo>
                    <a:pt x="73" y="20"/>
                  </a:lnTo>
                  <a:lnTo>
                    <a:pt x="67" y="22"/>
                  </a:lnTo>
                  <a:lnTo>
                    <a:pt x="61" y="25"/>
                  </a:lnTo>
                  <a:lnTo>
                    <a:pt x="55" y="26"/>
                  </a:lnTo>
                  <a:lnTo>
                    <a:pt x="48" y="2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3" name="Freeform 403"/>
            <p:cNvSpPr>
              <a:spLocks/>
            </p:cNvSpPr>
            <p:nvPr/>
          </p:nvSpPr>
          <p:spPr bwMode="auto">
            <a:xfrm>
              <a:off x="6124574" y="1905000"/>
              <a:ext cx="354330" cy="331470"/>
            </a:xfrm>
            <a:custGeom>
              <a:avLst/>
              <a:gdLst>
                <a:gd name="T0" fmla="*/ 93 w 372"/>
                <a:gd name="T1" fmla="*/ 345 h 346"/>
                <a:gd name="T2" fmla="*/ 83 w 372"/>
                <a:gd name="T3" fmla="*/ 339 h 346"/>
                <a:gd name="T4" fmla="*/ 64 w 372"/>
                <a:gd name="T5" fmla="*/ 324 h 346"/>
                <a:gd name="T6" fmla="*/ 47 w 372"/>
                <a:gd name="T7" fmla="*/ 308 h 346"/>
                <a:gd name="T8" fmla="*/ 32 w 372"/>
                <a:gd name="T9" fmla="*/ 289 h 346"/>
                <a:gd name="T10" fmla="*/ 20 w 372"/>
                <a:gd name="T11" fmla="*/ 268 h 346"/>
                <a:gd name="T12" fmla="*/ 11 w 372"/>
                <a:gd name="T13" fmla="*/ 246 h 346"/>
                <a:gd name="T14" fmla="*/ 4 w 372"/>
                <a:gd name="T15" fmla="*/ 223 h 346"/>
                <a:gd name="T16" fmla="*/ 1 w 372"/>
                <a:gd name="T17" fmla="*/ 198 h 346"/>
                <a:gd name="T18" fmla="*/ 0 w 372"/>
                <a:gd name="T19" fmla="*/ 185 h 346"/>
                <a:gd name="T20" fmla="*/ 4 w 372"/>
                <a:gd name="T21" fmla="*/ 147 h 346"/>
                <a:gd name="T22" fmla="*/ 15 w 372"/>
                <a:gd name="T23" fmla="*/ 112 h 346"/>
                <a:gd name="T24" fmla="*/ 32 w 372"/>
                <a:gd name="T25" fmla="*/ 81 h 346"/>
                <a:gd name="T26" fmla="*/ 54 w 372"/>
                <a:gd name="T27" fmla="*/ 54 h 346"/>
                <a:gd name="T28" fmla="*/ 82 w 372"/>
                <a:gd name="T29" fmla="*/ 31 h 346"/>
                <a:gd name="T30" fmla="*/ 113 w 372"/>
                <a:gd name="T31" fmla="*/ 14 h 346"/>
                <a:gd name="T32" fmla="*/ 149 w 372"/>
                <a:gd name="T33" fmla="*/ 3 h 346"/>
                <a:gd name="T34" fmla="*/ 186 w 372"/>
                <a:gd name="T35" fmla="*/ 0 h 346"/>
                <a:gd name="T36" fmla="*/ 205 w 372"/>
                <a:gd name="T37" fmla="*/ 0 h 346"/>
                <a:gd name="T38" fmla="*/ 241 w 372"/>
                <a:gd name="T39" fmla="*/ 8 h 346"/>
                <a:gd name="T40" fmla="*/ 274 w 372"/>
                <a:gd name="T41" fmla="*/ 22 h 346"/>
                <a:gd name="T42" fmla="*/ 303 w 372"/>
                <a:gd name="T43" fmla="*/ 42 h 346"/>
                <a:gd name="T44" fmla="*/ 328 w 372"/>
                <a:gd name="T45" fmla="*/ 67 h 346"/>
                <a:gd name="T46" fmla="*/ 348 w 372"/>
                <a:gd name="T47" fmla="*/ 96 h 346"/>
                <a:gd name="T48" fmla="*/ 363 w 372"/>
                <a:gd name="T49" fmla="*/ 129 h 346"/>
                <a:gd name="T50" fmla="*/ 371 w 372"/>
                <a:gd name="T51" fmla="*/ 165 h 346"/>
                <a:gd name="T52" fmla="*/ 372 w 372"/>
                <a:gd name="T53" fmla="*/ 185 h 346"/>
                <a:gd name="T54" fmla="*/ 370 w 372"/>
                <a:gd name="T55" fmla="*/ 210 h 346"/>
                <a:gd name="T56" fmla="*/ 365 w 372"/>
                <a:gd name="T57" fmla="*/ 234 h 346"/>
                <a:gd name="T58" fmla="*/ 356 w 372"/>
                <a:gd name="T59" fmla="*/ 257 h 346"/>
                <a:gd name="T60" fmla="*/ 345 w 372"/>
                <a:gd name="T61" fmla="*/ 279 h 346"/>
                <a:gd name="T62" fmla="*/ 331 w 372"/>
                <a:gd name="T63" fmla="*/ 298 h 346"/>
                <a:gd name="T64" fmla="*/ 316 w 372"/>
                <a:gd name="T65" fmla="*/ 316 h 346"/>
                <a:gd name="T66" fmla="*/ 298 w 372"/>
                <a:gd name="T67" fmla="*/ 332 h 346"/>
                <a:gd name="T68" fmla="*/ 278 w 372"/>
                <a:gd name="T69" fmla="*/ 345 h 346"/>
                <a:gd name="T70" fmla="*/ 95 w 372"/>
                <a:gd name="T71"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2" h="346">
                  <a:moveTo>
                    <a:pt x="95" y="346"/>
                  </a:moveTo>
                  <a:lnTo>
                    <a:pt x="93" y="345"/>
                  </a:lnTo>
                  <a:lnTo>
                    <a:pt x="93" y="345"/>
                  </a:lnTo>
                  <a:lnTo>
                    <a:pt x="83" y="339"/>
                  </a:lnTo>
                  <a:lnTo>
                    <a:pt x="73" y="332"/>
                  </a:lnTo>
                  <a:lnTo>
                    <a:pt x="64" y="324"/>
                  </a:lnTo>
                  <a:lnTo>
                    <a:pt x="55" y="316"/>
                  </a:lnTo>
                  <a:lnTo>
                    <a:pt x="47" y="308"/>
                  </a:lnTo>
                  <a:lnTo>
                    <a:pt x="39" y="298"/>
                  </a:lnTo>
                  <a:lnTo>
                    <a:pt x="32" y="289"/>
                  </a:lnTo>
                  <a:lnTo>
                    <a:pt x="26" y="279"/>
                  </a:lnTo>
                  <a:lnTo>
                    <a:pt x="20" y="268"/>
                  </a:lnTo>
                  <a:lnTo>
                    <a:pt x="15" y="257"/>
                  </a:lnTo>
                  <a:lnTo>
                    <a:pt x="11" y="246"/>
                  </a:lnTo>
                  <a:lnTo>
                    <a:pt x="7" y="234"/>
                  </a:lnTo>
                  <a:lnTo>
                    <a:pt x="4" y="223"/>
                  </a:lnTo>
                  <a:lnTo>
                    <a:pt x="2" y="210"/>
                  </a:lnTo>
                  <a:lnTo>
                    <a:pt x="1" y="198"/>
                  </a:lnTo>
                  <a:lnTo>
                    <a:pt x="0" y="185"/>
                  </a:lnTo>
                  <a:lnTo>
                    <a:pt x="0" y="185"/>
                  </a:lnTo>
                  <a:lnTo>
                    <a:pt x="1" y="165"/>
                  </a:lnTo>
                  <a:lnTo>
                    <a:pt x="4" y="147"/>
                  </a:lnTo>
                  <a:lnTo>
                    <a:pt x="9" y="129"/>
                  </a:lnTo>
                  <a:lnTo>
                    <a:pt x="15" y="112"/>
                  </a:lnTo>
                  <a:lnTo>
                    <a:pt x="23" y="96"/>
                  </a:lnTo>
                  <a:lnTo>
                    <a:pt x="32" y="81"/>
                  </a:lnTo>
                  <a:lnTo>
                    <a:pt x="43" y="67"/>
                  </a:lnTo>
                  <a:lnTo>
                    <a:pt x="54" y="54"/>
                  </a:lnTo>
                  <a:lnTo>
                    <a:pt x="68" y="42"/>
                  </a:lnTo>
                  <a:lnTo>
                    <a:pt x="82" y="31"/>
                  </a:lnTo>
                  <a:lnTo>
                    <a:pt x="97" y="22"/>
                  </a:lnTo>
                  <a:lnTo>
                    <a:pt x="113" y="14"/>
                  </a:lnTo>
                  <a:lnTo>
                    <a:pt x="130" y="8"/>
                  </a:lnTo>
                  <a:lnTo>
                    <a:pt x="149" y="3"/>
                  </a:lnTo>
                  <a:lnTo>
                    <a:pt x="167" y="0"/>
                  </a:lnTo>
                  <a:lnTo>
                    <a:pt x="186" y="0"/>
                  </a:lnTo>
                  <a:lnTo>
                    <a:pt x="186" y="0"/>
                  </a:lnTo>
                  <a:lnTo>
                    <a:pt x="205" y="0"/>
                  </a:lnTo>
                  <a:lnTo>
                    <a:pt x="223" y="3"/>
                  </a:lnTo>
                  <a:lnTo>
                    <a:pt x="241" y="8"/>
                  </a:lnTo>
                  <a:lnTo>
                    <a:pt x="258" y="14"/>
                  </a:lnTo>
                  <a:lnTo>
                    <a:pt x="274" y="22"/>
                  </a:lnTo>
                  <a:lnTo>
                    <a:pt x="289" y="31"/>
                  </a:lnTo>
                  <a:lnTo>
                    <a:pt x="303" y="42"/>
                  </a:lnTo>
                  <a:lnTo>
                    <a:pt x="316" y="54"/>
                  </a:lnTo>
                  <a:lnTo>
                    <a:pt x="328" y="67"/>
                  </a:lnTo>
                  <a:lnTo>
                    <a:pt x="339" y="81"/>
                  </a:lnTo>
                  <a:lnTo>
                    <a:pt x="348" y="96"/>
                  </a:lnTo>
                  <a:lnTo>
                    <a:pt x="356" y="112"/>
                  </a:lnTo>
                  <a:lnTo>
                    <a:pt x="363" y="129"/>
                  </a:lnTo>
                  <a:lnTo>
                    <a:pt x="368" y="147"/>
                  </a:lnTo>
                  <a:lnTo>
                    <a:pt x="371" y="165"/>
                  </a:lnTo>
                  <a:lnTo>
                    <a:pt x="372" y="185"/>
                  </a:lnTo>
                  <a:lnTo>
                    <a:pt x="372" y="185"/>
                  </a:lnTo>
                  <a:lnTo>
                    <a:pt x="371" y="198"/>
                  </a:lnTo>
                  <a:lnTo>
                    <a:pt x="370" y="210"/>
                  </a:lnTo>
                  <a:lnTo>
                    <a:pt x="368" y="223"/>
                  </a:lnTo>
                  <a:lnTo>
                    <a:pt x="365" y="234"/>
                  </a:lnTo>
                  <a:lnTo>
                    <a:pt x="360" y="246"/>
                  </a:lnTo>
                  <a:lnTo>
                    <a:pt x="356" y="257"/>
                  </a:lnTo>
                  <a:lnTo>
                    <a:pt x="351" y="268"/>
                  </a:lnTo>
                  <a:lnTo>
                    <a:pt x="345" y="279"/>
                  </a:lnTo>
                  <a:lnTo>
                    <a:pt x="339" y="289"/>
                  </a:lnTo>
                  <a:lnTo>
                    <a:pt x="331" y="298"/>
                  </a:lnTo>
                  <a:lnTo>
                    <a:pt x="324" y="308"/>
                  </a:lnTo>
                  <a:lnTo>
                    <a:pt x="316" y="316"/>
                  </a:lnTo>
                  <a:lnTo>
                    <a:pt x="307" y="324"/>
                  </a:lnTo>
                  <a:lnTo>
                    <a:pt x="298" y="332"/>
                  </a:lnTo>
                  <a:lnTo>
                    <a:pt x="288" y="339"/>
                  </a:lnTo>
                  <a:lnTo>
                    <a:pt x="278" y="345"/>
                  </a:lnTo>
                  <a:lnTo>
                    <a:pt x="276" y="346"/>
                  </a:lnTo>
                  <a:lnTo>
                    <a:pt x="95" y="34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435" name="Group 1434"/>
          <p:cNvGrpSpPr/>
          <p:nvPr/>
        </p:nvGrpSpPr>
        <p:grpSpPr>
          <a:xfrm>
            <a:off x="6383739" y="1927632"/>
            <a:ext cx="527871" cy="809393"/>
            <a:chOff x="6223136" y="1997583"/>
            <a:chExt cx="479883" cy="735812"/>
          </a:xfrm>
        </p:grpSpPr>
        <p:grpSp>
          <p:nvGrpSpPr>
            <p:cNvPr id="422" name="Group 421"/>
            <p:cNvGrpSpPr/>
            <p:nvPr/>
          </p:nvGrpSpPr>
          <p:grpSpPr>
            <a:xfrm>
              <a:off x="6223136" y="1997583"/>
              <a:ext cx="479883" cy="735812"/>
              <a:chOff x="5037585" y="5870030"/>
              <a:chExt cx="200026" cy="306703"/>
            </a:xfrm>
            <a:solidFill>
              <a:schemeClr val="bg1"/>
            </a:solidFill>
          </p:grpSpPr>
          <p:sp>
            <p:nvSpPr>
              <p:cNvPr id="423" name="Freeform 98"/>
              <p:cNvSpPr>
                <a:spLocks/>
              </p:cNvSpPr>
              <p:nvPr/>
            </p:nvSpPr>
            <p:spPr bwMode="auto">
              <a:xfrm>
                <a:off x="5037585" y="6003379"/>
                <a:ext cx="200026" cy="173354"/>
              </a:xfrm>
              <a:custGeom>
                <a:avLst/>
                <a:gdLst>
                  <a:gd name="T0" fmla="*/ 0 w 211"/>
                  <a:gd name="T1" fmla="*/ 182 h 182"/>
                  <a:gd name="T2" fmla="*/ 0 w 211"/>
                  <a:gd name="T3" fmla="*/ 182 h 182"/>
                  <a:gd name="T4" fmla="*/ 1 w 211"/>
                  <a:gd name="T5" fmla="*/ 145 h 182"/>
                  <a:gd name="T6" fmla="*/ 2 w 211"/>
                  <a:gd name="T7" fmla="*/ 128 h 182"/>
                  <a:gd name="T8" fmla="*/ 4 w 211"/>
                  <a:gd name="T9" fmla="*/ 111 h 182"/>
                  <a:gd name="T10" fmla="*/ 6 w 211"/>
                  <a:gd name="T11" fmla="*/ 95 h 182"/>
                  <a:gd name="T12" fmla="*/ 10 w 211"/>
                  <a:gd name="T13" fmla="*/ 80 h 182"/>
                  <a:gd name="T14" fmla="*/ 14 w 211"/>
                  <a:gd name="T15" fmla="*/ 66 h 182"/>
                  <a:gd name="T16" fmla="*/ 19 w 211"/>
                  <a:gd name="T17" fmla="*/ 53 h 182"/>
                  <a:gd name="T18" fmla="*/ 25 w 211"/>
                  <a:gd name="T19" fmla="*/ 41 h 182"/>
                  <a:gd name="T20" fmla="*/ 33 w 211"/>
                  <a:gd name="T21" fmla="*/ 31 h 182"/>
                  <a:gd name="T22" fmla="*/ 41 w 211"/>
                  <a:gd name="T23" fmla="*/ 22 h 182"/>
                  <a:gd name="T24" fmla="*/ 51 w 211"/>
                  <a:gd name="T25" fmla="*/ 14 h 182"/>
                  <a:gd name="T26" fmla="*/ 63 w 211"/>
                  <a:gd name="T27" fmla="*/ 8 h 182"/>
                  <a:gd name="T28" fmla="*/ 76 w 211"/>
                  <a:gd name="T29" fmla="*/ 3 h 182"/>
                  <a:gd name="T30" fmla="*/ 91 w 211"/>
                  <a:gd name="T31" fmla="*/ 1 h 182"/>
                  <a:gd name="T32" fmla="*/ 107 w 211"/>
                  <a:gd name="T33" fmla="*/ 0 h 182"/>
                  <a:gd name="T34" fmla="*/ 107 w 211"/>
                  <a:gd name="T35" fmla="*/ 0 h 182"/>
                  <a:gd name="T36" fmla="*/ 123 w 211"/>
                  <a:gd name="T37" fmla="*/ 1 h 182"/>
                  <a:gd name="T38" fmla="*/ 137 w 211"/>
                  <a:gd name="T39" fmla="*/ 3 h 182"/>
                  <a:gd name="T40" fmla="*/ 150 w 211"/>
                  <a:gd name="T41" fmla="*/ 8 h 182"/>
                  <a:gd name="T42" fmla="*/ 161 w 211"/>
                  <a:gd name="T43" fmla="*/ 14 h 182"/>
                  <a:gd name="T44" fmla="*/ 171 w 211"/>
                  <a:gd name="T45" fmla="*/ 22 h 182"/>
                  <a:gd name="T46" fmla="*/ 179 w 211"/>
                  <a:gd name="T47" fmla="*/ 31 h 182"/>
                  <a:gd name="T48" fmla="*/ 186 w 211"/>
                  <a:gd name="T49" fmla="*/ 41 h 182"/>
                  <a:gd name="T50" fmla="*/ 193 w 211"/>
                  <a:gd name="T51" fmla="*/ 53 h 182"/>
                  <a:gd name="T52" fmla="*/ 198 w 211"/>
                  <a:gd name="T53" fmla="*/ 66 h 182"/>
                  <a:gd name="T54" fmla="*/ 202 w 211"/>
                  <a:gd name="T55" fmla="*/ 80 h 182"/>
                  <a:gd name="T56" fmla="*/ 205 w 211"/>
                  <a:gd name="T57" fmla="*/ 95 h 182"/>
                  <a:gd name="T58" fmla="*/ 208 w 211"/>
                  <a:gd name="T59" fmla="*/ 111 h 182"/>
                  <a:gd name="T60" fmla="*/ 209 w 211"/>
                  <a:gd name="T61" fmla="*/ 128 h 182"/>
                  <a:gd name="T62" fmla="*/ 211 w 211"/>
                  <a:gd name="T63" fmla="*/ 145 h 182"/>
                  <a:gd name="T64" fmla="*/ 211 w 211"/>
                  <a:gd name="T65" fmla="*/ 182 h 182"/>
                  <a:gd name="T66" fmla="*/ 0 w 211"/>
                  <a:gd name="T6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1" h="182">
                    <a:moveTo>
                      <a:pt x="0" y="182"/>
                    </a:moveTo>
                    <a:lnTo>
                      <a:pt x="0" y="182"/>
                    </a:lnTo>
                    <a:lnTo>
                      <a:pt x="1" y="145"/>
                    </a:lnTo>
                    <a:lnTo>
                      <a:pt x="2" y="128"/>
                    </a:lnTo>
                    <a:lnTo>
                      <a:pt x="4" y="111"/>
                    </a:lnTo>
                    <a:lnTo>
                      <a:pt x="6" y="95"/>
                    </a:lnTo>
                    <a:lnTo>
                      <a:pt x="10" y="80"/>
                    </a:lnTo>
                    <a:lnTo>
                      <a:pt x="14" y="66"/>
                    </a:lnTo>
                    <a:lnTo>
                      <a:pt x="19" y="53"/>
                    </a:lnTo>
                    <a:lnTo>
                      <a:pt x="25" y="41"/>
                    </a:lnTo>
                    <a:lnTo>
                      <a:pt x="33" y="31"/>
                    </a:lnTo>
                    <a:lnTo>
                      <a:pt x="41" y="22"/>
                    </a:lnTo>
                    <a:lnTo>
                      <a:pt x="51" y="14"/>
                    </a:lnTo>
                    <a:lnTo>
                      <a:pt x="63" y="8"/>
                    </a:lnTo>
                    <a:lnTo>
                      <a:pt x="76" y="3"/>
                    </a:lnTo>
                    <a:lnTo>
                      <a:pt x="91" y="1"/>
                    </a:lnTo>
                    <a:lnTo>
                      <a:pt x="107" y="0"/>
                    </a:lnTo>
                    <a:lnTo>
                      <a:pt x="107" y="0"/>
                    </a:lnTo>
                    <a:lnTo>
                      <a:pt x="123" y="1"/>
                    </a:lnTo>
                    <a:lnTo>
                      <a:pt x="137" y="3"/>
                    </a:lnTo>
                    <a:lnTo>
                      <a:pt x="150" y="8"/>
                    </a:lnTo>
                    <a:lnTo>
                      <a:pt x="161" y="14"/>
                    </a:lnTo>
                    <a:lnTo>
                      <a:pt x="171" y="22"/>
                    </a:lnTo>
                    <a:lnTo>
                      <a:pt x="179" y="31"/>
                    </a:lnTo>
                    <a:lnTo>
                      <a:pt x="186" y="41"/>
                    </a:lnTo>
                    <a:lnTo>
                      <a:pt x="193" y="53"/>
                    </a:lnTo>
                    <a:lnTo>
                      <a:pt x="198" y="66"/>
                    </a:lnTo>
                    <a:lnTo>
                      <a:pt x="202" y="80"/>
                    </a:lnTo>
                    <a:lnTo>
                      <a:pt x="205" y="95"/>
                    </a:lnTo>
                    <a:lnTo>
                      <a:pt x="208" y="111"/>
                    </a:lnTo>
                    <a:lnTo>
                      <a:pt x="209" y="128"/>
                    </a:lnTo>
                    <a:lnTo>
                      <a:pt x="211" y="145"/>
                    </a:lnTo>
                    <a:lnTo>
                      <a:pt x="211" y="182"/>
                    </a:lnTo>
                    <a:lnTo>
                      <a:pt x="0" y="18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4" name="Freeform 102"/>
              <p:cNvSpPr>
                <a:spLocks/>
              </p:cNvSpPr>
              <p:nvPr/>
            </p:nvSpPr>
            <p:spPr bwMode="auto">
              <a:xfrm>
                <a:off x="5077591" y="5870030"/>
                <a:ext cx="120016" cy="121920"/>
              </a:xfrm>
              <a:custGeom>
                <a:avLst/>
                <a:gdLst>
                  <a:gd name="T0" fmla="*/ 0 w 127"/>
                  <a:gd name="T1" fmla="*/ 65 h 130"/>
                  <a:gd name="T2" fmla="*/ 0 w 127"/>
                  <a:gd name="T3" fmla="*/ 65 h 130"/>
                  <a:gd name="T4" fmla="*/ 0 w 127"/>
                  <a:gd name="T5" fmla="*/ 58 h 130"/>
                  <a:gd name="T6" fmla="*/ 1 w 127"/>
                  <a:gd name="T7" fmla="*/ 52 h 130"/>
                  <a:gd name="T8" fmla="*/ 3 w 127"/>
                  <a:gd name="T9" fmla="*/ 46 h 130"/>
                  <a:gd name="T10" fmla="*/ 5 w 127"/>
                  <a:gd name="T11" fmla="*/ 40 h 130"/>
                  <a:gd name="T12" fmla="*/ 11 w 127"/>
                  <a:gd name="T13" fmla="*/ 29 h 130"/>
                  <a:gd name="T14" fmla="*/ 19 w 127"/>
                  <a:gd name="T15" fmla="*/ 19 h 130"/>
                  <a:gd name="T16" fmla="*/ 28 w 127"/>
                  <a:gd name="T17" fmla="*/ 11 h 130"/>
                  <a:gd name="T18" fmla="*/ 33 w 127"/>
                  <a:gd name="T19" fmla="*/ 8 h 130"/>
                  <a:gd name="T20" fmla="*/ 39 w 127"/>
                  <a:gd name="T21" fmla="*/ 5 h 130"/>
                  <a:gd name="T22" fmla="*/ 44 w 127"/>
                  <a:gd name="T23" fmla="*/ 3 h 130"/>
                  <a:gd name="T24" fmla="*/ 51 w 127"/>
                  <a:gd name="T25" fmla="*/ 1 h 130"/>
                  <a:gd name="T26" fmla="*/ 58 w 127"/>
                  <a:gd name="T27" fmla="*/ 0 h 130"/>
                  <a:gd name="T28" fmla="*/ 64 w 127"/>
                  <a:gd name="T29" fmla="*/ 0 h 130"/>
                  <a:gd name="T30" fmla="*/ 64 w 127"/>
                  <a:gd name="T31" fmla="*/ 0 h 130"/>
                  <a:gd name="T32" fmla="*/ 70 w 127"/>
                  <a:gd name="T33" fmla="*/ 0 h 130"/>
                  <a:gd name="T34" fmla="*/ 77 w 127"/>
                  <a:gd name="T35" fmla="*/ 1 h 130"/>
                  <a:gd name="T36" fmla="*/ 83 w 127"/>
                  <a:gd name="T37" fmla="*/ 3 h 130"/>
                  <a:gd name="T38" fmla="*/ 88 w 127"/>
                  <a:gd name="T39" fmla="*/ 5 h 130"/>
                  <a:gd name="T40" fmla="*/ 94 w 127"/>
                  <a:gd name="T41" fmla="*/ 8 h 130"/>
                  <a:gd name="T42" fmla="*/ 99 w 127"/>
                  <a:gd name="T43" fmla="*/ 11 h 130"/>
                  <a:gd name="T44" fmla="*/ 108 w 127"/>
                  <a:gd name="T45" fmla="*/ 19 h 130"/>
                  <a:gd name="T46" fmla="*/ 116 w 127"/>
                  <a:gd name="T47" fmla="*/ 29 h 130"/>
                  <a:gd name="T48" fmla="*/ 122 w 127"/>
                  <a:gd name="T49" fmla="*/ 40 h 130"/>
                  <a:gd name="T50" fmla="*/ 124 w 127"/>
                  <a:gd name="T51" fmla="*/ 46 h 130"/>
                  <a:gd name="T52" fmla="*/ 126 w 127"/>
                  <a:gd name="T53" fmla="*/ 52 h 130"/>
                  <a:gd name="T54" fmla="*/ 127 w 127"/>
                  <a:gd name="T55" fmla="*/ 58 h 130"/>
                  <a:gd name="T56" fmla="*/ 127 w 127"/>
                  <a:gd name="T57" fmla="*/ 65 h 130"/>
                  <a:gd name="T58" fmla="*/ 127 w 127"/>
                  <a:gd name="T59" fmla="*/ 65 h 130"/>
                  <a:gd name="T60" fmla="*/ 127 w 127"/>
                  <a:gd name="T61" fmla="*/ 71 h 130"/>
                  <a:gd name="T62" fmla="*/ 126 w 127"/>
                  <a:gd name="T63" fmla="*/ 78 h 130"/>
                  <a:gd name="T64" fmla="*/ 124 w 127"/>
                  <a:gd name="T65" fmla="*/ 84 h 130"/>
                  <a:gd name="T66" fmla="*/ 122 w 127"/>
                  <a:gd name="T67" fmla="*/ 90 h 130"/>
                  <a:gd name="T68" fmla="*/ 116 w 127"/>
                  <a:gd name="T69" fmla="*/ 101 h 130"/>
                  <a:gd name="T70" fmla="*/ 108 w 127"/>
                  <a:gd name="T71" fmla="*/ 111 h 130"/>
                  <a:gd name="T72" fmla="*/ 99 w 127"/>
                  <a:gd name="T73" fmla="*/ 119 h 130"/>
                  <a:gd name="T74" fmla="*/ 94 w 127"/>
                  <a:gd name="T75" fmla="*/ 123 h 130"/>
                  <a:gd name="T76" fmla="*/ 88 w 127"/>
                  <a:gd name="T77" fmla="*/ 125 h 130"/>
                  <a:gd name="T78" fmla="*/ 83 w 127"/>
                  <a:gd name="T79" fmla="*/ 128 h 130"/>
                  <a:gd name="T80" fmla="*/ 77 w 127"/>
                  <a:gd name="T81" fmla="*/ 129 h 130"/>
                  <a:gd name="T82" fmla="*/ 70 w 127"/>
                  <a:gd name="T83" fmla="*/ 130 h 130"/>
                  <a:gd name="T84" fmla="*/ 64 w 127"/>
                  <a:gd name="T85" fmla="*/ 130 h 130"/>
                  <a:gd name="T86" fmla="*/ 64 w 127"/>
                  <a:gd name="T87" fmla="*/ 130 h 130"/>
                  <a:gd name="T88" fmla="*/ 58 w 127"/>
                  <a:gd name="T89" fmla="*/ 130 h 130"/>
                  <a:gd name="T90" fmla="*/ 51 w 127"/>
                  <a:gd name="T91" fmla="*/ 129 h 130"/>
                  <a:gd name="T92" fmla="*/ 44 w 127"/>
                  <a:gd name="T93" fmla="*/ 128 h 130"/>
                  <a:gd name="T94" fmla="*/ 39 w 127"/>
                  <a:gd name="T95" fmla="*/ 125 h 130"/>
                  <a:gd name="T96" fmla="*/ 33 w 127"/>
                  <a:gd name="T97" fmla="*/ 123 h 130"/>
                  <a:gd name="T98" fmla="*/ 28 w 127"/>
                  <a:gd name="T99" fmla="*/ 119 h 130"/>
                  <a:gd name="T100" fmla="*/ 19 w 127"/>
                  <a:gd name="T101" fmla="*/ 111 h 130"/>
                  <a:gd name="T102" fmla="*/ 11 w 127"/>
                  <a:gd name="T103" fmla="*/ 101 h 130"/>
                  <a:gd name="T104" fmla="*/ 5 w 127"/>
                  <a:gd name="T105" fmla="*/ 90 h 130"/>
                  <a:gd name="T106" fmla="*/ 3 w 127"/>
                  <a:gd name="T107" fmla="*/ 84 h 130"/>
                  <a:gd name="T108" fmla="*/ 1 w 127"/>
                  <a:gd name="T109" fmla="*/ 78 h 130"/>
                  <a:gd name="T110" fmla="*/ 0 w 127"/>
                  <a:gd name="T111" fmla="*/ 71 h 130"/>
                  <a:gd name="T112" fmla="*/ 0 w 127"/>
                  <a:gd name="T113" fmla="*/ 6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 h="130">
                    <a:moveTo>
                      <a:pt x="0" y="65"/>
                    </a:moveTo>
                    <a:lnTo>
                      <a:pt x="0" y="65"/>
                    </a:lnTo>
                    <a:lnTo>
                      <a:pt x="0" y="58"/>
                    </a:lnTo>
                    <a:lnTo>
                      <a:pt x="1" y="52"/>
                    </a:lnTo>
                    <a:lnTo>
                      <a:pt x="3" y="46"/>
                    </a:lnTo>
                    <a:lnTo>
                      <a:pt x="5" y="40"/>
                    </a:lnTo>
                    <a:lnTo>
                      <a:pt x="11" y="29"/>
                    </a:lnTo>
                    <a:lnTo>
                      <a:pt x="19" y="19"/>
                    </a:lnTo>
                    <a:lnTo>
                      <a:pt x="28" y="11"/>
                    </a:lnTo>
                    <a:lnTo>
                      <a:pt x="33" y="8"/>
                    </a:lnTo>
                    <a:lnTo>
                      <a:pt x="39" y="5"/>
                    </a:lnTo>
                    <a:lnTo>
                      <a:pt x="44" y="3"/>
                    </a:lnTo>
                    <a:lnTo>
                      <a:pt x="51" y="1"/>
                    </a:lnTo>
                    <a:lnTo>
                      <a:pt x="58" y="0"/>
                    </a:lnTo>
                    <a:lnTo>
                      <a:pt x="64" y="0"/>
                    </a:lnTo>
                    <a:lnTo>
                      <a:pt x="64" y="0"/>
                    </a:lnTo>
                    <a:lnTo>
                      <a:pt x="70" y="0"/>
                    </a:lnTo>
                    <a:lnTo>
                      <a:pt x="77" y="1"/>
                    </a:lnTo>
                    <a:lnTo>
                      <a:pt x="83" y="3"/>
                    </a:lnTo>
                    <a:lnTo>
                      <a:pt x="88" y="5"/>
                    </a:lnTo>
                    <a:lnTo>
                      <a:pt x="94" y="8"/>
                    </a:lnTo>
                    <a:lnTo>
                      <a:pt x="99" y="11"/>
                    </a:lnTo>
                    <a:lnTo>
                      <a:pt x="108" y="19"/>
                    </a:lnTo>
                    <a:lnTo>
                      <a:pt x="116" y="29"/>
                    </a:lnTo>
                    <a:lnTo>
                      <a:pt x="122" y="40"/>
                    </a:lnTo>
                    <a:lnTo>
                      <a:pt x="124" y="46"/>
                    </a:lnTo>
                    <a:lnTo>
                      <a:pt x="126" y="52"/>
                    </a:lnTo>
                    <a:lnTo>
                      <a:pt x="127" y="58"/>
                    </a:lnTo>
                    <a:lnTo>
                      <a:pt x="127" y="65"/>
                    </a:lnTo>
                    <a:lnTo>
                      <a:pt x="127" y="65"/>
                    </a:lnTo>
                    <a:lnTo>
                      <a:pt x="127" y="71"/>
                    </a:lnTo>
                    <a:lnTo>
                      <a:pt x="126" y="78"/>
                    </a:lnTo>
                    <a:lnTo>
                      <a:pt x="124" y="84"/>
                    </a:lnTo>
                    <a:lnTo>
                      <a:pt x="122" y="90"/>
                    </a:lnTo>
                    <a:lnTo>
                      <a:pt x="116" y="101"/>
                    </a:lnTo>
                    <a:lnTo>
                      <a:pt x="108" y="111"/>
                    </a:lnTo>
                    <a:lnTo>
                      <a:pt x="99" y="119"/>
                    </a:lnTo>
                    <a:lnTo>
                      <a:pt x="94" y="123"/>
                    </a:lnTo>
                    <a:lnTo>
                      <a:pt x="88" y="125"/>
                    </a:lnTo>
                    <a:lnTo>
                      <a:pt x="83" y="128"/>
                    </a:lnTo>
                    <a:lnTo>
                      <a:pt x="77" y="129"/>
                    </a:lnTo>
                    <a:lnTo>
                      <a:pt x="70" y="130"/>
                    </a:lnTo>
                    <a:lnTo>
                      <a:pt x="64" y="130"/>
                    </a:lnTo>
                    <a:lnTo>
                      <a:pt x="64" y="130"/>
                    </a:lnTo>
                    <a:lnTo>
                      <a:pt x="58" y="130"/>
                    </a:lnTo>
                    <a:lnTo>
                      <a:pt x="51" y="129"/>
                    </a:lnTo>
                    <a:lnTo>
                      <a:pt x="44" y="128"/>
                    </a:lnTo>
                    <a:lnTo>
                      <a:pt x="39" y="125"/>
                    </a:lnTo>
                    <a:lnTo>
                      <a:pt x="33" y="123"/>
                    </a:lnTo>
                    <a:lnTo>
                      <a:pt x="28" y="119"/>
                    </a:lnTo>
                    <a:lnTo>
                      <a:pt x="19" y="111"/>
                    </a:lnTo>
                    <a:lnTo>
                      <a:pt x="11" y="101"/>
                    </a:lnTo>
                    <a:lnTo>
                      <a:pt x="5" y="90"/>
                    </a:lnTo>
                    <a:lnTo>
                      <a:pt x="3" y="84"/>
                    </a:lnTo>
                    <a:lnTo>
                      <a:pt x="1" y="78"/>
                    </a:lnTo>
                    <a:lnTo>
                      <a:pt x="0" y="71"/>
                    </a:lnTo>
                    <a:lnTo>
                      <a:pt x="0" y="65"/>
                    </a:ln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931" name="Group 930"/>
            <p:cNvGrpSpPr/>
            <p:nvPr/>
          </p:nvGrpSpPr>
          <p:grpSpPr>
            <a:xfrm>
              <a:off x="6421962" y="2359859"/>
              <a:ext cx="82583" cy="346045"/>
              <a:chOff x="10177955" y="4890608"/>
              <a:chExt cx="75075" cy="346045"/>
            </a:xfrm>
            <a:solidFill>
              <a:schemeClr val="accent6">
                <a:lumMod val="75000"/>
              </a:schemeClr>
            </a:solidFill>
          </p:grpSpPr>
          <p:sp>
            <p:nvSpPr>
              <p:cNvPr id="932" name="Isosceles Triangle 931"/>
              <p:cNvSpPr/>
              <p:nvPr/>
            </p:nvSpPr>
            <p:spPr bwMode="auto">
              <a:xfrm>
                <a:off x="10177955" y="4890608"/>
                <a:ext cx="74721" cy="29350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3" name="Isosceles Triangle 932"/>
              <p:cNvSpPr/>
              <p:nvPr/>
            </p:nvSpPr>
            <p:spPr bwMode="auto">
              <a:xfrm flipV="1">
                <a:off x="10177955" y="5180055"/>
                <a:ext cx="74721" cy="565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4" name="Isosceles Triangle 933"/>
              <p:cNvSpPr/>
              <p:nvPr/>
            </p:nvSpPr>
            <p:spPr bwMode="auto">
              <a:xfrm flipV="1">
                <a:off x="10178309" y="4894370"/>
                <a:ext cx="74721" cy="565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935" name="Rectangle 934"/>
          <p:cNvSpPr/>
          <p:nvPr/>
        </p:nvSpPr>
        <p:spPr>
          <a:xfrm>
            <a:off x="4417739" y="1939892"/>
            <a:ext cx="527709"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8C00"/>
                </a:solidFill>
                <a:effectLst/>
                <a:uLnTx/>
                <a:uFillTx/>
                <a:cs typeface="Arial" charset="0"/>
              </a:rPr>
              <a:t>Onlin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8C00"/>
                </a:solidFill>
                <a:effectLst/>
                <a:uLnTx/>
                <a:uFillTx/>
                <a:cs typeface="Arial" charset="0"/>
              </a:rPr>
              <a:t>Behavior</a:t>
            </a:r>
            <a:endParaRPr kumimoji="0" lang="en-US" sz="700" b="0" i="0" u="none" strike="noStrike" kern="0" cap="none" spc="0" normalizeH="0" baseline="0" noProof="0" dirty="0">
              <a:ln>
                <a:noFill/>
              </a:ln>
              <a:solidFill>
                <a:srgbClr val="FF8C00"/>
              </a:solidFill>
              <a:effectLst/>
              <a:uLnTx/>
              <a:uFillTx/>
            </a:endParaRPr>
          </a:p>
        </p:txBody>
      </p:sp>
      <p:sp>
        <p:nvSpPr>
          <p:cNvPr id="936" name="Rectangle 935"/>
          <p:cNvSpPr/>
          <p:nvPr/>
        </p:nvSpPr>
        <p:spPr>
          <a:xfrm>
            <a:off x="7231897" y="1900147"/>
            <a:ext cx="593431"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8C00"/>
                </a:solidFill>
                <a:effectLst/>
                <a:uLnTx/>
                <a:uFillTx/>
                <a:cs typeface="Arial" charset="0"/>
              </a:rPr>
              <a:t>Shopping </a:t>
            </a:r>
            <a:br>
              <a:rPr kumimoji="0" lang="en-US" sz="700" b="0" i="0" u="none" strike="noStrike" kern="0" cap="none" spc="0" normalizeH="0" baseline="0" noProof="0" dirty="0">
                <a:ln w="3175">
                  <a:noFill/>
                </a:ln>
                <a:solidFill>
                  <a:srgbClr val="FF8C00"/>
                </a:solidFill>
                <a:effectLst/>
                <a:uLnTx/>
                <a:uFillTx/>
                <a:cs typeface="Arial" charset="0"/>
              </a:rPr>
            </a:br>
            <a:r>
              <a:rPr kumimoji="0" lang="en-US" sz="700" b="0" i="0" u="none" strike="noStrike" kern="0" cap="none" spc="0" normalizeH="0" baseline="0" noProof="0" dirty="0">
                <a:ln w="3175">
                  <a:noFill/>
                </a:ln>
                <a:solidFill>
                  <a:srgbClr val="FF8C00"/>
                </a:solidFill>
                <a:effectLst/>
                <a:uLnTx/>
                <a:uFillTx/>
                <a:cs typeface="Arial" charset="0"/>
              </a:rPr>
              <a:t>Route</a:t>
            </a:r>
            <a:endParaRPr kumimoji="0" lang="en-US" sz="700" b="0" i="0" u="none" strike="noStrike" kern="0" cap="none" spc="0" normalizeH="0" baseline="0" noProof="0" dirty="0">
              <a:ln>
                <a:noFill/>
              </a:ln>
              <a:solidFill>
                <a:srgbClr val="FF8C00"/>
              </a:solidFill>
              <a:effectLst/>
              <a:uLnTx/>
              <a:uFillTx/>
            </a:endParaRPr>
          </a:p>
        </p:txBody>
      </p:sp>
      <p:grpSp>
        <p:nvGrpSpPr>
          <p:cNvPr id="939" name="Group 938"/>
          <p:cNvGrpSpPr/>
          <p:nvPr/>
        </p:nvGrpSpPr>
        <p:grpSpPr>
          <a:xfrm>
            <a:off x="11115218" y="3177217"/>
            <a:ext cx="648398" cy="571855"/>
            <a:chOff x="11113630" y="3177216"/>
            <a:chExt cx="648398" cy="571855"/>
          </a:xfrm>
          <a:solidFill>
            <a:schemeClr val="accent2">
              <a:lumMod val="75000"/>
            </a:schemeClr>
          </a:solidFill>
        </p:grpSpPr>
        <p:sp>
          <p:nvSpPr>
            <p:cNvPr id="940" name="Freeform 426"/>
            <p:cNvSpPr>
              <a:spLocks/>
            </p:cNvSpPr>
            <p:nvPr/>
          </p:nvSpPr>
          <p:spPr bwMode="auto">
            <a:xfrm>
              <a:off x="11366903" y="3177216"/>
              <a:ext cx="395125" cy="550865"/>
            </a:xfrm>
            <a:custGeom>
              <a:avLst/>
              <a:gdLst/>
              <a:ahLst/>
              <a:cxnLst/>
              <a:rect l="l" t="t" r="r" b="b"/>
              <a:pathLst>
                <a:path w="395125" h="550865">
                  <a:moveTo>
                    <a:pt x="261687" y="0"/>
                  </a:moveTo>
                  <a:lnTo>
                    <a:pt x="271199" y="0"/>
                  </a:lnTo>
                  <a:lnTo>
                    <a:pt x="280711" y="0"/>
                  </a:lnTo>
                  <a:lnTo>
                    <a:pt x="290042" y="272"/>
                  </a:lnTo>
                  <a:lnTo>
                    <a:pt x="299463" y="725"/>
                  </a:lnTo>
                  <a:lnTo>
                    <a:pt x="308793" y="1178"/>
                  </a:lnTo>
                  <a:lnTo>
                    <a:pt x="318034" y="1993"/>
                  </a:lnTo>
                  <a:lnTo>
                    <a:pt x="327183" y="2808"/>
                  </a:lnTo>
                  <a:lnTo>
                    <a:pt x="336242" y="3804"/>
                  </a:lnTo>
                  <a:lnTo>
                    <a:pt x="345210" y="4982"/>
                  </a:lnTo>
                  <a:lnTo>
                    <a:pt x="353998" y="6250"/>
                  </a:lnTo>
                  <a:lnTo>
                    <a:pt x="362603" y="7699"/>
                  </a:lnTo>
                  <a:lnTo>
                    <a:pt x="371028" y="9420"/>
                  </a:lnTo>
                  <a:lnTo>
                    <a:pt x="379362" y="11050"/>
                  </a:lnTo>
                  <a:lnTo>
                    <a:pt x="387334" y="13043"/>
                  </a:lnTo>
                  <a:lnTo>
                    <a:pt x="395125" y="15126"/>
                  </a:lnTo>
                  <a:lnTo>
                    <a:pt x="394763" y="25179"/>
                  </a:lnTo>
                  <a:lnTo>
                    <a:pt x="394219" y="35324"/>
                  </a:lnTo>
                  <a:lnTo>
                    <a:pt x="393313" y="45377"/>
                  </a:lnTo>
                  <a:lnTo>
                    <a:pt x="392498" y="55431"/>
                  </a:lnTo>
                  <a:lnTo>
                    <a:pt x="391501" y="65484"/>
                  </a:lnTo>
                  <a:lnTo>
                    <a:pt x="390324" y="75357"/>
                  </a:lnTo>
                  <a:lnTo>
                    <a:pt x="389056" y="85320"/>
                  </a:lnTo>
                  <a:lnTo>
                    <a:pt x="387697" y="95374"/>
                  </a:lnTo>
                  <a:lnTo>
                    <a:pt x="386247" y="105246"/>
                  </a:lnTo>
                  <a:lnTo>
                    <a:pt x="384798" y="115028"/>
                  </a:lnTo>
                  <a:lnTo>
                    <a:pt x="381627" y="134954"/>
                  </a:lnTo>
                  <a:lnTo>
                    <a:pt x="375105" y="174625"/>
                  </a:lnTo>
                  <a:lnTo>
                    <a:pt x="371753" y="194551"/>
                  </a:lnTo>
                  <a:lnTo>
                    <a:pt x="368582" y="214658"/>
                  </a:lnTo>
                  <a:lnTo>
                    <a:pt x="367042" y="224802"/>
                  </a:lnTo>
                  <a:lnTo>
                    <a:pt x="365684" y="235037"/>
                  </a:lnTo>
                  <a:lnTo>
                    <a:pt x="364325" y="245272"/>
                  </a:lnTo>
                  <a:lnTo>
                    <a:pt x="362966" y="255507"/>
                  </a:lnTo>
                  <a:lnTo>
                    <a:pt x="361879" y="265832"/>
                  </a:lnTo>
                  <a:lnTo>
                    <a:pt x="360792" y="276157"/>
                  </a:lnTo>
                  <a:lnTo>
                    <a:pt x="359976" y="286664"/>
                  </a:lnTo>
                  <a:lnTo>
                    <a:pt x="359252" y="297261"/>
                  </a:lnTo>
                  <a:lnTo>
                    <a:pt x="358618" y="307858"/>
                  </a:lnTo>
                  <a:lnTo>
                    <a:pt x="358165" y="318545"/>
                  </a:lnTo>
                  <a:lnTo>
                    <a:pt x="357802" y="329414"/>
                  </a:lnTo>
                  <a:lnTo>
                    <a:pt x="357802" y="340373"/>
                  </a:lnTo>
                  <a:lnTo>
                    <a:pt x="357893" y="351514"/>
                  </a:lnTo>
                  <a:lnTo>
                    <a:pt x="358255" y="362836"/>
                  </a:lnTo>
                  <a:lnTo>
                    <a:pt x="358708" y="374429"/>
                  </a:lnTo>
                  <a:lnTo>
                    <a:pt x="359433" y="386113"/>
                  </a:lnTo>
                  <a:lnTo>
                    <a:pt x="360792" y="409752"/>
                  </a:lnTo>
                  <a:lnTo>
                    <a:pt x="361335" y="421436"/>
                  </a:lnTo>
                  <a:lnTo>
                    <a:pt x="361788" y="433120"/>
                  </a:lnTo>
                  <a:lnTo>
                    <a:pt x="361879" y="444714"/>
                  </a:lnTo>
                  <a:lnTo>
                    <a:pt x="361879" y="450510"/>
                  </a:lnTo>
                  <a:lnTo>
                    <a:pt x="361788" y="456126"/>
                  </a:lnTo>
                  <a:lnTo>
                    <a:pt x="361516" y="461832"/>
                  </a:lnTo>
                  <a:lnTo>
                    <a:pt x="361335" y="467447"/>
                  </a:lnTo>
                  <a:lnTo>
                    <a:pt x="360792" y="472972"/>
                  </a:lnTo>
                  <a:lnTo>
                    <a:pt x="360339" y="478407"/>
                  </a:lnTo>
                  <a:lnTo>
                    <a:pt x="359705" y="483751"/>
                  </a:lnTo>
                  <a:lnTo>
                    <a:pt x="358889" y="489094"/>
                  </a:lnTo>
                  <a:lnTo>
                    <a:pt x="357983" y="494348"/>
                  </a:lnTo>
                  <a:lnTo>
                    <a:pt x="356896" y="499510"/>
                  </a:lnTo>
                  <a:lnTo>
                    <a:pt x="355719" y="504582"/>
                  </a:lnTo>
                  <a:lnTo>
                    <a:pt x="354269" y="509473"/>
                  </a:lnTo>
                  <a:lnTo>
                    <a:pt x="352639" y="514364"/>
                  </a:lnTo>
                  <a:lnTo>
                    <a:pt x="350917" y="519074"/>
                  </a:lnTo>
                  <a:lnTo>
                    <a:pt x="340953" y="519346"/>
                  </a:lnTo>
                  <a:lnTo>
                    <a:pt x="331078" y="519436"/>
                  </a:lnTo>
                  <a:lnTo>
                    <a:pt x="321385" y="519436"/>
                  </a:lnTo>
                  <a:lnTo>
                    <a:pt x="311602" y="519436"/>
                  </a:lnTo>
                  <a:lnTo>
                    <a:pt x="292578" y="519074"/>
                  </a:lnTo>
                  <a:lnTo>
                    <a:pt x="273826" y="518712"/>
                  </a:lnTo>
                  <a:lnTo>
                    <a:pt x="264586" y="518712"/>
                  </a:lnTo>
                  <a:lnTo>
                    <a:pt x="255436" y="518712"/>
                  </a:lnTo>
                  <a:lnTo>
                    <a:pt x="246196" y="518802"/>
                  </a:lnTo>
                  <a:lnTo>
                    <a:pt x="237228" y="519074"/>
                  </a:lnTo>
                  <a:lnTo>
                    <a:pt x="228078" y="519617"/>
                  </a:lnTo>
                  <a:lnTo>
                    <a:pt x="219020" y="520342"/>
                  </a:lnTo>
                  <a:lnTo>
                    <a:pt x="210051" y="521248"/>
                  </a:lnTo>
                  <a:lnTo>
                    <a:pt x="205522" y="521882"/>
                  </a:lnTo>
                  <a:lnTo>
                    <a:pt x="200992" y="522516"/>
                  </a:lnTo>
                  <a:lnTo>
                    <a:pt x="192749" y="523874"/>
                  </a:lnTo>
                  <a:lnTo>
                    <a:pt x="184414" y="525505"/>
                  </a:lnTo>
                  <a:lnTo>
                    <a:pt x="176261" y="527226"/>
                  </a:lnTo>
                  <a:lnTo>
                    <a:pt x="168290" y="529218"/>
                  </a:lnTo>
                  <a:lnTo>
                    <a:pt x="160227" y="531120"/>
                  </a:lnTo>
                  <a:lnTo>
                    <a:pt x="152255" y="533294"/>
                  </a:lnTo>
                  <a:lnTo>
                    <a:pt x="136583" y="537460"/>
                  </a:lnTo>
                  <a:lnTo>
                    <a:pt x="128883" y="539544"/>
                  </a:lnTo>
                  <a:lnTo>
                    <a:pt x="121093" y="541446"/>
                  </a:lnTo>
                  <a:lnTo>
                    <a:pt x="113483" y="543438"/>
                  </a:lnTo>
                  <a:lnTo>
                    <a:pt x="105783" y="545159"/>
                  </a:lnTo>
                  <a:lnTo>
                    <a:pt x="97992" y="546608"/>
                  </a:lnTo>
                  <a:lnTo>
                    <a:pt x="90383" y="547967"/>
                  </a:lnTo>
                  <a:lnTo>
                    <a:pt x="82773" y="548873"/>
                  </a:lnTo>
                  <a:lnTo>
                    <a:pt x="78878" y="549416"/>
                  </a:lnTo>
                  <a:lnTo>
                    <a:pt x="75073" y="549778"/>
                  </a:lnTo>
                  <a:lnTo>
                    <a:pt x="68370" y="550141"/>
                  </a:lnTo>
                  <a:lnTo>
                    <a:pt x="61757" y="550503"/>
                  </a:lnTo>
                  <a:lnTo>
                    <a:pt x="55234" y="550775"/>
                  </a:lnTo>
                  <a:lnTo>
                    <a:pt x="48802" y="550865"/>
                  </a:lnTo>
                  <a:lnTo>
                    <a:pt x="42280" y="550865"/>
                  </a:lnTo>
                  <a:lnTo>
                    <a:pt x="35939" y="550775"/>
                  </a:lnTo>
                  <a:lnTo>
                    <a:pt x="29779" y="550593"/>
                  </a:lnTo>
                  <a:lnTo>
                    <a:pt x="23528" y="550231"/>
                  </a:lnTo>
                  <a:lnTo>
                    <a:pt x="17368" y="549869"/>
                  </a:lnTo>
                  <a:lnTo>
                    <a:pt x="11208" y="549416"/>
                  </a:lnTo>
                  <a:lnTo>
                    <a:pt x="5417" y="548792"/>
                  </a:lnTo>
                  <a:lnTo>
                    <a:pt x="0" y="518166"/>
                  </a:lnTo>
                  <a:cubicBezTo>
                    <a:pt x="0" y="492928"/>
                    <a:pt x="10163" y="469930"/>
                    <a:pt x="27644" y="453622"/>
                  </a:cubicBezTo>
                  <a:lnTo>
                    <a:pt x="31319" y="452141"/>
                  </a:lnTo>
                  <a:lnTo>
                    <a:pt x="36935" y="449695"/>
                  </a:lnTo>
                  <a:lnTo>
                    <a:pt x="42280" y="446978"/>
                  </a:lnTo>
                  <a:lnTo>
                    <a:pt x="47625" y="444080"/>
                  </a:lnTo>
                  <a:lnTo>
                    <a:pt x="52879" y="441000"/>
                  </a:lnTo>
                  <a:lnTo>
                    <a:pt x="58042" y="437739"/>
                  </a:lnTo>
                  <a:lnTo>
                    <a:pt x="62934" y="434479"/>
                  </a:lnTo>
                  <a:lnTo>
                    <a:pt x="67736" y="430947"/>
                  </a:lnTo>
                  <a:lnTo>
                    <a:pt x="72265" y="427414"/>
                  </a:lnTo>
                  <a:lnTo>
                    <a:pt x="72710" y="427049"/>
                  </a:lnTo>
                  <a:lnTo>
                    <a:pt x="75148" y="426045"/>
                  </a:lnTo>
                  <a:lnTo>
                    <a:pt x="75148" y="425050"/>
                  </a:lnTo>
                  <a:lnTo>
                    <a:pt x="76794" y="423701"/>
                  </a:lnTo>
                  <a:lnTo>
                    <a:pt x="80962" y="420078"/>
                  </a:lnTo>
                  <a:lnTo>
                    <a:pt x="85038" y="416093"/>
                  </a:lnTo>
                  <a:lnTo>
                    <a:pt x="89296" y="411926"/>
                  </a:lnTo>
                  <a:lnTo>
                    <a:pt x="93553" y="407669"/>
                  </a:lnTo>
                  <a:lnTo>
                    <a:pt x="97721" y="403141"/>
                  </a:lnTo>
                  <a:lnTo>
                    <a:pt x="101706" y="398431"/>
                  </a:lnTo>
                  <a:lnTo>
                    <a:pt x="105783" y="393540"/>
                  </a:lnTo>
                  <a:lnTo>
                    <a:pt x="109497" y="388649"/>
                  </a:lnTo>
                  <a:lnTo>
                    <a:pt x="113211" y="383577"/>
                  </a:lnTo>
                  <a:lnTo>
                    <a:pt x="116744" y="378414"/>
                  </a:lnTo>
                  <a:lnTo>
                    <a:pt x="119915" y="373251"/>
                  </a:lnTo>
                  <a:lnTo>
                    <a:pt x="122814" y="368089"/>
                  </a:lnTo>
                  <a:lnTo>
                    <a:pt x="124173" y="365462"/>
                  </a:lnTo>
                  <a:lnTo>
                    <a:pt x="125531" y="362745"/>
                  </a:lnTo>
                  <a:lnTo>
                    <a:pt x="126619" y="360209"/>
                  </a:lnTo>
                  <a:lnTo>
                    <a:pt x="127706" y="357492"/>
                  </a:lnTo>
                  <a:lnTo>
                    <a:pt x="128793" y="354956"/>
                  </a:lnTo>
                  <a:lnTo>
                    <a:pt x="129608" y="352239"/>
                  </a:lnTo>
                  <a:lnTo>
                    <a:pt x="130514" y="349703"/>
                  </a:lnTo>
                  <a:lnTo>
                    <a:pt x="131239" y="347166"/>
                  </a:lnTo>
                  <a:lnTo>
                    <a:pt x="132326" y="342547"/>
                  </a:lnTo>
                  <a:lnTo>
                    <a:pt x="133050" y="337747"/>
                  </a:lnTo>
                  <a:lnTo>
                    <a:pt x="133684" y="333037"/>
                  </a:lnTo>
                  <a:lnTo>
                    <a:pt x="134137" y="328146"/>
                  </a:lnTo>
                  <a:lnTo>
                    <a:pt x="134409" y="323165"/>
                  </a:lnTo>
                  <a:lnTo>
                    <a:pt x="134500" y="318093"/>
                  </a:lnTo>
                  <a:lnTo>
                    <a:pt x="134500" y="312930"/>
                  </a:lnTo>
                  <a:lnTo>
                    <a:pt x="134409" y="307858"/>
                  </a:lnTo>
                  <a:lnTo>
                    <a:pt x="134047" y="297351"/>
                  </a:lnTo>
                  <a:lnTo>
                    <a:pt x="133503" y="286754"/>
                  </a:lnTo>
                  <a:lnTo>
                    <a:pt x="133050" y="276067"/>
                  </a:lnTo>
                  <a:lnTo>
                    <a:pt x="132960" y="270723"/>
                  </a:lnTo>
                  <a:lnTo>
                    <a:pt x="132960" y="265288"/>
                  </a:lnTo>
                  <a:lnTo>
                    <a:pt x="132779" y="249710"/>
                  </a:lnTo>
                  <a:lnTo>
                    <a:pt x="132416" y="234312"/>
                  </a:lnTo>
                  <a:lnTo>
                    <a:pt x="131692" y="218915"/>
                  </a:lnTo>
                  <a:lnTo>
                    <a:pt x="130967" y="203699"/>
                  </a:lnTo>
                  <a:lnTo>
                    <a:pt x="129880" y="188573"/>
                  </a:lnTo>
                  <a:lnTo>
                    <a:pt x="128793" y="173538"/>
                  </a:lnTo>
                  <a:lnTo>
                    <a:pt x="127524" y="158412"/>
                  </a:lnTo>
                  <a:lnTo>
                    <a:pt x="126256" y="143468"/>
                  </a:lnTo>
                  <a:lnTo>
                    <a:pt x="123267" y="113579"/>
                  </a:lnTo>
                  <a:lnTo>
                    <a:pt x="120549" y="83780"/>
                  </a:lnTo>
                  <a:lnTo>
                    <a:pt x="119190" y="68836"/>
                  </a:lnTo>
                  <a:lnTo>
                    <a:pt x="117922" y="53800"/>
                  </a:lnTo>
                  <a:lnTo>
                    <a:pt x="116835" y="38765"/>
                  </a:lnTo>
                  <a:lnTo>
                    <a:pt x="115838" y="23640"/>
                  </a:lnTo>
                  <a:lnTo>
                    <a:pt x="122904" y="21104"/>
                  </a:lnTo>
                  <a:lnTo>
                    <a:pt x="130242" y="18658"/>
                  </a:lnTo>
                  <a:lnTo>
                    <a:pt x="137761" y="16303"/>
                  </a:lnTo>
                  <a:lnTo>
                    <a:pt x="145552" y="14220"/>
                  </a:lnTo>
                  <a:lnTo>
                    <a:pt x="153614" y="12318"/>
                  </a:lnTo>
                  <a:lnTo>
                    <a:pt x="161948" y="10507"/>
                  </a:lnTo>
                  <a:lnTo>
                    <a:pt x="170283" y="8786"/>
                  </a:lnTo>
                  <a:lnTo>
                    <a:pt x="178979" y="7155"/>
                  </a:lnTo>
                  <a:lnTo>
                    <a:pt x="187766" y="5887"/>
                  </a:lnTo>
                  <a:lnTo>
                    <a:pt x="196644" y="4619"/>
                  </a:lnTo>
                  <a:lnTo>
                    <a:pt x="205794" y="3532"/>
                  </a:lnTo>
                  <a:lnTo>
                    <a:pt x="214943" y="2536"/>
                  </a:lnTo>
                  <a:lnTo>
                    <a:pt x="224183" y="1721"/>
                  </a:lnTo>
                  <a:lnTo>
                    <a:pt x="233423" y="1087"/>
                  </a:lnTo>
                  <a:lnTo>
                    <a:pt x="242754" y="634"/>
                  </a:lnTo>
                  <a:lnTo>
                    <a:pt x="252266" y="272"/>
                  </a:lnTo>
                  <a:close/>
                </a:path>
              </a:pathLst>
            </a:custGeom>
            <a:grpFill/>
            <a:ln w="19050">
              <a:solidFill>
                <a:schemeClr val="accent2">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1" name="Freeform 427"/>
            <p:cNvSpPr>
              <a:spLocks/>
            </p:cNvSpPr>
            <p:nvPr/>
          </p:nvSpPr>
          <p:spPr bwMode="auto">
            <a:xfrm>
              <a:off x="11370971" y="3685641"/>
              <a:ext cx="343598" cy="57423"/>
            </a:xfrm>
            <a:custGeom>
              <a:avLst/>
              <a:gdLst/>
              <a:ahLst/>
              <a:cxnLst/>
              <a:rect l="l" t="t" r="r" b="b"/>
              <a:pathLst>
                <a:path w="343598" h="57423">
                  <a:moveTo>
                    <a:pt x="293411" y="0"/>
                  </a:moveTo>
                  <a:lnTo>
                    <a:pt x="303013" y="91"/>
                  </a:lnTo>
                  <a:lnTo>
                    <a:pt x="312888" y="362"/>
                  </a:lnTo>
                  <a:lnTo>
                    <a:pt x="322853" y="995"/>
                  </a:lnTo>
                  <a:lnTo>
                    <a:pt x="333089" y="1809"/>
                  </a:lnTo>
                  <a:lnTo>
                    <a:pt x="343507" y="3075"/>
                  </a:lnTo>
                  <a:lnTo>
                    <a:pt x="343326" y="8681"/>
                  </a:lnTo>
                  <a:lnTo>
                    <a:pt x="343326" y="14378"/>
                  </a:lnTo>
                  <a:lnTo>
                    <a:pt x="343598" y="26134"/>
                  </a:lnTo>
                  <a:lnTo>
                    <a:pt x="343598" y="31831"/>
                  </a:lnTo>
                  <a:lnTo>
                    <a:pt x="343507" y="34635"/>
                  </a:lnTo>
                  <a:lnTo>
                    <a:pt x="343326" y="37348"/>
                  </a:lnTo>
                  <a:lnTo>
                    <a:pt x="343145" y="39970"/>
                  </a:lnTo>
                  <a:lnTo>
                    <a:pt x="342783" y="42593"/>
                  </a:lnTo>
                  <a:lnTo>
                    <a:pt x="342420" y="45034"/>
                  </a:lnTo>
                  <a:lnTo>
                    <a:pt x="341786" y="47205"/>
                  </a:lnTo>
                  <a:lnTo>
                    <a:pt x="339431" y="46843"/>
                  </a:lnTo>
                  <a:lnTo>
                    <a:pt x="336985" y="46572"/>
                  </a:lnTo>
                  <a:lnTo>
                    <a:pt x="334267" y="46300"/>
                  </a:lnTo>
                  <a:lnTo>
                    <a:pt x="331187" y="46300"/>
                  </a:lnTo>
                  <a:lnTo>
                    <a:pt x="327926" y="46300"/>
                  </a:lnTo>
                  <a:lnTo>
                    <a:pt x="324483" y="46481"/>
                  </a:lnTo>
                  <a:lnTo>
                    <a:pt x="316964" y="46843"/>
                  </a:lnTo>
                  <a:lnTo>
                    <a:pt x="308902" y="47385"/>
                  </a:lnTo>
                  <a:lnTo>
                    <a:pt x="300386" y="48290"/>
                  </a:lnTo>
                  <a:lnTo>
                    <a:pt x="282358" y="50008"/>
                  </a:lnTo>
                  <a:lnTo>
                    <a:pt x="273209" y="50822"/>
                  </a:lnTo>
                  <a:lnTo>
                    <a:pt x="264331" y="51545"/>
                  </a:lnTo>
                  <a:lnTo>
                    <a:pt x="255544" y="51907"/>
                  </a:lnTo>
                  <a:lnTo>
                    <a:pt x="251286" y="52178"/>
                  </a:lnTo>
                  <a:lnTo>
                    <a:pt x="247300" y="52178"/>
                  </a:lnTo>
                  <a:lnTo>
                    <a:pt x="243223" y="52178"/>
                  </a:lnTo>
                  <a:lnTo>
                    <a:pt x="239418" y="51997"/>
                  </a:lnTo>
                  <a:lnTo>
                    <a:pt x="235795" y="51816"/>
                  </a:lnTo>
                  <a:lnTo>
                    <a:pt x="232443" y="51545"/>
                  </a:lnTo>
                  <a:lnTo>
                    <a:pt x="229091" y="51093"/>
                  </a:lnTo>
                  <a:lnTo>
                    <a:pt x="226101" y="50460"/>
                  </a:lnTo>
                  <a:lnTo>
                    <a:pt x="223384" y="49737"/>
                  </a:lnTo>
                  <a:lnTo>
                    <a:pt x="220847" y="48923"/>
                  </a:lnTo>
                  <a:lnTo>
                    <a:pt x="219126" y="48018"/>
                  </a:lnTo>
                  <a:lnTo>
                    <a:pt x="217676" y="47024"/>
                  </a:lnTo>
                  <a:lnTo>
                    <a:pt x="216408" y="45939"/>
                  </a:lnTo>
                  <a:lnTo>
                    <a:pt x="215502" y="44853"/>
                  </a:lnTo>
                  <a:lnTo>
                    <a:pt x="214778" y="43497"/>
                  </a:lnTo>
                  <a:lnTo>
                    <a:pt x="214143" y="42321"/>
                  </a:lnTo>
                  <a:lnTo>
                    <a:pt x="213509" y="40874"/>
                  </a:lnTo>
                  <a:lnTo>
                    <a:pt x="213147" y="39518"/>
                  </a:lnTo>
                  <a:lnTo>
                    <a:pt x="212332" y="36805"/>
                  </a:lnTo>
                  <a:lnTo>
                    <a:pt x="211788" y="35539"/>
                  </a:lnTo>
                  <a:lnTo>
                    <a:pt x="211244" y="34273"/>
                  </a:lnTo>
                  <a:lnTo>
                    <a:pt x="210429" y="33097"/>
                  </a:lnTo>
                  <a:lnTo>
                    <a:pt x="209614" y="32012"/>
                  </a:lnTo>
                  <a:lnTo>
                    <a:pt x="208527" y="31018"/>
                  </a:lnTo>
                  <a:lnTo>
                    <a:pt x="207168" y="30294"/>
                  </a:lnTo>
                  <a:lnTo>
                    <a:pt x="204269" y="30656"/>
                  </a:lnTo>
                  <a:lnTo>
                    <a:pt x="201098" y="30927"/>
                  </a:lnTo>
                  <a:lnTo>
                    <a:pt x="197837" y="31018"/>
                  </a:lnTo>
                  <a:lnTo>
                    <a:pt x="194395" y="30927"/>
                  </a:lnTo>
                  <a:lnTo>
                    <a:pt x="190862" y="30746"/>
                  </a:lnTo>
                  <a:lnTo>
                    <a:pt x="187328" y="30565"/>
                  </a:lnTo>
                  <a:lnTo>
                    <a:pt x="179991" y="29932"/>
                  </a:lnTo>
                  <a:lnTo>
                    <a:pt x="172562" y="29299"/>
                  </a:lnTo>
                  <a:lnTo>
                    <a:pt x="168848" y="29209"/>
                  </a:lnTo>
                  <a:lnTo>
                    <a:pt x="165134" y="29028"/>
                  </a:lnTo>
                  <a:lnTo>
                    <a:pt x="161510" y="29028"/>
                  </a:lnTo>
                  <a:lnTo>
                    <a:pt x="157977" y="29299"/>
                  </a:lnTo>
                  <a:lnTo>
                    <a:pt x="154444" y="29661"/>
                  </a:lnTo>
                  <a:lnTo>
                    <a:pt x="151001" y="30294"/>
                  </a:lnTo>
                  <a:lnTo>
                    <a:pt x="149099" y="30746"/>
                  </a:lnTo>
                  <a:lnTo>
                    <a:pt x="147106" y="31470"/>
                  </a:lnTo>
                  <a:lnTo>
                    <a:pt x="145294" y="32464"/>
                  </a:lnTo>
                  <a:lnTo>
                    <a:pt x="143482" y="33459"/>
                  </a:lnTo>
                  <a:lnTo>
                    <a:pt x="141671" y="34816"/>
                  </a:lnTo>
                  <a:lnTo>
                    <a:pt x="139859" y="35991"/>
                  </a:lnTo>
                  <a:lnTo>
                    <a:pt x="136326" y="38885"/>
                  </a:lnTo>
                  <a:lnTo>
                    <a:pt x="132793" y="41869"/>
                  </a:lnTo>
                  <a:lnTo>
                    <a:pt x="129260" y="44582"/>
                  </a:lnTo>
                  <a:lnTo>
                    <a:pt x="127538" y="45939"/>
                  </a:lnTo>
                  <a:lnTo>
                    <a:pt x="125727" y="47024"/>
                  </a:lnTo>
                  <a:lnTo>
                    <a:pt x="123915" y="48109"/>
                  </a:lnTo>
                  <a:lnTo>
                    <a:pt x="122012" y="48923"/>
                  </a:lnTo>
                  <a:lnTo>
                    <a:pt x="117664" y="50460"/>
                  </a:lnTo>
                  <a:lnTo>
                    <a:pt x="112953" y="51907"/>
                  </a:lnTo>
                  <a:lnTo>
                    <a:pt x="108152" y="52992"/>
                  </a:lnTo>
                  <a:lnTo>
                    <a:pt x="103079" y="54077"/>
                  </a:lnTo>
                  <a:lnTo>
                    <a:pt x="97915" y="54801"/>
                  </a:lnTo>
                  <a:lnTo>
                    <a:pt x="92570" y="55524"/>
                  </a:lnTo>
                  <a:lnTo>
                    <a:pt x="87225" y="56157"/>
                  </a:lnTo>
                  <a:lnTo>
                    <a:pt x="81880" y="56519"/>
                  </a:lnTo>
                  <a:lnTo>
                    <a:pt x="76354" y="56881"/>
                  </a:lnTo>
                  <a:lnTo>
                    <a:pt x="71010" y="57152"/>
                  </a:lnTo>
                  <a:lnTo>
                    <a:pt x="60320" y="57423"/>
                  </a:lnTo>
                  <a:lnTo>
                    <a:pt x="49902" y="57423"/>
                  </a:lnTo>
                  <a:lnTo>
                    <a:pt x="40299" y="57423"/>
                  </a:lnTo>
                  <a:lnTo>
                    <a:pt x="35226" y="57423"/>
                  </a:lnTo>
                  <a:lnTo>
                    <a:pt x="30062" y="57242"/>
                  </a:lnTo>
                  <a:lnTo>
                    <a:pt x="24989" y="57061"/>
                  </a:lnTo>
                  <a:lnTo>
                    <a:pt x="20007" y="56790"/>
                  </a:lnTo>
                  <a:lnTo>
                    <a:pt x="14843" y="56428"/>
                  </a:lnTo>
                  <a:lnTo>
                    <a:pt x="9868" y="55977"/>
                  </a:lnTo>
                  <a:cubicBezTo>
                    <a:pt x="4412" y="49323"/>
                    <a:pt x="1081" y="41392"/>
                    <a:pt x="0" y="32737"/>
                  </a:cubicBezTo>
                  <a:lnTo>
                    <a:pt x="1798" y="32917"/>
                  </a:lnTo>
                  <a:lnTo>
                    <a:pt x="7324" y="33459"/>
                  </a:lnTo>
                  <a:lnTo>
                    <a:pt x="12941" y="33911"/>
                  </a:lnTo>
                  <a:lnTo>
                    <a:pt x="18376" y="34273"/>
                  </a:lnTo>
                  <a:lnTo>
                    <a:pt x="23993" y="34544"/>
                  </a:lnTo>
                  <a:lnTo>
                    <a:pt x="29609" y="34635"/>
                  </a:lnTo>
                  <a:lnTo>
                    <a:pt x="35317" y="34816"/>
                  </a:lnTo>
                  <a:lnTo>
                    <a:pt x="41024" y="34635"/>
                  </a:lnTo>
                  <a:lnTo>
                    <a:pt x="46731" y="34544"/>
                  </a:lnTo>
                  <a:lnTo>
                    <a:pt x="52529" y="34454"/>
                  </a:lnTo>
                  <a:lnTo>
                    <a:pt x="58327" y="34092"/>
                  </a:lnTo>
                  <a:lnTo>
                    <a:pt x="64215" y="33550"/>
                  </a:lnTo>
                  <a:lnTo>
                    <a:pt x="72550" y="32826"/>
                  </a:lnTo>
                  <a:lnTo>
                    <a:pt x="81156" y="32012"/>
                  </a:lnTo>
                  <a:lnTo>
                    <a:pt x="89400" y="30927"/>
                  </a:lnTo>
                  <a:lnTo>
                    <a:pt x="97643" y="29661"/>
                  </a:lnTo>
                  <a:lnTo>
                    <a:pt x="105978" y="28305"/>
                  </a:lnTo>
                  <a:lnTo>
                    <a:pt x="114131" y="26858"/>
                  </a:lnTo>
                  <a:lnTo>
                    <a:pt x="122375" y="25411"/>
                  </a:lnTo>
                  <a:lnTo>
                    <a:pt x="130528" y="23874"/>
                  </a:lnTo>
                  <a:lnTo>
                    <a:pt x="146744" y="20528"/>
                  </a:lnTo>
                  <a:lnTo>
                    <a:pt x="163050" y="17182"/>
                  </a:lnTo>
                  <a:lnTo>
                    <a:pt x="179447" y="13745"/>
                  </a:lnTo>
                  <a:lnTo>
                    <a:pt x="195935" y="10490"/>
                  </a:lnTo>
                  <a:lnTo>
                    <a:pt x="204360" y="8862"/>
                  </a:lnTo>
                  <a:lnTo>
                    <a:pt x="212785" y="7415"/>
                  </a:lnTo>
                  <a:lnTo>
                    <a:pt x="221300" y="6059"/>
                  </a:lnTo>
                  <a:lnTo>
                    <a:pt x="229997" y="4793"/>
                  </a:lnTo>
                  <a:lnTo>
                    <a:pt x="238603" y="3527"/>
                  </a:lnTo>
                  <a:lnTo>
                    <a:pt x="247481" y="2532"/>
                  </a:lnTo>
                  <a:lnTo>
                    <a:pt x="256359" y="1718"/>
                  </a:lnTo>
                  <a:lnTo>
                    <a:pt x="265418" y="995"/>
                  </a:lnTo>
                  <a:lnTo>
                    <a:pt x="274658" y="452"/>
                  </a:lnTo>
                  <a:lnTo>
                    <a:pt x="283898" y="91"/>
                  </a:lnTo>
                  <a:close/>
                </a:path>
              </a:pathLst>
            </a:custGeom>
            <a:grpFill/>
            <a:ln w="19050">
              <a:solidFill>
                <a:schemeClr val="accent2">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2" name="Freeform 426"/>
            <p:cNvSpPr>
              <a:spLocks/>
            </p:cNvSpPr>
            <p:nvPr/>
          </p:nvSpPr>
          <p:spPr bwMode="auto">
            <a:xfrm>
              <a:off x="11113630" y="3183223"/>
              <a:ext cx="395125" cy="550865"/>
            </a:xfrm>
            <a:custGeom>
              <a:avLst/>
              <a:gdLst/>
              <a:ahLst/>
              <a:cxnLst/>
              <a:rect l="l" t="t" r="r" b="b"/>
              <a:pathLst>
                <a:path w="395125" h="550865">
                  <a:moveTo>
                    <a:pt x="261687" y="0"/>
                  </a:moveTo>
                  <a:lnTo>
                    <a:pt x="271199" y="0"/>
                  </a:lnTo>
                  <a:lnTo>
                    <a:pt x="280711" y="0"/>
                  </a:lnTo>
                  <a:lnTo>
                    <a:pt x="290042" y="272"/>
                  </a:lnTo>
                  <a:lnTo>
                    <a:pt x="299463" y="725"/>
                  </a:lnTo>
                  <a:lnTo>
                    <a:pt x="308793" y="1178"/>
                  </a:lnTo>
                  <a:lnTo>
                    <a:pt x="318034" y="1993"/>
                  </a:lnTo>
                  <a:lnTo>
                    <a:pt x="327183" y="2808"/>
                  </a:lnTo>
                  <a:lnTo>
                    <a:pt x="336242" y="3804"/>
                  </a:lnTo>
                  <a:lnTo>
                    <a:pt x="345210" y="4982"/>
                  </a:lnTo>
                  <a:lnTo>
                    <a:pt x="353998" y="6250"/>
                  </a:lnTo>
                  <a:lnTo>
                    <a:pt x="362603" y="7699"/>
                  </a:lnTo>
                  <a:lnTo>
                    <a:pt x="371028" y="9420"/>
                  </a:lnTo>
                  <a:lnTo>
                    <a:pt x="379362" y="11050"/>
                  </a:lnTo>
                  <a:lnTo>
                    <a:pt x="387334" y="13043"/>
                  </a:lnTo>
                  <a:lnTo>
                    <a:pt x="395125" y="15126"/>
                  </a:lnTo>
                  <a:lnTo>
                    <a:pt x="394763" y="25179"/>
                  </a:lnTo>
                  <a:lnTo>
                    <a:pt x="394219" y="35324"/>
                  </a:lnTo>
                  <a:lnTo>
                    <a:pt x="393313" y="45377"/>
                  </a:lnTo>
                  <a:lnTo>
                    <a:pt x="392498" y="55431"/>
                  </a:lnTo>
                  <a:lnTo>
                    <a:pt x="391501" y="65484"/>
                  </a:lnTo>
                  <a:lnTo>
                    <a:pt x="390324" y="75357"/>
                  </a:lnTo>
                  <a:lnTo>
                    <a:pt x="389056" y="85320"/>
                  </a:lnTo>
                  <a:lnTo>
                    <a:pt x="387697" y="95374"/>
                  </a:lnTo>
                  <a:lnTo>
                    <a:pt x="386247" y="105246"/>
                  </a:lnTo>
                  <a:lnTo>
                    <a:pt x="384798" y="115028"/>
                  </a:lnTo>
                  <a:lnTo>
                    <a:pt x="381627" y="134954"/>
                  </a:lnTo>
                  <a:lnTo>
                    <a:pt x="375105" y="174625"/>
                  </a:lnTo>
                  <a:lnTo>
                    <a:pt x="371753" y="194551"/>
                  </a:lnTo>
                  <a:lnTo>
                    <a:pt x="368582" y="214658"/>
                  </a:lnTo>
                  <a:lnTo>
                    <a:pt x="367042" y="224802"/>
                  </a:lnTo>
                  <a:lnTo>
                    <a:pt x="365684" y="235037"/>
                  </a:lnTo>
                  <a:lnTo>
                    <a:pt x="364325" y="245272"/>
                  </a:lnTo>
                  <a:lnTo>
                    <a:pt x="362966" y="255507"/>
                  </a:lnTo>
                  <a:lnTo>
                    <a:pt x="361879" y="265832"/>
                  </a:lnTo>
                  <a:lnTo>
                    <a:pt x="360792" y="276157"/>
                  </a:lnTo>
                  <a:lnTo>
                    <a:pt x="359976" y="286664"/>
                  </a:lnTo>
                  <a:lnTo>
                    <a:pt x="359252" y="297261"/>
                  </a:lnTo>
                  <a:lnTo>
                    <a:pt x="358618" y="307858"/>
                  </a:lnTo>
                  <a:lnTo>
                    <a:pt x="358165" y="318545"/>
                  </a:lnTo>
                  <a:lnTo>
                    <a:pt x="357802" y="329414"/>
                  </a:lnTo>
                  <a:lnTo>
                    <a:pt x="357802" y="340373"/>
                  </a:lnTo>
                  <a:lnTo>
                    <a:pt x="357893" y="351514"/>
                  </a:lnTo>
                  <a:lnTo>
                    <a:pt x="358255" y="362836"/>
                  </a:lnTo>
                  <a:lnTo>
                    <a:pt x="358708" y="374429"/>
                  </a:lnTo>
                  <a:lnTo>
                    <a:pt x="359433" y="386113"/>
                  </a:lnTo>
                  <a:lnTo>
                    <a:pt x="360792" y="409752"/>
                  </a:lnTo>
                  <a:lnTo>
                    <a:pt x="361335" y="421436"/>
                  </a:lnTo>
                  <a:lnTo>
                    <a:pt x="361788" y="433120"/>
                  </a:lnTo>
                  <a:lnTo>
                    <a:pt x="361879" y="444714"/>
                  </a:lnTo>
                  <a:lnTo>
                    <a:pt x="361879" y="450510"/>
                  </a:lnTo>
                  <a:lnTo>
                    <a:pt x="361788" y="456126"/>
                  </a:lnTo>
                  <a:lnTo>
                    <a:pt x="361516" y="461832"/>
                  </a:lnTo>
                  <a:lnTo>
                    <a:pt x="361335" y="467447"/>
                  </a:lnTo>
                  <a:lnTo>
                    <a:pt x="360792" y="472972"/>
                  </a:lnTo>
                  <a:lnTo>
                    <a:pt x="360339" y="478407"/>
                  </a:lnTo>
                  <a:lnTo>
                    <a:pt x="359705" y="483751"/>
                  </a:lnTo>
                  <a:lnTo>
                    <a:pt x="358889" y="489094"/>
                  </a:lnTo>
                  <a:lnTo>
                    <a:pt x="357983" y="494348"/>
                  </a:lnTo>
                  <a:lnTo>
                    <a:pt x="356896" y="499510"/>
                  </a:lnTo>
                  <a:lnTo>
                    <a:pt x="355719" y="504582"/>
                  </a:lnTo>
                  <a:lnTo>
                    <a:pt x="354269" y="509473"/>
                  </a:lnTo>
                  <a:lnTo>
                    <a:pt x="352639" y="514364"/>
                  </a:lnTo>
                  <a:lnTo>
                    <a:pt x="350917" y="519074"/>
                  </a:lnTo>
                  <a:lnTo>
                    <a:pt x="340953" y="519346"/>
                  </a:lnTo>
                  <a:lnTo>
                    <a:pt x="331078" y="519436"/>
                  </a:lnTo>
                  <a:lnTo>
                    <a:pt x="321385" y="519436"/>
                  </a:lnTo>
                  <a:lnTo>
                    <a:pt x="311602" y="519436"/>
                  </a:lnTo>
                  <a:lnTo>
                    <a:pt x="292578" y="519074"/>
                  </a:lnTo>
                  <a:lnTo>
                    <a:pt x="273826" y="518712"/>
                  </a:lnTo>
                  <a:lnTo>
                    <a:pt x="264586" y="518712"/>
                  </a:lnTo>
                  <a:lnTo>
                    <a:pt x="255436" y="518712"/>
                  </a:lnTo>
                  <a:lnTo>
                    <a:pt x="246196" y="518802"/>
                  </a:lnTo>
                  <a:lnTo>
                    <a:pt x="237228" y="519074"/>
                  </a:lnTo>
                  <a:lnTo>
                    <a:pt x="228078" y="519617"/>
                  </a:lnTo>
                  <a:lnTo>
                    <a:pt x="219020" y="520342"/>
                  </a:lnTo>
                  <a:lnTo>
                    <a:pt x="210051" y="521248"/>
                  </a:lnTo>
                  <a:lnTo>
                    <a:pt x="205522" y="521882"/>
                  </a:lnTo>
                  <a:lnTo>
                    <a:pt x="200992" y="522516"/>
                  </a:lnTo>
                  <a:lnTo>
                    <a:pt x="192749" y="523874"/>
                  </a:lnTo>
                  <a:lnTo>
                    <a:pt x="184414" y="525505"/>
                  </a:lnTo>
                  <a:lnTo>
                    <a:pt x="176261" y="527226"/>
                  </a:lnTo>
                  <a:lnTo>
                    <a:pt x="168290" y="529218"/>
                  </a:lnTo>
                  <a:lnTo>
                    <a:pt x="160227" y="531120"/>
                  </a:lnTo>
                  <a:lnTo>
                    <a:pt x="152255" y="533294"/>
                  </a:lnTo>
                  <a:lnTo>
                    <a:pt x="136583" y="537460"/>
                  </a:lnTo>
                  <a:lnTo>
                    <a:pt x="128883" y="539544"/>
                  </a:lnTo>
                  <a:lnTo>
                    <a:pt x="121093" y="541446"/>
                  </a:lnTo>
                  <a:lnTo>
                    <a:pt x="113483" y="543438"/>
                  </a:lnTo>
                  <a:lnTo>
                    <a:pt x="105783" y="545159"/>
                  </a:lnTo>
                  <a:lnTo>
                    <a:pt x="97992" y="546608"/>
                  </a:lnTo>
                  <a:lnTo>
                    <a:pt x="90383" y="547967"/>
                  </a:lnTo>
                  <a:lnTo>
                    <a:pt x="82773" y="548873"/>
                  </a:lnTo>
                  <a:lnTo>
                    <a:pt x="78878" y="549416"/>
                  </a:lnTo>
                  <a:lnTo>
                    <a:pt x="75073" y="549778"/>
                  </a:lnTo>
                  <a:lnTo>
                    <a:pt x="68370" y="550141"/>
                  </a:lnTo>
                  <a:lnTo>
                    <a:pt x="61757" y="550503"/>
                  </a:lnTo>
                  <a:lnTo>
                    <a:pt x="55234" y="550775"/>
                  </a:lnTo>
                  <a:lnTo>
                    <a:pt x="48802" y="550865"/>
                  </a:lnTo>
                  <a:lnTo>
                    <a:pt x="42280" y="550865"/>
                  </a:lnTo>
                  <a:lnTo>
                    <a:pt x="35939" y="550775"/>
                  </a:lnTo>
                  <a:lnTo>
                    <a:pt x="29779" y="550593"/>
                  </a:lnTo>
                  <a:lnTo>
                    <a:pt x="23528" y="550231"/>
                  </a:lnTo>
                  <a:lnTo>
                    <a:pt x="17368" y="549869"/>
                  </a:lnTo>
                  <a:lnTo>
                    <a:pt x="11208" y="549416"/>
                  </a:lnTo>
                  <a:lnTo>
                    <a:pt x="5417" y="548792"/>
                  </a:lnTo>
                  <a:lnTo>
                    <a:pt x="0" y="518166"/>
                  </a:lnTo>
                  <a:cubicBezTo>
                    <a:pt x="0" y="492928"/>
                    <a:pt x="10163" y="469930"/>
                    <a:pt x="27644" y="453622"/>
                  </a:cubicBezTo>
                  <a:lnTo>
                    <a:pt x="31319" y="452141"/>
                  </a:lnTo>
                  <a:lnTo>
                    <a:pt x="36935" y="449695"/>
                  </a:lnTo>
                  <a:lnTo>
                    <a:pt x="42280" y="446978"/>
                  </a:lnTo>
                  <a:lnTo>
                    <a:pt x="47625" y="444080"/>
                  </a:lnTo>
                  <a:lnTo>
                    <a:pt x="52879" y="441000"/>
                  </a:lnTo>
                  <a:lnTo>
                    <a:pt x="58042" y="437739"/>
                  </a:lnTo>
                  <a:lnTo>
                    <a:pt x="62934" y="434479"/>
                  </a:lnTo>
                  <a:lnTo>
                    <a:pt x="67736" y="430947"/>
                  </a:lnTo>
                  <a:lnTo>
                    <a:pt x="72265" y="427414"/>
                  </a:lnTo>
                  <a:lnTo>
                    <a:pt x="72710" y="427049"/>
                  </a:lnTo>
                  <a:lnTo>
                    <a:pt x="75148" y="426045"/>
                  </a:lnTo>
                  <a:lnTo>
                    <a:pt x="75148" y="425050"/>
                  </a:lnTo>
                  <a:lnTo>
                    <a:pt x="76794" y="423701"/>
                  </a:lnTo>
                  <a:lnTo>
                    <a:pt x="80962" y="420078"/>
                  </a:lnTo>
                  <a:lnTo>
                    <a:pt x="85038" y="416093"/>
                  </a:lnTo>
                  <a:lnTo>
                    <a:pt x="89296" y="411926"/>
                  </a:lnTo>
                  <a:lnTo>
                    <a:pt x="93553" y="407669"/>
                  </a:lnTo>
                  <a:lnTo>
                    <a:pt x="97721" y="403141"/>
                  </a:lnTo>
                  <a:lnTo>
                    <a:pt x="101706" y="398431"/>
                  </a:lnTo>
                  <a:lnTo>
                    <a:pt x="105783" y="393540"/>
                  </a:lnTo>
                  <a:lnTo>
                    <a:pt x="109497" y="388649"/>
                  </a:lnTo>
                  <a:lnTo>
                    <a:pt x="113211" y="383577"/>
                  </a:lnTo>
                  <a:lnTo>
                    <a:pt x="116744" y="378414"/>
                  </a:lnTo>
                  <a:lnTo>
                    <a:pt x="119915" y="373251"/>
                  </a:lnTo>
                  <a:lnTo>
                    <a:pt x="122814" y="368089"/>
                  </a:lnTo>
                  <a:lnTo>
                    <a:pt x="124173" y="365462"/>
                  </a:lnTo>
                  <a:lnTo>
                    <a:pt x="125531" y="362745"/>
                  </a:lnTo>
                  <a:lnTo>
                    <a:pt x="126619" y="360209"/>
                  </a:lnTo>
                  <a:lnTo>
                    <a:pt x="127706" y="357492"/>
                  </a:lnTo>
                  <a:lnTo>
                    <a:pt x="128793" y="354956"/>
                  </a:lnTo>
                  <a:lnTo>
                    <a:pt x="129608" y="352239"/>
                  </a:lnTo>
                  <a:lnTo>
                    <a:pt x="130514" y="349703"/>
                  </a:lnTo>
                  <a:lnTo>
                    <a:pt x="131239" y="347166"/>
                  </a:lnTo>
                  <a:lnTo>
                    <a:pt x="132326" y="342547"/>
                  </a:lnTo>
                  <a:lnTo>
                    <a:pt x="133050" y="337747"/>
                  </a:lnTo>
                  <a:lnTo>
                    <a:pt x="133684" y="333037"/>
                  </a:lnTo>
                  <a:lnTo>
                    <a:pt x="134137" y="328146"/>
                  </a:lnTo>
                  <a:lnTo>
                    <a:pt x="134409" y="323165"/>
                  </a:lnTo>
                  <a:lnTo>
                    <a:pt x="134500" y="318093"/>
                  </a:lnTo>
                  <a:lnTo>
                    <a:pt x="134500" y="312930"/>
                  </a:lnTo>
                  <a:lnTo>
                    <a:pt x="134409" y="307858"/>
                  </a:lnTo>
                  <a:lnTo>
                    <a:pt x="134047" y="297351"/>
                  </a:lnTo>
                  <a:lnTo>
                    <a:pt x="133503" y="286754"/>
                  </a:lnTo>
                  <a:lnTo>
                    <a:pt x="133050" y="276067"/>
                  </a:lnTo>
                  <a:lnTo>
                    <a:pt x="132960" y="270723"/>
                  </a:lnTo>
                  <a:lnTo>
                    <a:pt x="132960" y="265288"/>
                  </a:lnTo>
                  <a:lnTo>
                    <a:pt x="132779" y="249710"/>
                  </a:lnTo>
                  <a:lnTo>
                    <a:pt x="132416" y="234312"/>
                  </a:lnTo>
                  <a:lnTo>
                    <a:pt x="131692" y="218915"/>
                  </a:lnTo>
                  <a:lnTo>
                    <a:pt x="130967" y="203699"/>
                  </a:lnTo>
                  <a:lnTo>
                    <a:pt x="129880" y="188573"/>
                  </a:lnTo>
                  <a:lnTo>
                    <a:pt x="128793" y="173538"/>
                  </a:lnTo>
                  <a:lnTo>
                    <a:pt x="127524" y="158412"/>
                  </a:lnTo>
                  <a:lnTo>
                    <a:pt x="126256" y="143468"/>
                  </a:lnTo>
                  <a:lnTo>
                    <a:pt x="123267" y="113579"/>
                  </a:lnTo>
                  <a:lnTo>
                    <a:pt x="120549" y="83780"/>
                  </a:lnTo>
                  <a:lnTo>
                    <a:pt x="119190" y="68836"/>
                  </a:lnTo>
                  <a:lnTo>
                    <a:pt x="117922" y="53800"/>
                  </a:lnTo>
                  <a:lnTo>
                    <a:pt x="116835" y="38765"/>
                  </a:lnTo>
                  <a:lnTo>
                    <a:pt x="115838" y="23640"/>
                  </a:lnTo>
                  <a:lnTo>
                    <a:pt x="122904" y="21104"/>
                  </a:lnTo>
                  <a:lnTo>
                    <a:pt x="130242" y="18658"/>
                  </a:lnTo>
                  <a:lnTo>
                    <a:pt x="137761" y="16303"/>
                  </a:lnTo>
                  <a:lnTo>
                    <a:pt x="145552" y="14220"/>
                  </a:lnTo>
                  <a:lnTo>
                    <a:pt x="153614" y="12318"/>
                  </a:lnTo>
                  <a:lnTo>
                    <a:pt x="161948" y="10507"/>
                  </a:lnTo>
                  <a:lnTo>
                    <a:pt x="170283" y="8786"/>
                  </a:lnTo>
                  <a:lnTo>
                    <a:pt x="178979" y="7155"/>
                  </a:lnTo>
                  <a:lnTo>
                    <a:pt x="187766" y="5887"/>
                  </a:lnTo>
                  <a:lnTo>
                    <a:pt x="196644" y="4619"/>
                  </a:lnTo>
                  <a:lnTo>
                    <a:pt x="205794" y="3532"/>
                  </a:lnTo>
                  <a:lnTo>
                    <a:pt x="214943" y="2536"/>
                  </a:lnTo>
                  <a:lnTo>
                    <a:pt x="224183" y="1721"/>
                  </a:lnTo>
                  <a:lnTo>
                    <a:pt x="233423" y="1087"/>
                  </a:lnTo>
                  <a:lnTo>
                    <a:pt x="242754" y="634"/>
                  </a:lnTo>
                  <a:lnTo>
                    <a:pt x="252266" y="272"/>
                  </a:lnTo>
                  <a:close/>
                </a:path>
              </a:pathLst>
            </a:custGeom>
            <a:grpFill/>
            <a:ln w="19050">
              <a:solidFill>
                <a:schemeClr val="accent2">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3" name="Freeform 427"/>
            <p:cNvSpPr>
              <a:spLocks/>
            </p:cNvSpPr>
            <p:nvPr/>
          </p:nvSpPr>
          <p:spPr bwMode="auto">
            <a:xfrm>
              <a:off x="11117698" y="3691648"/>
              <a:ext cx="343598" cy="57423"/>
            </a:xfrm>
            <a:custGeom>
              <a:avLst/>
              <a:gdLst/>
              <a:ahLst/>
              <a:cxnLst/>
              <a:rect l="l" t="t" r="r" b="b"/>
              <a:pathLst>
                <a:path w="343598" h="57423">
                  <a:moveTo>
                    <a:pt x="293411" y="0"/>
                  </a:moveTo>
                  <a:lnTo>
                    <a:pt x="303013" y="91"/>
                  </a:lnTo>
                  <a:lnTo>
                    <a:pt x="312888" y="362"/>
                  </a:lnTo>
                  <a:lnTo>
                    <a:pt x="322853" y="995"/>
                  </a:lnTo>
                  <a:lnTo>
                    <a:pt x="333089" y="1809"/>
                  </a:lnTo>
                  <a:lnTo>
                    <a:pt x="343507" y="3075"/>
                  </a:lnTo>
                  <a:lnTo>
                    <a:pt x="343326" y="8681"/>
                  </a:lnTo>
                  <a:lnTo>
                    <a:pt x="343326" y="14378"/>
                  </a:lnTo>
                  <a:lnTo>
                    <a:pt x="343598" y="26134"/>
                  </a:lnTo>
                  <a:lnTo>
                    <a:pt x="343598" y="31831"/>
                  </a:lnTo>
                  <a:lnTo>
                    <a:pt x="343507" y="34635"/>
                  </a:lnTo>
                  <a:lnTo>
                    <a:pt x="343326" y="37348"/>
                  </a:lnTo>
                  <a:lnTo>
                    <a:pt x="343145" y="39970"/>
                  </a:lnTo>
                  <a:lnTo>
                    <a:pt x="342783" y="42593"/>
                  </a:lnTo>
                  <a:lnTo>
                    <a:pt x="342420" y="45034"/>
                  </a:lnTo>
                  <a:lnTo>
                    <a:pt x="341786" y="47205"/>
                  </a:lnTo>
                  <a:lnTo>
                    <a:pt x="339431" y="46843"/>
                  </a:lnTo>
                  <a:lnTo>
                    <a:pt x="336985" y="46572"/>
                  </a:lnTo>
                  <a:lnTo>
                    <a:pt x="334267" y="46300"/>
                  </a:lnTo>
                  <a:lnTo>
                    <a:pt x="331187" y="46300"/>
                  </a:lnTo>
                  <a:lnTo>
                    <a:pt x="327926" y="46300"/>
                  </a:lnTo>
                  <a:lnTo>
                    <a:pt x="324483" y="46481"/>
                  </a:lnTo>
                  <a:lnTo>
                    <a:pt x="316964" y="46843"/>
                  </a:lnTo>
                  <a:lnTo>
                    <a:pt x="308902" y="47385"/>
                  </a:lnTo>
                  <a:lnTo>
                    <a:pt x="300386" y="48290"/>
                  </a:lnTo>
                  <a:lnTo>
                    <a:pt x="282358" y="50008"/>
                  </a:lnTo>
                  <a:lnTo>
                    <a:pt x="273209" y="50822"/>
                  </a:lnTo>
                  <a:lnTo>
                    <a:pt x="264331" y="51545"/>
                  </a:lnTo>
                  <a:lnTo>
                    <a:pt x="255544" y="51907"/>
                  </a:lnTo>
                  <a:lnTo>
                    <a:pt x="251286" y="52178"/>
                  </a:lnTo>
                  <a:lnTo>
                    <a:pt x="247300" y="52178"/>
                  </a:lnTo>
                  <a:lnTo>
                    <a:pt x="243223" y="52178"/>
                  </a:lnTo>
                  <a:lnTo>
                    <a:pt x="239418" y="51997"/>
                  </a:lnTo>
                  <a:lnTo>
                    <a:pt x="235795" y="51816"/>
                  </a:lnTo>
                  <a:lnTo>
                    <a:pt x="232443" y="51545"/>
                  </a:lnTo>
                  <a:lnTo>
                    <a:pt x="229091" y="51093"/>
                  </a:lnTo>
                  <a:lnTo>
                    <a:pt x="226101" y="50460"/>
                  </a:lnTo>
                  <a:lnTo>
                    <a:pt x="223384" y="49737"/>
                  </a:lnTo>
                  <a:lnTo>
                    <a:pt x="220847" y="48923"/>
                  </a:lnTo>
                  <a:lnTo>
                    <a:pt x="219126" y="48018"/>
                  </a:lnTo>
                  <a:lnTo>
                    <a:pt x="217676" y="47024"/>
                  </a:lnTo>
                  <a:lnTo>
                    <a:pt x="216408" y="45939"/>
                  </a:lnTo>
                  <a:lnTo>
                    <a:pt x="215502" y="44853"/>
                  </a:lnTo>
                  <a:lnTo>
                    <a:pt x="214778" y="43497"/>
                  </a:lnTo>
                  <a:lnTo>
                    <a:pt x="214143" y="42321"/>
                  </a:lnTo>
                  <a:lnTo>
                    <a:pt x="213509" y="40874"/>
                  </a:lnTo>
                  <a:lnTo>
                    <a:pt x="213147" y="39518"/>
                  </a:lnTo>
                  <a:lnTo>
                    <a:pt x="212332" y="36805"/>
                  </a:lnTo>
                  <a:lnTo>
                    <a:pt x="211788" y="35539"/>
                  </a:lnTo>
                  <a:lnTo>
                    <a:pt x="211244" y="34273"/>
                  </a:lnTo>
                  <a:lnTo>
                    <a:pt x="210429" y="33097"/>
                  </a:lnTo>
                  <a:lnTo>
                    <a:pt x="209614" y="32012"/>
                  </a:lnTo>
                  <a:lnTo>
                    <a:pt x="208527" y="31018"/>
                  </a:lnTo>
                  <a:lnTo>
                    <a:pt x="207168" y="30294"/>
                  </a:lnTo>
                  <a:lnTo>
                    <a:pt x="204269" y="30656"/>
                  </a:lnTo>
                  <a:lnTo>
                    <a:pt x="201098" y="30927"/>
                  </a:lnTo>
                  <a:lnTo>
                    <a:pt x="197837" y="31018"/>
                  </a:lnTo>
                  <a:lnTo>
                    <a:pt x="194395" y="30927"/>
                  </a:lnTo>
                  <a:lnTo>
                    <a:pt x="190862" y="30746"/>
                  </a:lnTo>
                  <a:lnTo>
                    <a:pt x="187328" y="30565"/>
                  </a:lnTo>
                  <a:lnTo>
                    <a:pt x="179991" y="29932"/>
                  </a:lnTo>
                  <a:lnTo>
                    <a:pt x="172562" y="29299"/>
                  </a:lnTo>
                  <a:lnTo>
                    <a:pt x="168848" y="29209"/>
                  </a:lnTo>
                  <a:lnTo>
                    <a:pt x="165134" y="29028"/>
                  </a:lnTo>
                  <a:lnTo>
                    <a:pt x="161510" y="29028"/>
                  </a:lnTo>
                  <a:lnTo>
                    <a:pt x="157977" y="29299"/>
                  </a:lnTo>
                  <a:lnTo>
                    <a:pt x="154444" y="29661"/>
                  </a:lnTo>
                  <a:lnTo>
                    <a:pt x="151001" y="30294"/>
                  </a:lnTo>
                  <a:lnTo>
                    <a:pt x="149099" y="30746"/>
                  </a:lnTo>
                  <a:lnTo>
                    <a:pt x="147106" y="31470"/>
                  </a:lnTo>
                  <a:lnTo>
                    <a:pt x="145294" y="32464"/>
                  </a:lnTo>
                  <a:lnTo>
                    <a:pt x="143482" y="33459"/>
                  </a:lnTo>
                  <a:lnTo>
                    <a:pt x="141671" y="34816"/>
                  </a:lnTo>
                  <a:lnTo>
                    <a:pt x="139859" y="35991"/>
                  </a:lnTo>
                  <a:lnTo>
                    <a:pt x="136326" y="38885"/>
                  </a:lnTo>
                  <a:lnTo>
                    <a:pt x="132793" y="41869"/>
                  </a:lnTo>
                  <a:lnTo>
                    <a:pt x="129260" y="44582"/>
                  </a:lnTo>
                  <a:lnTo>
                    <a:pt x="127538" y="45939"/>
                  </a:lnTo>
                  <a:lnTo>
                    <a:pt x="125727" y="47024"/>
                  </a:lnTo>
                  <a:lnTo>
                    <a:pt x="123915" y="48109"/>
                  </a:lnTo>
                  <a:lnTo>
                    <a:pt x="122012" y="48923"/>
                  </a:lnTo>
                  <a:lnTo>
                    <a:pt x="117664" y="50460"/>
                  </a:lnTo>
                  <a:lnTo>
                    <a:pt x="112953" y="51907"/>
                  </a:lnTo>
                  <a:lnTo>
                    <a:pt x="108152" y="52992"/>
                  </a:lnTo>
                  <a:lnTo>
                    <a:pt x="103079" y="54077"/>
                  </a:lnTo>
                  <a:lnTo>
                    <a:pt x="97915" y="54801"/>
                  </a:lnTo>
                  <a:lnTo>
                    <a:pt x="92570" y="55524"/>
                  </a:lnTo>
                  <a:lnTo>
                    <a:pt x="87225" y="56157"/>
                  </a:lnTo>
                  <a:lnTo>
                    <a:pt x="81880" y="56519"/>
                  </a:lnTo>
                  <a:lnTo>
                    <a:pt x="76354" y="56881"/>
                  </a:lnTo>
                  <a:lnTo>
                    <a:pt x="71010" y="57152"/>
                  </a:lnTo>
                  <a:lnTo>
                    <a:pt x="60320" y="57423"/>
                  </a:lnTo>
                  <a:lnTo>
                    <a:pt x="49902" y="57423"/>
                  </a:lnTo>
                  <a:lnTo>
                    <a:pt x="40299" y="57423"/>
                  </a:lnTo>
                  <a:lnTo>
                    <a:pt x="35226" y="57423"/>
                  </a:lnTo>
                  <a:lnTo>
                    <a:pt x="30062" y="57242"/>
                  </a:lnTo>
                  <a:lnTo>
                    <a:pt x="24989" y="57061"/>
                  </a:lnTo>
                  <a:lnTo>
                    <a:pt x="20007" y="56790"/>
                  </a:lnTo>
                  <a:lnTo>
                    <a:pt x="14843" y="56428"/>
                  </a:lnTo>
                  <a:lnTo>
                    <a:pt x="9868" y="55977"/>
                  </a:lnTo>
                  <a:cubicBezTo>
                    <a:pt x="4412" y="49323"/>
                    <a:pt x="1081" y="41392"/>
                    <a:pt x="0" y="32737"/>
                  </a:cubicBezTo>
                  <a:lnTo>
                    <a:pt x="1798" y="32917"/>
                  </a:lnTo>
                  <a:lnTo>
                    <a:pt x="7324" y="33459"/>
                  </a:lnTo>
                  <a:lnTo>
                    <a:pt x="12941" y="33911"/>
                  </a:lnTo>
                  <a:lnTo>
                    <a:pt x="18376" y="34273"/>
                  </a:lnTo>
                  <a:lnTo>
                    <a:pt x="23993" y="34544"/>
                  </a:lnTo>
                  <a:lnTo>
                    <a:pt x="29609" y="34635"/>
                  </a:lnTo>
                  <a:lnTo>
                    <a:pt x="35317" y="34816"/>
                  </a:lnTo>
                  <a:lnTo>
                    <a:pt x="41024" y="34635"/>
                  </a:lnTo>
                  <a:lnTo>
                    <a:pt x="46731" y="34544"/>
                  </a:lnTo>
                  <a:lnTo>
                    <a:pt x="52529" y="34454"/>
                  </a:lnTo>
                  <a:lnTo>
                    <a:pt x="58327" y="34092"/>
                  </a:lnTo>
                  <a:lnTo>
                    <a:pt x="64215" y="33550"/>
                  </a:lnTo>
                  <a:lnTo>
                    <a:pt x="72550" y="32826"/>
                  </a:lnTo>
                  <a:lnTo>
                    <a:pt x="81156" y="32012"/>
                  </a:lnTo>
                  <a:lnTo>
                    <a:pt x="89400" y="30927"/>
                  </a:lnTo>
                  <a:lnTo>
                    <a:pt x="97643" y="29661"/>
                  </a:lnTo>
                  <a:lnTo>
                    <a:pt x="105978" y="28305"/>
                  </a:lnTo>
                  <a:lnTo>
                    <a:pt x="114131" y="26858"/>
                  </a:lnTo>
                  <a:lnTo>
                    <a:pt x="122375" y="25411"/>
                  </a:lnTo>
                  <a:lnTo>
                    <a:pt x="130528" y="23874"/>
                  </a:lnTo>
                  <a:lnTo>
                    <a:pt x="146744" y="20528"/>
                  </a:lnTo>
                  <a:lnTo>
                    <a:pt x="163050" y="17182"/>
                  </a:lnTo>
                  <a:lnTo>
                    <a:pt x="179447" y="13745"/>
                  </a:lnTo>
                  <a:lnTo>
                    <a:pt x="195935" y="10490"/>
                  </a:lnTo>
                  <a:lnTo>
                    <a:pt x="204360" y="8862"/>
                  </a:lnTo>
                  <a:lnTo>
                    <a:pt x="212785" y="7415"/>
                  </a:lnTo>
                  <a:lnTo>
                    <a:pt x="221300" y="6059"/>
                  </a:lnTo>
                  <a:lnTo>
                    <a:pt x="229997" y="4793"/>
                  </a:lnTo>
                  <a:lnTo>
                    <a:pt x="238603" y="3527"/>
                  </a:lnTo>
                  <a:lnTo>
                    <a:pt x="247481" y="2532"/>
                  </a:lnTo>
                  <a:lnTo>
                    <a:pt x="256359" y="1718"/>
                  </a:lnTo>
                  <a:lnTo>
                    <a:pt x="265418" y="995"/>
                  </a:lnTo>
                  <a:lnTo>
                    <a:pt x="274658" y="452"/>
                  </a:lnTo>
                  <a:lnTo>
                    <a:pt x="283898" y="91"/>
                  </a:lnTo>
                  <a:close/>
                </a:path>
              </a:pathLst>
            </a:custGeom>
            <a:grpFill/>
            <a:ln w="19050">
              <a:solidFill>
                <a:schemeClr val="accent2">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960" name="Rectangle 959"/>
          <p:cNvSpPr/>
          <p:nvPr/>
        </p:nvSpPr>
        <p:spPr bwMode="auto">
          <a:xfrm>
            <a:off x="9067748" y="1194840"/>
            <a:ext cx="1086014" cy="193336"/>
          </a:xfrm>
          <a:prstGeom prst="rect">
            <a:avLst/>
          </a:prstGeom>
          <a:solidFill>
            <a:schemeClr val="tx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REFLECTION</a:t>
            </a:r>
          </a:p>
        </p:txBody>
      </p:sp>
      <p:grpSp>
        <p:nvGrpSpPr>
          <p:cNvPr id="19" name="Group 18"/>
          <p:cNvGrpSpPr/>
          <p:nvPr/>
        </p:nvGrpSpPr>
        <p:grpSpPr>
          <a:xfrm>
            <a:off x="8101086" y="3188306"/>
            <a:ext cx="914089" cy="1367728"/>
            <a:chOff x="6863266" y="6601904"/>
            <a:chExt cx="914089" cy="1367728"/>
          </a:xfrm>
        </p:grpSpPr>
        <p:grpSp>
          <p:nvGrpSpPr>
            <p:cNvPr id="806" name="Group 805"/>
            <p:cNvGrpSpPr/>
            <p:nvPr/>
          </p:nvGrpSpPr>
          <p:grpSpPr>
            <a:xfrm>
              <a:off x="7214597" y="7841417"/>
              <a:ext cx="562758" cy="128215"/>
              <a:chOff x="20407313" y="5199062"/>
              <a:chExt cx="1289050" cy="293688"/>
            </a:xfrm>
            <a:solidFill>
              <a:schemeClr val="tx2"/>
            </a:solidFill>
          </p:grpSpPr>
          <p:sp>
            <p:nvSpPr>
              <p:cNvPr id="881" name="Freeform 22"/>
              <p:cNvSpPr>
                <a:spLocks/>
              </p:cNvSpPr>
              <p:nvPr/>
            </p:nvSpPr>
            <p:spPr bwMode="auto">
              <a:xfrm>
                <a:off x="20407313" y="5199062"/>
                <a:ext cx="1287463" cy="234950"/>
              </a:xfrm>
              <a:custGeom>
                <a:avLst/>
                <a:gdLst>
                  <a:gd name="T0" fmla="*/ 811 w 811"/>
                  <a:gd name="T1" fmla="*/ 0 h 148"/>
                  <a:gd name="T2" fmla="*/ 215 w 811"/>
                  <a:gd name="T3" fmla="*/ 0 h 148"/>
                  <a:gd name="T4" fmla="*/ 0 w 811"/>
                  <a:gd name="T5" fmla="*/ 148 h 148"/>
                  <a:gd name="T6" fmla="*/ 594 w 811"/>
                  <a:gd name="T7" fmla="*/ 148 h 148"/>
                  <a:gd name="T8" fmla="*/ 811 w 811"/>
                  <a:gd name="T9" fmla="*/ 0 h 148"/>
                </a:gdLst>
                <a:ahLst/>
                <a:cxnLst>
                  <a:cxn ang="0">
                    <a:pos x="T0" y="T1"/>
                  </a:cxn>
                  <a:cxn ang="0">
                    <a:pos x="T2" y="T3"/>
                  </a:cxn>
                  <a:cxn ang="0">
                    <a:pos x="T4" y="T5"/>
                  </a:cxn>
                  <a:cxn ang="0">
                    <a:pos x="T6" y="T7"/>
                  </a:cxn>
                  <a:cxn ang="0">
                    <a:pos x="T8" y="T9"/>
                  </a:cxn>
                </a:cxnLst>
                <a:rect l="0" t="0" r="r" b="b"/>
                <a:pathLst>
                  <a:path w="811" h="148">
                    <a:moveTo>
                      <a:pt x="811" y="0"/>
                    </a:moveTo>
                    <a:lnTo>
                      <a:pt x="215" y="0"/>
                    </a:lnTo>
                    <a:lnTo>
                      <a:pt x="0" y="148"/>
                    </a:lnTo>
                    <a:lnTo>
                      <a:pt x="594" y="148"/>
                    </a:lnTo>
                    <a:lnTo>
                      <a:pt x="811" y="0"/>
                    </a:lnTo>
                    <a:close/>
                  </a:path>
                </a:pathLst>
              </a:custGeom>
              <a:grpFill/>
              <a:ln w="7">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82" name="Rectangle 23"/>
              <p:cNvSpPr>
                <a:spLocks noChangeArrowheads="1"/>
              </p:cNvSpPr>
              <p:nvPr/>
            </p:nvSpPr>
            <p:spPr bwMode="auto">
              <a:xfrm>
                <a:off x="20407313" y="5434012"/>
                <a:ext cx="942975" cy="58738"/>
              </a:xfrm>
              <a:prstGeom prst="rect">
                <a:avLst/>
              </a:prstGeom>
              <a:grpFill/>
              <a:ln w="7">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83" name="Freeform 24"/>
              <p:cNvSpPr>
                <a:spLocks/>
              </p:cNvSpPr>
              <p:nvPr/>
            </p:nvSpPr>
            <p:spPr bwMode="auto">
              <a:xfrm>
                <a:off x="21350288" y="5199062"/>
                <a:ext cx="346075" cy="293688"/>
              </a:xfrm>
              <a:custGeom>
                <a:avLst/>
                <a:gdLst>
                  <a:gd name="T0" fmla="*/ 0 w 218"/>
                  <a:gd name="T1" fmla="*/ 185 h 185"/>
                  <a:gd name="T2" fmla="*/ 218 w 218"/>
                  <a:gd name="T3" fmla="*/ 33 h 185"/>
                  <a:gd name="T4" fmla="*/ 218 w 218"/>
                  <a:gd name="T5" fmla="*/ 0 h 185"/>
                  <a:gd name="T6" fmla="*/ 0 w 218"/>
                  <a:gd name="T7" fmla="*/ 148 h 185"/>
                  <a:gd name="T8" fmla="*/ 0 w 218"/>
                  <a:gd name="T9" fmla="*/ 185 h 185"/>
                </a:gdLst>
                <a:ahLst/>
                <a:cxnLst>
                  <a:cxn ang="0">
                    <a:pos x="T0" y="T1"/>
                  </a:cxn>
                  <a:cxn ang="0">
                    <a:pos x="T2" y="T3"/>
                  </a:cxn>
                  <a:cxn ang="0">
                    <a:pos x="T4" y="T5"/>
                  </a:cxn>
                  <a:cxn ang="0">
                    <a:pos x="T6" y="T7"/>
                  </a:cxn>
                  <a:cxn ang="0">
                    <a:pos x="T8" y="T9"/>
                  </a:cxn>
                </a:cxnLst>
                <a:rect l="0" t="0" r="r" b="b"/>
                <a:pathLst>
                  <a:path w="218" h="185">
                    <a:moveTo>
                      <a:pt x="0" y="185"/>
                    </a:moveTo>
                    <a:lnTo>
                      <a:pt x="218" y="33"/>
                    </a:lnTo>
                    <a:lnTo>
                      <a:pt x="218" y="0"/>
                    </a:lnTo>
                    <a:lnTo>
                      <a:pt x="0" y="148"/>
                    </a:lnTo>
                    <a:lnTo>
                      <a:pt x="0" y="185"/>
                    </a:lnTo>
                    <a:close/>
                  </a:path>
                </a:pathLst>
              </a:custGeom>
              <a:grpFill/>
              <a:ln w="7">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07" name="Group 806"/>
            <p:cNvGrpSpPr/>
            <p:nvPr/>
          </p:nvGrpSpPr>
          <p:grpSpPr>
            <a:xfrm>
              <a:off x="7475878" y="6601904"/>
              <a:ext cx="58216" cy="1302106"/>
              <a:chOff x="21005801" y="2574925"/>
              <a:chExt cx="133350" cy="2711450"/>
            </a:xfrm>
            <a:solidFill>
              <a:schemeClr val="tx2"/>
            </a:solidFill>
          </p:grpSpPr>
          <p:sp>
            <p:nvSpPr>
              <p:cNvPr id="879" name="Rectangle 29"/>
              <p:cNvSpPr>
                <a:spLocks noChangeArrowheads="1"/>
              </p:cNvSpPr>
              <p:nvPr/>
            </p:nvSpPr>
            <p:spPr bwMode="auto">
              <a:xfrm>
                <a:off x="21005801" y="2574925"/>
                <a:ext cx="87313" cy="2711450"/>
              </a:xfrm>
              <a:prstGeom prst="rect">
                <a:avLst/>
              </a:prstGeom>
              <a:grpFill/>
              <a:ln w="7">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80" name="Rectangle 30"/>
              <p:cNvSpPr>
                <a:spLocks noChangeArrowheads="1"/>
              </p:cNvSpPr>
              <p:nvPr/>
            </p:nvSpPr>
            <p:spPr bwMode="auto">
              <a:xfrm>
                <a:off x="21091526" y="2574925"/>
                <a:ext cx="47625" cy="2711450"/>
              </a:xfrm>
              <a:prstGeom prst="rect">
                <a:avLst/>
              </a:prstGeom>
              <a:grpFill/>
              <a:ln w="7">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09" name="Group 808"/>
            <p:cNvGrpSpPr/>
            <p:nvPr/>
          </p:nvGrpSpPr>
          <p:grpSpPr>
            <a:xfrm>
              <a:off x="7056582" y="6836915"/>
              <a:ext cx="448404" cy="315339"/>
              <a:chOff x="17124363" y="978617"/>
              <a:chExt cx="1027113" cy="722313"/>
            </a:xfrm>
            <a:solidFill>
              <a:schemeClr val="tx2"/>
            </a:solidFill>
          </p:grpSpPr>
          <p:sp>
            <p:nvSpPr>
              <p:cNvPr id="871" name="Freeform 25"/>
              <p:cNvSpPr>
                <a:spLocks/>
              </p:cNvSpPr>
              <p:nvPr/>
            </p:nvSpPr>
            <p:spPr bwMode="auto">
              <a:xfrm>
                <a:off x="17176751" y="978617"/>
                <a:ext cx="974725" cy="722313"/>
              </a:xfrm>
              <a:custGeom>
                <a:avLst/>
                <a:gdLst>
                  <a:gd name="T0" fmla="*/ 614 w 614"/>
                  <a:gd name="T1" fmla="*/ 0 h 455"/>
                  <a:gd name="T2" fmla="*/ 0 w 614"/>
                  <a:gd name="T3" fmla="*/ 420 h 455"/>
                  <a:gd name="T4" fmla="*/ 0 w 614"/>
                  <a:gd name="T5" fmla="*/ 455 h 455"/>
                  <a:gd name="T6" fmla="*/ 614 w 614"/>
                  <a:gd name="T7" fmla="*/ 35 h 455"/>
                  <a:gd name="T8" fmla="*/ 614 w 614"/>
                  <a:gd name="T9" fmla="*/ 0 h 455"/>
                </a:gdLst>
                <a:ahLst/>
                <a:cxnLst>
                  <a:cxn ang="0">
                    <a:pos x="T0" y="T1"/>
                  </a:cxn>
                  <a:cxn ang="0">
                    <a:pos x="T2" y="T3"/>
                  </a:cxn>
                  <a:cxn ang="0">
                    <a:pos x="T4" y="T5"/>
                  </a:cxn>
                  <a:cxn ang="0">
                    <a:pos x="T6" y="T7"/>
                  </a:cxn>
                  <a:cxn ang="0">
                    <a:pos x="T8" y="T9"/>
                  </a:cxn>
                </a:cxnLst>
                <a:rect l="0" t="0" r="r" b="b"/>
                <a:pathLst>
                  <a:path w="614" h="455">
                    <a:moveTo>
                      <a:pt x="614" y="0"/>
                    </a:moveTo>
                    <a:lnTo>
                      <a:pt x="0" y="420"/>
                    </a:lnTo>
                    <a:lnTo>
                      <a:pt x="0" y="455"/>
                    </a:lnTo>
                    <a:lnTo>
                      <a:pt x="614" y="35"/>
                    </a:lnTo>
                    <a:lnTo>
                      <a:pt x="614" y="0"/>
                    </a:lnTo>
                    <a:close/>
                  </a:path>
                </a:pathLst>
              </a:custGeom>
              <a:grpFill/>
              <a:ln w="952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2" name="Freeform 26"/>
              <p:cNvSpPr>
                <a:spLocks/>
              </p:cNvSpPr>
              <p:nvPr/>
            </p:nvSpPr>
            <p:spPr bwMode="auto">
              <a:xfrm>
                <a:off x="17124363" y="978617"/>
                <a:ext cx="1027113" cy="666750"/>
              </a:xfrm>
              <a:custGeom>
                <a:avLst/>
                <a:gdLst>
                  <a:gd name="T0" fmla="*/ 647 w 647"/>
                  <a:gd name="T1" fmla="*/ 0 h 420"/>
                  <a:gd name="T2" fmla="*/ 33 w 647"/>
                  <a:gd name="T3" fmla="*/ 420 h 420"/>
                  <a:gd name="T4" fmla="*/ 0 w 647"/>
                  <a:gd name="T5" fmla="*/ 420 h 420"/>
                  <a:gd name="T6" fmla="*/ 615 w 647"/>
                  <a:gd name="T7" fmla="*/ 0 h 420"/>
                  <a:gd name="T8" fmla="*/ 647 w 647"/>
                  <a:gd name="T9" fmla="*/ 0 h 420"/>
                </a:gdLst>
                <a:ahLst/>
                <a:cxnLst>
                  <a:cxn ang="0">
                    <a:pos x="T0" y="T1"/>
                  </a:cxn>
                  <a:cxn ang="0">
                    <a:pos x="T2" y="T3"/>
                  </a:cxn>
                  <a:cxn ang="0">
                    <a:pos x="T4" y="T5"/>
                  </a:cxn>
                  <a:cxn ang="0">
                    <a:pos x="T6" y="T7"/>
                  </a:cxn>
                  <a:cxn ang="0">
                    <a:pos x="T8" y="T9"/>
                  </a:cxn>
                </a:cxnLst>
                <a:rect l="0" t="0" r="r" b="b"/>
                <a:pathLst>
                  <a:path w="647" h="420">
                    <a:moveTo>
                      <a:pt x="647" y="0"/>
                    </a:moveTo>
                    <a:lnTo>
                      <a:pt x="33" y="420"/>
                    </a:lnTo>
                    <a:lnTo>
                      <a:pt x="0" y="420"/>
                    </a:lnTo>
                    <a:lnTo>
                      <a:pt x="615" y="0"/>
                    </a:lnTo>
                    <a:lnTo>
                      <a:pt x="647" y="0"/>
                    </a:lnTo>
                    <a:close/>
                  </a:path>
                </a:pathLst>
              </a:custGeom>
              <a:grpFill/>
              <a:ln w="952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3" name="Rectangle 27"/>
              <p:cNvSpPr>
                <a:spLocks noChangeArrowheads="1"/>
              </p:cNvSpPr>
              <p:nvPr/>
            </p:nvSpPr>
            <p:spPr bwMode="auto">
              <a:xfrm>
                <a:off x="17124363" y="1632667"/>
                <a:ext cx="66675" cy="68263"/>
              </a:xfrm>
              <a:prstGeom prst="rect">
                <a:avLst/>
              </a:prstGeom>
              <a:grpFill/>
              <a:ln w="9525">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810" name="Rectangle 809"/>
            <p:cNvSpPr/>
            <p:nvPr/>
          </p:nvSpPr>
          <p:spPr bwMode="auto">
            <a:xfrm>
              <a:off x="7306310" y="6639810"/>
              <a:ext cx="394294" cy="249066"/>
            </a:xfrm>
            <a:prstGeom prst="rect">
              <a:avLst/>
            </a:prstGeom>
            <a:solidFill>
              <a:schemeClr val="tx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8DC548"/>
                  </a:solidFill>
                  <a:effectLst/>
                  <a:uLnTx/>
                  <a:uFillTx/>
                  <a:cs typeface="Arial" charset="0"/>
                </a:rPr>
                <a:t>BEST</a:t>
              </a:r>
            </a:p>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8DC548"/>
                  </a:solidFill>
                  <a:effectLst/>
                  <a:uLnTx/>
                  <a:uFillTx/>
                  <a:cs typeface="Arial" charset="0"/>
                </a:rPr>
                <a:t>DEAL</a:t>
              </a:r>
            </a:p>
          </p:txBody>
        </p:sp>
        <p:grpSp>
          <p:nvGrpSpPr>
            <p:cNvPr id="13" name="Group 12"/>
            <p:cNvGrpSpPr/>
            <p:nvPr/>
          </p:nvGrpSpPr>
          <p:grpSpPr>
            <a:xfrm>
              <a:off x="7134931" y="6888455"/>
              <a:ext cx="535036" cy="743038"/>
              <a:chOff x="5994782" y="7135988"/>
              <a:chExt cx="535036" cy="743038"/>
            </a:xfrm>
          </p:grpSpPr>
          <p:grpSp>
            <p:nvGrpSpPr>
              <p:cNvPr id="815" name="Group 814"/>
              <p:cNvGrpSpPr/>
              <p:nvPr/>
            </p:nvGrpSpPr>
            <p:grpSpPr>
              <a:xfrm>
                <a:off x="5994782" y="7249735"/>
                <a:ext cx="535036" cy="629291"/>
                <a:chOff x="19642138" y="3821112"/>
                <a:chExt cx="1225551" cy="1441450"/>
              </a:xfrm>
              <a:solidFill>
                <a:schemeClr val="accent3"/>
              </a:solidFill>
            </p:grpSpPr>
            <p:sp>
              <p:nvSpPr>
                <p:cNvPr id="846" name="Freeform 111"/>
                <p:cNvSpPr>
                  <a:spLocks/>
                </p:cNvSpPr>
                <p:nvPr/>
              </p:nvSpPr>
              <p:spPr bwMode="auto">
                <a:xfrm>
                  <a:off x="19731038" y="3821112"/>
                  <a:ext cx="996950"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chemeClr val="accent5"/>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7"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8"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9"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0"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21" name="Group 820"/>
              <p:cNvGrpSpPr/>
              <p:nvPr/>
            </p:nvGrpSpPr>
            <p:grpSpPr>
              <a:xfrm>
                <a:off x="6180583" y="7135988"/>
                <a:ext cx="163144" cy="135142"/>
                <a:chOff x="13903209" y="2449178"/>
                <a:chExt cx="1124068" cy="931129"/>
              </a:xfrm>
            </p:grpSpPr>
            <p:sp>
              <p:nvSpPr>
                <p:cNvPr id="822" name="Arc 821"/>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823" name="Straight Connector 822"/>
                <p:cNvCxnSpPr>
                  <a:stCxn id="822"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24" name="Straight Connector 823"/>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25" name="Straight Connector 824"/>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970" name="Group 969"/>
            <p:cNvGrpSpPr/>
            <p:nvPr/>
          </p:nvGrpSpPr>
          <p:grpSpPr>
            <a:xfrm>
              <a:off x="7092683" y="6926245"/>
              <a:ext cx="535036" cy="743038"/>
              <a:chOff x="5994782" y="7135988"/>
              <a:chExt cx="535036" cy="743038"/>
            </a:xfrm>
          </p:grpSpPr>
          <p:grpSp>
            <p:nvGrpSpPr>
              <p:cNvPr id="971" name="Group 970"/>
              <p:cNvGrpSpPr/>
              <p:nvPr/>
            </p:nvGrpSpPr>
            <p:grpSpPr>
              <a:xfrm>
                <a:off x="5994782" y="7249735"/>
                <a:ext cx="535036" cy="629291"/>
                <a:chOff x="19642138" y="3821112"/>
                <a:chExt cx="1225551" cy="1441450"/>
              </a:xfrm>
              <a:solidFill>
                <a:schemeClr val="accent3"/>
              </a:solidFill>
            </p:grpSpPr>
            <p:sp>
              <p:nvSpPr>
                <p:cNvPr id="977" name="Freeform 111"/>
                <p:cNvSpPr>
                  <a:spLocks/>
                </p:cNvSpPr>
                <p:nvPr/>
              </p:nvSpPr>
              <p:spPr bwMode="auto">
                <a:xfrm>
                  <a:off x="19731038" y="3821112"/>
                  <a:ext cx="996950"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chemeClr val="accent5"/>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78"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79"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80"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81"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972" name="Group 971"/>
              <p:cNvGrpSpPr/>
              <p:nvPr/>
            </p:nvGrpSpPr>
            <p:grpSpPr>
              <a:xfrm>
                <a:off x="6180583" y="7135988"/>
                <a:ext cx="163144" cy="135142"/>
                <a:chOff x="13903209" y="2449178"/>
                <a:chExt cx="1124068" cy="931129"/>
              </a:xfrm>
            </p:grpSpPr>
            <p:sp>
              <p:nvSpPr>
                <p:cNvPr id="973" name="Arc 972"/>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974" name="Straight Connector 973"/>
                <p:cNvCxnSpPr>
                  <a:stCxn id="973"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5" name="Straight Connector 974"/>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6" name="Straight Connector 975"/>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982" name="Group 981"/>
            <p:cNvGrpSpPr/>
            <p:nvPr/>
          </p:nvGrpSpPr>
          <p:grpSpPr>
            <a:xfrm>
              <a:off x="7042209" y="6965906"/>
              <a:ext cx="535036" cy="743038"/>
              <a:chOff x="5994782" y="7135988"/>
              <a:chExt cx="535036" cy="743038"/>
            </a:xfrm>
          </p:grpSpPr>
          <p:grpSp>
            <p:nvGrpSpPr>
              <p:cNvPr id="983" name="Group 982"/>
              <p:cNvGrpSpPr/>
              <p:nvPr/>
            </p:nvGrpSpPr>
            <p:grpSpPr>
              <a:xfrm>
                <a:off x="5994782" y="7249735"/>
                <a:ext cx="535036" cy="629291"/>
                <a:chOff x="19642138" y="3821112"/>
                <a:chExt cx="1225551" cy="1441450"/>
              </a:xfrm>
              <a:solidFill>
                <a:schemeClr val="accent3"/>
              </a:solidFill>
            </p:grpSpPr>
            <p:sp>
              <p:nvSpPr>
                <p:cNvPr id="989" name="Freeform 111"/>
                <p:cNvSpPr>
                  <a:spLocks/>
                </p:cNvSpPr>
                <p:nvPr/>
              </p:nvSpPr>
              <p:spPr bwMode="auto">
                <a:xfrm>
                  <a:off x="19731038" y="3821112"/>
                  <a:ext cx="996950"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chemeClr val="accent5"/>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0"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1"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2"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3"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984" name="Group 983"/>
              <p:cNvGrpSpPr/>
              <p:nvPr/>
            </p:nvGrpSpPr>
            <p:grpSpPr>
              <a:xfrm>
                <a:off x="6180583" y="7135988"/>
                <a:ext cx="163144" cy="135142"/>
                <a:chOff x="13903209" y="2449178"/>
                <a:chExt cx="1124068" cy="931129"/>
              </a:xfrm>
            </p:grpSpPr>
            <p:sp>
              <p:nvSpPr>
                <p:cNvPr id="985" name="Arc 984"/>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986" name="Straight Connector 985"/>
                <p:cNvCxnSpPr>
                  <a:stCxn id="985"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87" name="Straight Connector 986"/>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88" name="Straight Connector 987"/>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994" name="Group 993"/>
            <p:cNvGrpSpPr/>
            <p:nvPr/>
          </p:nvGrpSpPr>
          <p:grpSpPr>
            <a:xfrm>
              <a:off x="6982874" y="6998190"/>
              <a:ext cx="535036" cy="743038"/>
              <a:chOff x="5994782" y="7135988"/>
              <a:chExt cx="535036" cy="743038"/>
            </a:xfrm>
          </p:grpSpPr>
          <p:grpSp>
            <p:nvGrpSpPr>
              <p:cNvPr id="995" name="Group 994"/>
              <p:cNvGrpSpPr/>
              <p:nvPr/>
            </p:nvGrpSpPr>
            <p:grpSpPr>
              <a:xfrm>
                <a:off x="5994782" y="7249735"/>
                <a:ext cx="535036" cy="629291"/>
                <a:chOff x="19642138" y="3821112"/>
                <a:chExt cx="1225551" cy="1441450"/>
              </a:xfrm>
              <a:solidFill>
                <a:schemeClr val="accent3"/>
              </a:solidFill>
            </p:grpSpPr>
            <p:sp>
              <p:nvSpPr>
                <p:cNvPr id="1001" name="Freeform 111"/>
                <p:cNvSpPr>
                  <a:spLocks/>
                </p:cNvSpPr>
                <p:nvPr/>
              </p:nvSpPr>
              <p:spPr bwMode="auto">
                <a:xfrm>
                  <a:off x="19731038" y="3821112"/>
                  <a:ext cx="996950"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chemeClr val="accent5"/>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2"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3"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4"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5"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996" name="Group 995"/>
              <p:cNvGrpSpPr/>
              <p:nvPr/>
            </p:nvGrpSpPr>
            <p:grpSpPr>
              <a:xfrm>
                <a:off x="6180583" y="7135988"/>
                <a:ext cx="163144" cy="135142"/>
                <a:chOff x="13903209" y="2449178"/>
                <a:chExt cx="1124068" cy="931129"/>
              </a:xfrm>
            </p:grpSpPr>
            <p:sp>
              <p:nvSpPr>
                <p:cNvPr id="997" name="Arc 996"/>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998" name="Straight Connector 997"/>
                <p:cNvCxnSpPr>
                  <a:stCxn id="997"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99" name="Straight Connector 998"/>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00" name="Straight Connector 999"/>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006" name="Group 1005"/>
            <p:cNvGrpSpPr/>
            <p:nvPr/>
          </p:nvGrpSpPr>
          <p:grpSpPr>
            <a:xfrm>
              <a:off x="6922532" y="7043042"/>
              <a:ext cx="535036" cy="743038"/>
              <a:chOff x="5994782" y="7135988"/>
              <a:chExt cx="535036" cy="743038"/>
            </a:xfrm>
          </p:grpSpPr>
          <p:grpSp>
            <p:nvGrpSpPr>
              <p:cNvPr id="1007" name="Group 1006"/>
              <p:cNvGrpSpPr/>
              <p:nvPr/>
            </p:nvGrpSpPr>
            <p:grpSpPr>
              <a:xfrm>
                <a:off x="5994782" y="7249735"/>
                <a:ext cx="535036" cy="629291"/>
                <a:chOff x="19642138" y="3821112"/>
                <a:chExt cx="1225551" cy="1441450"/>
              </a:xfrm>
              <a:solidFill>
                <a:schemeClr val="accent3"/>
              </a:solidFill>
            </p:grpSpPr>
            <p:sp>
              <p:nvSpPr>
                <p:cNvPr id="1013" name="Freeform 111"/>
                <p:cNvSpPr>
                  <a:spLocks/>
                </p:cNvSpPr>
                <p:nvPr/>
              </p:nvSpPr>
              <p:spPr bwMode="auto">
                <a:xfrm>
                  <a:off x="19731038" y="3821112"/>
                  <a:ext cx="996950"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chemeClr val="accent5"/>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4"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5"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6"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7"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chemeClr val="accent6"/>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08" name="Group 1007"/>
              <p:cNvGrpSpPr/>
              <p:nvPr/>
            </p:nvGrpSpPr>
            <p:grpSpPr>
              <a:xfrm>
                <a:off x="6180583" y="7135988"/>
                <a:ext cx="163144" cy="135142"/>
                <a:chOff x="13903209" y="2449178"/>
                <a:chExt cx="1124068" cy="931129"/>
              </a:xfrm>
            </p:grpSpPr>
            <p:sp>
              <p:nvSpPr>
                <p:cNvPr id="1009" name="Arc 1008"/>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010" name="Straight Connector 1009"/>
                <p:cNvCxnSpPr>
                  <a:stCxn id="1009"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11" name="Straight Connector 1010"/>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12" name="Straight Connector 1011"/>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018" name="Group 1017"/>
            <p:cNvGrpSpPr/>
            <p:nvPr/>
          </p:nvGrpSpPr>
          <p:grpSpPr>
            <a:xfrm>
              <a:off x="6863266" y="7081491"/>
              <a:ext cx="535036" cy="743038"/>
              <a:chOff x="5994782" y="7135988"/>
              <a:chExt cx="535036" cy="743038"/>
            </a:xfrm>
          </p:grpSpPr>
          <p:grpSp>
            <p:nvGrpSpPr>
              <p:cNvPr id="1019" name="Group 1018"/>
              <p:cNvGrpSpPr/>
              <p:nvPr/>
            </p:nvGrpSpPr>
            <p:grpSpPr>
              <a:xfrm>
                <a:off x="5994782" y="7249735"/>
                <a:ext cx="535036" cy="629291"/>
                <a:chOff x="19642138" y="3821112"/>
                <a:chExt cx="1225551" cy="1441450"/>
              </a:xfrm>
              <a:solidFill>
                <a:schemeClr val="accent3"/>
              </a:solidFill>
            </p:grpSpPr>
            <p:sp>
              <p:nvSpPr>
                <p:cNvPr id="1025" name="Freeform 111"/>
                <p:cNvSpPr>
                  <a:spLocks/>
                </p:cNvSpPr>
                <p:nvPr/>
              </p:nvSpPr>
              <p:spPr bwMode="auto">
                <a:xfrm>
                  <a:off x="19731038" y="3821112"/>
                  <a:ext cx="996950"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chemeClr val="accent2"/>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6"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chemeClr val="accent2">
                    <a:lumMod val="7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7"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2">
                    <a:lumMod val="5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8"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chemeClr val="accent2">
                    <a:lumMod val="7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9"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chemeClr val="accent2">
                    <a:lumMod val="7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20" name="Group 1019"/>
              <p:cNvGrpSpPr/>
              <p:nvPr/>
            </p:nvGrpSpPr>
            <p:grpSpPr>
              <a:xfrm>
                <a:off x="6180583" y="7135988"/>
                <a:ext cx="163144" cy="135142"/>
                <a:chOff x="13903209" y="2449178"/>
                <a:chExt cx="1124068" cy="931129"/>
              </a:xfrm>
            </p:grpSpPr>
            <p:sp>
              <p:nvSpPr>
                <p:cNvPr id="1021" name="Arc 1020"/>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022" name="Straight Connector 1021"/>
                <p:cNvCxnSpPr>
                  <a:stCxn id="1021"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23" name="Straight Connector 1022"/>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24" name="Straight Connector 1023"/>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grpSp>
        <p:nvGrpSpPr>
          <p:cNvPr id="365" name="Group 364"/>
          <p:cNvGrpSpPr/>
          <p:nvPr/>
        </p:nvGrpSpPr>
        <p:grpSpPr>
          <a:xfrm>
            <a:off x="6495431" y="3140861"/>
            <a:ext cx="790801" cy="609464"/>
            <a:chOff x="6023140" y="1979866"/>
            <a:chExt cx="1774142" cy="1430415"/>
          </a:xfrm>
        </p:grpSpPr>
        <p:grpSp>
          <p:nvGrpSpPr>
            <p:cNvPr id="366" name="Group 365"/>
            <p:cNvGrpSpPr>
              <a:grpSpLocks noChangeAspect="1"/>
            </p:cNvGrpSpPr>
            <p:nvPr/>
          </p:nvGrpSpPr>
          <p:grpSpPr>
            <a:xfrm>
              <a:off x="6023140" y="3064703"/>
              <a:ext cx="1771058" cy="345578"/>
              <a:chOff x="5387269" y="3310048"/>
              <a:chExt cx="4864896" cy="314159"/>
            </a:xfrm>
            <a:solidFill>
              <a:schemeClr val="accent2">
                <a:lumMod val="75000"/>
              </a:schemeClr>
            </a:solidFill>
          </p:grpSpPr>
          <p:sp>
            <p:nvSpPr>
              <p:cNvPr id="412" name="Trapezoid 411"/>
              <p:cNvSpPr/>
              <p:nvPr/>
            </p:nvSpPr>
            <p:spPr bwMode="auto">
              <a:xfrm>
                <a:off x="5387269" y="3310048"/>
                <a:ext cx="4864896" cy="256797"/>
              </a:xfrm>
              <a:prstGeom prst="trapezoid">
                <a:avLst>
                  <a:gd name="adj" fmla="val 100094"/>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13" name="Rectangle 412"/>
              <p:cNvSpPr/>
              <p:nvPr/>
            </p:nvSpPr>
            <p:spPr bwMode="auto">
              <a:xfrm>
                <a:off x="5390364" y="3555977"/>
                <a:ext cx="4858704" cy="6823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67" name="Group 366"/>
            <p:cNvGrpSpPr>
              <a:grpSpLocks noChangeAspect="1"/>
            </p:cNvGrpSpPr>
            <p:nvPr/>
          </p:nvGrpSpPr>
          <p:grpSpPr>
            <a:xfrm>
              <a:off x="6269135" y="2751280"/>
              <a:ext cx="396404" cy="524251"/>
              <a:chOff x="22634575" y="-784225"/>
              <a:chExt cx="4724401" cy="5680075"/>
            </a:xfrm>
            <a:solidFill>
              <a:srgbClr val="008DB5"/>
            </a:solidFill>
          </p:grpSpPr>
          <p:sp>
            <p:nvSpPr>
              <p:cNvPr id="406" name="Freeform 164"/>
              <p:cNvSpPr>
                <a:spLocks/>
              </p:cNvSpPr>
              <p:nvPr/>
            </p:nvSpPr>
            <p:spPr bwMode="auto">
              <a:xfrm>
                <a:off x="22720300" y="4505325"/>
                <a:ext cx="2135188" cy="390525"/>
              </a:xfrm>
              <a:custGeom>
                <a:avLst/>
                <a:gdLst>
                  <a:gd name="T0" fmla="*/ 1386 w 2689"/>
                  <a:gd name="T1" fmla="*/ 472 h 492"/>
                  <a:gd name="T2" fmla="*/ 1838 w 2689"/>
                  <a:gd name="T3" fmla="*/ 470 h 492"/>
                  <a:gd name="T4" fmla="*/ 2150 w 2689"/>
                  <a:gd name="T5" fmla="*/ 464 h 492"/>
                  <a:gd name="T6" fmla="*/ 2293 w 2689"/>
                  <a:gd name="T7" fmla="*/ 458 h 492"/>
                  <a:gd name="T8" fmla="*/ 2422 w 2689"/>
                  <a:gd name="T9" fmla="*/ 449 h 492"/>
                  <a:gd name="T10" fmla="*/ 2533 w 2689"/>
                  <a:gd name="T11" fmla="*/ 436 h 492"/>
                  <a:gd name="T12" fmla="*/ 2543 w 2689"/>
                  <a:gd name="T13" fmla="*/ 433 h 492"/>
                  <a:gd name="T14" fmla="*/ 2565 w 2689"/>
                  <a:gd name="T15" fmla="*/ 426 h 492"/>
                  <a:gd name="T16" fmla="*/ 2584 w 2689"/>
                  <a:gd name="T17" fmla="*/ 417 h 492"/>
                  <a:gd name="T18" fmla="*/ 2600 w 2689"/>
                  <a:gd name="T19" fmla="*/ 405 h 492"/>
                  <a:gd name="T20" fmla="*/ 2623 w 2689"/>
                  <a:gd name="T21" fmla="*/ 380 h 492"/>
                  <a:gd name="T22" fmla="*/ 2646 w 2689"/>
                  <a:gd name="T23" fmla="*/ 339 h 492"/>
                  <a:gd name="T24" fmla="*/ 2665 w 2689"/>
                  <a:gd name="T25" fmla="*/ 288 h 492"/>
                  <a:gd name="T26" fmla="*/ 2677 w 2689"/>
                  <a:gd name="T27" fmla="*/ 228 h 492"/>
                  <a:gd name="T28" fmla="*/ 2685 w 2689"/>
                  <a:gd name="T29" fmla="*/ 161 h 492"/>
                  <a:gd name="T30" fmla="*/ 2689 w 2689"/>
                  <a:gd name="T31" fmla="*/ 89 h 492"/>
                  <a:gd name="T32" fmla="*/ 2689 w 2689"/>
                  <a:gd name="T33" fmla="*/ 51 h 492"/>
                  <a:gd name="T34" fmla="*/ 2187 w 2689"/>
                  <a:gd name="T35" fmla="*/ 60 h 492"/>
                  <a:gd name="T36" fmla="*/ 1368 w 2689"/>
                  <a:gd name="T37" fmla="*/ 79 h 492"/>
                  <a:gd name="T38" fmla="*/ 987 w 2689"/>
                  <a:gd name="T39" fmla="*/ 83 h 492"/>
                  <a:gd name="T40" fmla="*/ 759 w 2689"/>
                  <a:gd name="T41" fmla="*/ 81 h 492"/>
                  <a:gd name="T42" fmla="*/ 657 w 2689"/>
                  <a:gd name="T43" fmla="*/ 78 h 492"/>
                  <a:gd name="T44" fmla="*/ 438 w 2689"/>
                  <a:gd name="T45" fmla="*/ 67 h 492"/>
                  <a:gd name="T46" fmla="*/ 259 w 2689"/>
                  <a:gd name="T47" fmla="*/ 50 h 492"/>
                  <a:gd name="T48" fmla="*/ 114 w 2689"/>
                  <a:gd name="T49" fmla="*/ 27 h 492"/>
                  <a:gd name="T50" fmla="*/ 0 w 2689"/>
                  <a:gd name="T51" fmla="*/ 0 h 492"/>
                  <a:gd name="T52" fmla="*/ 0 w 2689"/>
                  <a:gd name="T53" fmla="*/ 35 h 492"/>
                  <a:gd name="T54" fmla="*/ 4 w 2689"/>
                  <a:gd name="T55" fmla="*/ 107 h 492"/>
                  <a:gd name="T56" fmla="*/ 16 w 2689"/>
                  <a:gd name="T57" fmla="*/ 181 h 492"/>
                  <a:gd name="T58" fmla="*/ 39 w 2689"/>
                  <a:gd name="T59" fmla="*/ 257 h 492"/>
                  <a:gd name="T60" fmla="*/ 53 w 2689"/>
                  <a:gd name="T61" fmla="*/ 297 h 492"/>
                  <a:gd name="T62" fmla="*/ 66 w 2689"/>
                  <a:gd name="T63" fmla="*/ 323 h 492"/>
                  <a:gd name="T64" fmla="*/ 82 w 2689"/>
                  <a:gd name="T65" fmla="*/ 345 h 492"/>
                  <a:gd name="T66" fmla="*/ 102 w 2689"/>
                  <a:gd name="T67" fmla="*/ 367 h 492"/>
                  <a:gd name="T68" fmla="*/ 125 w 2689"/>
                  <a:gd name="T69" fmla="*/ 386 h 492"/>
                  <a:gd name="T70" fmla="*/ 150 w 2689"/>
                  <a:gd name="T71" fmla="*/ 403 h 492"/>
                  <a:gd name="T72" fmla="*/ 211 w 2689"/>
                  <a:gd name="T73" fmla="*/ 431 h 492"/>
                  <a:gd name="T74" fmla="*/ 282 w 2689"/>
                  <a:gd name="T75" fmla="*/ 454 h 492"/>
                  <a:gd name="T76" fmla="*/ 361 w 2689"/>
                  <a:gd name="T77" fmla="*/ 470 h 492"/>
                  <a:gd name="T78" fmla="*/ 449 w 2689"/>
                  <a:gd name="T79" fmla="*/ 481 h 492"/>
                  <a:gd name="T80" fmla="*/ 541 w 2689"/>
                  <a:gd name="T81" fmla="*/ 488 h 492"/>
                  <a:gd name="T82" fmla="*/ 691 w 2689"/>
                  <a:gd name="T83" fmla="*/ 492 h 492"/>
                  <a:gd name="T84" fmla="*/ 896 w 2689"/>
                  <a:gd name="T85" fmla="*/ 488 h 492"/>
                  <a:gd name="T86" fmla="*/ 1202 w 2689"/>
                  <a:gd name="T87" fmla="*/ 476 h 492"/>
                  <a:gd name="T88" fmla="*/ 1386 w 2689"/>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89" h="492">
                    <a:moveTo>
                      <a:pt x="1386" y="472"/>
                    </a:moveTo>
                    <a:lnTo>
                      <a:pt x="1386" y="472"/>
                    </a:lnTo>
                    <a:lnTo>
                      <a:pt x="1680" y="472"/>
                    </a:lnTo>
                    <a:lnTo>
                      <a:pt x="1838" y="470"/>
                    </a:lnTo>
                    <a:lnTo>
                      <a:pt x="1996" y="468"/>
                    </a:lnTo>
                    <a:lnTo>
                      <a:pt x="2150" y="464"/>
                    </a:lnTo>
                    <a:lnTo>
                      <a:pt x="2223" y="461"/>
                    </a:lnTo>
                    <a:lnTo>
                      <a:pt x="2293" y="458"/>
                    </a:lnTo>
                    <a:lnTo>
                      <a:pt x="2361" y="453"/>
                    </a:lnTo>
                    <a:lnTo>
                      <a:pt x="2422" y="449"/>
                    </a:lnTo>
                    <a:lnTo>
                      <a:pt x="2480" y="442"/>
                    </a:lnTo>
                    <a:lnTo>
                      <a:pt x="2533" y="436"/>
                    </a:lnTo>
                    <a:lnTo>
                      <a:pt x="2533" y="436"/>
                    </a:lnTo>
                    <a:lnTo>
                      <a:pt x="2543" y="433"/>
                    </a:lnTo>
                    <a:lnTo>
                      <a:pt x="2554" y="430"/>
                    </a:lnTo>
                    <a:lnTo>
                      <a:pt x="2565" y="426"/>
                    </a:lnTo>
                    <a:lnTo>
                      <a:pt x="2574" y="422"/>
                    </a:lnTo>
                    <a:lnTo>
                      <a:pt x="2584" y="417"/>
                    </a:lnTo>
                    <a:lnTo>
                      <a:pt x="2592" y="411"/>
                    </a:lnTo>
                    <a:lnTo>
                      <a:pt x="2600" y="405"/>
                    </a:lnTo>
                    <a:lnTo>
                      <a:pt x="2608" y="397"/>
                    </a:lnTo>
                    <a:lnTo>
                      <a:pt x="2623" y="380"/>
                    </a:lnTo>
                    <a:lnTo>
                      <a:pt x="2635" y="360"/>
                    </a:lnTo>
                    <a:lnTo>
                      <a:pt x="2646" y="339"/>
                    </a:lnTo>
                    <a:lnTo>
                      <a:pt x="2656" y="314"/>
                    </a:lnTo>
                    <a:lnTo>
                      <a:pt x="2665" y="288"/>
                    </a:lnTo>
                    <a:lnTo>
                      <a:pt x="2671" y="259"/>
                    </a:lnTo>
                    <a:lnTo>
                      <a:pt x="2677" y="228"/>
                    </a:lnTo>
                    <a:lnTo>
                      <a:pt x="2681" y="196"/>
                    </a:lnTo>
                    <a:lnTo>
                      <a:pt x="2685" y="161"/>
                    </a:lnTo>
                    <a:lnTo>
                      <a:pt x="2687" y="126"/>
                    </a:lnTo>
                    <a:lnTo>
                      <a:pt x="2689" y="89"/>
                    </a:lnTo>
                    <a:lnTo>
                      <a:pt x="2689" y="51"/>
                    </a:lnTo>
                    <a:lnTo>
                      <a:pt x="2689" y="51"/>
                    </a:lnTo>
                    <a:lnTo>
                      <a:pt x="2448" y="55"/>
                    </a:lnTo>
                    <a:lnTo>
                      <a:pt x="2187" y="60"/>
                    </a:lnTo>
                    <a:lnTo>
                      <a:pt x="1640" y="74"/>
                    </a:lnTo>
                    <a:lnTo>
                      <a:pt x="1368" y="79"/>
                    </a:lnTo>
                    <a:lnTo>
                      <a:pt x="1109" y="82"/>
                    </a:lnTo>
                    <a:lnTo>
                      <a:pt x="987" y="83"/>
                    </a:lnTo>
                    <a:lnTo>
                      <a:pt x="870" y="82"/>
                    </a:lnTo>
                    <a:lnTo>
                      <a:pt x="759" y="81"/>
                    </a:lnTo>
                    <a:lnTo>
                      <a:pt x="657" y="78"/>
                    </a:lnTo>
                    <a:lnTo>
                      <a:pt x="657" y="78"/>
                    </a:lnTo>
                    <a:lnTo>
                      <a:pt x="543" y="74"/>
                    </a:lnTo>
                    <a:lnTo>
                      <a:pt x="438" y="67"/>
                    </a:lnTo>
                    <a:lnTo>
                      <a:pt x="344" y="59"/>
                    </a:lnTo>
                    <a:lnTo>
                      <a:pt x="259" y="50"/>
                    </a:lnTo>
                    <a:lnTo>
                      <a:pt x="182" y="39"/>
                    </a:lnTo>
                    <a:lnTo>
                      <a:pt x="114" y="27"/>
                    </a:lnTo>
                    <a:lnTo>
                      <a:pt x="52" y="13"/>
                    </a:lnTo>
                    <a:lnTo>
                      <a:pt x="0" y="0"/>
                    </a:lnTo>
                    <a:lnTo>
                      <a:pt x="0" y="0"/>
                    </a:lnTo>
                    <a:lnTo>
                      <a:pt x="0" y="35"/>
                    </a:lnTo>
                    <a:lnTo>
                      <a:pt x="1" y="71"/>
                    </a:lnTo>
                    <a:lnTo>
                      <a:pt x="4" y="107"/>
                    </a:lnTo>
                    <a:lnTo>
                      <a:pt x="9" y="144"/>
                    </a:lnTo>
                    <a:lnTo>
                      <a:pt x="16" y="181"/>
                    </a:lnTo>
                    <a:lnTo>
                      <a:pt x="27" y="219"/>
                    </a:lnTo>
                    <a:lnTo>
                      <a:pt x="39" y="257"/>
                    </a:lnTo>
                    <a:lnTo>
                      <a:pt x="53" y="297"/>
                    </a:lnTo>
                    <a:lnTo>
                      <a:pt x="53" y="297"/>
                    </a:lnTo>
                    <a:lnTo>
                      <a:pt x="59" y="310"/>
                    </a:lnTo>
                    <a:lnTo>
                      <a:pt x="66" y="323"/>
                    </a:lnTo>
                    <a:lnTo>
                      <a:pt x="74" y="335"/>
                    </a:lnTo>
                    <a:lnTo>
                      <a:pt x="82" y="345"/>
                    </a:lnTo>
                    <a:lnTo>
                      <a:pt x="91" y="356"/>
                    </a:lnTo>
                    <a:lnTo>
                      <a:pt x="102" y="367"/>
                    </a:lnTo>
                    <a:lnTo>
                      <a:pt x="113" y="376"/>
                    </a:lnTo>
                    <a:lnTo>
                      <a:pt x="125" y="386"/>
                    </a:lnTo>
                    <a:lnTo>
                      <a:pt x="137" y="395"/>
                    </a:lnTo>
                    <a:lnTo>
                      <a:pt x="150" y="403"/>
                    </a:lnTo>
                    <a:lnTo>
                      <a:pt x="180" y="418"/>
                    </a:lnTo>
                    <a:lnTo>
                      <a:pt x="211" y="431"/>
                    </a:lnTo>
                    <a:lnTo>
                      <a:pt x="246" y="444"/>
                    </a:lnTo>
                    <a:lnTo>
                      <a:pt x="282" y="454"/>
                    </a:lnTo>
                    <a:lnTo>
                      <a:pt x="321" y="464"/>
                    </a:lnTo>
                    <a:lnTo>
                      <a:pt x="361" y="470"/>
                    </a:lnTo>
                    <a:lnTo>
                      <a:pt x="404" y="477"/>
                    </a:lnTo>
                    <a:lnTo>
                      <a:pt x="449" y="481"/>
                    </a:lnTo>
                    <a:lnTo>
                      <a:pt x="494" y="485"/>
                    </a:lnTo>
                    <a:lnTo>
                      <a:pt x="541" y="488"/>
                    </a:lnTo>
                    <a:lnTo>
                      <a:pt x="590" y="491"/>
                    </a:lnTo>
                    <a:lnTo>
                      <a:pt x="691" y="492"/>
                    </a:lnTo>
                    <a:lnTo>
                      <a:pt x="793" y="491"/>
                    </a:lnTo>
                    <a:lnTo>
                      <a:pt x="896" y="488"/>
                    </a:lnTo>
                    <a:lnTo>
                      <a:pt x="1000" y="484"/>
                    </a:lnTo>
                    <a:lnTo>
                      <a:pt x="1202" y="476"/>
                    </a:lnTo>
                    <a:lnTo>
                      <a:pt x="1296" y="472"/>
                    </a:lnTo>
                    <a:lnTo>
                      <a:pt x="1386" y="472"/>
                    </a:lnTo>
                    <a:lnTo>
                      <a:pt x="1386"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7" name="Freeform 165"/>
              <p:cNvSpPr>
                <a:spLocks/>
              </p:cNvSpPr>
              <p:nvPr/>
            </p:nvSpPr>
            <p:spPr bwMode="auto">
              <a:xfrm>
                <a:off x="25130125" y="4505325"/>
                <a:ext cx="2136775" cy="390525"/>
              </a:xfrm>
              <a:custGeom>
                <a:avLst/>
                <a:gdLst>
                  <a:gd name="T0" fmla="*/ 1302 w 2690"/>
                  <a:gd name="T1" fmla="*/ 472 h 492"/>
                  <a:gd name="T2" fmla="*/ 851 w 2690"/>
                  <a:gd name="T3" fmla="*/ 470 h 492"/>
                  <a:gd name="T4" fmla="*/ 539 w 2690"/>
                  <a:gd name="T5" fmla="*/ 464 h 492"/>
                  <a:gd name="T6" fmla="*/ 395 w 2690"/>
                  <a:gd name="T7" fmla="*/ 458 h 492"/>
                  <a:gd name="T8" fmla="*/ 266 w 2690"/>
                  <a:gd name="T9" fmla="*/ 449 h 492"/>
                  <a:gd name="T10" fmla="*/ 156 w 2690"/>
                  <a:gd name="T11" fmla="*/ 436 h 492"/>
                  <a:gd name="T12" fmla="*/ 145 w 2690"/>
                  <a:gd name="T13" fmla="*/ 433 h 492"/>
                  <a:gd name="T14" fmla="*/ 123 w 2690"/>
                  <a:gd name="T15" fmla="*/ 426 h 492"/>
                  <a:gd name="T16" fmla="*/ 106 w 2690"/>
                  <a:gd name="T17" fmla="*/ 417 h 492"/>
                  <a:gd name="T18" fmla="*/ 88 w 2690"/>
                  <a:gd name="T19" fmla="*/ 405 h 492"/>
                  <a:gd name="T20" fmla="*/ 65 w 2690"/>
                  <a:gd name="T21" fmla="*/ 380 h 492"/>
                  <a:gd name="T22" fmla="*/ 43 w 2690"/>
                  <a:gd name="T23" fmla="*/ 339 h 492"/>
                  <a:gd name="T24" fmla="*/ 24 w 2690"/>
                  <a:gd name="T25" fmla="*/ 288 h 492"/>
                  <a:gd name="T26" fmla="*/ 12 w 2690"/>
                  <a:gd name="T27" fmla="*/ 228 h 492"/>
                  <a:gd name="T28" fmla="*/ 4 w 2690"/>
                  <a:gd name="T29" fmla="*/ 161 h 492"/>
                  <a:gd name="T30" fmla="*/ 1 w 2690"/>
                  <a:gd name="T31" fmla="*/ 89 h 492"/>
                  <a:gd name="T32" fmla="*/ 0 w 2690"/>
                  <a:gd name="T33" fmla="*/ 51 h 492"/>
                  <a:gd name="T34" fmla="*/ 501 w 2690"/>
                  <a:gd name="T35" fmla="*/ 60 h 492"/>
                  <a:gd name="T36" fmla="*/ 1320 w 2690"/>
                  <a:gd name="T37" fmla="*/ 79 h 492"/>
                  <a:gd name="T38" fmla="*/ 1702 w 2690"/>
                  <a:gd name="T39" fmla="*/ 83 h 492"/>
                  <a:gd name="T40" fmla="*/ 1929 w 2690"/>
                  <a:gd name="T41" fmla="*/ 81 h 492"/>
                  <a:gd name="T42" fmla="*/ 2031 w 2690"/>
                  <a:gd name="T43" fmla="*/ 78 h 492"/>
                  <a:gd name="T44" fmla="*/ 2250 w 2690"/>
                  <a:gd name="T45" fmla="*/ 67 h 492"/>
                  <a:gd name="T46" fmla="*/ 2431 w 2690"/>
                  <a:gd name="T47" fmla="*/ 50 h 492"/>
                  <a:gd name="T48" fmla="*/ 2576 w 2690"/>
                  <a:gd name="T49" fmla="*/ 27 h 492"/>
                  <a:gd name="T50" fmla="*/ 2690 w 2690"/>
                  <a:gd name="T51" fmla="*/ 0 h 492"/>
                  <a:gd name="T52" fmla="*/ 2689 w 2690"/>
                  <a:gd name="T53" fmla="*/ 35 h 492"/>
                  <a:gd name="T54" fmla="*/ 2685 w 2690"/>
                  <a:gd name="T55" fmla="*/ 107 h 492"/>
                  <a:gd name="T56" fmla="*/ 2673 w 2690"/>
                  <a:gd name="T57" fmla="*/ 181 h 492"/>
                  <a:gd name="T58" fmla="*/ 2651 w 2690"/>
                  <a:gd name="T59" fmla="*/ 257 h 492"/>
                  <a:gd name="T60" fmla="*/ 2635 w 2690"/>
                  <a:gd name="T61" fmla="*/ 297 h 492"/>
                  <a:gd name="T62" fmla="*/ 2623 w 2690"/>
                  <a:gd name="T63" fmla="*/ 323 h 492"/>
                  <a:gd name="T64" fmla="*/ 2607 w 2690"/>
                  <a:gd name="T65" fmla="*/ 345 h 492"/>
                  <a:gd name="T66" fmla="*/ 2586 w 2690"/>
                  <a:gd name="T67" fmla="*/ 367 h 492"/>
                  <a:gd name="T68" fmla="*/ 2564 w 2690"/>
                  <a:gd name="T69" fmla="*/ 386 h 492"/>
                  <a:gd name="T70" fmla="*/ 2538 w 2690"/>
                  <a:gd name="T71" fmla="*/ 403 h 492"/>
                  <a:gd name="T72" fmla="*/ 2478 w 2690"/>
                  <a:gd name="T73" fmla="*/ 431 h 492"/>
                  <a:gd name="T74" fmla="*/ 2406 w 2690"/>
                  <a:gd name="T75" fmla="*/ 454 h 492"/>
                  <a:gd name="T76" fmla="*/ 2327 w 2690"/>
                  <a:gd name="T77" fmla="*/ 470 h 492"/>
                  <a:gd name="T78" fmla="*/ 2240 w 2690"/>
                  <a:gd name="T79" fmla="*/ 481 h 492"/>
                  <a:gd name="T80" fmla="*/ 2147 w 2690"/>
                  <a:gd name="T81" fmla="*/ 488 h 492"/>
                  <a:gd name="T82" fmla="*/ 1999 w 2690"/>
                  <a:gd name="T83" fmla="*/ 492 h 492"/>
                  <a:gd name="T84" fmla="*/ 1792 w 2690"/>
                  <a:gd name="T85" fmla="*/ 488 h 492"/>
                  <a:gd name="T86" fmla="*/ 1487 w 2690"/>
                  <a:gd name="T87" fmla="*/ 476 h 492"/>
                  <a:gd name="T88" fmla="*/ 1302 w 2690"/>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90" h="492">
                    <a:moveTo>
                      <a:pt x="1302" y="472"/>
                    </a:moveTo>
                    <a:lnTo>
                      <a:pt x="1302" y="472"/>
                    </a:lnTo>
                    <a:lnTo>
                      <a:pt x="1008" y="472"/>
                    </a:lnTo>
                    <a:lnTo>
                      <a:pt x="851" y="470"/>
                    </a:lnTo>
                    <a:lnTo>
                      <a:pt x="692" y="468"/>
                    </a:lnTo>
                    <a:lnTo>
                      <a:pt x="539" y="464"/>
                    </a:lnTo>
                    <a:lnTo>
                      <a:pt x="466" y="461"/>
                    </a:lnTo>
                    <a:lnTo>
                      <a:pt x="395" y="458"/>
                    </a:lnTo>
                    <a:lnTo>
                      <a:pt x="328" y="453"/>
                    </a:lnTo>
                    <a:lnTo>
                      <a:pt x="266" y="449"/>
                    </a:lnTo>
                    <a:lnTo>
                      <a:pt x="208" y="442"/>
                    </a:lnTo>
                    <a:lnTo>
                      <a:pt x="156" y="436"/>
                    </a:lnTo>
                    <a:lnTo>
                      <a:pt x="156" y="436"/>
                    </a:lnTo>
                    <a:lnTo>
                      <a:pt x="145" y="433"/>
                    </a:lnTo>
                    <a:lnTo>
                      <a:pt x="134" y="430"/>
                    </a:lnTo>
                    <a:lnTo>
                      <a:pt x="123" y="426"/>
                    </a:lnTo>
                    <a:lnTo>
                      <a:pt x="114" y="422"/>
                    </a:lnTo>
                    <a:lnTo>
                      <a:pt x="106" y="417"/>
                    </a:lnTo>
                    <a:lnTo>
                      <a:pt x="96" y="411"/>
                    </a:lnTo>
                    <a:lnTo>
                      <a:pt x="88" y="405"/>
                    </a:lnTo>
                    <a:lnTo>
                      <a:pt x="80" y="397"/>
                    </a:lnTo>
                    <a:lnTo>
                      <a:pt x="65" y="380"/>
                    </a:lnTo>
                    <a:lnTo>
                      <a:pt x="53" y="360"/>
                    </a:lnTo>
                    <a:lnTo>
                      <a:pt x="43" y="339"/>
                    </a:lnTo>
                    <a:lnTo>
                      <a:pt x="33" y="314"/>
                    </a:lnTo>
                    <a:lnTo>
                      <a:pt x="24" y="288"/>
                    </a:lnTo>
                    <a:lnTo>
                      <a:pt x="17" y="259"/>
                    </a:lnTo>
                    <a:lnTo>
                      <a:pt x="12" y="228"/>
                    </a:lnTo>
                    <a:lnTo>
                      <a:pt x="8" y="196"/>
                    </a:lnTo>
                    <a:lnTo>
                      <a:pt x="4" y="161"/>
                    </a:lnTo>
                    <a:lnTo>
                      <a:pt x="2" y="126"/>
                    </a:lnTo>
                    <a:lnTo>
                      <a:pt x="1" y="89"/>
                    </a:lnTo>
                    <a:lnTo>
                      <a:pt x="0" y="51"/>
                    </a:lnTo>
                    <a:lnTo>
                      <a:pt x="0" y="51"/>
                    </a:lnTo>
                    <a:lnTo>
                      <a:pt x="240" y="55"/>
                    </a:lnTo>
                    <a:lnTo>
                      <a:pt x="501" y="60"/>
                    </a:lnTo>
                    <a:lnTo>
                      <a:pt x="1048" y="74"/>
                    </a:lnTo>
                    <a:lnTo>
                      <a:pt x="1320" y="79"/>
                    </a:lnTo>
                    <a:lnTo>
                      <a:pt x="1579" y="82"/>
                    </a:lnTo>
                    <a:lnTo>
                      <a:pt x="1702" y="83"/>
                    </a:lnTo>
                    <a:lnTo>
                      <a:pt x="1819" y="82"/>
                    </a:lnTo>
                    <a:lnTo>
                      <a:pt x="1929" y="81"/>
                    </a:lnTo>
                    <a:lnTo>
                      <a:pt x="2031" y="78"/>
                    </a:lnTo>
                    <a:lnTo>
                      <a:pt x="2031" y="78"/>
                    </a:lnTo>
                    <a:lnTo>
                      <a:pt x="2145" y="74"/>
                    </a:lnTo>
                    <a:lnTo>
                      <a:pt x="2250" y="67"/>
                    </a:lnTo>
                    <a:lnTo>
                      <a:pt x="2344" y="59"/>
                    </a:lnTo>
                    <a:lnTo>
                      <a:pt x="2431" y="50"/>
                    </a:lnTo>
                    <a:lnTo>
                      <a:pt x="2507" y="39"/>
                    </a:lnTo>
                    <a:lnTo>
                      <a:pt x="2576" y="27"/>
                    </a:lnTo>
                    <a:lnTo>
                      <a:pt x="2636" y="13"/>
                    </a:lnTo>
                    <a:lnTo>
                      <a:pt x="2690" y="0"/>
                    </a:lnTo>
                    <a:lnTo>
                      <a:pt x="2690" y="0"/>
                    </a:lnTo>
                    <a:lnTo>
                      <a:pt x="2689" y="35"/>
                    </a:lnTo>
                    <a:lnTo>
                      <a:pt x="2687" y="71"/>
                    </a:lnTo>
                    <a:lnTo>
                      <a:pt x="2685" y="107"/>
                    </a:lnTo>
                    <a:lnTo>
                      <a:pt x="2679" y="144"/>
                    </a:lnTo>
                    <a:lnTo>
                      <a:pt x="2673" y="181"/>
                    </a:lnTo>
                    <a:lnTo>
                      <a:pt x="2663" y="219"/>
                    </a:lnTo>
                    <a:lnTo>
                      <a:pt x="2651" y="257"/>
                    </a:lnTo>
                    <a:lnTo>
                      <a:pt x="2635" y="297"/>
                    </a:lnTo>
                    <a:lnTo>
                      <a:pt x="2635" y="297"/>
                    </a:lnTo>
                    <a:lnTo>
                      <a:pt x="2630" y="310"/>
                    </a:lnTo>
                    <a:lnTo>
                      <a:pt x="2623" y="323"/>
                    </a:lnTo>
                    <a:lnTo>
                      <a:pt x="2615" y="335"/>
                    </a:lnTo>
                    <a:lnTo>
                      <a:pt x="2607" y="345"/>
                    </a:lnTo>
                    <a:lnTo>
                      <a:pt x="2597" y="356"/>
                    </a:lnTo>
                    <a:lnTo>
                      <a:pt x="2586" y="367"/>
                    </a:lnTo>
                    <a:lnTo>
                      <a:pt x="2576" y="376"/>
                    </a:lnTo>
                    <a:lnTo>
                      <a:pt x="2564" y="386"/>
                    </a:lnTo>
                    <a:lnTo>
                      <a:pt x="2552" y="395"/>
                    </a:lnTo>
                    <a:lnTo>
                      <a:pt x="2538" y="403"/>
                    </a:lnTo>
                    <a:lnTo>
                      <a:pt x="2509" y="418"/>
                    </a:lnTo>
                    <a:lnTo>
                      <a:pt x="2478" y="431"/>
                    </a:lnTo>
                    <a:lnTo>
                      <a:pt x="2443" y="444"/>
                    </a:lnTo>
                    <a:lnTo>
                      <a:pt x="2406" y="454"/>
                    </a:lnTo>
                    <a:lnTo>
                      <a:pt x="2367" y="464"/>
                    </a:lnTo>
                    <a:lnTo>
                      <a:pt x="2327" y="470"/>
                    </a:lnTo>
                    <a:lnTo>
                      <a:pt x="2284" y="477"/>
                    </a:lnTo>
                    <a:lnTo>
                      <a:pt x="2240" y="481"/>
                    </a:lnTo>
                    <a:lnTo>
                      <a:pt x="2194" y="485"/>
                    </a:lnTo>
                    <a:lnTo>
                      <a:pt x="2147" y="488"/>
                    </a:lnTo>
                    <a:lnTo>
                      <a:pt x="2098" y="491"/>
                    </a:lnTo>
                    <a:lnTo>
                      <a:pt x="1999" y="492"/>
                    </a:lnTo>
                    <a:lnTo>
                      <a:pt x="1895" y="491"/>
                    </a:lnTo>
                    <a:lnTo>
                      <a:pt x="1792" y="488"/>
                    </a:lnTo>
                    <a:lnTo>
                      <a:pt x="1688" y="484"/>
                    </a:lnTo>
                    <a:lnTo>
                      <a:pt x="1487" y="476"/>
                    </a:lnTo>
                    <a:lnTo>
                      <a:pt x="1393" y="472"/>
                    </a:lnTo>
                    <a:lnTo>
                      <a:pt x="1302" y="472"/>
                    </a:lnTo>
                    <a:lnTo>
                      <a:pt x="1302"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8" name="Freeform 166"/>
              <p:cNvSpPr>
                <a:spLocks/>
              </p:cNvSpPr>
              <p:nvPr/>
            </p:nvSpPr>
            <p:spPr bwMode="auto">
              <a:xfrm>
                <a:off x="22634575" y="117475"/>
                <a:ext cx="2265363" cy="4313238"/>
              </a:xfrm>
              <a:custGeom>
                <a:avLst/>
                <a:gdLst>
                  <a:gd name="T0" fmla="*/ 2402 w 2854"/>
                  <a:gd name="T1" fmla="*/ 3733 h 5434"/>
                  <a:gd name="T2" fmla="*/ 2240 w 2854"/>
                  <a:gd name="T3" fmla="*/ 3629 h 5434"/>
                  <a:gd name="T4" fmla="*/ 2058 w 2854"/>
                  <a:gd name="T5" fmla="*/ 3566 h 5434"/>
                  <a:gd name="T6" fmla="*/ 1854 w 2854"/>
                  <a:gd name="T7" fmla="*/ 3535 h 5434"/>
                  <a:gd name="T8" fmla="*/ 1584 w 2854"/>
                  <a:gd name="T9" fmla="*/ 3531 h 5434"/>
                  <a:gd name="T10" fmla="*/ 1180 w 2854"/>
                  <a:gd name="T11" fmla="*/ 3563 h 5434"/>
                  <a:gd name="T12" fmla="*/ 1144 w 2854"/>
                  <a:gd name="T13" fmla="*/ 3574 h 5434"/>
                  <a:gd name="T14" fmla="*/ 914 w 2854"/>
                  <a:gd name="T15" fmla="*/ 3595 h 5434"/>
                  <a:gd name="T16" fmla="*/ 797 w 2854"/>
                  <a:gd name="T17" fmla="*/ 3587 h 5434"/>
                  <a:gd name="T18" fmla="*/ 771 w 2854"/>
                  <a:gd name="T19" fmla="*/ 3567 h 5434"/>
                  <a:gd name="T20" fmla="*/ 798 w 2854"/>
                  <a:gd name="T21" fmla="*/ 3534 h 5434"/>
                  <a:gd name="T22" fmla="*/ 890 w 2854"/>
                  <a:gd name="T23" fmla="*/ 3487 h 5434"/>
                  <a:gd name="T24" fmla="*/ 1234 w 2854"/>
                  <a:gd name="T25" fmla="*/ 3433 h 5434"/>
                  <a:gd name="T26" fmla="*/ 1602 w 2854"/>
                  <a:gd name="T27" fmla="*/ 3394 h 5434"/>
                  <a:gd name="T28" fmla="*/ 1996 w 2854"/>
                  <a:gd name="T29" fmla="*/ 3405 h 5434"/>
                  <a:gd name="T30" fmla="*/ 2177 w 2854"/>
                  <a:gd name="T31" fmla="*/ 3435 h 5434"/>
                  <a:gd name="T32" fmla="*/ 2343 w 2854"/>
                  <a:gd name="T33" fmla="*/ 3492 h 5434"/>
                  <a:gd name="T34" fmla="*/ 2495 w 2854"/>
                  <a:gd name="T35" fmla="*/ 3579 h 5434"/>
                  <a:gd name="T36" fmla="*/ 2632 w 2854"/>
                  <a:gd name="T37" fmla="*/ 3704 h 5434"/>
                  <a:gd name="T38" fmla="*/ 2654 w 2854"/>
                  <a:gd name="T39" fmla="*/ 3489 h 5434"/>
                  <a:gd name="T40" fmla="*/ 2635 w 2854"/>
                  <a:gd name="T41" fmla="*/ 2875 h 5434"/>
                  <a:gd name="T42" fmla="*/ 2666 w 2854"/>
                  <a:gd name="T43" fmla="*/ 2282 h 5434"/>
                  <a:gd name="T44" fmla="*/ 2724 w 2854"/>
                  <a:gd name="T45" fmla="*/ 1452 h 5434"/>
                  <a:gd name="T46" fmla="*/ 2729 w 2854"/>
                  <a:gd name="T47" fmla="*/ 408 h 5434"/>
                  <a:gd name="T48" fmla="*/ 2197 w 2854"/>
                  <a:gd name="T49" fmla="*/ 4 h 5434"/>
                  <a:gd name="T50" fmla="*/ 1385 w 2854"/>
                  <a:gd name="T51" fmla="*/ 8 h 5434"/>
                  <a:gd name="T52" fmla="*/ 668 w 2854"/>
                  <a:gd name="T53" fmla="*/ 55 h 5434"/>
                  <a:gd name="T54" fmla="*/ 286 w 2854"/>
                  <a:gd name="T55" fmla="*/ 262 h 5434"/>
                  <a:gd name="T56" fmla="*/ 282 w 2854"/>
                  <a:gd name="T57" fmla="*/ 1214 h 5434"/>
                  <a:gd name="T58" fmla="*/ 287 w 2854"/>
                  <a:gd name="T59" fmla="*/ 1234 h 5434"/>
                  <a:gd name="T60" fmla="*/ 308 w 2854"/>
                  <a:gd name="T61" fmla="*/ 1600 h 5434"/>
                  <a:gd name="T62" fmla="*/ 382 w 2854"/>
                  <a:gd name="T63" fmla="*/ 2181 h 5434"/>
                  <a:gd name="T64" fmla="*/ 404 w 2854"/>
                  <a:gd name="T65" fmla="*/ 2473 h 5434"/>
                  <a:gd name="T66" fmla="*/ 407 w 2854"/>
                  <a:gd name="T67" fmla="*/ 2834 h 5434"/>
                  <a:gd name="T68" fmla="*/ 364 w 2854"/>
                  <a:gd name="T69" fmla="*/ 3414 h 5434"/>
                  <a:gd name="T70" fmla="*/ 306 w 2854"/>
                  <a:gd name="T71" fmla="*/ 3864 h 5434"/>
                  <a:gd name="T72" fmla="*/ 205 w 2854"/>
                  <a:gd name="T73" fmla="*/ 4451 h 5434"/>
                  <a:gd name="T74" fmla="*/ 141 w 2854"/>
                  <a:gd name="T75" fmla="*/ 4690 h 5434"/>
                  <a:gd name="T76" fmla="*/ 15 w 2854"/>
                  <a:gd name="T77" fmla="*/ 4807 h 5434"/>
                  <a:gd name="T78" fmla="*/ 0 w 2854"/>
                  <a:gd name="T79" fmla="*/ 5085 h 5434"/>
                  <a:gd name="T80" fmla="*/ 20 w 2854"/>
                  <a:gd name="T81" fmla="*/ 5162 h 5434"/>
                  <a:gd name="T82" fmla="*/ 95 w 2854"/>
                  <a:gd name="T83" fmla="*/ 5276 h 5434"/>
                  <a:gd name="T84" fmla="*/ 119 w 2854"/>
                  <a:gd name="T85" fmla="*/ 5353 h 5434"/>
                  <a:gd name="T86" fmla="*/ 376 w 2854"/>
                  <a:gd name="T87" fmla="*/ 5401 h 5434"/>
                  <a:gd name="T88" fmla="*/ 766 w 2854"/>
                  <a:gd name="T89" fmla="*/ 5430 h 5434"/>
                  <a:gd name="T90" fmla="*/ 1475 w 2854"/>
                  <a:gd name="T91" fmla="*/ 5430 h 5434"/>
                  <a:gd name="T92" fmla="*/ 2792 w 2854"/>
                  <a:gd name="T93" fmla="*/ 5401 h 5434"/>
                  <a:gd name="T94" fmla="*/ 2779 w 2854"/>
                  <a:gd name="T95" fmla="*/ 5302 h 5434"/>
                  <a:gd name="T96" fmla="*/ 2779 w 2854"/>
                  <a:gd name="T97" fmla="*/ 5302 h 5434"/>
                  <a:gd name="T98" fmla="*/ 2808 w 2854"/>
                  <a:gd name="T99" fmla="*/ 5299 h 5434"/>
                  <a:gd name="T100" fmla="*/ 2835 w 2854"/>
                  <a:gd name="T101" fmla="*/ 5272 h 5434"/>
                  <a:gd name="T102" fmla="*/ 2846 w 2854"/>
                  <a:gd name="T103" fmla="*/ 5224 h 5434"/>
                  <a:gd name="T104" fmla="*/ 2854 w 2854"/>
                  <a:gd name="T105" fmla="*/ 4722 h 5434"/>
                  <a:gd name="T106" fmla="*/ 2831 w 2854"/>
                  <a:gd name="T107" fmla="*/ 4383 h 5434"/>
                  <a:gd name="T108" fmla="*/ 2784 w 2854"/>
                  <a:gd name="T109" fmla="*/ 4170 h 5434"/>
                  <a:gd name="T110" fmla="*/ 2716 w 2854"/>
                  <a:gd name="T111" fmla="*/ 4038 h 5434"/>
                  <a:gd name="T112" fmla="*/ 2611 w 2854"/>
                  <a:gd name="T113" fmla="*/ 3932 h 5434"/>
                  <a:gd name="T114" fmla="*/ 2488 w 2854"/>
                  <a:gd name="T115" fmla="*/ 3816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4" h="5434">
                    <a:moveTo>
                      <a:pt x="2488" y="3816"/>
                    </a:moveTo>
                    <a:lnTo>
                      <a:pt x="2488" y="3816"/>
                    </a:lnTo>
                    <a:lnTo>
                      <a:pt x="2460" y="3786"/>
                    </a:lnTo>
                    <a:lnTo>
                      <a:pt x="2432" y="3758"/>
                    </a:lnTo>
                    <a:lnTo>
                      <a:pt x="2402" y="3733"/>
                    </a:lnTo>
                    <a:lnTo>
                      <a:pt x="2371" y="3708"/>
                    </a:lnTo>
                    <a:lnTo>
                      <a:pt x="2339" y="3686"/>
                    </a:lnTo>
                    <a:lnTo>
                      <a:pt x="2307" y="3665"/>
                    </a:lnTo>
                    <a:lnTo>
                      <a:pt x="2275" y="3647"/>
                    </a:lnTo>
                    <a:lnTo>
                      <a:pt x="2240" y="3629"/>
                    </a:lnTo>
                    <a:lnTo>
                      <a:pt x="2206" y="3614"/>
                    </a:lnTo>
                    <a:lnTo>
                      <a:pt x="2170" y="3600"/>
                    </a:lnTo>
                    <a:lnTo>
                      <a:pt x="2134" y="3587"/>
                    </a:lnTo>
                    <a:lnTo>
                      <a:pt x="2096" y="3575"/>
                    </a:lnTo>
                    <a:lnTo>
                      <a:pt x="2058" y="3566"/>
                    </a:lnTo>
                    <a:lnTo>
                      <a:pt x="2018" y="3558"/>
                    </a:lnTo>
                    <a:lnTo>
                      <a:pt x="1979" y="3550"/>
                    </a:lnTo>
                    <a:lnTo>
                      <a:pt x="1937" y="3544"/>
                    </a:lnTo>
                    <a:lnTo>
                      <a:pt x="1897" y="3539"/>
                    </a:lnTo>
                    <a:lnTo>
                      <a:pt x="1854" y="3535"/>
                    </a:lnTo>
                    <a:lnTo>
                      <a:pt x="1811" y="3532"/>
                    </a:lnTo>
                    <a:lnTo>
                      <a:pt x="1766" y="3531"/>
                    </a:lnTo>
                    <a:lnTo>
                      <a:pt x="1722" y="3530"/>
                    </a:lnTo>
                    <a:lnTo>
                      <a:pt x="1676" y="3530"/>
                    </a:lnTo>
                    <a:lnTo>
                      <a:pt x="1584" y="3531"/>
                    </a:lnTo>
                    <a:lnTo>
                      <a:pt x="1487" y="3536"/>
                    </a:lnTo>
                    <a:lnTo>
                      <a:pt x="1387" y="3543"/>
                    </a:lnTo>
                    <a:lnTo>
                      <a:pt x="1285" y="3552"/>
                    </a:lnTo>
                    <a:lnTo>
                      <a:pt x="1180" y="3563"/>
                    </a:lnTo>
                    <a:lnTo>
                      <a:pt x="1180" y="3563"/>
                    </a:lnTo>
                    <a:lnTo>
                      <a:pt x="1184" y="3565"/>
                    </a:lnTo>
                    <a:lnTo>
                      <a:pt x="1184" y="3565"/>
                    </a:lnTo>
                    <a:lnTo>
                      <a:pt x="1183" y="3566"/>
                    </a:lnTo>
                    <a:lnTo>
                      <a:pt x="1169" y="3570"/>
                    </a:lnTo>
                    <a:lnTo>
                      <a:pt x="1144" y="3574"/>
                    </a:lnTo>
                    <a:lnTo>
                      <a:pt x="1108" y="3579"/>
                    </a:lnTo>
                    <a:lnTo>
                      <a:pt x="1063" y="3585"/>
                    </a:lnTo>
                    <a:lnTo>
                      <a:pt x="1015" y="3590"/>
                    </a:lnTo>
                    <a:lnTo>
                      <a:pt x="964" y="3594"/>
                    </a:lnTo>
                    <a:lnTo>
                      <a:pt x="914" y="3595"/>
                    </a:lnTo>
                    <a:lnTo>
                      <a:pt x="868" y="3595"/>
                    </a:lnTo>
                    <a:lnTo>
                      <a:pt x="847" y="3594"/>
                    </a:lnTo>
                    <a:lnTo>
                      <a:pt x="828" y="3593"/>
                    </a:lnTo>
                    <a:lnTo>
                      <a:pt x="810" y="3590"/>
                    </a:lnTo>
                    <a:lnTo>
                      <a:pt x="797" y="3587"/>
                    </a:lnTo>
                    <a:lnTo>
                      <a:pt x="785" y="3582"/>
                    </a:lnTo>
                    <a:lnTo>
                      <a:pt x="777" y="3578"/>
                    </a:lnTo>
                    <a:lnTo>
                      <a:pt x="774" y="3574"/>
                    </a:lnTo>
                    <a:lnTo>
                      <a:pt x="773" y="3571"/>
                    </a:lnTo>
                    <a:lnTo>
                      <a:pt x="771" y="3567"/>
                    </a:lnTo>
                    <a:lnTo>
                      <a:pt x="773" y="3563"/>
                    </a:lnTo>
                    <a:lnTo>
                      <a:pt x="774" y="3559"/>
                    </a:lnTo>
                    <a:lnTo>
                      <a:pt x="776" y="3555"/>
                    </a:lnTo>
                    <a:lnTo>
                      <a:pt x="785" y="3546"/>
                    </a:lnTo>
                    <a:lnTo>
                      <a:pt x="798" y="3534"/>
                    </a:lnTo>
                    <a:lnTo>
                      <a:pt x="817" y="3522"/>
                    </a:lnTo>
                    <a:lnTo>
                      <a:pt x="841" y="3508"/>
                    </a:lnTo>
                    <a:lnTo>
                      <a:pt x="871" y="3492"/>
                    </a:lnTo>
                    <a:lnTo>
                      <a:pt x="871" y="3492"/>
                    </a:lnTo>
                    <a:lnTo>
                      <a:pt x="890" y="3487"/>
                    </a:lnTo>
                    <a:lnTo>
                      <a:pt x="918" y="3480"/>
                    </a:lnTo>
                    <a:lnTo>
                      <a:pt x="956" y="3472"/>
                    </a:lnTo>
                    <a:lnTo>
                      <a:pt x="1003" y="3465"/>
                    </a:lnTo>
                    <a:lnTo>
                      <a:pt x="1112" y="3449"/>
                    </a:lnTo>
                    <a:lnTo>
                      <a:pt x="1234" y="3433"/>
                    </a:lnTo>
                    <a:lnTo>
                      <a:pt x="1356" y="3418"/>
                    </a:lnTo>
                    <a:lnTo>
                      <a:pt x="1467" y="3406"/>
                    </a:lnTo>
                    <a:lnTo>
                      <a:pt x="1553" y="3398"/>
                    </a:lnTo>
                    <a:lnTo>
                      <a:pt x="1602" y="3394"/>
                    </a:lnTo>
                    <a:lnTo>
                      <a:pt x="1602" y="3394"/>
                    </a:lnTo>
                    <a:lnTo>
                      <a:pt x="1684" y="3392"/>
                    </a:lnTo>
                    <a:lnTo>
                      <a:pt x="1765" y="3392"/>
                    </a:lnTo>
                    <a:lnTo>
                      <a:pt x="1843" y="3394"/>
                    </a:lnTo>
                    <a:lnTo>
                      <a:pt x="1921" y="3398"/>
                    </a:lnTo>
                    <a:lnTo>
                      <a:pt x="1996" y="3405"/>
                    </a:lnTo>
                    <a:lnTo>
                      <a:pt x="2033" y="3409"/>
                    </a:lnTo>
                    <a:lnTo>
                      <a:pt x="2069" y="3414"/>
                    </a:lnTo>
                    <a:lnTo>
                      <a:pt x="2105" y="3421"/>
                    </a:lnTo>
                    <a:lnTo>
                      <a:pt x="2142" y="3427"/>
                    </a:lnTo>
                    <a:lnTo>
                      <a:pt x="2177" y="3435"/>
                    </a:lnTo>
                    <a:lnTo>
                      <a:pt x="2210" y="3445"/>
                    </a:lnTo>
                    <a:lnTo>
                      <a:pt x="2244" y="3456"/>
                    </a:lnTo>
                    <a:lnTo>
                      <a:pt x="2277" y="3466"/>
                    </a:lnTo>
                    <a:lnTo>
                      <a:pt x="2311" y="3478"/>
                    </a:lnTo>
                    <a:lnTo>
                      <a:pt x="2343" y="3492"/>
                    </a:lnTo>
                    <a:lnTo>
                      <a:pt x="2374" y="3507"/>
                    </a:lnTo>
                    <a:lnTo>
                      <a:pt x="2405" y="3523"/>
                    </a:lnTo>
                    <a:lnTo>
                      <a:pt x="2436" y="3540"/>
                    </a:lnTo>
                    <a:lnTo>
                      <a:pt x="2466" y="3559"/>
                    </a:lnTo>
                    <a:lnTo>
                      <a:pt x="2495" y="3579"/>
                    </a:lnTo>
                    <a:lnTo>
                      <a:pt x="2523" y="3602"/>
                    </a:lnTo>
                    <a:lnTo>
                      <a:pt x="2552" y="3625"/>
                    </a:lnTo>
                    <a:lnTo>
                      <a:pt x="2579" y="3649"/>
                    </a:lnTo>
                    <a:lnTo>
                      <a:pt x="2605" y="3676"/>
                    </a:lnTo>
                    <a:lnTo>
                      <a:pt x="2632" y="3704"/>
                    </a:lnTo>
                    <a:lnTo>
                      <a:pt x="2657" y="3734"/>
                    </a:lnTo>
                    <a:lnTo>
                      <a:pt x="2682" y="3765"/>
                    </a:lnTo>
                    <a:lnTo>
                      <a:pt x="2682" y="3765"/>
                    </a:lnTo>
                    <a:lnTo>
                      <a:pt x="2666" y="3624"/>
                    </a:lnTo>
                    <a:lnTo>
                      <a:pt x="2654" y="3489"/>
                    </a:lnTo>
                    <a:lnTo>
                      <a:pt x="2644" y="3360"/>
                    </a:lnTo>
                    <a:lnTo>
                      <a:pt x="2639" y="3234"/>
                    </a:lnTo>
                    <a:lnTo>
                      <a:pt x="2635" y="3113"/>
                    </a:lnTo>
                    <a:lnTo>
                      <a:pt x="2634" y="2993"/>
                    </a:lnTo>
                    <a:lnTo>
                      <a:pt x="2635" y="2875"/>
                    </a:lnTo>
                    <a:lnTo>
                      <a:pt x="2638" y="2758"/>
                    </a:lnTo>
                    <a:lnTo>
                      <a:pt x="2643" y="2641"/>
                    </a:lnTo>
                    <a:lnTo>
                      <a:pt x="2648" y="2524"/>
                    </a:lnTo>
                    <a:lnTo>
                      <a:pt x="2657" y="2404"/>
                    </a:lnTo>
                    <a:lnTo>
                      <a:pt x="2666" y="2282"/>
                    </a:lnTo>
                    <a:lnTo>
                      <a:pt x="2686" y="2028"/>
                    </a:lnTo>
                    <a:lnTo>
                      <a:pt x="2708" y="1752"/>
                    </a:lnTo>
                    <a:lnTo>
                      <a:pt x="2708" y="1752"/>
                    </a:lnTo>
                    <a:lnTo>
                      <a:pt x="2717" y="1601"/>
                    </a:lnTo>
                    <a:lnTo>
                      <a:pt x="2724" y="1452"/>
                    </a:lnTo>
                    <a:lnTo>
                      <a:pt x="2728" y="1301"/>
                    </a:lnTo>
                    <a:lnTo>
                      <a:pt x="2729" y="1151"/>
                    </a:lnTo>
                    <a:lnTo>
                      <a:pt x="2729" y="1151"/>
                    </a:lnTo>
                    <a:lnTo>
                      <a:pt x="2729" y="408"/>
                    </a:lnTo>
                    <a:lnTo>
                      <a:pt x="2729" y="408"/>
                    </a:lnTo>
                    <a:lnTo>
                      <a:pt x="2730" y="21"/>
                    </a:lnTo>
                    <a:lnTo>
                      <a:pt x="2730" y="21"/>
                    </a:lnTo>
                    <a:lnTo>
                      <a:pt x="2549" y="13"/>
                    </a:lnTo>
                    <a:lnTo>
                      <a:pt x="2371" y="8"/>
                    </a:lnTo>
                    <a:lnTo>
                      <a:pt x="2197" y="4"/>
                    </a:lnTo>
                    <a:lnTo>
                      <a:pt x="2027" y="1"/>
                    </a:lnTo>
                    <a:lnTo>
                      <a:pt x="1861" y="0"/>
                    </a:lnTo>
                    <a:lnTo>
                      <a:pt x="1698" y="1"/>
                    </a:lnTo>
                    <a:lnTo>
                      <a:pt x="1539" y="4"/>
                    </a:lnTo>
                    <a:lnTo>
                      <a:pt x="1385" y="8"/>
                    </a:lnTo>
                    <a:lnTo>
                      <a:pt x="1234" y="14"/>
                    </a:lnTo>
                    <a:lnTo>
                      <a:pt x="1086" y="21"/>
                    </a:lnTo>
                    <a:lnTo>
                      <a:pt x="944" y="31"/>
                    </a:lnTo>
                    <a:lnTo>
                      <a:pt x="804" y="43"/>
                    </a:lnTo>
                    <a:lnTo>
                      <a:pt x="668" y="55"/>
                    </a:lnTo>
                    <a:lnTo>
                      <a:pt x="538" y="70"/>
                    </a:lnTo>
                    <a:lnTo>
                      <a:pt x="410" y="86"/>
                    </a:lnTo>
                    <a:lnTo>
                      <a:pt x="286" y="103"/>
                    </a:lnTo>
                    <a:lnTo>
                      <a:pt x="286" y="103"/>
                    </a:lnTo>
                    <a:lnTo>
                      <a:pt x="286" y="262"/>
                    </a:lnTo>
                    <a:lnTo>
                      <a:pt x="286" y="421"/>
                    </a:lnTo>
                    <a:lnTo>
                      <a:pt x="282" y="738"/>
                    </a:lnTo>
                    <a:lnTo>
                      <a:pt x="281" y="897"/>
                    </a:lnTo>
                    <a:lnTo>
                      <a:pt x="281" y="1055"/>
                    </a:lnTo>
                    <a:lnTo>
                      <a:pt x="282" y="1214"/>
                    </a:lnTo>
                    <a:lnTo>
                      <a:pt x="286" y="1373"/>
                    </a:lnTo>
                    <a:lnTo>
                      <a:pt x="286" y="1373"/>
                    </a:lnTo>
                    <a:lnTo>
                      <a:pt x="287" y="1304"/>
                    </a:lnTo>
                    <a:lnTo>
                      <a:pt x="287" y="1234"/>
                    </a:lnTo>
                    <a:lnTo>
                      <a:pt x="287" y="1234"/>
                    </a:lnTo>
                    <a:lnTo>
                      <a:pt x="287" y="1308"/>
                    </a:lnTo>
                    <a:lnTo>
                      <a:pt x="290" y="1381"/>
                    </a:lnTo>
                    <a:lnTo>
                      <a:pt x="296" y="1455"/>
                    </a:lnTo>
                    <a:lnTo>
                      <a:pt x="301" y="1527"/>
                    </a:lnTo>
                    <a:lnTo>
                      <a:pt x="308" y="1600"/>
                    </a:lnTo>
                    <a:lnTo>
                      <a:pt x="316" y="1673"/>
                    </a:lnTo>
                    <a:lnTo>
                      <a:pt x="335" y="1818"/>
                    </a:lnTo>
                    <a:lnTo>
                      <a:pt x="353" y="1963"/>
                    </a:lnTo>
                    <a:lnTo>
                      <a:pt x="372" y="2108"/>
                    </a:lnTo>
                    <a:lnTo>
                      <a:pt x="382" y="2181"/>
                    </a:lnTo>
                    <a:lnTo>
                      <a:pt x="388" y="2253"/>
                    </a:lnTo>
                    <a:lnTo>
                      <a:pt x="395" y="2327"/>
                    </a:lnTo>
                    <a:lnTo>
                      <a:pt x="400" y="2400"/>
                    </a:lnTo>
                    <a:lnTo>
                      <a:pt x="400" y="2400"/>
                    </a:lnTo>
                    <a:lnTo>
                      <a:pt x="404" y="2473"/>
                    </a:lnTo>
                    <a:lnTo>
                      <a:pt x="407" y="2545"/>
                    </a:lnTo>
                    <a:lnTo>
                      <a:pt x="408" y="2618"/>
                    </a:lnTo>
                    <a:lnTo>
                      <a:pt x="410" y="2690"/>
                    </a:lnTo>
                    <a:lnTo>
                      <a:pt x="408" y="2762"/>
                    </a:lnTo>
                    <a:lnTo>
                      <a:pt x="407" y="2834"/>
                    </a:lnTo>
                    <a:lnTo>
                      <a:pt x="404" y="2907"/>
                    </a:lnTo>
                    <a:lnTo>
                      <a:pt x="400" y="2980"/>
                    </a:lnTo>
                    <a:lnTo>
                      <a:pt x="391" y="3125"/>
                    </a:lnTo>
                    <a:lnTo>
                      <a:pt x="379" y="3270"/>
                    </a:lnTo>
                    <a:lnTo>
                      <a:pt x="364" y="3414"/>
                    </a:lnTo>
                    <a:lnTo>
                      <a:pt x="348" y="3558"/>
                    </a:lnTo>
                    <a:lnTo>
                      <a:pt x="348" y="3558"/>
                    </a:lnTo>
                    <a:lnTo>
                      <a:pt x="335" y="3660"/>
                    </a:lnTo>
                    <a:lnTo>
                      <a:pt x="321" y="3762"/>
                    </a:lnTo>
                    <a:lnTo>
                      <a:pt x="306" y="3864"/>
                    </a:lnTo>
                    <a:lnTo>
                      <a:pt x="291" y="3965"/>
                    </a:lnTo>
                    <a:lnTo>
                      <a:pt x="259" y="4168"/>
                    </a:lnTo>
                    <a:lnTo>
                      <a:pt x="223" y="4371"/>
                    </a:lnTo>
                    <a:lnTo>
                      <a:pt x="223" y="4371"/>
                    </a:lnTo>
                    <a:lnTo>
                      <a:pt x="205" y="4451"/>
                    </a:lnTo>
                    <a:lnTo>
                      <a:pt x="189" y="4530"/>
                    </a:lnTo>
                    <a:lnTo>
                      <a:pt x="175" y="4608"/>
                    </a:lnTo>
                    <a:lnTo>
                      <a:pt x="162" y="4686"/>
                    </a:lnTo>
                    <a:lnTo>
                      <a:pt x="162" y="4686"/>
                    </a:lnTo>
                    <a:lnTo>
                      <a:pt x="141" y="4690"/>
                    </a:lnTo>
                    <a:lnTo>
                      <a:pt x="95" y="4698"/>
                    </a:lnTo>
                    <a:lnTo>
                      <a:pt x="48" y="4705"/>
                    </a:lnTo>
                    <a:lnTo>
                      <a:pt x="27" y="4709"/>
                    </a:lnTo>
                    <a:lnTo>
                      <a:pt x="27" y="4709"/>
                    </a:lnTo>
                    <a:lnTo>
                      <a:pt x="15" y="4807"/>
                    </a:lnTo>
                    <a:lnTo>
                      <a:pt x="6" y="4903"/>
                    </a:lnTo>
                    <a:lnTo>
                      <a:pt x="4" y="4950"/>
                    </a:lnTo>
                    <a:lnTo>
                      <a:pt x="1" y="4995"/>
                    </a:lnTo>
                    <a:lnTo>
                      <a:pt x="0" y="5041"/>
                    </a:lnTo>
                    <a:lnTo>
                      <a:pt x="0" y="5085"/>
                    </a:lnTo>
                    <a:lnTo>
                      <a:pt x="0" y="5085"/>
                    </a:lnTo>
                    <a:lnTo>
                      <a:pt x="1" y="5106"/>
                    </a:lnTo>
                    <a:lnTo>
                      <a:pt x="5" y="5124"/>
                    </a:lnTo>
                    <a:lnTo>
                      <a:pt x="12" y="5143"/>
                    </a:lnTo>
                    <a:lnTo>
                      <a:pt x="20" y="5162"/>
                    </a:lnTo>
                    <a:lnTo>
                      <a:pt x="29" y="5180"/>
                    </a:lnTo>
                    <a:lnTo>
                      <a:pt x="40" y="5197"/>
                    </a:lnTo>
                    <a:lnTo>
                      <a:pt x="62" y="5229"/>
                    </a:lnTo>
                    <a:lnTo>
                      <a:pt x="84" y="5260"/>
                    </a:lnTo>
                    <a:lnTo>
                      <a:pt x="95" y="5276"/>
                    </a:lnTo>
                    <a:lnTo>
                      <a:pt x="103" y="5291"/>
                    </a:lnTo>
                    <a:lnTo>
                      <a:pt x="111" y="5307"/>
                    </a:lnTo>
                    <a:lnTo>
                      <a:pt x="117" y="5322"/>
                    </a:lnTo>
                    <a:lnTo>
                      <a:pt x="119" y="5338"/>
                    </a:lnTo>
                    <a:lnTo>
                      <a:pt x="119" y="5353"/>
                    </a:lnTo>
                    <a:lnTo>
                      <a:pt x="119" y="5353"/>
                    </a:lnTo>
                    <a:lnTo>
                      <a:pt x="173" y="5366"/>
                    </a:lnTo>
                    <a:lnTo>
                      <a:pt x="234" y="5379"/>
                    </a:lnTo>
                    <a:lnTo>
                      <a:pt x="301" y="5391"/>
                    </a:lnTo>
                    <a:lnTo>
                      <a:pt x="376" y="5401"/>
                    </a:lnTo>
                    <a:lnTo>
                      <a:pt x="461" y="5411"/>
                    </a:lnTo>
                    <a:lnTo>
                      <a:pt x="554" y="5419"/>
                    </a:lnTo>
                    <a:lnTo>
                      <a:pt x="655" y="5424"/>
                    </a:lnTo>
                    <a:lnTo>
                      <a:pt x="766" y="5430"/>
                    </a:lnTo>
                    <a:lnTo>
                      <a:pt x="766" y="5430"/>
                    </a:lnTo>
                    <a:lnTo>
                      <a:pt x="868" y="5432"/>
                    </a:lnTo>
                    <a:lnTo>
                      <a:pt x="977" y="5434"/>
                    </a:lnTo>
                    <a:lnTo>
                      <a:pt x="1094" y="5434"/>
                    </a:lnTo>
                    <a:lnTo>
                      <a:pt x="1217" y="5434"/>
                    </a:lnTo>
                    <a:lnTo>
                      <a:pt x="1475" y="5430"/>
                    </a:lnTo>
                    <a:lnTo>
                      <a:pt x="1745" y="5424"/>
                    </a:lnTo>
                    <a:lnTo>
                      <a:pt x="2291" y="5412"/>
                    </a:lnTo>
                    <a:lnTo>
                      <a:pt x="2552" y="5405"/>
                    </a:lnTo>
                    <a:lnTo>
                      <a:pt x="2792" y="5401"/>
                    </a:lnTo>
                    <a:lnTo>
                      <a:pt x="2792" y="5401"/>
                    </a:lnTo>
                    <a:lnTo>
                      <a:pt x="2788" y="5361"/>
                    </a:lnTo>
                    <a:lnTo>
                      <a:pt x="2786" y="5332"/>
                    </a:lnTo>
                    <a:lnTo>
                      <a:pt x="2782" y="5313"/>
                    </a:lnTo>
                    <a:lnTo>
                      <a:pt x="2779" y="5302"/>
                    </a:lnTo>
                    <a:lnTo>
                      <a:pt x="2779" y="5302"/>
                    </a:lnTo>
                    <a:lnTo>
                      <a:pt x="2776" y="5299"/>
                    </a:lnTo>
                    <a:lnTo>
                      <a:pt x="2775" y="5298"/>
                    </a:lnTo>
                    <a:lnTo>
                      <a:pt x="2776" y="5297"/>
                    </a:lnTo>
                    <a:lnTo>
                      <a:pt x="2776" y="5298"/>
                    </a:lnTo>
                    <a:lnTo>
                      <a:pt x="2779" y="5302"/>
                    </a:lnTo>
                    <a:lnTo>
                      <a:pt x="2779" y="5302"/>
                    </a:lnTo>
                    <a:lnTo>
                      <a:pt x="2783" y="5303"/>
                    </a:lnTo>
                    <a:lnTo>
                      <a:pt x="2792" y="5303"/>
                    </a:lnTo>
                    <a:lnTo>
                      <a:pt x="2802" y="5301"/>
                    </a:lnTo>
                    <a:lnTo>
                      <a:pt x="2808" y="5299"/>
                    </a:lnTo>
                    <a:lnTo>
                      <a:pt x="2814" y="5297"/>
                    </a:lnTo>
                    <a:lnTo>
                      <a:pt x="2819" y="5293"/>
                    </a:lnTo>
                    <a:lnTo>
                      <a:pt x="2825" y="5287"/>
                    </a:lnTo>
                    <a:lnTo>
                      <a:pt x="2830" y="5280"/>
                    </a:lnTo>
                    <a:lnTo>
                      <a:pt x="2835" y="5272"/>
                    </a:lnTo>
                    <a:lnTo>
                      <a:pt x="2839" y="5263"/>
                    </a:lnTo>
                    <a:lnTo>
                      <a:pt x="2842" y="5252"/>
                    </a:lnTo>
                    <a:lnTo>
                      <a:pt x="2845" y="5239"/>
                    </a:lnTo>
                    <a:lnTo>
                      <a:pt x="2846" y="5224"/>
                    </a:lnTo>
                    <a:lnTo>
                      <a:pt x="2846" y="5224"/>
                    </a:lnTo>
                    <a:lnTo>
                      <a:pt x="2850" y="5108"/>
                    </a:lnTo>
                    <a:lnTo>
                      <a:pt x="2853" y="5001"/>
                    </a:lnTo>
                    <a:lnTo>
                      <a:pt x="2854" y="4901"/>
                    </a:lnTo>
                    <a:lnTo>
                      <a:pt x="2854" y="4808"/>
                    </a:lnTo>
                    <a:lnTo>
                      <a:pt x="2854" y="4722"/>
                    </a:lnTo>
                    <a:lnTo>
                      <a:pt x="2851" y="4642"/>
                    </a:lnTo>
                    <a:lnTo>
                      <a:pt x="2849" y="4569"/>
                    </a:lnTo>
                    <a:lnTo>
                      <a:pt x="2843" y="4502"/>
                    </a:lnTo>
                    <a:lnTo>
                      <a:pt x="2838" y="4440"/>
                    </a:lnTo>
                    <a:lnTo>
                      <a:pt x="2831" y="4383"/>
                    </a:lnTo>
                    <a:lnTo>
                      <a:pt x="2825" y="4332"/>
                    </a:lnTo>
                    <a:lnTo>
                      <a:pt x="2815" y="4285"/>
                    </a:lnTo>
                    <a:lnTo>
                      <a:pt x="2806" y="4242"/>
                    </a:lnTo>
                    <a:lnTo>
                      <a:pt x="2796" y="4205"/>
                    </a:lnTo>
                    <a:lnTo>
                      <a:pt x="2784" y="4170"/>
                    </a:lnTo>
                    <a:lnTo>
                      <a:pt x="2772" y="4137"/>
                    </a:lnTo>
                    <a:lnTo>
                      <a:pt x="2759" y="4109"/>
                    </a:lnTo>
                    <a:lnTo>
                      <a:pt x="2745" y="4082"/>
                    </a:lnTo>
                    <a:lnTo>
                      <a:pt x="2730" y="4059"/>
                    </a:lnTo>
                    <a:lnTo>
                      <a:pt x="2716" y="4038"/>
                    </a:lnTo>
                    <a:lnTo>
                      <a:pt x="2700" y="4018"/>
                    </a:lnTo>
                    <a:lnTo>
                      <a:pt x="2683" y="3999"/>
                    </a:lnTo>
                    <a:lnTo>
                      <a:pt x="2666" y="3981"/>
                    </a:lnTo>
                    <a:lnTo>
                      <a:pt x="2647" y="3964"/>
                    </a:lnTo>
                    <a:lnTo>
                      <a:pt x="2611" y="3932"/>
                    </a:lnTo>
                    <a:lnTo>
                      <a:pt x="2572" y="3898"/>
                    </a:lnTo>
                    <a:lnTo>
                      <a:pt x="2530" y="3859"/>
                    </a:lnTo>
                    <a:lnTo>
                      <a:pt x="2509" y="3839"/>
                    </a:lnTo>
                    <a:lnTo>
                      <a:pt x="2488" y="3816"/>
                    </a:lnTo>
                    <a:lnTo>
                      <a:pt x="2488" y="38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9" name="Freeform 167"/>
              <p:cNvSpPr>
                <a:spLocks/>
              </p:cNvSpPr>
              <p:nvPr/>
            </p:nvSpPr>
            <p:spPr bwMode="auto">
              <a:xfrm>
                <a:off x="22850475" y="-774700"/>
                <a:ext cx="1957388" cy="835025"/>
              </a:xfrm>
              <a:custGeom>
                <a:avLst/>
                <a:gdLst>
                  <a:gd name="T0" fmla="*/ 15 w 2468"/>
                  <a:gd name="T1" fmla="*/ 1053 h 1053"/>
                  <a:gd name="T2" fmla="*/ 268 w 2468"/>
                  <a:gd name="T3" fmla="*/ 1020 h 1053"/>
                  <a:gd name="T4" fmla="*/ 535 w 2468"/>
                  <a:gd name="T5" fmla="*/ 993 h 1053"/>
                  <a:gd name="T6" fmla="*/ 819 w 2468"/>
                  <a:gd name="T7" fmla="*/ 973 h 1053"/>
                  <a:gd name="T8" fmla="*/ 1118 w 2468"/>
                  <a:gd name="T9" fmla="*/ 959 h 1053"/>
                  <a:gd name="T10" fmla="*/ 1431 w 2468"/>
                  <a:gd name="T11" fmla="*/ 953 h 1053"/>
                  <a:gd name="T12" fmla="*/ 1759 w 2468"/>
                  <a:gd name="T13" fmla="*/ 953 h 1053"/>
                  <a:gd name="T14" fmla="*/ 2102 w 2468"/>
                  <a:gd name="T15" fmla="*/ 959 h 1053"/>
                  <a:gd name="T16" fmla="*/ 2459 w 2468"/>
                  <a:gd name="T17" fmla="*/ 973 h 1053"/>
                  <a:gd name="T18" fmla="*/ 2461 w 2468"/>
                  <a:gd name="T19" fmla="*/ 365 h 1053"/>
                  <a:gd name="T20" fmla="*/ 2464 w 2468"/>
                  <a:gd name="T21" fmla="*/ 334 h 1053"/>
                  <a:gd name="T22" fmla="*/ 2468 w 2468"/>
                  <a:gd name="T23" fmla="*/ 278 h 1053"/>
                  <a:gd name="T24" fmla="*/ 2466 w 2468"/>
                  <a:gd name="T25" fmla="*/ 244 h 1053"/>
                  <a:gd name="T26" fmla="*/ 2462 w 2468"/>
                  <a:gd name="T27" fmla="*/ 230 h 1053"/>
                  <a:gd name="T28" fmla="*/ 2455 w 2468"/>
                  <a:gd name="T29" fmla="*/ 221 h 1053"/>
                  <a:gd name="T30" fmla="*/ 2438 w 2468"/>
                  <a:gd name="T31" fmla="*/ 202 h 1053"/>
                  <a:gd name="T32" fmla="*/ 2395 w 2468"/>
                  <a:gd name="T33" fmla="*/ 165 h 1053"/>
                  <a:gd name="T34" fmla="*/ 2343 w 2468"/>
                  <a:gd name="T35" fmla="*/ 130 h 1053"/>
                  <a:gd name="T36" fmla="*/ 2283 w 2468"/>
                  <a:gd name="T37" fmla="*/ 97 h 1053"/>
                  <a:gd name="T38" fmla="*/ 2220 w 2468"/>
                  <a:gd name="T39" fmla="*/ 70 h 1053"/>
                  <a:gd name="T40" fmla="*/ 2158 w 2468"/>
                  <a:gd name="T41" fmla="*/ 50 h 1053"/>
                  <a:gd name="T42" fmla="*/ 2099 w 2468"/>
                  <a:gd name="T43" fmla="*/ 37 h 1053"/>
                  <a:gd name="T44" fmla="*/ 2047 w 2468"/>
                  <a:gd name="T45" fmla="*/ 31 h 1053"/>
                  <a:gd name="T46" fmla="*/ 2025 w 2468"/>
                  <a:gd name="T47" fmla="*/ 33 h 1053"/>
                  <a:gd name="T48" fmla="*/ 1961 w 2468"/>
                  <a:gd name="T49" fmla="*/ 37 h 1053"/>
                  <a:gd name="T50" fmla="*/ 1895 w 2468"/>
                  <a:gd name="T51" fmla="*/ 35 h 1053"/>
                  <a:gd name="T52" fmla="*/ 1830 w 2468"/>
                  <a:gd name="T53" fmla="*/ 30 h 1053"/>
                  <a:gd name="T54" fmla="*/ 1700 w 2468"/>
                  <a:gd name="T55" fmla="*/ 14 h 1053"/>
                  <a:gd name="T56" fmla="*/ 1603 w 2468"/>
                  <a:gd name="T57" fmla="*/ 3 h 1053"/>
                  <a:gd name="T58" fmla="*/ 1537 w 2468"/>
                  <a:gd name="T59" fmla="*/ 0 h 1053"/>
                  <a:gd name="T60" fmla="*/ 1505 w 2468"/>
                  <a:gd name="T61" fmla="*/ 0 h 1053"/>
                  <a:gd name="T62" fmla="*/ 990 w 2468"/>
                  <a:gd name="T63" fmla="*/ 14 h 1053"/>
                  <a:gd name="T64" fmla="*/ 812 w 2468"/>
                  <a:gd name="T65" fmla="*/ 14 h 1053"/>
                  <a:gd name="T66" fmla="*/ 769 w 2468"/>
                  <a:gd name="T67" fmla="*/ 14 h 1053"/>
                  <a:gd name="T68" fmla="*/ 686 w 2468"/>
                  <a:gd name="T69" fmla="*/ 23 h 1053"/>
                  <a:gd name="T70" fmla="*/ 601 w 2468"/>
                  <a:gd name="T71" fmla="*/ 39 h 1053"/>
                  <a:gd name="T72" fmla="*/ 515 w 2468"/>
                  <a:gd name="T73" fmla="*/ 61 h 1053"/>
                  <a:gd name="T74" fmla="*/ 388 w 2468"/>
                  <a:gd name="T75" fmla="*/ 100 h 1053"/>
                  <a:gd name="T76" fmla="*/ 219 w 2468"/>
                  <a:gd name="T77" fmla="*/ 154 h 1053"/>
                  <a:gd name="T78" fmla="*/ 136 w 2468"/>
                  <a:gd name="T79" fmla="*/ 177 h 1053"/>
                  <a:gd name="T80" fmla="*/ 119 w 2468"/>
                  <a:gd name="T81" fmla="*/ 182 h 1053"/>
                  <a:gd name="T82" fmla="*/ 86 w 2468"/>
                  <a:gd name="T83" fmla="*/ 197 h 1053"/>
                  <a:gd name="T84" fmla="*/ 61 w 2468"/>
                  <a:gd name="T85" fmla="*/ 214 h 1053"/>
                  <a:gd name="T86" fmla="*/ 41 w 2468"/>
                  <a:gd name="T87" fmla="*/ 234 h 1053"/>
                  <a:gd name="T88" fmla="*/ 25 w 2468"/>
                  <a:gd name="T89" fmla="*/ 259 h 1053"/>
                  <a:gd name="T90" fmla="*/ 14 w 2468"/>
                  <a:gd name="T91" fmla="*/ 286 h 1053"/>
                  <a:gd name="T92" fmla="*/ 6 w 2468"/>
                  <a:gd name="T93" fmla="*/ 314 h 1053"/>
                  <a:gd name="T94" fmla="*/ 0 w 2468"/>
                  <a:gd name="T95" fmla="*/ 360 h 1053"/>
                  <a:gd name="T96" fmla="*/ 2 w 2468"/>
                  <a:gd name="T97" fmla="*/ 425 h 1053"/>
                  <a:gd name="T98" fmla="*/ 7 w 2468"/>
                  <a:gd name="T99" fmla="*/ 491 h 1053"/>
                  <a:gd name="T100" fmla="*/ 18 w 2468"/>
                  <a:gd name="T101" fmla="*/ 585 h 1053"/>
                  <a:gd name="T102" fmla="*/ 20 w 2468"/>
                  <a:gd name="T103" fmla="*/ 615 h 1053"/>
                  <a:gd name="T104" fmla="*/ 22 w 2468"/>
                  <a:gd name="T105" fmla="*/ 724 h 1053"/>
                  <a:gd name="T106" fmla="*/ 18 w 2468"/>
                  <a:gd name="T107" fmla="*/ 943 h 1053"/>
                  <a:gd name="T108" fmla="*/ 15 w 2468"/>
                  <a:gd name="T109" fmla="*/ 1053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53">
                    <a:moveTo>
                      <a:pt x="15" y="1053"/>
                    </a:moveTo>
                    <a:lnTo>
                      <a:pt x="15" y="1053"/>
                    </a:lnTo>
                    <a:lnTo>
                      <a:pt x="140" y="1036"/>
                    </a:lnTo>
                    <a:lnTo>
                      <a:pt x="268" y="1020"/>
                    </a:lnTo>
                    <a:lnTo>
                      <a:pt x="400" y="1006"/>
                    </a:lnTo>
                    <a:lnTo>
                      <a:pt x="535" y="993"/>
                    </a:lnTo>
                    <a:lnTo>
                      <a:pt x="675" y="982"/>
                    </a:lnTo>
                    <a:lnTo>
                      <a:pt x="819" y="973"/>
                    </a:lnTo>
                    <a:lnTo>
                      <a:pt x="967" y="966"/>
                    </a:lnTo>
                    <a:lnTo>
                      <a:pt x="1118" y="959"/>
                    </a:lnTo>
                    <a:lnTo>
                      <a:pt x="1272" y="955"/>
                    </a:lnTo>
                    <a:lnTo>
                      <a:pt x="1431" y="953"/>
                    </a:lnTo>
                    <a:lnTo>
                      <a:pt x="1594" y="951"/>
                    </a:lnTo>
                    <a:lnTo>
                      <a:pt x="1759" y="953"/>
                    </a:lnTo>
                    <a:lnTo>
                      <a:pt x="1928" y="955"/>
                    </a:lnTo>
                    <a:lnTo>
                      <a:pt x="2102" y="959"/>
                    </a:lnTo>
                    <a:lnTo>
                      <a:pt x="2279" y="965"/>
                    </a:lnTo>
                    <a:lnTo>
                      <a:pt x="2459" y="973"/>
                    </a:lnTo>
                    <a:lnTo>
                      <a:pt x="2459" y="973"/>
                    </a:lnTo>
                    <a:lnTo>
                      <a:pt x="2461" y="365"/>
                    </a:lnTo>
                    <a:lnTo>
                      <a:pt x="2461" y="365"/>
                    </a:lnTo>
                    <a:lnTo>
                      <a:pt x="2464" y="334"/>
                    </a:lnTo>
                    <a:lnTo>
                      <a:pt x="2466" y="296"/>
                    </a:lnTo>
                    <a:lnTo>
                      <a:pt x="2468" y="278"/>
                    </a:lnTo>
                    <a:lnTo>
                      <a:pt x="2468" y="259"/>
                    </a:lnTo>
                    <a:lnTo>
                      <a:pt x="2466" y="244"/>
                    </a:lnTo>
                    <a:lnTo>
                      <a:pt x="2464" y="237"/>
                    </a:lnTo>
                    <a:lnTo>
                      <a:pt x="2462" y="230"/>
                    </a:lnTo>
                    <a:lnTo>
                      <a:pt x="2462" y="230"/>
                    </a:lnTo>
                    <a:lnTo>
                      <a:pt x="2455" y="221"/>
                    </a:lnTo>
                    <a:lnTo>
                      <a:pt x="2455" y="221"/>
                    </a:lnTo>
                    <a:lnTo>
                      <a:pt x="2438" y="202"/>
                    </a:lnTo>
                    <a:lnTo>
                      <a:pt x="2419" y="183"/>
                    </a:lnTo>
                    <a:lnTo>
                      <a:pt x="2395" y="165"/>
                    </a:lnTo>
                    <a:lnTo>
                      <a:pt x="2371" y="147"/>
                    </a:lnTo>
                    <a:lnTo>
                      <a:pt x="2343" y="130"/>
                    </a:lnTo>
                    <a:lnTo>
                      <a:pt x="2313" y="113"/>
                    </a:lnTo>
                    <a:lnTo>
                      <a:pt x="2283" y="97"/>
                    </a:lnTo>
                    <a:lnTo>
                      <a:pt x="2252" y="84"/>
                    </a:lnTo>
                    <a:lnTo>
                      <a:pt x="2220" y="70"/>
                    </a:lnTo>
                    <a:lnTo>
                      <a:pt x="2189" y="60"/>
                    </a:lnTo>
                    <a:lnTo>
                      <a:pt x="2158" y="50"/>
                    </a:lnTo>
                    <a:lnTo>
                      <a:pt x="2127" y="42"/>
                    </a:lnTo>
                    <a:lnTo>
                      <a:pt x="2099" y="37"/>
                    </a:lnTo>
                    <a:lnTo>
                      <a:pt x="2072" y="33"/>
                    </a:lnTo>
                    <a:lnTo>
                      <a:pt x="2047" y="31"/>
                    </a:lnTo>
                    <a:lnTo>
                      <a:pt x="2025" y="33"/>
                    </a:lnTo>
                    <a:lnTo>
                      <a:pt x="2025" y="33"/>
                    </a:lnTo>
                    <a:lnTo>
                      <a:pt x="1993" y="35"/>
                    </a:lnTo>
                    <a:lnTo>
                      <a:pt x="1961" y="37"/>
                    </a:lnTo>
                    <a:lnTo>
                      <a:pt x="1928" y="37"/>
                    </a:lnTo>
                    <a:lnTo>
                      <a:pt x="1895" y="35"/>
                    </a:lnTo>
                    <a:lnTo>
                      <a:pt x="1863" y="33"/>
                    </a:lnTo>
                    <a:lnTo>
                      <a:pt x="1830" y="30"/>
                    </a:lnTo>
                    <a:lnTo>
                      <a:pt x="1766" y="22"/>
                    </a:lnTo>
                    <a:lnTo>
                      <a:pt x="1700" y="14"/>
                    </a:lnTo>
                    <a:lnTo>
                      <a:pt x="1635" y="6"/>
                    </a:lnTo>
                    <a:lnTo>
                      <a:pt x="1603" y="3"/>
                    </a:lnTo>
                    <a:lnTo>
                      <a:pt x="1571" y="2"/>
                    </a:lnTo>
                    <a:lnTo>
                      <a:pt x="1537" y="0"/>
                    </a:lnTo>
                    <a:lnTo>
                      <a:pt x="1505" y="0"/>
                    </a:lnTo>
                    <a:lnTo>
                      <a:pt x="1505" y="0"/>
                    </a:lnTo>
                    <a:lnTo>
                      <a:pt x="1158" y="10"/>
                    </a:lnTo>
                    <a:lnTo>
                      <a:pt x="990" y="14"/>
                    </a:lnTo>
                    <a:lnTo>
                      <a:pt x="903" y="14"/>
                    </a:lnTo>
                    <a:lnTo>
                      <a:pt x="812" y="14"/>
                    </a:lnTo>
                    <a:lnTo>
                      <a:pt x="812" y="14"/>
                    </a:lnTo>
                    <a:lnTo>
                      <a:pt x="769" y="14"/>
                    </a:lnTo>
                    <a:lnTo>
                      <a:pt x="728" y="18"/>
                    </a:lnTo>
                    <a:lnTo>
                      <a:pt x="686" y="23"/>
                    </a:lnTo>
                    <a:lnTo>
                      <a:pt x="643" y="30"/>
                    </a:lnTo>
                    <a:lnTo>
                      <a:pt x="601" y="39"/>
                    </a:lnTo>
                    <a:lnTo>
                      <a:pt x="558" y="50"/>
                    </a:lnTo>
                    <a:lnTo>
                      <a:pt x="515" y="61"/>
                    </a:lnTo>
                    <a:lnTo>
                      <a:pt x="474" y="73"/>
                    </a:lnTo>
                    <a:lnTo>
                      <a:pt x="388" y="100"/>
                    </a:lnTo>
                    <a:lnTo>
                      <a:pt x="303" y="128"/>
                    </a:lnTo>
                    <a:lnTo>
                      <a:pt x="219" y="154"/>
                    </a:lnTo>
                    <a:lnTo>
                      <a:pt x="178" y="166"/>
                    </a:lnTo>
                    <a:lnTo>
                      <a:pt x="136" y="177"/>
                    </a:lnTo>
                    <a:lnTo>
                      <a:pt x="136" y="177"/>
                    </a:lnTo>
                    <a:lnTo>
                      <a:pt x="119" y="182"/>
                    </a:lnTo>
                    <a:lnTo>
                      <a:pt x="101" y="189"/>
                    </a:lnTo>
                    <a:lnTo>
                      <a:pt x="86" y="197"/>
                    </a:lnTo>
                    <a:lnTo>
                      <a:pt x="73" y="205"/>
                    </a:lnTo>
                    <a:lnTo>
                      <a:pt x="61" y="214"/>
                    </a:lnTo>
                    <a:lnTo>
                      <a:pt x="50" y="224"/>
                    </a:lnTo>
                    <a:lnTo>
                      <a:pt x="41" y="234"/>
                    </a:lnTo>
                    <a:lnTo>
                      <a:pt x="33" y="247"/>
                    </a:lnTo>
                    <a:lnTo>
                      <a:pt x="25" y="259"/>
                    </a:lnTo>
                    <a:lnTo>
                      <a:pt x="19" y="272"/>
                    </a:lnTo>
                    <a:lnTo>
                      <a:pt x="14" y="286"/>
                    </a:lnTo>
                    <a:lnTo>
                      <a:pt x="10" y="299"/>
                    </a:lnTo>
                    <a:lnTo>
                      <a:pt x="6" y="314"/>
                    </a:lnTo>
                    <a:lnTo>
                      <a:pt x="3" y="329"/>
                    </a:lnTo>
                    <a:lnTo>
                      <a:pt x="0" y="360"/>
                    </a:lnTo>
                    <a:lnTo>
                      <a:pt x="0" y="392"/>
                    </a:lnTo>
                    <a:lnTo>
                      <a:pt x="2" y="425"/>
                    </a:lnTo>
                    <a:lnTo>
                      <a:pt x="4" y="458"/>
                    </a:lnTo>
                    <a:lnTo>
                      <a:pt x="7" y="491"/>
                    </a:lnTo>
                    <a:lnTo>
                      <a:pt x="15" y="556"/>
                    </a:lnTo>
                    <a:lnTo>
                      <a:pt x="18" y="585"/>
                    </a:lnTo>
                    <a:lnTo>
                      <a:pt x="20" y="615"/>
                    </a:lnTo>
                    <a:lnTo>
                      <a:pt x="20" y="615"/>
                    </a:lnTo>
                    <a:lnTo>
                      <a:pt x="22" y="669"/>
                    </a:lnTo>
                    <a:lnTo>
                      <a:pt x="22" y="724"/>
                    </a:lnTo>
                    <a:lnTo>
                      <a:pt x="20" y="834"/>
                    </a:lnTo>
                    <a:lnTo>
                      <a:pt x="18" y="943"/>
                    </a:lnTo>
                    <a:lnTo>
                      <a:pt x="15" y="1053"/>
                    </a:lnTo>
                    <a:lnTo>
                      <a:pt x="15" y="10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10" name="Freeform 168"/>
              <p:cNvSpPr>
                <a:spLocks/>
              </p:cNvSpPr>
              <p:nvPr/>
            </p:nvSpPr>
            <p:spPr bwMode="auto">
              <a:xfrm>
                <a:off x="25177750" y="-784225"/>
                <a:ext cx="1958975" cy="857250"/>
              </a:xfrm>
              <a:custGeom>
                <a:avLst/>
                <a:gdLst>
                  <a:gd name="T0" fmla="*/ 8 w 2468"/>
                  <a:gd name="T1" fmla="*/ 981 h 1082"/>
                  <a:gd name="T2" fmla="*/ 368 w 2468"/>
                  <a:gd name="T3" fmla="*/ 969 h 1082"/>
                  <a:gd name="T4" fmla="*/ 712 w 2468"/>
                  <a:gd name="T5" fmla="*/ 965 h 1082"/>
                  <a:gd name="T6" fmla="*/ 1040 w 2468"/>
                  <a:gd name="T7" fmla="*/ 966 h 1082"/>
                  <a:gd name="T8" fmla="*/ 1355 w 2468"/>
                  <a:gd name="T9" fmla="*/ 975 h 1082"/>
                  <a:gd name="T10" fmla="*/ 1654 w 2468"/>
                  <a:gd name="T11" fmla="*/ 991 h 1082"/>
                  <a:gd name="T12" fmla="*/ 1936 w 2468"/>
                  <a:gd name="T13" fmla="*/ 1014 h 1082"/>
                  <a:gd name="T14" fmla="*/ 2202 w 2468"/>
                  <a:gd name="T15" fmla="*/ 1044 h 1082"/>
                  <a:gd name="T16" fmla="*/ 2452 w 2468"/>
                  <a:gd name="T17" fmla="*/ 1082 h 1082"/>
                  <a:gd name="T18" fmla="*/ 2450 w 2468"/>
                  <a:gd name="T19" fmla="*/ 967 h 1082"/>
                  <a:gd name="T20" fmla="*/ 2445 w 2468"/>
                  <a:gd name="T21" fmla="*/ 740 h 1082"/>
                  <a:gd name="T22" fmla="*/ 2447 w 2468"/>
                  <a:gd name="T23" fmla="*/ 627 h 1082"/>
                  <a:gd name="T24" fmla="*/ 2450 w 2468"/>
                  <a:gd name="T25" fmla="*/ 597 h 1082"/>
                  <a:gd name="T26" fmla="*/ 2460 w 2468"/>
                  <a:gd name="T27" fmla="*/ 503 h 1082"/>
                  <a:gd name="T28" fmla="*/ 2467 w 2468"/>
                  <a:gd name="T29" fmla="*/ 437 h 1082"/>
                  <a:gd name="T30" fmla="*/ 2467 w 2468"/>
                  <a:gd name="T31" fmla="*/ 372 h 1082"/>
                  <a:gd name="T32" fmla="*/ 2462 w 2468"/>
                  <a:gd name="T33" fmla="*/ 326 h 1082"/>
                  <a:gd name="T34" fmla="*/ 2454 w 2468"/>
                  <a:gd name="T35" fmla="*/ 298 h 1082"/>
                  <a:gd name="T36" fmla="*/ 2443 w 2468"/>
                  <a:gd name="T37" fmla="*/ 271 h 1082"/>
                  <a:gd name="T38" fmla="*/ 2427 w 2468"/>
                  <a:gd name="T39" fmla="*/ 246 h 1082"/>
                  <a:gd name="T40" fmla="*/ 2406 w 2468"/>
                  <a:gd name="T41" fmla="*/ 226 h 1082"/>
                  <a:gd name="T42" fmla="*/ 2381 w 2468"/>
                  <a:gd name="T43" fmla="*/ 209 h 1082"/>
                  <a:gd name="T44" fmla="*/ 2350 w 2468"/>
                  <a:gd name="T45" fmla="*/ 194 h 1082"/>
                  <a:gd name="T46" fmla="*/ 2331 w 2468"/>
                  <a:gd name="T47" fmla="*/ 189 h 1082"/>
                  <a:gd name="T48" fmla="*/ 2248 w 2468"/>
                  <a:gd name="T49" fmla="*/ 166 h 1082"/>
                  <a:gd name="T50" fmla="*/ 2080 w 2468"/>
                  <a:gd name="T51" fmla="*/ 108 h 1082"/>
                  <a:gd name="T52" fmla="*/ 1952 w 2468"/>
                  <a:gd name="T53" fmla="*/ 66 h 1082"/>
                  <a:gd name="T54" fmla="*/ 1866 w 2468"/>
                  <a:gd name="T55" fmla="*/ 42 h 1082"/>
                  <a:gd name="T56" fmla="*/ 1781 w 2468"/>
                  <a:gd name="T57" fmla="*/ 25 h 1082"/>
                  <a:gd name="T58" fmla="*/ 1698 w 2468"/>
                  <a:gd name="T59" fmla="*/ 15 h 1082"/>
                  <a:gd name="T60" fmla="*/ 1656 w 2468"/>
                  <a:gd name="T61" fmla="*/ 14 h 1082"/>
                  <a:gd name="T62" fmla="*/ 1468 w 2468"/>
                  <a:gd name="T63" fmla="*/ 14 h 1082"/>
                  <a:gd name="T64" fmla="*/ 1093 w 2468"/>
                  <a:gd name="T65" fmla="*/ 6 h 1082"/>
                  <a:gd name="T66" fmla="*/ 905 w 2468"/>
                  <a:gd name="T67" fmla="*/ 0 h 1082"/>
                  <a:gd name="T68" fmla="*/ 840 w 2468"/>
                  <a:gd name="T69" fmla="*/ 2 h 1082"/>
                  <a:gd name="T70" fmla="*/ 774 w 2468"/>
                  <a:gd name="T71" fmla="*/ 7 h 1082"/>
                  <a:gd name="T72" fmla="*/ 644 w 2468"/>
                  <a:gd name="T73" fmla="*/ 22 h 1082"/>
                  <a:gd name="T74" fmla="*/ 547 w 2468"/>
                  <a:gd name="T75" fmla="*/ 33 h 1082"/>
                  <a:gd name="T76" fmla="*/ 482 w 2468"/>
                  <a:gd name="T77" fmla="*/ 37 h 1082"/>
                  <a:gd name="T78" fmla="*/ 417 w 2468"/>
                  <a:gd name="T79" fmla="*/ 35 h 1082"/>
                  <a:gd name="T80" fmla="*/ 384 w 2468"/>
                  <a:gd name="T81" fmla="*/ 33 h 1082"/>
                  <a:gd name="T82" fmla="*/ 340 w 2468"/>
                  <a:gd name="T83" fmla="*/ 34 h 1082"/>
                  <a:gd name="T84" fmla="*/ 292 w 2468"/>
                  <a:gd name="T85" fmla="*/ 45 h 1082"/>
                  <a:gd name="T86" fmla="*/ 239 w 2468"/>
                  <a:gd name="T87" fmla="*/ 64 h 1082"/>
                  <a:gd name="T88" fmla="*/ 187 w 2468"/>
                  <a:gd name="T89" fmla="*/ 90 h 1082"/>
                  <a:gd name="T90" fmla="*/ 136 w 2468"/>
                  <a:gd name="T91" fmla="*/ 121 h 1082"/>
                  <a:gd name="T92" fmla="*/ 88 w 2468"/>
                  <a:gd name="T93" fmla="*/ 156 h 1082"/>
                  <a:gd name="T94" fmla="*/ 47 w 2468"/>
                  <a:gd name="T95" fmla="*/ 194 h 1082"/>
                  <a:gd name="T96" fmla="*/ 12 w 2468"/>
                  <a:gd name="T97" fmla="*/ 233 h 1082"/>
                  <a:gd name="T98" fmla="*/ 6 w 2468"/>
                  <a:gd name="T99" fmla="*/ 242 h 1082"/>
                  <a:gd name="T100" fmla="*/ 4 w 2468"/>
                  <a:gd name="T101" fmla="*/ 249 h 1082"/>
                  <a:gd name="T102" fmla="*/ 0 w 2468"/>
                  <a:gd name="T103" fmla="*/ 271 h 1082"/>
                  <a:gd name="T104" fmla="*/ 1 w 2468"/>
                  <a:gd name="T105" fmla="*/ 308 h 1082"/>
                  <a:gd name="T106" fmla="*/ 6 w 2468"/>
                  <a:gd name="T107" fmla="*/ 377 h 1082"/>
                  <a:gd name="T108" fmla="*/ 8 w 2468"/>
                  <a:gd name="T109" fmla="*/ 981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82">
                    <a:moveTo>
                      <a:pt x="8" y="981"/>
                    </a:moveTo>
                    <a:lnTo>
                      <a:pt x="8" y="981"/>
                    </a:lnTo>
                    <a:lnTo>
                      <a:pt x="189" y="974"/>
                    </a:lnTo>
                    <a:lnTo>
                      <a:pt x="368" y="969"/>
                    </a:lnTo>
                    <a:lnTo>
                      <a:pt x="542" y="966"/>
                    </a:lnTo>
                    <a:lnTo>
                      <a:pt x="712" y="965"/>
                    </a:lnTo>
                    <a:lnTo>
                      <a:pt x="878" y="965"/>
                    </a:lnTo>
                    <a:lnTo>
                      <a:pt x="1040" y="966"/>
                    </a:lnTo>
                    <a:lnTo>
                      <a:pt x="1200" y="970"/>
                    </a:lnTo>
                    <a:lnTo>
                      <a:pt x="1355" y="975"/>
                    </a:lnTo>
                    <a:lnTo>
                      <a:pt x="1506" y="982"/>
                    </a:lnTo>
                    <a:lnTo>
                      <a:pt x="1654" y="991"/>
                    </a:lnTo>
                    <a:lnTo>
                      <a:pt x="1796" y="1002"/>
                    </a:lnTo>
                    <a:lnTo>
                      <a:pt x="1936" y="1014"/>
                    </a:lnTo>
                    <a:lnTo>
                      <a:pt x="2070" y="1029"/>
                    </a:lnTo>
                    <a:lnTo>
                      <a:pt x="2202" y="1044"/>
                    </a:lnTo>
                    <a:lnTo>
                      <a:pt x="2330" y="1061"/>
                    </a:lnTo>
                    <a:lnTo>
                      <a:pt x="2452" y="1082"/>
                    </a:lnTo>
                    <a:lnTo>
                      <a:pt x="2452" y="1082"/>
                    </a:lnTo>
                    <a:lnTo>
                      <a:pt x="2450" y="967"/>
                    </a:lnTo>
                    <a:lnTo>
                      <a:pt x="2447" y="854"/>
                    </a:lnTo>
                    <a:lnTo>
                      <a:pt x="2445" y="740"/>
                    </a:lnTo>
                    <a:lnTo>
                      <a:pt x="2445" y="684"/>
                    </a:lnTo>
                    <a:lnTo>
                      <a:pt x="2447" y="627"/>
                    </a:lnTo>
                    <a:lnTo>
                      <a:pt x="2447" y="627"/>
                    </a:lnTo>
                    <a:lnTo>
                      <a:pt x="2450" y="597"/>
                    </a:lnTo>
                    <a:lnTo>
                      <a:pt x="2452" y="568"/>
                    </a:lnTo>
                    <a:lnTo>
                      <a:pt x="2460" y="503"/>
                    </a:lnTo>
                    <a:lnTo>
                      <a:pt x="2464" y="470"/>
                    </a:lnTo>
                    <a:lnTo>
                      <a:pt x="2467" y="437"/>
                    </a:lnTo>
                    <a:lnTo>
                      <a:pt x="2468" y="404"/>
                    </a:lnTo>
                    <a:lnTo>
                      <a:pt x="2467" y="372"/>
                    </a:lnTo>
                    <a:lnTo>
                      <a:pt x="2464" y="341"/>
                    </a:lnTo>
                    <a:lnTo>
                      <a:pt x="2462" y="326"/>
                    </a:lnTo>
                    <a:lnTo>
                      <a:pt x="2459" y="311"/>
                    </a:lnTo>
                    <a:lnTo>
                      <a:pt x="2454" y="298"/>
                    </a:lnTo>
                    <a:lnTo>
                      <a:pt x="2450" y="284"/>
                    </a:lnTo>
                    <a:lnTo>
                      <a:pt x="2443" y="271"/>
                    </a:lnTo>
                    <a:lnTo>
                      <a:pt x="2436" y="259"/>
                    </a:lnTo>
                    <a:lnTo>
                      <a:pt x="2427" y="246"/>
                    </a:lnTo>
                    <a:lnTo>
                      <a:pt x="2417" y="236"/>
                    </a:lnTo>
                    <a:lnTo>
                      <a:pt x="2406" y="226"/>
                    </a:lnTo>
                    <a:lnTo>
                      <a:pt x="2394" y="217"/>
                    </a:lnTo>
                    <a:lnTo>
                      <a:pt x="2381" y="209"/>
                    </a:lnTo>
                    <a:lnTo>
                      <a:pt x="2366" y="201"/>
                    </a:lnTo>
                    <a:lnTo>
                      <a:pt x="2350" y="194"/>
                    </a:lnTo>
                    <a:lnTo>
                      <a:pt x="2331" y="189"/>
                    </a:lnTo>
                    <a:lnTo>
                      <a:pt x="2331" y="189"/>
                    </a:lnTo>
                    <a:lnTo>
                      <a:pt x="2290" y="178"/>
                    </a:lnTo>
                    <a:lnTo>
                      <a:pt x="2248" y="166"/>
                    </a:lnTo>
                    <a:lnTo>
                      <a:pt x="2164" y="138"/>
                    </a:lnTo>
                    <a:lnTo>
                      <a:pt x="2080" y="108"/>
                    </a:lnTo>
                    <a:lnTo>
                      <a:pt x="1995" y="80"/>
                    </a:lnTo>
                    <a:lnTo>
                      <a:pt x="1952" y="66"/>
                    </a:lnTo>
                    <a:lnTo>
                      <a:pt x="1909" y="54"/>
                    </a:lnTo>
                    <a:lnTo>
                      <a:pt x="1866" y="42"/>
                    </a:lnTo>
                    <a:lnTo>
                      <a:pt x="1824" y="33"/>
                    </a:lnTo>
                    <a:lnTo>
                      <a:pt x="1781" y="25"/>
                    </a:lnTo>
                    <a:lnTo>
                      <a:pt x="1740" y="19"/>
                    </a:lnTo>
                    <a:lnTo>
                      <a:pt x="1698" y="15"/>
                    </a:lnTo>
                    <a:lnTo>
                      <a:pt x="1656" y="14"/>
                    </a:lnTo>
                    <a:lnTo>
                      <a:pt x="1656" y="14"/>
                    </a:lnTo>
                    <a:lnTo>
                      <a:pt x="1562" y="14"/>
                    </a:lnTo>
                    <a:lnTo>
                      <a:pt x="1468" y="14"/>
                    </a:lnTo>
                    <a:lnTo>
                      <a:pt x="1280" y="11"/>
                    </a:lnTo>
                    <a:lnTo>
                      <a:pt x="1093" y="6"/>
                    </a:lnTo>
                    <a:lnTo>
                      <a:pt x="905" y="0"/>
                    </a:lnTo>
                    <a:lnTo>
                      <a:pt x="905" y="0"/>
                    </a:lnTo>
                    <a:lnTo>
                      <a:pt x="872" y="0"/>
                    </a:lnTo>
                    <a:lnTo>
                      <a:pt x="840" y="2"/>
                    </a:lnTo>
                    <a:lnTo>
                      <a:pt x="806" y="3"/>
                    </a:lnTo>
                    <a:lnTo>
                      <a:pt x="774" y="7"/>
                    </a:lnTo>
                    <a:lnTo>
                      <a:pt x="710" y="14"/>
                    </a:lnTo>
                    <a:lnTo>
                      <a:pt x="644" y="22"/>
                    </a:lnTo>
                    <a:lnTo>
                      <a:pt x="579" y="30"/>
                    </a:lnTo>
                    <a:lnTo>
                      <a:pt x="547" y="33"/>
                    </a:lnTo>
                    <a:lnTo>
                      <a:pt x="515" y="35"/>
                    </a:lnTo>
                    <a:lnTo>
                      <a:pt x="482" y="37"/>
                    </a:lnTo>
                    <a:lnTo>
                      <a:pt x="450" y="37"/>
                    </a:lnTo>
                    <a:lnTo>
                      <a:pt x="417" y="35"/>
                    </a:lnTo>
                    <a:lnTo>
                      <a:pt x="384" y="33"/>
                    </a:lnTo>
                    <a:lnTo>
                      <a:pt x="384" y="33"/>
                    </a:lnTo>
                    <a:lnTo>
                      <a:pt x="363" y="33"/>
                    </a:lnTo>
                    <a:lnTo>
                      <a:pt x="340" y="34"/>
                    </a:lnTo>
                    <a:lnTo>
                      <a:pt x="316" y="38"/>
                    </a:lnTo>
                    <a:lnTo>
                      <a:pt x="292" y="45"/>
                    </a:lnTo>
                    <a:lnTo>
                      <a:pt x="266" y="53"/>
                    </a:lnTo>
                    <a:lnTo>
                      <a:pt x="239" y="64"/>
                    </a:lnTo>
                    <a:lnTo>
                      <a:pt x="214" y="76"/>
                    </a:lnTo>
                    <a:lnTo>
                      <a:pt x="187" y="90"/>
                    </a:lnTo>
                    <a:lnTo>
                      <a:pt x="161" y="105"/>
                    </a:lnTo>
                    <a:lnTo>
                      <a:pt x="136" y="121"/>
                    </a:lnTo>
                    <a:lnTo>
                      <a:pt x="111" y="139"/>
                    </a:lnTo>
                    <a:lnTo>
                      <a:pt x="88" y="156"/>
                    </a:lnTo>
                    <a:lnTo>
                      <a:pt x="67" y="175"/>
                    </a:lnTo>
                    <a:lnTo>
                      <a:pt x="47" y="194"/>
                    </a:lnTo>
                    <a:lnTo>
                      <a:pt x="28" y="214"/>
                    </a:lnTo>
                    <a:lnTo>
                      <a:pt x="12" y="233"/>
                    </a:lnTo>
                    <a:lnTo>
                      <a:pt x="12" y="233"/>
                    </a:lnTo>
                    <a:lnTo>
                      <a:pt x="6" y="242"/>
                    </a:lnTo>
                    <a:lnTo>
                      <a:pt x="6" y="242"/>
                    </a:lnTo>
                    <a:lnTo>
                      <a:pt x="4" y="249"/>
                    </a:lnTo>
                    <a:lnTo>
                      <a:pt x="1" y="256"/>
                    </a:lnTo>
                    <a:lnTo>
                      <a:pt x="0" y="271"/>
                    </a:lnTo>
                    <a:lnTo>
                      <a:pt x="0" y="290"/>
                    </a:lnTo>
                    <a:lnTo>
                      <a:pt x="1" y="308"/>
                    </a:lnTo>
                    <a:lnTo>
                      <a:pt x="4" y="346"/>
                    </a:lnTo>
                    <a:lnTo>
                      <a:pt x="6" y="377"/>
                    </a:lnTo>
                    <a:lnTo>
                      <a:pt x="6" y="377"/>
                    </a:lnTo>
                    <a:lnTo>
                      <a:pt x="8" y="981"/>
                    </a:lnTo>
                    <a:lnTo>
                      <a:pt x="8" y="9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11" name="Freeform 169"/>
              <p:cNvSpPr>
                <a:spLocks/>
              </p:cNvSpPr>
              <p:nvPr/>
            </p:nvSpPr>
            <p:spPr bwMode="auto">
              <a:xfrm>
                <a:off x="25071388" y="117475"/>
                <a:ext cx="2287588" cy="4313238"/>
              </a:xfrm>
              <a:custGeom>
                <a:avLst/>
                <a:gdLst>
                  <a:gd name="T0" fmla="*/ 2732 w 2881"/>
                  <a:gd name="T1" fmla="*/ 4699 h 5434"/>
                  <a:gd name="T2" fmla="*/ 2667 w 2881"/>
                  <a:gd name="T3" fmla="*/ 4451 h 5434"/>
                  <a:gd name="T4" fmla="*/ 2565 w 2881"/>
                  <a:gd name="T5" fmla="*/ 3864 h 5434"/>
                  <a:gd name="T6" fmla="*/ 2517 w 2881"/>
                  <a:gd name="T7" fmla="*/ 3487 h 5434"/>
                  <a:gd name="T8" fmla="*/ 2514 w 2881"/>
                  <a:gd name="T9" fmla="*/ 3144 h 5434"/>
                  <a:gd name="T10" fmla="*/ 2564 w 2881"/>
                  <a:gd name="T11" fmla="*/ 2600 h 5434"/>
                  <a:gd name="T12" fmla="*/ 2583 w 2881"/>
                  <a:gd name="T13" fmla="*/ 2318 h 5434"/>
                  <a:gd name="T14" fmla="*/ 2588 w 2881"/>
                  <a:gd name="T15" fmla="*/ 1593 h 5434"/>
                  <a:gd name="T16" fmla="*/ 2589 w 2881"/>
                  <a:gd name="T17" fmla="*/ 1215 h 5434"/>
                  <a:gd name="T18" fmla="*/ 2585 w 2881"/>
                  <a:gd name="T19" fmla="*/ 277 h 5434"/>
                  <a:gd name="T20" fmla="*/ 2206 w 2881"/>
                  <a:gd name="T21" fmla="*/ 66 h 5434"/>
                  <a:gd name="T22" fmla="*/ 1492 w 2881"/>
                  <a:gd name="T23" fmla="*/ 12 h 5434"/>
                  <a:gd name="T24" fmla="*/ 677 w 2881"/>
                  <a:gd name="T25" fmla="*/ 1 h 5434"/>
                  <a:gd name="T26" fmla="*/ 142 w 2881"/>
                  <a:gd name="T27" fmla="*/ 408 h 5434"/>
                  <a:gd name="T28" fmla="*/ 148 w 2881"/>
                  <a:gd name="T29" fmla="*/ 1452 h 5434"/>
                  <a:gd name="T30" fmla="*/ 205 w 2881"/>
                  <a:gd name="T31" fmla="*/ 2306 h 5434"/>
                  <a:gd name="T32" fmla="*/ 236 w 2881"/>
                  <a:gd name="T33" fmla="*/ 2963 h 5434"/>
                  <a:gd name="T34" fmla="*/ 217 w 2881"/>
                  <a:gd name="T35" fmla="*/ 3633 h 5434"/>
                  <a:gd name="T36" fmla="*/ 240 w 2881"/>
                  <a:gd name="T37" fmla="*/ 3854 h 5434"/>
                  <a:gd name="T38" fmla="*/ 376 w 2881"/>
                  <a:gd name="T39" fmla="*/ 3726 h 5434"/>
                  <a:gd name="T40" fmla="*/ 529 w 2881"/>
                  <a:gd name="T41" fmla="*/ 3632 h 5434"/>
                  <a:gd name="T42" fmla="*/ 696 w 2881"/>
                  <a:gd name="T43" fmla="*/ 3567 h 5434"/>
                  <a:gd name="T44" fmla="*/ 875 w 2881"/>
                  <a:gd name="T45" fmla="*/ 3528 h 5434"/>
                  <a:gd name="T46" fmla="*/ 1187 w 2881"/>
                  <a:gd name="T47" fmla="*/ 3508 h 5434"/>
                  <a:gd name="T48" fmla="*/ 1403 w 2881"/>
                  <a:gd name="T49" fmla="*/ 3520 h 5434"/>
                  <a:gd name="T50" fmla="*/ 1637 w 2881"/>
                  <a:gd name="T51" fmla="*/ 3556 h 5434"/>
                  <a:gd name="T52" fmla="*/ 1842 w 2881"/>
                  <a:gd name="T53" fmla="*/ 3641 h 5434"/>
                  <a:gd name="T54" fmla="*/ 2078 w 2881"/>
                  <a:gd name="T55" fmla="*/ 3769 h 5434"/>
                  <a:gd name="T56" fmla="*/ 2228 w 2881"/>
                  <a:gd name="T57" fmla="*/ 3887 h 5434"/>
                  <a:gd name="T58" fmla="*/ 2312 w 2881"/>
                  <a:gd name="T59" fmla="*/ 3991 h 5434"/>
                  <a:gd name="T60" fmla="*/ 2355 w 2881"/>
                  <a:gd name="T61" fmla="*/ 4089 h 5434"/>
                  <a:gd name="T62" fmla="*/ 2371 w 2881"/>
                  <a:gd name="T63" fmla="*/ 4164 h 5434"/>
                  <a:gd name="T64" fmla="*/ 2373 w 2881"/>
                  <a:gd name="T65" fmla="*/ 4168 h 5434"/>
                  <a:gd name="T66" fmla="*/ 2268 w 2881"/>
                  <a:gd name="T67" fmla="*/ 4084 h 5434"/>
                  <a:gd name="T68" fmla="*/ 2089 w 2881"/>
                  <a:gd name="T69" fmla="*/ 3968 h 5434"/>
                  <a:gd name="T70" fmla="*/ 1905 w 2881"/>
                  <a:gd name="T71" fmla="*/ 3874 h 5434"/>
                  <a:gd name="T72" fmla="*/ 1567 w 2881"/>
                  <a:gd name="T73" fmla="*/ 3755 h 5434"/>
                  <a:gd name="T74" fmla="*/ 1200 w 2881"/>
                  <a:gd name="T75" fmla="*/ 3696 h 5434"/>
                  <a:gd name="T76" fmla="*/ 866 w 2881"/>
                  <a:gd name="T77" fmla="*/ 3706 h 5434"/>
                  <a:gd name="T78" fmla="*/ 585 w 2881"/>
                  <a:gd name="T79" fmla="*/ 3776 h 5434"/>
                  <a:gd name="T80" fmla="*/ 451 w 2881"/>
                  <a:gd name="T81" fmla="*/ 3842 h 5434"/>
                  <a:gd name="T82" fmla="*/ 367 w 2881"/>
                  <a:gd name="T83" fmla="*/ 3910 h 5434"/>
                  <a:gd name="T84" fmla="*/ 293 w 2881"/>
                  <a:gd name="T85" fmla="*/ 4000 h 5434"/>
                  <a:gd name="T86" fmla="*/ 209 w 2881"/>
                  <a:gd name="T87" fmla="*/ 4132 h 5434"/>
                  <a:gd name="T88" fmla="*/ 95 w 2881"/>
                  <a:gd name="T89" fmla="*/ 4418 h 5434"/>
                  <a:gd name="T90" fmla="*/ 27 w 2881"/>
                  <a:gd name="T91" fmla="*/ 4716 h 5434"/>
                  <a:gd name="T92" fmla="*/ 0 w 2881"/>
                  <a:gd name="T93" fmla="*/ 4908 h 5434"/>
                  <a:gd name="T94" fmla="*/ 25 w 2881"/>
                  <a:gd name="T95" fmla="*/ 5079 h 5434"/>
                  <a:gd name="T96" fmla="*/ 75 w 2881"/>
                  <a:gd name="T97" fmla="*/ 5286 h 5434"/>
                  <a:gd name="T98" fmla="*/ 321 w 2881"/>
                  <a:gd name="T99" fmla="*/ 5405 h 5434"/>
                  <a:gd name="T100" fmla="*/ 1777 w 2881"/>
                  <a:gd name="T101" fmla="*/ 5434 h 5434"/>
                  <a:gd name="T102" fmla="*/ 2217 w 2881"/>
                  <a:gd name="T103" fmla="*/ 5424 h 5434"/>
                  <a:gd name="T104" fmla="*/ 2639 w 2881"/>
                  <a:gd name="T105" fmla="*/ 5379 h 5434"/>
                  <a:gd name="T106" fmla="*/ 2752 w 2881"/>
                  <a:gd name="T107" fmla="*/ 5338 h 5434"/>
                  <a:gd name="T108" fmla="*/ 2790 w 2881"/>
                  <a:gd name="T109" fmla="*/ 5279 h 5434"/>
                  <a:gd name="T110" fmla="*/ 2869 w 2881"/>
                  <a:gd name="T111" fmla="*/ 5196 h 5434"/>
                  <a:gd name="T112" fmla="*/ 2881 w 2881"/>
                  <a:gd name="T113" fmla="*/ 5099 h 5434"/>
                  <a:gd name="T114" fmla="*/ 2854 w 2881"/>
                  <a:gd name="T115" fmla="*/ 4767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1" h="5434">
                    <a:moveTo>
                      <a:pt x="2854" y="4767"/>
                    </a:moveTo>
                    <a:lnTo>
                      <a:pt x="2854" y="4767"/>
                    </a:lnTo>
                    <a:lnTo>
                      <a:pt x="2831" y="4755"/>
                    </a:lnTo>
                    <a:lnTo>
                      <a:pt x="2782" y="4726"/>
                    </a:lnTo>
                    <a:lnTo>
                      <a:pt x="2732" y="4699"/>
                    </a:lnTo>
                    <a:lnTo>
                      <a:pt x="2709" y="4686"/>
                    </a:lnTo>
                    <a:lnTo>
                      <a:pt x="2709" y="4686"/>
                    </a:lnTo>
                    <a:lnTo>
                      <a:pt x="2697" y="4608"/>
                    </a:lnTo>
                    <a:lnTo>
                      <a:pt x="2683" y="4530"/>
                    </a:lnTo>
                    <a:lnTo>
                      <a:pt x="2667" y="4451"/>
                    </a:lnTo>
                    <a:lnTo>
                      <a:pt x="2648" y="4371"/>
                    </a:lnTo>
                    <a:lnTo>
                      <a:pt x="2648" y="4371"/>
                    </a:lnTo>
                    <a:lnTo>
                      <a:pt x="2612" y="4168"/>
                    </a:lnTo>
                    <a:lnTo>
                      <a:pt x="2580" y="3965"/>
                    </a:lnTo>
                    <a:lnTo>
                      <a:pt x="2565" y="3864"/>
                    </a:lnTo>
                    <a:lnTo>
                      <a:pt x="2550" y="3762"/>
                    </a:lnTo>
                    <a:lnTo>
                      <a:pt x="2537" y="3660"/>
                    </a:lnTo>
                    <a:lnTo>
                      <a:pt x="2523" y="3558"/>
                    </a:lnTo>
                    <a:lnTo>
                      <a:pt x="2523" y="3558"/>
                    </a:lnTo>
                    <a:lnTo>
                      <a:pt x="2517" y="3487"/>
                    </a:lnTo>
                    <a:lnTo>
                      <a:pt x="2513" y="3417"/>
                    </a:lnTo>
                    <a:lnTo>
                      <a:pt x="2510" y="3347"/>
                    </a:lnTo>
                    <a:lnTo>
                      <a:pt x="2509" y="3278"/>
                    </a:lnTo>
                    <a:lnTo>
                      <a:pt x="2510" y="3211"/>
                    </a:lnTo>
                    <a:lnTo>
                      <a:pt x="2514" y="3144"/>
                    </a:lnTo>
                    <a:lnTo>
                      <a:pt x="2518" y="3076"/>
                    </a:lnTo>
                    <a:lnTo>
                      <a:pt x="2523" y="3009"/>
                    </a:lnTo>
                    <a:lnTo>
                      <a:pt x="2535" y="2875"/>
                    </a:lnTo>
                    <a:lnTo>
                      <a:pt x="2550" y="2739"/>
                    </a:lnTo>
                    <a:lnTo>
                      <a:pt x="2564" y="2600"/>
                    </a:lnTo>
                    <a:lnTo>
                      <a:pt x="2569" y="2529"/>
                    </a:lnTo>
                    <a:lnTo>
                      <a:pt x="2574" y="2458"/>
                    </a:lnTo>
                    <a:lnTo>
                      <a:pt x="2574" y="2458"/>
                    </a:lnTo>
                    <a:lnTo>
                      <a:pt x="2578" y="2388"/>
                    </a:lnTo>
                    <a:lnTo>
                      <a:pt x="2583" y="2318"/>
                    </a:lnTo>
                    <a:lnTo>
                      <a:pt x="2587" y="2177"/>
                    </a:lnTo>
                    <a:lnTo>
                      <a:pt x="2589" y="2032"/>
                    </a:lnTo>
                    <a:lnTo>
                      <a:pt x="2589" y="1885"/>
                    </a:lnTo>
                    <a:lnTo>
                      <a:pt x="2589" y="1740"/>
                    </a:lnTo>
                    <a:lnTo>
                      <a:pt x="2588" y="1593"/>
                    </a:lnTo>
                    <a:lnTo>
                      <a:pt x="2585" y="1308"/>
                    </a:lnTo>
                    <a:lnTo>
                      <a:pt x="2585" y="1308"/>
                    </a:lnTo>
                    <a:lnTo>
                      <a:pt x="2585" y="1373"/>
                    </a:lnTo>
                    <a:lnTo>
                      <a:pt x="2585" y="1373"/>
                    </a:lnTo>
                    <a:lnTo>
                      <a:pt x="2589" y="1215"/>
                    </a:lnTo>
                    <a:lnTo>
                      <a:pt x="2591" y="1059"/>
                    </a:lnTo>
                    <a:lnTo>
                      <a:pt x="2591" y="903"/>
                    </a:lnTo>
                    <a:lnTo>
                      <a:pt x="2589" y="746"/>
                    </a:lnTo>
                    <a:lnTo>
                      <a:pt x="2587" y="433"/>
                    </a:lnTo>
                    <a:lnTo>
                      <a:pt x="2585" y="277"/>
                    </a:lnTo>
                    <a:lnTo>
                      <a:pt x="2585" y="119"/>
                    </a:lnTo>
                    <a:lnTo>
                      <a:pt x="2585" y="119"/>
                    </a:lnTo>
                    <a:lnTo>
                      <a:pt x="2463" y="101"/>
                    </a:lnTo>
                    <a:lnTo>
                      <a:pt x="2336" y="82"/>
                    </a:lnTo>
                    <a:lnTo>
                      <a:pt x="2206" y="66"/>
                    </a:lnTo>
                    <a:lnTo>
                      <a:pt x="2072" y="52"/>
                    </a:lnTo>
                    <a:lnTo>
                      <a:pt x="1933" y="39"/>
                    </a:lnTo>
                    <a:lnTo>
                      <a:pt x="1791" y="28"/>
                    </a:lnTo>
                    <a:lnTo>
                      <a:pt x="1643" y="19"/>
                    </a:lnTo>
                    <a:lnTo>
                      <a:pt x="1492" y="12"/>
                    </a:lnTo>
                    <a:lnTo>
                      <a:pt x="1337" y="6"/>
                    </a:lnTo>
                    <a:lnTo>
                      <a:pt x="1177" y="2"/>
                    </a:lnTo>
                    <a:lnTo>
                      <a:pt x="1015" y="1"/>
                    </a:lnTo>
                    <a:lnTo>
                      <a:pt x="848" y="0"/>
                    </a:lnTo>
                    <a:lnTo>
                      <a:pt x="677" y="1"/>
                    </a:lnTo>
                    <a:lnTo>
                      <a:pt x="503" y="5"/>
                    </a:lnTo>
                    <a:lnTo>
                      <a:pt x="324" y="10"/>
                    </a:lnTo>
                    <a:lnTo>
                      <a:pt x="142" y="17"/>
                    </a:lnTo>
                    <a:lnTo>
                      <a:pt x="142" y="17"/>
                    </a:lnTo>
                    <a:lnTo>
                      <a:pt x="142" y="408"/>
                    </a:lnTo>
                    <a:lnTo>
                      <a:pt x="142" y="408"/>
                    </a:lnTo>
                    <a:lnTo>
                      <a:pt x="142" y="1151"/>
                    </a:lnTo>
                    <a:lnTo>
                      <a:pt x="142" y="1151"/>
                    </a:lnTo>
                    <a:lnTo>
                      <a:pt x="144" y="1301"/>
                    </a:lnTo>
                    <a:lnTo>
                      <a:pt x="148" y="1452"/>
                    </a:lnTo>
                    <a:lnTo>
                      <a:pt x="154" y="1601"/>
                    </a:lnTo>
                    <a:lnTo>
                      <a:pt x="165" y="1752"/>
                    </a:lnTo>
                    <a:lnTo>
                      <a:pt x="165" y="1752"/>
                    </a:lnTo>
                    <a:lnTo>
                      <a:pt x="187" y="2033"/>
                    </a:lnTo>
                    <a:lnTo>
                      <a:pt x="205" y="2306"/>
                    </a:lnTo>
                    <a:lnTo>
                      <a:pt x="215" y="2439"/>
                    </a:lnTo>
                    <a:lnTo>
                      <a:pt x="223" y="2571"/>
                    </a:lnTo>
                    <a:lnTo>
                      <a:pt x="228" y="2703"/>
                    </a:lnTo>
                    <a:lnTo>
                      <a:pt x="234" y="2833"/>
                    </a:lnTo>
                    <a:lnTo>
                      <a:pt x="236" y="2963"/>
                    </a:lnTo>
                    <a:lnTo>
                      <a:pt x="238" y="3095"/>
                    </a:lnTo>
                    <a:lnTo>
                      <a:pt x="236" y="3227"/>
                    </a:lnTo>
                    <a:lnTo>
                      <a:pt x="234" y="3361"/>
                    </a:lnTo>
                    <a:lnTo>
                      <a:pt x="227" y="3496"/>
                    </a:lnTo>
                    <a:lnTo>
                      <a:pt x="217" y="3633"/>
                    </a:lnTo>
                    <a:lnTo>
                      <a:pt x="205" y="3773"/>
                    </a:lnTo>
                    <a:lnTo>
                      <a:pt x="189" y="3916"/>
                    </a:lnTo>
                    <a:lnTo>
                      <a:pt x="189" y="3916"/>
                    </a:lnTo>
                    <a:lnTo>
                      <a:pt x="215" y="3883"/>
                    </a:lnTo>
                    <a:lnTo>
                      <a:pt x="240" y="3854"/>
                    </a:lnTo>
                    <a:lnTo>
                      <a:pt x="266" y="3825"/>
                    </a:lnTo>
                    <a:lnTo>
                      <a:pt x="293" y="3799"/>
                    </a:lnTo>
                    <a:lnTo>
                      <a:pt x="320" y="3773"/>
                    </a:lnTo>
                    <a:lnTo>
                      <a:pt x="348" y="3749"/>
                    </a:lnTo>
                    <a:lnTo>
                      <a:pt x="376" y="3726"/>
                    </a:lnTo>
                    <a:lnTo>
                      <a:pt x="406" y="3704"/>
                    </a:lnTo>
                    <a:lnTo>
                      <a:pt x="435" y="3684"/>
                    </a:lnTo>
                    <a:lnTo>
                      <a:pt x="466" y="3665"/>
                    </a:lnTo>
                    <a:lnTo>
                      <a:pt x="497" y="3648"/>
                    </a:lnTo>
                    <a:lnTo>
                      <a:pt x="529" y="3632"/>
                    </a:lnTo>
                    <a:lnTo>
                      <a:pt x="562" y="3617"/>
                    </a:lnTo>
                    <a:lnTo>
                      <a:pt x="594" y="3602"/>
                    </a:lnTo>
                    <a:lnTo>
                      <a:pt x="628" y="3590"/>
                    </a:lnTo>
                    <a:lnTo>
                      <a:pt x="661" y="3578"/>
                    </a:lnTo>
                    <a:lnTo>
                      <a:pt x="696" y="3567"/>
                    </a:lnTo>
                    <a:lnTo>
                      <a:pt x="731" y="3558"/>
                    </a:lnTo>
                    <a:lnTo>
                      <a:pt x="766" y="3548"/>
                    </a:lnTo>
                    <a:lnTo>
                      <a:pt x="802" y="3540"/>
                    </a:lnTo>
                    <a:lnTo>
                      <a:pt x="839" y="3534"/>
                    </a:lnTo>
                    <a:lnTo>
                      <a:pt x="875" y="3528"/>
                    </a:lnTo>
                    <a:lnTo>
                      <a:pt x="913" y="3523"/>
                    </a:lnTo>
                    <a:lnTo>
                      <a:pt x="952" y="3519"/>
                    </a:lnTo>
                    <a:lnTo>
                      <a:pt x="1028" y="3512"/>
                    </a:lnTo>
                    <a:lnTo>
                      <a:pt x="1108" y="3509"/>
                    </a:lnTo>
                    <a:lnTo>
                      <a:pt x="1187" y="3508"/>
                    </a:lnTo>
                    <a:lnTo>
                      <a:pt x="1270" y="3509"/>
                    </a:lnTo>
                    <a:lnTo>
                      <a:pt x="1270" y="3509"/>
                    </a:lnTo>
                    <a:lnTo>
                      <a:pt x="1304" y="3512"/>
                    </a:lnTo>
                    <a:lnTo>
                      <a:pt x="1350" y="3515"/>
                    </a:lnTo>
                    <a:lnTo>
                      <a:pt x="1403" y="3520"/>
                    </a:lnTo>
                    <a:lnTo>
                      <a:pt x="1463" y="3527"/>
                    </a:lnTo>
                    <a:lnTo>
                      <a:pt x="1520" y="3535"/>
                    </a:lnTo>
                    <a:lnTo>
                      <a:pt x="1574" y="3543"/>
                    </a:lnTo>
                    <a:lnTo>
                      <a:pt x="1618" y="3552"/>
                    </a:lnTo>
                    <a:lnTo>
                      <a:pt x="1637" y="3556"/>
                    </a:lnTo>
                    <a:lnTo>
                      <a:pt x="1651" y="3562"/>
                    </a:lnTo>
                    <a:lnTo>
                      <a:pt x="1651" y="3562"/>
                    </a:lnTo>
                    <a:lnTo>
                      <a:pt x="1719" y="3589"/>
                    </a:lnTo>
                    <a:lnTo>
                      <a:pt x="1783" y="3616"/>
                    </a:lnTo>
                    <a:lnTo>
                      <a:pt x="1842" y="3641"/>
                    </a:lnTo>
                    <a:lnTo>
                      <a:pt x="1897" y="3668"/>
                    </a:lnTo>
                    <a:lnTo>
                      <a:pt x="1948" y="3694"/>
                    </a:lnTo>
                    <a:lnTo>
                      <a:pt x="1995" y="3719"/>
                    </a:lnTo>
                    <a:lnTo>
                      <a:pt x="2038" y="3745"/>
                    </a:lnTo>
                    <a:lnTo>
                      <a:pt x="2078" y="3769"/>
                    </a:lnTo>
                    <a:lnTo>
                      <a:pt x="2115" y="3793"/>
                    </a:lnTo>
                    <a:lnTo>
                      <a:pt x="2147" y="3817"/>
                    </a:lnTo>
                    <a:lnTo>
                      <a:pt x="2176" y="3842"/>
                    </a:lnTo>
                    <a:lnTo>
                      <a:pt x="2203" y="3864"/>
                    </a:lnTo>
                    <a:lnTo>
                      <a:pt x="2228" y="3887"/>
                    </a:lnTo>
                    <a:lnTo>
                      <a:pt x="2249" y="3909"/>
                    </a:lnTo>
                    <a:lnTo>
                      <a:pt x="2268" y="3930"/>
                    </a:lnTo>
                    <a:lnTo>
                      <a:pt x="2285" y="3950"/>
                    </a:lnTo>
                    <a:lnTo>
                      <a:pt x="2300" y="3971"/>
                    </a:lnTo>
                    <a:lnTo>
                      <a:pt x="2312" y="3991"/>
                    </a:lnTo>
                    <a:lnTo>
                      <a:pt x="2323" y="4008"/>
                    </a:lnTo>
                    <a:lnTo>
                      <a:pt x="2332" y="4027"/>
                    </a:lnTo>
                    <a:lnTo>
                      <a:pt x="2340" y="4043"/>
                    </a:lnTo>
                    <a:lnTo>
                      <a:pt x="2346" y="4059"/>
                    </a:lnTo>
                    <a:lnTo>
                      <a:pt x="2355" y="4089"/>
                    </a:lnTo>
                    <a:lnTo>
                      <a:pt x="2362" y="4115"/>
                    </a:lnTo>
                    <a:lnTo>
                      <a:pt x="2365" y="4136"/>
                    </a:lnTo>
                    <a:lnTo>
                      <a:pt x="2367" y="4152"/>
                    </a:lnTo>
                    <a:lnTo>
                      <a:pt x="2371" y="4164"/>
                    </a:lnTo>
                    <a:lnTo>
                      <a:pt x="2371" y="4164"/>
                    </a:lnTo>
                    <a:lnTo>
                      <a:pt x="2385" y="4174"/>
                    </a:lnTo>
                    <a:lnTo>
                      <a:pt x="2385" y="4174"/>
                    </a:lnTo>
                    <a:lnTo>
                      <a:pt x="2379" y="4174"/>
                    </a:lnTo>
                    <a:lnTo>
                      <a:pt x="2377" y="4172"/>
                    </a:lnTo>
                    <a:lnTo>
                      <a:pt x="2373" y="4168"/>
                    </a:lnTo>
                    <a:lnTo>
                      <a:pt x="2371" y="4164"/>
                    </a:lnTo>
                    <a:lnTo>
                      <a:pt x="2371" y="4164"/>
                    </a:lnTo>
                    <a:lnTo>
                      <a:pt x="2336" y="4137"/>
                    </a:lnTo>
                    <a:lnTo>
                      <a:pt x="2303" y="4110"/>
                    </a:lnTo>
                    <a:lnTo>
                      <a:pt x="2268" y="4084"/>
                    </a:lnTo>
                    <a:lnTo>
                      <a:pt x="2233" y="4059"/>
                    </a:lnTo>
                    <a:lnTo>
                      <a:pt x="2198" y="4035"/>
                    </a:lnTo>
                    <a:lnTo>
                      <a:pt x="2162" y="4011"/>
                    </a:lnTo>
                    <a:lnTo>
                      <a:pt x="2125" y="3989"/>
                    </a:lnTo>
                    <a:lnTo>
                      <a:pt x="2089" y="3968"/>
                    </a:lnTo>
                    <a:lnTo>
                      <a:pt x="2053" y="3948"/>
                    </a:lnTo>
                    <a:lnTo>
                      <a:pt x="2016" y="3928"/>
                    </a:lnTo>
                    <a:lnTo>
                      <a:pt x="1979" y="3909"/>
                    </a:lnTo>
                    <a:lnTo>
                      <a:pt x="1943" y="3891"/>
                    </a:lnTo>
                    <a:lnTo>
                      <a:pt x="1905" y="3874"/>
                    </a:lnTo>
                    <a:lnTo>
                      <a:pt x="1867" y="3858"/>
                    </a:lnTo>
                    <a:lnTo>
                      <a:pt x="1793" y="3827"/>
                    </a:lnTo>
                    <a:lnTo>
                      <a:pt x="1718" y="3800"/>
                    </a:lnTo>
                    <a:lnTo>
                      <a:pt x="1643" y="3777"/>
                    </a:lnTo>
                    <a:lnTo>
                      <a:pt x="1567" y="3755"/>
                    </a:lnTo>
                    <a:lnTo>
                      <a:pt x="1492" y="3738"/>
                    </a:lnTo>
                    <a:lnTo>
                      <a:pt x="1418" y="3723"/>
                    </a:lnTo>
                    <a:lnTo>
                      <a:pt x="1344" y="3712"/>
                    </a:lnTo>
                    <a:lnTo>
                      <a:pt x="1272" y="3703"/>
                    </a:lnTo>
                    <a:lnTo>
                      <a:pt x="1200" y="3696"/>
                    </a:lnTo>
                    <a:lnTo>
                      <a:pt x="1130" y="3694"/>
                    </a:lnTo>
                    <a:lnTo>
                      <a:pt x="1062" y="3692"/>
                    </a:lnTo>
                    <a:lnTo>
                      <a:pt x="995" y="3695"/>
                    </a:lnTo>
                    <a:lnTo>
                      <a:pt x="929" y="3699"/>
                    </a:lnTo>
                    <a:lnTo>
                      <a:pt x="866" y="3706"/>
                    </a:lnTo>
                    <a:lnTo>
                      <a:pt x="804" y="3715"/>
                    </a:lnTo>
                    <a:lnTo>
                      <a:pt x="746" y="3727"/>
                    </a:lnTo>
                    <a:lnTo>
                      <a:pt x="689" y="3741"/>
                    </a:lnTo>
                    <a:lnTo>
                      <a:pt x="636" y="3757"/>
                    </a:lnTo>
                    <a:lnTo>
                      <a:pt x="585" y="3776"/>
                    </a:lnTo>
                    <a:lnTo>
                      <a:pt x="537" y="3796"/>
                    </a:lnTo>
                    <a:lnTo>
                      <a:pt x="515" y="3807"/>
                    </a:lnTo>
                    <a:lnTo>
                      <a:pt x="493" y="3817"/>
                    </a:lnTo>
                    <a:lnTo>
                      <a:pt x="472" y="3829"/>
                    </a:lnTo>
                    <a:lnTo>
                      <a:pt x="451" y="3842"/>
                    </a:lnTo>
                    <a:lnTo>
                      <a:pt x="433" y="3855"/>
                    </a:lnTo>
                    <a:lnTo>
                      <a:pt x="415" y="3868"/>
                    </a:lnTo>
                    <a:lnTo>
                      <a:pt x="398" y="3882"/>
                    </a:lnTo>
                    <a:lnTo>
                      <a:pt x="381" y="3897"/>
                    </a:lnTo>
                    <a:lnTo>
                      <a:pt x="367" y="3910"/>
                    </a:lnTo>
                    <a:lnTo>
                      <a:pt x="352" y="3926"/>
                    </a:lnTo>
                    <a:lnTo>
                      <a:pt x="352" y="3926"/>
                    </a:lnTo>
                    <a:lnTo>
                      <a:pt x="332" y="3950"/>
                    </a:lnTo>
                    <a:lnTo>
                      <a:pt x="312" y="3975"/>
                    </a:lnTo>
                    <a:lnTo>
                      <a:pt x="293" y="4000"/>
                    </a:lnTo>
                    <a:lnTo>
                      <a:pt x="274" y="4026"/>
                    </a:lnTo>
                    <a:lnTo>
                      <a:pt x="256" y="4051"/>
                    </a:lnTo>
                    <a:lnTo>
                      <a:pt x="240" y="4078"/>
                    </a:lnTo>
                    <a:lnTo>
                      <a:pt x="224" y="4105"/>
                    </a:lnTo>
                    <a:lnTo>
                      <a:pt x="209" y="4132"/>
                    </a:lnTo>
                    <a:lnTo>
                      <a:pt x="181" y="4188"/>
                    </a:lnTo>
                    <a:lnTo>
                      <a:pt x="156" y="4245"/>
                    </a:lnTo>
                    <a:lnTo>
                      <a:pt x="134" y="4301"/>
                    </a:lnTo>
                    <a:lnTo>
                      <a:pt x="114" y="4361"/>
                    </a:lnTo>
                    <a:lnTo>
                      <a:pt x="95" y="4418"/>
                    </a:lnTo>
                    <a:lnTo>
                      <a:pt x="79" y="4478"/>
                    </a:lnTo>
                    <a:lnTo>
                      <a:pt x="64" y="4538"/>
                    </a:lnTo>
                    <a:lnTo>
                      <a:pt x="51" y="4597"/>
                    </a:lnTo>
                    <a:lnTo>
                      <a:pt x="39" y="4656"/>
                    </a:lnTo>
                    <a:lnTo>
                      <a:pt x="27" y="4716"/>
                    </a:lnTo>
                    <a:lnTo>
                      <a:pt x="6" y="4833"/>
                    </a:lnTo>
                    <a:lnTo>
                      <a:pt x="6" y="4833"/>
                    </a:lnTo>
                    <a:lnTo>
                      <a:pt x="2" y="4851"/>
                    </a:lnTo>
                    <a:lnTo>
                      <a:pt x="1" y="4870"/>
                    </a:lnTo>
                    <a:lnTo>
                      <a:pt x="0" y="4908"/>
                    </a:lnTo>
                    <a:lnTo>
                      <a:pt x="1" y="4943"/>
                    </a:lnTo>
                    <a:lnTo>
                      <a:pt x="4" y="4978"/>
                    </a:lnTo>
                    <a:lnTo>
                      <a:pt x="10" y="5011"/>
                    </a:lnTo>
                    <a:lnTo>
                      <a:pt x="17" y="5045"/>
                    </a:lnTo>
                    <a:lnTo>
                      <a:pt x="25" y="5079"/>
                    </a:lnTo>
                    <a:lnTo>
                      <a:pt x="35" y="5112"/>
                    </a:lnTo>
                    <a:lnTo>
                      <a:pt x="53" y="5180"/>
                    </a:lnTo>
                    <a:lnTo>
                      <a:pt x="61" y="5215"/>
                    </a:lnTo>
                    <a:lnTo>
                      <a:pt x="68" y="5249"/>
                    </a:lnTo>
                    <a:lnTo>
                      <a:pt x="75" y="5286"/>
                    </a:lnTo>
                    <a:lnTo>
                      <a:pt x="79" y="5322"/>
                    </a:lnTo>
                    <a:lnTo>
                      <a:pt x="80" y="5361"/>
                    </a:lnTo>
                    <a:lnTo>
                      <a:pt x="80" y="5401"/>
                    </a:lnTo>
                    <a:lnTo>
                      <a:pt x="80" y="5401"/>
                    </a:lnTo>
                    <a:lnTo>
                      <a:pt x="321" y="5405"/>
                    </a:lnTo>
                    <a:lnTo>
                      <a:pt x="580" y="5412"/>
                    </a:lnTo>
                    <a:lnTo>
                      <a:pt x="1126" y="5424"/>
                    </a:lnTo>
                    <a:lnTo>
                      <a:pt x="1397" y="5430"/>
                    </a:lnTo>
                    <a:lnTo>
                      <a:pt x="1655" y="5434"/>
                    </a:lnTo>
                    <a:lnTo>
                      <a:pt x="1777" y="5434"/>
                    </a:lnTo>
                    <a:lnTo>
                      <a:pt x="1894" y="5434"/>
                    </a:lnTo>
                    <a:lnTo>
                      <a:pt x="2004" y="5432"/>
                    </a:lnTo>
                    <a:lnTo>
                      <a:pt x="2105" y="5430"/>
                    </a:lnTo>
                    <a:lnTo>
                      <a:pt x="2105" y="5430"/>
                    </a:lnTo>
                    <a:lnTo>
                      <a:pt x="2217" y="5424"/>
                    </a:lnTo>
                    <a:lnTo>
                      <a:pt x="2319" y="5419"/>
                    </a:lnTo>
                    <a:lnTo>
                      <a:pt x="2412" y="5411"/>
                    </a:lnTo>
                    <a:lnTo>
                      <a:pt x="2495" y="5401"/>
                    </a:lnTo>
                    <a:lnTo>
                      <a:pt x="2570" y="5391"/>
                    </a:lnTo>
                    <a:lnTo>
                      <a:pt x="2639" y="5379"/>
                    </a:lnTo>
                    <a:lnTo>
                      <a:pt x="2699" y="5366"/>
                    </a:lnTo>
                    <a:lnTo>
                      <a:pt x="2752" y="5353"/>
                    </a:lnTo>
                    <a:lnTo>
                      <a:pt x="2752" y="5353"/>
                    </a:lnTo>
                    <a:lnTo>
                      <a:pt x="2752" y="5345"/>
                    </a:lnTo>
                    <a:lnTo>
                      <a:pt x="2752" y="5338"/>
                    </a:lnTo>
                    <a:lnTo>
                      <a:pt x="2756" y="5325"/>
                    </a:lnTo>
                    <a:lnTo>
                      <a:pt x="2761" y="5313"/>
                    </a:lnTo>
                    <a:lnTo>
                      <a:pt x="2769" y="5301"/>
                    </a:lnTo>
                    <a:lnTo>
                      <a:pt x="2779" y="5290"/>
                    </a:lnTo>
                    <a:lnTo>
                      <a:pt x="2790" y="5279"/>
                    </a:lnTo>
                    <a:lnTo>
                      <a:pt x="2814" y="5259"/>
                    </a:lnTo>
                    <a:lnTo>
                      <a:pt x="2838" y="5236"/>
                    </a:lnTo>
                    <a:lnTo>
                      <a:pt x="2850" y="5224"/>
                    </a:lnTo>
                    <a:lnTo>
                      <a:pt x="2859" y="5210"/>
                    </a:lnTo>
                    <a:lnTo>
                      <a:pt x="2869" y="5196"/>
                    </a:lnTo>
                    <a:lnTo>
                      <a:pt x="2876" y="5181"/>
                    </a:lnTo>
                    <a:lnTo>
                      <a:pt x="2880" y="5162"/>
                    </a:lnTo>
                    <a:lnTo>
                      <a:pt x="2881" y="5143"/>
                    </a:lnTo>
                    <a:lnTo>
                      <a:pt x="2881" y="5143"/>
                    </a:lnTo>
                    <a:lnTo>
                      <a:pt x="2881" y="5099"/>
                    </a:lnTo>
                    <a:lnTo>
                      <a:pt x="2880" y="5053"/>
                    </a:lnTo>
                    <a:lnTo>
                      <a:pt x="2877" y="5007"/>
                    </a:lnTo>
                    <a:lnTo>
                      <a:pt x="2874" y="4960"/>
                    </a:lnTo>
                    <a:lnTo>
                      <a:pt x="2866" y="4865"/>
                    </a:lnTo>
                    <a:lnTo>
                      <a:pt x="2854" y="4767"/>
                    </a:lnTo>
                    <a:lnTo>
                      <a:pt x="2854" y="4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68" name="Group 367"/>
            <p:cNvGrpSpPr>
              <a:grpSpLocks noChangeAspect="1"/>
            </p:cNvGrpSpPr>
            <p:nvPr/>
          </p:nvGrpSpPr>
          <p:grpSpPr>
            <a:xfrm>
              <a:off x="6746818" y="2751280"/>
              <a:ext cx="396404" cy="524251"/>
              <a:chOff x="22634575" y="-784225"/>
              <a:chExt cx="4724401" cy="5680075"/>
            </a:xfrm>
            <a:solidFill>
              <a:srgbClr val="008DB5"/>
            </a:solidFill>
          </p:grpSpPr>
          <p:sp>
            <p:nvSpPr>
              <p:cNvPr id="400" name="Freeform 164"/>
              <p:cNvSpPr>
                <a:spLocks/>
              </p:cNvSpPr>
              <p:nvPr/>
            </p:nvSpPr>
            <p:spPr bwMode="auto">
              <a:xfrm>
                <a:off x="22720300" y="4505325"/>
                <a:ext cx="2135188" cy="390525"/>
              </a:xfrm>
              <a:custGeom>
                <a:avLst/>
                <a:gdLst>
                  <a:gd name="T0" fmla="*/ 1386 w 2689"/>
                  <a:gd name="T1" fmla="*/ 472 h 492"/>
                  <a:gd name="T2" fmla="*/ 1838 w 2689"/>
                  <a:gd name="T3" fmla="*/ 470 h 492"/>
                  <a:gd name="T4" fmla="*/ 2150 w 2689"/>
                  <a:gd name="T5" fmla="*/ 464 h 492"/>
                  <a:gd name="T6" fmla="*/ 2293 w 2689"/>
                  <a:gd name="T7" fmla="*/ 458 h 492"/>
                  <a:gd name="T8" fmla="*/ 2422 w 2689"/>
                  <a:gd name="T9" fmla="*/ 449 h 492"/>
                  <a:gd name="T10" fmla="*/ 2533 w 2689"/>
                  <a:gd name="T11" fmla="*/ 436 h 492"/>
                  <a:gd name="T12" fmla="*/ 2543 w 2689"/>
                  <a:gd name="T13" fmla="*/ 433 h 492"/>
                  <a:gd name="T14" fmla="*/ 2565 w 2689"/>
                  <a:gd name="T15" fmla="*/ 426 h 492"/>
                  <a:gd name="T16" fmla="*/ 2584 w 2689"/>
                  <a:gd name="T17" fmla="*/ 417 h 492"/>
                  <a:gd name="T18" fmla="*/ 2600 w 2689"/>
                  <a:gd name="T19" fmla="*/ 405 h 492"/>
                  <a:gd name="T20" fmla="*/ 2623 w 2689"/>
                  <a:gd name="T21" fmla="*/ 380 h 492"/>
                  <a:gd name="T22" fmla="*/ 2646 w 2689"/>
                  <a:gd name="T23" fmla="*/ 339 h 492"/>
                  <a:gd name="T24" fmla="*/ 2665 w 2689"/>
                  <a:gd name="T25" fmla="*/ 288 h 492"/>
                  <a:gd name="T26" fmla="*/ 2677 w 2689"/>
                  <a:gd name="T27" fmla="*/ 228 h 492"/>
                  <a:gd name="T28" fmla="*/ 2685 w 2689"/>
                  <a:gd name="T29" fmla="*/ 161 h 492"/>
                  <a:gd name="T30" fmla="*/ 2689 w 2689"/>
                  <a:gd name="T31" fmla="*/ 89 h 492"/>
                  <a:gd name="T32" fmla="*/ 2689 w 2689"/>
                  <a:gd name="T33" fmla="*/ 51 h 492"/>
                  <a:gd name="T34" fmla="*/ 2187 w 2689"/>
                  <a:gd name="T35" fmla="*/ 60 h 492"/>
                  <a:gd name="T36" fmla="*/ 1368 w 2689"/>
                  <a:gd name="T37" fmla="*/ 79 h 492"/>
                  <a:gd name="T38" fmla="*/ 987 w 2689"/>
                  <a:gd name="T39" fmla="*/ 83 h 492"/>
                  <a:gd name="T40" fmla="*/ 759 w 2689"/>
                  <a:gd name="T41" fmla="*/ 81 h 492"/>
                  <a:gd name="T42" fmla="*/ 657 w 2689"/>
                  <a:gd name="T43" fmla="*/ 78 h 492"/>
                  <a:gd name="T44" fmla="*/ 438 w 2689"/>
                  <a:gd name="T45" fmla="*/ 67 h 492"/>
                  <a:gd name="T46" fmla="*/ 259 w 2689"/>
                  <a:gd name="T47" fmla="*/ 50 h 492"/>
                  <a:gd name="T48" fmla="*/ 114 w 2689"/>
                  <a:gd name="T49" fmla="*/ 27 h 492"/>
                  <a:gd name="T50" fmla="*/ 0 w 2689"/>
                  <a:gd name="T51" fmla="*/ 0 h 492"/>
                  <a:gd name="T52" fmla="*/ 0 w 2689"/>
                  <a:gd name="T53" fmla="*/ 35 h 492"/>
                  <a:gd name="T54" fmla="*/ 4 w 2689"/>
                  <a:gd name="T55" fmla="*/ 107 h 492"/>
                  <a:gd name="T56" fmla="*/ 16 w 2689"/>
                  <a:gd name="T57" fmla="*/ 181 h 492"/>
                  <a:gd name="T58" fmla="*/ 39 w 2689"/>
                  <a:gd name="T59" fmla="*/ 257 h 492"/>
                  <a:gd name="T60" fmla="*/ 53 w 2689"/>
                  <a:gd name="T61" fmla="*/ 297 h 492"/>
                  <a:gd name="T62" fmla="*/ 66 w 2689"/>
                  <a:gd name="T63" fmla="*/ 323 h 492"/>
                  <a:gd name="T64" fmla="*/ 82 w 2689"/>
                  <a:gd name="T65" fmla="*/ 345 h 492"/>
                  <a:gd name="T66" fmla="*/ 102 w 2689"/>
                  <a:gd name="T67" fmla="*/ 367 h 492"/>
                  <a:gd name="T68" fmla="*/ 125 w 2689"/>
                  <a:gd name="T69" fmla="*/ 386 h 492"/>
                  <a:gd name="T70" fmla="*/ 150 w 2689"/>
                  <a:gd name="T71" fmla="*/ 403 h 492"/>
                  <a:gd name="T72" fmla="*/ 211 w 2689"/>
                  <a:gd name="T73" fmla="*/ 431 h 492"/>
                  <a:gd name="T74" fmla="*/ 282 w 2689"/>
                  <a:gd name="T75" fmla="*/ 454 h 492"/>
                  <a:gd name="T76" fmla="*/ 361 w 2689"/>
                  <a:gd name="T77" fmla="*/ 470 h 492"/>
                  <a:gd name="T78" fmla="*/ 449 w 2689"/>
                  <a:gd name="T79" fmla="*/ 481 h 492"/>
                  <a:gd name="T80" fmla="*/ 541 w 2689"/>
                  <a:gd name="T81" fmla="*/ 488 h 492"/>
                  <a:gd name="T82" fmla="*/ 691 w 2689"/>
                  <a:gd name="T83" fmla="*/ 492 h 492"/>
                  <a:gd name="T84" fmla="*/ 896 w 2689"/>
                  <a:gd name="T85" fmla="*/ 488 h 492"/>
                  <a:gd name="T86" fmla="*/ 1202 w 2689"/>
                  <a:gd name="T87" fmla="*/ 476 h 492"/>
                  <a:gd name="T88" fmla="*/ 1386 w 2689"/>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89" h="492">
                    <a:moveTo>
                      <a:pt x="1386" y="472"/>
                    </a:moveTo>
                    <a:lnTo>
                      <a:pt x="1386" y="472"/>
                    </a:lnTo>
                    <a:lnTo>
                      <a:pt x="1680" y="472"/>
                    </a:lnTo>
                    <a:lnTo>
                      <a:pt x="1838" y="470"/>
                    </a:lnTo>
                    <a:lnTo>
                      <a:pt x="1996" y="468"/>
                    </a:lnTo>
                    <a:lnTo>
                      <a:pt x="2150" y="464"/>
                    </a:lnTo>
                    <a:lnTo>
                      <a:pt x="2223" y="461"/>
                    </a:lnTo>
                    <a:lnTo>
                      <a:pt x="2293" y="458"/>
                    </a:lnTo>
                    <a:lnTo>
                      <a:pt x="2361" y="453"/>
                    </a:lnTo>
                    <a:lnTo>
                      <a:pt x="2422" y="449"/>
                    </a:lnTo>
                    <a:lnTo>
                      <a:pt x="2480" y="442"/>
                    </a:lnTo>
                    <a:lnTo>
                      <a:pt x="2533" y="436"/>
                    </a:lnTo>
                    <a:lnTo>
                      <a:pt x="2533" y="436"/>
                    </a:lnTo>
                    <a:lnTo>
                      <a:pt x="2543" y="433"/>
                    </a:lnTo>
                    <a:lnTo>
                      <a:pt x="2554" y="430"/>
                    </a:lnTo>
                    <a:lnTo>
                      <a:pt x="2565" y="426"/>
                    </a:lnTo>
                    <a:lnTo>
                      <a:pt x="2574" y="422"/>
                    </a:lnTo>
                    <a:lnTo>
                      <a:pt x="2584" y="417"/>
                    </a:lnTo>
                    <a:lnTo>
                      <a:pt x="2592" y="411"/>
                    </a:lnTo>
                    <a:lnTo>
                      <a:pt x="2600" y="405"/>
                    </a:lnTo>
                    <a:lnTo>
                      <a:pt x="2608" y="397"/>
                    </a:lnTo>
                    <a:lnTo>
                      <a:pt x="2623" y="380"/>
                    </a:lnTo>
                    <a:lnTo>
                      <a:pt x="2635" y="360"/>
                    </a:lnTo>
                    <a:lnTo>
                      <a:pt x="2646" y="339"/>
                    </a:lnTo>
                    <a:lnTo>
                      <a:pt x="2656" y="314"/>
                    </a:lnTo>
                    <a:lnTo>
                      <a:pt x="2665" y="288"/>
                    </a:lnTo>
                    <a:lnTo>
                      <a:pt x="2671" y="259"/>
                    </a:lnTo>
                    <a:lnTo>
                      <a:pt x="2677" y="228"/>
                    </a:lnTo>
                    <a:lnTo>
                      <a:pt x="2681" y="196"/>
                    </a:lnTo>
                    <a:lnTo>
                      <a:pt x="2685" y="161"/>
                    </a:lnTo>
                    <a:lnTo>
                      <a:pt x="2687" y="126"/>
                    </a:lnTo>
                    <a:lnTo>
                      <a:pt x="2689" y="89"/>
                    </a:lnTo>
                    <a:lnTo>
                      <a:pt x="2689" y="51"/>
                    </a:lnTo>
                    <a:lnTo>
                      <a:pt x="2689" y="51"/>
                    </a:lnTo>
                    <a:lnTo>
                      <a:pt x="2448" y="55"/>
                    </a:lnTo>
                    <a:lnTo>
                      <a:pt x="2187" y="60"/>
                    </a:lnTo>
                    <a:lnTo>
                      <a:pt x="1640" y="74"/>
                    </a:lnTo>
                    <a:lnTo>
                      <a:pt x="1368" y="79"/>
                    </a:lnTo>
                    <a:lnTo>
                      <a:pt x="1109" y="82"/>
                    </a:lnTo>
                    <a:lnTo>
                      <a:pt x="987" y="83"/>
                    </a:lnTo>
                    <a:lnTo>
                      <a:pt x="870" y="82"/>
                    </a:lnTo>
                    <a:lnTo>
                      <a:pt x="759" y="81"/>
                    </a:lnTo>
                    <a:lnTo>
                      <a:pt x="657" y="78"/>
                    </a:lnTo>
                    <a:lnTo>
                      <a:pt x="657" y="78"/>
                    </a:lnTo>
                    <a:lnTo>
                      <a:pt x="543" y="74"/>
                    </a:lnTo>
                    <a:lnTo>
                      <a:pt x="438" y="67"/>
                    </a:lnTo>
                    <a:lnTo>
                      <a:pt x="344" y="59"/>
                    </a:lnTo>
                    <a:lnTo>
                      <a:pt x="259" y="50"/>
                    </a:lnTo>
                    <a:lnTo>
                      <a:pt x="182" y="39"/>
                    </a:lnTo>
                    <a:lnTo>
                      <a:pt x="114" y="27"/>
                    </a:lnTo>
                    <a:lnTo>
                      <a:pt x="52" y="13"/>
                    </a:lnTo>
                    <a:lnTo>
                      <a:pt x="0" y="0"/>
                    </a:lnTo>
                    <a:lnTo>
                      <a:pt x="0" y="0"/>
                    </a:lnTo>
                    <a:lnTo>
                      <a:pt x="0" y="35"/>
                    </a:lnTo>
                    <a:lnTo>
                      <a:pt x="1" y="71"/>
                    </a:lnTo>
                    <a:lnTo>
                      <a:pt x="4" y="107"/>
                    </a:lnTo>
                    <a:lnTo>
                      <a:pt x="9" y="144"/>
                    </a:lnTo>
                    <a:lnTo>
                      <a:pt x="16" y="181"/>
                    </a:lnTo>
                    <a:lnTo>
                      <a:pt x="27" y="219"/>
                    </a:lnTo>
                    <a:lnTo>
                      <a:pt x="39" y="257"/>
                    </a:lnTo>
                    <a:lnTo>
                      <a:pt x="53" y="297"/>
                    </a:lnTo>
                    <a:lnTo>
                      <a:pt x="53" y="297"/>
                    </a:lnTo>
                    <a:lnTo>
                      <a:pt x="59" y="310"/>
                    </a:lnTo>
                    <a:lnTo>
                      <a:pt x="66" y="323"/>
                    </a:lnTo>
                    <a:lnTo>
                      <a:pt x="74" y="335"/>
                    </a:lnTo>
                    <a:lnTo>
                      <a:pt x="82" y="345"/>
                    </a:lnTo>
                    <a:lnTo>
                      <a:pt x="91" y="356"/>
                    </a:lnTo>
                    <a:lnTo>
                      <a:pt x="102" y="367"/>
                    </a:lnTo>
                    <a:lnTo>
                      <a:pt x="113" y="376"/>
                    </a:lnTo>
                    <a:lnTo>
                      <a:pt x="125" y="386"/>
                    </a:lnTo>
                    <a:lnTo>
                      <a:pt x="137" y="395"/>
                    </a:lnTo>
                    <a:lnTo>
                      <a:pt x="150" y="403"/>
                    </a:lnTo>
                    <a:lnTo>
                      <a:pt x="180" y="418"/>
                    </a:lnTo>
                    <a:lnTo>
                      <a:pt x="211" y="431"/>
                    </a:lnTo>
                    <a:lnTo>
                      <a:pt x="246" y="444"/>
                    </a:lnTo>
                    <a:lnTo>
                      <a:pt x="282" y="454"/>
                    </a:lnTo>
                    <a:lnTo>
                      <a:pt x="321" y="464"/>
                    </a:lnTo>
                    <a:lnTo>
                      <a:pt x="361" y="470"/>
                    </a:lnTo>
                    <a:lnTo>
                      <a:pt x="404" y="477"/>
                    </a:lnTo>
                    <a:lnTo>
                      <a:pt x="449" y="481"/>
                    </a:lnTo>
                    <a:lnTo>
                      <a:pt x="494" y="485"/>
                    </a:lnTo>
                    <a:lnTo>
                      <a:pt x="541" y="488"/>
                    </a:lnTo>
                    <a:lnTo>
                      <a:pt x="590" y="491"/>
                    </a:lnTo>
                    <a:lnTo>
                      <a:pt x="691" y="492"/>
                    </a:lnTo>
                    <a:lnTo>
                      <a:pt x="793" y="491"/>
                    </a:lnTo>
                    <a:lnTo>
                      <a:pt x="896" y="488"/>
                    </a:lnTo>
                    <a:lnTo>
                      <a:pt x="1000" y="484"/>
                    </a:lnTo>
                    <a:lnTo>
                      <a:pt x="1202" y="476"/>
                    </a:lnTo>
                    <a:lnTo>
                      <a:pt x="1296" y="472"/>
                    </a:lnTo>
                    <a:lnTo>
                      <a:pt x="1386" y="472"/>
                    </a:lnTo>
                    <a:lnTo>
                      <a:pt x="1386"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1" name="Freeform 165"/>
              <p:cNvSpPr>
                <a:spLocks/>
              </p:cNvSpPr>
              <p:nvPr/>
            </p:nvSpPr>
            <p:spPr bwMode="auto">
              <a:xfrm>
                <a:off x="25130125" y="4505325"/>
                <a:ext cx="2136775" cy="390525"/>
              </a:xfrm>
              <a:custGeom>
                <a:avLst/>
                <a:gdLst>
                  <a:gd name="T0" fmla="*/ 1302 w 2690"/>
                  <a:gd name="T1" fmla="*/ 472 h 492"/>
                  <a:gd name="T2" fmla="*/ 851 w 2690"/>
                  <a:gd name="T3" fmla="*/ 470 h 492"/>
                  <a:gd name="T4" fmla="*/ 539 w 2690"/>
                  <a:gd name="T5" fmla="*/ 464 h 492"/>
                  <a:gd name="T6" fmla="*/ 395 w 2690"/>
                  <a:gd name="T7" fmla="*/ 458 h 492"/>
                  <a:gd name="T8" fmla="*/ 266 w 2690"/>
                  <a:gd name="T9" fmla="*/ 449 h 492"/>
                  <a:gd name="T10" fmla="*/ 156 w 2690"/>
                  <a:gd name="T11" fmla="*/ 436 h 492"/>
                  <a:gd name="T12" fmla="*/ 145 w 2690"/>
                  <a:gd name="T13" fmla="*/ 433 h 492"/>
                  <a:gd name="T14" fmla="*/ 123 w 2690"/>
                  <a:gd name="T15" fmla="*/ 426 h 492"/>
                  <a:gd name="T16" fmla="*/ 106 w 2690"/>
                  <a:gd name="T17" fmla="*/ 417 h 492"/>
                  <a:gd name="T18" fmla="*/ 88 w 2690"/>
                  <a:gd name="T19" fmla="*/ 405 h 492"/>
                  <a:gd name="T20" fmla="*/ 65 w 2690"/>
                  <a:gd name="T21" fmla="*/ 380 h 492"/>
                  <a:gd name="T22" fmla="*/ 43 w 2690"/>
                  <a:gd name="T23" fmla="*/ 339 h 492"/>
                  <a:gd name="T24" fmla="*/ 24 w 2690"/>
                  <a:gd name="T25" fmla="*/ 288 h 492"/>
                  <a:gd name="T26" fmla="*/ 12 w 2690"/>
                  <a:gd name="T27" fmla="*/ 228 h 492"/>
                  <a:gd name="T28" fmla="*/ 4 w 2690"/>
                  <a:gd name="T29" fmla="*/ 161 h 492"/>
                  <a:gd name="T30" fmla="*/ 1 w 2690"/>
                  <a:gd name="T31" fmla="*/ 89 h 492"/>
                  <a:gd name="T32" fmla="*/ 0 w 2690"/>
                  <a:gd name="T33" fmla="*/ 51 h 492"/>
                  <a:gd name="T34" fmla="*/ 501 w 2690"/>
                  <a:gd name="T35" fmla="*/ 60 h 492"/>
                  <a:gd name="T36" fmla="*/ 1320 w 2690"/>
                  <a:gd name="T37" fmla="*/ 79 h 492"/>
                  <a:gd name="T38" fmla="*/ 1702 w 2690"/>
                  <a:gd name="T39" fmla="*/ 83 h 492"/>
                  <a:gd name="T40" fmla="*/ 1929 w 2690"/>
                  <a:gd name="T41" fmla="*/ 81 h 492"/>
                  <a:gd name="T42" fmla="*/ 2031 w 2690"/>
                  <a:gd name="T43" fmla="*/ 78 h 492"/>
                  <a:gd name="T44" fmla="*/ 2250 w 2690"/>
                  <a:gd name="T45" fmla="*/ 67 h 492"/>
                  <a:gd name="T46" fmla="*/ 2431 w 2690"/>
                  <a:gd name="T47" fmla="*/ 50 h 492"/>
                  <a:gd name="T48" fmla="*/ 2576 w 2690"/>
                  <a:gd name="T49" fmla="*/ 27 h 492"/>
                  <a:gd name="T50" fmla="*/ 2690 w 2690"/>
                  <a:gd name="T51" fmla="*/ 0 h 492"/>
                  <a:gd name="T52" fmla="*/ 2689 w 2690"/>
                  <a:gd name="T53" fmla="*/ 35 h 492"/>
                  <a:gd name="T54" fmla="*/ 2685 w 2690"/>
                  <a:gd name="T55" fmla="*/ 107 h 492"/>
                  <a:gd name="T56" fmla="*/ 2673 w 2690"/>
                  <a:gd name="T57" fmla="*/ 181 h 492"/>
                  <a:gd name="T58" fmla="*/ 2651 w 2690"/>
                  <a:gd name="T59" fmla="*/ 257 h 492"/>
                  <a:gd name="T60" fmla="*/ 2635 w 2690"/>
                  <a:gd name="T61" fmla="*/ 297 h 492"/>
                  <a:gd name="T62" fmla="*/ 2623 w 2690"/>
                  <a:gd name="T63" fmla="*/ 323 h 492"/>
                  <a:gd name="T64" fmla="*/ 2607 w 2690"/>
                  <a:gd name="T65" fmla="*/ 345 h 492"/>
                  <a:gd name="T66" fmla="*/ 2586 w 2690"/>
                  <a:gd name="T67" fmla="*/ 367 h 492"/>
                  <a:gd name="T68" fmla="*/ 2564 w 2690"/>
                  <a:gd name="T69" fmla="*/ 386 h 492"/>
                  <a:gd name="T70" fmla="*/ 2538 w 2690"/>
                  <a:gd name="T71" fmla="*/ 403 h 492"/>
                  <a:gd name="T72" fmla="*/ 2478 w 2690"/>
                  <a:gd name="T73" fmla="*/ 431 h 492"/>
                  <a:gd name="T74" fmla="*/ 2406 w 2690"/>
                  <a:gd name="T75" fmla="*/ 454 h 492"/>
                  <a:gd name="T76" fmla="*/ 2327 w 2690"/>
                  <a:gd name="T77" fmla="*/ 470 h 492"/>
                  <a:gd name="T78" fmla="*/ 2240 w 2690"/>
                  <a:gd name="T79" fmla="*/ 481 h 492"/>
                  <a:gd name="T80" fmla="*/ 2147 w 2690"/>
                  <a:gd name="T81" fmla="*/ 488 h 492"/>
                  <a:gd name="T82" fmla="*/ 1999 w 2690"/>
                  <a:gd name="T83" fmla="*/ 492 h 492"/>
                  <a:gd name="T84" fmla="*/ 1792 w 2690"/>
                  <a:gd name="T85" fmla="*/ 488 h 492"/>
                  <a:gd name="T86" fmla="*/ 1487 w 2690"/>
                  <a:gd name="T87" fmla="*/ 476 h 492"/>
                  <a:gd name="T88" fmla="*/ 1302 w 2690"/>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90" h="492">
                    <a:moveTo>
                      <a:pt x="1302" y="472"/>
                    </a:moveTo>
                    <a:lnTo>
                      <a:pt x="1302" y="472"/>
                    </a:lnTo>
                    <a:lnTo>
                      <a:pt x="1008" y="472"/>
                    </a:lnTo>
                    <a:lnTo>
                      <a:pt x="851" y="470"/>
                    </a:lnTo>
                    <a:lnTo>
                      <a:pt x="692" y="468"/>
                    </a:lnTo>
                    <a:lnTo>
                      <a:pt x="539" y="464"/>
                    </a:lnTo>
                    <a:lnTo>
                      <a:pt x="466" y="461"/>
                    </a:lnTo>
                    <a:lnTo>
                      <a:pt x="395" y="458"/>
                    </a:lnTo>
                    <a:lnTo>
                      <a:pt x="328" y="453"/>
                    </a:lnTo>
                    <a:lnTo>
                      <a:pt x="266" y="449"/>
                    </a:lnTo>
                    <a:lnTo>
                      <a:pt x="208" y="442"/>
                    </a:lnTo>
                    <a:lnTo>
                      <a:pt x="156" y="436"/>
                    </a:lnTo>
                    <a:lnTo>
                      <a:pt x="156" y="436"/>
                    </a:lnTo>
                    <a:lnTo>
                      <a:pt x="145" y="433"/>
                    </a:lnTo>
                    <a:lnTo>
                      <a:pt x="134" y="430"/>
                    </a:lnTo>
                    <a:lnTo>
                      <a:pt x="123" y="426"/>
                    </a:lnTo>
                    <a:lnTo>
                      <a:pt x="114" y="422"/>
                    </a:lnTo>
                    <a:lnTo>
                      <a:pt x="106" y="417"/>
                    </a:lnTo>
                    <a:lnTo>
                      <a:pt x="96" y="411"/>
                    </a:lnTo>
                    <a:lnTo>
                      <a:pt x="88" y="405"/>
                    </a:lnTo>
                    <a:lnTo>
                      <a:pt x="80" y="397"/>
                    </a:lnTo>
                    <a:lnTo>
                      <a:pt x="65" y="380"/>
                    </a:lnTo>
                    <a:lnTo>
                      <a:pt x="53" y="360"/>
                    </a:lnTo>
                    <a:lnTo>
                      <a:pt x="43" y="339"/>
                    </a:lnTo>
                    <a:lnTo>
                      <a:pt x="33" y="314"/>
                    </a:lnTo>
                    <a:lnTo>
                      <a:pt x="24" y="288"/>
                    </a:lnTo>
                    <a:lnTo>
                      <a:pt x="17" y="259"/>
                    </a:lnTo>
                    <a:lnTo>
                      <a:pt x="12" y="228"/>
                    </a:lnTo>
                    <a:lnTo>
                      <a:pt x="8" y="196"/>
                    </a:lnTo>
                    <a:lnTo>
                      <a:pt x="4" y="161"/>
                    </a:lnTo>
                    <a:lnTo>
                      <a:pt x="2" y="126"/>
                    </a:lnTo>
                    <a:lnTo>
                      <a:pt x="1" y="89"/>
                    </a:lnTo>
                    <a:lnTo>
                      <a:pt x="0" y="51"/>
                    </a:lnTo>
                    <a:lnTo>
                      <a:pt x="0" y="51"/>
                    </a:lnTo>
                    <a:lnTo>
                      <a:pt x="240" y="55"/>
                    </a:lnTo>
                    <a:lnTo>
                      <a:pt x="501" y="60"/>
                    </a:lnTo>
                    <a:lnTo>
                      <a:pt x="1048" y="74"/>
                    </a:lnTo>
                    <a:lnTo>
                      <a:pt x="1320" y="79"/>
                    </a:lnTo>
                    <a:lnTo>
                      <a:pt x="1579" y="82"/>
                    </a:lnTo>
                    <a:lnTo>
                      <a:pt x="1702" y="83"/>
                    </a:lnTo>
                    <a:lnTo>
                      <a:pt x="1819" y="82"/>
                    </a:lnTo>
                    <a:lnTo>
                      <a:pt x="1929" y="81"/>
                    </a:lnTo>
                    <a:lnTo>
                      <a:pt x="2031" y="78"/>
                    </a:lnTo>
                    <a:lnTo>
                      <a:pt x="2031" y="78"/>
                    </a:lnTo>
                    <a:lnTo>
                      <a:pt x="2145" y="74"/>
                    </a:lnTo>
                    <a:lnTo>
                      <a:pt x="2250" y="67"/>
                    </a:lnTo>
                    <a:lnTo>
                      <a:pt x="2344" y="59"/>
                    </a:lnTo>
                    <a:lnTo>
                      <a:pt x="2431" y="50"/>
                    </a:lnTo>
                    <a:lnTo>
                      <a:pt x="2507" y="39"/>
                    </a:lnTo>
                    <a:lnTo>
                      <a:pt x="2576" y="27"/>
                    </a:lnTo>
                    <a:lnTo>
                      <a:pt x="2636" y="13"/>
                    </a:lnTo>
                    <a:lnTo>
                      <a:pt x="2690" y="0"/>
                    </a:lnTo>
                    <a:lnTo>
                      <a:pt x="2690" y="0"/>
                    </a:lnTo>
                    <a:lnTo>
                      <a:pt x="2689" y="35"/>
                    </a:lnTo>
                    <a:lnTo>
                      <a:pt x="2687" y="71"/>
                    </a:lnTo>
                    <a:lnTo>
                      <a:pt x="2685" y="107"/>
                    </a:lnTo>
                    <a:lnTo>
                      <a:pt x="2679" y="144"/>
                    </a:lnTo>
                    <a:lnTo>
                      <a:pt x="2673" y="181"/>
                    </a:lnTo>
                    <a:lnTo>
                      <a:pt x="2663" y="219"/>
                    </a:lnTo>
                    <a:lnTo>
                      <a:pt x="2651" y="257"/>
                    </a:lnTo>
                    <a:lnTo>
                      <a:pt x="2635" y="297"/>
                    </a:lnTo>
                    <a:lnTo>
                      <a:pt x="2635" y="297"/>
                    </a:lnTo>
                    <a:lnTo>
                      <a:pt x="2630" y="310"/>
                    </a:lnTo>
                    <a:lnTo>
                      <a:pt x="2623" y="323"/>
                    </a:lnTo>
                    <a:lnTo>
                      <a:pt x="2615" y="335"/>
                    </a:lnTo>
                    <a:lnTo>
                      <a:pt x="2607" y="345"/>
                    </a:lnTo>
                    <a:lnTo>
                      <a:pt x="2597" y="356"/>
                    </a:lnTo>
                    <a:lnTo>
                      <a:pt x="2586" y="367"/>
                    </a:lnTo>
                    <a:lnTo>
                      <a:pt x="2576" y="376"/>
                    </a:lnTo>
                    <a:lnTo>
                      <a:pt x="2564" y="386"/>
                    </a:lnTo>
                    <a:lnTo>
                      <a:pt x="2552" y="395"/>
                    </a:lnTo>
                    <a:lnTo>
                      <a:pt x="2538" y="403"/>
                    </a:lnTo>
                    <a:lnTo>
                      <a:pt x="2509" y="418"/>
                    </a:lnTo>
                    <a:lnTo>
                      <a:pt x="2478" y="431"/>
                    </a:lnTo>
                    <a:lnTo>
                      <a:pt x="2443" y="444"/>
                    </a:lnTo>
                    <a:lnTo>
                      <a:pt x="2406" y="454"/>
                    </a:lnTo>
                    <a:lnTo>
                      <a:pt x="2367" y="464"/>
                    </a:lnTo>
                    <a:lnTo>
                      <a:pt x="2327" y="470"/>
                    </a:lnTo>
                    <a:lnTo>
                      <a:pt x="2284" y="477"/>
                    </a:lnTo>
                    <a:lnTo>
                      <a:pt x="2240" y="481"/>
                    </a:lnTo>
                    <a:lnTo>
                      <a:pt x="2194" y="485"/>
                    </a:lnTo>
                    <a:lnTo>
                      <a:pt x="2147" y="488"/>
                    </a:lnTo>
                    <a:lnTo>
                      <a:pt x="2098" y="491"/>
                    </a:lnTo>
                    <a:lnTo>
                      <a:pt x="1999" y="492"/>
                    </a:lnTo>
                    <a:lnTo>
                      <a:pt x="1895" y="491"/>
                    </a:lnTo>
                    <a:lnTo>
                      <a:pt x="1792" y="488"/>
                    </a:lnTo>
                    <a:lnTo>
                      <a:pt x="1688" y="484"/>
                    </a:lnTo>
                    <a:lnTo>
                      <a:pt x="1487" y="476"/>
                    </a:lnTo>
                    <a:lnTo>
                      <a:pt x="1393" y="472"/>
                    </a:lnTo>
                    <a:lnTo>
                      <a:pt x="1302" y="472"/>
                    </a:lnTo>
                    <a:lnTo>
                      <a:pt x="1302"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2" name="Freeform 166"/>
              <p:cNvSpPr>
                <a:spLocks/>
              </p:cNvSpPr>
              <p:nvPr/>
            </p:nvSpPr>
            <p:spPr bwMode="auto">
              <a:xfrm>
                <a:off x="22634575" y="117475"/>
                <a:ext cx="2265363" cy="4313238"/>
              </a:xfrm>
              <a:custGeom>
                <a:avLst/>
                <a:gdLst>
                  <a:gd name="T0" fmla="*/ 2402 w 2854"/>
                  <a:gd name="T1" fmla="*/ 3733 h 5434"/>
                  <a:gd name="T2" fmla="*/ 2240 w 2854"/>
                  <a:gd name="T3" fmla="*/ 3629 h 5434"/>
                  <a:gd name="T4" fmla="*/ 2058 w 2854"/>
                  <a:gd name="T5" fmla="*/ 3566 h 5434"/>
                  <a:gd name="T6" fmla="*/ 1854 w 2854"/>
                  <a:gd name="T7" fmla="*/ 3535 h 5434"/>
                  <a:gd name="T8" fmla="*/ 1584 w 2854"/>
                  <a:gd name="T9" fmla="*/ 3531 h 5434"/>
                  <a:gd name="T10" fmla="*/ 1180 w 2854"/>
                  <a:gd name="T11" fmla="*/ 3563 h 5434"/>
                  <a:gd name="T12" fmla="*/ 1144 w 2854"/>
                  <a:gd name="T13" fmla="*/ 3574 h 5434"/>
                  <a:gd name="T14" fmla="*/ 914 w 2854"/>
                  <a:gd name="T15" fmla="*/ 3595 h 5434"/>
                  <a:gd name="T16" fmla="*/ 797 w 2854"/>
                  <a:gd name="T17" fmla="*/ 3587 h 5434"/>
                  <a:gd name="T18" fmla="*/ 771 w 2854"/>
                  <a:gd name="T19" fmla="*/ 3567 h 5434"/>
                  <a:gd name="T20" fmla="*/ 798 w 2854"/>
                  <a:gd name="T21" fmla="*/ 3534 h 5434"/>
                  <a:gd name="T22" fmla="*/ 890 w 2854"/>
                  <a:gd name="T23" fmla="*/ 3487 h 5434"/>
                  <a:gd name="T24" fmla="*/ 1234 w 2854"/>
                  <a:gd name="T25" fmla="*/ 3433 h 5434"/>
                  <a:gd name="T26" fmla="*/ 1602 w 2854"/>
                  <a:gd name="T27" fmla="*/ 3394 h 5434"/>
                  <a:gd name="T28" fmla="*/ 1996 w 2854"/>
                  <a:gd name="T29" fmla="*/ 3405 h 5434"/>
                  <a:gd name="T30" fmla="*/ 2177 w 2854"/>
                  <a:gd name="T31" fmla="*/ 3435 h 5434"/>
                  <a:gd name="T32" fmla="*/ 2343 w 2854"/>
                  <a:gd name="T33" fmla="*/ 3492 h 5434"/>
                  <a:gd name="T34" fmla="*/ 2495 w 2854"/>
                  <a:gd name="T35" fmla="*/ 3579 h 5434"/>
                  <a:gd name="T36" fmla="*/ 2632 w 2854"/>
                  <a:gd name="T37" fmla="*/ 3704 h 5434"/>
                  <a:gd name="T38" fmla="*/ 2654 w 2854"/>
                  <a:gd name="T39" fmla="*/ 3489 h 5434"/>
                  <a:gd name="T40" fmla="*/ 2635 w 2854"/>
                  <a:gd name="T41" fmla="*/ 2875 h 5434"/>
                  <a:gd name="T42" fmla="*/ 2666 w 2854"/>
                  <a:gd name="T43" fmla="*/ 2282 h 5434"/>
                  <a:gd name="T44" fmla="*/ 2724 w 2854"/>
                  <a:gd name="T45" fmla="*/ 1452 h 5434"/>
                  <a:gd name="T46" fmla="*/ 2729 w 2854"/>
                  <a:gd name="T47" fmla="*/ 408 h 5434"/>
                  <a:gd name="T48" fmla="*/ 2197 w 2854"/>
                  <a:gd name="T49" fmla="*/ 4 h 5434"/>
                  <a:gd name="T50" fmla="*/ 1385 w 2854"/>
                  <a:gd name="T51" fmla="*/ 8 h 5434"/>
                  <a:gd name="T52" fmla="*/ 668 w 2854"/>
                  <a:gd name="T53" fmla="*/ 55 h 5434"/>
                  <a:gd name="T54" fmla="*/ 286 w 2854"/>
                  <a:gd name="T55" fmla="*/ 262 h 5434"/>
                  <a:gd name="T56" fmla="*/ 282 w 2854"/>
                  <a:gd name="T57" fmla="*/ 1214 h 5434"/>
                  <a:gd name="T58" fmla="*/ 287 w 2854"/>
                  <a:gd name="T59" fmla="*/ 1234 h 5434"/>
                  <a:gd name="T60" fmla="*/ 308 w 2854"/>
                  <a:gd name="T61" fmla="*/ 1600 h 5434"/>
                  <a:gd name="T62" fmla="*/ 382 w 2854"/>
                  <a:gd name="T63" fmla="*/ 2181 h 5434"/>
                  <a:gd name="T64" fmla="*/ 404 w 2854"/>
                  <a:gd name="T65" fmla="*/ 2473 h 5434"/>
                  <a:gd name="T66" fmla="*/ 407 w 2854"/>
                  <a:gd name="T67" fmla="*/ 2834 h 5434"/>
                  <a:gd name="T68" fmla="*/ 364 w 2854"/>
                  <a:gd name="T69" fmla="*/ 3414 h 5434"/>
                  <a:gd name="T70" fmla="*/ 306 w 2854"/>
                  <a:gd name="T71" fmla="*/ 3864 h 5434"/>
                  <a:gd name="T72" fmla="*/ 205 w 2854"/>
                  <a:gd name="T73" fmla="*/ 4451 h 5434"/>
                  <a:gd name="T74" fmla="*/ 141 w 2854"/>
                  <a:gd name="T75" fmla="*/ 4690 h 5434"/>
                  <a:gd name="T76" fmla="*/ 15 w 2854"/>
                  <a:gd name="T77" fmla="*/ 4807 h 5434"/>
                  <a:gd name="T78" fmla="*/ 0 w 2854"/>
                  <a:gd name="T79" fmla="*/ 5085 h 5434"/>
                  <a:gd name="T80" fmla="*/ 20 w 2854"/>
                  <a:gd name="T81" fmla="*/ 5162 h 5434"/>
                  <a:gd name="T82" fmla="*/ 95 w 2854"/>
                  <a:gd name="T83" fmla="*/ 5276 h 5434"/>
                  <a:gd name="T84" fmla="*/ 119 w 2854"/>
                  <a:gd name="T85" fmla="*/ 5353 h 5434"/>
                  <a:gd name="T86" fmla="*/ 376 w 2854"/>
                  <a:gd name="T87" fmla="*/ 5401 h 5434"/>
                  <a:gd name="T88" fmla="*/ 766 w 2854"/>
                  <a:gd name="T89" fmla="*/ 5430 h 5434"/>
                  <a:gd name="T90" fmla="*/ 1475 w 2854"/>
                  <a:gd name="T91" fmla="*/ 5430 h 5434"/>
                  <a:gd name="T92" fmla="*/ 2792 w 2854"/>
                  <a:gd name="T93" fmla="*/ 5401 h 5434"/>
                  <a:gd name="T94" fmla="*/ 2779 w 2854"/>
                  <a:gd name="T95" fmla="*/ 5302 h 5434"/>
                  <a:gd name="T96" fmla="*/ 2779 w 2854"/>
                  <a:gd name="T97" fmla="*/ 5302 h 5434"/>
                  <a:gd name="T98" fmla="*/ 2808 w 2854"/>
                  <a:gd name="T99" fmla="*/ 5299 h 5434"/>
                  <a:gd name="T100" fmla="*/ 2835 w 2854"/>
                  <a:gd name="T101" fmla="*/ 5272 h 5434"/>
                  <a:gd name="T102" fmla="*/ 2846 w 2854"/>
                  <a:gd name="T103" fmla="*/ 5224 h 5434"/>
                  <a:gd name="T104" fmla="*/ 2854 w 2854"/>
                  <a:gd name="T105" fmla="*/ 4722 h 5434"/>
                  <a:gd name="T106" fmla="*/ 2831 w 2854"/>
                  <a:gd name="T107" fmla="*/ 4383 h 5434"/>
                  <a:gd name="T108" fmla="*/ 2784 w 2854"/>
                  <a:gd name="T109" fmla="*/ 4170 h 5434"/>
                  <a:gd name="T110" fmla="*/ 2716 w 2854"/>
                  <a:gd name="T111" fmla="*/ 4038 h 5434"/>
                  <a:gd name="T112" fmla="*/ 2611 w 2854"/>
                  <a:gd name="T113" fmla="*/ 3932 h 5434"/>
                  <a:gd name="T114" fmla="*/ 2488 w 2854"/>
                  <a:gd name="T115" fmla="*/ 3816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4" h="5434">
                    <a:moveTo>
                      <a:pt x="2488" y="3816"/>
                    </a:moveTo>
                    <a:lnTo>
                      <a:pt x="2488" y="3816"/>
                    </a:lnTo>
                    <a:lnTo>
                      <a:pt x="2460" y="3786"/>
                    </a:lnTo>
                    <a:lnTo>
                      <a:pt x="2432" y="3758"/>
                    </a:lnTo>
                    <a:lnTo>
                      <a:pt x="2402" y="3733"/>
                    </a:lnTo>
                    <a:lnTo>
                      <a:pt x="2371" y="3708"/>
                    </a:lnTo>
                    <a:lnTo>
                      <a:pt x="2339" y="3686"/>
                    </a:lnTo>
                    <a:lnTo>
                      <a:pt x="2307" y="3665"/>
                    </a:lnTo>
                    <a:lnTo>
                      <a:pt x="2275" y="3647"/>
                    </a:lnTo>
                    <a:lnTo>
                      <a:pt x="2240" y="3629"/>
                    </a:lnTo>
                    <a:lnTo>
                      <a:pt x="2206" y="3614"/>
                    </a:lnTo>
                    <a:lnTo>
                      <a:pt x="2170" y="3600"/>
                    </a:lnTo>
                    <a:lnTo>
                      <a:pt x="2134" y="3587"/>
                    </a:lnTo>
                    <a:lnTo>
                      <a:pt x="2096" y="3575"/>
                    </a:lnTo>
                    <a:lnTo>
                      <a:pt x="2058" y="3566"/>
                    </a:lnTo>
                    <a:lnTo>
                      <a:pt x="2018" y="3558"/>
                    </a:lnTo>
                    <a:lnTo>
                      <a:pt x="1979" y="3550"/>
                    </a:lnTo>
                    <a:lnTo>
                      <a:pt x="1937" y="3544"/>
                    </a:lnTo>
                    <a:lnTo>
                      <a:pt x="1897" y="3539"/>
                    </a:lnTo>
                    <a:lnTo>
                      <a:pt x="1854" y="3535"/>
                    </a:lnTo>
                    <a:lnTo>
                      <a:pt x="1811" y="3532"/>
                    </a:lnTo>
                    <a:lnTo>
                      <a:pt x="1766" y="3531"/>
                    </a:lnTo>
                    <a:lnTo>
                      <a:pt x="1722" y="3530"/>
                    </a:lnTo>
                    <a:lnTo>
                      <a:pt x="1676" y="3530"/>
                    </a:lnTo>
                    <a:lnTo>
                      <a:pt x="1584" y="3531"/>
                    </a:lnTo>
                    <a:lnTo>
                      <a:pt x="1487" y="3536"/>
                    </a:lnTo>
                    <a:lnTo>
                      <a:pt x="1387" y="3543"/>
                    </a:lnTo>
                    <a:lnTo>
                      <a:pt x="1285" y="3552"/>
                    </a:lnTo>
                    <a:lnTo>
                      <a:pt x="1180" y="3563"/>
                    </a:lnTo>
                    <a:lnTo>
                      <a:pt x="1180" y="3563"/>
                    </a:lnTo>
                    <a:lnTo>
                      <a:pt x="1184" y="3565"/>
                    </a:lnTo>
                    <a:lnTo>
                      <a:pt x="1184" y="3565"/>
                    </a:lnTo>
                    <a:lnTo>
                      <a:pt x="1183" y="3566"/>
                    </a:lnTo>
                    <a:lnTo>
                      <a:pt x="1169" y="3570"/>
                    </a:lnTo>
                    <a:lnTo>
                      <a:pt x="1144" y="3574"/>
                    </a:lnTo>
                    <a:lnTo>
                      <a:pt x="1108" y="3579"/>
                    </a:lnTo>
                    <a:lnTo>
                      <a:pt x="1063" y="3585"/>
                    </a:lnTo>
                    <a:lnTo>
                      <a:pt x="1015" y="3590"/>
                    </a:lnTo>
                    <a:lnTo>
                      <a:pt x="964" y="3594"/>
                    </a:lnTo>
                    <a:lnTo>
                      <a:pt x="914" y="3595"/>
                    </a:lnTo>
                    <a:lnTo>
                      <a:pt x="868" y="3595"/>
                    </a:lnTo>
                    <a:lnTo>
                      <a:pt x="847" y="3594"/>
                    </a:lnTo>
                    <a:lnTo>
                      <a:pt x="828" y="3593"/>
                    </a:lnTo>
                    <a:lnTo>
                      <a:pt x="810" y="3590"/>
                    </a:lnTo>
                    <a:lnTo>
                      <a:pt x="797" y="3587"/>
                    </a:lnTo>
                    <a:lnTo>
                      <a:pt x="785" y="3582"/>
                    </a:lnTo>
                    <a:lnTo>
                      <a:pt x="777" y="3578"/>
                    </a:lnTo>
                    <a:lnTo>
                      <a:pt x="774" y="3574"/>
                    </a:lnTo>
                    <a:lnTo>
                      <a:pt x="773" y="3571"/>
                    </a:lnTo>
                    <a:lnTo>
                      <a:pt x="771" y="3567"/>
                    </a:lnTo>
                    <a:lnTo>
                      <a:pt x="773" y="3563"/>
                    </a:lnTo>
                    <a:lnTo>
                      <a:pt x="774" y="3559"/>
                    </a:lnTo>
                    <a:lnTo>
                      <a:pt x="776" y="3555"/>
                    </a:lnTo>
                    <a:lnTo>
                      <a:pt x="785" y="3546"/>
                    </a:lnTo>
                    <a:lnTo>
                      <a:pt x="798" y="3534"/>
                    </a:lnTo>
                    <a:lnTo>
                      <a:pt x="817" y="3522"/>
                    </a:lnTo>
                    <a:lnTo>
                      <a:pt x="841" y="3508"/>
                    </a:lnTo>
                    <a:lnTo>
                      <a:pt x="871" y="3492"/>
                    </a:lnTo>
                    <a:lnTo>
                      <a:pt x="871" y="3492"/>
                    </a:lnTo>
                    <a:lnTo>
                      <a:pt x="890" y="3487"/>
                    </a:lnTo>
                    <a:lnTo>
                      <a:pt x="918" y="3480"/>
                    </a:lnTo>
                    <a:lnTo>
                      <a:pt x="956" y="3472"/>
                    </a:lnTo>
                    <a:lnTo>
                      <a:pt x="1003" y="3465"/>
                    </a:lnTo>
                    <a:lnTo>
                      <a:pt x="1112" y="3449"/>
                    </a:lnTo>
                    <a:lnTo>
                      <a:pt x="1234" y="3433"/>
                    </a:lnTo>
                    <a:lnTo>
                      <a:pt x="1356" y="3418"/>
                    </a:lnTo>
                    <a:lnTo>
                      <a:pt x="1467" y="3406"/>
                    </a:lnTo>
                    <a:lnTo>
                      <a:pt x="1553" y="3398"/>
                    </a:lnTo>
                    <a:lnTo>
                      <a:pt x="1602" y="3394"/>
                    </a:lnTo>
                    <a:lnTo>
                      <a:pt x="1602" y="3394"/>
                    </a:lnTo>
                    <a:lnTo>
                      <a:pt x="1684" y="3392"/>
                    </a:lnTo>
                    <a:lnTo>
                      <a:pt x="1765" y="3392"/>
                    </a:lnTo>
                    <a:lnTo>
                      <a:pt x="1843" y="3394"/>
                    </a:lnTo>
                    <a:lnTo>
                      <a:pt x="1921" y="3398"/>
                    </a:lnTo>
                    <a:lnTo>
                      <a:pt x="1996" y="3405"/>
                    </a:lnTo>
                    <a:lnTo>
                      <a:pt x="2033" y="3409"/>
                    </a:lnTo>
                    <a:lnTo>
                      <a:pt x="2069" y="3414"/>
                    </a:lnTo>
                    <a:lnTo>
                      <a:pt x="2105" y="3421"/>
                    </a:lnTo>
                    <a:lnTo>
                      <a:pt x="2142" y="3427"/>
                    </a:lnTo>
                    <a:lnTo>
                      <a:pt x="2177" y="3435"/>
                    </a:lnTo>
                    <a:lnTo>
                      <a:pt x="2210" y="3445"/>
                    </a:lnTo>
                    <a:lnTo>
                      <a:pt x="2244" y="3456"/>
                    </a:lnTo>
                    <a:lnTo>
                      <a:pt x="2277" y="3466"/>
                    </a:lnTo>
                    <a:lnTo>
                      <a:pt x="2311" y="3478"/>
                    </a:lnTo>
                    <a:lnTo>
                      <a:pt x="2343" y="3492"/>
                    </a:lnTo>
                    <a:lnTo>
                      <a:pt x="2374" y="3507"/>
                    </a:lnTo>
                    <a:lnTo>
                      <a:pt x="2405" y="3523"/>
                    </a:lnTo>
                    <a:lnTo>
                      <a:pt x="2436" y="3540"/>
                    </a:lnTo>
                    <a:lnTo>
                      <a:pt x="2466" y="3559"/>
                    </a:lnTo>
                    <a:lnTo>
                      <a:pt x="2495" y="3579"/>
                    </a:lnTo>
                    <a:lnTo>
                      <a:pt x="2523" y="3602"/>
                    </a:lnTo>
                    <a:lnTo>
                      <a:pt x="2552" y="3625"/>
                    </a:lnTo>
                    <a:lnTo>
                      <a:pt x="2579" y="3649"/>
                    </a:lnTo>
                    <a:lnTo>
                      <a:pt x="2605" y="3676"/>
                    </a:lnTo>
                    <a:lnTo>
                      <a:pt x="2632" y="3704"/>
                    </a:lnTo>
                    <a:lnTo>
                      <a:pt x="2657" y="3734"/>
                    </a:lnTo>
                    <a:lnTo>
                      <a:pt x="2682" y="3765"/>
                    </a:lnTo>
                    <a:lnTo>
                      <a:pt x="2682" y="3765"/>
                    </a:lnTo>
                    <a:lnTo>
                      <a:pt x="2666" y="3624"/>
                    </a:lnTo>
                    <a:lnTo>
                      <a:pt x="2654" y="3489"/>
                    </a:lnTo>
                    <a:lnTo>
                      <a:pt x="2644" y="3360"/>
                    </a:lnTo>
                    <a:lnTo>
                      <a:pt x="2639" y="3234"/>
                    </a:lnTo>
                    <a:lnTo>
                      <a:pt x="2635" y="3113"/>
                    </a:lnTo>
                    <a:lnTo>
                      <a:pt x="2634" y="2993"/>
                    </a:lnTo>
                    <a:lnTo>
                      <a:pt x="2635" y="2875"/>
                    </a:lnTo>
                    <a:lnTo>
                      <a:pt x="2638" y="2758"/>
                    </a:lnTo>
                    <a:lnTo>
                      <a:pt x="2643" y="2641"/>
                    </a:lnTo>
                    <a:lnTo>
                      <a:pt x="2648" y="2524"/>
                    </a:lnTo>
                    <a:lnTo>
                      <a:pt x="2657" y="2404"/>
                    </a:lnTo>
                    <a:lnTo>
                      <a:pt x="2666" y="2282"/>
                    </a:lnTo>
                    <a:lnTo>
                      <a:pt x="2686" y="2028"/>
                    </a:lnTo>
                    <a:lnTo>
                      <a:pt x="2708" y="1752"/>
                    </a:lnTo>
                    <a:lnTo>
                      <a:pt x="2708" y="1752"/>
                    </a:lnTo>
                    <a:lnTo>
                      <a:pt x="2717" y="1601"/>
                    </a:lnTo>
                    <a:lnTo>
                      <a:pt x="2724" y="1452"/>
                    </a:lnTo>
                    <a:lnTo>
                      <a:pt x="2728" y="1301"/>
                    </a:lnTo>
                    <a:lnTo>
                      <a:pt x="2729" y="1151"/>
                    </a:lnTo>
                    <a:lnTo>
                      <a:pt x="2729" y="1151"/>
                    </a:lnTo>
                    <a:lnTo>
                      <a:pt x="2729" y="408"/>
                    </a:lnTo>
                    <a:lnTo>
                      <a:pt x="2729" y="408"/>
                    </a:lnTo>
                    <a:lnTo>
                      <a:pt x="2730" y="21"/>
                    </a:lnTo>
                    <a:lnTo>
                      <a:pt x="2730" y="21"/>
                    </a:lnTo>
                    <a:lnTo>
                      <a:pt x="2549" y="13"/>
                    </a:lnTo>
                    <a:lnTo>
                      <a:pt x="2371" y="8"/>
                    </a:lnTo>
                    <a:lnTo>
                      <a:pt x="2197" y="4"/>
                    </a:lnTo>
                    <a:lnTo>
                      <a:pt x="2027" y="1"/>
                    </a:lnTo>
                    <a:lnTo>
                      <a:pt x="1861" y="0"/>
                    </a:lnTo>
                    <a:lnTo>
                      <a:pt x="1698" y="1"/>
                    </a:lnTo>
                    <a:lnTo>
                      <a:pt x="1539" y="4"/>
                    </a:lnTo>
                    <a:lnTo>
                      <a:pt x="1385" y="8"/>
                    </a:lnTo>
                    <a:lnTo>
                      <a:pt x="1234" y="14"/>
                    </a:lnTo>
                    <a:lnTo>
                      <a:pt x="1086" y="21"/>
                    </a:lnTo>
                    <a:lnTo>
                      <a:pt x="944" y="31"/>
                    </a:lnTo>
                    <a:lnTo>
                      <a:pt x="804" y="43"/>
                    </a:lnTo>
                    <a:lnTo>
                      <a:pt x="668" y="55"/>
                    </a:lnTo>
                    <a:lnTo>
                      <a:pt x="538" y="70"/>
                    </a:lnTo>
                    <a:lnTo>
                      <a:pt x="410" y="86"/>
                    </a:lnTo>
                    <a:lnTo>
                      <a:pt x="286" y="103"/>
                    </a:lnTo>
                    <a:lnTo>
                      <a:pt x="286" y="103"/>
                    </a:lnTo>
                    <a:lnTo>
                      <a:pt x="286" y="262"/>
                    </a:lnTo>
                    <a:lnTo>
                      <a:pt x="286" y="421"/>
                    </a:lnTo>
                    <a:lnTo>
                      <a:pt x="282" y="738"/>
                    </a:lnTo>
                    <a:lnTo>
                      <a:pt x="281" y="897"/>
                    </a:lnTo>
                    <a:lnTo>
                      <a:pt x="281" y="1055"/>
                    </a:lnTo>
                    <a:lnTo>
                      <a:pt x="282" y="1214"/>
                    </a:lnTo>
                    <a:lnTo>
                      <a:pt x="286" y="1373"/>
                    </a:lnTo>
                    <a:lnTo>
                      <a:pt x="286" y="1373"/>
                    </a:lnTo>
                    <a:lnTo>
                      <a:pt x="287" y="1304"/>
                    </a:lnTo>
                    <a:lnTo>
                      <a:pt x="287" y="1234"/>
                    </a:lnTo>
                    <a:lnTo>
                      <a:pt x="287" y="1234"/>
                    </a:lnTo>
                    <a:lnTo>
                      <a:pt x="287" y="1308"/>
                    </a:lnTo>
                    <a:lnTo>
                      <a:pt x="290" y="1381"/>
                    </a:lnTo>
                    <a:lnTo>
                      <a:pt x="296" y="1455"/>
                    </a:lnTo>
                    <a:lnTo>
                      <a:pt x="301" y="1527"/>
                    </a:lnTo>
                    <a:lnTo>
                      <a:pt x="308" y="1600"/>
                    </a:lnTo>
                    <a:lnTo>
                      <a:pt x="316" y="1673"/>
                    </a:lnTo>
                    <a:lnTo>
                      <a:pt x="335" y="1818"/>
                    </a:lnTo>
                    <a:lnTo>
                      <a:pt x="353" y="1963"/>
                    </a:lnTo>
                    <a:lnTo>
                      <a:pt x="372" y="2108"/>
                    </a:lnTo>
                    <a:lnTo>
                      <a:pt x="382" y="2181"/>
                    </a:lnTo>
                    <a:lnTo>
                      <a:pt x="388" y="2253"/>
                    </a:lnTo>
                    <a:lnTo>
                      <a:pt x="395" y="2327"/>
                    </a:lnTo>
                    <a:lnTo>
                      <a:pt x="400" y="2400"/>
                    </a:lnTo>
                    <a:lnTo>
                      <a:pt x="400" y="2400"/>
                    </a:lnTo>
                    <a:lnTo>
                      <a:pt x="404" y="2473"/>
                    </a:lnTo>
                    <a:lnTo>
                      <a:pt x="407" y="2545"/>
                    </a:lnTo>
                    <a:lnTo>
                      <a:pt x="408" y="2618"/>
                    </a:lnTo>
                    <a:lnTo>
                      <a:pt x="410" y="2690"/>
                    </a:lnTo>
                    <a:lnTo>
                      <a:pt x="408" y="2762"/>
                    </a:lnTo>
                    <a:lnTo>
                      <a:pt x="407" y="2834"/>
                    </a:lnTo>
                    <a:lnTo>
                      <a:pt x="404" y="2907"/>
                    </a:lnTo>
                    <a:lnTo>
                      <a:pt x="400" y="2980"/>
                    </a:lnTo>
                    <a:lnTo>
                      <a:pt x="391" y="3125"/>
                    </a:lnTo>
                    <a:lnTo>
                      <a:pt x="379" y="3270"/>
                    </a:lnTo>
                    <a:lnTo>
                      <a:pt x="364" y="3414"/>
                    </a:lnTo>
                    <a:lnTo>
                      <a:pt x="348" y="3558"/>
                    </a:lnTo>
                    <a:lnTo>
                      <a:pt x="348" y="3558"/>
                    </a:lnTo>
                    <a:lnTo>
                      <a:pt x="335" y="3660"/>
                    </a:lnTo>
                    <a:lnTo>
                      <a:pt x="321" y="3762"/>
                    </a:lnTo>
                    <a:lnTo>
                      <a:pt x="306" y="3864"/>
                    </a:lnTo>
                    <a:lnTo>
                      <a:pt x="291" y="3965"/>
                    </a:lnTo>
                    <a:lnTo>
                      <a:pt x="259" y="4168"/>
                    </a:lnTo>
                    <a:lnTo>
                      <a:pt x="223" y="4371"/>
                    </a:lnTo>
                    <a:lnTo>
                      <a:pt x="223" y="4371"/>
                    </a:lnTo>
                    <a:lnTo>
                      <a:pt x="205" y="4451"/>
                    </a:lnTo>
                    <a:lnTo>
                      <a:pt x="189" y="4530"/>
                    </a:lnTo>
                    <a:lnTo>
                      <a:pt x="175" y="4608"/>
                    </a:lnTo>
                    <a:lnTo>
                      <a:pt x="162" y="4686"/>
                    </a:lnTo>
                    <a:lnTo>
                      <a:pt x="162" y="4686"/>
                    </a:lnTo>
                    <a:lnTo>
                      <a:pt x="141" y="4690"/>
                    </a:lnTo>
                    <a:lnTo>
                      <a:pt x="95" y="4698"/>
                    </a:lnTo>
                    <a:lnTo>
                      <a:pt x="48" y="4705"/>
                    </a:lnTo>
                    <a:lnTo>
                      <a:pt x="27" y="4709"/>
                    </a:lnTo>
                    <a:lnTo>
                      <a:pt x="27" y="4709"/>
                    </a:lnTo>
                    <a:lnTo>
                      <a:pt x="15" y="4807"/>
                    </a:lnTo>
                    <a:lnTo>
                      <a:pt x="6" y="4903"/>
                    </a:lnTo>
                    <a:lnTo>
                      <a:pt x="4" y="4950"/>
                    </a:lnTo>
                    <a:lnTo>
                      <a:pt x="1" y="4995"/>
                    </a:lnTo>
                    <a:lnTo>
                      <a:pt x="0" y="5041"/>
                    </a:lnTo>
                    <a:lnTo>
                      <a:pt x="0" y="5085"/>
                    </a:lnTo>
                    <a:lnTo>
                      <a:pt x="0" y="5085"/>
                    </a:lnTo>
                    <a:lnTo>
                      <a:pt x="1" y="5106"/>
                    </a:lnTo>
                    <a:lnTo>
                      <a:pt x="5" y="5124"/>
                    </a:lnTo>
                    <a:lnTo>
                      <a:pt x="12" y="5143"/>
                    </a:lnTo>
                    <a:lnTo>
                      <a:pt x="20" y="5162"/>
                    </a:lnTo>
                    <a:lnTo>
                      <a:pt x="29" y="5180"/>
                    </a:lnTo>
                    <a:lnTo>
                      <a:pt x="40" y="5197"/>
                    </a:lnTo>
                    <a:lnTo>
                      <a:pt x="62" y="5229"/>
                    </a:lnTo>
                    <a:lnTo>
                      <a:pt x="84" y="5260"/>
                    </a:lnTo>
                    <a:lnTo>
                      <a:pt x="95" y="5276"/>
                    </a:lnTo>
                    <a:lnTo>
                      <a:pt x="103" y="5291"/>
                    </a:lnTo>
                    <a:lnTo>
                      <a:pt x="111" y="5307"/>
                    </a:lnTo>
                    <a:lnTo>
                      <a:pt x="117" y="5322"/>
                    </a:lnTo>
                    <a:lnTo>
                      <a:pt x="119" y="5338"/>
                    </a:lnTo>
                    <a:lnTo>
                      <a:pt x="119" y="5353"/>
                    </a:lnTo>
                    <a:lnTo>
                      <a:pt x="119" y="5353"/>
                    </a:lnTo>
                    <a:lnTo>
                      <a:pt x="173" y="5366"/>
                    </a:lnTo>
                    <a:lnTo>
                      <a:pt x="234" y="5379"/>
                    </a:lnTo>
                    <a:lnTo>
                      <a:pt x="301" y="5391"/>
                    </a:lnTo>
                    <a:lnTo>
                      <a:pt x="376" y="5401"/>
                    </a:lnTo>
                    <a:lnTo>
                      <a:pt x="461" y="5411"/>
                    </a:lnTo>
                    <a:lnTo>
                      <a:pt x="554" y="5419"/>
                    </a:lnTo>
                    <a:lnTo>
                      <a:pt x="655" y="5424"/>
                    </a:lnTo>
                    <a:lnTo>
                      <a:pt x="766" y="5430"/>
                    </a:lnTo>
                    <a:lnTo>
                      <a:pt x="766" y="5430"/>
                    </a:lnTo>
                    <a:lnTo>
                      <a:pt x="868" y="5432"/>
                    </a:lnTo>
                    <a:lnTo>
                      <a:pt x="977" y="5434"/>
                    </a:lnTo>
                    <a:lnTo>
                      <a:pt x="1094" y="5434"/>
                    </a:lnTo>
                    <a:lnTo>
                      <a:pt x="1217" y="5434"/>
                    </a:lnTo>
                    <a:lnTo>
                      <a:pt x="1475" y="5430"/>
                    </a:lnTo>
                    <a:lnTo>
                      <a:pt x="1745" y="5424"/>
                    </a:lnTo>
                    <a:lnTo>
                      <a:pt x="2291" y="5412"/>
                    </a:lnTo>
                    <a:lnTo>
                      <a:pt x="2552" y="5405"/>
                    </a:lnTo>
                    <a:lnTo>
                      <a:pt x="2792" y="5401"/>
                    </a:lnTo>
                    <a:lnTo>
                      <a:pt x="2792" y="5401"/>
                    </a:lnTo>
                    <a:lnTo>
                      <a:pt x="2788" y="5361"/>
                    </a:lnTo>
                    <a:lnTo>
                      <a:pt x="2786" y="5332"/>
                    </a:lnTo>
                    <a:lnTo>
                      <a:pt x="2782" y="5313"/>
                    </a:lnTo>
                    <a:lnTo>
                      <a:pt x="2779" y="5302"/>
                    </a:lnTo>
                    <a:lnTo>
                      <a:pt x="2779" y="5302"/>
                    </a:lnTo>
                    <a:lnTo>
                      <a:pt x="2776" y="5299"/>
                    </a:lnTo>
                    <a:lnTo>
                      <a:pt x="2775" y="5298"/>
                    </a:lnTo>
                    <a:lnTo>
                      <a:pt x="2776" y="5297"/>
                    </a:lnTo>
                    <a:lnTo>
                      <a:pt x="2776" y="5298"/>
                    </a:lnTo>
                    <a:lnTo>
                      <a:pt x="2779" y="5302"/>
                    </a:lnTo>
                    <a:lnTo>
                      <a:pt x="2779" y="5302"/>
                    </a:lnTo>
                    <a:lnTo>
                      <a:pt x="2783" y="5303"/>
                    </a:lnTo>
                    <a:lnTo>
                      <a:pt x="2792" y="5303"/>
                    </a:lnTo>
                    <a:lnTo>
                      <a:pt x="2802" y="5301"/>
                    </a:lnTo>
                    <a:lnTo>
                      <a:pt x="2808" y="5299"/>
                    </a:lnTo>
                    <a:lnTo>
                      <a:pt x="2814" y="5297"/>
                    </a:lnTo>
                    <a:lnTo>
                      <a:pt x="2819" y="5293"/>
                    </a:lnTo>
                    <a:lnTo>
                      <a:pt x="2825" y="5287"/>
                    </a:lnTo>
                    <a:lnTo>
                      <a:pt x="2830" y="5280"/>
                    </a:lnTo>
                    <a:lnTo>
                      <a:pt x="2835" y="5272"/>
                    </a:lnTo>
                    <a:lnTo>
                      <a:pt x="2839" y="5263"/>
                    </a:lnTo>
                    <a:lnTo>
                      <a:pt x="2842" y="5252"/>
                    </a:lnTo>
                    <a:lnTo>
                      <a:pt x="2845" y="5239"/>
                    </a:lnTo>
                    <a:lnTo>
                      <a:pt x="2846" y="5224"/>
                    </a:lnTo>
                    <a:lnTo>
                      <a:pt x="2846" y="5224"/>
                    </a:lnTo>
                    <a:lnTo>
                      <a:pt x="2850" y="5108"/>
                    </a:lnTo>
                    <a:lnTo>
                      <a:pt x="2853" y="5001"/>
                    </a:lnTo>
                    <a:lnTo>
                      <a:pt x="2854" y="4901"/>
                    </a:lnTo>
                    <a:lnTo>
                      <a:pt x="2854" y="4808"/>
                    </a:lnTo>
                    <a:lnTo>
                      <a:pt x="2854" y="4722"/>
                    </a:lnTo>
                    <a:lnTo>
                      <a:pt x="2851" y="4642"/>
                    </a:lnTo>
                    <a:lnTo>
                      <a:pt x="2849" y="4569"/>
                    </a:lnTo>
                    <a:lnTo>
                      <a:pt x="2843" y="4502"/>
                    </a:lnTo>
                    <a:lnTo>
                      <a:pt x="2838" y="4440"/>
                    </a:lnTo>
                    <a:lnTo>
                      <a:pt x="2831" y="4383"/>
                    </a:lnTo>
                    <a:lnTo>
                      <a:pt x="2825" y="4332"/>
                    </a:lnTo>
                    <a:lnTo>
                      <a:pt x="2815" y="4285"/>
                    </a:lnTo>
                    <a:lnTo>
                      <a:pt x="2806" y="4242"/>
                    </a:lnTo>
                    <a:lnTo>
                      <a:pt x="2796" y="4205"/>
                    </a:lnTo>
                    <a:lnTo>
                      <a:pt x="2784" y="4170"/>
                    </a:lnTo>
                    <a:lnTo>
                      <a:pt x="2772" y="4137"/>
                    </a:lnTo>
                    <a:lnTo>
                      <a:pt x="2759" y="4109"/>
                    </a:lnTo>
                    <a:lnTo>
                      <a:pt x="2745" y="4082"/>
                    </a:lnTo>
                    <a:lnTo>
                      <a:pt x="2730" y="4059"/>
                    </a:lnTo>
                    <a:lnTo>
                      <a:pt x="2716" y="4038"/>
                    </a:lnTo>
                    <a:lnTo>
                      <a:pt x="2700" y="4018"/>
                    </a:lnTo>
                    <a:lnTo>
                      <a:pt x="2683" y="3999"/>
                    </a:lnTo>
                    <a:lnTo>
                      <a:pt x="2666" y="3981"/>
                    </a:lnTo>
                    <a:lnTo>
                      <a:pt x="2647" y="3964"/>
                    </a:lnTo>
                    <a:lnTo>
                      <a:pt x="2611" y="3932"/>
                    </a:lnTo>
                    <a:lnTo>
                      <a:pt x="2572" y="3898"/>
                    </a:lnTo>
                    <a:lnTo>
                      <a:pt x="2530" y="3859"/>
                    </a:lnTo>
                    <a:lnTo>
                      <a:pt x="2509" y="3839"/>
                    </a:lnTo>
                    <a:lnTo>
                      <a:pt x="2488" y="3816"/>
                    </a:lnTo>
                    <a:lnTo>
                      <a:pt x="2488" y="38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3" name="Freeform 167"/>
              <p:cNvSpPr>
                <a:spLocks/>
              </p:cNvSpPr>
              <p:nvPr/>
            </p:nvSpPr>
            <p:spPr bwMode="auto">
              <a:xfrm>
                <a:off x="22850475" y="-774700"/>
                <a:ext cx="1957388" cy="835025"/>
              </a:xfrm>
              <a:custGeom>
                <a:avLst/>
                <a:gdLst>
                  <a:gd name="T0" fmla="*/ 15 w 2468"/>
                  <a:gd name="T1" fmla="*/ 1053 h 1053"/>
                  <a:gd name="T2" fmla="*/ 268 w 2468"/>
                  <a:gd name="T3" fmla="*/ 1020 h 1053"/>
                  <a:gd name="T4" fmla="*/ 535 w 2468"/>
                  <a:gd name="T5" fmla="*/ 993 h 1053"/>
                  <a:gd name="T6" fmla="*/ 819 w 2468"/>
                  <a:gd name="T7" fmla="*/ 973 h 1053"/>
                  <a:gd name="T8" fmla="*/ 1118 w 2468"/>
                  <a:gd name="T9" fmla="*/ 959 h 1053"/>
                  <a:gd name="T10" fmla="*/ 1431 w 2468"/>
                  <a:gd name="T11" fmla="*/ 953 h 1053"/>
                  <a:gd name="T12" fmla="*/ 1759 w 2468"/>
                  <a:gd name="T13" fmla="*/ 953 h 1053"/>
                  <a:gd name="T14" fmla="*/ 2102 w 2468"/>
                  <a:gd name="T15" fmla="*/ 959 h 1053"/>
                  <a:gd name="T16" fmla="*/ 2459 w 2468"/>
                  <a:gd name="T17" fmla="*/ 973 h 1053"/>
                  <a:gd name="T18" fmla="*/ 2461 w 2468"/>
                  <a:gd name="T19" fmla="*/ 365 h 1053"/>
                  <a:gd name="T20" fmla="*/ 2464 w 2468"/>
                  <a:gd name="T21" fmla="*/ 334 h 1053"/>
                  <a:gd name="T22" fmla="*/ 2468 w 2468"/>
                  <a:gd name="T23" fmla="*/ 278 h 1053"/>
                  <a:gd name="T24" fmla="*/ 2466 w 2468"/>
                  <a:gd name="T25" fmla="*/ 244 h 1053"/>
                  <a:gd name="T26" fmla="*/ 2462 w 2468"/>
                  <a:gd name="T27" fmla="*/ 230 h 1053"/>
                  <a:gd name="T28" fmla="*/ 2455 w 2468"/>
                  <a:gd name="T29" fmla="*/ 221 h 1053"/>
                  <a:gd name="T30" fmla="*/ 2438 w 2468"/>
                  <a:gd name="T31" fmla="*/ 202 h 1053"/>
                  <a:gd name="T32" fmla="*/ 2395 w 2468"/>
                  <a:gd name="T33" fmla="*/ 165 h 1053"/>
                  <a:gd name="T34" fmla="*/ 2343 w 2468"/>
                  <a:gd name="T35" fmla="*/ 130 h 1053"/>
                  <a:gd name="T36" fmla="*/ 2283 w 2468"/>
                  <a:gd name="T37" fmla="*/ 97 h 1053"/>
                  <a:gd name="T38" fmla="*/ 2220 w 2468"/>
                  <a:gd name="T39" fmla="*/ 70 h 1053"/>
                  <a:gd name="T40" fmla="*/ 2158 w 2468"/>
                  <a:gd name="T41" fmla="*/ 50 h 1053"/>
                  <a:gd name="T42" fmla="*/ 2099 w 2468"/>
                  <a:gd name="T43" fmla="*/ 37 h 1053"/>
                  <a:gd name="T44" fmla="*/ 2047 w 2468"/>
                  <a:gd name="T45" fmla="*/ 31 h 1053"/>
                  <a:gd name="T46" fmla="*/ 2025 w 2468"/>
                  <a:gd name="T47" fmla="*/ 33 h 1053"/>
                  <a:gd name="T48" fmla="*/ 1961 w 2468"/>
                  <a:gd name="T49" fmla="*/ 37 h 1053"/>
                  <a:gd name="T50" fmla="*/ 1895 w 2468"/>
                  <a:gd name="T51" fmla="*/ 35 h 1053"/>
                  <a:gd name="T52" fmla="*/ 1830 w 2468"/>
                  <a:gd name="T53" fmla="*/ 30 h 1053"/>
                  <a:gd name="T54" fmla="*/ 1700 w 2468"/>
                  <a:gd name="T55" fmla="*/ 14 h 1053"/>
                  <a:gd name="T56" fmla="*/ 1603 w 2468"/>
                  <a:gd name="T57" fmla="*/ 3 h 1053"/>
                  <a:gd name="T58" fmla="*/ 1537 w 2468"/>
                  <a:gd name="T59" fmla="*/ 0 h 1053"/>
                  <a:gd name="T60" fmla="*/ 1505 w 2468"/>
                  <a:gd name="T61" fmla="*/ 0 h 1053"/>
                  <a:gd name="T62" fmla="*/ 990 w 2468"/>
                  <a:gd name="T63" fmla="*/ 14 h 1053"/>
                  <a:gd name="T64" fmla="*/ 812 w 2468"/>
                  <a:gd name="T65" fmla="*/ 14 h 1053"/>
                  <a:gd name="T66" fmla="*/ 769 w 2468"/>
                  <a:gd name="T67" fmla="*/ 14 h 1053"/>
                  <a:gd name="T68" fmla="*/ 686 w 2468"/>
                  <a:gd name="T69" fmla="*/ 23 h 1053"/>
                  <a:gd name="T70" fmla="*/ 601 w 2468"/>
                  <a:gd name="T71" fmla="*/ 39 h 1053"/>
                  <a:gd name="T72" fmla="*/ 515 w 2468"/>
                  <a:gd name="T73" fmla="*/ 61 h 1053"/>
                  <a:gd name="T74" fmla="*/ 388 w 2468"/>
                  <a:gd name="T75" fmla="*/ 100 h 1053"/>
                  <a:gd name="T76" fmla="*/ 219 w 2468"/>
                  <a:gd name="T77" fmla="*/ 154 h 1053"/>
                  <a:gd name="T78" fmla="*/ 136 w 2468"/>
                  <a:gd name="T79" fmla="*/ 177 h 1053"/>
                  <a:gd name="T80" fmla="*/ 119 w 2468"/>
                  <a:gd name="T81" fmla="*/ 182 h 1053"/>
                  <a:gd name="T82" fmla="*/ 86 w 2468"/>
                  <a:gd name="T83" fmla="*/ 197 h 1053"/>
                  <a:gd name="T84" fmla="*/ 61 w 2468"/>
                  <a:gd name="T85" fmla="*/ 214 h 1053"/>
                  <a:gd name="T86" fmla="*/ 41 w 2468"/>
                  <a:gd name="T87" fmla="*/ 234 h 1053"/>
                  <a:gd name="T88" fmla="*/ 25 w 2468"/>
                  <a:gd name="T89" fmla="*/ 259 h 1053"/>
                  <a:gd name="T90" fmla="*/ 14 w 2468"/>
                  <a:gd name="T91" fmla="*/ 286 h 1053"/>
                  <a:gd name="T92" fmla="*/ 6 w 2468"/>
                  <a:gd name="T93" fmla="*/ 314 h 1053"/>
                  <a:gd name="T94" fmla="*/ 0 w 2468"/>
                  <a:gd name="T95" fmla="*/ 360 h 1053"/>
                  <a:gd name="T96" fmla="*/ 2 w 2468"/>
                  <a:gd name="T97" fmla="*/ 425 h 1053"/>
                  <a:gd name="T98" fmla="*/ 7 w 2468"/>
                  <a:gd name="T99" fmla="*/ 491 h 1053"/>
                  <a:gd name="T100" fmla="*/ 18 w 2468"/>
                  <a:gd name="T101" fmla="*/ 585 h 1053"/>
                  <a:gd name="T102" fmla="*/ 20 w 2468"/>
                  <a:gd name="T103" fmla="*/ 615 h 1053"/>
                  <a:gd name="T104" fmla="*/ 22 w 2468"/>
                  <a:gd name="T105" fmla="*/ 724 h 1053"/>
                  <a:gd name="T106" fmla="*/ 18 w 2468"/>
                  <a:gd name="T107" fmla="*/ 943 h 1053"/>
                  <a:gd name="T108" fmla="*/ 15 w 2468"/>
                  <a:gd name="T109" fmla="*/ 1053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53">
                    <a:moveTo>
                      <a:pt x="15" y="1053"/>
                    </a:moveTo>
                    <a:lnTo>
                      <a:pt x="15" y="1053"/>
                    </a:lnTo>
                    <a:lnTo>
                      <a:pt x="140" y="1036"/>
                    </a:lnTo>
                    <a:lnTo>
                      <a:pt x="268" y="1020"/>
                    </a:lnTo>
                    <a:lnTo>
                      <a:pt x="400" y="1006"/>
                    </a:lnTo>
                    <a:lnTo>
                      <a:pt x="535" y="993"/>
                    </a:lnTo>
                    <a:lnTo>
                      <a:pt x="675" y="982"/>
                    </a:lnTo>
                    <a:lnTo>
                      <a:pt x="819" y="973"/>
                    </a:lnTo>
                    <a:lnTo>
                      <a:pt x="967" y="966"/>
                    </a:lnTo>
                    <a:lnTo>
                      <a:pt x="1118" y="959"/>
                    </a:lnTo>
                    <a:lnTo>
                      <a:pt x="1272" y="955"/>
                    </a:lnTo>
                    <a:lnTo>
                      <a:pt x="1431" y="953"/>
                    </a:lnTo>
                    <a:lnTo>
                      <a:pt x="1594" y="951"/>
                    </a:lnTo>
                    <a:lnTo>
                      <a:pt x="1759" y="953"/>
                    </a:lnTo>
                    <a:lnTo>
                      <a:pt x="1928" y="955"/>
                    </a:lnTo>
                    <a:lnTo>
                      <a:pt x="2102" y="959"/>
                    </a:lnTo>
                    <a:lnTo>
                      <a:pt x="2279" y="965"/>
                    </a:lnTo>
                    <a:lnTo>
                      <a:pt x="2459" y="973"/>
                    </a:lnTo>
                    <a:lnTo>
                      <a:pt x="2459" y="973"/>
                    </a:lnTo>
                    <a:lnTo>
                      <a:pt x="2461" y="365"/>
                    </a:lnTo>
                    <a:lnTo>
                      <a:pt x="2461" y="365"/>
                    </a:lnTo>
                    <a:lnTo>
                      <a:pt x="2464" y="334"/>
                    </a:lnTo>
                    <a:lnTo>
                      <a:pt x="2466" y="296"/>
                    </a:lnTo>
                    <a:lnTo>
                      <a:pt x="2468" y="278"/>
                    </a:lnTo>
                    <a:lnTo>
                      <a:pt x="2468" y="259"/>
                    </a:lnTo>
                    <a:lnTo>
                      <a:pt x="2466" y="244"/>
                    </a:lnTo>
                    <a:lnTo>
                      <a:pt x="2464" y="237"/>
                    </a:lnTo>
                    <a:lnTo>
                      <a:pt x="2462" y="230"/>
                    </a:lnTo>
                    <a:lnTo>
                      <a:pt x="2462" y="230"/>
                    </a:lnTo>
                    <a:lnTo>
                      <a:pt x="2455" y="221"/>
                    </a:lnTo>
                    <a:lnTo>
                      <a:pt x="2455" y="221"/>
                    </a:lnTo>
                    <a:lnTo>
                      <a:pt x="2438" y="202"/>
                    </a:lnTo>
                    <a:lnTo>
                      <a:pt x="2419" y="183"/>
                    </a:lnTo>
                    <a:lnTo>
                      <a:pt x="2395" y="165"/>
                    </a:lnTo>
                    <a:lnTo>
                      <a:pt x="2371" y="147"/>
                    </a:lnTo>
                    <a:lnTo>
                      <a:pt x="2343" y="130"/>
                    </a:lnTo>
                    <a:lnTo>
                      <a:pt x="2313" y="113"/>
                    </a:lnTo>
                    <a:lnTo>
                      <a:pt x="2283" y="97"/>
                    </a:lnTo>
                    <a:lnTo>
                      <a:pt x="2252" y="84"/>
                    </a:lnTo>
                    <a:lnTo>
                      <a:pt x="2220" y="70"/>
                    </a:lnTo>
                    <a:lnTo>
                      <a:pt x="2189" y="60"/>
                    </a:lnTo>
                    <a:lnTo>
                      <a:pt x="2158" y="50"/>
                    </a:lnTo>
                    <a:lnTo>
                      <a:pt x="2127" y="42"/>
                    </a:lnTo>
                    <a:lnTo>
                      <a:pt x="2099" y="37"/>
                    </a:lnTo>
                    <a:lnTo>
                      <a:pt x="2072" y="33"/>
                    </a:lnTo>
                    <a:lnTo>
                      <a:pt x="2047" y="31"/>
                    </a:lnTo>
                    <a:lnTo>
                      <a:pt x="2025" y="33"/>
                    </a:lnTo>
                    <a:lnTo>
                      <a:pt x="2025" y="33"/>
                    </a:lnTo>
                    <a:lnTo>
                      <a:pt x="1993" y="35"/>
                    </a:lnTo>
                    <a:lnTo>
                      <a:pt x="1961" y="37"/>
                    </a:lnTo>
                    <a:lnTo>
                      <a:pt x="1928" y="37"/>
                    </a:lnTo>
                    <a:lnTo>
                      <a:pt x="1895" y="35"/>
                    </a:lnTo>
                    <a:lnTo>
                      <a:pt x="1863" y="33"/>
                    </a:lnTo>
                    <a:lnTo>
                      <a:pt x="1830" y="30"/>
                    </a:lnTo>
                    <a:lnTo>
                      <a:pt x="1766" y="22"/>
                    </a:lnTo>
                    <a:lnTo>
                      <a:pt x="1700" y="14"/>
                    </a:lnTo>
                    <a:lnTo>
                      <a:pt x="1635" y="6"/>
                    </a:lnTo>
                    <a:lnTo>
                      <a:pt x="1603" y="3"/>
                    </a:lnTo>
                    <a:lnTo>
                      <a:pt x="1571" y="2"/>
                    </a:lnTo>
                    <a:lnTo>
                      <a:pt x="1537" y="0"/>
                    </a:lnTo>
                    <a:lnTo>
                      <a:pt x="1505" y="0"/>
                    </a:lnTo>
                    <a:lnTo>
                      <a:pt x="1505" y="0"/>
                    </a:lnTo>
                    <a:lnTo>
                      <a:pt x="1158" y="10"/>
                    </a:lnTo>
                    <a:lnTo>
                      <a:pt x="990" y="14"/>
                    </a:lnTo>
                    <a:lnTo>
                      <a:pt x="903" y="14"/>
                    </a:lnTo>
                    <a:lnTo>
                      <a:pt x="812" y="14"/>
                    </a:lnTo>
                    <a:lnTo>
                      <a:pt x="812" y="14"/>
                    </a:lnTo>
                    <a:lnTo>
                      <a:pt x="769" y="14"/>
                    </a:lnTo>
                    <a:lnTo>
                      <a:pt x="728" y="18"/>
                    </a:lnTo>
                    <a:lnTo>
                      <a:pt x="686" y="23"/>
                    </a:lnTo>
                    <a:lnTo>
                      <a:pt x="643" y="30"/>
                    </a:lnTo>
                    <a:lnTo>
                      <a:pt x="601" y="39"/>
                    </a:lnTo>
                    <a:lnTo>
                      <a:pt x="558" y="50"/>
                    </a:lnTo>
                    <a:lnTo>
                      <a:pt x="515" y="61"/>
                    </a:lnTo>
                    <a:lnTo>
                      <a:pt x="474" y="73"/>
                    </a:lnTo>
                    <a:lnTo>
                      <a:pt x="388" y="100"/>
                    </a:lnTo>
                    <a:lnTo>
                      <a:pt x="303" y="128"/>
                    </a:lnTo>
                    <a:lnTo>
                      <a:pt x="219" y="154"/>
                    </a:lnTo>
                    <a:lnTo>
                      <a:pt x="178" y="166"/>
                    </a:lnTo>
                    <a:lnTo>
                      <a:pt x="136" y="177"/>
                    </a:lnTo>
                    <a:lnTo>
                      <a:pt x="136" y="177"/>
                    </a:lnTo>
                    <a:lnTo>
                      <a:pt x="119" y="182"/>
                    </a:lnTo>
                    <a:lnTo>
                      <a:pt x="101" y="189"/>
                    </a:lnTo>
                    <a:lnTo>
                      <a:pt x="86" y="197"/>
                    </a:lnTo>
                    <a:lnTo>
                      <a:pt x="73" y="205"/>
                    </a:lnTo>
                    <a:lnTo>
                      <a:pt x="61" y="214"/>
                    </a:lnTo>
                    <a:lnTo>
                      <a:pt x="50" y="224"/>
                    </a:lnTo>
                    <a:lnTo>
                      <a:pt x="41" y="234"/>
                    </a:lnTo>
                    <a:lnTo>
                      <a:pt x="33" y="247"/>
                    </a:lnTo>
                    <a:lnTo>
                      <a:pt x="25" y="259"/>
                    </a:lnTo>
                    <a:lnTo>
                      <a:pt x="19" y="272"/>
                    </a:lnTo>
                    <a:lnTo>
                      <a:pt x="14" y="286"/>
                    </a:lnTo>
                    <a:lnTo>
                      <a:pt x="10" y="299"/>
                    </a:lnTo>
                    <a:lnTo>
                      <a:pt x="6" y="314"/>
                    </a:lnTo>
                    <a:lnTo>
                      <a:pt x="3" y="329"/>
                    </a:lnTo>
                    <a:lnTo>
                      <a:pt x="0" y="360"/>
                    </a:lnTo>
                    <a:lnTo>
                      <a:pt x="0" y="392"/>
                    </a:lnTo>
                    <a:lnTo>
                      <a:pt x="2" y="425"/>
                    </a:lnTo>
                    <a:lnTo>
                      <a:pt x="4" y="458"/>
                    </a:lnTo>
                    <a:lnTo>
                      <a:pt x="7" y="491"/>
                    </a:lnTo>
                    <a:lnTo>
                      <a:pt x="15" y="556"/>
                    </a:lnTo>
                    <a:lnTo>
                      <a:pt x="18" y="585"/>
                    </a:lnTo>
                    <a:lnTo>
                      <a:pt x="20" y="615"/>
                    </a:lnTo>
                    <a:lnTo>
                      <a:pt x="20" y="615"/>
                    </a:lnTo>
                    <a:lnTo>
                      <a:pt x="22" y="669"/>
                    </a:lnTo>
                    <a:lnTo>
                      <a:pt x="22" y="724"/>
                    </a:lnTo>
                    <a:lnTo>
                      <a:pt x="20" y="834"/>
                    </a:lnTo>
                    <a:lnTo>
                      <a:pt x="18" y="943"/>
                    </a:lnTo>
                    <a:lnTo>
                      <a:pt x="15" y="1053"/>
                    </a:lnTo>
                    <a:lnTo>
                      <a:pt x="15" y="10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4" name="Freeform 168"/>
              <p:cNvSpPr>
                <a:spLocks/>
              </p:cNvSpPr>
              <p:nvPr/>
            </p:nvSpPr>
            <p:spPr bwMode="auto">
              <a:xfrm>
                <a:off x="25177750" y="-784225"/>
                <a:ext cx="1958975" cy="857250"/>
              </a:xfrm>
              <a:custGeom>
                <a:avLst/>
                <a:gdLst>
                  <a:gd name="T0" fmla="*/ 8 w 2468"/>
                  <a:gd name="T1" fmla="*/ 981 h 1082"/>
                  <a:gd name="T2" fmla="*/ 368 w 2468"/>
                  <a:gd name="T3" fmla="*/ 969 h 1082"/>
                  <a:gd name="T4" fmla="*/ 712 w 2468"/>
                  <a:gd name="T5" fmla="*/ 965 h 1082"/>
                  <a:gd name="T6" fmla="*/ 1040 w 2468"/>
                  <a:gd name="T7" fmla="*/ 966 h 1082"/>
                  <a:gd name="T8" fmla="*/ 1355 w 2468"/>
                  <a:gd name="T9" fmla="*/ 975 h 1082"/>
                  <a:gd name="T10" fmla="*/ 1654 w 2468"/>
                  <a:gd name="T11" fmla="*/ 991 h 1082"/>
                  <a:gd name="T12" fmla="*/ 1936 w 2468"/>
                  <a:gd name="T13" fmla="*/ 1014 h 1082"/>
                  <a:gd name="T14" fmla="*/ 2202 w 2468"/>
                  <a:gd name="T15" fmla="*/ 1044 h 1082"/>
                  <a:gd name="T16" fmla="*/ 2452 w 2468"/>
                  <a:gd name="T17" fmla="*/ 1082 h 1082"/>
                  <a:gd name="T18" fmla="*/ 2450 w 2468"/>
                  <a:gd name="T19" fmla="*/ 967 h 1082"/>
                  <a:gd name="T20" fmla="*/ 2445 w 2468"/>
                  <a:gd name="T21" fmla="*/ 740 h 1082"/>
                  <a:gd name="T22" fmla="*/ 2447 w 2468"/>
                  <a:gd name="T23" fmla="*/ 627 h 1082"/>
                  <a:gd name="T24" fmla="*/ 2450 w 2468"/>
                  <a:gd name="T25" fmla="*/ 597 h 1082"/>
                  <a:gd name="T26" fmla="*/ 2460 w 2468"/>
                  <a:gd name="T27" fmla="*/ 503 h 1082"/>
                  <a:gd name="T28" fmla="*/ 2467 w 2468"/>
                  <a:gd name="T29" fmla="*/ 437 h 1082"/>
                  <a:gd name="T30" fmla="*/ 2467 w 2468"/>
                  <a:gd name="T31" fmla="*/ 372 h 1082"/>
                  <a:gd name="T32" fmla="*/ 2462 w 2468"/>
                  <a:gd name="T33" fmla="*/ 326 h 1082"/>
                  <a:gd name="T34" fmla="*/ 2454 w 2468"/>
                  <a:gd name="T35" fmla="*/ 298 h 1082"/>
                  <a:gd name="T36" fmla="*/ 2443 w 2468"/>
                  <a:gd name="T37" fmla="*/ 271 h 1082"/>
                  <a:gd name="T38" fmla="*/ 2427 w 2468"/>
                  <a:gd name="T39" fmla="*/ 246 h 1082"/>
                  <a:gd name="T40" fmla="*/ 2406 w 2468"/>
                  <a:gd name="T41" fmla="*/ 226 h 1082"/>
                  <a:gd name="T42" fmla="*/ 2381 w 2468"/>
                  <a:gd name="T43" fmla="*/ 209 h 1082"/>
                  <a:gd name="T44" fmla="*/ 2350 w 2468"/>
                  <a:gd name="T45" fmla="*/ 194 h 1082"/>
                  <a:gd name="T46" fmla="*/ 2331 w 2468"/>
                  <a:gd name="T47" fmla="*/ 189 h 1082"/>
                  <a:gd name="T48" fmla="*/ 2248 w 2468"/>
                  <a:gd name="T49" fmla="*/ 166 h 1082"/>
                  <a:gd name="T50" fmla="*/ 2080 w 2468"/>
                  <a:gd name="T51" fmla="*/ 108 h 1082"/>
                  <a:gd name="T52" fmla="*/ 1952 w 2468"/>
                  <a:gd name="T53" fmla="*/ 66 h 1082"/>
                  <a:gd name="T54" fmla="*/ 1866 w 2468"/>
                  <a:gd name="T55" fmla="*/ 42 h 1082"/>
                  <a:gd name="T56" fmla="*/ 1781 w 2468"/>
                  <a:gd name="T57" fmla="*/ 25 h 1082"/>
                  <a:gd name="T58" fmla="*/ 1698 w 2468"/>
                  <a:gd name="T59" fmla="*/ 15 h 1082"/>
                  <a:gd name="T60" fmla="*/ 1656 w 2468"/>
                  <a:gd name="T61" fmla="*/ 14 h 1082"/>
                  <a:gd name="T62" fmla="*/ 1468 w 2468"/>
                  <a:gd name="T63" fmla="*/ 14 h 1082"/>
                  <a:gd name="T64" fmla="*/ 1093 w 2468"/>
                  <a:gd name="T65" fmla="*/ 6 h 1082"/>
                  <a:gd name="T66" fmla="*/ 905 w 2468"/>
                  <a:gd name="T67" fmla="*/ 0 h 1082"/>
                  <a:gd name="T68" fmla="*/ 840 w 2468"/>
                  <a:gd name="T69" fmla="*/ 2 h 1082"/>
                  <a:gd name="T70" fmla="*/ 774 w 2468"/>
                  <a:gd name="T71" fmla="*/ 7 h 1082"/>
                  <a:gd name="T72" fmla="*/ 644 w 2468"/>
                  <a:gd name="T73" fmla="*/ 22 h 1082"/>
                  <a:gd name="T74" fmla="*/ 547 w 2468"/>
                  <a:gd name="T75" fmla="*/ 33 h 1082"/>
                  <a:gd name="T76" fmla="*/ 482 w 2468"/>
                  <a:gd name="T77" fmla="*/ 37 h 1082"/>
                  <a:gd name="T78" fmla="*/ 417 w 2468"/>
                  <a:gd name="T79" fmla="*/ 35 h 1082"/>
                  <a:gd name="T80" fmla="*/ 384 w 2468"/>
                  <a:gd name="T81" fmla="*/ 33 h 1082"/>
                  <a:gd name="T82" fmla="*/ 340 w 2468"/>
                  <a:gd name="T83" fmla="*/ 34 h 1082"/>
                  <a:gd name="T84" fmla="*/ 292 w 2468"/>
                  <a:gd name="T85" fmla="*/ 45 h 1082"/>
                  <a:gd name="T86" fmla="*/ 239 w 2468"/>
                  <a:gd name="T87" fmla="*/ 64 h 1082"/>
                  <a:gd name="T88" fmla="*/ 187 w 2468"/>
                  <a:gd name="T89" fmla="*/ 90 h 1082"/>
                  <a:gd name="T90" fmla="*/ 136 w 2468"/>
                  <a:gd name="T91" fmla="*/ 121 h 1082"/>
                  <a:gd name="T92" fmla="*/ 88 w 2468"/>
                  <a:gd name="T93" fmla="*/ 156 h 1082"/>
                  <a:gd name="T94" fmla="*/ 47 w 2468"/>
                  <a:gd name="T95" fmla="*/ 194 h 1082"/>
                  <a:gd name="T96" fmla="*/ 12 w 2468"/>
                  <a:gd name="T97" fmla="*/ 233 h 1082"/>
                  <a:gd name="T98" fmla="*/ 6 w 2468"/>
                  <a:gd name="T99" fmla="*/ 242 h 1082"/>
                  <a:gd name="T100" fmla="*/ 4 w 2468"/>
                  <a:gd name="T101" fmla="*/ 249 h 1082"/>
                  <a:gd name="T102" fmla="*/ 0 w 2468"/>
                  <a:gd name="T103" fmla="*/ 271 h 1082"/>
                  <a:gd name="T104" fmla="*/ 1 w 2468"/>
                  <a:gd name="T105" fmla="*/ 308 h 1082"/>
                  <a:gd name="T106" fmla="*/ 6 w 2468"/>
                  <a:gd name="T107" fmla="*/ 377 h 1082"/>
                  <a:gd name="T108" fmla="*/ 8 w 2468"/>
                  <a:gd name="T109" fmla="*/ 981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82">
                    <a:moveTo>
                      <a:pt x="8" y="981"/>
                    </a:moveTo>
                    <a:lnTo>
                      <a:pt x="8" y="981"/>
                    </a:lnTo>
                    <a:lnTo>
                      <a:pt x="189" y="974"/>
                    </a:lnTo>
                    <a:lnTo>
                      <a:pt x="368" y="969"/>
                    </a:lnTo>
                    <a:lnTo>
                      <a:pt x="542" y="966"/>
                    </a:lnTo>
                    <a:lnTo>
                      <a:pt x="712" y="965"/>
                    </a:lnTo>
                    <a:lnTo>
                      <a:pt x="878" y="965"/>
                    </a:lnTo>
                    <a:lnTo>
                      <a:pt x="1040" y="966"/>
                    </a:lnTo>
                    <a:lnTo>
                      <a:pt x="1200" y="970"/>
                    </a:lnTo>
                    <a:lnTo>
                      <a:pt x="1355" y="975"/>
                    </a:lnTo>
                    <a:lnTo>
                      <a:pt x="1506" y="982"/>
                    </a:lnTo>
                    <a:lnTo>
                      <a:pt x="1654" y="991"/>
                    </a:lnTo>
                    <a:lnTo>
                      <a:pt x="1796" y="1002"/>
                    </a:lnTo>
                    <a:lnTo>
                      <a:pt x="1936" y="1014"/>
                    </a:lnTo>
                    <a:lnTo>
                      <a:pt x="2070" y="1029"/>
                    </a:lnTo>
                    <a:lnTo>
                      <a:pt x="2202" y="1044"/>
                    </a:lnTo>
                    <a:lnTo>
                      <a:pt x="2330" y="1061"/>
                    </a:lnTo>
                    <a:lnTo>
                      <a:pt x="2452" y="1082"/>
                    </a:lnTo>
                    <a:lnTo>
                      <a:pt x="2452" y="1082"/>
                    </a:lnTo>
                    <a:lnTo>
                      <a:pt x="2450" y="967"/>
                    </a:lnTo>
                    <a:lnTo>
                      <a:pt x="2447" y="854"/>
                    </a:lnTo>
                    <a:lnTo>
                      <a:pt x="2445" y="740"/>
                    </a:lnTo>
                    <a:lnTo>
                      <a:pt x="2445" y="684"/>
                    </a:lnTo>
                    <a:lnTo>
                      <a:pt x="2447" y="627"/>
                    </a:lnTo>
                    <a:lnTo>
                      <a:pt x="2447" y="627"/>
                    </a:lnTo>
                    <a:lnTo>
                      <a:pt x="2450" y="597"/>
                    </a:lnTo>
                    <a:lnTo>
                      <a:pt x="2452" y="568"/>
                    </a:lnTo>
                    <a:lnTo>
                      <a:pt x="2460" y="503"/>
                    </a:lnTo>
                    <a:lnTo>
                      <a:pt x="2464" y="470"/>
                    </a:lnTo>
                    <a:lnTo>
                      <a:pt x="2467" y="437"/>
                    </a:lnTo>
                    <a:lnTo>
                      <a:pt x="2468" y="404"/>
                    </a:lnTo>
                    <a:lnTo>
                      <a:pt x="2467" y="372"/>
                    </a:lnTo>
                    <a:lnTo>
                      <a:pt x="2464" y="341"/>
                    </a:lnTo>
                    <a:lnTo>
                      <a:pt x="2462" y="326"/>
                    </a:lnTo>
                    <a:lnTo>
                      <a:pt x="2459" y="311"/>
                    </a:lnTo>
                    <a:lnTo>
                      <a:pt x="2454" y="298"/>
                    </a:lnTo>
                    <a:lnTo>
                      <a:pt x="2450" y="284"/>
                    </a:lnTo>
                    <a:lnTo>
                      <a:pt x="2443" y="271"/>
                    </a:lnTo>
                    <a:lnTo>
                      <a:pt x="2436" y="259"/>
                    </a:lnTo>
                    <a:lnTo>
                      <a:pt x="2427" y="246"/>
                    </a:lnTo>
                    <a:lnTo>
                      <a:pt x="2417" y="236"/>
                    </a:lnTo>
                    <a:lnTo>
                      <a:pt x="2406" y="226"/>
                    </a:lnTo>
                    <a:lnTo>
                      <a:pt x="2394" y="217"/>
                    </a:lnTo>
                    <a:lnTo>
                      <a:pt x="2381" y="209"/>
                    </a:lnTo>
                    <a:lnTo>
                      <a:pt x="2366" y="201"/>
                    </a:lnTo>
                    <a:lnTo>
                      <a:pt x="2350" y="194"/>
                    </a:lnTo>
                    <a:lnTo>
                      <a:pt x="2331" y="189"/>
                    </a:lnTo>
                    <a:lnTo>
                      <a:pt x="2331" y="189"/>
                    </a:lnTo>
                    <a:lnTo>
                      <a:pt x="2290" y="178"/>
                    </a:lnTo>
                    <a:lnTo>
                      <a:pt x="2248" y="166"/>
                    </a:lnTo>
                    <a:lnTo>
                      <a:pt x="2164" y="138"/>
                    </a:lnTo>
                    <a:lnTo>
                      <a:pt x="2080" y="108"/>
                    </a:lnTo>
                    <a:lnTo>
                      <a:pt x="1995" y="80"/>
                    </a:lnTo>
                    <a:lnTo>
                      <a:pt x="1952" y="66"/>
                    </a:lnTo>
                    <a:lnTo>
                      <a:pt x="1909" y="54"/>
                    </a:lnTo>
                    <a:lnTo>
                      <a:pt x="1866" y="42"/>
                    </a:lnTo>
                    <a:lnTo>
                      <a:pt x="1824" y="33"/>
                    </a:lnTo>
                    <a:lnTo>
                      <a:pt x="1781" y="25"/>
                    </a:lnTo>
                    <a:lnTo>
                      <a:pt x="1740" y="19"/>
                    </a:lnTo>
                    <a:lnTo>
                      <a:pt x="1698" y="15"/>
                    </a:lnTo>
                    <a:lnTo>
                      <a:pt x="1656" y="14"/>
                    </a:lnTo>
                    <a:lnTo>
                      <a:pt x="1656" y="14"/>
                    </a:lnTo>
                    <a:lnTo>
                      <a:pt x="1562" y="14"/>
                    </a:lnTo>
                    <a:lnTo>
                      <a:pt x="1468" y="14"/>
                    </a:lnTo>
                    <a:lnTo>
                      <a:pt x="1280" y="11"/>
                    </a:lnTo>
                    <a:lnTo>
                      <a:pt x="1093" y="6"/>
                    </a:lnTo>
                    <a:lnTo>
                      <a:pt x="905" y="0"/>
                    </a:lnTo>
                    <a:lnTo>
                      <a:pt x="905" y="0"/>
                    </a:lnTo>
                    <a:lnTo>
                      <a:pt x="872" y="0"/>
                    </a:lnTo>
                    <a:lnTo>
                      <a:pt x="840" y="2"/>
                    </a:lnTo>
                    <a:lnTo>
                      <a:pt x="806" y="3"/>
                    </a:lnTo>
                    <a:lnTo>
                      <a:pt x="774" y="7"/>
                    </a:lnTo>
                    <a:lnTo>
                      <a:pt x="710" y="14"/>
                    </a:lnTo>
                    <a:lnTo>
                      <a:pt x="644" y="22"/>
                    </a:lnTo>
                    <a:lnTo>
                      <a:pt x="579" y="30"/>
                    </a:lnTo>
                    <a:lnTo>
                      <a:pt x="547" y="33"/>
                    </a:lnTo>
                    <a:lnTo>
                      <a:pt x="515" y="35"/>
                    </a:lnTo>
                    <a:lnTo>
                      <a:pt x="482" y="37"/>
                    </a:lnTo>
                    <a:lnTo>
                      <a:pt x="450" y="37"/>
                    </a:lnTo>
                    <a:lnTo>
                      <a:pt x="417" y="35"/>
                    </a:lnTo>
                    <a:lnTo>
                      <a:pt x="384" y="33"/>
                    </a:lnTo>
                    <a:lnTo>
                      <a:pt x="384" y="33"/>
                    </a:lnTo>
                    <a:lnTo>
                      <a:pt x="363" y="33"/>
                    </a:lnTo>
                    <a:lnTo>
                      <a:pt x="340" y="34"/>
                    </a:lnTo>
                    <a:lnTo>
                      <a:pt x="316" y="38"/>
                    </a:lnTo>
                    <a:lnTo>
                      <a:pt x="292" y="45"/>
                    </a:lnTo>
                    <a:lnTo>
                      <a:pt x="266" y="53"/>
                    </a:lnTo>
                    <a:lnTo>
                      <a:pt x="239" y="64"/>
                    </a:lnTo>
                    <a:lnTo>
                      <a:pt x="214" y="76"/>
                    </a:lnTo>
                    <a:lnTo>
                      <a:pt x="187" y="90"/>
                    </a:lnTo>
                    <a:lnTo>
                      <a:pt x="161" y="105"/>
                    </a:lnTo>
                    <a:lnTo>
                      <a:pt x="136" y="121"/>
                    </a:lnTo>
                    <a:lnTo>
                      <a:pt x="111" y="139"/>
                    </a:lnTo>
                    <a:lnTo>
                      <a:pt x="88" y="156"/>
                    </a:lnTo>
                    <a:lnTo>
                      <a:pt x="67" y="175"/>
                    </a:lnTo>
                    <a:lnTo>
                      <a:pt x="47" y="194"/>
                    </a:lnTo>
                    <a:lnTo>
                      <a:pt x="28" y="214"/>
                    </a:lnTo>
                    <a:lnTo>
                      <a:pt x="12" y="233"/>
                    </a:lnTo>
                    <a:lnTo>
                      <a:pt x="12" y="233"/>
                    </a:lnTo>
                    <a:lnTo>
                      <a:pt x="6" y="242"/>
                    </a:lnTo>
                    <a:lnTo>
                      <a:pt x="6" y="242"/>
                    </a:lnTo>
                    <a:lnTo>
                      <a:pt x="4" y="249"/>
                    </a:lnTo>
                    <a:lnTo>
                      <a:pt x="1" y="256"/>
                    </a:lnTo>
                    <a:lnTo>
                      <a:pt x="0" y="271"/>
                    </a:lnTo>
                    <a:lnTo>
                      <a:pt x="0" y="290"/>
                    </a:lnTo>
                    <a:lnTo>
                      <a:pt x="1" y="308"/>
                    </a:lnTo>
                    <a:lnTo>
                      <a:pt x="4" y="346"/>
                    </a:lnTo>
                    <a:lnTo>
                      <a:pt x="6" y="377"/>
                    </a:lnTo>
                    <a:lnTo>
                      <a:pt x="6" y="377"/>
                    </a:lnTo>
                    <a:lnTo>
                      <a:pt x="8" y="981"/>
                    </a:lnTo>
                    <a:lnTo>
                      <a:pt x="8" y="9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05" name="Freeform 169"/>
              <p:cNvSpPr>
                <a:spLocks/>
              </p:cNvSpPr>
              <p:nvPr/>
            </p:nvSpPr>
            <p:spPr bwMode="auto">
              <a:xfrm>
                <a:off x="25071388" y="117475"/>
                <a:ext cx="2287588" cy="4313238"/>
              </a:xfrm>
              <a:custGeom>
                <a:avLst/>
                <a:gdLst>
                  <a:gd name="T0" fmla="*/ 2732 w 2881"/>
                  <a:gd name="T1" fmla="*/ 4699 h 5434"/>
                  <a:gd name="T2" fmla="*/ 2667 w 2881"/>
                  <a:gd name="T3" fmla="*/ 4451 h 5434"/>
                  <a:gd name="T4" fmla="*/ 2565 w 2881"/>
                  <a:gd name="T5" fmla="*/ 3864 h 5434"/>
                  <a:gd name="T6" fmla="*/ 2517 w 2881"/>
                  <a:gd name="T7" fmla="*/ 3487 h 5434"/>
                  <a:gd name="T8" fmla="*/ 2514 w 2881"/>
                  <a:gd name="T9" fmla="*/ 3144 h 5434"/>
                  <a:gd name="T10" fmla="*/ 2564 w 2881"/>
                  <a:gd name="T11" fmla="*/ 2600 h 5434"/>
                  <a:gd name="T12" fmla="*/ 2583 w 2881"/>
                  <a:gd name="T13" fmla="*/ 2318 h 5434"/>
                  <a:gd name="T14" fmla="*/ 2588 w 2881"/>
                  <a:gd name="T15" fmla="*/ 1593 h 5434"/>
                  <a:gd name="T16" fmla="*/ 2589 w 2881"/>
                  <a:gd name="T17" fmla="*/ 1215 h 5434"/>
                  <a:gd name="T18" fmla="*/ 2585 w 2881"/>
                  <a:gd name="T19" fmla="*/ 277 h 5434"/>
                  <a:gd name="T20" fmla="*/ 2206 w 2881"/>
                  <a:gd name="T21" fmla="*/ 66 h 5434"/>
                  <a:gd name="T22" fmla="*/ 1492 w 2881"/>
                  <a:gd name="T23" fmla="*/ 12 h 5434"/>
                  <a:gd name="T24" fmla="*/ 677 w 2881"/>
                  <a:gd name="T25" fmla="*/ 1 h 5434"/>
                  <a:gd name="T26" fmla="*/ 142 w 2881"/>
                  <a:gd name="T27" fmla="*/ 408 h 5434"/>
                  <a:gd name="T28" fmla="*/ 148 w 2881"/>
                  <a:gd name="T29" fmla="*/ 1452 h 5434"/>
                  <a:gd name="T30" fmla="*/ 205 w 2881"/>
                  <a:gd name="T31" fmla="*/ 2306 h 5434"/>
                  <a:gd name="T32" fmla="*/ 236 w 2881"/>
                  <a:gd name="T33" fmla="*/ 2963 h 5434"/>
                  <a:gd name="T34" fmla="*/ 217 w 2881"/>
                  <a:gd name="T35" fmla="*/ 3633 h 5434"/>
                  <a:gd name="T36" fmla="*/ 240 w 2881"/>
                  <a:gd name="T37" fmla="*/ 3854 h 5434"/>
                  <a:gd name="T38" fmla="*/ 376 w 2881"/>
                  <a:gd name="T39" fmla="*/ 3726 h 5434"/>
                  <a:gd name="T40" fmla="*/ 529 w 2881"/>
                  <a:gd name="T41" fmla="*/ 3632 h 5434"/>
                  <a:gd name="T42" fmla="*/ 696 w 2881"/>
                  <a:gd name="T43" fmla="*/ 3567 h 5434"/>
                  <a:gd name="T44" fmla="*/ 875 w 2881"/>
                  <a:gd name="T45" fmla="*/ 3528 h 5434"/>
                  <a:gd name="T46" fmla="*/ 1187 w 2881"/>
                  <a:gd name="T47" fmla="*/ 3508 h 5434"/>
                  <a:gd name="T48" fmla="*/ 1403 w 2881"/>
                  <a:gd name="T49" fmla="*/ 3520 h 5434"/>
                  <a:gd name="T50" fmla="*/ 1637 w 2881"/>
                  <a:gd name="T51" fmla="*/ 3556 h 5434"/>
                  <a:gd name="T52" fmla="*/ 1842 w 2881"/>
                  <a:gd name="T53" fmla="*/ 3641 h 5434"/>
                  <a:gd name="T54" fmla="*/ 2078 w 2881"/>
                  <a:gd name="T55" fmla="*/ 3769 h 5434"/>
                  <a:gd name="T56" fmla="*/ 2228 w 2881"/>
                  <a:gd name="T57" fmla="*/ 3887 h 5434"/>
                  <a:gd name="T58" fmla="*/ 2312 w 2881"/>
                  <a:gd name="T59" fmla="*/ 3991 h 5434"/>
                  <a:gd name="T60" fmla="*/ 2355 w 2881"/>
                  <a:gd name="T61" fmla="*/ 4089 h 5434"/>
                  <a:gd name="T62" fmla="*/ 2371 w 2881"/>
                  <a:gd name="T63" fmla="*/ 4164 h 5434"/>
                  <a:gd name="T64" fmla="*/ 2373 w 2881"/>
                  <a:gd name="T65" fmla="*/ 4168 h 5434"/>
                  <a:gd name="T66" fmla="*/ 2268 w 2881"/>
                  <a:gd name="T67" fmla="*/ 4084 h 5434"/>
                  <a:gd name="T68" fmla="*/ 2089 w 2881"/>
                  <a:gd name="T69" fmla="*/ 3968 h 5434"/>
                  <a:gd name="T70" fmla="*/ 1905 w 2881"/>
                  <a:gd name="T71" fmla="*/ 3874 h 5434"/>
                  <a:gd name="T72" fmla="*/ 1567 w 2881"/>
                  <a:gd name="T73" fmla="*/ 3755 h 5434"/>
                  <a:gd name="T74" fmla="*/ 1200 w 2881"/>
                  <a:gd name="T75" fmla="*/ 3696 h 5434"/>
                  <a:gd name="T76" fmla="*/ 866 w 2881"/>
                  <a:gd name="T77" fmla="*/ 3706 h 5434"/>
                  <a:gd name="T78" fmla="*/ 585 w 2881"/>
                  <a:gd name="T79" fmla="*/ 3776 h 5434"/>
                  <a:gd name="T80" fmla="*/ 451 w 2881"/>
                  <a:gd name="T81" fmla="*/ 3842 h 5434"/>
                  <a:gd name="T82" fmla="*/ 367 w 2881"/>
                  <a:gd name="T83" fmla="*/ 3910 h 5434"/>
                  <a:gd name="T84" fmla="*/ 293 w 2881"/>
                  <a:gd name="T85" fmla="*/ 4000 h 5434"/>
                  <a:gd name="T86" fmla="*/ 209 w 2881"/>
                  <a:gd name="T87" fmla="*/ 4132 h 5434"/>
                  <a:gd name="T88" fmla="*/ 95 w 2881"/>
                  <a:gd name="T89" fmla="*/ 4418 h 5434"/>
                  <a:gd name="T90" fmla="*/ 27 w 2881"/>
                  <a:gd name="T91" fmla="*/ 4716 h 5434"/>
                  <a:gd name="T92" fmla="*/ 0 w 2881"/>
                  <a:gd name="T93" fmla="*/ 4908 h 5434"/>
                  <a:gd name="T94" fmla="*/ 25 w 2881"/>
                  <a:gd name="T95" fmla="*/ 5079 h 5434"/>
                  <a:gd name="T96" fmla="*/ 75 w 2881"/>
                  <a:gd name="T97" fmla="*/ 5286 h 5434"/>
                  <a:gd name="T98" fmla="*/ 321 w 2881"/>
                  <a:gd name="T99" fmla="*/ 5405 h 5434"/>
                  <a:gd name="T100" fmla="*/ 1777 w 2881"/>
                  <a:gd name="T101" fmla="*/ 5434 h 5434"/>
                  <a:gd name="T102" fmla="*/ 2217 w 2881"/>
                  <a:gd name="T103" fmla="*/ 5424 h 5434"/>
                  <a:gd name="T104" fmla="*/ 2639 w 2881"/>
                  <a:gd name="T105" fmla="*/ 5379 h 5434"/>
                  <a:gd name="T106" fmla="*/ 2752 w 2881"/>
                  <a:gd name="T107" fmla="*/ 5338 h 5434"/>
                  <a:gd name="T108" fmla="*/ 2790 w 2881"/>
                  <a:gd name="T109" fmla="*/ 5279 h 5434"/>
                  <a:gd name="T110" fmla="*/ 2869 w 2881"/>
                  <a:gd name="T111" fmla="*/ 5196 h 5434"/>
                  <a:gd name="T112" fmla="*/ 2881 w 2881"/>
                  <a:gd name="T113" fmla="*/ 5099 h 5434"/>
                  <a:gd name="T114" fmla="*/ 2854 w 2881"/>
                  <a:gd name="T115" fmla="*/ 4767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1" h="5434">
                    <a:moveTo>
                      <a:pt x="2854" y="4767"/>
                    </a:moveTo>
                    <a:lnTo>
                      <a:pt x="2854" y="4767"/>
                    </a:lnTo>
                    <a:lnTo>
                      <a:pt x="2831" y="4755"/>
                    </a:lnTo>
                    <a:lnTo>
                      <a:pt x="2782" y="4726"/>
                    </a:lnTo>
                    <a:lnTo>
                      <a:pt x="2732" y="4699"/>
                    </a:lnTo>
                    <a:lnTo>
                      <a:pt x="2709" y="4686"/>
                    </a:lnTo>
                    <a:lnTo>
                      <a:pt x="2709" y="4686"/>
                    </a:lnTo>
                    <a:lnTo>
                      <a:pt x="2697" y="4608"/>
                    </a:lnTo>
                    <a:lnTo>
                      <a:pt x="2683" y="4530"/>
                    </a:lnTo>
                    <a:lnTo>
                      <a:pt x="2667" y="4451"/>
                    </a:lnTo>
                    <a:lnTo>
                      <a:pt x="2648" y="4371"/>
                    </a:lnTo>
                    <a:lnTo>
                      <a:pt x="2648" y="4371"/>
                    </a:lnTo>
                    <a:lnTo>
                      <a:pt x="2612" y="4168"/>
                    </a:lnTo>
                    <a:lnTo>
                      <a:pt x="2580" y="3965"/>
                    </a:lnTo>
                    <a:lnTo>
                      <a:pt x="2565" y="3864"/>
                    </a:lnTo>
                    <a:lnTo>
                      <a:pt x="2550" y="3762"/>
                    </a:lnTo>
                    <a:lnTo>
                      <a:pt x="2537" y="3660"/>
                    </a:lnTo>
                    <a:lnTo>
                      <a:pt x="2523" y="3558"/>
                    </a:lnTo>
                    <a:lnTo>
                      <a:pt x="2523" y="3558"/>
                    </a:lnTo>
                    <a:lnTo>
                      <a:pt x="2517" y="3487"/>
                    </a:lnTo>
                    <a:lnTo>
                      <a:pt x="2513" y="3417"/>
                    </a:lnTo>
                    <a:lnTo>
                      <a:pt x="2510" y="3347"/>
                    </a:lnTo>
                    <a:lnTo>
                      <a:pt x="2509" y="3278"/>
                    </a:lnTo>
                    <a:lnTo>
                      <a:pt x="2510" y="3211"/>
                    </a:lnTo>
                    <a:lnTo>
                      <a:pt x="2514" y="3144"/>
                    </a:lnTo>
                    <a:lnTo>
                      <a:pt x="2518" y="3076"/>
                    </a:lnTo>
                    <a:lnTo>
                      <a:pt x="2523" y="3009"/>
                    </a:lnTo>
                    <a:lnTo>
                      <a:pt x="2535" y="2875"/>
                    </a:lnTo>
                    <a:lnTo>
                      <a:pt x="2550" y="2739"/>
                    </a:lnTo>
                    <a:lnTo>
                      <a:pt x="2564" y="2600"/>
                    </a:lnTo>
                    <a:lnTo>
                      <a:pt x="2569" y="2529"/>
                    </a:lnTo>
                    <a:lnTo>
                      <a:pt x="2574" y="2458"/>
                    </a:lnTo>
                    <a:lnTo>
                      <a:pt x="2574" y="2458"/>
                    </a:lnTo>
                    <a:lnTo>
                      <a:pt x="2578" y="2388"/>
                    </a:lnTo>
                    <a:lnTo>
                      <a:pt x="2583" y="2318"/>
                    </a:lnTo>
                    <a:lnTo>
                      <a:pt x="2587" y="2177"/>
                    </a:lnTo>
                    <a:lnTo>
                      <a:pt x="2589" y="2032"/>
                    </a:lnTo>
                    <a:lnTo>
                      <a:pt x="2589" y="1885"/>
                    </a:lnTo>
                    <a:lnTo>
                      <a:pt x="2589" y="1740"/>
                    </a:lnTo>
                    <a:lnTo>
                      <a:pt x="2588" y="1593"/>
                    </a:lnTo>
                    <a:lnTo>
                      <a:pt x="2585" y="1308"/>
                    </a:lnTo>
                    <a:lnTo>
                      <a:pt x="2585" y="1308"/>
                    </a:lnTo>
                    <a:lnTo>
                      <a:pt x="2585" y="1373"/>
                    </a:lnTo>
                    <a:lnTo>
                      <a:pt x="2585" y="1373"/>
                    </a:lnTo>
                    <a:lnTo>
                      <a:pt x="2589" y="1215"/>
                    </a:lnTo>
                    <a:lnTo>
                      <a:pt x="2591" y="1059"/>
                    </a:lnTo>
                    <a:lnTo>
                      <a:pt x="2591" y="903"/>
                    </a:lnTo>
                    <a:lnTo>
                      <a:pt x="2589" y="746"/>
                    </a:lnTo>
                    <a:lnTo>
                      <a:pt x="2587" y="433"/>
                    </a:lnTo>
                    <a:lnTo>
                      <a:pt x="2585" y="277"/>
                    </a:lnTo>
                    <a:lnTo>
                      <a:pt x="2585" y="119"/>
                    </a:lnTo>
                    <a:lnTo>
                      <a:pt x="2585" y="119"/>
                    </a:lnTo>
                    <a:lnTo>
                      <a:pt x="2463" y="101"/>
                    </a:lnTo>
                    <a:lnTo>
                      <a:pt x="2336" y="82"/>
                    </a:lnTo>
                    <a:lnTo>
                      <a:pt x="2206" y="66"/>
                    </a:lnTo>
                    <a:lnTo>
                      <a:pt x="2072" y="52"/>
                    </a:lnTo>
                    <a:lnTo>
                      <a:pt x="1933" y="39"/>
                    </a:lnTo>
                    <a:lnTo>
                      <a:pt x="1791" y="28"/>
                    </a:lnTo>
                    <a:lnTo>
                      <a:pt x="1643" y="19"/>
                    </a:lnTo>
                    <a:lnTo>
                      <a:pt x="1492" y="12"/>
                    </a:lnTo>
                    <a:lnTo>
                      <a:pt x="1337" y="6"/>
                    </a:lnTo>
                    <a:lnTo>
                      <a:pt x="1177" y="2"/>
                    </a:lnTo>
                    <a:lnTo>
                      <a:pt x="1015" y="1"/>
                    </a:lnTo>
                    <a:lnTo>
                      <a:pt x="848" y="0"/>
                    </a:lnTo>
                    <a:lnTo>
                      <a:pt x="677" y="1"/>
                    </a:lnTo>
                    <a:lnTo>
                      <a:pt x="503" y="5"/>
                    </a:lnTo>
                    <a:lnTo>
                      <a:pt x="324" y="10"/>
                    </a:lnTo>
                    <a:lnTo>
                      <a:pt x="142" y="17"/>
                    </a:lnTo>
                    <a:lnTo>
                      <a:pt x="142" y="17"/>
                    </a:lnTo>
                    <a:lnTo>
                      <a:pt x="142" y="408"/>
                    </a:lnTo>
                    <a:lnTo>
                      <a:pt x="142" y="408"/>
                    </a:lnTo>
                    <a:lnTo>
                      <a:pt x="142" y="1151"/>
                    </a:lnTo>
                    <a:lnTo>
                      <a:pt x="142" y="1151"/>
                    </a:lnTo>
                    <a:lnTo>
                      <a:pt x="144" y="1301"/>
                    </a:lnTo>
                    <a:lnTo>
                      <a:pt x="148" y="1452"/>
                    </a:lnTo>
                    <a:lnTo>
                      <a:pt x="154" y="1601"/>
                    </a:lnTo>
                    <a:lnTo>
                      <a:pt x="165" y="1752"/>
                    </a:lnTo>
                    <a:lnTo>
                      <a:pt x="165" y="1752"/>
                    </a:lnTo>
                    <a:lnTo>
                      <a:pt x="187" y="2033"/>
                    </a:lnTo>
                    <a:lnTo>
                      <a:pt x="205" y="2306"/>
                    </a:lnTo>
                    <a:lnTo>
                      <a:pt x="215" y="2439"/>
                    </a:lnTo>
                    <a:lnTo>
                      <a:pt x="223" y="2571"/>
                    </a:lnTo>
                    <a:lnTo>
                      <a:pt x="228" y="2703"/>
                    </a:lnTo>
                    <a:lnTo>
                      <a:pt x="234" y="2833"/>
                    </a:lnTo>
                    <a:lnTo>
                      <a:pt x="236" y="2963"/>
                    </a:lnTo>
                    <a:lnTo>
                      <a:pt x="238" y="3095"/>
                    </a:lnTo>
                    <a:lnTo>
                      <a:pt x="236" y="3227"/>
                    </a:lnTo>
                    <a:lnTo>
                      <a:pt x="234" y="3361"/>
                    </a:lnTo>
                    <a:lnTo>
                      <a:pt x="227" y="3496"/>
                    </a:lnTo>
                    <a:lnTo>
                      <a:pt x="217" y="3633"/>
                    </a:lnTo>
                    <a:lnTo>
                      <a:pt x="205" y="3773"/>
                    </a:lnTo>
                    <a:lnTo>
                      <a:pt x="189" y="3916"/>
                    </a:lnTo>
                    <a:lnTo>
                      <a:pt x="189" y="3916"/>
                    </a:lnTo>
                    <a:lnTo>
                      <a:pt x="215" y="3883"/>
                    </a:lnTo>
                    <a:lnTo>
                      <a:pt x="240" y="3854"/>
                    </a:lnTo>
                    <a:lnTo>
                      <a:pt x="266" y="3825"/>
                    </a:lnTo>
                    <a:lnTo>
                      <a:pt x="293" y="3799"/>
                    </a:lnTo>
                    <a:lnTo>
                      <a:pt x="320" y="3773"/>
                    </a:lnTo>
                    <a:lnTo>
                      <a:pt x="348" y="3749"/>
                    </a:lnTo>
                    <a:lnTo>
                      <a:pt x="376" y="3726"/>
                    </a:lnTo>
                    <a:lnTo>
                      <a:pt x="406" y="3704"/>
                    </a:lnTo>
                    <a:lnTo>
                      <a:pt x="435" y="3684"/>
                    </a:lnTo>
                    <a:lnTo>
                      <a:pt x="466" y="3665"/>
                    </a:lnTo>
                    <a:lnTo>
                      <a:pt x="497" y="3648"/>
                    </a:lnTo>
                    <a:lnTo>
                      <a:pt x="529" y="3632"/>
                    </a:lnTo>
                    <a:lnTo>
                      <a:pt x="562" y="3617"/>
                    </a:lnTo>
                    <a:lnTo>
                      <a:pt x="594" y="3602"/>
                    </a:lnTo>
                    <a:lnTo>
                      <a:pt x="628" y="3590"/>
                    </a:lnTo>
                    <a:lnTo>
                      <a:pt x="661" y="3578"/>
                    </a:lnTo>
                    <a:lnTo>
                      <a:pt x="696" y="3567"/>
                    </a:lnTo>
                    <a:lnTo>
                      <a:pt x="731" y="3558"/>
                    </a:lnTo>
                    <a:lnTo>
                      <a:pt x="766" y="3548"/>
                    </a:lnTo>
                    <a:lnTo>
                      <a:pt x="802" y="3540"/>
                    </a:lnTo>
                    <a:lnTo>
                      <a:pt x="839" y="3534"/>
                    </a:lnTo>
                    <a:lnTo>
                      <a:pt x="875" y="3528"/>
                    </a:lnTo>
                    <a:lnTo>
                      <a:pt x="913" y="3523"/>
                    </a:lnTo>
                    <a:lnTo>
                      <a:pt x="952" y="3519"/>
                    </a:lnTo>
                    <a:lnTo>
                      <a:pt x="1028" y="3512"/>
                    </a:lnTo>
                    <a:lnTo>
                      <a:pt x="1108" y="3509"/>
                    </a:lnTo>
                    <a:lnTo>
                      <a:pt x="1187" y="3508"/>
                    </a:lnTo>
                    <a:lnTo>
                      <a:pt x="1270" y="3509"/>
                    </a:lnTo>
                    <a:lnTo>
                      <a:pt x="1270" y="3509"/>
                    </a:lnTo>
                    <a:lnTo>
                      <a:pt x="1304" y="3512"/>
                    </a:lnTo>
                    <a:lnTo>
                      <a:pt x="1350" y="3515"/>
                    </a:lnTo>
                    <a:lnTo>
                      <a:pt x="1403" y="3520"/>
                    </a:lnTo>
                    <a:lnTo>
                      <a:pt x="1463" y="3527"/>
                    </a:lnTo>
                    <a:lnTo>
                      <a:pt x="1520" y="3535"/>
                    </a:lnTo>
                    <a:lnTo>
                      <a:pt x="1574" y="3543"/>
                    </a:lnTo>
                    <a:lnTo>
                      <a:pt x="1618" y="3552"/>
                    </a:lnTo>
                    <a:lnTo>
                      <a:pt x="1637" y="3556"/>
                    </a:lnTo>
                    <a:lnTo>
                      <a:pt x="1651" y="3562"/>
                    </a:lnTo>
                    <a:lnTo>
                      <a:pt x="1651" y="3562"/>
                    </a:lnTo>
                    <a:lnTo>
                      <a:pt x="1719" y="3589"/>
                    </a:lnTo>
                    <a:lnTo>
                      <a:pt x="1783" y="3616"/>
                    </a:lnTo>
                    <a:lnTo>
                      <a:pt x="1842" y="3641"/>
                    </a:lnTo>
                    <a:lnTo>
                      <a:pt x="1897" y="3668"/>
                    </a:lnTo>
                    <a:lnTo>
                      <a:pt x="1948" y="3694"/>
                    </a:lnTo>
                    <a:lnTo>
                      <a:pt x="1995" y="3719"/>
                    </a:lnTo>
                    <a:lnTo>
                      <a:pt x="2038" y="3745"/>
                    </a:lnTo>
                    <a:lnTo>
                      <a:pt x="2078" y="3769"/>
                    </a:lnTo>
                    <a:lnTo>
                      <a:pt x="2115" y="3793"/>
                    </a:lnTo>
                    <a:lnTo>
                      <a:pt x="2147" y="3817"/>
                    </a:lnTo>
                    <a:lnTo>
                      <a:pt x="2176" y="3842"/>
                    </a:lnTo>
                    <a:lnTo>
                      <a:pt x="2203" y="3864"/>
                    </a:lnTo>
                    <a:lnTo>
                      <a:pt x="2228" y="3887"/>
                    </a:lnTo>
                    <a:lnTo>
                      <a:pt x="2249" y="3909"/>
                    </a:lnTo>
                    <a:lnTo>
                      <a:pt x="2268" y="3930"/>
                    </a:lnTo>
                    <a:lnTo>
                      <a:pt x="2285" y="3950"/>
                    </a:lnTo>
                    <a:lnTo>
                      <a:pt x="2300" y="3971"/>
                    </a:lnTo>
                    <a:lnTo>
                      <a:pt x="2312" y="3991"/>
                    </a:lnTo>
                    <a:lnTo>
                      <a:pt x="2323" y="4008"/>
                    </a:lnTo>
                    <a:lnTo>
                      <a:pt x="2332" y="4027"/>
                    </a:lnTo>
                    <a:lnTo>
                      <a:pt x="2340" y="4043"/>
                    </a:lnTo>
                    <a:lnTo>
                      <a:pt x="2346" y="4059"/>
                    </a:lnTo>
                    <a:lnTo>
                      <a:pt x="2355" y="4089"/>
                    </a:lnTo>
                    <a:lnTo>
                      <a:pt x="2362" y="4115"/>
                    </a:lnTo>
                    <a:lnTo>
                      <a:pt x="2365" y="4136"/>
                    </a:lnTo>
                    <a:lnTo>
                      <a:pt x="2367" y="4152"/>
                    </a:lnTo>
                    <a:lnTo>
                      <a:pt x="2371" y="4164"/>
                    </a:lnTo>
                    <a:lnTo>
                      <a:pt x="2371" y="4164"/>
                    </a:lnTo>
                    <a:lnTo>
                      <a:pt x="2385" y="4174"/>
                    </a:lnTo>
                    <a:lnTo>
                      <a:pt x="2385" y="4174"/>
                    </a:lnTo>
                    <a:lnTo>
                      <a:pt x="2379" y="4174"/>
                    </a:lnTo>
                    <a:lnTo>
                      <a:pt x="2377" y="4172"/>
                    </a:lnTo>
                    <a:lnTo>
                      <a:pt x="2373" y="4168"/>
                    </a:lnTo>
                    <a:lnTo>
                      <a:pt x="2371" y="4164"/>
                    </a:lnTo>
                    <a:lnTo>
                      <a:pt x="2371" y="4164"/>
                    </a:lnTo>
                    <a:lnTo>
                      <a:pt x="2336" y="4137"/>
                    </a:lnTo>
                    <a:lnTo>
                      <a:pt x="2303" y="4110"/>
                    </a:lnTo>
                    <a:lnTo>
                      <a:pt x="2268" y="4084"/>
                    </a:lnTo>
                    <a:lnTo>
                      <a:pt x="2233" y="4059"/>
                    </a:lnTo>
                    <a:lnTo>
                      <a:pt x="2198" y="4035"/>
                    </a:lnTo>
                    <a:lnTo>
                      <a:pt x="2162" y="4011"/>
                    </a:lnTo>
                    <a:lnTo>
                      <a:pt x="2125" y="3989"/>
                    </a:lnTo>
                    <a:lnTo>
                      <a:pt x="2089" y="3968"/>
                    </a:lnTo>
                    <a:lnTo>
                      <a:pt x="2053" y="3948"/>
                    </a:lnTo>
                    <a:lnTo>
                      <a:pt x="2016" y="3928"/>
                    </a:lnTo>
                    <a:lnTo>
                      <a:pt x="1979" y="3909"/>
                    </a:lnTo>
                    <a:lnTo>
                      <a:pt x="1943" y="3891"/>
                    </a:lnTo>
                    <a:lnTo>
                      <a:pt x="1905" y="3874"/>
                    </a:lnTo>
                    <a:lnTo>
                      <a:pt x="1867" y="3858"/>
                    </a:lnTo>
                    <a:lnTo>
                      <a:pt x="1793" y="3827"/>
                    </a:lnTo>
                    <a:lnTo>
                      <a:pt x="1718" y="3800"/>
                    </a:lnTo>
                    <a:lnTo>
                      <a:pt x="1643" y="3777"/>
                    </a:lnTo>
                    <a:lnTo>
                      <a:pt x="1567" y="3755"/>
                    </a:lnTo>
                    <a:lnTo>
                      <a:pt x="1492" y="3738"/>
                    </a:lnTo>
                    <a:lnTo>
                      <a:pt x="1418" y="3723"/>
                    </a:lnTo>
                    <a:lnTo>
                      <a:pt x="1344" y="3712"/>
                    </a:lnTo>
                    <a:lnTo>
                      <a:pt x="1272" y="3703"/>
                    </a:lnTo>
                    <a:lnTo>
                      <a:pt x="1200" y="3696"/>
                    </a:lnTo>
                    <a:lnTo>
                      <a:pt x="1130" y="3694"/>
                    </a:lnTo>
                    <a:lnTo>
                      <a:pt x="1062" y="3692"/>
                    </a:lnTo>
                    <a:lnTo>
                      <a:pt x="995" y="3695"/>
                    </a:lnTo>
                    <a:lnTo>
                      <a:pt x="929" y="3699"/>
                    </a:lnTo>
                    <a:lnTo>
                      <a:pt x="866" y="3706"/>
                    </a:lnTo>
                    <a:lnTo>
                      <a:pt x="804" y="3715"/>
                    </a:lnTo>
                    <a:lnTo>
                      <a:pt x="746" y="3727"/>
                    </a:lnTo>
                    <a:lnTo>
                      <a:pt x="689" y="3741"/>
                    </a:lnTo>
                    <a:lnTo>
                      <a:pt x="636" y="3757"/>
                    </a:lnTo>
                    <a:lnTo>
                      <a:pt x="585" y="3776"/>
                    </a:lnTo>
                    <a:lnTo>
                      <a:pt x="537" y="3796"/>
                    </a:lnTo>
                    <a:lnTo>
                      <a:pt x="515" y="3807"/>
                    </a:lnTo>
                    <a:lnTo>
                      <a:pt x="493" y="3817"/>
                    </a:lnTo>
                    <a:lnTo>
                      <a:pt x="472" y="3829"/>
                    </a:lnTo>
                    <a:lnTo>
                      <a:pt x="451" y="3842"/>
                    </a:lnTo>
                    <a:lnTo>
                      <a:pt x="433" y="3855"/>
                    </a:lnTo>
                    <a:lnTo>
                      <a:pt x="415" y="3868"/>
                    </a:lnTo>
                    <a:lnTo>
                      <a:pt x="398" y="3882"/>
                    </a:lnTo>
                    <a:lnTo>
                      <a:pt x="381" y="3897"/>
                    </a:lnTo>
                    <a:lnTo>
                      <a:pt x="367" y="3910"/>
                    </a:lnTo>
                    <a:lnTo>
                      <a:pt x="352" y="3926"/>
                    </a:lnTo>
                    <a:lnTo>
                      <a:pt x="352" y="3926"/>
                    </a:lnTo>
                    <a:lnTo>
                      <a:pt x="332" y="3950"/>
                    </a:lnTo>
                    <a:lnTo>
                      <a:pt x="312" y="3975"/>
                    </a:lnTo>
                    <a:lnTo>
                      <a:pt x="293" y="4000"/>
                    </a:lnTo>
                    <a:lnTo>
                      <a:pt x="274" y="4026"/>
                    </a:lnTo>
                    <a:lnTo>
                      <a:pt x="256" y="4051"/>
                    </a:lnTo>
                    <a:lnTo>
                      <a:pt x="240" y="4078"/>
                    </a:lnTo>
                    <a:lnTo>
                      <a:pt x="224" y="4105"/>
                    </a:lnTo>
                    <a:lnTo>
                      <a:pt x="209" y="4132"/>
                    </a:lnTo>
                    <a:lnTo>
                      <a:pt x="181" y="4188"/>
                    </a:lnTo>
                    <a:lnTo>
                      <a:pt x="156" y="4245"/>
                    </a:lnTo>
                    <a:lnTo>
                      <a:pt x="134" y="4301"/>
                    </a:lnTo>
                    <a:lnTo>
                      <a:pt x="114" y="4361"/>
                    </a:lnTo>
                    <a:lnTo>
                      <a:pt x="95" y="4418"/>
                    </a:lnTo>
                    <a:lnTo>
                      <a:pt x="79" y="4478"/>
                    </a:lnTo>
                    <a:lnTo>
                      <a:pt x="64" y="4538"/>
                    </a:lnTo>
                    <a:lnTo>
                      <a:pt x="51" y="4597"/>
                    </a:lnTo>
                    <a:lnTo>
                      <a:pt x="39" y="4656"/>
                    </a:lnTo>
                    <a:lnTo>
                      <a:pt x="27" y="4716"/>
                    </a:lnTo>
                    <a:lnTo>
                      <a:pt x="6" y="4833"/>
                    </a:lnTo>
                    <a:lnTo>
                      <a:pt x="6" y="4833"/>
                    </a:lnTo>
                    <a:lnTo>
                      <a:pt x="2" y="4851"/>
                    </a:lnTo>
                    <a:lnTo>
                      <a:pt x="1" y="4870"/>
                    </a:lnTo>
                    <a:lnTo>
                      <a:pt x="0" y="4908"/>
                    </a:lnTo>
                    <a:lnTo>
                      <a:pt x="1" y="4943"/>
                    </a:lnTo>
                    <a:lnTo>
                      <a:pt x="4" y="4978"/>
                    </a:lnTo>
                    <a:lnTo>
                      <a:pt x="10" y="5011"/>
                    </a:lnTo>
                    <a:lnTo>
                      <a:pt x="17" y="5045"/>
                    </a:lnTo>
                    <a:lnTo>
                      <a:pt x="25" y="5079"/>
                    </a:lnTo>
                    <a:lnTo>
                      <a:pt x="35" y="5112"/>
                    </a:lnTo>
                    <a:lnTo>
                      <a:pt x="53" y="5180"/>
                    </a:lnTo>
                    <a:lnTo>
                      <a:pt x="61" y="5215"/>
                    </a:lnTo>
                    <a:lnTo>
                      <a:pt x="68" y="5249"/>
                    </a:lnTo>
                    <a:lnTo>
                      <a:pt x="75" y="5286"/>
                    </a:lnTo>
                    <a:lnTo>
                      <a:pt x="79" y="5322"/>
                    </a:lnTo>
                    <a:lnTo>
                      <a:pt x="80" y="5361"/>
                    </a:lnTo>
                    <a:lnTo>
                      <a:pt x="80" y="5401"/>
                    </a:lnTo>
                    <a:lnTo>
                      <a:pt x="80" y="5401"/>
                    </a:lnTo>
                    <a:lnTo>
                      <a:pt x="321" y="5405"/>
                    </a:lnTo>
                    <a:lnTo>
                      <a:pt x="580" y="5412"/>
                    </a:lnTo>
                    <a:lnTo>
                      <a:pt x="1126" y="5424"/>
                    </a:lnTo>
                    <a:lnTo>
                      <a:pt x="1397" y="5430"/>
                    </a:lnTo>
                    <a:lnTo>
                      <a:pt x="1655" y="5434"/>
                    </a:lnTo>
                    <a:lnTo>
                      <a:pt x="1777" y="5434"/>
                    </a:lnTo>
                    <a:lnTo>
                      <a:pt x="1894" y="5434"/>
                    </a:lnTo>
                    <a:lnTo>
                      <a:pt x="2004" y="5432"/>
                    </a:lnTo>
                    <a:lnTo>
                      <a:pt x="2105" y="5430"/>
                    </a:lnTo>
                    <a:lnTo>
                      <a:pt x="2105" y="5430"/>
                    </a:lnTo>
                    <a:lnTo>
                      <a:pt x="2217" y="5424"/>
                    </a:lnTo>
                    <a:lnTo>
                      <a:pt x="2319" y="5419"/>
                    </a:lnTo>
                    <a:lnTo>
                      <a:pt x="2412" y="5411"/>
                    </a:lnTo>
                    <a:lnTo>
                      <a:pt x="2495" y="5401"/>
                    </a:lnTo>
                    <a:lnTo>
                      <a:pt x="2570" y="5391"/>
                    </a:lnTo>
                    <a:lnTo>
                      <a:pt x="2639" y="5379"/>
                    </a:lnTo>
                    <a:lnTo>
                      <a:pt x="2699" y="5366"/>
                    </a:lnTo>
                    <a:lnTo>
                      <a:pt x="2752" y="5353"/>
                    </a:lnTo>
                    <a:lnTo>
                      <a:pt x="2752" y="5353"/>
                    </a:lnTo>
                    <a:lnTo>
                      <a:pt x="2752" y="5345"/>
                    </a:lnTo>
                    <a:lnTo>
                      <a:pt x="2752" y="5338"/>
                    </a:lnTo>
                    <a:lnTo>
                      <a:pt x="2756" y="5325"/>
                    </a:lnTo>
                    <a:lnTo>
                      <a:pt x="2761" y="5313"/>
                    </a:lnTo>
                    <a:lnTo>
                      <a:pt x="2769" y="5301"/>
                    </a:lnTo>
                    <a:lnTo>
                      <a:pt x="2779" y="5290"/>
                    </a:lnTo>
                    <a:lnTo>
                      <a:pt x="2790" y="5279"/>
                    </a:lnTo>
                    <a:lnTo>
                      <a:pt x="2814" y="5259"/>
                    </a:lnTo>
                    <a:lnTo>
                      <a:pt x="2838" y="5236"/>
                    </a:lnTo>
                    <a:lnTo>
                      <a:pt x="2850" y="5224"/>
                    </a:lnTo>
                    <a:lnTo>
                      <a:pt x="2859" y="5210"/>
                    </a:lnTo>
                    <a:lnTo>
                      <a:pt x="2869" y="5196"/>
                    </a:lnTo>
                    <a:lnTo>
                      <a:pt x="2876" y="5181"/>
                    </a:lnTo>
                    <a:lnTo>
                      <a:pt x="2880" y="5162"/>
                    </a:lnTo>
                    <a:lnTo>
                      <a:pt x="2881" y="5143"/>
                    </a:lnTo>
                    <a:lnTo>
                      <a:pt x="2881" y="5143"/>
                    </a:lnTo>
                    <a:lnTo>
                      <a:pt x="2881" y="5099"/>
                    </a:lnTo>
                    <a:lnTo>
                      <a:pt x="2880" y="5053"/>
                    </a:lnTo>
                    <a:lnTo>
                      <a:pt x="2877" y="5007"/>
                    </a:lnTo>
                    <a:lnTo>
                      <a:pt x="2874" y="4960"/>
                    </a:lnTo>
                    <a:lnTo>
                      <a:pt x="2866" y="4865"/>
                    </a:lnTo>
                    <a:lnTo>
                      <a:pt x="2854" y="4767"/>
                    </a:lnTo>
                    <a:lnTo>
                      <a:pt x="2854" y="4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69" name="Group 368"/>
            <p:cNvGrpSpPr>
              <a:grpSpLocks noChangeAspect="1"/>
            </p:cNvGrpSpPr>
            <p:nvPr/>
          </p:nvGrpSpPr>
          <p:grpSpPr>
            <a:xfrm>
              <a:off x="7249045" y="2751280"/>
              <a:ext cx="396404" cy="524251"/>
              <a:chOff x="22634575" y="-784225"/>
              <a:chExt cx="4724401" cy="5680075"/>
            </a:xfrm>
            <a:solidFill>
              <a:srgbClr val="008DB5"/>
            </a:solidFill>
          </p:grpSpPr>
          <p:sp>
            <p:nvSpPr>
              <p:cNvPr id="394" name="Freeform 164"/>
              <p:cNvSpPr>
                <a:spLocks/>
              </p:cNvSpPr>
              <p:nvPr/>
            </p:nvSpPr>
            <p:spPr bwMode="auto">
              <a:xfrm>
                <a:off x="22720300" y="4505325"/>
                <a:ext cx="2135188" cy="390525"/>
              </a:xfrm>
              <a:custGeom>
                <a:avLst/>
                <a:gdLst>
                  <a:gd name="T0" fmla="*/ 1386 w 2689"/>
                  <a:gd name="T1" fmla="*/ 472 h 492"/>
                  <a:gd name="T2" fmla="*/ 1838 w 2689"/>
                  <a:gd name="T3" fmla="*/ 470 h 492"/>
                  <a:gd name="T4" fmla="*/ 2150 w 2689"/>
                  <a:gd name="T5" fmla="*/ 464 h 492"/>
                  <a:gd name="T6" fmla="*/ 2293 w 2689"/>
                  <a:gd name="T7" fmla="*/ 458 h 492"/>
                  <a:gd name="T8" fmla="*/ 2422 w 2689"/>
                  <a:gd name="T9" fmla="*/ 449 h 492"/>
                  <a:gd name="T10" fmla="*/ 2533 w 2689"/>
                  <a:gd name="T11" fmla="*/ 436 h 492"/>
                  <a:gd name="T12" fmla="*/ 2543 w 2689"/>
                  <a:gd name="T13" fmla="*/ 433 h 492"/>
                  <a:gd name="T14" fmla="*/ 2565 w 2689"/>
                  <a:gd name="T15" fmla="*/ 426 h 492"/>
                  <a:gd name="T16" fmla="*/ 2584 w 2689"/>
                  <a:gd name="T17" fmla="*/ 417 h 492"/>
                  <a:gd name="T18" fmla="*/ 2600 w 2689"/>
                  <a:gd name="T19" fmla="*/ 405 h 492"/>
                  <a:gd name="T20" fmla="*/ 2623 w 2689"/>
                  <a:gd name="T21" fmla="*/ 380 h 492"/>
                  <a:gd name="T22" fmla="*/ 2646 w 2689"/>
                  <a:gd name="T23" fmla="*/ 339 h 492"/>
                  <a:gd name="T24" fmla="*/ 2665 w 2689"/>
                  <a:gd name="T25" fmla="*/ 288 h 492"/>
                  <a:gd name="T26" fmla="*/ 2677 w 2689"/>
                  <a:gd name="T27" fmla="*/ 228 h 492"/>
                  <a:gd name="T28" fmla="*/ 2685 w 2689"/>
                  <a:gd name="T29" fmla="*/ 161 h 492"/>
                  <a:gd name="T30" fmla="*/ 2689 w 2689"/>
                  <a:gd name="T31" fmla="*/ 89 h 492"/>
                  <a:gd name="T32" fmla="*/ 2689 w 2689"/>
                  <a:gd name="T33" fmla="*/ 51 h 492"/>
                  <a:gd name="T34" fmla="*/ 2187 w 2689"/>
                  <a:gd name="T35" fmla="*/ 60 h 492"/>
                  <a:gd name="T36" fmla="*/ 1368 w 2689"/>
                  <a:gd name="T37" fmla="*/ 79 h 492"/>
                  <a:gd name="T38" fmla="*/ 987 w 2689"/>
                  <a:gd name="T39" fmla="*/ 83 h 492"/>
                  <a:gd name="T40" fmla="*/ 759 w 2689"/>
                  <a:gd name="T41" fmla="*/ 81 h 492"/>
                  <a:gd name="T42" fmla="*/ 657 w 2689"/>
                  <a:gd name="T43" fmla="*/ 78 h 492"/>
                  <a:gd name="T44" fmla="*/ 438 w 2689"/>
                  <a:gd name="T45" fmla="*/ 67 h 492"/>
                  <a:gd name="T46" fmla="*/ 259 w 2689"/>
                  <a:gd name="T47" fmla="*/ 50 h 492"/>
                  <a:gd name="T48" fmla="*/ 114 w 2689"/>
                  <a:gd name="T49" fmla="*/ 27 h 492"/>
                  <a:gd name="T50" fmla="*/ 0 w 2689"/>
                  <a:gd name="T51" fmla="*/ 0 h 492"/>
                  <a:gd name="T52" fmla="*/ 0 w 2689"/>
                  <a:gd name="T53" fmla="*/ 35 h 492"/>
                  <a:gd name="T54" fmla="*/ 4 w 2689"/>
                  <a:gd name="T55" fmla="*/ 107 h 492"/>
                  <a:gd name="T56" fmla="*/ 16 w 2689"/>
                  <a:gd name="T57" fmla="*/ 181 h 492"/>
                  <a:gd name="T58" fmla="*/ 39 w 2689"/>
                  <a:gd name="T59" fmla="*/ 257 h 492"/>
                  <a:gd name="T60" fmla="*/ 53 w 2689"/>
                  <a:gd name="T61" fmla="*/ 297 h 492"/>
                  <a:gd name="T62" fmla="*/ 66 w 2689"/>
                  <a:gd name="T63" fmla="*/ 323 h 492"/>
                  <a:gd name="T64" fmla="*/ 82 w 2689"/>
                  <a:gd name="T65" fmla="*/ 345 h 492"/>
                  <a:gd name="T66" fmla="*/ 102 w 2689"/>
                  <a:gd name="T67" fmla="*/ 367 h 492"/>
                  <a:gd name="T68" fmla="*/ 125 w 2689"/>
                  <a:gd name="T69" fmla="*/ 386 h 492"/>
                  <a:gd name="T70" fmla="*/ 150 w 2689"/>
                  <a:gd name="T71" fmla="*/ 403 h 492"/>
                  <a:gd name="T72" fmla="*/ 211 w 2689"/>
                  <a:gd name="T73" fmla="*/ 431 h 492"/>
                  <a:gd name="T74" fmla="*/ 282 w 2689"/>
                  <a:gd name="T75" fmla="*/ 454 h 492"/>
                  <a:gd name="T76" fmla="*/ 361 w 2689"/>
                  <a:gd name="T77" fmla="*/ 470 h 492"/>
                  <a:gd name="T78" fmla="*/ 449 w 2689"/>
                  <a:gd name="T79" fmla="*/ 481 h 492"/>
                  <a:gd name="T80" fmla="*/ 541 w 2689"/>
                  <a:gd name="T81" fmla="*/ 488 h 492"/>
                  <a:gd name="T82" fmla="*/ 691 w 2689"/>
                  <a:gd name="T83" fmla="*/ 492 h 492"/>
                  <a:gd name="T84" fmla="*/ 896 w 2689"/>
                  <a:gd name="T85" fmla="*/ 488 h 492"/>
                  <a:gd name="T86" fmla="*/ 1202 w 2689"/>
                  <a:gd name="T87" fmla="*/ 476 h 492"/>
                  <a:gd name="T88" fmla="*/ 1386 w 2689"/>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89" h="492">
                    <a:moveTo>
                      <a:pt x="1386" y="472"/>
                    </a:moveTo>
                    <a:lnTo>
                      <a:pt x="1386" y="472"/>
                    </a:lnTo>
                    <a:lnTo>
                      <a:pt x="1680" y="472"/>
                    </a:lnTo>
                    <a:lnTo>
                      <a:pt x="1838" y="470"/>
                    </a:lnTo>
                    <a:lnTo>
                      <a:pt x="1996" y="468"/>
                    </a:lnTo>
                    <a:lnTo>
                      <a:pt x="2150" y="464"/>
                    </a:lnTo>
                    <a:lnTo>
                      <a:pt x="2223" y="461"/>
                    </a:lnTo>
                    <a:lnTo>
                      <a:pt x="2293" y="458"/>
                    </a:lnTo>
                    <a:lnTo>
                      <a:pt x="2361" y="453"/>
                    </a:lnTo>
                    <a:lnTo>
                      <a:pt x="2422" y="449"/>
                    </a:lnTo>
                    <a:lnTo>
                      <a:pt x="2480" y="442"/>
                    </a:lnTo>
                    <a:lnTo>
                      <a:pt x="2533" y="436"/>
                    </a:lnTo>
                    <a:lnTo>
                      <a:pt x="2533" y="436"/>
                    </a:lnTo>
                    <a:lnTo>
                      <a:pt x="2543" y="433"/>
                    </a:lnTo>
                    <a:lnTo>
                      <a:pt x="2554" y="430"/>
                    </a:lnTo>
                    <a:lnTo>
                      <a:pt x="2565" y="426"/>
                    </a:lnTo>
                    <a:lnTo>
                      <a:pt x="2574" y="422"/>
                    </a:lnTo>
                    <a:lnTo>
                      <a:pt x="2584" y="417"/>
                    </a:lnTo>
                    <a:lnTo>
                      <a:pt x="2592" y="411"/>
                    </a:lnTo>
                    <a:lnTo>
                      <a:pt x="2600" y="405"/>
                    </a:lnTo>
                    <a:lnTo>
                      <a:pt x="2608" y="397"/>
                    </a:lnTo>
                    <a:lnTo>
                      <a:pt x="2623" y="380"/>
                    </a:lnTo>
                    <a:lnTo>
                      <a:pt x="2635" y="360"/>
                    </a:lnTo>
                    <a:lnTo>
                      <a:pt x="2646" y="339"/>
                    </a:lnTo>
                    <a:lnTo>
                      <a:pt x="2656" y="314"/>
                    </a:lnTo>
                    <a:lnTo>
                      <a:pt x="2665" y="288"/>
                    </a:lnTo>
                    <a:lnTo>
                      <a:pt x="2671" y="259"/>
                    </a:lnTo>
                    <a:lnTo>
                      <a:pt x="2677" y="228"/>
                    </a:lnTo>
                    <a:lnTo>
                      <a:pt x="2681" y="196"/>
                    </a:lnTo>
                    <a:lnTo>
                      <a:pt x="2685" y="161"/>
                    </a:lnTo>
                    <a:lnTo>
                      <a:pt x="2687" y="126"/>
                    </a:lnTo>
                    <a:lnTo>
                      <a:pt x="2689" y="89"/>
                    </a:lnTo>
                    <a:lnTo>
                      <a:pt x="2689" y="51"/>
                    </a:lnTo>
                    <a:lnTo>
                      <a:pt x="2689" y="51"/>
                    </a:lnTo>
                    <a:lnTo>
                      <a:pt x="2448" y="55"/>
                    </a:lnTo>
                    <a:lnTo>
                      <a:pt x="2187" y="60"/>
                    </a:lnTo>
                    <a:lnTo>
                      <a:pt x="1640" y="74"/>
                    </a:lnTo>
                    <a:lnTo>
                      <a:pt x="1368" y="79"/>
                    </a:lnTo>
                    <a:lnTo>
                      <a:pt x="1109" y="82"/>
                    </a:lnTo>
                    <a:lnTo>
                      <a:pt x="987" y="83"/>
                    </a:lnTo>
                    <a:lnTo>
                      <a:pt x="870" y="82"/>
                    </a:lnTo>
                    <a:lnTo>
                      <a:pt x="759" y="81"/>
                    </a:lnTo>
                    <a:lnTo>
                      <a:pt x="657" y="78"/>
                    </a:lnTo>
                    <a:lnTo>
                      <a:pt x="657" y="78"/>
                    </a:lnTo>
                    <a:lnTo>
                      <a:pt x="543" y="74"/>
                    </a:lnTo>
                    <a:lnTo>
                      <a:pt x="438" y="67"/>
                    </a:lnTo>
                    <a:lnTo>
                      <a:pt x="344" y="59"/>
                    </a:lnTo>
                    <a:lnTo>
                      <a:pt x="259" y="50"/>
                    </a:lnTo>
                    <a:lnTo>
                      <a:pt x="182" y="39"/>
                    </a:lnTo>
                    <a:lnTo>
                      <a:pt x="114" y="27"/>
                    </a:lnTo>
                    <a:lnTo>
                      <a:pt x="52" y="13"/>
                    </a:lnTo>
                    <a:lnTo>
                      <a:pt x="0" y="0"/>
                    </a:lnTo>
                    <a:lnTo>
                      <a:pt x="0" y="0"/>
                    </a:lnTo>
                    <a:lnTo>
                      <a:pt x="0" y="35"/>
                    </a:lnTo>
                    <a:lnTo>
                      <a:pt x="1" y="71"/>
                    </a:lnTo>
                    <a:lnTo>
                      <a:pt x="4" y="107"/>
                    </a:lnTo>
                    <a:lnTo>
                      <a:pt x="9" y="144"/>
                    </a:lnTo>
                    <a:lnTo>
                      <a:pt x="16" y="181"/>
                    </a:lnTo>
                    <a:lnTo>
                      <a:pt x="27" y="219"/>
                    </a:lnTo>
                    <a:lnTo>
                      <a:pt x="39" y="257"/>
                    </a:lnTo>
                    <a:lnTo>
                      <a:pt x="53" y="297"/>
                    </a:lnTo>
                    <a:lnTo>
                      <a:pt x="53" y="297"/>
                    </a:lnTo>
                    <a:lnTo>
                      <a:pt x="59" y="310"/>
                    </a:lnTo>
                    <a:lnTo>
                      <a:pt x="66" y="323"/>
                    </a:lnTo>
                    <a:lnTo>
                      <a:pt x="74" y="335"/>
                    </a:lnTo>
                    <a:lnTo>
                      <a:pt x="82" y="345"/>
                    </a:lnTo>
                    <a:lnTo>
                      <a:pt x="91" y="356"/>
                    </a:lnTo>
                    <a:lnTo>
                      <a:pt x="102" y="367"/>
                    </a:lnTo>
                    <a:lnTo>
                      <a:pt x="113" y="376"/>
                    </a:lnTo>
                    <a:lnTo>
                      <a:pt x="125" y="386"/>
                    </a:lnTo>
                    <a:lnTo>
                      <a:pt x="137" y="395"/>
                    </a:lnTo>
                    <a:lnTo>
                      <a:pt x="150" y="403"/>
                    </a:lnTo>
                    <a:lnTo>
                      <a:pt x="180" y="418"/>
                    </a:lnTo>
                    <a:lnTo>
                      <a:pt x="211" y="431"/>
                    </a:lnTo>
                    <a:lnTo>
                      <a:pt x="246" y="444"/>
                    </a:lnTo>
                    <a:lnTo>
                      <a:pt x="282" y="454"/>
                    </a:lnTo>
                    <a:lnTo>
                      <a:pt x="321" y="464"/>
                    </a:lnTo>
                    <a:lnTo>
                      <a:pt x="361" y="470"/>
                    </a:lnTo>
                    <a:lnTo>
                      <a:pt x="404" y="477"/>
                    </a:lnTo>
                    <a:lnTo>
                      <a:pt x="449" y="481"/>
                    </a:lnTo>
                    <a:lnTo>
                      <a:pt x="494" y="485"/>
                    </a:lnTo>
                    <a:lnTo>
                      <a:pt x="541" y="488"/>
                    </a:lnTo>
                    <a:lnTo>
                      <a:pt x="590" y="491"/>
                    </a:lnTo>
                    <a:lnTo>
                      <a:pt x="691" y="492"/>
                    </a:lnTo>
                    <a:lnTo>
                      <a:pt x="793" y="491"/>
                    </a:lnTo>
                    <a:lnTo>
                      <a:pt x="896" y="488"/>
                    </a:lnTo>
                    <a:lnTo>
                      <a:pt x="1000" y="484"/>
                    </a:lnTo>
                    <a:lnTo>
                      <a:pt x="1202" y="476"/>
                    </a:lnTo>
                    <a:lnTo>
                      <a:pt x="1296" y="472"/>
                    </a:lnTo>
                    <a:lnTo>
                      <a:pt x="1386" y="472"/>
                    </a:lnTo>
                    <a:lnTo>
                      <a:pt x="1386"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5" name="Freeform 165"/>
              <p:cNvSpPr>
                <a:spLocks/>
              </p:cNvSpPr>
              <p:nvPr/>
            </p:nvSpPr>
            <p:spPr bwMode="auto">
              <a:xfrm>
                <a:off x="25130125" y="4505325"/>
                <a:ext cx="2136775" cy="390525"/>
              </a:xfrm>
              <a:custGeom>
                <a:avLst/>
                <a:gdLst>
                  <a:gd name="T0" fmla="*/ 1302 w 2690"/>
                  <a:gd name="T1" fmla="*/ 472 h 492"/>
                  <a:gd name="T2" fmla="*/ 851 w 2690"/>
                  <a:gd name="T3" fmla="*/ 470 h 492"/>
                  <a:gd name="T4" fmla="*/ 539 w 2690"/>
                  <a:gd name="T5" fmla="*/ 464 h 492"/>
                  <a:gd name="T6" fmla="*/ 395 w 2690"/>
                  <a:gd name="T7" fmla="*/ 458 h 492"/>
                  <a:gd name="T8" fmla="*/ 266 w 2690"/>
                  <a:gd name="T9" fmla="*/ 449 h 492"/>
                  <a:gd name="T10" fmla="*/ 156 w 2690"/>
                  <a:gd name="T11" fmla="*/ 436 h 492"/>
                  <a:gd name="T12" fmla="*/ 145 w 2690"/>
                  <a:gd name="T13" fmla="*/ 433 h 492"/>
                  <a:gd name="T14" fmla="*/ 123 w 2690"/>
                  <a:gd name="T15" fmla="*/ 426 h 492"/>
                  <a:gd name="T16" fmla="*/ 106 w 2690"/>
                  <a:gd name="T17" fmla="*/ 417 h 492"/>
                  <a:gd name="T18" fmla="*/ 88 w 2690"/>
                  <a:gd name="T19" fmla="*/ 405 h 492"/>
                  <a:gd name="T20" fmla="*/ 65 w 2690"/>
                  <a:gd name="T21" fmla="*/ 380 h 492"/>
                  <a:gd name="T22" fmla="*/ 43 w 2690"/>
                  <a:gd name="T23" fmla="*/ 339 h 492"/>
                  <a:gd name="T24" fmla="*/ 24 w 2690"/>
                  <a:gd name="T25" fmla="*/ 288 h 492"/>
                  <a:gd name="T26" fmla="*/ 12 w 2690"/>
                  <a:gd name="T27" fmla="*/ 228 h 492"/>
                  <a:gd name="T28" fmla="*/ 4 w 2690"/>
                  <a:gd name="T29" fmla="*/ 161 h 492"/>
                  <a:gd name="T30" fmla="*/ 1 w 2690"/>
                  <a:gd name="T31" fmla="*/ 89 h 492"/>
                  <a:gd name="T32" fmla="*/ 0 w 2690"/>
                  <a:gd name="T33" fmla="*/ 51 h 492"/>
                  <a:gd name="T34" fmla="*/ 501 w 2690"/>
                  <a:gd name="T35" fmla="*/ 60 h 492"/>
                  <a:gd name="T36" fmla="*/ 1320 w 2690"/>
                  <a:gd name="T37" fmla="*/ 79 h 492"/>
                  <a:gd name="T38" fmla="*/ 1702 w 2690"/>
                  <a:gd name="T39" fmla="*/ 83 h 492"/>
                  <a:gd name="T40" fmla="*/ 1929 w 2690"/>
                  <a:gd name="T41" fmla="*/ 81 h 492"/>
                  <a:gd name="T42" fmla="*/ 2031 w 2690"/>
                  <a:gd name="T43" fmla="*/ 78 h 492"/>
                  <a:gd name="T44" fmla="*/ 2250 w 2690"/>
                  <a:gd name="T45" fmla="*/ 67 h 492"/>
                  <a:gd name="T46" fmla="*/ 2431 w 2690"/>
                  <a:gd name="T47" fmla="*/ 50 h 492"/>
                  <a:gd name="T48" fmla="*/ 2576 w 2690"/>
                  <a:gd name="T49" fmla="*/ 27 h 492"/>
                  <a:gd name="T50" fmla="*/ 2690 w 2690"/>
                  <a:gd name="T51" fmla="*/ 0 h 492"/>
                  <a:gd name="T52" fmla="*/ 2689 w 2690"/>
                  <a:gd name="T53" fmla="*/ 35 h 492"/>
                  <a:gd name="T54" fmla="*/ 2685 w 2690"/>
                  <a:gd name="T55" fmla="*/ 107 h 492"/>
                  <a:gd name="T56" fmla="*/ 2673 w 2690"/>
                  <a:gd name="T57" fmla="*/ 181 h 492"/>
                  <a:gd name="T58" fmla="*/ 2651 w 2690"/>
                  <a:gd name="T59" fmla="*/ 257 h 492"/>
                  <a:gd name="T60" fmla="*/ 2635 w 2690"/>
                  <a:gd name="T61" fmla="*/ 297 h 492"/>
                  <a:gd name="T62" fmla="*/ 2623 w 2690"/>
                  <a:gd name="T63" fmla="*/ 323 h 492"/>
                  <a:gd name="T64" fmla="*/ 2607 w 2690"/>
                  <a:gd name="T65" fmla="*/ 345 h 492"/>
                  <a:gd name="T66" fmla="*/ 2586 w 2690"/>
                  <a:gd name="T67" fmla="*/ 367 h 492"/>
                  <a:gd name="T68" fmla="*/ 2564 w 2690"/>
                  <a:gd name="T69" fmla="*/ 386 h 492"/>
                  <a:gd name="T70" fmla="*/ 2538 w 2690"/>
                  <a:gd name="T71" fmla="*/ 403 h 492"/>
                  <a:gd name="T72" fmla="*/ 2478 w 2690"/>
                  <a:gd name="T73" fmla="*/ 431 h 492"/>
                  <a:gd name="T74" fmla="*/ 2406 w 2690"/>
                  <a:gd name="T75" fmla="*/ 454 h 492"/>
                  <a:gd name="T76" fmla="*/ 2327 w 2690"/>
                  <a:gd name="T77" fmla="*/ 470 h 492"/>
                  <a:gd name="T78" fmla="*/ 2240 w 2690"/>
                  <a:gd name="T79" fmla="*/ 481 h 492"/>
                  <a:gd name="T80" fmla="*/ 2147 w 2690"/>
                  <a:gd name="T81" fmla="*/ 488 h 492"/>
                  <a:gd name="T82" fmla="*/ 1999 w 2690"/>
                  <a:gd name="T83" fmla="*/ 492 h 492"/>
                  <a:gd name="T84" fmla="*/ 1792 w 2690"/>
                  <a:gd name="T85" fmla="*/ 488 h 492"/>
                  <a:gd name="T86" fmla="*/ 1487 w 2690"/>
                  <a:gd name="T87" fmla="*/ 476 h 492"/>
                  <a:gd name="T88" fmla="*/ 1302 w 2690"/>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90" h="492">
                    <a:moveTo>
                      <a:pt x="1302" y="472"/>
                    </a:moveTo>
                    <a:lnTo>
                      <a:pt x="1302" y="472"/>
                    </a:lnTo>
                    <a:lnTo>
                      <a:pt x="1008" y="472"/>
                    </a:lnTo>
                    <a:lnTo>
                      <a:pt x="851" y="470"/>
                    </a:lnTo>
                    <a:lnTo>
                      <a:pt x="692" y="468"/>
                    </a:lnTo>
                    <a:lnTo>
                      <a:pt x="539" y="464"/>
                    </a:lnTo>
                    <a:lnTo>
                      <a:pt x="466" y="461"/>
                    </a:lnTo>
                    <a:lnTo>
                      <a:pt x="395" y="458"/>
                    </a:lnTo>
                    <a:lnTo>
                      <a:pt x="328" y="453"/>
                    </a:lnTo>
                    <a:lnTo>
                      <a:pt x="266" y="449"/>
                    </a:lnTo>
                    <a:lnTo>
                      <a:pt x="208" y="442"/>
                    </a:lnTo>
                    <a:lnTo>
                      <a:pt x="156" y="436"/>
                    </a:lnTo>
                    <a:lnTo>
                      <a:pt x="156" y="436"/>
                    </a:lnTo>
                    <a:lnTo>
                      <a:pt x="145" y="433"/>
                    </a:lnTo>
                    <a:lnTo>
                      <a:pt x="134" y="430"/>
                    </a:lnTo>
                    <a:lnTo>
                      <a:pt x="123" y="426"/>
                    </a:lnTo>
                    <a:lnTo>
                      <a:pt x="114" y="422"/>
                    </a:lnTo>
                    <a:lnTo>
                      <a:pt x="106" y="417"/>
                    </a:lnTo>
                    <a:lnTo>
                      <a:pt x="96" y="411"/>
                    </a:lnTo>
                    <a:lnTo>
                      <a:pt x="88" y="405"/>
                    </a:lnTo>
                    <a:lnTo>
                      <a:pt x="80" y="397"/>
                    </a:lnTo>
                    <a:lnTo>
                      <a:pt x="65" y="380"/>
                    </a:lnTo>
                    <a:lnTo>
                      <a:pt x="53" y="360"/>
                    </a:lnTo>
                    <a:lnTo>
                      <a:pt x="43" y="339"/>
                    </a:lnTo>
                    <a:lnTo>
                      <a:pt x="33" y="314"/>
                    </a:lnTo>
                    <a:lnTo>
                      <a:pt x="24" y="288"/>
                    </a:lnTo>
                    <a:lnTo>
                      <a:pt x="17" y="259"/>
                    </a:lnTo>
                    <a:lnTo>
                      <a:pt x="12" y="228"/>
                    </a:lnTo>
                    <a:lnTo>
                      <a:pt x="8" y="196"/>
                    </a:lnTo>
                    <a:lnTo>
                      <a:pt x="4" y="161"/>
                    </a:lnTo>
                    <a:lnTo>
                      <a:pt x="2" y="126"/>
                    </a:lnTo>
                    <a:lnTo>
                      <a:pt x="1" y="89"/>
                    </a:lnTo>
                    <a:lnTo>
                      <a:pt x="0" y="51"/>
                    </a:lnTo>
                    <a:lnTo>
                      <a:pt x="0" y="51"/>
                    </a:lnTo>
                    <a:lnTo>
                      <a:pt x="240" y="55"/>
                    </a:lnTo>
                    <a:lnTo>
                      <a:pt x="501" y="60"/>
                    </a:lnTo>
                    <a:lnTo>
                      <a:pt x="1048" y="74"/>
                    </a:lnTo>
                    <a:lnTo>
                      <a:pt x="1320" y="79"/>
                    </a:lnTo>
                    <a:lnTo>
                      <a:pt x="1579" y="82"/>
                    </a:lnTo>
                    <a:lnTo>
                      <a:pt x="1702" y="83"/>
                    </a:lnTo>
                    <a:lnTo>
                      <a:pt x="1819" y="82"/>
                    </a:lnTo>
                    <a:lnTo>
                      <a:pt x="1929" y="81"/>
                    </a:lnTo>
                    <a:lnTo>
                      <a:pt x="2031" y="78"/>
                    </a:lnTo>
                    <a:lnTo>
                      <a:pt x="2031" y="78"/>
                    </a:lnTo>
                    <a:lnTo>
                      <a:pt x="2145" y="74"/>
                    </a:lnTo>
                    <a:lnTo>
                      <a:pt x="2250" y="67"/>
                    </a:lnTo>
                    <a:lnTo>
                      <a:pt x="2344" y="59"/>
                    </a:lnTo>
                    <a:lnTo>
                      <a:pt x="2431" y="50"/>
                    </a:lnTo>
                    <a:lnTo>
                      <a:pt x="2507" y="39"/>
                    </a:lnTo>
                    <a:lnTo>
                      <a:pt x="2576" y="27"/>
                    </a:lnTo>
                    <a:lnTo>
                      <a:pt x="2636" y="13"/>
                    </a:lnTo>
                    <a:lnTo>
                      <a:pt x="2690" y="0"/>
                    </a:lnTo>
                    <a:lnTo>
                      <a:pt x="2690" y="0"/>
                    </a:lnTo>
                    <a:lnTo>
                      <a:pt x="2689" y="35"/>
                    </a:lnTo>
                    <a:lnTo>
                      <a:pt x="2687" y="71"/>
                    </a:lnTo>
                    <a:lnTo>
                      <a:pt x="2685" y="107"/>
                    </a:lnTo>
                    <a:lnTo>
                      <a:pt x="2679" y="144"/>
                    </a:lnTo>
                    <a:lnTo>
                      <a:pt x="2673" y="181"/>
                    </a:lnTo>
                    <a:lnTo>
                      <a:pt x="2663" y="219"/>
                    </a:lnTo>
                    <a:lnTo>
                      <a:pt x="2651" y="257"/>
                    </a:lnTo>
                    <a:lnTo>
                      <a:pt x="2635" y="297"/>
                    </a:lnTo>
                    <a:lnTo>
                      <a:pt x="2635" y="297"/>
                    </a:lnTo>
                    <a:lnTo>
                      <a:pt x="2630" y="310"/>
                    </a:lnTo>
                    <a:lnTo>
                      <a:pt x="2623" y="323"/>
                    </a:lnTo>
                    <a:lnTo>
                      <a:pt x="2615" y="335"/>
                    </a:lnTo>
                    <a:lnTo>
                      <a:pt x="2607" y="345"/>
                    </a:lnTo>
                    <a:lnTo>
                      <a:pt x="2597" y="356"/>
                    </a:lnTo>
                    <a:lnTo>
                      <a:pt x="2586" y="367"/>
                    </a:lnTo>
                    <a:lnTo>
                      <a:pt x="2576" y="376"/>
                    </a:lnTo>
                    <a:lnTo>
                      <a:pt x="2564" y="386"/>
                    </a:lnTo>
                    <a:lnTo>
                      <a:pt x="2552" y="395"/>
                    </a:lnTo>
                    <a:lnTo>
                      <a:pt x="2538" y="403"/>
                    </a:lnTo>
                    <a:lnTo>
                      <a:pt x="2509" y="418"/>
                    </a:lnTo>
                    <a:lnTo>
                      <a:pt x="2478" y="431"/>
                    </a:lnTo>
                    <a:lnTo>
                      <a:pt x="2443" y="444"/>
                    </a:lnTo>
                    <a:lnTo>
                      <a:pt x="2406" y="454"/>
                    </a:lnTo>
                    <a:lnTo>
                      <a:pt x="2367" y="464"/>
                    </a:lnTo>
                    <a:lnTo>
                      <a:pt x="2327" y="470"/>
                    </a:lnTo>
                    <a:lnTo>
                      <a:pt x="2284" y="477"/>
                    </a:lnTo>
                    <a:lnTo>
                      <a:pt x="2240" y="481"/>
                    </a:lnTo>
                    <a:lnTo>
                      <a:pt x="2194" y="485"/>
                    </a:lnTo>
                    <a:lnTo>
                      <a:pt x="2147" y="488"/>
                    </a:lnTo>
                    <a:lnTo>
                      <a:pt x="2098" y="491"/>
                    </a:lnTo>
                    <a:lnTo>
                      <a:pt x="1999" y="492"/>
                    </a:lnTo>
                    <a:lnTo>
                      <a:pt x="1895" y="491"/>
                    </a:lnTo>
                    <a:lnTo>
                      <a:pt x="1792" y="488"/>
                    </a:lnTo>
                    <a:lnTo>
                      <a:pt x="1688" y="484"/>
                    </a:lnTo>
                    <a:lnTo>
                      <a:pt x="1487" y="476"/>
                    </a:lnTo>
                    <a:lnTo>
                      <a:pt x="1393" y="472"/>
                    </a:lnTo>
                    <a:lnTo>
                      <a:pt x="1302" y="472"/>
                    </a:lnTo>
                    <a:lnTo>
                      <a:pt x="1302"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6" name="Freeform 166"/>
              <p:cNvSpPr>
                <a:spLocks/>
              </p:cNvSpPr>
              <p:nvPr/>
            </p:nvSpPr>
            <p:spPr bwMode="auto">
              <a:xfrm>
                <a:off x="22634575" y="117475"/>
                <a:ext cx="2265363" cy="4313238"/>
              </a:xfrm>
              <a:custGeom>
                <a:avLst/>
                <a:gdLst>
                  <a:gd name="T0" fmla="*/ 2402 w 2854"/>
                  <a:gd name="T1" fmla="*/ 3733 h 5434"/>
                  <a:gd name="T2" fmla="*/ 2240 w 2854"/>
                  <a:gd name="T3" fmla="*/ 3629 h 5434"/>
                  <a:gd name="T4" fmla="*/ 2058 w 2854"/>
                  <a:gd name="T5" fmla="*/ 3566 h 5434"/>
                  <a:gd name="T6" fmla="*/ 1854 w 2854"/>
                  <a:gd name="T7" fmla="*/ 3535 h 5434"/>
                  <a:gd name="T8" fmla="*/ 1584 w 2854"/>
                  <a:gd name="T9" fmla="*/ 3531 h 5434"/>
                  <a:gd name="T10" fmla="*/ 1180 w 2854"/>
                  <a:gd name="T11" fmla="*/ 3563 h 5434"/>
                  <a:gd name="T12" fmla="*/ 1144 w 2854"/>
                  <a:gd name="T13" fmla="*/ 3574 h 5434"/>
                  <a:gd name="T14" fmla="*/ 914 w 2854"/>
                  <a:gd name="T15" fmla="*/ 3595 h 5434"/>
                  <a:gd name="T16" fmla="*/ 797 w 2854"/>
                  <a:gd name="T17" fmla="*/ 3587 h 5434"/>
                  <a:gd name="T18" fmla="*/ 771 w 2854"/>
                  <a:gd name="T19" fmla="*/ 3567 h 5434"/>
                  <a:gd name="T20" fmla="*/ 798 w 2854"/>
                  <a:gd name="T21" fmla="*/ 3534 h 5434"/>
                  <a:gd name="T22" fmla="*/ 890 w 2854"/>
                  <a:gd name="T23" fmla="*/ 3487 h 5434"/>
                  <a:gd name="T24" fmla="*/ 1234 w 2854"/>
                  <a:gd name="T25" fmla="*/ 3433 h 5434"/>
                  <a:gd name="T26" fmla="*/ 1602 w 2854"/>
                  <a:gd name="T27" fmla="*/ 3394 h 5434"/>
                  <a:gd name="T28" fmla="*/ 1996 w 2854"/>
                  <a:gd name="T29" fmla="*/ 3405 h 5434"/>
                  <a:gd name="T30" fmla="*/ 2177 w 2854"/>
                  <a:gd name="T31" fmla="*/ 3435 h 5434"/>
                  <a:gd name="T32" fmla="*/ 2343 w 2854"/>
                  <a:gd name="T33" fmla="*/ 3492 h 5434"/>
                  <a:gd name="T34" fmla="*/ 2495 w 2854"/>
                  <a:gd name="T35" fmla="*/ 3579 h 5434"/>
                  <a:gd name="T36" fmla="*/ 2632 w 2854"/>
                  <a:gd name="T37" fmla="*/ 3704 h 5434"/>
                  <a:gd name="T38" fmla="*/ 2654 w 2854"/>
                  <a:gd name="T39" fmla="*/ 3489 h 5434"/>
                  <a:gd name="T40" fmla="*/ 2635 w 2854"/>
                  <a:gd name="T41" fmla="*/ 2875 h 5434"/>
                  <a:gd name="T42" fmla="*/ 2666 w 2854"/>
                  <a:gd name="T43" fmla="*/ 2282 h 5434"/>
                  <a:gd name="T44" fmla="*/ 2724 w 2854"/>
                  <a:gd name="T45" fmla="*/ 1452 h 5434"/>
                  <a:gd name="T46" fmla="*/ 2729 w 2854"/>
                  <a:gd name="T47" fmla="*/ 408 h 5434"/>
                  <a:gd name="T48" fmla="*/ 2197 w 2854"/>
                  <a:gd name="T49" fmla="*/ 4 h 5434"/>
                  <a:gd name="T50" fmla="*/ 1385 w 2854"/>
                  <a:gd name="T51" fmla="*/ 8 h 5434"/>
                  <a:gd name="T52" fmla="*/ 668 w 2854"/>
                  <a:gd name="T53" fmla="*/ 55 h 5434"/>
                  <a:gd name="T54" fmla="*/ 286 w 2854"/>
                  <a:gd name="T55" fmla="*/ 262 h 5434"/>
                  <a:gd name="T56" fmla="*/ 282 w 2854"/>
                  <a:gd name="T57" fmla="*/ 1214 h 5434"/>
                  <a:gd name="T58" fmla="*/ 287 w 2854"/>
                  <a:gd name="T59" fmla="*/ 1234 h 5434"/>
                  <a:gd name="T60" fmla="*/ 308 w 2854"/>
                  <a:gd name="T61" fmla="*/ 1600 h 5434"/>
                  <a:gd name="T62" fmla="*/ 382 w 2854"/>
                  <a:gd name="T63" fmla="*/ 2181 h 5434"/>
                  <a:gd name="T64" fmla="*/ 404 w 2854"/>
                  <a:gd name="T65" fmla="*/ 2473 h 5434"/>
                  <a:gd name="T66" fmla="*/ 407 w 2854"/>
                  <a:gd name="T67" fmla="*/ 2834 h 5434"/>
                  <a:gd name="T68" fmla="*/ 364 w 2854"/>
                  <a:gd name="T69" fmla="*/ 3414 h 5434"/>
                  <a:gd name="T70" fmla="*/ 306 w 2854"/>
                  <a:gd name="T71" fmla="*/ 3864 h 5434"/>
                  <a:gd name="T72" fmla="*/ 205 w 2854"/>
                  <a:gd name="T73" fmla="*/ 4451 h 5434"/>
                  <a:gd name="T74" fmla="*/ 141 w 2854"/>
                  <a:gd name="T75" fmla="*/ 4690 h 5434"/>
                  <a:gd name="T76" fmla="*/ 15 w 2854"/>
                  <a:gd name="T77" fmla="*/ 4807 h 5434"/>
                  <a:gd name="T78" fmla="*/ 0 w 2854"/>
                  <a:gd name="T79" fmla="*/ 5085 h 5434"/>
                  <a:gd name="T80" fmla="*/ 20 w 2854"/>
                  <a:gd name="T81" fmla="*/ 5162 h 5434"/>
                  <a:gd name="T82" fmla="*/ 95 w 2854"/>
                  <a:gd name="T83" fmla="*/ 5276 h 5434"/>
                  <a:gd name="T84" fmla="*/ 119 w 2854"/>
                  <a:gd name="T85" fmla="*/ 5353 h 5434"/>
                  <a:gd name="T86" fmla="*/ 376 w 2854"/>
                  <a:gd name="T87" fmla="*/ 5401 h 5434"/>
                  <a:gd name="T88" fmla="*/ 766 w 2854"/>
                  <a:gd name="T89" fmla="*/ 5430 h 5434"/>
                  <a:gd name="T90" fmla="*/ 1475 w 2854"/>
                  <a:gd name="T91" fmla="*/ 5430 h 5434"/>
                  <a:gd name="T92" fmla="*/ 2792 w 2854"/>
                  <a:gd name="T93" fmla="*/ 5401 h 5434"/>
                  <a:gd name="T94" fmla="*/ 2779 w 2854"/>
                  <a:gd name="T95" fmla="*/ 5302 h 5434"/>
                  <a:gd name="T96" fmla="*/ 2779 w 2854"/>
                  <a:gd name="T97" fmla="*/ 5302 h 5434"/>
                  <a:gd name="T98" fmla="*/ 2808 w 2854"/>
                  <a:gd name="T99" fmla="*/ 5299 h 5434"/>
                  <a:gd name="T100" fmla="*/ 2835 w 2854"/>
                  <a:gd name="T101" fmla="*/ 5272 h 5434"/>
                  <a:gd name="T102" fmla="*/ 2846 w 2854"/>
                  <a:gd name="T103" fmla="*/ 5224 h 5434"/>
                  <a:gd name="T104" fmla="*/ 2854 w 2854"/>
                  <a:gd name="T105" fmla="*/ 4722 h 5434"/>
                  <a:gd name="T106" fmla="*/ 2831 w 2854"/>
                  <a:gd name="T107" fmla="*/ 4383 h 5434"/>
                  <a:gd name="T108" fmla="*/ 2784 w 2854"/>
                  <a:gd name="T109" fmla="*/ 4170 h 5434"/>
                  <a:gd name="T110" fmla="*/ 2716 w 2854"/>
                  <a:gd name="T111" fmla="*/ 4038 h 5434"/>
                  <a:gd name="T112" fmla="*/ 2611 w 2854"/>
                  <a:gd name="T113" fmla="*/ 3932 h 5434"/>
                  <a:gd name="T114" fmla="*/ 2488 w 2854"/>
                  <a:gd name="T115" fmla="*/ 3816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4" h="5434">
                    <a:moveTo>
                      <a:pt x="2488" y="3816"/>
                    </a:moveTo>
                    <a:lnTo>
                      <a:pt x="2488" y="3816"/>
                    </a:lnTo>
                    <a:lnTo>
                      <a:pt x="2460" y="3786"/>
                    </a:lnTo>
                    <a:lnTo>
                      <a:pt x="2432" y="3758"/>
                    </a:lnTo>
                    <a:lnTo>
                      <a:pt x="2402" y="3733"/>
                    </a:lnTo>
                    <a:lnTo>
                      <a:pt x="2371" y="3708"/>
                    </a:lnTo>
                    <a:lnTo>
                      <a:pt x="2339" y="3686"/>
                    </a:lnTo>
                    <a:lnTo>
                      <a:pt x="2307" y="3665"/>
                    </a:lnTo>
                    <a:lnTo>
                      <a:pt x="2275" y="3647"/>
                    </a:lnTo>
                    <a:lnTo>
                      <a:pt x="2240" y="3629"/>
                    </a:lnTo>
                    <a:lnTo>
                      <a:pt x="2206" y="3614"/>
                    </a:lnTo>
                    <a:lnTo>
                      <a:pt x="2170" y="3600"/>
                    </a:lnTo>
                    <a:lnTo>
                      <a:pt x="2134" y="3587"/>
                    </a:lnTo>
                    <a:lnTo>
                      <a:pt x="2096" y="3575"/>
                    </a:lnTo>
                    <a:lnTo>
                      <a:pt x="2058" y="3566"/>
                    </a:lnTo>
                    <a:lnTo>
                      <a:pt x="2018" y="3558"/>
                    </a:lnTo>
                    <a:lnTo>
                      <a:pt x="1979" y="3550"/>
                    </a:lnTo>
                    <a:lnTo>
                      <a:pt x="1937" y="3544"/>
                    </a:lnTo>
                    <a:lnTo>
                      <a:pt x="1897" y="3539"/>
                    </a:lnTo>
                    <a:lnTo>
                      <a:pt x="1854" y="3535"/>
                    </a:lnTo>
                    <a:lnTo>
                      <a:pt x="1811" y="3532"/>
                    </a:lnTo>
                    <a:lnTo>
                      <a:pt x="1766" y="3531"/>
                    </a:lnTo>
                    <a:lnTo>
                      <a:pt x="1722" y="3530"/>
                    </a:lnTo>
                    <a:lnTo>
                      <a:pt x="1676" y="3530"/>
                    </a:lnTo>
                    <a:lnTo>
                      <a:pt x="1584" y="3531"/>
                    </a:lnTo>
                    <a:lnTo>
                      <a:pt x="1487" y="3536"/>
                    </a:lnTo>
                    <a:lnTo>
                      <a:pt x="1387" y="3543"/>
                    </a:lnTo>
                    <a:lnTo>
                      <a:pt x="1285" y="3552"/>
                    </a:lnTo>
                    <a:lnTo>
                      <a:pt x="1180" y="3563"/>
                    </a:lnTo>
                    <a:lnTo>
                      <a:pt x="1180" y="3563"/>
                    </a:lnTo>
                    <a:lnTo>
                      <a:pt x="1184" y="3565"/>
                    </a:lnTo>
                    <a:lnTo>
                      <a:pt x="1184" y="3565"/>
                    </a:lnTo>
                    <a:lnTo>
                      <a:pt x="1183" y="3566"/>
                    </a:lnTo>
                    <a:lnTo>
                      <a:pt x="1169" y="3570"/>
                    </a:lnTo>
                    <a:lnTo>
                      <a:pt x="1144" y="3574"/>
                    </a:lnTo>
                    <a:lnTo>
                      <a:pt x="1108" y="3579"/>
                    </a:lnTo>
                    <a:lnTo>
                      <a:pt x="1063" y="3585"/>
                    </a:lnTo>
                    <a:lnTo>
                      <a:pt x="1015" y="3590"/>
                    </a:lnTo>
                    <a:lnTo>
                      <a:pt x="964" y="3594"/>
                    </a:lnTo>
                    <a:lnTo>
                      <a:pt x="914" y="3595"/>
                    </a:lnTo>
                    <a:lnTo>
                      <a:pt x="868" y="3595"/>
                    </a:lnTo>
                    <a:lnTo>
                      <a:pt x="847" y="3594"/>
                    </a:lnTo>
                    <a:lnTo>
                      <a:pt x="828" y="3593"/>
                    </a:lnTo>
                    <a:lnTo>
                      <a:pt x="810" y="3590"/>
                    </a:lnTo>
                    <a:lnTo>
                      <a:pt x="797" y="3587"/>
                    </a:lnTo>
                    <a:lnTo>
                      <a:pt x="785" y="3582"/>
                    </a:lnTo>
                    <a:lnTo>
                      <a:pt x="777" y="3578"/>
                    </a:lnTo>
                    <a:lnTo>
                      <a:pt x="774" y="3574"/>
                    </a:lnTo>
                    <a:lnTo>
                      <a:pt x="773" y="3571"/>
                    </a:lnTo>
                    <a:lnTo>
                      <a:pt x="771" y="3567"/>
                    </a:lnTo>
                    <a:lnTo>
                      <a:pt x="773" y="3563"/>
                    </a:lnTo>
                    <a:lnTo>
                      <a:pt x="774" y="3559"/>
                    </a:lnTo>
                    <a:lnTo>
                      <a:pt x="776" y="3555"/>
                    </a:lnTo>
                    <a:lnTo>
                      <a:pt x="785" y="3546"/>
                    </a:lnTo>
                    <a:lnTo>
                      <a:pt x="798" y="3534"/>
                    </a:lnTo>
                    <a:lnTo>
                      <a:pt x="817" y="3522"/>
                    </a:lnTo>
                    <a:lnTo>
                      <a:pt x="841" y="3508"/>
                    </a:lnTo>
                    <a:lnTo>
                      <a:pt x="871" y="3492"/>
                    </a:lnTo>
                    <a:lnTo>
                      <a:pt x="871" y="3492"/>
                    </a:lnTo>
                    <a:lnTo>
                      <a:pt x="890" y="3487"/>
                    </a:lnTo>
                    <a:lnTo>
                      <a:pt x="918" y="3480"/>
                    </a:lnTo>
                    <a:lnTo>
                      <a:pt x="956" y="3472"/>
                    </a:lnTo>
                    <a:lnTo>
                      <a:pt x="1003" y="3465"/>
                    </a:lnTo>
                    <a:lnTo>
                      <a:pt x="1112" y="3449"/>
                    </a:lnTo>
                    <a:lnTo>
                      <a:pt x="1234" y="3433"/>
                    </a:lnTo>
                    <a:lnTo>
                      <a:pt x="1356" y="3418"/>
                    </a:lnTo>
                    <a:lnTo>
                      <a:pt x="1467" y="3406"/>
                    </a:lnTo>
                    <a:lnTo>
                      <a:pt x="1553" y="3398"/>
                    </a:lnTo>
                    <a:lnTo>
                      <a:pt x="1602" y="3394"/>
                    </a:lnTo>
                    <a:lnTo>
                      <a:pt x="1602" y="3394"/>
                    </a:lnTo>
                    <a:lnTo>
                      <a:pt x="1684" y="3392"/>
                    </a:lnTo>
                    <a:lnTo>
                      <a:pt x="1765" y="3392"/>
                    </a:lnTo>
                    <a:lnTo>
                      <a:pt x="1843" y="3394"/>
                    </a:lnTo>
                    <a:lnTo>
                      <a:pt x="1921" y="3398"/>
                    </a:lnTo>
                    <a:lnTo>
                      <a:pt x="1996" y="3405"/>
                    </a:lnTo>
                    <a:lnTo>
                      <a:pt x="2033" y="3409"/>
                    </a:lnTo>
                    <a:lnTo>
                      <a:pt x="2069" y="3414"/>
                    </a:lnTo>
                    <a:lnTo>
                      <a:pt x="2105" y="3421"/>
                    </a:lnTo>
                    <a:lnTo>
                      <a:pt x="2142" y="3427"/>
                    </a:lnTo>
                    <a:lnTo>
                      <a:pt x="2177" y="3435"/>
                    </a:lnTo>
                    <a:lnTo>
                      <a:pt x="2210" y="3445"/>
                    </a:lnTo>
                    <a:lnTo>
                      <a:pt x="2244" y="3456"/>
                    </a:lnTo>
                    <a:lnTo>
                      <a:pt x="2277" y="3466"/>
                    </a:lnTo>
                    <a:lnTo>
                      <a:pt x="2311" y="3478"/>
                    </a:lnTo>
                    <a:lnTo>
                      <a:pt x="2343" y="3492"/>
                    </a:lnTo>
                    <a:lnTo>
                      <a:pt x="2374" y="3507"/>
                    </a:lnTo>
                    <a:lnTo>
                      <a:pt x="2405" y="3523"/>
                    </a:lnTo>
                    <a:lnTo>
                      <a:pt x="2436" y="3540"/>
                    </a:lnTo>
                    <a:lnTo>
                      <a:pt x="2466" y="3559"/>
                    </a:lnTo>
                    <a:lnTo>
                      <a:pt x="2495" y="3579"/>
                    </a:lnTo>
                    <a:lnTo>
                      <a:pt x="2523" y="3602"/>
                    </a:lnTo>
                    <a:lnTo>
                      <a:pt x="2552" y="3625"/>
                    </a:lnTo>
                    <a:lnTo>
                      <a:pt x="2579" y="3649"/>
                    </a:lnTo>
                    <a:lnTo>
                      <a:pt x="2605" y="3676"/>
                    </a:lnTo>
                    <a:lnTo>
                      <a:pt x="2632" y="3704"/>
                    </a:lnTo>
                    <a:lnTo>
                      <a:pt x="2657" y="3734"/>
                    </a:lnTo>
                    <a:lnTo>
                      <a:pt x="2682" y="3765"/>
                    </a:lnTo>
                    <a:lnTo>
                      <a:pt x="2682" y="3765"/>
                    </a:lnTo>
                    <a:lnTo>
                      <a:pt x="2666" y="3624"/>
                    </a:lnTo>
                    <a:lnTo>
                      <a:pt x="2654" y="3489"/>
                    </a:lnTo>
                    <a:lnTo>
                      <a:pt x="2644" y="3360"/>
                    </a:lnTo>
                    <a:lnTo>
                      <a:pt x="2639" y="3234"/>
                    </a:lnTo>
                    <a:lnTo>
                      <a:pt x="2635" y="3113"/>
                    </a:lnTo>
                    <a:lnTo>
                      <a:pt x="2634" y="2993"/>
                    </a:lnTo>
                    <a:lnTo>
                      <a:pt x="2635" y="2875"/>
                    </a:lnTo>
                    <a:lnTo>
                      <a:pt x="2638" y="2758"/>
                    </a:lnTo>
                    <a:lnTo>
                      <a:pt x="2643" y="2641"/>
                    </a:lnTo>
                    <a:lnTo>
                      <a:pt x="2648" y="2524"/>
                    </a:lnTo>
                    <a:lnTo>
                      <a:pt x="2657" y="2404"/>
                    </a:lnTo>
                    <a:lnTo>
                      <a:pt x="2666" y="2282"/>
                    </a:lnTo>
                    <a:lnTo>
                      <a:pt x="2686" y="2028"/>
                    </a:lnTo>
                    <a:lnTo>
                      <a:pt x="2708" y="1752"/>
                    </a:lnTo>
                    <a:lnTo>
                      <a:pt x="2708" y="1752"/>
                    </a:lnTo>
                    <a:lnTo>
                      <a:pt x="2717" y="1601"/>
                    </a:lnTo>
                    <a:lnTo>
                      <a:pt x="2724" y="1452"/>
                    </a:lnTo>
                    <a:lnTo>
                      <a:pt x="2728" y="1301"/>
                    </a:lnTo>
                    <a:lnTo>
                      <a:pt x="2729" y="1151"/>
                    </a:lnTo>
                    <a:lnTo>
                      <a:pt x="2729" y="1151"/>
                    </a:lnTo>
                    <a:lnTo>
                      <a:pt x="2729" y="408"/>
                    </a:lnTo>
                    <a:lnTo>
                      <a:pt x="2729" y="408"/>
                    </a:lnTo>
                    <a:lnTo>
                      <a:pt x="2730" y="21"/>
                    </a:lnTo>
                    <a:lnTo>
                      <a:pt x="2730" y="21"/>
                    </a:lnTo>
                    <a:lnTo>
                      <a:pt x="2549" y="13"/>
                    </a:lnTo>
                    <a:lnTo>
                      <a:pt x="2371" y="8"/>
                    </a:lnTo>
                    <a:lnTo>
                      <a:pt x="2197" y="4"/>
                    </a:lnTo>
                    <a:lnTo>
                      <a:pt x="2027" y="1"/>
                    </a:lnTo>
                    <a:lnTo>
                      <a:pt x="1861" y="0"/>
                    </a:lnTo>
                    <a:lnTo>
                      <a:pt x="1698" y="1"/>
                    </a:lnTo>
                    <a:lnTo>
                      <a:pt x="1539" y="4"/>
                    </a:lnTo>
                    <a:lnTo>
                      <a:pt x="1385" y="8"/>
                    </a:lnTo>
                    <a:lnTo>
                      <a:pt x="1234" y="14"/>
                    </a:lnTo>
                    <a:lnTo>
                      <a:pt x="1086" y="21"/>
                    </a:lnTo>
                    <a:lnTo>
                      <a:pt x="944" y="31"/>
                    </a:lnTo>
                    <a:lnTo>
                      <a:pt x="804" y="43"/>
                    </a:lnTo>
                    <a:lnTo>
                      <a:pt x="668" y="55"/>
                    </a:lnTo>
                    <a:lnTo>
                      <a:pt x="538" y="70"/>
                    </a:lnTo>
                    <a:lnTo>
                      <a:pt x="410" y="86"/>
                    </a:lnTo>
                    <a:lnTo>
                      <a:pt x="286" y="103"/>
                    </a:lnTo>
                    <a:lnTo>
                      <a:pt x="286" y="103"/>
                    </a:lnTo>
                    <a:lnTo>
                      <a:pt x="286" y="262"/>
                    </a:lnTo>
                    <a:lnTo>
                      <a:pt x="286" y="421"/>
                    </a:lnTo>
                    <a:lnTo>
                      <a:pt x="282" y="738"/>
                    </a:lnTo>
                    <a:lnTo>
                      <a:pt x="281" y="897"/>
                    </a:lnTo>
                    <a:lnTo>
                      <a:pt x="281" y="1055"/>
                    </a:lnTo>
                    <a:lnTo>
                      <a:pt x="282" y="1214"/>
                    </a:lnTo>
                    <a:lnTo>
                      <a:pt x="286" y="1373"/>
                    </a:lnTo>
                    <a:lnTo>
                      <a:pt x="286" y="1373"/>
                    </a:lnTo>
                    <a:lnTo>
                      <a:pt x="287" y="1304"/>
                    </a:lnTo>
                    <a:lnTo>
                      <a:pt x="287" y="1234"/>
                    </a:lnTo>
                    <a:lnTo>
                      <a:pt x="287" y="1234"/>
                    </a:lnTo>
                    <a:lnTo>
                      <a:pt x="287" y="1308"/>
                    </a:lnTo>
                    <a:lnTo>
                      <a:pt x="290" y="1381"/>
                    </a:lnTo>
                    <a:lnTo>
                      <a:pt x="296" y="1455"/>
                    </a:lnTo>
                    <a:lnTo>
                      <a:pt x="301" y="1527"/>
                    </a:lnTo>
                    <a:lnTo>
                      <a:pt x="308" y="1600"/>
                    </a:lnTo>
                    <a:lnTo>
                      <a:pt x="316" y="1673"/>
                    </a:lnTo>
                    <a:lnTo>
                      <a:pt x="335" y="1818"/>
                    </a:lnTo>
                    <a:lnTo>
                      <a:pt x="353" y="1963"/>
                    </a:lnTo>
                    <a:lnTo>
                      <a:pt x="372" y="2108"/>
                    </a:lnTo>
                    <a:lnTo>
                      <a:pt x="382" y="2181"/>
                    </a:lnTo>
                    <a:lnTo>
                      <a:pt x="388" y="2253"/>
                    </a:lnTo>
                    <a:lnTo>
                      <a:pt x="395" y="2327"/>
                    </a:lnTo>
                    <a:lnTo>
                      <a:pt x="400" y="2400"/>
                    </a:lnTo>
                    <a:lnTo>
                      <a:pt x="400" y="2400"/>
                    </a:lnTo>
                    <a:lnTo>
                      <a:pt x="404" y="2473"/>
                    </a:lnTo>
                    <a:lnTo>
                      <a:pt x="407" y="2545"/>
                    </a:lnTo>
                    <a:lnTo>
                      <a:pt x="408" y="2618"/>
                    </a:lnTo>
                    <a:lnTo>
                      <a:pt x="410" y="2690"/>
                    </a:lnTo>
                    <a:lnTo>
                      <a:pt x="408" y="2762"/>
                    </a:lnTo>
                    <a:lnTo>
                      <a:pt x="407" y="2834"/>
                    </a:lnTo>
                    <a:lnTo>
                      <a:pt x="404" y="2907"/>
                    </a:lnTo>
                    <a:lnTo>
                      <a:pt x="400" y="2980"/>
                    </a:lnTo>
                    <a:lnTo>
                      <a:pt x="391" y="3125"/>
                    </a:lnTo>
                    <a:lnTo>
                      <a:pt x="379" y="3270"/>
                    </a:lnTo>
                    <a:lnTo>
                      <a:pt x="364" y="3414"/>
                    </a:lnTo>
                    <a:lnTo>
                      <a:pt x="348" y="3558"/>
                    </a:lnTo>
                    <a:lnTo>
                      <a:pt x="348" y="3558"/>
                    </a:lnTo>
                    <a:lnTo>
                      <a:pt x="335" y="3660"/>
                    </a:lnTo>
                    <a:lnTo>
                      <a:pt x="321" y="3762"/>
                    </a:lnTo>
                    <a:lnTo>
                      <a:pt x="306" y="3864"/>
                    </a:lnTo>
                    <a:lnTo>
                      <a:pt x="291" y="3965"/>
                    </a:lnTo>
                    <a:lnTo>
                      <a:pt x="259" y="4168"/>
                    </a:lnTo>
                    <a:lnTo>
                      <a:pt x="223" y="4371"/>
                    </a:lnTo>
                    <a:lnTo>
                      <a:pt x="223" y="4371"/>
                    </a:lnTo>
                    <a:lnTo>
                      <a:pt x="205" y="4451"/>
                    </a:lnTo>
                    <a:lnTo>
                      <a:pt x="189" y="4530"/>
                    </a:lnTo>
                    <a:lnTo>
                      <a:pt x="175" y="4608"/>
                    </a:lnTo>
                    <a:lnTo>
                      <a:pt x="162" y="4686"/>
                    </a:lnTo>
                    <a:lnTo>
                      <a:pt x="162" y="4686"/>
                    </a:lnTo>
                    <a:lnTo>
                      <a:pt x="141" y="4690"/>
                    </a:lnTo>
                    <a:lnTo>
                      <a:pt x="95" y="4698"/>
                    </a:lnTo>
                    <a:lnTo>
                      <a:pt x="48" y="4705"/>
                    </a:lnTo>
                    <a:lnTo>
                      <a:pt x="27" y="4709"/>
                    </a:lnTo>
                    <a:lnTo>
                      <a:pt x="27" y="4709"/>
                    </a:lnTo>
                    <a:lnTo>
                      <a:pt x="15" y="4807"/>
                    </a:lnTo>
                    <a:lnTo>
                      <a:pt x="6" y="4903"/>
                    </a:lnTo>
                    <a:lnTo>
                      <a:pt x="4" y="4950"/>
                    </a:lnTo>
                    <a:lnTo>
                      <a:pt x="1" y="4995"/>
                    </a:lnTo>
                    <a:lnTo>
                      <a:pt x="0" y="5041"/>
                    </a:lnTo>
                    <a:lnTo>
                      <a:pt x="0" y="5085"/>
                    </a:lnTo>
                    <a:lnTo>
                      <a:pt x="0" y="5085"/>
                    </a:lnTo>
                    <a:lnTo>
                      <a:pt x="1" y="5106"/>
                    </a:lnTo>
                    <a:lnTo>
                      <a:pt x="5" y="5124"/>
                    </a:lnTo>
                    <a:lnTo>
                      <a:pt x="12" y="5143"/>
                    </a:lnTo>
                    <a:lnTo>
                      <a:pt x="20" y="5162"/>
                    </a:lnTo>
                    <a:lnTo>
                      <a:pt x="29" y="5180"/>
                    </a:lnTo>
                    <a:lnTo>
                      <a:pt x="40" y="5197"/>
                    </a:lnTo>
                    <a:lnTo>
                      <a:pt x="62" y="5229"/>
                    </a:lnTo>
                    <a:lnTo>
                      <a:pt x="84" y="5260"/>
                    </a:lnTo>
                    <a:lnTo>
                      <a:pt x="95" y="5276"/>
                    </a:lnTo>
                    <a:lnTo>
                      <a:pt x="103" y="5291"/>
                    </a:lnTo>
                    <a:lnTo>
                      <a:pt x="111" y="5307"/>
                    </a:lnTo>
                    <a:lnTo>
                      <a:pt x="117" y="5322"/>
                    </a:lnTo>
                    <a:lnTo>
                      <a:pt x="119" y="5338"/>
                    </a:lnTo>
                    <a:lnTo>
                      <a:pt x="119" y="5353"/>
                    </a:lnTo>
                    <a:lnTo>
                      <a:pt x="119" y="5353"/>
                    </a:lnTo>
                    <a:lnTo>
                      <a:pt x="173" y="5366"/>
                    </a:lnTo>
                    <a:lnTo>
                      <a:pt x="234" y="5379"/>
                    </a:lnTo>
                    <a:lnTo>
                      <a:pt x="301" y="5391"/>
                    </a:lnTo>
                    <a:lnTo>
                      <a:pt x="376" y="5401"/>
                    </a:lnTo>
                    <a:lnTo>
                      <a:pt x="461" y="5411"/>
                    </a:lnTo>
                    <a:lnTo>
                      <a:pt x="554" y="5419"/>
                    </a:lnTo>
                    <a:lnTo>
                      <a:pt x="655" y="5424"/>
                    </a:lnTo>
                    <a:lnTo>
                      <a:pt x="766" y="5430"/>
                    </a:lnTo>
                    <a:lnTo>
                      <a:pt x="766" y="5430"/>
                    </a:lnTo>
                    <a:lnTo>
                      <a:pt x="868" y="5432"/>
                    </a:lnTo>
                    <a:lnTo>
                      <a:pt x="977" y="5434"/>
                    </a:lnTo>
                    <a:lnTo>
                      <a:pt x="1094" y="5434"/>
                    </a:lnTo>
                    <a:lnTo>
                      <a:pt x="1217" y="5434"/>
                    </a:lnTo>
                    <a:lnTo>
                      <a:pt x="1475" y="5430"/>
                    </a:lnTo>
                    <a:lnTo>
                      <a:pt x="1745" y="5424"/>
                    </a:lnTo>
                    <a:lnTo>
                      <a:pt x="2291" y="5412"/>
                    </a:lnTo>
                    <a:lnTo>
                      <a:pt x="2552" y="5405"/>
                    </a:lnTo>
                    <a:lnTo>
                      <a:pt x="2792" y="5401"/>
                    </a:lnTo>
                    <a:lnTo>
                      <a:pt x="2792" y="5401"/>
                    </a:lnTo>
                    <a:lnTo>
                      <a:pt x="2788" y="5361"/>
                    </a:lnTo>
                    <a:lnTo>
                      <a:pt x="2786" y="5332"/>
                    </a:lnTo>
                    <a:lnTo>
                      <a:pt x="2782" y="5313"/>
                    </a:lnTo>
                    <a:lnTo>
                      <a:pt x="2779" y="5302"/>
                    </a:lnTo>
                    <a:lnTo>
                      <a:pt x="2779" y="5302"/>
                    </a:lnTo>
                    <a:lnTo>
                      <a:pt x="2776" y="5299"/>
                    </a:lnTo>
                    <a:lnTo>
                      <a:pt x="2775" y="5298"/>
                    </a:lnTo>
                    <a:lnTo>
                      <a:pt x="2776" y="5297"/>
                    </a:lnTo>
                    <a:lnTo>
                      <a:pt x="2776" y="5298"/>
                    </a:lnTo>
                    <a:lnTo>
                      <a:pt x="2779" y="5302"/>
                    </a:lnTo>
                    <a:lnTo>
                      <a:pt x="2779" y="5302"/>
                    </a:lnTo>
                    <a:lnTo>
                      <a:pt x="2783" y="5303"/>
                    </a:lnTo>
                    <a:lnTo>
                      <a:pt x="2792" y="5303"/>
                    </a:lnTo>
                    <a:lnTo>
                      <a:pt x="2802" y="5301"/>
                    </a:lnTo>
                    <a:lnTo>
                      <a:pt x="2808" y="5299"/>
                    </a:lnTo>
                    <a:lnTo>
                      <a:pt x="2814" y="5297"/>
                    </a:lnTo>
                    <a:lnTo>
                      <a:pt x="2819" y="5293"/>
                    </a:lnTo>
                    <a:lnTo>
                      <a:pt x="2825" y="5287"/>
                    </a:lnTo>
                    <a:lnTo>
                      <a:pt x="2830" y="5280"/>
                    </a:lnTo>
                    <a:lnTo>
                      <a:pt x="2835" y="5272"/>
                    </a:lnTo>
                    <a:lnTo>
                      <a:pt x="2839" y="5263"/>
                    </a:lnTo>
                    <a:lnTo>
                      <a:pt x="2842" y="5252"/>
                    </a:lnTo>
                    <a:lnTo>
                      <a:pt x="2845" y="5239"/>
                    </a:lnTo>
                    <a:lnTo>
                      <a:pt x="2846" y="5224"/>
                    </a:lnTo>
                    <a:lnTo>
                      <a:pt x="2846" y="5224"/>
                    </a:lnTo>
                    <a:lnTo>
                      <a:pt x="2850" y="5108"/>
                    </a:lnTo>
                    <a:lnTo>
                      <a:pt x="2853" y="5001"/>
                    </a:lnTo>
                    <a:lnTo>
                      <a:pt x="2854" y="4901"/>
                    </a:lnTo>
                    <a:lnTo>
                      <a:pt x="2854" y="4808"/>
                    </a:lnTo>
                    <a:lnTo>
                      <a:pt x="2854" y="4722"/>
                    </a:lnTo>
                    <a:lnTo>
                      <a:pt x="2851" y="4642"/>
                    </a:lnTo>
                    <a:lnTo>
                      <a:pt x="2849" y="4569"/>
                    </a:lnTo>
                    <a:lnTo>
                      <a:pt x="2843" y="4502"/>
                    </a:lnTo>
                    <a:lnTo>
                      <a:pt x="2838" y="4440"/>
                    </a:lnTo>
                    <a:lnTo>
                      <a:pt x="2831" y="4383"/>
                    </a:lnTo>
                    <a:lnTo>
                      <a:pt x="2825" y="4332"/>
                    </a:lnTo>
                    <a:lnTo>
                      <a:pt x="2815" y="4285"/>
                    </a:lnTo>
                    <a:lnTo>
                      <a:pt x="2806" y="4242"/>
                    </a:lnTo>
                    <a:lnTo>
                      <a:pt x="2796" y="4205"/>
                    </a:lnTo>
                    <a:lnTo>
                      <a:pt x="2784" y="4170"/>
                    </a:lnTo>
                    <a:lnTo>
                      <a:pt x="2772" y="4137"/>
                    </a:lnTo>
                    <a:lnTo>
                      <a:pt x="2759" y="4109"/>
                    </a:lnTo>
                    <a:lnTo>
                      <a:pt x="2745" y="4082"/>
                    </a:lnTo>
                    <a:lnTo>
                      <a:pt x="2730" y="4059"/>
                    </a:lnTo>
                    <a:lnTo>
                      <a:pt x="2716" y="4038"/>
                    </a:lnTo>
                    <a:lnTo>
                      <a:pt x="2700" y="4018"/>
                    </a:lnTo>
                    <a:lnTo>
                      <a:pt x="2683" y="3999"/>
                    </a:lnTo>
                    <a:lnTo>
                      <a:pt x="2666" y="3981"/>
                    </a:lnTo>
                    <a:lnTo>
                      <a:pt x="2647" y="3964"/>
                    </a:lnTo>
                    <a:lnTo>
                      <a:pt x="2611" y="3932"/>
                    </a:lnTo>
                    <a:lnTo>
                      <a:pt x="2572" y="3898"/>
                    </a:lnTo>
                    <a:lnTo>
                      <a:pt x="2530" y="3859"/>
                    </a:lnTo>
                    <a:lnTo>
                      <a:pt x="2509" y="3839"/>
                    </a:lnTo>
                    <a:lnTo>
                      <a:pt x="2488" y="3816"/>
                    </a:lnTo>
                    <a:lnTo>
                      <a:pt x="2488" y="38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7" name="Freeform 167"/>
              <p:cNvSpPr>
                <a:spLocks/>
              </p:cNvSpPr>
              <p:nvPr/>
            </p:nvSpPr>
            <p:spPr bwMode="auto">
              <a:xfrm>
                <a:off x="22850475" y="-774700"/>
                <a:ext cx="1957388" cy="835025"/>
              </a:xfrm>
              <a:custGeom>
                <a:avLst/>
                <a:gdLst>
                  <a:gd name="T0" fmla="*/ 15 w 2468"/>
                  <a:gd name="T1" fmla="*/ 1053 h 1053"/>
                  <a:gd name="T2" fmla="*/ 268 w 2468"/>
                  <a:gd name="T3" fmla="*/ 1020 h 1053"/>
                  <a:gd name="T4" fmla="*/ 535 w 2468"/>
                  <a:gd name="T5" fmla="*/ 993 h 1053"/>
                  <a:gd name="T6" fmla="*/ 819 w 2468"/>
                  <a:gd name="T7" fmla="*/ 973 h 1053"/>
                  <a:gd name="T8" fmla="*/ 1118 w 2468"/>
                  <a:gd name="T9" fmla="*/ 959 h 1053"/>
                  <a:gd name="T10" fmla="*/ 1431 w 2468"/>
                  <a:gd name="T11" fmla="*/ 953 h 1053"/>
                  <a:gd name="T12" fmla="*/ 1759 w 2468"/>
                  <a:gd name="T13" fmla="*/ 953 h 1053"/>
                  <a:gd name="T14" fmla="*/ 2102 w 2468"/>
                  <a:gd name="T15" fmla="*/ 959 h 1053"/>
                  <a:gd name="T16" fmla="*/ 2459 w 2468"/>
                  <a:gd name="T17" fmla="*/ 973 h 1053"/>
                  <a:gd name="T18" fmla="*/ 2461 w 2468"/>
                  <a:gd name="T19" fmla="*/ 365 h 1053"/>
                  <a:gd name="T20" fmla="*/ 2464 w 2468"/>
                  <a:gd name="T21" fmla="*/ 334 h 1053"/>
                  <a:gd name="T22" fmla="*/ 2468 w 2468"/>
                  <a:gd name="T23" fmla="*/ 278 h 1053"/>
                  <a:gd name="T24" fmla="*/ 2466 w 2468"/>
                  <a:gd name="T25" fmla="*/ 244 h 1053"/>
                  <a:gd name="T26" fmla="*/ 2462 w 2468"/>
                  <a:gd name="T27" fmla="*/ 230 h 1053"/>
                  <a:gd name="T28" fmla="*/ 2455 w 2468"/>
                  <a:gd name="T29" fmla="*/ 221 h 1053"/>
                  <a:gd name="T30" fmla="*/ 2438 w 2468"/>
                  <a:gd name="T31" fmla="*/ 202 h 1053"/>
                  <a:gd name="T32" fmla="*/ 2395 w 2468"/>
                  <a:gd name="T33" fmla="*/ 165 h 1053"/>
                  <a:gd name="T34" fmla="*/ 2343 w 2468"/>
                  <a:gd name="T35" fmla="*/ 130 h 1053"/>
                  <a:gd name="T36" fmla="*/ 2283 w 2468"/>
                  <a:gd name="T37" fmla="*/ 97 h 1053"/>
                  <a:gd name="T38" fmla="*/ 2220 w 2468"/>
                  <a:gd name="T39" fmla="*/ 70 h 1053"/>
                  <a:gd name="T40" fmla="*/ 2158 w 2468"/>
                  <a:gd name="T41" fmla="*/ 50 h 1053"/>
                  <a:gd name="T42" fmla="*/ 2099 w 2468"/>
                  <a:gd name="T43" fmla="*/ 37 h 1053"/>
                  <a:gd name="T44" fmla="*/ 2047 w 2468"/>
                  <a:gd name="T45" fmla="*/ 31 h 1053"/>
                  <a:gd name="T46" fmla="*/ 2025 w 2468"/>
                  <a:gd name="T47" fmla="*/ 33 h 1053"/>
                  <a:gd name="T48" fmla="*/ 1961 w 2468"/>
                  <a:gd name="T49" fmla="*/ 37 h 1053"/>
                  <a:gd name="T50" fmla="*/ 1895 w 2468"/>
                  <a:gd name="T51" fmla="*/ 35 h 1053"/>
                  <a:gd name="T52" fmla="*/ 1830 w 2468"/>
                  <a:gd name="T53" fmla="*/ 30 h 1053"/>
                  <a:gd name="T54" fmla="*/ 1700 w 2468"/>
                  <a:gd name="T55" fmla="*/ 14 h 1053"/>
                  <a:gd name="T56" fmla="*/ 1603 w 2468"/>
                  <a:gd name="T57" fmla="*/ 3 h 1053"/>
                  <a:gd name="T58" fmla="*/ 1537 w 2468"/>
                  <a:gd name="T59" fmla="*/ 0 h 1053"/>
                  <a:gd name="T60" fmla="*/ 1505 w 2468"/>
                  <a:gd name="T61" fmla="*/ 0 h 1053"/>
                  <a:gd name="T62" fmla="*/ 990 w 2468"/>
                  <a:gd name="T63" fmla="*/ 14 h 1053"/>
                  <a:gd name="T64" fmla="*/ 812 w 2468"/>
                  <a:gd name="T65" fmla="*/ 14 h 1053"/>
                  <a:gd name="T66" fmla="*/ 769 w 2468"/>
                  <a:gd name="T67" fmla="*/ 14 h 1053"/>
                  <a:gd name="T68" fmla="*/ 686 w 2468"/>
                  <a:gd name="T69" fmla="*/ 23 h 1053"/>
                  <a:gd name="T70" fmla="*/ 601 w 2468"/>
                  <a:gd name="T71" fmla="*/ 39 h 1053"/>
                  <a:gd name="T72" fmla="*/ 515 w 2468"/>
                  <a:gd name="T73" fmla="*/ 61 h 1053"/>
                  <a:gd name="T74" fmla="*/ 388 w 2468"/>
                  <a:gd name="T75" fmla="*/ 100 h 1053"/>
                  <a:gd name="T76" fmla="*/ 219 w 2468"/>
                  <a:gd name="T77" fmla="*/ 154 h 1053"/>
                  <a:gd name="T78" fmla="*/ 136 w 2468"/>
                  <a:gd name="T79" fmla="*/ 177 h 1053"/>
                  <a:gd name="T80" fmla="*/ 119 w 2468"/>
                  <a:gd name="T81" fmla="*/ 182 h 1053"/>
                  <a:gd name="T82" fmla="*/ 86 w 2468"/>
                  <a:gd name="T83" fmla="*/ 197 h 1053"/>
                  <a:gd name="T84" fmla="*/ 61 w 2468"/>
                  <a:gd name="T85" fmla="*/ 214 h 1053"/>
                  <a:gd name="T86" fmla="*/ 41 w 2468"/>
                  <a:gd name="T87" fmla="*/ 234 h 1053"/>
                  <a:gd name="T88" fmla="*/ 25 w 2468"/>
                  <a:gd name="T89" fmla="*/ 259 h 1053"/>
                  <a:gd name="T90" fmla="*/ 14 w 2468"/>
                  <a:gd name="T91" fmla="*/ 286 h 1053"/>
                  <a:gd name="T92" fmla="*/ 6 w 2468"/>
                  <a:gd name="T93" fmla="*/ 314 h 1053"/>
                  <a:gd name="T94" fmla="*/ 0 w 2468"/>
                  <a:gd name="T95" fmla="*/ 360 h 1053"/>
                  <a:gd name="T96" fmla="*/ 2 w 2468"/>
                  <a:gd name="T97" fmla="*/ 425 h 1053"/>
                  <a:gd name="T98" fmla="*/ 7 w 2468"/>
                  <a:gd name="T99" fmla="*/ 491 h 1053"/>
                  <a:gd name="T100" fmla="*/ 18 w 2468"/>
                  <a:gd name="T101" fmla="*/ 585 h 1053"/>
                  <a:gd name="T102" fmla="*/ 20 w 2468"/>
                  <a:gd name="T103" fmla="*/ 615 h 1053"/>
                  <a:gd name="T104" fmla="*/ 22 w 2468"/>
                  <a:gd name="T105" fmla="*/ 724 h 1053"/>
                  <a:gd name="T106" fmla="*/ 18 w 2468"/>
                  <a:gd name="T107" fmla="*/ 943 h 1053"/>
                  <a:gd name="T108" fmla="*/ 15 w 2468"/>
                  <a:gd name="T109" fmla="*/ 1053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53">
                    <a:moveTo>
                      <a:pt x="15" y="1053"/>
                    </a:moveTo>
                    <a:lnTo>
                      <a:pt x="15" y="1053"/>
                    </a:lnTo>
                    <a:lnTo>
                      <a:pt x="140" y="1036"/>
                    </a:lnTo>
                    <a:lnTo>
                      <a:pt x="268" y="1020"/>
                    </a:lnTo>
                    <a:lnTo>
                      <a:pt x="400" y="1006"/>
                    </a:lnTo>
                    <a:lnTo>
                      <a:pt x="535" y="993"/>
                    </a:lnTo>
                    <a:lnTo>
                      <a:pt x="675" y="982"/>
                    </a:lnTo>
                    <a:lnTo>
                      <a:pt x="819" y="973"/>
                    </a:lnTo>
                    <a:lnTo>
                      <a:pt x="967" y="966"/>
                    </a:lnTo>
                    <a:lnTo>
                      <a:pt x="1118" y="959"/>
                    </a:lnTo>
                    <a:lnTo>
                      <a:pt x="1272" y="955"/>
                    </a:lnTo>
                    <a:lnTo>
                      <a:pt x="1431" y="953"/>
                    </a:lnTo>
                    <a:lnTo>
                      <a:pt x="1594" y="951"/>
                    </a:lnTo>
                    <a:lnTo>
                      <a:pt x="1759" y="953"/>
                    </a:lnTo>
                    <a:lnTo>
                      <a:pt x="1928" y="955"/>
                    </a:lnTo>
                    <a:lnTo>
                      <a:pt x="2102" y="959"/>
                    </a:lnTo>
                    <a:lnTo>
                      <a:pt x="2279" y="965"/>
                    </a:lnTo>
                    <a:lnTo>
                      <a:pt x="2459" y="973"/>
                    </a:lnTo>
                    <a:lnTo>
                      <a:pt x="2459" y="973"/>
                    </a:lnTo>
                    <a:lnTo>
                      <a:pt x="2461" y="365"/>
                    </a:lnTo>
                    <a:lnTo>
                      <a:pt x="2461" y="365"/>
                    </a:lnTo>
                    <a:lnTo>
                      <a:pt x="2464" y="334"/>
                    </a:lnTo>
                    <a:lnTo>
                      <a:pt x="2466" y="296"/>
                    </a:lnTo>
                    <a:lnTo>
                      <a:pt x="2468" y="278"/>
                    </a:lnTo>
                    <a:lnTo>
                      <a:pt x="2468" y="259"/>
                    </a:lnTo>
                    <a:lnTo>
                      <a:pt x="2466" y="244"/>
                    </a:lnTo>
                    <a:lnTo>
                      <a:pt x="2464" y="237"/>
                    </a:lnTo>
                    <a:lnTo>
                      <a:pt x="2462" y="230"/>
                    </a:lnTo>
                    <a:lnTo>
                      <a:pt x="2462" y="230"/>
                    </a:lnTo>
                    <a:lnTo>
                      <a:pt x="2455" y="221"/>
                    </a:lnTo>
                    <a:lnTo>
                      <a:pt x="2455" y="221"/>
                    </a:lnTo>
                    <a:lnTo>
                      <a:pt x="2438" y="202"/>
                    </a:lnTo>
                    <a:lnTo>
                      <a:pt x="2419" y="183"/>
                    </a:lnTo>
                    <a:lnTo>
                      <a:pt x="2395" y="165"/>
                    </a:lnTo>
                    <a:lnTo>
                      <a:pt x="2371" y="147"/>
                    </a:lnTo>
                    <a:lnTo>
                      <a:pt x="2343" y="130"/>
                    </a:lnTo>
                    <a:lnTo>
                      <a:pt x="2313" y="113"/>
                    </a:lnTo>
                    <a:lnTo>
                      <a:pt x="2283" y="97"/>
                    </a:lnTo>
                    <a:lnTo>
                      <a:pt x="2252" y="84"/>
                    </a:lnTo>
                    <a:lnTo>
                      <a:pt x="2220" y="70"/>
                    </a:lnTo>
                    <a:lnTo>
                      <a:pt x="2189" y="60"/>
                    </a:lnTo>
                    <a:lnTo>
                      <a:pt x="2158" y="50"/>
                    </a:lnTo>
                    <a:lnTo>
                      <a:pt x="2127" y="42"/>
                    </a:lnTo>
                    <a:lnTo>
                      <a:pt x="2099" y="37"/>
                    </a:lnTo>
                    <a:lnTo>
                      <a:pt x="2072" y="33"/>
                    </a:lnTo>
                    <a:lnTo>
                      <a:pt x="2047" y="31"/>
                    </a:lnTo>
                    <a:lnTo>
                      <a:pt x="2025" y="33"/>
                    </a:lnTo>
                    <a:lnTo>
                      <a:pt x="2025" y="33"/>
                    </a:lnTo>
                    <a:lnTo>
                      <a:pt x="1993" y="35"/>
                    </a:lnTo>
                    <a:lnTo>
                      <a:pt x="1961" y="37"/>
                    </a:lnTo>
                    <a:lnTo>
                      <a:pt x="1928" y="37"/>
                    </a:lnTo>
                    <a:lnTo>
                      <a:pt x="1895" y="35"/>
                    </a:lnTo>
                    <a:lnTo>
                      <a:pt x="1863" y="33"/>
                    </a:lnTo>
                    <a:lnTo>
                      <a:pt x="1830" y="30"/>
                    </a:lnTo>
                    <a:lnTo>
                      <a:pt x="1766" y="22"/>
                    </a:lnTo>
                    <a:lnTo>
                      <a:pt x="1700" y="14"/>
                    </a:lnTo>
                    <a:lnTo>
                      <a:pt x="1635" y="6"/>
                    </a:lnTo>
                    <a:lnTo>
                      <a:pt x="1603" y="3"/>
                    </a:lnTo>
                    <a:lnTo>
                      <a:pt x="1571" y="2"/>
                    </a:lnTo>
                    <a:lnTo>
                      <a:pt x="1537" y="0"/>
                    </a:lnTo>
                    <a:lnTo>
                      <a:pt x="1505" y="0"/>
                    </a:lnTo>
                    <a:lnTo>
                      <a:pt x="1505" y="0"/>
                    </a:lnTo>
                    <a:lnTo>
                      <a:pt x="1158" y="10"/>
                    </a:lnTo>
                    <a:lnTo>
                      <a:pt x="990" y="14"/>
                    </a:lnTo>
                    <a:lnTo>
                      <a:pt x="903" y="14"/>
                    </a:lnTo>
                    <a:lnTo>
                      <a:pt x="812" y="14"/>
                    </a:lnTo>
                    <a:lnTo>
                      <a:pt x="812" y="14"/>
                    </a:lnTo>
                    <a:lnTo>
                      <a:pt x="769" y="14"/>
                    </a:lnTo>
                    <a:lnTo>
                      <a:pt x="728" y="18"/>
                    </a:lnTo>
                    <a:lnTo>
                      <a:pt x="686" y="23"/>
                    </a:lnTo>
                    <a:lnTo>
                      <a:pt x="643" y="30"/>
                    </a:lnTo>
                    <a:lnTo>
                      <a:pt x="601" y="39"/>
                    </a:lnTo>
                    <a:lnTo>
                      <a:pt x="558" y="50"/>
                    </a:lnTo>
                    <a:lnTo>
                      <a:pt x="515" y="61"/>
                    </a:lnTo>
                    <a:lnTo>
                      <a:pt x="474" y="73"/>
                    </a:lnTo>
                    <a:lnTo>
                      <a:pt x="388" y="100"/>
                    </a:lnTo>
                    <a:lnTo>
                      <a:pt x="303" y="128"/>
                    </a:lnTo>
                    <a:lnTo>
                      <a:pt x="219" y="154"/>
                    </a:lnTo>
                    <a:lnTo>
                      <a:pt x="178" y="166"/>
                    </a:lnTo>
                    <a:lnTo>
                      <a:pt x="136" y="177"/>
                    </a:lnTo>
                    <a:lnTo>
                      <a:pt x="136" y="177"/>
                    </a:lnTo>
                    <a:lnTo>
                      <a:pt x="119" y="182"/>
                    </a:lnTo>
                    <a:lnTo>
                      <a:pt x="101" y="189"/>
                    </a:lnTo>
                    <a:lnTo>
                      <a:pt x="86" y="197"/>
                    </a:lnTo>
                    <a:lnTo>
                      <a:pt x="73" y="205"/>
                    </a:lnTo>
                    <a:lnTo>
                      <a:pt x="61" y="214"/>
                    </a:lnTo>
                    <a:lnTo>
                      <a:pt x="50" y="224"/>
                    </a:lnTo>
                    <a:lnTo>
                      <a:pt x="41" y="234"/>
                    </a:lnTo>
                    <a:lnTo>
                      <a:pt x="33" y="247"/>
                    </a:lnTo>
                    <a:lnTo>
                      <a:pt x="25" y="259"/>
                    </a:lnTo>
                    <a:lnTo>
                      <a:pt x="19" y="272"/>
                    </a:lnTo>
                    <a:lnTo>
                      <a:pt x="14" y="286"/>
                    </a:lnTo>
                    <a:lnTo>
                      <a:pt x="10" y="299"/>
                    </a:lnTo>
                    <a:lnTo>
                      <a:pt x="6" y="314"/>
                    </a:lnTo>
                    <a:lnTo>
                      <a:pt x="3" y="329"/>
                    </a:lnTo>
                    <a:lnTo>
                      <a:pt x="0" y="360"/>
                    </a:lnTo>
                    <a:lnTo>
                      <a:pt x="0" y="392"/>
                    </a:lnTo>
                    <a:lnTo>
                      <a:pt x="2" y="425"/>
                    </a:lnTo>
                    <a:lnTo>
                      <a:pt x="4" y="458"/>
                    </a:lnTo>
                    <a:lnTo>
                      <a:pt x="7" y="491"/>
                    </a:lnTo>
                    <a:lnTo>
                      <a:pt x="15" y="556"/>
                    </a:lnTo>
                    <a:lnTo>
                      <a:pt x="18" y="585"/>
                    </a:lnTo>
                    <a:lnTo>
                      <a:pt x="20" y="615"/>
                    </a:lnTo>
                    <a:lnTo>
                      <a:pt x="20" y="615"/>
                    </a:lnTo>
                    <a:lnTo>
                      <a:pt x="22" y="669"/>
                    </a:lnTo>
                    <a:lnTo>
                      <a:pt x="22" y="724"/>
                    </a:lnTo>
                    <a:lnTo>
                      <a:pt x="20" y="834"/>
                    </a:lnTo>
                    <a:lnTo>
                      <a:pt x="18" y="943"/>
                    </a:lnTo>
                    <a:lnTo>
                      <a:pt x="15" y="1053"/>
                    </a:lnTo>
                    <a:lnTo>
                      <a:pt x="15" y="10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8" name="Freeform 168"/>
              <p:cNvSpPr>
                <a:spLocks/>
              </p:cNvSpPr>
              <p:nvPr/>
            </p:nvSpPr>
            <p:spPr bwMode="auto">
              <a:xfrm>
                <a:off x="25177750" y="-784225"/>
                <a:ext cx="1958975" cy="857250"/>
              </a:xfrm>
              <a:custGeom>
                <a:avLst/>
                <a:gdLst>
                  <a:gd name="T0" fmla="*/ 8 w 2468"/>
                  <a:gd name="T1" fmla="*/ 981 h 1082"/>
                  <a:gd name="T2" fmla="*/ 368 w 2468"/>
                  <a:gd name="T3" fmla="*/ 969 h 1082"/>
                  <a:gd name="T4" fmla="*/ 712 w 2468"/>
                  <a:gd name="T5" fmla="*/ 965 h 1082"/>
                  <a:gd name="T6" fmla="*/ 1040 w 2468"/>
                  <a:gd name="T7" fmla="*/ 966 h 1082"/>
                  <a:gd name="T8" fmla="*/ 1355 w 2468"/>
                  <a:gd name="T9" fmla="*/ 975 h 1082"/>
                  <a:gd name="T10" fmla="*/ 1654 w 2468"/>
                  <a:gd name="T11" fmla="*/ 991 h 1082"/>
                  <a:gd name="T12" fmla="*/ 1936 w 2468"/>
                  <a:gd name="T13" fmla="*/ 1014 h 1082"/>
                  <a:gd name="T14" fmla="*/ 2202 w 2468"/>
                  <a:gd name="T15" fmla="*/ 1044 h 1082"/>
                  <a:gd name="T16" fmla="*/ 2452 w 2468"/>
                  <a:gd name="T17" fmla="*/ 1082 h 1082"/>
                  <a:gd name="T18" fmla="*/ 2450 w 2468"/>
                  <a:gd name="T19" fmla="*/ 967 h 1082"/>
                  <a:gd name="T20" fmla="*/ 2445 w 2468"/>
                  <a:gd name="T21" fmla="*/ 740 h 1082"/>
                  <a:gd name="T22" fmla="*/ 2447 w 2468"/>
                  <a:gd name="T23" fmla="*/ 627 h 1082"/>
                  <a:gd name="T24" fmla="*/ 2450 w 2468"/>
                  <a:gd name="T25" fmla="*/ 597 h 1082"/>
                  <a:gd name="T26" fmla="*/ 2460 w 2468"/>
                  <a:gd name="T27" fmla="*/ 503 h 1082"/>
                  <a:gd name="T28" fmla="*/ 2467 w 2468"/>
                  <a:gd name="T29" fmla="*/ 437 h 1082"/>
                  <a:gd name="T30" fmla="*/ 2467 w 2468"/>
                  <a:gd name="T31" fmla="*/ 372 h 1082"/>
                  <a:gd name="T32" fmla="*/ 2462 w 2468"/>
                  <a:gd name="T33" fmla="*/ 326 h 1082"/>
                  <a:gd name="T34" fmla="*/ 2454 w 2468"/>
                  <a:gd name="T35" fmla="*/ 298 h 1082"/>
                  <a:gd name="T36" fmla="*/ 2443 w 2468"/>
                  <a:gd name="T37" fmla="*/ 271 h 1082"/>
                  <a:gd name="T38" fmla="*/ 2427 w 2468"/>
                  <a:gd name="T39" fmla="*/ 246 h 1082"/>
                  <a:gd name="T40" fmla="*/ 2406 w 2468"/>
                  <a:gd name="T41" fmla="*/ 226 h 1082"/>
                  <a:gd name="T42" fmla="*/ 2381 w 2468"/>
                  <a:gd name="T43" fmla="*/ 209 h 1082"/>
                  <a:gd name="T44" fmla="*/ 2350 w 2468"/>
                  <a:gd name="T45" fmla="*/ 194 h 1082"/>
                  <a:gd name="T46" fmla="*/ 2331 w 2468"/>
                  <a:gd name="T47" fmla="*/ 189 h 1082"/>
                  <a:gd name="T48" fmla="*/ 2248 w 2468"/>
                  <a:gd name="T49" fmla="*/ 166 h 1082"/>
                  <a:gd name="T50" fmla="*/ 2080 w 2468"/>
                  <a:gd name="T51" fmla="*/ 108 h 1082"/>
                  <a:gd name="T52" fmla="*/ 1952 w 2468"/>
                  <a:gd name="T53" fmla="*/ 66 h 1082"/>
                  <a:gd name="T54" fmla="*/ 1866 w 2468"/>
                  <a:gd name="T55" fmla="*/ 42 h 1082"/>
                  <a:gd name="T56" fmla="*/ 1781 w 2468"/>
                  <a:gd name="T57" fmla="*/ 25 h 1082"/>
                  <a:gd name="T58" fmla="*/ 1698 w 2468"/>
                  <a:gd name="T59" fmla="*/ 15 h 1082"/>
                  <a:gd name="T60" fmla="*/ 1656 w 2468"/>
                  <a:gd name="T61" fmla="*/ 14 h 1082"/>
                  <a:gd name="T62" fmla="*/ 1468 w 2468"/>
                  <a:gd name="T63" fmla="*/ 14 h 1082"/>
                  <a:gd name="T64" fmla="*/ 1093 w 2468"/>
                  <a:gd name="T65" fmla="*/ 6 h 1082"/>
                  <a:gd name="T66" fmla="*/ 905 w 2468"/>
                  <a:gd name="T67" fmla="*/ 0 h 1082"/>
                  <a:gd name="T68" fmla="*/ 840 w 2468"/>
                  <a:gd name="T69" fmla="*/ 2 h 1082"/>
                  <a:gd name="T70" fmla="*/ 774 w 2468"/>
                  <a:gd name="T71" fmla="*/ 7 h 1082"/>
                  <a:gd name="T72" fmla="*/ 644 w 2468"/>
                  <a:gd name="T73" fmla="*/ 22 h 1082"/>
                  <a:gd name="T74" fmla="*/ 547 w 2468"/>
                  <a:gd name="T75" fmla="*/ 33 h 1082"/>
                  <a:gd name="T76" fmla="*/ 482 w 2468"/>
                  <a:gd name="T77" fmla="*/ 37 h 1082"/>
                  <a:gd name="T78" fmla="*/ 417 w 2468"/>
                  <a:gd name="T79" fmla="*/ 35 h 1082"/>
                  <a:gd name="T80" fmla="*/ 384 w 2468"/>
                  <a:gd name="T81" fmla="*/ 33 h 1082"/>
                  <a:gd name="T82" fmla="*/ 340 w 2468"/>
                  <a:gd name="T83" fmla="*/ 34 h 1082"/>
                  <a:gd name="T84" fmla="*/ 292 w 2468"/>
                  <a:gd name="T85" fmla="*/ 45 h 1082"/>
                  <a:gd name="T86" fmla="*/ 239 w 2468"/>
                  <a:gd name="T87" fmla="*/ 64 h 1082"/>
                  <a:gd name="T88" fmla="*/ 187 w 2468"/>
                  <a:gd name="T89" fmla="*/ 90 h 1082"/>
                  <a:gd name="T90" fmla="*/ 136 w 2468"/>
                  <a:gd name="T91" fmla="*/ 121 h 1082"/>
                  <a:gd name="T92" fmla="*/ 88 w 2468"/>
                  <a:gd name="T93" fmla="*/ 156 h 1082"/>
                  <a:gd name="T94" fmla="*/ 47 w 2468"/>
                  <a:gd name="T95" fmla="*/ 194 h 1082"/>
                  <a:gd name="T96" fmla="*/ 12 w 2468"/>
                  <a:gd name="T97" fmla="*/ 233 h 1082"/>
                  <a:gd name="T98" fmla="*/ 6 w 2468"/>
                  <a:gd name="T99" fmla="*/ 242 h 1082"/>
                  <a:gd name="T100" fmla="*/ 4 w 2468"/>
                  <a:gd name="T101" fmla="*/ 249 h 1082"/>
                  <a:gd name="T102" fmla="*/ 0 w 2468"/>
                  <a:gd name="T103" fmla="*/ 271 h 1082"/>
                  <a:gd name="T104" fmla="*/ 1 w 2468"/>
                  <a:gd name="T105" fmla="*/ 308 h 1082"/>
                  <a:gd name="T106" fmla="*/ 6 w 2468"/>
                  <a:gd name="T107" fmla="*/ 377 h 1082"/>
                  <a:gd name="T108" fmla="*/ 8 w 2468"/>
                  <a:gd name="T109" fmla="*/ 981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82">
                    <a:moveTo>
                      <a:pt x="8" y="981"/>
                    </a:moveTo>
                    <a:lnTo>
                      <a:pt x="8" y="981"/>
                    </a:lnTo>
                    <a:lnTo>
                      <a:pt x="189" y="974"/>
                    </a:lnTo>
                    <a:lnTo>
                      <a:pt x="368" y="969"/>
                    </a:lnTo>
                    <a:lnTo>
                      <a:pt x="542" y="966"/>
                    </a:lnTo>
                    <a:lnTo>
                      <a:pt x="712" y="965"/>
                    </a:lnTo>
                    <a:lnTo>
                      <a:pt x="878" y="965"/>
                    </a:lnTo>
                    <a:lnTo>
                      <a:pt x="1040" y="966"/>
                    </a:lnTo>
                    <a:lnTo>
                      <a:pt x="1200" y="970"/>
                    </a:lnTo>
                    <a:lnTo>
                      <a:pt x="1355" y="975"/>
                    </a:lnTo>
                    <a:lnTo>
                      <a:pt x="1506" y="982"/>
                    </a:lnTo>
                    <a:lnTo>
                      <a:pt x="1654" y="991"/>
                    </a:lnTo>
                    <a:lnTo>
                      <a:pt x="1796" y="1002"/>
                    </a:lnTo>
                    <a:lnTo>
                      <a:pt x="1936" y="1014"/>
                    </a:lnTo>
                    <a:lnTo>
                      <a:pt x="2070" y="1029"/>
                    </a:lnTo>
                    <a:lnTo>
                      <a:pt x="2202" y="1044"/>
                    </a:lnTo>
                    <a:lnTo>
                      <a:pt x="2330" y="1061"/>
                    </a:lnTo>
                    <a:lnTo>
                      <a:pt x="2452" y="1082"/>
                    </a:lnTo>
                    <a:lnTo>
                      <a:pt x="2452" y="1082"/>
                    </a:lnTo>
                    <a:lnTo>
                      <a:pt x="2450" y="967"/>
                    </a:lnTo>
                    <a:lnTo>
                      <a:pt x="2447" y="854"/>
                    </a:lnTo>
                    <a:lnTo>
                      <a:pt x="2445" y="740"/>
                    </a:lnTo>
                    <a:lnTo>
                      <a:pt x="2445" y="684"/>
                    </a:lnTo>
                    <a:lnTo>
                      <a:pt x="2447" y="627"/>
                    </a:lnTo>
                    <a:lnTo>
                      <a:pt x="2447" y="627"/>
                    </a:lnTo>
                    <a:lnTo>
                      <a:pt x="2450" y="597"/>
                    </a:lnTo>
                    <a:lnTo>
                      <a:pt x="2452" y="568"/>
                    </a:lnTo>
                    <a:lnTo>
                      <a:pt x="2460" y="503"/>
                    </a:lnTo>
                    <a:lnTo>
                      <a:pt x="2464" y="470"/>
                    </a:lnTo>
                    <a:lnTo>
                      <a:pt x="2467" y="437"/>
                    </a:lnTo>
                    <a:lnTo>
                      <a:pt x="2468" y="404"/>
                    </a:lnTo>
                    <a:lnTo>
                      <a:pt x="2467" y="372"/>
                    </a:lnTo>
                    <a:lnTo>
                      <a:pt x="2464" y="341"/>
                    </a:lnTo>
                    <a:lnTo>
                      <a:pt x="2462" y="326"/>
                    </a:lnTo>
                    <a:lnTo>
                      <a:pt x="2459" y="311"/>
                    </a:lnTo>
                    <a:lnTo>
                      <a:pt x="2454" y="298"/>
                    </a:lnTo>
                    <a:lnTo>
                      <a:pt x="2450" y="284"/>
                    </a:lnTo>
                    <a:lnTo>
                      <a:pt x="2443" y="271"/>
                    </a:lnTo>
                    <a:lnTo>
                      <a:pt x="2436" y="259"/>
                    </a:lnTo>
                    <a:lnTo>
                      <a:pt x="2427" y="246"/>
                    </a:lnTo>
                    <a:lnTo>
                      <a:pt x="2417" y="236"/>
                    </a:lnTo>
                    <a:lnTo>
                      <a:pt x="2406" y="226"/>
                    </a:lnTo>
                    <a:lnTo>
                      <a:pt x="2394" y="217"/>
                    </a:lnTo>
                    <a:lnTo>
                      <a:pt x="2381" y="209"/>
                    </a:lnTo>
                    <a:lnTo>
                      <a:pt x="2366" y="201"/>
                    </a:lnTo>
                    <a:lnTo>
                      <a:pt x="2350" y="194"/>
                    </a:lnTo>
                    <a:lnTo>
                      <a:pt x="2331" y="189"/>
                    </a:lnTo>
                    <a:lnTo>
                      <a:pt x="2331" y="189"/>
                    </a:lnTo>
                    <a:lnTo>
                      <a:pt x="2290" y="178"/>
                    </a:lnTo>
                    <a:lnTo>
                      <a:pt x="2248" y="166"/>
                    </a:lnTo>
                    <a:lnTo>
                      <a:pt x="2164" y="138"/>
                    </a:lnTo>
                    <a:lnTo>
                      <a:pt x="2080" y="108"/>
                    </a:lnTo>
                    <a:lnTo>
                      <a:pt x="1995" y="80"/>
                    </a:lnTo>
                    <a:lnTo>
                      <a:pt x="1952" y="66"/>
                    </a:lnTo>
                    <a:lnTo>
                      <a:pt x="1909" y="54"/>
                    </a:lnTo>
                    <a:lnTo>
                      <a:pt x="1866" y="42"/>
                    </a:lnTo>
                    <a:lnTo>
                      <a:pt x="1824" y="33"/>
                    </a:lnTo>
                    <a:lnTo>
                      <a:pt x="1781" y="25"/>
                    </a:lnTo>
                    <a:lnTo>
                      <a:pt x="1740" y="19"/>
                    </a:lnTo>
                    <a:lnTo>
                      <a:pt x="1698" y="15"/>
                    </a:lnTo>
                    <a:lnTo>
                      <a:pt x="1656" y="14"/>
                    </a:lnTo>
                    <a:lnTo>
                      <a:pt x="1656" y="14"/>
                    </a:lnTo>
                    <a:lnTo>
                      <a:pt x="1562" y="14"/>
                    </a:lnTo>
                    <a:lnTo>
                      <a:pt x="1468" y="14"/>
                    </a:lnTo>
                    <a:lnTo>
                      <a:pt x="1280" y="11"/>
                    </a:lnTo>
                    <a:lnTo>
                      <a:pt x="1093" y="6"/>
                    </a:lnTo>
                    <a:lnTo>
                      <a:pt x="905" y="0"/>
                    </a:lnTo>
                    <a:lnTo>
                      <a:pt x="905" y="0"/>
                    </a:lnTo>
                    <a:lnTo>
                      <a:pt x="872" y="0"/>
                    </a:lnTo>
                    <a:lnTo>
                      <a:pt x="840" y="2"/>
                    </a:lnTo>
                    <a:lnTo>
                      <a:pt x="806" y="3"/>
                    </a:lnTo>
                    <a:lnTo>
                      <a:pt x="774" y="7"/>
                    </a:lnTo>
                    <a:lnTo>
                      <a:pt x="710" y="14"/>
                    </a:lnTo>
                    <a:lnTo>
                      <a:pt x="644" y="22"/>
                    </a:lnTo>
                    <a:lnTo>
                      <a:pt x="579" y="30"/>
                    </a:lnTo>
                    <a:lnTo>
                      <a:pt x="547" y="33"/>
                    </a:lnTo>
                    <a:lnTo>
                      <a:pt x="515" y="35"/>
                    </a:lnTo>
                    <a:lnTo>
                      <a:pt x="482" y="37"/>
                    </a:lnTo>
                    <a:lnTo>
                      <a:pt x="450" y="37"/>
                    </a:lnTo>
                    <a:lnTo>
                      <a:pt x="417" y="35"/>
                    </a:lnTo>
                    <a:lnTo>
                      <a:pt x="384" y="33"/>
                    </a:lnTo>
                    <a:lnTo>
                      <a:pt x="384" y="33"/>
                    </a:lnTo>
                    <a:lnTo>
                      <a:pt x="363" y="33"/>
                    </a:lnTo>
                    <a:lnTo>
                      <a:pt x="340" y="34"/>
                    </a:lnTo>
                    <a:lnTo>
                      <a:pt x="316" y="38"/>
                    </a:lnTo>
                    <a:lnTo>
                      <a:pt x="292" y="45"/>
                    </a:lnTo>
                    <a:lnTo>
                      <a:pt x="266" y="53"/>
                    </a:lnTo>
                    <a:lnTo>
                      <a:pt x="239" y="64"/>
                    </a:lnTo>
                    <a:lnTo>
                      <a:pt x="214" y="76"/>
                    </a:lnTo>
                    <a:lnTo>
                      <a:pt x="187" y="90"/>
                    </a:lnTo>
                    <a:lnTo>
                      <a:pt x="161" y="105"/>
                    </a:lnTo>
                    <a:lnTo>
                      <a:pt x="136" y="121"/>
                    </a:lnTo>
                    <a:lnTo>
                      <a:pt x="111" y="139"/>
                    </a:lnTo>
                    <a:lnTo>
                      <a:pt x="88" y="156"/>
                    </a:lnTo>
                    <a:lnTo>
                      <a:pt x="67" y="175"/>
                    </a:lnTo>
                    <a:lnTo>
                      <a:pt x="47" y="194"/>
                    </a:lnTo>
                    <a:lnTo>
                      <a:pt x="28" y="214"/>
                    </a:lnTo>
                    <a:lnTo>
                      <a:pt x="12" y="233"/>
                    </a:lnTo>
                    <a:lnTo>
                      <a:pt x="12" y="233"/>
                    </a:lnTo>
                    <a:lnTo>
                      <a:pt x="6" y="242"/>
                    </a:lnTo>
                    <a:lnTo>
                      <a:pt x="6" y="242"/>
                    </a:lnTo>
                    <a:lnTo>
                      <a:pt x="4" y="249"/>
                    </a:lnTo>
                    <a:lnTo>
                      <a:pt x="1" y="256"/>
                    </a:lnTo>
                    <a:lnTo>
                      <a:pt x="0" y="271"/>
                    </a:lnTo>
                    <a:lnTo>
                      <a:pt x="0" y="290"/>
                    </a:lnTo>
                    <a:lnTo>
                      <a:pt x="1" y="308"/>
                    </a:lnTo>
                    <a:lnTo>
                      <a:pt x="4" y="346"/>
                    </a:lnTo>
                    <a:lnTo>
                      <a:pt x="6" y="377"/>
                    </a:lnTo>
                    <a:lnTo>
                      <a:pt x="6" y="377"/>
                    </a:lnTo>
                    <a:lnTo>
                      <a:pt x="8" y="981"/>
                    </a:lnTo>
                    <a:lnTo>
                      <a:pt x="8" y="9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9" name="Freeform 169"/>
              <p:cNvSpPr>
                <a:spLocks/>
              </p:cNvSpPr>
              <p:nvPr/>
            </p:nvSpPr>
            <p:spPr bwMode="auto">
              <a:xfrm>
                <a:off x="25071388" y="117475"/>
                <a:ext cx="2287588" cy="4313238"/>
              </a:xfrm>
              <a:custGeom>
                <a:avLst/>
                <a:gdLst>
                  <a:gd name="T0" fmla="*/ 2732 w 2881"/>
                  <a:gd name="T1" fmla="*/ 4699 h 5434"/>
                  <a:gd name="T2" fmla="*/ 2667 w 2881"/>
                  <a:gd name="T3" fmla="*/ 4451 h 5434"/>
                  <a:gd name="T4" fmla="*/ 2565 w 2881"/>
                  <a:gd name="T5" fmla="*/ 3864 h 5434"/>
                  <a:gd name="T6" fmla="*/ 2517 w 2881"/>
                  <a:gd name="T7" fmla="*/ 3487 h 5434"/>
                  <a:gd name="T8" fmla="*/ 2514 w 2881"/>
                  <a:gd name="T9" fmla="*/ 3144 h 5434"/>
                  <a:gd name="T10" fmla="*/ 2564 w 2881"/>
                  <a:gd name="T11" fmla="*/ 2600 h 5434"/>
                  <a:gd name="T12" fmla="*/ 2583 w 2881"/>
                  <a:gd name="T13" fmla="*/ 2318 h 5434"/>
                  <a:gd name="T14" fmla="*/ 2588 w 2881"/>
                  <a:gd name="T15" fmla="*/ 1593 h 5434"/>
                  <a:gd name="T16" fmla="*/ 2589 w 2881"/>
                  <a:gd name="T17" fmla="*/ 1215 h 5434"/>
                  <a:gd name="T18" fmla="*/ 2585 w 2881"/>
                  <a:gd name="T19" fmla="*/ 277 h 5434"/>
                  <a:gd name="T20" fmla="*/ 2206 w 2881"/>
                  <a:gd name="T21" fmla="*/ 66 h 5434"/>
                  <a:gd name="T22" fmla="*/ 1492 w 2881"/>
                  <a:gd name="T23" fmla="*/ 12 h 5434"/>
                  <a:gd name="T24" fmla="*/ 677 w 2881"/>
                  <a:gd name="T25" fmla="*/ 1 h 5434"/>
                  <a:gd name="T26" fmla="*/ 142 w 2881"/>
                  <a:gd name="T27" fmla="*/ 408 h 5434"/>
                  <a:gd name="T28" fmla="*/ 148 w 2881"/>
                  <a:gd name="T29" fmla="*/ 1452 h 5434"/>
                  <a:gd name="T30" fmla="*/ 205 w 2881"/>
                  <a:gd name="T31" fmla="*/ 2306 h 5434"/>
                  <a:gd name="T32" fmla="*/ 236 w 2881"/>
                  <a:gd name="T33" fmla="*/ 2963 h 5434"/>
                  <a:gd name="T34" fmla="*/ 217 w 2881"/>
                  <a:gd name="T35" fmla="*/ 3633 h 5434"/>
                  <a:gd name="T36" fmla="*/ 240 w 2881"/>
                  <a:gd name="T37" fmla="*/ 3854 h 5434"/>
                  <a:gd name="T38" fmla="*/ 376 w 2881"/>
                  <a:gd name="T39" fmla="*/ 3726 h 5434"/>
                  <a:gd name="T40" fmla="*/ 529 w 2881"/>
                  <a:gd name="T41" fmla="*/ 3632 h 5434"/>
                  <a:gd name="T42" fmla="*/ 696 w 2881"/>
                  <a:gd name="T43" fmla="*/ 3567 h 5434"/>
                  <a:gd name="T44" fmla="*/ 875 w 2881"/>
                  <a:gd name="T45" fmla="*/ 3528 h 5434"/>
                  <a:gd name="T46" fmla="*/ 1187 w 2881"/>
                  <a:gd name="T47" fmla="*/ 3508 h 5434"/>
                  <a:gd name="T48" fmla="*/ 1403 w 2881"/>
                  <a:gd name="T49" fmla="*/ 3520 h 5434"/>
                  <a:gd name="T50" fmla="*/ 1637 w 2881"/>
                  <a:gd name="T51" fmla="*/ 3556 h 5434"/>
                  <a:gd name="T52" fmla="*/ 1842 w 2881"/>
                  <a:gd name="T53" fmla="*/ 3641 h 5434"/>
                  <a:gd name="T54" fmla="*/ 2078 w 2881"/>
                  <a:gd name="T55" fmla="*/ 3769 h 5434"/>
                  <a:gd name="T56" fmla="*/ 2228 w 2881"/>
                  <a:gd name="T57" fmla="*/ 3887 h 5434"/>
                  <a:gd name="T58" fmla="*/ 2312 w 2881"/>
                  <a:gd name="T59" fmla="*/ 3991 h 5434"/>
                  <a:gd name="T60" fmla="*/ 2355 w 2881"/>
                  <a:gd name="T61" fmla="*/ 4089 h 5434"/>
                  <a:gd name="T62" fmla="*/ 2371 w 2881"/>
                  <a:gd name="T63" fmla="*/ 4164 h 5434"/>
                  <a:gd name="T64" fmla="*/ 2373 w 2881"/>
                  <a:gd name="T65" fmla="*/ 4168 h 5434"/>
                  <a:gd name="T66" fmla="*/ 2268 w 2881"/>
                  <a:gd name="T67" fmla="*/ 4084 h 5434"/>
                  <a:gd name="T68" fmla="*/ 2089 w 2881"/>
                  <a:gd name="T69" fmla="*/ 3968 h 5434"/>
                  <a:gd name="T70" fmla="*/ 1905 w 2881"/>
                  <a:gd name="T71" fmla="*/ 3874 h 5434"/>
                  <a:gd name="T72" fmla="*/ 1567 w 2881"/>
                  <a:gd name="T73" fmla="*/ 3755 h 5434"/>
                  <a:gd name="T74" fmla="*/ 1200 w 2881"/>
                  <a:gd name="T75" fmla="*/ 3696 h 5434"/>
                  <a:gd name="T76" fmla="*/ 866 w 2881"/>
                  <a:gd name="T77" fmla="*/ 3706 h 5434"/>
                  <a:gd name="T78" fmla="*/ 585 w 2881"/>
                  <a:gd name="T79" fmla="*/ 3776 h 5434"/>
                  <a:gd name="T80" fmla="*/ 451 w 2881"/>
                  <a:gd name="T81" fmla="*/ 3842 h 5434"/>
                  <a:gd name="T82" fmla="*/ 367 w 2881"/>
                  <a:gd name="T83" fmla="*/ 3910 h 5434"/>
                  <a:gd name="T84" fmla="*/ 293 w 2881"/>
                  <a:gd name="T85" fmla="*/ 4000 h 5434"/>
                  <a:gd name="T86" fmla="*/ 209 w 2881"/>
                  <a:gd name="T87" fmla="*/ 4132 h 5434"/>
                  <a:gd name="T88" fmla="*/ 95 w 2881"/>
                  <a:gd name="T89" fmla="*/ 4418 h 5434"/>
                  <a:gd name="T90" fmla="*/ 27 w 2881"/>
                  <a:gd name="T91" fmla="*/ 4716 h 5434"/>
                  <a:gd name="T92" fmla="*/ 0 w 2881"/>
                  <a:gd name="T93" fmla="*/ 4908 h 5434"/>
                  <a:gd name="T94" fmla="*/ 25 w 2881"/>
                  <a:gd name="T95" fmla="*/ 5079 h 5434"/>
                  <a:gd name="T96" fmla="*/ 75 w 2881"/>
                  <a:gd name="T97" fmla="*/ 5286 h 5434"/>
                  <a:gd name="T98" fmla="*/ 321 w 2881"/>
                  <a:gd name="T99" fmla="*/ 5405 h 5434"/>
                  <a:gd name="T100" fmla="*/ 1777 w 2881"/>
                  <a:gd name="T101" fmla="*/ 5434 h 5434"/>
                  <a:gd name="T102" fmla="*/ 2217 w 2881"/>
                  <a:gd name="T103" fmla="*/ 5424 h 5434"/>
                  <a:gd name="T104" fmla="*/ 2639 w 2881"/>
                  <a:gd name="T105" fmla="*/ 5379 h 5434"/>
                  <a:gd name="T106" fmla="*/ 2752 w 2881"/>
                  <a:gd name="T107" fmla="*/ 5338 h 5434"/>
                  <a:gd name="T108" fmla="*/ 2790 w 2881"/>
                  <a:gd name="T109" fmla="*/ 5279 h 5434"/>
                  <a:gd name="T110" fmla="*/ 2869 w 2881"/>
                  <a:gd name="T111" fmla="*/ 5196 h 5434"/>
                  <a:gd name="T112" fmla="*/ 2881 w 2881"/>
                  <a:gd name="T113" fmla="*/ 5099 h 5434"/>
                  <a:gd name="T114" fmla="*/ 2854 w 2881"/>
                  <a:gd name="T115" fmla="*/ 4767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1" h="5434">
                    <a:moveTo>
                      <a:pt x="2854" y="4767"/>
                    </a:moveTo>
                    <a:lnTo>
                      <a:pt x="2854" y="4767"/>
                    </a:lnTo>
                    <a:lnTo>
                      <a:pt x="2831" y="4755"/>
                    </a:lnTo>
                    <a:lnTo>
                      <a:pt x="2782" y="4726"/>
                    </a:lnTo>
                    <a:lnTo>
                      <a:pt x="2732" y="4699"/>
                    </a:lnTo>
                    <a:lnTo>
                      <a:pt x="2709" y="4686"/>
                    </a:lnTo>
                    <a:lnTo>
                      <a:pt x="2709" y="4686"/>
                    </a:lnTo>
                    <a:lnTo>
                      <a:pt x="2697" y="4608"/>
                    </a:lnTo>
                    <a:lnTo>
                      <a:pt x="2683" y="4530"/>
                    </a:lnTo>
                    <a:lnTo>
                      <a:pt x="2667" y="4451"/>
                    </a:lnTo>
                    <a:lnTo>
                      <a:pt x="2648" y="4371"/>
                    </a:lnTo>
                    <a:lnTo>
                      <a:pt x="2648" y="4371"/>
                    </a:lnTo>
                    <a:lnTo>
                      <a:pt x="2612" y="4168"/>
                    </a:lnTo>
                    <a:lnTo>
                      <a:pt x="2580" y="3965"/>
                    </a:lnTo>
                    <a:lnTo>
                      <a:pt x="2565" y="3864"/>
                    </a:lnTo>
                    <a:lnTo>
                      <a:pt x="2550" y="3762"/>
                    </a:lnTo>
                    <a:lnTo>
                      <a:pt x="2537" y="3660"/>
                    </a:lnTo>
                    <a:lnTo>
                      <a:pt x="2523" y="3558"/>
                    </a:lnTo>
                    <a:lnTo>
                      <a:pt x="2523" y="3558"/>
                    </a:lnTo>
                    <a:lnTo>
                      <a:pt x="2517" y="3487"/>
                    </a:lnTo>
                    <a:lnTo>
                      <a:pt x="2513" y="3417"/>
                    </a:lnTo>
                    <a:lnTo>
                      <a:pt x="2510" y="3347"/>
                    </a:lnTo>
                    <a:lnTo>
                      <a:pt x="2509" y="3278"/>
                    </a:lnTo>
                    <a:lnTo>
                      <a:pt x="2510" y="3211"/>
                    </a:lnTo>
                    <a:lnTo>
                      <a:pt x="2514" y="3144"/>
                    </a:lnTo>
                    <a:lnTo>
                      <a:pt x="2518" y="3076"/>
                    </a:lnTo>
                    <a:lnTo>
                      <a:pt x="2523" y="3009"/>
                    </a:lnTo>
                    <a:lnTo>
                      <a:pt x="2535" y="2875"/>
                    </a:lnTo>
                    <a:lnTo>
                      <a:pt x="2550" y="2739"/>
                    </a:lnTo>
                    <a:lnTo>
                      <a:pt x="2564" y="2600"/>
                    </a:lnTo>
                    <a:lnTo>
                      <a:pt x="2569" y="2529"/>
                    </a:lnTo>
                    <a:lnTo>
                      <a:pt x="2574" y="2458"/>
                    </a:lnTo>
                    <a:lnTo>
                      <a:pt x="2574" y="2458"/>
                    </a:lnTo>
                    <a:lnTo>
                      <a:pt x="2578" y="2388"/>
                    </a:lnTo>
                    <a:lnTo>
                      <a:pt x="2583" y="2318"/>
                    </a:lnTo>
                    <a:lnTo>
                      <a:pt x="2587" y="2177"/>
                    </a:lnTo>
                    <a:lnTo>
                      <a:pt x="2589" y="2032"/>
                    </a:lnTo>
                    <a:lnTo>
                      <a:pt x="2589" y="1885"/>
                    </a:lnTo>
                    <a:lnTo>
                      <a:pt x="2589" y="1740"/>
                    </a:lnTo>
                    <a:lnTo>
                      <a:pt x="2588" y="1593"/>
                    </a:lnTo>
                    <a:lnTo>
                      <a:pt x="2585" y="1308"/>
                    </a:lnTo>
                    <a:lnTo>
                      <a:pt x="2585" y="1308"/>
                    </a:lnTo>
                    <a:lnTo>
                      <a:pt x="2585" y="1373"/>
                    </a:lnTo>
                    <a:lnTo>
                      <a:pt x="2585" y="1373"/>
                    </a:lnTo>
                    <a:lnTo>
                      <a:pt x="2589" y="1215"/>
                    </a:lnTo>
                    <a:lnTo>
                      <a:pt x="2591" y="1059"/>
                    </a:lnTo>
                    <a:lnTo>
                      <a:pt x="2591" y="903"/>
                    </a:lnTo>
                    <a:lnTo>
                      <a:pt x="2589" y="746"/>
                    </a:lnTo>
                    <a:lnTo>
                      <a:pt x="2587" y="433"/>
                    </a:lnTo>
                    <a:lnTo>
                      <a:pt x="2585" y="277"/>
                    </a:lnTo>
                    <a:lnTo>
                      <a:pt x="2585" y="119"/>
                    </a:lnTo>
                    <a:lnTo>
                      <a:pt x="2585" y="119"/>
                    </a:lnTo>
                    <a:lnTo>
                      <a:pt x="2463" y="101"/>
                    </a:lnTo>
                    <a:lnTo>
                      <a:pt x="2336" y="82"/>
                    </a:lnTo>
                    <a:lnTo>
                      <a:pt x="2206" y="66"/>
                    </a:lnTo>
                    <a:lnTo>
                      <a:pt x="2072" y="52"/>
                    </a:lnTo>
                    <a:lnTo>
                      <a:pt x="1933" y="39"/>
                    </a:lnTo>
                    <a:lnTo>
                      <a:pt x="1791" y="28"/>
                    </a:lnTo>
                    <a:lnTo>
                      <a:pt x="1643" y="19"/>
                    </a:lnTo>
                    <a:lnTo>
                      <a:pt x="1492" y="12"/>
                    </a:lnTo>
                    <a:lnTo>
                      <a:pt x="1337" y="6"/>
                    </a:lnTo>
                    <a:lnTo>
                      <a:pt x="1177" y="2"/>
                    </a:lnTo>
                    <a:lnTo>
                      <a:pt x="1015" y="1"/>
                    </a:lnTo>
                    <a:lnTo>
                      <a:pt x="848" y="0"/>
                    </a:lnTo>
                    <a:lnTo>
                      <a:pt x="677" y="1"/>
                    </a:lnTo>
                    <a:lnTo>
                      <a:pt x="503" y="5"/>
                    </a:lnTo>
                    <a:lnTo>
                      <a:pt x="324" y="10"/>
                    </a:lnTo>
                    <a:lnTo>
                      <a:pt x="142" y="17"/>
                    </a:lnTo>
                    <a:lnTo>
                      <a:pt x="142" y="17"/>
                    </a:lnTo>
                    <a:lnTo>
                      <a:pt x="142" y="408"/>
                    </a:lnTo>
                    <a:lnTo>
                      <a:pt x="142" y="408"/>
                    </a:lnTo>
                    <a:lnTo>
                      <a:pt x="142" y="1151"/>
                    </a:lnTo>
                    <a:lnTo>
                      <a:pt x="142" y="1151"/>
                    </a:lnTo>
                    <a:lnTo>
                      <a:pt x="144" y="1301"/>
                    </a:lnTo>
                    <a:lnTo>
                      <a:pt x="148" y="1452"/>
                    </a:lnTo>
                    <a:lnTo>
                      <a:pt x="154" y="1601"/>
                    </a:lnTo>
                    <a:lnTo>
                      <a:pt x="165" y="1752"/>
                    </a:lnTo>
                    <a:lnTo>
                      <a:pt x="165" y="1752"/>
                    </a:lnTo>
                    <a:lnTo>
                      <a:pt x="187" y="2033"/>
                    </a:lnTo>
                    <a:lnTo>
                      <a:pt x="205" y="2306"/>
                    </a:lnTo>
                    <a:lnTo>
                      <a:pt x="215" y="2439"/>
                    </a:lnTo>
                    <a:lnTo>
                      <a:pt x="223" y="2571"/>
                    </a:lnTo>
                    <a:lnTo>
                      <a:pt x="228" y="2703"/>
                    </a:lnTo>
                    <a:lnTo>
                      <a:pt x="234" y="2833"/>
                    </a:lnTo>
                    <a:lnTo>
                      <a:pt x="236" y="2963"/>
                    </a:lnTo>
                    <a:lnTo>
                      <a:pt x="238" y="3095"/>
                    </a:lnTo>
                    <a:lnTo>
                      <a:pt x="236" y="3227"/>
                    </a:lnTo>
                    <a:lnTo>
                      <a:pt x="234" y="3361"/>
                    </a:lnTo>
                    <a:lnTo>
                      <a:pt x="227" y="3496"/>
                    </a:lnTo>
                    <a:lnTo>
                      <a:pt x="217" y="3633"/>
                    </a:lnTo>
                    <a:lnTo>
                      <a:pt x="205" y="3773"/>
                    </a:lnTo>
                    <a:lnTo>
                      <a:pt x="189" y="3916"/>
                    </a:lnTo>
                    <a:lnTo>
                      <a:pt x="189" y="3916"/>
                    </a:lnTo>
                    <a:lnTo>
                      <a:pt x="215" y="3883"/>
                    </a:lnTo>
                    <a:lnTo>
                      <a:pt x="240" y="3854"/>
                    </a:lnTo>
                    <a:lnTo>
                      <a:pt x="266" y="3825"/>
                    </a:lnTo>
                    <a:lnTo>
                      <a:pt x="293" y="3799"/>
                    </a:lnTo>
                    <a:lnTo>
                      <a:pt x="320" y="3773"/>
                    </a:lnTo>
                    <a:lnTo>
                      <a:pt x="348" y="3749"/>
                    </a:lnTo>
                    <a:lnTo>
                      <a:pt x="376" y="3726"/>
                    </a:lnTo>
                    <a:lnTo>
                      <a:pt x="406" y="3704"/>
                    </a:lnTo>
                    <a:lnTo>
                      <a:pt x="435" y="3684"/>
                    </a:lnTo>
                    <a:lnTo>
                      <a:pt x="466" y="3665"/>
                    </a:lnTo>
                    <a:lnTo>
                      <a:pt x="497" y="3648"/>
                    </a:lnTo>
                    <a:lnTo>
                      <a:pt x="529" y="3632"/>
                    </a:lnTo>
                    <a:lnTo>
                      <a:pt x="562" y="3617"/>
                    </a:lnTo>
                    <a:lnTo>
                      <a:pt x="594" y="3602"/>
                    </a:lnTo>
                    <a:lnTo>
                      <a:pt x="628" y="3590"/>
                    </a:lnTo>
                    <a:lnTo>
                      <a:pt x="661" y="3578"/>
                    </a:lnTo>
                    <a:lnTo>
                      <a:pt x="696" y="3567"/>
                    </a:lnTo>
                    <a:lnTo>
                      <a:pt x="731" y="3558"/>
                    </a:lnTo>
                    <a:lnTo>
                      <a:pt x="766" y="3548"/>
                    </a:lnTo>
                    <a:lnTo>
                      <a:pt x="802" y="3540"/>
                    </a:lnTo>
                    <a:lnTo>
                      <a:pt x="839" y="3534"/>
                    </a:lnTo>
                    <a:lnTo>
                      <a:pt x="875" y="3528"/>
                    </a:lnTo>
                    <a:lnTo>
                      <a:pt x="913" y="3523"/>
                    </a:lnTo>
                    <a:lnTo>
                      <a:pt x="952" y="3519"/>
                    </a:lnTo>
                    <a:lnTo>
                      <a:pt x="1028" y="3512"/>
                    </a:lnTo>
                    <a:lnTo>
                      <a:pt x="1108" y="3509"/>
                    </a:lnTo>
                    <a:lnTo>
                      <a:pt x="1187" y="3508"/>
                    </a:lnTo>
                    <a:lnTo>
                      <a:pt x="1270" y="3509"/>
                    </a:lnTo>
                    <a:lnTo>
                      <a:pt x="1270" y="3509"/>
                    </a:lnTo>
                    <a:lnTo>
                      <a:pt x="1304" y="3512"/>
                    </a:lnTo>
                    <a:lnTo>
                      <a:pt x="1350" y="3515"/>
                    </a:lnTo>
                    <a:lnTo>
                      <a:pt x="1403" y="3520"/>
                    </a:lnTo>
                    <a:lnTo>
                      <a:pt x="1463" y="3527"/>
                    </a:lnTo>
                    <a:lnTo>
                      <a:pt x="1520" y="3535"/>
                    </a:lnTo>
                    <a:lnTo>
                      <a:pt x="1574" y="3543"/>
                    </a:lnTo>
                    <a:lnTo>
                      <a:pt x="1618" y="3552"/>
                    </a:lnTo>
                    <a:lnTo>
                      <a:pt x="1637" y="3556"/>
                    </a:lnTo>
                    <a:lnTo>
                      <a:pt x="1651" y="3562"/>
                    </a:lnTo>
                    <a:lnTo>
                      <a:pt x="1651" y="3562"/>
                    </a:lnTo>
                    <a:lnTo>
                      <a:pt x="1719" y="3589"/>
                    </a:lnTo>
                    <a:lnTo>
                      <a:pt x="1783" y="3616"/>
                    </a:lnTo>
                    <a:lnTo>
                      <a:pt x="1842" y="3641"/>
                    </a:lnTo>
                    <a:lnTo>
                      <a:pt x="1897" y="3668"/>
                    </a:lnTo>
                    <a:lnTo>
                      <a:pt x="1948" y="3694"/>
                    </a:lnTo>
                    <a:lnTo>
                      <a:pt x="1995" y="3719"/>
                    </a:lnTo>
                    <a:lnTo>
                      <a:pt x="2038" y="3745"/>
                    </a:lnTo>
                    <a:lnTo>
                      <a:pt x="2078" y="3769"/>
                    </a:lnTo>
                    <a:lnTo>
                      <a:pt x="2115" y="3793"/>
                    </a:lnTo>
                    <a:lnTo>
                      <a:pt x="2147" y="3817"/>
                    </a:lnTo>
                    <a:lnTo>
                      <a:pt x="2176" y="3842"/>
                    </a:lnTo>
                    <a:lnTo>
                      <a:pt x="2203" y="3864"/>
                    </a:lnTo>
                    <a:lnTo>
                      <a:pt x="2228" y="3887"/>
                    </a:lnTo>
                    <a:lnTo>
                      <a:pt x="2249" y="3909"/>
                    </a:lnTo>
                    <a:lnTo>
                      <a:pt x="2268" y="3930"/>
                    </a:lnTo>
                    <a:lnTo>
                      <a:pt x="2285" y="3950"/>
                    </a:lnTo>
                    <a:lnTo>
                      <a:pt x="2300" y="3971"/>
                    </a:lnTo>
                    <a:lnTo>
                      <a:pt x="2312" y="3991"/>
                    </a:lnTo>
                    <a:lnTo>
                      <a:pt x="2323" y="4008"/>
                    </a:lnTo>
                    <a:lnTo>
                      <a:pt x="2332" y="4027"/>
                    </a:lnTo>
                    <a:lnTo>
                      <a:pt x="2340" y="4043"/>
                    </a:lnTo>
                    <a:lnTo>
                      <a:pt x="2346" y="4059"/>
                    </a:lnTo>
                    <a:lnTo>
                      <a:pt x="2355" y="4089"/>
                    </a:lnTo>
                    <a:lnTo>
                      <a:pt x="2362" y="4115"/>
                    </a:lnTo>
                    <a:lnTo>
                      <a:pt x="2365" y="4136"/>
                    </a:lnTo>
                    <a:lnTo>
                      <a:pt x="2367" y="4152"/>
                    </a:lnTo>
                    <a:lnTo>
                      <a:pt x="2371" y="4164"/>
                    </a:lnTo>
                    <a:lnTo>
                      <a:pt x="2371" y="4164"/>
                    </a:lnTo>
                    <a:lnTo>
                      <a:pt x="2385" y="4174"/>
                    </a:lnTo>
                    <a:lnTo>
                      <a:pt x="2385" y="4174"/>
                    </a:lnTo>
                    <a:lnTo>
                      <a:pt x="2379" y="4174"/>
                    </a:lnTo>
                    <a:lnTo>
                      <a:pt x="2377" y="4172"/>
                    </a:lnTo>
                    <a:lnTo>
                      <a:pt x="2373" y="4168"/>
                    </a:lnTo>
                    <a:lnTo>
                      <a:pt x="2371" y="4164"/>
                    </a:lnTo>
                    <a:lnTo>
                      <a:pt x="2371" y="4164"/>
                    </a:lnTo>
                    <a:lnTo>
                      <a:pt x="2336" y="4137"/>
                    </a:lnTo>
                    <a:lnTo>
                      <a:pt x="2303" y="4110"/>
                    </a:lnTo>
                    <a:lnTo>
                      <a:pt x="2268" y="4084"/>
                    </a:lnTo>
                    <a:lnTo>
                      <a:pt x="2233" y="4059"/>
                    </a:lnTo>
                    <a:lnTo>
                      <a:pt x="2198" y="4035"/>
                    </a:lnTo>
                    <a:lnTo>
                      <a:pt x="2162" y="4011"/>
                    </a:lnTo>
                    <a:lnTo>
                      <a:pt x="2125" y="3989"/>
                    </a:lnTo>
                    <a:lnTo>
                      <a:pt x="2089" y="3968"/>
                    </a:lnTo>
                    <a:lnTo>
                      <a:pt x="2053" y="3948"/>
                    </a:lnTo>
                    <a:lnTo>
                      <a:pt x="2016" y="3928"/>
                    </a:lnTo>
                    <a:lnTo>
                      <a:pt x="1979" y="3909"/>
                    </a:lnTo>
                    <a:lnTo>
                      <a:pt x="1943" y="3891"/>
                    </a:lnTo>
                    <a:lnTo>
                      <a:pt x="1905" y="3874"/>
                    </a:lnTo>
                    <a:lnTo>
                      <a:pt x="1867" y="3858"/>
                    </a:lnTo>
                    <a:lnTo>
                      <a:pt x="1793" y="3827"/>
                    </a:lnTo>
                    <a:lnTo>
                      <a:pt x="1718" y="3800"/>
                    </a:lnTo>
                    <a:lnTo>
                      <a:pt x="1643" y="3777"/>
                    </a:lnTo>
                    <a:lnTo>
                      <a:pt x="1567" y="3755"/>
                    </a:lnTo>
                    <a:lnTo>
                      <a:pt x="1492" y="3738"/>
                    </a:lnTo>
                    <a:lnTo>
                      <a:pt x="1418" y="3723"/>
                    </a:lnTo>
                    <a:lnTo>
                      <a:pt x="1344" y="3712"/>
                    </a:lnTo>
                    <a:lnTo>
                      <a:pt x="1272" y="3703"/>
                    </a:lnTo>
                    <a:lnTo>
                      <a:pt x="1200" y="3696"/>
                    </a:lnTo>
                    <a:lnTo>
                      <a:pt x="1130" y="3694"/>
                    </a:lnTo>
                    <a:lnTo>
                      <a:pt x="1062" y="3692"/>
                    </a:lnTo>
                    <a:lnTo>
                      <a:pt x="995" y="3695"/>
                    </a:lnTo>
                    <a:lnTo>
                      <a:pt x="929" y="3699"/>
                    </a:lnTo>
                    <a:lnTo>
                      <a:pt x="866" y="3706"/>
                    </a:lnTo>
                    <a:lnTo>
                      <a:pt x="804" y="3715"/>
                    </a:lnTo>
                    <a:lnTo>
                      <a:pt x="746" y="3727"/>
                    </a:lnTo>
                    <a:lnTo>
                      <a:pt x="689" y="3741"/>
                    </a:lnTo>
                    <a:lnTo>
                      <a:pt x="636" y="3757"/>
                    </a:lnTo>
                    <a:lnTo>
                      <a:pt x="585" y="3776"/>
                    </a:lnTo>
                    <a:lnTo>
                      <a:pt x="537" y="3796"/>
                    </a:lnTo>
                    <a:lnTo>
                      <a:pt x="515" y="3807"/>
                    </a:lnTo>
                    <a:lnTo>
                      <a:pt x="493" y="3817"/>
                    </a:lnTo>
                    <a:lnTo>
                      <a:pt x="472" y="3829"/>
                    </a:lnTo>
                    <a:lnTo>
                      <a:pt x="451" y="3842"/>
                    </a:lnTo>
                    <a:lnTo>
                      <a:pt x="433" y="3855"/>
                    </a:lnTo>
                    <a:lnTo>
                      <a:pt x="415" y="3868"/>
                    </a:lnTo>
                    <a:lnTo>
                      <a:pt x="398" y="3882"/>
                    </a:lnTo>
                    <a:lnTo>
                      <a:pt x="381" y="3897"/>
                    </a:lnTo>
                    <a:lnTo>
                      <a:pt x="367" y="3910"/>
                    </a:lnTo>
                    <a:lnTo>
                      <a:pt x="352" y="3926"/>
                    </a:lnTo>
                    <a:lnTo>
                      <a:pt x="352" y="3926"/>
                    </a:lnTo>
                    <a:lnTo>
                      <a:pt x="332" y="3950"/>
                    </a:lnTo>
                    <a:lnTo>
                      <a:pt x="312" y="3975"/>
                    </a:lnTo>
                    <a:lnTo>
                      <a:pt x="293" y="4000"/>
                    </a:lnTo>
                    <a:lnTo>
                      <a:pt x="274" y="4026"/>
                    </a:lnTo>
                    <a:lnTo>
                      <a:pt x="256" y="4051"/>
                    </a:lnTo>
                    <a:lnTo>
                      <a:pt x="240" y="4078"/>
                    </a:lnTo>
                    <a:lnTo>
                      <a:pt x="224" y="4105"/>
                    </a:lnTo>
                    <a:lnTo>
                      <a:pt x="209" y="4132"/>
                    </a:lnTo>
                    <a:lnTo>
                      <a:pt x="181" y="4188"/>
                    </a:lnTo>
                    <a:lnTo>
                      <a:pt x="156" y="4245"/>
                    </a:lnTo>
                    <a:lnTo>
                      <a:pt x="134" y="4301"/>
                    </a:lnTo>
                    <a:lnTo>
                      <a:pt x="114" y="4361"/>
                    </a:lnTo>
                    <a:lnTo>
                      <a:pt x="95" y="4418"/>
                    </a:lnTo>
                    <a:lnTo>
                      <a:pt x="79" y="4478"/>
                    </a:lnTo>
                    <a:lnTo>
                      <a:pt x="64" y="4538"/>
                    </a:lnTo>
                    <a:lnTo>
                      <a:pt x="51" y="4597"/>
                    </a:lnTo>
                    <a:lnTo>
                      <a:pt x="39" y="4656"/>
                    </a:lnTo>
                    <a:lnTo>
                      <a:pt x="27" y="4716"/>
                    </a:lnTo>
                    <a:lnTo>
                      <a:pt x="6" y="4833"/>
                    </a:lnTo>
                    <a:lnTo>
                      <a:pt x="6" y="4833"/>
                    </a:lnTo>
                    <a:lnTo>
                      <a:pt x="2" y="4851"/>
                    </a:lnTo>
                    <a:lnTo>
                      <a:pt x="1" y="4870"/>
                    </a:lnTo>
                    <a:lnTo>
                      <a:pt x="0" y="4908"/>
                    </a:lnTo>
                    <a:lnTo>
                      <a:pt x="1" y="4943"/>
                    </a:lnTo>
                    <a:lnTo>
                      <a:pt x="4" y="4978"/>
                    </a:lnTo>
                    <a:lnTo>
                      <a:pt x="10" y="5011"/>
                    </a:lnTo>
                    <a:lnTo>
                      <a:pt x="17" y="5045"/>
                    </a:lnTo>
                    <a:lnTo>
                      <a:pt x="25" y="5079"/>
                    </a:lnTo>
                    <a:lnTo>
                      <a:pt x="35" y="5112"/>
                    </a:lnTo>
                    <a:lnTo>
                      <a:pt x="53" y="5180"/>
                    </a:lnTo>
                    <a:lnTo>
                      <a:pt x="61" y="5215"/>
                    </a:lnTo>
                    <a:lnTo>
                      <a:pt x="68" y="5249"/>
                    </a:lnTo>
                    <a:lnTo>
                      <a:pt x="75" y="5286"/>
                    </a:lnTo>
                    <a:lnTo>
                      <a:pt x="79" y="5322"/>
                    </a:lnTo>
                    <a:lnTo>
                      <a:pt x="80" y="5361"/>
                    </a:lnTo>
                    <a:lnTo>
                      <a:pt x="80" y="5401"/>
                    </a:lnTo>
                    <a:lnTo>
                      <a:pt x="80" y="5401"/>
                    </a:lnTo>
                    <a:lnTo>
                      <a:pt x="321" y="5405"/>
                    </a:lnTo>
                    <a:lnTo>
                      <a:pt x="580" y="5412"/>
                    </a:lnTo>
                    <a:lnTo>
                      <a:pt x="1126" y="5424"/>
                    </a:lnTo>
                    <a:lnTo>
                      <a:pt x="1397" y="5430"/>
                    </a:lnTo>
                    <a:lnTo>
                      <a:pt x="1655" y="5434"/>
                    </a:lnTo>
                    <a:lnTo>
                      <a:pt x="1777" y="5434"/>
                    </a:lnTo>
                    <a:lnTo>
                      <a:pt x="1894" y="5434"/>
                    </a:lnTo>
                    <a:lnTo>
                      <a:pt x="2004" y="5432"/>
                    </a:lnTo>
                    <a:lnTo>
                      <a:pt x="2105" y="5430"/>
                    </a:lnTo>
                    <a:lnTo>
                      <a:pt x="2105" y="5430"/>
                    </a:lnTo>
                    <a:lnTo>
                      <a:pt x="2217" y="5424"/>
                    </a:lnTo>
                    <a:lnTo>
                      <a:pt x="2319" y="5419"/>
                    </a:lnTo>
                    <a:lnTo>
                      <a:pt x="2412" y="5411"/>
                    </a:lnTo>
                    <a:lnTo>
                      <a:pt x="2495" y="5401"/>
                    </a:lnTo>
                    <a:lnTo>
                      <a:pt x="2570" y="5391"/>
                    </a:lnTo>
                    <a:lnTo>
                      <a:pt x="2639" y="5379"/>
                    </a:lnTo>
                    <a:lnTo>
                      <a:pt x="2699" y="5366"/>
                    </a:lnTo>
                    <a:lnTo>
                      <a:pt x="2752" y="5353"/>
                    </a:lnTo>
                    <a:lnTo>
                      <a:pt x="2752" y="5353"/>
                    </a:lnTo>
                    <a:lnTo>
                      <a:pt x="2752" y="5345"/>
                    </a:lnTo>
                    <a:lnTo>
                      <a:pt x="2752" y="5338"/>
                    </a:lnTo>
                    <a:lnTo>
                      <a:pt x="2756" y="5325"/>
                    </a:lnTo>
                    <a:lnTo>
                      <a:pt x="2761" y="5313"/>
                    </a:lnTo>
                    <a:lnTo>
                      <a:pt x="2769" y="5301"/>
                    </a:lnTo>
                    <a:lnTo>
                      <a:pt x="2779" y="5290"/>
                    </a:lnTo>
                    <a:lnTo>
                      <a:pt x="2790" y="5279"/>
                    </a:lnTo>
                    <a:lnTo>
                      <a:pt x="2814" y="5259"/>
                    </a:lnTo>
                    <a:lnTo>
                      <a:pt x="2838" y="5236"/>
                    </a:lnTo>
                    <a:lnTo>
                      <a:pt x="2850" y="5224"/>
                    </a:lnTo>
                    <a:lnTo>
                      <a:pt x="2859" y="5210"/>
                    </a:lnTo>
                    <a:lnTo>
                      <a:pt x="2869" y="5196"/>
                    </a:lnTo>
                    <a:lnTo>
                      <a:pt x="2876" y="5181"/>
                    </a:lnTo>
                    <a:lnTo>
                      <a:pt x="2880" y="5162"/>
                    </a:lnTo>
                    <a:lnTo>
                      <a:pt x="2881" y="5143"/>
                    </a:lnTo>
                    <a:lnTo>
                      <a:pt x="2881" y="5143"/>
                    </a:lnTo>
                    <a:lnTo>
                      <a:pt x="2881" y="5099"/>
                    </a:lnTo>
                    <a:lnTo>
                      <a:pt x="2880" y="5053"/>
                    </a:lnTo>
                    <a:lnTo>
                      <a:pt x="2877" y="5007"/>
                    </a:lnTo>
                    <a:lnTo>
                      <a:pt x="2874" y="4960"/>
                    </a:lnTo>
                    <a:lnTo>
                      <a:pt x="2866" y="4865"/>
                    </a:lnTo>
                    <a:lnTo>
                      <a:pt x="2854" y="4767"/>
                    </a:lnTo>
                    <a:lnTo>
                      <a:pt x="2854" y="4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70" name="Group 369"/>
            <p:cNvGrpSpPr>
              <a:grpSpLocks noChangeAspect="1"/>
            </p:cNvGrpSpPr>
            <p:nvPr/>
          </p:nvGrpSpPr>
          <p:grpSpPr>
            <a:xfrm>
              <a:off x="6026224" y="2348819"/>
              <a:ext cx="1771058" cy="345578"/>
              <a:chOff x="5387269" y="3310048"/>
              <a:chExt cx="4864896" cy="314159"/>
            </a:xfrm>
            <a:solidFill>
              <a:schemeClr val="accent2">
                <a:lumMod val="75000"/>
              </a:schemeClr>
            </a:solidFill>
          </p:grpSpPr>
          <p:sp>
            <p:nvSpPr>
              <p:cNvPr id="392" name="Trapezoid 391"/>
              <p:cNvSpPr/>
              <p:nvPr/>
            </p:nvSpPr>
            <p:spPr bwMode="auto">
              <a:xfrm>
                <a:off x="5387269" y="3310048"/>
                <a:ext cx="4864896" cy="256797"/>
              </a:xfrm>
              <a:prstGeom prst="trapezoid">
                <a:avLst>
                  <a:gd name="adj" fmla="val 100094"/>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93" name="Rectangle 392"/>
              <p:cNvSpPr/>
              <p:nvPr/>
            </p:nvSpPr>
            <p:spPr bwMode="auto">
              <a:xfrm>
                <a:off x="5390364" y="3555977"/>
                <a:ext cx="4858704" cy="6823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71" name="Group 370"/>
            <p:cNvGrpSpPr>
              <a:grpSpLocks noChangeAspect="1"/>
            </p:cNvGrpSpPr>
            <p:nvPr/>
          </p:nvGrpSpPr>
          <p:grpSpPr>
            <a:xfrm>
              <a:off x="6257947" y="1979866"/>
              <a:ext cx="396404" cy="524251"/>
              <a:chOff x="22634575" y="-784225"/>
              <a:chExt cx="4724401" cy="5680075"/>
            </a:xfrm>
            <a:solidFill>
              <a:schemeClr val="accent1"/>
            </a:solidFill>
          </p:grpSpPr>
          <p:sp>
            <p:nvSpPr>
              <p:cNvPr id="386" name="Freeform 164"/>
              <p:cNvSpPr>
                <a:spLocks/>
              </p:cNvSpPr>
              <p:nvPr/>
            </p:nvSpPr>
            <p:spPr bwMode="auto">
              <a:xfrm>
                <a:off x="22720300" y="4505325"/>
                <a:ext cx="2135188" cy="390525"/>
              </a:xfrm>
              <a:custGeom>
                <a:avLst/>
                <a:gdLst>
                  <a:gd name="T0" fmla="*/ 1386 w 2689"/>
                  <a:gd name="T1" fmla="*/ 472 h 492"/>
                  <a:gd name="T2" fmla="*/ 1838 w 2689"/>
                  <a:gd name="T3" fmla="*/ 470 h 492"/>
                  <a:gd name="T4" fmla="*/ 2150 w 2689"/>
                  <a:gd name="T5" fmla="*/ 464 h 492"/>
                  <a:gd name="T6" fmla="*/ 2293 w 2689"/>
                  <a:gd name="T7" fmla="*/ 458 h 492"/>
                  <a:gd name="T8" fmla="*/ 2422 w 2689"/>
                  <a:gd name="T9" fmla="*/ 449 h 492"/>
                  <a:gd name="T10" fmla="*/ 2533 w 2689"/>
                  <a:gd name="T11" fmla="*/ 436 h 492"/>
                  <a:gd name="T12" fmla="*/ 2543 w 2689"/>
                  <a:gd name="T13" fmla="*/ 433 h 492"/>
                  <a:gd name="T14" fmla="*/ 2565 w 2689"/>
                  <a:gd name="T15" fmla="*/ 426 h 492"/>
                  <a:gd name="T16" fmla="*/ 2584 w 2689"/>
                  <a:gd name="T17" fmla="*/ 417 h 492"/>
                  <a:gd name="T18" fmla="*/ 2600 w 2689"/>
                  <a:gd name="T19" fmla="*/ 405 h 492"/>
                  <a:gd name="T20" fmla="*/ 2623 w 2689"/>
                  <a:gd name="T21" fmla="*/ 380 h 492"/>
                  <a:gd name="T22" fmla="*/ 2646 w 2689"/>
                  <a:gd name="T23" fmla="*/ 339 h 492"/>
                  <a:gd name="T24" fmla="*/ 2665 w 2689"/>
                  <a:gd name="T25" fmla="*/ 288 h 492"/>
                  <a:gd name="T26" fmla="*/ 2677 w 2689"/>
                  <a:gd name="T27" fmla="*/ 228 h 492"/>
                  <a:gd name="T28" fmla="*/ 2685 w 2689"/>
                  <a:gd name="T29" fmla="*/ 161 h 492"/>
                  <a:gd name="T30" fmla="*/ 2689 w 2689"/>
                  <a:gd name="T31" fmla="*/ 89 h 492"/>
                  <a:gd name="T32" fmla="*/ 2689 w 2689"/>
                  <a:gd name="T33" fmla="*/ 51 h 492"/>
                  <a:gd name="T34" fmla="*/ 2187 w 2689"/>
                  <a:gd name="T35" fmla="*/ 60 h 492"/>
                  <a:gd name="T36" fmla="*/ 1368 w 2689"/>
                  <a:gd name="T37" fmla="*/ 79 h 492"/>
                  <a:gd name="T38" fmla="*/ 987 w 2689"/>
                  <a:gd name="T39" fmla="*/ 83 h 492"/>
                  <a:gd name="T40" fmla="*/ 759 w 2689"/>
                  <a:gd name="T41" fmla="*/ 81 h 492"/>
                  <a:gd name="T42" fmla="*/ 657 w 2689"/>
                  <a:gd name="T43" fmla="*/ 78 h 492"/>
                  <a:gd name="T44" fmla="*/ 438 w 2689"/>
                  <a:gd name="T45" fmla="*/ 67 h 492"/>
                  <a:gd name="T46" fmla="*/ 259 w 2689"/>
                  <a:gd name="T47" fmla="*/ 50 h 492"/>
                  <a:gd name="T48" fmla="*/ 114 w 2689"/>
                  <a:gd name="T49" fmla="*/ 27 h 492"/>
                  <a:gd name="T50" fmla="*/ 0 w 2689"/>
                  <a:gd name="T51" fmla="*/ 0 h 492"/>
                  <a:gd name="T52" fmla="*/ 0 w 2689"/>
                  <a:gd name="T53" fmla="*/ 35 h 492"/>
                  <a:gd name="T54" fmla="*/ 4 w 2689"/>
                  <a:gd name="T55" fmla="*/ 107 h 492"/>
                  <a:gd name="T56" fmla="*/ 16 w 2689"/>
                  <a:gd name="T57" fmla="*/ 181 h 492"/>
                  <a:gd name="T58" fmla="*/ 39 w 2689"/>
                  <a:gd name="T59" fmla="*/ 257 h 492"/>
                  <a:gd name="T60" fmla="*/ 53 w 2689"/>
                  <a:gd name="T61" fmla="*/ 297 h 492"/>
                  <a:gd name="T62" fmla="*/ 66 w 2689"/>
                  <a:gd name="T63" fmla="*/ 323 h 492"/>
                  <a:gd name="T64" fmla="*/ 82 w 2689"/>
                  <a:gd name="T65" fmla="*/ 345 h 492"/>
                  <a:gd name="T66" fmla="*/ 102 w 2689"/>
                  <a:gd name="T67" fmla="*/ 367 h 492"/>
                  <a:gd name="T68" fmla="*/ 125 w 2689"/>
                  <a:gd name="T69" fmla="*/ 386 h 492"/>
                  <a:gd name="T70" fmla="*/ 150 w 2689"/>
                  <a:gd name="T71" fmla="*/ 403 h 492"/>
                  <a:gd name="T72" fmla="*/ 211 w 2689"/>
                  <a:gd name="T73" fmla="*/ 431 h 492"/>
                  <a:gd name="T74" fmla="*/ 282 w 2689"/>
                  <a:gd name="T75" fmla="*/ 454 h 492"/>
                  <a:gd name="T76" fmla="*/ 361 w 2689"/>
                  <a:gd name="T77" fmla="*/ 470 h 492"/>
                  <a:gd name="T78" fmla="*/ 449 w 2689"/>
                  <a:gd name="T79" fmla="*/ 481 h 492"/>
                  <a:gd name="T80" fmla="*/ 541 w 2689"/>
                  <a:gd name="T81" fmla="*/ 488 h 492"/>
                  <a:gd name="T82" fmla="*/ 691 w 2689"/>
                  <a:gd name="T83" fmla="*/ 492 h 492"/>
                  <a:gd name="T84" fmla="*/ 896 w 2689"/>
                  <a:gd name="T85" fmla="*/ 488 h 492"/>
                  <a:gd name="T86" fmla="*/ 1202 w 2689"/>
                  <a:gd name="T87" fmla="*/ 476 h 492"/>
                  <a:gd name="T88" fmla="*/ 1386 w 2689"/>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89" h="492">
                    <a:moveTo>
                      <a:pt x="1386" y="472"/>
                    </a:moveTo>
                    <a:lnTo>
                      <a:pt x="1386" y="472"/>
                    </a:lnTo>
                    <a:lnTo>
                      <a:pt x="1680" y="472"/>
                    </a:lnTo>
                    <a:lnTo>
                      <a:pt x="1838" y="470"/>
                    </a:lnTo>
                    <a:lnTo>
                      <a:pt x="1996" y="468"/>
                    </a:lnTo>
                    <a:lnTo>
                      <a:pt x="2150" y="464"/>
                    </a:lnTo>
                    <a:lnTo>
                      <a:pt x="2223" y="461"/>
                    </a:lnTo>
                    <a:lnTo>
                      <a:pt x="2293" y="458"/>
                    </a:lnTo>
                    <a:lnTo>
                      <a:pt x="2361" y="453"/>
                    </a:lnTo>
                    <a:lnTo>
                      <a:pt x="2422" y="449"/>
                    </a:lnTo>
                    <a:lnTo>
                      <a:pt x="2480" y="442"/>
                    </a:lnTo>
                    <a:lnTo>
                      <a:pt x="2533" y="436"/>
                    </a:lnTo>
                    <a:lnTo>
                      <a:pt x="2533" y="436"/>
                    </a:lnTo>
                    <a:lnTo>
                      <a:pt x="2543" y="433"/>
                    </a:lnTo>
                    <a:lnTo>
                      <a:pt x="2554" y="430"/>
                    </a:lnTo>
                    <a:lnTo>
                      <a:pt x="2565" y="426"/>
                    </a:lnTo>
                    <a:lnTo>
                      <a:pt x="2574" y="422"/>
                    </a:lnTo>
                    <a:lnTo>
                      <a:pt x="2584" y="417"/>
                    </a:lnTo>
                    <a:lnTo>
                      <a:pt x="2592" y="411"/>
                    </a:lnTo>
                    <a:lnTo>
                      <a:pt x="2600" y="405"/>
                    </a:lnTo>
                    <a:lnTo>
                      <a:pt x="2608" y="397"/>
                    </a:lnTo>
                    <a:lnTo>
                      <a:pt x="2623" y="380"/>
                    </a:lnTo>
                    <a:lnTo>
                      <a:pt x="2635" y="360"/>
                    </a:lnTo>
                    <a:lnTo>
                      <a:pt x="2646" y="339"/>
                    </a:lnTo>
                    <a:lnTo>
                      <a:pt x="2656" y="314"/>
                    </a:lnTo>
                    <a:lnTo>
                      <a:pt x="2665" y="288"/>
                    </a:lnTo>
                    <a:lnTo>
                      <a:pt x="2671" y="259"/>
                    </a:lnTo>
                    <a:lnTo>
                      <a:pt x="2677" y="228"/>
                    </a:lnTo>
                    <a:lnTo>
                      <a:pt x="2681" y="196"/>
                    </a:lnTo>
                    <a:lnTo>
                      <a:pt x="2685" y="161"/>
                    </a:lnTo>
                    <a:lnTo>
                      <a:pt x="2687" y="126"/>
                    </a:lnTo>
                    <a:lnTo>
                      <a:pt x="2689" y="89"/>
                    </a:lnTo>
                    <a:lnTo>
                      <a:pt x="2689" y="51"/>
                    </a:lnTo>
                    <a:lnTo>
                      <a:pt x="2689" y="51"/>
                    </a:lnTo>
                    <a:lnTo>
                      <a:pt x="2448" y="55"/>
                    </a:lnTo>
                    <a:lnTo>
                      <a:pt x="2187" y="60"/>
                    </a:lnTo>
                    <a:lnTo>
                      <a:pt x="1640" y="74"/>
                    </a:lnTo>
                    <a:lnTo>
                      <a:pt x="1368" y="79"/>
                    </a:lnTo>
                    <a:lnTo>
                      <a:pt x="1109" y="82"/>
                    </a:lnTo>
                    <a:lnTo>
                      <a:pt x="987" y="83"/>
                    </a:lnTo>
                    <a:lnTo>
                      <a:pt x="870" y="82"/>
                    </a:lnTo>
                    <a:lnTo>
                      <a:pt x="759" y="81"/>
                    </a:lnTo>
                    <a:lnTo>
                      <a:pt x="657" y="78"/>
                    </a:lnTo>
                    <a:lnTo>
                      <a:pt x="657" y="78"/>
                    </a:lnTo>
                    <a:lnTo>
                      <a:pt x="543" y="74"/>
                    </a:lnTo>
                    <a:lnTo>
                      <a:pt x="438" y="67"/>
                    </a:lnTo>
                    <a:lnTo>
                      <a:pt x="344" y="59"/>
                    </a:lnTo>
                    <a:lnTo>
                      <a:pt x="259" y="50"/>
                    </a:lnTo>
                    <a:lnTo>
                      <a:pt x="182" y="39"/>
                    </a:lnTo>
                    <a:lnTo>
                      <a:pt x="114" y="27"/>
                    </a:lnTo>
                    <a:lnTo>
                      <a:pt x="52" y="13"/>
                    </a:lnTo>
                    <a:lnTo>
                      <a:pt x="0" y="0"/>
                    </a:lnTo>
                    <a:lnTo>
                      <a:pt x="0" y="0"/>
                    </a:lnTo>
                    <a:lnTo>
                      <a:pt x="0" y="35"/>
                    </a:lnTo>
                    <a:lnTo>
                      <a:pt x="1" y="71"/>
                    </a:lnTo>
                    <a:lnTo>
                      <a:pt x="4" y="107"/>
                    </a:lnTo>
                    <a:lnTo>
                      <a:pt x="9" y="144"/>
                    </a:lnTo>
                    <a:lnTo>
                      <a:pt x="16" y="181"/>
                    </a:lnTo>
                    <a:lnTo>
                      <a:pt x="27" y="219"/>
                    </a:lnTo>
                    <a:lnTo>
                      <a:pt x="39" y="257"/>
                    </a:lnTo>
                    <a:lnTo>
                      <a:pt x="53" y="297"/>
                    </a:lnTo>
                    <a:lnTo>
                      <a:pt x="53" y="297"/>
                    </a:lnTo>
                    <a:lnTo>
                      <a:pt x="59" y="310"/>
                    </a:lnTo>
                    <a:lnTo>
                      <a:pt x="66" y="323"/>
                    </a:lnTo>
                    <a:lnTo>
                      <a:pt x="74" y="335"/>
                    </a:lnTo>
                    <a:lnTo>
                      <a:pt x="82" y="345"/>
                    </a:lnTo>
                    <a:lnTo>
                      <a:pt x="91" y="356"/>
                    </a:lnTo>
                    <a:lnTo>
                      <a:pt x="102" y="367"/>
                    </a:lnTo>
                    <a:lnTo>
                      <a:pt x="113" y="376"/>
                    </a:lnTo>
                    <a:lnTo>
                      <a:pt x="125" y="386"/>
                    </a:lnTo>
                    <a:lnTo>
                      <a:pt x="137" y="395"/>
                    </a:lnTo>
                    <a:lnTo>
                      <a:pt x="150" y="403"/>
                    </a:lnTo>
                    <a:lnTo>
                      <a:pt x="180" y="418"/>
                    </a:lnTo>
                    <a:lnTo>
                      <a:pt x="211" y="431"/>
                    </a:lnTo>
                    <a:lnTo>
                      <a:pt x="246" y="444"/>
                    </a:lnTo>
                    <a:lnTo>
                      <a:pt x="282" y="454"/>
                    </a:lnTo>
                    <a:lnTo>
                      <a:pt x="321" y="464"/>
                    </a:lnTo>
                    <a:lnTo>
                      <a:pt x="361" y="470"/>
                    </a:lnTo>
                    <a:lnTo>
                      <a:pt x="404" y="477"/>
                    </a:lnTo>
                    <a:lnTo>
                      <a:pt x="449" y="481"/>
                    </a:lnTo>
                    <a:lnTo>
                      <a:pt x="494" y="485"/>
                    </a:lnTo>
                    <a:lnTo>
                      <a:pt x="541" y="488"/>
                    </a:lnTo>
                    <a:lnTo>
                      <a:pt x="590" y="491"/>
                    </a:lnTo>
                    <a:lnTo>
                      <a:pt x="691" y="492"/>
                    </a:lnTo>
                    <a:lnTo>
                      <a:pt x="793" y="491"/>
                    </a:lnTo>
                    <a:lnTo>
                      <a:pt x="896" y="488"/>
                    </a:lnTo>
                    <a:lnTo>
                      <a:pt x="1000" y="484"/>
                    </a:lnTo>
                    <a:lnTo>
                      <a:pt x="1202" y="476"/>
                    </a:lnTo>
                    <a:lnTo>
                      <a:pt x="1296" y="472"/>
                    </a:lnTo>
                    <a:lnTo>
                      <a:pt x="1386" y="472"/>
                    </a:lnTo>
                    <a:lnTo>
                      <a:pt x="1386" y="472"/>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7" name="Freeform 165"/>
              <p:cNvSpPr>
                <a:spLocks/>
              </p:cNvSpPr>
              <p:nvPr/>
            </p:nvSpPr>
            <p:spPr bwMode="auto">
              <a:xfrm>
                <a:off x="25130125" y="4505325"/>
                <a:ext cx="2136775" cy="390525"/>
              </a:xfrm>
              <a:custGeom>
                <a:avLst/>
                <a:gdLst>
                  <a:gd name="T0" fmla="*/ 1302 w 2690"/>
                  <a:gd name="T1" fmla="*/ 472 h 492"/>
                  <a:gd name="T2" fmla="*/ 851 w 2690"/>
                  <a:gd name="T3" fmla="*/ 470 h 492"/>
                  <a:gd name="T4" fmla="*/ 539 w 2690"/>
                  <a:gd name="T5" fmla="*/ 464 h 492"/>
                  <a:gd name="T6" fmla="*/ 395 w 2690"/>
                  <a:gd name="T7" fmla="*/ 458 h 492"/>
                  <a:gd name="T8" fmla="*/ 266 w 2690"/>
                  <a:gd name="T9" fmla="*/ 449 h 492"/>
                  <a:gd name="T10" fmla="*/ 156 w 2690"/>
                  <a:gd name="T11" fmla="*/ 436 h 492"/>
                  <a:gd name="T12" fmla="*/ 145 w 2690"/>
                  <a:gd name="T13" fmla="*/ 433 h 492"/>
                  <a:gd name="T14" fmla="*/ 123 w 2690"/>
                  <a:gd name="T15" fmla="*/ 426 h 492"/>
                  <a:gd name="T16" fmla="*/ 106 w 2690"/>
                  <a:gd name="T17" fmla="*/ 417 h 492"/>
                  <a:gd name="T18" fmla="*/ 88 w 2690"/>
                  <a:gd name="T19" fmla="*/ 405 h 492"/>
                  <a:gd name="T20" fmla="*/ 65 w 2690"/>
                  <a:gd name="T21" fmla="*/ 380 h 492"/>
                  <a:gd name="T22" fmla="*/ 43 w 2690"/>
                  <a:gd name="T23" fmla="*/ 339 h 492"/>
                  <a:gd name="T24" fmla="*/ 24 w 2690"/>
                  <a:gd name="T25" fmla="*/ 288 h 492"/>
                  <a:gd name="T26" fmla="*/ 12 w 2690"/>
                  <a:gd name="T27" fmla="*/ 228 h 492"/>
                  <a:gd name="T28" fmla="*/ 4 w 2690"/>
                  <a:gd name="T29" fmla="*/ 161 h 492"/>
                  <a:gd name="T30" fmla="*/ 1 w 2690"/>
                  <a:gd name="T31" fmla="*/ 89 h 492"/>
                  <a:gd name="T32" fmla="*/ 0 w 2690"/>
                  <a:gd name="T33" fmla="*/ 51 h 492"/>
                  <a:gd name="T34" fmla="*/ 501 w 2690"/>
                  <a:gd name="T35" fmla="*/ 60 h 492"/>
                  <a:gd name="T36" fmla="*/ 1320 w 2690"/>
                  <a:gd name="T37" fmla="*/ 79 h 492"/>
                  <a:gd name="T38" fmla="*/ 1702 w 2690"/>
                  <a:gd name="T39" fmla="*/ 83 h 492"/>
                  <a:gd name="T40" fmla="*/ 1929 w 2690"/>
                  <a:gd name="T41" fmla="*/ 81 h 492"/>
                  <a:gd name="T42" fmla="*/ 2031 w 2690"/>
                  <a:gd name="T43" fmla="*/ 78 h 492"/>
                  <a:gd name="T44" fmla="*/ 2250 w 2690"/>
                  <a:gd name="T45" fmla="*/ 67 h 492"/>
                  <a:gd name="T46" fmla="*/ 2431 w 2690"/>
                  <a:gd name="T47" fmla="*/ 50 h 492"/>
                  <a:gd name="T48" fmla="*/ 2576 w 2690"/>
                  <a:gd name="T49" fmla="*/ 27 h 492"/>
                  <a:gd name="T50" fmla="*/ 2690 w 2690"/>
                  <a:gd name="T51" fmla="*/ 0 h 492"/>
                  <a:gd name="T52" fmla="*/ 2689 w 2690"/>
                  <a:gd name="T53" fmla="*/ 35 h 492"/>
                  <a:gd name="T54" fmla="*/ 2685 w 2690"/>
                  <a:gd name="T55" fmla="*/ 107 h 492"/>
                  <a:gd name="T56" fmla="*/ 2673 w 2690"/>
                  <a:gd name="T57" fmla="*/ 181 h 492"/>
                  <a:gd name="T58" fmla="*/ 2651 w 2690"/>
                  <a:gd name="T59" fmla="*/ 257 h 492"/>
                  <a:gd name="T60" fmla="*/ 2635 w 2690"/>
                  <a:gd name="T61" fmla="*/ 297 h 492"/>
                  <a:gd name="T62" fmla="*/ 2623 w 2690"/>
                  <a:gd name="T63" fmla="*/ 323 h 492"/>
                  <a:gd name="T64" fmla="*/ 2607 w 2690"/>
                  <a:gd name="T65" fmla="*/ 345 h 492"/>
                  <a:gd name="T66" fmla="*/ 2586 w 2690"/>
                  <a:gd name="T67" fmla="*/ 367 h 492"/>
                  <a:gd name="T68" fmla="*/ 2564 w 2690"/>
                  <a:gd name="T69" fmla="*/ 386 h 492"/>
                  <a:gd name="T70" fmla="*/ 2538 w 2690"/>
                  <a:gd name="T71" fmla="*/ 403 h 492"/>
                  <a:gd name="T72" fmla="*/ 2478 w 2690"/>
                  <a:gd name="T73" fmla="*/ 431 h 492"/>
                  <a:gd name="T74" fmla="*/ 2406 w 2690"/>
                  <a:gd name="T75" fmla="*/ 454 h 492"/>
                  <a:gd name="T76" fmla="*/ 2327 w 2690"/>
                  <a:gd name="T77" fmla="*/ 470 h 492"/>
                  <a:gd name="T78" fmla="*/ 2240 w 2690"/>
                  <a:gd name="T79" fmla="*/ 481 h 492"/>
                  <a:gd name="T80" fmla="*/ 2147 w 2690"/>
                  <a:gd name="T81" fmla="*/ 488 h 492"/>
                  <a:gd name="T82" fmla="*/ 1999 w 2690"/>
                  <a:gd name="T83" fmla="*/ 492 h 492"/>
                  <a:gd name="T84" fmla="*/ 1792 w 2690"/>
                  <a:gd name="T85" fmla="*/ 488 h 492"/>
                  <a:gd name="T86" fmla="*/ 1487 w 2690"/>
                  <a:gd name="T87" fmla="*/ 476 h 492"/>
                  <a:gd name="T88" fmla="*/ 1302 w 2690"/>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90" h="492">
                    <a:moveTo>
                      <a:pt x="1302" y="472"/>
                    </a:moveTo>
                    <a:lnTo>
                      <a:pt x="1302" y="472"/>
                    </a:lnTo>
                    <a:lnTo>
                      <a:pt x="1008" y="472"/>
                    </a:lnTo>
                    <a:lnTo>
                      <a:pt x="851" y="470"/>
                    </a:lnTo>
                    <a:lnTo>
                      <a:pt x="692" y="468"/>
                    </a:lnTo>
                    <a:lnTo>
                      <a:pt x="539" y="464"/>
                    </a:lnTo>
                    <a:lnTo>
                      <a:pt x="466" y="461"/>
                    </a:lnTo>
                    <a:lnTo>
                      <a:pt x="395" y="458"/>
                    </a:lnTo>
                    <a:lnTo>
                      <a:pt x="328" y="453"/>
                    </a:lnTo>
                    <a:lnTo>
                      <a:pt x="266" y="449"/>
                    </a:lnTo>
                    <a:lnTo>
                      <a:pt x="208" y="442"/>
                    </a:lnTo>
                    <a:lnTo>
                      <a:pt x="156" y="436"/>
                    </a:lnTo>
                    <a:lnTo>
                      <a:pt x="156" y="436"/>
                    </a:lnTo>
                    <a:lnTo>
                      <a:pt x="145" y="433"/>
                    </a:lnTo>
                    <a:lnTo>
                      <a:pt x="134" y="430"/>
                    </a:lnTo>
                    <a:lnTo>
                      <a:pt x="123" y="426"/>
                    </a:lnTo>
                    <a:lnTo>
                      <a:pt x="114" y="422"/>
                    </a:lnTo>
                    <a:lnTo>
                      <a:pt x="106" y="417"/>
                    </a:lnTo>
                    <a:lnTo>
                      <a:pt x="96" y="411"/>
                    </a:lnTo>
                    <a:lnTo>
                      <a:pt x="88" y="405"/>
                    </a:lnTo>
                    <a:lnTo>
                      <a:pt x="80" y="397"/>
                    </a:lnTo>
                    <a:lnTo>
                      <a:pt x="65" y="380"/>
                    </a:lnTo>
                    <a:lnTo>
                      <a:pt x="53" y="360"/>
                    </a:lnTo>
                    <a:lnTo>
                      <a:pt x="43" y="339"/>
                    </a:lnTo>
                    <a:lnTo>
                      <a:pt x="33" y="314"/>
                    </a:lnTo>
                    <a:lnTo>
                      <a:pt x="24" y="288"/>
                    </a:lnTo>
                    <a:lnTo>
                      <a:pt x="17" y="259"/>
                    </a:lnTo>
                    <a:lnTo>
                      <a:pt x="12" y="228"/>
                    </a:lnTo>
                    <a:lnTo>
                      <a:pt x="8" y="196"/>
                    </a:lnTo>
                    <a:lnTo>
                      <a:pt x="4" y="161"/>
                    </a:lnTo>
                    <a:lnTo>
                      <a:pt x="2" y="126"/>
                    </a:lnTo>
                    <a:lnTo>
                      <a:pt x="1" y="89"/>
                    </a:lnTo>
                    <a:lnTo>
                      <a:pt x="0" y="51"/>
                    </a:lnTo>
                    <a:lnTo>
                      <a:pt x="0" y="51"/>
                    </a:lnTo>
                    <a:lnTo>
                      <a:pt x="240" y="55"/>
                    </a:lnTo>
                    <a:lnTo>
                      <a:pt x="501" y="60"/>
                    </a:lnTo>
                    <a:lnTo>
                      <a:pt x="1048" y="74"/>
                    </a:lnTo>
                    <a:lnTo>
                      <a:pt x="1320" y="79"/>
                    </a:lnTo>
                    <a:lnTo>
                      <a:pt x="1579" y="82"/>
                    </a:lnTo>
                    <a:lnTo>
                      <a:pt x="1702" y="83"/>
                    </a:lnTo>
                    <a:lnTo>
                      <a:pt x="1819" y="82"/>
                    </a:lnTo>
                    <a:lnTo>
                      <a:pt x="1929" y="81"/>
                    </a:lnTo>
                    <a:lnTo>
                      <a:pt x="2031" y="78"/>
                    </a:lnTo>
                    <a:lnTo>
                      <a:pt x="2031" y="78"/>
                    </a:lnTo>
                    <a:lnTo>
                      <a:pt x="2145" y="74"/>
                    </a:lnTo>
                    <a:lnTo>
                      <a:pt x="2250" y="67"/>
                    </a:lnTo>
                    <a:lnTo>
                      <a:pt x="2344" y="59"/>
                    </a:lnTo>
                    <a:lnTo>
                      <a:pt x="2431" y="50"/>
                    </a:lnTo>
                    <a:lnTo>
                      <a:pt x="2507" y="39"/>
                    </a:lnTo>
                    <a:lnTo>
                      <a:pt x="2576" y="27"/>
                    </a:lnTo>
                    <a:lnTo>
                      <a:pt x="2636" y="13"/>
                    </a:lnTo>
                    <a:lnTo>
                      <a:pt x="2690" y="0"/>
                    </a:lnTo>
                    <a:lnTo>
                      <a:pt x="2690" y="0"/>
                    </a:lnTo>
                    <a:lnTo>
                      <a:pt x="2689" y="35"/>
                    </a:lnTo>
                    <a:lnTo>
                      <a:pt x="2687" y="71"/>
                    </a:lnTo>
                    <a:lnTo>
                      <a:pt x="2685" y="107"/>
                    </a:lnTo>
                    <a:lnTo>
                      <a:pt x="2679" y="144"/>
                    </a:lnTo>
                    <a:lnTo>
                      <a:pt x="2673" y="181"/>
                    </a:lnTo>
                    <a:lnTo>
                      <a:pt x="2663" y="219"/>
                    </a:lnTo>
                    <a:lnTo>
                      <a:pt x="2651" y="257"/>
                    </a:lnTo>
                    <a:lnTo>
                      <a:pt x="2635" y="297"/>
                    </a:lnTo>
                    <a:lnTo>
                      <a:pt x="2635" y="297"/>
                    </a:lnTo>
                    <a:lnTo>
                      <a:pt x="2630" y="310"/>
                    </a:lnTo>
                    <a:lnTo>
                      <a:pt x="2623" y="323"/>
                    </a:lnTo>
                    <a:lnTo>
                      <a:pt x="2615" y="335"/>
                    </a:lnTo>
                    <a:lnTo>
                      <a:pt x="2607" y="345"/>
                    </a:lnTo>
                    <a:lnTo>
                      <a:pt x="2597" y="356"/>
                    </a:lnTo>
                    <a:lnTo>
                      <a:pt x="2586" y="367"/>
                    </a:lnTo>
                    <a:lnTo>
                      <a:pt x="2576" y="376"/>
                    </a:lnTo>
                    <a:lnTo>
                      <a:pt x="2564" y="386"/>
                    </a:lnTo>
                    <a:lnTo>
                      <a:pt x="2552" y="395"/>
                    </a:lnTo>
                    <a:lnTo>
                      <a:pt x="2538" y="403"/>
                    </a:lnTo>
                    <a:lnTo>
                      <a:pt x="2509" y="418"/>
                    </a:lnTo>
                    <a:lnTo>
                      <a:pt x="2478" y="431"/>
                    </a:lnTo>
                    <a:lnTo>
                      <a:pt x="2443" y="444"/>
                    </a:lnTo>
                    <a:lnTo>
                      <a:pt x="2406" y="454"/>
                    </a:lnTo>
                    <a:lnTo>
                      <a:pt x="2367" y="464"/>
                    </a:lnTo>
                    <a:lnTo>
                      <a:pt x="2327" y="470"/>
                    </a:lnTo>
                    <a:lnTo>
                      <a:pt x="2284" y="477"/>
                    </a:lnTo>
                    <a:lnTo>
                      <a:pt x="2240" y="481"/>
                    </a:lnTo>
                    <a:lnTo>
                      <a:pt x="2194" y="485"/>
                    </a:lnTo>
                    <a:lnTo>
                      <a:pt x="2147" y="488"/>
                    </a:lnTo>
                    <a:lnTo>
                      <a:pt x="2098" y="491"/>
                    </a:lnTo>
                    <a:lnTo>
                      <a:pt x="1999" y="492"/>
                    </a:lnTo>
                    <a:lnTo>
                      <a:pt x="1895" y="491"/>
                    </a:lnTo>
                    <a:lnTo>
                      <a:pt x="1792" y="488"/>
                    </a:lnTo>
                    <a:lnTo>
                      <a:pt x="1688" y="484"/>
                    </a:lnTo>
                    <a:lnTo>
                      <a:pt x="1487" y="476"/>
                    </a:lnTo>
                    <a:lnTo>
                      <a:pt x="1393" y="472"/>
                    </a:lnTo>
                    <a:lnTo>
                      <a:pt x="1302" y="472"/>
                    </a:lnTo>
                    <a:lnTo>
                      <a:pt x="1302" y="472"/>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8" name="Freeform 166"/>
              <p:cNvSpPr>
                <a:spLocks/>
              </p:cNvSpPr>
              <p:nvPr/>
            </p:nvSpPr>
            <p:spPr bwMode="auto">
              <a:xfrm>
                <a:off x="22634575" y="117475"/>
                <a:ext cx="2265363" cy="4313238"/>
              </a:xfrm>
              <a:custGeom>
                <a:avLst/>
                <a:gdLst>
                  <a:gd name="T0" fmla="*/ 2402 w 2854"/>
                  <a:gd name="T1" fmla="*/ 3733 h 5434"/>
                  <a:gd name="T2" fmla="*/ 2240 w 2854"/>
                  <a:gd name="T3" fmla="*/ 3629 h 5434"/>
                  <a:gd name="T4" fmla="*/ 2058 w 2854"/>
                  <a:gd name="T5" fmla="*/ 3566 h 5434"/>
                  <a:gd name="T6" fmla="*/ 1854 w 2854"/>
                  <a:gd name="T7" fmla="*/ 3535 h 5434"/>
                  <a:gd name="T8" fmla="*/ 1584 w 2854"/>
                  <a:gd name="T9" fmla="*/ 3531 h 5434"/>
                  <a:gd name="T10" fmla="*/ 1180 w 2854"/>
                  <a:gd name="T11" fmla="*/ 3563 h 5434"/>
                  <a:gd name="T12" fmla="*/ 1144 w 2854"/>
                  <a:gd name="T13" fmla="*/ 3574 h 5434"/>
                  <a:gd name="T14" fmla="*/ 914 w 2854"/>
                  <a:gd name="T15" fmla="*/ 3595 h 5434"/>
                  <a:gd name="T16" fmla="*/ 797 w 2854"/>
                  <a:gd name="T17" fmla="*/ 3587 h 5434"/>
                  <a:gd name="T18" fmla="*/ 771 w 2854"/>
                  <a:gd name="T19" fmla="*/ 3567 h 5434"/>
                  <a:gd name="T20" fmla="*/ 798 w 2854"/>
                  <a:gd name="T21" fmla="*/ 3534 h 5434"/>
                  <a:gd name="T22" fmla="*/ 890 w 2854"/>
                  <a:gd name="T23" fmla="*/ 3487 h 5434"/>
                  <a:gd name="T24" fmla="*/ 1234 w 2854"/>
                  <a:gd name="T25" fmla="*/ 3433 h 5434"/>
                  <a:gd name="T26" fmla="*/ 1602 w 2854"/>
                  <a:gd name="T27" fmla="*/ 3394 h 5434"/>
                  <a:gd name="T28" fmla="*/ 1996 w 2854"/>
                  <a:gd name="T29" fmla="*/ 3405 h 5434"/>
                  <a:gd name="T30" fmla="*/ 2177 w 2854"/>
                  <a:gd name="T31" fmla="*/ 3435 h 5434"/>
                  <a:gd name="T32" fmla="*/ 2343 w 2854"/>
                  <a:gd name="T33" fmla="*/ 3492 h 5434"/>
                  <a:gd name="T34" fmla="*/ 2495 w 2854"/>
                  <a:gd name="T35" fmla="*/ 3579 h 5434"/>
                  <a:gd name="T36" fmla="*/ 2632 w 2854"/>
                  <a:gd name="T37" fmla="*/ 3704 h 5434"/>
                  <a:gd name="T38" fmla="*/ 2654 w 2854"/>
                  <a:gd name="T39" fmla="*/ 3489 h 5434"/>
                  <a:gd name="T40" fmla="*/ 2635 w 2854"/>
                  <a:gd name="T41" fmla="*/ 2875 h 5434"/>
                  <a:gd name="T42" fmla="*/ 2666 w 2854"/>
                  <a:gd name="T43" fmla="*/ 2282 h 5434"/>
                  <a:gd name="T44" fmla="*/ 2724 w 2854"/>
                  <a:gd name="T45" fmla="*/ 1452 h 5434"/>
                  <a:gd name="T46" fmla="*/ 2729 w 2854"/>
                  <a:gd name="T47" fmla="*/ 408 h 5434"/>
                  <a:gd name="T48" fmla="*/ 2197 w 2854"/>
                  <a:gd name="T49" fmla="*/ 4 h 5434"/>
                  <a:gd name="T50" fmla="*/ 1385 w 2854"/>
                  <a:gd name="T51" fmla="*/ 8 h 5434"/>
                  <a:gd name="T52" fmla="*/ 668 w 2854"/>
                  <a:gd name="T53" fmla="*/ 55 h 5434"/>
                  <a:gd name="T54" fmla="*/ 286 w 2854"/>
                  <a:gd name="T55" fmla="*/ 262 h 5434"/>
                  <a:gd name="T56" fmla="*/ 282 w 2854"/>
                  <a:gd name="T57" fmla="*/ 1214 h 5434"/>
                  <a:gd name="T58" fmla="*/ 287 w 2854"/>
                  <a:gd name="T59" fmla="*/ 1234 h 5434"/>
                  <a:gd name="T60" fmla="*/ 308 w 2854"/>
                  <a:gd name="T61" fmla="*/ 1600 h 5434"/>
                  <a:gd name="T62" fmla="*/ 382 w 2854"/>
                  <a:gd name="T63" fmla="*/ 2181 h 5434"/>
                  <a:gd name="T64" fmla="*/ 404 w 2854"/>
                  <a:gd name="T65" fmla="*/ 2473 h 5434"/>
                  <a:gd name="T66" fmla="*/ 407 w 2854"/>
                  <a:gd name="T67" fmla="*/ 2834 h 5434"/>
                  <a:gd name="T68" fmla="*/ 364 w 2854"/>
                  <a:gd name="T69" fmla="*/ 3414 h 5434"/>
                  <a:gd name="T70" fmla="*/ 306 w 2854"/>
                  <a:gd name="T71" fmla="*/ 3864 h 5434"/>
                  <a:gd name="T72" fmla="*/ 205 w 2854"/>
                  <a:gd name="T73" fmla="*/ 4451 h 5434"/>
                  <a:gd name="T74" fmla="*/ 141 w 2854"/>
                  <a:gd name="T75" fmla="*/ 4690 h 5434"/>
                  <a:gd name="T76" fmla="*/ 15 w 2854"/>
                  <a:gd name="T77" fmla="*/ 4807 h 5434"/>
                  <a:gd name="T78" fmla="*/ 0 w 2854"/>
                  <a:gd name="T79" fmla="*/ 5085 h 5434"/>
                  <a:gd name="T80" fmla="*/ 20 w 2854"/>
                  <a:gd name="T81" fmla="*/ 5162 h 5434"/>
                  <a:gd name="T82" fmla="*/ 95 w 2854"/>
                  <a:gd name="T83" fmla="*/ 5276 h 5434"/>
                  <a:gd name="T84" fmla="*/ 119 w 2854"/>
                  <a:gd name="T85" fmla="*/ 5353 h 5434"/>
                  <a:gd name="T86" fmla="*/ 376 w 2854"/>
                  <a:gd name="T87" fmla="*/ 5401 h 5434"/>
                  <a:gd name="T88" fmla="*/ 766 w 2854"/>
                  <a:gd name="T89" fmla="*/ 5430 h 5434"/>
                  <a:gd name="T90" fmla="*/ 1475 w 2854"/>
                  <a:gd name="T91" fmla="*/ 5430 h 5434"/>
                  <a:gd name="T92" fmla="*/ 2792 w 2854"/>
                  <a:gd name="T93" fmla="*/ 5401 h 5434"/>
                  <a:gd name="T94" fmla="*/ 2779 w 2854"/>
                  <a:gd name="T95" fmla="*/ 5302 h 5434"/>
                  <a:gd name="T96" fmla="*/ 2779 w 2854"/>
                  <a:gd name="T97" fmla="*/ 5302 h 5434"/>
                  <a:gd name="T98" fmla="*/ 2808 w 2854"/>
                  <a:gd name="T99" fmla="*/ 5299 h 5434"/>
                  <a:gd name="T100" fmla="*/ 2835 w 2854"/>
                  <a:gd name="T101" fmla="*/ 5272 h 5434"/>
                  <a:gd name="T102" fmla="*/ 2846 w 2854"/>
                  <a:gd name="T103" fmla="*/ 5224 h 5434"/>
                  <a:gd name="T104" fmla="*/ 2854 w 2854"/>
                  <a:gd name="T105" fmla="*/ 4722 h 5434"/>
                  <a:gd name="T106" fmla="*/ 2831 w 2854"/>
                  <a:gd name="T107" fmla="*/ 4383 h 5434"/>
                  <a:gd name="T108" fmla="*/ 2784 w 2854"/>
                  <a:gd name="T109" fmla="*/ 4170 h 5434"/>
                  <a:gd name="T110" fmla="*/ 2716 w 2854"/>
                  <a:gd name="T111" fmla="*/ 4038 h 5434"/>
                  <a:gd name="T112" fmla="*/ 2611 w 2854"/>
                  <a:gd name="T113" fmla="*/ 3932 h 5434"/>
                  <a:gd name="T114" fmla="*/ 2488 w 2854"/>
                  <a:gd name="T115" fmla="*/ 3816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4" h="5434">
                    <a:moveTo>
                      <a:pt x="2488" y="3816"/>
                    </a:moveTo>
                    <a:lnTo>
                      <a:pt x="2488" y="3816"/>
                    </a:lnTo>
                    <a:lnTo>
                      <a:pt x="2460" y="3786"/>
                    </a:lnTo>
                    <a:lnTo>
                      <a:pt x="2432" y="3758"/>
                    </a:lnTo>
                    <a:lnTo>
                      <a:pt x="2402" y="3733"/>
                    </a:lnTo>
                    <a:lnTo>
                      <a:pt x="2371" y="3708"/>
                    </a:lnTo>
                    <a:lnTo>
                      <a:pt x="2339" y="3686"/>
                    </a:lnTo>
                    <a:lnTo>
                      <a:pt x="2307" y="3665"/>
                    </a:lnTo>
                    <a:lnTo>
                      <a:pt x="2275" y="3647"/>
                    </a:lnTo>
                    <a:lnTo>
                      <a:pt x="2240" y="3629"/>
                    </a:lnTo>
                    <a:lnTo>
                      <a:pt x="2206" y="3614"/>
                    </a:lnTo>
                    <a:lnTo>
                      <a:pt x="2170" y="3600"/>
                    </a:lnTo>
                    <a:lnTo>
                      <a:pt x="2134" y="3587"/>
                    </a:lnTo>
                    <a:lnTo>
                      <a:pt x="2096" y="3575"/>
                    </a:lnTo>
                    <a:lnTo>
                      <a:pt x="2058" y="3566"/>
                    </a:lnTo>
                    <a:lnTo>
                      <a:pt x="2018" y="3558"/>
                    </a:lnTo>
                    <a:lnTo>
                      <a:pt x="1979" y="3550"/>
                    </a:lnTo>
                    <a:lnTo>
                      <a:pt x="1937" y="3544"/>
                    </a:lnTo>
                    <a:lnTo>
                      <a:pt x="1897" y="3539"/>
                    </a:lnTo>
                    <a:lnTo>
                      <a:pt x="1854" y="3535"/>
                    </a:lnTo>
                    <a:lnTo>
                      <a:pt x="1811" y="3532"/>
                    </a:lnTo>
                    <a:lnTo>
                      <a:pt x="1766" y="3531"/>
                    </a:lnTo>
                    <a:lnTo>
                      <a:pt x="1722" y="3530"/>
                    </a:lnTo>
                    <a:lnTo>
                      <a:pt x="1676" y="3530"/>
                    </a:lnTo>
                    <a:lnTo>
                      <a:pt x="1584" y="3531"/>
                    </a:lnTo>
                    <a:lnTo>
                      <a:pt x="1487" y="3536"/>
                    </a:lnTo>
                    <a:lnTo>
                      <a:pt x="1387" y="3543"/>
                    </a:lnTo>
                    <a:lnTo>
                      <a:pt x="1285" y="3552"/>
                    </a:lnTo>
                    <a:lnTo>
                      <a:pt x="1180" y="3563"/>
                    </a:lnTo>
                    <a:lnTo>
                      <a:pt x="1180" y="3563"/>
                    </a:lnTo>
                    <a:lnTo>
                      <a:pt x="1184" y="3565"/>
                    </a:lnTo>
                    <a:lnTo>
                      <a:pt x="1184" y="3565"/>
                    </a:lnTo>
                    <a:lnTo>
                      <a:pt x="1183" y="3566"/>
                    </a:lnTo>
                    <a:lnTo>
                      <a:pt x="1169" y="3570"/>
                    </a:lnTo>
                    <a:lnTo>
                      <a:pt x="1144" y="3574"/>
                    </a:lnTo>
                    <a:lnTo>
                      <a:pt x="1108" y="3579"/>
                    </a:lnTo>
                    <a:lnTo>
                      <a:pt x="1063" y="3585"/>
                    </a:lnTo>
                    <a:lnTo>
                      <a:pt x="1015" y="3590"/>
                    </a:lnTo>
                    <a:lnTo>
                      <a:pt x="964" y="3594"/>
                    </a:lnTo>
                    <a:lnTo>
                      <a:pt x="914" y="3595"/>
                    </a:lnTo>
                    <a:lnTo>
                      <a:pt x="868" y="3595"/>
                    </a:lnTo>
                    <a:lnTo>
                      <a:pt x="847" y="3594"/>
                    </a:lnTo>
                    <a:lnTo>
                      <a:pt x="828" y="3593"/>
                    </a:lnTo>
                    <a:lnTo>
                      <a:pt x="810" y="3590"/>
                    </a:lnTo>
                    <a:lnTo>
                      <a:pt x="797" y="3587"/>
                    </a:lnTo>
                    <a:lnTo>
                      <a:pt x="785" y="3582"/>
                    </a:lnTo>
                    <a:lnTo>
                      <a:pt x="777" y="3578"/>
                    </a:lnTo>
                    <a:lnTo>
                      <a:pt x="774" y="3574"/>
                    </a:lnTo>
                    <a:lnTo>
                      <a:pt x="773" y="3571"/>
                    </a:lnTo>
                    <a:lnTo>
                      <a:pt x="771" y="3567"/>
                    </a:lnTo>
                    <a:lnTo>
                      <a:pt x="773" y="3563"/>
                    </a:lnTo>
                    <a:lnTo>
                      <a:pt x="774" y="3559"/>
                    </a:lnTo>
                    <a:lnTo>
                      <a:pt x="776" y="3555"/>
                    </a:lnTo>
                    <a:lnTo>
                      <a:pt x="785" y="3546"/>
                    </a:lnTo>
                    <a:lnTo>
                      <a:pt x="798" y="3534"/>
                    </a:lnTo>
                    <a:lnTo>
                      <a:pt x="817" y="3522"/>
                    </a:lnTo>
                    <a:lnTo>
                      <a:pt x="841" y="3508"/>
                    </a:lnTo>
                    <a:lnTo>
                      <a:pt x="871" y="3492"/>
                    </a:lnTo>
                    <a:lnTo>
                      <a:pt x="871" y="3492"/>
                    </a:lnTo>
                    <a:lnTo>
                      <a:pt x="890" y="3487"/>
                    </a:lnTo>
                    <a:lnTo>
                      <a:pt x="918" y="3480"/>
                    </a:lnTo>
                    <a:lnTo>
                      <a:pt x="956" y="3472"/>
                    </a:lnTo>
                    <a:lnTo>
                      <a:pt x="1003" y="3465"/>
                    </a:lnTo>
                    <a:lnTo>
                      <a:pt x="1112" y="3449"/>
                    </a:lnTo>
                    <a:lnTo>
                      <a:pt x="1234" y="3433"/>
                    </a:lnTo>
                    <a:lnTo>
                      <a:pt x="1356" y="3418"/>
                    </a:lnTo>
                    <a:lnTo>
                      <a:pt x="1467" y="3406"/>
                    </a:lnTo>
                    <a:lnTo>
                      <a:pt x="1553" y="3398"/>
                    </a:lnTo>
                    <a:lnTo>
                      <a:pt x="1602" y="3394"/>
                    </a:lnTo>
                    <a:lnTo>
                      <a:pt x="1602" y="3394"/>
                    </a:lnTo>
                    <a:lnTo>
                      <a:pt x="1684" y="3392"/>
                    </a:lnTo>
                    <a:lnTo>
                      <a:pt x="1765" y="3392"/>
                    </a:lnTo>
                    <a:lnTo>
                      <a:pt x="1843" y="3394"/>
                    </a:lnTo>
                    <a:lnTo>
                      <a:pt x="1921" y="3398"/>
                    </a:lnTo>
                    <a:lnTo>
                      <a:pt x="1996" y="3405"/>
                    </a:lnTo>
                    <a:lnTo>
                      <a:pt x="2033" y="3409"/>
                    </a:lnTo>
                    <a:lnTo>
                      <a:pt x="2069" y="3414"/>
                    </a:lnTo>
                    <a:lnTo>
                      <a:pt x="2105" y="3421"/>
                    </a:lnTo>
                    <a:lnTo>
                      <a:pt x="2142" y="3427"/>
                    </a:lnTo>
                    <a:lnTo>
                      <a:pt x="2177" y="3435"/>
                    </a:lnTo>
                    <a:lnTo>
                      <a:pt x="2210" y="3445"/>
                    </a:lnTo>
                    <a:lnTo>
                      <a:pt x="2244" y="3456"/>
                    </a:lnTo>
                    <a:lnTo>
                      <a:pt x="2277" y="3466"/>
                    </a:lnTo>
                    <a:lnTo>
                      <a:pt x="2311" y="3478"/>
                    </a:lnTo>
                    <a:lnTo>
                      <a:pt x="2343" y="3492"/>
                    </a:lnTo>
                    <a:lnTo>
                      <a:pt x="2374" y="3507"/>
                    </a:lnTo>
                    <a:lnTo>
                      <a:pt x="2405" y="3523"/>
                    </a:lnTo>
                    <a:lnTo>
                      <a:pt x="2436" y="3540"/>
                    </a:lnTo>
                    <a:lnTo>
                      <a:pt x="2466" y="3559"/>
                    </a:lnTo>
                    <a:lnTo>
                      <a:pt x="2495" y="3579"/>
                    </a:lnTo>
                    <a:lnTo>
                      <a:pt x="2523" y="3602"/>
                    </a:lnTo>
                    <a:lnTo>
                      <a:pt x="2552" y="3625"/>
                    </a:lnTo>
                    <a:lnTo>
                      <a:pt x="2579" y="3649"/>
                    </a:lnTo>
                    <a:lnTo>
                      <a:pt x="2605" y="3676"/>
                    </a:lnTo>
                    <a:lnTo>
                      <a:pt x="2632" y="3704"/>
                    </a:lnTo>
                    <a:lnTo>
                      <a:pt x="2657" y="3734"/>
                    </a:lnTo>
                    <a:lnTo>
                      <a:pt x="2682" y="3765"/>
                    </a:lnTo>
                    <a:lnTo>
                      <a:pt x="2682" y="3765"/>
                    </a:lnTo>
                    <a:lnTo>
                      <a:pt x="2666" y="3624"/>
                    </a:lnTo>
                    <a:lnTo>
                      <a:pt x="2654" y="3489"/>
                    </a:lnTo>
                    <a:lnTo>
                      <a:pt x="2644" y="3360"/>
                    </a:lnTo>
                    <a:lnTo>
                      <a:pt x="2639" y="3234"/>
                    </a:lnTo>
                    <a:lnTo>
                      <a:pt x="2635" y="3113"/>
                    </a:lnTo>
                    <a:lnTo>
                      <a:pt x="2634" y="2993"/>
                    </a:lnTo>
                    <a:lnTo>
                      <a:pt x="2635" y="2875"/>
                    </a:lnTo>
                    <a:lnTo>
                      <a:pt x="2638" y="2758"/>
                    </a:lnTo>
                    <a:lnTo>
                      <a:pt x="2643" y="2641"/>
                    </a:lnTo>
                    <a:lnTo>
                      <a:pt x="2648" y="2524"/>
                    </a:lnTo>
                    <a:lnTo>
                      <a:pt x="2657" y="2404"/>
                    </a:lnTo>
                    <a:lnTo>
                      <a:pt x="2666" y="2282"/>
                    </a:lnTo>
                    <a:lnTo>
                      <a:pt x="2686" y="2028"/>
                    </a:lnTo>
                    <a:lnTo>
                      <a:pt x="2708" y="1752"/>
                    </a:lnTo>
                    <a:lnTo>
                      <a:pt x="2708" y="1752"/>
                    </a:lnTo>
                    <a:lnTo>
                      <a:pt x="2717" y="1601"/>
                    </a:lnTo>
                    <a:lnTo>
                      <a:pt x="2724" y="1452"/>
                    </a:lnTo>
                    <a:lnTo>
                      <a:pt x="2728" y="1301"/>
                    </a:lnTo>
                    <a:lnTo>
                      <a:pt x="2729" y="1151"/>
                    </a:lnTo>
                    <a:lnTo>
                      <a:pt x="2729" y="1151"/>
                    </a:lnTo>
                    <a:lnTo>
                      <a:pt x="2729" y="408"/>
                    </a:lnTo>
                    <a:lnTo>
                      <a:pt x="2729" y="408"/>
                    </a:lnTo>
                    <a:lnTo>
                      <a:pt x="2730" y="21"/>
                    </a:lnTo>
                    <a:lnTo>
                      <a:pt x="2730" y="21"/>
                    </a:lnTo>
                    <a:lnTo>
                      <a:pt x="2549" y="13"/>
                    </a:lnTo>
                    <a:lnTo>
                      <a:pt x="2371" y="8"/>
                    </a:lnTo>
                    <a:lnTo>
                      <a:pt x="2197" y="4"/>
                    </a:lnTo>
                    <a:lnTo>
                      <a:pt x="2027" y="1"/>
                    </a:lnTo>
                    <a:lnTo>
                      <a:pt x="1861" y="0"/>
                    </a:lnTo>
                    <a:lnTo>
                      <a:pt x="1698" y="1"/>
                    </a:lnTo>
                    <a:lnTo>
                      <a:pt x="1539" y="4"/>
                    </a:lnTo>
                    <a:lnTo>
                      <a:pt x="1385" y="8"/>
                    </a:lnTo>
                    <a:lnTo>
                      <a:pt x="1234" y="14"/>
                    </a:lnTo>
                    <a:lnTo>
                      <a:pt x="1086" y="21"/>
                    </a:lnTo>
                    <a:lnTo>
                      <a:pt x="944" y="31"/>
                    </a:lnTo>
                    <a:lnTo>
                      <a:pt x="804" y="43"/>
                    </a:lnTo>
                    <a:lnTo>
                      <a:pt x="668" y="55"/>
                    </a:lnTo>
                    <a:lnTo>
                      <a:pt x="538" y="70"/>
                    </a:lnTo>
                    <a:lnTo>
                      <a:pt x="410" y="86"/>
                    </a:lnTo>
                    <a:lnTo>
                      <a:pt x="286" y="103"/>
                    </a:lnTo>
                    <a:lnTo>
                      <a:pt x="286" y="103"/>
                    </a:lnTo>
                    <a:lnTo>
                      <a:pt x="286" y="262"/>
                    </a:lnTo>
                    <a:lnTo>
                      <a:pt x="286" y="421"/>
                    </a:lnTo>
                    <a:lnTo>
                      <a:pt x="282" y="738"/>
                    </a:lnTo>
                    <a:lnTo>
                      <a:pt x="281" y="897"/>
                    </a:lnTo>
                    <a:lnTo>
                      <a:pt x="281" y="1055"/>
                    </a:lnTo>
                    <a:lnTo>
                      <a:pt x="282" y="1214"/>
                    </a:lnTo>
                    <a:lnTo>
                      <a:pt x="286" y="1373"/>
                    </a:lnTo>
                    <a:lnTo>
                      <a:pt x="286" y="1373"/>
                    </a:lnTo>
                    <a:lnTo>
                      <a:pt x="287" y="1304"/>
                    </a:lnTo>
                    <a:lnTo>
                      <a:pt x="287" y="1234"/>
                    </a:lnTo>
                    <a:lnTo>
                      <a:pt x="287" y="1234"/>
                    </a:lnTo>
                    <a:lnTo>
                      <a:pt x="287" y="1308"/>
                    </a:lnTo>
                    <a:lnTo>
                      <a:pt x="290" y="1381"/>
                    </a:lnTo>
                    <a:lnTo>
                      <a:pt x="296" y="1455"/>
                    </a:lnTo>
                    <a:lnTo>
                      <a:pt x="301" y="1527"/>
                    </a:lnTo>
                    <a:lnTo>
                      <a:pt x="308" y="1600"/>
                    </a:lnTo>
                    <a:lnTo>
                      <a:pt x="316" y="1673"/>
                    </a:lnTo>
                    <a:lnTo>
                      <a:pt x="335" y="1818"/>
                    </a:lnTo>
                    <a:lnTo>
                      <a:pt x="353" y="1963"/>
                    </a:lnTo>
                    <a:lnTo>
                      <a:pt x="372" y="2108"/>
                    </a:lnTo>
                    <a:lnTo>
                      <a:pt x="382" y="2181"/>
                    </a:lnTo>
                    <a:lnTo>
                      <a:pt x="388" y="2253"/>
                    </a:lnTo>
                    <a:lnTo>
                      <a:pt x="395" y="2327"/>
                    </a:lnTo>
                    <a:lnTo>
                      <a:pt x="400" y="2400"/>
                    </a:lnTo>
                    <a:lnTo>
                      <a:pt x="400" y="2400"/>
                    </a:lnTo>
                    <a:lnTo>
                      <a:pt x="404" y="2473"/>
                    </a:lnTo>
                    <a:lnTo>
                      <a:pt x="407" y="2545"/>
                    </a:lnTo>
                    <a:lnTo>
                      <a:pt x="408" y="2618"/>
                    </a:lnTo>
                    <a:lnTo>
                      <a:pt x="410" y="2690"/>
                    </a:lnTo>
                    <a:lnTo>
                      <a:pt x="408" y="2762"/>
                    </a:lnTo>
                    <a:lnTo>
                      <a:pt x="407" y="2834"/>
                    </a:lnTo>
                    <a:lnTo>
                      <a:pt x="404" y="2907"/>
                    </a:lnTo>
                    <a:lnTo>
                      <a:pt x="400" y="2980"/>
                    </a:lnTo>
                    <a:lnTo>
                      <a:pt x="391" y="3125"/>
                    </a:lnTo>
                    <a:lnTo>
                      <a:pt x="379" y="3270"/>
                    </a:lnTo>
                    <a:lnTo>
                      <a:pt x="364" y="3414"/>
                    </a:lnTo>
                    <a:lnTo>
                      <a:pt x="348" y="3558"/>
                    </a:lnTo>
                    <a:lnTo>
                      <a:pt x="348" y="3558"/>
                    </a:lnTo>
                    <a:lnTo>
                      <a:pt x="335" y="3660"/>
                    </a:lnTo>
                    <a:lnTo>
                      <a:pt x="321" y="3762"/>
                    </a:lnTo>
                    <a:lnTo>
                      <a:pt x="306" y="3864"/>
                    </a:lnTo>
                    <a:lnTo>
                      <a:pt x="291" y="3965"/>
                    </a:lnTo>
                    <a:lnTo>
                      <a:pt x="259" y="4168"/>
                    </a:lnTo>
                    <a:lnTo>
                      <a:pt x="223" y="4371"/>
                    </a:lnTo>
                    <a:lnTo>
                      <a:pt x="223" y="4371"/>
                    </a:lnTo>
                    <a:lnTo>
                      <a:pt x="205" y="4451"/>
                    </a:lnTo>
                    <a:lnTo>
                      <a:pt x="189" y="4530"/>
                    </a:lnTo>
                    <a:lnTo>
                      <a:pt x="175" y="4608"/>
                    </a:lnTo>
                    <a:lnTo>
                      <a:pt x="162" y="4686"/>
                    </a:lnTo>
                    <a:lnTo>
                      <a:pt x="162" y="4686"/>
                    </a:lnTo>
                    <a:lnTo>
                      <a:pt x="141" y="4690"/>
                    </a:lnTo>
                    <a:lnTo>
                      <a:pt x="95" y="4698"/>
                    </a:lnTo>
                    <a:lnTo>
                      <a:pt x="48" y="4705"/>
                    </a:lnTo>
                    <a:lnTo>
                      <a:pt x="27" y="4709"/>
                    </a:lnTo>
                    <a:lnTo>
                      <a:pt x="27" y="4709"/>
                    </a:lnTo>
                    <a:lnTo>
                      <a:pt x="15" y="4807"/>
                    </a:lnTo>
                    <a:lnTo>
                      <a:pt x="6" y="4903"/>
                    </a:lnTo>
                    <a:lnTo>
                      <a:pt x="4" y="4950"/>
                    </a:lnTo>
                    <a:lnTo>
                      <a:pt x="1" y="4995"/>
                    </a:lnTo>
                    <a:lnTo>
                      <a:pt x="0" y="5041"/>
                    </a:lnTo>
                    <a:lnTo>
                      <a:pt x="0" y="5085"/>
                    </a:lnTo>
                    <a:lnTo>
                      <a:pt x="0" y="5085"/>
                    </a:lnTo>
                    <a:lnTo>
                      <a:pt x="1" y="5106"/>
                    </a:lnTo>
                    <a:lnTo>
                      <a:pt x="5" y="5124"/>
                    </a:lnTo>
                    <a:lnTo>
                      <a:pt x="12" y="5143"/>
                    </a:lnTo>
                    <a:lnTo>
                      <a:pt x="20" y="5162"/>
                    </a:lnTo>
                    <a:lnTo>
                      <a:pt x="29" y="5180"/>
                    </a:lnTo>
                    <a:lnTo>
                      <a:pt x="40" y="5197"/>
                    </a:lnTo>
                    <a:lnTo>
                      <a:pt x="62" y="5229"/>
                    </a:lnTo>
                    <a:lnTo>
                      <a:pt x="84" y="5260"/>
                    </a:lnTo>
                    <a:lnTo>
                      <a:pt x="95" y="5276"/>
                    </a:lnTo>
                    <a:lnTo>
                      <a:pt x="103" y="5291"/>
                    </a:lnTo>
                    <a:lnTo>
                      <a:pt x="111" y="5307"/>
                    </a:lnTo>
                    <a:lnTo>
                      <a:pt x="117" y="5322"/>
                    </a:lnTo>
                    <a:lnTo>
                      <a:pt x="119" y="5338"/>
                    </a:lnTo>
                    <a:lnTo>
                      <a:pt x="119" y="5353"/>
                    </a:lnTo>
                    <a:lnTo>
                      <a:pt x="119" y="5353"/>
                    </a:lnTo>
                    <a:lnTo>
                      <a:pt x="173" y="5366"/>
                    </a:lnTo>
                    <a:lnTo>
                      <a:pt x="234" y="5379"/>
                    </a:lnTo>
                    <a:lnTo>
                      <a:pt x="301" y="5391"/>
                    </a:lnTo>
                    <a:lnTo>
                      <a:pt x="376" y="5401"/>
                    </a:lnTo>
                    <a:lnTo>
                      <a:pt x="461" y="5411"/>
                    </a:lnTo>
                    <a:lnTo>
                      <a:pt x="554" y="5419"/>
                    </a:lnTo>
                    <a:lnTo>
                      <a:pt x="655" y="5424"/>
                    </a:lnTo>
                    <a:lnTo>
                      <a:pt x="766" y="5430"/>
                    </a:lnTo>
                    <a:lnTo>
                      <a:pt x="766" y="5430"/>
                    </a:lnTo>
                    <a:lnTo>
                      <a:pt x="868" y="5432"/>
                    </a:lnTo>
                    <a:lnTo>
                      <a:pt x="977" y="5434"/>
                    </a:lnTo>
                    <a:lnTo>
                      <a:pt x="1094" y="5434"/>
                    </a:lnTo>
                    <a:lnTo>
                      <a:pt x="1217" y="5434"/>
                    </a:lnTo>
                    <a:lnTo>
                      <a:pt x="1475" y="5430"/>
                    </a:lnTo>
                    <a:lnTo>
                      <a:pt x="1745" y="5424"/>
                    </a:lnTo>
                    <a:lnTo>
                      <a:pt x="2291" y="5412"/>
                    </a:lnTo>
                    <a:lnTo>
                      <a:pt x="2552" y="5405"/>
                    </a:lnTo>
                    <a:lnTo>
                      <a:pt x="2792" y="5401"/>
                    </a:lnTo>
                    <a:lnTo>
                      <a:pt x="2792" y="5401"/>
                    </a:lnTo>
                    <a:lnTo>
                      <a:pt x="2788" y="5361"/>
                    </a:lnTo>
                    <a:lnTo>
                      <a:pt x="2786" y="5332"/>
                    </a:lnTo>
                    <a:lnTo>
                      <a:pt x="2782" y="5313"/>
                    </a:lnTo>
                    <a:lnTo>
                      <a:pt x="2779" y="5302"/>
                    </a:lnTo>
                    <a:lnTo>
                      <a:pt x="2779" y="5302"/>
                    </a:lnTo>
                    <a:lnTo>
                      <a:pt x="2776" y="5299"/>
                    </a:lnTo>
                    <a:lnTo>
                      <a:pt x="2775" y="5298"/>
                    </a:lnTo>
                    <a:lnTo>
                      <a:pt x="2776" y="5297"/>
                    </a:lnTo>
                    <a:lnTo>
                      <a:pt x="2776" y="5298"/>
                    </a:lnTo>
                    <a:lnTo>
                      <a:pt x="2779" y="5302"/>
                    </a:lnTo>
                    <a:lnTo>
                      <a:pt x="2779" y="5302"/>
                    </a:lnTo>
                    <a:lnTo>
                      <a:pt x="2783" y="5303"/>
                    </a:lnTo>
                    <a:lnTo>
                      <a:pt x="2792" y="5303"/>
                    </a:lnTo>
                    <a:lnTo>
                      <a:pt x="2802" y="5301"/>
                    </a:lnTo>
                    <a:lnTo>
                      <a:pt x="2808" y="5299"/>
                    </a:lnTo>
                    <a:lnTo>
                      <a:pt x="2814" y="5297"/>
                    </a:lnTo>
                    <a:lnTo>
                      <a:pt x="2819" y="5293"/>
                    </a:lnTo>
                    <a:lnTo>
                      <a:pt x="2825" y="5287"/>
                    </a:lnTo>
                    <a:lnTo>
                      <a:pt x="2830" y="5280"/>
                    </a:lnTo>
                    <a:lnTo>
                      <a:pt x="2835" y="5272"/>
                    </a:lnTo>
                    <a:lnTo>
                      <a:pt x="2839" y="5263"/>
                    </a:lnTo>
                    <a:lnTo>
                      <a:pt x="2842" y="5252"/>
                    </a:lnTo>
                    <a:lnTo>
                      <a:pt x="2845" y="5239"/>
                    </a:lnTo>
                    <a:lnTo>
                      <a:pt x="2846" y="5224"/>
                    </a:lnTo>
                    <a:lnTo>
                      <a:pt x="2846" y="5224"/>
                    </a:lnTo>
                    <a:lnTo>
                      <a:pt x="2850" y="5108"/>
                    </a:lnTo>
                    <a:lnTo>
                      <a:pt x="2853" y="5001"/>
                    </a:lnTo>
                    <a:lnTo>
                      <a:pt x="2854" y="4901"/>
                    </a:lnTo>
                    <a:lnTo>
                      <a:pt x="2854" y="4808"/>
                    </a:lnTo>
                    <a:lnTo>
                      <a:pt x="2854" y="4722"/>
                    </a:lnTo>
                    <a:lnTo>
                      <a:pt x="2851" y="4642"/>
                    </a:lnTo>
                    <a:lnTo>
                      <a:pt x="2849" y="4569"/>
                    </a:lnTo>
                    <a:lnTo>
                      <a:pt x="2843" y="4502"/>
                    </a:lnTo>
                    <a:lnTo>
                      <a:pt x="2838" y="4440"/>
                    </a:lnTo>
                    <a:lnTo>
                      <a:pt x="2831" y="4383"/>
                    </a:lnTo>
                    <a:lnTo>
                      <a:pt x="2825" y="4332"/>
                    </a:lnTo>
                    <a:lnTo>
                      <a:pt x="2815" y="4285"/>
                    </a:lnTo>
                    <a:lnTo>
                      <a:pt x="2806" y="4242"/>
                    </a:lnTo>
                    <a:lnTo>
                      <a:pt x="2796" y="4205"/>
                    </a:lnTo>
                    <a:lnTo>
                      <a:pt x="2784" y="4170"/>
                    </a:lnTo>
                    <a:lnTo>
                      <a:pt x="2772" y="4137"/>
                    </a:lnTo>
                    <a:lnTo>
                      <a:pt x="2759" y="4109"/>
                    </a:lnTo>
                    <a:lnTo>
                      <a:pt x="2745" y="4082"/>
                    </a:lnTo>
                    <a:lnTo>
                      <a:pt x="2730" y="4059"/>
                    </a:lnTo>
                    <a:lnTo>
                      <a:pt x="2716" y="4038"/>
                    </a:lnTo>
                    <a:lnTo>
                      <a:pt x="2700" y="4018"/>
                    </a:lnTo>
                    <a:lnTo>
                      <a:pt x="2683" y="3999"/>
                    </a:lnTo>
                    <a:lnTo>
                      <a:pt x="2666" y="3981"/>
                    </a:lnTo>
                    <a:lnTo>
                      <a:pt x="2647" y="3964"/>
                    </a:lnTo>
                    <a:lnTo>
                      <a:pt x="2611" y="3932"/>
                    </a:lnTo>
                    <a:lnTo>
                      <a:pt x="2572" y="3898"/>
                    </a:lnTo>
                    <a:lnTo>
                      <a:pt x="2530" y="3859"/>
                    </a:lnTo>
                    <a:lnTo>
                      <a:pt x="2509" y="3839"/>
                    </a:lnTo>
                    <a:lnTo>
                      <a:pt x="2488" y="3816"/>
                    </a:lnTo>
                    <a:lnTo>
                      <a:pt x="2488" y="3816"/>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9" name="Freeform 167"/>
              <p:cNvSpPr>
                <a:spLocks/>
              </p:cNvSpPr>
              <p:nvPr/>
            </p:nvSpPr>
            <p:spPr bwMode="auto">
              <a:xfrm>
                <a:off x="22850475" y="-774700"/>
                <a:ext cx="1957388" cy="835025"/>
              </a:xfrm>
              <a:custGeom>
                <a:avLst/>
                <a:gdLst>
                  <a:gd name="T0" fmla="*/ 15 w 2468"/>
                  <a:gd name="T1" fmla="*/ 1053 h 1053"/>
                  <a:gd name="T2" fmla="*/ 268 w 2468"/>
                  <a:gd name="T3" fmla="*/ 1020 h 1053"/>
                  <a:gd name="T4" fmla="*/ 535 w 2468"/>
                  <a:gd name="T5" fmla="*/ 993 h 1053"/>
                  <a:gd name="T6" fmla="*/ 819 w 2468"/>
                  <a:gd name="T7" fmla="*/ 973 h 1053"/>
                  <a:gd name="T8" fmla="*/ 1118 w 2468"/>
                  <a:gd name="T9" fmla="*/ 959 h 1053"/>
                  <a:gd name="T10" fmla="*/ 1431 w 2468"/>
                  <a:gd name="T11" fmla="*/ 953 h 1053"/>
                  <a:gd name="T12" fmla="*/ 1759 w 2468"/>
                  <a:gd name="T13" fmla="*/ 953 h 1053"/>
                  <a:gd name="T14" fmla="*/ 2102 w 2468"/>
                  <a:gd name="T15" fmla="*/ 959 h 1053"/>
                  <a:gd name="T16" fmla="*/ 2459 w 2468"/>
                  <a:gd name="T17" fmla="*/ 973 h 1053"/>
                  <a:gd name="T18" fmla="*/ 2461 w 2468"/>
                  <a:gd name="T19" fmla="*/ 365 h 1053"/>
                  <a:gd name="T20" fmla="*/ 2464 w 2468"/>
                  <a:gd name="T21" fmla="*/ 334 h 1053"/>
                  <a:gd name="T22" fmla="*/ 2468 w 2468"/>
                  <a:gd name="T23" fmla="*/ 278 h 1053"/>
                  <a:gd name="T24" fmla="*/ 2466 w 2468"/>
                  <a:gd name="T25" fmla="*/ 244 h 1053"/>
                  <a:gd name="T26" fmla="*/ 2462 w 2468"/>
                  <a:gd name="T27" fmla="*/ 230 h 1053"/>
                  <a:gd name="T28" fmla="*/ 2455 w 2468"/>
                  <a:gd name="T29" fmla="*/ 221 h 1053"/>
                  <a:gd name="T30" fmla="*/ 2438 w 2468"/>
                  <a:gd name="T31" fmla="*/ 202 h 1053"/>
                  <a:gd name="T32" fmla="*/ 2395 w 2468"/>
                  <a:gd name="T33" fmla="*/ 165 h 1053"/>
                  <a:gd name="T34" fmla="*/ 2343 w 2468"/>
                  <a:gd name="T35" fmla="*/ 130 h 1053"/>
                  <a:gd name="T36" fmla="*/ 2283 w 2468"/>
                  <a:gd name="T37" fmla="*/ 97 h 1053"/>
                  <a:gd name="T38" fmla="*/ 2220 w 2468"/>
                  <a:gd name="T39" fmla="*/ 70 h 1053"/>
                  <a:gd name="T40" fmla="*/ 2158 w 2468"/>
                  <a:gd name="T41" fmla="*/ 50 h 1053"/>
                  <a:gd name="T42" fmla="*/ 2099 w 2468"/>
                  <a:gd name="T43" fmla="*/ 37 h 1053"/>
                  <a:gd name="T44" fmla="*/ 2047 w 2468"/>
                  <a:gd name="T45" fmla="*/ 31 h 1053"/>
                  <a:gd name="T46" fmla="*/ 2025 w 2468"/>
                  <a:gd name="T47" fmla="*/ 33 h 1053"/>
                  <a:gd name="T48" fmla="*/ 1961 w 2468"/>
                  <a:gd name="T49" fmla="*/ 37 h 1053"/>
                  <a:gd name="T50" fmla="*/ 1895 w 2468"/>
                  <a:gd name="T51" fmla="*/ 35 h 1053"/>
                  <a:gd name="T52" fmla="*/ 1830 w 2468"/>
                  <a:gd name="T53" fmla="*/ 30 h 1053"/>
                  <a:gd name="T54" fmla="*/ 1700 w 2468"/>
                  <a:gd name="T55" fmla="*/ 14 h 1053"/>
                  <a:gd name="T56" fmla="*/ 1603 w 2468"/>
                  <a:gd name="T57" fmla="*/ 3 h 1053"/>
                  <a:gd name="T58" fmla="*/ 1537 w 2468"/>
                  <a:gd name="T59" fmla="*/ 0 h 1053"/>
                  <a:gd name="T60" fmla="*/ 1505 w 2468"/>
                  <a:gd name="T61" fmla="*/ 0 h 1053"/>
                  <a:gd name="T62" fmla="*/ 990 w 2468"/>
                  <a:gd name="T63" fmla="*/ 14 h 1053"/>
                  <a:gd name="T64" fmla="*/ 812 w 2468"/>
                  <a:gd name="T65" fmla="*/ 14 h 1053"/>
                  <a:gd name="T66" fmla="*/ 769 w 2468"/>
                  <a:gd name="T67" fmla="*/ 14 h 1053"/>
                  <a:gd name="T68" fmla="*/ 686 w 2468"/>
                  <a:gd name="T69" fmla="*/ 23 h 1053"/>
                  <a:gd name="T70" fmla="*/ 601 w 2468"/>
                  <a:gd name="T71" fmla="*/ 39 h 1053"/>
                  <a:gd name="T72" fmla="*/ 515 w 2468"/>
                  <a:gd name="T73" fmla="*/ 61 h 1053"/>
                  <a:gd name="T74" fmla="*/ 388 w 2468"/>
                  <a:gd name="T75" fmla="*/ 100 h 1053"/>
                  <a:gd name="T76" fmla="*/ 219 w 2468"/>
                  <a:gd name="T77" fmla="*/ 154 h 1053"/>
                  <a:gd name="T78" fmla="*/ 136 w 2468"/>
                  <a:gd name="T79" fmla="*/ 177 h 1053"/>
                  <a:gd name="T80" fmla="*/ 119 w 2468"/>
                  <a:gd name="T81" fmla="*/ 182 h 1053"/>
                  <a:gd name="T82" fmla="*/ 86 w 2468"/>
                  <a:gd name="T83" fmla="*/ 197 h 1053"/>
                  <a:gd name="T84" fmla="*/ 61 w 2468"/>
                  <a:gd name="T85" fmla="*/ 214 h 1053"/>
                  <a:gd name="T86" fmla="*/ 41 w 2468"/>
                  <a:gd name="T87" fmla="*/ 234 h 1053"/>
                  <a:gd name="T88" fmla="*/ 25 w 2468"/>
                  <a:gd name="T89" fmla="*/ 259 h 1053"/>
                  <a:gd name="T90" fmla="*/ 14 w 2468"/>
                  <a:gd name="T91" fmla="*/ 286 h 1053"/>
                  <a:gd name="T92" fmla="*/ 6 w 2468"/>
                  <a:gd name="T93" fmla="*/ 314 h 1053"/>
                  <a:gd name="T94" fmla="*/ 0 w 2468"/>
                  <a:gd name="T95" fmla="*/ 360 h 1053"/>
                  <a:gd name="T96" fmla="*/ 2 w 2468"/>
                  <a:gd name="T97" fmla="*/ 425 h 1053"/>
                  <a:gd name="T98" fmla="*/ 7 w 2468"/>
                  <a:gd name="T99" fmla="*/ 491 h 1053"/>
                  <a:gd name="T100" fmla="*/ 18 w 2468"/>
                  <a:gd name="T101" fmla="*/ 585 h 1053"/>
                  <a:gd name="T102" fmla="*/ 20 w 2468"/>
                  <a:gd name="T103" fmla="*/ 615 h 1053"/>
                  <a:gd name="T104" fmla="*/ 22 w 2468"/>
                  <a:gd name="T105" fmla="*/ 724 h 1053"/>
                  <a:gd name="T106" fmla="*/ 18 w 2468"/>
                  <a:gd name="T107" fmla="*/ 943 h 1053"/>
                  <a:gd name="T108" fmla="*/ 15 w 2468"/>
                  <a:gd name="T109" fmla="*/ 1053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53">
                    <a:moveTo>
                      <a:pt x="15" y="1053"/>
                    </a:moveTo>
                    <a:lnTo>
                      <a:pt x="15" y="1053"/>
                    </a:lnTo>
                    <a:lnTo>
                      <a:pt x="140" y="1036"/>
                    </a:lnTo>
                    <a:lnTo>
                      <a:pt x="268" y="1020"/>
                    </a:lnTo>
                    <a:lnTo>
                      <a:pt x="400" y="1006"/>
                    </a:lnTo>
                    <a:lnTo>
                      <a:pt x="535" y="993"/>
                    </a:lnTo>
                    <a:lnTo>
                      <a:pt x="675" y="982"/>
                    </a:lnTo>
                    <a:lnTo>
                      <a:pt x="819" y="973"/>
                    </a:lnTo>
                    <a:lnTo>
                      <a:pt x="967" y="966"/>
                    </a:lnTo>
                    <a:lnTo>
                      <a:pt x="1118" y="959"/>
                    </a:lnTo>
                    <a:lnTo>
                      <a:pt x="1272" y="955"/>
                    </a:lnTo>
                    <a:lnTo>
                      <a:pt x="1431" y="953"/>
                    </a:lnTo>
                    <a:lnTo>
                      <a:pt x="1594" y="951"/>
                    </a:lnTo>
                    <a:lnTo>
                      <a:pt x="1759" y="953"/>
                    </a:lnTo>
                    <a:lnTo>
                      <a:pt x="1928" y="955"/>
                    </a:lnTo>
                    <a:lnTo>
                      <a:pt x="2102" y="959"/>
                    </a:lnTo>
                    <a:lnTo>
                      <a:pt x="2279" y="965"/>
                    </a:lnTo>
                    <a:lnTo>
                      <a:pt x="2459" y="973"/>
                    </a:lnTo>
                    <a:lnTo>
                      <a:pt x="2459" y="973"/>
                    </a:lnTo>
                    <a:lnTo>
                      <a:pt x="2461" y="365"/>
                    </a:lnTo>
                    <a:lnTo>
                      <a:pt x="2461" y="365"/>
                    </a:lnTo>
                    <a:lnTo>
                      <a:pt x="2464" y="334"/>
                    </a:lnTo>
                    <a:lnTo>
                      <a:pt x="2466" y="296"/>
                    </a:lnTo>
                    <a:lnTo>
                      <a:pt x="2468" y="278"/>
                    </a:lnTo>
                    <a:lnTo>
                      <a:pt x="2468" y="259"/>
                    </a:lnTo>
                    <a:lnTo>
                      <a:pt x="2466" y="244"/>
                    </a:lnTo>
                    <a:lnTo>
                      <a:pt x="2464" y="237"/>
                    </a:lnTo>
                    <a:lnTo>
                      <a:pt x="2462" y="230"/>
                    </a:lnTo>
                    <a:lnTo>
                      <a:pt x="2462" y="230"/>
                    </a:lnTo>
                    <a:lnTo>
                      <a:pt x="2455" y="221"/>
                    </a:lnTo>
                    <a:lnTo>
                      <a:pt x="2455" y="221"/>
                    </a:lnTo>
                    <a:lnTo>
                      <a:pt x="2438" y="202"/>
                    </a:lnTo>
                    <a:lnTo>
                      <a:pt x="2419" y="183"/>
                    </a:lnTo>
                    <a:lnTo>
                      <a:pt x="2395" y="165"/>
                    </a:lnTo>
                    <a:lnTo>
                      <a:pt x="2371" y="147"/>
                    </a:lnTo>
                    <a:lnTo>
                      <a:pt x="2343" y="130"/>
                    </a:lnTo>
                    <a:lnTo>
                      <a:pt x="2313" y="113"/>
                    </a:lnTo>
                    <a:lnTo>
                      <a:pt x="2283" y="97"/>
                    </a:lnTo>
                    <a:lnTo>
                      <a:pt x="2252" y="84"/>
                    </a:lnTo>
                    <a:lnTo>
                      <a:pt x="2220" y="70"/>
                    </a:lnTo>
                    <a:lnTo>
                      <a:pt x="2189" y="60"/>
                    </a:lnTo>
                    <a:lnTo>
                      <a:pt x="2158" y="50"/>
                    </a:lnTo>
                    <a:lnTo>
                      <a:pt x="2127" y="42"/>
                    </a:lnTo>
                    <a:lnTo>
                      <a:pt x="2099" y="37"/>
                    </a:lnTo>
                    <a:lnTo>
                      <a:pt x="2072" y="33"/>
                    </a:lnTo>
                    <a:lnTo>
                      <a:pt x="2047" y="31"/>
                    </a:lnTo>
                    <a:lnTo>
                      <a:pt x="2025" y="33"/>
                    </a:lnTo>
                    <a:lnTo>
                      <a:pt x="2025" y="33"/>
                    </a:lnTo>
                    <a:lnTo>
                      <a:pt x="1993" y="35"/>
                    </a:lnTo>
                    <a:lnTo>
                      <a:pt x="1961" y="37"/>
                    </a:lnTo>
                    <a:lnTo>
                      <a:pt x="1928" y="37"/>
                    </a:lnTo>
                    <a:lnTo>
                      <a:pt x="1895" y="35"/>
                    </a:lnTo>
                    <a:lnTo>
                      <a:pt x="1863" y="33"/>
                    </a:lnTo>
                    <a:lnTo>
                      <a:pt x="1830" y="30"/>
                    </a:lnTo>
                    <a:lnTo>
                      <a:pt x="1766" y="22"/>
                    </a:lnTo>
                    <a:lnTo>
                      <a:pt x="1700" y="14"/>
                    </a:lnTo>
                    <a:lnTo>
                      <a:pt x="1635" y="6"/>
                    </a:lnTo>
                    <a:lnTo>
                      <a:pt x="1603" y="3"/>
                    </a:lnTo>
                    <a:lnTo>
                      <a:pt x="1571" y="2"/>
                    </a:lnTo>
                    <a:lnTo>
                      <a:pt x="1537" y="0"/>
                    </a:lnTo>
                    <a:lnTo>
                      <a:pt x="1505" y="0"/>
                    </a:lnTo>
                    <a:lnTo>
                      <a:pt x="1505" y="0"/>
                    </a:lnTo>
                    <a:lnTo>
                      <a:pt x="1158" y="10"/>
                    </a:lnTo>
                    <a:lnTo>
                      <a:pt x="990" y="14"/>
                    </a:lnTo>
                    <a:lnTo>
                      <a:pt x="903" y="14"/>
                    </a:lnTo>
                    <a:lnTo>
                      <a:pt x="812" y="14"/>
                    </a:lnTo>
                    <a:lnTo>
                      <a:pt x="812" y="14"/>
                    </a:lnTo>
                    <a:lnTo>
                      <a:pt x="769" y="14"/>
                    </a:lnTo>
                    <a:lnTo>
                      <a:pt x="728" y="18"/>
                    </a:lnTo>
                    <a:lnTo>
                      <a:pt x="686" y="23"/>
                    </a:lnTo>
                    <a:lnTo>
                      <a:pt x="643" y="30"/>
                    </a:lnTo>
                    <a:lnTo>
                      <a:pt x="601" y="39"/>
                    </a:lnTo>
                    <a:lnTo>
                      <a:pt x="558" y="50"/>
                    </a:lnTo>
                    <a:lnTo>
                      <a:pt x="515" y="61"/>
                    </a:lnTo>
                    <a:lnTo>
                      <a:pt x="474" y="73"/>
                    </a:lnTo>
                    <a:lnTo>
                      <a:pt x="388" y="100"/>
                    </a:lnTo>
                    <a:lnTo>
                      <a:pt x="303" y="128"/>
                    </a:lnTo>
                    <a:lnTo>
                      <a:pt x="219" y="154"/>
                    </a:lnTo>
                    <a:lnTo>
                      <a:pt x="178" y="166"/>
                    </a:lnTo>
                    <a:lnTo>
                      <a:pt x="136" y="177"/>
                    </a:lnTo>
                    <a:lnTo>
                      <a:pt x="136" y="177"/>
                    </a:lnTo>
                    <a:lnTo>
                      <a:pt x="119" y="182"/>
                    </a:lnTo>
                    <a:lnTo>
                      <a:pt x="101" y="189"/>
                    </a:lnTo>
                    <a:lnTo>
                      <a:pt x="86" y="197"/>
                    </a:lnTo>
                    <a:lnTo>
                      <a:pt x="73" y="205"/>
                    </a:lnTo>
                    <a:lnTo>
                      <a:pt x="61" y="214"/>
                    </a:lnTo>
                    <a:lnTo>
                      <a:pt x="50" y="224"/>
                    </a:lnTo>
                    <a:lnTo>
                      <a:pt x="41" y="234"/>
                    </a:lnTo>
                    <a:lnTo>
                      <a:pt x="33" y="247"/>
                    </a:lnTo>
                    <a:lnTo>
                      <a:pt x="25" y="259"/>
                    </a:lnTo>
                    <a:lnTo>
                      <a:pt x="19" y="272"/>
                    </a:lnTo>
                    <a:lnTo>
                      <a:pt x="14" y="286"/>
                    </a:lnTo>
                    <a:lnTo>
                      <a:pt x="10" y="299"/>
                    </a:lnTo>
                    <a:lnTo>
                      <a:pt x="6" y="314"/>
                    </a:lnTo>
                    <a:lnTo>
                      <a:pt x="3" y="329"/>
                    </a:lnTo>
                    <a:lnTo>
                      <a:pt x="0" y="360"/>
                    </a:lnTo>
                    <a:lnTo>
                      <a:pt x="0" y="392"/>
                    </a:lnTo>
                    <a:lnTo>
                      <a:pt x="2" y="425"/>
                    </a:lnTo>
                    <a:lnTo>
                      <a:pt x="4" y="458"/>
                    </a:lnTo>
                    <a:lnTo>
                      <a:pt x="7" y="491"/>
                    </a:lnTo>
                    <a:lnTo>
                      <a:pt x="15" y="556"/>
                    </a:lnTo>
                    <a:lnTo>
                      <a:pt x="18" y="585"/>
                    </a:lnTo>
                    <a:lnTo>
                      <a:pt x="20" y="615"/>
                    </a:lnTo>
                    <a:lnTo>
                      <a:pt x="20" y="615"/>
                    </a:lnTo>
                    <a:lnTo>
                      <a:pt x="22" y="669"/>
                    </a:lnTo>
                    <a:lnTo>
                      <a:pt x="22" y="724"/>
                    </a:lnTo>
                    <a:lnTo>
                      <a:pt x="20" y="834"/>
                    </a:lnTo>
                    <a:lnTo>
                      <a:pt x="18" y="943"/>
                    </a:lnTo>
                    <a:lnTo>
                      <a:pt x="15" y="1053"/>
                    </a:lnTo>
                    <a:lnTo>
                      <a:pt x="15" y="1053"/>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0" name="Freeform 168"/>
              <p:cNvSpPr>
                <a:spLocks/>
              </p:cNvSpPr>
              <p:nvPr/>
            </p:nvSpPr>
            <p:spPr bwMode="auto">
              <a:xfrm>
                <a:off x="25177750" y="-784225"/>
                <a:ext cx="1958975" cy="857250"/>
              </a:xfrm>
              <a:custGeom>
                <a:avLst/>
                <a:gdLst>
                  <a:gd name="T0" fmla="*/ 8 w 2468"/>
                  <a:gd name="T1" fmla="*/ 981 h 1082"/>
                  <a:gd name="T2" fmla="*/ 368 w 2468"/>
                  <a:gd name="T3" fmla="*/ 969 h 1082"/>
                  <a:gd name="T4" fmla="*/ 712 w 2468"/>
                  <a:gd name="T5" fmla="*/ 965 h 1082"/>
                  <a:gd name="T6" fmla="*/ 1040 w 2468"/>
                  <a:gd name="T7" fmla="*/ 966 h 1082"/>
                  <a:gd name="T8" fmla="*/ 1355 w 2468"/>
                  <a:gd name="T9" fmla="*/ 975 h 1082"/>
                  <a:gd name="T10" fmla="*/ 1654 w 2468"/>
                  <a:gd name="T11" fmla="*/ 991 h 1082"/>
                  <a:gd name="T12" fmla="*/ 1936 w 2468"/>
                  <a:gd name="T13" fmla="*/ 1014 h 1082"/>
                  <a:gd name="T14" fmla="*/ 2202 w 2468"/>
                  <a:gd name="T15" fmla="*/ 1044 h 1082"/>
                  <a:gd name="T16" fmla="*/ 2452 w 2468"/>
                  <a:gd name="T17" fmla="*/ 1082 h 1082"/>
                  <a:gd name="T18" fmla="*/ 2450 w 2468"/>
                  <a:gd name="T19" fmla="*/ 967 h 1082"/>
                  <a:gd name="T20" fmla="*/ 2445 w 2468"/>
                  <a:gd name="T21" fmla="*/ 740 h 1082"/>
                  <a:gd name="T22" fmla="*/ 2447 w 2468"/>
                  <a:gd name="T23" fmla="*/ 627 h 1082"/>
                  <a:gd name="T24" fmla="*/ 2450 w 2468"/>
                  <a:gd name="T25" fmla="*/ 597 h 1082"/>
                  <a:gd name="T26" fmla="*/ 2460 w 2468"/>
                  <a:gd name="T27" fmla="*/ 503 h 1082"/>
                  <a:gd name="T28" fmla="*/ 2467 w 2468"/>
                  <a:gd name="T29" fmla="*/ 437 h 1082"/>
                  <a:gd name="T30" fmla="*/ 2467 w 2468"/>
                  <a:gd name="T31" fmla="*/ 372 h 1082"/>
                  <a:gd name="T32" fmla="*/ 2462 w 2468"/>
                  <a:gd name="T33" fmla="*/ 326 h 1082"/>
                  <a:gd name="T34" fmla="*/ 2454 w 2468"/>
                  <a:gd name="T35" fmla="*/ 298 h 1082"/>
                  <a:gd name="T36" fmla="*/ 2443 w 2468"/>
                  <a:gd name="T37" fmla="*/ 271 h 1082"/>
                  <a:gd name="T38" fmla="*/ 2427 w 2468"/>
                  <a:gd name="T39" fmla="*/ 246 h 1082"/>
                  <a:gd name="T40" fmla="*/ 2406 w 2468"/>
                  <a:gd name="T41" fmla="*/ 226 h 1082"/>
                  <a:gd name="T42" fmla="*/ 2381 w 2468"/>
                  <a:gd name="T43" fmla="*/ 209 h 1082"/>
                  <a:gd name="T44" fmla="*/ 2350 w 2468"/>
                  <a:gd name="T45" fmla="*/ 194 h 1082"/>
                  <a:gd name="T46" fmla="*/ 2331 w 2468"/>
                  <a:gd name="T47" fmla="*/ 189 h 1082"/>
                  <a:gd name="T48" fmla="*/ 2248 w 2468"/>
                  <a:gd name="T49" fmla="*/ 166 h 1082"/>
                  <a:gd name="T50" fmla="*/ 2080 w 2468"/>
                  <a:gd name="T51" fmla="*/ 108 h 1082"/>
                  <a:gd name="T52" fmla="*/ 1952 w 2468"/>
                  <a:gd name="T53" fmla="*/ 66 h 1082"/>
                  <a:gd name="T54" fmla="*/ 1866 w 2468"/>
                  <a:gd name="T55" fmla="*/ 42 h 1082"/>
                  <a:gd name="T56" fmla="*/ 1781 w 2468"/>
                  <a:gd name="T57" fmla="*/ 25 h 1082"/>
                  <a:gd name="T58" fmla="*/ 1698 w 2468"/>
                  <a:gd name="T59" fmla="*/ 15 h 1082"/>
                  <a:gd name="T60" fmla="*/ 1656 w 2468"/>
                  <a:gd name="T61" fmla="*/ 14 h 1082"/>
                  <a:gd name="T62" fmla="*/ 1468 w 2468"/>
                  <a:gd name="T63" fmla="*/ 14 h 1082"/>
                  <a:gd name="T64" fmla="*/ 1093 w 2468"/>
                  <a:gd name="T65" fmla="*/ 6 h 1082"/>
                  <a:gd name="T66" fmla="*/ 905 w 2468"/>
                  <a:gd name="T67" fmla="*/ 0 h 1082"/>
                  <a:gd name="T68" fmla="*/ 840 w 2468"/>
                  <a:gd name="T69" fmla="*/ 2 h 1082"/>
                  <a:gd name="T70" fmla="*/ 774 w 2468"/>
                  <a:gd name="T71" fmla="*/ 7 h 1082"/>
                  <a:gd name="T72" fmla="*/ 644 w 2468"/>
                  <a:gd name="T73" fmla="*/ 22 h 1082"/>
                  <a:gd name="T74" fmla="*/ 547 w 2468"/>
                  <a:gd name="T75" fmla="*/ 33 h 1082"/>
                  <a:gd name="T76" fmla="*/ 482 w 2468"/>
                  <a:gd name="T77" fmla="*/ 37 h 1082"/>
                  <a:gd name="T78" fmla="*/ 417 w 2468"/>
                  <a:gd name="T79" fmla="*/ 35 h 1082"/>
                  <a:gd name="T80" fmla="*/ 384 w 2468"/>
                  <a:gd name="T81" fmla="*/ 33 h 1082"/>
                  <a:gd name="T82" fmla="*/ 340 w 2468"/>
                  <a:gd name="T83" fmla="*/ 34 h 1082"/>
                  <a:gd name="T84" fmla="*/ 292 w 2468"/>
                  <a:gd name="T85" fmla="*/ 45 h 1082"/>
                  <a:gd name="T86" fmla="*/ 239 w 2468"/>
                  <a:gd name="T87" fmla="*/ 64 h 1082"/>
                  <a:gd name="T88" fmla="*/ 187 w 2468"/>
                  <a:gd name="T89" fmla="*/ 90 h 1082"/>
                  <a:gd name="T90" fmla="*/ 136 w 2468"/>
                  <a:gd name="T91" fmla="*/ 121 h 1082"/>
                  <a:gd name="T92" fmla="*/ 88 w 2468"/>
                  <a:gd name="T93" fmla="*/ 156 h 1082"/>
                  <a:gd name="T94" fmla="*/ 47 w 2468"/>
                  <a:gd name="T95" fmla="*/ 194 h 1082"/>
                  <a:gd name="T96" fmla="*/ 12 w 2468"/>
                  <a:gd name="T97" fmla="*/ 233 h 1082"/>
                  <a:gd name="T98" fmla="*/ 6 w 2468"/>
                  <a:gd name="T99" fmla="*/ 242 h 1082"/>
                  <a:gd name="T100" fmla="*/ 4 w 2468"/>
                  <a:gd name="T101" fmla="*/ 249 h 1082"/>
                  <a:gd name="T102" fmla="*/ 0 w 2468"/>
                  <a:gd name="T103" fmla="*/ 271 h 1082"/>
                  <a:gd name="T104" fmla="*/ 1 w 2468"/>
                  <a:gd name="T105" fmla="*/ 308 h 1082"/>
                  <a:gd name="T106" fmla="*/ 6 w 2468"/>
                  <a:gd name="T107" fmla="*/ 377 h 1082"/>
                  <a:gd name="T108" fmla="*/ 8 w 2468"/>
                  <a:gd name="T109" fmla="*/ 981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82">
                    <a:moveTo>
                      <a:pt x="8" y="981"/>
                    </a:moveTo>
                    <a:lnTo>
                      <a:pt x="8" y="981"/>
                    </a:lnTo>
                    <a:lnTo>
                      <a:pt x="189" y="974"/>
                    </a:lnTo>
                    <a:lnTo>
                      <a:pt x="368" y="969"/>
                    </a:lnTo>
                    <a:lnTo>
                      <a:pt x="542" y="966"/>
                    </a:lnTo>
                    <a:lnTo>
                      <a:pt x="712" y="965"/>
                    </a:lnTo>
                    <a:lnTo>
                      <a:pt x="878" y="965"/>
                    </a:lnTo>
                    <a:lnTo>
                      <a:pt x="1040" y="966"/>
                    </a:lnTo>
                    <a:lnTo>
                      <a:pt x="1200" y="970"/>
                    </a:lnTo>
                    <a:lnTo>
                      <a:pt x="1355" y="975"/>
                    </a:lnTo>
                    <a:lnTo>
                      <a:pt x="1506" y="982"/>
                    </a:lnTo>
                    <a:lnTo>
                      <a:pt x="1654" y="991"/>
                    </a:lnTo>
                    <a:lnTo>
                      <a:pt x="1796" y="1002"/>
                    </a:lnTo>
                    <a:lnTo>
                      <a:pt x="1936" y="1014"/>
                    </a:lnTo>
                    <a:lnTo>
                      <a:pt x="2070" y="1029"/>
                    </a:lnTo>
                    <a:lnTo>
                      <a:pt x="2202" y="1044"/>
                    </a:lnTo>
                    <a:lnTo>
                      <a:pt x="2330" y="1061"/>
                    </a:lnTo>
                    <a:lnTo>
                      <a:pt x="2452" y="1082"/>
                    </a:lnTo>
                    <a:lnTo>
                      <a:pt x="2452" y="1082"/>
                    </a:lnTo>
                    <a:lnTo>
                      <a:pt x="2450" y="967"/>
                    </a:lnTo>
                    <a:lnTo>
                      <a:pt x="2447" y="854"/>
                    </a:lnTo>
                    <a:lnTo>
                      <a:pt x="2445" y="740"/>
                    </a:lnTo>
                    <a:lnTo>
                      <a:pt x="2445" y="684"/>
                    </a:lnTo>
                    <a:lnTo>
                      <a:pt x="2447" y="627"/>
                    </a:lnTo>
                    <a:lnTo>
                      <a:pt x="2447" y="627"/>
                    </a:lnTo>
                    <a:lnTo>
                      <a:pt x="2450" y="597"/>
                    </a:lnTo>
                    <a:lnTo>
                      <a:pt x="2452" y="568"/>
                    </a:lnTo>
                    <a:lnTo>
                      <a:pt x="2460" y="503"/>
                    </a:lnTo>
                    <a:lnTo>
                      <a:pt x="2464" y="470"/>
                    </a:lnTo>
                    <a:lnTo>
                      <a:pt x="2467" y="437"/>
                    </a:lnTo>
                    <a:lnTo>
                      <a:pt x="2468" y="404"/>
                    </a:lnTo>
                    <a:lnTo>
                      <a:pt x="2467" y="372"/>
                    </a:lnTo>
                    <a:lnTo>
                      <a:pt x="2464" y="341"/>
                    </a:lnTo>
                    <a:lnTo>
                      <a:pt x="2462" y="326"/>
                    </a:lnTo>
                    <a:lnTo>
                      <a:pt x="2459" y="311"/>
                    </a:lnTo>
                    <a:lnTo>
                      <a:pt x="2454" y="298"/>
                    </a:lnTo>
                    <a:lnTo>
                      <a:pt x="2450" y="284"/>
                    </a:lnTo>
                    <a:lnTo>
                      <a:pt x="2443" y="271"/>
                    </a:lnTo>
                    <a:lnTo>
                      <a:pt x="2436" y="259"/>
                    </a:lnTo>
                    <a:lnTo>
                      <a:pt x="2427" y="246"/>
                    </a:lnTo>
                    <a:lnTo>
                      <a:pt x="2417" y="236"/>
                    </a:lnTo>
                    <a:lnTo>
                      <a:pt x="2406" y="226"/>
                    </a:lnTo>
                    <a:lnTo>
                      <a:pt x="2394" y="217"/>
                    </a:lnTo>
                    <a:lnTo>
                      <a:pt x="2381" y="209"/>
                    </a:lnTo>
                    <a:lnTo>
                      <a:pt x="2366" y="201"/>
                    </a:lnTo>
                    <a:lnTo>
                      <a:pt x="2350" y="194"/>
                    </a:lnTo>
                    <a:lnTo>
                      <a:pt x="2331" y="189"/>
                    </a:lnTo>
                    <a:lnTo>
                      <a:pt x="2331" y="189"/>
                    </a:lnTo>
                    <a:lnTo>
                      <a:pt x="2290" y="178"/>
                    </a:lnTo>
                    <a:lnTo>
                      <a:pt x="2248" y="166"/>
                    </a:lnTo>
                    <a:lnTo>
                      <a:pt x="2164" y="138"/>
                    </a:lnTo>
                    <a:lnTo>
                      <a:pt x="2080" y="108"/>
                    </a:lnTo>
                    <a:lnTo>
                      <a:pt x="1995" y="80"/>
                    </a:lnTo>
                    <a:lnTo>
                      <a:pt x="1952" y="66"/>
                    </a:lnTo>
                    <a:lnTo>
                      <a:pt x="1909" y="54"/>
                    </a:lnTo>
                    <a:lnTo>
                      <a:pt x="1866" y="42"/>
                    </a:lnTo>
                    <a:lnTo>
                      <a:pt x="1824" y="33"/>
                    </a:lnTo>
                    <a:lnTo>
                      <a:pt x="1781" y="25"/>
                    </a:lnTo>
                    <a:lnTo>
                      <a:pt x="1740" y="19"/>
                    </a:lnTo>
                    <a:lnTo>
                      <a:pt x="1698" y="15"/>
                    </a:lnTo>
                    <a:lnTo>
                      <a:pt x="1656" y="14"/>
                    </a:lnTo>
                    <a:lnTo>
                      <a:pt x="1656" y="14"/>
                    </a:lnTo>
                    <a:lnTo>
                      <a:pt x="1562" y="14"/>
                    </a:lnTo>
                    <a:lnTo>
                      <a:pt x="1468" y="14"/>
                    </a:lnTo>
                    <a:lnTo>
                      <a:pt x="1280" y="11"/>
                    </a:lnTo>
                    <a:lnTo>
                      <a:pt x="1093" y="6"/>
                    </a:lnTo>
                    <a:lnTo>
                      <a:pt x="905" y="0"/>
                    </a:lnTo>
                    <a:lnTo>
                      <a:pt x="905" y="0"/>
                    </a:lnTo>
                    <a:lnTo>
                      <a:pt x="872" y="0"/>
                    </a:lnTo>
                    <a:lnTo>
                      <a:pt x="840" y="2"/>
                    </a:lnTo>
                    <a:lnTo>
                      <a:pt x="806" y="3"/>
                    </a:lnTo>
                    <a:lnTo>
                      <a:pt x="774" y="7"/>
                    </a:lnTo>
                    <a:lnTo>
                      <a:pt x="710" y="14"/>
                    </a:lnTo>
                    <a:lnTo>
                      <a:pt x="644" y="22"/>
                    </a:lnTo>
                    <a:lnTo>
                      <a:pt x="579" y="30"/>
                    </a:lnTo>
                    <a:lnTo>
                      <a:pt x="547" y="33"/>
                    </a:lnTo>
                    <a:lnTo>
                      <a:pt x="515" y="35"/>
                    </a:lnTo>
                    <a:lnTo>
                      <a:pt x="482" y="37"/>
                    </a:lnTo>
                    <a:lnTo>
                      <a:pt x="450" y="37"/>
                    </a:lnTo>
                    <a:lnTo>
                      <a:pt x="417" y="35"/>
                    </a:lnTo>
                    <a:lnTo>
                      <a:pt x="384" y="33"/>
                    </a:lnTo>
                    <a:lnTo>
                      <a:pt x="384" y="33"/>
                    </a:lnTo>
                    <a:lnTo>
                      <a:pt x="363" y="33"/>
                    </a:lnTo>
                    <a:lnTo>
                      <a:pt x="340" y="34"/>
                    </a:lnTo>
                    <a:lnTo>
                      <a:pt x="316" y="38"/>
                    </a:lnTo>
                    <a:lnTo>
                      <a:pt x="292" y="45"/>
                    </a:lnTo>
                    <a:lnTo>
                      <a:pt x="266" y="53"/>
                    </a:lnTo>
                    <a:lnTo>
                      <a:pt x="239" y="64"/>
                    </a:lnTo>
                    <a:lnTo>
                      <a:pt x="214" y="76"/>
                    </a:lnTo>
                    <a:lnTo>
                      <a:pt x="187" y="90"/>
                    </a:lnTo>
                    <a:lnTo>
                      <a:pt x="161" y="105"/>
                    </a:lnTo>
                    <a:lnTo>
                      <a:pt x="136" y="121"/>
                    </a:lnTo>
                    <a:lnTo>
                      <a:pt x="111" y="139"/>
                    </a:lnTo>
                    <a:lnTo>
                      <a:pt x="88" y="156"/>
                    </a:lnTo>
                    <a:lnTo>
                      <a:pt x="67" y="175"/>
                    </a:lnTo>
                    <a:lnTo>
                      <a:pt x="47" y="194"/>
                    </a:lnTo>
                    <a:lnTo>
                      <a:pt x="28" y="214"/>
                    </a:lnTo>
                    <a:lnTo>
                      <a:pt x="12" y="233"/>
                    </a:lnTo>
                    <a:lnTo>
                      <a:pt x="12" y="233"/>
                    </a:lnTo>
                    <a:lnTo>
                      <a:pt x="6" y="242"/>
                    </a:lnTo>
                    <a:lnTo>
                      <a:pt x="6" y="242"/>
                    </a:lnTo>
                    <a:lnTo>
                      <a:pt x="4" y="249"/>
                    </a:lnTo>
                    <a:lnTo>
                      <a:pt x="1" y="256"/>
                    </a:lnTo>
                    <a:lnTo>
                      <a:pt x="0" y="271"/>
                    </a:lnTo>
                    <a:lnTo>
                      <a:pt x="0" y="290"/>
                    </a:lnTo>
                    <a:lnTo>
                      <a:pt x="1" y="308"/>
                    </a:lnTo>
                    <a:lnTo>
                      <a:pt x="4" y="346"/>
                    </a:lnTo>
                    <a:lnTo>
                      <a:pt x="6" y="377"/>
                    </a:lnTo>
                    <a:lnTo>
                      <a:pt x="6" y="377"/>
                    </a:lnTo>
                    <a:lnTo>
                      <a:pt x="8" y="981"/>
                    </a:lnTo>
                    <a:lnTo>
                      <a:pt x="8" y="981"/>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1" name="Freeform 169"/>
              <p:cNvSpPr>
                <a:spLocks/>
              </p:cNvSpPr>
              <p:nvPr/>
            </p:nvSpPr>
            <p:spPr bwMode="auto">
              <a:xfrm>
                <a:off x="25071388" y="117475"/>
                <a:ext cx="2287588" cy="4313238"/>
              </a:xfrm>
              <a:custGeom>
                <a:avLst/>
                <a:gdLst>
                  <a:gd name="T0" fmla="*/ 2732 w 2881"/>
                  <a:gd name="T1" fmla="*/ 4699 h 5434"/>
                  <a:gd name="T2" fmla="*/ 2667 w 2881"/>
                  <a:gd name="T3" fmla="*/ 4451 h 5434"/>
                  <a:gd name="T4" fmla="*/ 2565 w 2881"/>
                  <a:gd name="T5" fmla="*/ 3864 h 5434"/>
                  <a:gd name="T6" fmla="*/ 2517 w 2881"/>
                  <a:gd name="T7" fmla="*/ 3487 h 5434"/>
                  <a:gd name="T8" fmla="*/ 2514 w 2881"/>
                  <a:gd name="T9" fmla="*/ 3144 h 5434"/>
                  <a:gd name="T10" fmla="*/ 2564 w 2881"/>
                  <a:gd name="T11" fmla="*/ 2600 h 5434"/>
                  <a:gd name="T12" fmla="*/ 2583 w 2881"/>
                  <a:gd name="T13" fmla="*/ 2318 h 5434"/>
                  <a:gd name="T14" fmla="*/ 2588 w 2881"/>
                  <a:gd name="T15" fmla="*/ 1593 h 5434"/>
                  <a:gd name="T16" fmla="*/ 2589 w 2881"/>
                  <a:gd name="T17" fmla="*/ 1215 h 5434"/>
                  <a:gd name="T18" fmla="*/ 2585 w 2881"/>
                  <a:gd name="T19" fmla="*/ 277 h 5434"/>
                  <a:gd name="T20" fmla="*/ 2206 w 2881"/>
                  <a:gd name="T21" fmla="*/ 66 h 5434"/>
                  <a:gd name="T22" fmla="*/ 1492 w 2881"/>
                  <a:gd name="T23" fmla="*/ 12 h 5434"/>
                  <a:gd name="T24" fmla="*/ 677 w 2881"/>
                  <a:gd name="T25" fmla="*/ 1 h 5434"/>
                  <a:gd name="T26" fmla="*/ 142 w 2881"/>
                  <a:gd name="T27" fmla="*/ 408 h 5434"/>
                  <a:gd name="T28" fmla="*/ 148 w 2881"/>
                  <a:gd name="T29" fmla="*/ 1452 h 5434"/>
                  <a:gd name="T30" fmla="*/ 205 w 2881"/>
                  <a:gd name="T31" fmla="*/ 2306 h 5434"/>
                  <a:gd name="T32" fmla="*/ 236 w 2881"/>
                  <a:gd name="T33" fmla="*/ 2963 h 5434"/>
                  <a:gd name="T34" fmla="*/ 217 w 2881"/>
                  <a:gd name="T35" fmla="*/ 3633 h 5434"/>
                  <a:gd name="T36" fmla="*/ 240 w 2881"/>
                  <a:gd name="T37" fmla="*/ 3854 h 5434"/>
                  <a:gd name="T38" fmla="*/ 376 w 2881"/>
                  <a:gd name="T39" fmla="*/ 3726 h 5434"/>
                  <a:gd name="T40" fmla="*/ 529 w 2881"/>
                  <a:gd name="T41" fmla="*/ 3632 h 5434"/>
                  <a:gd name="T42" fmla="*/ 696 w 2881"/>
                  <a:gd name="T43" fmla="*/ 3567 h 5434"/>
                  <a:gd name="T44" fmla="*/ 875 w 2881"/>
                  <a:gd name="T45" fmla="*/ 3528 h 5434"/>
                  <a:gd name="T46" fmla="*/ 1187 w 2881"/>
                  <a:gd name="T47" fmla="*/ 3508 h 5434"/>
                  <a:gd name="T48" fmla="*/ 1403 w 2881"/>
                  <a:gd name="T49" fmla="*/ 3520 h 5434"/>
                  <a:gd name="T50" fmla="*/ 1637 w 2881"/>
                  <a:gd name="T51" fmla="*/ 3556 h 5434"/>
                  <a:gd name="T52" fmla="*/ 1842 w 2881"/>
                  <a:gd name="T53" fmla="*/ 3641 h 5434"/>
                  <a:gd name="T54" fmla="*/ 2078 w 2881"/>
                  <a:gd name="T55" fmla="*/ 3769 h 5434"/>
                  <a:gd name="T56" fmla="*/ 2228 w 2881"/>
                  <a:gd name="T57" fmla="*/ 3887 h 5434"/>
                  <a:gd name="T58" fmla="*/ 2312 w 2881"/>
                  <a:gd name="T59" fmla="*/ 3991 h 5434"/>
                  <a:gd name="T60" fmla="*/ 2355 w 2881"/>
                  <a:gd name="T61" fmla="*/ 4089 h 5434"/>
                  <a:gd name="T62" fmla="*/ 2371 w 2881"/>
                  <a:gd name="T63" fmla="*/ 4164 h 5434"/>
                  <a:gd name="T64" fmla="*/ 2373 w 2881"/>
                  <a:gd name="T65" fmla="*/ 4168 h 5434"/>
                  <a:gd name="T66" fmla="*/ 2268 w 2881"/>
                  <a:gd name="T67" fmla="*/ 4084 h 5434"/>
                  <a:gd name="T68" fmla="*/ 2089 w 2881"/>
                  <a:gd name="T69" fmla="*/ 3968 h 5434"/>
                  <a:gd name="T70" fmla="*/ 1905 w 2881"/>
                  <a:gd name="T71" fmla="*/ 3874 h 5434"/>
                  <a:gd name="T72" fmla="*/ 1567 w 2881"/>
                  <a:gd name="T73" fmla="*/ 3755 h 5434"/>
                  <a:gd name="T74" fmla="*/ 1200 w 2881"/>
                  <a:gd name="T75" fmla="*/ 3696 h 5434"/>
                  <a:gd name="T76" fmla="*/ 866 w 2881"/>
                  <a:gd name="T77" fmla="*/ 3706 h 5434"/>
                  <a:gd name="T78" fmla="*/ 585 w 2881"/>
                  <a:gd name="T79" fmla="*/ 3776 h 5434"/>
                  <a:gd name="T80" fmla="*/ 451 w 2881"/>
                  <a:gd name="T81" fmla="*/ 3842 h 5434"/>
                  <a:gd name="T82" fmla="*/ 367 w 2881"/>
                  <a:gd name="T83" fmla="*/ 3910 h 5434"/>
                  <a:gd name="T84" fmla="*/ 293 w 2881"/>
                  <a:gd name="T85" fmla="*/ 4000 h 5434"/>
                  <a:gd name="T86" fmla="*/ 209 w 2881"/>
                  <a:gd name="T87" fmla="*/ 4132 h 5434"/>
                  <a:gd name="T88" fmla="*/ 95 w 2881"/>
                  <a:gd name="T89" fmla="*/ 4418 h 5434"/>
                  <a:gd name="T90" fmla="*/ 27 w 2881"/>
                  <a:gd name="T91" fmla="*/ 4716 h 5434"/>
                  <a:gd name="T92" fmla="*/ 0 w 2881"/>
                  <a:gd name="T93" fmla="*/ 4908 h 5434"/>
                  <a:gd name="T94" fmla="*/ 25 w 2881"/>
                  <a:gd name="T95" fmla="*/ 5079 h 5434"/>
                  <a:gd name="T96" fmla="*/ 75 w 2881"/>
                  <a:gd name="T97" fmla="*/ 5286 h 5434"/>
                  <a:gd name="T98" fmla="*/ 321 w 2881"/>
                  <a:gd name="T99" fmla="*/ 5405 h 5434"/>
                  <a:gd name="T100" fmla="*/ 1777 w 2881"/>
                  <a:gd name="T101" fmla="*/ 5434 h 5434"/>
                  <a:gd name="T102" fmla="*/ 2217 w 2881"/>
                  <a:gd name="T103" fmla="*/ 5424 h 5434"/>
                  <a:gd name="T104" fmla="*/ 2639 w 2881"/>
                  <a:gd name="T105" fmla="*/ 5379 h 5434"/>
                  <a:gd name="T106" fmla="*/ 2752 w 2881"/>
                  <a:gd name="T107" fmla="*/ 5338 h 5434"/>
                  <a:gd name="T108" fmla="*/ 2790 w 2881"/>
                  <a:gd name="T109" fmla="*/ 5279 h 5434"/>
                  <a:gd name="T110" fmla="*/ 2869 w 2881"/>
                  <a:gd name="T111" fmla="*/ 5196 h 5434"/>
                  <a:gd name="T112" fmla="*/ 2881 w 2881"/>
                  <a:gd name="T113" fmla="*/ 5099 h 5434"/>
                  <a:gd name="T114" fmla="*/ 2854 w 2881"/>
                  <a:gd name="T115" fmla="*/ 4767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1" h="5434">
                    <a:moveTo>
                      <a:pt x="2854" y="4767"/>
                    </a:moveTo>
                    <a:lnTo>
                      <a:pt x="2854" y="4767"/>
                    </a:lnTo>
                    <a:lnTo>
                      <a:pt x="2831" y="4755"/>
                    </a:lnTo>
                    <a:lnTo>
                      <a:pt x="2782" y="4726"/>
                    </a:lnTo>
                    <a:lnTo>
                      <a:pt x="2732" y="4699"/>
                    </a:lnTo>
                    <a:lnTo>
                      <a:pt x="2709" y="4686"/>
                    </a:lnTo>
                    <a:lnTo>
                      <a:pt x="2709" y="4686"/>
                    </a:lnTo>
                    <a:lnTo>
                      <a:pt x="2697" y="4608"/>
                    </a:lnTo>
                    <a:lnTo>
                      <a:pt x="2683" y="4530"/>
                    </a:lnTo>
                    <a:lnTo>
                      <a:pt x="2667" y="4451"/>
                    </a:lnTo>
                    <a:lnTo>
                      <a:pt x="2648" y="4371"/>
                    </a:lnTo>
                    <a:lnTo>
                      <a:pt x="2648" y="4371"/>
                    </a:lnTo>
                    <a:lnTo>
                      <a:pt x="2612" y="4168"/>
                    </a:lnTo>
                    <a:lnTo>
                      <a:pt x="2580" y="3965"/>
                    </a:lnTo>
                    <a:lnTo>
                      <a:pt x="2565" y="3864"/>
                    </a:lnTo>
                    <a:lnTo>
                      <a:pt x="2550" y="3762"/>
                    </a:lnTo>
                    <a:lnTo>
                      <a:pt x="2537" y="3660"/>
                    </a:lnTo>
                    <a:lnTo>
                      <a:pt x="2523" y="3558"/>
                    </a:lnTo>
                    <a:lnTo>
                      <a:pt x="2523" y="3558"/>
                    </a:lnTo>
                    <a:lnTo>
                      <a:pt x="2517" y="3487"/>
                    </a:lnTo>
                    <a:lnTo>
                      <a:pt x="2513" y="3417"/>
                    </a:lnTo>
                    <a:lnTo>
                      <a:pt x="2510" y="3347"/>
                    </a:lnTo>
                    <a:lnTo>
                      <a:pt x="2509" y="3278"/>
                    </a:lnTo>
                    <a:lnTo>
                      <a:pt x="2510" y="3211"/>
                    </a:lnTo>
                    <a:lnTo>
                      <a:pt x="2514" y="3144"/>
                    </a:lnTo>
                    <a:lnTo>
                      <a:pt x="2518" y="3076"/>
                    </a:lnTo>
                    <a:lnTo>
                      <a:pt x="2523" y="3009"/>
                    </a:lnTo>
                    <a:lnTo>
                      <a:pt x="2535" y="2875"/>
                    </a:lnTo>
                    <a:lnTo>
                      <a:pt x="2550" y="2739"/>
                    </a:lnTo>
                    <a:lnTo>
                      <a:pt x="2564" y="2600"/>
                    </a:lnTo>
                    <a:lnTo>
                      <a:pt x="2569" y="2529"/>
                    </a:lnTo>
                    <a:lnTo>
                      <a:pt x="2574" y="2458"/>
                    </a:lnTo>
                    <a:lnTo>
                      <a:pt x="2574" y="2458"/>
                    </a:lnTo>
                    <a:lnTo>
                      <a:pt x="2578" y="2388"/>
                    </a:lnTo>
                    <a:lnTo>
                      <a:pt x="2583" y="2318"/>
                    </a:lnTo>
                    <a:lnTo>
                      <a:pt x="2587" y="2177"/>
                    </a:lnTo>
                    <a:lnTo>
                      <a:pt x="2589" y="2032"/>
                    </a:lnTo>
                    <a:lnTo>
                      <a:pt x="2589" y="1885"/>
                    </a:lnTo>
                    <a:lnTo>
                      <a:pt x="2589" y="1740"/>
                    </a:lnTo>
                    <a:lnTo>
                      <a:pt x="2588" y="1593"/>
                    </a:lnTo>
                    <a:lnTo>
                      <a:pt x="2585" y="1308"/>
                    </a:lnTo>
                    <a:lnTo>
                      <a:pt x="2585" y="1308"/>
                    </a:lnTo>
                    <a:lnTo>
                      <a:pt x="2585" y="1373"/>
                    </a:lnTo>
                    <a:lnTo>
                      <a:pt x="2585" y="1373"/>
                    </a:lnTo>
                    <a:lnTo>
                      <a:pt x="2589" y="1215"/>
                    </a:lnTo>
                    <a:lnTo>
                      <a:pt x="2591" y="1059"/>
                    </a:lnTo>
                    <a:lnTo>
                      <a:pt x="2591" y="903"/>
                    </a:lnTo>
                    <a:lnTo>
                      <a:pt x="2589" y="746"/>
                    </a:lnTo>
                    <a:lnTo>
                      <a:pt x="2587" y="433"/>
                    </a:lnTo>
                    <a:lnTo>
                      <a:pt x="2585" y="277"/>
                    </a:lnTo>
                    <a:lnTo>
                      <a:pt x="2585" y="119"/>
                    </a:lnTo>
                    <a:lnTo>
                      <a:pt x="2585" y="119"/>
                    </a:lnTo>
                    <a:lnTo>
                      <a:pt x="2463" y="101"/>
                    </a:lnTo>
                    <a:lnTo>
                      <a:pt x="2336" y="82"/>
                    </a:lnTo>
                    <a:lnTo>
                      <a:pt x="2206" y="66"/>
                    </a:lnTo>
                    <a:lnTo>
                      <a:pt x="2072" y="52"/>
                    </a:lnTo>
                    <a:lnTo>
                      <a:pt x="1933" y="39"/>
                    </a:lnTo>
                    <a:lnTo>
                      <a:pt x="1791" y="28"/>
                    </a:lnTo>
                    <a:lnTo>
                      <a:pt x="1643" y="19"/>
                    </a:lnTo>
                    <a:lnTo>
                      <a:pt x="1492" y="12"/>
                    </a:lnTo>
                    <a:lnTo>
                      <a:pt x="1337" y="6"/>
                    </a:lnTo>
                    <a:lnTo>
                      <a:pt x="1177" y="2"/>
                    </a:lnTo>
                    <a:lnTo>
                      <a:pt x="1015" y="1"/>
                    </a:lnTo>
                    <a:lnTo>
                      <a:pt x="848" y="0"/>
                    </a:lnTo>
                    <a:lnTo>
                      <a:pt x="677" y="1"/>
                    </a:lnTo>
                    <a:lnTo>
                      <a:pt x="503" y="5"/>
                    </a:lnTo>
                    <a:lnTo>
                      <a:pt x="324" y="10"/>
                    </a:lnTo>
                    <a:lnTo>
                      <a:pt x="142" y="17"/>
                    </a:lnTo>
                    <a:lnTo>
                      <a:pt x="142" y="17"/>
                    </a:lnTo>
                    <a:lnTo>
                      <a:pt x="142" y="408"/>
                    </a:lnTo>
                    <a:lnTo>
                      <a:pt x="142" y="408"/>
                    </a:lnTo>
                    <a:lnTo>
                      <a:pt x="142" y="1151"/>
                    </a:lnTo>
                    <a:lnTo>
                      <a:pt x="142" y="1151"/>
                    </a:lnTo>
                    <a:lnTo>
                      <a:pt x="144" y="1301"/>
                    </a:lnTo>
                    <a:lnTo>
                      <a:pt x="148" y="1452"/>
                    </a:lnTo>
                    <a:lnTo>
                      <a:pt x="154" y="1601"/>
                    </a:lnTo>
                    <a:lnTo>
                      <a:pt x="165" y="1752"/>
                    </a:lnTo>
                    <a:lnTo>
                      <a:pt x="165" y="1752"/>
                    </a:lnTo>
                    <a:lnTo>
                      <a:pt x="187" y="2033"/>
                    </a:lnTo>
                    <a:lnTo>
                      <a:pt x="205" y="2306"/>
                    </a:lnTo>
                    <a:lnTo>
                      <a:pt x="215" y="2439"/>
                    </a:lnTo>
                    <a:lnTo>
                      <a:pt x="223" y="2571"/>
                    </a:lnTo>
                    <a:lnTo>
                      <a:pt x="228" y="2703"/>
                    </a:lnTo>
                    <a:lnTo>
                      <a:pt x="234" y="2833"/>
                    </a:lnTo>
                    <a:lnTo>
                      <a:pt x="236" y="2963"/>
                    </a:lnTo>
                    <a:lnTo>
                      <a:pt x="238" y="3095"/>
                    </a:lnTo>
                    <a:lnTo>
                      <a:pt x="236" y="3227"/>
                    </a:lnTo>
                    <a:lnTo>
                      <a:pt x="234" y="3361"/>
                    </a:lnTo>
                    <a:lnTo>
                      <a:pt x="227" y="3496"/>
                    </a:lnTo>
                    <a:lnTo>
                      <a:pt x="217" y="3633"/>
                    </a:lnTo>
                    <a:lnTo>
                      <a:pt x="205" y="3773"/>
                    </a:lnTo>
                    <a:lnTo>
                      <a:pt x="189" y="3916"/>
                    </a:lnTo>
                    <a:lnTo>
                      <a:pt x="189" y="3916"/>
                    </a:lnTo>
                    <a:lnTo>
                      <a:pt x="215" y="3883"/>
                    </a:lnTo>
                    <a:lnTo>
                      <a:pt x="240" y="3854"/>
                    </a:lnTo>
                    <a:lnTo>
                      <a:pt x="266" y="3825"/>
                    </a:lnTo>
                    <a:lnTo>
                      <a:pt x="293" y="3799"/>
                    </a:lnTo>
                    <a:lnTo>
                      <a:pt x="320" y="3773"/>
                    </a:lnTo>
                    <a:lnTo>
                      <a:pt x="348" y="3749"/>
                    </a:lnTo>
                    <a:lnTo>
                      <a:pt x="376" y="3726"/>
                    </a:lnTo>
                    <a:lnTo>
                      <a:pt x="406" y="3704"/>
                    </a:lnTo>
                    <a:lnTo>
                      <a:pt x="435" y="3684"/>
                    </a:lnTo>
                    <a:lnTo>
                      <a:pt x="466" y="3665"/>
                    </a:lnTo>
                    <a:lnTo>
                      <a:pt x="497" y="3648"/>
                    </a:lnTo>
                    <a:lnTo>
                      <a:pt x="529" y="3632"/>
                    </a:lnTo>
                    <a:lnTo>
                      <a:pt x="562" y="3617"/>
                    </a:lnTo>
                    <a:lnTo>
                      <a:pt x="594" y="3602"/>
                    </a:lnTo>
                    <a:lnTo>
                      <a:pt x="628" y="3590"/>
                    </a:lnTo>
                    <a:lnTo>
                      <a:pt x="661" y="3578"/>
                    </a:lnTo>
                    <a:lnTo>
                      <a:pt x="696" y="3567"/>
                    </a:lnTo>
                    <a:lnTo>
                      <a:pt x="731" y="3558"/>
                    </a:lnTo>
                    <a:lnTo>
                      <a:pt x="766" y="3548"/>
                    </a:lnTo>
                    <a:lnTo>
                      <a:pt x="802" y="3540"/>
                    </a:lnTo>
                    <a:lnTo>
                      <a:pt x="839" y="3534"/>
                    </a:lnTo>
                    <a:lnTo>
                      <a:pt x="875" y="3528"/>
                    </a:lnTo>
                    <a:lnTo>
                      <a:pt x="913" y="3523"/>
                    </a:lnTo>
                    <a:lnTo>
                      <a:pt x="952" y="3519"/>
                    </a:lnTo>
                    <a:lnTo>
                      <a:pt x="1028" y="3512"/>
                    </a:lnTo>
                    <a:lnTo>
                      <a:pt x="1108" y="3509"/>
                    </a:lnTo>
                    <a:lnTo>
                      <a:pt x="1187" y="3508"/>
                    </a:lnTo>
                    <a:lnTo>
                      <a:pt x="1270" y="3509"/>
                    </a:lnTo>
                    <a:lnTo>
                      <a:pt x="1270" y="3509"/>
                    </a:lnTo>
                    <a:lnTo>
                      <a:pt x="1304" y="3512"/>
                    </a:lnTo>
                    <a:lnTo>
                      <a:pt x="1350" y="3515"/>
                    </a:lnTo>
                    <a:lnTo>
                      <a:pt x="1403" y="3520"/>
                    </a:lnTo>
                    <a:lnTo>
                      <a:pt x="1463" y="3527"/>
                    </a:lnTo>
                    <a:lnTo>
                      <a:pt x="1520" y="3535"/>
                    </a:lnTo>
                    <a:lnTo>
                      <a:pt x="1574" y="3543"/>
                    </a:lnTo>
                    <a:lnTo>
                      <a:pt x="1618" y="3552"/>
                    </a:lnTo>
                    <a:lnTo>
                      <a:pt x="1637" y="3556"/>
                    </a:lnTo>
                    <a:lnTo>
                      <a:pt x="1651" y="3562"/>
                    </a:lnTo>
                    <a:lnTo>
                      <a:pt x="1651" y="3562"/>
                    </a:lnTo>
                    <a:lnTo>
                      <a:pt x="1719" y="3589"/>
                    </a:lnTo>
                    <a:lnTo>
                      <a:pt x="1783" y="3616"/>
                    </a:lnTo>
                    <a:lnTo>
                      <a:pt x="1842" y="3641"/>
                    </a:lnTo>
                    <a:lnTo>
                      <a:pt x="1897" y="3668"/>
                    </a:lnTo>
                    <a:lnTo>
                      <a:pt x="1948" y="3694"/>
                    </a:lnTo>
                    <a:lnTo>
                      <a:pt x="1995" y="3719"/>
                    </a:lnTo>
                    <a:lnTo>
                      <a:pt x="2038" y="3745"/>
                    </a:lnTo>
                    <a:lnTo>
                      <a:pt x="2078" y="3769"/>
                    </a:lnTo>
                    <a:lnTo>
                      <a:pt x="2115" y="3793"/>
                    </a:lnTo>
                    <a:lnTo>
                      <a:pt x="2147" y="3817"/>
                    </a:lnTo>
                    <a:lnTo>
                      <a:pt x="2176" y="3842"/>
                    </a:lnTo>
                    <a:lnTo>
                      <a:pt x="2203" y="3864"/>
                    </a:lnTo>
                    <a:lnTo>
                      <a:pt x="2228" y="3887"/>
                    </a:lnTo>
                    <a:lnTo>
                      <a:pt x="2249" y="3909"/>
                    </a:lnTo>
                    <a:lnTo>
                      <a:pt x="2268" y="3930"/>
                    </a:lnTo>
                    <a:lnTo>
                      <a:pt x="2285" y="3950"/>
                    </a:lnTo>
                    <a:lnTo>
                      <a:pt x="2300" y="3971"/>
                    </a:lnTo>
                    <a:lnTo>
                      <a:pt x="2312" y="3991"/>
                    </a:lnTo>
                    <a:lnTo>
                      <a:pt x="2323" y="4008"/>
                    </a:lnTo>
                    <a:lnTo>
                      <a:pt x="2332" y="4027"/>
                    </a:lnTo>
                    <a:lnTo>
                      <a:pt x="2340" y="4043"/>
                    </a:lnTo>
                    <a:lnTo>
                      <a:pt x="2346" y="4059"/>
                    </a:lnTo>
                    <a:lnTo>
                      <a:pt x="2355" y="4089"/>
                    </a:lnTo>
                    <a:lnTo>
                      <a:pt x="2362" y="4115"/>
                    </a:lnTo>
                    <a:lnTo>
                      <a:pt x="2365" y="4136"/>
                    </a:lnTo>
                    <a:lnTo>
                      <a:pt x="2367" y="4152"/>
                    </a:lnTo>
                    <a:lnTo>
                      <a:pt x="2371" y="4164"/>
                    </a:lnTo>
                    <a:lnTo>
                      <a:pt x="2371" y="4164"/>
                    </a:lnTo>
                    <a:lnTo>
                      <a:pt x="2385" y="4174"/>
                    </a:lnTo>
                    <a:lnTo>
                      <a:pt x="2385" y="4174"/>
                    </a:lnTo>
                    <a:lnTo>
                      <a:pt x="2379" y="4174"/>
                    </a:lnTo>
                    <a:lnTo>
                      <a:pt x="2377" y="4172"/>
                    </a:lnTo>
                    <a:lnTo>
                      <a:pt x="2373" y="4168"/>
                    </a:lnTo>
                    <a:lnTo>
                      <a:pt x="2371" y="4164"/>
                    </a:lnTo>
                    <a:lnTo>
                      <a:pt x="2371" y="4164"/>
                    </a:lnTo>
                    <a:lnTo>
                      <a:pt x="2336" y="4137"/>
                    </a:lnTo>
                    <a:lnTo>
                      <a:pt x="2303" y="4110"/>
                    </a:lnTo>
                    <a:lnTo>
                      <a:pt x="2268" y="4084"/>
                    </a:lnTo>
                    <a:lnTo>
                      <a:pt x="2233" y="4059"/>
                    </a:lnTo>
                    <a:lnTo>
                      <a:pt x="2198" y="4035"/>
                    </a:lnTo>
                    <a:lnTo>
                      <a:pt x="2162" y="4011"/>
                    </a:lnTo>
                    <a:lnTo>
                      <a:pt x="2125" y="3989"/>
                    </a:lnTo>
                    <a:lnTo>
                      <a:pt x="2089" y="3968"/>
                    </a:lnTo>
                    <a:lnTo>
                      <a:pt x="2053" y="3948"/>
                    </a:lnTo>
                    <a:lnTo>
                      <a:pt x="2016" y="3928"/>
                    </a:lnTo>
                    <a:lnTo>
                      <a:pt x="1979" y="3909"/>
                    </a:lnTo>
                    <a:lnTo>
                      <a:pt x="1943" y="3891"/>
                    </a:lnTo>
                    <a:lnTo>
                      <a:pt x="1905" y="3874"/>
                    </a:lnTo>
                    <a:lnTo>
                      <a:pt x="1867" y="3858"/>
                    </a:lnTo>
                    <a:lnTo>
                      <a:pt x="1793" y="3827"/>
                    </a:lnTo>
                    <a:lnTo>
                      <a:pt x="1718" y="3800"/>
                    </a:lnTo>
                    <a:lnTo>
                      <a:pt x="1643" y="3777"/>
                    </a:lnTo>
                    <a:lnTo>
                      <a:pt x="1567" y="3755"/>
                    </a:lnTo>
                    <a:lnTo>
                      <a:pt x="1492" y="3738"/>
                    </a:lnTo>
                    <a:lnTo>
                      <a:pt x="1418" y="3723"/>
                    </a:lnTo>
                    <a:lnTo>
                      <a:pt x="1344" y="3712"/>
                    </a:lnTo>
                    <a:lnTo>
                      <a:pt x="1272" y="3703"/>
                    </a:lnTo>
                    <a:lnTo>
                      <a:pt x="1200" y="3696"/>
                    </a:lnTo>
                    <a:lnTo>
                      <a:pt x="1130" y="3694"/>
                    </a:lnTo>
                    <a:lnTo>
                      <a:pt x="1062" y="3692"/>
                    </a:lnTo>
                    <a:lnTo>
                      <a:pt x="995" y="3695"/>
                    </a:lnTo>
                    <a:lnTo>
                      <a:pt x="929" y="3699"/>
                    </a:lnTo>
                    <a:lnTo>
                      <a:pt x="866" y="3706"/>
                    </a:lnTo>
                    <a:lnTo>
                      <a:pt x="804" y="3715"/>
                    </a:lnTo>
                    <a:lnTo>
                      <a:pt x="746" y="3727"/>
                    </a:lnTo>
                    <a:lnTo>
                      <a:pt x="689" y="3741"/>
                    </a:lnTo>
                    <a:lnTo>
                      <a:pt x="636" y="3757"/>
                    </a:lnTo>
                    <a:lnTo>
                      <a:pt x="585" y="3776"/>
                    </a:lnTo>
                    <a:lnTo>
                      <a:pt x="537" y="3796"/>
                    </a:lnTo>
                    <a:lnTo>
                      <a:pt x="515" y="3807"/>
                    </a:lnTo>
                    <a:lnTo>
                      <a:pt x="493" y="3817"/>
                    </a:lnTo>
                    <a:lnTo>
                      <a:pt x="472" y="3829"/>
                    </a:lnTo>
                    <a:lnTo>
                      <a:pt x="451" y="3842"/>
                    </a:lnTo>
                    <a:lnTo>
                      <a:pt x="433" y="3855"/>
                    </a:lnTo>
                    <a:lnTo>
                      <a:pt x="415" y="3868"/>
                    </a:lnTo>
                    <a:lnTo>
                      <a:pt x="398" y="3882"/>
                    </a:lnTo>
                    <a:lnTo>
                      <a:pt x="381" y="3897"/>
                    </a:lnTo>
                    <a:lnTo>
                      <a:pt x="367" y="3910"/>
                    </a:lnTo>
                    <a:lnTo>
                      <a:pt x="352" y="3926"/>
                    </a:lnTo>
                    <a:lnTo>
                      <a:pt x="352" y="3926"/>
                    </a:lnTo>
                    <a:lnTo>
                      <a:pt x="332" y="3950"/>
                    </a:lnTo>
                    <a:lnTo>
                      <a:pt x="312" y="3975"/>
                    </a:lnTo>
                    <a:lnTo>
                      <a:pt x="293" y="4000"/>
                    </a:lnTo>
                    <a:lnTo>
                      <a:pt x="274" y="4026"/>
                    </a:lnTo>
                    <a:lnTo>
                      <a:pt x="256" y="4051"/>
                    </a:lnTo>
                    <a:lnTo>
                      <a:pt x="240" y="4078"/>
                    </a:lnTo>
                    <a:lnTo>
                      <a:pt x="224" y="4105"/>
                    </a:lnTo>
                    <a:lnTo>
                      <a:pt x="209" y="4132"/>
                    </a:lnTo>
                    <a:lnTo>
                      <a:pt x="181" y="4188"/>
                    </a:lnTo>
                    <a:lnTo>
                      <a:pt x="156" y="4245"/>
                    </a:lnTo>
                    <a:lnTo>
                      <a:pt x="134" y="4301"/>
                    </a:lnTo>
                    <a:lnTo>
                      <a:pt x="114" y="4361"/>
                    </a:lnTo>
                    <a:lnTo>
                      <a:pt x="95" y="4418"/>
                    </a:lnTo>
                    <a:lnTo>
                      <a:pt x="79" y="4478"/>
                    </a:lnTo>
                    <a:lnTo>
                      <a:pt x="64" y="4538"/>
                    </a:lnTo>
                    <a:lnTo>
                      <a:pt x="51" y="4597"/>
                    </a:lnTo>
                    <a:lnTo>
                      <a:pt x="39" y="4656"/>
                    </a:lnTo>
                    <a:lnTo>
                      <a:pt x="27" y="4716"/>
                    </a:lnTo>
                    <a:lnTo>
                      <a:pt x="6" y="4833"/>
                    </a:lnTo>
                    <a:lnTo>
                      <a:pt x="6" y="4833"/>
                    </a:lnTo>
                    <a:lnTo>
                      <a:pt x="2" y="4851"/>
                    </a:lnTo>
                    <a:lnTo>
                      <a:pt x="1" y="4870"/>
                    </a:lnTo>
                    <a:lnTo>
                      <a:pt x="0" y="4908"/>
                    </a:lnTo>
                    <a:lnTo>
                      <a:pt x="1" y="4943"/>
                    </a:lnTo>
                    <a:lnTo>
                      <a:pt x="4" y="4978"/>
                    </a:lnTo>
                    <a:lnTo>
                      <a:pt x="10" y="5011"/>
                    </a:lnTo>
                    <a:lnTo>
                      <a:pt x="17" y="5045"/>
                    </a:lnTo>
                    <a:lnTo>
                      <a:pt x="25" y="5079"/>
                    </a:lnTo>
                    <a:lnTo>
                      <a:pt x="35" y="5112"/>
                    </a:lnTo>
                    <a:lnTo>
                      <a:pt x="53" y="5180"/>
                    </a:lnTo>
                    <a:lnTo>
                      <a:pt x="61" y="5215"/>
                    </a:lnTo>
                    <a:lnTo>
                      <a:pt x="68" y="5249"/>
                    </a:lnTo>
                    <a:lnTo>
                      <a:pt x="75" y="5286"/>
                    </a:lnTo>
                    <a:lnTo>
                      <a:pt x="79" y="5322"/>
                    </a:lnTo>
                    <a:lnTo>
                      <a:pt x="80" y="5361"/>
                    </a:lnTo>
                    <a:lnTo>
                      <a:pt x="80" y="5401"/>
                    </a:lnTo>
                    <a:lnTo>
                      <a:pt x="80" y="5401"/>
                    </a:lnTo>
                    <a:lnTo>
                      <a:pt x="321" y="5405"/>
                    </a:lnTo>
                    <a:lnTo>
                      <a:pt x="580" y="5412"/>
                    </a:lnTo>
                    <a:lnTo>
                      <a:pt x="1126" y="5424"/>
                    </a:lnTo>
                    <a:lnTo>
                      <a:pt x="1397" y="5430"/>
                    </a:lnTo>
                    <a:lnTo>
                      <a:pt x="1655" y="5434"/>
                    </a:lnTo>
                    <a:lnTo>
                      <a:pt x="1777" y="5434"/>
                    </a:lnTo>
                    <a:lnTo>
                      <a:pt x="1894" y="5434"/>
                    </a:lnTo>
                    <a:lnTo>
                      <a:pt x="2004" y="5432"/>
                    </a:lnTo>
                    <a:lnTo>
                      <a:pt x="2105" y="5430"/>
                    </a:lnTo>
                    <a:lnTo>
                      <a:pt x="2105" y="5430"/>
                    </a:lnTo>
                    <a:lnTo>
                      <a:pt x="2217" y="5424"/>
                    </a:lnTo>
                    <a:lnTo>
                      <a:pt x="2319" y="5419"/>
                    </a:lnTo>
                    <a:lnTo>
                      <a:pt x="2412" y="5411"/>
                    </a:lnTo>
                    <a:lnTo>
                      <a:pt x="2495" y="5401"/>
                    </a:lnTo>
                    <a:lnTo>
                      <a:pt x="2570" y="5391"/>
                    </a:lnTo>
                    <a:lnTo>
                      <a:pt x="2639" y="5379"/>
                    </a:lnTo>
                    <a:lnTo>
                      <a:pt x="2699" y="5366"/>
                    </a:lnTo>
                    <a:lnTo>
                      <a:pt x="2752" y="5353"/>
                    </a:lnTo>
                    <a:lnTo>
                      <a:pt x="2752" y="5353"/>
                    </a:lnTo>
                    <a:lnTo>
                      <a:pt x="2752" y="5345"/>
                    </a:lnTo>
                    <a:lnTo>
                      <a:pt x="2752" y="5338"/>
                    </a:lnTo>
                    <a:lnTo>
                      <a:pt x="2756" y="5325"/>
                    </a:lnTo>
                    <a:lnTo>
                      <a:pt x="2761" y="5313"/>
                    </a:lnTo>
                    <a:lnTo>
                      <a:pt x="2769" y="5301"/>
                    </a:lnTo>
                    <a:lnTo>
                      <a:pt x="2779" y="5290"/>
                    </a:lnTo>
                    <a:lnTo>
                      <a:pt x="2790" y="5279"/>
                    </a:lnTo>
                    <a:lnTo>
                      <a:pt x="2814" y="5259"/>
                    </a:lnTo>
                    <a:lnTo>
                      <a:pt x="2838" y="5236"/>
                    </a:lnTo>
                    <a:lnTo>
                      <a:pt x="2850" y="5224"/>
                    </a:lnTo>
                    <a:lnTo>
                      <a:pt x="2859" y="5210"/>
                    </a:lnTo>
                    <a:lnTo>
                      <a:pt x="2869" y="5196"/>
                    </a:lnTo>
                    <a:lnTo>
                      <a:pt x="2876" y="5181"/>
                    </a:lnTo>
                    <a:lnTo>
                      <a:pt x="2880" y="5162"/>
                    </a:lnTo>
                    <a:lnTo>
                      <a:pt x="2881" y="5143"/>
                    </a:lnTo>
                    <a:lnTo>
                      <a:pt x="2881" y="5143"/>
                    </a:lnTo>
                    <a:lnTo>
                      <a:pt x="2881" y="5099"/>
                    </a:lnTo>
                    <a:lnTo>
                      <a:pt x="2880" y="5053"/>
                    </a:lnTo>
                    <a:lnTo>
                      <a:pt x="2877" y="5007"/>
                    </a:lnTo>
                    <a:lnTo>
                      <a:pt x="2874" y="4960"/>
                    </a:lnTo>
                    <a:lnTo>
                      <a:pt x="2866" y="4865"/>
                    </a:lnTo>
                    <a:lnTo>
                      <a:pt x="2854" y="4767"/>
                    </a:lnTo>
                    <a:lnTo>
                      <a:pt x="2854" y="4767"/>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72" name="Group 371"/>
            <p:cNvGrpSpPr>
              <a:grpSpLocks noChangeAspect="1"/>
            </p:cNvGrpSpPr>
            <p:nvPr/>
          </p:nvGrpSpPr>
          <p:grpSpPr>
            <a:xfrm>
              <a:off x="6735630" y="1979866"/>
              <a:ext cx="396404" cy="524251"/>
              <a:chOff x="22634575" y="-784225"/>
              <a:chExt cx="4724401" cy="5680075"/>
            </a:xfrm>
            <a:solidFill>
              <a:srgbClr val="008DB5"/>
            </a:solidFill>
          </p:grpSpPr>
          <p:sp>
            <p:nvSpPr>
              <p:cNvPr id="380" name="Freeform 164"/>
              <p:cNvSpPr>
                <a:spLocks/>
              </p:cNvSpPr>
              <p:nvPr/>
            </p:nvSpPr>
            <p:spPr bwMode="auto">
              <a:xfrm>
                <a:off x="22720300" y="4505325"/>
                <a:ext cx="2135188" cy="390525"/>
              </a:xfrm>
              <a:custGeom>
                <a:avLst/>
                <a:gdLst>
                  <a:gd name="T0" fmla="*/ 1386 w 2689"/>
                  <a:gd name="T1" fmla="*/ 472 h 492"/>
                  <a:gd name="T2" fmla="*/ 1838 w 2689"/>
                  <a:gd name="T3" fmla="*/ 470 h 492"/>
                  <a:gd name="T4" fmla="*/ 2150 w 2689"/>
                  <a:gd name="T5" fmla="*/ 464 h 492"/>
                  <a:gd name="T6" fmla="*/ 2293 w 2689"/>
                  <a:gd name="T7" fmla="*/ 458 h 492"/>
                  <a:gd name="T8" fmla="*/ 2422 w 2689"/>
                  <a:gd name="T9" fmla="*/ 449 h 492"/>
                  <a:gd name="T10" fmla="*/ 2533 w 2689"/>
                  <a:gd name="T11" fmla="*/ 436 h 492"/>
                  <a:gd name="T12" fmla="*/ 2543 w 2689"/>
                  <a:gd name="T13" fmla="*/ 433 h 492"/>
                  <a:gd name="T14" fmla="*/ 2565 w 2689"/>
                  <a:gd name="T15" fmla="*/ 426 h 492"/>
                  <a:gd name="T16" fmla="*/ 2584 w 2689"/>
                  <a:gd name="T17" fmla="*/ 417 h 492"/>
                  <a:gd name="T18" fmla="*/ 2600 w 2689"/>
                  <a:gd name="T19" fmla="*/ 405 h 492"/>
                  <a:gd name="T20" fmla="*/ 2623 w 2689"/>
                  <a:gd name="T21" fmla="*/ 380 h 492"/>
                  <a:gd name="T22" fmla="*/ 2646 w 2689"/>
                  <a:gd name="T23" fmla="*/ 339 h 492"/>
                  <a:gd name="T24" fmla="*/ 2665 w 2689"/>
                  <a:gd name="T25" fmla="*/ 288 h 492"/>
                  <a:gd name="T26" fmla="*/ 2677 w 2689"/>
                  <a:gd name="T27" fmla="*/ 228 h 492"/>
                  <a:gd name="T28" fmla="*/ 2685 w 2689"/>
                  <a:gd name="T29" fmla="*/ 161 h 492"/>
                  <a:gd name="T30" fmla="*/ 2689 w 2689"/>
                  <a:gd name="T31" fmla="*/ 89 h 492"/>
                  <a:gd name="T32" fmla="*/ 2689 w 2689"/>
                  <a:gd name="T33" fmla="*/ 51 h 492"/>
                  <a:gd name="T34" fmla="*/ 2187 w 2689"/>
                  <a:gd name="T35" fmla="*/ 60 h 492"/>
                  <a:gd name="T36" fmla="*/ 1368 w 2689"/>
                  <a:gd name="T37" fmla="*/ 79 h 492"/>
                  <a:gd name="T38" fmla="*/ 987 w 2689"/>
                  <a:gd name="T39" fmla="*/ 83 h 492"/>
                  <a:gd name="T40" fmla="*/ 759 w 2689"/>
                  <a:gd name="T41" fmla="*/ 81 h 492"/>
                  <a:gd name="T42" fmla="*/ 657 w 2689"/>
                  <a:gd name="T43" fmla="*/ 78 h 492"/>
                  <a:gd name="T44" fmla="*/ 438 w 2689"/>
                  <a:gd name="T45" fmla="*/ 67 h 492"/>
                  <a:gd name="T46" fmla="*/ 259 w 2689"/>
                  <a:gd name="T47" fmla="*/ 50 h 492"/>
                  <a:gd name="T48" fmla="*/ 114 w 2689"/>
                  <a:gd name="T49" fmla="*/ 27 h 492"/>
                  <a:gd name="T50" fmla="*/ 0 w 2689"/>
                  <a:gd name="T51" fmla="*/ 0 h 492"/>
                  <a:gd name="T52" fmla="*/ 0 w 2689"/>
                  <a:gd name="T53" fmla="*/ 35 h 492"/>
                  <a:gd name="T54" fmla="*/ 4 w 2689"/>
                  <a:gd name="T55" fmla="*/ 107 h 492"/>
                  <a:gd name="T56" fmla="*/ 16 w 2689"/>
                  <a:gd name="T57" fmla="*/ 181 h 492"/>
                  <a:gd name="T58" fmla="*/ 39 w 2689"/>
                  <a:gd name="T59" fmla="*/ 257 h 492"/>
                  <a:gd name="T60" fmla="*/ 53 w 2689"/>
                  <a:gd name="T61" fmla="*/ 297 h 492"/>
                  <a:gd name="T62" fmla="*/ 66 w 2689"/>
                  <a:gd name="T63" fmla="*/ 323 h 492"/>
                  <a:gd name="T64" fmla="*/ 82 w 2689"/>
                  <a:gd name="T65" fmla="*/ 345 h 492"/>
                  <a:gd name="T66" fmla="*/ 102 w 2689"/>
                  <a:gd name="T67" fmla="*/ 367 h 492"/>
                  <a:gd name="T68" fmla="*/ 125 w 2689"/>
                  <a:gd name="T69" fmla="*/ 386 h 492"/>
                  <a:gd name="T70" fmla="*/ 150 w 2689"/>
                  <a:gd name="T71" fmla="*/ 403 h 492"/>
                  <a:gd name="T72" fmla="*/ 211 w 2689"/>
                  <a:gd name="T73" fmla="*/ 431 h 492"/>
                  <a:gd name="T74" fmla="*/ 282 w 2689"/>
                  <a:gd name="T75" fmla="*/ 454 h 492"/>
                  <a:gd name="T76" fmla="*/ 361 w 2689"/>
                  <a:gd name="T77" fmla="*/ 470 h 492"/>
                  <a:gd name="T78" fmla="*/ 449 w 2689"/>
                  <a:gd name="T79" fmla="*/ 481 h 492"/>
                  <a:gd name="T80" fmla="*/ 541 w 2689"/>
                  <a:gd name="T81" fmla="*/ 488 h 492"/>
                  <a:gd name="T82" fmla="*/ 691 w 2689"/>
                  <a:gd name="T83" fmla="*/ 492 h 492"/>
                  <a:gd name="T84" fmla="*/ 896 w 2689"/>
                  <a:gd name="T85" fmla="*/ 488 h 492"/>
                  <a:gd name="T86" fmla="*/ 1202 w 2689"/>
                  <a:gd name="T87" fmla="*/ 476 h 492"/>
                  <a:gd name="T88" fmla="*/ 1386 w 2689"/>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89" h="492">
                    <a:moveTo>
                      <a:pt x="1386" y="472"/>
                    </a:moveTo>
                    <a:lnTo>
                      <a:pt x="1386" y="472"/>
                    </a:lnTo>
                    <a:lnTo>
                      <a:pt x="1680" y="472"/>
                    </a:lnTo>
                    <a:lnTo>
                      <a:pt x="1838" y="470"/>
                    </a:lnTo>
                    <a:lnTo>
                      <a:pt x="1996" y="468"/>
                    </a:lnTo>
                    <a:lnTo>
                      <a:pt x="2150" y="464"/>
                    </a:lnTo>
                    <a:lnTo>
                      <a:pt x="2223" y="461"/>
                    </a:lnTo>
                    <a:lnTo>
                      <a:pt x="2293" y="458"/>
                    </a:lnTo>
                    <a:lnTo>
                      <a:pt x="2361" y="453"/>
                    </a:lnTo>
                    <a:lnTo>
                      <a:pt x="2422" y="449"/>
                    </a:lnTo>
                    <a:lnTo>
                      <a:pt x="2480" y="442"/>
                    </a:lnTo>
                    <a:lnTo>
                      <a:pt x="2533" y="436"/>
                    </a:lnTo>
                    <a:lnTo>
                      <a:pt x="2533" y="436"/>
                    </a:lnTo>
                    <a:lnTo>
                      <a:pt x="2543" y="433"/>
                    </a:lnTo>
                    <a:lnTo>
                      <a:pt x="2554" y="430"/>
                    </a:lnTo>
                    <a:lnTo>
                      <a:pt x="2565" y="426"/>
                    </a:lnTo>
                    <a:lnTo>
                      <a:pt x="2574" y="422"/>
                    </a:lnTo>
                    <a:lnTo>
                      <a:pt x="2584" y="417"/>
                    </a:lnTo>
                    <a:lnTo>
                      <a:pt x="2592" y="411"/>
                    </a:lnTo>
                    <a:lnTo>
                      <a:pt x="2600" y="405"/>
                    </a:lnTo>
                    <a:lnTo>
                      <a:pt x="2608" y="397"/>
                    </a:lnTo>
                    <a:lnTo>
                      <a:pt x="2623" y="380"/>
                    </a:lnTo>
                    <a:lnTo>
                      <a:pt x="2635" y="360"/>
                    </a:lnTo>
                    <a:lnTo>
                      <a:pt x="2646" y="339"/>
                    </a:lnTo>
                    <a:lnTo>
                      <a:pt x="2656" y="314"/>
                    </a:lnTo>
                    <a:lnTo>
                      <a:pt x="2665" y="288"/>
                    </a:lnTo>
                    <a:lnTo>
                      <a:pt x="2671" y="259"/>
                    </a:lnTo>
                    <a:lnTo>
                      <a:pt x="2677" y="228"/>
                    </a:lnTo>
                    <a:lnTo>
                      <a:pt x="2681" y="196"/>
                    </a:lnTo>
                    <a:lnTo>
                      <a:pt x="2685" y="161"/>
                    </a:lnTo>
                    <a:lnTo>
                      <a:pt x="2687" y="126"/>
                    </a:lnTo>
                    <a:lnTo>
                      <a:pt x="2689" y="89"/>
                    </a:lnTo>
                    <a:lnTo>
                      <a:pt x="2689" y="51"/>
                    </a:lnTo>
                    <a:lnTo>
                      <a:pt x="2689" y="51"/>
                    </a:lnTo>
                    <a:lnTo>
                      <a:pt x="2448" y="55"/>
                    </a:lnTo>
                    <a:lnTo>
                      <a:pt x="2187" y="60"/>
                    </a:lnTo>
                    <a:lnTo>
                      <a:pt x="1640" y="74"/>
                    </a:lnTo>
                    <a:lnTo>
                      <a:pt x="1368" y="79"/>
                    </a:lnTo>
                    <a:lnTo>
                      <a:pt x="1109" y="82"/>
                    </a:lnTo>
                    <a:lnTo>
                      <a:pt x="987" y="83"/>
                    </a:lnTo>
                    <a:lnTo>
                      <a:pt x="870" y="82"/>
                    </a:lnTo>
                    <a:lnTo>
                      <a:pt x="759" y="81"/>
                    </a:lnTo>
                    <a:lnTo>
                      <a:pt x="657" y="78"/>
                    </a:lnTo>
                    <a:lnTo>
                      <a:pt x="657" y="78"/>
                    </a:lnTo>
                    <a:lnTo>
                      <a:pt x="543" y="74"/>
                    </a:lnTo>
                    <a:lnTo>
                      <a:pt x="438" y="67"/>
                    </a:lnTo>
                    <a:lnTo>
                      <a:pt x="344" y="59"/>
                    </a:lnTo>
                    <a:lnTo>
                      <a:pt x="259" y="50"/>
                    </a:lnTo>
                    <a:lnTo>
                      <a:pt x="182" y="39"/>
                    </a:lnTo>
                    <a:lnTo>
                      <a:pt x="114" y="27"/>
                    </a:lnTo>
                    <a:lnTo>
                      <a:pt x="52" y="13"/>
                    </a:lnTo>
                    <a:lnTo>
                      <a:pt x="0" y="0"/>
                    </a:lnTo>
                    <a:lnTo>
                      <a:pt x="0" y="0"/>
                    </a:lnTo>
                    <a:lnTo>
                      <a:pt x="0" y="35"/>
                    </a:lnTo>
                    <a:lnTo>
                      <a:pt x="1" y="71"/>
                    </a:lnTo>
                    <a:lnTo>
                      <a:pt x="4" y="107"/>
                    </a:lnTo>
                    <a:lnTo>
                      <a:pt x="9" y="144"/>
                    </a:lnTo>
                    <a:lnTo>
                      <a:pt x="16" y="181"/>
                    </a:lnTo>
                    <a:lnTo>
                      <a:pt x="27" y="219"/>
                    </a:lnTo>
                    <a:lnTo>
                      <a:pt x="39" y="257"/>
                    </a:lnTo>
                    <a:lnTo>
                      <a:pt x="53" y="297"/>
                    </a:lnTo>
                    <a:lnTo>
                      <a:pt x="53" y="297"/>
                    </a:lnTo>
                    <a:lnTo>
                      <a:pt x="59" y="310"/>
                    </a:lnTo>
                    <a:lnTo>
                      <a:pt x="66" y="323"/>
                    </a:lnTo>
                    <a:lnTo>
                      <a:pt x="74" y="335"/>
                    </a:lnTo>
                    <a:lnTo>
                      <a:pt x="82" y="345"/>
                    </a:lnTo>
                    <a:lnTo>
                      <a:pt x="91" y="356"/>
                    </a:lnTo>
                    <a:lnTo>
                      <a:pt x="102" y="367"/>
                    </a:lnTo>
                    <a:lnTo>
                      <a:pt x="113" y="376"/>
                    </a:lnTo>
                    <a:lnTo>
                      <a:pt x="125" y="386"/>
                    </a:lnTo>
                    <a:lnTo>
                      <a:pt x="137" y="395"/>
                    </a:lnTo>
                    <a:lnTo>
                      <a:pt x="150" y="403"/>
                    </a:lnTo>
                    <a:lnTo>
                      <a:pt x="180" y="418"/>
                    </a:lnTo>
                    <a:lnTo>
                      <a:pt x="211" y="431"/>
                    </a:lnTo>
                    <a:lnTo>
                      <a:pt x="246" y="444"/>
                    </a:lnTo>
                    <a:lnTo>
                      <a:pt x="282" y="454"/>
                    </a:lnTo>
                    <a:lnTo>
                      <a:pt x="321" y="464"/>
                    </a:lnTo>
                    <a:lnTo>
                      <a:pt x="361" y="470"/>
                    </a:lnTo>
                    <a:lnTo>
                      <a:pt x="404" y="477"/>
                    </a:lnTo>
                    <a:lnTo>
                      <a:pt x="449" y="481"/>
                    </a:lnTo>
                    <a:lnTo>
                      <a:pt x="494" y="485"/>
                    </a:lnTo>
                    <a:lnTo>
                      <a:pt x="541" y="488"/>
                    </a:lnTo>
                    <a:lnTo>
                      <a:pt x="590" y="491"/>
                    </a:lnTo>
                    <a:lnTo>
                      <a:pt x="691" y="492"/>
                    </a:lnTo>
                    <a:lnTo>
                      <a:pt x="793" y="491"/>
                    </a:lnTo>
                    <a:lnTo>
                      <a:pt x="896" y="488"/>
                    </a:lnTo>
                    <a:lnTo>
                      <a:pt x="1000" y="484"/>
                    </a:lnTo>
                    <a:lnTo>
                      <a:pt x="1202" y="476"/>
                    </a:lnTo>
                    <a:lnTo>
                      <a:pt x="1296" y="472"/>
                    </a:lnTo>
                    <a:lnTo>
                      <a:pt x="1386" y="472"/>
                    </a:lnTo>
                    <a:lnTo>
                      <a:pt x="1386"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1" name="Freeform 165"/>
              <p:cNvSpPr>
                <a:spLocks/>
              </p:cNvSpPr>
              <p:nvPr/>
            </p:nvSpPr>
            <p:spPr bwMode="auto">
              <a:xfrm>
                <a:off x="25130125" y="4505325"/>
                <a:ext cx="2136775" cy="390525"/>
              </a:xfrm>
              <a:custGeom>
                <a:avLst/>
                <a:gdLst>
                  <a:gd name="T0" fmla="*/ 1302 w 2690"/>
                  <a:gd name="T1" fmla="*/ 472 h 492"/>
                  <a:gd name="T2" fmla="*/ 851 w 2690"/>
                  <a:gd name="T3" fmla="*/ 470 h 492"/>
                  <a:gd name="T4" fmla="*/ 539 w 2690"/>
                  <a:gd name="T5" fmla="*/ 464 h 492"/>
                  <a:gd name="T6" fmla="*/ 395 w 2690"/>
                  <a:gd name="T7" fmla="*/ 458 h 492"/>
                  <a:gd name="T8" fmla="*/ 266 w 2690"/>
                  <a:gd name="T9" fmla="*/ 449 h 492"/>
                  <a:gd name="T10" fmla="*/ 156 w 2690"/>
                  <a:gd name="T11" fmla="*/ 436 h 492"/>
                  <a:gd name="T12" fmla="*/ 145 w 2690"/>
                  <a:gd name="T13" fmla="*/ 433 h 492"/>
                  <a:gd name="T14" fmla="*/ 123 w 2690"/>
                  <a:gd name="T15" fmla="*/ 426 h 492"/>
                  <a:gd name="T16" fmla="*/ 106 w 2690"/>
                  <a:gd name="T17" fmla="*/ 417 h 492"/>
                  <a:gd name="T18" fmla="*/ 88 w 2690"/>
                  <a:gd name="T19" fmla="*/ 405 h 492"/>
                  <a:gd name="T20" fmla="*/ 65 w 2690"/>
                  <a:gd name="T21" fmla="*/ 380 h 492"/>
                  <a:gd name="T22" fmla="*/ 43 w 2690"/>
                  <a:gd name="T23" fmla="*/ 339 h 492"/>
                  <a:gd name="T24" fmla="*/ 24 w 2690"/>
                  <a:gd name="T25" fmla="*/ 288 h 492"/>
                  <a:gd name="T26" fmla="*/ 12 w 2690"/>
                  <a:gd name="T27" fmla="*/ 228 h 492"/>
                  <a:gd name="T28" fmla="*/ 4 w 2690"/>
                  <a:gd name="T29" fmla="*/ 161 h 492"/>
                  <a:gd name="T30" fmla="*/ 1 w 2690"/>
                  <a:gd name="T31" fmla="*/ 89 h 492"/>
                  <a:gd name="T32" fmla="*/ 0 w 2690"/>
                  <a:gd name="T33" fmla="*/ 51 h 492"/>
                  <a:gd name="T34" fmla="*/ 501 w 2690"/>
                  <a:gd name="T35" fmla="*/ 60 h 492"/>
                  <a:gd name="T36" fmla="*/ 1320 w 2690"/>
                  <a:gd name="T37" fmla="*/ 79 h 492"/>
                  <a:gd name="T38" fmla="*/ 1702 w 2690"/>
                  <a:gd name="T39" fmla="*/ 83 h 492"/>
                  <a:gd name="T40" fmla="*/ 1929 w 2690"/>
                  <a:gd name="T41" fmla="*/ 81 h 492"/>
                  <a:gd name="T42" fmla="*/ 2031 w 2690"/>
                  <a:gd name="T43" fmla="*/ 78 h 492"/>
                  <a:gd name="T44" fmla="*/ 2250 w 2690"/>
                  <a:gd name="T45" fmla="*/ 67 h 492"/>
                  <a:gd name="T46" fmla="*/ 2431 w 2690"/>
                  <a:gd name="T47" fmla="*/ 50 h 492"/>
                  <a:gd name="T48" fmla="*/ 2576 w 2690"/>
                  <a:gd name="T49" fmla="*/ 27 h 492"/>
                  <a:gd name="T50" fmla="*/ 2690 w 2690"/>
                  <a:gd name="T51" fmla="*/ 0 h 492"/>
                  <a:gd name="T52" fmla="*/ 2689 w 2690"/>
                  <a:gd name="T53" fmla="*/ 35 h 492"/>
                  <a:gd name="T54" fmla="*/ 2685 w 2690"/>
                  <a:gd name="T55" fmla="*/ 107 h 492"/>
                  <a:gd name="T56" fmla="*/ 2673 w 2690"/>
                  <a:gd name="T57" fmla="*/ 181 h 492"/>
                  <a:gd name="T58" fmla="*/ 2651 w 2690"/>
                  <a:gd name="T59" fmla="*/ 257 h 492"/>
                  <a:gd name="T60" fmla="*/ 2635 w 2690"/>
                  <a:gd name="T61" fmla="*/ 297 h 492"/>
                  <a:gd name="T62" fmla="*/ 2623 w 2690"/>
                  <a:gd name="T63" fmla="*/ 323 h 492"/>
                  <a:gd name="T64" fmla="*/ 2607 w 2690"/>
                  <a:gd name="T65" fmla="*/ 345 h 492"/>
                  <a:gd name="T66" fmla="*/ 2586 w 2690"/>
                  <a:gd name="T67" fmla="*/ 367 h 492"/>
                  <a:gd name="T68" fmla="*/ 2564 w 2690"/>
                  <a:gd name="T69" fmla="*/ 386 h 492"/>
                  <a:gd name="T70" fmla="*/ 2538 w 2690"/>
                  <a:gd name="T71" fmla="*/ 403 h 492"/>
                  <a:gd name="T72" fmla="*/ 2478 w 2690"/>
                  <a:gd name="T73" fmla="*/ 431 h 492"/>
                  <a:gd name="T74" fmla="*/ 2406 w 2690"/>
                  <a:gd name="T75" fmla="*/ 454 h 492"/>
                  <a:gd name="T76" fmla="*/ 2327 w 2690"/>
                  <a:gd name="T77" fmla="*/ 470 h 492"/>
                  <a:gd name="T78" fmla="*/ 2240 w 2690"/>
                  <a:gd name="T79" fmla="*/ 481 h 492"/>
                  <a:gd name="T80" fmla="*/ 2147 w 2690"/>
                  <a:gd name="T81" fmla="*/ 488 h 492"/>
                  <a:gd name="T82" fmla="*/ 1999 w 2690"/>
                  <a:gd name="T83" fmla="*/ 492 h 492"/>
                  <a:gd name="T84" fmla="*/ 1792 w 2690"/>
                  <a:gd name="T85" fmla="*/ 488 h 492"/>
                  <a:gd name="T86" fmla="*/ 1487 w 2690"/>
                  <a:gd name="T87" fmla="*/ 476 h 492"/>
                  <a:gd name="T88" fmla="*/ 1302 w 2690"/>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90" h="492">
                    <a:moveTo>
                      <a:pt x="1302" y="472"/>
                    </a:moveTo>
                    <a:lnTo>
                      <a:pt x="1302" y="472"/>
                    </a:lnTo>
                    <a:lnTo>
                      <a:pt x="1008" y="472"/>
                    </a:lnTo>
                    <a:lnTo>
                      <a:pt x="851" y="470"/>
                    </a:lnTo>
                    <a:lnTo>
                      <a:pt x="692" y="468"/>
                    </a:lnTo>
                    <a:lnTo>
                      <a:pt x="539" y="464"/>
                    </a:lnTo>
                    <a:lnTo>
                      <a:pt x="466" y="461"/>
                    </a:lnTo>
                    <a:lnTo>
                      <a:pt x="395" y="458"/>
                    </a:lnTo>
                    <a:lnTo>
                      <a:pt x="328" y="453"/>
                    </a:lnTo>
                    <a:lnTo>
                      <a:pt x="266" y="449"/>
                    </a:lnTo>
                    <a:lnTo>
                      <a:pt x="208" y="442"/>
                    </a:lnTo>
                    <a:lnTo>
                      <a:pt x="156" y="436"/>
                    </a:lnTo>
                    <a:lnTo>
                      <a:pt x="156" y="436"/>
                    </a:lnTo>
                    <a:lnTo>
                      <a:pt x="145" y="433"/>
                    </a:lnTo>
                    <a:lnTo>
                      <a:pt x="134" y="430"/>
                    </a:lnTo>
                    <a:lnTo>
                      <a:pt x="123" y="426"/>
                    </a:lnTo>
                    <a:lnTo>
                      <a:pt x="114" y="422"/>
                    </a:lnTo>
                    <a:lnTo>
                      <a:pt x="106" y="417"/>
                    </a:lnTo>
                    <a:lnTo>
                      <a:pt x="96" y="411"/>
                    </a:lnTo>
                    <a:lnTo>
                      <a:pt x="88" y="405"/>
                    </a:lnTo>
                    <a:lnTo>
                      <a:pt x="80" y="397"/>
                    </a:lnTo>
                    <a:lnTo>
                      <a:pt x="65" y="380"/>
                    </a:lnTo>
                    <a:lnTo>
                      <a:pt x="53" y="360"/>
                    </a:lnTo>
                    <a:lnTo>
                      <a:pt x="43" y="339"/>
                    </a:lnTo>
                    <a:lnTo>
                      <a:pt x="33" y="314"/>
                    </a:lnTo>
                    <a:lnTo>
                      <a:pt x="24" y="288"/>
                    </a:lnTo>
                    <a:lnTo>
                      <a:pt x="17" y="259"/>
                    </a:lnTo>
                    <a:lnTo>
                      <a:pt x="12" y="228"/>
                    </a:lnTo>
                    <a:lnTo>
                      <a:pt x="8" y="196"/>
                    </a:lnTo>
                    <a:lnTo>
                      <a:pt x="4" y="161"/>
                    </a:lnTo>
                    <a:lnTo>
                      <a:pt x="2" y="126"/>
                    </a:lnTo>
                    <a:lnTo>
                      <a:pt x="1" y="89"/>
                    </a:lnTo>
                    <a:lnTo>
                      <a:pt x="0" y="51"/>
                    </a:lnTo>
                    <a:lnTo>
                      <a:pt x="0" y="51"/>
                    </a:lnTo>
                    <a:lnTo>
                      <a:pt x="240" y="55"/>
                    </a:lnTo>
                    <a:lnTo>
                      <a:pt x="501" y="60"/>
                    </a:lnTo>
                    <a:lnTo>
                      <a:pt x="1048" y="74"/>
                    </a:lnTo>
                    <a:lnTo>
                      <a:pt x="1320" y="79"/>
                    </a:lnTo>
                    <a:lnTo>
                      <a:pt x="1579" y="82"/>
                    </a:lnTo>
                    <a:lnTo>
                      <a:pt x="1702" y="83"/>
                    </a:lnTo>
                    <a:lnTo>
                      <a:pt x="1819" y="82"/>
                    </a:lnTo>
                    <a:lnTo>
                      <a:pt x="1929" y="81"/>
                    </a:lnTo>
                    <a:lnTo>
                      <a:pt x="2031" y="78"/>
                    </a:lnTo>
                    <a:lnTo>
                      <a:pt x="2031" y="78"/>
                    </a:lnTo>
                    <a:lnTo>
                      <a:pt x="2145" y="74"/>
                    </a:lnTo>
                    <a:lnTo>
                      <a:pt x="2250" y="67"/>
                    </a:lnTo>
                    <a:lnTo>
                      <a:pt x="2344" y="59"/>
                    </a:lnTo>
                    <a:lnTo>
                      <a:pt x="2431" y="50"/>
                    </a:lnTo>
                    <a:lnTo>
                      <a:pt x="2507" y="39"/>
                    </a:lnTo>
                    <a:lnTo>
                      <a:pt x="2576" y="27"/>
                    </a:lnTo>
                    <a:lnTo>
                      <a:pt x="2636" y="13"/>
                    </a:lnTo>
                    <a:lnTo>
                      <a:pt x="2690" y="0"/>
                    </a:lnTo>
                    <a:lnTo>
                      <a:pt x="2690" y="0"/>
                    </a:lnTo>
                    <a:lnTo>
                      <a:pt x="2689" y="35"/>
                    </a:lnTo>
                    <a:lnTo>
                      <a:pt x="2687" y="71"/>
                    </a:lnTo>
                    <a:lnTo>
                      <a:pt x="2685" y="107"/>
                    </a:lnTo>
                    <a:lnTo>
                      <a:pt x="2679" y="144"/>
                    </a:lnTo>
                    <a:lnTo>
                      <a:pt x="2673" y="181"/>
                    </a:lnTo>
                    <a:lnTo>
                      <a:pt x="2663" y="219"/>
                    </a:lnTo>
                    <a:lnTo>
                      <a:pt x="2651" y="257"/>
                    </a:lnTo>
                    <a:lnTo>
                      <a:pt x="2635" y="297"/>
                    </a:lnTo>
                    <a:lnTo>
                      <a:pt x="2635" y="297"/>
                    </a:lnTo>
                    <a:lnTo>
                      <a:pt x="2630" y="310"/>
                    </a:lnTo>
                    <a:lnTo>
                      <a:pt x="2623" y="323"/>
                    </a:lnTo>
                    <a:lnTo>
                      <a:pt x="2615" y="335"/>
                    </a:lnTo>
                    <a:lnTo>
                      <a:pt x="2607" y="345"/>
                    </a:lnTo>
                    <a:lnTo>
                      <a:pt x="2597" y="356"/>
                    </a:lnTo>
                    <a:lnTo>
                      <a:pt x="2586" y="367"/>
                    </a:lnTo>
                    <a:lnTo>
                      <a:pt x="2576" y="376"/>
                    </a:lnTo>
                    <a:lnTo>
                      <a:pt x="2564" y="386"/>
                    </a:lnTo>
                    <a:lnTo>
                      <a:pt x="2552" y="395"/>
                    </a:lnTo>
                    <a:lnTo>
                      <a:pt x="2538" y="403"/>
                    </a:lnTo>
                    <a:lnTo>
                      <a:pt x="2509" y="418"/>
                    </a:lnTo>
                    <a:lnTo>
                      <a:pt x="2478" y="431"/>
                    </a:lnTo>
                    <a:lnTo>
                      <a:pt x="2443" y="444"/>
                    </a:lnTo>
                    <a:lnTo>
                      <a:pt x="2406" y="454"/>
                    </a:lnTo>
                    <a:lnTo>
                      <a:pt x="2367" y="464"/>
                    </a:lnTo>
                    <a:lnTo>
                      <a:pt x="2327" y="470"/>
                    </a:lnTo>
                    <a:lnTo>
                      <a:pt x="2284" y="477"/>
                    </a:lnTo>
                    <a:lnTo>
                      <a:pt x="2240" y="481"/>
                    </a:lnTo>
                    <a:lnTo>
                      <a:pt x="2194" y="485"/>
                    </a:lnTo>
                    <a:lnTo>
                      <a:pt x="2147" y="488"/>
                    </a:lnTo>
                    <a:lnTo>
                      <a:pt x="2098" y="491"/>
                    </a:lnTo>
                    <a:lnTo>
                      <a:pt x="1999" y="492"/>
                    </a:lnTo>
                    <a:lnTo>
                      <a:pt x="1895" y="491"/>
                    </a:lnTo>
                    <a:lnTo>
                      <a:pt x="1792" y="488"/>
                    </a:lnTo>
                    <a:lnTo>
                      <a:pt x="1688" y="484"/>
                    </a:lnTo>
                    <a:lnTo>
                      <a:pt x="1487" y="476"/>
                    </a:lnTo>
                    <a:lnTo>
                      <a:pt x="1393" y="472"/>
                    </a:lnTo>
                    <a:lnTo>
                      <a:pt x="1302" y="472"/>
                    </a:lnTo>
                    <a:lnTo>
                      <a:pt x="1302"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2" name="Freeform 166"/>
              <p:cNvSpPr>
                <a:spLocks/>
              </p:cNvSpPr>
              <p:nvPr/>
            </p:nvSpPr>
            <p:spPr bwMode="auto">
              <a:xfrm>
                <a:off x="22634575" y="117475"/>
                <a:ext cx="2265363" cy="4313238"/>
              </a:xfrm>
              <a:custGeom>
                <a:avLst/>
                <a:gdLst>
                  <a:gd name="T0" fmla="*/ 2402 w 2854"/>
                  <a:gd name="T1" fmla="*/ 3733 h 5434"/>
                  <a:gd name="T2" fmla="*/ 2240 w 2854"/>
                  <a:gd name="T3" fmla="*/ 3629 h 5434"/>
                  <a:gd name="T4" fmla="*/ 2058 w 2854"/>
                  <a:gd name="T5" fmla="*/ 3566 h 5434"/>
                  <a:gd name="T6" fmla="*/ 1854 w 2854"/>
                  <a:gd name="T7" fmla="*/ 3535 h 5434"/>
                  <a:gd name="T8" fmla="*/ 1584 w 2854"/>
                  <a:gd name="T9" fmla="*/ 3531 h 5434"/>
                  <a:gd name="T10" fmla="*/ 1180 w 2854"/>
                  <a:gd name="T11" fmla="*/ 3563 h 5434"/>
                  <a:gd name="T12" fmla="*/ 1144 w 2854"/>
                  <a:gd name="T13" fmla="*/ 3574 h 5434"/>
                  <a:gd name="T14" fmla="*/ 914 w 2854"/>
                  <a:gd name="T15" fmla="*/ 3595 h 5434"/>
                  <a:gd name="T16" fmla="*/ 797 w 2854"/>
                  <a:gd name="T17" fmla="*/ 3587 h 5434"/>
                  <a:gd name="T18" fmla="*/ 771 w 2854"/>
                  <a:gd name="T19" fmla="*/ 3567 h 5434"/>
                  <a:gd name="T20" fmla="*/ 798 w 2854"/>
                  <a:gd name="T21" fmla="*/ 3534 h 5434"/>
                  <a:gd name="T22" fmla="*/ 890 w 2854"/>
                  <a:gd name="T23" fmla="*/ 3487 h 5434"/>
                  <a:gd name="T24" fmla="*/ 1234 w 2854"/>
                  <a:gd name="T25" fmla="*/ 3433 h 5434"/>
                  <a:gd name="T26" fmla="*/ 1602 w 2854"/>
                  <a:gd name="T27" fmla="*/ 3394 h 5434"/>
                  <a:gd name="T28" fmla="*/ 1996 w 2854"/>
                  <a:gd name="T29" fmla="*/ 3405 h 5434"/>
                  <a:gd name="T30" fmla="*/ 2177 w 2854"/>
                  <a:gd name="T31" fmla="*/ 3435 h 5434"/>
                  <a:gd name="T32" fmla="*/ 2343 w 2854"/>
                  <a:gd name="T33" fmla="*/ 3492 h 5434"/>
                  <a:gd name="T34" fmla="*/ 2495 w 2854"/>
                  <a:gd name="T35" fmla="*/ 3579 h 5434"/>
                  <a:gd name="T36" fmla="*/ 2632 w 2854"/>
                  <a:gd name="T37" fmla="*/ 3704 h 5434"/>
                  <a:gd name="T38" fmla="*/ 2654 w 2854"/>
                  <a:gd name="T39" fmla="*/ 3489 h 5434"/>
                  <a:gd name="T40" fmla="*/ 2635 w 2854"/>
                  <a:gd name="T41" fmla="*/ 2875 h 5434"/>
                  <a:gd name="T42" fmla="*/ 2666 w 2854"/>
                  <a:gd name="T43" fmla="*/ 2282 h 5434"/>
                  <a:gd name="T44" fmla="*/ 2724 w 2854"/>
                  <a:gd name="T45" fmla="*/ 1452 h 5434"/>
                  <a:gd name="T46" fmla="*/ 2729 w 2854"/>
                  <a:gd name="T47" fmla="*/ 408 h 5434"/>
                  <a:gd name="T48" fmla="*/ 2197 w 2854"/>
                  <a:gd name="T49" fmla="*/ 4 h 5434"/>
                  <a:gd name="T50" fmla="*/ 1385 w 2854"/>
                  <a:gd name="T51" fmla="*/ 8 h 5434"/>
                  <a:gd name="T52" fmla="*/ 668 w 2854"/>
                  <a:gd name="T53" fmla="*/ 55 h 5434"/>
                  <a:gd name="T54" fmla="*/ 286 w 2854"/>
                  <a:gd name="T55" fmla="*/ 262 h 5434"/>
                  <a:gd name="T56" fmla="*/ 282 w 2854"/>
                  <a:gd name="T57" fmla="*/ 1214 h 5434"/>
                  <a:gd name="T58" fmla="*/ 287 w 2854"/>
                  <a:gd name="T59" fmla="*/ 1234 h 5434"/>
                  <a:gd name="T60" fmla="*/ 308 w 2854"/>
                  <a:gd name="T61" fmla="*/ 1600 h 5434"/>
                  <a:gd name="T62" fmla="*/ 382 w 2854"/>
                  <a:gd name="T63" fmla="*/ 2181 h 5434"/>
                  <a:gd name="T64" fmla="*/ 404 w 2854"/>
                  <a:gd name="T65" fmla="*/ 2473 h 5434"/>
                  <a:gd name="T66" fmla="*/ 407 w 2854"/>
                  <a:gd name="T67" fmla="*/ 2834 h 5434"/>
                  <a:gd name="T68" fmla="*/ 364 w 2854"/>
                  <a:gd name="T69" fmla="*/ 3414 h 5434"/>
                  <a:gd name="T70" fmla="*/ 306 w 2854"/>
                  <a:gd name="T71" fmla="*/ 3864 h 5434"/>
                  <a:gd name="T72" fmla="*/ 205 w 2854"/>
                  <a:gd name="T73" fmla="*/ 4451 h 5434"/>
                  <a:gd name="T74" fmla="*/ 141 w 2854"/>
                  <a:gd name="T75" fmla="*/ 4690 h 5434"/>
                  <a:gd name="T76" fmla="*/ 15 w 2854"/>
                  <a:gd name="T77" fmla="*/ 4807 h 5434"/>
                  <a:gd name="T78" fmla="*/ 0 w 2854"/>
                  <a:gd name="T79" fmla="*/ 5085 h 5434"/>
                  <a:gd name="T80" fmla="*/ 20 w 2854"/>
                  <a:gd name="T81" fmla="*/ 5162 h 5434"/>
                  <a:gd name="T82" fmla="*/ 95 w 2854"/>
                  <a:gd name="T83" fmla="*/ 5276 h 5434"/>
                  <a:gd name="T84" fmla="*/ 119 w 2854"/>
                  <a:gd name="T85" fmla="*/ 5353 h 5434"/>
                  <a:gd name="T86" fmla="*/ 376 w 2854"/>
                  <a:gd name="T87" fmla="*/ 5401 h 5434"/>
                  <a:gd name="T88" fmla="*/ 766 w 2854"/>
                  <a:gd name="T89" fmla="*/ 5430 h 5434"/>
                  <a:gd name="T90" fmla="*/ 1475 w 2854"/>
                  <a:gd name="T91" fmla="*/ 5430 h 5434"/>
                  <a:gd name="T92" fmla="*/ 2792 w 2854"/>
                  <a:gd name="T93" fmla="*/ 5401 h 5434"/>
                  <a:gd name="T94" fmla="*/ 2779 w 2854"/>
                  <a:gd name="T95" fmla="*/ 5302 h 5434"/>
                  <a:gd name="T96" fmla="*/ 2779 w 2854"/>
                  <a:gd name="T97" fmla="*/ 5302 h 5434"/>
                  <a:gd name="T98" fmla="*/ 2808 w 2854"/>
                  <a:gd name="T99" fmla="*/ 5299 h 5434"/>
                  <a:gd name="T100" fmla="*/ 2835 w 2854"/>
                  <a:gd name="T101" fmla="*/ 5272 h 5434"/>
                  <a:gd name="T102" fmla="*/ 2846 w 2854"/>
                  <a:gd name="T103" fmla="*/ 5224 h 5434"/>
                  <a:gd name="T104" fmla="*/ 2854 w 2854"/>
                  <a:gd name="T105" fmla="*/ 4722 h 5434"/>
                  <a:gd name="T106" fmla="*/ 2831 w 2854"/>
                  <a:gd name="T107" fmla="*/ 4383 h 5434"/>
                  <a:gd name="T108" fmla="*/ 2784 w 2854"/>
                  <a:gd name="T109" fmla="*/ 4170 h 5434"/>
                  <a:gd name="T110" fmla="*/ 2716 w 2854"/>
                  <a:gd name="T111" fmla="*/ 4038 h 5434"/>
                  <a:gd name="T112" fmla="*/ 2611 w 2854"/>
                  <a:gd name="T113" fmla="*/ 3932 h 5434"/>
                  <a:gd name="T114" fmla="*/ 2488 w 2854"/>
                  <a:gd name="T115" fmla="*/ 3816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4" h="5434">
                    <a:moveTo>
                      <a:pt x="2488" y="3816"/>
                    </a:moveTo>
                    <a:lnTo>
                      <a:pt x="2488" y="3816"/>
                    </a:lnTo>
                    <a:lnTo>
                      <a:pt x="2460" y="3786"/>
                    </a:lnTo>
                    <a:lnTo>
                      <a:pt x="2432" y="3758"/>
                    </a:lnTo>
                    <a:lnTo>
                      <a:pt x="2402" y="3733"/>
                    </a:lnTo>
                    <a:lnTo>
                      <a:pt x="2371" y="3708"/>
                    </a:lnTo>
                    <a:lnTo>
                      <a:pt x="2339" y="3686"/>
                    </a:lnTo>
                    <a:lnTo>
                      <a:pt x="2307" y="3665"/>
                    </a:lnTo>
                    <a:lnTo>
                      <a:pt x="2275" y="3647"/>
                    </a:lnTo>
                    <a:lnTo>
                      <a:pt x="2240" y="3629"/>
                    </a:lnTo>
                    <a:lnTo>
                      <a:pt x="2206" y="3614"/>
                    </a:lnTo>
                    <a:lnTo>
                      <a:pt x="2170" y="3600"/>
                    </a:lnTo>
                    <a:lnTo>
                      <a:pt x="2134" y="3587"/>
                    </a:lnTo>
                    <a:lnTo>
                      <a:pt x="2096" y="3575"/>
                    </a:lnTo>
                    <a:lnTo>
                      <a:pt x="2058" y="3566"/>
                    </a:lnTo>
                    <a:lnTo>
                      <a:pt x="2018" y="3558"/>
                    </a:lnTo>
                    <a:lnTo>
                      <a:pt x="1979" y="3550"/>
                    </a:lnTo>
                    <a:lnTo>
                      <a:pt x="1937" y="3544"/>
                    </a:lnTo>
                    <a:lnTo>
                      <a:pt x="1897" y="3539"/>
                    </a:lnTo>
                    <a:lnTo>
                      <a:pt x="1854" y="3535"/>
                    </a:lnTo>
                    <a:lnTo>
                      <a:pt x="1811" y="3532"/>
                    </a:lnTo>
                    <a:lnTo>
                      <a:pt x="1766" y="3531"/>
                    </a:lnTo>
                    <a:lnTo>
                      <a:pt x="1722" y="3530"/>
                    </a:lnTo>
                    <a:lnTo>
                      <a:pt x="1676" y="3530"/>
                    </a:lnTo>
                    <a:lnTo>
                      <a:pt x="1584" y="3531"/>
                    </a:lnTo>
                    <a:lnTo>
                      <a:pt x="1487" y="3536"/>
                    </a:lnTo>
                    <a:lnTo>
                      <a:pt x="1387" y="3543"/>
                    </a:lnTo>
                    <a:lnTo>
                      <a:pt x="1285" y="3552"/>
                    </a:lnTo>
                    <a:lnTo>
                      <a:pt x="1180" y="3563"/>
                    </a:lnTo>
                    <a:lnTo>
                      <a:pt x="1180" y="3563"/>
                    </a:lnTo>
                    <a:lnTo>
                      <a:pt x="1184" y="3565"/>
                    </a:lnTo>
                    <a:lnTo>
                      <a:pt x="1184" y="3565"/>
                    </a:lnTo>
                    <a:lnTo>
                      <a:pt x="1183" y="3566"/>
                    </a:lnTo>
                    <a:lnTo>
                      <a:pt x="1169" y="3570"/>
                    </a:lnTo>
                    <a:lnTo>
                      <a:pt x="1144" y="3574"/>
                    </a:lnTo>
                    <a:lnTo>
                      <a:pt x="1108" y="3579"/>
                    </a:lnTo>
                    <a:lnTo>
                      <a:pt x="1063" y="3585"/>
                    </a:lnTo>
                    <a:lnTo>
                      <a:pt x="1015" y="3590"/>
                    </a:lnTo>
                    <a:lnTo>
                      <a:pt x="964" y="3594"/>
                    </a:lnTo>
                    <a:lnTo>
                      <a:pt x="914" y="3595"/>
                    </a:lnTo>
                    <a:lnTo>
                      <a:pt x="868" y="3595"/>
                    </a:lnTo>
                    <a:lnTo>
                      <a:pt x="847" y="3594"/>
                    </a:lnTo>
                    <a:lnTo>
                      <a:pt x="828" y="3593"/>
                    </a:lnTo>
                    <a:lnTo>
                      <a:pt x="810" y="3590"/>
                    </a:lnTo>
                    <a:lnTo>
                      <a:pt x="797" y="3587"/>
                    </a:lnTo>
                    <a:lnTo>
                      <a:pt x="785" y="3582"/>
                    </a:lnTo>
                    <a:lnTo>
                      <a:pt x="777" y="3578"/>
                    </a:lnTo>
                    <a:lnTo>
                      <a:pt x="774" y="3574"/>
                    </a:lnTo>
                    <a:lnTo>
                      <a:pt x="773" y="3571"/>
                    </a:lnTo>
                    <a:lnTo>
                      <a:pt x="771" y="3567"/>
                    </a:lnTo>
                    <a:lnTo>
                      <a:pt x="773" y="3563"/>
                    </a:lnTo>
                    <a:lnTo>
                      <a:pt x="774" y="3559"/>
                    </a:lnTo>
                    <a:lnTo>
                      <a:pt x="776" y="3555"/>
                    </a:lnTo>
                    <a:lnTo>
                      <a:pt x="785" y="3546"/>
                    </a:lnTo>
                    <a:lnTo>
                      <a:pt x="798" y="3534"/>
                    </a:lnTo>
                    <a:lnTo>
                      <a:pt x="817" y="3522"/>
                    </a:lnTo>
                    <a:lnTo>
                      <a:pt x="841" y="3508"/>
                    </a:lnTo>
                    <a:lnTo>
                      <a:pt x="871" y="3492"/>
                    </a:lnTo>
                    <a:lnTo>
                      <a:pt x="871" y="3492"/>
                    </a:lnTo>
                    <a:lnTo>
                      <a:pt x="890" y="3487"/>
                    </a:lnTo>
                    <a:lnTo>
                      <a:pt x="918" y="3480"/>
                    </a:lnTo>
                    <a:lnTo>
                      <a:pt x="956" y="3472"/>
                    </a:lnTo>
                    <a:lnTo>
                      <a:pt x="1003" y="3465"/>
                    </a:lnTo>
                    <a:lnTo>
                      <a:pt x="1112" y="3449"/>
                    </a:lnTo>
                    <a:lnTo>
                      <a:pt x="1234" y="3433"/>
                    </a:lnTo>
                    <a:lnTo>
                      <a:pt x="1356" y="3418"/>
                    </a:lnTo>
                    <a:lnTo>
                      <a:pt x="1467" y="3406"/>
                    </a:lnTo>
                    <a:lnTo>
                      <a:pt x="1553" y="3398"/>
                    </a:lnTo>
                    <a:lnTo>
                      <a:pt x="1602" y="3394"/>
                    </a:lnTo>
                    <a:lnTo>
                      <a:pt x="1602" y="3394"/>
                    </a:lnTo>
                    <a:lnTo>
                      <a:pt x="1684" y="3392"/>
                    </a:lnTo>
                    <a:lnTo>
                      <a:pt x="1765" y="3392"/>
                    </a:lnTo>
                    <a:lnTo>
                      <a:pt x="1843" y="3394"/>
                    </a:lnTo>
                    <a:lnTo>
                      <a:pt x="1921" y="3398"/>
                    </a:lnTo>
                    <a:lnTo>
                      <a:pt x="1996" y="3405"/>
                    </a:lnTo>
                    <a:lnTo>
                      <a:pt x="2033" y="3409"/>
                    </a:lnTo>
                    <a:lnTo>
                      <a:pt x="2069" y="3414"/>
                    </a:lnTo>
                    <a:lnTo>
                      <a:pt x="2105" y="3421"/>
                    </a:lnTo>
                    <a:lnTo>
                      <a:pt x="2142" y="3427"/>
                    </a:lnTo>
                    <a:lnTo>
                      <a:pt x="2177" y="3435"/>
                    </a:lnTo>
                    <a:lnTo>
                      <a:pt x="2210" y="3445"/>
                    </a:lnTo>
                    <a:lnTo>
                      <a:pt x="2244" y="3456"/>
                    </a:lnTo>
                    <a:lnTo>
                      <a:pt x="2277" y="3466"/>
                    </a:lnTo>
                    <a:lnTo>
                      <a:pt x="2311" y="3478"/>
                    </a:lnTo>
                    <a:lnTo>
                      <a:pt x="2343" y="3492"/>
                    </a:lnTo>
                    <a:lnTo>
                      <a:pt x="2374" y="3507"/>
                    </a:lnTo>
                    <a:lnTo>
                      <a:pt x="2405" y="3523"/>
                    </a:lnTo>
                    <a:lnTo>
                      <a:pt x="2436" y="3540"/>
                    </a:lnTo>
                    <a:lnTo>
                      <a:pt x="2466" y="3559"/>
                    </a:lnTo>
                    <a:lnTo>
                      <a:pt x="2495" y="3579"/>
                    </a:lnTo>
                    <a:lnTo>
                      <a:pt x="2523" y="3602"/>
                    </a:lnTo>
                    <a:lnTo>
                      <a:pt x="2552" y="3625"/>
                    </a:lnTo>
                    <a:lnTo>
                      <a:pt x="2579" y="3649"/>
                    </a:lnTo>
                    <a:lnTo>
                      <a:pt x="2605" y="3676"/>
                    </a:lnTo>
                    <a:lnTo>
                      <a:pt x="2632" y="3704"/>
                    </a:lnTo>
                    <a:lnTo>
                      <a:pt x="2657" y="3734"/>
                    </a:lnTo>
                    <a:lnTo>
                      <a:pt x="2682" y="3765"/>
                    </a:lnTo>
                    <a:lnTo>
                      <a:pt x="2682" y="3765"/>
                    </a:lnTo>
                    <a:lnTo>
                      <a:pt x="2666" y="3624"/>
                    </a:lnTo>
                    <a:lnTo>
                      <a:pt x="2654" y="3489"/>
                    </a:lnTo>
                    <a:lnTo>
                      <a:pt x="2644" y="3360"/>
                    </a:lnTo>
                    <a:lnTo>
                      <a:pt x="2639" y="3234"/>
                    </a:lnTo>
                    <a:lnTo>
                      <a:pt x="2635" y="3113"/>
                    </a:lnTo>
                    <a:lnTo>
                      <a:pt x="2634" y="2993"/>
                    </a:lnTo>
                    <a:lnTo>
                      <a:pt x="2635" y="2875"/>
                    </a:lnTo>
                    <a:lnTo>
                      <a:pt x="2638" y="2758"/>
                    </a:lnTo>
                    <a:lnTo>
                      <a:pt x="2643" y="2641"/>
                    </a:lnTo>
                    <a:lnTo>
                      <a:pt x="2648" y="2524"/>
                    </a:lnTo>
                    <a:lnTo>
                      <a:pt x="2657" y="2404"/>
                    </a:lnTo>
                    <a:lnTo>
                      <a:pt x="2666" y="2282"/>
                    </a:lnTo>
                    <a:lnTo>
                      <a:pt x="2686" y="2028"/>
                    </a:lnTo>
                    <a:lnTo>
                      <a:pt x="2708" y="1752"/>
                    </a:lnTo>
                    <a:lnTo>
                      <a:pt x="2708" y="1752"/>
                    </a:lnTo>
                    <a:lnTo>
                      <a:pt x="2717" y="1601"/>
                    </a:lnTo>
                    <a:lnTo>
                      <a:pt x="2724" y="1452"/>
                    </a:lnTo>
                    <a:lnTo>
                      <a:pt x="2728" y="1301"/>
                    </a:lnTo>
                    <a:lnTo>
                      <a:pt x="2729" y="1151"/>
                    </a:lnTo>
                    <a:lnTo>
                      <a:pt x="2729" y="1151"/>
                    </a:lnTo>
                    <a:lnTo>
                      <a:pt x="2729" y="408"/>
                    </a:lnTo>
                    <a:lnTo>
                      <a:pt x="2729" y="408"/>
                    </a:lnTo>
                    <a:lnTo>
                      <a:pt x="2730" y="21"/>
                    </a:lnTo>
                    <a:lnTo>
                      <a:pt x="2730" y="21"/>
                    </a:lnTo>
                    <a:lnTo>
                      <a:pt x="2549" y="13"/>
                    </a:lnTo>
                    <a:lnTo>
                      <a:pt x="2371" y="8"/>
                    </a:lnTo>
                    <a:lnTo>
                      <a:pt x="2197" y="4"/>
                    </a:lnTo>
                    <a:lnTo>
                      <a:pt x="2027" y="1"/>
                    </a:lnTo>
                    <a:lnTo>
                      <a:pt x="1861" y="0"/>
                    </a:lnTo>
                    <a:lnTo>
                      <a:pt x="1698" y="1"/>
                    </a:lnTo>
                    <a:lnTo>
                      <a:pt x="1539" y="4"/>
                    </a:lnTo>
                    <a:lnTo>
                      <a:pt x="1385" y="8"/>
                    </a:lnTo>
                    <a:lnTo>
                      <a:pt x="1234" y="14"/>
                    </a:lnTo>
                    <a:lnTo>
                      <a:pt x="1086" y="21"/>
                    </a:lnTo>
                    <a:lnTo>
                      <a:pt x="944" y="31"/>
                    </a:lnTo>
                    <a:lnTo>
                      <a:pt x="804" y="43"/>
                    </a:lnTo>
                    <a:lnTo>
                      <a:pt x="668" y="55"/>
                    </a:lnTo>
                    <a:lnTo>
                      <a:pt x="538" y="70"/>
                    </a:lnTo>
                    <a:lnTo>
                      <a:pt x="410" y="86"/>
                    </a:lnTo>
                    <a:lnTo>
                      <a:pt x="286" y="103"/>
                    </a:lnTo>
                    <a:lnTo>
                      <a:pt x="286" y="103"/>
                    </a:lnTo>
                    <a:lnTo>
                      <a:pt x="286" y="262"/>
                    </a:lnTo>
                    <a:lnTo>
                      <a:pt x="286" y="421"/>
                    </a:lnTo>
                    <a:lnTo>
                      <a:pt x="282" y="738"/>
                    </a:lnTo>
                    <a:lnTo>
                      <a:pt x="281" y="897"/>
                    </a:lnTo>
                    <a:lnTo>
                      <a:pt x="281" y="1055"/>
                    </a:lnTo>
                    <a:lnTo>
                      <a:pt x="282" y="1214"/>
                    </a:lnTo>
                    <a:lnTo>
                      <a:pt x="286" y="1373"/>
                    </a:lnTo>
                    <a:lnTo>
                      <a:pt x="286" y="1373"/>
                    </a:lnTo>
                    <a:lnTo>
                      <a:pt x="287" y="1304"/>
                    </a:lnTo>
                    <a:lnTo>
                      <a:pt x="287" y="1234"/>
                    </a:lnTo>
                    <a:lnTo>
                      <a:pt x="287" y="1234"/>
                    </a:lnTo>
                    <a:lnTo>
                      <a:pt x="287" y="1308"/>
                    </a:lnTo>
                    <a:lnTo>
                      <a:pt x="290" y="1381"/>
                    </a:lnTo>
                    <a:lnTo>
                      <a:pt x="296" y="1455"/>
                    </a:lnTo>
                    <a:lnTo>
                      <a:pt x="301" y="1527"/>
                    </a:lnTo>
                    <a:lnTo>
                      <a:pt x="308" y="1600"/>
                    </a:lnTo>
                    <a:lnTo>
                      <a:pt x="316" y="1673"/>
                    </a:lnTo>
                    <a:lnTo>
                      <a:pt x="335" y="1818"/>
                    </a:lnTo>
                    <a:lnTo>
                      <a:pt x="353" y="1963"/>
                    </a:lnTo>
                    <a:lnTo>
                      <a:pt x="372" y="2108"/>
                    </a:lnTo>
                    <a:lnTo>
                      <a:pt x="382" y="2181"/>
                    </a:lnTo>
                    <a:lnTo>
                      <a:pt x="388" y="2253"/>
                    </a:lnTo>
                    <a:lnTo>
                      <a:pt x="395" y="2327"/>
                    </a:lnTo>
                    <a:lnTo>
                      <a:pt x="400" y="2400"/>
                    </a:lnTo>
                    <a:lnTo>
                      <a:pt x="400" y="2400"/>
                    </a:lnTo>
                    <a:lnTo>
                      <a:pt x="404" y="2473"/>
                    </a:lnTo>
                    <a:lnTo>
                      <a:pt x="407" y="2545"/>
                    </a:lnTo>
                    <a:lnTo>
                      <a:pt x="408" y="2618"/>
                    </a:lnTo>
                    <a:lnTo>
                      <a:pt x="410" y="2690"/>
                    </a:lnTo>
                    <a:lnTo>
                      <a:pt x="408" y="2762"/>
                    </a:lnTo>
                    <a:lnTo>
                      <a:pt x="407" y="2834"/>
                    </a:lnTo>
                    <a:lnTo>
                      <a:pt x="404" y="2907"/>
                    </a:lnTo>
                    <a:lnTo>
                      <a:pt x="400" y="2980"/>
                    </a:lnTo>
                    <a:lnTo>
                      <a:pt x="391" y="3125"/>
                    </a:lnTo>
                    <a:lnTo>
                      <a:pt x="379" y="3270"/>
                    </a:lnTo>
                    <a:lnTo>
                      <a:pt x="364" y="3414"/>
                    </a:lnTo>
                    <a:lnTo>
                      <a:pt x="348" y="3558"/>
                    </a:lnTo>
                    <a:lnTo>
                      <a:pt x="348" y="3558"/>
                    </a:lnTo>
                    <a:lnTo>
                      <a:pt x="335" y="3660"/>
                    </a:lnTo>
                    <a:lnTo>
                      <a:pt x="321" y="3762"/>
                    </a:lnTo>
                    <a:lnTo>
                      <a:pt x="306" y="3864"/>
                    </a:lnTo>
                    <a:lnTo>
                      <a:pt x="291" y="3965"/>
                    </a:lnTo>
                    <a:lnTo>
                      <a:pt x="259" y="4168"/>
                    </a:lnTo>
                    <a:lnTo>
                      <a:pt x="223" y="4371"/>
                    </a:lnTo>
                    <a:lnTo>
                      <a:pt x="223" y="4371"/>
                    </a:lnTo>
                    <a:lnTo>
                      <a:pt x="205" y="4451"/>
                    </a:lnTo>
                    <a:lnTo>
                      <a:pt x="189" y="4530"/>
                    </a:lnTo>
                    <a:lnTo>
                      <a:pt x="175" y="4608"/>
                    </a:lnTo>
                    <a:lnTo>
                      <a:pt x="162" y="4686"/>
                    </a:lnTo>
                    <a:lnTo>
                      <a:pt x="162" y="4686"/>
                    </a:lnTo>
                    <a:lnTo>
                      <a:pt x="141" y="4690"/>
                    </a:lnTo>
                    <a:lnTo>
                      <a:pt x="95" y="4698"/>
                    </a:lnTo>
                    <a:lnTo>
                      <a:pt x="48" y="4705"/>
                    </a:lnTo>
                    <a:lnTo>
                      <a:pt x="27" y="4709"/>
                    </a:lnTo>
                    <a:lnTo>
                      <a:pt x="27" y="4709"/>
                    </a:lnTo>
                    <a:lnTo>
                      <a:pt x="15" y="4807"/>
                    </a:lnTo>
                    <a:lnTo>
                      <a:pt x="6" y="4903"/>
                    </a:lnTo>
                    <a:lnTo>
                      <a:pt x="4" y="4950"/>
                    </a:lnTo>
                    <a:lnTo>
                      <a:pt x="1" y="4995"/>
                    </a:lnTo>
                    <a:lnTo>
                      <a:pt x="0" y="5041"/>
                    </a:lnTo>
                    <a:lnTo>
                      <a:pt x="0" y="5085"/>
                    </a:lnTo>
                    <a:lnTo>
                      <a:pt x="0" y="5085"/>
                    </a:lnTo>
                    <a:lnTo>
                      <a:pt x="1" y="5106"/>
                    </a:lnTo>
                    <a:lnTo>
                      <a:pt x="5" y="5124"/>
                    </a:lnTo>
                    <a:lnTo>
                      <a:pt x="12" y="5143"/>
                    </a:lnTo>
                    <a:lnTo>
                      <a:pt x="20" y="5162"/>
                    </a:lnTo>
                    <a:lnTo>
                      <a:pt x="29" y="5180"/>
                    </a:lnTo>
                    <a:lnTo>
                      <a:pt x="40" y="5197"/>
                    </a:lnTo>
                    <a:lnTo>
                      <a:pt x="62" y="5229"/>
                    </a:lnTo>
                    <a:lnTo>
                      <a:pt x="84" y="5260"/>
                    </a:lnTo>
                    <a:lnTo>
                      <a:pt x="95" y="5276"/>
                    </a:lnTo>
                    <a:lnTo>
                      <a:pt x="103" y="5291"/>
                    </a:lnTo>
                    <a:lnTo>
                      <a:pt x="111" y="5307"/>
                    </a:lnTo>
                    <a:lnTo>
                      <a:pt x="117" y="5322"/>
                    </a:lnTo>
                    <a:lnTo>
                      <a:pt x="119" y="5338"/>
                    </a:lnTo>
                    <a:lnTo>
                      <a:pt x="119" y="5353"/>
                    </a:lnTo>
                    <a:lnTo>
                      <a:pt x="119" y="5353"/>
                    </a:lnTo>
                    <a:lnTo>
                      <a:pt x="173" y="5366"/>
                    </a:lnTo>
                    <a:lnTo>
                      <a:pt x="234" y="5379"/>
                    </a:lnTo>
                    <a:lnTo>
                      <a:pt x="301" y="5391"/>
                    </a:lnTo>
                    <a:lnTo>
                      <a:pt x="376" y="5401"/>
                    </a:lnTo>
                    <a:lnTo>
                      <a:pt x="461" y="5411"/>
                    </a:lnTo>
                    <a:lnTo>
                      <a:pt x="554" y="5419"/>
                    </a:lnTo>
                    <a:lnTo>
                      <a:pt x="655" y="5424"/>
                    </a:lnTo>
                    <a:lnTo>
                      <a:pt x="766" y="5430"/>
                    </a:lnTo>
                    <a:lnTo>
                      <a:pt x="766" y="5430"/>
                    </a:lnTo>
                    <a:lnTo>
                      <a:pt x="868" y="5432"/>
                    </a:lnTo>
                    <a:lnTo>
                      <a:pt x="977" y="5434"/>
                    </a:lnTo>
                    <a:lnTo>
                      <a:pt x="1094" y="5434"/>
                    </a:lnTo>
                    <a:lnTo>
                      <a:pt x="1217" y="5434"/>
                    </a:lnTo>
                    <a:lnTo>
                      <a:pt x="1475" y="5430"/>
                    </a:lnTo>
                    <a:lnTo>
                      <a:pt x="1745" y="5424"/>
                    </a:lnTo>
                    <a:lnTo>
                      <a:pt x="2291" y="5412"/>
                    </a:lnTo>
                    <a:lnTo>
                      <a:pt x="2552" y="5405"/>
                    </a:lnTo>
                    <a:lnTo>
                      <a:pt x="2792" y="5401"/>
                    </a:lnTo>
                    <a:lnTo>
                      <a:pt x="2792" y="5401"/>
                    </a:lnTo>
                    <a:lnTo>
                      <a:pt x="2788" y="5361"/>
                    </a:lnTo>
                    <a:lnTo>
                      <a:pt x="2786" y="5332"/>
                    </a:lnTo>
                    <a:lnTo>
                      <a:pt x="2782" y="5313"/>
                    </a:lnTo>
                    <a:lnTo>
                      <a:pt x="2779" y="5302"/>
                    </a:lnTo>
                    <a:lnTo>
                      <a:pt x="2779" y="5302"/>
                    </a:lnTo>
                    <a:lnTo>
                      <a:pt x="2776" y="5299"/>
                    </a:lnTo>
                    <a:lnTo>
                      <a:pt x="2775" y="5298"/>
                    </a:lnTo>
                    <a:lnTo>
                      <a:pt x="2776" y="5297"/>
                    </a:lnTo>
                    <a:lnTo>
                      <a:pt x="2776" y="5298"/>
                    </a:lnTo>
                    <a:lnTo>
                      <a:pt x="2779" y="5302"/>
                    </a:lnTo>
                    <a:lnTo>
                      <a:pt x="2779" y="5302"/>
                    </a:lnTo>
                    <a:lnTo>
                      <a:pt x="2783" y="5303"/>
                    </a:lnTo>
                    <a:lnTo>
                      <a:pt x="2792" y="5303"/>
                    </a:lnTo>
                    <a:lnTo>
                      <a:pt x="2802" y="5301"/>
                    </a:lnTo>
                    <a:lnTo>
                      <a:pt x="2808" y="5299"/>
                    </a:lnTo>
                    <a:lnTo>
                      <a:pt x="2814" y="5297"/>
                    </a:lnTo>
                    <a:lnTo>
                      <a:pt x="2819" y="5293"/>
                    </a:lnTo>
                    <a:lnTo>
                      <a:pt x="2825" y="5287"/>
                    </a:lnTo>
                    <a:lnTo>
                      <a:pt x="2830" y="5280"/>
                    </a:lnTo>
                    <a:lnTo>
                      <a:pt x="2835" y="5272"/>
                    </a:lnTo>
                    <a:lnTo>
                      <a:pt x="2839" y="5263"/>
                    </a:lnTo>
                    <a:lnTo>
                      <a:pt x="2842" y="5252"/>
                    </a:lnTo>
                    <a:lnTo>
                      <a:pt x="2845" y="5239"/>
                    </a:lnTo>
                    <a:lnTo>
                      <a:pt x="2846" y="5224"/>
                    </a:lnTo>
                    <a:lnTo>
                      <a:pt x="2846" y="5224"/>
                    </a:lnTo>
                    <a:lnTo>
                      <a:pt x="2850" y="5108"/>
                    </a:lnTo>
                    <a:lnTo>
                      <a:pt x="2853" y="5001"/>
                    </a:lnTo>
                    <a:lnTo>
                      <a:pt x="2854" y="4901"/>
                    </a:lnTo>
                    <a:lnTo>
                      <a:pt x="2854" y="4808"/>
                    </a:lnTo>
                    <a:lnTo>
                      <a:pt x="2854" y="4722"/>
                    </a:lnTo>
                    <a:lnTo>
                      <a:pt x="2851" y="4642"/>
                    </a:lnTo>
                    <a:lnTo>
                      <a:pt x="2849" y="4569"/>
                    </a:lnTo>
                    <a:lnTo>
                      <a:pt x="2843" y="4502"/>
                    </a:lnTo>
                    <a:lnTo>
                      <a:pt x="2838" y="4440"/>
                    </a:lnTo>
                    <a:lnTo>
                      <a:pt x="2831" y="4383"/>
                    </a:lnTo>
                    <a:lnTo>
                      <a:pt x="2825" y="4332"/>
                    </a:lnTo>
                    <a:lnTo>
                      <a:pt x="2815" y="4285"/>
                    </a:lnTo>
                    <a:lnTo>
                      <a:pt x="2806" y="4242"/>
                    </a:lnTo>
                    <a:lnTo>
                      <a:pt x="2796" y="4205"/>
                    </a:lnTo>
                    <a:lnTo>
                      <a:pt x="2784" y="4170"/>
                    </a:lnTo>
                    <a:lnTo>
                      <a:pt x="2772" y="4137"/>
                    </a:lnTo>
                    <a:lnTo>
                      <a:pt x="2759" y="4109"/>
                    </a:lnTo>
                    <a:lnTo>
                      <a:pt x="2745" y="4082"/>
                    </a:lnTo>
                    <a:lnTo>
                      <a:pt x="2730" y="4059"/>
                    </a:lnTo>
                    <a:lnTo>
                      <a:pt x="2716" y="4038"/>
                    </a:lnTo>
                    <a:lnTo>
                      <a:pt x="2700" y="4018"/>
                    </a:lnTo>
                    <a:lnTo>
                      <a:pt x="2683" y="3999"/>
                    </a:lnTo>
                    <a:lnTo>
                      <a:pt x="2666" y="3981"/>
                    </a:lnTo>
                    <a:lnTo>
                      <a:pt x="2647" y="3964"/>
                    </a:lnTo>
                    <a:lnTo>
                      <a:pt x="2611" y="3932"/>
                    </a:lnTo>
                    <a:lnTo>
                      <a:pt x="2572" y="3898"/>
                    </a:lnTo>
                    <a:lnTo>
                      <a:pt x="2530" y="3859"/>
                    </a:lnTo>
                    <a:lnTo>
                      <a:pt x="2509" y="3839"/>
                    </a:lnTo>
                    <a:lnTo>
                      <a:pt x="2488" y="3816"/>
                    </a:lnTo>
                    <a:lnTo>
                      <a:pt x="2488" y="38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3" name="Freeform 167"/>
              <p:cNvSpPr>
                <a:spLocks/>
              </p:cNvSpPr>
              <p:nvPr/>
            </p:nvSpPr>
            <p:spPr bwMode="auto">
              <a:xfrm>
                <a:off x="22850475" y="-774700"/>
                <a:ext cx="1957388" cy="835025"/>
              </a:xfrm>
              <a:custGeom>
                <a:avLst/>
                <a:gdLst>
                  <a:gd name="T0" fmla="*/ 15 w 2468"/>
                  <a:gd name="T1" fmla="*/ 1053 h 1053"/>
                  <a:gd name="T2" fmla="*/ 268 w 2468"/>
                  <a:gd name="T3" fmla="*/ 1020 h 1053"/>
                  <a:gd name="T4" fmla="*/ 535 w 2468"/>
                  <a:gd name="T5" fmla="*/ 993 h 1053"/>
                  <a:gd name="T6" fmla="*/ 819 w 2468"/>
                  <a:gd name="T7" fmla="*/ 973 h 1053"/>
                  <a:gd name="T8" fmla="*/ 1118 w 2468"/>
                  <a:gd name="T9" fmla="*/ 959 h 1053"/>
                  <a:gd name="T10" fmla="*/ 1431 w 2468"/>
                  <a:gd name="T11" fmla="*/ 953 h 1053"/>
                  <a:gd name="T12" fmla="*/ 1759 w 2468"/>
                  <a:gd name="T13" fmla="*/ 953 h 1053"/>
                  <a:gd name="T14" fmla="*/ 2102 w 2468"/>
                  <a:gd name="T15" fmla="*/ 959 h 1053"/>
                  <a:gd name="T16" fmla="*/ 2459 w 2468"/>
                  <a:gd name="T17" fmla="*/ 973 h 1053"/>
                  <a:gd name="T18" fmla="*/ 2461 w 2468"/>
                  <a:gd name="T19" fmla="*/ 365 h 1053"/>
                  <a:gd name="T20" fmla="*/ 2464 w 2468"/>
                  <a:gd name="T21" fmla="*/ 334 h 1053"/>
                  <a:gd name="T22" fmla="*/ 2468 w 2468"/>
                  <a:gd name="T23" fmla="*/ 278 h 1053"/>
                  <a:gd name="T24" fmla="*/ 2466 w 2468"/>
                  <a:gd name="T25" fmla="*/ 244 h 1053"/>
                  <a:gd name="T26" fmla="*/ 2462 w 2468"/>
                  <a:gd name="T27" fmla="*/ 230 h 1053"/>
                  <a:gd name="T28" fmla="*/ 2455 w 2468"/>
                  <a:gd name="T29" fmla="*/ 221 h 1053"/>
                  <a:gd name="T30" fmla="*/ 2438 w 2468"/>
                  <a:gd name="T31" fmla="*/ 202 h 1053"/>
                  <a:gd name="T32" fmla="*/ 2395 w 2468"/>
                  <a:gd name="T33" fmla="*/ 165 h 1053"/>
                  <a:gd name="T34" fmla="*/ 2343 w 2468"/>
                  <a:gd name="T35" fmla="*/ 130 h 1053"/>
                  <a:gd name="T36" fmla="*/ 2283 w 2468"/>
                  <a:gd name="T37" fmla="*/ 97 h 1053"/>
                  <a:gd name="T38" fmla="*/ 2220 w 2468"/>
                  <a:gd name="T39" fmla="*/ 70 h 1053"/>
                  <a:gd name="T40" fmla="*/ 2158 w 2468"/>
                  <a:gd name="T41" fmla="*/ 50 h 1053"/>
                  <a:gd name="T42" fmla="*/ 2099 w 2468"/>
                  <a:gd name="T43" fmla="*/ 37 h 1053"/>
                  <a:gd name="T44" fmla="*/ 2047 w 2468"/>
                  <a:gd name="T45" fmla="*/ 31 h 1053"/>
                  <a:gd name="T46" fmla="*/ 2025 w 2468"/>
                  <a:gd name="T47" fmla="*/ 33 h 1053"/>
                  <a:gd name="T48" fmla="*/ 1961 w 2468"/>
                  <a:gd name="T49" fmla="*/ 37 h 1053"/>
                  <a:gd name="T50" fmla="*/ 1895 w 2468"/>
                  <a:gd name="T51" fmla="*/ 35 h 1053"/>
                  <a:gd name="T52" fmla="*/ 1830 w 2468"/>
                  <a:gd name="T53" fmla="*/ 30 h 1053"/>
                  <a:gd name="T54" fmla="*/ 1700 w 2468"/>
                  <a:gd name="T55" fmla="*/ 14 h 1053"/>
                  <a:gd name="T56" fmla="*/ 1603 w 2468"/>
                  <a:gd name="T57" fmla="*/ 3 h 1053"/>
                  <a:gd name="T58" fmla="*/ 1537 w 2468"/>
                  <a:gd name="T59" fmla="*/ 0 h 1053"/>
                  <a:gd name="T60" fmla="*/ 1505 w 2468"/>
                  <a:gd name="T61" fmla="*/ 0 h 1053"/>
                  <a:gd name="T62" fmla="*/ 990 w 2468"/>
                  <a:gd name="T63" fmla="*/ 14 h 1053"/>
                  <a:gd name="T64" fmla="*/ 812 w 2468"/>
                  <a:gd name="T65" fmla="*/ 14 h 1053"/>
                  <a:gd name="T66" fmla="*/ 769 w 2468"/>
                  <a:gd name="T67" fmla="*/ 14 h 1053"/>
                  <a:gd name="T68" fmla="*/ 686 w 2468"/>
                  <a:gd name="T69" fmla="*/ 23 h 1053"/>
                  <a:gd name="T70" fmla="*/ 601 w 2468"/>
                  <a:gd name="T71" fmla="*/ 39 h 1053"/>
                  <a:gd name="T72" fmla="*/ 515 w 2468"/>
                  <a:gd name="T73" fmla="*/ 61 h 1053"/>
                  <a:gd name="T74" fmla="*/ 388 w 2468"/>
                  <a:gd name="T75" fmla="*/ 100 h 1053"/>
                  <a:gd name="T76" fmla="*/ 219 w 2468"/>
                  <a:gd name="T77" fmla="*/ 154 h 1053"/>
                  <a:gd name="T78" fmla="*/ 136 w 2468"/>
                  <a:gd name="T79" fmla="*/ 177 h 1053"/>
                  <a:gd name="T80" fmla="*/ 119 w 2468"/>
                  <a:gd name="T81" fmla="*/ 182 h 1053"/>
                  <a:gd name="T82" fmla="*/ 86 w 2468"/>
                  <a:gd name="T83" fmla="*/ 197 h 1053"/>
                  <a:gd name="T84" fmla="*/ 61 w 2468"/>
                  <a:gd name="T85" fmla="*/ 214 h 1053"/>
                  <a:gd name="T86" fmla="*/ 41 w 2468"/>
                  <a:gd name="T87" fmla="*/ 234 h 1053"/>
                  <a:gd name="T88" fmla="*/ 25 w 2468"/>
                  <a:gd name="T89" fmla="*/ 259 h 1053"/>
                  <a:gd name="T90" fmla="*/ 14 w 2468"/>
                  <a:gd name="T91" fmla="*/ 286 h 1053"/>
                  <a:gd name="T92" fmla="*/ 6 w 2468"/>
                  <a:gd name="T93" fmla="*/ 314 h 1053"/>
                  <a:gd name="T94" fmla="*/ 0 w 2468"/>
                  <a:gd name="T95" fmla="*/ 360 h 1053"/>
                  <a:gd name="T96" fmla="*/ 2 w 2468"/>
                  <a:gd name="T97" fmla="*/ 425 h 1053"/>
                  <a:gd name="T98" fmla="*/ 7 w 2468"/>
                  <a:gd name="T99" fmla="*/ 491 h 1053"/>
                  <a:gd name="T100" fmla="*/ 18 w 2468"/>
                  <a:gd name="T101" fmla="*/ 585 h 1053"/>
                  <a:gd name="T102" fmla="*/ 20 w 2468"/>
                  <a:gd name="T103" fmla="*/ 615 h 1053"/>
                  <a:gd name="T104" fmla="*/ 22 w 2468"/>
                  <a:gd name="T105" fmla="*/ 724 h 1053"/>
                  <a:gd name="T106" fmla="*/ 18 w 2468"/>
                  <a:gd name="T107" fmla="*/ 943 h 1053"/>
                  <a:gd name="T108" fmla="*/ 15 w 2468"/>
                  <a:gd name="T109" fmla="*/ 1053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53">
                    <a:moveTo>
                      <a:pt x="15" y="1053"/>
                    </a:moveTo>
                    <a:lnTo>
                      <a:pt x="15" y="1053"/>
                    </a:lnTo>
                    <a:lnTo>
                      <a:pt x="140" y="1036"/>
                    </a:lnTo>
                    <a:lnTo>
                      <a:pt x="268" y="1020"/>
                    </a:lnTo>
                    <a:lnTo>
                      <a:pt x="400" y="1006"/>
                    </a:lnTo>
                    <a:lnTo>
                      <a:pt x="535" y="993"/>
                    </a:lnTo>
                    <a:lnTo>
                      <a:pt x="675" y="982"/>
                    </a:lnTo>
                    <a:lnTo>
                      <a:pt x="819" y="973"/>
                    </a:lnTo>
                    <a:lnTo>
                      <a:pt x="967" y="966"/>
                    </a:lnTo>
                    <a:lnTo>
                      <a:pt x="1118" y="959"/>
                    </a:lnTo>
                    <a:lnTo>
                      <a:pt x="1272" y="955"/>
                    </a:lnTo>
                    <a:lnTo>
                      <a:pt x="1431" y="953"/>
                    </a:lnTo>
                    <a:lnTo>
                      <a:pt x="1594" y="951"/>
                    </a:lnTo>
                    <a:lnTo>
                      <a:pt x="1759" y="953"/>
                    </a:lnTo>
                    <a:lnTo>
                      <a:pt x="1928" y="955"/>
                    </a:lnTo>
                    <a:lnTo>
                      <a:pt x="2102" y="959"/>
                    </a:lnTo>
                    <a:lnTo>
                      <a:pt x="2279" y="965"/>
                    </a:lnTo>
                    <a:lnTo>
                      <a:pt x="2459" y="973"/>
                    </a:lnTo>
                    <a:lnTo>
                      <a:pt x="2459" y="973"/>
                    </a:lnTo>
                    <a:lnTo>
                      <a:pt x="2461" y="365"/>
                    </a:lnTo>
                    <a:lnTo>
                      <a:pt x="2461" y="365"/>
                    </a:lnTo>
                    <a:lnTo>
                      <a:pt x="2464" y="334"/>
                    </a:lnTo>
                    <a:lnTo>
                      <a:pt x="2466" y="296"/>
                    </a:lnTo>
                    <a:lnTo>
                      <a:pt x="2468" y="278"/>
                    </a:lnTo>
                    <a:lnTo>
                      <a:pt x="2468" y="259"/>
                    </a:lnTo>
                    <a:lnTo>
                      <a:pt x="2466" y="244"/>
                    </a:lnTo>
                    <a:lnTo>
                      <a:pt x="2464" y="237"/>
                    </a:lnTo>
                    <a:lnTo>
                      <a:pt x="2462" y="230"/>
                    </a:lnTo>
                    <a:lnTo>
                      <a:pt x="2462" y="230"/>
                    </a:lnTo>
                    <a:lnTo>
                      <a:pt x="2455" y="221"/>
                    </a:lnTo>
                    <a:lnTo>
                      <a:pt x="2455" y="221"/>
                    </a:lnTo>
                    <a:lnTo>
                      <a:pt x="2438" y="202"/>
                    </a:lnTo>
                    <a:lnTo>
                      <a:pt x="2419" y="183"/>
                    </a:lnTo>
                    <a:lnTo>
                      <a:pt x="2395" y="165"/>
                    </a:lnTo>
                    <a:lnTo>
                      <a:pt x="2371" y="147"/>
                    </a:lnTo>
                    <a:lnTo>
                      <a:pt x="2343" y="130"/>
                    </a:lnTo>
                    <a:lnTo>
                      <a:pt x="2313" y="113"/>
                    </a:lnTo>
                    <a:lnTo>
                      <a:pt x="2283" y="97"/>
                    </a:lnTo>
                    <a:lnTo>
                      <a:pt x="2252" y="84"/>
                    </a:lnTo>
                    <a:lnTo>
                      <a:pt x="2220" y="70"/>
                    </a:lnTo>
                    <a:lnTo>
                      <a:pt x="2189" y="60"/>
                    </a:lnTo>
                    <a:lnTo>
                      <a:pt x="2158" y="50"/>
                    </a:lnTo>
                    <a:lnTo>
                      <a:pt x="2127" y="42"/>
                    </a:lnTo>
                    <a:lnTo>
                      <a:pt x="2099" y="37"/>
                    </a:lnTo>
                    <a:lnTo>
                      <a:pt x="2072" y="33"/>
                    </a:lnTo>
                    <a:lnTo>
                      <a:pt x="2047" y="31"/>
                    </a:lnTo>
                    <a:lnTo>
                      <a:pt x="2025" y="33"/>
                    </a:lnTo>
                    <a:lnTo>
                      <a:pt x="2025" y="33"/>
                    </a:lnTo>
                    <a:lnTo>
                      <a:pt x="1993" y="35"/>
                    </a:lnTo>
                    <a:lnTo>
                      <a:pt x="1961" y="37"/>
                    </a:lnTo>
                    <a:lnTo>
                      <a:pt x="1928" y="37"/>
                    </a:lnTo>
                    <a:lnTo>
                      <a:pt x="1895" y="35"/>
                    </a:lnTo>
                    <a:lnTo>
                      <a:pt x="1863" y="33"/>
                    </a:lnTo>
                    <a:lnTo>
                      <a:pt x="1830" y="30"/>
                    </a:lnTo>
                    <a:lnTo>
                      <a:pt x="1766" y="22"/>
                    </a:lnTo>
                    <a:lnTo>
                      <a:pt x="1700" y="14"/>
                    </a:lnTo>
                    <a:lnTo>
                      <a:pt x="1635" y="6"/>
                    </a:lnTo>
                    <a:lnTo>
                      <a:pt x="1603" y="3"/>
                    </a:lnTo>
                    <a:lnTo>
                      <a:pt x="1571" y="2"/>
                    </a:lnTo>
                    <a:lnTo>
                      <a:pt x="1537" y="0"/>
                    </a:lnTo>
                    <a:lnTo>
                      <a:pt x="1505" y="0"/>
                    </a:lnTo>
                    <a:lnTo>
                      <a:pt x="1505" y="0"/>
                    </a:lnTo>
                    <a:lnTo>
                      <a:pt x="1158" y="10"/>
                    </a:lnTo>
                    <a:lnTo>
                      <a:pt x="990" y="14"/>
                    </a:lnTo>
                    <a:lnTo>
                      <a:pt x="903" y="14"/>
                    </a:lnTo>
                    <a:lnTo>
                      <a:pt x="812" y="14"/>
                    </a:lnTo>
                    <a:lnTo>
                      <a:pt x="812" y="14"/>
                    </a:lnTo>
                    <a:lnTo>
                      <a:pt x="769" y="14"/>
                    </a:lnTo>
                    <a:lnTo>
                      <a:pt x="728" y="18"/>
                    </a:lnTo>
                    <a:lnTo>
                      <a:pt x="686" y="23"/>
                    </a:lnTo>
                    <a:lnTo>
                      <a:pt x="643" y="30"/>
                    </a:lnTo>
                    <a:lnTo>
                      <a:pt x="601" y="39"/>
                    </a:lnTo>
                    <a:lnTo>
                      <a:pt x="558" y="50"/>
                    </a:lnTo>
                    <a:lnTo>
                      <a:pt x="515" y="61"/>
                    </a:lnTo>
                    <a:lnTo>
                      <a:pt x="474" y="73"/>
                    </a:lnTo>
                    <a:lnTo>
                      <a:pt x="388" y="100"/>
                    </a:lnTo>
                    <a:lnTo>
                      <a:pt x="303" y="128"/>
                    </a:lnTo>
                    <a:lnTo>
                      <a:pt x="219" y="154"/>
                    </a:lnTo>
                    <a:lnTo>
                      <a:pt x="178" y="166"/>
                    </a:lnTo>
                    <a:lnTo>
                      <a:pt x="136" y="177"/>
                    </a:lnTo>
                    <a:lnTo>
                      <a:pt x="136" y="177"/>
                    </a:lnTo>
                    <a:lnTo>
                      <a:pt x="119" y="182"/>
                    </a:lnTo>
                    <a:lnTo>
                      <a:pt x="101" y="189"/>
                    </a:lnTo>
                    <a:lnTo>
                      <a:pt x="86" y="197"/>
                    </a:lnTo>
                    <a:lnTo>
                      <a:pt x="73" y="205"/>
                    </a:lnTo>
                    <a:lnTo>
                      <a:pt x="61" y="214"/>
                    </a:lnTo>
                    <a:lnTo>
                      <a:pt x="50" y="224"/>
                    </a:lnTo>
                    <a:lnTo>
                      <a:pt x="41" y="234"/>
                    </a:lnTo>
                    <a:lnTo>
                      <a:pt x="33" y="247"/>
                    </a:lnTo>
                    <a:lnTo>
                      <a:pt x="25" y="259"/>
                    </a:lnTo>
                    <a:lnTo>
                      <a:pt x="19" y="272"/>
                    </a:lnTo>
                    <a:lnTo>
                      <a:pt x="14" y="286"/>
                    </a:lnTo>
                    <a:lnTo>
                      <a:pt x="10" y="299"/>
                    </a:lnTo>
                    <a:lnTo>
                      <a:pt x="6" y="314"/>
                    </a:lnTo>
                    <a:lnTo>
                      <a:pt x="3" y="329"/>
                    </a:lnTo>
                    <a:lnTo>
                      <a:pt x="0" y="360"/>
                    </a:lnTo>
                    <a:lnTo>
                      <a:pt x="0" y="392"/>
                    </a:lnTo>
                    <a:lnTo>
                      <a:pt x="2" y="425"/>
                    </a:lnTo>
                    <a:lnTo>
                      <a:pt x="4" y="458"/>
                    </a:lnTo>
                    <a:lnTo>
                      <a:pt x="7" y="491"/>
                    </a:lnTo>
                    <a:lnTo>
                      <a:pt x="15" y="556"/>
                    </a:lnTo>
                    <a:lnTo>
                      <a:pt x="18" y="585"/>
                    </a:lnTo>
                    <a:lnTo>
                      <a:pt x="20" y="615"/>
                    </a:lnTo>
                    <a:lnTo>
                      <a:pt x="20" y="615"/>
                    </a:lnTo>
                    <a:lnTo>
                      <a:pt x="22" y="669"/>
                    </a:lnTo>
                    <a:lnTo>
                      <a:pt x="22" y="724"/>
                    </a:lnTo>
                    <a:lnTo>
                      <a:pt x="20" y="834"/>
                    </a:lnTo>
                    <a:lnTo>
                      <a:pt x="18" y="943"/>
                    </a:lnTo>
                    <a:lnTo>
                      <a:pt x="15" y="1053"/>
                    </a:lnTo>
                    <a:lnTo>
                      <a:pt x="15" y="10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4" name="Freeform 168"/>
              <p:cNvSpPr>
                <a:spLocks/>
              </p:cNvSpPr>
              <p:nvPr/>
            </p:nvSpPr>
            <p:spPr bwMode="auto">
              <a:xfrm>
                <a:off x="25177750" y="-784225"/>
                <a:ext cx="1958975" cy="857250"/>
              </a:xfrm>
              <a:custGeom>
                <a:avLst/>
                <a:gdLst>
                  <a:gd name="T0" fmla="*/ 8 w 2468"/>
                  <a:gd name="T1" fmla="*/ 981 h 1082"/>
                  <a:gd name="T2" fmla="*/ 368 w 2468"/>
                  <a:gd name="T3" fmla="*/ 969 h 1082"/>
                  <a:gd name="T4" fmla="*/ 712 w 2468"/>
                  <a:gd name="T5" fmla="*/ 965 h 1082"/>
                  <a:gd name="T6" fmla="*/ 1040 w 2468"/>
                  <a:gd name="T7" fmla="*/ 966 h 1082"/>
                  <a:gd name="T8" fmla="*/ 1355 w 2468"/>
                  <a:gd name="T9" fmla="*/ 975 h 1082"/>
                  <a:gd name="T10" fmla="*/ 1654 w 2468"/>
                  <a:gd name="T11" fmla="*/ 991 h 1082"/>
                  <a:gd name="T12" fmla="*/ 1936 w 2468"/>
                  <a:gd name="T13" fmla="*/ 1014 h 1082"/>
                  <a:gd name="T14" fmla="*/ 2202 w 2468"/>
                  <a:gd name="T15" fmla="*/ 1044 h 1082"/>
                  <a:gd name="T16" fmla="*/ 2452 w 2468"/>
                  <a:gd name="T17" fmla="*/ 1082 h 1082"/>
                  <a:gd name="T18" fmla="*/ 2450 w 2468"/>
                  <a:gd name="T19" fmla="*/ 967 h 1082"/>
                  <a:gd name="T20" fmla="*/ 2445 w 2468"/>
                  <a:gd name="T21" fmla="*/ 740 h 1082"/>
                  <a:gd name="T22" fmla="*/ 2447 w 2468"/>
                  <a:gd name="T23" fmla="*/ 627 h 1082"/>
                  <a:gd name="T24" fmla="*/ 2450 w 2468"/>
                  <a:gd name="T25" fmla="*/ 597 h 1082"/>
                  <a:gd name="T26" fmla="*/ 2460 w 2468"/>
                  <a:gd name="T27" fmla="*/ 503 h 1082"/>
                  <a:gd name="T28" fmla="*/ 2467 w 2468"/>
                  <a:gd name="T29" fmla="*/ 437 h 1082"/>
                  <a:gd name="T30" fmla="*/ 2467 w 2468"/>
                  <a:gd name="T31" fmla="*/ 372 h 1082"/>
                  <a:gd name="T32" fmla="*/ 2462 w 2468"/>
                  <a:gd name="T33" fmla="*/ 326 h 1082"/>
                  <a:gd name="T34" fmla="*/ 2454 w 2468"/>
                  <a:gd name="T35" fmla="*/ 298 h 1082"/>
                  <a:gd name="T36" fmla="*/ 2443 w 2468"/>
                  <a:gd name="T37" fmla="*/ 271 h 1082"/>
                  <a:gd name="T38" fmla="*/ 2427 w 2468"/>
                  <a:gd name="T39" fmla="*/ 246 h 1082"/>
                  <a:gd name="T40" fmla="*/ 2406 w 2468"/>
                  <a:gd name="T41" fmla="*/ 226 h 1082"/>
                  <a:gd name="T42" fmla="*/ 2381 w 2468"/>
                  <a:gd name="T43" fmla="*/ 209 h 1082"/>
                  <a:gd name="T44" fmla="*/ 2350 w 2468"/>
                  <a:gd name="T45" fmla="*/ 194 h 1082"/>
                  <a:gd name="T46" fmla="*/ 2331 w 2468"/>
                  <a:gd name="T47" fmla="*/ 189 h 1082"/>
                  <a:gd name="T48" fmla="*/ 2248 w 2468"/>
                  <a:gd name="T49" fmla="*/ 166 h 1082"/>
                  <a:gd name="T50" fmla="*/ 2080 w 2468"/>
                  <a:gd name="T51" fmla="*/ 108 h 1082"/>
                  <a:gd name="T52" fmla="*/ 1952 w 2468"/>
                  <a:gd name="T53" fmla="*/ 66 h 1082"/>
                  <a:gd name="T54" fmla="*/ 1866 w 2468"/>
                  <a:gd name="T55" fmla="*/ 42 h 1082"/>
                  <a:gd name="T56" fmla="*/ 1781 w 2468"/>
                  <a:gd name="T57" fmla="*/ 25 h 1082"/>
                  <a:gd name="T58" fmla="*/ 1698 w 2468"/>
                  <a:gd name="T59" fmla="*/ 15 h 1082"/>
                  <a:gd name="T60" fmla="*/ 1656 w 2468"/>
                  <a:gd name="T61" fmla="*/ 14 h 1082"/>
                  <a:gd name="T62" fmla="*/ 1468 w 2468"/>
                  <a:gd name="T63" fmla="*/ 14 h 1082"/>
                  <a:gd name="T64" fmla="*/ 1093 w 2468"/>
                  <a:gd name="T65" fmla="*/ 6 h 1082"/>
                  <a:gd name="T66" fmla="*/ 905 w 2468"/>
                  <a:gd name="T67" fmla="*/ 0 h 1082"/>
                  <a:gd name="T68" fmla="*/ 840 w 2468"/>
                  <a:gd name="T69" fmla="*/ 2 h 1082"/>
                  <a:gd name="T70" fmla="*/ 774 w 2468"/>
                  <a:gd name="T71" fmla="*/ 7 h 1082"/>
                  <a:gd name="T72" fmla="*/ 644 w 2468"/>
                  <a:gd name="T73" fmla="*/ 22 h 1082"/>
                  <a:gd name="T74" fmla="*/ 547 w 2468"/>
                  <a:gd name="T75" fmla="*/ 33 h 1082"/>
                  <a:gd name="T76" fmla="*/ 482 w 2468"/>
                  <a:gd name="T77" fmla="*/ 37 h 1082"/>
                  <a:gd name="T78" fmla="*/ 417 w 2468"/>
                  <a:gd name="T79" fmla="*/ 35 h 1082"/>
                  <a:gd name="T80" fmla="*/ 384 w 2468"/>
                  <a:gd name="T81" fmla="*/ 33 h 1082"/>
                  <a:gd name="T82" fmla="*/ 340 w 2468"/>
                  <a:gd name="T83" fmla="*/ 34 h 1082"/>
                  <a:gd name="T84" fmla="*/ 292 w 2468"/>
                  <a:gd name="T85" fmla="*/ 45 h 1082"/>
                  <a:gd name="T86" fmla="*/ 239 w 2468"/>
                  <a:gd name="T87" fmla="*/ 64 h 1082"/>
                  <a:gd name="T88" fmla="*/ 187 w 2468"/>
                  <a:gd name="T89" fmla="*/ 90 h 1082"/>
                  <a:gd name="T90" fmla="*/ 136 w 2468"/>
                  <a:gd name="T91" fmla="*/ 121 h 1082"/>
                  <a:gd name="T92" fmla="*/ 88 w 2468"/>
                  <a:gd name="T93" fmla="*/ 156 h 1082"/>
                  <a:gd name="T94" fmla="*/ 47 w 2468"/>
                  <a:gd name="T95" fmla="*/ 194 h 1082"/>
                  <a:gd name="T96" fmla="*/ 12 w 2468"/>
                  <a:gd name="T97" fmla="*/ 233 h 1082"/>
                  <a:gd name="T98" fmla="*/ 6 w 2468"/>
                  <a:gd name="T99" fmla="*/ 242 h 1082"/>
                  <a:gd name="T100" fmla="*/ 4 w 2468"/>
                  <a:gd name="T101" fmla="*/ 249 h 1082"/>
                  <a:gd name="T102" fmla="*/ 0 w 2468"/>
                  <a:gd name="T103" fmla="*/ 271 h 1082"/>
                  <a:gd name="T104" fmla="*/ 1 w 2468"/>
                  <a:gd name="T105" fmla="*/ 308 h 1082"/>
                  <a:gd name="T106" fmla="*/ 6 w 2468"/>
                  <a:gd name="T107" fmla="*/ 377 h 1082"/>
                  <a:gd name="T108" fmla="*/ 8 w 2468"/>
                  <a:gd name="T109" fmla="*/ 981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82">
                    <a:moveTo>
                      <a:pt x="8" y="981"/>
                    </a:moveTo>
                    <a:lnTo>
                      <a:pt x="8" y="981"/>
                    </a:lnTo>
                    <a:lnTo>
                      <a:pt x="189" y="974"/>
                    </a:lnTo>
                    <a:lnTo>
                      <a:pt x="368" y="969"/>
                    </a:lnTo>
                    <a:lnTo>
                      <a:pt x="542" y="966"/>
                    </a:lnTo>
                    <a:lnTo>
                      <a:pt x="712" y="965"/>
                    </a:lnTo>
                    <a:lnTo>
                      <a:pt x="878" y="965"/>
                    </a:lnTo>
                    <a:lnTo>
                      <a:pt x="1040" y="966"/>
                    </a:lnTo>
                    <a:lnTo>
                      <a:pt x="1200" y="970"/>
                    </a:lnTo>
                    <a:lnTo>
                      <a:pt x="1355" y="975"/>
                    </a:lnTo>
                    <a:lnTo>
                      <a:pt x="1506" y="982"/>
                    </a:lnTo>
                    <a:lnTo>
                      <a:pt x="1654" y="991"/>
                    </a:lnTo>
                    <a:lnTo>
                      <a:pt x="1796" y="1002"/>
                    </a:lnTo>
                    <a:lnTo>
                      <a:pt x="1936" y="1014"/>
                    </a:lnTo>
                    <a:lnTo>
                      <a:pt x="2070" y="1029"/>
                    </a:lnTo>
                    <a:lnTo>
                      <a:pt x="2202" y="1044"/>
                    </a:lnTo>
                    <a:lnTo>
                      <a:pt x="2330" y="1061"/>
                    </a:lnTo>
                    <a:lnTo>
                      <a:pt x="2452" y="1082"/>
                    </a:lnTo>
                    <a:lnTo>
                      <a:pt x="2452" y="1082"/>
                    </a:lnTo>
                    <a:lnTo>
                      <a:pt x="2450" y="967"/>
                    </a:lnTo>
                    <a:lnTo>
                      <a:pt x="2447" y="854"/>
                    </a:lnTo>
                    <a:lnTo>
                      <a:pt x="2445" y="740"/>
                    </a:lnTo>
                    <a:lnTo>
                      <a:pt x="2445" y="684"/>
                    </a:lnTo>
                    <a:lnTo>
                      <a:pt x="2447" y="627"/>
                    </a:lnTo>
                    <a:lnTo>
                      <a:pt x="2447" y="627"/>
                    </a:lnTo>
                    <a:lnTo>
                      <a:pt x="2450" y="597"/>
                    </a:lnTo>
                    <a:lnTo>
                      <a:pt x="2452" y="568"/>
                    </a:lnTo>
                    <a:lnTo>
                      <a:pt x="2460" y="503"/>
                    </a:lnTo>
                    <a:lnTo>
                      <a:pt x="2464" y="470"/>
                    </a:lnTo>
                    <a:lnTo>
                      <a:pt x="2467" y="437"/>
                    </a:lnTo>
                    <a:lnTo>
                      <a:pt x="2468" y="404"/>
                    </a:lnTo>
                    <a:lnTo>
                      <a:pt x="2467" y="372"/>
                    </a:lnTo>
                    <a:lnTo>
                      <a:pt x="2464" y="341"/>
                    </a:lnTo>
                    <a:lnTo>
                      <a:pt x="2462" y="326"/>
                    </a:lnTo>
                    <a:lnTo>
                      <a:pt x="2459" y="311"/>
                    </a:lnTo>
                    <a:lnTo>
                      <a:pt x="2454" y="298"/>
                    </a:lnTo>
                    <a:lnTo>
                      <a:pt x="2450" y="284"/>
                    </a:lnTo>
                    <a:lnTo>
                      <a:pt x="2443" y="271"/>
                    </a:lnTo>
                    <a:lnTo>
                      <a:pt x="2436" y="259"/>
                    </a:lnTo>
                    <a:lnTo>
                      <a:pt x="2427" y="246"/>
                    </a:lnTo>
                    <a:lnTo>
                      <a:pt x="2417" y="236"/>
                    </a:lnTo>
                    <a:lnTo>
                      <a:pt x="2406" y="226"/>
                    </a:lnTo>
                    <a:lnTo>
                      <a:pt x="2394" y="217"/>
                    </a:lnTo>
                    <a:lnTo>
                      <a:pt x="2381" y="209"/>
                    </a:lnTo>
                    <a:lnTo>
                      <a:pt x="2366" y="201"/>
                    </a:lnTo>
                    <a:lnTo>
                      <a:pt x="2350" y="194"/>
                    </a:lnTo>
                    <a:lnTo>
                      <a:pt x="2331" y="189"/>
                    </a:lnTo>
                    <a:lnTo>
                      <a:pt x="2331" y="189"/>
                    </a:lnTo>
                    <a:lnTo>
                      <a:pt x="2290" y="178"/>
                    </a:lnTo>
                    <a:lnTo>
                      <a:pt x="2248" y="166"/>
                    </a:lnTo>
                    <a:lnTo>
                      <a:pt x="2164" y="138"/>
                    </a:lnTo>
                    <a:lnTo>
                      <a:pt x="2080" y="108"/>
                    </a:lnTo>
                    <a:lnTo>
                      <a:pt x="1995" y="80"/>
                    </a:lnTo>
                    <a:lnTo>
                      <a:pt x="1952" y="66"/>
                    </a:lnTo>
                    <a:lnTo>
                      <a:pt x="1909" y="54"/>
                    </a:lnTo>
                    <a:lnTo>
                      <a:pt x="1866" y="42"/>
                    </a:lnTo>
                    <a:lnTo>
                      <a:pt x="1824" y="33"/>
                    </a:lnTo>
                    <a:lnTo>
                      <a:pt x="1781" y="25"/>
                    </a:lnTo>
                    <a:lnTo>
                      <a:pt x="1740" y="19"/>
                    </a:lnTo>
                    <a:lnTo>
                      <a:pt x="1698" y="15"/>
                    </a:lnTo>
                    <a:lnTo>
                      <a:pt x="1656" y="14"/>
                    </a:lnTo>
                    <a:lnTo>
                      <a:pt x="1656" y="14"/>
                    </a:lnTo>
                    <a:lnTo>
                      <a:pt x="1562" y="14"/>
                    </a:lnTo>
                    <a:lnTo>
                      <a:pt x="1468" y="14"/>
                    </a:lnTo>
                    <a:lnTo>
                      <a:pt x="1280" y="11"/>
                    </a:lnTo>
                    <a:lnTo>
                      <a:pt x="1093" y="6"/>
                    </a:lnTo>
                    <a:lnTo>
                      <a:pt x="905" y="0"/>
                    </a:lnTo>
                    <a:lnTo>
                      <a:pt x="905" y="0"/>
                    </a:lnTo>
                    <a:lnTo>
                      <a:pt x="872" y="0"/>
                    </a:lnTo>
                    <a:lnTo>
                      <a:pt x="840" y="2"/>
                    </a:lnTo>
                    <a:lnTo>
                      <a:pt x="806" y="3"/>
                    </a:lnTo>
                    <a:lnTo>
                      <a:pt x="774" y="7"/>
                    </a:lnTo>
                    <a:lnTo>
                      <a:pt x="710" y="14"/>
                    </a:lnTo>
                    <a:lnTo>
                      <a:pt x="644" y="22"/>
                    </a:lnTo>
                    <a:lnTo>
                      <a:pt x="579" y="30"/>
                    </a:lnTo>
                    <a:lnTo>
                      <a:pt x="547" y="33"/>
                    </a:lnTo>
                    <a:lnTo>
                      <a:pt x="515" y="35"/>
                    </a:lnTo>
                    <a:lnTo>
                      <a:pt x="482" y="37"/>
                    </a:lnTo>
                    <a:lnTo>
                      <a:pt x="450" y="37"/>
                    </a:lnTo>
                    <a:lnTo>
                      <a:pt x="417" y="35"/>
                    </a:lnTo>
                    <a:lnTo>
                      <a:pt x="384" y="33"/>
                    </a:lnTo>
                    <a:lnTo>
                      <a:pt x="384" y="33"/>
                    </a:lnTo>
                    <a:lnTo>
                      <a:pt x="363" y="33"/>
                    </a:lnTo>
                    <a:lnTo>
                      <a:pt x="340" y="34"/>
                    </a:lnTo>
                    <a:lnTo>
                      <a:pt x="316" y="38"/>
                    </a:lnTo>
                    <a:lnTo>
                      <a:pt x="292" y="45"/>
                    </a:lnTo>
                    <a:lnTo>
                      <a:pt x="266" y="53"/>
                    </a:lnTo>
                    <a:lnTo>
                      <a:pt x="239" y="64"/>
                    </a:lnTo>
                    <a:lnTo>
                      <a:pt x="214" y="76"/>
                    </a:lnTo>
                    <a:lnTo>
                      <a:pt x="187" y="90"/>
                    </a:lnTo>
                    <a:lnTo>
                      <a:pt x="161" y="105"/>
                    </a:lnTo>
                    <a:lnTo>
                      <a:pt x="136" y="121"/>
                    </a:lnTo>
                    <a:lnTo>
                      <a:pt x="111" y="139"/>
                    </a:lnTo>
                    <a:lnTo>
                      <a:pt x="88" y="156"/>
                    </a:lnTo>
                    <a:lnTo>
                      <a:pt x="67" y="175"/>
                    </a:lnTo>
                    <a:lnTo>
                      <a:pt x="47" y="194"/>
                    </a:lnTo>
                    <a:lnTo>
                      <a:pt x="28" y="214"/>
                    </a:lnTo>
                    <a:lnTo>
                      <a:pt x="12" y="233"/>
                    </a:lnTo>
                    <a:lnTo>
                      <a:pt x="12" y="233"/>
                    </a:lnTo>
                    <a:lnTo>
                      <a:pt x="6" y="242"/>
                    </a:lnTo>
                    <a:lnTo>
                      <a:pt x="6" y="242"/>
                    </a:lnTo>
                    <a:lnTo>
                      <a:pt x="4" y="249"/>
                    </a:lnTo>
                    <a:lnTo>
                      <a:pt x="1" y="256"/>
                    </a:lnTo>
                    <a:lnTo>
                      <a:pt x="0" y="271"/>
                    </a:lnTo>
                    <a:lnTo>
                      <a:pt x="0" y="290"/>
                    </a:lnTo>
                    <a:lnTo>
                      <a:pt x="1" y="308"/>
                    </a:lnTo>
                    <a:lnTo>
                      <a:pt x="4" y="346"/>
                    </a:lnTo>
                    <a:lnTo>
                      <a:pt x="6" y="377"/>
                    </a:lnTo>
                    <a:lnTo>
                      <a:pt x="6" y="377"/>
                    </a:lnTo>
                    <a:lnTo>
                      <a:pt x="8" y="981"/>
                    </a:lnTo>
                    <a:lnTo>
                      <a:pt x="8" y="9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5" name="Freeform 169"/>
              <p:cNvSpPr>
                <a:spLocks/>
              </p:cNvSpPr>
              <p:nvPr/>
            </p:nvSpPr>
            <p:spPr bwMode="auto">
              <a:xfrm>
                <a:off x="25071388" y="117475"/>
                <a:ext cx="2287588" cy="4313238"/>
              </a:xfrm>
              <a:custGeom>
                <a:avLst/>
                <a:gdLst>
                  <a:gd name="T0" fmla="*/ 2732 w 2881"/>
                  <a:gd name="T1" fmla="*/ 4699 h 5434"/>
                  <a:gd name="T2" fmla="*/ 2667 w 2881"/>
                  <a:gd name="T3" fmla="*/ 4451 h 5434"/>
                  <a:gd name="T4" fmla="*/ 2565 w 2881"/>
                  <a:gd name="T5" fmla="*/ 3864 h 5434"/>
                  <a:gd name="T6" fmla="*/ 2517 w 2881"/>
                  <a:gd name="T7" fmla="*/ 3487 h 5434"/>
                  <a:gd name="T8" fmla="*/ 2514 w 2881"/>
                  <a:gd name="T9" fmla="*/ 3144 h 5434"/>
                  <a:gd name="T10" fmla="*/ 2564 w 2881"/>
                  <a:gd name="T11" fmla="*/ 2600 h 5434"/>
                  <a:gd name="T12" fmla="*/ 2583 w 2881"/>
                  <a:gd name="T13" fmla="*/ 2318 h 5434"/>
                  <a:gd name="T14" fmla="*/ 2588 w 2881"/>
                  <a:gd name="T15" fmla="*/ 1593 h 5434"/>
                  <a:gd name="T16" fmla="*/ 2589 w 2881"/>
                  <a:gd name="T17" fmla="*/ 1215 h 5434"/>
                  <a:gd name="T18" fmla="*/ 2585 w 2881"/>
                  <a:gd name="T19" fmla="*/ 277 h 5434"/>
                  <a:gd name="T20" fmla="*/ 2206 w 2881"/>
                  <a:gd name="T21" fmla="*/ 66 h 5434"/>
                  <a:gd name="T22" fmla="*/ 1492 w 2881"/>
                  <a:gd name="T23" fmla="*/ 12 h 5434"/>
                  <a:gd name="T24" fmla="*/ 677 w 2881"/>
                  <a:gd name="T25" fmla="*/ 1 h 5434"/>
                  <a:gd name="T26" fmla="*/ 142 w 2881"/>
                  <a:gd name="T27" fmla="*/ 408 h 5434"/>
                  <a:gd name="T28" fmla="*/ 148 w 2881"/>
                  <a:gd name="T29" fmla="*/ 1452 h 5434"/>
                  <a:gd name="T30" fmla="*/ 205 w 2881"/>
                  <a:gd name="T31" fmla="*/ 2306 h 5434"/>
                  <a:gd name="T32" fmla="*/ 236 w 2881"/>
                  <a:gd name="T33" fmla="*/ 2963 h 5434"/>
                  <a:gd name="T34" fmla="*/ 217 w 2881"/>
                  <a:gd name="T35" fmla="*/ 3633 h 5434"/>
                  <a:gd name="T36" fmla="*/ 240 w 2881"/>
                  <a:gd name="T37" fmla="*/ 3854 h 5434"/>
                  <a:gd name="T38" fmla="*/ 376 w 2881"/>
                  <a:gd name="T39" fmla="*/ 3726 h 5434"/>
                  <a:gd name="T40" fmla="*/ 529 w 2881"/>
                  <a:gd name="T41" fmla="*/ 3632 h 5434"/>
                  <a:gd name="T42" fmla="*/ 696 w 2881"/>
                  <a:gd name="T43" fmla="*/ 3567 h 5434"/>
                  <a:gd name="T44" fmla="*/ 875 w 2881"/>
                  <a:gd name="T45" fmla="*/ 3528 h 5434"/>
                  <a:gd name="T46" fmla="*/ 1187 w 2881"/>
                  <a:gd name="T47" fmla="*/ 3508 h 5434"/>
                  <a:gd name="T48" fmla="*/ 1403 w 2881"/>
                  <a:gd name="T49" fmla="*/ 3520 h 5434"/>
                  <a:gd name="T50" fmla="*/ 1637 w 2881"/>
                  <a:gd name="T51" fmla="*/ 3556 h 5434"/>
                  <a:gd name="T52" fmla="*/ 1842 w 2881"/>
                  <a:gd name="T53" fmla="*/ 3641 h 5434"/>
                  <a:gd name="T54" fmla="*/ 2078 w 2881"/>
                  <a:gd name="T55" fmla="*/ 3769 h 5434"/>
                  <a:gd name="T56" fmla="*/ 2228 w 2881"/>
                  <a:gd name="T57" fmla="*/ 3887 h 5434"/>
                  <a:gd name="T58" fmla="*/ 2312 w 2881"/>
                  <a:gd name="T59" fmla="*/ 3991 h 5434"/>
                  <a:gd name="T60" fmla="*/ 2355 w 2881"/>
                  <a:gd name="T61" fmla="*/ 4089 h 5434"/>
                  <a:gd name="T62" fmla="*/ 2371 w 2881"/>
                  <a:gd name="T63" fmla="*/ 4164 h 5434"/>
                  <a:gd name="T64" fmla="*/ 2373 w 2881"/>
                  <a:gd name="T65" fmla="*/ 4168 h 5434"/>
                  <a:gd name="T66" fmla="*/ 2268 w 2881"/>
                  <a:gd name="T67" fmla="*/ 4084 h 5434"/>
                  <a:gd name="T68" fmla="*/ 2089 w 2881"/>
                  <a:gd name="T69" fmla="*/ 3968 h 5434"/>
                  <a:gd name="T70" fmla="*/ 1905 w 2881"/>
                  <a:gd name="T71" fmla="*/ 3874 h 5434"/>
                  <a:gd name="T72" fmla="*/ 1567 w 2881"/>
                  <a:gd name="T73" fmla="*/ 3755 h 5434"/>
                  <a:gd name="T74" fmla="*/ 1200 w 2881"/>
                  <a:gd name="T75" fmla="*/ 3696 h 5434"/>
                  <a:gd name="T76" fmla="*/ 866 w 2881"/>
                  <a:gd name="T77" fmla="*/ 3706 h 5434"/>
                  <a:gd name="T78" fmla="*/ 585 w 2881"/>
                  <a:gd name="T79" fmla="*/ 3776 h 5434"/>
                  <a:gd name="T80" fmla="*/ 451 w 2881"/>
                  <a:gd name="T81" fmla="*/ 3842 h 5434"/>
                  <a:gd name="T82" fmla="*/ 367 w 2881"/>
                  <a:gd name="T83" fmla="*/ 3910 h 5434"/>
                  <a:gd name="T84" fmla="*/ 293 w 2881"/>
                  <a:gd name="T85" fmla="*/ 4000 h 5434"/>
                  <a:gd name="T86" fmla="*/ 209 w 2881"/>
                  <a:gd name="T87" fmla="*/ 4132 h 5434"/>
                  <a:gd name="T88" fmla="*/ 95 w 2881"/>
                  <a:gd name="T89" fmla="*/ 4418 h 5434"/>
                  <a:gd name="T90" fmla="*/ 27 w 2881"/>
                  <a:gd name="T91" fmla="*/ 4716 h 5434"/>
                  <a:gd name="T92" fmla="*/ 0 w 2881"/>
                  <a:gd name="T93" fmla="*/ 4908 h 5434"/>
                  <a:gd name="T94" fmla="*/ 25 w 2881"/>
                  <a:gd name="T95" fmla="*/ 5079 h 5434"/>
                  <a:gd name="T96" fmla="*/ 75 w 2881"/>
                  <a:gd name="T97" fmla="*/ 5286 h 5434"/>
                  <a:gd name="T98" fmla="*/ 321 w 2881"/>
                  <a:gd name="T99" fmla="*/ 5405 h 5434"/>
                  <a:gd name="T100" fmla="*/ 1777 w 2881"/>
                  <a:gd name="T101" fmla="*/ 5434 h 5434"/>
                  <a:gd name="T102" fmla="*/ 2217 w 2881"/>
                  <a:gd name="T103" fmla="*/ 5424 h 5434"/>
                  <a:gd name="T104" fmla="*/ 2639 w 2881"/>
                  <a:gd name="T105" fmla="*/ 5379 h 5434"/>
                  <a:gd name="T106" fmla="*/ 2752 w 2881"/>
                  <a:gd name="T107" fmla="*/ 5338 h 5434"/>
                  <a:gd name="T108" fmla="*/ 2790 w 2881"/>
                  <a:gd name="T109" fmla="*/ 5279 h 5434"/>
                  <a:gd name="T110" fmla="*/ 2869 w 2881"/>
                  <a:gd name="T111" fmla="*/ 5196 h 5434"/>
                  <a:gd name="T112" fmla="*/ 2881 w 2881"/>
                  <a:gd name="T113" fmla="*/ 5099 h 5434"/>
                  <a:gd name="T114" fmla="*/ 2854 w 2881"/>
                  <a:gd name="T115" fmla="*/ 4767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1" h="5434">
                    <a:moveTo>
                      <a:pt x="2854" y="4767"/>
                    </a:moveTo>
                    <a:lnTo>
                      <a:pt x="2854" y="4767"/>
                    </a:lnTo>
                    <a:lnTo>
                      <a:pt x="2831" y="4755"/>
                    </a:lnTo>
                    <a:lnTo>
                      <a:pt x="2782" y="4726"/>
                    </a:lnTo>
                    <a:lnTo>
                      <a:pt x="2732" y="4699"/>
                    </a:lnTo>
                    <a:lnTo>
                      <a:pt x="2709" y="4686"/>
                    </a:lnTo>
                    <a:lnTo>
                      <a:pt x="2709" y="4686"/>
                    </a:lnTo>
                    <a:lnTo>
                      <a:pt x="2697" y="4608"/>
                    </a:lnTo>
                    <a:lnTo>
                      <a:pt x="2683" y="4530"/>
                    </a:lnTo>
                    <a:lnTo>
                      <a:pt x="2667" y="4451"/>
                    </a:lnTo>
                    <a:lnTo>
                      <a:pt x="2648" y="4371"/>
                    </a:lnTo>
                    <a:lnTo>
                      <a:pt x="2648" y="4371"/>
                    </a:lnTo>
                    <a:lnTo>
                      <a:pt x="2612" y="4168"/>
                    </a:lnTo>
                    <a:lnTo>
                      <a:pt x="2580" y="3965"/>
                    </a:lnTo>
                    <a:lnTo>
                      <a:pt x="2565" y="3864"/>
                    </a:lnTo>
                    <a:lnTo>
                      <a:pt x="2550" y="3762"/>
                    </a:lnTo>
                    <a:lnTo>
                      <a:pt x="2537" y="3660"/>
                    </a:lnTo>
                    <a:lnTo>
                      <a:pt x="2523" y="3558"/>
                    </a:lnTo>
                    <a:lnTo>
                      <a:pt x="2523" y="3558"/>
                    </a:lnTo>
                    <a:lnTo>
                      <a:pt x="2517" y="3487"/>
                    </a:lnTo>
                    <a:lnTo>
                      <a:pt x="2513" y="3417"/>
                    </a:lnTo>
                    <a:lnTo>
                      <a:pt x="2510" y="3347"/>
                    </a:lnTo>
                    <a:lnTo>
                      <a:pt x="2509" y="3278"/>
                    </a:lnTo>
                    <a:lnTo>
                      <a:pt x="2510" y="3211"/>
                    </a:lnTo>
                    <a:lnTo>
                      <a:pt x="2514" y="3144"/>
                    </a:lnTo>
                    <a:lnTo>
                      <a:pt x="2518" y="3076"/>
                    </a:lnTo>
                    <a:lnTo>
                      <a:pt x="2523" y="3009"/>
                    </a:lnTo>
                    <a:lnTo>
                      <a:pt x="2535" y="2875"/>
                    </a:lnTo>
                    <a:lnTo>
                      <a:pt x="2550" y="2739"/>
                    </a:lnTo>
                    <a:lnTo>
                      <a:pt x="2564" y="2600"/>
                    </a:lnTo>
                    <a:lnTo>
                      <a:pt x="2569" y="2529"/>
                    </a:lnTo>
                    <a:lnTo>
                      <a:pt x="2574" y="2458"/>
                    </a:lnTo>
                    <a:lnTo>
                      <a:pt x="2574" y="2458"/>
                    </a:lnTo>
                    <a:lnTo>
                      <a:pt x="2578" y="2388"/>
                    </a:lnTo>
                    <a:lnTo>
                      <a:pt x="2583" y="2318"/>
                    </a:lnTo>
                    <a:lnTo>
                      <a:pt x="2587" y="2177"/>
                    </a:lnTo>
                    <a:lnTo>
                      <a:pt x="2589" y="2032"/>
                    </a:lnTo>
                    <a:lnTo>
                      <a:pt x="2589" y="1885"/>
                    </a:lnTo>
                    <a:lnTo>
                      <a:pt x="2589" y="1740"/>
                    </a:lnTo>
                    <a:lnTo>
                      <a:pt x="2588" y="1593"/>
                    </a:lnTo>
                    <a:lnTo>
                      <a:pt x="2585" y="1308"/>
                    </a:lnTo>
                    <a:lnTo>
                      <a:pt x="2585" y="1308"/>
                    </a:lnTo>
                    <a:lnTo>
                      <a:pt x="2585" y="1373"/>
                    </a:lnTo>
                    <a:lnTo>
                      <a:pt x="2585" y="1373"/>
                    </a:lnTo>
                    <a:lnTo>
                      <a:pt x="2589" y="1215"/>
                    </a:lnTo>
                    <a:lnTo>
                      <a:pt x="2591" y="1059"/>
                    </a:lnTo>
                    <a:lnTo>
                      <a:pt x="2591" y="903"/>
                    </a:lnTo>
                    <a:lnTo>
                      <a:pt x="2589" y="746"/>
                    </a:lnTo>
                    <a:lnTo>
                      <a:pt x="2587" y="433"/>
                    </a:lnTo>
                    <a:lnTo>
                      <a:pt x="2585" y="277"/>
                    </a:lnTo>
                    <a:lnTo>
                      <a:pt x="2585" y="119"/>
                    </a:lnTo>
                    <a:lnTo>
                      <a:pt x="2585" y="119"/>
                    </a:lnTo>
                    <a:lnTo>
                      <a:pt x="2463" y="101"/>
                    </a:lnTo>
                    <a:lnTo>
                      <a:pt x="2336" y="82"/>
                    </a:lnTo>
                    <a:lnTo>
                      <a:pt x="2206" y="66"/>
                    </a:lnTo>
                    <a:lnTo>
                      <a:pt x="2072" y="52"/>
                    </a:lnTo>
                    <a:lnTo>
                      <a:pt x="1933" y="39"/>
                    </a:lnTo>
                    <a:lnTo>
                      <a:pt x="1791" y="28"/>
                    </a:lnTo>
                    <a:lnTo>
                      <a:pt x="1643" y="19"/>
                    </a:lnTo>
                    <a:lnTo>
                      <a:pt x="1492" y="12"/>
                    </a:lnTo>
                    <a:lnTo>
                      <a:pt x="1337" y="6"/>
                    </a:lnTo>
                    <a:lnTo>
                      <a:pt x="1177" y="2"/>
                    </a:lnTo>
                    <a:lnTo>
                      <a:pt x="1015" y="1"/>
                    </a:lnTo>
                    <a:lnTo>
                      <a:pt x="848" y="0"/>
                    </a:lnTo>
                    <a:lnTo>
                      <a:pt x="677" y="1"/>
                    </a:lnTo>
                    <a:lnTo>
                      <a:pt x="503" y="5"/>
                    </a:lnTo>
                    <a:lnTo>
                      <a:pt x="324" y="10"/>
                    </a:lnTo>
                    <a:lnTo>
                      <a:pt x="142" y="17"/>
                    </a:lnTo>
                    <a:lnTo>
                      <a:pt x="142" y="17"/>
                    </a:lnTo>
                    <a:lnTo>
                      <a:pt x="142" y="408"/>
                    </a:lnTo>
                    <a:lnTo>
                      <a:pt x="142" y="408"/>
                    </a:lnTo>
                    <a:lnTo>
                      <a:pt x="142" y="1151"/>
                    </a:lnTo>
                    <a:lnTo>
                      <a:pt x="142" y="1151"/>
                    </a:lnTo>
                    <a:lnTo>
                      <a:pt x="144" y="1301"/>
                    </a:lnTo>
                    <a:lnTo>
                      <a:pt x="148" y="1452"/>
                    </a:lnTo>
                    <a:lnTo>
                      <a:pt x="154" y="1601"/>
                    </a:lnTo>
                    <a:lnTo>
                      <a:pt x="165" y="1752"/>
                    </a:lnTo>
                    <a:lnTo>
                      <a:pt x="165" y="1752"/>
                    </a:lnTo>
                    <a:lnTo>
                      <a:pt x="187" y="2033"/>
                    </a:lnTo>
                    <a:lnTo>
                      <a:pt x="205" y="2306"/>
                    </a:lnTo>
                    <a:lnTo>
                      <a:pt x="215" y="2439"/>
                    </a:lnTo>
                    <a:lnTo>
                      <a:pt x="223" y="2571"/>
                    </a:lnTo>
                    <a:lnTo>
                      <a:pt x="228" y="2703"/>
                    </a:lnTo>
                    <a:lnTo>
                      <a:pt x="234" y="2833"/>
                    </a:lnTo>
                    <a:lnTo>
                      <a:pt x="236" y="2963"/>
                    </a:lnTo>
                    <a:lnTo>
                      <a:pt x="238" y="3095"/>
                    </a:lnTo>
                    <a:lnTo>
                      <a:pt x="236" y="3227"/>
                    </a:lnTo>
                    <a:lnTo>
                      <a:pt x="234" y="3361"/>
                    </a:lnTo>
                    <a:lnTo>
                      <a:pt x="227" y="3496"/>
                    </a:lnTo>
                    <a:lnTo>
                      <a:pt x="217" y="3633"/>
                    </a:lnTo>
                    <a:lnTo>
                      <a:pt x="205" y="3773"/>
                    </a:lnTo>
                    <a:lnTo>
                      <a:pt x="189" y="3916"/>
                    </a:lnTo>
                    <a:lnTo>
                      <a:pt x="189" y="3916"/>
                    </a:lnTo>
                    <a:lnTo>
                      <a:pt x="215" y="3883"/>
                    </a:lnTo>
                    <a:lnTo>
                      <a:pt x="240" y="3854"/>
                    </a:lnTo>
                    <a:lnTo>
                      <a:pt x="266" y="3825"/>
                    </a:lnTo>
                    <a:lnTo>
                      <a:pt x="293" y="3799"/>
                    </a:lnTo>
                    <a:lnTo>
                      <a:pt x="320" y="3773"/>
                    </a:lnTo>
                    <a:lnTo>
                      <a:pt x="348" y="3749"/>
                    </a:lnTo>
                    <a:lnTo>
                      <a:pt x="376" y="3726"/>
                    </a:lnTo>
                    <a:lnTo>
                      <a:pt x="406" y="3704"/>
                    </a:lnTo>
                    <a:lnTo>
                      <a:pt x="435" y="3684"/>
                    </a:lnTo>
                    <a:lnTo>
                      <a:pt x="466" y="3665"/>
                    </a:lnTo>
                    <a:lnTo>
                      <a:pt x="497" y="3648"/>
                    </a:lnTo>
                    <a:lnTo>
                      <a:pt x="529" y="3632"/>
                    </a:lnTo>
                    <a:lnTo>
                      <a:pt x="562" y="3617"/>
                    </a:lnTo>
                    <a:lnTo>
                      <a:pt x="594" y="3602"/>
                    </a:lnTo>
                    <a:lnTo>
                      <a:pt x="628" y="3590"/>
                    </a:lnTo>
                    <a:lnTo>
                      <a:pt x="661" y="3578"/>
                    </a:lnTo>
                    <a:lnTo>
                      <a:pt x="696" y="3567"/>
                    </a:lnTo>
                    <a:lnTo>
                      <a:pt x="731" y="3558"/>
                    </a:lnTo>
                    <a:lnTo>
                      <a:pt x="766" y="3548"/>
                    </a:lnTo>
                    <a:lnTo>
                      <a:pt x="802" y="3540"/>
                    </a:lnTo>
                    <a:lnTo>
                      <a:pt x="839" y="3534"/>
                    </a:lnTo>
                    <a:lnTo>
                      <a:pt x="875" y="3528"/>
                    </a:lnTo>
                    <a:lnTo>
                      <a:pt x="913" y="3523"/>
                    </a:lnTo>
                    <a:lnTo>
                      <a:pt x="952" y="3519"/>
                    </a:lnTo>
                    <a:lnTo>
                      <a:pt x="1028" y="3512"/>
                    </a:lnTo>
                    <a:lnTo>
                      <a:pt x="1108" y="3509"/>
                    </a:lnTo>
                    <a:lnTo>
                      <a:pt x="1187" y="3508"/>
                    </a:lnTo>
                    <a:lnTo>
                      <a:pt x="1270" y="3509"/>
                    </a:lnTo>
                    <a:lnTo>
                      <a:pt x="1270" y="3509"/>
                    </a:lnTo>
                    <a:lnTo>
                      <a:pt x="1304" y="3512"/>
                    </a:lnTo>
                    <a:lnTo>
                      <a:pt x="1350" y="3515"/>
                    </a:lnTo>
                    <a:lnTo>
                      <a:pt x="1403" y="3520"/>
                    </a:lnTo>
                    <a:lnTo>
                      <a:pt x="1463" y="3527"/>
                    </a:lnTo>
                    <a:lnTo>
                      <a:pt x="1520" y="3535"/>
                    </a:lnTo>
                    <a:lnTo>
                      <a:pt x="1574" y="3543"/>
                    </a:lnTo>
                    <a:lnTo>
                      <a:pt x="1618" y="3552"/>
                    </a:lnTo>
                    <a:lnTo>
                      <a:pt x="1637" y="3556"/>
                    </a:lnTo>
                    <a:lnTo>
                      <a:pt x="1651" y="3562"/>
                    </a:lnTo>
                    <a:lnTo>
                      <a:pt x="1651" y="3562"/>
                    </a:lnTo>
                    <a:lnTo>
                      <a:pt x="1719" y="3589"/>
                    </a:lnTo>
                    <a:lnTo>
                      <a:pt x="1783" y="3616"/>
                    </a:lnTo>
                    <a:lnTo>
                      <a:pt x="1842" y="3641"/>
                    </a:lnTo>
                    <a:lnTo>
                      <a:pt x="1897" y="3668"/>
                    </a:lnTo>
                    <a:lnTo>
                      <a:pt x="1948" y="3694"/>
                    </a:lnTo>
                    <a:lnTo>
                      <a:pt x="1995" y="3719"/>
                    </a:lnTo>
                    <a:lnTo>
                      <a:pt x="2038" y="3745"/>
                    </a:lnTo>
                    <a:lnTo>
                      <a:pt x="2078" y="3769"/>
                    </a:lnTo>
                    <a:lnTo>
                      <a:pt x="2115" y="3793"/>
                    </a:lnTo>
                    <a:lnTo>
                      <a:pt x="2147" y="3817"/>
                    </a:lnTo>
                    <a:lnTo>
                      <a:pt x="2176" y="3842"/>
                    </a:lnTo>
                    <a:lnTo>
                      <a:pt x="2203" y="3864"/>
                    </a:lnTo>
                    <a:lnTo>
                      <a:pt x="2228" y="3887"/>
                    </a:lnTo>
                    <a:lnTo>
                      <a:pt x="2249" y="3909"/>
                    </a:lnTo>
                    <a:lnTo>
                      <a:pt x="2268" y="3930"/>
                    </a:lnTo>
                    <a:lnTo>
                      <a:pt x="2285" y="3950"/>
                    </a:lnTo>
                    <a:lnTo>
                      <a:pt x="2300" y="3971"/>
                    </a:lnTo>
                    <a:lnTo>
                      <a:pt x="2312" y="3991"/>
                    </a:lnTo>
                    <a:lnTo>
                      <a:pt x="2323" y="4008"/>
                    </a:lnTo>
                    <a:lnTo>
                      <a:pt x="2332" y="4027"/>
                    </a:lnTo>
                    <a:lnTo>
                      <a:pt x="2340" y="4043"/>
                    </a:lnTo>
                    <a:lnTo>
                      <a:pt x="2346" y="4059"/>
                    </a:lnTo>
                    <a:lnTo>
                      <a:pt x="2355" y="4089"/>
                    </a:lnTo>
                    <a:lnTo>
                      <a:pt x="2362" y="4115"/>
                    </a:lnTo>
                    <a:lnTo>
                      <a:pt x="2365" y="4136"/>
                    </a:lnTo>
                    <a:lnTo>
                      <a:pt x="2367" y="4152"/>
                    </a:lnTo>
                    <a:lnTo>
                      <a:pt x="2371" y="4164"/>
                    </a:lnTo>
                    <a:lnTo>
                      <a:pt x="2371" y="4164"/>
                    </a:lnTo>
                    <a:lnTo>
                      <a:pt x="2385" y="4174"/>
                    </a:lnTo>
                    <a:lnTo>
                      <a:pt x="2385" y="4174"/>
                    </a:lnTo>
                    <a:lnTo>
                      <a:pt x="2379" y="4174"/>
                    </a:lnTo>
                    <a:lnTo>
                      <a:pt x="2377" y="4172"/>
                    </a:lnTo>
                    <a:lnTo>
                      <a:pt x="2373" y="4168"/>
                    </a:lnTo>
                    <a:lnTo>
                      <a:pt x="2371" y="4164"/>
                    </a:lnTo>
                    <a:lnTo>
                      <a:pt x="2371" y="4164"/>
                    </a:lnTo>
                    <a:lnTo>
                      <a:pt x="2336" y="4137"/>
                    </a:lnTo>
                    <a:lnTo>
                      <a:pt x="2303" y="4110"/>
                    </a:lnTo>
                    <a:lnTo>
                      <a:pt x="2268" y="4084"/>
                    </a:lnTo>
                    <a:lnTo>
                      <a:pt x="2233" y="4059"/>
                    </a:lnTo>
                    <a:lnTo>
                      <a:pt x="2198" y="4035"/>
                    </a:lnTo>
                    <a:lnTo>
                      <a:pt x="2162" y="4011"/>
                    </a:lnTo>
                    <a:lnTo>
                      <a:pt x="2125" y="3989"/>
                    </a:lnTo>
                    <a:lnTo>
                      <a:pt x="2089" y="3968"/>
                    </a:lnTo>
                    <a:lnTo>
                      <a:pt x="2053" y="3948"/>
                    </a:lnTo>
                    <a:lnTo>
                      <a:pt x="2016" y="3928"/>
                    </a:lnTo>
                    <a:lnTo>
                      <a:pt x="1979" y="3909"/>
                    </a:lnTo>
                    <a:lnTo>
                      <a:pt x="1943" y="3891"/>
                    </a:lnTo>
                    <a:lnTo>
                      <a:pt x="1905" y="3874"/>
                    </a:lnTo>
                    <a:lnTo>
                      <a:pt x="1867" y="3858"/>
                    </a:lnTo>
                    <a:lnTo>
                      <a:pt x="1793" y="3827"/>
                    </a:lnTo>
                    <a:lnTo>
                      <a:pt x="1718" y="3800"/>
                    </a:lnTo>
                    <a:lnTo>
                      <a:pt x="1643" y="3777"/>
                    </a:lnTo>
                    <a:lnTo>
                      <a:pt x="1567" y="3755"/>
                    </a:lnTo>
                    <a:lnTo>
                      <a:pt x="1492" y="3738"/>
                    </a:lnTo>
                    <a:lnTo>
                      <a:pt x="1418" y="3723"/>
                    </a:lnTo>
                    <a:lnTo>
                      <a:pt x="1344" y="3712"/>
                    </a:lnTo>
                    <a:lnTo>
                      <a:pt x="1272" y="3703"/>
                    </a:lnTo>
                    <a:lnTo>
                      <a:pt x="1200" y="3696"/>
                    </a:lnTo>
                    <a:lnTo>
                      <a:pt x="1130" y="3694"/>
                    </a:lnTo>
                    <a:lnTo>
                      <a:pt x="1062" y="3692"/>
                    </a:lnTo>
                    <a:lnTo>
                      <a:pt x="995" y="3695"/>
                    </a:lnTo>
                    <a:lnTo>
                      <a:pt x="929" y="3699"/>
                    </a:lnTo>
                    <a:lnTo>
                      <a:pt x="866" y="3706"/>
                    </a:lnTo>
                    <a:lnTo>
                      <a:pt x="804" y="3715"/>
                    </a:lnTo>
                    <a:lnTo>
                      <a:pt x="746" y="3727"/>
                    </a:lnTo>
                    <a:lnTo>
                      <a:pt x="689" y="3741"/>
                    </a:lnTo>
                    <a:lnTo>
                      <a:pt x="636" y="3757"/>
                    </a:lnTo>
                    <a:lnTo>
                      <a:pt x="585" y="3776"/>
                    </a:lnTo>
                    <a:lnTo>
                      <a:pt x="537" y="3796"/>
                    </a:lnTo>
                    <a:lnTo>
                      <a:pt x="515" y="3807"/>
                    </a:lnTo>
                    <a:lnTo>
                      <a:pt x="493" y="3817"/>
                    </a:lnTo>
                    <a:lnTo>
                      <a:pt x="472" y="3829"/>
                    </a:lnTo>
                    <a:lnTo>
                      <a:pt x="451" y="3842"/>
                    </a:lnTo>
                    <a:lnTo>
                      <a:pt x="433" y="3855"/>
                    </a:lnTo>
                    <a:lnTo>
                      <a:pt x="415" y="3868"/>
                    </a:lnTo>
                    <a:lnTo>
                      <a:pt x="398" y="3882"/>
                    </a:lnTo>
                    <a:lnTo>
                      <a:pt x="381" y="3897"/>
                    </a:lnTo>
                    <a:lnTo>
                      <a:pt x="367" y="3910"/>
                    </a:lnTo>
                    <a:lnTo>
                      <a:pt x="352" y="3926"/>
                    </a:lnTo>
                    <a:lnTo>
                      <a:pt x="352" y="3926"/>
                    </a:lnTo>
                    <a:lnTo>
                      <a:pt x="332" y="3950"/>
                    </a:lnTo>
                    <a:lnTo>
                      <a:pt x="312" y="3975"/>
                    </a:lnTo>
                    <a:lnTo>
                      <a:pt x="293" y="4000"/>
                    </a:lnTo>
                    <a:lnTo>
                      <a:pt x="274" y="4026"/>
                    </a:lnTo>
                    <a:lnTo>
                      <a:pt x="256" y="4051"/>
                    </a:lnTo>
                    <a:lnTo>
                      <a:pt x="240" y="4078"/>
                    </a:lnTo>
                    <a:lnTo>
                      <a:pt x="224" y="4105"/>
                    </a:lnTo>
                    <a:lnTo>
                      <a:pt x="209" y="4132"/>
                    </a:lnTo>
                    <a:lnTo>
                      <a:pt x="181" y="4188"/>
                    </a:lnTo>
                    <a:lnTo>
                      <a:pt x="156" y="4245"/>
                    </a:lnTo>
                    <a:lnTo>
                      <a:pt x="134" y="4301"/>
                    </a:lnTo>
                    <a:lnTo>
                      <a:pt x="114" y="4361"/>
                    </a:lnTo>
                    <a:lnTo>
                      <a:pt x="95" y="4418"/>
                    </a:lnTo>
                    <a:lnTo>
                      <a:pt x="79" y="4478"/>
                    </a:lnTo>
                    <a:lnTo>
                      <a:pt x="64" y="4538"/>
                    </a:lnTo>
                    <a:lnTo>
                      <a:pt x="51" y="4597"/>
                    </a:lnTo>
                    <a:lnTo>
                      <a:pt x="39" y="4656"/>
                    </a:lnTo>
                    <a:lnTo>
                      <a:pt x="27" y="4716"/>
                    </a:lnTo>
                    <a:lnTo>
                      <a:pt x="6" y="4833"/>
                    </a:lnTo>
                    <a:lnTo>
                      <a:pt x="6" y="4833"/>
                    </a:lnTo>
                    <a:lnTo>
                      <a:pt x="2" y="4851"/>
                    </a:lnTo>
                    <a:lnTo>
                      <a:pt x="1" y="4870"/>
                    </a:lnTo>
                    <a:lnTo>
                      <a:pt x="0" y="4908"/>
                    </a:lnTo>
                    <a:lnTo>
                      <a:pt x="1" y="4943"/>
                    </a:lnTo>
                    <a:lnTo>
                      <a:pt x="4" y="4978"/>
                    </a:lnTo>
                    <a:lnTo>
                      <a:pt x="10" y="5011"/>
                    </a:lnTo>
                    <a:lnTo>
                      <a:pt x="17" y="5045"/>
                    </a:lnTo>
                    <a:lnTo>
                      <a:pt x="25" y="5079"/>
                    </a:lnTo>
                    <a:lnTo>
                      <a:pt x="35" y="5112"/>
                    </a:lnTo>
                    <a:lnTo>
                      <a:pt x="53" y="5180"/>
                    </a:lnTo>
                    <a:lnTo>
                      <a:pt x="61" y="5215"/>
                    </a:lnTo>
                    <a:lnTo>
                      <a:pt x="68" y="5249"/>
                    </a:lnTo>
                    <a:lnTo>
                      <a:pt x="75" y="5286"/>
                    </a:lnTo>
                    <a:lnTo>
                      <a:pt x="79" y="5322"/>
                    </a:lnTo>
                    <a:lnTo>
                      <a:pt x="80" y="5361"/>
                    </a:lnTo>
                    <a:lnTo>
                      <a:pt x="80" y="5401"/>
                    </a:lnTo>
                    <a:lnTo>
                      <a:pt x="80" y="5401"/>
                    </a:lnTo>
                    <a:lnTo>
                      <a:pt x="321" y="5405"/>
                    </a:lnTo>
                    <a:lnTo>
                      <a:pt x="580" y="5412"/>
                    </a:lnTo>
                    <a:lnTo>
                      <a:pt x="1126" y="5424"/>
                    </a:lnTo>
                    <a:lnTo>
                      <a:pt x="1397" y="5430"/>
                    </a:lnTo>
                    <a:lnTo>
                      <a:pt x="1655" y="5434"/>
                    </a:lnTo>
                    <a:lnTo>
                      <a:pt x="1777" y="5434"/>
                    </a:lnTo>
                    <a:lnTo>
                      <a:pt x="1894" y="5434"/>
                    </a:lnTo>
                    <a:lnTo>
                      <a:pt x="2004" y="5432"/>
                    </a:lnTo>
                    <a:lnTo>
                      <a:pt x="2105" y="5430"/>
                    </a:lnTo>
                    <a:lnTo>
                      <a:pt x="2105" y="5430"/>
                    </a:lnTo>
                    <a:lnTo>
                      <a:pt x="2217" y="5424"/>
                    </a:lnTo>
                    <a:lnTo>
                      <a:pt x="2319" y="5419"/>
                    </a:lnTo>
                    <a:lnTo>
                      <a:pt x="2412" y="5411"/>
                    </a:lnTo>
                    <a:lnTo>
                      <a:pt x="2495" y="5401"/>
                    </a:lnTo>
                    <a:lnTo>
                      <a:pt x="2570" y="5391"/>
                    </a:lnTo>
                    <a:lnTo>
                      <a:pt x="2639" y="5379"/>
                    </a:lnTo>
                    <a:lnTo>
                      <a:pt x="2699" y="5366"/>
                    </a:lnTo>
                    <a:lnTo>
                      <a:pt x="2752" y="5353"/>
                    </a:lnTo>
                    <a:lnTo>
                      <a:pt x="2752" y="5353"/>
                    </a:lnTo>
                    <a:lnTo>
                      <a:pt x="2752" y="5345"/>
                    </a:lnTo>
                    <a:lnTo>
                      <a:pt x="2752" y="5338"/>
                    </a:lnTo>
                    <a:lnTo>
                      <a:pt x="2756" y="5325"/>
                    </a:lnTo>
                    <a:lnTo>
                      <a:pt x="2761" y="5313"/>
                    </a:lnTo>
                    <a:lnTo>
                      <a:pt x="2769" y="5301"/>
                    </a:lnTo>
                    <a:lnTo>
                      <a:pt x="2779" y="5290"/>
                    </a:lnTo>
                    <a:lnTo>
                      <a:pt x="2790" y="5279"/>
                    </a:lnTo>
                    <a:lnTo>
                      <a:pt x="2814" y="5259"/>
                    </a:lnTo>
                    <a:lnTo>
                      <a:pt x="2838" y="5236"/>
                    </a:lnTo>
                    <a:lnTo>
                      <a:pt x="2850" y="5224"/>
                    </a:lnTo>
                    <a:lnTo>
                      <a:pt x="2859" y="5210"/>
                    </a:lnTo>
                    <a:lnTo>
                      <a:pt x="2869" y="5196"/>
                    </a:lnTo>
                    <a:lnTo>
                      <a:pt x="2876" y="5181"/>
                    </a:lnTo>
                    <a:lnTo>
                      <a:pt x="2880" y="5162"/>
                    </a:lnTo>
                    <a:lnTo>
                      <a:pt x="2881" y="5143"/>
                    </a:lnTo>
                    <a:lnTo>
                      <a:pt x="2881" y="5143"/>
                    </a:lnTo>
                    <a:lnTo>
                      <a:pt x="2881" y="5099"/>
                    </a:lnTo>
                    <a:lnTo>
                      <a:pt x="2880" y="5053"/>
                    </a:lnTo>
                    <a:lnTo>
                      <a:pt x="2877" y="5007"/>
                    </a:lnTo>
                    <a:lnTo>
                      <a:pt x="2874" y="4960"/>
                    </a:lnTo>
                    <a:lnTo>
                      <a:pt x="2866" y="4865"/>
                    </a:lnTo>
                    <a:lnTo>
                      <a:pt x="2854" y="4767"/>
                    </a:lnTo>
                    <a:lnTo>
                      <a:pt x="2854" y="4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73" name="Group 372"/>
            <p:cNvGrpSpPr>
              <a:grpSpLocks noChangeAspect="1"/>
            </p:cNvGrpSpPr>
            <p:nvPr/>
          </p:nvGrpSpPr>
          <p:grpSpPr>
            <a:xfrm>
              <a:off x="7237856" y="1979866"/>
              <a:ext cx="396404" cy="524251"/>
              <a:chOff x="22634575" y="-784225"/>
              <a:chExt cx="4724401" cy="5680075"/>
            </a:xfrm>
            <a:solidFill>
              <a:srgbClr val="008DB5"/>
            </a:solidFill>
          </p:grpSpPr>
          <p:sp>
            <p:nvSpPr>
              <p:cNvPr id="374" name="Freeform 164"/>
              <p:cNvSpPr>
                <a:spLocks/>
              </p:cNvSpPr>
              <p:nvPr/>
            </p:nvSpPr>
            <p:spPr bwMode="auto">
              <a:xfrm>
                <a:off x="22720300" y="4505325"/>
                <a:ext cx="2135188" cy="390525"/>
              </a:xfrm>
              <a:custGeom>
                <a:avLst/>
                <a:gdLst>
                  <a:gd name="T0" fmla="*/ 1386 w 2689"/>
                  <a:gd name="T1" fmla="*/ 472 h 492"/>
                  <a:gd name="T2" fmla="*/ 1838 w 2689"/>
                  <a:gd name="T3" fmla="*/ 470 h 492"/>
                  <a:gd name="T4" fmla="*/ 2150 w 2689"/>
                  <a:gd name="T5" fmla="*/ 464 h 492"/>
                  <a:gd name="T6" fmla="*/ 2293 w 2689"/>
                  <a:gd name="T7" fmla="*/ 458 h 492"/>
                  <a:gd name="T8" fmla="*/ 2422 w 2689"/>
                  <a:gd name="T9" fmla="*/ 449 h 492"/>
                  <a:gd name="T10" fmla="*/ 2533 w 2689"/>
                  <a:gd name="T11" fmla="*/ 436 h 492"/>
                  <a:gd name="T12" fmla="*/ 2543 w 2689"/>
                  <a:gd name="T13" fmla="*/ 433 h 492"/>
                  <a:gd name="T14" fmla="*/ 2565 w 2689"/>
                  <a:gd name="T15" fmla="*/ 426 h 492"/>
                  <a:gd name="T16" fmla="*/ 2584 w 2689"/>
                  <a:gd name="T17" fmla="*/ 417 h 492"/>
                  <a:gd name="T18" fmla="*/ 2600 w 2689"/>
                  <a:gd name="T19" fmla="*/ 405 h 492"/>
                  <a:gd name="T20" fmla="*/ 2623 w 2689"/>
                  <a:gd name="T21" fmla="*/ 380 h 492"/>
                  <a:gd name="T22" fmla="*/ 2646 w 2689"/>
                  <a:gd name="T23" fmla="*/ 339 h 492"/>
                  <a:gd name="T24" fmla="*/ 2665 w 2689"/>
                  <a:gd name="T25" fmla="*/ 288 h 492"/>
                  <a:gd name="T26" fmla="*/ 2677 w 2689"/>
                  <a:gd name="T27" fmla="*/ 228 h 492"/>
                  <a:gd name="T28" fmla="*/ 2685 w 2689"/>
                  <a:gd name="T29" fmla="*/ 161 h 492"/>
                  <a:gd name="T30" fmla="*/ 2689 w 2689"/>
                  <a:gd name="T31" fmla="*/ 89 h 492"/>
                  <a:gd name="T32" fmla="*/ 2689 w 2689"/>
                  <a:gd name="T33" fmla="*/ 51 h 492"/>
                  <a:gd name="T34" fmla="*/ 2187 w 2689"/>
                  <a:gd name="T35" fmla="*/ 60 h 492"/>
                  <a:gd name="T36" fmla="*/ 1368 w 2689"/>
                  <a:gd name="T37" fmla="*/ 79 h 492"/>
                  <a:gd name="T38" fmla="*/ 987 w 2689"/>
                  <a:gd name="T39" fmla="*/ 83 h 492"/>
                  <a:gd name="T40" fmla="*/ 759 w 2689"/>
                  <a:gd name="T41" fmla="*/ 81 h 492"/>
                  <a:gd name="T42" fmla="*/ 657 w 2689"/>
                  <a:gd name="T43" fmla="*/ 78 h 492"/>
                  <a:gd name="T44" fmla="*/ 438 w 2689"/>
                  <a:gd name="T45" fmla="*/ 67 h 492"/>
                  <a:gd name="T46" fmla="*/ 259 w 2689"/>
                  <a:gd name="T47" fmla="*/ 50 h 492"/>
                  <a:gd name="T48" fmla="*/ 114 w 2689"/>
                  <a:gd name="T49" fmla="*/ 27 h 492"/>
                  <a:gd name="T50" fmla="*/ 0 w 2689"/>
                  <a:gd name="T51" fmla="*/ 0 h 492"/>
                  <a:gd name="T52" fmla="*/ 0 w 2689"/>
                  <a:gd name="T53" fmla="*/ 35 h 492"/>
                  <a:gd name="T54" fmla="*/ 4 w 2689"/>
                  <a:gd name="T55" fmla="*/ 107 h 492"/>
                  <a:gd name="T56" fmla="*/ 16 w 2689"/>
                  <a:gd name="T57" fmla="*/ 181 h 492"/>
                  <a:gd name="T58" fmla="*/ 39 w 2689"/>
                  <a:gd name="T59" fmla="*/ 257 h 492"/>
                  <a:gd name="T60" fmla="*/ 53 w 2689"/>
                  <a:gd name="T61" fmla="*/ 297 h 492"/>
                  <a:gd name="T62" fmla="*/ 66 w 2689"/>
                  <a:gd name="T63" fmla="*/ 323 h 492"/>
                  <a:gd name="T64" fmla="*/ 82 w 2689"/>
                  <a:gd name="T65" fmla="*/ 345 h 492"/>
                  <a:gd name="T66" fmla="*/ 102 w 2689"/>
                  <a:gd name="T67" fmla="*/ 367 h 492"/>
                  <a:gd name="T68" fmla="*/ 125 w 2689"/>
                  <a:gd name="T69" fmla="*/ 386 h 492"/>
                  <a:gd name="T70" fmla="*/ 150 w 2689"/>
                  <a:gd name="T71" fmla="*/ 403 h 492"/>
                  <a:gd name="T72" fmla="*/ 211 w 2689"/>
                  <a:gd name="T73" fmla="*/ 431 h 492"/>
                  <a:gd name="T74" fmla="*/ 282 w 2689"/>
                  <a:gd name="T75" fmla="*/ 454 h 492"/>
                  <a:gd name="T76" fmla="*/ 361 w 2689"/>
                  <a:gd name="T77" fmla="*/ 470 h 492"/>
                  <a:gd name="T78" fmla="*/ 449 w 2689"/>
                  <a:gd name="T79" fmla="*/ 481 h 492"/>
                  <a:gd name="T80" fmla="*/ 541 w 2689"/>
                  <a:gd name="T81" fmla="*/ 488 h 492"/>
                  <a:gd name="T82" fmla="*/ 691 w 2689"/>
                  <a:gd name="T83" fmla="*/ 492 h 492"/>
                  <a:gd name="T84" fmla="*/ 896 w 2689"/>
                  <a:gd name="T85" fmla="*/ 488 h 492"/>
                  <a:gd name="T86" fmla="*/ 1202 w 2689"/>
                  <a:gd name="T87" fmla="*/ 476 h 492"/>
                  <a:gd name="T88" fmla="*/ 1386 w 2689"/>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89" h="492">
                    <a:moveTo>
                      <a:pt x="1386" y="472"/>
                    </a:moveTo>
                    <a:lnTo>
                      <a:pt x="1386" y="472"/>
                    </a:lnTo>
                    <a:lnTo>
                      <a:pt x="1680" y="472"/>
                    </a:lnTo>
                    <a:lnTo>
                      <a:pt x="1838" y="470"/>
                    </a:lnTo>
                    <a:lnTo>
                      <a:pt x="1996" y="468"/>
                    </a:lnTo>
                    <a:lnTo>
                      <a:pt x="2150" y="464"/>
                    </a:lnTo>
                    <a:lnTo>
                      <a:pt x="2223" y="461"/>
                    </a:lnTo>
                    <a:lnTo>
                      <a:pt x="2293" y="458"/>
                    </a:lnTo>
                    <a:lnTo>
                      <a:pt x="2361" y="453"/>
                    </a:lnTo>
                    <a:lnTo>
                      <a:pt x="2422" y="449"/>
                    </a:lnTo>
                    <a:lnTo>
                      <a:pt x="2480" y="442"/>
                    </a:lnTo>
                    <a:lnTo>
                      <a:pt x="2533" y="436"/>
                    </a:lnTo>
                    <a:lnTo>
                      <a:pt x="2533" y="436"/>
                    </a:lnTo>
                    <a:lnTo>
                      <a:pt x="2543" y="433"/>
                    </a:lnTo>
                    <a:lnTo>
                      <a:pt x="2554" y="430"/>
                    </a:lnTo>
                    <a:lnTo>
                      <a:pt x="2565" y="426"/>
                    </a:lnTo>
                    <a:lnTo>
                      <a:pt x="2574" y="422"/>
                    </a:lnTo>
                    <a:lnTo>
                      <a:pt x="2584" y="417"/>
                    </a:lnTo>
                    <a:lnTo>
                      <a:pt x="2592" y="411"/>
                    </a:lnTo>
                    <a:lnTo>
                      <a:pt x="2600" y="405"/>
                    </a:lnTo>
                    <a:lnTo>
                      <a:pt x="2608" y="397"/>
                    </a:lnTo>
                    <a:lnTo>
                      <a:pt x="2623" y="380"/>
                    </a:lnTo>
                    <a:lnTo>
                      <a:pt x="2635" y="360"/>
                    </a:lnTo>
                    <a:lnTo>
                      <a:pt x="2646" y="339"/>
                    </a:lnTo>
                    <a:lnTo>
                      <a:pt x="2656" y="314"/>
                    </a:lnTo>
                    <a:lnTo>
                      <a:pt x="2665" y="288"/>
                    </a:lnTo>
                    <a:lnTo>
                      <a:pt x="2671" y="259"/>
                    </a:lnTo>
                    <a:lnTo>
                      <a:pt x="2677" y="228"/>
                    </a:lnTo>
                    <a:lnTo>
                      <a:pt x="2681" y="196"/>
                    </a:lnTo>
                    <a:lnTo>
                      <a:pt x="2685" y="161"/>
                    </a:lnTo>
                    <a:lnTo>
                      <a:pt x="2687" y="126"/>
                    </a:lnTo>
                    <a:lnTo>
                      <a:pt x="2689" y="89"/>
                    </a:lnTo>
                    <a:lnTo>
                      <a:pt x="2689" y="51"/>
                    </a:lnTo>
                    <a:lnTo>
                      <a:pt x="2689" y="51"/>
                    </a:lnTo>
                    <a:lnTo>
                      <a:pt x="2448" y="55"/>
                    </a:lnTo>
                    <a:lnTo>
                      <a:pt x="2187" y="60"/>
                    </a:lnTo>
                    <a:lnTo>
                      <a:pt x="1640" y="74"/>
                    </a:lnTo>
                    <a:lnTo>
                      <a:pt x="1368" y="79"/>
                    </a:lnTo>
                    <a:lnTo>
                      <a:pt x="1109" y="82"/>
                    </a:lnTo>
                    <a:lnTo>
                      <a:pt x="987" y="83"/>
                    </a:lnTo>
                    <a:lnTo>
                      <a:pt x="870" y="82"/>
                    </a:lnTo>
                    <a:lnTo>
                      <a:pt x="759" y="81"/>
                    </a:lnTo>
                    <a:lnTo>
                      <a:pt x="657" y="78"/>
                    </a:lnTo>
                    <a:lnTo>
                      <a:pt x="657" y="78"/>
                    </a:lnTo>
                    <a:lnTo>
                      <a:pt x="543" y="74"/>
                    </a:lnTo>
                    <a:lnTo>
                      <a:pt x="438" y="67"/>
                    </a:lnTo>
                    <a:lnTo>
                      <a:pt x="344" y="59"/>
                    </a:lnTo>
                    <a:lnTo>
                      <a:pt x="259" y="50"/>
                    </a:lnTo>
                    <a:lnTo>
                      <a:pt x="182" y="39"/>
                    </a:lnTo>
                    <a:lnTo>
                      <a:pt x="114" y="27"/>
                    </a:lnTo>
                    <a:lnTo>
                      <a:pt x="52" y="13"/>
                    </a:lnTo>
                    <a:lnTo>
                      <a:pt x="0" y="0"/>
                    </a:lnTo>
                    <a:lnTo>
                      <a:pt x="0" y="0"/>
                    </a:lnTo>
                    <a:lnTo>
                      <a:pt x="0" y="35"/>
                    </a:lnTo>
                    <a:lnTo>
                      <a:pt x="1" y="71"/>
                    </a:lnTo>
                    <a:lnTo>
                      <a:pt x="4" y="107"/>
                    </a:lnTo>
                    <a:lnTo>
                      <a:pt x="9" y="144"/>
                    </a:lnTo>
                    <a:lnTo>
                      <a:pt x="16" y="181"/>
                    </a:lnTo>
                    <a:lnTo>
                      <a:pt x="27" y="219"/>
                    </a:lnTo>
                    <a:lnTo>
                      <a:pt x="39" y="257"/>
                    </a:lnTo>
                    <a:lnTo>
                      <a:pt x="53" y="297"/>
                    </a:lnTo>
                    <a:lnTo>
                      <a:pt x="53" y="297"/>
                    </a:lnTo>
                    <a:lnTo>
                      <a:pt x="59" y="310"/>
                    </a:lnTo>
                    <a:lnTo>
                      <a:pt x="66" y="323"/>
                    </a:lnTo>
                    <a:lnTo>
                      <a:pt x="74" y="335"/>
                    </a:lnTo>
                    <a:lnTo>
                      <a:pt x="82" y="345"/>
                    </a:lnTo>
                    <a:lnTo>
                      <a:pt x="91" y="356"/>
                    </a:lnTo>
                    <a:lnTo>
                      <a:pt x="102" y="367"/>
                    </a:lnTo>
                    <a:lnTo>
                      <a:pt x="113" y="376"/>
                    </a:lnTo>
                    <a:lnTo>
                      <a:pt x="125" y="386"/>
                    </a:lnTo>
                    <a:lnTo>
                      <a:pt x="137" y="395"/>
                    </a:lnTo>
                    <a:lnTo>
                      <a:pt x="150" y="403"/>
                    </a:lnTo>
                    <a:lnTo>
                      <a:pt x="180" y="418"/>
                    </a:lnTo>
                    <a:lnTo>
                      <a:pt x="211" y="431"/>
                    </a:lnTo>
                    <a:lnTo>
                      <a:pt x="246" y="444"/>
                    </a:lnTo>
                    <a:lnTo>
                      <a:pt x="282" y="454"/>
                    </a:lnTo>
                    <a:lnTo>
                      <a:pt x="321" y="464"/>
                    </a:lnTo>
                    <a:lnTo>
                      <a:pt x="361" y="470"/>
                    </a:lnTo>
                    <a:lnTo>
                      <a:pt x="404" y="477"/>
                    </a:lnTo>
                    <a:lnTo>
                      <a:pt x="449" y="481"/>
                    </a:lnTo>
                    <a:lnTo>
                      <a:pt x="494" y="485"/>
                    </a:lnTo>
                    <a:lnTo>
                      <a:pt x="541" y="488"/>
                    </a:lnTo>
                    <a:lnTo>
                      <a:pt x="590" y="491"/>
                    </a:lnTo>
                    <a:lnTo>
                      <a:pt x="691" y="492"/>
                    </a:lnTo>
                    <a:lnTo>
                      <a:pt x="793" y="491"/>
                    </a:lnTo>
                    <a:lnTo>
                      <a:pt x="896" y="488"/>
                    </a:lnTo>
                    <a:lnTo>
                      <a:pt x="1000" y="484"/>
                    </a:lnTo>
                    <a:lnTo>
                      <a:pt x="1202" y="476"/>
                    </a:lnTo>
                    <a:lnTo>
                      <a:pt x="1296" y="472"/>
                    </a:lnTo>
                    <a:lnTo>
                      <a:pt x="1386" y="472"/>
                    </a:lnTo>
                    <a:lnTo>
                      <a:pt x="1386"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5" name="Freeform 165"/>
              <p:cNvSpPr>
                <a:spLocks/>
              </p:cNvSpPr>
              <p:nvPr/>
            </p:nvSpPr>
            <p:spPr bwMode="auto">
              <a:xfrm>
                <a:off x="25130125" y="4505325"/>
                <a:ext cx="2136775" cy="390525"/>
              </a:xfrm>
              <a:custGeom>
                <a:avLst/>
                <a:gdLst>
                  <a:gd name="T0" fmla="*/ 1302 w 2690"/>
                  <a:gd name="T1" fmla="*/ 472 h 492"/>
                  <a:gd name="T2" fmla="*/ 851 w 2690"/>
                  <a:gd name="T3" fmla="*/ 470 h 492"/>
                  <a:gd name="T4" fmla="*/ 539 w 2690"/>
                  <a:gd name="T5" fmla="*/ 464 h 492"/>
                  <a:gd name="T6" fmla="*/ 395 w 2690"/>
                  <a:gd name="T7" fmla="*/ 458 h 492"/>
                  <a:gd name="T8" fmla="*/ 266 w 2690"/>
                  <a:gd name="T9" fmla="*/ 449 h 492"/>
                  <a:gd name="T10" fmla="*/ 156 w 2690"/>
                  <a:gd name="T11" fmla="*/ 436 h 492"/>
                  <a:gd name="T12" fmla="*/ 145 w 2690"/>
                  <a:gd name="T13" fmla="*/ 433 h 492"/>
                  <a:gd name="T14" fmla="*/ 123 w 2690"/>
                  <a:gd name="T15" fmla="*/ 426 h 492"/>
                  <a:gd name="T16" fmla="*/ 106 w 2690"/>
                  <a:gd name="T17" fmla="*/ 417 h 492"/>
                  <a:gd name="T18" fmla="*/ 88 w 2690"/>
                  <a:gd name="T19" fmla="*/ 405 h 492"/>
                  <a:gd name="T20" fmla="*/ 65 w 2690"/>
                  <a:gd name="T21" fmla="*/ 380 h 492"/>
                  <a:gd name="T22" fmla="*/ 43 w 2690"/>
                  <a:gd name="T23" fmla="*/ 339 h 492"/>
                  <a:gd name="T24" fmla="*/ 24 w 2690"/>
                  <a:gd name="T25" fmla="*/ 288 h 492"/>
                  <a:gd name="T26" fmla="*/ 12 w 2690"/>
                  <a:gd name="T27" fmla="*/ 228 h 492"/>
                  <a:gd name="T28" fmla="*/ 4 w 2690"/>
                  <a:gd name="T29" fmla="*/ 161 h 492"/>
                  <a:gd name="T30" fmla="*/ 1 w 2690"/>
                  <a:gd name="T31" fmla="*/ 89 h 492"/>
                  <a:gd name="T32" fmla="*/ 0 w 2690"/>
                  <a:gd name="T33" fmla="*/ 51 h 492"/>
                  <a:gd name="T34" fmla="*/ 501 w 2690"/>
                  <a:gd name="T35" fmla="*/ 60 h 492"/>
                  <a:gd name="T36" fmla="*/ 1320 w 2690"/>
                  <a:gd name="T37" fmla="*/ 79 h 492"/>
                  <a:gd name="T38" fmla="*/ 1702 w 2690"/>
                  <a:gd name="T39" fmla="*/ 83 h 492"/>
                  <a:gd name="T40" fmla="*/ 1929 w 2690"/>
                  <a:gd name="T41" fmla="*/ 81 h 492"/>
                  <a:gd name="T42" fmla="*/ 2031 w 2690"/>
                  <a:gd name="T43" fmla="*/ 78 h 492"/>
                  <a:gd name="T44" fmla="*/ 2250 w 2690"/>
                  <a:gd name="T45" fmla="*/ 67 h 492"/>
                  <a:gd name="T46" fmla="*/ 2431 w 2690"/>
                  <a:gd name="T47" fmla="*/ 50 h 492"/>
                  <a:gd name="T48" fmla="*/ 2576 w 2690"/>
                  <a:gd name="T49" fmla="*/ 27 h 492"/>
                  <a:gd name="T50" fmla="*/ 2690 w 2690"/>
                  <a:gd name="T51" fmla="*/ 0 h 492"/>
                  <a:gd name="T52" fmla="*/ 2689 w 2690"/>
                  <a:gd name="T53" fmla="*/ 35 h 492"/>
                  <a:gd name="T54" fmla="*/ 2685 w 2690"/>
                  <a:gd name="T55" fmla="*/ 107 h 492"/>
                  <a:gd name="T56" fmla="*/ 2673 w 2690"/>
                  <a:gd name="T57" fmla="*/ 181 h 492"/>
                  <a:gd name="T58" fmla="*/ 2651 w 2690"/>
                  <a:gd name="T59" fmla="*/ 257 h 492"/>
                  <a:gd name="T60" fmla="*/ 2635 w 2690"/>
                  <a:gd name="T61" fmla="*/ 297 h 492"/>
                  <a:gd name="T62" fmla="*/ 2623 w 2690"/>
                  <a:gd name="T63" fmla="*/ 323 h 492"/>
                  <a:gd name="T64" fmla="*/ 2607 w 2690"/>
                  <a:gd name="T65" fmla="*/ 345 h 492"/>
                  <a:gd name="T66" fmla="*/ 2586 w 2690"/>
                  <a:gd name="T67" fmla="*/ 367 h 492"/>
                  <a:gd name="T68" fmla="*/ 2564 w 2690"/>
                  <a:gd name="T69" fmla="*/ 386 h 492"/>
                  <a:gd name="T70" fmla="*/ 2538 w 2690"/>
                  <a:gd name="T71" fmla="*/ 403 h 492"/>
                  <a:gd name="T72" fmla="*/ 2478 w 2690"/>
                  <a:gd name="T73" fmla="*/ 431 h 492"/>
                  <a:gd name="T74" fmla="*/ 2406 w 2690"/>
                  <a:gd name="T75" fmla="*/ 454 h 492"/>
                  <a:gd name="T76" fmla="*/ 2327 w 2690"/>
                  <a:gd name="T77" fmla="*/ 470 h 492"/>
                  <a:gd name="T78" fmla="*/ 2240 w 2690"/>
                  <a:gd name="T79" fmla="*/ 481 h 492"/>
                  <a:gd name="T80" fmla="*/ 2147 w 2690"/>
                  <a:gd name="T81" fmla="*/ 488 h 492"/>
                  <a:gd name="T82" fmla="*/ 1999 w 2690"/>
                  <a:gd name="T83" fmla="*/ 492 h 492"/>
                  <a:gd name="T84" fmla="*/ 1792 w 2690"/>
                  <a:gd name="T85" fmla="*/ 488 h 492"/>
                  <a:gd name="T86" fmla="*/ 1487 w 2690"/>
                  <a:gd name="T87" fmla="*/ 476 h 492"/>
                  <a:gd name="T88" fmla="*/ 1302 w 2690"/>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90" h="492">
                    <a:moveTo>
                      <a:pt x="1302" y="472"/>
                    </a:moveTo>
                    <a:lnTo>
                      <a:pt x="1302" y="472"/>
                    </a:lnTo>
                    <a:lnTo>
                      <a:pt x="1008" y="472"/>
                    </a:lnTo>
                    <a:lnTo>
                      <a:pt x="851" y="470"/>
                    </a:lnTo>
                    <a:lnTo>
                      <a:pt x="692" y="468"/>
                    </a:lnTo>
                    <a:lnTo>
                      <a:pt x="539" y="464"/>
                    </a:lnTo>
                    <a:lnTo>
                      <a:pt x="466" y="461"/>
                    </a:lnTo>
                    <a:lnTo>
                      <a:pt x="395" y="458"/>
                    </a:lnTo>
                    <a:lnTo>
                      <a:pt x="328" y="453"/>
                    </a:lnTo>
                    <a:lnTo>
                      <a:pt x="266" y="449"/>
                    </a:lnTo>
                    <a:lnTo>
                      <a:pt x="208" y="442"/>
                    </a:lnTo>
                    <a:lnTo>
                      <a:pt x="156" y="436"/>
                    </a:lnTo>
                    <a:lnTo>
                      <a:pt x="156" y="436"/>
                    </a:lnTo>
                    <a:lnTo>
                      <a:pt x="145" y="433"/>
                    </a:lnTo>
                    <a:lnTo>
                      <a:pt x="134" y="430"/>
                    </a:lnTo>
                    <a:lnTo>
                      <a:pt x="123" y="426"/>
                    </a:lnTo>
                    <a:lnTo>
                      <a:pt x="114" y="422"/>
                    </a:lnTo>
                    <a:lnTo>
                      <a:pt x="106" y="417"/>
                    </a:lnTo>
                    <a:lnTo>
                      <a:pt x="96" y="411"/>
                    </a:lnTo>
                    <a:lnTo>
                      <a:pt x="88" y="405"/>
                    </a:lnTo>
                    <a:lnTo>
                      <a:pt x="80" y="397"/>
                    </a:lnTo>
                    <a:lnTo>
                      <a:pt x="65" y="380"/>
                    </a:lnTo>
                    <a:lnTo>
                      <a:pt x="53" y="360"/>
                    </a:lnTo>
                    <a:lnTo>
                      <a:pt x="43" y="339"/>
                    </a:lnTo>
                    <a:lnTo>
                      <a:pt x="33" y="314"/>
                    </a:lnTo>
                    <a:lnTo>
                      <a:pt x="24" y="288"/>
                    </a:lnTo>
                    <a:lnTo>
                      <a:pt x="17" y="259"/>
                    </a:lnTo>
                    <a:lnTo>
                      <a:pt x="12" y="228"/>
                    </a:lnTo>
                    <a:lnTo>
                      <a:pt x="8" y="196"/>
                    </a:lnTo>
                    <a:lnTo>
                      <a:pt x="4" y="161"/>
                    </a:lnTo>
                    <a:lnTo>
                      <a:pt x="2" y="126"/>
                    </a:lnTo>
                    <a:lnTo>
                      <a:pt x="1" y="89"/>
                    </a:lnTo>
                    <a:lnTo>
                      <a:pt x="0" y="51"/>
                    </a:lnTo>
                    <a:lnTo>
                      <a:pt x="0" y="51"/>
                    </a:lnTo>
                    <a:lnTo>
                      <a:pt x="240" y="55"/>
                    </a:lnTo>
                    <a:lnTo>
                      <a:pt x="501" y="60"/>
                    </a:lnTo>
                    <a:lnTo>
                      <a:pt x="1048" y="74"/>
                    </a:lnTo>
                    <a:lnTo>
                      <a:pt x="1320" y="79"/>
                    </a:lnTo>
                    <a:lnTo>
                      <a:pt x="1579" y="82"/>
                    </a:lnTo>
                    <a:lnTo>
                      <a:pt x="1702" y="83"/>
                    </a:lnTo>
                    <a:lnTo>
                      <a:pt x="1819" y="82"/>
                    </a:lnTo>
                    <a:lnTo>
                      <a:pt x="1929" y="81"/>
                    </a:lnTo>
                    <a:lnTo>
                      <a:pt x="2031" y="78"/>
                    </a:lnTo>
                    <a:lnTo>
                      <a:pt x="2031" y="78"/>
                    </a:lnTo>
                    <a:lnTo>
                      <a:pt x="2145" y="74"/>
                    </a:lnTo>
                    <a:lnTo>
                      <a:pt x="2250" y="67"/>
                    </a:lnTo>
                    <a:lnTo>
                      <a:pt x="2344" y="59"/>
                    </a:lnTo>
                    <a:lnTo>
                      <a:pt x="2431" y="50"/>
                    </a:lnTo>
                    <a:lnTo>
                      <a:pt x="2507" y="39"/>
                    </a:lnTo>
                    <a:lnTo>
                      <a:pt x="2576" y="27"/>
                    </a:lnTo>
                    <a:lnTo>
                      <a:pt x="2636" y="13"/>
                    </a:lnTo>
                    <a:lnTo>
                      <a:pt x="2690" y="0"/>
                    </a:lnTo>
                    <a:lnTo>
                      <a:pt x="2690" y="0"/>
                    </a:lnTo>
                    <a:lnTo>
                      <a:pt x="2689" y="35"/>
                    </a:lnTo>
                    <a:lnTo>
                      <a:pt x="2687" y="71"/>
                    </a:lnTo>
                    <a:lnTo>
                      <a:pt x="2685" y="107"/>
                    </a:lnTo>
                    <a:lnTo>
                      <a:pt x="2679" y="144"/>
                    </a:lnTo>
                    <a:lnTo>
                      <a:pt x="2673" y="181"/>
                    </a:lnTo>
                    <a:lnTo>
                      <a:pt x="2663" y="219"/>
                    </a:lnTo>
                    <a:lnTo>
                      <a:pt x="2651" y="257"/>
                    </a:lnTo>
                    <a:lnTo>
                      <a:pt x="2635" y="297"/>
                    </a:lnTo>
                    <a:lnTo>
                      <a:pt x="2635" y="297"/>
                    </a:lnTo>
                    <a:lnTo>
                      <a:pt x="2630" y="310"/>
                    </a:lnTo>
                    <a:lnTo>
                      <a:pt x="2623" y="323"/>
                    </a:lnTo>
                    <a:lnTo>
                      <a:pt x="2615" y="335"/>
                    </a:lnTo>
                    <a:lnTo>
                      <a:pt x="2607" y="345"/>
                    </a:lnTo>
                    <a:lnTo>
                      <a:pt x="2597" y="356"/>
                    </a:lnTo>
                    <a:lnTo>
                      <a:pt x="2586" y="367"/>
                    </a:lnTo>
                    <a:lnTo>
                      <a:pt x="2576" y="376"/>
                    </a:lnTo>
                    <a:lnTo>
                      <a:pt x="2564" y="386"/>
                    </a:lnTo>
                    <a:lnTo>
                      <a:pt x="2552" y="395"/>
                    </a:lnTo>
                    <a:lnTo>
                      <a:pt x="2538" y="403"/>
                    </a:lnTo>
                    <a:lnTo>
                      <a:pt x="2509" y="418"/>
                    </a:lnTo>
                    <a:lnTo>
                      <a:pt x="2478" y="431"/>
                    </a:lnTo>
                    <a:lnTo>
                      <a:pt x="2443" y="444"/>
                    </a:lnTo>
                    <a:lnTo>
                      <a:pt x="2406" y="454"/>
                    </a:lnTo>
                    <a:lnTo>
                      <a:pt x="2367" y="464"/>
                    </a:lnTo>
                    <a:lnTo>
                      <a:pt x="2327" y="470"/>
                    </a:lnTo>
                    <a:lnTo>
                      <a:pt x="2284" y="477"/>
                    </a:lnTo>
                    <a:lnTo>
                      <a:pt x="2240" y="481"/>
                    </a:lnTo>
                    <a:lnTo>
                      <a:pt x="2194" y="485"/>
                    </a:lnTo>
                    <a:lnTo>
                      <a:pt x="2147" y="488"/>
                    </a:lnTo>
                    <a:lnTo>
                      <a:pt x="2098" y="491"/>
                    </a:lnTo>
                    <a:lnTo>
                      <a:pt x="1999" y="492"/>
                    </a:lnTo>
                    <a:lnTo>
                      <a:pt x="1895" y="491"/>
                    </a:lnTo>
                    <a:lnTo>
                      <a:pt x="1792" y="488"/>
                    </a:lnTo>
                    <a:lnTo>
                      <a:pt x="1688" y="484"/>
                    </a:lnTo>
                    <a:lnTo>
                      <a:pt x="1487" y="476"/>
                    </a:lnTo>
                    <a:lnTo>
                      <a:pt x="1393" y="472"/>
                    </a:lnTo>
                    <a:lnTo>
                      <a:pt x="1302" y="472"/>
                    </a:lnTo>
                    <a:lnTo>
                      <a:pt x="1302"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6" name="Freeform 166"/>
              <p:cNvSpPr>
                <a:spLocks/>
              </p:cNvSpPr>
              <p:nvPr/>
            </p:nvSpPr>
            <p:spPr bwMode="auto">
              <a:xfrm>
                <a:off x="22634575" y="117475"/>
                <a:ext cx="2265363" cy="4313238"/>
              </a:xfrm>
              <a:custGeom>
                <a:avLst/>
                <a:gdLst>
                  <a:gd name="T0" fmla="*/ 2402 w 2854"/>
                  <a:gd name="T1" fmla="*/ 3733 h 5434"/>
                  <a:gd name="T2" fmla="*/ 2240 w 2854"/>
                  <a:gd name="T3" fmla="*/ 3629 h 5434"/>
                  <a:gd name="T4" fmla="*/ 2058 w 2854"/>
                  <a:gd name="T5" fmla="*/ 3566 h 5434"/>
                  <a:gd name="T6" fmla="*/ 1854 w 2854"/>
                  <a:gd name="T7" fmla="*/ 3535 h 5434"/>
                  <a:gd name="T8" fmla="*/ 1584 w 2854"/>
                  <a:gd name="T9" fmla="*/ 3531 h 5434"/>
                  <a:gd name="T10" fmla="*/ 1180 w 2854"/>
                  <a:gd name="T11" fmla="*/ 3563 h 5434"/>
                  <a:gd name="T12" fmla="*/ 1144 w 2854"/>
                  <a:gd name="T13" fmla="*/ 3574 h 5434"/>
                  <a:gd name="T14" fmla="*/ 914 w 2854"/>
                  <a:gd name="T15" fmla="*/ 3595 h 5434"/>
                  <a:gd name="T16" fmla="*/ 797 w 2854"/>
                  <a:gd name="T17" fmla="*/ 3587 h 5434"/>
                  <a:gd name="T18" fmla="*/ 771 w 2854"/>
                  <a:gd name="T19" fmla="*/ 3567 h 5434"/>
                  <a:gd name="T20" fmla="*/ 798 w 2854"/>
                  <a:gd name="T21" fmla="*/ 3534 h 5434"/>
                  <a:gd name="T22" fmla="*/ 890 w 2854"/>
                  <a:gd name="T23" fmla="*/ 3487 h 5434"/>
                  <a:gd name="T24" fmla="*/ 1234 w 2854"/>
                  <a:gd name="T25" fmla="*/ 3433 h 5434"/>
                  <a:gd name="T26" fmla="*/ 1602 w 2854"/>
                  <a:gd name="T27" fmla="*/ 3394 h 5434"/>
                  <a:gd name="T28" fmla="*/ 1996 w 2854"/>
                  <a:gd name="T29" fmla="*/ 3405 h 5434"/>
                  <a:gd name="T30" fmla="*/ 2177 w 2854"/>
                  <a:gd name="T31" fmla="*/ 3435 h 5434"/>
                  <a:gd name="T32" fmla="*/ 2343 w 2854"/>
                  <a:gd name="T33" fmla="*/ 3492 h 5434"/>
                  <a:gd name="T34" fmla="*/ 2495 w 2854"/>
                  <a:gd name="T35" fmla="*/ 3579 h 5434"/>
                  <a:gd name="T36" fmla="*/ 2632 w 2854"/>
                  <a:gd name="T37" fmla="*/ 3704 h 5434"/>
                  <a:gd name="T38" fmla="*/ 2654 w 2854"/>
                  <a:gd name="T39" fmla="*/ 3489 h 5434"/>
                  <a:gd name="T40" fmla="*/ 2635 w 2854"/>
                  <a:gd name="T41" fmla="*/ 2875 h 5434"/>
                  <a:gd name="T42" fmla="*/ 2666 w 2854"/>
                  <a:gd name="T43" fmla="*/ 2282 h 5434"/>
                  <a:gd name="T44" fmla="*/ 2724 w 2854"/>
                  <a:gd name="T45" fmla="*/ 1452 h 5434"/>
                  <a:gd name="T46" fmla="*/ 2729 w 2854"/>
                  <a:gd name="T47" fmla="*/ 408 h 5434"/>
                  <a:gd name="T48" fmla="*/ 2197 w 2854"/>
                  <a:gd name="T49" fmla="*/ 4 h 5434"/>
                  <a:gd name="T50" fmla="*/ 1385 w 2854"/>
                  <a:gd name="T51" fmla="*/ 8 h 5434"/>
                  <a:gd name="T52" fmla="*/ 668 w 2854"/>
                  <a:gd name="T53" fmla="*/ 55 h 5434"/>
                  <a:gd name="T54" fmla="*/ 286 w 2854"/>
                  <a:gd name="T55" fmla="*/ 262 h 5434"/>
                  <a:gd name="T56" fmla="*/ 282 w 2854"/>
                  <a:gd name="T57" fmla="*/ 1214 h 5434"/>
                  <a:gd name="T58" fmla="*/ 287 w 2854"/>
                  <a:gd name="T59" fmla="*/ 1234 h 5434"/>
                  <a:gd name="T60" fmla="*/ 308 w 2854"/>
                  <a:gd name="T61" fmla="*/ 1600 h 5434"/>
                  <a:gd name="T62" fmla="*/ 382 w 2854"/>
                  <a:gd name="T63" fmla="*/ 2181 h 5434"/>
                  <a:gd name="T64" fmla="*/ 404 w 2854"/>
                  <a:gd name="T65" fmla="*/ 2473 h 5434"/>
                  <a:gd name="T66" fmla="*/ 407 w 2854"/>
                  <a:gd name="T67" fmla="*/ 2834 h 5434"/>
                  <a:gd name="T68" fmla="*/ 364 w 2854"/>
                  <a:gd name="T69" fmla="*/ 3414 h 5434"/>
                  <a:gd name="T70" fmla="*/ 306 w 2854"/>
                  <a:gd name="T71" fmla="*/ 3864 h 5434"/>
                  <a:gd name="T72" fmla="*/ 205 w 2854"/>
                  <a:gd name="T73" fmla="*/ 4451 h 5434"/>
                  <a:gd name="T74" fmla="*/ 141 w 2854"/>
                  <a:gd name="T75" fmla="*/ 4690 h 5434"/>
                  <a:gd name="T76" fmla="*/ 15 w 2854"/>
                  <a:gd name="T77" fmla="*/ 4807 h 5434"/>
                  <a:gd name="T78" fmla="*/ 0 w 2854"/>
                  <a:gd name="T79" fmla="*/ 5085 h 5434"/>
                  <a:gd name="T80" fmla="*/ 20 w 2854"/>
                  <a:gd name="T81" fmla="*/ 5162 h 5434"/>
                  <a:gd name="T82" fmla="*/ 95 w 2854"/>
                  <a:gd name="T83" fmla="*/ 5276 h 5434"/>
                  <a:gd name="T84" fmla="*/ 119 w 2854"/>
                  <a:gd name="T85" fmla="*/ 5353 h 5434"/>
                  <a:gd name="T86" fmla="*/ 376 w 2854"/>
                  <a:gd name="T87" fmla="*/ 5401 h 5434"/>
                  <a:gd name="T88" fmla="*/ 766 w 2854"/>
                  <a:gd name="T89" fmla="*/ 5430 h 5434"/>
                  <a:gd name="T90" fmla="*/ 1475 w 2854"/>
                  <a:gd name="T91" fmla="*/ 5430 h 5434"/>
                  <a:gd name="T92" fmla="*/ 2792 w 2854"/>
                  <a:gd name="T93" fmla="*/ 5401 h 5434"/>
                  <a:gd name="T94" fmla="*/ 2779 w 2854"/>
                  <a:gd name="T95" fmla="*/ 5302 h 5434"/>
                  <a:gd name="T96" fmla="*/ 2779 w 2854"/>
                  <a:gd name="T97" fmla="*/ 5302 h 5434"/>
                  <a:gd name="T98" fmla="*/ 2808 w 2854"/>
                  <a:gd name="T99" fmla="*/ 5299 h 5434"/>
                  <a:gd name="T100" fmla="*/ 2835 w 2854"/>
                  <a:gd name="T101" fmla="*/ 5272 h 5434"/>
                  <a:gd name="T102" fmla="*/ 2846 w 2854"/>
                  <a:gd name="T103" fmla="*/ 5224 h 5434"/>
                  <a:gd name="T104" fmla="*/ 2854 w 2854"/>
                  <a:gd name="T105" fmla="*/ 4722 h 5434"/>
                  <a:gd name="T106" fmla="*/ 2831 w 2854"/>
                  <a:gd name="T107" fmla="*/ 4383 h 5434"/>
                  <a:gd name="T108" fmla="*/ 2784 w 2854"/>
                  <a:gd name="T109" fmla="*/ 4170 h 5434"/>
                  <a:gd name="T110" fmla="*/ 2716 w 2854"/>
                  <a:gd name="T111" fmla="*/ 4038 h 5434"/>
                  <a:gd name="T112" fmla="*/ 2611 w 2854"/>
                  <a:gd name="T113" fmla="*/ 3932 h 5434"/>
                  <a:gd name="T114" fmla="*/ 2488 w 2854"/>
                  <a:gd name="T115" fmla="*/ 3816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4" h="5434">
                    <a:moveTo>
                      <a:pt x="2488" y="3816"/>
                    </a:moveTo>
                    <a:lnTo>
                      <a:pt x="2488" y="3816"/>
                    </a:lnTo>
                    <a:lnTo>
                      <a:pt x="2460" y="3786"/>
                    </a:lnTo>
                    <a:lnTo>
                      <a:pt x="2432" y="3758"/>
                    </a:lnTo>
                    <a:lnTo>
                      <a:pt x="2402" y="3733"/>
                    </a:lnTo>
                    <a:lnTo>
                      <a:pt x="2371" y="3708"/>
                    </a:lnTo>
                    <a:lnTo>
                      <a:pt x="2339" y="3686"/>
                    </a:lnTo>
                    <a:lnTo>
                      <a:pt x="2307" y="3665"/>
                    </a:lnTo>
                    <a:lnTo>
                      <a:pt x="2275" y="3647"/>
                    </a:lnTo>
                    <a:lnTo>
                      <a:pt x="2240" y="3629"/>
                    </a:lnTo>
                    <a:lnTo>
                      <a:pt x="2206" y="3614"/>
                    </a:lnTo>
                    <a:lnTo>
                      <a:pt x="2170" y="3600"/>
                    </a:lnTo>
                    <a:lnTo>
                      <a:pt x="2134" y="3587"/>
                    </a:lnTo>
                    <a:lnTo>
                      <a:pt x="2096" y="3575"/>
                    </a:lnTo>
                    <a:lnTo>
                      <a:pt x="2058" y="3566"/>
                    </a:lnTo>
                    <a:lnTo>
                      <a:pt x="2018" y="3558"/>
                    </a:lnTo>
                    <a:lnTo>
                      <a:pt x="1979" y="3550"/>
                    </a:lnTo>
                    <a:lnTo>
                      <a:pt x="1937" y="3544"/>
                    </a:lnTo>
                    <a:lnTo>
                      <a:pt x="1897" y="3539"/>
                    </a:lnTo>
                    <a:lnTo>
                      <a:pt x="1854" y="3535"/>
                    </a:lnTo>
                    <a:lnTo>
                      <a:pt x="1811" y="3532"/>
                    </a:lnTo>
                    <a:lnTo>
                      <a:pt x="1766" y="3531"/>
                    </a:lnTo>
                    <a:lnTo>
                      <a:pt x="1722" y="3530"/>
                    </a:lnTo>
                    <a:lnTo>
                      <a:pt x="1676" y="3530"/>
                    </a:lnTo>
                    <a:lnTo>
                      <a:pt x="1584" y="3531"/>
                    </a:lnTo>
                    <a:lnTo>
                      <a:pt x="1487" y="3536"/>
                    </a:lnTo>
                    <a:lnTo>
                      <a:pt x="1387" y="3543"/>
                    </a:lnTo>
                    <a:lnTo>
                      <a:pt x="1285" y="3552"/>
                    </a:lnTo>
                    <a:lnTo>
                      <a:pt x="1180" y="3563"/>
                    </a:lnTo>
                    <a:lnTo>
                      <a:pt x="1180" y="3563"/>
                    </a:lnTo>
                    <a:lnTo>
                      <a:pt x="1184" y="3565"/>
                    </a:lnTo>
                    <a:lnTo>
                      <a:pt x="1184" y="3565"/>
                    </a:lnTo>
                    <a:lnTo>
                      <a:pt x="1183" y="3566"/>
                    </a:lnTo>
                    <a:lnTo>
                      <a:pt x="1169" y="3570"/>
                    </a:lnTo>
                    <a:lnTo>
                      <a:pt x="1144" y="3574"/>
                    </a:lnTo>
                    <a:lnTo>
                      <a:pt x="1108" y="3579"/>
                    </a:lnTo>
                    <a:lnTo>
                      <a:pt x="1063" y="3585"/>
                    </a:lnTo>
                    <a:lnTo>
                      <a:pt x="1015" y="3590"/>
                    </a:lnTo>
                    <a:lnTo>
                      <a:pt x="964" y="3594"/>
                    </a:lnTo>
                    <a:lnTo>
                      <a:pt x="914" y="3595"/>
                    </a:lnTo>
                    <a:lnTo>
                      <a:pt x="868" y="3595"/>
                    </a:lnTo>
                    <a:lnTo>
                      <a:pt x="847" y="3594"/>
                    </a:lnTo>
                    <a:lnTo>
                      <a:pt x="828" y="3593"/>
                    </a:lnTo>
                    <a:lnTo>
                      <a:pt x="810" y="3590"/>
                    </a:lnTo>
                    <a:lnTo>
                      <a:pt x="797" y="3587"/>
                    </a:lnTo>
                    <a:lnTo>
                      <a:pt x="785" y="3582"/>
                    </a:lnTo>
                    <a:lnTo>
                      <a:pt x="777" y="3578"/>
                    </a:lnTo>
                    <a:lnTo>
                      <a:pt x="774" y="3574"/>
                    </a:lnTo>
                    <a:lnTo>
                      <a:pt x="773" y="3571"/>
                    </a:lnTo>
                    <a:lnTo>
                      <a:pt x="771" y="3567"/>
                    </a:lnTo>
                    <a:lnTo>
                      <a:pt x="773" y="3563"/>
                    </a:lnTo>
                    <a:lnTo>
                      <a:pt x="774" y="3559"/>
                    </a:lnTo>
                    <a:lnTo>
                      <a:pt x="776" y="3555"/>
                    </a:lnTo>
                    <a:lnTo>
                      <a:pt x="785" y="3546"/>
                    </a:lnTo>
                    <a:lnTo>
                      <a:pt x="798" y="3534"/>
                    </a:lnTo>
                    <a:lnTo>
                      <a:pt x="817" y="3522"/>
                    </a:lnTo>
                    <a:lnTo>
                      <a:pt x="841" y="3508"/>
                    </a:lnTo>
                    <a:lnTo>
                      <a:pt x="871" y="3492"/>
                    </a:lnTo>
                    <a:lnTo>
                      <a:pt x="871" y="3492"/>
                    </a:lnTo>
                    <a:lnTo>
                      <a:pt x="890" y="3487"/>
                    </a:lnTo>
                    <a:lnTo>
                      <a:pt x="918" y="3480"/>
                    </a:lnTo>
                    <a:lnTo>
                      <a:pt x="956" y="3472"/>
                    </a:lnTo>
                    <a:lnTo>
                      <a:pt x="1003" y="3465"/>
                    </a:lnTo>
                    <a:lnTo>
                      <a:pt x="1112" y="3449"/>
                    </a:lnTo>
                    <a:lnTo>
                      <a:pt x="1234" y="3433"/>
                    </a:lnTo>
                    <a:lnTo>
                      <a:pt x="1356" y="3418"/>
                    </a:lnTo>
                    <a:lnTo>
                      <a:pt x="1467" y="3406"/>
                    </a:lnTo>
                    <a:lnTo>
                      <a:pt x="1553" y="3398"/>
                    </a:lnTo>
                    <a:lnTo>
                      <a:pt x="1602" y="3394"/>
                    </a:lnTo>
                    <a:lnTo>
                      <a:pt x="1602" y="3394"/>
                    </a:lnTo>
                    <a:lnTo>
                      <a:pt x="1684" y="3392"/>
                    </a:lnTo>
                    <a:lnTo>
                      <a:pt x="1765" y="3392"/>
                    </a:lnTo>
                    <a:lnTo>
                      <a:pt x="1843" y="3394"/>
                    </a:lnTo>
                    <a:lnTo>
                      <a:pt x="1921" y="3398"/>
                    </a:lnTo>
                    <a:lnTo>
                      <a:pt x="1996" y="3405"/>
                    </a:lnTo>
                    <a:lnTo>
                      <a:pt x="2033" y="3409"/>
                    </a:lnTo>
                    <a:lnTo>
                      <a:pt x="2069" y="3414"/>
                    </a:lnTo>
                    <a:lnTo>
                      <a:pt x="2105" y="3421"/>
                    </a:lnTo>
                    <a:lnTo>
                      <a:pt x="2142" y="3427"/>
                    </a:lnTo>
                    <a:lnTo>
                      <a:pt x="2177" y="3435"/>
                    </a:lnTo>
                    <a:lnTo>
                      <a:pt x="2210" y="3445"/>
                    </a:lnTo>
                    <a:lnTo>
                      <a:pt x="2244" y="3456"/>
                    </a:lnTo>
                    <a:lnTo>
                      <a:pt x="2277" y="3466"/>
                    </a:lnTo>
                    <a:lnTo>
                      <a:pt x="2311" y="3478"/>
                    </a:lnTo>
                    <a:lnTo>
                      <a:pt x="2343" y="3492"/>
                    </a:lnTo>
                    <a:lnTo>
                      <a:pt x="2374" y="3507"/>
                    </a:lnTo>
                    <a:lnTo>
                      <a:pt x="2405" y="3523"/>
                    </a:lnTo>
                    <a:lnTo>
                      <a:pt x="2436" y="3540"/>
                    </a:lnTo>
                    <a:lnTo>
                      <a:pt x="2466" y="3559"/>
                    </a:lnTo>
                    <a:lnTo>
                      <a:pt x="2495" y="3579"/>
                    </a:lnTo>
                    <a:lnTo>
                      <a:pt x="2523" y="3602"/>
                    </a:lnTo>
                    <a:lnTo>
                      <a:pt x="2552" y="3625"/>
                    </a:lnTo>
                    <a:lnTo>
                      <a:pt x="2579" y="3649"/>
                    </a:lnTo>
                    <a:lnTo>
                      <a:pt x="2605" y="3676"/>
                    </a:lnTo>
                    <a:lnTo>
                      <a:pt x="2632" y="3704"/>
                    </a:lnTo>
                    <a:lnTo>
                      <a:pt x="2657" y="3734"/>
                    </a:lnTo>
                    <a:lnTo>
                      <a:pt x="2682" y="3765"/>
                    </a:lnTo>
                    <a:lnTo>
                      <a:pt x="2682" y="3765"/>
                    </a:lnTo>
                    <a:lnTo>
                      <a:pt x="2666" y="3624"/>
                    </a:lnTo>
                    <a:lnTo>
                      <a:pt x="2654" y="3489"/>
                    </a:lnTo>
                    <a:lnTo>
                      <a:pt x="2644" y="3360"/>
                    </a:lnTo>
                    <a:lnTo>
                      <a:pt x="2639" y="3234"/>
                    </a:lnTo>
                    <a:lnTo>
                      <a:pt x="2635" y="3113"/>
                    </a:lnTo>
                    <a:lnTo>
                      <a:pt x="2634" y="2993"/>
                    </a:lnTo>
                    <a:lnTo>
                      <a:pt x="2635" y="2875"/>
                    </a:lnTo>
                    <a:lnTo>
                      <a:pt x="2638" y="2758"/>
                    </a:lnTo>
                    <a:lnTo>
                      <a:pt x="2643" y="2641"/>
                    </a:lnTo>
                    <a:lnTo>
                      <a:pt x="2648" y="2524"/>
                    </a:lnTo>
                    <a:lnTo>
                      <a:pt x="2657" y="2404"/>
                    </a:lnTo>
                    <a:lnTo>
                      <a:pt x="2666" y="2282"/>
                    </a:lnTo>
                    <a:lnTo>
                      <a:pt x="2686" y="2028"/>
                    </a:lnTo>
                    <a:lnTo>
                      <a:pt x="2708" y="1752"/>
                    </a:lnTo>
                    <a:lnTo>
                      <a:pt x="2708" y="1752"/>
                    </a:lnTo>
                    <a:lnTo>
                      <a:pt x="2717" y="1601"/>
                    </a:lnTo>
                    <a:lnTo>
                      <a:pt x="2724" y="1452"/>
                    </a:lnTo>
                    <a:lnTo>
                      <a:pt x="2728" y="1301"/>
                    </a:lnTo>
                    <a:lnTo>
                      <a:pt x="2729" y="1151"/>
                    </a:lnTo>
                    <a:lnTo>
                      <a:pt x="2729" y="1151"/>
                    </a:lnTo>
                    <a:lnTo>
                      <a:pt x="2729" y="408"/>
                    </a:lnTo>
                    <a:lnTo>
                      <a:pt x="2729" y="408"/>
                    </a:lnTo>
                    <a:lnTo>
                      <a:pt x="2730" y="21"/>
                    </a:lnTo>
                    <a:lnTo>
                      <a:pt x="2730" y="21"/>
                    </a:lnTo>
                    <a:lnTo>
                      <a:pt x="2549" y="13"/>
                    </a:lnTo>
                    <a:lnTo>
                      <a:pt x="2371" y="8"/>
                    </a:lnTo>
                    <a:lnTo>
                      <a:pt x="2197" y="4"/>
                    </a:lnTo>
                    <a:lnTo>
                      <a:pt x="2027" y="1"/>
                    </a:lnTo>
                    <a:lnTo>
                      <a:pt x="1861" y="0"/>
                    </a:lnTo>
                    <a:lnTo>
                      <a:pt x="1698" y="1"/>
                    </a:lnTo>
                    <a:lnTo>
                      <a:pt x="1539" y="4"/>
                    </a:lnTo>
                    <a:lnTo>
                      <a:pt x="1385" y="8"/>
                    </a:lnTo>
                    <a:lnTo>
                      <a:pt x="1234" y="14"/>
                    </a:lnTo>
                    <a:lnTo>
                      <a:pt x="1086" y="21"/>
                    </a:lnTo>
                    <a:lnTo>
                      <a:pt x="944" y="31"/>
                    </a:lnTo>
                    <a:lnTo>
                      <a:pt x="804" y="43"/>
                    </a:lnTo>
                    <a:lnTo>
                      <a:pt x="668" y="55"/>
                    </a:lnTo>
                    <a:lnTo>
                      <a:pt x="538" y="70"/>
                    </a:lnTo>
                    <a:lnTo>
                      <a:pt x="410" y="86"/>
                    </a:lnTo>
                    <a:lnTo>
                      <a:pt x="286" y="103"/>
                    </a:lnTo>
                    <a:lnTo>
                      <a:pt x="286" y="103"/>
                    </a:lnTo>
                    <a:lnTo>
                      <a:pt x="286" y="262"/>
                    </a:lnTo>
                    <a:lnTo>
                      <a:pt x="286" y="421"/>
                    </a:lnTo>
                    <a:lnTo>
                      <a:pt x="282" y="738"/>
                    </a:lnTo>
                    <a:lnTo>
                      <a:pt x="281" y="897"/>
                    </a:lnTo>
                    <a:lnTo>
                      <a:pt x="281" y="1055"/>
                    </a:lnTo>
                    <a:lnTo>
                      <a:pt x="282" y="1214"/>
                    </a:lnTo>
                    <a:lnTo>
                      <a:pt x="286" y="1373"/>
                    </a:lnTo>
                    <a:lnTo>
                      <a:pt x="286" y="1373"/>
                    </a:lnTo>
                    <a:lnTo>
                      <a:pt x="287" y="1304"/>
                    </a:lnTo>
                    <a:lnTo>
                      <a:pt x="287" y="1234"/>
                    </a:lnTo>
                    <a:lnTo>
                      <a:pt x="287" y="1234"/>
                    </a:lnTo>
                    <a:lnTo>
                      <a:pt x="287" y="1308"/>
                    </a:lnTo>
                    <a:lnTo>
                      <a:pt x="290" y="1381"/>
                    </a:lnTo>
                    <a:lnTo>
                      <a:pt x="296" y="1455"/>
                    </a:lnTo>
                    <a:lnTo>
                      <a:pt x="301" y="1527"/>
                    </a:lnTo>
                    <a:lnTo>
                      <a:pt x="308" y="1600"/>
                    </a:lnTo>
                    <a:lnTo>
                      <a:pt x="316" y="1673"/>
                    </a:lnTo>
                    <a:lnTo>
                      <a:pt x="335" y="1818"/>
                    </a:lnTo>
                    <a:lnTo>
                      <a:pt x="353" y="1963"/>
                    </a:lnTo>
                    <a:lnTo>
                      <a:pt x="372" y="2108"/>
                    </a:lnTo>
                    <a:lnTo>
                      <a:pt x="382" y="2181"/>
                    </a:lnTo>
                    <a:lnTo>
                      <a:pt x="388" y="2253"/>
                    </a:lnTo>
                    <a:lnTo>
                      <a:pt x="395" y="2327"/>
                    </a:lnTo>
                    <a:lnTo>
                      <a:pt x="400" y="2400"/>
                    </a:lnTo>
                    <a:lnTo>
                      <a:pt x="400" y="2400"/>
                    </a:lnTo>
                    <a:lnTo>
                      <a:pt x="404" y="2473"/>
                    </a:lnTo>
                    <a:lnTo>
                      <a:pt x="407" y="2545"/>
                    </a:lnTo>
                    <a:lnTo>
                      <a:pt x="408" y="2618"/>
                    </a:lnTo>
                    <a:lnTo>
                      <a:pt x="410" y="2690"/>
                    </a:lnTo>
                    <a:lnTo>
                      <a:pt x="408" y="2762"/>
                    </a:lnTo>
                    <a:lnTo>
                      <a:pt x="407" y="2834"/>
                    </a:lnTo>
                    <a:lnTo>
                      <a:pt x="404" y="2907"/>
                    </a:lnTo>
                    <a:lnTo>
                      <a:pt x="400" y="2980"/>
                    </a:lnTo>
                    <a:lnTo>
                      <a:pt x="391" y="3125"/>
                    </a:lnTo>
                    <a:lnTo>
                      <a:pt x="379" y="3270"/>
                    </a:lnTo>
                    <a:lnTo>
                      <a:pt x="364" y="3414"/>
                    </a:lnTo>
                    <a:lnTo>
                      <a:pt x="348" y="3558"/>
                    </a:lnTo>
                    <a:lnTo>
                      <a:pt x="348" y="3558"/>
                    </a:lnTo>
                    <a:lnTo>
                      <a:pt x="335" y="3660"/>
                    </a:lnTo>
                    <a:lnTo>
                      <a:pt x="321" y="3762"/>
                    </a:lnTo>
                    <a:lnTo>
                      <a:pt x="306" y="3864"/>
                    </a:lnTo>
                    <a:lnTo>
                      <a:pt x="291" y="3965"/>
                    </a:lnTo>
                    <a:lnTo>
                      <a:pt x="259" y="4168"/>
                    </a:lnTo>
                    <a:lnTo>
                      <a:pt x="223" y="4371"/>
                    </a:lnTo>
                    <a:lnTo>
                      <a:pt x="223" y="4371"/>
                    </a:lnTo>
                    <a:lnTo>
                      <a:pt x="205" y="4451"/>
                    </a:lnTo>
                    <a:lnTo>
                      <a:pt x="189" y="4530"/>
                    </a:lnTo>
                    <a:lnTo>
                      <a:pt x="175" y="4608"/>
                    </a:lnTo>
                    <a:lnTo>
                      <a:pt x="162" y="4686"/>
                    </a:lnTo>
                    <a:lnTo>
                      <a:pt x="162" y="4686"/>
                    </a:lnTo>
                    <a:lnTo>
                      <a:pt x="141" y="4690"/>
                    </a:lnTo>
                    <a:lnTo>
                      <a:pt x="95" y="4698"/>
                    </a:lnTo>
                    <a:lnTo>
                      <a:pt x="48" y="4705"/>
                    </a:lnTo>
                    <a:lnTo>
                      <a:pt x="27" y="4709"/>
                    </a:lnTo>
                    <a:lnTo>
                      <a:pt x="27" y="4709"/>
                    </a:lnTo>
                    <a:lnTo>
                      <a:pt x="15" y="4807"/>
                    </a:lnTo>
                    <a:lnTo>
                      <a:pt x="6" y="4903"/>
                    </a:lnTo>
                    <a:lnTo>
                      <a:pt x="4" y="4950"/>
                    </a:lnTo>
                    <a:lnTo>
                      <a:pt x="1" y="4995"/>
                    </a:lnTo>
                    <a:lnTo>
                      <a:pt x="0" y="5041"/>
                    </a:lnTo>
                    <a:lnTo>
                      <a:pt x="0" y="5085"/>
                    </a:lnTo>
                    <a:lnTo>
                      <a:pt x="0" y="5085"/>
                    </a:lnTo>
                    <a:lnTo>
                      <a:pt x="1" y="5106"/>
                    </a:lnTo>
                    <a:lnTo>
                      <a:pt x="5" y="5124"/>
                    </a:lnTo>
                    <a:lnTo>
                      <a:pt x="12" y="5143"/>
                    </a:lnTo>
                    <a:lnTo>
                      <a:pt x="20" y="5162"/>
                    </a:lnTo>
                    <a:lnTo>
                      <a:pt x="29" y="5180"/>
                    </a:lnTo>
                    <a:lnTo>
                      <a:pt x="40" y="5197"/>
                    </a:lnTo>
                    <a:lnTo>
                      <a:pt x="62" y="5229"/>
                    </a:lnTo>
                    <a:lnTo>
                      <a:pt x="84" y="5260"/>
                    </a:lnTo>
                    <a:lnTo>
                      <a:pt x="95" y="5276"/>
                    </a:lnTo>
                    <a:lnTo>
                      <a:pt x="103" y="5291"/>
                    </a:lnTo>
                    <a:lnTo>
                      <a:pt x="111" y="5307"/>
                    </a:lnTo>
                    <a:lnTo>
                      <a:pt x="117" y="5322"/>
                    </a:lnTo>
                    <a:lnTo>
                      <a:pt x="119" y="5338"/>
                    </a:lnTo>
                    <a:lnTo>
                      <a:pt x="119" y="5353"/>
                    </a:lnTo>
                    <a:lnTo>
                      <a:pt x="119" y="5353"/>
                    </a:lnTo>
                    <a:lnTo>
                      <a:pt x="173" y="5366"/>
                    </a:lnTo>
                    <a:lnTo>
                      <a:pt x="234" y="5379"/>
                    </a:lnTo>
                    <a:lnTo>
                      <a:pt x="301" y="5391"/>
                    </a:lnTo>
                    <a:lnTo>
                      <a:pt x="376" y="5401"/>
                    </a:lnTo>
                    <a:lnTo>
                      <a:pt x="461" y="5411"/>
                    </a:lnTo>
                    <a:lnTo>
                      <a:pt x="554" y="5419"/>
                    </a:lnTo>
                    <a:lnTo>
                      <a:pt x="655" y="5424"/>
                    </a:lnTo>
                    <a:lnTo>
                      <a:pt x="766" y="5430"/>
                    </a:lnTo>
                    <a:lnTo>
                      <a:pt x="766" y="5430"/>
                    </a:lnTo>
                    <a:lnTo>
                      <a:pt x="868" y="5432"/>
                    </a:lnTo>
                    <a:lnTo>
                      <a:pt x="977" y="5434"/>
                    </a:lnTo>
                    <a:lnTo>
                      <a:pt x="1094" y="5434"/>
                    </a:lnTo>
                    <a:lnTo>
                      <a:pt x="1217" y="5434"/>
                    </a:lnTo>
                    <a:lnTo>
                      <a:pt x="1475" y="5430"/>
                    </a:lnTo>
                    <a:lnTo>
                      <a:pt x="1745" y="5424"/>
                    </a:lnTo>
                    <a:lnTo>
                      <a:pt x="2291" y="5412"/>
                    </a:lnTo>
                    <a:lnTo>
                      <a:pt x="2552" y="5405"/>
                    </a:lnTo>
                    <a:lnTo>
                      <a:pt x="2792" y="5401"/>
                    </a:lnTo>
                    <a:lnTo>
                      <a:pt x="2792" y="5401"/>
                    </a:lnTo>
                    <a:lnTo>
                      <a:pt x="2788" y="5361"/>
                    </a:lnTo>
                    <a:lnTo>
                      <a:pt x="2786" y="5332"/>
                    </a:lnTo>
                    <a:lnTo>
                      <a:pt x="2782" y="5313"/>
                    </a:lnTo>
                    <a:lnTo>
                      <a:pt x="2779" y="5302"/>
                    </a:lnTo>
                    <a:lnTo>
                      <a:pt x="2779" y="5302"/>
                    </a:lnTo>
                    <a:lnTo>
                      <a:pt x="2776" y="5299"/>
                    </a:lnTo>
                    <a:lnTo>
                      <a:pt x="2775" y="5298"/>
                    </a:lnTo>
                    <a:lnTo>
                      <a:pt x="2776" y="5297"/>
                    </a:lnTo>
                    <a:lnTo>
                      <a:pt x="2776" y="5298"/>
                    </a:lnTo>
                    <a:lnTo>
                      <a:pt x="2779" y="5302"/>
                    </a:lnTo>
                    <a:lnTo>
                      <a:pt x="2779" y="5302"/>
                    </a:lnTo>
                    <a:lnTo>
                      <a:pt x="2783" y="5303"/>
                    </a:lnTo>
                    <a:lnTo>
                      <a:pt x="2792" y="5303"/>
                    </a:lnTo>
                    <a:lnTo>
                      <a:pt x="2802" y="5301"/>
                    </a:lnTo>
                    <a:lnTo>
                      <a:pt x="2808" y="5299"/>
                    </a:lnTo>
                    <a:lnTo>
                      <a:pt x="2814" y="5297"/>
                    </a:lnTo>
                    <a:lnTo>
                      <a:pt x="2819" y="5293"/>
                    </a:lnTo>
                    <a:lnTo>
                      <a:pt x="2825" y="5287"/>
                    </a:lnTo>
                    <a:lnTo>
                      <a:pt x="2830" y="5280"/>
                    </a:lnTo>
                    <a:lnTo>
                      <a:pt x="2835" y="5272"/>
                    </a:lnTo>
                    <a:lnTo>
                      <a:pt x="2839" y="5263"/>
                    </a:lnTo>
                    <a:lnTo>
                      <a:pt x="2842" y="5252"/>
                    </a:lnTo>
                    <a:lnTo>
                      <a:pt x="2845" y="5239"/>
                    </a:lnTo>
                    <a:lnTo>
                      <a:pt x="2846" y="5224"/>
                    </a:lnTo>
                    <a:lnTo>
                      <a:pt x="2846" y="5224"/>
                    </a:lnTo>
                    <a:lnTo>
                      <a:pt x="2850" y="5108"/>
                    </a:lnTo>
                    <a:lnTo>
                      <a:pt x="2853" y="5001"/>
                    </a:lnTo>
                    <a:lnTo>
                      <a:pt x="2854" y="4901"/>
                    </a:lnTo>
                    <a:lnTo>
                      <a:pt x="2854" y="4808"/>
                    </a:lnTo>
                    <a:lnTo>
                      <a:pt x="2854" y="4722"/>
                    </a:lnTo>
                    <a:lnTo>
                      <a:pt x="2851" y="4642"/>
                    </a:lnTo>
                    <a:lnTo>
                      <a:pt x="2849" y="4569"/>
                    </a:lnTo>
                    <a:lnTo>
                      <a:pt x="2843" y="4502"/>
                    </a:lnTo>
                    <a:lnTo>
                      <a:pt x="2838" y="4440"/>
                    </a:lnTo>
                    <a:lnTo>
                      <a:pt x="2831" y="4383"/>
                    </a:lnTo>
                    <a:lnTo>
                      <a:pt x="2825" y="4332"/>
                    </a:lnTo>
                    <a:lnTo>
                      <a:pt x="2815" y="4285"/>
                    </a:lnTo>
                    <a:lnTo>
                      <a:pt x="2806" y="4242"/>
                    </a:lnTo>
                    <a:lnTo>
                      <a:pt x="2796" y="4205"/>
                    </a:lnTo>
                    <a:lnTo>
                      <a:pt x="2784" y="4170"/>
                    </a:lnTo>
                    <a:lnTo>
                      <a:pt x="2772" y="4137"/>
                    </a:lnTo>
                    <a:lnTo>
                      <a:pt x="2759" y="4109"/>
                    </a:lnTo>
                    <a:lnTo>
                      <a:pt x="2745" y="4082"/>
                    </a:lnTo>
                    <a:lnTo>
                      <a:pt x="2730" y="4059"/>
                    </a:lnTo>
                    <a:lnTo>
                      <a:pt x="2716" y="4038"/>
                    </a:lnTo>
                    <a:lnTo>
                      <a:pt x="2700" y="4018"/>
                    </a:lnTo>
                    <a:lnTo>
                      <a:pt x="2683" y="3999"/>
                    </a:lnTo>
                    <a:lnTo>
                      <a:pt x="2666" y="3981"/>
                    </a:lnTo>
                    <a:lnTo>
                      <a:pt x="2647" y="3964"/>
                    </a:lnTo>
                    <a:lnTo>
                      <a:pt x="2611" y="3932"/>
                    </a:lnTo>
                    <a:lnTo>
                      <a:pt x="2572" y="3898"/>
                    </a:lnTo>
                    <a:lnTo>
                      <a:pt x="2530" y="3859"/>
                    </a:lnTo>
                    <a:lnTo>
                      <a:pt x="2509" y="3839"/>
                    </a:lnTo>
                    <a:lnTo>
                      <a:pt x="2488" y="3816"/>
                    </a:lnTo>
                    <a:lnTo>
                      <a:pt x="2488" y="38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7" name="Freeform 167"/>
              <p:cNvSpPr>
                <a:spLocks/>
              </p:cNvSpPr>
              <p:nvPr/>
            </p:nvSpPr>
            <p:spPr bwMode="auto">
              <a:xfrm>
                <a:off x="22850475" y="-774700"/>
                <a:ext cx="1957388" cy="835025"/>
              </a:xfrm>
              <a:custGeom>
                <a:avLst/>
                <a:gdLst>
                  <a:gd name="T0" fmla="*/ 15 w 2468"/>
                  <a:gd name="T1" fmla="*/ 1053 h 1053"/>
                  <a:gd name="T2" fmla="*/ 268 w 2468"/>
                  <a:gd name="T3" fmla="*/ 1020 h 1053"/>
                  <a:gd name="T4" fmla="*/ 535 w 2468"/>
                  <a:gd name="T5" fmla="*/ 993 h 1053"/>
                  <a:gd name="T6" fmla="*/ 819 w 2468"/>
                  <a:gd name="T7" fmla="*/ 973 h 1053"/>
                  <a:gd name="T8" fmla="*/ 1118 w 2468"/>
                  <a:gd name="T9" fmla="*/ 959 h 1053"/>
                  <a:gd name="T10" fmla="*/ 1431 w 2468"/>
                  <a:gd name="T11" fmla="*/ 953 h 1053"/>
                  <a:gd name="T12" fmla="*/ 1759 w 2468"/>
                  <a:gd name="T13" fmla="*/ 953 h 1053"/>
                  <a:gd name="T14" fmla="*/ 2102 w 2468"/>
                  <a:gd name="T15" fmla="*/ 959 h 1053"/>
                  <a:gd name="T16" fmla="*/ 2459 w 2468"/>
                  <a:gd name="T17" fmla="*/ 973 h 1053"/>
                  <a:gd name="T18" fmla="*/ 2461 w 2468"/>
                  <a:gd name="T19" fmla="*/ 365 h 1053"/>
                  <a:gd name="T20" fmla="*/ 2464 w 2468"/>
                  <a:gd name="T21" fmla="*/ 334 h 1053"/>
                  <a:gd name="T22" fmla="*/ 2468 w 2468"/>
                  <a:gd name="T23" fmla="*/ 278 h 1053"/>
                  <a:gd name="T24" fmla="*/ 2466 w 2468"/>
                  <a:gd name="T25" fmla="*/ 244 h 1053"/>
                  <a:gd name="T26" fmla="*/ 2462 w 2468"/>
                  <a:gd name="T27" fmla="*/ 230 h 1053"/>
                  <a:gd name="T28" fmla="*/ 2455 w 2468"/>
                  <a:gd name="T29" fmla="*/ 221 h 1053"/>
                  <a:gd name="T30" fmla="*/ 2438 w 2468"/>
                  <a:gd name="T31" fmla="*/ 202 h 1053"/>
                  <a:gd name="T32" fmla="*/ 2395 w 2468"/>
                  <a:gd name="T33" fmla="*/ 165 h 1053"/>
                  <a:gd name="T34" fmla="*/ 2343 w 2468"/>
                  <a:gd name="T35" fmla="*/ 130 h 1053"/>
                  <a:gd name="T36" fmla="*/ 2283 w 2468"/>
                  <a:gd name="T37" fmla="*/ 97 h 1053"/>
                  <a:gd name="T38" fmla="*/ 2220 w 2468"/>
                  <a:gd name="T39" fmla="*/ 70 h 1053"/>
                  <a:gd name="T40" fmla="*/ 2158 w 2468"/>
                  <a:gd name="T41" fmla="*/ 50 h 1053"/>
                  <a:gd name="T42" fmla="*/ 2099 w 2468"/>
                  <a:gd name="T43" fmla="*/ 37 h 1053"/>
                  <a:gd name="T44" fmla="*/ 2047 w 2468"/>
                  <a:gd name="T45" fmla="*/ 31 h 1053"/>
                  <a:gd name="T46" fmla="*/ 2025 w 2468"/>
                  <a:gd name="T47" fmla="*/ 33 h 1053"/>
                  <a:gd name="T48" fmla="*/ 1961 w 2468"/>
                  <a:gd name="T49" fmla="*/ 37 h 1053"/>
                  <a:gd name="T50" fmla="*/ 1895 w 2468"/>
                  <a:gd name="T51" fmla="*/ 35 h 1053"/>
                  <a:gd name="T52" fmla="*/ 1830 w 2468"/>
                  <a:gd name="T53" fmla="*/ 30 h 1053"/>
                  <a:gd name="T54" fmla="*/ 1700 w 2468"/>
                  <a:gd name="T55" fmla="*/ 14 h 1053"/>
                  <a:gd name="T56" fmla="*/ 1603 w 2468"/>
                  <a:gd name="T57" fmla="*/ 3 h 1053"/>
                  <a:gd name="T58" fmla="*/ 1537 w 2468"/>
                  <a:gd name="T59" fmla="*/ 0 h 1053"/>
                  <a:gd name="T60" fmla="*/ 1505 w 2468"/>
                  <a:gd name="T61" fmla="*/ 0 h 1053"/>
                  <a:gd name="T62" fmla="*/ 990 w 2468"/>
                  <a:gd name="T63" fmla="*/ 14 h 1053"/>
                  <a:gd name="T64" fmla="*/ 812 w 2468"/>
                  <a:gd name="T65" fmla="*/ 14 h 1053"/>
                  <a:gd name="T66" fmla="*/ 769 w 2468"/>
                  <a:gd name="T67" fmla="*/ 14 h 1053"/>
                  <a:gd name="T68" fmla="*/ 686 w 2468"/>
                  <a:gd name="T69" fmla="*/ 23 h 1053"/>
                  <a:gd name="T70" fmla="*/ 601 w 2468"/>
                  <a:gd name="T71" fmla="*/ 39 h 1053"/>
                  <a:gd name="T72" fmla="*/ 515 w 2468"/>
                  <a:gd name="T73" fmla="*/ 61 h 1053"/>
                  <a:gd name="T74" fmla="*/ 388 w 2468"/>
                  <a:gd name="T75" fmla="*/ 100 h 1053"/>
                  <a:gd name="T76" fmla="*/ 219 w 2468"/>
                  <a:gd name="T77" fmla="*/ 154 h 1053"/>
                  <a:gd name="T78" fmla="*/ 136 w 2468"/>
                  <a:gd name="T79" fmla="*/ 177 h 1053"/>
                  <a:gd name="T80" fmla="*/ 119 w 2468"/>
                  <a:gd name="T81" fmla="*/ 182 h 1053"/>
                  <a:gd name="T82" fmla="*/ 86 w 2468"/>
                  <a:gd name="T83" fmla="*/ 197 h 1053"/>
                  <a:gd name="T84" fmla="*/ 61 w 2468"/>
                  <a:gd name="T85" fmla="*/ 214 h 1053"/>
                  <a:gd name="T86" fmla="*/ 41 w 2468"/>
                  <a:gd name="T87" fmla="*/ 234 h 1053"/>
                  <a:gd name="T88" fmla="*/ 25 w 2468"/>
                  <a:gd name="T89" fmla="*/ 259 h 1053"/>
                  <a:gd name="T90" fmla="*/ 14 w 2468"/>
                  <a:gd name="T91" fmla="*/ 286 h 1053"/>
                  <a:gd name="T92" fmla="*/ 6 w 2468"/>
                  <a:gd name="T93" fmla="*/ 314 h 1053"/>
                  <a:gd name="T94" fmla="*/ 0 w 2468"/>
                  <a:gd name="T95" fmla="*/ 360 h 1053"/>
                  <a:gd name="T96" fmla="*/ 2 w 2468"/>
                  <a:gd name="T97" fmla="*/ 425 h 1053"/>
                  <a:gd name="T98" fmla="*/ 7 w 2468"/>
                  <a:gd name="T99" fmla="*/ 491 h 1053"/>
                  <a:gd name="T100" fmla="*/ 18 w 2468"/>
                  <a:gd name="T101" fmla="*/ 585 h 1053"/>
                  <a:gd name="T102" fmla="*/ 20 w 2468"/>
                  <a:gd name="T103" fmla="*/ 615 h 1053"/>
                  <a:gd name="T104" fmla="*/ 22 w 2468"/>
                  <a:gd name="T105" fmla="*/ 724 h 1053"/>
                  <a:gd name="T106" fmla="*/ 18 w 2468"/>
                  <a:gd name="T107" fmla="*/ 943 h 1053"/>
                  <a:gd name="T108" fmla="*/ 15 w 2468"/>
                  <a:gd name="T109" fmla="*/ 1053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53">
                    <a:moveTo>
                      <a:pt x="15" y="1053"/>
                    </a:moveTo>
                    <a:lnTo>
                      <a:pt x="15" y="1053"/>
                    </a:lnTo>
                    <a:lnTo>
                      <a:pt x="140" y="1036"/>
                    </a:lnTo>
                    <a:lnTo>
                      <a:pt x="268" y="1020"/>
                    </a:lnTo>
                    <a:lnTo>
                      <a:pt x="400" y="1006"/>
                    </a:lnTo>
                    <a:lnTo>
                      <a:pt x="535" y="993"/>
                    </a:lnTo>
                    <a:lnTo>
                      <a:pt x="675" y="982"/>
                    </a:lnTo>
                    <a:lnTo>
                      <a:pt x="819" y="973"/>
                    </a:lnTo>
                    <a:lnTo>
                      <a:pt x="967" y="966"/>
                    </a:lnTo>
                    <a:lnTo>
                      <a:pt x="1118" y="959"/>
                    </a:lnTo>
                    <a:lnTo>
                      <a:pt x="1272" y="955"/>
                    </a:lnTo>
                    <a:lnTo>
                      <a:pt x="1431" y="953"/>
                    </a:lnTo>
                    <a:lnTo>
                      <a:pt x="1594" y="951"/>
                    </a:lnTo>
                    <a:lnTo>
                      <a:pt x="1759" y="953"/>
                    </a:lnTo>
                    <a:lnTo>
                      <a:pt x="1928" y="955"/>
                    </a:lnTo>
                    <a:lnTo>
                      <a:pt x="2102" y="959"/>
                    </a:lnTo>
                    <a:lnTo>
                      <a:pt x="2279" y="965"/>
                    </a:lnTo>
                    <a:lnTo>
                      <a:pt x="2459" y="973"/>
                    </a:lnTo>
                    <a:lnTo>
                      <a:pt x="2459" y="973"/>
                    </a:lnTo>
                    <a:lnTo>
                      <a:pt x="2461" y="365"/>
                    </a:lnTo>
                    <a:lnTo>
                      <a:pt x="2461" y="365"/>
                    </a:lnTo>
                    <a:lnTo>
                      <a:pt x="2464" y="334"/>
                    </a:lnTo>
                    <a:lnTo>
                      <a:pt x="2466" y="296"/>
                    </a:lnTo>
                    <a:lnTo>
                      <a:pt x="2468" y="278"/>
                    </a:lnTo>
                    <a:lnTo>
                      <a:pt x="2468" y="259"/>
                    </a:lnTo>
                    <a:lnTo>
                      <a:pt x="2466" y="244"/>
                    </a:lnTo>
                    <a:lnTo>
                      <a:pt x="2464" y="237"/>
                    </a:lnTo>
                    <a:lnTo>
                      <a:pt x="2462" y="230"/>
                    </a:lnTo>
                    <a:lnTo>
                      <a:pt x="2462" y="230"/>
                    </a:lnTo>
                    <a:lnTo>
                      <a:pt x="2455" y="221"/>
                    </a:lnTo>
                    <a:lnTo>
                      <a:pt x="2455" y="221"/>
                    </a:lnTo>
                    <a:lnTo>
                      <a:pt x="2438" y="202"/>
                    </a:lnTo>
                    <a:lnTo>
                      <a:pt x="2419" y="183"/>
                    </a:lnTo>
                    <a:lnTo>
                      <a:pt x="2395" y="165"/>
                    </a:lnTo>
                    <a:lnTo>
                      <a:pt x="2371" y="147"/>
                    </a:lnTo>
                    <a:lnTo>
                      <a:pt x="2343" y="130"/>
                    </a:lnTo>
                    <a:lnTo>
                      <a:pt x="2313" y="113"/>
                    </a:lnTo>
                    <a:lnTo>
                      <a:pt x="2283" y="97"/>
                    </a:lnTo>
                    <a:lnTo>
                      <a:pt x="2252" y="84"/>
                    </a:lnTo>
                    <a:lnTo>
                      <a:pt x="2220" y="70"/>
                    </a:lnTo>
                    <a:lnTo>
                      <a:pt x="2189" y="60"/>
                    </a:lnTo>
                    <a:lnTo>
                      <a:pt x="2158" y="50"/>
                    </a:lnTo>
                    <a:lnTo>
                      <a:pt x="2127" y="42"/>
                    </a:lnTo>
                    <a:lnTo>
                      <a:pt x="2099" y="37"/>
                    </a:lnTo>
                    <a:lnTo>
                      <a:pt x="2072" y="33"/>
                    </a:lnTo>
                    <a:lnTo>
                      <a:pt x="2047" y="31"/>
                    </a:lnTo>
                    <a:lnTo>
                      <a:pt x="2025" y="33"/>
                    </a:lnTo>
                    <a:lnTo>
                      <a:pt x="2025" y="33"/>
                    </a:lnTo>
                    <a:lnTo>
                      <a:pt x="1993" y="35"/>
                    </a:lnTo>
                    <a:lnTo>
                      <a:pt x="1961" y="37"/>
                    </a:lnTo>
                    <a:lnTo>
                      <a:pt x="1928" y="37"/>
                    </a:lnTo>
                    <a:lnTo>
                      <a:pt x="1895" y="35"/>
                    </a:lnTo>
                    <a:lnTo>
                      <a:pt x="1863" y="33"/>
                    </a:lnTo>
                    <a:lnTo>
                      <a:pt x="1830" y="30"/>
                    </a:lnTo>
                    <a:lnTo>
                      <a:pt x="1766" y="22"/>
                    </a:lnTo>
                    <a:lnTo>
                      <a:pt x="1700" y="14"/>
                    </a:lnTo>
                    <a:lnTo>
                      <a:pt x="1635" y="6"/>
                    </a:lnTo>
                    <a:lnTo>
                      <a:pt x="1603" y="3"/>
                    </a:lnTo>
                    <a:lnTo>
                      <a:pt x="1571" y="2"/>
                    </a:lnTo>
                    <a:lnTo>
                      <a:pt x="1537" y="0"/>
                    </a:lnTo>
                    <a:lnTo>
                      <a:pt x="1505" y="0"/>
                    </a:lnTo>
                    <a:lnTo>
                      <a:pt x="1505" y="0"/>
                    </a:lnTo>
                    <a:lnTo>
                      <a:pt x="1158" y="10"/>
                    </a:lnTo>
                    <a:lnTo>
                      <a:pt x="990" y="14"/>
                    </a:lnTo>
                    <a:lnTo>
                      <a:pt x="903" y="14"/>
                    </a:lnTo>
                    <a:lnTo>
                      <a:pt x="812" y="14"/>
                    </a:lnTo>
                    <a:lnTo>
                      <a:pt x="812" y="14"/>
                    </a:lnTo>
                    <a:lnTo>
                      <a:pt x="769" y="14"/>
                    </a:lnTo>
                    <a:lnTo>
                      <a:pt x="728" y="18"/>
                    </a:lnTo>
                    <a:lnTo>
                      <a:pt x="686" y="23"/>
                    </a:lnTo>
                    <a:lnTo>
                      <a:pt x="643" y="30"/>
                    </a:lnTo>
                    <a:lnTo>
                      <a:pt x="601" y="39"/>
                    </a:lnTo>
                    <a:lnTo>
                      <a:pt x="558" y="50"/>
                    </a:lnTo>
                    <a:lnTo>
                      <a:pt x="515" y="61"/>
                    </a:lnTo>
                    <a:lnTo>
                      <a:pt x="474" y="73"/>
                    </a:lnTo>
                    <a:lnTo>
                      <a:pt x="388" y="100"/>
                    </a:lnTo>
                    <a:lnTo>
                      <a:pt x="303" y="128"/>
                    </a:lnTo>
                    <a:lnTo>
                      <a:pt x="219" y="154"/>
                    </a:lnTo>
                    <a:lnTo>
                      <a:pt x="178" y="166"/>
                    </a:lnTo>
                    <a:lnTo>
                      <a:pt x="136" y="177"/>
                    </a:lnTo>
                    <a:lnTo>
                      <a:pt x="136" y="177"/>
                    </a:lnTo>
                    <a:lnTo>
                      <a:pt x="119" y="182"/>
                    </a:lnTo>
                    <a:lnTo>
                      <a:pt x="101" y="189"/>
                    </a:lnTo>
                    <a:lnTo>
                      <a:pt x="86" y="197"/>
                    </a:lnTo>
                    <a:lnTo>
                      <a:pt x="73" y="205"/>
                    </a:lnTo>
                    <a:lnTo>
                      <a:pt x="61" y="214"/>
                    </a:lnTo>
                    <a:lnTo>
                      <a:pt x="50" y="224"/>
                    </a:lnTo>
                    <a:lnTo>
                      <a:pt x="41" y="234"/>
                    </a:lnTo>
                    <a:lnTo>
                      <a:pt x="33" y="247"/>
                    </a:lnTo>
                    <a:lnTo>
                      <a:pt x="25" y="259"/>
                    </a:lnTo>
                    <a:lnTo>
                      <a:pt x="19" y="272"/>
                    </a:lnTo>
                    <a:lnTo>
                      <a:pt x="14" y="286"/>
                    </a:lnTo>
                    <a:lnTo>
                      <a:pt x="10" y="299"/>
                    </a:lnTo>
                    <a:lnTo>
                      <a:pt x="6" y="314"/>
                    </a:lnTo>
                    <a:lnTo>
                      <a:pt x="3" y="329"/>
                    </a:lnTo>
                    <a:lnTo>
                      <a:pt x="0" y="360"/>
                    </a:lnTo>
                    <a:lnTo>
                      <a:pt x="0" y="392"/>
                    </a:lnTo>
                    <a:lnTo>
                      <a:pt x="2" y="425"/>
                    </a:lnTo>
                    <a:lnTo>
                      <a:pt x="4" y="458"/>
                    </a:lnTo>
                    <a:lnTo>
                      <a:pt x="7" y="491"/>
                    </a:lnTo>
                    <a:lnTo>
                      <a:pt x="15" y="556"/>
                    </a:lnTo>
                    <a:lnTo>
                      <a:pt x="18" y="585"/>
                    </a:lnTo>
                    <a:lnTo>
                      <a:pt x="20" y="615"/>
                    </a:lnTo>
                    <a:lnTo>
                      <a:pt x="20" y="615"/>
                    </a:lnTo>
                    <a:lnTo>
                      <a:pt x="22" y="669"/>
                    </a:lnTo>
                    <a:lnTo>
                      <a:pt x="22" y="724"/>
                    </a:lnTo>
                    <a:lnTo>
                      <a:pt x="20" y="834"/>
                    </a:lnTo>
                    <a:lnTo>
                      <a:pt x="18" y="943"/>
                    </a:lnTo>
                    <a:lnTo>
                      <a:pt x="15" y="1053"/>
                    </a:lnTo>
                    <a:lnTo>
                      <a:pt x="15" y="10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8" name="Freeform 168"/>
              <p:cNvSpPr>
                <a:spLocks/>
              </p:cNvSpPr>
              <p:nvPr/>
            </p:nvSpPr>
            <p:spPr bwMode="auto">
              <a:xfrm>
                <a:off x="25177750" y="-784225"/>
                <a:ext cx="1958975" cy="857250"/>
              </a:xfrm>
              <a:custGeom>
                <a:avLst/>
                <a:gdLst>
                  <a:gd name="T0" fmla="*/ 8 w 2468"/>
                  <a:gd name="T1" fmla="*/ 981 h 1082"/>
                  <a:gd name="T2" fmla="*/ 368 w 2468"/>
                  <a:gd name="T3" fmla="*/ 969 h 1082"/>
                  <a:gd name="T4" fmla="*/ 712 w 2468"/>
                  <a:gd name="T5" fmla="*/ 965 h 1082"/>
                  <a:gd name="T6" fmla="*/ 1040 w 2468"/>
                  <a:gd name="T7" fmla="*/ 966 h 1082"/>
                  <a:gd name="T8" fmla="*/ 1355 w 2468"/>
                  <a:gd name="T9" fmla="*/ 975 h 1082"/>
                  <a:gd name="T10" fmla="*/ 1654 w 2468"/>
                  <a:gd name="T11" fmla="*/ 991 h 1082"/>
                  <a:gd name="T12" fmla="*/ 1936 w 2468"/>
                  <a:gd name="T13" fmla="*/ 1014 h 1082"/>
                  <a:gd name="T14" fmla="*/ 2202 w 2468"/>
                  <a:gd name="T15" fmla="*/ 1044 h 1082"/>
                  <a:gd name="T16" fmla="*/ 2452 w 2468"/>
                  <a:gd name="T17" fmla="*/ 1082 h 1082"/>
                  <a:gd name="T18" fmla="*/ 2450 w 2468"/>
                  <a:gd name="T19" fmla="*/ 967 h 1082"/>
                  <a:gd name="T20" fmla="*/ 2445 w 2468"/>
                  <a:gd name="T21" fmla="*/ 740 h 1082"/>
                  <a:gd name="T22" fmla="*/ 2447 w 2468"/>
                  <a:gd name="T23" fmla="*/ 627 h 1082"/>
                  <a:gd name="T24" fmla="*/ 2450 w 2468"/>
                  <a:gd name="T25" fmla="*/ 597 h 1082"/>
                  <a:gd name="T26" fmla="*/ 2460 w 2468"/>
                  <a:gd name="T27" fmla="*/ 503 h 1082"/>
                  <a:gd name="T28" fmla="*/ 2467 w 2468"/>
                  <a:gd name="T29" fmla="*/ 437 h 1082"/>
                  <a:gd name="T30" fmla="*/ 2467 w 2468"/>
                  <a:gd name="T31" fmla="*/ 372 h 1082"/>
                  <a:gd name="T32" fmla="*/ 2462 w 2468"/>
                  <a:gd name="T33" fmla="*/ 326 h 1082"/>
                  <a:gd name="T34" fmla="*/ 2454 w 2468"/>
                  <a:gd name="T35" fmla="*/ 298 h 1082"/>
                  <a:gd name="T36" fmla="*/ 2443 w 2468"/>
                  <a:gd name="T37" fmla="*/ 271 h 1082"/>
                  <a:gd name="T38" fmla="*/ 2427 w 2468"/>
                  <a:gd name="T39" fmla="*/ 246 h 1082"/>
                  <a:gd name="T40" fmla="*/ 2406 w 2468"/>
                  <a:gd name="T41" fmla="*/ 226 h 1082"/>
                  <a:gd name="T42" fmla="*/ 2381 w 2468"/>
                  <a:gd name="T43" fmla="*/ 209 h 1082"/>
                  <a:gd name="T44" fmla="*/ 2350 w 2468"/>
                  <a:gd name="T45" fmla="*/ 194 h 1082"/>
                  <a:gd name="T46" fmla="*/ 2331 w 2468"/>
                  <a:gd name="T47" fmla="*/ 189 h 1082"/>
                  <a:gd name="T48" fmla="*/ 2248 w 2468"/>
                  <a:gd name="T49" fmla="*/ 166 h 1082"/>
                  <a:gd name="T50" fmla="*/ 2080 w 2468"/>
                  <a:gd name="T51" fmla="*/ 108 h 1082"/>
                  <a:gd name="T52" fmla="*/ 1952 w 2468"/>
                  <a:gd name="T53" fmla="*/ 66 h 1082"/>
                  <a:gd name="T54" fmla="*/ 1866 w 2468"/>
                  <a:gd name="T55" fmla="*/ 42 h 1082"/>
                  <a:gd name="T56" fmla="*/ 1781 w 2468"/>
                  <a:gd name="T57" fmla="*/ 25 h 1082"/>
                  <a:gd name="T58" fmla="*/ 1698 w 2468"/>
                  <a:gd name="T59" fmla="*/ 15 h 1082"/>
                  <a:gd name="T60" fmla="*/ 1656 w 2468"/>
                  <a:gd name="T61" fmla="*/ 14 h 1082"/>
                  <a:gd name="T62" fmla="*/ 1468 w 2468"/>
                  <a:gd name="T63" fmla="*/ 14 h 1082"/>
                  <a:gd name="T64" fmla="*/ 1093 w 2468"/>
                  <a:gd name="T65" fmla="*/ 6 h 1082"/>
                  <a:gd name="T66" fmla="*/ 905 w 2468"/>
                  <a:gd name="T67" fmla="*/ 0 h 1082"/>
                  <a:gd name="T68" fmla="*/ 840 w 2468"/>
                  <a:gd name="T69" fmla="*/ 2 h 1082"/>
                  <a:gd name="T70" fmla="*/ 774 w 2468"/>
                  <a:gd name="T71" fmla="*/ 7 h 1082"/>
                  <a:gd name="T72" fmla="*/ 644 w 2468"/>
                  <a:gd name="T73" fmla="*/ 22 h 1082"/>
                  <a:gd name="T74" fmla="*/ 547 w 2468"/>
                  <a:gd name="T75" fmla="*/ 33 h 1082"/>
                  <a:gd name="T76" fmla="*/ 482 w 2468"/>
                  <a:gd name="T77" fmla="*/ 37 h 1082"/>
                  <a:gd name="T78" fmla="*/ 417 w 2468"/>
                  <a:gd name="T79" fmla="*/ 35 h 1082"/>
                  <a:gd name="T80" fmla="*/ 384 w 2468"/>
                  <a:gd name="T81" fmla="*/ 33 h 1082"/>
                  <a:gd name="T82" fmla="*/ 340 w 2468"/>
                  <a:gd name="T83" fmla="*/ 34 h 1082"/>
                  <a:gd name="T84" fmla="*/ 292 w 2468"/>
                  <a:gd name="T85" fmla="*/ 45 h 1082"/>
                  <a:gd name="T86" fmla="*/ 239 w 2468"/>
                  <a:gd name="T87" fmla="*/ 64 h 1082"/>
                  <a:gd name="T88" fmla="*/ 187 w 2468"/>
                  <a:gd name="T89" fmla="*/ 90 h 1082"/>
                  <a:gd name="T90" fmla="*/ 136 w 2468"/>
                  <a:gd name="T91" fmla="*/ 121 h 1082"/>
                  <a:gd name="T92" fmla="*/ 88 w 2468"/>
                  <a:gd name="T93" fmla="*/ 156 h 1082"/>
                  <a:gd name="T94" fmla="*/ 47 w 2468"/>
                  <a:gd name="T95" fmla="*/ 194 h 1082"/>
                  <a:gd name="T96" fmla="*/ 12 w 2468"/>
                  <a:gd name="T97" fmla="*/ 233 h 1082"/>
                  <a:gd name="T98" fmla="*/ 6 w 2468"/>
                  <a:gd name="T99" fmla="*/ 242 h 1082"/>
                  <a:gd name="T100" fmla="*/ 4 w 2468"/>
                  <a:gd name="T101" fmla="*/ 249 h 1082"/>
                  <a:gd name="T102" fmla="*/ 0 w 2468"/>
                  <a:gd name="T103" fmla="*/ 271 h 1082"/>
                  <a:gd name="T104" fmla="*/ 1 w 2468"/>
                  <a:gd name="T105" fmla="*/ 308 h 1082"/>
                  <a:gd name="T106" fmla="*/ 6 w 2468"/>
                  <a:gd name="T107" fmla="*/ 377 h 1082"/>
                  <a:gd name="T108" fmla="*/ 8 w 2468"/>
                  <a:gd name="T109" fmla="*/ 981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82">
                    <a:moveTo>
                      <a:pt x="8" y="981"/>
                    </a:moveTo>
                    <a:lnTo>
                      <a:pt x="8" y="981"/>
                    </a:lnTo>
                    <a:lnTo>
                      <a:pt x="189" y="974"/>
                    </a:lnTo>
                    <a:lnTo>
                      <a:pt x="368" y="969"/>
                    </a:lnTo>
                    <a:lnTo>
                      <a:pt x="542" y="966"/>
                    </a:lnTo>
                    <a:lnTo>
                      <a:pt x="712" y="965"/>
                    </a:lnTo>
                    <a:lnTo>
                      <a:pt x="878" y="965"/>
                    </a:lnTo>
                    <a:lnTo>
                      <a:pt x="1040" y="966"/>
                    </a:lnTo>
                    <a:lnTo>
                      <a:pt x="1200" y="970"/>
                    </a:lnTo>
                    <a:lnTo>
                      <a:pt x="1355" y="975"/>
                    </a:lnTo>
                    <a:lnTo>
                      <a:pt x="1506" y="982"/>
                    </a:lnTo>
                    <a:lnTo>
                      <a:pt x="1654" y="991"/>
                    </a:lnTo>
                    <a:lnTo>
                      <a:pt x="1796" y="1002"/>
                    </a:lnTo>
                    <a:lnTo>
                      <a:pt x="1936" y="1014"/>
                    </a:lnTo>
                    <a:lnTo>
                      <a:pt x="2070" y="1029"/>
                    </a:lnTo>
                    <a:lnTo>
                      <a:pt x="2202" y="1044"/>
                    </a:lnTo>
                    <a:lnTo>
                      <a:pt x="2330" y="1061"/>
                    </a:lnTo>
                    <a:lnTo>
                      <a:pt x="2452" y="1082"/>
                    </a:lnTo>
                    <a:lnTo>
                      <a:pt x="2452" y="1082"/>
                    </a:lnTo>
                    <a:lnTo>
                      <a:pt x="2450" y="967"/>
                    </a:lnTo>
                    <a:lnTo>
                      <a:pt x="2447" y="854"/>
                    </a:lnTo>
                    <a:lnTo>
                      <a:pt x="2445" y="740"/>
                    </a:lnTo>
                    <a:lnTo>
                      <a:pt x="2445" y="684"/>
                    </a:lnTo>
                    <a:lnTo>
                      <a:pt x="2447" y="627"/>
                    </a:lnTo>
                    <a:lnTo>
                      <a:pt x="2447" y="627"/>
                    </a:lnTo>
                    <a:lnTo>
                      <a:pt x="2450" y="597"/>
                    </a:lnTo>
                    <a:lnTo>
                      <a:pt x="2452" y="568"/>
                    </a:lnTo>
                    <a:lnTo>
                      <a:pt x="2460" y="503"/>
                    </a:lnTo>
                    <a:lnTo>
                      <a:pt x="2464" y="470"/>
                    </a:lnTo>
                    <a:lnTo>
                      <a:pt x="2467" y="437"/>
                    </a:lnTo>
                    <a:lnTo>
                      <a:pt x="2468" y="404"/>
                    </a:lnTo>
                    <a:lnTo>
                      <a:pt x="2467" y="372"/>
                    </a:lnTo>
                    <a:lnTo>
                      <a:pt x="2464" y="341"/>
                    </a:lnTo>
                    <a:lnTo>
                      <a:pt x="2462" y="326"/>
                    </a:lnTo>
                    <a:lnTo>
                      <a:pt x="2459" y="311"/>
                    </a:lnTo>
                    <a:lnTo>
                      <a:pt x="2454" y="298"/>
                    </a:lnTo>
                    <a:lnTo>
                      <a:pt x="2450" y="284"/>
                    </a:lnTo>
                    <a:lnTo>
                      <a:pt x="2443" y="271"/>
                    </a:lnTo>
                    <a:lnTo>
                      <a:pt x="2436" y="259"/>
                    </a:lnTo>
                    <a:lnTo>
                      <a:pt x="2427" y="246"/>
                    </a:lnTo>
                    <a:lnTo>
                      <a:pt x="2417" y="236"/>
                    </a:lnTo>
                    <a:lnTo>
                      <a:pt x="2406" y="226"/>
                    </a:lnTo>
                    <a:lnTo>
                      <a:pt x="2394" y="217"/>
                    </a:lnTo>
                    <a:lnTo>
                      <a:pt x="2381" y="209"/>
                    </a:lnTo>
                    <a:lnTo>
                      <a:pt x="2366" y="201"/>
                    </a:lnTo>
                    <a:lnTo>
                      <a:pt x="2350" y="194"/>
                    </a:lnTo>
                    <a:lnTo>
                      <a:pt x="2331" y="189"/>
                    </a:lnTo>
                    <a:lnTo>
                      <a:pt x="2331" y="189"/>
                    </a:lnTo>
                    <a:lnTo>
                      <a:pt x="2290" y="178"/>
                    </a:lnTo>
                    <a:lnTo>
                      <a:pt x="2248" y="166"/>
                    </a:lnTo>
                    <a:lnTo>
                      <a:pt x="2164" y="138"/>
                    </a:lnTo>
                    <a:lnTo>
                      <a:pt x="2080" y="108"/>
                    </a:lnTo>
                    <a:lnTo>
                      <a:pt x="1995" y="80"/>
                    </a:lnTo>
                    <a:lnTo>
                      <a:pt x="1952" y="66"/>
                    </a:lnTo>
                    <a:lnTo>
                      <a:pt x="1909" y="54"/>
                    </a:lnTo>
                    <a:lnTo>
                      <a:pt x="1866" y="42"/>
                    </a:lnTo>
                    <a:lnTo>
                      <a:pt x="1824" y="33"/>
                    </a:lnTo>
                    <a:lnTo>
                      <a:pt x="1781" y="25"/>
                    </a:lnTo>
                    <a:lnTo>
                      <a:pt x="1740" y="19"/>
                    </a:lnTo>
                    <a:lnTo>
                      <a:pt x="1698" y="15"/>
                    </a:lnTo>
                    <a:lnTo>
                      <a:pt x="1656" y="14"/>
                    </a:lnTo>
                    <a:lnTo>
                      <a:pt x="1656" y="14"/>
                    </a:lnTo>
                    <a:lnTo>
                      <a:pt x="1562" y="14"/>
                    </a:lnTo>
                    <a:lnTo>
                      <a:pt x="1468" y="14"/>
                    </a:lnTo>
                    <a:lnTo>
                      <a:pt x="1280" y="11"/>
                    </a:lnTo>
                    <a:lnTo>
                      <a:pt x="1093" y="6"/>
                    </a:lnTo>
                    <a:lnTo>
                      <a:pt x="905" y="0"/>
                    </a:lnTo>
                    <a:lnTo>
                      <a:pt x="905" y="0"/>
                    </a:lnTo>
                    <a:lnTo>
                      <a:pt x="872" y="0"/>
                    </a:lnTo>
                    <a:lnTo>
                      <a:pt x="840" y="2"/>
                    </a:lnTo>
                    <a:lnTo>
                      <a:pt x="806" y="3"/>
                    </a:lnTo>
                    <a:lnTo>
                      <a:pt x="774" y="7"/>
                    </a:lnTo>
                    <a:lnTo>
                      <a:pt x="710" y="14"/>
                    </a:lnTo>
                    <a:lnTo>
                      <a:pt x="644" y="22"/>
                    </a:lnTo>
                    <a:lnTo>
                      <a:pt x="579" y="30"/>
                    </a:lnTo>
                    <a:lnTo>
                      <a:pt x="547" y="33"/>
                    </a:lnTo>
                    <a:lnTo>
                      <a:pt x="515" y="35"/>
                    </a:lnTo>
                    <a:lnTo>
                      <a:pt x="482" y="37"/>
                    </a:lnTo>
                    <a:lnTo>
                      <a:pt x="450" y="37"/>
                    </a:lnTo>
                    <a:lnTo>
                      <a:pt x="417" y="35"/>
                    </a:lnTo>
                    <a:lnTo>
                      <a:pt x="384" y="33"/>
                    </a:lnTo>
                    <a:lnTo>
                      <a:pt x="384" y="33"/>
                    </a:lnTo>
                    <a:lnTo>
                      <a:pt x="363" y="33"/>
                    </a:lnTo>
                    <a:lnTo>
                      <a:pt x="340" y="34"/>
                    </a:lnTo>
                    <a:lnTo>
                      <a:pt x="316" y="38"/>
                    </a:lnTo>
                    <a:lnTo>
                      <a:pt x="292" y="45"/>
                    </a:lnTo>
                    <a:lnTo>
                      <a:pt x="266" y="53"/>
                    </a:lnTo>
                    <a:lnTo>
                      <a:pt x="239" y="64"/>
                    </a:lnTo>
                    <a:lnTo>
                      <a:pt x="214" y="76"/>
                    </a:lnTo>
                    <a:lnTo>
                      <a:pt x="187" y="90"/>
                    </a:lnTo>
                    <a:lnTo>
                      <a:pt x="161" y="105"/>
                    </a:lnTo>
                    <a:lnTo>
                      <a:pt x="136" y="121"/>
                    </a:lnTo>
                    <a:lnTo>
                      <a:pt x="111" y="139"/>
                    </a:lnTo>
                    <a:lnTo>
                      <a:pt x="88" y="156"/>
                    </a:lnTo>
                    <a:lnTo>
                      <a:pt x="67" y="175"/>
                    </a:lnTo>
                    <a:lnTo>
                      <a:pt x="47" y="194"/>
                    </a:lnTo>
                    <a:lnTo>
                      <a:pt x="28" y="214"/>
                    </a:lnTo>
                    <a:lnTo>
                      <a:pt x="12" y="233"/>
                    </a:lnTo>
                    <a:lnTo>
                      <a:pt x="12" y="233"/>
                    </a:lnTo>
                    <a:lnTo>
                      <a:pt x="6" y="242"/>
                    </a:lnTo>
                    <a:lnTo>
                      <a:pt x="6" y="242"/>
                    </a:lnTo>
                    <a:lnTo>
                      <a:pt x="4" y="249"/>
                    </a:lnTo>
                    <a:lnTo>
                      <a:pt x="1" y="256"/>
                    </a:lnTo>
                    <a:lnTo>
                      <a:pt x="0" y="271"/>
                    </a:lnTo>
                    <a:lnTo>
                      <a:pt x="0" y="290"/>
                    </a:lnTo>
                    <a:lnTo>
                      <a:pt x="1" y="308"/>
                    </a:lnTo>
                    <a:lnTo>
                      <a:pt x="4" y="346"/>
                    </a:lnTo>
                    <a:lnTo>
                      <a:pt x="6" y="377"/>
                    </a:lnTo>
                    <a:lnTo>
                      <a:pt x="6" y="377"/>
                    </a:lnTo>
                    <a:lnTo>
                      <a:pt x="8" y="981"/>
                    </a:lnTo>
                    <a:lnTo>
                      <a:pt x="8" y="9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9" name="Freeform 169"/>
              <p:cNvSpPr>
                <a:spLocks/>
              </p:cNvSpPr>
              <p:nvPr/>
            </p:nvSpPr>
            <p:spPr bwMode="auto">
              <a:xfrm>
                <a:off x="25071388" y="117475"/>
                <a:ext cx="2287588" cy="4313238"/>
              </a:xfrm>
              <a:custGeom>
                <a:avLst/>
                <a:gdLst>
                  <a:gd name="T0" fmla="*/ 2732 w 2881"/>
                  <a:gd name="T1" fmla="*/ 4699 h 5434"/>
                  <a:gd name="T2" fmla="*/ 2667 w 2881"/>
                  <a:gd name="T3" fmla="*/ 4451 h 5434"/>
                  <a:gd name="T4" fmla="*/ 2565 w 2881"/>
                  <a:gd name="T5" fmla="*/ 3864 h 5434"/>
                  <a:gd name="T6" fmla="*/ 2517 w 2881"/>
                  <a:gd name="T7" fmla="*/ 3487 h 5434"/>
                  <a:gd name="T8" fmla="*/ 2514 w 2881"/>
                  <a:gd name="T9" fmla="*/ 3144 h 5434"/>
                  <a:gd name="T10" fmla="*/ 2564 w 2881"/>
                  <a:gd name="T11" fmla="*/ 2600 h 5434"/>
                  <a:gd name="T12" fmla="*/ 2583 w 2881"/>
                  <a:gd name="T13" fmla="*/ 2318 h 5434"/>
                  <a:gd name="T14" fmla="*/ 2588 w 2881"/>
                  <a:gd name="T15" fmla="*/ 1593 h 5434"/>
                  <a:gd name="T16" fmla="*/ 2589 w 2881"/>
                  <a:gd name="T17" fmla="*/ 1215 h 5434"/>
                  <a:gd name="T18" fmla="*/ 2585 w 2881"/>
                  <a:gd name="T19" fmla="*/ 277 h 5434"/>
                  <a:gd name="T20" fmla="*/ 2206 w 2881"/>
                  <a:gd name="T21" fmla="*/ 66 h 5434"/>
                  <a:gd name="T22" fmla="*/ 1492 w 2881"/>
                  <a:gd name="T23" fmla="*/ 12 h 5434"/>
                  <a:gd name="T24" fmla="*/ 677 w 2881"/>
                  <a:gd name="T25" fmla="*/ 1 h 5434"/>
                  <a:gd name="T26" fmla="*/ 142 w 2881"/>
                  <a:gd name="T27" fmla="*/ 408 h 5434"/>
                  <a:gd name="T28" fmla="*/ 148 w 2881"/>
                  <a:gd name="T29" fmla="*/ 1452 h 5434"/>
                  <a:gd name="T30" fmla="*/ 205 w 2881"/>
                  <a:gd name="T31" fmla="*/ 2306 h 5434"/>
                  <a:gd name="T32" fmla="*/ 236 w 2881"/>
                  <a:gd name="T33" fmla="*/ 2963 h 5434"/>
                  <a:gd name="T34" fmla="*/ 217 w 2881"/>
                  <a:gd name="T35" fmla="*/ 3633 h 5434"/>
                  <a:gd name="T36" fmla="*/ 240 w 2881"/>
                  <a:gd name="T37" fmla="*/ 3854 h 5434"/>
                  <a:gd name="T38" fmla="*/ 376 w 2881"/>
                  <a:gd name="T39" fmla="*/ 3726 h 5434"/>
                  <a:gd name="T40" fmla="*/ 529 w 2881"/>
                  <a:gd name="T41" fmla="*/ 3632 h 5434"/>
                  <a:gd name="T42" fmla="*/ 696 w 2881"/>
                  <a:gd name="T43" fmla="*/ 3567 h 5434"/>
                  <a:gd name="T44" fmla="*/ 875 w 2881"/>
                  <a:gd name="T45" fmla="*/ 3528 h 5434"/>
                  <a:gd name="T46" fmla="*/ 1187 w 2881"/>
                  <a:gd name="T47" fmla="*/ 3508 h 5434"/>
                  <a:gd name="T48" fmla="*/ 1403 w 2881"/>
                  <a:gd name="T49" fmla="*/ 3520 h 5434"/>
                  <a:gd name="T50" fmla="*/ 1637 w 2881"/>
                  <a:gd name="T51" fmla="*/ 3556 h 5434"/>
                  <a:gd name="T52" fmla="*/ 1842 w 2881"/>
                  <a:gd name="T53" fmla="*/ 3641 h 5434"/>
                  <a:gd name="T54" fmla="*/ 2078 w 2881"/>
                  <a:gd name="T55" fmla="*/ 3769 h 5434"/>
                  <a:gd name="T56" fmla="*/ 2228 w 2881"/>
                  <a:gd name="T57" fmla="*/ 3887 h 5434"/>
                  <a:gd name="T58" fmla="*/ 2312 w 2881"/>
                  <a:gd name="T59" fmla="*/ 3991 h 5434"/>
                  <a:gd name="T60" fmla="*/ 2355 w 2881"/>
                  <a:gd name="T61" fmla="*/ 4089 h 5434"/>
                  <a:gd name="T62" fmla="*/ 2371 w 2881"/>
                  <a:gd name="T63" fmla="*/ 4164 h 5434"/>
                  <a:gd name="T64" fmla="*/ 2373 w 2881"/>
                  <a:gd name="T65" fmla="*/ 4168 h 5434"/>
                  <a:gd name="T66" fmla="*/ 2268 w 2881"/>
                  <a:gd name="T67" fmla="*/ 4084 h 5434"/>
                  <a:gd name="T68" fmla="*/ 2089 w 2881"/>
                  <a:gd name="T69" fmla="*/ 3968 h 5434"/>
                  <a:gd name="T70" fmla="*/ 1905 w 2881"/>
                  <a:gd name="T71" fmla="*/ 3874 h 5434"/>
                  <a:gd name="T72" fmla="*/ 1567 w 2881"/>
                  <a:gd name="T73" fmla="*/ 3755 h 5434"/>
                  <a:gd name="T74" fmla="*/ 1200 w 2881"/>
                  <a:gd name="T75" fmla="*/ 3696 h 5434"/>
                  <a:gd name="T76" fmla="*/ 866 w 2881"/>
                  <a:gd name="T77" fmla="*/ 3706 h 5434"/>
                  <a:gd name="T78" fmla="*/ 585 w 2881"/>
                  <a:gd name="T79" fmla="*/ 3776 h 5434"/>
                  <a:gd name="T80" fmla="*/ 451 w 2881"/>
                  <a:gd name="T81" fmla="*/ 3842 h 5434"/>
                  <a:gd name="T82" fmla="*/ 367 w 2881"/>
                  <a:gd name="T83" fmla="*/ 3910 h 5434"/>
                  <a:gd name="T84" fmla="*/ 293 w 2881"/>
                  <a:gd name="T85" fmla="*/ 4000 h 5434"/>
                  <a:gd name="T86" fmla="*/ 209 w 2881"/>
                  <a:gd name="T87" fmla="*/ 4132 h 5434"/>
                  <a:gd name="T88" fmla="*/ 95 w 2881"/>
                  <a:gd name="T89" fmla="*/ 4418 h 5434"/>
                  <a:gd name="T90" fmla="*/ 27 w 2881"/>
                  <a:gd name="T91" fmla="*/ 4716 h 5434"/>
                  <a:gd name="T92" fmla="*/ 0 w 2881"/>
                  <a:gd name="T93" fmla="*/ 4908 h 5434"/>
                  <a:gd name="T94" fmla="*/ 25 w 2881"/>
                  <a:gd name="T95" fmla="*/ 5079 h 5434"/>
                  <a:gd name="T96" fmla="*/ 75 w 2881"/>
                  <a:gd name="T97" fmla="*/ 5286 h 5434"/>
                  <a:gd name="T98" fmla="*/ 321 w 2881"/>
                  <a:gd name="T99" fmla="*/ 5405 h 5434"/>
                  <a:gd name="T100" fmla="*/ 1777 w 2881"/>
                  <a:gd name="T101" fmla="*/ 5434 h 5434"/>
                  <a:gd name="T102" fmla="*/ 2217 w 2881"/>
                  <a:gd name="T103" fmla="*/ 5424 h 5434"/>
                  <a:gd name="T104" fmla="*/ 2639 w 2881"/>
                  <a:gd name="T105" fmla="*/ 5379 h 5434"/>
                  <a:gd name="T106" fmla="*/ 2752 w 2881"/>
                  <a:gd name="T107" fmla="*/ 5338 h 5434"/>
                  <a:gd name="T108" fmla="*/ 2790 w 2881"/>
                  <a:gd name="T109" fmla="*/ 5279 h 5434"/>
                  <a:gd name="T110" fmla="*/ 2869 w 2881"/>
                  <a:gd name="T111" fmla="*/ 5196 h 5434"/>
                  <a:gd name="T112" fmla="*/ 2881 w 2881"/>
                  <a:gd name="T113" fmla="*/ 5099 h 5434"/>
                  <a:gd name="T114" fmla="*/ 2854 w 2881"/>
                  <a:gd name="T115" fmla="*/ 4767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1" h="5434">
                    <a:moveTo>
                      <a:pt x="2854" y="4767"/>
                    </a:moveTo>
                    <a:lnTo>
                      <a:pt x="2854" y="4767"/>
                    </a:lnTo>
                    <a:lnTo>
                      <a:pt x="2831" y="4755"/>
                    </a:lnTo>
                    <a:lnTo>
                      <a:pt x="2782" y="4726"/>
                    </a:lnTo>
                    <a:lnTo>
                      <a:pt x="2732" y="4699"/>
                    </a:lnTo>
                    <a:lnTo>
                      <a:pt x="2709" y="4686"/>
                    </a:lnTo>
                    <a:lnTo>
                      <a:pt x="2709" y="4686"/>
                    </a:lnTo>
                    <a:lnTo>
                      <a:pt x="2697" y="4608"/>
                    </a:lnTo>
                    <a:lnTo>
                      <a:pt x="2683" y="4530"/>
                    </a:lnTo>
                    <a:lnTo>
                      <a:pt x="2667" y="4451"/>
                    </a:lnTo>
                    <a:lnTo>
                      <a:pt x="2648" y="4371"/>
                    </a:lnTo>
                    <a:lnTo>
                      <a:pt x="2648" y="4371"/>
                    </a:lnTo>
                    <a:lnTo>
                      <a:pt x="2612" y="4168"/>
                    </a:lnTo>
                    <a:lnTo>
                      <a:pt x="2580" y="3965"/>
                    </a:lnTo>
                    <a:lnTo>
                      <a:pt x="2565" y="3864"/>
                    </a:lnTo>
                    <a:lnTo>
                      <a:pt x="2550" y="3762"/>
                    </a:lnTo>
                    <a:lnTo>
                      <a:pt x="2537" y="3660"/>
                    </a:lnTo>
                    <a:lnTo>
                      <a:pt x="2523" y="3558"/>
                    </a:lnTo>
                    <a:lnTo>
                      <a:pt x="2523" y="3558"/>
                    </a:lnTo>
                    <a:lnTo>
                      <a:pt x="2517" y="3487"/>
                    </a:lnTo>
                    <a:lnTo>
                      <a:pt x="2513" y="3417"/>
                    </a:lnTo>
                    <a:lnTo>
                      <a:pt x="2510" y="3347"/>
                    </a:lnTo>
                    <a:lnTo>
                      <a:pt x="2509" y="3278"/>
                    </a:lnTo>
                    <a:lnTo>
                      <a:pt x="2510" y="3211"/>
                    </a:lnTo>
                    <a:lnTo>
                      <a:pt x="2514" y="3144"/>
                    </a:lnTo>
                    <a:lnTo>
                      <a:pt x="2518" y="3076"/>
                    </a:lnTo>
                    <a:lnTo>
                      <a:pt x="2523" y="3009"/>
                    </a:lnTo>
                    <a:lnTo>
                      <a:pt x="2535" y="2875"/>
                    </a:lnTo>
                    <a:lnTo>
                      <a:pt x="2550" y="2739"/>
                    </a:lnTo>
                    <a:lnTo>
                      <a:pt x="2564" y="2600"/>
                    </a:lnTo>
                    <a:lnTo>
                      <a:pt x="2569" y="2529"/>
                    </a:lnTo>
                    <a:lnTo>
                      <a:pt x="2574" y="2458"/>
                    </a:lnTo>
                    <a:lnTo>
                      <a:pt x="2574" y="2458"/>
                    </a:lnTo>
                    <a:lnTo>
                      <a:pt x="2578" y="2388"/>
                    </a:lnTo>
                    <a:lnTo>
                      <a:pt x="2583" y="2318"/>
                    </a:lnTo>
                    <a:lnTo>
                      <a:pt x="2587" y="2177"/>
                    </a:lnTo>
                    <a:lnTo>
                      <a:pt x="2589" y="2032"/>
                    </a:lnTo>
                    <a:lnTo>
                      <a:pt x="2589" y="1885"/>
                    </a:lnTo>
                    <a:lnTo>
                      <a:pt x="2589" y="1740"/>
                    </a:lnTo>
                    <a:lnTo>
                      <a:pt x="2588" y="1593"/>
                    </a:lnTo>
                    <a:lnTo>
                      <a:pt x="2585" y="1308"/>
                    </a:lnTo>
                    <a:lnTo>
                      <a:pt x="2585" y="1308"/>
                    </a:lnTo>
                    <a:lnTo>
                      <a:pt x="2585" y="1373"/>
                    </a:lnTo>
                    <a:lnTo>
                      <a:pt x="2585" y="1373"/>
                    </a:lnTo>
                    <a:lnTo>
                      <a:pt x="2589" y="1215"/>
                    </a:lnTo>
                    <a:lnTo>
                      <a:pt x="2591" y="1059"/>
                    </a:lnTo>
                    <a:lnTo>
                      <a:pt x="2591" y="903"/>
                    </a:lnTo>
                    <a:lnTo>
                      <a:pt x="2589" y="746"/>
                    </a:lnTo>
                    <a:lnTo>
                      <a:pt x="2587" y="433"/>
                    </a:lnTo>
                    <a:lnTo>
                      <a:pt x="2585" y="277"/>
                    </a:lnTo>
                    <a:lnTo>
                      <a:pt x="2585" y="119"/>
                    </a:lnTo>
                    <a:lnTo>
                      <a:pt x="2585" y="119"/>
                    </a:lnTo>
                    <a:lnTo>
                      <a:pt x="2463" y="101"/>
                    </a:lnTo>
                    <a:lnTo>
                      <a:pt x="2336" y="82"/>
                    </a:lnTo>
                    <a:lnTo>
                      <a:pt x="2206" y="66"/>
                    </a:lnTo>
                    <a:lnTo>
                      <a:pt x="2072" y="52"/>
                    </a:lnTo>
                    <a:lnTo>
                      <a:pt x="1933" y="39"/>
                    </a:lnTo>
                    <a:lnTo>
                      <a:pt x="1791" y="28"/>
                    </a:lnTo>
                    <a:lnTo>
                      <a:pt x="1643" y="19"/>
                    </a:lnTo>
                    <a:lnTo>
                      <a:pt x="1492" y="12"/>
                    </a:lnTo>
                    <a:lnTo>
                      <a:pt x="1337" y="6"/>
                    </a:lnTo>
                    <a:lnTo>
                      <a:pt x="1177" y="2"/>
                    </a:lnTo>
                    <a:lnTo>
                      <a:pt x="1015" y="1"/>
                    </a:lnTo>
                    <a:lnTo>
                      <a:pt x="848" y="0"/>
                    </a:lnTo>
                    <a:lnTo>
                      <a:pt x="677" y="1"/>
                    </a:lnTo>
                    <a:lnTo>
                      <a:pt x="503" y="5"/>
                    </a:lnTo>
                    <a:lnTo>
                      <a:pt x="324" y="10"/>
                    </a:lnTo>
                    <a:lnTo>
                      <a:pt x="142" y="17"/>
                    </a:lnTo>
                    <a:lnTo>
                      <a:pt x="142" y="17"/>
                    </a:lnTo>
                    <a:lnTo>
                      <a:pt x="142" y="408"/>
                    </a:lnTo>
                    <a:lnTo>
                      <a:pt x="142" y="408"/>
                    </a:lnTo>
                    <a:lnTo>
                      <a:pt x="142" y="1151"/>
                    </a:lnTo>
                    <a:lnTo>
                      <a:pt x="142" y="1151"/>
                    </a:lnTo>
                    <a:lnTo>
                      <a:pt x="144" y="1301"/>
                    </a:lnTo>
                    <a:lnTo>
                      <a:pt x="148" y="1452"/>
                    </a:lnTo>
                    <a:lnTo>
                      <a:pt x="154" y="1601"/>
                    </a:lnTo>
                    <a:lnTo>
                      <a:pt x="165" y="1752"/>
                    </a:lnTo>
                    <a:lnTo>
                      <a:pt x="165" y="1752"/>
                    </a:lnTo>
                    <a:lnTo>
                      <a:pt x="187" y="2033"/>
                    </a:lnTo>
                    <a:lnTo>
                      <a:pt x="205" y="2306"/>
                    </a:lnTo>
                    <a:lnTo>
                      <a:pt x="215" y="2439"/>
                    </a:lnTo>
                    <a:lnTo>
                      <a:pt x="223" y="2571"/>
                    </a:lnTo>
                    <a:lnTo>
                      <a:pt x="228" y="2703"/>
                    </a:lnTo>
                    <a:lnTo>
                      <a:pt x="234" y="2833"/>
                    </a:lnTo>
                    <a:lnTo>
                      <a:pt x="236" y="2963"/>
                    </a:lnTo>
                    <a:lnTo>
                      <a:pt x="238" y="3095"/>
                    </a:lnTo>
                    <a:lnTo>
                      <a:pt x="236" y="3227"/>
                    </a:lnTo>
                    <a:lnTo>
                      <a:pt x="234" y="3361"/>
                    </a:lnTo>
                    <a:lnTo>
                      <a:pt x="227" y="3496"/>
                    </a:lnTo>
                    <a:lnTo>
                      <a:pt x="217" y="3633"/>
                    </a:lnTo>
                    <a:lnTo>
                      <a:pt x="205" y="3773"/>
                    </a:lnTo>
                    <a:lnTo>
                      <a:pt x="189" y="3916"/>
                    </a:lnTo>
                    <a:lnTo>
                      <a:pt x="189" y="3916"/>
                    </a:lnTo>
                    <a:lnTo>
                      <a:pt x="215" y="3883"/>
                    </a:lnTo>
                    <a:lnTo>
                      <a:pt x="240" y="3854"/>
                    </a:lnTo>
                    <a:lnTo>
                      <a:pt x="266" y="3825"/>
                    </a:lnTo>
                    <a:lnTo>
                      <a:pt x="293" y="3799"/>
                    </a:lnTo>
                    <a:lnTo>
                      <a:pt x="320" y="3773"/>
                    </a:lnTo>
                    <a:lnTo>
                      <a:pt x="348" y="3749"/>
                    </a:lnTo>
                    <a:lnTo>
                      <a:pt x="376" y="3726"/>
                    </a:lnTo>
                    <a:lnTo>
                      <a:pt x="406" y="3704"/>
                    </a:lnTo>
                    <a:lnTo>
                      <a:pt x="435" y="3684"/>
                    </a:lnTo>
                    <a:lnTo>
                      <a:pt x="466" y="3665"/>
                    </a:lnTo>
                    <a:lnTo>
                      <a:pt x="497" y="3648"/>
                    </a:lnTo>
                    <a:lnTo>
                      <a:pt x="529" y="3632"/>
                    </a:lnTo>
                    <a:lnTo>
                      <a:pt x="562" y="3617"/>
                    </a:lnTo>
                    <a:lnTo>
                      <a:pt x="594" y="3602"/>
                    </a:lnTo>
                    <a:lnTo>
                      <a:pt x="628" y="3590"/>
                    </a:lnTo>
                    <a:lnTo>
                      <a:pt x="661" y="3578"/>
                    </a:lnTo>
                    <a:lnTo>
                      <a:pt x="696" y="3567"/>
                    </a:lnTo>
                    <a:lnTo>
                      <a:pt x="731" y="3558"/>
                    </a:lnTo>
                    <a:lnTo>
                      <a:pt x="766" y="3548"/>
                    </a:lnTo>
                    <a:lnTo>
                      <a:pt x="802" y="3540"/>
                    </a:lnTo>
                    <a:lnTo>
                      <a:pt x="839" y="3534"/>
                    </a:lnTo>
                    <a:lnTo>
                      <a:pt x="875" y="3528"/>
                    </a:lnTo>
                    <a:lnTo>
                      <a:pt x="913" y="3523"/>
                    </a:lnTo>
                    <a:lnTo>
                      <a:pt x="952" y="3519"/>
                    </a:lnTo>
                    <a:lnTo>
                      <a:pt x="1028" y="3512"/>
                    </a:lnTo>
                    <a:lnTo>
                      <a:pt x="1108" y="3509"/>
                    </a:lnTo>
                    <a:lnTo>
                      <a:pt x="1187" y="3508"/>
                    </a:lnTo>
                    <a:lnTo>
                      <a:pt x="1270" y="3509"/>
                    </a:lnTo>
                    <a:lnTo>
                      <a:pt x="1270" y="3509"/>
                    </a:lnTo>
                    <a:lnTo>
                      <a:pt x="1304" y="3512"/>
                    </a:lnTo>
                    <a:lnTo>
                      <a:pt x="1350" y="3515"/>
                    </a:lnTo>
                    <a:lnTo>
                      <a:pt x="1403" y="3520"/>
                    </a:lnTo>
                    <a:lnTo>
                      <a:pt x="1463" y="3527"/>
                    </a:lnTo>
                    <a:lnTo>
                      <a:pt x="1520" y="3535"/>
                    </a:lnTo>
                    <a:lnTo>
                      <a:pt x="1574" y="3543"/>
                    </a:lnTo>
                    <a:lnTo>
                      <a:pt x="1618" y="3552"/>
                    </a:lnTo>
                    <a:lnTo>
                      <a:pt x="1637" y="3556"/>
                    </a:lnTo>
                    <a:lnTo>
                      <a:pt x="1651" y="3562"/>
                    </a:lnTo>
                    <a:lnTo>
                      <a:pt x="1651" y="3562"/>
                    </a:lnTo>
                    <a:lnTo>
                      <a:pt x="1719" y="3589"/>
                    </a:lnTo>
                    <a:lnTo>
                      <a:pt x="1783" y="3616"/>
                    </a:lnTo>
                    <a:lnTo>
                      <a:pt x="1842" y="3641"/>
                    </a:lnTo>
                    <a:lnTo>
                      <a:pt x="1897" y="3668"/>
                    </a:lnTo>
                    <a:lnTo>
                      <a:pt x="1948" y="3694"/>
                    </a:lnTo>
                    <a:lnTo>
                      <a:pt x="1995" y="3719"/>
                    </a:lnTo>
                    <a:lnTo>
                      <a:pt x="2038" y="3745"/>
                    </a:lnTo>
                    <a:lnTo>
                      <a:pt x="2078" y="3769"/>
                    </a:lnTo>
                    <a:lnTo>
                      <a:pt x="2115" y="3793"/>
                    </a:lnTo>
                    <a:lnTo>
                      <a:pt x="2147" y="3817"/>
                    </a:lnTo>
                    <a:lnTo>
                      <a:pt x="2176" y="3842"/>
                    </a:lnTo>
                    <a:lnTo>
                      <a:pt x="2203" y="3864"/>
                    </a:lnTo>
                    <a:lnTo>
                      <a:pt x="2228" y="3887"/>
                    </a:lnTo>
                    <a:lnTo>
                      <a:pt x="2249" y="3909"/>
                    </a:lnTo>
                    <a:lnTo>
                      <a:pt x="2268" y="3930"/>
                    </a:lnTo>
                    <a:lnTo>
                      <a:pt x="2285" y="3950"/>
                    </a:lnTo>
                    <a:lnTo>
                      <a:pt x="2300" y="3971"/>
                    </a:lnTo>
                    <a:lnTo>
                      <a:pt x="2312" y="3991"/>
                    </a:lnTo>
                    <a:lnTo>
                      <a:pt x="2323" y="4008"/>
                    </a:lnTo>
                    <a:lnTo>
                      <a:pt x="2332" y="4027"/>
                    </a:lnTo>
                    <a:lnTo>
                      <a:pt x="2340" y="4043"/>
                    </a:lnTo>
                    <a:lnTo>
                      <a:pt x="2346" y="4059"/>
                    </a:lnTo>
                    <a:lnTo>
                      <a:pt x="2355" y="4089"/>
                    </a:lnTo>
                    <a:lnTo>
                      <a:pt x="2362" y="4115"/>
                    </a:lnTo>
                    <a:lnTo>
                      <a:pt x="2365" y="4136"/>
                    </a:lnTo>
                    <a:lnTo>
                      <a:pt x="2367" y="4152"/>
                    </a:lnTo>
                    <a:lnTo>
                      <a:pt x="2371" y="4164"/>
                    </a:lnTo>
                    <a:lnTo>
                      <a:pt x="2371" y="4164"/>
                    </a:lnTo>
                    <a:lnTo>
                      <a:pt x="2385" y="4174"/>
                    </a:lnTo>
                    <a:lnTo>
                      <a:pt x="2385" y="4174"/>
                    </a:lnTo>
                    <a:lnTo>
                      <a:pt x="2379" y="4174"/>
                    </a:lnTo>
                    <a:lnTo>
                      <a:pt x="2377" y="4172"/>
                    </a:lnTo>
                    <a:lnTo>
                      <a:pt x="2373" y="4168"/>
                    </a:lnTo>
                    <a:lnTo>
                      <a:pt x="2371" y="4164"/>
                    </a:lnTo>
                    <a:lnTo>
                      <a:pt x="2371" y="4164"/>
                    </a:lnTo>
                    <a:lnTo>
                      <a:pt x="2336" y="4137"/>
                    </a:lnTo>
                    <a:lnTo>
                      <a:pt x="2303" y="4110"/>
                    </a:lnTo>
                    <a:lnTo>
                      <a:pt x="2268" y="4084"/>
                    </a:lnTo>
                    <a:lnTo>
                      <a:pt x="2233" y="4059"/>
                    </a:lnTo>
                    <a:lnTo>
                      <a:pt x="2198" y="4035"/>
                    </a:lnTo>
                    <a:lnTo>
                      <a:pt x="2162" y="4011"/>
                    </a:lnTo>
                    <a:lnTo>
                      <a:pt x="2125" y="3989"/>
                    </a:lnTo>
                    <a:lnTo>
                      <a:pt x="2089" y="3968"/>
                    </a:lnTo>
                    <a:lnTo>
                      <a:pt x="2053" y="3948"/>
                    </a:lnTo>
                    <a:lnTo>
                      <a:pt x="2016" y="3928"/>
                    </a:lnTo>
                    <a:lnTo>
                      <a:pt x="1979" y="3909"/>
                    </a:lnTo>
                    <a:lnTo>
                      <a:pt x="1943" y="3891"/>
                    </a:lnTo>
                    <a:lnTo>
                      <a:pt x="1905" y="3874"/>
                    </a:lnTo>
                    <a:lnTo>
                      <a:pt x="1867" y="3858"/>
                    </a:lnTo>
                    <a:lnTo>
                      <a:pt x="1793" y="3827"/>
                    </a:lnTo>
                    <a:lnTo>
                      <a:pt x="1718" y="3800"/>
                    </a:lnTo>
                    <a:lnTo>
                      <a:pt x="1643" y="3777"/>
                    </a:lnTo>
                    <a:lnTo>
                      <a:pt x="1567" y="3755"/>
                    </a:lnTo>
                    <a:lnTo>
                      <a:pt x="1492" y="3738"/>
                    </a:lnTo>
                    <a:lnTo>
                      <a:pt x="1418" y="3723"/>
                    </a:lnTo>
                    <a:lnTo>
                      <a:pt x="1344" y="3712"/>
                    </a:lnTo>
                    <a:lnTo>
                      <a:pt x="1272" y="3703"/>
                    </a:lnTo>
                    <a:lnTo>
                      <a:pt x="1200" y="3696"/>
                    </a:lnTo>
                    <a:lnTo>
                      <a:pt x="1130" y="3694"/>
                    </a:lnTo>
                    <a:lnTo>
                      <a:pt x="1062" y="3692"/>
                    </a:lnTo>
                    <a:lnTo>
                      <a:pt x="995" y="3695"/>
                    </a:lnTo>
                    <a:lnTo>
                      <a:pt x="929" y="3699"/>
                    </a:lnTo>
                    <a:lnTo>
                      <a:pt x="866" y="3706"/>
                    </a:lnTo>
                    <a:lnTo>
                      <a:pt x="804" y="3715"/>
                    </a:lnTo>
                    <a:lnTo>
                      <a:pt x="746" y="3727"/>
                    </a:lnTo>
                    <a:lnTo>
                      <a:pt x="689" y="3741"/>
                    </a:lnTo>
                    <a:lnTo>
                      <a:pt x="636" y="3757"/>
                    </a:lnTo>
                    <a:lnTo>
                      <a:pt x="585" y="3776"/>
                    </a:lnTo>
                    <a:lnTo>
                      <a:pt x="537" y="3796"/>
                    </a:lnTo>
                    <a:lnTo>
                      <a:pt x="515" y="3807"/>
                    </a:lnTo>
                    <a:lnTo>
                      <a:pt x="493" y="3817"/>
                    </a:lnTo>
                    <a:lnTo>
                      <a:pt x="472" y="3829"/>
                    </a:lnTo>
                    <a:lnTo>
                      <a:pt x="451" y="3842"/>
                    </a:lnTo>
                    <a:lnTo>
                      <a:pt x="433" y="3855"/>
                    </a:lnTo>
                    <a:lnTo>
                      <a:pt x="415" y="3868"/>
                    </a:lnTo>
                    <a:lnTo>
                      <a:pt x="398" y="3882"/>
                    </a:lnTo>
                    <a:lnTo>
                      <a:pt x="381" y="3897"/>
                    </a:lnTo>
                    <a:lnTo>
                      <a:pt x="367" y="3910"/>
                    </a:lnTo>
                    <a:lnTo>
                      <a:pt x="352" y="3926"/>
                    </a:lnTo>
                    <a:lnTo>
                      <a:pt x="352" y="3926"/>
                    </a:lnTo>
                    <a:lnTo>
                      <a:pt x="332" y="3950"/>
                    </a:lnTo>
                    <a:lnTo>
                      <a:pt x="312" y="3975"/>
                    </a:lnTo>
                    <a:lnTo>
                      <a:pt x="293" y="4000"/>
                    </a:lnTo>
                    <a:lnTo>
                      <a:pt x="274" y="4026"/>
                    </a:lnTo>
                    <a:lnTo>
                      <a:pt x="256" y="4051"/>
                    </a:lnTo>
                    <a:lnTo>
                      <a:pt x="240" y="4078"/>
                    </a:lnTo>
                    <a:lnTo>
                      <a:pt x="224" y="4105"/>
                    </a:lnTo>
                    <a:lnTo>
                      <a:pt x="209" y="4132"/>
                    </a:lnTo>
                    <a:lnTo>
                      <a:pt x="181" y="4188"/>
                    </a:lnTo>
                    <a:lnTo>
                      <a:pt x="156" y="4245"/>
                    </a:lnTo>
                    <a:lnTo>
                      <a:pt x="134" y="4301"/>
                    </a:lnTo>
                    <a:lnTo>
                      <a:pt x="114" y="4361"/>
                    </a:lnTo>
                    <a:lnTo>
                      <a:pt x="95" y="4418"/>
                    </a:lnTo>
                    <a:lnTo>
                      <a:pt x="79" y="4478"/>
                    </a:lnTo>
                    <a:lnTo>
                      <a:pt x="64" y="4538"/>
                    </a:lnTo>
                    <a:lnTo>
                      <a:pt x="51" y="4597"/>
                    </a:lnTo>
                    <a:lnTo>
                      <a:pt x="39" y="4656"/>
                    </a:lnTo>
                    <a:lnTo>
                      <a:pt x="27" y="4716"/>
                    </a:lnTo>
                    <a:lnTo>
                      <a:pt x="6" y="4833"/>
                    </a:lnTo>
                    <a:lnTo>
                      <a:pt x="6" y="4833"/>
                    </a:lnTo>
                    <a:lnTo>
                      <a:pt x="2" y="4851"/>
                    </a:lnTo>
                    <a:lnTo>
                      <a:pt x="1" y="4870"/>
                    </a:lnTo>
                    <a:lnTo>
                      <a:pt x="0" y="4908"/>
                    </a:lnTo>
                    <a:lnTo>
                      <a:pt x="1" y="4943"/>
                    </a:lnTo>
                    <a:lnTo>
                      <a:pt x="4" y="4978"/>
                    </a:lnTo>
                    <a:lnTo>
                      <a:pt x="10" y="5011"/>
                    </a:lnTo>
                    <a:lnTo>
                      <a:pt x="17" y="5045"/>
                    </a:lnTo>
                    <a:lnTo>
                      <a:pt x="25" y="5079"/>
                    </a:lnTo>
                    <a:lnTo>
                      <a:pt x="35" y="5112"/>
                    </a:lnTo>
                    <a:lnTo>
                      <a:pt x="53" y="5180"/>
                    </a:lnTo>
                    <a:lnTo>
                      <a:pt x="61" y="5215"/>
                    </a:lnTo>
                    <a:lnTo>
                      <a:pt x="68" y="5249"/>
                    </a:lnTo>
                    <a:lnTo>
                      <a:pt x="75" y="5286"/>
                    </a:lnTo>
                    <a:lnTo>
                      <a:pt x="79" y="5322"/>
                    </a:lnTo>
                    <a:lnTo>
                      <a:pt x="80" y="5361"/>
                    </a:lnTo>
                    <a:lnTo>
                      <a:pt x="80" y="5401"/>
                    </a:lnTo>
                    <a:lnTo>
                      <a:pt x="80" y="5401"/>
                    </a:lnTo>
                    <a:lnTo>
                      <a:pt x="321" y="5405"/>
                    </a:lnTo>
                    <a:lnTo>
                      <a:pt x="580" y="5412"/>
                    </a:lnTo>
                    <a:lnTo>
                      <a:pt x="1126" y="5424"/>
                    </a:lnTo>
                    <a:lnTo>
                      <a:pt x="1397" y="5430"/>
                    </a:lnTo>
                    <a:lnTo>
                      <a:pt x="1655" y="5434"/>
                    </a:lnTo>
                    <a:lnTo>
                      <a:pt x="1777" y="5434"/>
                    </a:lnTo>
                    <a:lnTo>
                      <a:pt x="1894" y="5434"/>
                    </a:lnTo>
                    <a:lnTo>
                      <a:pt x="2004" y="5432"/>
                    </a:lnTo>
                    <a:lnTo>
                      <a:pt x="2105" y="5430"/>
                    </a:lnTo>
                    <a:lnTo>
                      <a:pt x="2105" y="5430"/>
                    </a:lnTo>
                    <a:lnTo>
                      <a:pt x="2217" y="5424"/>
                    </a:lnTo>
                    <a:lnTo>
                      <a:pt x="2319" y="5419"/>
                    </a:lnTo>
                    <a:lnTo>
                      <a:pt x="2412" y="5411"/>
                    </a:lnTo>
                    <a:lnTo>
                      <a:pt x="2495" y="5401"/>
                    </a:lnTo>
                    <a:lnTo>
                      <a:pt x="2570" y="5391"/>
                    </a:lnTo>
                    <a:lnTo>
                      <a:pt x="2639" y="5379"/>
                    </a:lnTo>
                    <a:lnTo>
                      <a:pt x="2699" y="5366"/>
                    </a:lnTo>
                    <a:lnTo>
                      <a:pt x="2752" y="5353"/>
                    </a:lnTo>
                    <a:lnTo>
                      <a:pt x="2752" y="5353"/>
                    </a:lnTo>
                    <a:lnTo>
                      <a:pt x="2752" y="5345"/>
                    </a:lnTo>
                    <a:lnTo>
                      <a:pt x="2752" y="5338"/>
                    </a:lnTo>
                    <a:lnTo>
                      <a:pt x="2756" y="5325"/>
                    </a:lnTo>
                    <a:lnTo>
                      <a:pt x="2761" y="5313"/>
                    </a:lnTo>
                    <a:lnTo>
                      <a:pt x="2769" y="5301"/>
                    </a:lnTo>
                    <a:lnTo>
                      <a:pt x="2779" y="5290"/>
                    </a:lnTo>
                    <a:lnTo>
                      <a:pt x="2790" y="5279"/>
                    </a:lnTo>
                    <a:lnTo>
                      <a:pt x="2814" y="5259"/>
                    </a:lnTo>
                    <a:lnTo>
                      <a:pt x="2838" y="5236"/>
                    </a:lnTo>
                    <a:lnTo>
                      <a:pt x="2850" y="5224"/>
                    </a:lnTo>
                    <a:lnTo>
                      <a:pt x="2859" y="5210"/>
                    </a:lnTo>
                    <a:lnTo>
                      <a:pt x="2869" y="5196"/>
                    </a:lnTo>
                    <a:lnTo>
                      <a:pt x="2876" y="5181"/>
                    </a:lnTo>
                    <a:lnTo>
                      <a:pt x="2880" y="5162"/>
                    </a:lnTo>
                    <a:lnTo>
                      <a:pt x="2881" y="5143"/>
                    </a:lnTo>
                    <a:lnTo>
                      <a:pt x="2881" y="5143"/>
                    </a:lnTo>
                    <a:lnTo>
                      <a:pt x="2881" y="5099"/>
                    </a:lnTo>
                    <a:lnTo>
                      <a:pt x="2880" y="5053"/>
                    </a:lnTo>
                    <a:lnTo>
                      <a:pt x="2877" y="5007"/>
                    </a:lnTo>
                    <a:lnTo>
                      <a:pt x="2874" y="4960"/>
                    </a:lnTo>
                    <a:lnTo>
                      <a:pt x="2866" y="4865"/>
                    </a:lnTo>
                    <a:lnTo>
                      <a:pt x="2854" y="4767"/>
                    </a:lnTo>
                    <a:lnTo>
                      <a:pt x="2854" y="4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22" name="Group 21"/>
          <p:cNvGrpSpPr/>
          <p:nvPr/>
        </p:nvGrpSpPr>
        <p:grpSpPr>
          <a:xfrm>
            <a:off x="11441496" y="6173290"/>
            <a:ext cx="264558" cy="434757"/>
            <a:chOff x="11411045" y="6193225"/>
            <a:chExt cx="320115" cy="395234"/>
          </a:xfrm>
        </p:grpSpPr>
        <p:cxnSp>
          <p:nvCxnSpPr>
            <p:cNvPr id="21" name="Straight Connector 20"/>
            <p:cNvCxnSpPr/>
            <p:nvPr/>
          </p:nvCxnSpPr>
          <p:spPr>
            <a:xfrm flipV="1">
              <a:off x="11451507" y="6193225"/>
              <a:ext cx="254881" cy="193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88" name="Straight Connector 1087"/>
            <p:cNvCxnSpPr/>
            <p:nvPr/>
          </p:nvCxnSpPr>
          <p:spPr>
            <a:xfrm flipV="1">
              <a:off x="11411045" y="6329313"/>
              <a:ext cx="254881" cy="193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89" name="Straight Connector 1088"/>
            <p:cNvCxnSpPr/>
            <p:nvPr/>
          </p:nvCxnSpPr>
          <p:spPr>
            <a:xfrm flipV="1">
              <a:off x="11476279" y="6394871"/>
              <a:ext cx="254881" cy="193588"/>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431" name="Group 1430"/>
          <p:cNvGrpSpPr/>
          <p:nvPr/>
        </p:nvGrpSpPr>
        <p:grpSpPr>
          <a:xfrm>
            <a:off x="8703469" y="5415734"/>
            <a:ext cx="404813" cy="528637"/>
            <a:chOff x="8878888" y="5422901"/>
            <a:chExt cx="404813" cy="528637"/>
          </a:xfrm>
          <a:solidFill>
            <a:schemeClr val="accent1">
              <a:lumMod val="75000"/>
            </a:schemeClr>
          </a:solidFill>
        </p:grpSpPr>
        <p:sp>
          <p:nvSpPr>
            <p:cNvPr id="26" name="Freeform 7"/>
            <p:cNvSpPr>
              <a:spLocks/>
            </p:cNvSpPr>
            <p:nvPr/>
          </p:nvSpPr>
          <p:spPr bwMode="auto">
            <a:xfrm>
              <a:off x="8878888" y="5422901"/>
              <a:ext cx="50800" cy="131763"/>
            </a:xfrm>
            <a:custGeom>
              <a:avLst/>
              <a:gdLst>
                <a:gd name="T0" fmla="*/ 46 w 129"/>
                <a:gd name="T1" fmla="*/ 333 h 333"/>
                <a:gd name="T2" fmla="*/ 0 w 129"/>
                <a:gd name="T3" fmla="*/ 302 h 333"/>
                <a:gd name="T4" fmla="*/ 0 w 129"/>
                <a:gd name="T5" fmla="*/ 0 h 333"/>
                <a:gd name="T6" fmla="*/ 129 w 129"/>
                <a:gd name="T7" fmla="*/ 89 h 333"/>
                <a:gd name="T8" fmla="*/ 129 w 129"/>
                <a:gd name="T9" fmla="*/ 135 h 333"/>
                <a:gd name="T10" fmla="*/ 46 w 129"/>
                <a:gd name="T11" fmla="*/ 77 h 333"/>
                <a:gd name="T12" fmla="*/ 46 w 129"/>
                <a:gd name="T13" fmla="*/ 160 h 333"/>
                <a:gd name="T14" fmla="*/ 107 w 129"/>
                <a:gd name="T15" fmla="*/ 202 h 333"/>
                <a:gd name="T16" fmla="*/ 107 w 129"/>
                <a:gd name="T17" fmla="*/ 248 h 333"/>
                <a:gd name="T18" fmla="*/ 46 w 129"/>
                <a:gd name="T19" fmla="*/ 205 h 333"/>
                <a:gd name="T20" fmla="*/ 46 w 129"/>
                <a:gd name="T21"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333">
                  <a:moveTo>
                    <a:pt x="46" y="333"/>
                  </a:moveTo>
                  <a:lnTo>
                    <a:pt x="0" y="302"/>
                  </a:lnTo>
                  <a:lnTo>
                    <a:pt x="0" y="0"/>
                  </a:lnTo>
                  <a:lnTo>
                    <a:pt x="129" y="89"/>
                  </a:lnTo>
                  <a:lnTo>
                    <a:pt x="129" y="135"/>
                  </a:lnTo>
                  <a:lnTo>
                    <a:pt x="46" y="77"/>
                  </a:lnTo>
                  <a:lnTo>
                    <a:pt x="46" y="160"/>
                  </a:lnTo>
                  <a:lnTo>
                    <a:pt x="107" y="202"/>
                  </a:lnTo>
                  <a:lnTo>
                    <a:pt x="107" y="248"/>
                  </a:lnTo>
                  <a:lnTo>
                    <a:pt x="46" y="205"/>
                  </a:lnTo>
                  <a:lnTo>
                    <a:pt x="46"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 name="Freeform 8"/>
            <p:cNvSpPr>
              <a:spLocks/>
            </p:cNvSpPr>
            <p:nvPr/>
          </p:nvSpPr>
          <p:spPr bwMode="auto">
            <a:xfrm>
              <a:off x="8942388" y="5465763"/>
              <a:ext cx="19050" cy="133350"/>
            </a:xfrm>
            <a:custGeom>
              <a:avLst/>
              <a:gdLst>
                <a:gd name="T0" fmla="*/ 45 w 45"/>
                <a:gd name="T1" fmla="*/ 333 h 333"/>
                <a:gd name="T2" fmla="*/ 0 w 45"/>
                <a:gd name="T3" fmla="*/ 302 h 333"/>
                <a:gd name="T4" fmla="*/ 0 w 45"/>
                <a:gd name="T5" fmla="*/ 0 h 333"/>
                <a:gd name="T6" fmla="*/ 45 w 45"/>
                <a:gd name="T7" fmla="*/ 31 h 333"/>
                <a:gd name="T8" fmla="*/ 45 w 45"/>
                <a:gd name="T9" fmla="*/ 333 h 333"/>
              </a:gdLst>
              <a:ahLst/>
              <a:cxnLst>
                <a:cxn ang="0">
                  <a:pos x="T0" y="T1"/>
                </a:cxn>
                <a:cxn ang="0">
                  <a:pos x="T2" y="T3"/>
                </a:cxn>
                <a:cxn ang="0">
                  <a:pos x="T4" y="T5"/>
                </a:cxn>
                <a:cxn ang="0">
                  <a:pos x="T6" y="T7"/>
                </a:cxn>
                <a:cxn ang="0">
                  <a:pos x="T8" y="T9"/>
                </a:cxn>
              </a:cxnLst>
              <a:rect l="0" t="0" r="r" b="b"/>
              <a:pathLst>
                <a:path w="45" h="333">
                  <a:moveTo>
                    <a:pt x="45" y="333"/>
                  </a:moveTo>
                  <a:lnTo>
                    <a:pt x="0" y="302"/>
                  </a:lnTo>
                  <a:lnTo>
                    <a:pt x="0" y="0"/>
                  </a:lnTo>
                  <a:lnTo>
                    <a:pt x="45" y="31"/>
                  </a:lnTo>
                  <a:lnTo>
                    <a:pt x="45"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 name="Freeform 9"/>
            <p:cNvSpPr>
              <a:spLocks/>
            </p:cNvSpPr>
            <p:nvPr/>
          </p:nvSpPr>
          <p:spPr bwMode="auto">
            <a:xfrm>
              <a:off x="8975726" y="5487988"/>
              <a:ext cx="55563" cy="146050"/>
            </a:xfrm>
            <a:custGeom>
              <a:avLst/>
              <a:gdLst>
                <a:gd name="T0" fmla="*/ 48 w 142"/>
                <a:gd name="T1" fmla="*/ 80 h 366"/>
                <a:gd name="T2" fmla="*/ 0 w 142"/>
                <a:gd name="T3" fmla="*/ 46 h 366"/>
                <a:gd name="T4" fmla="*/ 0 w 142"/>
                <a:gd name="T5" fmla="*/ 0 h 366"/>
                <a:gd name="T6" fmla="*/ 142 w 142"/>
                <a:gd name="T7" fmla="*/ 98 h 366"/>
                <a:gd name="T8" fmla="*/ 142 w 142"/>
                <a:gd name="T9" fmla="*/ 144 h 366"/>
                <a:gd name="T10" fmla="*/ 94 w 142"/>
                <a:gd name="T11" fmla="*/ 111 h 366"/>
                <a:gd name="T12" fmla="*/ 94 w 142"/>
                <a:gd name="T13" fmla="*/ 366 h 366"/>
                <a:gd name="T14" fmla="*/ 48 w 142"/>
                <a:gd name="T15" fmla="*/ 336 h 366"/>
                <a:gd name="T16" fmla="*/ 48 w 142"/>
                <a:gd name="T17" fmla="*/ 8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366">
                  <a:moveTo>
                    <a:pt x="48" y="80"/>
                  </a:moveTo>
                  <a:lnTo>
                    <a:pt x="0" y="46"/>
                  </a:lnTo>
                  <a:lnTo>
                    <a:pt x="0" y="0"/>
                  </a:lnTo>
                  <a:lnTo>
                    <a:pt x="142" y="98"/>
                  </a:lnTo>
                  <a:lnTo>
                    <a:pt x="142" y="144"/>
                  </a:lnTo>
                  <a:lnTo>
                    <a:pt x="94" y="111"/>
                  </a:lnTo>
                  <a:lnTo>
                    <a:pt x="94" y="366"/>
                  </a:lnTo>
                  <a:lnTo>
                    <a:pt x="48" y="336"/>
                  </a:lnTo>
                  <a:lnTo>
                    <a:pt x="48"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 name="Freeform 10"/>
            <p:cNvSpPr>
              <a:spLocks/>
            </p:cNvSpPr>
            <p:nvPr/>
          </p:nvSpPr>
          <p:spPr bwMode="auto">
            <a:xfrm>
              <a:off x="9043988" y="5535613"/>
              <a:ext cx="55563" cy="146050"/>
            </a:xfrm>
            <a:custGeom>
              <a:avLst/>
              <a:gdLst>
                <a:gd name="T0" fmla="*/ 49 w 142"/>
                <a:gd name="T1" fmla="*/ 79 h 366"/>
                <a:gd name="T2" fmla="*/ 0 w 142"/>
                <a:gd name="T3" fmla="*/ 45 h 366"/>
                <a:gd name="T4" fmla="*/ 0 w 142"/>
                <a:gd name="T5" fmla="*/ 0 h 366"/>
                <a:gd name="T6" fmla="*/ 142 w 142"/>
                <a:gd name="T7" fmla="*/ 97 h 366"/>
                <a:gd name="T8" fmla="*/ 142 w 142"/>
                <a:gd name="T9" fmla="*/ 143 h 366"/>
                <a:gd name="T10" fmla="*/ 94 w 142"/>
                <a:gd name="T11" fmla="*/ 110 h 366"/>
                <a:gd name="T12" fmla="*/ 94 w 142"/>
                <a:gd name="T13" fmla="*/ 366 h 366"/>
                <a:gd name="T14" fmla="*/ 49 w 142"/>
                <a:gd name="T15" fmla="*/ 334 h 366"/>
                <a:gd name="T16" fmla="*/ 49 w 142"/>
                <a:gd name="T17" fmla="*/ 7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366">
                  <a:moveTo>
                    <a:pt x="49" y="79"/>
                  </a:moveTo>
                  <a:lnTo>
                    <a:pt x="0" y="45"/>
                  </a:lnTo>
                  <a:lnTo>
                    <a:pt x="0" y="0"/>
                  </a:lnTo>
                  <a:lnTo>
                    <a:pt x="142" y="97"/>
                  </a:lnTo>
                  <a:lnTo>
                    <a:pt x="142" y="143"/>
                  </a:lnTo>
                  <a:lnTo>
                    <a:pt x="94" y="110"/>
                  </a:lnTo>
                  <a:lnTo>
                    <a:pt x="94" y="366"/>
                  </a:lnTo>
                  <a:lnTo>
                    <a:pt x="49" y="334"/>
                  </a:lnTo>
                  <a:lnTo>
                    <a:pt x="4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 name="Freeform 11"/>
            <p:cNvSpPr>
              <a:spLocks/>
            </p:cNvSpPr>
            <p:nvPr/>
          </p:nvSpPr>
          <p:spPr bwMode="auto">
            <a:xfrm>
              <a:off x="9115426" y="5584826"/>
              <a:ext cx="17463" cy="131763"/>
            </a:xfrm>
            <a:custGeom>
              <a:avLst/>
              <a:gdLst>
                <a:gd name="T0" fmla="*/ 45 w 45"/>
                <a:gd name="T1" fmla="*/ 334 h 334"/>
                <a:gd name="T2" fmla="*/ 0 w 45"/>
                <a:gd name="T3" fmla="*/ 302 h 334"/>
                <a:gd name="T4" fmla="*/ 0 w 45"/>
                <a:gd name="T5" fmla="*/ 0 h 334"/>
                <a:gd name="T6" fmla="*/ 45 w 45"/>
                <a:gd name="T7" fmla="*/ 32 h 334"/>
                <a:gd name="T8" fmla="*/ 45 w 45"/>
                <a:gd name="T9" fmla="*/ 334 h 334"/>
              </a:gdLst>
              <a:ahLst/>
              <a:cxnLst>
                <a:cxn ang="0">
                  <a:pos x="T0" y="T1"/>
                </a:cxn>
                <a:cxn ang="0">
                  <a:pos x="T2" y="T3"/>
                </a:cxn>
                <a:cxn ang="0">
                  <a:pos x="T4" y="T5"/>
                </a:cxn>
                <a:cxn ang="0">
                  <a:pos x="T6" y="T7"/>
                </a:cxn>
                <a:cxn ang="0">
                  <a:pos x="T8" y="T9"/>
                </a:cxn>
              </a:cxnLst>
              <a:rect l="0" t="0" r="r" b="b"/>
              <a:pathLst>
                <a:path w="45" h="334">
                  <a:moveTo>
                    <a:pt x="45" y="334"/>
                  </a:moveTo>
                  <a:lnTo>
                    <a:pt x="0" y="302"/>
                  </a:lnTo>
                  <a:lnTo>
                    <a:pt x="0" y="0"/>
                  </a:lnTo>
                  <a:lnTo>
                    <a:pt x="45" y="32"/>
                  </a:lnTo>
                  <a:lnTo>
                    <a:pt x="45"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 name="Freeform 12"/>
            <p:cNvSpPr>
              <a:spLocks/>
            </p:cNvSpPr>
            <p:nvPr/>
          </p:nvSpPr>
          <p:spPr bwMode="auto">
            <a:xfrm>
              <a:off x="9148763" y="5608638"/>
              <a:ext cx="63500" cy="161925"/>
            </a:xfrm>
            <a:custGeom>
              <a:avLst/>
              <a:gdLst>
                <a:gd name="T0" fmla="*/ 51 w 157"/>
                <a:gd name="T1" fmla="*/ 35 h 409"/>
                <a:gd name="T2" fmla="*/ 111 w 157"/>
                <a:gd name="T3" fmla="*/ 279 h 409"/>
                <a:gd name="T4" fmla="*/ 111 w 157"/>
                <a:gd name="T5" fmla="*/ 76 h 409"/>
                <a:gd name="T6" fmla="*/ 157 w 157"/>
                <a:gd name="T7" fmla="*/ 108 h 409"/>
                <a:gd name="T8" fmla="*/ 157 w 157"/>
                <a:gd name="T9" fmla="*/ 409 h 409"/>
                <a:gd name="T10" fmla="*/ 108 w 157"/>
                <a:gd name="T11" fmla="*/ 376 h 409"/>
                <a:gd name="T12" fmla="*/ 45 w 157"/>
                <a:gd name="T13" fmla="*/ 139 h 409"/>
                <a:gd name="T14" fmla="*/ 45 w 157"/>
                <a:gd name="T15" fmla="*/ 332 h 409"/>
                <a:gd name="T16" fmla="*/ 0 w 157"/>
                <a:gd name="T17" fmla="*/ 302 h 409"/>
                <a:gd name="T18" fmla="*/ 0 w 157"/>
                <a:gd name="T19" fmla="*/ 0 h 409"/>
                <a:gd name="T20" fmla="*/ 51 w 157"/>
                <a:gd name="T21" fmla="*/ 35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409">
                  <a:moveTo>
                    <a:pt x="51" y="35"/>
                  </a:moveTo>
                  <a:lnTo>
                    <a:pt x="111" y="279"/>
                  </a:lnTo>
                  <a:lnTo>
                    <a:pt x="111" y="76"/>
                  </a:lnTo>
                  <a:lnTo>
                    <a:pt x="157" y="108"/>
                  </a:lnTo>
                  <a:lnTo>
                    <a:pt x="157" y="409"/>
                  </a:lnTo>
                  <a:lnTo>
                    <a:pt x="108" y="376"/>
                  </a:lnTo>
                  <a:lnTo>
                    <a:pt x="45" y="139"/>
                  </a:lnTo>
                  <a:lnTo>
                    <a:pt x="45" y="332"/>
                  </a:lnTo>
                  <a:lnTo>
                    <a:pt x="0" y="302"/>
                  </a:lnTo>
                  <a:lnTo>
                    <a:pt x="0" y="0"/>
                  </a:lnTo>
                  <a:lnTo>
                    <a:pt x="5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6" name="Freeform 13"/>
            <p:cNvSpPr>
              <a:spLocks/>
            </p:cNvSpPr>
            <p:nvPr/>
          </p:nvSpPr>
          <p:spPr bwMode="auto">
            <a:xfrm>
              <a:off x="9228138" y="5673726"/>
              <a:ext cx="55563" cy="134938"/>
            </a:xfrm>
            <a:custGeom>
              <a:avLst/>
              <a:gdLst>
                <a:gd name="T0" fmla="*/ 72 w 144"/>
                <a:gd name="T1" fmla="*/ 325 h 340"/>
                <a:gd name="T2" fmla="*/ 45 w 144"/>
                <a:gd name="T3" fmla="*/ 300 h 340"/>
                <a:gd name="T4" fmla="*/ 21 w 144"/>
                <a:gd name="T5" fmla="*/ 268 h 340"/>
                <a:gd name="T6" fmla="*/ 12 w 144"/>
                <a:gd name="T7" fmla="*/ 251 h 340"/>
                <a:gd name="T8" fmla="*/ 1 w 144"/>
                <a:gd name="T9" fmla="*/ 218 h 340"/>
                <a:gd name="T10" fmla="*/ 0 w 144"/>
                <a:gd name="T11" fmla="*/ 38 h 340"/>
                <a:gd name="T12" fmla="*/ 0 w 144"/>
                <a:gd name="T13" fmla="*/ 31 h 340"/>
                <a:gd name="T14" fmla="*/ 2 w 144"/>
                <a:gd name="T15" fmla="*/ 19 h 340"/>
                <a:gd name="T16" fmla="*/ 8 w 144"/>
                <a:gd name="T17" fmla="*/ 10 h 340"/>
                <a:gd name="T18" fmla="*/ 16 w 144"/>
                <a:gd name="T19" fmla="*/ 3 h 340"/>
                <a:gd name="T20" fmla="*/ 21 w 144"/>
                <a:gd name="T21" fmla="*/ 1 h 340"/>
                <a:gd name="T22" fmla="*/ 32 w 144"/>
                <a:gd name="T23" fmla="*/ 0 h 340"/>
                <a:gd name="T24" fmla="*/ 45 w 144"/>
                <a:gd name="T25" fmla="*/ 2 h 340"/>
                <a:gd name="T26" fmla="*/ 58 w 144"/>
                <a:gd name="T27" fmla="*/ 7 h 340"/>
                <a:gd name="T28" fmla="*/ 72 w 144"/>
                <a:gd name="T29" fmla="*/ 15 h 340"/>
                <a:gd name="T30" fmla="*/ 100 w 144"/>
                <a:gd name="T31" fmla="*/ 40 h 340"/>
                <a:gd name="T32" fmla="*/ 123 w 144"/>
                <a:gd name="T33" fmla="*/ 72 h 340"/>
                <a:gd name="T34" fmla="*/ 133 w 144"/>
                <a:gd name="T35" fmla="*/ 89 h 340"/>
                <a:gd name="T36" fmla="*/ 142 w 144"/>
                <a:gd name="T37" fmla="*/ 122 h 340"/>
                <a:gd name="T38" fmla="*/ 144 w 144"/>
                <a:gd name="T39" fmla="*/ 172 h 340"/>
                <a:gd name="T40" fmla="*/ 97 w 144"/>
                <a:gd name="T41" fmla="*/ 104 h 340"/>
                <a:gd name="T42" fmla="*/ 97 w 144"/>
                <a:gd name="T43" fmla="*/ 98 h 340"/>
                <a:gd name="T44" fmla="*/ 92 w 144"/>
                <a:gd name="T45" fmla="*/ 86 h 340"/>
                <a:gd name="T46" fmla="*/ 89 w 144"/>
                <a:gd name="T47" fmla="*/ 80 h 340"/>
                <a:gd name="T48" fmla="*/ 81 w 144"/>
                <a:gd name="T49" fmla="*/ 69 h 340"/>
                <a:gd name="T50" fmla="*/ 71 w 144"/>
                <a:gd name="T51" fmla="*/ 60 h 340"/>
                <a:gd name="T52" fmla="*/ 65 w 144"/>
                <a:gd name="T53" fmla="*/ 57 h 340"/>
                <a:gd name="T54" fmla="*/ 57 w 144"/>
                <a:gd name="T55" fmla="*/ 54 h 340"/>
                <a:gd name="T56" fmla="*/ 52 w 144"/>
                <a:gd name="T57" fmla="*/ 54 h 340"/>
                <a:gd name="T58" fmla="*/ 47 w 144"/>
                <a:gd name="T59" fmla="*/ 59 h 340"/>
                <a:gd name="T60" fmla="*/ 45 w 144"/>
                <a:gd name="T61" fmla="*/ 67 h 340"/>
                <a:gd name="T62" fmla="*/ 45 w 144"/>
                <a:gd name="T63" fmla="*/ 233 h 340"/>
                <a:gd name="T64" fmla="*/ 47 w 144"/>
                <a:gd name="T65" fmla="*/ 244 h 340"/>
                <a:gd name="T66" fmla="*/ 52 w 144"/>
                <a:gd name="T67" fmla="*/ 256 h 340"/>
                <a:gd name="T68" fmla="*/ 57 w 144"/>
                <a:gd name="T69" fmla="*/ 263 h 340"/>
                <a:gd name="T70" fmla="*/ 65 w 144"/>
                <a:gd name="T71" fmla="*/ 273 h 340"/>
                <a:gd name="T72" fmla="*/ 71 w 144"/>
                <a:gd name="T73" fmla="*/ 277 h 340"/>
                <a:gd name="T74" fmla="*/ 81 w 144"/>
                <a:gd name="T75" fmla="*/ 282 h 340"/>
                <a:gd name="T76" fmla="*/ 89 w 144"/>
                <a:gd name="T77" fmla="*/ 282 h 340"/>
                <a:gd name="T78" fmla="*/ 92 w 144"/>
                <a:gd name="T79" fmla="*/ 280 h 340"/>
                <a:gd name="T80" fmla="*/ 97 w 144"/>
                <a:gd name="T81" fmla="*/ 274 h 340"/>
                <a:gd name="T82" fmla="*/ 97 w 144"/>
                <a:gd name="T83" fmla="*/ 210 h 340"/>
                <a:gd name="T84" fmla="*/ 72 w 144"/>
                <a:gd name="T85" fmla="*/ 147 h 340"/>
                <a:gd name="T86" fmla="*/ 144 w 144"/>
                <a:gd name="T87" fmla="*/ 302 h 340"/>
                <a:gd name="T88" fmla="*/ 144 w 144"/>
                <a:gd name="T89" fmla="*/ 309 h 340"/>
                <a:gd name="T90" fmla="*/ 141 w 144"/>
                <a:gd name="T91" fmla="*/ 321 h 340"/>
                <a:gd name="T92" fmla="*/ 136 w 144"/>
                <a:gd name="T93" fmla="*/ 330 h 340"/>
                <a:gd name="T94" fmla="*/ 128 w 144"/>
                <a:gd name="T95" fmla="*/ 337 h 340"/>
                <a:gd name="T96" fmla="*/ 123 w 144"/>
                <a:gd name="T97" fmla="*/ 339 h 340"/>
                <a:gd name="T98" fmla="*/ 112 w 144"/>
                <a:gd name="T99" fmla="*/ 340 h 340"/>
                <a:gd name="T100" fmla="*/ 99 w 144"/>
                <a:gd name="T101" fmla="*/ 338 h 340"/>
                <a:gd name="T102" fmla="*/ 86 w 144"/>
                <a:gd name="T103" fmla="*/ 333 h 340"/>
                <a:gd name="T104" fmla="*/ 72 w 144"/>
                <a:gd name="T105" fmla="*/ 325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 h="340">
                  <a:moveTo>
                    <a:pt x="72" y="325"/>
                  </a:moveTo>
                  <a:lnTo>
                    <a:pt x="72" y="325"/>
                  </a:lnTo>
                  <a:lnTo>
                    <a:pt x="58" y="313"/>
                  </a:lnTo>
                  <a:lnTo>
                    <a:pt x="45" y="300"/>
                  </a:lnTo>
                  <a:lnTo>
                    <a:pt x="32" y="284"/>
                  </a:lnTo>
                  <a:lnTo>
                    <a:pt x="21" y="268"/>
                  </a:lnTo>
                  <a:lnTo>
                    <a:pt x="21" y="268"/>
                  </a:lnTo>
                  <a:lnTo>
                    <a:pt x="12" y="251"/>
                  </a:lnTo>
                  <a:lnTo>
                    <a:pt x="5" y="233"/>
                  </a:lnTo>
                  <a:lnTo>
                    <a:pt x="1" y="218"/>
                  </a:lnTo>
                  <a:lnTo>
                    <a:pt x="0" y="203"/>
                  </a:lnTo>
                  <a:lnTo>
                    <a:pt x="0" y="38"/>
                  </a:lnTo>
                  <a:lnTo>
                    <a:pt x="0" y="38"/>
                  </a:lnTo>
                  <a:lnTo>
                    <a:pt x="0" y="31"/>
                  </a:lnTo>
                  <a:lnTo>
                    <a:pt x="1" y="24"/>
                  </a:lnTo>
                  <a:lnTo>
                    <a:pt x="2" y="19"/>
                  </a:lnTo>
                  <a:lnTo>
                    <a:pt x="6" y="14"/>
                  </a:lnTo>
                  <a:lnTo>
                    <a:pt x="8" y="10"/>
                  </a:lnTo>
                  <a:lnTo>
                    <a:pt x="12" y="7"/>
                  </a:lnTo>
                  <a:lnTo>
                    <a:pt x="16" y="3"/>
                  </a:lnTo>
                  <a:lnTo>
                    <a:pt x="21" y="1"/>
                  </a:lnTo>
                  <a:lnTo>
                    <a:pt x="21" y="1"/>
                  </a:lnTo>
                  <a:lnTo>
                    <a:pt x="26" y="0"/>
                  </a:lnTo>
                  <a:lnTo>
                    <a:pt x="32" y="0"/>
                  </a:lnTo>
                  <a:lnTo>
                    <a:pt x="38" y="0"/>
                  </a:lnTo>
                  <a:lnTo>
                    <a:pt x="45" y="2"/>
                  </a:lnTo>
                  <a:lnTo>
                    <a:pt x="51" y="4"/>
                  </a:lnTo>
                  <a:lnTo>
                    <a:pt x="58" y="7"/>
                  </a:lnTo>
                  <a:lnTo>
                    <a:pt x="72" y="15"/>
                  </a:lnTo>
                  <a:lnTo>
                    <a:pt x="72" y="15"/>
                  </a:lnTo>
                  <a:lnTo>
                    <a:pt x="86" y="27"/>
                  </a:lnTo>
                  <a:lnTo>
                    <a:pt x="100" y="40"/>
                  </a:lnTo>
                  <a:lnTo>
                    <a:pt x="112" y="55"/>
                  </a:lnTo>
                  <a:lnTo>
                    <a:pt x="123" y="72"/>
                  </a:lnTo>
                  <a:lnTo>
                    <a:pt x="123" y="72"/>
                  </a:lnTo>
                  <a:lnTo>
                    <a:pt x="133" y="89"/>
                  </a:lnTo>
                  <a:lnTo>
                    <a:pt x="139" y="106"/>
                  </a:lnTo>
                  <a:lnTo>
                    <a:pt x="142" y="122"/>
                  </a:lnTo>
                  <a:lnTo>
                    <a:pt x="144" y="137"/>
                  </a:lnTo>
                  <a:lnTo>
                    <a:pt x="144" y="172"/>
                  </a:lnTo>
                  <a:lnTo>
                    <a:pt x="97" y="139"/>
                  </a:lnTo>
                  <a:lnTo>
                    <a:pt x="97" y="104"/>
                  </a:lnTo>
                  <a:lnTo>
                    <a:pt x="97" y="104"/>
                  </a:lnTo>
                  <a:lnTo>
                    <a:pt x="97" y="98"/>
                  </a:lnTo>
                  <a:lnTo>
                    <a:pt x="95" y="92"/>
                  </a:lnTo>
                  <a:lnTo>
                    <a:pt x="92" y="86"/>
                  </a:lnTo>
                  <a:lnTo>
                    <a:pt x="89" y="80"/>
                  </a:lnTo>
                  <a:lnTo>
                    <a:pt x="89" y="80"/>
                  </a:lnTo>
                  <a:lnTo>
                    <a:pt x="85" y="74"/>
                  </a:lnTo>
                  <a:lnTo>
                    <a:pt x="81" y="69"/>
                  </a:lnTo>
                  <a:lnTo>
                    <a:pt x="76" y="64"/>
                  </a:lnTo>
                  <a:lnTo>
                    <a:pt x="71" y="60"/>
                  </a:lnTo>
                  <a:lnTo>
                    <a:pt x="71" y="60"/>
                  </a:lnTo>
                  <a:lnTo>
                    <a:pt x="65" y="57"/>
                  </a:lnTo>
                  <a:lnTo>
                    <a:pt x="61" y="54"/>
                  </a:lnTo>
                  <a:lnTo>
                    <a:pt x="57" y="54"/>
                  </a:lnTo>
                  <a:lnTo>
                    <a:pt x="52" y="54"/>
                  </a:lnTo>
                  <a:lnTo>
                    <a:pt x="52" y="54"/>
                  </a:lnTo>
                  <a:lnTo>
                    <a:pt x="49" y="57"/>
                  </a:lnTo>
                  <a:lnTo>
                    <a:pt x="47" y="59"/>
                  </a:lnTo>
                  <a:lnTo>
                    <a:pt x="45" y="63"/>
                  </a:lnTo>
                  <a:lnTo>
                    <a:pt x="45" y="67"/>
                  </a:lnTo>
                  <a:lnTo>
                    <a:pt x="45" y="233"/>
                  </a:lnTo>
                  <a:lnTo>
                    <a:pt x="45" y="233"/>
                  </a:lnTo>
                  <a:lnTo>
                    <a:pt x="45" y="239"/>
                  </a:lnTo>
                  <a:lnTo>
                    <a:pt x="47" y="244"/>
                  </a:lnTo>
                  <a:lnTo>
                    <a:pt x="49" y="251"/>
                  </a:lnTo>
                  <a:lnTo>
                    <a:pt x="52" y="256"/>
                  </a:lnTo>
                  <a:lnTo>
                    <a:pt x="52" y="256"/>
                  </a:lnTo>
                  <a:lnTo>
                    <a:pt x="57" y="263"/>
                  </a:lnTo>
                  <a:lnTo>
                    <a:pt x="61" y="268"/>
                  </a:lnTo>
                  <a:lnTo>
                    <a:pt x="65" y="273"/>
                  </a:lnTo>
                  <a:lnTo>
                    <a:pt x="71" y="277"/>
                  </a:lnTo>
                  <a:lnTo>
                    <a:pt x="71" y="277"/>
                  </a:lnTo>
                  <a:lnTo>
                    <a:pt x="76" y="280"/>
                  </a:lnTo>
                  <a:lnTo>
                    <a:pt x="81" y="282"/>
                  </a:lnTo>
                  <a:lnTo>
                    <a:pt x="85" y="282"/>
                  </a:lnTo>
                  <a:lnTo>
                    <a:pt x="89" y="282"/>
                  </a:lnTo>
                  <a:lnTo>
                    <a:pt x="89" y="282"/>
                  </a:lnTo>
                  <a:lnTo>
                    <a:pt x="92" y="280"/>
                  </a:lnTo>
                  <a:lnTo>
                    <a:pt x="95" y="278"/>
                  </a:lnTo>
                  <a:lnTo>
                    <a:pt x="97" y="274"/>
                  </a:lnTo>
                  <a:lnTo>
                    <a:pt x="97" y="269"/>
                  </a:lnTo>
                  <a:lnTo>
                    <a:pt x="97" y="210"/>
                  </a:lnTo>
                  <a:lnTo>
                    <a:pt x="72" y="192"/>
                  </a:lnTo>
                  <a:lnTo>
                    <a:pt x="72" y="147"/>
                  </a:lnTo>
                  <a:lnTo>
                    <a:pt x="144" y="197"/>
                  </a:lnTo>
                  <a:lnTo>
                    <a:pt x="144" y="302"/>
                  </a:lnTo>
                  <a:lnTo>
                    <a:pt x="144" y="302"/>
                  </a:lnTo>
                  <a:lnTo>
                    <a:pt x="144" y="309"/>
                  </a:lnTo>
                  <a:lnTo>
                    <a:pt x="142" y="315"/>
                  </a:lnTo>
                  <a:lnTo>
                    <a:pt x="141" y="321"/>
                  </a:lnTo>
                  <a:lnTo>
                    <a:pt x="139" y="326"/>
                  </a:lnTo>
                  <a:lnTo>
                    <a:pt x="136" y="330"/>
                  </a:lnTo>
                  <a:lnTo>
                    <a:pt x="132" y="333"/>
                  </a:lnTo>
                  <a:lnTo>
                    <a:pt x="128" y="337"/>
                  </a:lnTo>
                  <a:lnTo>
                    <a:pt x="123" y="339"/>
                  </a:lnTo>
                  <a:lnTo>
                    <a:pt x="123" y="339"/>
                  </a:lnTo>
                  <a:lnTo>
                    <a:pt x="117" y="340"/>
                  </a:lnTo>
                  <a:lnTo>
                    <a:pt x="112" y="340"/>
                  </a:lnTo>
                  <a:lnTo>
                    <a:pt x="106" y="340"/>
                  </a:lnTo>
                  <a:lnTo>
                    <a:pt x="99" y="338"/>
                  </a:lnTo>
                  <a:lnTo>
                    <a:pt x="94" y="335"/>
                  </a:lnTo>
                  <a:lnTo>
                    <a:pt x="86" y="333"/>
                  </a:lnTo>
                  <a:lnTo>
                    <a:pt x="72" y="325"/>
                  </a:lnTo>
                  <a:lnTo>
                    <a:pt x="72" y="3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7" name="Freeform 14"/>
            <p:cNvSpPr>
              <a:spLocks noEditPoints="1"/>
            </p:cNvSpPr>
            <p:nvPr/>
          </p:nvSpPr>
          <p:spPr bwMode="auto">
            <a:xfrm>
              <a:off x="8878888" y="5583238"/>
              <a:ext cx="60325" cy="161925"/>
            </a:xfrm>
            <a:custGeom>
              <a:avLst/>
              <a:gdLst>
                <a:gd name="T0" fmla="*/ 72 w 153"/>
                <a:gd name="T1" fmla="*/ 49 h 406"/>
                <a:gd name="T2" fmla="*/ 72 w 153"/>
                <a:gd name="T3" fmla="*/ 49 h 406"/>
                <a:gd name="T4" fmla="*/ 90 w 153"/>
                <a:gd name="T5" fmla="*/ 63 h 406"/>
                <a:gd name="T6" fmla="*/ 105 w 153"/>
                <a:gd name="T7" fmla="*/ 77 h 406"/>
                <a:gd name="T8" fmla="*/ 117 w 153"/>
                <a:gd name="T9" fmla="*/ 93 h 406"/>
                <a:gd name="T10" fmla="*/ 128 w 153"/>
                <a:gd name="T11" fmla="*/ 109 h 406"/>
                <a:gd name="T12" fmla="*/ 128 w 153"/>
                <a:gd name="T13" fmla="*/ 109 h 406"/>
                <a:gd name="T14" fmla="*/ 135 w 153"/>
                <a:gd name="T15" fmla="*/ 124 h 406"/>
                <a:gd name="T16" fmla="*/ 140 w 153"/>
                <a:gd name="T17" fmla="*/ 139 h 406"/>
                <a:gd name="T18" fmla="*/ 142 w 153"/>
                <a:gd name="T19" fmla="*/ 154 h 406"/>
                <a:gd name="T20" fmla="*/ 143 w 153"/>
                <a:gd name="T21" fmla="*/ 171 h 406"/>
                <a:gd name="T22" fmla="*/ 143 w 153"/>
                <a:gd name="T23" fmla="*/ 214 h 406"/>
                <a:gd name="T24" fmla="*/ 143 w 153"/>
                <a:gd name="T25" fmla="*/ 214 h 406"/>
                <a:gd name="T26" fmla="*/ 143 w 153"/>
                <a:gd name="T27" fmla="*/ 222 h 406"/>
                <a:gd name="T28" fmla="*/ 142 w 153"/>
                <a:gd name="T29" fmla="*/ 228 h 406"/>
                <a:gd name="T30" fmla="*/ 140 w 153"/>
                <a:gd name="T31" fmla="*/ 235 h 406"/>
                <a:gd name="T32" fmla="*/ 138 w 153"/>
                <a:gd name="T33" fmla="*/ 240 h 406"/>
                <a:gd name="T34" fmla="*/ 134 w 153"/>
                <a:gd name="T35" fmla="*/ 243 h 406"/>
                <a:gd name="T36" fmla="*/ 130 w 153"/>
                <a:gd name="T37" fmla="*/ 248 h 406"/>
                <a:gd name="T38" fmla="*/ 125 w 153"/>
                <a:gd name="T39" fmla="*/ 250 h 406"/>
                <a:gd name="T40" fmla="*/ 119 w 153"/>
                <a:gd name="T41" fmla="*/ 252 h 406"/>
                <a:gd name="T42" fmla="*/ 153 w 153"/>
                <a:gd name="T43" fmla="*/ 406 h 406"/>
                <a:gd name="T44" fmla="*/ 103 w 153"/>
                <a:gd name="T45" fmla="*/ 372 h 406"/>
                <a:gd name="T46" fmla="*/ 76 w 153"/>
                <a:gd name="T47" fmla="*/ 240 h 406"/>
                <a:gd name="T48" fmla="*/ 76 w 153"/>
                <a:gd name="T49" fmla="*/ 240 h 406"/>
                <a:gd name="T50" fmla="*/ 72 w 153"/>
                <a:gd name="T51" fmla="*/ 237 h 406"/>
                <a:gd name="T52" fmla="*/ 46 w 153"/>
                <a:gd name="T53" fmla="*/ 219 h 406"/>
                <a:gd name="T54" fmla="*/ 46 w 153"/>
                <a:gd name="T55" fmla="*/ 332 h 406"/>
                <a:gd name="T56" fmla="*/ 0 w 153"/>
                <a:gd name="T57" fmla="*/ 302 h 406"/>
                <a:gd name="T58" fmla="*/ 0 w 153"/>
                <a:gd name="T59" fmla="*/ 0 h 406"/>
                <a:gd name="T60" fmla="*/ 72 w 153"/>
                <a:gd name="T61" fmla="*/ 49 h 406"/>
                <a:gd name="T62" fmla="*/ 99 w 153"/>
                <a:gd name="T63" fmla="*/ 140 h 406"/>
                <a:gd name="T64" fmla="*/ 99 w 153"/>
                <a:gd name="T65" fmla="*/ 140 h 406"/>
                <a:gd name="T66" fmla="*/ 99 w 153"/>
                <a:gd name="T67" fmla="*/ 135 h 406"/>
                <a:gd name="T68" fmla="*/ 98 w 153"/>
                <a:gd name="T69" fmla="*/ 128 h 406"/>
                <a:gd name="T70" fmla="*/ 96 w 153"/>
                <a:gd name="T71" fmla="*/ 122 h 406"/>
                <a:gd name="T72" fmla="*/ 92 w 153"/>
                <a:gd name="T73" fmla="*/ 116 h 406"/>
                <a:gd name="T74" fmla="*/ 89 w 153"/>
                <a:gd name="T75" fmla="*/ 111 h 406"/>
                <a:gd name="T76" fmla="*/ 85 w 153"/>
                <a:gd name="T77" fmla="*/ 107 h 406"/>
                <a:gd name="T78" fmla="*/ 79 w 153"/>
                <a:gd name="T79" fmla="*/ 101 h 406"/>
                <a:gd name="T80" fmla="*/ 73 w 153"/>
                <a:gd name="T81" fmla="*/ 97 h 406"/>
                <a:gd name="T82" fmla="*/ 46 w 153"/>
                <a:gd name="T83" fmla="*/ 77 h 406"/>
                <a:gd name="T84" fmla="*/ 46 w 153"/>
                <a:gd name="T85" fmla="*/ 174 h 406"/>
                <a:gd name="T86" fmla="*/ 73 w 153"/>
                <a:gd name="T87" fmla="*/ 193 h 406"/>
                <a:gd name="T88" fmla="*/ 73 w 153"/>
                <a:gd name="T89" fmla="*/ 193 h 406"/>
                <a:gd name="T90" fmla="*/ 78 w 153"/>
                <a:gd name="T91" fmla="*/ 197 h 406"/>
                <a:gd name="T92" fmla="*/ 84 w 153"/>
                <a:gd name="T93" fmla="*/ 198 h 406"/>
                <a:gd name="T94" fmla="*/ 88 w 153"/>
                <a:gd name="T95" fmla="*/ 199 h 406"/>
                <a:gd name="T96" fmla="*/ 91 w 153"/>
                <a:gd name="T97" fmla="*/ 198 h 406"/>
                <a:gd name="T98" fmla="*/ 91 w 153"/>
                <a:gd name="T99" fmla="*/ 198 h 406"/>
                <a:gd name="T100" fmla="*/ 94 w 153"/>
                <a:gd name="T101" fmla="*/ 197 h 406"/>
                <a:gd name="T102" fmla="*/ 98 w 153"/>
                <a:gd name="T103" fmla="*/ 193 h 406"/>
                <a:gd name="T104" fmla="*/ 99 w 153"/>
                <a:gd name="T105" fmla="*/ 190 h 406"/>
                <a:gd name="T106" fmla="*/ 99 w 153"/>
                <a:gd name="T107" fmla="*/ 185 h 406"/>
                <a:gd name="T108" fmla="*/ 99 w 153"/>
                <a:gd name="T109" fmla="*/ 14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 h="406">
                  <a:moveTo>
                    <a:pt x="72" y="49"/>
                  </a:moveTo>
                  <a:lnTo>
                    <a:pt x="72" y="49"/>
                  </a:lnTo>
                  <a:lnTo>
                    <a:pt x="90" y="63"/>
                  </a:lnTo>
                  <a:lnTo>
                    <a:pt x="105" y="77"/>
                  </a:lnTo>
                  <a:lnTo>
                    <a:pt x="117" y="93"/>
                  </a:lnTo>
                  <a:lnTo>
                    <a:pt x="128" y="109"/>
                  </a:lnTo>
                  <a:lnTo>
                    <a:pt x="128" y="109"/>
                  </a:lnTo>
                  <a:lnTo>
                    <a:pt x="135" y="124"/>
                  </a:lnTo>
                  <a:lnTo>
                    <a:pt x="140" y="139"/>
                  </a:lnTo>
                  <a:lnTo>
                    <a:pt x="142" y="154"/>
                  </a:lnTo>
                  <a:lnTo>
                    <a:pt x="143" y="171"/>
                  </a:lnTo>
                  <a:lnTo>
                    <a:pt x="143" y="214"/>
                  </a:lnTo>
                  <a:lnTo>
                    <a:pt x="143" y="214"/>
                  </a:lnTo>
                  <a:lnTo>
                    <a:pt x="143" y="222"/>
                  </a:lnTo>
                  <a:lnTo>
                    <a:pt x="142" y="228"/>
                  </a:lnTo>
                  <a:lnTo>
                    <a:pt x="140" y="235"/>
                  </a:lnTo>
                  <a:lnTo>
                    <a:pt x="138" y="240"/>
                  </a:lnTo>
                  <a:lnTo>
                    <a:pt x="134" y="243"/>
                  </a:lnTo>
                  <a:lnTo>
                    <a:pt x="130" y="248"/>
                  </a:lnTo>
                  <a:lnTo>
                    <a:pt x="125" y="250"/>
                  </a:lnTo>
                  <a:lnTo>
                    <a:pt x="119" y="252"/>
                  </a:lnTo>
                  <a:lnTo>
                    <a:pt x="153" y="406"/>
                  </a:lnTo>
                  <a:lnTo>
                    <a:pt x="103" y="372"/>
                  </a:lnTo>
                  <a:lnTo>
                    <a:pt x="76" y="240"/>
                  </a:lnTo>
                  <a:lnTo>
                    <a:pt x="76" y="240"/>
                  </a:lnTo>
                  <a:lnTo>
                    <a:pt x="72" y="237"/>
                  </a:lnTo>
                  <a:lnTo>
                    <a:pt x="46" y="219"/>
                  </a:lnTo>
                  <a:lnTo>
                    <a:pt x="46" y="332"/>
                  </a:lnTo>
                  <a:lnTo>
                    <a:pt x="0" y="302"/>
                  </a:lnTo>
                  <a:lnTo>
                    <a:pt x="0" y="0"/>
                  </a:lnTo>
                  <a:lnTo>
                    <a:pt x="72" y="49"/>
                  </a:lnTo>
                  <a:close/>
                  <a:moveTo>
                    <a:pt x="99" y="140"/>
                  </a:moveTo>
                  <a:lnTo>
                    <a:pt x="99" y="140"/>
                  </a:lnTo>
                  <a:lnTo>
                    <a:pt x="99" y="135"/>
                  </a:lnTo>
                  <a:lnTo>
                    <a:pt x="98" y="128"/>
                  </a:lnTo>
                  <a:lnTo>
                    <a:pt x="96" y="122"/>
                  </a:lnTo>
                  <a:lnTo>
                    <a:pt x="92" y="116"/>
                  </a:lnTo>
                  <a:lnTo>
                    <a:pt x="89" y="111"/>
                  </a:lnTo>
                  <a:lnTo>
                    <a:pt x="85" y="107"/>
                  </a:lnTo>
                  <a:lnTo>
                    <a:pt x="79" y="101"/>
                  </a:lnTo>
                  <a:lnTo>
                    <a:pt x="73" y="97"/>
                  </a:lnTo>
                  <a:lnTo>
                    <a:pt x="46" y="77"/>
                  </a:lnTo>
                  <a:lnTo>
                    <a:pt x="46" y="174"/>
                  </a:lnTo>
                  <a:lnTo>
                    <a:pt x="73" y="193"/>
                  </a:lnTo>
                  <a:lnTo>
                    <a:pt x="73" y="193"/>
                  </a:lnTo>
                  <a:lnTo>
                    <a:pt x="78" y="197"/>
                  </a:lnTo>
                  <a:lnTo>
                    <a:pt x="84" y="198"/>
                  </a:lnTo>
                  <a:lnTo>
                    <a:pt x="88" y="199"/>
                  </a:lnTo>
                  <a:lnTo>
                    <a:pt x="91" y="198"/>
                  </a:lnTo>
                  <a:lnTo>
                    <a:pt x="91" y="198"/>
                  </a:lnTo>
                  <a:lnTo>
                    <a:pt x="94" y="197"/>
                  </a:lnTo>
                  <a:lnTo>
                    <a:pt x="98" y="193"/>
                  </a:lnTo>
                  <a:lnTo>
                    <a:pt x="99" y="190"/>
                  </a:lnTo>
                  <a:lnTo>
                    <a:pt x="99" y="185"/>
                  </a:lnTo>
                  <a:lnTo>
                    <a:pt x="99"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8" name="Freeform 15"/>
            <p:cNvSpPr>
              <a:spLocks noEditPoints="1"/>
            </p:cNvSpPr>
            <p:nvPr/>
          </p:nvSpPr>
          <p:spPr bwMode="auto">
            <a:xfrm>
              <a:off x="8951913" y="5645151"/>
              <a:ext cx="57150" cy="134938"/>
            </a:xfrm>
            <a:custGeom>
              <a:avLst/>
              <a:gdLst>
                <a:gd name="T0" fmla="*/ 71 w 143"/>
                <a:gd name="T1" fmla="*/ 15 h 339"/>
                <a:gd name="T2" fmla="*/ 98 w 143"/>
                <a:gd name="T3" fmla="*/ 40 h 339"/>
                <a:gd name="T4" fmla="*/ 122 w 143"/>
                <a:gd name="T5" fmla="*/ 71 h 339"/>
                <a:gd name="T6" fmla="*/ 131 w 143"/>
                <a:gd name="T7" fmla="*/ 89 h 339"/>
                <a:gd name="T8" fmla="*/ 142 w 143"/>
                <a:gd name="T9" fmla="*/ 122 h 339"/>
                <a:gd name="T10" fmla="*/ 143 w 143"/>
                <a:gd name="T11" fmla="*/ 301 h 339"/>
                <a:gd name="T12" fmla="*/ 143 w 143"/>
                <a:gd name="T13" fmla="*/ 309 h 339"/>
                <a:gd name="T14" fmla="*/ 141 w 143"/>
                <a:gd name="T15" fmla="*/ 321 h 339"/>
                <a:gd name="T16" fmla="*/ 135 w 143"/>
                <a:gd name="T17" fmla="*/ 329 h 339"/>
                <a:gd name="T18" fmla="*/ 127 w 143"/>
                <a:gd name="T19" fmla="*/ 336 h 339"/>
                <a:gd name="T20" fmla="*/ 122 w 143"/>
                <a:gd name="T21" fmla="*/ 338 h 339"/>
                <a:gd name="T22" fmla="*/ 111 w 143"/>
                <a:gd name="T23" fmla="*/ 339 h 339"/>
                <a:gd name="T24" fmla="*/ 98 w 143"/>
                <a:gd name="T25" fmla="*/ 338 h 339"/>
                <a:gd name="T26" fmla="*/ 85 w 143"/>
                <a:gd name="T27" fmla="*/ 333 h 339"/>
                <a:gd name="T28" fmla="*/ 71 w 143"/>
                <a:gd name="T29" fmla="*/ 324 h 339"/>
                <a:gd name="T30" fmla="*/ 43 w 143"/>
                <a:gd name="T31" fmla="*/ 300 h 339"/>
                <a:gd name="T32" fmla="*/ 20 w 143"/>
                <a:gd name="T33" fmla="*/ 268 h 339"/>
                <a:gd name="T34" fmla="*/ 10 w 143"/>
                <a:gd name="T35" fmla="*/ 250 h 339"/>
                <a:gd name="T36" fmla="*/ 1 w 143"/>
                <a:gd name="T37" fmla="*/ 218 h 339"/>
                <a:gd name="T38" fmla="*/ 0 w 143"/>
                <a:gd name="T39" fmla="*/ 38 h 339"/>
                <a:gd name="T40" fmla="*/ 0 w 143"/>
                <a:gd name="T41" fmla="*/ 31 h 339"/>
                <a:gd name="T42" fmla="*/ 2 w 143"/>
                <a:gd name="T43" fmla="*/ 19 h 339"/>
                <a:gd name="T44" fmla="*/ 7 w 143"/>
                <a:gd name="T45" fmla="*/ 9 h 339"/>
                <a:gd name="T46" fmla="*/ 16 w 143"/>
                <a:gd name="T47" fmla="*/ 3 h 339"/>
                <a:gd name="T48" fmla="*/ 20 w 143"/>
                <a:gd name="T49" fmla="*/ 2 h 339"/>
                <a:gd name="T50" fmla="*/ 31 w 143"/>
                <a:gd name="T51" fmla="*/ 0 h 339"/>
                <a:gd name="T52" fmla="*/ 44 w 143"/>
                <a:gd name="T53" fmla="*/ 2 h 339"/>
                <a:gd name="T54" fmla="*/ 57 w 143"/>
                <a:gd name="T55" fmla="*/ 7 h 339"/>
                <a:gd name="T56" fmla="*/ 71 w 143"/>
                <a:gd name="T57" fmla="*/ 15 h 339"/>
                <a:gd name="T58" fmla="*/ 96 w 143"/>
                <a:gd name="T59" fmla="*/ 104 h 339"/>
                <a:gd name="T60" fmla="*/ 94 w 143"/>
                <a:gd name="T61" fmla="*/ 92 h 339"/>
                <a:gd name="T62" fmla="*/ 89 w 143"/>
                <a:gd name="T63" fmla="*/ 80 h 339"/>
                <a:gd name="T64" fmla="*/ 84 w 143"/>
                <a:gd name="T65" fmla="*/ 73 h 339"/>
                <a:gd name="T66" fmla="*/ 76 w 143"/>
                <a:gd name="T67" fmla="*/ 64 h 339"/>
                <a:gd name="T68" fmla="*/ 70 w 143"/>
                <a:gd name="T69" fmla="*/ 59 h 339"/>
                <a:gd name="T70" fmla="*/ 59 w 143"/>
                <a:gd name="T71" fmla="*/ 55 h 339"/>
                <a:gd name="T72" fmla="*/ 52 w 143"/>
                <a:gd name="T73" fmla="*/ 55 h 339"/>
                <a:gd name="T74" fmla="*/ 48 w 143"/>
                <a:gd name="T75" fmla="*/ 56 h 339"/>
                <a:gd name="T76" fmla="*/ 44 w 143"/>
                <a:gd name="T77" fmla="*/ 62 h 339"/>
                <a:gd name="T78" fmla="*/ 44 w 143"/>
                <a:gd name="T79" fmla="*/ 233 h 339"/>
                <a:gd name="T80" fmla="*/ 44 w 143"/>
                <a:gd name="T81" fmla="*/ 238 h 339"/>
                <a:gd name="T82" fmla="*/ 48 w 143"/>
                <a:gd name="T83" fmla="*/ 250 h 339"/>
                <a:gd name="T84" fmla="*/ 52 w 143"/>
                <a:gd name="T85" fmla="*/ 257 h 339"/>
                <a:gd name="T86" fmla="*/ 59 w 143"/>
                <a:gd name="T87" fmla="*/ 268 h 339"/>
                <a:gd name="T88" fmla="*/ 70 w 143"/>
                <a:gd name="T89" fmla="*/ 276 h 339"/>
                <a:gd name="T90" fmla="*/ 76 w 143"/>
                <a:gd name="T91" fmla="*/ 280 h 339"/>
                <a:gd name="T92" fmla="*/ 84 w 143"/>
                <a:gd name="T93" fmla="*/ 282 h 339"/>
                <a:gd name="T94" fmla="*/ 89 w 143"/>
                <a:gd name="T95" fmla="*/ 282 h 339"/>
                <a:gd name="T96" fmla="*/ 94 w 143"/>
                <a:gd name="T97" fmla="*/ 277 h 339"/>
                <a:gd name="T98" fmla="*/ 96 w 143"/>
                <a:gd name="T99" fmla="*/ 26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3" h="339">
                  <a:moveTo>
                    <a:pt x="71" y="15"/>
                  </a:moveTo>
                  <a:lnTo>
                    <a:pt x="71" y="15"/>
                  </a:lnTo>
                  <a:lnTo>
                    <a:pt x="85" y="27"/>
                  </a:lnTo>
                  <a:lnTo>
                    <a:pt x="98" y="40"/>
                  </a:lnTo>
                  <a:lnTo>
                    <a:pt x="111" y="55"/>
                  </a:lnTo>
                  <a:lnTo>
                    <a:pt x="122" y="71"/>
                  </a:lnTo>
                  <a:lnTo>
                    <a:pt x="122" y="71"/>
                  </a:lnTo>
                  <a:lnTo>
                    <a:pt x="131" y="89"/>
                  </a:lnTo>
                  <a:lnTo>
                    <a:pt x="137" y="106"/>
                  </a:lnTo>
                  <a:lnTo>
                    <a:pt x="142" y="122"/>
                  </a:lnTo>
                  <a:lnTo>
                    <a:pt x="143" y="137"/>
                  </a:lnTo>
                  <a:lnTo>
                    <a:pt x="143" y="301"/>
                  </a:lnTo>
                  <a:lnTo>
                    <a:pt x="143" y="301"/>
                  </a:lnTo>
                  <a:lnTo>
                    <a:pt x="143" y="309"/>
                  </a:lnTo>
                  <a:lnTo>
                    <a:pt x="142" y="315"/>
                  </a:lnTo>
                  <a:lnTo>
                    <a:pt x="141" y="321"/>
                  </a:lnTo>
                  <a:lnTo>
                    <a:pt x="137" y="326"/>
                  </a:lnTo>
                  <a:lnTo>
                    <a:pt x="135" y="329"/>
                  </a:lnTo>
                  <a:lnTo>
                    <a:pt x="131" y="334"/>
                  </a:lnTo>
                  <a:lnTo>
                    <a:pt x="127" y="336"/>
                  </a:lnTo>
                  <a:lnTo>
                    <a:pt x="122" y="338"/>
                  </a:lnTo>
                  <a:lnTo>
                    <a:pt x="122" y="338"/>
                  </a:lnTo>
                  <a:lnTo>
                    <a:pt x="117" y="339"/>
                  </a:lnTo>
                  <a:lnTo>
                    <a:pt x="111" y="339"/>
                  </a:lnTo>
                  <a:lnTo>
                    <a:pt x="105" y="339"/>
                  </a:lnTo>
                  <a:lnTo>
                    <a:pt x="98" y="338"/>
                  </a:lnTo>
                  <a:lnTo>
                    <a:pt x="92" y="336"/>
                  </a:lnTo>
                  <a:lnTo>
                    <a:pt x="85" y="333"/>
                  </a:lnTo>
                  <a:lnTo>
                    <a:pt x="71" y="324"/>
                  </a:lnTo>
                  <a:lnTo>
                    <a:pt x="71" y="324"/>
                  </a:lnTo>
                  <a:lnTo>
                    <a:pt x="57" y="313"/>
                  </a:lnTo>
                  <a:lnTo>
                    <a:pt x="43" y="300"/>
                  </a:lnTo>
                  <a:lnTo>
                    <a:pt x="31" y="285"/>
                  </a:lnTo>
                  <a:lnTo>
                    <a:pt x="20" y="268"/>
                  </a:lnTo>
                  <a:lnTo>
                    <a:pt x="20" y="268"/>
                  </a:lnTo>
                  <a:lnTo>
                    <a:pt x="10" y="250"/>
                  </a:lnTo>
                  <a:lnTo>
                    <a:pt x="4" y="234"/>
                  </a:lnTo>
                  <a:lnTo>
                    <a:pt x="1" y="218"/>
                  </a:lnTo>
                  <a:lnTo>
                    <a:pt x="0" y="202"/>
                  </a:lnTo>
                  <a:lnTo>
                    <a:pt x="0" y="38"/>
                  </a:lnTo>
                  <a:lnTo>
                    <a:pt x="0" y="38"/>
                  </a:lnTo>
                  <a:lnTo>
                    <a:pt x="0" y="31"/>
                  </a:lnTo>
                  <a:lnTo>
                    <a:pt x="1" y="24"/>
                  </a:lnTo>
                  <a:lnTo>
                    <a:pt x="2" y="19"/>
                  </a:lnTo>
                  <a:lnTo>
                    <a:pt x="4" y="14"/>
                  </a:lnTo>
                  <a:lnTo>
                    <a:pt x="7" y="9"/>
                  </a:lnTo>
                  <a:lnTo>
                    <a:pt x="11" y="6"/>
                  </a:lnTo>
                  <a:lnTo>
                    <a:pt x="16" y="3"/>
                  </a:lnTo>
                  <a:lnTo>
                    <a:pt x="20" y="2"/>
                  </a:lnTo>
                  <a:lnTo>
                    <a:pt x="20" y="2"/>
                  </a:lnTo>
                  <a:lnTo>
                    <a:pt x="26" y="1"/>
                  </a:lnTo>
                  <a:lnTo>
                    <a:pt x="31" y="0"/>
                  </a:lnTo>
                  <a:lnTo>
                    <a:pt x="38" y="1"/>
                  </a:lnTo>
                  <a:lnTo>
                    <a:pt x="44" y="2"/>
                  </a:lnTo>
                  <a:lnTo>
                    <a:pt x="49" y="4"/>
                  </a:lnTo>
                  <a:lnTo>
                    <a:pt x="57" y="7"/>
                  </a:lnTo>
                  <a:lnTo>
                    <a:pt x="71" y="15"/>
                  </a:lnTo>
                  <a:lnTo>
                    <a:pt x="71" y="15"/>
                  </a:lnTo>
                  <a:close/>
                  <a:moveTo>
                    <a:pt x="96" y="104"/>
                  </a:moveTo>
                  <a:lnTo>
                    <a:pt x="96" y="104"/>
                  </a:lnTo>
                  <a:lnTo>
                    <a:pt x="95" y="98"/>
                  </a:lnTo>
                  <a:lnTo>
                    <a:pt x="94" y="92"/>
                  </a:lnTo>
                  <a:lnTo>
                    <a:pt x="92" y="86"/>
                  </a:lnTo>
                  <a:lnTo>
                    <a:pt x="89" y="80"/>
                  </a:lnTo>
                  <a:lnTo>
                    <a:pt x="89" y="80"/>
                  </a:lnTo>
                  <a:lnTo>
                    <a:pt x="84" y="73"/>
                  </a:lnTo>
                  <a:lnTo>
                    <a:pt x="80" y="68"/>
                  </a:lnTo>
                  <a:lnTo>
                    <a:pt x="76" y="64"/>
                  </a:lnTo>
                  <a:lnTo>
                    <a:pt x="70" y="59"/>
                  </a:lnTo>
                  <a:lnTo>
                    <a:pt x="70" y="59"/>
                  </a:lnTo>
                  <a:lnTo>
                    <a:pt x="65" y="56"/>
                  </a:lnTo>
                  <a:lnTo>
                    <a:pt x="59" y="55"/>
                  </a:lnTo>
                  <a:lnTo>
                    <a:pt x="55" y="54"/>
                  </a:lnTo>
                  <a:lnTo>
                    <a:pt x="52" y="55"/>
                  </a:lnTo>
                  <a:lnTo>
                    <a:pt x="52" y="55"/>
                  </a:lnTo>
                  <a:lnTo>
                    <a:pt x="48" y="56"/>
                  </a:lnTo>
                  <a:lnTo>
                    <a:pt x="45" y="59"/>
                  </a:lnTo>
                  <a:lnTo>
                    <a:pt x="44" y="62"/>
                  </a:lnTo>
                  <a:lnTo>
                    <a:pt x="44" y="68"/>
                  </a:lnTo>
                  <a:lnTo>
                    <a:pt x="44" y="233"/>
                  </a:lnTo>
                  <a:lnTo>
                    <a:pt x="44" y="233"/>
                  </a:lnTo>
                  <a:lnTo>
                    <a:pt x="44" y="238"/>
                  </a:lnTo>
                  <a:lnTo>
                    <a:pt x="45" y="244"/>
                  </a:lnTo>
                  <a:lnTo>
                    <a:pt x="48" y="250"/>
                  </a:lnTo>
                  <a:lnTo>
                    <a:pt x="52" y="257"/>
                  </a:lnTo>
                  <a:lnTo>
                    <a:pt x="52" y="257"/>
                  </a:lnTo>
                  <a:lnTo>
                    <a:pt x="55" y="262"/>
                  </a:lnTo>
                  <a:lnTo>
                    <a:pt x="59" y="268"/>
                  </a:lnTo>
                  <a:lnTo>
                    <a:pt x="65" y="273"/>
                  </a:lnTo>
                  <a:lnTo>
                    <a:pt x="70" y="276"/>
                  </a:lnTo>
                  <a:lnTo>
                    <a:pt x="70" y="276"/>
                  </a:lnTo>
                  <a:lnTo>
                    <a:pt x="76" y="280"/>
                  </a:lnTo>
                  <a:lnTo>
                    <a:pt x="80" y="282"/>
                  </a:lnTo>
                  <a:lnTo>
                    <a:pt x="84" y="282"/>
                  </a:lnTo>
                  <a:lnTo>
                    <a:pt x="89" y="282"/>
                  </a:lnTo>
                  <a:lnTo>
                    <a:pt x="89" y="282"/>
                  </a:lnTo>
                  <a:lnTo>
                    <a:pt x="92" y="280"/>
                  </a:lnTo>
                  <a:lnTo>
                    <a:pt x="94" y="277"/>
                  </a:lnTo>
                  <a:lnTo>
                    <a:pt x="95" y="273"/>
                  </a:lnTo>
                  <a:lnTo>
                    <a:pt x="96" y="269"/>
                  </a:lnTo>
                  <a:lnTo>
                    <a:pt x="9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9" name="Freeform 16"/>
            <p:cNvSpPr>
              <a:spLocks noEditPoints="1"/>
            </p:cNvSpPr>
            <p:nvPr/>
          </p:nvSpPr>
          <p:spPr bwMode="auto">
            <a:xfrm>
              <a:off x="9024938" y="5695951"/>
              <a:ext cx="57150" cy="134938"/>
            </a:xfrm>
            <a:custGeom>
              <a:avLst/>
              <a:gdLst>
                <a:gd name="T0" fmla="*/ 73 w 144"/>
                <a:gd name="T1" fmla="*/ 17 h 341"/>
                <a:gd name="T2" fmla="*/ 100 w 144"/>
                <a:gd name="T3" fmla="*/ 41 h 341"/>
                <a:gd name="T4" fmla="*/ 124 w 144"/>
                <a:gd name="T5" fmla="*/ 73 h 341"/>
                <a:gd name="T6" fmla="*/ 132 w 144"/>
                <a:gd name="T7" fmla="*/ 90 h 341"/>
                <a:gd name="T8" fmla="*/ 143 w 144"/>
                <a:gd name="T9" fmla="*/ 123 h 341"/>
                <a:gd name="T10" fmla="*/ 144 w 144"/>
                <a:gd name="T11" fmla="*/ 303 h 341"/>
                <a:gd name="T12" fmla="*/ 144 w 144"/>
                <a:gd name="T13" fmla="*/ 310 h 341"/>
                <a:gd name="T14" fmla="*/ 142 w 144"/>
                <a:gd name="T15" fmla="*/ 322 h 341"/>
                <a:gd name="T16" fmla="*/ 137 w 144"/>
                <a:gd name="T17" fmla="*/ 331 h 341"/>
                <a:gd name="T18" fmla="*/ 128 w 144"/>
                <a:gd name="T19" fmla="*/ 337 h 341"/>
                <a:gd name="T20" fmla="*/ 124 w 144"/>
                <a:gd name="T21" fmla="*/ 339 h 341"/>
                <a:gd name="T22" fmla="*/ 113 w 144"/>
                <a:gd name="T23" fmla="*/ 341 h 341"/>
                <a:gd name="T24" fmla="*/ 100 w 144"/>
                <a:gd name="T25" fmla="*/ 339 h 341"/>
                <a:gd name="T26" fmla="*/ 87 w 144"/>
                <a:gd name="T27" fmla="*/ 334 h 341"/>
                <a:gd name="T28" fmla="*/ 73 w 144"/>
                <a:gd name="T29" fmla="*/ 325 h 341"/>
                <a:gd name="T30" fmla="*/ 44 w 144"/>
                <a:gd name="T31" fmla="*/ 301 h 341"/>
                <a:gd name="T32" fmla="*/ 22 w 144"/>
                <a:gd name="T33" fmla="*/ 268 h 341"/>
                <a:gd name="T34" fmla="*/ 12 w 144"/>
                <a:gd name="T35" fmla="*/ 251 h 341"/>
                <a:gd name="T36" fmla="*/ 2 w 144"/>
                <a:gd name="T37" fmla="*/ 219 h 341"/>
                <a:gd name="T38" fmla="*/ 0 w 144"/>
                <a:gd name="T39" fmla="*/ 39 h 341"/>
                <a:gd name="T40" fmla="*/ 1 w 144"/>
                <a:gd name="T41" fmla="*/ 32 h 341"/>
                <a:gd name="T42" fmla="*/ 3 w 144"/>
                <a:gd name="T43" fmla="*/ 20 h 341"/>
                <a:gd name="T44" fmla="*/ 9 w 144"/>
                <a:gd name="T45" fmla="*/ 10 h 341"/>
                <a:gd name="T46" fmla="*/ 16 w 144"/>
                <a:gd name="T47" fmla="*/ 5 h 341"/>
                <a:gd name="T48" fmla="*/ 22 w 144"/>
                <a:gd name="T49" fmla="*/ 3 h 341"/>
                <a:gd name="T50" fmla="*/ 32 w 144"/>
                <a:gd name="T51" fmla="*/ 0 h 341"/>
                <a:gd name="T52" fmla="*/ 44 w 144"/>
                <a:gd name="T53" fmla="*/ 3 h 341"/>
                <a:gd name="T54" fmla="*/ 59 w 144"/>
                <a:gd name="T55" fmla="*/ 8 h 341"/>
                <a:gd name="T56" fmla="*/ 73 w 144"/>
                <a:gd name="T57" fmla="*/ 17 h 341"/>
                <a:gd name="T58" fmla="*/ 98 w 144"/>
                <a:gd name="T59" fmla="*/ 105 h 341"/>
                <a:gd name="T60" fmla="*/ 95 w 144"/>
                <a:gd name="T61" fmla="*/ 94 h 341"/>
                <a:gd name="T62" fmla="*/ 90 w 144"/>
                <a:gd name="T63" fmla="*/ 81 h 341"/>
                <a:gd name="T64" fmla="*/ 86 w 144"/>
                <a:gd name="T65" fmla="*/ 75 h 341"/>
                <a:gd name="T66" fmla="*/ 76 w 144"/>
                <a:gd name="T67" fmla="*/ 64 h 341"/>
                <a:gd name="T68" fmla="*/ 72 w 144"/>
                <a:gd name="T69" fmla="*/ 61 h 341"/>
                <a:gd name="T70" fmla="*/ 61 w 144"/>
                <a:gd name="T71" fmla="*/ 56 h 341"/>
                <a:gd name="T72" fmla="*/ 53 w 144"/>
                <a:gd name="T73" fmla="*/ 56 h 341"/>
                <a:gd name="T74" fmla="*/ 49 w 144"/>
                <a:gd name="T75" fmla="*/ 57 h 341"/>
                <a:gd name="T76" fmla="*/ 46 w 144"/>
                <a:gd name="T77" fmla="*/ 63 h 341"/>
                <a:gd name="T78" fmla="*/ 44 w 144"/>
                <a:gd name="T79" fmla="*/ 234 h 341"/>
                <a:gd name="T80" fmla="*/ 46 w 144"/>
                <a:gd name="T81" fmla="*/ 239 h 341"/>
                <a:gd name="T82" fmla="*/ 49 w 144"/>
                <a:gd name="T83" fmla="*/ 251 h 341"/>
                <a:gd name="T84" fmla="*/ 53 w 144"/>
                <a:gd name="T85" fmla="*/ 258 h 341"/>
                <a:gd name="T86" fmla="*/ 61 w 144"/>
                <a:gd name="T87" fmla="*/ 268 h 341"/>
                <a:gd name="T88" fmla="*/ 72 w 144"/>
                <a:gd name="T89" fmla="*/ 278 h 341"/>
                <a:gd name="T90" fmla="*/ 76 w 144"/>
                <a:gd name="T91" fmla="*/ 280 h 341"/>
                <a:gd name="T92" fmla="*/ 86 w 144"/>
                <a:gd name="T93" fmla="*/ 284 h 341"/>
                <a:gd name="T94" fmla="*/ 90 w 144"/>
                <a:gd name="T95" fmla="*/ 283 h 341"/>
                <a:gd name="T96" fmla="*/ 95 w 144"/>
                <a:gd name="T97" fmla="*/ 278 h 341"/>
                <a:gd name="T98" fmla="*/ 98 w 144"/>
                <a:gd name="T99" fmla="*/ 27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4" h="341">
                  <a:moveTo>
                    <a:pt x="73" y="17"/>
                  </a:moveTo>
                  <a:lnTo>
                    <a:pt x="73" y="17"/>
                  </a:lnTo>
                  <a:lnTo>
                    <a:pt x="87" y="28"/>
                  </a:lnTo>
                  <a:lnTo>
                    <a:pt x="100" y="41"/>
                  </a:lnTo>
                  <a:lnTo>
                    <a:pt x="113" y="56"/>
                  </a:lnTo>
                  <a:lnTo>
                    <a:pt x="124" y="73"/>
                  </a:lnTo>
                  <a:lnTo>
                    <a:pt x="124" y="73"/>
                  </a:lnTo>
                  <a:lnTo>
                    <a:pt x="132" y="90"/>
                  </a:lnTo>
                  <a:lnTo>
                    <a:pt x="139" y="107"/>
                  </a:lnTo>
                  <a:lnTo>
                    <a:pt x="143" y="123"/>
                  </a:lnTo>
                  <a:lnTo>
                    <a:pt x="144" y="138"/>
                  </a:lnTo>
                  <a:lnTo>
                    <a:pt x="144" y="303"/>
                  </a:lnTo>
                  <a:lnTo>
                    <a:pt x="144" y="303"/>
                  </a:lnTo>
                  <a:lnTo>
                    <a:pt x="144" y="310"/>
                  </a:lnTo>
                  <a:lnTo>
                    <a:pt x="143" y="316"/>
                  </a:lnTo>
                  <a:lnTo>
                    <a:pt x="142" y="322"/>
                  </a:lnTo>
                  <a:lnTo>
                    <a:pt x="139" y="327"/>
                  </a:lnTo>
                  <a:lnTo>
                    <a:pt x="137" y="331"/>
                  </a:lnTo>
                  <a:lnTo>
                    <a:pt x="132" y="335"/>
                  </a:lnTo>
                  <a:lnTo>
                    <a:pt x="128" y="337"/>
                  </a:lnTo>
                  <a:lnTo>
                    <a:pt x="124" y="339"/>
                  </a:lnTo>
                  <a:lnTo>
                    <a:pt x="124" y="339"/>
                  </a:lnTo>
                  <a:lnTo>
                    <a:pt x="118" y="340"/>
                  </a:lnTo>
                  <a:lnTo>
                    <a:pt x="113" y="341"/>
                  </a:lnTo>
                  <a:lnTo>
                    <a:pt x="106" y="340"/>
                  </a:lnTo>
                  <a:lnTo>
                    <a:pt x="100" y="339"/>
                  </a:lnTo>
                  <a:lnTo>
                    <a:pt x="93" y="337"/>
                  </a:lnTo>
                  <a:lnTo>
                    <a:pt x="87" y="334"/>
                  </a:lnTo>
                  <a:lnTo>
                    <a:pt x="73" y="325"/>
                  </a:lnTo>
                  <a:lnTo>
                    <a:pt x="73" y="325"/>
                  </a:lnTo>
                  <a:lnTo>
                    <a:pt x="57" y="314"/>
                  </a:lnTo>
                  <a:lnTo>
                    <a:pt x="44" y="301"/>
                  </a:lnTo>
                  <a:lnTo>
                    <a:pt x="32" y="286"/>
                  </a:lnTo>
                  <a:lnTo>
                    <a:pt x="22" y="268"/>
                  </a:lnTo>
                  <a:lnTo>
                    <a:pt x="22" y="268"/>
                  </a:lnTo>
                  <a:lnTo>
                    <a:pt x="12" y="251"/>
                  </a:lnTo>
                  <a:lnTo>
                    <a:pt x="5" y="235"/>
                  </a:lnTo>
                  <a:lnTo>
                    <a:pt x="2" y="219"/>
                  </a:lnTo>
                  <a:lnTo>
                    <a:pt x="0" y="203"/>
                  </a:lnTo>
                  <a:lnTo>
                    <a:pt x="0" y="39"/>
                  </a:lnTo>
                  <a:lnTo>
                    <a:pt x="0" y="39"/>
                  </a:lnTo>
                  <a:lnTo>
                    <a:pt x="1" y="32"/>
                  </a:lnTo>
                  <a:lnTo>
                    <a:pt x="2" y="25"/>
                  </a:lnTo>
                  <a:lnTo>
                    <a:pt x="3" y="20"/>
                  </a:lnTo>
                  <a:lnTo>
                    <a:pt x="5" y="15"/>
                  </a:lnTo>
                  <a:lnTo>
                    <a:pt x="9" y="10"/>
                  </a:lnTo>
                  <a:lnTo>
                    <a:pt x="12" y="7"/>
                  </a:lnTo>
                  <a:lnTo>
                    <a:pt x="16" y="5"/>
                  </a:lnTo>
                  <a:lnTo>
                    <a:pt x="22" y="3"/>
                  </a:lnTo>
                  <a:lnTo>
                    <a:pt x="22" y="3"/>
                  </a:lnTo>
                  <a:lnTo>
                    <a:pt x="27" y="1"/>
                  </a:lnTo>
                  <a:lnTo>
                    <a:pt x="32" y="0"/>
                  </a:lnTo>
                  <a:lnTo>
                    <a:pt x="39" y="1"/>
                  </a:lnTo>
                  <a:lnTo>
                    <a:pt x="44" y="3"/>
                  </a:lnTo>
                  <a:lnTo>
                    <a:pt x="51" y="5"/>
                  </a:lnTo>
                  <a:lnTo>
                    <a:pt x="59" y="8"/>
                  </a:lnTo>
                  <a:lnTo>
                    <a:pt x="73" y="17"/>
                  </a:lnTo>
                  <a:lnTo>
                    <a:pt x="73" y="17"/>
                  </a:lnTo>
                  <a:close/>
                  <a:moveTo>
                    <a:pt x="98" y="105"/>
                  </a:moveTo>
                  <a:lnTo>
                    <a:pt x="98" y="105"/>
                  </a:lnTo>
                  <a:lnTo>
                    <a:pt x="97" y="99"/>
                  </a:lnTo>
                  <a:lnTo>
                    <a:pt x="95" y="94"/>
                  </a:lnTo>
                  <a:lnTo>
                    <a:pt x="93" y="87"/>
                  </a:lnTo>
                  <a:lnTo>
                    <a:pt x="90" y="81"/>
                  </a:lnTo>
                  <a:lnTo>
                    <a:pt x="90" y="81"/>
                  </a:lnTo>
                  <a:lnTo>
                    <a:pt x="86" y="75"/>
                  </a:lnTo>
                  <a:lnTo>
                    <a:pt x="81" y="70"/>
                  </a:lnTo>
                  <a:lnTo>
                    <a:pt x="76" y="64"/>
                  </a:lnTo>
                  <a:lnTo>
                    <a:pt x="72" y="61"/>
                  </a:lnTo>
                  <a:lnTo>
                    <a:pt x="72" y="61"/>
                  </a:lnTo>
                  <a:lnTo>
                    <a:pt x="66" y="58"/>
                  </a:lnTo>
                  <a:lnTo>
                    <a:pt x="61" y="56"/>
                  </a:lnTo>
                  <a:lnTo>
                    <a:pt x="56" y="55"/>
                  </a:lnTo>
                  <a:lnTo>
                    <a:pt x="53" y="56"/>
                  </a:lnTo>
                  <a:lnTo>
                    <a:pt x="53" y="56"/>
                  </a:lnTo>
                  <a:lnTo>
                    <a:pt x="49" y="57"/>
                  </a:lnTo>
                  <a:lnTo>
                    <a:pt x="47" y="60"/>
                  </a:lnTo>
                  <a:lnTo>
                    <a:pt x="46" y="63"/>
                  </a:lnTo>
                  <a:lnTo>
                    <a:pt x="44" y="69"/>
                  </a:lnTo>
                  <a:lnTo>
                    <a:pt x="44" y="234"/>
                  </a:lnTo>
                  <a:lnTo>
                    <a:pt x="44" y="234"/>
                  </a:lnTo>
                  <a:lnTo>
                    <a:pt x="46" y="239"/>
                  </a:lnTo>
                  <a:lnTo>
                    <a:pt x="47" y="245"/>
                  </a:lnTo>
                  <a:lnTo>
                    <a:pt x="49" y="251"/>
                  </a:lnTo>
                  <a:lnTo>
                    <a:pt x="53" y="258"/>
                  </a:lnTo>
                  <a:lnTo>
                    <a:pt x="53" y="258"/>
                  </a:lnTo>
                  <a:lnTo>
                    <a:pt x="56" y="263"/>
                  </a:lnTo>
                  <a:lnTo>
                    <a:pt x="61" y="268"/>
                  </a:lnTo>
                  <a:lnTo>
                    <a:pt x="66" y="274"/>
                  </a:lnTo>
                  <a:lnTo>
                    <a:pt x="72" y="278"/>
                  </a:lnTo>
                  <a:lnTo>
                    <a:pt x="72" y="278"/>
                  </a:lnTo>
                  <a:lnTo>
                    <a:pt x="76" y="280"/>
                  </a:lnTo>
                  <a:lnTo>
                    <a:pt x="81" y="283"/>
                  </a:lnTo>
                  <a:lnTo>
                    <a:pt x="86" y="284"/>
                  </a:lnTo>
                  <a:lnTo>
                    <a:pt x="90" y="283"/>
                  </a:lnTo>
                  <a:lnTo>
                    <a:pt x="90" y="283"/>
                  </a:lnTo>
                  <a:lnTo>
                    <a:pt x="93" y="281"/>
                  </a:lnTo>
                  <a:lnTo>
                    <a:pt x="95" y="278"/>
                  </a:lnTo>
                  <a:lnTo>
                    <a:pt x="97" y="275"/>
                  </a:lnTo>
                  <a:lnTo>
                    <a:pt x="98" y="270"/>
                  </a:lnTo>
                  <a:lnTo>
                    <a:pt x="98"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1" name="Freeform 17"/>
            <p:cNvSpPr>
              <a:spLocks/>
            </p:cNvSpPr>
            <p:nvPr/>
          </p:nvSpPr>
          <p:spPr bwMode="auto">
            <a:xfrm>
              <a:off x="9097963" y="5734051"/>
              <a:ext cx="84138" cy="177800"/>
            </a:xfrm>
            <a:custGeom>
              <a:avLst/>
              <a:gdLst>
                <a:gd name="T0" fmla="*/ 46 w 211"/>
                <a:gd name="T1" fmla="*/ 333 h 447"/>
                <a:gd name="T2" fmla="*/ 0 w 211"/>
                <a:gd name="T3" fmla="*/ 302 h 447"/>
                <a:gd name="T4" fmla="*/ 0 w 211"/>
                <a:gd name="T5" fmla="*/ 0 h 447"/>
                <a:gd name="T6" fmla="*/ 66 w 211"/>
                <a:gd name="T7" fmla="*/ 44 h 447"/>
                <a:gd name="T8" fmla="*/ 108 w 211"/>
                <a:gd name="T9" fmla="*/ 291 h 447"/>
                <a:gd name="T10" fmla="*/ 149 w 211"/>
                <a:gd name="T11" fmla="*/ 102 h 447"/>
                <a:gd name="T12" fmla="*/ 211 w 211"/>
                <a:gd name="T13" fmla="*/ 145 h 447"/>
                <a:gd name="T14" fmla="*/ 211 w 211"/>
                <a:gd name="T15" fmla="*/ 447 h 447"/>
                <a:gd name="T16" fmla="*/ 167 w 211"/>
                <a:gd name="T17" fmla="*/ 416 h 447"/>
                <a:gd name="T18" fmla="*/ 167 w 211"/>
                <a:gd name="T19" fmla="*/ 226 h 447"/>
                <a:gd name="T20" fmla="*/ 126 w 211"/>
                <a:gd name="T21" fmla="*/ 388 h 447"/>
                <a:gd name="T22" fmla="*/ 91 w 211"/>
                <a:gd name="T23" fmla="*/ 364 h 447"/>
                <a:gd name="T24" fmla="*/ 46 w 211"/>
                <a:gd name="T25" fmla="*/ 144 h 447"/>
                <a:gd name="T26" fmla="*/ 46 w 211"/>
                <a:gd name="T27" fmla="*/ 333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447">
                  <a:moveTo>
                    <a:pt x="46" y="333"/>
                  </a:moveTo>
                  <a:lnTo>
                    <a:pt x="0" y="302"/>
                  </a:lnTo>
                  <a:lnTo>
                    <a:pt x="0" y="0"/>
                  </a:lnTo>
                  <a:lnTo>
                    <a:pt x="66" y="44"/>
                  </a:lnTo>
                  <a:lnTo>
                    <a:pt x="108" y="291"/>
                  </a:lnTo>
                  <a:lnTo>
                    <a:pt x="149" y="102"/>
                  </a:lnTo>
                  <a:lnTo>
                    <a:pt x="211" y="145"/>
                  </a:lnTo>
                  <a:lnTo>
                    <a:pt x="211" y="447"/>
                  </a:lnTo>
                  <a:lnTo>
                    <a:pt x="167" y="416"/>
                  </a:lnTo>
                  <a:lnTo>
                    <a:pt x="167" y="226"/>
                  </a:lnTo>
                  <a:lnTo>
                    <a:pt x="126" y="388"/>
                  </a:lnTo>
                  <a:lnTo>
                    <a:pt x="91" y="364"/>
                  </a:lnTo>
                  <a:lnTo>
                    <a:pt x="46" y="144"/>
                  </a:lnTo>
                  <a:lnTo>
                    <a:pt x="46"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2" name="Freeform 18"/>
            <p:cNvSpPr>
              <a:spLocks/>
            </p:cNvSpPr>
            <p:nvPr/>
          </p:nvSpPr>
          <p:spPr bwMode="auto">
            <a:xfrm>
              <a:off x="9196388" y="5815013"/>
              <a:ext cx="60325" cy="136525"/>
            </a:xfrm>
            <a:custGeom>
              <a:avLst/>
              <a:gdLst>
                <a:gd name="T0" fmla="*/ 150 w 151"/>
                <a:gd name="T1" fmla="*/ 314 h 345"/>
                <a:gd name="T2" fmla="*/ 144 w 151"/>
                <a:gd name="T3" fmla="*/ 330 h 345"/>
                <a:gd name="T4" fmla="*/ 135 w 151"/>
                <a:gd name="T5" fmla="*/ 341 h 345"/>
                <a:gd name="T6" fmla="*/ 122 w 151"/>
                <a:gd name="T7" fmla="*/ 345 h 345"/>
                <a:gd name="T8" fmla="*/ 103 w 151"/>
                <a:gd name="T9" fmla="*/ 341 h 345"/>
                <a:gd name="T10" fmla="*/ 78 w 151"/>
                <a:gd name="T11" fmla="*/ 327 h 345"/>
                <a:gd name="T12" fmla="*/ 43 w 151"/>
                <a:gd name="T13" fmla="*/ 295 h 345"/>
                <a:gd name="T14" fmla="*/ 27 w 151"/>
                <a:gd name="T15" fmla="*/ 272 h 345"/>
                <a:gd name="T16" fmla="*/ 11 w 151"/>
                <a:gd name="T17" fmla="*/ 238 h 345"/>
                <a:gd name="T18" fmla="*/ 3 w 151"/>
                <a:gd name="T19" fmla="*/ 214 h 345"/>
                <a:gd name="T20" fmla="*/ 43 w 151"/>
                <a:gd name="T21" fmla="*/ 215 h 345"/>
                <a:gd name="T22" fmla="*/ 49 w 151"/>
                <a:gd name="T23" fmla="*/ 241 h 345"/>
                <a:gd name="T24" fmla="*/ 58 w 151"/>
                <a:gd name="T25" fmla="*/ 263 h 345"/>
                <a:gd name="T26" fmla="*/ 72 w 151"/>
                <a:gd name="T27" fmla="*/ 280 h 345"/>
                <a:gd name="T28" fmla="*/ 84 w 151"/>
                <a:gd name="T29" fmla="*/ 287 h 345"/>
                <a:gd name="T30" fmla="*/ 100 w 151"/>
                <a:gd name="T31" fmla="*/ 285 h 345"/>
                <a:gd name="T32" fmla="*/ 104 w 151"/>
                <a:gd name="T33" fmla="*/ 280 h 345"/>
                <a:gd name="T34" fmla="*/ 105 w 151"/>
                <a:gd name="T35" fmla="*/ 269 h 345"/>
                <a:gd name="T36" fmla="*/ 96 w 151"/>
                <a:gd name="T37" fmla="*/ 234 h 345"/>
                <a:gd name="T38" fmla="*/ 48 w 151"/>
                <a:gd name="T39" fmla="*/ 154 h 345"/>
                <a:gd name="T40" fmla="*/ 21 w 151"/>
                <a:gd name="T41" fmla="*/ 105 h 345"/>
                <a:gd name="T42" fmla="*/ 11 w 151"/>
                <a:gd name="T43" fmla="*/ 79 h 345"/>
                <a:gd name="T44" fmla="*/ 5 w 151"/>
                <a:gd name="T45" fmla="*/ 43 h 345"/>
                <a:gd name="T46" fmla="*/ 8 w 151"/>
                <a:gd name="T47" fmla="*/ 25 h 345"/>
                <a:gd name="T48" fmla="*/ 16 w 151"/>
                <a:gd name="T49" fmla="*/ 8 h 345"/>
                <a:gd name="T50" fmla="*/ 33 w 151"/>
                <a:gd name="T51" fmla="*/ 0 h 345"/>
                <a:gd name="T52" fmla="*/ 52 w 151"/>
                <a:gd name="T53" fmla="*/ 3 h 345"/>
                <a:gd name="T54" fmla="*/ 75 w 151"/>
                <a:gd name="T55" fmla="*/ 16 h 345"/>
                <a:gd name="T56" fmla="*/ 108 w 151"/>
                <a:gd name="T57" fmla="*/ 44 h 345"/>
                <a:gd name="T58" fmla="*/ 124 w 151"/>
                <a:gd name="T59" fmla="*/ 65 h 345"/>
                <a:gd name="T60" fmla="*/ 139 w 151"/>
                <a:gd name="T61" fmla="*/ 94 h 345"/>
                <a:gd name="T62" fmla="*/ 146 w 151"/>
                <a:gd name="T63" fmla="*/ 115 h 345"/>
                <a:gd name="T64" fmla="*/ 105 w 151"/>
                <a:gd name="T65" fmla="*/ 114 h 345"/>
                <a:gd name="T66" fmla="*/ 102 w 151"/>
                <a:gd name="T67" fmla="*/ 95 h 345"/>
                <a:gd name="T68" fmla="*/ 94 w 151"/>
                <a:gd name="T69" fmla="*/ 78 h 345"/>
                <a:gd name="T70" fmla="*/ 83 w 151"/>
                <a:gd name="T71" fmla="*/ 62 h 345"/>
                <a:gd name="T72" fmla="*/ 71 w 151"/>
                <a:gd name="T73" fmla="*/ 54 h 345"/>
                <a:gd name="T74" fmla="*/ 58 w 151"/>
                <a:gd name="T75" fmla="*/ 56 h 345"/>
                <a:gd name="T76" fmla="*/ 53 w 151"/>
                <a:gd name="T77" fmla="*/ 63 h 345"/>
                <a:gd name="T78" fmla="*/ 52 w 151"/>
                <a:gd name="T79" fmla="*/ 75 h 345"/>
                <a:gd name="T80" fmla="*/ 62 w 151"/>
                <a:gd name="T81" fmla="*/ 113 h 345"/>
                <a:gd name="T82" fmla="*/ 78 w 151"/>
                <a:gd name="T83" fmla="*/ 143 h 345"/>
                <a:gd name="T84" fmla="*/ 111 w 151"/>
                <a:gd name="T85" fmla="*/ 195 h 345"/>
                <a:gd name="T86" fmla="*/ 137 w 151"/>
                <a:gd name="T87" fmla="*/ 246 h 345"/>
                <a:gd name="T88" fmla="*/ 144 w 151"/>
                <a:gd name="T89" fmla="*/ 265 h 345"/>
                <a:gd name="T90" fmla="*/ 151 w 151"/>
                <a:gd name="T91" fmla="*/ 298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1" h="345">
                  <a:moveTo>
                    <a:pt x="151" y="298"/>
                  </a:moveTo>
                  <a:lnTo>
                    <a:pt x="151" y="298"/>
                  </a:lnTo>
                  <a:lnTo>
                    <a:pt x="150" y="314"/>
                  </a:lnTo>
                  <a:lnTo>
                    <a:pt x="149" y="319"/>
                  </a:lnTo>
                  <a:lnTo>
                    <a:pt x="147" y="325"/>
                  </a:lnTo>
                  <a:lnTo>
                    <a:pt x="144" y="330"/>
                  </a:lnTo>
                  <a:lnTo>
                    <a:pt x="142" y="334"/>
                  </a:lnTo>
                  <a:lnTo>
                    <a:pt x="139" y="338"/>
                  </a:lnTo>
                  <a:lnTo>
                    <a:pt x="135" y="341"/>
                  </a:lnTo>
                  <a:lnTo>
                    <a:pt x="135" y="341"/>
                  </a:lnTo>
                  <a:lnTo>
                    <a:pt x="128" y="344"/>
                  </a:lnTo>
                  <a:lnTo>
                    <a:pt x="122" y="345"/>
                  </a:lnTo>
                  <a:lnTo>
                    <a:pt x="113" y="344"/>
                  </a:lnTo>
                  <a:lnTo>
                    <a:pt x="103" y="341"/>
                  </a:lnTo>
                  <a:lnTo>
                    <a:pt x="103" y="341"/>
                  </a:lnTo>
                  <a:lnTo>
                    <a:pt x="91" y="335"/>
                  </a:lnTo>
                  <a:lnTo>
                    <a:pt x="78" y="327"/>
                  </a:lnTo>
                  <a:lnTo>
                    <a:pt x="78" y="327"/>
                  </a:lnTo>
                  <a:lnTo>
                    <a:pt x="65" y="318"/>
                  </a:lnTo>
                  <a:lnTo>
                    <a:pt x="53" y="307"/>
                  </a:lnTo>
                  <a:lnTo>
                    <a:pt x="43" y="295"/>
                  </a:lnTo>
                  <a:lnTo>
                    <a:pt x="34" y="283"/>
                  </a:lnTo>
                  <a:lnTo>
                    <a:pt x="34" y="283"/>
                  </a:lnTo>
                  <a:lnTo>
                    <a:pt x="27" y="272"/>
                  </a:lnTo>
                  <a:lnTo>
                    <a:pt x="21" y="261"/>
                  </a:lnTo>
                  <a:lnTo>
                    <a:pt x="15" y="250"/>
                  </a:lnTo>
                  <a:lnTo>
                    <a:pt x="11" y="238"/>
                  </a:lnTo>
                  <a:lnTo>
                    <a:pt x="11" y="238"/>
                  </a:lnTo>
                  <a:lnTo>
                    <a:pt x="7" y="226"/>
                  </a:lnTo>
                  <a:lnTo>
                    <a:pt x="3" y="214"/>
                  </a:lnTo>
                  <a:lnTo>
                    <a:pt x="2" y="201"/>
                  </a:lnTo>
                  <a:lnTo>
                    <a:pt x="0" y="189"/>
                  </a:lnTo>
                  <a:lnTo>
                    <a:pt x="43" y="215"/>
                  </a:lnTo>
                  <a:lnTo>
                    <a:pt x="43" y="215"/>
                  </a:lnTo>
                  <a:lnTo>
                    <a:pt x="46" y="229"/>
                  </a:lnTo>
                  <a:lnTo>
                    <a:pt x="49" y="241"/>
                  </a:lnTo>
                  <a:lnTo>
                    <a:pt x="53" y="253"/>
                  </a:lnTo>
                  <a:lnTo>
                    <a:pt x="58" y="263"/>
                  </a:lnTo>
                  <a:lnTo>
                    <a:pt x="58" y="263"/>
                  </a:lnTo>
                  <a:lnTo>
                    <a:pt x="62" y="269"/>
                  </a:lnTo>
                  <a:lnTo>
                    <a:pt x="66" y="276"/>
                  </a:lnTo>
                  <a:lnTo>
                    <a:pt x="72" y="280"/>
                  </a:lnTo>
                  <a:lnTo>
                    <a:pt x="77" y="284"/>
                  </a:lnTo>
                  <a:lnTo>
                    <a:pt x="77" y="284"/>
                  </a:lnTo>
                  <a:lnTo>
                    <a:pt x="84" y="287"/>
                  </a:lnTo>
                  <a:lnTo>
                    <a:pt x="90" y="290"/>
                  </a:lnTo>
                  <a:lnTo>
                    <a:pt x="96" y="289"/>
                  </a:lnTo>
                  <a:lnTo>
                    <a:pt x="100" y="285"/>
                  </a:lnTo>
                  <a:lnTo>
                    <a:pt x="100" y="285"/>
                  </a:lnTo>
                  <a:lnTo>
                    <a:pt x="102" y="283"/>
                  </a:lnTo>
                  <a:lnTo>
                    <a:pt x="104" y="280"/>
                  </a:lnTo>
                  <a:lnTo>
                    <a:pt x="104" y="274"/>
                  </a:lnTo>
                  <a:lnTo>
                    <a:pt x="105" y="269"/>
                  </a:lnTo>
                  <a:lnTo>
                    <a:pt x="105" y="269"/>
                  </a:lnTo>
                  <a:lnTo>
                    <a:pt x="104" y="259"/>
                  </a:lnTo>
                  <a:lnTo>
                    <a:pt x="101" y="247"/>
                  </a:lnTo>
                  <a:lnTo>
                    <a:pt x="96" y="234"/>
                  </a:lnTo>
                  <a:lnTo>
                    <a:pt x="88" y="220"/>
                  </a:lnTo>
                  <a:lnTo>
                    <a:pt x="88" y="220"/>
                  </a:lnTo>
                  <a:lnTo>
                    <a:pt x="48" y="154"/>
                  </a:lnTo>
                  <a:lnTo>
                    <a:pt x="48" y="154"/>
                  </a:lnTo>
                  <a:lnTo>
                    <a:pt x="28" y="119"/>
                  </a:lnTo>
                  <a:lnTo>
                    <a:pt x="21" y="105"/>
                  </a:lnTo>
                  <a:lnTo>
                    <a:pt x="15" y="92"/>
                  </a:lnTo>
                  <a:lnTo>
                    <a:pt x="15" y="92"/>
                  </a:lnTo>
                  <a:lnTo>
                    <a:pt x="11" y="79"/>
                  </a:lnTo>
                  <a:lnTo>
                    <a:pt x="8" y="67"/>
                  </a:lnTo>
                  <a:lnTo>
                    <a:pt x="5" y="55"/>
                  </a:lnTo>
                  <a:lnTo>
                    <a:pt x="5" y="43"/>
                  </a:lnTo>
                  <a:lnTo>
                    <a:pt x="5" y="43"/>
                  </a:lnTo>
                  <a:lnTo>
                    <a:pt x="5" y="34"/>
                  </a:lnTo>
                  <a:lnTo>
                    <a:pt x="8" y="25"/>
                  </a:lnTo>
                  <a:lnTo>
                    <a:pt x="9" y="17"/>
                  </a:lnTo>
                  <a:lnTo>
                    <a:pt x="12" y="12"/>
                  </a:lnTo>
                  <a:lnTo>
                    <a:pt x="16" y="8"/>
                  </a:lnTo>
                  <a:lnTo>
                    <a:pt x="21" y="3"/>
                  </a:lnTo>
                  <a:lnTo>
                    <a:pt x="26" y="1"/>
                  </a:lnTo>
                  <a:lnTo>
                    <a:pt x="33" y="0"/>
                  </a:lnTo>
                  <a:lnTo>
                    <a:pt x="33" y="0"/>
                  </a:lnTo>
                  <a:lnTo>
                    <a:pt x="42" y="1"/>
                  </a:lnTo>
                  <a:lnTo>
                    <a:pt x="52" y="3"/>
                  </a:lnTo>
                  <a:lnTo>
                    <a:pt x="63" y="9"/>
                  </a:lnTo>
                  <a:lnTo>
                    <a:pt x="75" y="16"/>
                  </a:lnTo>
                  <a:lnTo>
                    <a:pt x="75" y="16"/>
                  </a:lnTo>
                  <a:lnTo>
                    <a:pt x="87" y="25"/>
                  </a:lnTo>
                  <a:lnTo>
                    <a:pt x="98" y="35"/>
                  </a:lnTo>
                  <a:lnTo>
                    <a:pt x="108" y="44"/>
                  </a:lnTo>
                  <a:lnTo>
                    <a:pt x="117" y="55"/>
                  </a:lnTo>
                  <a:lnTo>
                    <a:pt x="117" y="55"/>
                  </a:lnTo>
                  <a:lnTo>
                    <a:pt x="124" y="65"/>
                  </a:lnTo>
                  <a:lnTo>
                    <a:pt x="129" y="74"/>
                  </a:lnTo>
                  <a:lnTo>
                    <a:pt x="135" y="85"/>
                  </a:lnTo>
                  <a:lnTo>
                    <a:pt x="139" y="94"/>
                  </a:lnTo>
                  <a:lnTo>
                    <a:pt x="139" y="94"/>
                  </a:lnTo>
                  <a:lnTo>
                    <a:pt x="142" y="105"/>
                  </a:lnTo>
                  <a:lnTo>
                    <a:pt x="146" y="115"/>
                  </a:lnTo>
                  <a:lnTo>
                    <a:pt x="148" y="126"/>
                  </a:lnTo>
                  <a:lnTo>
                    <a:pt x="149" y="136"/>
                  </a:lnTo>
                  <a:lnTo>
                    <a:pt x="105" y="114"/>
                  </a:lnTo>
                  <a:lnTo>
                    <a:pt x="105" y="114"/>
                  </a:lnTo>
                  <a:lnTo>
                    <a:pt x="104" y="104"/>
                  </a:lnTo>
                  <a:lnTo>
                    <a:pt x="102" y="95"/>
                  </a:lnTo>
                  <a:lnTo>
                    <a:pt x="99" y="87"/>
                  </a:lnTo>
                  <a:lnTo>
                    <a:pt x="94" y="78"/>
                  </a:lnTo>
                  <a:lnTo>
                    <a:pt x="94" y="78"/>
                  </a:lnTo>
                  <a:lnTo>
                    <a:pt x="91" y="73"/>
                  </a:lnTo>
                  <a:lnTo>
                    <a:pt x="87" y="67"/>
                  </a:lnTo>
                  <a:lnTo>
                    <a:pt x="83" y="62"/>
                  </a:lnTo>
                  <a:lnTo>
                    <a:pt x="77" y="59"/>
                  </a:lnTo>
                  <a:lnTo>
                    <a:pt x="77" y="59"/>
                  </a:lnTo>
                  <a:lnTo>
                    <a:pt x="71" y="54"/>
                  </a:lnTo>
                  <a:lnTo>
                    <a:pt x="65" y="53"/>
                  </a:lnTo>
                  <a:lnTo>
                    <a:pt x="61" y="53"/>
                  </a:lnTo>
                  <a:lnTo>
                    <a:pt x="58" y="56"/>
                  </a:lnTo>
                  <a:lnTo>
                    <a:pt x="58" y="56"/>
                  </a:lnTo>
                  <a:lnTo>
                    <a:pt x="55" y="60"/>
                  </a:lnTo>
                  <a:lnTo>
                    <a:pt x="53" y="63"/>
                  </a:lnTo>
                  <a:lnTo>
                    <a:pt x="52" y="68"/>
                  </a:lnTo>
                  <a:lnTo>
                    <a:pt x="52" y="75"/>
                  </a:lnTo>
                  <a:lnTo>
                    <a:pt x="52" y="75"/>
                  </a:lnTo>
                  <a:lnTo>
                    <a:pt x="53" y="86"/>
                  </a:lnTo>
                  <a:lnTo>
                    <a:pt x="57" y="99"/>
                  </a:lnTo>
                  <a:lnTo>
                    <a:pt x="62" y="113"/>
                  </a:lnTo>
                  <a:lnTo>
                    <a:pt x="71" y="129"/>
                  </a:lnTo>
                  <a:lnTo>
                    <a:pt x="71" y="129"/>
                  </a:lnTo>
                  <a:lnTo>
                    <a:pt x="78" y="143"/>
                  </a:lnTo>
                  <a:lnTo>
                    <a:pt x="90" y="162"/>
                  </a:lnTo>
                  <a:lnTo>
                    <a:pt x="90" y="162"/>
                  </a:lnTo>
                  <a:lnTo>
                    <a:pt x="111" y="195"/>
                  </a:lnTo>
                  <a:lnTo>
                    <a:pt x="111" y="195"/>
                  </a:lnTo>
                  <a:lnTo>
                    <a:pt x="126" y="222"/>
                  </a:lnTo>
                  <a:lnTo>
                    <a:pt x="137" y="246"/>
                  </a:lnTo>
                  <a:lnTo>
                    <a:pt x="137" y="246"/>
                  </a:lnTo>
                  <a:lnTo>
                    <a:pt x="144" y="265"/>
                  </a:lnTo>
                  <a:lnTo>
                    <a:pt x="144" y="265"/>
                  </a:lnTo>
                  <a:lnTo>
                    <a:pt x="149" y="283"/>
                  </a:lnTo>
                  <a:lnTo>
                    <a:pt x="151" y="292"/>
                  </a:lnTo>
                  <a:lnTo>
                    <a:pt x="151" y="298"/>
                  </a:lnTo>
                  <a:lnTo>
                    <a:pt x="151"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32" name="Group 831"/>
          <p:cNvGrpSpPr/>
          <p:nvPr/>
        </p:nvGrpSpPr>
        <p:grpSpPr>
          <a:xfrm>
            <a:off x="10627371" y="6689608"/>
            <a:ext cx="111312" cy="131904"/>
            <a:chOff x="4240530" y="3110866"/>
            <a:chExt cx="630556" cy="630556"/>
          </a:xfrm>
          <a:solidFill>
            <a:schemeClr val="accent3"/>
          </a:solidFill>
        </p:grpSpPr>
        <p:sp>
          <p:nvSpPr>
            <p:cNvPr id="833" name="Freeform 135"/>
            <p:cNvSpPr>
              <a:spLocks noEditPoints="1"/>
            </p:cNvSpPr>
            <p:nvPr/>
          </p:nvSpPr>
          <p:spPr bwMode="auto">
            <a:xfrm>
              <a:off x="4240530" y="3110866"/>
              <a:ext cx="630556" cy="630556"/>
            </a:xfrm>
            <a:custGeom>
              <a:avLst/>
              <a:gdLst>
                <a:gd name="T0" fmla="*/ 632 w 661"/>
                <a:gd name="T1" fmla="*/ 162 h 661"/>
                <a:gd name="T2" fmla="*/ 639 w 661"/>
                <a:gd name="T3" fmla="*/ 179 h 661"/>
                <a:gd name="T4" fmla="*/ 640 w 661"/>
                <a:gd name="T5" fmla="*/ 198 h 661"/>
                <a:gd name="T6" fmla="*/ 600 w 661"/>
                <a:gd name="T7" fmla="*/ 320 h 661"/>
                <a:gd name="T8" fmla="*/ 581 w 661"/>
                <a:gd name="T9" fmla="*/ 356 h 661"/>
                <a:gd name="T10" fmla="*/ 286 w 661"/>
                <a:gd name="T11" fmla="*/ 653 h 661"/>
                <a:gd name="T12" fmla="*/ 272 w 661"/>
                <a:gd name="T13" fmla="*/ 661 h 661"/>
                <a:gd name="T14" fmla="*/ 256 w 661"/>
                <a:gd name="T15" fmla="*/ 659 h 661"/>
                <a:gd name="T16" fmla="*/ 8 w 661"/>
                <a:gd name="T17" fmla="*/ 413 h 661"/>
                <a:gd name="T18" fmla="*/ 2 w 661"/>
                <a:gd name="T19" fmla="*/ 404 h 661"/>
                <a:gd name="T20" fmla="*/ 0 w 661"/>
                <a:gd name="T21" fmla="*/ 388 h 661"/>
                <a:gd name="T22" fmla="*/ 8 w 661"/>
                <a:gd name="T23" fmla="*/ 374 h 661"/>
                <a:gd name="T24" fmla="*/ 304 w 661"/>
                <a:gd name="T25" fmla="*/ 79 h 661"/>
                <a:gd name="T26" fmla="*/ 340 w 661"/>
                <a:gd name="T27" fmla="*/ 59 h 661"/>
                <a:gd name="T28" fmla="*/ 462 w 661"/>
                <a:gd name="T29" fmla="*/ 21 h 661"/>
                <a:gd name="T30" fmla="*/ 480 w 661"/>
                <a:gd name="T31" fmla="*/ 22 h 661"/>
                <a:gd name="T32" fmla="*/ 498 w 661"/>
                <a:gd name="T33" fmla="*/ 29 h 661"/>
                <a:gd name="T34" fmla="*/ 489 w 661"/>
                <a:gd name="T35" fmla="*/ 102 h 661"/>
                <a:gd name="T36" fmla="*/ 472 w 661"/>
                <a:gd name="T37" fmla="*/ 108 h 661"/>
                <a:gd name="T38" fmla="*/ 457 w 661"/>
                <a:gd name="T39" fmla="*/ 118 h 661"/>
                <a:gd name="T40" fmla="*/ 444 w 661"/>
                <a:gd name="T41" fmla="*/ 138 h 661"/>
                <a:gd name="T42" fmla="*/ 440 w 661"/>
                <a:gd name="T43" fmla="*/ 172 h 661"/>
                <a:gd name="T44" fmla="*/ 453 w 661"/>
                <a:gd name="T45" fmla="*/ 199 h 661"/>
                <a:gd name="T46" fmla="*/ 461 w 661"/>
                <a:gd name="T47" fmla="*/ 207 h 661"/>
                <a:gd name="T48" fmla="*/ 488 w 661"/>
                <a:gd name="T49" fmla="*/ 221 h 661"/>
                <a:gd name="T50" fmla="*/ 522 w 661"/>
                <a:gd name="T51" fmla="*/ 217 h 661"/>
                <a:gd name="T52" fmla="*/ 542 w 661"/>
                <a:gd name="T53" fmla="*/ 203 h 661"/>
                <a:gd name="T54" fmla="*/ 552 w 661"/>
                <a:gd name="T55" fmla="*/ 188 h 661"/>
                <a:gd name="T56" fmla="*/ 599 w 661"/>
                <a:gd name="T57" fmla="*/ 130 h 661"/>
                <a:gd name="T58" fmla="*/ 499 w 661"/>
                <a:gd name="T59" fmla="*/ 181 h 661"/>
                <a:gd name="T60" fmla="*/ 510 w 661"/>
                <a:gd name="T61" fmla="*/ 178 h 661"/>
                <a:gd name="T62" fmla="*/ 655 w 661"/>
                <a:gd name="T63" fmla="*/ 35 h 661"/>
                <a:gd name="T64" fmla="*/ 661 w 661"/>
                <a:gd name="T65" fmla="*/ 24 h 661"/>
                <a:gd name="T66" fmla="*/ 660 w 661"/>
                <a:gd name="T67" fmla="*/ 13 h 661"/>
                <a:gd name="T68" fmla="*/ 655 w 661"/>
                <a:gd name="T69" fmla="*/ 6 h 661"/>
                <a:gd name="T70" fmla="*/ 645 w 661"/>
                <a:gd name="T71" fmla="*/ 0 h 661"/>
                <a:gd name="T72" fmla="*/ 633 w 661"/>
                <a:gd name="T73" fmla="*/ 1 h 661"/>
                <a:gd name="T74" fmla="*/ 485 w 661"/>
                <a:gd name="T75" fmla="*/ 146 h 661"/>
                <a:gd name="T76" fmla="*/ 480 w 661"/>
                <a:gd name="T77" fmla="*/ 153 h 661"/>
                <a:gd name="T78" fmla="*/ 479 w 661"/>
                <a:gd name="T79" fmla="*/ 165 h 661"/>
                <a:gd name="T80" fmla="*/ 485 w 661"/>
                <a:gd name="T81" fmla="*/ 175 h 661"/>
                <a:gd name="T82" fmla="*/ 491 w 661"/>
                <a:gd name="T83" fmla="*/ 18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1" h="661">
                  <a:moveTo>
                    <a:pt x="628" y="158"/>
                  </a:moveTo>
                  <a:lnTo>
                    <a:pt x="628" y="158"/>
                  </a:lnTo>
                  <a:lnTo>
                    <a:pt x="632" y="162"/>
                  </a:lnTo>
                  <a:lnTo>
                    <a:pt x="635" y="167"/>
                  </a:lnTo>
                  <a:lnTo>
                    <a:pt x="637" y="173"/>
                  </a:lnTo>
                  <a:lnTo>
                    <a:pt x="639" y="179"/>
                  </a:lnTo>
                  <a:lnTo>
                    <a:pt x="640" y="186"/>
                  </a:lnTo>
                  <a:lnTo>
                    <a:pt x="641" y="192"/>
                  </a:lnTo>
                  <a:lnTo>
                    <a:pt x="640" y="198"/>
                  </a:lnTo>
                  <a:lnTo>
                    <a:pt x="639" y="204"/>
                  </a:lnTo>
                  <a:lnTo>
                    <a:pt x="600" y="320"/>
                  </a:lnTo>
                  <a:lnTo>
                    <a:pt x="600" y="320"/>
                  </a:lnTo>
                  <a:lnTo>
                    <a:pt x="596" y="331"/>
                  </a:lnTo>
                  <a:lnTo>
                    <a:pt x="589" y="344"/>
                  </a:lnTo>
                  <a:lnTo>
                    <a:pt x="581" y="356"/>
                  </a:lnTo>
                  <a:lnTo>
                    <a:pt x="572" y="366"/>
                  </a:lnTo>
                  <a:lnTo>
                    <a:pt x="286" y="653"/>
                  </a:lnTo>
                  <a:lnTo>
                    <a:pt x="286" y="653"/>
                  </a:lnTo>
                  <a:lnTo>
                    <a:pt x="282" y="657"/>
                  </a:lnTo>
                  <a:lnTo>
                    <a:pt x="277" y="659"/>
                  </a:lnTo>
                  <a:lnTo>
                    <a:pt x="272" y="661"/>
                  </a:lnTo>
                  <a:lnTo>
                    <a:pt x="267" y="661"/>
                  </a:lnTo>
                  <a:lnTo>
                    <a:pt x="261" y="661"/>
                  </a:lnTo>
                  <a:lnTo>
                    <a:pt x="256" y="659"/>
                  </a:lnTo>
                  <a:lnTo>
                    <a:pt x="251" y="657"/>
                  </a:lnTo>
                  <a:lnTo>
                    <a:pt x="247" y="653"/>
                  </a:lnTo>
                  <a:lnTo>
                    <a:pt x="8" y="413"/>
                  </a:lnTo>
                  <a:lnTo>
                    <a:pt x="8" y="413"/>
                  </a:lnTo>
                  <a:lnTo>
                    <a:pt x="4" y="409"/>
                  </a:lnTo>
                  <a:lnTo>
                    <a:pt x="2" y="404"/>
                  </a:lnTo>
                  <a:lnTo>
                    <a:pt x="0" y="399"/>
                  </a:lnTo>
                  <a:lnTo>
                    <a:pt x="0" y="394"/>
                  </a:lnTo>
                  <a:lnTo>
                    <a:pt x="0" y="388"/>
                  </a:lnTo>
                  <a:lnTo>
                    <a:pt x="2" y="383"/>
                  </a:lnTo>
                  <a:lnTo>
                    <a:pt x="4" y="378"/>
                  </a:lnTo>
                  <a:lnTo>
                    <a:pt x="8" y="374"/>
                  </a:lnTo>
                  <a:lnTo>
                    <a:pt x="294" y="88"/>
                  </a:lnTo>
                  <a:lnTo>
                    <a:pt x="294" y="88"/>
                  </a:lnTo>
                  <a:lnTo>
                    <a:pt x="304" y="79"/>
                  </a:lnTo>
                  <a:lnTo>
                    <a:pt x="316" y="71"/>
                  </a:lnTo>
                  <a:lnTo>
                    <a:pt x="328" y="64"/>
                  </a:lnTo>
                  <a:lnTo>
                    <a:pt x="340" y="59"/>
                  </a:lnTo>
                  <a:lnTo>
                    <a:pt x="456" y="22"/>
                  </a:lnTo>
                  <a:lnTo>
                    <a:pt x="456" y="22"/>
                  </a:lnTo>
                  <a:lnTo>
                    <a:pt x="462" y="21"/>
                  </a:lnTo>
                  <a:lnTo>
                    <a:pt x="468" y="20"/>
                  </a:lnTo>
                  <a:lnTo>
                    <a:pt x="474" y="21"/>
                  </a:lnTo>
                  <a:lnTo>
                    <a:pt x="480" y="22"/>
                  </a:lnTo>
                  <a:lnTo>
                    <a:pt x="487" y="24"/>
                  </a:lnTo>
                  <a:lnTo>
                    <a:pt x="492" y="26"/>
                  </a:lnTo>
                  <a:lnTo>
                    <a:pt x="498" y="29"/>
                  </a:lnTo>
                  <a:lnTo>
                    <a:pt x="502" y="33"/>
                  </a:lnTo>
                  <a:lnTo>
                    <a:pt x="530" y="61"/>
                  </a:lnTo>
                  <a:lnTo>
                    <a:pt x="489" y="102"/>
                  </a:lnTo>
                  <a:lnTo>
                    <a:pt x="489" y="102"/>
                  </a:lnTo>
                  <a:lnTo>
                    <a:pt x="480" y="104"/>
                  </a:lnTo>
                  <a:lnTo>
                    <a:pt x="472" y="108"/>
                  </a:lnTo>
                  <a:lnTo>
                    <a:pt x="464" y="112"/>
                  </a:lnTo>
                  <a:lnTo>
                    <a:pt x="457" y="118"/>
                  </a:lnTo>
                  <a:lnTo>
                    <a:pt x="457" y="118"/>
                  </a:lnTo>
                  <a:lnTo>
                    <a:pt x="453" y="123"/>
                  </a:lnTo>
                  <a:lnTo>
                    <a:pt x="449" y="128"/>
                  </a:lnTo>
                  <a:lnTo>
                    <a:pt x="444" y="138"/>
                  </a:lnTo>
                  <a:lnTo>
                    <a:pt x="440" y="149"/>
                  </a:lnTo>
                  <a:lnTo>
                    <a:pt x="439" y="161"/>
                  </a:lnTo>
                  <a:lnTo>
                    <a:pt x="440" y="172"/>
                  </a:lnTo>
                  <a:lnTo>
                    <a:pt x="444" y="183"/>
                  </a:lnTo>
                  <a:lnTo>
                    <a:pt x="449" y="194"/>
                  </a:lnTo>
                  <a:lnTo>
                    <a:pt x="453" y="199"/>
                  </a:lnTo>
                  <a:lnTo>
                    <a:pt x="457" y="203"/>
                  </a:lnTo>
                  <a:lnTo>
                    <a:pt x="457" y="203"/>
                  </a:lnTo>
                  <a:lnTo>
                    <a:pt x="461" y="207"/>
                  </a:lnTo>
                  <a:lnTo>
                    <a:pt x="466" y="212"/>
                  </a:lnTo>
                  <a:lnTo>
                    <a:pt x="477" y="217"/>
                  </a:lnTo>
                  <a:lnTo>
                    <a:pt x="488" y="221"/>
                  </a:lnTo>
                  <a:lnTo>
                    <a:pt x="499" y="222"/>
                  </a:lnTo>
                  <a:lnTo>
                    <a:pt x="511" y="221"/>
                  </a:lnTo>
                  <a:lnTo>
                    <a:pt x="522" y="217"/>
                  </a:lnTo>
                  <a:lnTo>
                    <a:pt x="532" y="212"/>
                  </a:lnTo>
                  <a:lnTo>
                    <a:pt x="537" y="207"/>
                  </a:lnTo>
                  <a:lnTo>
                    <a:pt x="542" y="203"/>
                  </a:lnTo>
                  <a:lnTo>
                    <a:pt x="542" y="203"/>
                  </a:lnTo>
                  <a:lnTo>
                    <a:pt x="548" y="196"/>
                  </a:lnTo>
                  <a:lnTo>
                    <a:pt x="552" y="188"/>
                  </a:lnTo>
                  <a:lnTo>
                    <a:pt x="556" y="180"/>
                  </a:lnTo>
                  <a:lnTo>
                    <a:pt x="558" y="171"/>
                  </a:lnTo>
                  <a:lnTo>
                    <a:pt x="599" y="130"/>
                  </a:lnTo>
                  <a:lnTo>
                    <a:pt x="628" y="158"/>
                  </a:lnTo>
                  <a:close/>
                  <a:moveTo>
                    <a:pt x="499" y="181"/>
                  </a:moveTo>
                  <a:lnTo>
                    <a:pt x="499" y="181"/>
                  </a:lnTo>
                  <a:lnTo>
                    <a:pt x="503" y="181"/>
                  </a:lnTo>
                  <a:lnTo>
                    <a:pt x="507" y="180"/>
                  </a:lnTo>
                  <a:lnTo>
                    <a:pt x="510" y="178"/>
                  </a:lnTo>
                  <a:lnTo>
                    <a:pt x="514" y="175"/>
                  </a:lnTo>
                  <a:lnTo>
                    <a:pt x="655" y="35"/>
                  </a:lnTo>
                  <a:lnTo>
                    <a:pt x="655" y="35"/>
                  </a:lnTo>
                  <a:lnTo>
                    <a:pt x="658" y="32"/>
                  </a:lnTo>
                  <a:lnTo>
                    <a:pt x="660" y="28"/>
                  </a:lnTo>
                  <a:lnTo>
                    <a:pt x="661" y="24"/>
                  </a:lnTo>
                  <a:lnTo>
                    <a:pt x="661" y="20"/>
                  </a:lnTo>
                  <a:lnTo>
                    <a:pt x="661" y="16"/>
                  </a:lnTo>
                  <a:lnTo>
                    <a:pt x="660" y="13"/>
                  </a:lnTo>
                  <a:lnTo>
                    <a:pt x="658" y="9"/>
                  </a:lnTo>
                  <a:lnTo>
                    <a:pt x="655" y="6"/>
                  </a:lnTo>
                  <a:lnTo>
                    <a:pt x="655" y="6"/>
                  </a:lnTo>
                  <a:lnTo>
                    <a:pt x="652" y="3"/>
                  </a:lnTo>
                  <a:lnTo>
                    <a:pt x="648" y="1"/>
                  </a:lnTo>
                  <a:lnTo>
                    <a:pt x="645" y="0"/>
                  </a:lnTo>
                  <a:lnTo>
                    <a:pt x="641" y="0"/>
                  </a:lnTo>
                  <a:lnTo>
                    <a:pt x="637" y="0"/>
                  </a:lnTo>
                  <a:lnTo>
                    <a:pt x="633" y="1"/>
                  </a:lnTo>
                  <a:lnTo>
                    <a:pt x="629" y="3"/>
                  </a:lnTo>
                  <a:lnTo>
                    <a:pt x="626" y="6"/>
                  </a:lnTo>
                  <a:lnTo>
                    <a:pt x="485" y="146"/>
                  </a:lnTo>
                  <a:lnTo>
                    <a:pt x="485" y="146"/>
                  </a:lnTo>
                  <a:lnTo>
                    <a:pt x="482" y="150"/>
                  </a:lnTo>
                  <a:lnTo>
                    <a:pt x="480" y="153"/>
                  </a:lnTo>
                  <a:lnTo>
                    <a:pt x="479" y="157"/>
                  </a:lnTo>
                  <a:lnTo>
                    <a:pt x="479" y="161"/>
                  </a:lnTo>
                  <a:lnTo>
                    <a:pt x="479" y="165"/>
                  </a:lnTo>
                  <a:lnTo>
                    <a:pt x="480" y="169"/>
                  </a:lnTo>
                  <a:lnTo>
                    <a:pt x="482" y="172"/>
                  </a:lnTo>
                  <a:lnTo>
                    <a:pt x="485" y="175"/>
                  </a:lnTo>
                  <a:lnTo>
                    <a:pt x="485" y="175"/>
                  </a:lnTo>
                  <a:lnTo>
                    <a:pt x="488" y="178"/>
                  </a:lnTo>
                  <a:lnTo>
                    <a:pt x="491" y="180"/>
                  </a:lnTo>
                  <a:lnTo>
                    <a:pt x="495" y="181"/>
                  </a:lnTo>
                  <a:lnTo>
                    <a:pt x="499"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34" name="Freeform 136"/>
            <p:cNvSpPr>
              <a:spLocks/>
            </p:cNvSpPr>
            <p:nvPr/>
          </p:nvSpPr>
          <p:spPr bwMode="auto">
            <a:xfrm>
              <a:off x="4240530" y="3129916"/>
              <a:ext cx="611506" cy="611506"/>
            </a:xfrm>
            <a:custGeom>
              <a:avLst/>
              <a:gdLst>
                <a:gd name="T0" fmla="*/ 628 w 641"/>
                <a:gd name="T1" fmla="*/ 138 h 641"/>
                <a:gd name="T2" fmla="*/ 635 w 641"/>
                <a:gd name="T3" fmla="*/ 147 h 641"/>
                <a:gd name="T4" fmla="*/ 639 w 641"/>
                <a:gd name="T5" fmla="*/ 159 h 641"/>
                <a:gd name="T6" fmla="*/ 641 w 641"/>
                <a:gd name="T7" fmla="*/ 172 h 641"/>
                <a:gd name="T8" fmla="*/ 639 w 641"/>
                <a:gd name="T9" fmla="*/ 184 h 641"/>
                <a:gd name="T10" fmla="*/ 600 w 641"/>
                <a:gd name="T11" fmla="*/ 300 h 641"/>
                <a:gd name="T12" fmla="*/ 589 w 641"/>
                <a:gd name="T13" fmla="*/ 324 h 641"/>
                <a:gd name="T14" fmla="*/ 572 w 641"/>
                <a:gd name="T15" fmla="*/ 346 h 641"/>
                <a:gd name="T16" fmla="*/ 286 w 641"/>
                <a:gd name="T17" fmla="*/ 633 h 641"/>
                <a:gd name="T18" fmla="*/ 277 w 641"/>
                <a:gd name="T19" fmla="*/ 639 h 641"/>
                <a:gd name="T20" fmla="*/ 267 w 641"/>
                <a:gd name="T21" fmla="*/ 641 h 641"/>
                <a:gd name="T22" fmla="*/ 256 w 641"/>
                <a:gd name="T23" fmla="*/ 639 h 641"/>
                <a:gd name="T24" fmla="*/ 247 w 641"/>
                <a:gd name="T25" fmla="*/ 633 h 641"/>
                <a:gd name="T26" fmla="*/ 8 w 641"/>
                <a:gd name="T27" fmla="*/ 393 h 641"/>
                <a:gd name="T28" fmla="*/ 2 w 641"/>
                <a:gd name="T29" fmla="*/ 384 h 641"/>
                <a:gd name="T30" fmla="*/ 0 w 641"/>
                <a:gd name="T31" fmla="*/ 374 h 641"/>
                <a:gd name="T32" fmla="*/ 2 w 641"/>
                <a:gd name="T33" fmla="*/ 363 h 641"/>
                <a:gd name="T34" fmla="*/ 8 w 641"/>
                <a:gd name="T35" fmla="*/ 354 h 641"/>
                <a:gd name="T36" fmla="*/ 294 w 641"/>
                <a:gd name="T37" fmla="*/ 68 h 641"/>
                <a:gd name="T38" fmla="*/ 316 w 641"/>
                <a:gd name="T39" fmla="*/ 51 h 641"/>
                <a:gd name="T40" fmla="*/ 340 w 641"/>
                <a:gd name="T41" fmla="*/ 39 h 641"/>
                <a:gd name="T42" fmla="*/ 456 w 641"/>
                <a:gd name="T43" fmla="*/ 2 h 641"/>
                <a:gd name="T44" fmla="*/ 468 w 641"/>
                <a:gd name="T45" fmla="*/ 0 h 641"/>
                <a:gd name="T46" fmla="*/ 480 w 641"/>
                <a:gd name="T47" fmla="*/ 2 h 641"/>
                <a:gd name="T48" fmla="*/ 492 w 641"/>
                <a:gd name="T49" fmla="*/ 6 h 641"/>
                <a:gd name="T50" fmla="*/ 502 w 641"/>
                <a:gd name="T51" fmla="*/ 13 h 641"/>
                <a:gd name="T52" fmla="*/ 489 w 641"/>
                <a:gd name="T53" fmla="*/ 82 h 641"/>
                <a:gd name="T54" fmla="*/ 480 w 641"/>
                <a:gd name="T55" fmla="*/ 84 h 641"/>
                <a:gd name="T56" fmla="*/ 464 w 641"/>
                <a:gd name="T57" fmla="*/ 92 h 641"/>
                <a:gd name="T58" fmla="*/ 457 w 641"/>
                <a:gd name="T59" fmla="*/ 98 h 641"/>
                <a:gd name="T60" fmla="*/ 449 w 641"/>
                <a:gd name="T61" fmla="*/ 108 h 641"/>
                <a:gd name="T62" fmla="*/ 440 w 641"/>
                <a:gd name="T63" fmla="*/ 129 h 641"/>
                <a:gd name="T64" fmla="*/ 440 w 641"/>
                <a:gd name="T65" fmla="*/ 152 h 641"/>
                <a:gd name="T66" fmla="*/ 449 w 641"/>
                <a:gd name="T67" fmla="*/ 174 h 641"/>
                <a:gd name="T68" fmla="*/ 457 w 641"/>
                <a:gd name="T69" fmla="*/ 183 h 641"/>
                <a:gd name="T70" fmla="*/ 461 w 641"/>
                <a:gd name="T71" fmla="*/ 187 h 641"/>
                <a:gd name="T72" fmla="*/ 477 w 641"/>
                <a:gd name="T73" fmla="*/ 197 h 641"/>
                <a:gd name="T74" fmla="*/ 499 w 641"/>
                <a:gd name="T75" fmla="*/ 202 h 641"/>
                <a:gd name="T76" fmla="*/ 522 w 641"/>
                <a:gd name="T77" fmla="*/ 197 h 641"/>
                <a:gd name="T78" fmla="*/ 537 w 641"/>
                <a:gd name="T79" fmla="*/ 187 h 641"/>
                <a:gd name="T80" fmla="*/ 542 w 641"/>
                <a:gd name="T81" fmla="*/ 183 h 641"/>
                <a:gd name="T82" fmla="*/ 552 w 641"/>
                <a:gd name="T83" fmla="*/ 168 h 641"/>
                <a:gd name="T84" fmla="*/ 558 w 641"/>
                <a:gd name="T85" fmla="*/ 151 h 641"/>
                <a:gd name="T86" fmla="*/ 628 w 641"/>
                <a:gd name="T87" fmla="*/ 13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628" y="138"/>
                  </a:moveTo>
                  <a:lnTo>
                    <a:pt x="628" y="138"/>
                  </a:lnTo>
                  <a:lnTo>
                    <a:pt x="632" y="142"/>
                  </a:lnTo>
                  <a:lnTo>
                    <a:pt x="635" y="147"/>
                  </a:lnTo>
                  <a:lnTo>
                    <a:pt x="637" y="153"/>
                  </a:lnTo>
                  <a:lnTo>
                    <a:pt x="639" y="159"/>
                  </a:lnTo>
                  <a:lnTo>
                    <a:pt x="640" y="166"/>
                  </a:lnTo>
                  <a:lnTo>
                    <a:pt x="641" y="172"/>
                  </a:lnTo>
                  <a:lnTo>
                    <a:pt x="640" y="178"/>
                  </a:lnTo>
                  <a:lnTo>
                    <a:pt x="639" y="184"/>
                  </a:lnTo>
                  <a:lnTo>
                    <a:pt x="600" y="300"/>
                  </a:lnTo>
                  <a:lnTo>
                    <a:pt x="600" y="300"/>
                  </a:lnTo>
                  <a:lnTo>
                    <a:pt x="596" y="311"/>
                  </a:lnTo>
                  <a:lnTo>
                    <a:pt x="589" y="324"/>
                  </a:lnTo>
                  <a:lnTo>
                    <a:pt x="581" y="336"/>
                  </a:lnTo>
                  <a:lnTo>
                    <a:pt x="572" y="346"/>
                  </a:lnTo>
                  <a:lnTo>
                    <a:pt x="286" y="633"/>
                  </a:lnTo>
                  <a:lnTo>
                    <a:pt x="286" y="633"/>
                  </a:lnTo>
                  <a:lnTo>
                    <a:pt x="282" y="637"/>
                  </a:lnTo>
                  <a:lnTo>
                    <a:pt x="277" y="639"/>
                  </a:lnTo>
                  <a:lnTo>
                    <a:pt x="272" y="641"/>
                  </a:lnTo>
                  <a:lnTo>
                    <a:pt x="267" y="641"/>
                  </a:lnTo>
                  <a:lnTo>
                    <a:pt x="261" y="641"/>
                  </a:lnTo>
                  <a:lnTo>
                    <a:pt x="256" y="639"/>
                  </a:lnTo>
                  <a:lnTo>
                    <a:pt x="251" y="637"/>
                  </a:lnTo>
                  <a:lnTo>
                    <a:pt x="247" y="633"/>
                  </a:lnTo>
                  <a:lnTo>
                    <a:pt x="8" y="393"/>
                  </a:lnTo>
                  <a:lnTo>
                    <a:pt x="8" y="393"/>
                  </a:lnTo>
                  <a:lnTo>
                    <a:pt x="4" y="389"/>
                  </a:lnTo>
                  <a:lnTo>
                    <a:pt x="2" y="384"/>
                  </a:lnTo>
                  <a:lnTo>
                    <a:pt x="0" y="379"/>
                  </a:lnTo>
                  <a:lnTo>
                    <a:pt x="0" y="374"/>
                  </a:lnTo>
                  <a:lnTo>
                    <a:pt x="0" y="368"/>
                  </a:lnTo>
                  <a:lnTo>
                    <a:pt x="2" y="363"/>
                  </a:lnTo>
                  <a:lnTo>
                    <a:pt x="4" y="358"/>
                  </a:lnTo>
                  <a:lnTo>
                    <a:pt x="8" y="354"/>
                  </a:lnTo>
                  <a:lnTo>
                    <a:pt x="294" y="68"/>
                  </a:lnTo>
                  <a:lnTo>
                    <a:pt x="294" y="68"/>
                  </a:lnTo>
                  <a:lnTo>
                    <a:pt x="304" y="59"/>
                  </a:lnTo>
                  <a:lnTo>
                    <a:pt x="316" y="51"/>
                  </a:lnTo>
                  <a:lnTo>
                    <a:pt x="328" y="44"/>
                  </a:lnTo>
                  <a:lnTo>
                    <a:pt x="340" y="39"/>
                  </a:lnTo>
                  <a:lnTo>
                    <a:pt x="456" y="2"/>
                  </a:lnTo>
                  <a:lnTo>
                    <a:pt x="456" y="2"/>
                  </a:lnTo>
                  <a:lnTo>
                    <a:pt x="462" y="1"/>
                  </a:lnTo>
                  <a:lnTo>
                    <a:pt x="468" y="0"/>
                  </a:lnTo>
                  <a:lnTo>
                    <a:pt x="474" y="1"/>
                  </a:lnTo>
                  <a:lnTo>
                    <a:pt x="480" y="2"/>
                  </a:lnTo>
                  <a:lnTo>
                    <a:pt x="487" y="4"/>
                  </a:lnTo>
                  <a:lnTo>
                    <a:pt x="492" y="6"/>
                  </a:lnTo>
                  <a:lnTo>
                    <a:pt x="498" y="9"/>
                  </a:lnTo>
                  <a:lnTo>
                    <a:pt x="502" y="13"/>
                  </a:lnTo>
                  <a:lnTo>
                    <a:pt x="530" y="41"/>
                  </a:lnTo>
                  <a:lnTo>
                    <a:pt x="489" y="82"/>
                  </a:lnTo>
                  <a:lnTo>
                    <a:pt x="489" y="82"/>
                  </a:lnTo>
                  <a:lnTo>
                    <a:pt x="480" y="84"/>
                  </a:lnTo>
                  <a:lnTo>
                    <a:pt x="472" y="88"/>
                  </a:lnTo>
                  <a:lnTo>
                    <a:pt x="464" y="92"/>
                  </a:lnTo>
                  <a:lnTo>
                    <a:pt x="457" y="98"/>
                  </a:lnTo>
                  <a:lnTo>
                    <a:pt x="457" y="98"/>
                  </a:lnTo>
                  <a:lnTo>
                    <a:pt x="453" y="103"/>
                  </a:lnTo>
                  <a:lnTo>
                    <a:pt x="449" y="108"/>
                  </a:lnTo>
                  <a:lnTo>
                    <a:pt x="444" y="118"/>
                  </a:lnTo>
                  <a:lnTo>
                    <a:pt x="440" y="129"/>
                  </a:lnTo>
                  <a:lnTo>
                    <a:pt x="439" y="141"/>
                  </a:lnTo>
                  <a:lnTo>
                    <a:pt x="440" y="152"/>
                  </a:lnTo>
                  <a:lnTo>
                    <a:pt x="444" y="163"/>
                  </a:lnTo>
                  <a:lnTo>
                    <a:pt x="449" y="174"/>
                  </a:lnTo>
                  <a:lnTo>
                    <a:pt x="453" y="179"/>
                  </a:lnTo>
                  <a:lnTo>
                    <a:pt x="457" y="183"/>
                  </a:lnTo>
                  <a:lnTo>
                    <a:pt x="457" y="183"/>
                  </a:lnTo>
                  <a:lnTo>
                    <a:pt x="461" y="187"/>
                  </a:lnTo>
                  <a:lnTo>
                    <a:pt x="466" y="192"/>
                  </a:lnTo>
                  <a:lnTo>
                    <a:pt x="477" y="197"/>
                  </a:lnTo>
                  <a:lnTo>
                    <a:pt x="488" y="201"/>
                  </a:lnTo>
                  <a:lnTo>
                    <a:pt x="499" y="202"/>
                  </a:lnTo>
                  <a:lnTo>
                    <a:pt x="511" y="201"/>
                  </a:lnTo>
                  <a:lnTo>
                    <a:pt x="522" y="197"/>
                  </a:lnTo>
                  <a:lnTo>
                    <a:pt x="532" y="192"/>
                  </a:lnTo>
                  <a:lnTo>
                    <a:pt x="537" y="187"/>
                  </a:lnTo>
                  <a:lnTo>
                    <a:pt x="542" y="183"/>
                  </a:lnTo>
                  <a:lnTo>
                    <a:pt x="542" y="183"/>
                  </a:lnTo>
                  <a:lnTo>
                    <a:pt x="548" y="176"/>
                  </a:lnTo>
                  <a:lnTo>
                    <a:pt x="552" y="168"/>
                  </a:lnTo>
                  <a:lnTo>
                    <a:pt x="556" y="160"/>
                  </a:lnTo>
                  <a:lnTo>
                    <a:pt x="558" y="151"/>
                  </a:lnTo>
                  <a:lnTo>
                    <a:pt x="599" y="110"/>
                  </a:lnTo>
                  <a:lnTo>
                    <a:pt x="628" y="13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35" name="Freeform 137"/>
            <p:cNvSpPr>
              <a:spLocks/>
            </p:cNvSpPr>
            <p:nvPr/>
          </p:nvSpPr>
          <p:spPr bwMode="auto">
            <a:xfrm>
              <a:off x="4697730" y="3110866"/>
              <a:ext cx="173356" cy="173356"/>
            </a:xfrm>
            <a:custGeom>
              <a:avLst/>
              <a:gdLst>
                <a:gd name="T0" fmla="*/ 20 w 182"/>
                <a:gd name="T1" fmla="*/ 181 h 181"/>
                <a:gd name="T2" fmla="*/ 20 w 182"/>
                <a:gd name="T3" fmla="*/ 181 h 181"/>
                <a:gd name="T4" fmla="*/ 24 w 182"/>
                <a:gd name="T5" fmla="*/ 181 h 181"/>
                <a:gd name="T6" fmla="*/ 28 w 182"/>
                <a:gd name="T7" fmla="*/ 180 h 181"/>
                <a:gd name="T8" fmla="*/ 31 w 182"/>
                <a:gd name="T9" fmla="*/ 178 h 181"/>
                <a:gd name="T10" fmla="*/ 35 w 182"/>
                <a:gd name="T11" fmla="*/ 175 h 181"/>
                <a:gd name="T12" fmla="*/ 176 w 182"/>
                <a:gd name="T13" fmla="*/ 35 h 181"/>
                <a:gd name="T14" fmla="*/ 176 w 182"/>
                <a:gd name="T15" fmla="*/ 35 h 181"/>
                <a:gd name="T16" fmla="*/ 179 w 182"/>
                <a:gd name="T17" fmla="*/ 32 h 181"/>
                <a:gd name="T18" fmla="*/ 181 w 182"/>
                <a:gd name="T19" fmla="*/ 28 h 181"/>
                <a:gd name="T20" fmla="*/ 182 w 182"/>
                <a:gd name="T21" fmla="*/ 24 h 181"/>
                <a:gd name="T22" fmla="*/ 182 w 182"/>
                <a:gd name="T23" fmla="*/ 20 h 181"/>
                <a:gd name="T24" fmla="*/ 182 w 182"/>
                <a:gd name="T25" fmla="*/ 16 h 181"/>
                <a:gd name="T26" fmla="*/ 181 w 182"/>
                <a:gd name="T27" fmla="*/ 13 h 181"/>
                <a:gd name="T28" fmla="*/ 179 w 182"/>
                <a:gd name="T29" fmla="*/ 9 h 181"/>
                <a:gd name="T30" fmla="*/ 176 w 182"/>
                <a:gd name="T31" fmla="*/ 6 h 181"/>
                <a:gd name="T32" fmla="*/ 176 w 182"/>
                <a:gd name="T33" fmla="*/ 6 h 181"/>
                <a:gd name="T34" fmla="*/ 173 w 182"/>
                <a:gd name="T35" fmla="*/ 3 h 181"/>
                <a:gd name="T36" fmla="*/ 169 w 182"/>
                <a:gd name="T37" fmla="*/ 1 h 181"/>
                <a:gd name="T38" fmla="*/ 166 w 182"/>
                <a:gd name="T39" fmla="*/ 0 h 181"/>
                <a:gd name="T40" fmla="*/ 162 w 182"/>
                <a:gd name="T41" fmla="*/ 0 h 181"/>
                <a:gd name="T42" fmla="*/ 158 w 182"/>
                <a:gd name="T43" fmla="*/ 0 h 181"/>
                <a:gd name="T44" fmla="*/ 154 w 182"/>
                <a:gd name="T45" fmla="*/ 1 h 181"/>
                <a:gd name="T46" fmla="*/ 150 w 182"/>
                <a:gd name="T47" fmla="*/ 3 h 181"/>
                <a:gd name="T48" fmla="*/ 147 w 182"/>
                <a:gd name="T49" fmla="*/ 6 h 181"/>
                <a:gd name="T50" fmla="*/ 6 w 182"/>
                <a:gd name="T51" fmla="*/ 146 h 181"/>
                <a:gd name="T52" fmla="*/ 6 w 182"/>
                <a:gd name="T53" fmla="*/ 146 h 181"/>
                <a:gd name="T54" fmla="*/ 3 w 182"/>
                <a:gd name="T55" fmla="*/ 150 h 181"/>
                <a:gd name="T56" fmla="*/ 1 w 182"/>
                <a:gd name="T57" fmla="*/ 153 h 181"/>
                <a:gd name="T58" fmla="*/ 0 w 182"/>
                <a:gd name="T59" fmla="*/ 157 h 181"/>
                <a:gd name="T60" fmla="*/ 0 w 182"/>
                <a:gd name="T61" fmla="*/ 161 h 181"/>
                <a:gd name="T62" fmla="*/ 0 w 182"/>
                <a:gd name="T63" fmla="*/ 165 h 181"/>
                <a:gd name="T64" fmla="*/ 1 w 182"/>
                <a:gd name="T65" fmla="*/ 169 h 181"/>
                <a:gd name="T66" fmla="*/ 3 w 182"/>
                <a:gd name="T67" fmla="*/ 172 h 181"/>
                <a:gd name="T68" fmla="*/ 6 w 182"/>
                <a:gd name="T69" fmla="*/ 175 h 181"/>
                <a:gd name="T70" fmla="*/ 6 w 182"/>
                <a:gd name="T71" fmla="*/ 175 h 181"/>
                <a:gd name="T72" fmla="*/ 9 w 182"/>
                <a:gd name="T73" fmla="*/ 178 h 181"/>
                <a:gd name="T74" fmla="*/ 12 w 182"/>
                <a:gd name="T75" fmla="*/ 180 h 181"/>
                <a:gd name="T76" fmla="*/ 16 w 182"/>
                <a:gd name="T77" fmla="*/ 181 h 181"/>
                <a:gd name="T78" fmla="*/ 20 w 182"/>
                <a:gd name="T79"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2" h="181">
                  <a:moveTo>
                    <a:pt x="20" y="181"/>
                  </a:moveTo>
                  <a:lnTo>
                    <a:pt x="20" y="181"/>
                  </a:lnTo>
                  <a:lnTo>
                    <a:pt x="24" y="181"/>
                  </a:lnTo>
                  <a:lnTo>
                    <a:pt x="28" y="180"/>
                  </a:lnTo>
                  <a:lnTo>
                    <a:pt x="31" y="178"/>
                  </a:lnTo>
                  <a:lnTo>
                    <a:pt x="35" y="175"/>
                  </a:lnTo>
                  <a:lnTo>
                    <a:pt x="176" y="35"/>
                  </a:lnTo>
                  <a:lnTo>
                    <a:pt x="176" y="35"/>
                  </a:lnTo>
                  <a:lnTo>
                    <a:pt x="179" y="32"/>
                  </a:lnTo>
                  <a:lnTo>
                    <a:pt x="181" y="28"/>
                  </a:lnTo>
                  <a:lnTo>
                    <a:pt x="182" y="24"/>
                  </a:lnTo>
                  <a:lnTo>
                    <a:pt x="182" y="20"/>
                  </a:lnTo>
                  <a:lnTo>
                    <a:pt x="182" y="16"/>
                  </a:lnTo>
                  <a:lnTo>
                    <a:pt x="181" y="13"/>
                  </a:lnTo>
                  <a:lnTo>
                    <a:pt x="179" y="9"/>
                  </a:lnTo>
                  <a:lnTo>
                    <a:pt x="176" y="6"/>
                  </a:lnTo>
                  <a:lnTo>
                    <a:pt x="176" y="6"/>
                  </a:lnTo>
                  <a:lnTo>
                    <a:pt x="173" y="3"/>
                  </a:lnTo>
                  <a:lnTo>
                    <a:pt x="169" y="1"/>
                  </a:lnTo>
                  <a:lnTo>
                    <a:pt x="166" y="0"/>
                  </a:lnTo>
                  <a:lnTo>
                    <a:pt x="162" y="0"/>
                  </a:lnTo>
                  <a:lnTo>
                    <a:pt x="158" y="0"/>
                  </a:lnTo>
                  <a:lnTo>
                    <a:pt x="154" y="1"/>
                  </a:lnTo>
                  <a:lnTo>
                    <a:pt x="150" y="3"/>
                  </a:lnTo>
                  <a:lnTo>
                    <a:pt x="147" y="6"/>
                  </a:lnTo>
                  <a:lnTo>
                    <a:pt x="6" y="146"/>
                  </a:lnTo>
                  <a:lnTo>
                    <a:pt x="6" y="146"/>
                  </a:lnTo>
                  <a:lnTo>
                    <a:pt x="3" y="150"/>
                  </a:lnTo>
                  <a:lnTo>
                    <a:pt x="1" y="153"/>
                  </a:lnTo>
                  <a:lnTo>
                    <a:pt x="0" y="157"/>
                  </a:lnTo>
                  <a:lnTo>
                    <a:pt x="0" y="161"/>
                  </a:lnTo>
                  <a:lnTo>
                    <a:pt x="0" y="165"/>
                  </a:lnTo>
                  <a:lnTo>
                    <a:pt x="1" y="169"/>
                  </a:lnTo>
                  <a:lnTo>
                    <a:pt x="3" y="172"/>
                  </a:lnTo>
                  <a:lnTo>
                    <a:pt x="6" y="175"/>
                  </a:lnTo>
                  <a:lnTo>
                    <a:pt x="6" y="175"/>
                  </a:lnTo>
                  <a:lnTo>
                    <a:pt x="9" y="178"/>
                  </a:lnTo>
                  <a:lnTo>
                    <a:pt x="12" y="180"/>
                  </a:lnTo>
                  <a:lnTo>
                    <a:pt x="16" y="181"/>
                  </a:lnTo>
                  <a:lnTo>
                    <a:pt x="20" y="18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5" name="Group 4"/>
          <p:cNvGrpSpPr/>
          <p:nvPr/>
        </p:nvGrpSpPr>
        <p:grpSpPr>
          <a:xfrm flipH="1">
            <a:off x="10360283" y="5350021"/>
            <a:ext cx="439571" cy="558803"/>
            <a:chOff x="9940364" y="5195233"/>
            <a:chExt cx="465667" cy="558803"/>
          </a:xfrm>
        </p:grpSpPr>
        <p:sp>
          <p:nvSpPr>
            <p:cNvPr id="845" name="Isosceles Triangle 2662"/>
            <p:cNvSpPr/>
            <p:nvPr/>
          </p:nvSpPr>
          <p:spPr bwMode="auto">
            <a:xfrm rot="9000000">
              <a:off x="9940364" y="5195233"/>
              <a:ext cx="465667" cy="558803"/>
            </a:xfrm>
            <a:custGeom>
              <a:avLst/>
              <a:gdLst/>
              <a:ahLst/>
              <a:cxnLst/>
              <a:rect l="l" t="t" r="r" b="b"/>
              <a:pathLst>
                <a:path w="384849" h="461821">
                  <a:moveTo>
                    <a:pt x="108837" y="430605"/>
                  </a:moveTo>
                  <a:cubicBezTo>
                    <a:pt x="13141" y="375355"/>
                    <a:pt x="-27012" y="265747"/>
                    <a:pt x="19152" y="185788"/>
                  </a:cubicBezTo>
                  <a:cubicBezTo>
                    <a:pt x="38669" y="151983"/>
                    <a:pt x="70490" y="128891"/>
                    <a:pt x="108806" y="120511"/>
                  </a:cubicBezTo>
                  <a:lnTo>
                    <a:pt x="163813" y="0"/>
                  </a:lnTo>
                  <a:lnTo>
                    <a:pt x="218403" y="119596"/>
                  </a:lnTo>
                  <a:cubicBezTo>
                    <a:pt x="238305" y="122507"/>
                    <a:pt x="257519" y="130372"/>
                    <a:pt x="276012" y="141049"/>
                  </a:cubicBezTo>
                  <a:cubicBezTo>
                    <a:pt x="371708" y="196299"/>
                    <a:pt x="411861" y="305908"/>
                    <a:pt x="365697" y="385866"/>
                  </a:cubicBezTo>
                  <a:cubicBezTo>
                    <a:pt x="319533" y="465825"/>
                    <a:pt x="204533" y="485855"/>
                    <a:pt x="108837" y="430605"/>
                  </a:cubicBezTo>
                  <a:close/>
                </a:path>
              </a:pathLst>
            </a:custGeom>
            <a:solidFill>
              <a:schemeClr val="tx1"/>
            </a:solidFill>
            <a:ln>
              <a:solidFill>
                <a:srgbClr val="008D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45720" bIns="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w="3175">
                  <a:noFill/>
                </a:ln>
                <a:solidFill>
                  <a:srgbClr val="8DC548"/>
                </a:solidFill>
                <a:effectLst/>
                <a:uLnTx/>
                <a:uFillTx/>
                <a:latin typeface="Arial" pitchFamily="34" charset="0"/>
                <a:cs typeface="Arial" pitchFamily="34" charset="0"/>
              </a:endParaRPr>
            </a:p>
          </p:txBody>
        </p:sp>
        <p:sp>
          <p:nvSpPr>
            <p:cNvPr id="419" name="Freeform 352"/>
            <p:cNvSpPr>
              <a:spLocks/>
            </p:cNvSpPr>
            <p:nvPr/>
          </p:nvSpPr>
          <p:spPr bwMode="auto">
            <a:xfrm>
              <a:off x="10007479" y="5316325"/>
              <a:ext cx="240210" cy="204057"/>
            </a:xfrm>
            <a:custGeom>
              <a:avLst/>
              <a:gdLst>
                <a:gd name="T0" fmla="*/ 554 w 598"/>
                <a:gd name="T1" fmla="*/ 37 h 509"/>
                <a:gd name="T2" fmla="*/ 568 w 598"/>
                <a:gd name="T3" fmla="*/ 54 h 509"/>
                <a:gd name="T4" fmla="*/ 579 w 598"/>
                <a:gd name="T5" fmla="*/ 72 h 509"/>
                <a:gd name="T6" fmla="*/ 588 w 598"/>
                <a:gd name="T7" fmla="*/ 90 h 509"/>
                <a:gd name="T8" fmla="*/ 594 w 598"/>
                <a:gd name="T9" fmla="*/ 108 h 509"/>
                <a:gd name="T10" fmla="*/ 597 w 598"/>
                <a:gd name="T11" fmla="*/ 127 h 509"/>
                <a:gd name="T12" fmla="*/ 597 w 598"/>
                <a:gd name="T13" fmla="*/ 164 h 509"/>
                <a:gd name="T14" fmla="*/ 589 w 598"/>
                <a:gd name="T15" fmla="*/ 202 h 509"/>
                <a:gd name="T16" fmla="*/ 574 w 598"/>
                <a:gd name="T17" fmla="*/ 239 h 509"/>
                <a:gd name="T18" fmla="*/ 553 w 598"/>
                <a:gd name="T19" fmla="*/ 276 h 509"/>
                <a:gd name="T20" fmla="*/ 528 w 598"/>
                <a:gd name="T21" fmla="*/ 312 h 509"/>
                <a:gd name="T22" fmla="*/ 498 w 598"/>
                <a:gd name="T23" fmla="*/ 346 h 509"/>
                <a:gd name="T24" fmla="*/ 468 w 598"/>
                <a:gd name="T25" fmla="*/ 378 h 509"/>
                <a:gd name="T26" fmla="*/ 421 w 598"/>
                <a:gd name="T27" fmla="*/ 422 h 509"/>
                <a:gd name="T28" fmla="*/ 362 w 598"/>
                <a:gd name="T29" fmla="*/ 469 h 509"/>
                <a:gd name="T30" fmla="*/ 316 w 598"/>
                <a:gd name="T31" fmla="*/ 499 h 509"/>
                <a:gd name="T32" fmla="*/ 300 w 598"/>
                <a:gd name="T33" fmla="*/ 509 h 509"/>
                <a:gd name="T34" fmla="*/ 299 w 598"/>
                <a:gd name="T35" fmla="*/ 509 h 509"/>
                <a:gd name="T36" fmla="*/ 299 w 598"/>
                <a:gd name="T37" fmla="*/ 509 h 509"/>
                <a:gd name="T38" fmla="*/ 299 w 598"/>
                <a:gd name="T39" fmla="*/ 508 h 509"/>
                <a:gd name="T40" fmla="*/ 262 w 598"/>
                <a:gd name="T41" fmla="*/ 486 h 509"/>
                <a:gd name="T42" fmla="*/ 208 w 598"/>
                <a:gd name="T43" fmla="*/ 447 h 509"/>
                <a:gd name="T44" fmla="*/ 146 w 598"/>
                <a:gd name="T45" fmla="*/ 394 h 509"/>
                <a:gd name="T46" fmla="*/ 115 w 598"/>
                <a:gd name="T47" fmla="*/ 363 h 509"/>
                <a:gd name="T48" fmla="*/ 85 w 598"/>
                <a:gd name="T49" fmla="*/ 330 h 509"/>
                <a:gd name="T50" fmla="*/ 57 w 598"/>
                <a:gd name="T51" fmla="*/ 295 h 509"/>
                <a:gd name="T52" fmla="*/ 34 w 598"/>
                <a:gd name="T53" fmla="*/ 257 h 509"/>
                <a:gd name="T54" fmla="*/ 16 w 598"/>
                <a:gd name="T55" fmla="*/ 220 h 509"/>
                <a:gd name="T56" fmla="*/ 4 w 598"/>
                <a:gd name="T57" fmla="*/ 183 h 509"/>
                <a:gd name="T58" fmla="*/ 0 w 598"/>
                <a:gd name="T59" fmla="*/ 145 h 509"/>
                <a:gd name="T60" fmla="*/ 3 w 598"/>
                <a:gd name="T61" fmla="*/ 117 h 509"/>
                <a:gd name="T62" fmla="*/ 7 w 598"/>
                <a:gd name="T63" fmla="*/ 99 h 509"/>
                <a:gd name="T64" fmla="*/ 14 w 598"/>
                <a:gd name="T65" fmla="*/ 81 h 509"/>
                <a:gd name="T66" fmla="*/ 24 w 598"/>
                <a:gd name="T67" fmla="*/ 62 h 509"/>
                <a:gd name="T68" fmla="*/ 36 w 598"/>
                <a:gd name="T69" fmla="*/ 45 h 509"/>
                <a:gd name="T70" fmla="*/ 44 w 598"/>
                <a:gd name="T71" fmla="*/ 37 h 509"/>
                <a:gd name="T72" fmla="*/ 68 w 598"/>
                <a:gd name="T73" fmla="*/ 16 h 509"/>
                <a:gd name="T74" fmla="*/ 97 w 598"/>
                <a:gd name="T75" fmla="*/ 4 h 509"/>
                <a:gd name="T76" fmla="*/ 128 w 598"/>
                <a:gd name="T77" fmla="*/ 0 h 509"/>
                <a:gd name="T78" fmla="*/ 161 w 598"/>
                <a:gd name="T79" fmla="*/ 4 h 509"/>
                <a:gd name="T80" fmla="*/ 196 w 598"/>
                <a:gd name="T81" fmla="*/ 15 h 509"/>
                <a:gd name="T82" fmla="*/ 231 w 598"/>
                <a:gd name="T83" fmla="*/ 35 h 509"/>
                <a:gd name="T84" fmla="*/ 266 w 598"/>
                <a:gd name="T85" fmla="*/ 64 h 509"/>
                <a:gd name="T86" fmla="*/ 301 w 598"/>
                <a:gd name="T87" fmla="*/ 101 h 509"/>
                <a:gd name="T88" fmla="*/ 315 w 598"/>
                <a:gd name="T89" fmla="*/ 83 h 509"/>
                <a:gd name="T90" fmla="*/ 346 w 598"/>
                <a:gd name="T91" fmla="*/ 51 h 509"/>
                <a:gd name="T92" fmla="*/ 379 w 598"/>
                <a:gd name="T93" fmla="*/ 28 h 509"/>
                <a:gd name="T94" fmla="*/ 414 w 598"/>
                <a:gd name="T95" fmla="*/ 12 h 509"/>
                <a:gd name="T96" fmla="*/ 449 w 598"/>
                <a:gd name="T97" fmla="*/ 3 h 509"/>
                <a:gd name="T98" fmla="*/ 483 w 598"/>
                <a:gd name="T99" fmla="*/ 2 h 509"/>
                <a:gd name="T100" fmla="*/ 515 w 598"/>
                <a:gd name="T101" fmla="*/ 10 h 509"/>
                <a:gd name="T102" fmla="*/ 536 w 598"/>
                <a:gd name="T103" fmla="*/ 21 h 509"/>
                <a:gd name="T104" fmla="*/ 549 w 598"/>
                <a:gd name="T105" fmla="*/ 31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98" h="509">
                  <a:moveTo>
                    <a:pt x="554" y="37"/>
                  </a:moveTo>
                  <a:lnTo>
                    <a:pt x="554" y="37"/>
                  </a:lnTo>
                  <a:lnTo>
                    <a:pt x="562" y="45"/>
                  </a:lnTo>
                  <a:lnTo>
                    <a:pt x="568" y="54"/>
                  </a:lnTo>
                  <a:lnTo>
                    <a:pt x="574" y="62"/>
                  </a:lnTo>
                  <a:lnTo>
                    <a:pt x="579" y="72"/>
                  </a:lnTo>
                  <a:lnTo>
                    <a:pt x="584" y="81"/>
                  </a:lnTo>
                  <a:lnTo>
                    <a:pt x="588" y="90"/>
                  </a:lnTo>
                  <a:lnTo>
                    <a:pt x="591" y="99"/>
                  </a:lnTo>
                  <a:lnTo>
                    <a:pt x="594" y="108"/>
                  </a:lnTo>
                  <a:lnTo>
                    <a:pt x="596" y="117"/>
                  </a:lnTo>
                  <a:lnTo>
                    <a:pt x="597" y="127"/>
                  </a:lnTo>
                  <a:lnTo>
                    <a:pt x="598" y="145"/>
                  </a:lnTo>
                  <a:lnTo>
                    <a:pt x="597" y="164"/>
                  </a:lnTo>
                  <a:lnTo>
                    <a:pt x="594" y="183"/>
                  </a:lnTo>
                  <a:lnTo>
                    <a:pt x="589" y="202"/>
                  </a:lnTo>
                  <a:lnTo>
                    <a:pt x="582" y="220"/>
                  </a:lnTo>
                  <a:lnTo>
                    <a:pt x="574" y="239"/>
                  </a:lnTo>
                  <a:lnTo>
                    <a:pt x="564" y="257"/>
                  </a:lnTo>
                  <a:lnTo>
                    <a:pt x="553" y="276"/>
                  </a:lnTo>
                  <a:lnTo>
                    <a:pt x="541" y="295"/>
                  </a:lnTo>
                  <a:lnTo>
                    <a:pt x="528" y="312"/>
                  </a:lnTo>
                  <a:lnTo>
                    <a:pt x="514" y="330"/>
                  </a:lnTo>
                  <a:lnTo>
                    <a:pt x="498" y="346"/>
                  </a:lnTo>
                  <a:lnTo>
                    <a:pt x="483" y="363"/>
                  </a:lnTo>
                  <a:lnTo>
                    <a:pt x="468" y="378"/>
                  </a:lnTo>
                  <a:lnTo>
                    <a:pt x="452" y="394"/>
                  </a:lnTo>
                  <a:lnTo>
                    <a:pt x="421" y="422"/>
                  </a:lnTo>
                  <a:lnTo>
                    <a:pt x="390" y="447"/>
                  </a:lnTo>
                  <a:lnTo>
                    <a:pt x="362" y="469"/>
                  </a:lnTo>
                  <a:lnTo>
                    <a:pt x="336" y="486"/>
                  </a:lnTo>
                  <a:lnTo>
                    <a:pt x="316" y="499"/>
                  </a:lnTo>
                  <a:lnTo>
                    <a:pt x="300" y="508"/>
                  </a:lnTo>
                  <a:lnTo>
                    <a:pt x="300" y="509"/>
                  </a:lnTo>
                  <a:lnTo>
                    <a:pt x="300" y="509"/>
                  </a:lnTo>
                  <a:lnTo>
                    <a:pt x="299" y="509"/>
                  </a:lnTo>
                  <a:lnTo>
                    <a:pt x="299" y="509"/>
                  </a:lnTo>
                  <a:lnTo>
                    <a:pt x="299" y="509"/>
                  </a:lnTo>
                  <a:lnTo>
                    <a:pt x="299" y="508"/>
                  </a:lnTo>
                  <a:lnTo>
                    <a:pt x="299" y="508"/>
                  </a:lnTo>
                  <a:lnTo>
                    <a:pt x="283" y="499"/>
                  </a:lnTo>
                  <a:lnTo>
                    <a:pt x="262" y="486"/>
                  </a:lnTo>
                  <a:lnTo>
                    <a:pt x="236" y="469"/>
                  </a:lnTo>
                  <a:lnTo>
                    <a:pt x="208" y="447"/>
                  </a:lnTo>
                  <a:lnTo>
                    <a:pt x="177" y="422"/>
                  </a:lnTo>
                  <a:lnTo>
                    <a:pt x="146" y="394"/>
                  </a:lnTo>
                  <a:lnTo>
                    <a:pt x="130" y="378"/>
                  </a:lnTo>
                  <a:lnTo>
                    <a:pt x="115" y="363"/>
                  </a:lnTo>
                  <a:lnTo>
                    <a:pt x="100" y="346"/>
                  </a:lnTo>
                  <a:lnTo>
                    <a:pt x="85" y="330"/>
                  </a:lnTo>
                  <a:lnTo>
                    <a:pt x="70" y="312"/>
                  </a:lnTo>
                  <a:lnTo>
                    <a:pt x="57" y="295"/>
                  </a:lnTo>
                  <a:lnTo>
                    <a:pt x="45" y="276"/>
                  </a:lnTo>
                  <a:lnTo>
                    <a:pt x="34" y="257"/>
                  </a:lnTo>
                  <a:lnTo>
                    <a:pt x="24" y="239"/>
                  </a:lnTo>
                  <a:lnTo>
                    <a:pt x="16" y="220"/>
                  </a:lnTo>
                  <a:lnTo>
                    <a:pt x="9" y="202"/>
                  </a:lnTo>
                  <a:lnTo>
                    <a:pt x="4" y="183"/>
                  </a:lnTo>
                  <a:lnTo>
                    <a:pt x="1" y="164"/>
                  </a:lnTo>
                  <a:lnTo>
                    <a:pt x="0" y="145"/>
                  </a:lnTo>
                  <a:lnTo>
                    <a:pt x="1" y="127"/>
                  </a:lnTo>
                  <a:lnTo>
                    <a:pt x="3" y="117"/>
                  </a:lnTo>
                  <a:lnTo>
                    <a:pt x="5" y="108"/>
                  </a:lnTo>
                  <a:lnTo>
                    <a:pt x="7" y="99"/>
                  </a:lnTo>
                  <a:lnTo>
                    <a:pt x="10" y="90"/>
                  </a:lnTo>
                  <a:lnTo>
                    <a:pt x="14" y="81"/>
                  </a:lnTo>
                  <a:lnTo>
                    <a:pt x="19" y="72"/>
                  </a:lnTo>
                  <a:lnTo>
                    <a:pt x="24" y="62"/>
                  </a:lnTo>
                  <a:lnTo>
                    <a:pt x="30" y="54"/>
                  </a:lnTo>
                  <a:lnTo>
                    <a:pt x="36" y="45"/>
                  </a:lnTo>
                  <a:lnTo>
                    <a:pt x="44" y="37"/>
                  </a:lnTo>
                  <a:lnTo>
                    <a:pt x="44" y="37"/>
                  </a:lnTo>
                  <a:lnTo>
                    <a:pt x="56" y="25"/>
                  </a:lnTo>
                  <a:lnTo>
                    <a:pt x="68" y="16"/>
                  </a:lnTo>
                  <a:lnTo>
                    <a:pt x="83" y="9"/>
                  </a:lnTo>
                  <a:lnTo>
                    <a:pt x="97" y="4"/>
                  </a:lnTo>
                  <a:lnTo>
                    <a:pt x="112" y="1"/>
                  </a:lnTo>
                  <a:lnTo>
                    <a:pt x="128" y="0"/>
                  </a:lnTo>
                  <a:lnTo>
                    <a:pt x="145" y="1"/>
                  </a:lnTo>
                  <a:lnTo>
                    <a:pt x="161" y="4"/>
                  </a:lnTo>
                  <a:lnTo>
                    <a:pt x="179" y="8"/>
                  </a:lnTo>
                  <a:lnTo>
                    <a:pt x="196" y="15"/>
                  </a:lnTo>
                  <a:lnTo>
                    <a:pt x="213" y="24"/>
                  </a:lnTo>
                  <a:lnTo>
                    <a:pt x="231" y="35"/>
                  </a:lnTo>
                  <a:lnTo>
                    <a:pt x="249" y="48"/>
                  </a:lnTo>
                  <a:lnTo>
                    <a:pt x="266" y="64"/>
                  </a:lnTo>
                  <a:lnTo>
                    <a:pt x="283" y="82"/>
                  </a:lnTo>
                  <a:lnTo>
                    <a:pt x="301" y="101"/>
                  </a:lnTo>
                  <a:lnTo>
                    <a:pt x="301" y="101"/>
                  </a:lnTo>
                  <a:lnTo>
                    <a:pt x="315" y="83"/>
                  </a:lnTo>
                  <a:lnTo>
                    <a:pt x="330" y="66"/>
                  </a:lnTo>
                  <a:lnTo>
                    <a:pt x="346" y="51"/>
                  </a:lnTo>
                  <a:lnTo>
                    <a:pt x="362" y="39"/>
                  </a:lnTo>
                  <a:lnTo>
                    <a:pt x="379" y="28"/>
                  </a:lnTo>
                  <a:lnTo>
                    <a:pt x="396" y="19"/>
                  </a:lnTo>
                  <a:lnTo>
                    <a:pt x="414" y="12"/>
                  </a:lnTo>
                  <a:lnTo>
                    <a:pt x="432" y="6"/>
                  </a:lnTo>
                  <a:lnTo>
                    <a:pt x="449" y="3"/>
                  </a:lnTo>
                  <a:lnTo>
                    <a:pt x="466" y="2"/>
                  </a:lnTo>
                  <a:lnTo>
                    <a:pt x="483" y="2"/>
                  </a:lnTo>
                  <a:lnTo>
                    <a:pt x="499" y="5"/>
                  </a:lnTo>
                  <a:lnTo>
                    <a:pt x="515" y="10"/>
                  </a:lnTo>
                  <a:lnTo>
                    <a:pt x="529" y="17"/>
                  </a:lnTo>
                  <a:lnTo>
                    <a:pt x="536" y="21"/>
                  </a:lnTo>
                  <a:lnTo>
                    <a:pt x="542" y="26"/>
                  </a:lnTo>
                  <a:lnTo>
                    <a:pt x="549" y="31"/>
                  </a:lnTo>
                  <a:lnTo>
                    <a:pt x="554" y="37"/>
                  </a:lnTo>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56" name="Group 855"/>
          <p:cNvGrpSpPr/>
          <p:nvPr/>
        </p:nvGrpSpPr>
        <p:grpSpPr>
          <a:xfrm>
            <a:off x="10209376" y="2709370"/>
            <a:ext cx="812733" cy="731415"/>
            <a:chOff x="5570989" y="5418077"/>
            <a:chExt cx="983407" cy="885011"/>
          </a:xfrm>
        </p:grpSpPr>
        <p:grpSp>
          <p:nvGrpSpPr>
            <p:cNvPr id="857" name="Group 856"/>
            <p:cNvGrpSpPr/>
            <p:nvPr/>
          </p:nvGrpSpPr>
          <p:grpSpPr>
            <a:xfrm>
              <a:off x="5570989" y="5428447"/>
              <a:ext cx="983407" cy="874641"/>
              <a:chOff x="6146016" y="7045324"/>
              <a:chExt cx="3416300" cy="3038475"/>
            </a:xfrm>
          </p:grpSpPr>
          <p:sp>
            <p:nvSpPr>
              <p:cNvPr id="859" name="Freeform 1174"/>
              <p:cNvSpPr>
                <a:spLocks/>
              </p:cNvSpPr>
              <p:nvPr/>
            </p:nvSpPr>
            <p:spPr bwMode="auto">
              <a:xfrm>
                <a:off x="6146016" y="7045324"/>
                <a:ext cx="3416300" cy="3038475"/>
              </a:xfrm>
              <a:custGeom>
                <a:avLst/>
                <a:gdLst>
                  <a:gd name="T0" fmla="*/ 2502 w 4304"/>
                  <a:gd name="T1" fmla="*/ 1154 h 3828"/>
                  <a:gd name="T2" fmla="*/ 2554 w 4304"/>
                  <a:gd name="T3" fmla="*/ 710 h 3828"/>
                  <a:gd name="T4" fmla="*/ 2627 w 4304"/>
                  <a:gd name="T5" fmla="*/ 443 h 3828"/>
                  <a:gd name="T6" fmla="*/ 2706 w 4304"/>
                  <a:gd name="T7" fmla="*/ 326 h 3828"/>
                  <a:gd name="T8" fmla="*/ 2825 w 4304"/>
                  <a:gd name="T9" fmla="*/ 281 h 3828"/>
                  <a:gd name="T10" fmla="*/ 2884 w 4304"/>
                  <a:gd name="T11" fmla="*/ 238 h 3828"/>
                  <a:gd name="T12" fmla="*/ 3010 w 4304"/>
                  <a:gd name="T13" fmla="*/ 117 h 3828"/>
                  <a:gd name="T14" fmla="*/ 3238 w 4304"/>
                  <a:gd name="T15" fmla="*/ 3 h 3828"/>
                  <a:gd name="T16" fmla="*/ 3343 w 4304"/>
                  <a:gd name="T17" fmla="*/ 14 h 3828"/>
                  <a:gd name="T18" fmla="*/ 3367 w 4304"/>
                  <a:gd name="T19" fmla="*/ 94 h 3828"/>
                  <a:gd name="T20" fmla="*/ 3330 w 4304"/>
                  <a:gd name="T21" fmla="*/ 237 h 3828"/>
                  <a:gd name="T22" fmla="*/ 3508 w 4304"/>
                  <a:gd name="T23" fmla="*/ 288 h 3828"/>
                  <a:gd name="T24" fmla="*/ 3612 w 4304"/>
                  <a:gd name="T25" fmla="*/ 353 h 3828"/>
                  <a:gd name="T26" fmla="*/ 3712 w 4304"/>
                  <a:gd name="T27" fmla="*/ 484 h 3828"/>
                  <a:gd name="T28" fmla="*/ 3790 w 4304"/>
                  <a:gd name="T29" fmla="*/ 652 h 3828"/>
                  <a:gd name="T30" fmla="*/ 4061 w 4304"/>
                  <a:gd name="T31" fmla="*/ 711 h 3828"/>
                  <a:gd name="T32" fmla="*/ 4209 w 4304"/>
                  <a:gd name="T33" fmla="*/ 725 h 3828"/>
                  <a:gd name="T34" fmla="*/ 4278 w 4304"/>
                  <a:gd name="T35" fmla="*/ 835 h 3828"/>
                  <a:gd name="T36" fmla="*/ 4300 w 4304"/>
                  <a:gd name="T37" fmla="*/ 999 h 3828"/>
                  <a:gd name="T38" fmla="*/ 4243 w 4304"/>
                  <a:gd name="T39" fmla="*/ 1119 h 3828"/>
                  <a:gd name="T40" fmla="*/ 4139 w 4304"/>
                  <a:gd name="T41" fmla="*/ 1209 h 3828"/>
                  <a:gd name="T42" fmla="*/ 3935 w 4304"/>
                  <a:gd name="T43" fmla="*/ 1304 h 3828"/>
                  <a:gd name="T44" fmla="*/ 3283 w 4304"/>
                  <a:gd name="T45" fmla="*/ 1776 h 3828"/>
                  <a:gd name="T46" fmla="*/ 3285 w 4304"/>
                  <a:gd name="T47" fmla="*/ 3410 h 3828"/>
                  <a:gd name="T48" fmla="*/ 3247 w 4304"/>
                  <a:gd name="T49" fmla="*/ 3660 h 3828"/>
                  <a:gd name="T50" fmla="*/ 3185 w 4304"/>
                  <a:gd name="T51" fmla="*/ 3762 h 3828"/>
                  <a:gd name="T52" fmla="*/ 3083 w 4304"/>
                  <a:gd name="T53" fmla="*/ 3818 h 3828"/>
                  <a:gd name="T54" fmla="*/ 2958 w 4304"/>
                  <a:gd name="T55" fmla="*/ 3824 h 3828"/>
                  <a:gd name="T56" fmla="*/ 2845 w 4304"/>
                  <a:gd name="T57" fmla="*/ 3786 h 3828"/>
                  <a:gd name="T58" fmla="*/ 2771 w 4304"/>
                  <a:gd name="T59" fmla="*/ 3705 h 3828"/>
                  <a:gd name="T60" fmla="*/ 2713 w 4304"/>
                  <a:gd name="T61" fmla="*/ 3496 h 3828"/>
                  <a:gd name="T62" fmla="*/ 2718 w 4304"/>
                  <a:gd name="T63" fmla="*/ 2670 h 3828"/>
                  <a:gd name="T64" fmla="*/ 1956 w 4304"/>
                  <a:gd name="T65" fmla="*/ 3083 h 3828"/>
                  <a:gd name="T66" fmla="*/ 2124 w 4304"/>
                  <a:gd name="T67" fmla="*/ 3358 h 3828"/>
                  <a:gd name="T68" fmla="*/ 2176 w 4304"/>
                  <a:gd name="T69" fmla="*/ 3551 h 3828"/>
                  <a:gd name="T70" fmla="*/ 2142 w 4304"/>
                  <a:gd name="T71" fmla="*/ 3690 h 3828"/>
                  <a:gd name="T72" fmla="*/ 2012 w 4304"/>
                  <a:gd name="T73" fmla="*/ 3804 h 3828"/>
                  <a:gd name="T74" fmla="*/ 1848 w 4304"/>
                  <a:gd name="T75" fmla="*/ 3821 h 3828"/>
                  <a:gd name="T76" fmla="*/ 1711 w 4304"/>
                  <a:gd name="T77" fmla="*/ 3748 h 3828"/>
                  <a:gd name="T78" fmla="*/ 1552 w 4304"/>
                  <a:gd name="T79" fmla="*/ 3549 h 3828"/>
                  <a:gd name="T80" fmla="*/ 1129 w 4304"/>
                  <a:gd name="T81" fmla="*/ 2844 h 3828"/>
                  <a:gd name="T82" fmla="*/ 1113 w 4304"/>
                  <a:gd name="T83" fmla="*/ 3520 h 3828"/>
                  <a:gd name="T84" fmla="*/ 1075 w 4304"/>
                  <a:gd name="T85" fmla="*/ 3717 h 3828"/>
                  <a:gd name="T86" fmla="*/ 980 w 4304"/>
                  <a:gd name="T87" fmla="*/ 3801 h 3828"/>
                  <a:gd name="T88" fmla="*/ 821 w 4304"/>
                  <a:gd name="T89" fmla="*/ 3827 h 3828"/>
                  <a:gd name="T90" fmla="*/ 670 w 4304"/>
                  <a:gd name="T91" fmla="*/ 3780 h 3828"/>
                  <a:gd name="T92" fmla="*/ 594 w 4304"/>
                  <a:gd name="T93" fmla="*/ 3669 h 3828"/>
                  <a:gd name="T94" fmla="*/ 554 w 4304"/>
                  <a:gd name="T95" fmla="*/ 3419 h 3828"/>
                  <a:gd name="T96" fmla="*/ 561 w 4304"/>
                  <a:gd name="T97" fmla="*/ 2885 h 3828"/>
                  <a:gd name="T98" fmla="*/ 502 w 4304"/>
                  <a:gd name="T99" fmla="*/ 1741 h 3828"/>
                  <a:gd name="T100" fmla="*/ 297 w 4304"/>
                  <a:gd name="T101" fmla="*/ 1638 h 3828"/>
                  <a:gd name="T102" fmla="*/ 156 w 4304"/>
                  <a:gd name="T103" fmla="*/ 1486 h 3828"/>
                  <a:gd name="T104" fmla="*/ 60 w 4304"/>
                  <a:gd name="T105" fmla="*/ 1284 h 3828"/>
                  <a:gd name="T106" fmla="*/ 1 w 4304"/>
                  <a:gd name="T107" fmla="*/ 852 h 3828"/>
                  <a:gd name="T108" fmla="*/ 73 w 4304"/>
                  <a:gd name="T109" fmla="*/ 557 h 3828"/>
                  <a:gd name="T110" fmla="*/ 203 w 4304"/>
                  <a:gd name="T111" fmla="*/ 388 h 3828"/>
                  <a:gd name="T112" fmla="*/ 310 w 4304"/>
                  <a:gd name="T113" fmla="*/ 337 h 3828"/>
                  <a:gd name="T114" fmla="*/ 341 w 4304"/>
                  <a:gd name="T115" fmla="*/ 444 h 3828"/>
                  <a:gd name="T116" fmla="*/ 412 w 4304"/>
                  <a:gd name="T117" fmla="*/ 755 h 3828"/>
                  <a:gd name="T118" fmla="*/ 614 w 4304"/>
                  <a:gd name="T119" fmla="*/ 1239 h 3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04" h="3828">
                    <a:moveTo>
                      <a:pt x="2500" y="1247"/>
                    </a:moveTo>
                    <a:lnTo>
                      <a:pt x="2500" y="1247"/>
                    </a:lnTo>
                    <a:lnTo>
                      <a:pt x="2499" y="1244"/>
                    </a:lnTo>
                    <a:lnTo>
                      <a:pt x="2497" y="1239"/>
                    </a:lnTo>
                    <a:lnTo>
                      <a:pt x="2497" y="1218"/>
                    </a:lnTo>
                    <a:lnTo>
                      <a:pt x="2499" y="1188"/>
                    </a:lnTo>
                    <a:lnTo>
                      <a:pt x="2502" y="1154"/>
                    </a:lnTo>
                    <a:lnTo>
                      <a:pt x="2513" y="1048"/>
                    </a:lnTo>
                    <a:lnTo>
                      <a:pt x="2513" y="1048"/>
                    </a:lnTo>
                    <a:lnTo>
                      <a:pt x="2523" y="947"/>
                    </a:lnTo>
                    <a:lnTo>
                      <a:pt x="2534" y="846"/>
                    </a:lnTo>
                    <a:lnTo>
                      <a:pt x="2534" y="846"/>
                    </a:lnTo>
                    <a:lnTo>
                      <a:pt x="2547" y="755"/>
                    </a:lnTo>
                    <a:lnTo>
                      <a:pt x="2554" y="710"/>
                    </a:lnTo>
                    <a:lnTo>
                      <a:pt x="2562" y="664"/>
                    </a:lnTo>
                    <a:lnTo>
                      <a:pt x="2571" y="619"/>
                    </a:lnTo>
                    <a:lnTo>
                      <a:pt x="2582" y="575"/>
                    </a:lnTo>
                    <a:lnTo>
                      <a:pt x="2595" y="532"/>
                    </a:lnTo>
                    <a:lnTo>
                      <a:pt x="2610" y="488"/>
                    </a:lnTo>
                    <a:lnTo>
                      <a:pt x="2610" y="488"/>
                    </a:lnTo>
                    <a:lnTo>
                      <a:pt x="2627" y="443"/>
                    </a:lnTo>
                    <a:lnTo>
                      <a:pt x="2637" y="422"/>
                    </a:lnTo>
                    <a:lnTo>
                      <a:pt x="2647" y="399"/>
                    </a:lnTo>
                    <a:lnTo>
                      <a:pt x="2660" y="379"/>
                    </a:lnTo>
                    <a:lnTo>
                      <a:pt x="2672" y="360"/>
                    </a:lnTo>
                    <a:lnTo>
                      <a:pt x="2688" y="341"/>
                    </a:lnTo>
                    <a:lnTo>
                      <a:pt x="2706" y="326"/>
                    </a:lnTo>
                    <a:lnTo>
                      <a:pt x="2706" y="326"/>
                    </a:lnTo>
                    <a:lnTo>
                      <a:pt x="2716" y="319"/>
                    </a:lnTo>
                    <a:lnTo>
                      <a:pt x="2727" y="313"/>
                    </a:lnTo>
                    <a:lnTo>
                      <a:pt x="2739" y="307"/>
                    </a:lnTo>
                    <a:lnTo>
                      <a:pt x="2751" y="303"/>
                    </a:lnTo>
                    <a:lnTo>
                      <a:pt x="2775" y="296"/>
                    </a:lnTo>
                    <a:lnTo>
                      <a:pt x="2801" y="289"/>
                    </a:lnTo>
                    <a:lnTo>
                      <a:pt x="2825" y="281"/>
                    </a:lnTo>
                    <a:lnTo>
                      <a:pt x="2836" y="276"/>
                    </a:lnTo>
                    <a:lnTo>
                      <a:pt x="2847" y="271"/>
                    </a:lnTo>
                    <a:lnTo>
                      <a:pt x="2857" y="265"/>
                    </a:lnTo>
                    <a:lnTo>
                      <a:pt x="2867" y="258"/>
                    </a:lnTo>
                    <a:lnTo>
                      <a:pt x="2877" y="248"/>
                    </a:lnTo>
                    <a:lnTo>
                      <a:pt x="2884" y="238"/>
                    </a:lnTo>
                    <a:lnTo>
                      <a:pt x="2884" y="238"/>
                    </a:lnTo>
                    <a:lnTo>
                      <a:pt x="2901" y="216"/>
                    </a:lnTo>
                    <a:lnTo>
                      <a:pt x="2918" y="194"/>
                    </a:lnTo>
                    <a:lnTo>
                      <a:pt x="2935" y="176"/>
                    </a:lnTo>
                    <a:lnTo>
                      <a:pt x="2953" y="159"/>
                    </a:lnTo>
                    <a:lnTo>
                      <a:pt x="2972" y="144"/>
                    </a:lnTo>
                    <a:lnTo>
                      <a:pt x="2990" y="130"/>
                    </a:lnTo>
                    <a:lnTo>
                      <a:pt x="3010" y="117"/>
                    </a:lnTo>
                    <a:lnTo>
                      <a:pt x="3031" y="106"/>
                    </a:lnTo>
                    <a:lnTo>
                      <a:pt x="3075" y="82"/>
                    </a:lnTo>
                    <a:lnTo>
                      <a:pt x="3123" y="59"/>
                    </a:lnTo>
                    <a:lnTo>
                      <a:pt x="3176" y="34"/>
                    </a:lnTo>
                    <a:lnTo>
                      <a:pt x="3233" y="4"/>
                    </a:lnTo>
                    <a:lnTo>
                      <a:pt x="3233" y="4"/>
                    </a:lnTo>
                    <a:lnTo>
                      <a:pt x="3238" y="3"/>
                    </a:lnTo>
                    <a:lnTo>
                      <a:pt x="3244" y="1"/>
                    </a:lnTo>
                    <a:lnTo>
                      <a:pt x="3260" y="0"/>
                    </a:lnTo>
                    <a:lnTo>
                      <a:pt x="3278" y="0"/>
                    </a:lnTo>
                    <a:lnTo>
                      <a:pt x="3296" y="1"/>
                    </a:lnTo>
                    <a:lnTo>
                      <a:pt x="3315" y="5"/>
                    </a:lnTo>
                    <a:lnTo>
                      <a:pt x="3331" y="8"/>
                    </a:lnTo>
                    <a:lnTo>
                      <a:pt x="3343" y="14"/>
                    </a:lnTo>
                    <a:lnTo>
                      <a:pt x="3347" y="15"/>
                    </a:lnTo>
                    <a:lnTo>
                      <a:pt x="3350" y="18"/>
                    </a:lnTo>
                    <a:lnTo>
                      <a:pt x="3350" y="18"/>
                    </a:lnTo>
                    <a:lnTo>
                      <a:pt x="3357" y="36"/>
                    </a:lnTo>
                    <a:lnTo>
                      <a:pt x="3363" y="56"/>
                    </a:lnTo>
                    <a:lnTo>
                      <a:pt x="3365" y="75"/>
                    </a:lnTo>
                    <a:lnTo>
                      <a:pt x="3367" y="94"/>
                    </a:lnTo>
                    <a:lnTo>
                      <a:pt x="3367" y="113"/>
                    </a:lnTo>
                    <a:lnTo>
                      <a:pt x="3364" y="131"/>
                    </a:lnTo>
                    <a:lnTo>
                      <a:pt x="3361" y="148"/>
                    </a:lnTo>
                    <a:lnTo>
                      <a:pt x="3358" y="165"/>
                    </a:lnTo>
                    <a:lnTo>
                      <a:pt x="3348" y="193"/>
                    </a:lnTo>
                    <a:lnTo>
                      <a:pt x="3340" y="216"/>
                    </a:lnTo>
                    <a:lnTo>
                      <a:pt x="3330" y="237"/>
                    </a:lnTo>
                    <a:lnTo>
                      <a:pt x="3330" y="237"/>
                    </a:lnTo>
                    <a:lnTo>
                      <a:pt x="3351" y="240"/>
                    </a:lnTo>
                    <a:lnTo>
                      <a:pt x="3374" y="245"/>
                    </a:lnTo>
                    <a:lnTo>
                      <a:pt x="3403" y="252"/>
                    </a:lnTo>
                    <a:lnTo>
                      <a:pt x="3436" y="261"/>
                    </a:lnTo>
                    <a:lnTo>
                      <a:pt x="3471" y="274"/>
                    </a:lnTo>
                    <a:lnTo>
                      <a:pt x="3508" y="288"/>
                    </a:lnTo>
                    <a:lnTo>
                      <a:pt x="3525" y="296"/>
                    </a:lnTo>
                    <a:lnTo>
                      <a:pt x="3542" y="305"/>
                    </a:lnTo>
                    <a:lnTo>
                      <a:pt x="3542" y="305"/>
                    </a:lnTo>
                    <a:lnTo>
                      <a:pt x="3561" y="316"/>
                    </a:lnTo>
                    <a:lnTo>
                      <a:pt x="3580" y="327"/>
                    </a:lnTo>
                    <a:lnTo>
                      <a:pt x="3597" y="340"/>
                    </a:lnTo>
                    <a:lnTo>
                      <a:pt x="3612" y="353"/>
                    </a:lnTo>
                    <a:lnTo>
                      <a:pt x="3626" y="364"/>
                    </a:lnTo>
                    <a:lnTo>
                      <a:pt x="3639" y="378"/>
                    </a:lnTo>
                    <a:lnTo>
                      <a:pt x="3652" y="391"/>
                    </a:lnTo>
                    <a:lnTo>
                      <a:pt x="3662" y="403"/>
                    </a:lnTo>
                    <a:lnTo>
                      <a:pt x="3681" y="430"/>
                    </a:lnTo>
                    <a:lnTo>
                      <a:pt x="3698" y="457"/>
                    </a:lnTo>
                    <a:lnTo>
                      <a:pt x="3712" y="484"/>
                    </a:lnTo>
                    <a:lnTo>
                      <a:pt x="3724" y="509"/>
                    </a:lnTo>
                    <a:lnTo>
                      <a:pt x="3744" y="560"/>
                    </a:lnTo>
                    <a:lnTo>
                      <a:pt x="3753" y="584"/>
                    </a:lnTo>
                    <a:lnTo>
                      <a:pt x="3762" y="605"/>
                    </a:lnTo>
                    <a:lnTo>
                      <a:pt x="3772" y="625"/>
                    </a:lnTo>
                    <a:lnTo>
                      <a:pt x="3784" y="643"/>
                    </a:lnTo>
                    <a:lnTo>
                      <a:pt x="3790" y="652"/>
                    </a:lnTo>
                    <a:lnTo>
                      <a:pt x="3797" y="659"/>
                    </a:lnTo>
                    <a:lnTo>
                      <a:pt x="3806" y="666"/>
                    </a:lnTo>
                    <a:lnTo>
                      <a:pt x="3813" y="671"/>
                    </a:lnTo>
                    <a:lnTo>
                      <a:pt x="3900" y="711"/>
                    </a:lnTo>
                    <a:lnTo>
                      <a:pt x="3900" y="711"/>
                    </a:lnTo>
                    <a:lnTo>
                      <a:pt x="3958" y="711"/>
                    </a:lnTo>
                    <a:lnTo>
                      <a:pt x="4061" y="711"/>
                    </a:lnTo>
                    <a:lnTo>
                      <a:pt x="4115" y="712"/>
                    </a:lnTo>
                    <a:lnTo>
                      <a:pt x="4161" y="714"/>
                    </a:lnTo>
                    <a:lnTo>
                      <a:pt x="4180" y="717"/>
                    </a:lnTo>
                    <a:lnTo>
                      <a:pt x="4195" y="718"/>
                    </a:lnTo>
                    <a:lnTo>
                      <a:pt x="4205" y="721"/>
                    </a:lnTo>
                    <a:lnTo>
                      <a:pt x="4208" y="722"/>
                    </a:lnTo>
                    <a:lnTo>
                      <a:pt x="4209" y="725"/>
                    </a:lnTo>
                    <a:lnTo>
                      <a:pt x="4209" y="725"/>
                    </a:lnTo>
                    <a:lnTo>
                      <a:pt x="4213" y="729"/>
                    </a:lnTo>
                    <a:lnTo>
                      <a:pt x="4225" y="745"/>
                    </a:lnTo>
                    <a:lnTo>
                      <a:pt x="4242" y="767"/>
                    </a:lnTo>
                    <a:lnTo>
                      <a:pt x="4260" y="798"/>
                    </a:lnTo>
                    <a:lnTo>
                      <a:pt x="4269" y="815"/>
                    </a:lnTo>
                    <a:lnTo>
                      <a:pt x="4278" y="835"/>
                    </a:lnTo>
                    <a:lnTo>
                      <a:pt x="4285" y="855"/>
                    </a:lnTo>
                    <a:lnTo>
                      <a:pt x="4292" y="877"/>
                    </a:lnTo>
                    <a:lnTo>
                      <a:pt x="4298" y="900"/>
                    </a:lnTo>
                    <a:lnTo>
                      <a:pt x="4302" y="924"/>
                    </a:lnTo>
                    <a:lnTo>
                      <a:pt x="4304" y="948"/>
                    </a:lnTo>
                    <a:lnTo>
                      <a:pt x="4304" y="973"/>
                    </a:lnTo>
                    <a:lnTo>
                      <a:pt x="4300" y="999"/>
                    </a:lnTo>
                    <a:lnTo>
                      <a:pt x="4294" y="1026"/>
                    </a:lnTo>
                    <a:lnTo>
                      <a:pt x="4284" y="1052"/>
                    </a:lnTo>
                    <a:lnTo>
                      <a:pt x="4278" y="1065"/>
                    </a:lnTo>
                    <a:lnTo>
                      <a:pt x="4271" y="1078"/>
                    </a:lnTo>
                    <a:lnTo>
                      <a:pt x="4263" y="1092"/>
                    </a:lnTo>
                    <a:lnTo>
                      <a:pt x="4254" y="1105"/>
                    </a:lnTo>
                    <a:lnTo>
                      <a:pt x="4243" y="1119"/>
                    </a:lnTo>
                    <a:lnTo>
                      <a:pt x="4232" y="1131"/>
                    </a:lnTo>
                    <a:lnTo>
                      <a:pt x="4221" y="1144"/>
                    </a:lnTo>
                    <a:lnTo>
                      <a:pt x="4206" y="1158"/>
                    </a:lnTo>
                    <a:lnTo>
                      <a:pt x="4191" y="1171"/>
                    </a:lnTo>
                    <a:lnTo>
                      <a:pt x="4175" y="1184"/>
                    </a:lnTo>
                    <a:lnTo>
                      <a:pt x="4158" y="1196"/>
                    </a:lnTo>
                    <a:lnTo>
                      <a:pt x="4139" y="1209"/>
                    </a:lnTo>
                    <a:lnTo>
                      <a:pt x="4119" y="1222"/>
                    </a:lnTo>
                    <a:lnTo>
                      <a:pt x="4098" y="1234"/>
                    </a:lnTo>
                    <a:lnTo>
                      <a:pt x="4074" y="1247"/>
                    </a:lnTo>
                    <a:lnTo>
                      <a:pt x="4050" y="1258"/>
                    </a:lnTo>
                    <a:lnTo>
                      <a:pt x="4023" y="1270"/>
                    </a:lnTo>
                    <a:lnTo>
                      <a:pt x="3996" y="1281"/>
                    </a:lnTo>
                    <a:lnTo>
                      <a:pt x="3935" y="1304"/>
                    </a:lnTo>
                    <a:lnTo>
                      <a:pt x="3868" y="1325"/>
                    </a:lnTo>
                    <a:lnTo>
                      <a:pt x="3794" y="1345"/>
                    </a:lnTo>
                    <a:lnTo>
                      <a:pt x="3712" y="1363"/>
                    </a:lnTo>
                    <a:lnTo>
                      <a:pt x="3557" y="1400"/>
                    </a:lnTo>
                    <a:lnTo>
                      <a:pt x="3350" y="1582"/>
                    </a:lnTo>
                    <a:lnTo>
                      <a:pt x="3283" y="1776"/>
                    </a:lnTo>
                    <a:lnTo>
                      <a:pt x="3283" y="1776"/>
                    </a:lnTo>
                    <a:lnTo>
                      <a:pt x="3285" y="1991"/>
                    </a:lnTo>
                    <a:lnTo>
                      <a:pt x="3288" y="2485"/>
                    </a:lnTo>
                    <a:lnTo>
                      <a:pt x="3289" y="2767"/>
                    </a:lnTo>
                    <a:lnTo>
                      <a:pt x="3289" y="3032"/>
                    </a:lnTo>
                    <a:lnTo>
                      <a:pt x="3288" y="3257"/>
                    </a:lnTo>
                    <a:lnTo>
                      <a:pt x="3286" y="3344"/>
                    </a:lnTo>
                    <a:lnTo>
                      <a:pt x="3285" y="3410"/>
                    </a:lnTo>
                    <a:lnTo>
                      <a:pt x="3285" y="3410"/>
                    </a:lnTo>
                    <a:lnTo>
                      <a:pt x="3283" y="3457"/>
                    </a:lnTo>
                    <a:lnTo>
                      <a:pt x="3279" y="3502"/>
                    </a:lnTo>
                    <a:lnTo>
                      <a:pt x="3274" y="3544"/>
                    </a:lnTo>
                    <a:lnTo>
                      <a:pt x="3267" y="3585"/>
                    </a:lnTo>
                    <a:lnTo>
                      <a:pt x="3258" y="3623"/>
                    </a:lnTo>
                    <a:lnTo>
                      <a:pt x="3247" y="3660"/>
                    </a:lnTo>
                    <a:lnTo>
                      <a:pt x="3240" y="3677"/>
                    </a:lnTo>
                    <a:lnTo>
                      <a:pt x="3233" y="3693"/>
                    </a:lnTo>
                    <a:lnTo>
                      <a:pt x="3224" y="3708"/>
                    </a:lnTo>
                    <a:lnTo>
                      <a:pt x="3216" y="3722"/>
                    </a:lnTo>
                    <a:lnTo>
                      <a:pt x="3206" y="3736"/>
                    </a:lnTo>
                    <a:lnTo>
                      <a:pt x="3196" y="3749"/>
                    </a:lnTo>
                    <a:lnTo>
                      <a:pt x="3185" y="3762"/>
                    </a:lnTo>
                    <a:lnTo>
                      <a:pt x="3173" y="3773"/>
                    </a:lnTo>
                    <a:lnTo>
                      <a:pt x="3161" y="3783"/>
                    </a:lnTo>
                    <a:lnTo>
                      <a:pt x="3147" y="3791"/>
                    </a:lnTo>
                    <a:lnTo>
                      <a:pt x="3133" y="3800"/>
                    </a:lnTo>
                    <a:lnTo>
                      <a:pt x="3117" y="3807"/>
                    </a:lnTo>
                    <a:lnTo>
                      <a:pt x="3101" y="3814"/>
                    </a:lnTo>
                    <a:lnTo>
                      <a:pt x="3083" y="3818"/>
                    </a:lnTo>
                    <a:lnTo>
                      <a:pt x="3065" y="3822"/>
                    </a:lnTo>
                    <a:lnTo>
                      <a:pt x="3046" y="3825"/>
                    </a:lnTo>
                    <a:lnTo>
                      <a:pt x="3025" y="3827"/>
                    </a:lnTo>
                    <a:lnTo>
                      <a:pt x="3004" y="3827"/>
                    </a:lnTo>
                    <a:lnTo>
                      <a:pt x="2982" y="3825"/>
                    </a:lnTo>
                    <a:lnTo>
                      <a:pt x="2958" y="3824"/>
                    </a:lnTo>
                    <a:lnTo>
                      <a:pt x="2958" y="3824"/>
                    </a:lnTo>
                    <a:lnTo>
                      <a:pt x="2938" y="3821"/>
                    </a:lnTo>
                    <a:lnTo>
                      <a:pt x="2921" y="3817"/>
                    </a:lnTo>
                    <a:lnTo>
                      <a:pt x="2904" y="3812"/>
                    </a:lnTo>
                    <a:lnTo>
                      <a:pt x="2887" y="3807"/>
                    </a:lnTo>
                    <a:lnTo>
                      <a:pt x="2871" y="3801"/>
                    </a:lnTo>
                    <a:lnTo>
                      <a:pt x="2857" y="3794"/>
                    </a:lnTo>
                    <a:lnTo>
                      <a:pt x="2845" y="3786"/>
                    </a:lnTo>
                    <a:lnTo>
                      <a:pt x="2832" y="3776"/>
                    </a:lnTo>
                    <a:lnTo>
                      <a:pt x="2819" y="3766"/>
                    </a:lnTo>
                    <a:lnTo>
                      <a:pt x="2808" y="3756"/>
                    </a:lnTo>
                    <a:lnTo>
                      <a:pt x="2798" y="3745"/>
                    </a:lnTo>
                    <a:lnTo>
                      <a:pt x="2788" y="3732"/>
                    </a:lnTo>
                    <a:lnTo>
                      <a:pt x="2778" y="3719"/>
                    </a:lnTo>
                    <a:lnTo>
                      <a:pt x="2771" y="3705"/>
                    </a:lnTo>
                    <a:lnTo>
                      <a:pt x="2763" y="3691"/>
                    </a:lnTo>
                    <a:lnTo>
                      <a:pt x="2756" y="3677"/>
                    </a:lnTo>
                    <a:lnTo>
                      <a:pt x="2743" y="3645"/>
                    </a:lnTo>
                    <a:lnTo>
                      <a:pt x="2733" y="3611"/>
                    </a:lnTo>
                    <a:lnTo>
                      <a:pt x="2725" y="3574"/>
                    </a:lnTo>
                    <a:lnTo>
                      <a:pt x="2719" y="3536"/>
                    </a:lnTo>
                    <a:lnTo>
                      <a:pt x="2713" y="3496"/>
                    </a:lnTo>
                    <a:lnTo>
                      <a:pt x="2711" y="3454"/>
                    </a:lnTo>
                    <a:lnTo>
                      <a:pt x="2709" y="3410"/>
                    </a:lnTo>
                    <a:lnTo>
                      <a:pt x="2708" y="3367"/>
                    </a:lnTo>
                    <a:lnTo>
                      <a:pt x="2708" y="3367"/>
                    </a:lnTo>
                    <a:lnTo>
                      <a:pt x="2709" y="3163"/>
                    </a:lnTo>
                    <a:lnTo>
                      <a:pt x="2713" y="2935"/>
                    </a:lnTo>
                    <a:lnTo>
                      <a:pt x="2718" y="2670"/>
                    </a:lnTo>
                    <a:lnTo>
                      <a:pt x="1716" y="2648"/>
                    </a:lnTo>
                    <a:lnTo>
                      <a:pt x="1716" y="2648"/>
                    </a:lnTo>
                    <a:lnTo>
                      <a:pt x="1738" y="2691"/>
                    </a:lnTo>
                    <a:lnTo>
                      <a:pt x="1796" y="2799"/>
                    </a:lnTo>
                    <a:lnTo>
                      <a:pt x="1874" y="2940"/>
                    </a:lnTo>
                    <a:lnTo>
                      <a:pt x="1915" y="3014"/>
                    </a:lnTo>
                    <a:lnTo>
                      <a:pt x="1956" y="3083"/>
                    </a:lnTo>
                    <a:lnTo>
                      <a:pt x="1956" y="3083"/>
                    </a:lnTo>
                    <a:lnTo>
                      <a:pt x="1992" y="3142"/>
                    </a:lnTo>
                    <a:lnTo>
                      <a:pt x="2032" y="3203"/>
                    </a:lnTo>
                    <a:lnTo>
                      <a:pt x="2070" y="3264"/>
                    </a:lnTo>
                    <a:lnTo>
                      <a:pt x="2090" y="3295"/>
                    </a:lnTo>
                    <a:lnTo>
                      <a:pt x="2107" y="3327"/>
                    </a:lnTo>
                    <a:lnTo>
                      <a:pt x="2124" y="3358"/>
                    </a:lnTo>
                    <a:lnTo>
                      <a:pt x="2138" y="3389"/>
                    </a:lnTo>
                    <a:lnTo>
                      <a:pt x="2150" y="3422"/>
                    </a:lnTo>
                    <a:lnTo>
                      <a:pt x="2162" y="3454"/>
                    </a:lnTo>
                    <a:lnTo>
                      <a:pt x="2169" y="3487"/>
                    </a:lnTo>
                    <a:lnTo>
                      <a:pt x="2174" y="3519"/>
                    </a:lnTo>
                    <a:lnTo>
                      <a:pt x="2174" y="3534"/>
                    </a:lnTo>
                    <a:lnTo>
                      <a:pt x="2176" y="3551"/>
                    </a:lnTo>
                    <a:lnTo>
                      <a:pt x="2174" y="3568"/>
                    </a:lnTo>
                    <a:lnTo>
                      <a:pt x="2173" y="3584"/>
                    </a:lnTo>
                    <a:lnTo>
                      <a:pt x="2173" y="3584"/>
                    </a:lnTo>
                    <a:lnTo>
                      <a:pt x="2169" y="3614"/>
                    </a:lnTo>
                    <a:lnTo>
                      <a:pt x="2162" y="3640"/>
                    </a:lnTo>
                    <a:lnTo>
                      <a:pt x="2153" y="3666"/>
                    </a:lnTo>
                    <a:lnTo>
                      <a:pt x="2142" y="3690"/>
                    </a:lnTo>
                    <a:lnTo>
                      <a:pt x="2129" y="3711"/>
                    </a:lnTo>
                    <a:lnTo>
                      <a:pt x="2114" y="3731"/>
                    </a:lnTo>
                    <a:lnTo>
                      <a:pt x="2097" y="3749"/>
                    </a:lnTo>
                    <a:lnTo>
                      <a:pt x="2078" y="3766"/>
                    </a:lnTo>
                    <a:lnTo>
                      <a:pt x="2059" y="3781"/>
                    </a:lnTo>
                    <a:lnTo>
                      <a:pt x="2036" y="3793"/>
                    </a:lnTo>
                    <a:lnTo>
                      <a:pt x="2012" y="3804"/>
                    </a:lnTo>
                    <a:lnTo>
                      <a:pt x="1987" y="3812"/>
                    </a:lnTo>
                    <a:lnTo>
                      <a:pt x="1960" y="3818"/>
                    </a:lnTo>
                    <a:lnTo>
                      <a:pt x="1930" y="3822"/>
                    </a:lnTo>
                    <a:lnTo>
                      <a:pt x="1901" y="3824"/>
                    </a:lnTo>
                    <a:lnTo>
                      <a:pt x="1868" y="3824"/>
                    </a:lnTo>
                    <a:lnTo>
                      <a:pt x="1868" y="3824"/>
                    </a:lnTo>
                    <a:lnTo>
                      <a:pt x="1848" y="3821"/>
                    </a:lnTo>
                    <a:lnTo>
                      <a:pt x="1827" y="3817"/>
                    </a:lnTo>
                    <a:lnTo>
                      <a:pt x="1807" y="3810"/>
                    </a:lnTo>
                    <a:lnTo>
                      <a:pt x="1788" y="3801"/>
                    </a:lnTo>
                    <a:lnTo>
                      <a:pt x="1768" y="3790"/>
                    </a:lnTo>
                    <a:lnTo>
                      <a:pt x="1748" y="3777"/>
                    </a:lnTo>
                    <a:lnTo>
                      <a:pt x="1730" y="3763"/>
                    </a:lnTo>
                    <a:lnTo>
                      <a:pt x="1711" y="3748"/>
                    </a:lnTo>
                    <a:lnTo>
                      <a:pt x="1693" y="3731"/>
                    </a:lnTo>
                    <a:lnTo>
                      <a:pt x="1675" y="3712"/>
                    </a:lnTo>
                    <a:lnTo>
                      <a:pt x="1658" y="3694"/>
                    </a:lnTo>
                    <a:lnTo>
                      <a:pt x="1641" y="3674"/>
                    </a:lnTo>
                    <a:lnTo>
                      <a:pt x="1608" y="3633"/>
                    </a:lnTo>
                    <a:lnTo>
                      <a:pt x="1579" y="3591"/>
                    </a:lnTo>
                    <a:lnTo>
                      <a:pt x="1552" y="3549"/>
                    </a:lnTo>
                    <a:lnTo>
                      <a:pt x="1528" y="3508"/>
                    </a:lnTo>
                    <a:lnTo>
                      <a:pt x="1507" y="3470"/>
                    </a:lnTo>
                    <a:lnTo>
                      <a:pt x="1488" y="3436"/>
                    </a:lnTo>
                    <a:lnTo>
                      <a:pt x="1463" y="3386"/>
                    </a:lnTo>
                    <a:lnTo>
                      <a:pt x="1455" y="3367"/>
                    </a:lnTo>
                    <a:lnTo>
                      <a:pt x="1129" y="2844"/>
                    </a:lnTo>
                    <a:lnTo>
                      <a:pt x="1129" y="2844"/>
                    </a:lnTo>
                    <a:lnTo>
                      <a:pt x="1120" y="3055"/>
                    </a:lnTo>
                    <a:lnTo>
                      <a:pt x="1116" y="3238"/>
                    </a:lnTo>
                    <a:lnTo>
                      <a:pt x="1115" y="3327"/>
                    </a:lnTo>
                    <a:lnTo>
                      <a:pt x="1115" y="3403"/>
                    </a:lnTo>
                    <a:lnTo>
                      <a:pt x="1115" y="3403"/>
                    </a:lnTo>
                    <a:lnTo>
                      <a:pt x="1115" y="3463"/>
                    </a:lnTo>
                    <a:lnTo>
                      <a:pt x="1113" y="3520"/>
                    </a:lnTo>
                    <a:lnTo>
                      <a:pt x="1110" y="3575"/>
                    </a:lnTo>
                    <a:lnTo>
                      <a:pt x="1107" y="3602"/>
                    </a:lnTo>
                    <a:lnTo>
                      <a:pt x="1103" y="3628"/>
                    </a:lnTo>
                    <a:lnTo>
                      <a:pt x="1099" y="3652"/>
                    </a:lnTo>
                    <a:lnTo>
                      <a:pt x="1092" y="3674"/>
                    </a:lnTo>
                    <a:lnTo>
                      <a:pt x="1085" y="3697"/>
                    </a:lnTo>
                    <a:lnTo>
                      <a:pt x="1075" y="3717"/>
                    </a:lnTo>
                    <a:lnTo>
                      <a:pt x="1064" y="3735"/>
                    </a:lnTo>
                    <a:lnTo>
                      <a:pt x="1051" y="3752"/>
                    </a:lnTo>
                    <a:lnTo>
                      <a:pt x="1035" y="3767"/>
                    </a:lnTo>
                    <a:lnTo>
                      <a:pt x="1019" y="3780"/>
                    </a:lnTo>
                    <a:lnTo>
                      <a:pt x="1019" y="3780"/>
                    </a:lnTo>
                    <a:lnTo>
                      <a:pt x="1000" y="3791"/>
                    </a:lnTo>
                    <a:lnTo>
                      <a:pt x="980" y="3801"/>
                    </a:lnTo>
                    <a:lnTo>
                      <a:pt x="959" y="3810"/>
                    </a:lnTo>
                    <a:lnTo>
                      <a:pt x="938" y="3815"/>
                    </a:lnTo>
                    <a:lnTo>
                      <a:pt x="914" y="3821"/>
                    </a:lnTo>
                    <a:lnTo>
                      <a:pt x="892" y="3824"/>
                    </a:lnTo>
                    <a:lnTo>
                      <a:pt x="868" y="3827"/>
                    </a:lnTo>
                    <a:lnTo>
                      <a:pt x="844" y="3828"/>
                    </a:lnTo>
                    <a:lnTo>
                      <a:pt x="821" y="3827"/>
                    </a:lnTo>
                    <a:lnTo>
                      <a:pt x="797" y="3824"/>
                    </a:lnTo>
                    <a:lnTo>
                      <a:pt x="774" y="3821"/>
                    </a:lnTo>
                    <a:lnTo>
                      <a:pt x="752" y="3815"/>
                    </a:lnTo>
                    <a:lnTo>
                      <a:pt x="729" y="3808"/>
                    </a:lnTo>
                    <a:lnTo>
                      <a:pt x="708" y="3801"/>
                    </a:lnTo>
                    <a:lnTo>
                      <a:pt x="688" y="3791"/>
                    </a:lnTo>
                    <a:lnTo>
                      <a:pt x="670" y="3780"/>
                    </a:lnTo>
                    <a:lnTo>
                      <a:pt x="670" y="3780"/>
                    </a:lnTo>
                    <a:lnTo>
                      <a:pt x="654" y="3767"/>
                    </a:lnTo>
                    <a:lnTo>
                      <a:pt x="639" y="3752"/>
                    </a:lnTo>
                    <a:lnTo>
                      <a:pt x="626" y="3735"/>
                    </a:lnTo>
                    <a:lnTo>
                      <a:pt x="614" y="3715"/>
                    </a:lnTo>
                    <a:lnTo>
                      <a:pt x="604" y="3693"/>
                    </a:lnTo>
                    <a:lnTo>
                      <a:pt x="594" y="3669"/>
                    </a:lnTo>
                    <a:lnTo>
                      <a:pt x="585" y="3643"/>
                    </a:lnTo>
                    <a:lnTo>
                      <a:pt x="578" y="3615"/>
                    </a:lnTo>
                    <a:lnTo>
                      <a:pt x="571" y="3587"/>
                    </a:lnTo>
                    <a:lnTo>
                      <a:pt x="567" y="3556"/>
                    </a:lnTo>
                    <a:lnTo>
                      <a:pt x="563" y="3523"/>
                    </a:lnTo>
                    <a:lnTo>
                      <a:pt x="559" y="3489"/>
                    </a:lnTo>
                    <a:lnTo>
                      <a:pt x="554" y="3419"/>
                    </a:lnTo>
                    <a:lnTo>
                      <a:pt x="551" y="3344"/>
                    </a:lnTo>
                    <a:lnTo>
                      <a:pt x="551" y="3344"/>
                    </a:lnTo>
                    <a:lnTo>
                      <a:pt x="551" y="3281"/>
                    </a:lnTo>
                    <a:lnTo>
                      <a:pt x="553" y="3216"/>
                    </a:lnTo>
                    <a:lnTo>
                      <a:pt x="556" y="3083"/>
                    </a:lnTo>
                    <a:lnTo>
                      <a:pt x="560" y="2950"/>
                    </a:lnTo>
                    <a:lnTo>
                      <a:pt x="561" y="2885"/>
                    </a:lnTo>
                    <a:lnTo>
                      <a:pt x="561" y="2822"/>
                    </a:lnTo>
                    <a:lnTo>
                      <a:pt x="561" y="2822"/>
                    </a:lnTo>
                    <a:lnTo>
                      <a:pt x="561" y="1755"/>
                    </a:lnTo>
                    <a:lnTo>
                      <a:pt x="561" y="1755"/>
                    </a:lnTo>
                    <a:lnTo>
                      <a:pt x="546" y="1752"/>
                    </a:lnTo>
                    <a:lnTo>
                      <a:pt x="527" y="1748"/>
                    </a:lnTo>
                    <a:lnTo>
                      <a:pt x="502" y="1741"/>
                    </a:lnTo>
                    <a:lnTo>
                      <a:pt x="472" y="1733"/>
                    </a:lnTo>
                    <a:lnTo>
                      <a:pt x="437" y="1718"/>
                    </a:lnTo>
                    <a:lnTo>
                      <a:pt x="400" y="1702"/>
                    </a:lnTo>
                    <a:lnTo>
                      <a:pt x="361" y="1680"/>
                    </a:lnTo>
                    <a:lnTo>
                      <a:pt x="340" y="1668"/>
                    </a:lnTo>
                    <a:lnTo>
                      <a:pt x="319" y="1654"/>
                    </a:lnTo>
                    <a:lnTo>
                      <a:pt x="297" y="1638"/>
                    </a:lnTo>
                    <a:lnTo>
                      <a:pt x="276" y="1621"/>
                    </a:lnTo>
                    <a:lnTo>
                      <a:pt x="257" y="1603"/>
                    </a:lnTo>
                    <a:lnTo>
                      <a:pt x="235" y="1583"/>
                    </a:lnTo>
                    <a:lnTo>
                      <a:pt x="214" y="1560"/>
                    </a:lnTo>
                    <a:lnTo>
                      <a:pt x="194" y="1538"/>
                    </a:lnTo>
                    <a:lnTo>
                      <a:pt x="175" y="1512"/>
                    </a:lnTo>
                    <a:lnTo>
                      <a:pt x="156" y="1486"/>
                    </a:lnTo>
                    <a:lnTo>
                      <a:pt x="138" y="1457"/>
                    </a:lnTo>
                    <a:lnTo>
                      <a:pt x="120" y="1426"/>
                    </a:lnTo>
                    <a:lnTo>
                      <a:pt x="104" y="1394"/>
                    </a:lnTo>
                    <a:lnTo>
                      <a:pt x="89" y="1359"/>
                    </a:lnTo>
                    <a:lnTo>
                      <a:pt x="74" y="1322"/>
                    </a:lnTo>
                    <a:lnTo>
                      <a:pt x="60" y="1284"/>
                    </a:lnTo>
                    <a:lnTo>
                      <a:pt x="60" y="1284"/>
                    </a:lnTo>
                    <a:lnTo>
                      <a:pt x="41" y="1213"/>
                    </a:lnTo>
                    <a:lnTo>
                      <a:pt x="25" y="1146"/>
                    </a:lnTo>
                    <a:lnTo>
                      <a:pt x="14" y="1082"/>
                    </a:lnTo>
                    <a:lnTo>
                      <a:pt x="5" y="1020"/>
                    </a:lnTo>
                    <a:lnTo>
                      <a:pt x="1" y="962"/>
                    </a:lnTo>
                    <a:lnTo>
                      <a:pt x="0" y="906"/>
                    </a:lnTo>
                    <a:lnTo>
                      <a:pt x="1" y="852"/>
                    </a:lnTo>
                    <a:lnTo>
                      <a:pt x="4" y="803"/>
                    </a:lnTo>
                    <a:lnTo>
                      <a:pt x="11" y="755"/>
                    </a:lnTo>
                    <a:lnTo>
                      <a:pt x="19" y="710"/>
                    </a:lnTo>
                    <a:lnTo>
                      <a:pt x="31" y="667"/>
                    </a:lnTo>
                    <a:lnTo>
                      <a:pt x="43" y="628"/>
                    </a:lnTo>
                    <a:lnTo>
                      <a:pt x="58" y="591"/>
                    </a:lnTo>
                    <a:lnTo>
                      <a:pt x="73" y="557"/>
                    </a:lnTo>
                    <a:lnTo>
                      <a:pt x="90" y="525"/>
                    </a:lnTo>
                    <a:lnTo>
                      <a:pt x="108" y="496"/>
                    </a:lnTo>
                    <a:lnTo>
                      <a:pt x="127" y="470"/>
                    </a:lnTo>
                    <a:lnTo>
                      <a:pt x="145" y="446"/>
                    </a:lnTo>
                    <a:lnTo>
                      <a:pt x="165" y="423"/>
                    </a:lnTo>
                    <a:lnTo>
                      <a:pt x="183" y="405"/>
                    </a:lnTo>
                    <a:lnTo>
                      <a:pt x="203" y="388"/>
                    </a:lnTo>
                    <a:lnTo>
                      <a:pt x="221" y="374"/>
                    </a:lnTo>
                    <a:lnTo>
                      <a:pt x="238" y="361"/>
                    </a:lnTo>
                    <a:lnTo>
                      <a:pt x="257" y="351"/>
                    </a:lnTo>
                    <a:lnTo>
                      <a:pt x="272" y="344"/>
                    </a:lnTo>
                    <a:lnTo>
                      <a:pt x="286" y="340"/>
                    </a:lnTo>
                    <a:lnTo>
                      <a:pt x="299" y="337"/>
                    </a:lnTo>
                    <a:lnTo>
                      <a:pt x="310" y="337"/>
                    </a:lnTo>
                    <a:lnTo>
                      <a:pt x="320" y="338"/>
                    </a:lnTo>
                    <a:lnTo>
                      <a:pt x="327" y="343"/>
                    </a:lnTo>
                    <a:lnTo>
                      <a:pt x="331" y="348"/>
                    </a:lnTo>
                    <a:lnTo>
                      <a:pt x="333" y="357"/>
                    </a:lnTo>
                    <a:lnTo>
                      <a:pt x="333" y="357"/>
                    </a:lnTo>
                    <a:lnTo>
                      <a:pt x="336" y="401"/>
                    </a:lnTo>
                    <a:lnTo>
                      <a:pt x="341" y="444"/>
                    </a:lnTo>
                    <a:lnTo>
                      <a:pt x="347" y="488"/>
                    </a:lnTo>
                    <a:lnTo>
                      <a:pt x="355" y="532"/>
                    </a:lnTo>
                    <a:lnTo>
                      <a:pt x="364" y="577"/>
                    </a:lnTo>
                    <a:lnTo>
                      <a:pt x="375" y="622"/>
                    </a:lnTo>
                    <a:lnTo>
                      <a:pt x="386" y="666"/>
                    </a:lnTo>
                    <a:lnTo>
                      <a:pt x="399" y="711"/>
                    </a:lnTo>
                    <a:lnTo>
                      <a:pt x="412" y="755"/>
                    </a:lnTo>
                    <a:lnTo>
                      <a:pt x="426" y="798"/>
                    </a:lnTo>
                    <a:lnTo>
                      <a:pt x="457" y="883"/>
                    </a:lnTo>
                    <a:lnTo>
                      <a:pt x="488" y="965"/>
                    </a:lnTo>
                    <a:lnTo>
                      <a:pt x="520" y="1043"/>
                    </a:lnTo>
                    <a:lnTo>
                      <a:pt x="553" y="1115"/>
                    </a:lnTo>
                    <a:lnTo>
                      <a:pt x="584" y="1181"/>
                    </a:lnTo>
                    <a:lnTo>
                      <a:pt x="614" y="1239"/>
                    </a:lnTo>
                    <a:lnTo>
                      <a:pt x="639" y="1288"/>
                    </a:lnTo>
                    <a:lnTo>
                      <a:pt x="678" y="1360"/>
                    </a:lnTo>
                    <a:lnTo>
                      <a:pt x="693" y="1385"/>
                    </a:lnTo>
                    <a:lnTo>
                      <a:pt x="2392" y="1385"/>
                    </a:lnTo>
                    <a:lnTo>
                      <a:pt x="2500" y="124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60" name="Freeform 1182"/>
              <p:cNvSpPr>
                <a:spLocks/>
              </p:cNvSpPr>
              <p:nvPr/>
            </p:nvSpPr>
            <p:spPr bwMode="auto">
              <a:xfrm>
                <a:off x="6671479" y="7935912"/>
                <a:ext cx="2201863" cy="1154113"/>
              </a:xfrm>
              <a:custGeom>
                <a:avLst/>
                <a:gdLst>
                  <a:gd name="T0" fmla="*/ 559 w 2773"/>
                  <a:gd name="T1" fmla="*/ 1454 h 1454"/>
                  <a:gd name="T2" fmla="*/ 559 w 2773"/>
                  <a:gd name="T3" fmla="*/ 1454 h 1454"/>
                  <a:gd name="T4" fmla="*/ 533 w 2773"/>
                  <a:gd name="T5" fmla="*/ 1436 h 1454"/>
                  <a:gd name="T6" fmla="*/ 509 w 2773"/>
                  <a:gd name="T7" fmla="*/ 1416 h 1454"/>
                  <a:gd name="T8" fmla="*/ 485 w 2773"/>
                  <a:gd name="T9" fmla="*/ 1395 h 1454"/>
                  <a:gd name="T10" fmla="*/ 463 w 2773"/>
                  <a:gd name="T11" fmla="*/ 1370 h 1454"/>
                  <a:gd name="T12" fmla="*/ 442 w 2773"/>
                  <a:gd name="T13" fmla="*/ 1343 h 1454"/>
                  <a:gd name="T14" fmla="*/ 420 w 2773"/>
                  <a:gd name="T15" fmla="*/ 1315 h 1454"/>
                  <a:gd name="T16" fmla="*/ 399 w 2773"/>
                  <a:gd name="T17" fmla="*/ 1285 h 1454"/>
                  <a:gd name="T18" fmla="*/ 380 w 2773"/>
                  <a:gd name="T19" fmla="*/ 1253 h 1454"/>
                  <a:gd name="T20" fmla="*/ 361 w 2773"/>
                  <a:gd name="T21" fmla="*/ 1220 h 1454"/>
                  <a:gd name="T22" fmla="*/ 343 w 2773"/>
                  <a:gd name="T23" fmla="*/ 1185 h 1454"/>
                  <a:gd name="T24" fmla="*/ 325 w 2773"/>
                  <a:gd name="T25" fmla="*/ 1150 h 1454"/>
                  <a:gd name="T26" fmla="*/ 308 w 2773"/>
                  <a:gd name="T27" fmla="*/ 1111 h 1454"/>
                  <a:gd name="T28" fmla="*/ 291 w 2773"/>
                  <a:gd name="T29" fmla="*/ 1073 h 1454"/>
                  <a:gd name="T30" fmla="*/ 274 w 2773"/>
                  <a:gd name="T31" fmla="*/ 1034 h 1454"/>
                  <a:gd name="T32" fmla="*/ 243 w 2773"/>
                  <a:gd name="T33" fmla="*/ 952 h 1454"/>
                  <a:gd name="T34" fmla="*/ 213 w 2773"/>
                  <a:gd name="T35" fmla="*/ 869 h 1454"/>
                  <a:gd name="T36" fmla="*/ 186 w 2773"/>
                  <a:gd name="T37" fmla="*/ 784 h 1454"/>
                  <a:gd name="T38" fmla="*/ 159 w 2773"/>
                  <a:gd name="T39" fmla="*/ 698 h 1454"/>
                  <a:gd name="T40" fmla="*/ 134 w 2773"/>
                  <a:gd name="T41" fmla="*/ 613 h 1454"/>
                  <a:gd name="T42" fmla="*/ 87 w 2773"/>
                  <a:gd name="T43" fmla="*/ 447 h 1454"/>
                  <a:gd name="T44" fmla="*/ 65 w 2773"/>
                  <a:gd name="T45" fmla="*/ 369 h 1454"/>
                  <a:gd name="T46" fmla="*/ 42 w 2773"/>
                  <a:gd name="T47" fmla="*/ 294 h 1454"/>
                  <a:gd name="T48" fmla="*/ 0 w 2773"/>
                  <a:gd name="T49" fmla="*/ 155 h 1454"/>
                  <a:gd name="T50" fmla="*/ 1675 w 2773"/>
                  <a:gd name="T51" fmla="*/ 155 h 1454"/>
                  <a:gd name="T52" fmla="*/ 1726 w 2773"/>
                  <a:gd name="T53" fmla="*/ 90 h 1454"/>
                  <a:gd name="T54" fmla="*/ 1726 w 2773"/>
                  <a:gd name="T55" fmla="*/ 90 h 1454"/>
                  <a:gd name="T56" fmla="*/ 1729 w 2773"/>
                  <a:gd name="T57" fmla="*/ 52 h 1454"/>
                  <a:gd name="T58" fmla="*/ 1808 w 2773"/>
                  <a:gd name="T59" fmla="*/ 0 h 1454"/>
                  <a:gd name="T60" fmla="*/ 2773 w 2773"/>
                  <a:gd name="T61" fmla="*/ 543 h 1454"/>
                  <a:gd name="T62" fmla="*/ 2729 w 2773"/>
                  <a:gd name="T63" fmla="*/ 673 h 1454"/>
                  <a:gd name="T64" fmla="*/ 2729 w 2773"/>
                  <a:gd name="T65" fmla="*/ 673 h 1454"/>
                  <a:gd name="T66" fmla="*/ 2728 w 2773"/>
                  <a:gd name="T67" fmla="*/ 708 h 1454"/>
                  <a:gd name="T68" fmla="*/ 2724 w 2773"/>
                  <a:gd name="T69" fmla="*/ 757 h 1454"/>
                  <a:gd name="T70" fmla="*/ 2709 w 2773"/>
                  <a:gd name="T71" fmla="*/ 894 h 1454"/>
                  <a:gd name="T72" fmla="*/ 2702 w 2773"/>
                  <a:gd name="T73" fmla="*/ 982 h 1454"/>
                  <a:gd name="T74" fmla="*/ 2697 w 2773"/>
                  <a:gd name="T75" fmla="*/ 1078 h 1454"/>
                  <a:gd name="T76" fmla="*/ 2691 w 2773"/>
                  <a:gd name="T77" fmla="*/ 1183 h 1454"/>
                  <a:gd name="T78" fmla="*/ 2691 w 2773"/>
                  <a:gd name="T79" fmla="*/ 1238 h 1454"/>
                  <a:gd name="T80" fmla="*/ 2691 w 2773"/>
                  <a:gd name="T81" fmla="*/ 1296 h 1454"/>
                  <a:gd name="T82" fmla="*/ 2691 w 2773"/>
                  <a:gd name="T83" fmla="*/ 1450 h 1454"/>
                  <a:gd name="T84" fmla="*/ 2015 w 2773"/>
                  <a:gd name="T85" fmla="*/ 1450 h 1454"/>
                  <a:gd name="T86" fmla="*/ 697 w 2773"/>
                  <a:gd name="T87" fmla="*/ 1452 h 1454"/>
                  <a:gd name="T88" fmla="*/ 559 w 2773"/>
                  <a:gd name="T89" fmla="*/ 1454 h 1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3" h="1454">
                    <a:moveTo>
                      <a:pt x="559" y="1454"/>
                    </a:moveTo>
                    <a:lnTo>
                      <a:pt x="559" y="1454"/>
                    </a:lnTo>
                    <a:lnTo>
                      <a:pt x="533" y="1436"/>
                    </a:lnTo>
                    <a:lnTo>
                      <a:pt x="509" y="1416"/>
                    </a:lnTo>
                    <a:lnTo>
                      <a:pt x="485" y="1395"/>
                    </a:lnTo>
                    <a:lnTo>
                      <a:pt x="463" y="1370"/>
                    </a:lnTo>
                    <a:lnTo>
                      <a:pt x="442" y="1343"/>
                    </a:lnTo>
                    <a:lnTo>
                      <a:pt x="420" y="1315"/>
                    </a:lnTo>
                    <a:lnTo>
                      <a:pt x="399" y="1285"/>
                    </a:lnTo>
                    <a:lnTo>
                      <a:pt x="380" y="1253"/>
                    </a:lnTo>
                    <a:lnTo>
                      <a:pt x="361" y="1220"/>
                    </a:lnTo>
                    <a:lnTo>
                      <a:pt x="343" y="1185"/>
                    </a:lnTo>
                    <a:lnTo>
                      <a:pt x="325" y="1150"/>
                    </a:lnTo>
                    <a:lnTo>
                      <a:pt x="308" y="1111"/>
                    </a:lnTo>
                    <a:lnTo>
                      <a:pt x="291" y="1073"/>
                    </a:lnTo>
                    <a:lnTo>
                      <a:pt x="274" y="1034"/>
                    </a:lnTo>
                    <a:lnTo>
                      <a:pt x="243" y="952"/>
                    </a:lnTo>
                    <a:lnTo>
                      <a:pt x="213" y="869"/>
                    </a:lnTo>
                    <a:lnTo>
                      <a:pt x="186" y="784"/>
                    </a:lnTo>
                    <a:lnTo>
                      <a:pt x="159" y="698"/>
                    </a:lnTo>
                    <a:lnTo>
                      <a:pt x="134" y="613"/>
                    </a:lnTo>
                    <a:lnTo>
                      <a:pt x="87" y="447"/>
                    </a:lnTo>
                    <a:lnTo>
                      <a:pt x="65" y="369"/>
                    </a:lnTo>
                    <a:lnTo>
                      <a:pt x="42" y="294"/>
                    </a:lnTo>
                    <a:lnTo>
                      <a:pt x="0" y="155"/>
                    </a:lnTo>
                    <a:lnTo>
                      <a:pt x="1675" y="155"/>
                    </a:lnTo>
                    <a:lnTo>
                      <a:pt x="1726" y="90"/>
                    </a:lnTo>
                    <a:lnTo>
                      <a:pt x="1726" y="90"/>
                    </a:lnTo>
                    <a:lnTo>
                      <a:pt x="1729" y="52"/>
                    </a:lnTo>
                    <a:lnTo>
                      <a:pt x="1808" y="0"/>
                    </a:lnTo>
                    <a:lnTo>
                      <a:pt x="2773" y="543"/>
                    </a:lnTo>
                    <a:lnTo>
                      <a:pt x="2729" y="673"/>
                    </a:lnTo>
                    <a:lnTo>
                      <a:pt x="2729" y="673"/>
                    </a:lnTo>
                    <a:lnTo>
                      <a:pt x="2728" y="708"/>
                    </a:lnTo>
                    <a:lnTo>
                      <a:pt x="2724" y="757"/>
                    </a:lnTo>
                    <a:lnTo>
                      <a:pt x="2709" y="894"/>
                    </a:lnTo>
                    <a:lnTo>
                      <a:pt x="2702" y="982"/>
                    </a:lnTo>
                    <a:lnTo>
                      <a:pt x="2697" y="1078"/>
                    </a:lnTo>
                    <a:lnTo>
                      <a:pt x="2691" y="1183"/>
                    </a:lnTo>
                    <a:lnTo>
                      <a:pt x="2691" y="1238"/>
                    </a:lnTo>
                    <a:lnTo>
                      <a:pt x="2691" y="1296"/>
                    </a:lnTo>
                    <a:lnTo>
                      <a:pt x="2691" y="1450"/>
                    </a:lnTo>
                    <a:lnTo>
                      <a:pt x="2015" y="1450"/>
                    </a:lnTo>
                    <a:lnTo>
                      <a:pt x="697" y="1452"/>
                    </a:lnTo>
                    <a:lnTo>
                      <a:pt x="559" y="145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858" name="Freeform 857"/>
            <p:cNvSpPr/>
            <p:nvPr/>
          </p:nvSpPr>
          <p:spPr bwMode="auto">
            <a:xfrm>
              <a:off x="6061618" y="5418077"/>
              <a:ext cx="234456" cy="339879"/>
            </a:xfrm>
            <a:custGeom>
              <a:avLst/>
              <a:gdLst>
                <a:gd name="connsiteX0" fmla="*/ 151456 w 176150"/>
                <a:gd name="connsiteY0" fmla="*/ 254849 h 255356"/>
                <a:gd name="connsiteX1" fmla="*/ 118118 w 176150"/>
                <a:gd name="connsiteY1" fmla="*/ 152455 h 255356"/>
                <a:gd name="connsiteX2" fmla="*/ 175268 w 176150"/>
                <a:gd name="connsiteY2" fmla="*/ 16724 h 255356"/>
                <a:gd name="connsiteX3" fmla="*/ 141931 w 176150"/>
                <a:gd name="connsiteY3" fmla="*/ 9580 h 255356"/>
                <a:gd name="connsiteX4" fmla="*/ 6199 w 176150"/>
                <a:gd name="connsiteY4" fmla="*/ 14343 h 255356"/>
                <a:gd name="connsiteX5" fmla="*/ 34774 w 176150"/>
                <a:gd name="connsiteY5" fmla="*/ 183411 h 255356"/>
                <a:gd name="connsiteX6" fmla="*/ 151456 w 176150"/>
                <a:gd name="connsiteY6" fmla="*/ 254849 h 25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150" h="255356">
                  <a:moveTo>
                    <a:pt x="151456" y="254849"/>
                  </a:moveTo>
                  <a:cubicBezTo>
                    <a:pt x="165347" y="249690"/>
                    <a:pt x="114149" y="192142"/>
                    <a:pt x="118118" y="152455"/>
                  </a:cubicBezTo>
                  <a:cubicBezTo>
                    <a:pt x="122087" y="112767"/>
                    <a:pt x="171299" y="40536"/>
                    <a:pt x="175268" y="16724"/>
                  </a:cubicBezTo>
                  <a:cubicBezTo>
                    <a:pt x="179237" y="-7089"/>
                    <a:pt x="170109" y="9977"/>
                    <a:pt x="141931" y="9580"/>
                  </a:cubicBezTo>
                  <a:cubicBezTo>
                    <a:pt x="113753" y="9183"/>
                    <a:pt x="24058" y="-14629"/>
                    <a:pt x="6199" y="14343"/>
                  </a:cubicBezTo>
                  <a:cubicBezTo>
                    <a:pt x="-11661" y="43315"/>
                    <a:pt x="12549" y="141739"/>
                    <a:pt x="34774" y="183411"/>
                  </a:cubicBezTo>
                  <a:cubicBezTo>
                    <a:pt x="56999" y="225083"/>
                    <a:pt x="137565" y="260008"/>
                    <a:pt x="151456" y="254849"/>
                  </a:cubicBezTo>
                  <a:close/>
                </a:path>
              </a:pathLst>
            </a:cu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674" name="Freeform 191"/>
          <p:cNvSpPr>
            <a:spLocks/>
          </p:cNvSpPr>
          <p:nvPr/>
        </p:nvSpPr>
        <p:spPr bwMode="auto">
          <a:xfrm flipH="1">
            <a:off x="5908702" y="4908065"/>
            <a:ext cx="146334" cy="146334"/>
          </a:xfrm>
          <a:custGeom>
            <a:avLst/>
            <a:gdLst>
              <a:gd name="T0" fmla="*/ 12 w 55"/>
              <a:gd name="T1" fmla="*/ 0 h 55"/>
              <a:gd name="T2" fmla="*/ 12 w 55"/>
              <a:gd name="T3" fmla="*/ 0 h 55"/>
              <a:gd name="T4" fmla="*/ 6 w 55"/>
              <a:gd name="T5" fmla="*/ 0 h 55"/>
              <a:gd name="T6" fmla="*/ 3 w 55"/>
              <a:gd name="T7" fmla="*/ 0 h 55"/>
              <a:gd name="T8" fmla="*/ 2 w 55"/>
              <a:gd name="T9" fmla="*/ 2 h 55"/>
              <a:gd name="T10" fmla="*/ 0 w 55"/>
              <a:gd name="T11" fmla="*/ 6 h 55"/>
              <a:gd name="T12" fmla="*/ 0 w 55"/>
              <a:gd name="T13" fmla="*/ 13 h 55"/>
              <a:gd name="T14" fmla="*/ 2 w 55"/>
              <a:gd name="T15" fmla="*/ 19 h 55"/>
              <a:gd name="T16" fmla="*/ 6 w 55"/>
              <a:gd name="T17" fmla="*/ 27 h 55"/>
              <a:gd name="T18" fmla="*/ 11 w 55"/>
              <a:gd name="T19" fmla="*/ 35 h 55"/>
              <a:gd name="T20" fmla="*/ 18 w 55"/>
              <a:gd name="T21" fmla="*/ 45 h 55"/>
              <a:gd name="T22" fmla="*/ 18 w 55"/>
              <a:gd name="T23" fmla="*/ 45 h 55"/>
              <a:gd name="T24" fmla="*/ 23 w 55"/>
              <a:gd name="T25" fmla="*/ 51 h 55"/>
              <a:gd name="T26" fmla="*/ 30 w 55"/>
              <a:gd name="T27" fmla="*/ 54 h 55"/>
              <a:gd name="T28" fmla="*/ 36 w 55"/>
              <a:gd name="T29" fmla="*/ 55 h 55"/>
              <a:gd name="T30" fmla="*/ 42 w 55"/>
              <a:gd name="T31" fmla="*/ 55 h 55"/>
              <a:gd name="T32" fmla="*/ 47 w 55"/>
              <a:gd name="T33" fmla="*/ 54 h 55"/>
              <a:gd name="T34" fmla="*/ 51 w 55"/>
              <a:gd name="T35" fmla="*/ 53 h 55"/>
              <a:gd name="T36" fmla="*/ 55 w 55"/>
              <a:gd name="T37" fmla="*/ 50 h 55"/>
              <a:gd name="T38" fmla="*/ 55 w 55"/>
              <a:gd name="T39" fmla="*/ 50 h 55"/>
              <a:gd name="T40" fmla="*/ 52 w 55"/>
              <a:gd name="T41" fmla="*/ 51 h 55"/>
              <a:gd name="T42" fmla="*/ 46 w 55"/>
              <a:gd name="T43" fmla="*/ 50 h 55"/>
              <a:gd name="T44" fmla="*/ 42 w 55"/>
              <a:gd name="T45" fmla="*/ 49 h 55"/>
              <a:gd name="T46" fmla="*/ 38 w 55"/>
              <a:gd name="T47" fmla="*/ 47 h 55"/>
              <a:gd name="T48" fmla="*/ 35 w 55"/>
              <a:gd name="T49" fmla="*/ 42 h 55"/>
              <a:gd name="T50" fmla="*/ 31 w 55"/>
              <a:gd name="T51" fmla="*/ 37 h 55"/>
              <a:gd name="T52" fmla="*/ 31 w 55"/>
              <a:gd name="T53" fmla="*/ 37 h 55"/>
              <a:gd name="T54" fmla="*/ 28 w 55"/>
              <a:gd name="T55" fmla="*/ 27 h 55"/>
              <a:gd name="T56" fmla="*/ 26 w 55"/>
              <a:gd name="T57" fmla="*/ 17 h 55"/>
              <a:gd name="T58" fmla="*/ 24 w 55"/>
              <a:gd name="T59" fmla="*/ 11 h 55"/>
              <a:gd name="T60" fmla="*/ 22 w 55"/>
              <a:gd name="T61" fmla="*/ 6 h 55"/>
              <a:gd name="T62" fmla="*/ 18 w 55"/>
              <a:gd name="T63" fmla="*/ 3 h 55"/>
              <a:gd name="T64" fmla="*/ 12 w 55"/>
              <a:gd name="T65" fmla="*/ 0 h 55"/>
              <a:gd name="T66" fmla="*/ 12 w 55"/>
              <a:gd name="T6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5">
                <a:moveTo>
                  <a:pt x="12" y="0"/>
                </a:moveTo>
                <a:lnTo>
                  <a:pt x="12" y="0"/>
                </a:lnTo>
                <a:lnTo>
                  <a:pt x="6" y="0"/>
                </a:lnTo>
                <a:lnTo>
                  <a:pt x="3" y="0"/>
                </a:lnTo>
                <a:lnTo>
                  <a:pt x="2" y="2"/>
                </a:lnTo>
                <a:lnTo>
                  <a:pt x="0" y="6"/>
                </a:lnTo>
                <a:lnTo>
                  <a:pt x="0" y="13"/>
                </a:lnTo>
                <a:lnTo>
                  <a:pt x="2" y="19"/>
                </a:lnTo>
                <a:lnTo>
                  <a:pt x="6" y="27"/>
                </a:lnTo>
                <a:lnTo>
                  <a:pt x="11" y="35"/>
                </a:lnTo>
                <a:lnTo>
                  <a:pt x="18" y="45"/>
                </a:lnTo>
                <a:lnTo>
                  <a:pt x="18" y="45"/>
                </a:lnTo>
                <a:lnTo>
                  <a:pt x="23" y="51"/>
                </a:lnTo>
                <a:lnTo>
                  <a:pt x="30" y="54"/>
                </a:lnTo>
                <a:lnTo>
                  <a:pt x="36" y="55"/>
                </a:lnTo>
                <a:lnTo>
                  <a:pt x="42" y="55"/>
                </a:lnTo>
                <a:lnTo>
                  <a:pt x="47" y="54"/>
                </a:lnTo>
                <a:lnTo>
                  <a:pt x="51" y="53"/>
                </a:lnTo>
                <a:lnTo>
                  <a:pt x="55" y="50"/>
                </a:lnTo>
                <a:lnTo>
                  <a:pt x="55" y="50"/>
                </a:lnTo>
                <a:lnTo>
                  <a:pt x="52" y="51"/>
                </a:lnTo>
                <a:lnTo>
                  <a:pt x="46" y="50"/>
                </a:lnTo>
                <a:lnTo>
                  <a:pt x="42" y="49"/>
                </a:lnTo>
                <a:lnTo>
                  <a:pt x="38" y="47"/>
                </a:lnTo>
                <a:lnTo>
                  <a:pt x="35" y="42"/>
                </a:lnTo>
                <a:lnTo>
                  <a:pt x="31" y="37"/>
                </a:lnTo>
                <a:lnTo>
                  <a:pt x="31" y="37"/>
                </a:lnTo>
                <a:lnTo>
                  <a:pt x="28" y="27"/>
                </a:lnTo>
                <a:lnTo>
                  <a:pt x="26" y="17"/>
                </a:lnTo>
                <a:lnTo>
                  <a:pt x="24" y="11"/>
                </a:lnTo>
                <a:lnTo>
                  <a:pt x="22" y="6"/>
                </a:lnTo>
                <a:lnTo>
                  <a:pt x="18" y="3"/>
                </a:lnTo>
                <a:lnTo>
                  <a:pt x="12" y="0"/>
                </a:lnTo>
                <a:lnTo>
                  <a:pt x="12" y="0"/>
                </a:ln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868" name="Group 867"/>
          <p:cNvGrpSpPr/>
          <p:nvPr/>
        </p:nvGrpSpPr>
        <p:grpSpPr>
          <a:xfrm flipH="1">
            <a:off x="6333624" y="5177522"/>
            <a:ext cx="144838" cy="194971"/>
            <a:chOff x="10862862" y="1959882"/>
            <a:chExt cx="291775" cy="392769"/>
          </a:xfrm>
        </p:grpSpPr>
        <p:sp>
          <p:nvSpPr>
            <p:cNvPr id="869" name="Freeform 2367"/>
            <p:cNvSpPr>
              <a:spLocks/>
            </p:cNvSpPr>
            <p:nvPr/>
          </p:nvSpPr>
          <p:spPr bwMode="auto">
            <a:xfrm>
              <a:off x="10868474" y="1959882"/>
              <a:ext cx="286163" cy="375938"/>
            </a:xfrm>
            <a:custGeom>
              <a:avLst/>
              <a:gdLst>
                <a:gd name="T0" fmla="*/ 266 w 306"/>
                <a:gd name="T1" fmla="*/ 371 h 402"/>
                <a:gd name="T2" fmla="*/ 266 w 306"/>
                <a:gd name="T3" fmla="*/ 371 h 402"/>
                <a:gd name="T4" fmla="*/ 277 w 306"/>
                <a:gd name="T5" fmla="*/ 368 h 402"/>
                <a:gd name="T6" fmla="*/ 287 w 306"/>
                <a:gd name="T7" fmla="*/ 363 h 402"/>
                <a:gd name="T8" fmla="*/ 294 w 306"/>
                <a:gd name="T9" fmla="*/ 358 h 402"/>
                <a:gd name="T10" fmla="*/ 300 w 306"/>
                <a:gd name="T11" fmla="*/ 353 h 402"/>
                <a:gd name="T12" fmla="*/ 303 w 306"/>
                <a:gd name="T13" fmla="*/ 346 h 402"/>
                <a:gd name="T14" fmla="*/ 306 w 306"/>
                <a:gd name="T15" fmla="*/ 338 h 402"/>
                <a:gd name="T16" fmla="*/ 306 w 306"/>
                <a:gd name="T17" fmla="*/ 330 h 402"/>
                <a:gd name="T18" fmla="*/ 305 w 306"/>
                <a:gd name="T19" fmla="*/ 322 h 402"/>
                <a:gd name="T20" fmla="*/ 301 w 306"/>
                <a:gd name="T21" fmla="*/ 309 h 402"/>
                <a:gd name="T22" fmla="*/ 301 w 306"/>
                <a:gd name="T23" fmla="*/ 309 h 402"/>
                <a:gd name="T24" fmla="*/ 208 w 306"/>
                <a:gd name="T25" fmla="*/ 43 h 402"/>
                <a:gd name="T26" fmla="*/ 208 w 306"/>
                <a:gd name="T27" fmla="*/ 43 h 402"/>
                <a:gd name="T28" fmla="*/ 201 w 306"/>
                <a:gd name="T29" fmla="*/ 25 h 402"/>
                <a:gd name="T30" fmla="*/ 196 w 306"/>
                <a:gd name="T31" fmla="*/ 17 h 402"/>
                <a:gd name="T32" fmla="*/ 191 w 306"/>
                <a:gd name="T33" fmla="*/ 10 h 402"/>
                <a:gd name="T34" fmla="*/ 185 w 306"/>
                <a:gd name="T35" fmla="*/ 5 h 402"/>
                <a:gd name="T36" fmla="*/ 182 w 306"/>
                <a:gd name="T37" fmla="*/ 3 h 402"/>
                <a:gd name="T38" fmla="*/ 178 w 306"/>
                <a:gd name="T39" fmla="*/ 1 h 402"/>
                <a:gd name="T40" fmla="*/ 174 w 306"/>
                <a:gd name="T41" fmla="*/ 0 h 402"/>
                <a:gd name="T42" fmla="*/ 170 w 306"/>
                <a:gd name="T43" fmla="*/ 0 h 402"/>
                <a:gd name="T44" fmla="*/ 165 w 306"/>
                <a:gd name="T45" fmla="*/ 0 h 402"/>
                <a:gd name="T46" fmla="*/ 159 w 306"/>
                <a:gd name="T47" fmla="*/ 1 h 402"/>
                <a:gd name="T48" fmla="*/ 37 w 306"/>
                <a:gd name="T49" fmla="*/ 22 h 402"/>
                <a:gd name="T50" fmla="*/ 37 w 306"/>
                <a:gd name="T51" fmla="*/ 22 h 402"/>
                <a:gd name="T52" fmla="*/ 30 w 306"/>
                <a:gd name="T53" fmla="*/ 24 h 402"/>
                <a:gd name="T54" fmla="*/ 24 w 306"/>
                <a:gd name="T55" fmla="*/ 26 h 402"/>
                <a:gd name="T56" fmla="*/ 19 w 306"/>
                <a:gd name="T57" fmla="*/ 29 h 402"/>
                <a:gd name="T58" fmla="*/ 14 w 306"/>
                <a:gd name="T59" fmla="*/ 31 h 402"/>
                <a:gd name="T60" fmla="*/ 10 w 306"/>
                <a:gd name="T61" fmla="*/ 35 h 402"/>
                <a:gd name="T62" fmla="*/ 7 w 306"/>
                <a:gd name="T63" fmla="*/ 38 h 402"/>
                <a:gd name="T64" fmla="*/ 4 w 306"/>
                <a:gd name="T65" fmla="*/ 42 h 402"/>
                <a:gd name="T66" fmla="*/ 2 w 306"/>
                <a:gd name="T67" fmla="*/ 46 h 402"/>
                <a:gd name="T68" fmla="*/ 0 w 306"/>
                <a:gd name="T69" fmla="*/ 51 h 402"/>
                <a:gd name="T70" fmla="*/ 0 w 306"/>
                <a:gd name="T71" fmla="*/ 55 h 402"/>
                <a:gd name="T72" fmla="*/ 0 w 306"/>
                <a:gd name="T73" fmla="*/ 65 h 402"/>
                <a:gd name="T74" fmla="*/ 1 w 306"/>
                <a:gd name="T75" fmla="*/ 74 h 402"/>
                <a:gd name="T76" fmla="*/ 5 w 306"/>
                <a:gd name="T77" fmla="*/ 84 h 402"/>
                <a:gd name="T78" fmla="*/ 119 w 306"/>
                <a:gd name="T79" fmla="*/ 372 h 402"/>
                <a:gd name="T80" fmla="*/ 119 w 306"/>
                <a:gd name="T81" fmla="*/ 372 h 402"/>
                <a:gd name="T82" fmla="*/ 124 w 306"/>
                <a:gd name="T83" fmla="*/ 381 h 402"/>
                <a:gd name="T84" fmla="*/ 130 w 306"/>
                <a:gd name="T85" fmla="*/ 389 h 402"/>
                <a:gd name="T86" fmla="*/ 138 w 306"/>
                <a:gd name="T87" fmla="*/ 395 h 402"/>
                <a:gd name="T88" fmla="*/ 147 w 306"/>
                <a:gd name="T89" fmla="*/ 399 h 402"/>
                <a:gd name="T90" fmla="*/ 157 w 306"/>
                <a:gd name="T91" fmla="*/ 402 h 402"/>
                <a:gd name="T92" fmla="*/ 169 w 306"/>
                <a:gd name="T93" fmla="*/ 402 h 402"/>
                <a:gd name="T94" fmla="*/ 180 w 306"/>
                <a:gd name="T95" fmla="*/ 400 h 402"/>
                <a:gd name="T96" fmla="*/ 193 w 306"/>
                <a:gd name="T97" fmla="*/ 396 h 402"/>
                <a:gd name="T98" fmla="*/ 266 w 306"/>
                <a:gd name="T99" fmla="*/ 37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 h="402">
                  <a:moveTo>
                    <a:pt x="266" y="371"/>
                  </a:moveTo>
                  <a:lnTo>
                    <a:pt x="266" y="371"/>
                  </a:lnTo>
                  <a:lnTo>
                    <a:pt x="277" y="368"/>
                  </a:lnTo>
                  <a:lnTo>
                    <a:pt x="287" y="363"/>
                  </a:lnTo>
                  <a:lnTo>
                    <a:pt x="294" y="358"/>
                  </a:lnTo>
                  <a:lnTo>
                    <a:pt x="300" y="353"/>
                  </a:lnTo>
                  <a:lnTo>
                    <a:pt x="303" y="346"/>
                  </a:lnTo>
                  <a:lnTo>
                    <a:pt x="306" y="338"/>
                  </a:lnTo>
                  <a:lnTo>
                    <a:pt x="306" y="330"/>
                  </a:lnTo>
                  <a:lnTo>
                    <a:pt x="305" y="322"/>
                  </a:lnTo>
                  <a:lnTo>
                    <a:pt x="301" y="309"/>
                  </a:lnTo>
                  <a:lnTo>
                    <a:pt x="301" y="309"/>
                  </a:lnTo>
                  <a:lnTo>
                    <a:pt x="208" y="43"/>
                  </a:lnTo>
                  <a:lnTo>
                    <a:pt x="208" y="43"/>
                  </a:lnTo>
                  <a:lnTo>
                    <a:pt x="201" y="25"/>
                  </a:lnTo>
                  <a:lnTo>
                    <a:pt x="196" y="17"/>
                  </a:lnTo>
                  <a:lnTo>
                    <a:pt x="191" y="10"/>
                  </a:lnTo>
                  <a:lnTo>
                    <a:pt x="185" y="5"/>
                  </a:lnTo>
                  <a:lnTo>
                    <a:pt x="182" y="3"/>
                  </a:lnTo>
                  <a:lnTo>
                    <a:pt x="178" y="1"/>
                  </a:lnTo>
                  <a:lnTo>
                    <a:pt x="174" y="0"/>
                  </a:lnTo>
                  <a:lnTo>
                    <a:pt x="170" y="0"/>
                  </a:lnTo>
                  <a:lnTo>
                    <a:pt x="165" y="0"/>
                  </a:lnTo>
                  <a:lnTo>
                    <a:pt x="159" y="1"/>
                  </a:lnTo>
                  <a:lnTo>
                    <a:pt x="37" y="22"/>
                  </a:lnTo>
                  <a:lnTo>
                    <a:pt x="37" y="22"/>
                  </a:lnTo>
                  <a:lnTo>
                    <a:pt x="30" y="24"/>
                  </a:lnTo>
                  <a:lnTo>
                    <a:pt x="24" y="26"/>
                  </a:lnTo>
                  <a:lnTo>
                    <a:pt x="19" y="29"/>
                  </a:lnTo>
                  <a:lnTo>
                    <a:pt x="14" y="31"/>
                  </a:lnTo>
                  <a:lnTo>
                    <a:pt x="10" y="35"/>
                  </a:lnTo>
                  <a:lnTo>
                    <a:pt x="7" y="38"/>
                  </a:lnTo>
                  <a:lnTo>
                    <a:pt x="4" y="42"/>
                  </a:lnTo>
                  <a:lnTo>
                    <a:pt x="2" y="46"/>
                  </a:lnTo>
                  <a:lnTo>
                    <a:pt x="0" y="51"/>
                  </a:lnTo>
                  <a:lnTo>
                    <a:pt x="0" y="55"/>
                  </a:lnTo>
                  <a:lnTo>
                    <a:pt x="0" y="65"/>
                  </a:lnTo>
                  <a:lnTo>
                    <a:pt x="1" y="74"/>
                  </a:lnTo>
                  <a:lnTo>
                    <a:pt x="5" y="84"/>
                  </a:lnTo>
                  <a:lnTo>
                    <a:pt x="119" y="372"/>
                  </a:lnTo>
                  <a:lnTo>
                    <a:pt x="119" y="372"/>
                  </a:lnTo>
                  <a:lnTo>
                    <a:pt x="124" y="381"/>
                  </a:lnTo>
                  <a:lnTo>
                    <a:pt x="130" y="389"/>
                  </a:lnTo>
                  <a:lnTo>
                    <a:pt x="138" y="395"/>
                  </a:lnTo>
                  <a:lnTo>
                    <a:pt x="147" y="399"/>
                  </a:lnTo>
                  <a:lnTo>
                    <a:pt x="157" y="402"/>
                  </a:lnTo>
                  <a:lnTo>
                    <a:pt x="169" y="402"/>
                  </a:lnTo>
                  <a:lnTo>
                    <a:pt x="180" y="400"/>
                  </a:lnTo>
                  <a:lnTo>
                    <a:pt x="193" y="396"/>
                  </a:lnTo>
                  <a:lnTo>
                    <a:pt x="266" y="37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0" name="Freeform 2368"/>
            <p:cNvSpPr>
              <a:spLocks/>
            </p:cNvSpPr>
            <p:nvPr/>
          </p:nvSpPr>
          <p:spPr bwMode="auto">
            <a:xfrm>
              <a:off x="10862862" y="2004769"/>
              <a:ext cx="291772" cy="347882"/>
            </a:xfrm>
            <a:custGeom>
              <a:avLst/>
              <a:gdLst>
                <a:gd name="T0" fmla="*/ 273 w 313"/>
                <a:gd name="T1" fmla="*/ 323 h 373"/>
                <a:gd name="T2" fmla="*/ 200 w 313"/>
                <a:gd name="T3" fmla="*/ 348 h 373"/>
                <a:gd name="T4" fmla="*/ 200 w 313"/>
                <a:gd name="T5" fmla="*/ 348 h 373"/>
                <a:gd name="T6" fmla="*/ 187 w 313"/>
                <a:gd name="T7" fmla="*/ 352 h 373"/>
                <a:gd name="T8" fmla="*/ 176 w 313"/>
                <a:gd name="T9" fmla="*/ 354 h 373"/>
                <a:gd name="T10" fmla="*/ 164 w 313"/>
                <a:gd name="T11" fmla="*/ 354 h 373"/>
                <a:gd name="T12" fmla="*/ 154 w 313"/>
                <a:gd name="T13" fmla="*/ 351 h 373"/>
                <a:gd name="T14" fmla="*/ 145 w 313"/>
                <a:gd name="T15" fmla="*/ 347 h 373"/>
                <a:gd name="T16" fmla="*/ 137 w 313"/>
                <a:gd name="T17" fmla="*/ 341 h 373"/>
                <a:gd name="T18" fmla="*/ 131 w 313"/>
                <a:gd name="T19" fmla="*/ 333 h 373"/>
                <a:gd name="T20" fmla="*/ 126 w 313"/>
                <a:gd name="T21" fmla="*/ 324 h 373"/>
                <a:gd name="T22" fmla="*/ 12 w 313"/>
                <a:gd name="T23" fmla="*/ 36 h 373"/>
                <a:gd name="T24" fmla="*/ 12 w 313"/>
                <a:gd name="T25" fmla="*/ 36 h 373"/>
                <a:gd name="T26" fmla="*/ 8 w 313"/>
                <a:gd name="T27" fmla="*/ 27 h 373"/>
                <a:gd name="T28" fmla="*/ 7 w 313"/>
                <a:gd name="T29" fmla="*/ 18 h 373"/>
                <a:gd name="T30" fmla="*/ 7 w 313"/>
                <a:gd name="T31" fmla="*/ 9 h 373"/>
                <a:gd name="T32" fmla="*/ 8 w 313"/>
                <a:gd name="T33" fmla="*/ 0 h 373"/>
                <a:gd name="T34" fmla="*/ 8 w 313"/>
                <a:gd name="T35" fmla="*/ 0 h 373"/>
                <a:gd name="T36" fmla="*/ 4 w 313"/>
                <a:gd name="T37" fmla="*/ 10 h 373"/>
                <a:gd name="T38" fmla="*/ 2 w 313"/>
                <a:gd name="T39" fmla="*/ 15 h 373"/>
                <a:gd name="T40" fmla="*/ 1 w 313"/>
                <a:gd name="T41" fmla="*/ 22 h 373"/>
                <a:gd name="T42" fmla="*/ 0 w 313"/>
                <a:gd name="T43" fmla="*/ 29 h 373"/>
                <a:gd name="T44" fmla="*/ 0 w 313"/>
                <a:gd name="T45" fmla="*/ 37 h 373"/>
                <a:gd name="T46" fmla="*/ 2 w 313"/>
                <a:gd name="T47" fmla="*/ 46 h 373"/>
                <a:gd name="T48" fmla="*/ 5 w 313"/>
                <a:gd name="T49" fmla="*/ 55 h 373"/>
                <a:gd name="T50" fmla="*/ 119 w 313"/>
                <a:gd name="T51" fmla="*/ 342 h 373"/>
                <a:gd name="T52" fmla="*/ 119 w 313"/>
                <a:gd name="T53" fmla="*/ 342 h 373"/>
                <a:gd name="T54" fmla="*/ 124 w 313"/>
                <a:gd name="T55" fmla="*/ 352 h 373"/>
                <a:gd name="T56" fmla="*/ 130 w 313"/>
                <a:gd name="T57" fmla="*/ 360 h 373"/>
                <a:gd name="T58" fmla="*/ 138 w 313"/>
                <a:gd name="T59" fmla="*/ 366 h 373"/>
                <a:gd name="T60" fmla="*/ 147 w 313"/>
                <a:gd name="T61" fmla="*/ 370 h 373"/>
                <a:gd name="T62" fmla="*/ 157 w 313"/>
                <a:gd name="T63" fmla="*/ 372 h 373"/>
                <a:gd name="T64" fmla="*/ 168 w 313"/>
                <a:gd name="T65" fmla="*/ 373 h 373"/>
                <a:gd name="T66" fmla="*/ 180 w 313"/>
                <a:gd name="T67" fmla="*/ 371 h 373"/>
                <a:gd name="T68" fmla="*/ 193 w 313"/>
                <a:gd name="T69" fmla="*/ 368 h 373"/>
                <a:gd name="T70" fmla="*/ 266 w 313"/>
                <a:gd name="T71" fmla="*/ 342 h 373"/>
                <a:gd name="T72" fmla="*/ 266 w 313"/>
                <a:gd name="T73" fmla="*/ 342 h 373"/>
                <a:gd name="T74" fmla="*/ 276 w 313"/>
                <a:gd name="T75" fmla="*/ 338 h 373"/>
                <a:gd name="T76" fmla="*/ 285 w 313"/>
                <a:gd name="T77" fmla="*/ 335 h 373"/>
                <a:gd name="T78" fmla="*/ 293 w 313"/>
                <a:gd name="T79" fmla="*/ 332 h 373"/>
                <a:gd name="T80" fmla="*/ 299 w 313"/>
                <a:gd name="T81" fmla="*/ 327 h 373"/>
                <a:gd name="T82" fmla="*/ 303 w 313"/>
                <a:gd name="T83" fmla="*/ 321 h 373"/>
                <a:gd name="T84" fmla="*/ 307 w 313"/>
                <a:gd name="T85" fmla="*/ 314 h 373"/>
                <a:gd name="T86" fmla="*/ 310 w 313"/>
                <a:gd name="T87" fmla="*/ 304 h 373"/>
                <a:gd name="T88" fmla="*/ 313 w 313"/>
                <a:gd name="T89" fmla="*/ 291 h 373"/>
                <a:gd name="T90" fmla="*/ 313 w 313"/>
                <a:gd name="T91" fmla="*/ 291 h 373"/>
                <a:gd name="T92" fmla="*/ 313 w 313"/>
                <a:gd name="T93" fmla="*/ 291 h 373"/>
                <a:gd name="T94" fmla="*/ 311 w 313"/>
                <a:gd name="T95" fmla="*/ 297 h 373"/>
                <a:gd name="T96" fmla="*/ 309 w 313"/>
                <a:gd name="T97" fmla="*/ 302 h 373"/>
                <a:gd name="T98" fmla="*/ 305 w 313"/>
                <a:gd name="T99" fmla="*/ 306 h 373"/>
                <a:gd name="T100" fmla="*/ 301 w 313"/>
                <a:gd name="T101" fmla="*/ 310 h 373"/>
                <a:gd name="T102" fmla="*/ 295 w 313"/>
                <a:gd name="T103" fmla="*/ 314 h 373"/>
                <a:gd name="T104" fmla="*/ 288 w 313"/>
                <a:gd name="T105" fmla="*/ 318 h 373"/>
                <a:gd name="T106" fmla="*/ 281 w 313"/>
                <a:gd name="T107" fmla="*/ 321 h 373"/>
                <a:gd name="T108" fmla="*/ 273 w 313"/>
                <a:gd name="T109" fmla="*/ 323 h 373"/>
                <a:gd name="T110" fmla="*/ 273 w 313"/>
                <a:gd name="T111" fmla="*/ 32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3" h="373">
                  <a:moveTo>
                    <a:pt x="273" y="323"/>
                  </a:moveTo>
                  <a:lnTo>
                    <a:pt x="200" y="348"/>
                  </a:lnTo>
                  <a:lnTo>
                    <a:pt x="200" y="348"/>
                  </a:lnTo>
                  <a:lnTo>
                    <a:pt x="187" y="352"/>
                  </a:lnTo>
                  <a:lnTo>
                    <a:pt x="176" y="354"/>
                  </a:lnTo>
                  <a:lnTo>
                    <a:pt x="164" y="354"/>
                  </a:lnTo>
                  <a:lnTo>
                    <a:pt x="154" y="351"/>
                  </a:lnTo>
                  <a:lnTo>
                    <a:pt x="145" y="347"/>
                  </a:lnTo>
                  <a:lnTo>
                    <a:pt x="137" y="341"/>
                  </a:lnTo>
                  <a:lnTo>
                    <a:pt x="131" y="333"/>
                  </a:lnTo>
                  <a:lnTo>
                    <a:pt x="126" y="324"/>
                  </a:lnTo>
                  <a:lnTo>
                    <a:pt x="12" y="36"/>
                  </a:lnTo>
                  <a:lnTo>
                    <a:pt x="12" y="36"/>
                  </a:lnTo>
                  <a:lnTo>
                    <a:pt x="8" y="27"/>
                  </a:lnTo>
                  <a:lnTo>
                    <a:pt x="7" y="18"/>
                  </a:lnTo>
                  <a:lnTo>
                    <a:pt x="7" y="9"/>
                  </a:lnTo>
                  <a:lnTo>
                    <a:pt x="8" y="0"/>
                  </a:lnTo>
                  <a:lnTo>
                    <a:pt x="8" y="0"/>
                  </a:lnTo>
                  <a:lnTo>
                    <a:pt x="4" y="10"/>
                  </a:lnTo>
                  <a:lnTo>
                    <a:pt x="2" y="15"/>
                  </a:lnTo>
                  <a:lnTo>
                    <a:pt x="1" y="22"/>
                  </a:lnTo>
                  <a:lnTo>
                    <a:pt x="0" y="29"/>
                  </a:lnTo>
                  <a:lnTo>
                    <a:pt x="0" y="37"/>
                  </a:lnTo>
                  <a:lnTo>
                    <a:pt x="2" y="46"/>
                  </a:lnTo>
                  <a:lnTo>
                    <a:pt x="5" y="55"/>
                  </a:lnTo>
                  <a:lnTo>
                    <a:pt x="119" y="342"/>
                  </a:lnTo>
                  <a:lnTo>
                    <a:pt x="119" y="342"/>
                  </a:lnTo>
                  <a:lnTo>
                    <a:pt x="124" y="352"/>
                  </a:lnTo>
                  <a:lnTo>
                    <a:pt x="130" y="360"/>
                  </a:lnTo>
                  <a:lnTo>
                    <a:pt x="138" y="366"/>
                  </a:lnTo>
                  <a:lnTo>
                    <a:pt x="147" y="370"/>
                  </a:lnTo>
                  <a:lnTo>
                    <a:pt x="157" y="372"/>
                  </a:lnTo>
                  <a:lnTo>
                    <a:pt x="168" y="373"/>
                  </a:lnTo>
                  <a:lnTo>
                    <a:pt x="180" y="371"/>
                  </a:lnTo>
                  <a:lnTo>
                    <a:pt x="193" y="368"/>
                  </a:lnTo>
                  <a:lnTo>
                    <a:pt x="266" y="342"/>
                  </a:lnTo>
                  <a:lnTo>
                    <a:pt x="266" y="342"/>
                  </a:lnTo>
                  <a:lnTo>
                    <a:pt x="276" y="338"/>
                  </a:lnTo>
                  <a:lnTo>
                    <a:pt x="285" y="335"/>
                  </a:lnTo>
                  <a:lnTo>
                    <a:pt x="293" y="332"/>
                  </a:lnTo>
                  <a:lnTo>
                    <a:pt x="299" y="327"/>
                  </a:lnTo>
                  <a:lnTo>
                    <a:pt x="303" y="321"/>
                  </a:lnTo>
                  <a:lnTo>
                    <a:pt x="307" y="314"/>
                  </a:lnTo>
                  <a:lnTo>
                    <a:pt x="310" y="304"/>
                  </a:lnTo>
                  <a:lnTo>
                    <a:pt x="313" y="291"/>
                  </a:lnTo>
                  <a:lnTo>
                    <a:pt x="313" y="291"/>
                  </a:lnTo>
                  <a:lnTo>
                    <a:pt x="313" y="291"/>
                  </a:lnTo>
                  <a:lnTo>
                    <a:pt x="311" y="297"/>
                  </a:lnTo>
                  <a:lnTo>
                    <a:pt x="309" y="302"/>
                  </a:lnTo>
                  <a:lnTo>
                    <a:pt x="305" y="306"/>
                  </a:lnTo>
                  <a:lnTo>
                    <a:pt x="301" y="310"/>
                  </a:lnTo>
                  <a:lnTo>
                    <a:pt x="295" y="314"/>
                  </a:lnTo>
                  <a:lnTo>
                    <a:pt x="288" y="318"/>
                  </a:lnTo>
                  <a:lnTo>
                    <a:pt x="281" y="321"/>
                  </a:lnTo>
                  <a:lnTo>
                    <a:pt x="273" y="323"/>
                  </a:lnTo>
                  <a:lnTo>
                    <a:pt x="273" y="323"/>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4" name="Freeform 2369"/>
            <p:cNvSpPr>
              <a:spLocks/>
            </p:cNvSpPr>
            <p:nvPr/>
          </p:nvSpPr>
          <p:spPr bwMode="auto">
            <a:xfrm>
              <a:off x="10890918" y="1987935"/>
              <a:ext cx="230053" cy="286162"/>
            </a:xfrm>
            <a:custGeom>
              <a:avLst/>
              <a:gdLst>
                <a:gd name="T0" fmla="*/ 166 w 243"/>
                <a:gd name="T1" fmla="*/ 18 h 305"/>
                <a:gd name="T2" fmla="*/ 166 w 243"/>
                <a:gd name="T3" fmla="*/ 18 h 305"/>
                <a:gd name="T4" fmla="*/ 162 w 243"/>
                <a:gd name="T5" fmla="*/ 11 h 305"/>
                <a:gd name="T6" fmla="*/ 158 w 243"/>
                <a:gd name="T7" fmla="*/ 6 h 305"/>
                <a:gd name="T8" fmla="*/ 153 w 243"/>
                <a:gd name="T9" fmla="*/ 3 h 305"/>
                <a:gd name="T10" fmla="*/ 148 w 243"/>
                <a:gd name="T11" fmla="*/ 1 h 305"/>
                <a:gd name="T12" fmla="*/ 144 w 243"/>
                <a:gd name="T13" fmla="*/ 0 h 305"/>
                <a:gd name="T14" fmla="*/ 139 w 243"/>
                <a:gd name="T15" fmla="*/ 0 h 305"/>
                <a:gd name="T16" fmla="*/ 131 w 243"/>
                <a:gd name="T17" fmla="*/ 0 h 305"/>
                <a:gd name="T18" fmla="*/ 131 w 243"/>
                <a:gd name="T19" fmla="*/ 0 h 305"/>
                <a:gd name="T20" fmla="*/ 122 w 243"/>
                <a:gd name="T21" fmla="*/ 2 h 305"/>
                <a:gd name="T22" fmla="*/ 122 w 243"/>
                <a:gd name="T23" fmla="*/ 2 h 305"/>
                <a:gd name="T24" fmla="*/ 30 w 243"/>
                <a:gd name="T25" fmla="*/ 22 h 305"/>
                <a:gd name="T26" fmla="*/ 30 w 243"/>
                <a:gd name="T27" fmla="*/ 22 h 305"/>
                <a:gd name="T28" fmla="*/ 20 w 243"/>
                <a:gd name="T29" fmla="*/ 25 h 305"/>
                <a:gd name="T30" fmla="*/ 10 w 243"/>
                <a:gd name="T31" fmla="*/ 29 h 305"/>
                <a:gd name="T32" fmla="*/ 10 w 243"/>
                <a:gd name="T33" fmla="*/ 29 h 305"/>
                <a:gd name="T34" fmla="*/ 5 w 243"/>
                <a:gd name="T35" fmla="*/ 32 h 305"/>
                <a:gd name="T36" fmla="*/ 2 w 243"/>
                <a:gd name="T37" fmla="*/ 37 h 305"/>
                <a:gd name="T38" fmla="*/ 0 w 243"/>
                <a:gd name="T39" fmla="*/ 42 h 305"/>
                <a:gd name="T40" fmla="*/ 0 w 243"/>
                <a:gd name="T41" fmla="*/ 48 h 305"/>
                <a:gd name="T42" fmla="*/ 1 w 243"/>
                <a:gd name="T43" fmla="*/ 53 h 305"/>
                <a:gd name="T44" fmla="*/ 2 w 243"/>
                <a:gd name="T45" fmla="*/ 59 h 305"/>
                <a:gd name="T46" fmla="*/ 5 w 243"/>
                <a:gd name="T47" fmla="*/ 68 h 305"/>
                <a:gd name="T48" fmla="*/ 5 w 243"/>
                <a:gd name="T49" fmla="*/ 68 h 305"/>
                <a:gd name="T50" fmla="*/ 89 w 243"/>
                <a:gd name="T51" fmla="*/ 276 h 305"/>
                <a:gd name="T52" fmla="*/ 89 w 243"/>
                <a:gd name="T53" fmla="*/ 276 h 305"/>
                <a:gd name="T54" fmla="*/ 96 w 243"/>
                <a:gd name="T55" fmla="*/ 291 h 305"/>
                <a:gd name="T56" fmla="*/ 99 w 243"/>
                <a:gd name="T57" fmla="*/ 296 h 305"/>
                <a:gd name="T58" fmla="*/ 104 w 243"/>
                <a:gd name="T59" fmla="*/ 301 h 305"/>
                <a:gd name="T60" fmla="*/ 109 w 243"/>
                <a:gd name="T61" fmla="*/ 303 h 305"/>
                <a:gd name="T62" fmla="*/ 115 w 243"/>
                <a:gd name="T63" fmla="*/ 305 h 305"/>
                <a:gd name="T64" fmla="*/ 122 w 243"/>
                <a:gd name="T65" fmla="*/ 305 h 305"/>
                <a:gd name="T66" fmla="*/ 131 w 243"/>
                <a:gd name="T67" fmla="*/ 303 h 305"/>
                <a:gd name="T68" fmla="*/ 131 w 243"/>
                <a:gd name="T69" fmla="*/ 303 h 305"/>
                <a:gd name="T70" fmla="*/ 170 w 243"/>
                <a:gd name="T71" fmla="*/ 291 h 305"/>
                <a:gd name="T72" fmla="*/ 204 w 243"/>
                <a:gd name="T73" fmla="*/ 281 h 305"/>
                <a:gd name="T74" fmla="*/ 204 w 243"/>
                <a:gd name="T75" fmla="*/ 281 h 305"/>
                <a:gd name="T76" fmla="*/ 223 w 243"/>
                <a:gd name="T77" fmla="*/ 275 h 305"/>
                <a:gd name="T78" fmla="*/ 231 w 243"/>
                <a:gd name="T79" fmla="*/ 272 h 305"/>
                <a:gd name="T80" fmla="*/ 237 w 243"/>
                <a:gd name="T81" fmla="*/ 268 h 305"/>
                <a:gd name="T82" fmla="*/ 241 w 243"/>
                <a:gd name="T83" fmla="*/ 264 h 305"/>
                <a:gd name="T84" fmla="*/ 242 w 243"/>
                <a:gd name="T85" fmla="*/ 262 h 305"/>
                <a:gd name="T86" fmla="*/ 243 w 243"/>
                <a:gd name="T87" fmla="*/ 259 h 305"/>
                <a:gd name="T88" fmla="*/ 243 w 243"/>
                <a:gd name="T89" fmla="*/ 251 h 305"/>
                <a:gd name="T90" fmla="*/ 241 w 243"/>
                <a:gd name="T91" fmla="*/ 242 h 305"/>
                <a:gd name="T92" fmla="*/ 241 w 243"/>
                <a:gd name="T93" fmla="*/ 242 h 305"/>
                <a:gd name="T94" fmla="*/ 166 w 243"/>
                <a:gd name="T95" fmla="*/ 18 h 305"/>
                <a:gd name="T96" fmla="*/ 166 w 243"/>
                <a:gd name="T97" fmla="*/ 18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305">
                  <a:moveTo>
                    <a:pt x="166" y="18"/>
                  </a:moveTo>
                  <a:lnTo>
                    <a:pt x="166" y="18"/>
                  </a:lnTo>
                  <a:lnTo>
                    <a:pt x="162" y="11"/>
                  </a:lnTo>
                  <a:lnTo>
                    <a:pt x="158" y="6"/>
                  </a:lnTo>
                  <a:lnTo>
                    <a:pt x="153" y="3"/>
                  </a:lnTo>
                  <a:lnTo>
                    <a:pt x="148" y="1"/>
                  </a:lnTo>
                  <a:lnTo>
                    <a:pt x="144" y="0"/>
                  </a:lnTo>
                  <a:lnTo>
                    <a:pt x="139" y="0"/>
                  </a:lnTo>
                  <a:lnTo>
                    <a:pt x="131" y="0"/>
                  </a:lnTo>
                  <a:lnTo>
                    <a:pt x="131" y="0"/>
                  </a:lnTo>
                  <a:lnTo>
                    <a:pt x="122" y="2"/>
                  </a:lnTo>
                  <a:lnTo>
                    <a:pt x="122" y="2"/>
                  </a:lnTo>
                  <a:lnTo>
                    <a:pt x="30" y="22"/>
                  </a:lnTo>
                  <a:lnTo>
                    <a:pt x="30" y="22"/>
                  </a:lnTo>
                  <a:lnTo>
                    <a:pt x="20" y="25"/>
                  </a:lnTo>
                  <a:lnTo>
                    <a:pt x="10" y="29"/>
                  </a:lnTo>
                  <a:lnTo>
                    <a:pt x="10" y="29"/>
                  </a:lnTo>
                  <a:lnTo>
                    <a:pt x="5" y="32"/>
                  </a:lnTo>
                  <a:lnTo>
                    <a:pt x="2" y="37"/>
                  </a:lnTo>
                  <a:lnTo>
                    <a:pt x="0" y="42"/>
                  </a:lnTo>
                  <a:lnTo>
                    <a:pt x="0" y="48"/>
                  </a:lnTo>
                  <a:lnTo>
                    <a:pt x="1" y="53"/>
                  </a:lnTo>
                  <a:lnTo>
                    <a:pt x="2" y="59"/>
                  </a:lnTo>
                  <a:lnTo>
                    <a:pt x="5" y="68"/>
                  </a:lnTo>
                  <a:lnTo>
                    <a:pt x="5" y="68"/>
                  </a:lnTo>
                  <a:lnTo>
                    <a:pt x="89" y="276"/>
                  </a:lnTo>
                  <a:lnTo>
                    <a:pt x="89" y="276"/>
                  </a:lnTo>
                  <a:lnTo>
                    <a:pt x="96" y="291"/>
                  </a:lnTo>
                  <a:lnTo>
                    <a:pt x="99" y="296"/>
                  </a:lnTo>
                  <a:lnTo>
                    <a:pt x="104" y="301"/>
                  </a:lnTo>
                  <a:lnTo>
                    <a:pt x="109" y="303"/>
                  </a:lnTo>
                  <a:lnTo>
                    <a:pt x="115" y="305"/>
                  </a:lnTo>
                  <a:lnTo>
                    <a:pt x="122" y="305"/>
                  </a:lnTo>
                  <a:lnTo>
                    <a:pt x="131" y="303"/>
                  </a:lnTo>
                  <a:lnTo>
                    <a:pt x="131" y="303"/>
                  </a:lnTo>
                  <a:lnTo>
                    <a:pt x="170" y="291"/>
                  </a:lnTo>
                  <a:lnTo>
                    <a:pt x="204" y="281"/>
                  </a:lnTo>
                  <a:lnTo>
                    <a:pt x="204" y="281"/>
                  </a:lnTo>
                  <a:lnTo>
                    <a:pt x="223" y="275"/>
                  </a:lnTo>
                  <a:lnTo>
                    <a:pt x="231" y="272"/>
                  </a:lnTo>
                  <a:lnTo>
                    <a:pt x="237" y="268"/>
                  </a:lnTo>
                  <a:lnTo>
                    <a:pt x="241" y="264"/>
                  </a:lnTo>
                  <a:lnTo>
                    <a:pt x="242" y="262"/>
                  </a:lnTo>
                  <a:lnTo>
                    <a:pt x="243" y="259"/>
                  </a:lnTo>
                  <a:lnTo>
                    <a:pt x="243" y="251"/>
                  </a:lnTo>
                  <a:lnTo>
                    <a:pt x="241" y="242"/>
                  </a:lnTo>
                  <a:lnTo>
                    <a:pt x="241" y="242"/>
                  </a:lnTo>
                  <a:lnTo>
                    <a:pt x="166" y="18"/>
                  </a:lnTo>
                  <a:lnTo>
                    <a:pt x="166"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80" name="Group 1379"/>
          <p:cNvGrpSpPr/>
          <p:nvPr/>
        </p:nvGrpSpPr>
        <p:grpSpPr>
          <a:xfrm>
            <a:off x="1916089" y="2976303"/>
            <a:ext cx="239498" cy="443774"/>
            <a:chOff x="1918816" y="3080722"/>
            <a:chExt cx="179938" cy="333414"/>
          </a:xfrm>
        </p:grpSpPr>
        <p:sp>
          <p:nvSpPr>
            <p:cNvPr id="431" name="Freeform 144"/>
            <p:cNvSpPr>
              <a:spLocks noEditPoints="1"/>
            </p:cNvSpPr>
            <p:nvPr/>
          </p:nvSpPr>
          <p:spPr bwMode="black">
            <a:xfrm>
              <a:off x="1918816" y="3080722"/>
              <a:ext cx="179938" cy="317670"/>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chemeClr val="accent4">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54" name="Freeform 50"/>
            <p:cNvSpPr>
              <a:spLocks/>
            </p:cNvSpPr>
            <p:nvPr/>
          </p:nvSpPr>
          <p:spPr bwMode="auto">
            <a:xfrm rot="20676554">
              <a:off x="2015847" y="3334166"/>
              <a:ext cx="58660" cy="79595"/>
            </a:xfrm>
            <a:custGeom>
              <a:avLst/>
              <a:gdLst>
                <a:gd name="T0" fmla="*/ 435 w 540"/>
                <a:gd name="T1" fmla="*/ 562 h 806"/>
                <a:gd name="T2" fmla="*/ 440 w 540"/>
                <a:gd name="T3" fmla="*/ 535 h 806"/>
                <a:gd name="T4" fmla="*/ 436 w 540"/>
                <a:gd name="T5" fmla="*/ 452 h 806"/>
                <a:gd name="T6" fmla="*/ 475 w 540"/>
                <a:gd name="T7" fmla="*/ 78 h 806"/>
                <a:gd name="T8" fmla="*/ 473 w 540"/>
                <a:gd name="T9" fmla="*/ 68 h 806"/>
                <a:gd name="T10" fmla="*/ 463 w 540"/>
                <a:gd name="T11" fmla="*/ 52 h 806"/>
                <a:gd name="T12" fmla="*/ 443 w 540"/>
                <a:gd name="T13" fmla="*/ 37 h 806"/>
                <a:gd name="T14" fmla="*/ 416 w 540"/>
                <a:gd name="T15" fmla="*/ 25 h 806"/>
                <a:gd name="T16" fmla="*/ 365 w 540"/>
                <a:gd name="T17" fmla="*/ 10 h 806"/>
                <a:gd name="T18" fmla="*/ 281 w 540"/>
                <a:gd name="T19" fmla="*/ 0 h 806"/>
                <a:gd name="T20" fmla="*/ 193 w 540"/>
                <a:gd name="T21" fmla="*/ 0 h 806"/>
                <a:gd name="T22" fmla="*/ 110 w 540"/>
                <a:gd name="T23" fmla="*/ 10 h 806"/>
                <a:gd name="T24" fmla="*/ 58 w 540"/>
                <a:gd name="T25" fmla="*/ 25 h 806"/>
                <a:gd name="T26" fmla="*/ 31 w 540"/>
                <a:gd name="T27" fmla="*/ 37 h 806"/>
                <a:gd name="T28" fmla="*/ 11 w 540"/>
                <a:gd name="T29" fmla="*/ 52 h 806"/>
                <a:gd name="T30" fmla="*/ 1 w 540"/>
                <a:gd name="T31" fmla="*/ 68 h 806"/>
                <a:gd name="T32" fmla="*/ 0 w 540"/>
                <a:gd name="T33" fmla="*/ 422 h 806"/>
                <a:gd name="T34" fmla="*/ 0 w 540"/>
                <a:gd name="T35" fmla="*/ 522 h 806"/>
                <a:gd name="T36" fmla="*/ 0 w 540"/>
                <a:gd name="T37" fmla="*/ 774 h 806"/>
                <a:gd name="T38" fmla="*/ 3 w 540"/>
                <a:gd name="T39" fmla="*/ 781 h 806"/>
                <a:gd name="T40" fmla="*/ 26 w 540"/>
                <a:gd name="T41" fmla="*/ 789 h 806"/>
                <a:gd name="T42" fmla="*/ 96 w 540"/>
                <a:gd name="T43" fmla="*/ 799 h 806"/>
                <a:gd name="T44" fmla="*/ 161 w 540"/>
                <a:gd name="T45" fmla="*/ 802 h 806"/>
                <a:gd name="T46" fmla="*/ 273 w 540"/>
                <a:gd name="T47" fmla="*/ 806 h 806"/>
                <a:gd name="T48" fmla="*/ 401 w 540"/>
                <a:gd name="T49" fmla="*/ 802 h 806"/>
                <a:gd name="T50" fmla="*/ 483 w 540"/>
                <a:gd name="T51" fmla="*/ 796 h 806"/>
                <a:gd name="T52" fmla="*/ 516 w 540"/>
                <a:gd name="T53" fmla="*/ 787 h 806"/>
                <a:gd name="T54" fmla="*/ 530 w 540"/>
                <a:gd name="T55" fmla="*/ 779 h 806"/>
                <a:gd name="T56" fmla="*/ 536 w 540"/>
                <a:gd name="T57" fmla="*/ 771 h 806"/>
                <a:gd name="T58" fmla="*/ 536 w 540"/>
                <a:gd name="T59" fmla="*/ 727 h 806"/>
                <a:gd name="T60" fmla="*/ 540 w 540"/>
                <a:gd name="T61" fmla="*/ 692 h 806"/>
                <a:gd name="T62" fmla="*/ 538 w 540"/>
                <a:gd name="T63" fmla="*/ 635 h 806"/>
                <a:gd name="T64" fmla="*/ 525 w 540"/>
                <a:gd name="T65" fmla="*/ 597 h 806"/>
                <a:gd name="T66" fmla="*/ 506 w 540"/>
                <a:gd name="T67" fmla="*/ 575 h 806"/>
                <a:gd name="T68" fmla="*/ 485 w 540"/>
                <a:gd name="T69" fmla="*/ 562 h 806"/>
                <a:gd name="T70" fmla="*/ 465 w 540"/>
                <a:gd name="T71" fmla="*/ 559 h 806"/>
                <a:gd name="T72" fmla="*/ 441 w 540"/>
                <a:gd name="T73" fmla="*/ 560 h 806"/>
                <a:gd name="T74" fmla="*/ 435 w 540"/>
                <a:gd name="T75" fmla="*/ 562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0" h="806">
                  <a:moveTo>
                    <a:pt x="435" y="562"/>
                  </a:moveTo>
                  <a:lnTo>
                    <a:pt x="435" y="562"/>
                  </a:lnTo>
                  <a:lnTo>
                    <a:pt x="438" y="552"/>
                  </a:lnTo>
                  <a:lnTo>
                    <a:pt x="440" y="535"/>
                  </a:lnTo>
                  <a:lnTo>
                    <a:pt x="440" y="494"/>
                  </a:lnTo>
                  <a:lnTo>
                    <a:pt x="436" y="452"/>
                  </a:lnTo>
                  <a:lnTo>
                    <a:pt x="435" y="422"/>
                  </a:lnTo>
                  <a:lnTo>
                    <a:pt x="475" y="78"/>
                  </a:lnTo>
                  <a:lnTo>
                    <a:pt x="475" y="78"/>
                  </a:lnTo>
                  <a:lnTo>
                    <a:pt x="473" y="68"/>
                  </a:lnTo>
                  <a:lnTo>
                    <a:pt x="470" y="60"/>
                  </a:lnTo>
                  <a:lnTo>
                    <a:pt x="463" y="52"/>
                  </a:lnTo>
                  <a:lnTo>
                    <a:pt x="455" y="43"/>
                  </a:lnTo>
                  <a:lnTo>
                    <a:pt x="443" y="37"/>
                  </a:lnTo>
                  <a:lnTo>
                    <a:pt x="430" y="30"/>
                  </a:lnTo>
                  <a:lnTo>
                    <a:pt x="416" y="25"/>
                  </a:lnTo>
                  <a:lnTo>
                    <a:pt x="400" y="18"/>
                  </a:lnTo>
                  <a:lnTo>
                    <a:pt x="365" y="10"/>
                  </a:lnTo>
                  <a:lnTo>
                    <a:pt x="325" y="5"/>
                  </a:lnTo>
                  <a:lnTo>
                    <a:pt x="281" y="0"/>
                  </a:lnTo>
                  <a:lnTo>
                    <a:pt x="236" y="0"/>
                  </a:lnTo>
                  <a:lnTo>
                    <a:pt x="193" y="0"/>
                  </a:lnTo>
                  <a:lnTo>
                    <a:pt x="150" y="5"/>
                  </a:lnTo>
                  <a:lnTo>
                    <a:pt x="110" y="10"/>
                  </a:lnTo>
                  <a:lnTo>
                    <a:pt x="73" y="18"/>
                  </a:lnTo>
                  <a:lnTo>
                    <a:pt x="58" y="25"/>
                  </a:lnTo>
                  <a:lnTo>
                    <a:pt x="43" y="30"/>
                  </a:lnTo>
                  <a:lnTo>
                    <a:pt x="31" y="37"/>
                  </a:lnTo>
                  <a:lnTo>
                    <a:pt x="20" y="43"/>
                  </a:lnTo>
                  <a:lnTo>
                    <a:pt x="11" y="52"/>
                  </a:lnTo>
                  <a:lnTo>
                    <a:pt x="5" y="60"/>
                  </a:lnTo>
                  <a:lnTo>
                    <a:pt x="1" y="68"/>
                  </a:lnTo>
                  <a:lnTo>
                    <a:pt x="0" y="78"/>
                  </a:lnTo>
                  <a:lnTo>
                    <a:pt x="0" y="422"/>
                  </a:lnTo>
                  <a:lnTo>
                    <a:pt x="0" y="422"/>
                  </a:lnTo>
                  <a:lnTo>
                    <a:pt x="0" y="522"/>
                  </a:lnTo>
                  <a:lnTo>
                    <a:pt x="0" y="774"/>
                  </a:lnTo>
                  <a:lnTo>
                    <a:pt x="0" y="774"/>
                  </a:lnTo>
                  <a:lnTo>
                    <a:pt x="0" y="777"/>
                  </a:lnTo>
                  <a:lnTo>
                    <a:pt x="3" y="781"/>
                  </a:lnTo>
                  <a:lnTo>
                    <a:pt x="11" y="786"/>
                  </a:lnTo>
                  <a:lnTo>
                    <a:pt x="26" y="789"/>
                  </a:lnTo>
                  <a:lnTo>
                    <a:pt x="45" y="792"/>
                  </a:lnTo>
                  <a:lnTo>
                    <a:pt x="96" y="799"/>
                  </a:lnTo>
                  <a:lnTo>
                    <a:pt x="161" y="802"/>
                  </a:lnTo>
                  <a:lnTo>
                    <a:pt x="161" y="802"/>
                  </a:lnTo>
                  <a:lnTo>
                    <a:pt x="273" y="806"/>
                  </a:lnTo>
                  <a:lnTo>
                    <a:pt x="273" y="806"/>
                  </a:lnTo>
                  <a:lnTo>
                    <a:pt x="343" y="804"/>
                  </a:lnTo>
                  <a:lnTo>
                    <a:pt x="401" y="802"/>
                  </a:lnTo>
                  <a:lnTo>
                    <a:pt x="446" y="801"/>
                  </a:lnTo>
                  <a:lnTo>
                    <a:pt x="483" y="796"/>
                  </a:lnTo>
                  <a:lnTo>
                    <a:pt x="508" y="791"/>
                  </a:lnTo>
                  <a:lnTo>
                    <a:pt x="516" y="787"/>
                  </a:lnTo>
                  <a:lnTo>
                    <a:pt x="525" y="784"/>
                  </a:lnTo>
                  <a:lnTo>
                    <a:pt x="530" y="779"/>
                  </a:lnTo>
                  <a:lnTo>
                    <a:pt x="533" y="774"/>
                  </a:lnTo>
                  <a:lnTo>
                    <a:pt x="536" y="771"/>
                  </a:lnTo>
                  <a:lnTo>
                    <a:pt x="536" y="764"/>
                  </a:lnTo>
                  <a:lnTo>
                    <a:pt x="536" y="727"/>
                  </a:lnTo>
                  <a:lnTo>
                    <a:pt x="536" y="727"/>
                  </a:lnTo>
                  <a:lnTo>
                    <a:pt x="540" y="692"/>
                  </a:lnTo>
                  <a:lnTo>
                    <a:pt x="540" y="660"/>
                  </a:lnTo>
                  <a:lnTo>
                    <a:pt x="538" y="635"/>
                  </a:lnTo>
                  <a:lnTo>
                    <a:pt x="533" y="615"/>
                  </a:lnTo>
                  <a:lnTo>
                    <a:pt x="525" y="597"/>
                  </a:lnTo>
                  <a:lnTo>
                    <a:pt x="516" y="585"/>
                  </a:lnTo>
                  <a:lnTo>
                    <a:pt x="506" y="575"/>
                  </a:lnTo>
                  <a:lnTo>
                    <a:pt x="496" y="567"/>
                  </a:lnTo>
                  <a:lnTo>
                    <a:pt x="485" y="562"/>
                  </a:lnTo>
                  <a:lnTo>
                    <a:pt x="475" y="560"/>
                  </a:lnTo>
                  <a:lnTo>
                    <a:pt x="465" y="559"/>
                  </a:lnTo>
                  <a:lnTo>
                    <a:pt x="455" y="559"/>
                  </a:lnTo>
                  <a:lnTo>
                    <a:pt x="441" y="560"/>
                  </a:lnTo>
                  <a:lnTo>
                    <a:pt x="435" y="562"/>
                  </a:lnTo>
                  <a:lnTo>
                    <a:pt x="435" y="562"/>
                  </a:lnTo>
                  <a:close/>
                </a:path>
              </a:pathLst>
            </a:custGeom>
            <a:solidFill>
              <a:schemeClr val="accent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55" name="Freeform 50"/>
            <p:cNvSpPr>
              <a:spLocks/>
            </p:cNvSpPr>
            <p:nvPr/>
          </p:nvSpPr>
          <p:spPr bwMode="auto">
            <a:xfrm rot="1105159">
              <a:off x="1918913" y="3334541"/>
              <a:ext cx="58660" cy="79595"/>
            </a:xfrm>
            <a:custGeom>
              <a:avLst/>
              <a:gdLst>
                <a:gd name="T0" fmla="*/ 435 w 540"/>
                <a:gd name="T1" fmla="*/ 562 h 806"/>
                <a:gd name="T2" fmla="*/ 440 w 540"/>
                <a:gd name="T3" fmla="*/ 535 h 806"/>
                <a:gd name="T4" fmla="*/ 436 w 540"/>
                <a:gd name="T5" fmla="*/ 452 h 806"/>
                <a:gd name="T6" fmla="*/ 475 w 540"/>
                <a:gd name="T7" fmla="*/ 78 h 806"/>
                <a:gd name="T8" fmla="*/ 473 w 540"/>
                <a:gd name="T9" fmla="*/ 68 h 806"/>
                <a:gd name="T10" fmla="*/ 463 w 540"/>
                <a:gd name="T11" fmla="*/ 52 h 806"/>
                <a:gd name="T12" fmla="*/ 443 w 540"/>
                <a:gd name="T13" fmla="*/ 37 h 806"/>
                <a:gd name="T14" fmla="*/ 416 w 540"/>
                <a:gd name="T15" fmla="*/ 25 h 806"/>
                <a:gd name="T16" fmla="*/ 365 w 540"/>
                <a:gd name="T17" fmla="*/ 10 h 806"/>
                <a:gd name="T18" fmla="*/ 281 w 540"/>
                <a:gd name="T19" fmla="*/ 0 h 806"/>
                <a:gd name="T20" fmla="*/ 193 w 540"/>
                <a:gd name="T21" fmla="*/ 0 h 806"/>
                <a:gd name="T22" fmla="*/ 110 w 540"/>
                <a:gd name="T23" fmla="*/ 10 h 806"/>
                <a:gd name="T24" fmla="*/ 58 w 540"/>
                <a:gd name="T25" fmla="*/ 25 h 806"/>
                <a:gd name="T26" fmla="*/ 31 w 540"/>
                <a:gd name="T27" fmla="*/ 37 h 806"/>
                <a:gd name="T28" fmla="*/ 11 w 540"/>
                <a:gd name="T29" fmla="*/ 52 h 806"/>
                <a:gd name="T30" fmla="*/ 1 w 540"/>
                <a:gd name="T31" fmla="*/ 68 h 806"/>
                <a:gd name="T32" fmla="*/ 0 w 540"/>
                <a:gd name="T33" fmla="*/ 422 h 806"/>
                <a:gd name="T34" fmla="*/ 0 w 540"/>
                <a:gd name="T35" fmla="*/ 522 h 806"/>
                <a:gd name="T36" fmla="*/ 0 w 540"/>
                <a:gd name="T37" fmla="*/ 774 h 806"/>
                <a:gd name="T38" fmla="*/ 3 w 540"/>
                <a:gd name="T39" fmla="*/ 781 h 806"/>
                <a:gd name="T40" fmla="*/ 26 w 540"/>
                <a:gd name="T41" fmla="*/ 789 h 806"/>
                <a:gd name="T42" fmla="*/ 96 w 540"/>
                <a:gd name="T43" fmla="*/ 799 h 806"/>
                <a:gd name="T44" fmla="*/ 161 w 540"/>
                <a:gd name="T45" fmla="*/ 802 h 806"/>
                <a:gd name="T46" fmla="*/ 273 w 540"/>
                <a:gd name="T47" fmla="*/ 806 h 806"/>
                <a:gd name="T48" fmla="*/ 401 w 540"/>
                <a:gd name="T49" fmla="*/ 802 h 806"/>
                <a:gd name="T50" fmla="*/ 483 w 540"/>
                <a:gd name="T51" fmla="*/ 796 h 806"/>
                <a:gd name="T52" fmla="*/ 516 w 540"/>
                <a:gd name="T53" fmla="*/ 787 h 806"/>
                <a:gd name="T54" fmla="*/ 530 w 540"/>
                <a:gd name="T55" fmla="*/ 779 h 806"/>
                <a:gd name="T56" fmla="*/ 536 w 540"/>
                <a:gd name="T57" fmla="*/ 771 h 806"/>
                <a:gd name="T58" fmla="*/ 536 w 540"/>
                <a:gd name="T59" fmla="*/ 727 h 806"/>
                <a:gd name="T60" fmla="*/ 540 w 540"/>
                <a:gd name="T61" fmla="*/ 692 h 806"/>
                <a:gd name="T62" fmla="*/ 538 w 540"/>
                <a:gd name="T63" fmla="*/ 635 h 806"/>
                <a:gd name="T64" fmla="*/ 525 w 540"/>
                <a:gd name="T65" fmla="*/ 597 h 806"/>
                <a:gd name="T66" fmla="*/ 506 w 540"/>
                <a:gd name="T67" fmla="*/ 575 h 806"/>
                <a:gd name="T68" fmla="*/ 485 w 540"/>
                <a:gd name="T69" fmla="*/ 562 h 806"/>
                <a:gd name="T70" fmla="*/ 465 w 540"/>
                <a:gd name="T71" fmla="*/ 559 h 806"/>
                <a:gd name="T72" fmla="*/ 441 w 540"/>
                <a:gd name="T73" fmla="*/ 560 h 806"/>
                <a:gd name="T74" fmla="*/ 435 w 540"/>
                <a:gd name="T75" fmla="*/ 562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0" h="806">
                  <a:moveTo>
                    <a:pt x="435" y="562"/>
                  </a:moveTo>
                  <a:lnTo>
                    <a:pt x="435" y="562"/>
                  </a:lnTo>
                  <a:lnTo>
                    <a:pt x="438" y="552"/>
                  </a:lnTo>
                  <a:lnTo>
                    <a:pt x="440" y="535"/>
                  </a:lnTo>
                  <a:lnTo>
                    <a:pt x="440" y="494"/>
                  </a:lnTo>
                  <a:lnTo>
                    <a:pt x="436" y="452"/>
                  </a:lnTo>
                  <a:lnTo>
                    <a:pt x="435" y="422"/>
                  </a:lnTo>
                  <a:lnTo>
                    <a:pt x="475" y="78"/>
                  </a:lnTo>
                  <a:lnTo>
                    <a:pt x="475" y="78"/>
                  </a:lnTo>
                  <a:lnTo>
                    <a:pt x="473" y="68"/>
                  </a:lnTo>
                  <a:lnTo>
                    <a:pt x="470" y="60"/>
                  </a:lnTo>
                  <a:lnTo>
                    <a:pt x="463" y="52"/>
                  </a:lnTo>
                  <a:lnTo>
                    <a:pt x="455" y="43"/>
                  </a:lnTo>
                  <a:lnTo>
                    <a:pt x="443" y="37"/>
                  </a:lnTo>
                  <a:lnTo>
                    <a:pt x="430" y="30"/>
                  </a:lnTo>
                  <a:lnTo>
                    <a:pt x="416" y="25"/>
                  </a:lnTo>
                  <a:lnTo>
                    <a:pt x="400" y="18"/>
                  </a:lnTo>
                  <a:lnTo>
                    <a:pt x="365" y="10"/>
                  </a:lnTo>
                  <a:lnTo>
                    <a:pt x="325" y="5"/>
                  </a:lnTo>
                  <a:lnTo>
                    <a:pt x="281" y="0"/>
                  </a:lnTo>
                  <a:lnTo>
                    <a:pt x="236" y="0"/>
                  </a:lnTo>
                  <a:lnTo>
                    <a:pt x="193" y="0"/>
                  </a:lnTo>
                  <a:lnTo>
                    <a:pt x="150" y="5"/>
                  </a:lnTo>
                  <a:lnTo>
                    <a:pt x="110" y="10"/>
                  </a:lnTo>
                  <a:lnTo>
                    <a:pt x="73" y="18"/>
                  </a:lnTo>
                  <a:lnTo>
                    <a:pt x="58" y="25"/>
                  </a:lnTo>
                  <a:lnTo>
                    <a:pt x="43" y="30"/>
                  </a:lnTo>
                  <a:lnTo>
                    <a:pt x="31" y="37"/>
                  </a:lnTo>
                  <a:lnTo>
                    <a:pt x="20" y="43"/>
                  </a:lnTo>
                  <a:lnTo>
                    <a:pt x="11" y="52"/>
                  </a:lnTo>
                  <a:lnTo>
                    <a:pt x="5" y="60"/>
                  </a:lnTo>
                  <a:lnTo>
                    <a:pt x="1" y="68"/>
                  </a:lnTo>
                  <a:lnTo>
                    <a:pt x="0" y="78"/>
                  </a:lnTo>
                  <a:lnTo>
                    <a:pt x="0" y="422"/>
                  </a:lnTo>
                  <a:lnTo>
                    <a:pt x="0" y="422"/>
                  </a:lnTo>
                  <a:lnTo>
                    <a:pt x="0" y="522"/>
                  </a:lnTo>
                  <a:lnTo>
                    <a:pt x="0" y="774"/>
                  </a:lnTo>
                  <a:lnTo>
                    <a:pt x="0" y="774"/>
                  </a:lnTo>
                  <a:lnTo>
                    <a:pt x="0" y="777"/>
                  </a:lnTo>
                  <a:lnTo>
                    <a:pt x="3" y="781"/>
                  </a:lnTo>
                  <a:lnTo>
                    <a:pt x="11" y="786"/>
                  </a:lnTo>
                  <a:lnTo>
                    <a:pt x="26" y="789"/>
                  </a:lnTo>
                  <a:lnTo>
                    <a:pt x="45" y="792"/>
                  </a:lnTo>
                  <a:lnTo>
                    <a:pt x="96" y="799"/>
                  </a:lnTo>
                  <a:lnTo>
                    <a:pt x="161" y="802"/>
                  </a:lnTo>
                  <a:lnTo>
                    <a:pt x="161" y="802"/>
                  </a:lnTo>
                  <a:lnTo>
                    <a:pt x="273" y="806"/>
                  </a:lnTo>
                  <a:lnTo>
                    <a:pt x="273" y="806"/>
                  </a:lnTo>
                  <a:lnTo>
                    <a:pt x="343" y="804"/>
                  </a:lnTo>
                  <a:lnTo>
                    <a:pt x="401" y="802"/>
                  </a:lnTo>
                  <a:lnTo>
                    <a:pt x="446" y="801"/>
                  </a:lnTo>
                  <a:lnTo>
                    <a:pt x="483" y="796"/>
                  </a:lnTo>
                  <a:lnTo>
                    <a:pt x="508" y="791"/>
                  </a:lnTo>
                  <a:lnTo>
                    <a:pt x="516" y="787"/>
                  </a:lnTo>
                  <a:lnTo>
                    <a:pt x="525" y="784"/>
                  </a:lnTo>
                  <a:lnTo>
                    <a:pt x="530" y="779"/>
                  </a:lnTo>
                  <a:lnTo>
                    <a:pt x="533" y="774"/>
                  </a:lnTo>
                  <a:lnTo>
                    <a:pt x="536" y="771"/>
                  </a:lnTo>
                  <a:lnTo>
                    <a:pt x="536" y="764"/>
                  </a:lnTo>
                  <a:lnTo>
                    <a:pt x="536" y="727"/>
                  </a:lnTo>
                  <a:lnTo>
                    <a:pt x="536" y="727"/>
                  </a:lnTo>
                  <a:lnTo>
                    <a:pt x="540" y="692"/>
                  </a:lnTo>
                  <a:lnTo>
                    <a:pt x="540" y="660"/>
                  </a:lnTo>
                  <a:lnTo>
                    <a:pt x="538" y="635"/>
                  </a:lnTo>
                  <a:lnTo>
                    <a:pt x="533" y="615"/>
                  </a:lnTo>
                  <a:lnTo>
                    <a:pt x="525" y="597"/>
                  </a:lnTo>
                  <a:lnTo>
                    <a:pt x="516" y="585"/>
                  </a:lnTo>
                  <a:lnTo>
                    <a:pt x="506" y="575"/>
                  </a:lnTo>
                  <a:lnTo>
                    <a:pt x="496" y="567"/>
                  </a:lnTo>
                  <a:lnTo>
                    <a:pt x="485" y="562"/>
                  </a:lnTo>
                  <a:lnTo>
                    <a:pt x="475" y="560"/>
                  </a:lnTo>
                  <a:lnTo>
                    <a:pt x="465" y="559"/>
                  </a:lnTo>
                  <a:lnTo>
                    <a:pt x="455" y="559"/>
                  </a:lnTo>
                  <a:lnTo>
                    <a:pt x="441" y="560"/>
                  </a:lnTo>
                  <a:lnTo>
                    <a:pt x="435" y="562"/>
                  </a:lnTo>
                  <a:lnTo>
                    <a:pt x="435" y="562"/>
                  </a:lnTo>
                  <a:close/>
                </a:path>
              </a:pathLst>
            </a:custGeom>
            <a:solidFill>
              <a:schemeClr val="accent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83" name="Rectangle 279"/>
          <p:cNvSpPr/>
          <p:nvPr/>
        </p:nvSpPr>
        <p:spPr bwMode="auto">
          <a:xfrm>
            <a:off x="747820" y="5145206"/>
            <a:ext cx="1534076" cy="564519"/>
          </a:xfrm>
          <a:custGeom>
            <a:avLst/>
            <a:gdLst>
              <a:gd name="connsiteX0" fmla="*/ 0 w 1268406"/>
              <a:gd name="connsiteY0" fmla="*/ 0 h 533627"/>
              <a:gd name="connsiteX1" fmla="*/ 1268406 w 1268406"/>
              <a:gd name="connsiteY1" fmla="*/ 0 h 533627"/>
              <a:gd name="connsiteX2" fmla="*/ 1268406 w 1268406"/>
              <a:gd name="connsiteY2" fmla="*/ 533627 h 533627"/>
              <a:gd name="connsiteX3" fmla="*/ 0 w 1268406"/>
              <a:gd name="connsiteY3" fmla="*/ 533627 h 533627"/>
              <a:gd name="connsiteX4" fmla="*/ 0 w 1268406"/>
              <a:gd name="connsiteY4" fmla="*/ 0 h 533627"/>
              <a:gd name="connsiteX0" fmla="*/ 0 w 1268406"/>
              <a:gd name="connsiteY0" fmla="*/ 0 h 545984"/>
              <a:gd name="connsiteX1" fmla="*/ 1268406 w 1268406"/>
              <a:gd name="connsiteY1" fmla="*/ 0 h 545984"/>
              <a:gd name="connsiteX2" fmla="*/ 959487 w 1268406"/>
              <a:gd name="connsiteY2" fmla="*/ 545984 h 545984"/>
              <a:gd name="connsiteX3" fmla="*/ 0 w 1268406"/>
              <a:gd name="connsiteY3" fmla="*/ 533627 h 545984"/>
              <a:gd name="connsiteX4" fmla="*/ 0 w 1268406"/>
              <a:gd name="connsiteY4" fmla="*/ 0 h 545984"/>
              <a:gd name="connsiteX0" fmla="*/ 593125 w 1268406"/>
              <a:gd name="connsiteY0" fmla="*/ 0 h 564519"/>
              <a:gd name="connsiteX1" fmla="*/ 1268406 w 1268406"/>
              <a:gd name="connsiteY1" fmla="*/ 18535 h 564519"/>
              <a:gd name="connsiteX2" fmla="*/ 959487 w 1268406"/>
              <a:gd name="connsiteY2" fmla="*/ 564519 h 564519"/>
              <a:gd name="connsiteX3" fmla="*/ 0 w 1268406"/>
              <a:gd name="connsiteY3" fmla="*/ 552162 h 564519"/>
              <a:gd name="connsiteX4" fmla="*/ 593125 w 1268406"/>
              <a:gd name="connsiteY4" fmla="*/ 0 h 564519"/>
              <a:gd name="connsiteX0" fmla="*/ 778476 w 1453757"/>
              <a:gd name="connsiteY0" fmla="*/ 0 h 564519"/>
              <a:gd name="connsiteX1" fmla="*/ 1453757 w 1453757"/>
              <a:gd name="connsiteY1" fmla="*/ 18535 h 564519"/>
              <a:gd name="connsiteX2" fmla="*/ 1144838 w 1453757"/>
              <a:gd name="connsiteY2" fmla="*/ 564519 h 564519"/>
              <a:gd name="connsiteX3" fmla="*/ 0 w 1453757"/>
              <a:gd name="connsiteY3" fmla="*/ 132032 h 564519"/>
              <a:gd name="connsiteX4" fmla="*/ 778476 w 1453757"/>
              <a:gd name="connsiteY4" fmla="*/ 0 h 564519"/>
              <a:gd name="connsiteX0" fmla="*/ 858795 w 1534076"/>
              <a:gd name="connsiteY0" fmla="*/ 0 h 564519"/>
              <a:gd name="connsiteX1" fmla="*/ 1534076 w 1534076"/>
              <a:gd name="connsiteY1" fmla="*/ 18535 h 564519"/>
              <a:gd name="connsiteX2" fmla="*/ 1225157 w 1534076"/>
              <a:gd name="connsiteY2" fmla="*/ 564519 h 564519"/>
              <a:gd name="connsiteX3" fmla="*/ 0 w 1534076"/>
              <a:gd name="connsiteY3" fmla="*/ 132032 h 564519"/>
              <a:gd name="connsiteX4" fmla="*/ 858795 w 1534076"/>
              <a:gd name="connsiteY4" fmla="*/ 0 h 564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076" h="564519">
                <a:moveTo>
                  <a:pt x="858795" y="0"/>
                </a:moveTo>
                <a:lnTo>
                  <a:pt x="1534076" y="18535"/>
                </a:lnTo>
                <a:lnTo>
                  <a:pt x="1225157" y="564519"/>
                </a:lnTo>
                <a:lnTo>
                  <a:pt x="0" y="132032"/>
                </a:lnTo>
                <a:lnTo>
                  <a:pt x="858795" y="0"/>
                </a:lnTo>
                <a:close/>
              </a:path>
            </a:pathLst>
          </a:custGeom>
          <a:solidFill>
            <a:schemeClr val="accent1">
              <a:lumMod val="75000"/>
              <a:alpha val="62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57" name="Freeform 32"/>
          <p:cNvSpPr>
            <a:spLocks noEditPoints="1"/>
          </p:cNvSpPr>
          <p:nvPr/>
        </p:nvSpPr>
        <p:spPr bwMode="auto">
          <a:xfrm>
            <a:off x="1133594" y="4336411"/>
            <a:ext cx="1140736" cy="965483"/>
          </a:xfrm>
          <a:custGeom>
            <a:avLst/>
            <a:gdLst>
              <a:gd name="T0" fmla="*/ 24 w 715"/>
              <a:gd name="T1" fmla="*/ 0 h 607"/>
              <a:gd name="T2" fmla="*/ 19 w 715"/>
              <a:gd name="T3" fmla="*/ 0 h 607"/>
              <a:gd name="T4" fmla="*/ 11 w 715"/>
              <a:gd name="T5" fmla="*/ 4 h 607"/>
              <a:gd name="T6" fmla="*/ 4 w 715"/>
              <a:gd name="T7" fmla="*/ 10 h 607"/>
              <a:gd name="T8" fmla="*/ 1 w 715"/>
              <a:gd name="T9" fmla="*/ 18 h 607"/>
              <a:gd name="T10" fmla="*/ 0 w 715"/>
              <a:gd name="T11" fmla="*/ 503 h 607"/>
              <a:gd name="T12" fmla="*/ 1 w 715"/>
              <a:gd name="T13" fmla="*/ 507 h 607"/>
              <a:gd name="T14" fmla="*/ 4 w 715"/>
              <a:gd name="T15" fmla="*/ 515 h 607"/>
              <a:gd name="T16" fmla="*/ 11 w 715"/>
              <a:gd name="T17" fmla="*/ 521 h 607"/>
              <a:gd name="T18" fmla="*/ 19 w 715"/>
              <a:gd name="T19" fmla="*/ 525 h 607"/>
              <a:gd name="T20" fmla="*/ 244 w 715"/>
              <a:gd name="T21" fmla="*/ 525 h 607"/>
              <a:gd name="T22" fmla="*/ 195 w 715"/>
              <a:gd name="T23" fmla="*/ 607 h 607"/>
              <a:gd name="T24" fmla="*/ 485 w 715"/>
              <a:gd name="T25" fmla="*/ 560 h 607"/>
              <a:gd name="T26" fmla="*/ 692 w 715"/>
              <a:gd name="T27" fmla="*/ 525 h 607"/>
              <a:gd name="T28" fmla="*/ 697 w 715"/>
              <a:gd name="T29" fmla="*/ 525 h 607"/>
              <a:gd name="T30" fmla="*/ 705 w 715"/>
              <a:gd name="T31" fmla="*/ 521 h 607"/>
              <a:gd name="T32" fmla="*/ 711 w 715"/>
              <a:gd name="T33" fmla="*/ 515 h 607"/>
              <a:gd name="T34" fmla="*/ 714 w 715"/>
              <a:gd name="T35" fmla="*/ 507 h 607"/>
              <a:gd name="T36" fmla="*/ 715 w 715"/>
              <a:gd name="T37" fmla="*/ 22 h 607"/>
              <a:gd name="T38" fmla="*/ 714 w 715"/>
              <a:gd name="T39" fmla="*/ 18 h 607"/>
              <a:gd name="T40" fmla="*/ 711 w 715"/>
              <a:gd name="T41" fmla="*/ 10 h 607"/>
              <a:gd name="T42" fmla="*/ 705 w 715"/>
              <a:gd name="T43" fmla="*/ 4 h 607"/>
              <a:gd name="T44" fmla="*/ 697 w 715"/>
              <a:gd name="T45" fmla="*/ 0 h 607"/>
              <a:gd name="T46" fmla="*/ 674 w 715"/>
              <a:gd name="T47" fmla="*/ 467 h 607"/>
              <a:gd name="T48" fmla="*/ 674 w 715"/>
              <a:gd name="T49" fmla="*/ 471 h 607"/>
              <a:gd name="T50" fmla="*/ 669 w 715"/>
              <a:gd name="T51" fmla="*/ 480 h 607"/>
              <a:gd name="T52" fmla="*/ 658 w 715"/>
              <a:gd name="T53" fmla="*/ 485 h 607"/>
              <a:gd name="T54" fmla="*/ 62 w 715"/>
              <a:gd name="T55" fmla="*/ 487 h 607"/>
              <a:gd name="T56" fmla="*/ 58 w 715"/>
              <a:gd name="T57" fmla="*/ 485 h 607"/>
              <a:gd name="T58" fmla="*/ 48 w 715"/>
              <a:gd name="T59" fmla="*/ 480 h 607"/>
              <a:gd name="T60" fmla="*/ 42 w 715"/>
              <a:gd name="T61" fmla="*/ 471 h 607"/>
              <a:gd name="T62" fmla="*/ 42 w 715"/>
              <a:gd name="T63" fmla="*/ 58 h 607"/>
              <a:gd name="T64" fmla="*/ 42 w 715"/>
              <a:gd name="T65" fmla="*/ 54 h 607"/>
              <a:gd name="T66" fmla="*/ 48 w 715"/>
              <a:gd name="T67" fmla="*/ 45 h 607"/>
              <a:gd name="T68" fmla="*/ 58 w 715"/>
              <a:gd name="T69" fmla="*/ 40 h 607"/>
              <a:gd name="T70" fmla="*/ 655 w 715"/>
              <a:gd name="T71" fmla="*/ 38 h 607"/>
              <a:gd name="T72" fmla="*/ 658 w 715"/>
              <a:gd name="T73" fmla="*/ 40 h 607"/>
              <a:gd name="T74" fmla="*/ 669 w 715"/>
              <a:gd name="T75" fmla="*/ 45 h 607"/>
              <a:gd name="T76" fmla="*/ 674 w 715"/>
              <a:gd name="T77" fmla="*/ 54 h 607"/>
              <a:gd name="T78" fmla="*/ 674 w 715"/>
              <a:gd name="T79" fmla="*/ 467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5" h="607">
                <a:moveTo>
                  <a:pt x="692" y="0"/>
                </a:moveTo>
                <a:lnTo>
                  <a:pt x="24" y="0"/>
                </a:lnTo>
                <a:lnTo>
                  <a:pt x="24" y="0"/>
                </a:lnTo>
                <a:lnTo>
                  <a:pt x="19" y="0"/>
                </a:lnTo>
                <a:lnTo>
                  <a:pt x="15" y="1"/>
                </a:lnTo>
                <a:lnTo>
                  <a:pt x="11" y="4"/>
                </a:lnTo>
                <a:lnTo>
                  <a:pt x="8" y="6"/>
                </a:lnTo>
                <a:lnTo>
                  <a:pt x="4" y="10"/>
                </a:lnTo>
                <a:lnTo>
                  <a:pt x="2" y="14"/>
                </a:lnTo>
                <a:lnTo>
                  <a:pt x="1" y="18"/>
                </a:lnTo>
                <a:lnTo>
                  <a:pt x="0" y="22"/>
                </a:lnTo>
                <a:lnTo>
                  <a:pt x="0" y="503"/>
                </a:lnTo>
                <a:lnTo>
                  <a:pt x="0" y="503"/>
                </a:lnTo>
                <a:lnTo>
                  <a:pt x="1" y="507"/>
                </a:lnTo>
                <a:lnTo>
                  <a:pt x="2" y="511"/>
                </a:lnTo>
                <a:lnTo>
                  <a:pt x="4" y="515"/>
                </a:lnTo>
                <a:lnTo>
                  <a:pt x="8" y="519"/>
                </a:lnTo>
                <a:lnTo>
                  <a:pt x="11" y="521"/>
                </a:lnTo>
                <a:lnTo>
                  <a:pt x="15" y="524"/>
                </a:lnTo>
                <a:lnTo>
                  <a:pt x="19" y="525"/>
                </a:lnTo>
                <a:lnTo>
                  <a:pt x="24" y="525"/>
                </a:lnTo>
                <a:lnTo>
                  <a:pt x="244" y="525"/>
                </a:lnTo>
                <a:lnTo>
                  <a:pt x="244" y="560"/>
                </a:lnTo>
                <a:lnTo>
                  <a:pt x="195" y="607"/>
                </a:lnTo>
                <a:lnTo>
                  <a:pt x="533" y="607"/>
                </a:lnTo>
                <a:lnTo>
                  <a:pt x="485" y="560"/>
                </a:lnTo>
                <a:lnTo>
                  <a:pt x="485" y="525"/>
                </a:lnTo>
                <a:lnTo>
                  <a:pt x="692" y="525"/>
                </a:lnTo>
                <a:lnTo>
                  <a:pt x="692" y="525"/>
                </a:lnTo>
                <a:lnTo>
                  <a:pt x="697" y="525"/>
                </a:lnTo>
                <a:lnTo>
                  <a:pt x="701" y="524"/>
                </a:lnTo>
                <a:lnTo>
                  <a:pt x="705" y="521"/>
                </a:lnTo>
                <a:lnTo>
                  <a:pt x="709" y="519"/>
                </a:lnTo>
                <a:lnTo>
                  <a:pt x="711" y="515"/>
                </a:lnTo>
                <a:lnTo>
                  <a:pt x="713" y="511"/>
                </a:lnTo>
                <a:lnTo>
                  <a:pt x="714" y="507"/>
                </a:lnTo>
                <a:lnTo>
                  <a:pt x="715" y="503"/>
                </a:lnTo>
                <a:lnTo>
                  <a:pt x="715" y="22"/>
                </a:lnTo>
                <a:lnTo>
                  <a:pt x="715" y="22"/>
                </a:lnTo>
                <a:lnTo>
                  <a:pt x="714" y="18"/>
                </a:lnTo>
                <a:lnTo>
                  <a:pt x="713" y="14"/>
                </a:lnTo>
                <a:lnTo>
                  <a:pt x="711" y="10"/>
                </a:lnTo>
                <a:lnTo>
                  <a:pt x="709" y="6"/>
                </a:lnTo>
                <a:lnTo>
                  <a:pt x="705" y="4"/>
                </a:lnTo>
                <a:lnTo>
                  <a:pt x="701" y="1"/>
                </a:lnTo>
                <a:lnTo>
                  <a:pt x="697" y="0"/>
                </a:lnTo>
                <a:lnTo>
                  <a:pt x="692" y="0"/>
                </a:lnTo>
                <a:close/>
                <a:moveTo>
                  <a:pt x="674" y="467"/>
                </a:moveTo>
                <a:lnTo>
                  <a:pt x="674" y="467"/>
                </a:lnTo>
                <a:lnTo>
                  <a:pt x="674" y="471"/>
                </a:lnTo>
                <a:lnTo>
                  <a:pt x="673" y="475"/>
                </a:lnTo>
                <a:lnTo>
                  <a:pt x="669" y="480"/>
                </a:lnTo>
                <a:lnTo>
                  <a:pt x="662" y="485"/>
                </a:lnTo>
                <a:lnTo>
                  <a:pt x="658" y="485"/>
                </a:lnTo>
                <a:lnTo>
                  <a:pt x="655" y="487"/>
                </a:lnTo>
                <a:lnTo>
                  <a:pt x="62" y="487"/>
                </a:lnTo>
                <a:lnTo>
                  <a:pt x="62" y="487"/>
                </a:lnTo>
                <a:lnTo>
                  <a:pt x="58" y="485"/>
                </a:lnTo>
                <a:lnTo>
                  <a:pt x="54" y="485"/>
                </a:lnTo>
                <a:lnTo>
                  <a:pt x="48" y="480"/>
                </a:lnTo>
                <a:lnTo>
                  <a:pt x="44" y="475"/>
                </a:lnTo>
                <a:lnTo>
                  <a:pt x="42" y="471"/>
                </a:lnTo>
                <a:lnTo>
                  <a:pt x="42" y="467"/>
                </a:lnTo>
                <a:lnTo>
                  <a:pt x="42" y="58"/>
                </a:lnTo>
                <a:lnTo>
                  <a:pt x="42" y="58"/>
                </a:lnTo>
                <a:lnTo>
                  <a:pt x="42" y="54"/>
                </a:lnTo>
                <a:lnTo>
                  <a:pt x="44" y="50"/>
                </a:lnTo>
                <a:lnTo>
                  <a:pt x="48" y="45"/>
                </a:lnTo>
                <a:lnTo>
                  <a:pt x="54" y="40"/>
                </a:lnTo>
                <a:lnTo>
                  <a:pt x="58" y="40"/>
                </a:lnTo>
                <a:lnTo>
                  <a:pt x="62" y="38"/>
                </a:lnTo>
                <a:lnTo>
                  <a:pt x="655" y="38"/>
                </a:lnTo>
                <a:lnTo>
                  <a:pt x="655" y="38"/>
                </a:lnTo>
                <a:lnTo>
                  <a:pt x="658" y="40"/>
                </a:lnTo>
                <a:lnTo>
                  <a:pt x="662" y="40"/>
                </a:lnTo>
                <a:lnTo>
                  <a:pt x="669" y="45"/>
                </a:lnTo>
                <a:lnTo>
                  <a:pt x="673" y="50"/>
                </a:lnTo>
                <a:lnTo>
                  <a:pt x="674" y="54"/>
                </a:lnTo>
                <a:lnTo>
                  <a:pt x="674" y="58"/>
                </a:lnTo>
                <a:lnTo>
                  <a:pt x="674" y="46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38" name="Group 437"/>
          <p:cNvGrpSpPr/>
          <p:nvPr/>
        </p:nvGrpSpPr>
        <p:grpSpPr>
          <a:xfrm>
            <a:off x="423845" y="4760837"/>
            <a:ext cx="1102796" cy="1807997"/>
            <a:chOff x="2086720" y="2952492"/>
            <a:chExt cx="420771" cy="689840"/>
          </a:xfrm>
        </p:grpSpPr>
        <p:sp>
          <p:nvSpPr>
            <p:cNvPr id="439" name="Freeform 1951"/>
            <p:cNvSpPr>
              <a:spLocks/>
            </p:cNvSpPr>
            <p:nvPr/>
          </p:nvSpPr>
          <p:spPr bwMode="auto">
            <a:xfrm>
              <a:off x="2169785" y="3102583"/>
              <a:ext cx="261216" cy="510886"/>
            </a:xfrm>
            <a:custGeom>
              <a:avLst/>
              <a:gdLst>
                <a:gd name="T0" fmla="*/ 1 w 1086"/>
                <a:gd name="T1" fmla="*/ 227 h 2128"/>
                <a:gd name="T2" fmla="*/ 5 w 1086"/>
                <a:gd name="T3" fmla="*/ 177 h 2128"/>
                <a:gd name="T4" fmla="*/ 19 w 1086"/>
                <a:gd name="T5" fmla="*/ 132 h 2128"/>
                <a:gd name="T6" fmla="*/ 41 w 1086"/>
                <a:gd name="T7" fmla="*/ 93 h 2128"/>
                <a:gd name="T8" fmla="*/ 73 w 1086"/>
                <a:gd name="T9" fmla="*/ 60 h 2128"/>
                <a:gd name="T10" fmla="*/ 110 w 1086"/>
                <a:gd name="T11" fmla="*/ 33 h 2128"/>
                <a:gd name="T12" fmla="*/ 152 w 1086"/>
                <a:gd name="T13" fmla="*/ 15 h 2128"/>
                <a:gd name="T14" fmla="*/ 197 w 1086"/>
                <a:gd name="T15" fmla="*/ 3 h 2128"/>
                <a:gd name="T16" fmla="*/ 242 w 1086"/>
                <a:gd name="T17" fmla="*/ 1 h 2128"/>
                <a:gd name="T18" fmla="*/ 287 w 1086"/>
                <a:gd name="T19" fmla="*/ 9 h 2128"/>
                <a:gd name="T20" fmla="*/ 329 w 1086"/>
                <a:gd name="T21" fmla="*/ 25 h 2128"/>
                <a:gd name="T22" fmla="*/ 348 w 1086"/>
                <a:gd name="T23" fmla="*/ 37 h 2128"/>
                <a:gd name="T24" fmla="*/ 361 w 1086"/>
                <a:gd name="T25" fmla="*/ 54 h 2128"/>
                <a:gd name="T26" fmla="*/ 385 w 1086"/>
                <a:gd name="T27" fmla="*/ 113 h 2128"/>
                <a:gd name="T28" fmla="*/ 404 w 1086"/>
                <a:gd name="T29" fmla="*/ 198 h 2128"/>
                <a:gd name="T30" fmla="*/ 424 w 1086"/>
                <a:gd name="T31" fmla="*/ 338 h 2128"/>
                <a:gd name="T32" fmla="*/ 442 w 1086"/>
                <a:gd name="T33" fmla="*/ 571 h 2128"/>
                <a:gd name="T34" fmla="*/ 453 w 1086"/>
                <a:gd name="T35" fmla="*/ 869 h 2128"/>
                <a:gd name="T36" fmla="*/ 565 w 1086"/>
                <a:gd name="T37" fmla="*/ 904 h 2128"/>
                <a:gd name="T38" fmla="*/ 898 w 1086"/>
                <a:gd name="T39" fmla="*/ 905 h 2128"/>
                <a:gd name="T40" fmla="*/ 929 w 1086"/>
                <a:gd name="T41" fmla="*/ 908 h 2128"/>
                <a:gd name="T42" fmla="*/ 977 w 1086"/>
                <a:gd name="T43" fmla="*/ 920 h 2128"/>
                <a:gd name="T44" fmla="*/ 1021 w 1086"/>
                <a:gd name="T45" fmla="*/ 944 h 2128"/>
                <a:gd name="T46" fmla="*/ 1056 w 1086"/>
                <a:gd name="T47" fmla="*/ 977 h 2128"/>
                <a:gd name="T48" fmla="*/ 1077 w 1086"/>
                <a:gd name="T49" fmla="*/ 1022 h 2128"/>
                <a:gd name="T50" fmla="*/ 1082 w 1086"/>
                <a:gd name="T51" fmla="*/ 1059 h 2128"/>
                <a:gd name="T52" fmla="*/ 1086 w 1086"/>
                <a:gd name="T53" fmla="*/ 1529 h 2128"/>
                <a:gd name="T54" fmla="*/ 1085 w 1086"/>
                <a:gd name="T55" fmla="*/ 2013 h 2128"/>
                <a:gd name="T56" fmla="*/ 1080 w 1086"/>
                <a:gd name="T57" fmla="*/ 2051 h 2128"/>
                <a:gd name="T58" fmla="*/ 1064 w 1086"/>
                <a:gd name="T59" fmla="*/ 2082 h 2128"/>
                <a:gd name="T60" fmla="*/ 1040 w 1086"/>
                <a:gd name="T61" fmla="*/ 2104 h 2128"/>
                <a:gd name="T62" fmla="*/ 1010 w 1086"/>
                <a:gd name="T63" fmla="*/ 2120 h 2128"/>
                <a:gd name="T64" fmla="*/ 976 w 1086"/>
                <a:gd name="T65" fmla="*/ 2127 h 2128"/>
                <a:gd name="T66" fmla="*/ 941 w 1086"/>
                <a:gd name="T67" fmla="*/ 2126 h 2128"/>
                <a:gd name="T68" fmla="*/ 907 w 1086"/>
                <a:gd name="T69" fmla="*/ 2117 h 2128"/>
                <a:gd name="T70" fmla="*/ 877 w 1086"/>
                <a:gd name="T71" fmla="*/ 2099 h 2128"/>
                <a:gd name="T72" fmla="*/ 854 w 1086"/>
                <a:gd name="T73" fmla="*/ 2074 h 2128"/>
                <a:gd name="T74" fmla="*/ 838 w 1086"/>
                <a:gd name="T75" fmla="*/ 2040 h 2128"/>
                <a:gd name="T76" fmla="*/ 832 w 1086"/>
                <a:gd name="T77" fmla="*/ 1982 h 2128"/>
                <a:gd name="T78" fmla="*/ 825 w 1086"/>
                <a:gd name="T79" fmla="*/ 1848 h 2128"/>
                <a:gd name="T80" fmla="*/ 827 w 1086"/>
                <a:gd name="T81" fmla="*/ 1487 h 2128"/>
                <a:gd name="T82" fmla="*/ 826 w 1086"/>
                <a:gd name="T83" fmla="*/ 1306 h 2128"/>
                <a:gd name="T84" fmla="*/ 393 w 1086"/>
                <a:gd name="T85" fmla="*/ 1307 h 2128"/>
                <a:gd name="T86" fmla="*/ 238 w 1086"/>
                <a:gd name="T87" fmla="*/ 1305 h 2128"/>
                <a:gd name="T88" fmla="*/ 205 w 1086"/>
                <a:gd name="T89" fmla="*/ 1299 h 2128"/>
                <a:gd name="T90" fmla="*/ 166 w 1086"/>
                <a:gd name="T91" fmla="*/ 1283 h 2128"/>
                <a:gd name="T92" fmla="*/ 115 w 1086"/>
                <a:gd name="T93" fmla="*/ 1242 h 2128"/>
                <a:gd name="T94" fmla="*/ 74 w 1086"/>
                <a:gd name="T95" fmla="*/ 1189 h 2128"/>
                <a:gd name="T96" fmla="*/ 45 w 1086"/>
                <a:gd name="T97" fmla="*/ 1125 h 2128"/>
                <a:gd name="T98" fmla="*/ 28 w 1086"/>
                <a:gd name="T99" fmla="*/ 1059 h 2128"/>
                <a:gd name="T100" fmla="*/ 17 w 1086"/>
                <a:gd name="T101" fmla="*/ 798 h 2128"/>
                <a:gd name="T102" fmla="*/ 5 w 1086"/>
                <a:gd name="T103" fmla="*/ 392 h 2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86" h="2128">
                  <a:moveTo>
                    <a:pt x="4" y="246"/>
                  </a:moveTo>
                  <a:lnTo>
                    <a:pt x="4" y="246"/>
                  </a:lnTo>
                  <a:lnTo>
                    <a:pt x="1" y="227"/>
                  </a:lnTo>
                  <a:lnTo>
                    <a:pt x="0" y="211"/>
                  </a:lnTo>
                  <a:lnTo>
                    <a:pt x="1" y="194"/>
                  </a:lnTo>
                  <a:lnTo>
                    <a:pt x="5" y="177"/>
                  </a:lnTo>
                  <a:lnTo>
                    <a:pt x="8" y="162"/>
                  </a:lnTo>
                  <a:lnTo>
                    <a:pt x="13" y="147"/>
                  </a:lnTo>
                  <a:lnTo>
                    <a:pt x="19" y="132"/>
                  </a:lnTo>
                  <a:lnTo>
                    <a:pt x="25" y="119"/>
                  </a:lnTo>
                  <a:lnTo>
                    <a:pt x="33" y="106"/>
                  </a:lnTo>
                  <a:lnTo>
                    <a:pt x="41" y="93"/>
                  </a:lnTo>
                  <a:lnTo>
                    <a:pt x="52" y="81"/>
                  </a:lnTo>
                  <a:lnTo>
                    <a:pt x="62" y="70"/>
                  </a:lnTo>
                  <a:lnTo>
                    <a:pt x="73" y="60"/>
                  </a:lnTo>
                  <a:lnTo>
                    <a:pt x="85" y="51"/>
                  </a:lnTo>
                  <a:lnTo>
                    <a:pt x="98" y="41"/>
                  </a:lnTo>
                  <a:lnTo>
                    <a:pt x="110" y="33"/>
                  </a:lnTo>
                  <a:lnTo>
                    <a:pt x="124" y="26"/>
                  </a:lnTo>
                  <a:lnTo>
                    <a:pt x="137" y="20"/>
                  </a:lnTo>
                  <a:lnTo>
                    <a:pt x="152" y="15"/>
                  </a:lnTo>
                  <a:lnTo>
                    <a:pt x="167" y="10"/>
                  </a:lnTo>
                  <a:lnTo>
                    <a:pt x="181" y="7"/>
                  </a:lnTo>
                  <a:lnTo>
                    <a:pt x="197" y="3"/>
                  </a:lnTo>
                  <a:lnTo>
                    <a:pt x="212" y="1"/>
                  </a:lnTo>
                  <a:lnTo>
                    <a:pt x="226" y="0"/>
                  </a:lnTo>
                  <a:lnTo>
                    <a:pt x="242" y="1"/>
                  </a:lnTo>
                  <a:lnTo>
                    <a:pt x="257" y="2"/>
                  </a:lnTo>
                  <a:lnTo>
                    <a:pt x="272" y="5"/>
                  </a:lnTo>
                  <a:lnTo>
                    <a:pt x="287" y="9"/>
                  </a:lnTo>
                  <a:lnTo>
                    <a:pt x="302" y="13"/>
                  </a:lnTo>
                  <a:lnTo>
                    <a:pt x="316" y="19"/>
                  </a:lnTo>
                  <a:lnTo>
                    <a:pt x="329" y="25"/>
                  </a:lnTo>
                  <a:lnTo>
                    <a:pt x="343" y="33"/>
                  </a:lnTo>
                  <a:lnTo>
                    <a:pt x="343" y="33"/>
                  </a:lnTo>
                  <a:lnTo>
                    <a:pt x="348" y="37"/>
                  </a:lnTo>
                  <a:lnTo>
                    <a:pt x="352" y="41"/>
                  </a:lnTo>
                  <a:lnTo>
                    <a:pt x="357" y="47"/>
                  </a:lnTo>
                  <a:lnTo>
                    <a:pt x="361" y="54"/>
                  </a:lnTo>
                  <a:lnTo>
                    <a:pt x="369" y="70"/>
                  </a:lnTo>
                  <a:lnTo>
                    <a:pt x="378" y="89"/>
                  </a:lnTo>
                  <a:lnTo>
                    <a:pt x="385" y="113"/>
                  </a:lnTo>
                  <a:lnTo>
                    <a:pt x="392" y="138"/>
                  </a:lnTo>
                  <a:lnTo>
                    <a:pt x="398" y="167"/>
                  </a:lnTo>
                  <a:lnTo>
                    <a:pt x="404" y="198"/>
                  </a:lnTo>
                  <a:lnTo>
                    <a:pt x="409" y="230"/>
                  </a:lnTo>
                  <a:lnTo>
                    <a:pt x="414" y="265"/>
                  </a:lnTo>
                  <a:lnTo>
                    <a:pt x="424" y="338"/>
                  </a:lnTo>
                  <a:lnTo>
                    <a:pt x="431" y="415"/>
                  </a:lnTo>
                  <a:lnTo>
                    <a:pt x="437" y="493"/>
                  </a:lnTo>
                  <a:lnTo>
                    <a:pt x="442" y="571"/>
                  </a:lnTo>
                  <a:lnTo>
                    <a:pt x="446" y="645"/>
                  </a:lnTo>
                  <a:lnTo>
                    <a:pt x="451" y="777"/>
                  </a:lnTo>
                  <a:lnTo>
                    <a:pt x="453" y="869"/>
                  </a:lnTo>
                  <a:lnTo>
                    <a:pt x="454" y="903"/>
                  </a:lnTo>
                  <a:lnTo>
                    <a:pt x="454" y="903"/>
                  </a:lnTo>
                  <a:lnTo>
                    <a:pt x="565" y="904"/>
                  </a:lnTo>
                  <a:lnTo>
                    <a:pt x="675" y="904"/>
                  </a:lnTo>
                  <a:lnTo>
                    <a:pt x="786" y="904"/>
                  </a:lnTo>
                  <a:lnTo>
                    <a:pt x="898" y="905"/>
                  </a:lnTo>
                  <a:lnTo>
                    <a:pt x="898" y="905"/>
                  </a:lnTo>
                  <a:lnTo>
                    <a:pt x="913" y="906"/>
                  </a:lnTo>
                  <a:lnTo>
                    <a:pt x="929" y="908"/>
                  </a:lnTo>
                  <a:lnTo>
                    <a:pt x="946" y="911"/>
                  </a:lnTo>
                  <a:lnTo>
                    <a:pt x="961" y="915"/>
                  </a:lnTo>
                  <a:lnTo>
                    <a:pt x="977" y="920"/>
                  </a:lnTo>
                  <a:lnTo>
                    <a:pt x="993" y="927"/>
                  </a:lnTo>
                  <a:lnTo>
                    <a:pt x="1007" y="934"/>
                  </a:lnTo>
                  <a:lnTo>
                    <a:pt x="1021" y="944"/>
                  </a:lnTo>
                  <a:lnTo>
                    <a:pt x="1034" y="954"/>
                  </a:lnTo>
                  <a:lnTo>
                    <a:pt x="1046" y="965"/>
                  </a:lnTo>
                  <a:lnTo>
                    <a:pt x="1056" y="977"/>
                  </a:lnTo>
                  <a:lnTo>
                    <a:pt x="1065" y="991"/>
                  </a:lnTo>
                  <a:lnTo>
                    <a:pt x="1072" y="1006"/>
                  </a:lnTo>
                  <a:lnTo>
                    <a:pt x="1077" y="1022"/>
                  </a:lnTo>
                  <a:lnTo>
                    <a:pt x="1081" y="1040"/>
                  </a:lnTo>
                  <a:lnTo>
                    <a:pt x="1082" y="1059"/>
                  </a:lnTo>
                  <a:lnTo>
                    <a:pt x="1082" y="1059"/>
                  </a:lnTo>
                  <a:lnTo>
                    <a:pt x="1084" y="1177"/>
                  </a:lnTo>
                  <a:lnTo>
                    <a:pt x="1085" y="1294"/>
                  </a:lnTo>
                  <a:lnTo>
                    <a:pt x="1086" y="1529"/>
                  </a:lnTo>
                  <a:lnTo>
                    <a:pt x="1084" y="1999"/>
                  </a:lnTo>
                  <a:lnTo>
                    <a:pt x="1084" y="1999"/>
                  </a:lnTo>
                  <a:lnTo>
                    <a:pt x="1085" y="2013"/>
                  </a:lnTo>
                  <a:lnTo>
                    <a:pt x="1085" y="2027"/>
                  </a:lnTo>
                  <a:lnTo>
                    <a:pt x="1083" y="2040"/>
                  </a:lnTo>
                  <a:lnTo>
                    <a:pt x="1080" y="2051"/>
                  </a:lnTo>
                  <a:lnTo>
                    <a:pt x="1075" y="2062"/>
                  </a:lnTo>
                  <a:lnTo>
                    <a:pt x="1070" y="2073"/>
                  </a:lnTo>
                  <a:lnTo>
                    <a:pt x="1064" y="2082"/>
                  </a:lnTo>
                  <a:lnTo>
                    <a:pt x="1057" y="2090"/>
                  </a:lnTo>
                  <a:lnTo>
                    <a:pt x="1049" y="2098"/>
                  </a:lnTo>
                  <a:lnTo>
                    <a:pt x="1040" y="2104"/>
                  </a:lnTo>
                  <a:lnTo>
                    <a:pt x="1030" y="2111"/>
                  </a:lnTo>
                  <a:lnTo>
                    <a:pt x="1020" y="2116"/>
                  </a:lnTo>
                  <a:lnTo>
                    <a:pt x="1010" y="2120"/>
                  </a:lnTo>
                  <a:lnTo>
                    <a:pt x="999" y="2123"/>
                  </a:lnTo>
                  <a:lnTo>
                    <a:pt x="988" y="2125"/>
                  </a:lnTo>
                  <a:lnTo>
                    <a:pt x="976" y="2127"/>
                  </a:lnTo>
                  <a:lnTo>
                    <a:pt x="964" y="2128"/>
                  </a:lnTo>
                  <a:lnTo>
                    <a:pt x="953" y="2127"/>
                  </a:lnTo>
                  <a:lnTo>
                    <a:pt x="941" y="2126"/>
                  </a:lnTo>
                  <a:lnTo>
                    <a:pt x="929" y="2124"/>
                  </a:lnTo>
                  <a:lnTo>
                    <a:pt x="918" y="2121"/>
                  </a:lnTo>
                  <a:lnTo>
                    <a:pt x="907" y="2117"/>
                  </a:lnTo>
                  <a:lnTo>
                    <a:pt x="897" y="2113"/>
                  </a:lnTo>
                  <a:lnTo>
                    <a:pt x="886" y="2106"/>
                  </a:lnTo>
                  <a:lnTo>
                    <a:pt x="877" y="2099"/>
                  </a:lnTo>
                  <a:lnTo>
                    <a:pt x="869" y="2092"/>
                  </a:lnTo>
                  <a:lnTo>
                    <a:pt x="861" y="2084"/>
                  </a:lnTo>
                  <a:lnTo>
                    <a:pt x="854" y="2074"/>
                  </a:lnTo>
                  <a:lnTo>
                    <a:pt x="848" y="2064"/>
                  </a:lnTo>
                  <a:lnTo>
                    <a:pt x="842" y="2052"/>
                  </a:lnTo>
                  <a:lnTo>
                    <a:pt x="838" y="2040"/>
                  </a:lnTo>
                  <a:lnTo>
                    <a:pt x="835" y="2027"/>
                  </a:lnTo>
                  <a:lnTo>
                    <a:pt x="835" y="2027"/>
                  </a:lnTo>
                  <a:lnTo>
                    <a:pt x="832" y="1982"/>
                  </a:lnTo>
                  <a:lnTo>
                    <a:pt x="829" y="1938"/>
                  </a:lnTo>
                  <a:lnTo>
                    <a:pt x="827" y="1893"/>
                  </a:lnTo>
                  <a:lnTo>
                    <a:pt x="825" y="1848"/>
                  </a:lnTo>
                  <a:lnTo>
                    <a:pt x="824" y="1758"/>
                  </a:lnTo>
                  <a:lnTo>
                    <a:pt x="825" y="1667"/>
                  </a:lnTo>
                  <a:lnTo>
                    <a:pt x="827" y="1487"/>
                  </a:lnTo>
                  <a:lnTo>
                    <a:pt x="827" y="1396"/>
                  </a:lnTo>
                  <a:lnTo>
                    <a:pt x="826" y="1306"/>
                  </a:lnTo>
                  <a:lnTo>
                    <a:pt x="826" y="1306"/>
                  </a:lnTo>
                  <a:lnTo>
                    <a:pt x="682" y="1306"/>
                  </a:lnTo>
                  <a:lnTo>
                    <a:pt x="538" y="1307"/>
                  </a:lnTo>
                  <a:lnTo>
                    <a:pt x="393" y="1307"/>
                  </a:lnTo>
                  <a:lnTo>
                    <a:pt x="250" y="1306"/>
                  </a:lnTo>
                  <a:lnTo>
                    <a:pt x="250" y="1306"/>
                  </a:lnTo>
                  <a:lnTo>
                    <a:pt x="238" y="1305"/>
                  </a:lnTo>
                  <a:lnTo>
                    <a:pt x="226" y="1304"/>
                  </a:lnTo>
                  <a:lnTo>
                    <a:pt x="216" y="1302"/>
                  </a:lnTo>
                  <a:lnTo>
                    <a:pt x="205" y="1299"/>
                  </a:lnTo>
                  <a:lnTo>
                    <a:pt x="195" y="1296"/>
                  </a:lnTo>
                  <a:lnTo>
                    <a:pt x="185" y="1292"/>
                  </a:lnTo>
                  <a:lnTo>
                    <a:pt x="166" y="1283"/>
                  </a:lnTo>
                  <a:lnTo>
                    <a:pt x="148" y="1271"/>
                  </a:lnTo>
                  <a:lnTo>
                    <a:pt x="130" y="1257"/>
                  </a:lnTo>
                  <a:lnTo>
                    <a:pt x="115" y="1242"/>
                  </a:lnTo>
                  <a:lnTo>
                    <a:pt x="100" y="1226"/>
                  </a:lnTo>
                  <a:lnTo>
                    <a:pt x="86" y="1207"/>
                  </a:lnTo>
                  <a:lnTo>
                    <a:pt x="74" y="1189"/>
                  </a:lnTo>
                  <a:lnTo>
                    <a:pt x="64" y="1168"/>
                  </a:lnTo>
                  <a:lnTo>
                    <a:pt x="54" y="1147"/>
                  </a:lnTo>
                  <a:lnTo>
                    <a:pt x="45" y="1125"/>
                  </a:lnTo>
                  <a:lnTo>
                    <a:pt x="38" y="1104"/>
                  </a:lnTo>
                  <a:lnTo>
                    <a:pt x="33" y="1082"/>
                  </a:lnTo>
                  <a:lnTo>
                    <a:pt x="28" y="1059"/>
                  </a:lnTo>
                  <a:lnTo>
                    <a:pt x="28" y="1059"/>
                  </a:lnTo>
                  <a:lnTo>
                    <a:pt x="25" y="986"/>
                  </a:lnTo>
                  <a:lnTo>
                    <a:pt x="17" y="798"/>
                  </a:lnTo>
                  <a:lnTo>
                    <a:pt x="12" y="674"/>
                  </a:lnTo>
                  <a:lnTo>
                    <a:pt x="8" y="537"/>
                  </a:lnTo>
                  <a:lnTo>
                    <a:pt x="5" y="392"/>
                  </a:lnTo>
                  <a:lnTo>
                    <a:pt x="4" y="246"/>
                  </a:lnTo>
                  <a:lnTo>
                    <a:pt x="4" y="2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40" name="Freeform 2008"/>
            <p:cNvSpPr>
              <a:spLocks/>
            </p:cNvSpPr>
            <p:nvPr/>
          </p:nvSpPr>
          <p:spPr bwMode="auto">
            <a:xfrm>
              <a:off x="2312661" y="3168969"/>
              <a:ext cx="194830" cy="66386"/>
            </a:xfrm>
            <a:custGeom>
              <a:avLst/>
              <a:gdLst>
                <a:gd name="T0" fmla="*/ 810 w 810"/>
                <a:gd name="T1" fmla="*/ 137 h 273"/>
                <a:gd name="T2" fmla="*/ 807 w 810"/>
                <a:gd name="T3" fmla="*/ 110 h 273"/>
                <a:gd name="T4" fmla="*/ 799 w 810"/>
                <a:gd name="T5" fmla="*/ 83 h 273"/>
                <a:gd name="T6" fmla="*/ 787 w 810"/>
                <a:gd name="T7" fmla="*/ 61 h 273"/>
                <a:gd name="T8" fmla="*/ 770 w 810"/>
                <a:gd name="T9" fmla="*/ 40 h 273"/>
                <a:gd name="T10" fmla="*/ 750 w 810"/>
                <a:gd name="T11" fmla="*/ 24 h 273"/>
                <a:gd name="T12" fmla="*/ 727 w 810"/>
                <a:gd name="T13" fmla="*/ 11 h 273"/>
                <a:gd name="T14" fmla="*/ 701 w 810"/>
                <a:gd name="T15" fmla="*/ 3 h 273"/>
                <a:gd name="T16" fmla="*/ 673 w 810"/>
                <a:gd name="T17" fmla="*/ 0 h 273"/>
                <a:gd name="T18" fmla="*/ 136 w 810"/>
                <a:gd name="T19" fmla="*/ 0 h 273"/>
                <a:gd name="T20" fmla="*/ 108 w 810"/>
                <a:gd name="T21" fmla="*/ 3 h 273"/>
                <a:gd name="T22" fmla="*/ 83 w 810"/>
                <a:gd name="T23" fmla="*/ 11 h 273"/>
                <a:gd name="T24" fmla="*/ 60 w 810"/>
                <a:gd name="T25" fmla="*/ 24 h 273"/>
                <a:gd name="T26" fmla="*/ 40 w 810"/>
                <a:gd name="T27" fmla="*/ 40 h 273"/>
                <a:gd name="T28" fmla="*/ 24 w 810"/>
                <a:gd name="T29" fmla="*/ 61 h 273"/>
                <a:gd name="T30" fmla="*/ 10 w 810"/>
                <a:gd name="T31" fmla="*/ 83 h 273"/>
                <a:gd name="T32" fmla="*/ 2 w 810"/>
                <a:gd name="T33" fmla="*/ 110 h 273"/>
                <a:gd name="T34" fmla="*/ 0 w 810"/>
                <a:gd name="T35" fmla="*/ 137 h 273"/>
                <a:gd name="T36" fmla="*/ 0 w 810"/>
                <a:gd name="T37" fmla="*/ 137 h 273"/>
                <a:gd name="T38" fmla="*/ 2 w 810"/>
                <a:gd name="T39" fmla="*/ 164 h 273"/>
                <a:gd name="T40" fmla="*/ 10 w 810"/>
                <a:gd name="T41" fmla="*/ 190 h 273"/>
                <a:gd name="T42" fmla="*/ 24 w 810"/>
                <a:gd name="T43" fmla="*/ 213 h 273"/>
                <a:gd name="T44" fmla="*/ 40 w 810"/>
                <a:gd name="T45" fmla="*/ 233 h 273"/>
                <a:gd name="T46" fmla="*/ 60 w 810"/>
                <a:gd name="T47" fmla="*/ 250 h 273"/>
                <a:gd name="T48" fmla="*/ 83 w 810"/>
                <a:gd name="T49" fmla="*/ 263 h 273"/>
                <a:gd name="T50" fmla="*/ 108 w 810"/>
                <a:gd name="T51" fmla="*/ 271 h 273"/>
                <a:gd name="T52" fmla="*/ 136 w 810"/>
                <a:gd name="T53" fmla="*/ 273 h 273"/>
                <a:gd name="T54" fmla="*/ 673 w 810"/>
                <a:gd name="T55" fmla="*/ 273 h 273"/>
                <a:gd name="T56" fmla="*/ 701 w 810"/>
                <a:gd name="T57" fmla="*/ 271 h 273"/>
                <a:gd name="T58" fmla="*/ 727 w 810"/>
                <a:gd name="T59" fmla="*/ 263 h 273"/>
                <a:gd name="T60" fmla="*/ 750 w 810"/>
                <a:gd name="T61" fmla="*/ 250 h 273"/>
                <a:gd name="T62" fmla="*/ 770 w 810"/>
                <a:gd name="T63" fmla="*/ 233 h 273"/>
                <a:gd name="T64" fmla="*/ 787 w 810"/>
                <a:gd name="T65" fmla="*/ 213 h 273"/>
                <a:gd name="T66" fmla="*/ 799 w 810"/>
                <a:gd name="T67" fmla="*/ 190 h 273"/>
                <a:gd name="T68" fmla="*/ 807 w 810"/>
                <a:gd name="T69" fmla="*/ 164 h 273"/>
                <a:gd name="T70" fmla="*/ 810 w 810"/>
                <a:gd name="T71" fmla="*/ 13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0" h="273">
                  <a:moveTo>
                    <a:pt x="810" y="137"/>
                  </a:moveTo>
                  <a:lnTo>
                    <a:pt x="810" y="137"/>
                  </a:lnTo>
                  <a:lnTo>
                    <a:pt x="809" y="123"/>
                  </a:lnTo>
                  <a:lnTo>
                    <a:pt x="807" y="110"/>
                  </a:lnTo>
                  <a:lnTo>
                    <a:pt x="804" y="96"/>
                  </a:lnTo>
                  <a:lnTo>
                    <a:pt x="799" y="83"/>
                  </a:lnTo>
                  <a:lnTo>
                    <a:pt x="793" y="72"/>
                  </a:lnTo>
                  <a:lnTo>
                    <a:pt x="787" y="61"/>
                  </a:lnTo>
                  <a:lnTo>
                    <a:pt x="779" y="49"/>
                  </a:lnTo>
                  <a:lnTo>
                    <a:pt x="770" y="40"/>
                  </a:lnTo>
                  <a:lnTo>
                    <a:pt x="760" y="31"/>
                  </a:lnTo>
                  <a:lnTo>
                    <a:pt x="750" y="24"/>
                  </a:lnTo>
                  <a:lnTo>
                    <a:pt x="739" y="17"/>
                  </a:lnTo>
                  <a:lnTo>
                    <a:pt x="727" y="11"/>
                  </a:lnTo>
                  <a:lnTo>
                    <a:pt x="714" y="6"/>
                  </a:lnTo>
                  <a:lnTo>
                    <a:pt x="701" y="3"/>
                  </a:lnTo>
                  <a:lnTo>
                    <a:pt x="688" y="0"/>
                  </a:lnTo>
                  <a:lnTo>
                    <a:pt x="673" y="0"/>
                  </a:lnTo>
                  <a:lnTo>
                    <a:pt x="136" y="0"/>
                  </a:lnTo>
                  <a:lnTo>
                    <a:pt x="136" y="0"/>
                  </a:lnTo>
                  <a:lnTo>
                    <a:pt x="123" y="0"/>
                  </a:lnTo>
                  <a:lnTo>
                    <a:pt x="108" y="3"/>
                  </a:lnTo>
                  <a:lnTo>
                    <a:pt x="96" y="6"/>
                  </a:lnTo>
                  <a:lnTo>
                    <a:pt x="83" y="11"/>
                  </a:lnTo>
                  <a:lnTo>
                    <a:pt x="72" y="17"/>
                  </a:lnTo>
                  <a:lnTo>
                    <a:pt x="60" y="24"/>
                  </a:lnTo>
                  <a:lnTo>
                    <a:pt x="49" y="31"/>
                  </a:lnTo>
                  <a:lnTo>
                    <a:pt x="40" y="40"/>
                  </a:lnTo>
                  <a:lnTo>
                    <a:pt x="31" y="49"/>
                  </a:lnTo>
                  <a:lnTo>
                    <a:pt x="24" y="61"/>
                  </a:lnTo>
                  <a:lnTo>
                    <a:pt x="16" y="72"/>
                  </a:lnTo>
                  <a:lnTo>
                    <a:pt x="10" y="83"/>
                  </a:lnTo>
                  <a:lnTo>
                    <a:pt x="6" y="96"/>
                  </a:lnTo>
                  <a:lnTo>
                    <a:pt x="2" y="110"/>
                  </a:lnTo>
                  <a:lnTo>
                    <a:pt x="0" y="123"/>
                  </a:lnTo>
                  <a:lnTo>
                    <a:pt x="0" y="137"/>
                  </a:lnTo>
                  <a:lnTo>
                    <a:pt x="0" y="137"/>
                  </a:lnTo>
                  <a:lnTo>
                    <a:pt x="0" y="137"/>
                  </a:lnTo>
                  <a:lnTo>
                    <a:pt x="0" y="151"/>
                  </a:lnTo>
                  <a:lnTo>
                    <a:pt x="2" y="164"/>
                  </a:lnTo>
                  <a:lnTo>
                    <a:pt x="6" y="177"/>
                  </a:lnTo>
                  <a:lnTo>
                    <a:pt x="10" y="190"/>
                  </a:lnTo>
                  <a:lnTo>
                    <a:pt x="16" y="202"/>
                  </a:lnTo>
                  <a:lnTo>
                    <a:pt x="24" y="213"/>
                  </a:lnTo>
                  <a:lnTo>
                    <a:pt x="31" y="224"/>
                  </a:lnTo>
                  <a:lnTo>
                    <a:pt x="40" y="233"/>
                  </a:lnTo>
                  <a:lnTo>
                    <a:pt x="49" y="243"/>
                  </a:lnTo>
                  <a:lnTo>
                    <a:pt x="60" y="250"/>
                  </a:lnTo>
                  <a:lnTo>
                    <a:pt x="72" y="257"/>
                  </a:lnTo>
                  <a:lnTo>
                    <a:pt x="83" y="263"/>
                  </a:lnTo>
                  <a:lnTo>
                    <a:pt x="96" y="267"/>
                  </a:lnTo>
                  <a:lnTo>
                    <a:pt x="108" y="271"/>
                  </a:lnTo>
                  <a:lnTo>
                    <a:pt x="123" y="273"/>
                  </a:lnTo>
                  <a:lnTo>
                    <a:pt x="136" y="273"/>
                  </a:lnTo>
                  <a:lnTo>
                    <a:pt x="673" y="273"/>
                  </a:lnTo>
                  <a:lnTo>
                    <a:pt x="673" y="273"/>
                  </a:lnTo>
                  <a:lnTo>
                    <a:pt x="688" y="273"/>
                  </a:lnTo>
                  <a:lnTo>
                    <a:pt x="701" y="271"/>
                  </a:lnTo>
                  <a:lnTo>
                    <a:pt x="714" y="267"/>
                  </a:lnTo>
                  <a:lnTo>
                    <a:pt x="727" y="263"/>
                  </a:lnTo>
                  <a:lnTo>
                    <a:pt x="739" y="257"/>
                  </a:lnTo>
                  <a:lnTo>
                    <a:pt x="750" y="250"/>
                  </a:lnTo>
                  <a:lnTo>
                    <a:pt x="760" y="243"/>
                  </a:lnTo>
                  <a:lnTo>
                    <a:pt x="770" y="233"/>
                  </a:lnTo>
                  <a:lnTo>
                    <a:pt x="779" y="224"/>
                  </a:lnTo>
                  <a:lnTo>
                    <a:pt x="787" y="213"/>
                  </a:lnTo>
                  <a:lnTo>
                    <a:pt x="793" y="202"/>
                  </a:lnTo>
                  <a:lnTo>
                    <a:pt x="799" y="190"/>
                  </a:lnTo>
                  <a:lnTo>
                    <a:pt x="804" y="177"/>
                  </a:lnTo>
                  <a:lnTo>
                    <a:pt x="807" y="164"/>
                  </a:lnTo>
                  <a:lnTo>
                    <a:pt x="809" y="151"/>
                  </a:lnTo>
                  <a:lnTo>
                    <a:pt x="810" y="137"/>
                  </a:lnTo>
                  <a:lnTo>
                    <a:pt x="810" y="1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41" name="Freeform 2009"/>
            <p:cNvSpPr>
              <a:spLocks/>
            </p:cNvSpPr>
            <p:nvPr/>
          </p:nvSpPr>
          <p:spPr bwMode="auto">
            <a:xfrm>
              <a:off x="2201535" y="3104025"/>
              <a:ext cx="177512" cy="129886"/>
            </a:xfrm>
            <a:custGeom>
              <a:avLst/>
              <a:gdLst>
                <a:gd name="T0" fmla="*/ 725 w 742"/>
                <a:gd name="T1" fmla="*/ 466 h 535"/>
                <a:gd name="T2" fmla="*/ 736 w 742"/>
                <a:gd name="T3" fmla="*/ 440 h 535"/>
                <a:gd name="T4" fmla="*/ 741 w 742"/>
                <a:gd name="T5" fmla="*/ 413 h 535"/>
                <a:gd name="T6" fmla="*/ 742 w 742"/>
                <a:gd name="T7" fmla="*/ 387 h 535"/>
                <a:gd name="T8" fmla="*/ 737 w 742"/>
                <a:gd name="T9" fmla="*/ 361 h 535"/>
                <a:gd name="T10" fmla="*/ 728 w 742"/>
                <a:gd name="T11" fmla="*/ 337 h 535"/>
                <a:gd name="T12" fmla="*/ 713 w 742"/>
                <a:gd name="T13" fmla="*/ 314 h 535"/>
                <a:gd name="T14" fmla="*/ 695 w 742"/>
                <a:gd name="T15" fmla="*/ 295 h 535"/>
                <a:gd name="T16" fmla="*/ 673 w 742"/>
                <a:gd name="T17" fmla="*/ 280 h 535"/>
                <a:gd name="T18" fmla="*/ 204 w 742"/>
                <a:gd name="T19" fmla="*/ 17 h 535"/>
                <a:gd name="T20" fmla="*/ 179 w 742"/>
                <a:gd name="T21" fmla="*/ 6 h 535"/>
                <a:gd name="T22" fmla="*/ 152 w 742"/>
                <a:gd name="T23" fmla="*/ 0 h 535"/>
                <a:gd name="T24" fmla="*/ 126 w 742"/>
                <a:gd name="T25" fmla="*/ 0 h 535"/>
                <a:gd name="T26" fmla="*/ 100 w 742"/>
                <a:gd name="T27" fmla="*/ 5 h 535"/>
                <a:gd name="T28" fmla="*/ 76 w 742"/>
                <a:gd name="T29" fmla="*/ 14 h 535"/>
                <a:gd name="T30" fmla="*/ 53 w 742"/>
                <a:gd name="T31" fmla="*/ 28 h 535"/>
                <a:gd name="T32" fmla="*/ 34 w 742"/>
                <a:gd name="T33" fmla="*/ 47 h 535"/>
                <a:gd name="T34" fmla="*/ 18 w 742"/>
                <a:gd name="T35" fmla="*/ 69 h 535"/>
                <a:gd name="T36" fmla="*/ 18 w 742"/>
                <a:gd name="T37" fmla="*/ 69 h 535"/>
                <a:gd name="T38" fmla="*/ 7 w 742"/>
                <a:gd name="T39" fmla="*/ 95 h 535"/>
                <a:gd name="T40" fmla="*/ 1 w 742"/>
                <a:gd name="T41" fmla="*/ 121 h 535"/>
                <a:gd name="T42" fmla="*/ 1 w 742"/>
                <a:gd name="T43" fmla="*/ 147 h 535"/>
                <a:gd name="T44" fmla="*/ 5 w 742"/>
                <a:gd name="T45" fmla="*/ 173 h 535"/>
                <a:gd name="T46" fmla="*/ 16 w 742"/>
                <a:gd name="T47" fmla="*/ 198 h 535"/>
                <a:gd name="T48" fmla="*/ 29 w 742"/>
                <a:gd name="T49" fmla="*/ 219 h 535"/>
                <a:gd name="T50" fmla="*/ 48 w 742"/>
                <a:gd name="T51" fmla="*/ 239 h 535"/>
                <a:gd name="T52" fmla="*/ 71 w 742"/>
                <a:gd name="T53" fmla="*/ 255 h 535"/>
                <a:gd name="T54" fmla="*/ 539 w 742"/>
                <a:gd name="T55" fmla="*/ 518 h 535"/>
                <a:gd name="T56" fmla="*/ 564 w 742"/>
                <a:gd name="T57" fmla="*/ 529 h 535"/>
                <a:gd name="T58" fmla="*/ 591 w 742"/>
                <a:gd name="T59" fmla="*/ 534 h 535"/>
                <a:gd name="T60" fmla="*/ 616 w 742"/>
                <a:gd name="T61" fmla="*/ 535 h 535"/>
                <a:gd name="T62" fmla="*/ 643 w 742"/>
                <a:gd name="T63" fmla="*/ 530 h 535"/>
                <a:gd name="T64" fmla="*/ 667 w 742"/>
                <a:gd name="T65" fmla="*/ 521 h 535"/>
                <a:gd name="T66" fmla="*/ 689 w 742"/>
                <a:gd name="T67" fmla="*/ 506 h 535"/>
                <a:gd name="T68" fmla="*/ 708 w 742"/>
                <a:gd name="T69" fmla="*/ 488 h 535"/>
                <a:gd name="T70" fmla="*/ 725 w 742"/>
                <a:gd name="T71" fmla="*/ 46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42" h="535">
                  <a:moveTo>
                    <a:pt x="725" y="466"/>
                  </a:moveTo>
                  <a:lnTo>
                    <a:pt x="725" y="466"/>
                  </a:lnTo>
                  <a:lnTo>
                    <a:pt x="731" y="452"/>
                  </a:lnTo>
                  <a:lnTo>
                    <a:pt x="736" y="440"/>
                  </a:lnTo>
                  <a:lnTo>
                    <a:pt x="739" y="427"/>
                  </a:lnTo>
                  <a:lnTo>
                    <a:pt x="741" y="413"/>
                  </a:lnTo>
                  <a:lnTo>
                    <a:pt x="742" y="400"/>
                  </a:lnTo>
                  <a:lnTo>
                    <a:pt x="742" y="387"/>
                  </a:lnTo>
                  <a:lnTo>
                    <a:pt x="740" y="374"/>
                  </a:lnTo>
                  <a:lnTo>
                    <a:pt x="737" y="361"/>
                  </a:lnTo>
                  <a:lnTo>
                    <a:pt x="733" y="349"/>
                  </a:lnTo>
                  <a:lnTo>
                    <a:pt x="728" y="337"/>
                  </a:lnTo>
                  <a:lnTo>
                    <a:pt x="721" y="326"/>
                  </a:lnTo>
                  <a:lnTo>
                    <a:pt x="713" y="314"/>
                  </a:lnTo>
                  <a:lnTo>
                    <a:pt x="705" y="304"/>
                  </a:lnTo>
                  <a:lnTo>
                    <a:pt x="695" y="295"/>
                  </a:lnTo>
                  <a:lnTo>
                    <a:pt x="684" y="287"/>
                  </a:lnTo>
                  <a:lnTo>
                    <a:pt x="673" y="280"/>
                  </a:lnTo>
                  <a:lnTo>
                    <a:pt x="204" y="17"/>
                  </a:lnTo>
                  <a:lnTo>
                    <a:pt x="204" y="17"/>
                  </a:lnTo>
                  <a:lnTo>
                    <a:pt x="191" y="11"/>
                  </a:lnTo>
                  <a:lnTo>
                    <a:pt x="179" y="6"/>
                  </a:lnTo>
                  <a:lnTo>
                    <a:pt x="166" y="3"/>
                  </a:lnTo>
                  <a:lnTo>
                    <a:pt x="152" y="0"/>
                  </a:lnTo>
                  <a:lnTo>
                    <a:pt x="139" y="0"/>
                  </a:lnTo>
                  <a:lnTo>
                    <a:pt x="126" y="0"/>
                  </a:lnTo>
                  <a:lnTo>
                    <a:pt x="113" y="2"/>
                  </a:lnTo>
                  <a:lnTo>
                    <a:pt x="100" y="5"/>
                  </a:lnTo>
                  <a:lnTo>
                    <a:pt x="88" y="9"/>
                  </a:lnTo>
                  <a:lnTo>
                    <a:pt x="76" y="14"/>
                  </a:lnTo>
                  <a:lnTo>
                    <a:pt x="65" y="20"/>
                  </a:lnTo>
                  <a:lnTo>
                    <a:pt x="53" y="28"/>
                  </a:lnTo>
                  <a:lnTo>
                    <a:pt x="43" y="36"/>
                  </a:lnTo>
                  <a:lnTo>
                    <a:pt x="34" y="47"/>
                  </a:lnTo>
                  <a:lnTo>
                    <a:pt x="26" y="57"/>
                  </a:lnTo>
                  <a:lnTo>
                    <a:pt x="18" y="69"/>
                  </a:lnTo>
                  <a:lnTo>
                    <a:pt x="18" y="69"/>
                  </a:lnTo>
                  <a:lnTo>
                    <a:pt x="18" y="69"/>
                  </a:lnTo>
                  <a:lnTo>
                    <a:pt x="11" y="81"/>
                  </a:lnTo>
                  <a:lnTo>
                    <a:pt x="7" y="95"/>
                  </a:lnTo>
                  <a:lnTo>
                    <a:pt x="3" y="108"/>
                  </a:lnTo>
                  <a:lnTo>
                    <a:pt x="1" y="121"/>
                  </a:lnTo>
                  <a:lnTo>
                    <a:pt x="0" y="133"/>
                  </a:lnTo>
                  <a:lnTo>
                    <a:pt x="1" y="147"/>
                  </a:lnTo>
                  <a:lnTo>
                    <a:pt x="2" y="160"/>
                  </a:lnTo>
                  <a:lnTo>
                    <a:pt x="5" y="173"/>
                  </a:lnTo>
                  <a:lnTo>
                    <a:pt x="9" y="186"/>
                  </a:lnTo>
                  <a:lnTo>
                    <a:pt x="16" y="198"/>
                  </a:lnTo>
                  <a:lnTo>
                    <a:pt x="22" y="209"/>
                  </a:lnTo>
                  <a:lnTo>
                    <a:pt x="29" y="219"/>
                  </a:lnTo>
                  <a:lnTo>
                    <a:pt x="38" y="230"/>
                  </a:lnTo>
                  <a:lnTo>
                    <a:pt x="48" y="239"/>
                  </a:lnTo>
                  <a:lnTo>
                    <a:pt x="58" y="248"/>
                  </a:lnTo>
                  <a:lnTo>
                    <a:pt x="71" y="255"/>
                  </a:lnTo>
                  <a:lnTo>
                    <a:pt x="539" y="518"/>
                  </a:lnTo>
                  <a:lnTo>
                    <a:pt x="539" y="518"/>
                  </a:lnTo>
                  <a:lnTo>
                    <a:pt x="551" y="524"/>
                  </a:lnTo>
                  <a:lnTo>
                    <a:pt x="564" y="529"/>
                  </a:lnTo>
                  <a:lnTo>
                    <a:pt x="578" y="532"/>
                  </a:lnTo>
                  <a:lnTo>
                    <a:pt x="591" y="534"/>
                  </a:lnTo>
                  <a:lnTo>
                    <a:pt x="604" y="535"/>
                  </a:lnTo>
                  <a:lnTo>
                    <a:pt x="616" y="535"/>
                  </a:lnTo>
                  <a:lnTo>
                    <a:pt x="630" y="533"/>
                  </a:lnTo>
                  <a:lnTo>
                    <a:pt x="643" y="530"/>
                  </a:lnTo>
                  <a:lnTo>
                    <a:pt x="655" y="526"/>
                  </a:lnTo>
                  <a:lnTo>
                    <a:pt x="667" y="521"/>
                  </a:lnTo>
                  <a:lnTo>
                    <a:pt x="679" y="514"/>
                  </a:lnTo>
                  <a:lnTo>
                    <a:pt x="689" y="506"/>
                  </a:lnTo>
                  <a:lnTo>
                    <a:pt x="699" y="497"/>
                  </a:lnTo>
                  <a:lnTo>
                    <a:pt x="708" y="488"/>
                  </a:lnTo>
                  <a:lnTo>
                    <a:pt x="718" y="477"/>
                  </a:lnTo>
                  <a:lnTo>
                    <a:pt x="725" y="466"/>
                  </a:lnTo>
                  <a:lnTo>
                    <a:pt x="725" y="4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42" name="Freeform 1950"/>
            <p:cNvSpPr>
              <a:spLocks/>
            </p:cNvSpPr>
            <p:nvPr/>
          </p:nvSpPr>
          <p:spPr bwMode="auto">
            <a:xfrm>
              <a:off x="2192876" y="2952492"/>
              <a:ext cx="127000" cy="128444"/>
            </a:xfrm>
            <a:custGeom>
              <a:avLst/>
              <a:gdLst>
                <a:gd name="T0" fmla="*/ 163 w 528"/>
                <a:gd name="T1" fmla="*/ 26 h 530"/>
                <a:gd name="T2" fmla="*/ 199 w 528"/>
                <a:gd name="T3" fmla="*/ 10 h 530"/>
                <a:gd name="T4" fmla="*/ 237 w 528"/>
                <a:gd name="T5" fmla="*/ 2 h 530"/>
                <a:gd name="T6" fmla="*/ 272 w 528"/>
                <a:gd name="T7" fmla="*/ 0 h 530"/>
                <a:gd name="T8" fmla="*/ 309 w 528"/>
                <a:gd name="T9" fmla="*/ 4 h 530"/>
                <a:gd name="T10" fmla="*/ 344 w 528"/>
                <a:gd name="T11" fmla="*/ 13 h 530"/>
                <a:gd name="T12" fmla="*/ 378 w 528"/>
                <a:gd name="T13" fmla="*/ 29 h 530"/>
                <a:gd name="T14" fmla="*/ 408 w 528"/>
                <a:gd name="T15" fmla="*/ 47 h 530"/>
                <a:gd name="T16" fmla="*/ 437 w 528"/>
                <a:gd name="T17" fmla="*/ 71 h 530"/>
                <a:gd name="T18" fmla="*/ 463 w 528"/>
                <a:gd name="T19" fmla="*/ 98 h 530"/>
                <a:gd name="T20" fmla="*/ 485 w 528"/>
                <a:gd name="T21" fmla="*/ 128 h 530"/>
                <a:gd name="T22" fmla="*/ 503 w 528"/>
                <a:gd name="T23" fmla="*/ 160 h 530"/>
                <a:gd name="T24" fmla="*/ 517 w 528"/>
                <a:gd name="T25" fmla="*/ 194 h 530"/>
                <a:gd name="T26" fmla="*/ 525 w 528"/>
                <a:gd name="T27" fmla="*/ 230 h 530"/>
                <a:gd name="T28" fmla="*/ 528 w 528"/>
                <a:gd name="T29" fmla="*/ 267 h 530"/>
                <a:gd name="T30" fmla="*/ 525 w 528"/>
                <a:gd name="T31" fmla="*/ 305 h 530"/>
                <a:gd name="T32" fmla="*/ 516 w 528"/>
                <a:gd name="T33" fmla="*/ 341 h 530"/>
                <a:gd name="T34" fmla="*/ 511 w 528"/>
                <a:gd name="T35" fmla="*/ 360 h 530"/>
                <a:gd name="T36" fmla="*/ 498 w 528"/>
                <a:gd name="T37" fmla="*/ 392 h 530"/>
                <a:gd name="T38" fmla="*/ 481 w 528"/>
                <a:gd name="T39" fmla="*/ 421 h 530"/>
                <a:gd name="T40" fmla="*/ 459 w 528"/>
                <a:gd name="T41" fmla="*/ 448 h 530"/>
                <a:gd name="T42" fmla="*/ 435 w 528"/>
                <a:gd name="T43" fmla="*/ 470 h 530"/>
                <a:gd name="T44" fmla="*/ 407 w 528"/>
                <a:gd name="T45" fmla="*/ 490 h 530"/>
                <a:gd name="T46" fmla="*/ 378 w 528"/>
                <a:gd name="T47" fmla="*/ 506 h 530"/>
                <a:gd name="T48" fmla="*/ 345 w 528"/>
                <a:gd name="T49" fmla="*/ 517 h 530"/>
                <a:gd name="T50" fmla="*/ 312 w 528"/>
                <a:gd name="T51" fmla="*/ 525 h 530"/>
                <a:gd name="T52" fmla="*/ 277 w 528"/>
                <a:gd name="T53" fmla="*/ 529 h 530"/>
                <a:gd name="T54" fmla="*/ 244 w 528"/>
                <a:gd name="T55" fmla="*/ 529 h 530"/>
                <a:gd name="T56" fmla="*/ 210 w 528"/>
                <a:gd name="T57" fmla="*/ 526 h 530"/>
                <a:gd name="T58" fmla="*/ 176 w 528"/>
                <a:gd name="T59" fmla="*/ 517 h 530"/>
                <a:gd name="T60" fmla="*/ 146 w 528"/>
                <a:gd name="T61" fmla="*/ 505 h 530"/>
                <a:gd name="T62" fmla="*/ 116 w 528"/>
                <a:gd name="T63" fmla="*/ 488 h 530"/>
                <a:gd name="T64" fmla="*/ 88 w 528"/>
                <a:gd name="T65" fmla="*/ 466 h 530"/>
                <a:gd name="T66" fmla="*/ 76 w 528"/>
                <a:gd name="T67" fmla="*/ 454 h 530"/>
                <a:gd name="T68" fmla="*/ 54 w 528"/>
                <a:gd name="T69" fmla="*/ 429 h 530"/>
                <a:gd name="T70" fmla="*/ 35 w 528"/>
                <a:gd name="T71" fmla="*/ 403 h 530"/>
                <a:gd name="T72" fmla="*/ 21 w 528"/>
                <a:gd name="T73" fmla="*/ 374 h 530"/>
                <a:gd name="T74" fmla="*/ 11 w 528"/>
                <a:gd name="T75" fmla="*/ 343 h 530"/>
                <a:gd name="T76" fmla="*/ 4 w 528"/>
                <a:gd name="T77" fmla="*/ 312 h 530"/>
                <a:gd name="T78" fmla="*/ 0 w 528"/>
                <a:gd name="T79" fmla="*/ 280 h 530"/>
                <a:gd name="T80" fmla="*/ 2 w 528"/>
                <a:gd name="T81" fmla="*/ 248 h 530"/>
                <a:gd name="T82" fmla="*/ 7 w 528"/>
                <a:gd name="T83" fmla="*/ 217 h 530"/>
                <a:gd name="T84" fmla="*/ 15 w 528"/>
                <a:gd name="T85" fmla="*/ 186 h 530"/>
                <a:gd name="T86" fmla="*/ 26 w 528"/>
                <a:gd name="T87" fmla="*/ 155 h 530"/>
                <a:gd name="T88" fmla="*/ 41 w 528"/>
                <a:gd name="T89" fmla="*/ 128 h 530"/>
                <a:gd name="T90" fmla="*/ 59 w 528"/>
                <a:gd name="T91" fmla="*/ 101 h 530"/>
                <a:gd name="T92" fmla="*/ 80 w 528"/>
                <a:gd name="T93" fmla="*/ 78 h 530"/>
                <a:gd name="T94" fmla="*/ 105 w 528"/>
                <a:gd name="T95" fmla="*/ 57 h 530"/>
                <a:gd name="T96" fmla="*/ 132 w 528"/>
                <a:gd name="T97" fmla="*/ 40 h 530"/>
                <a:gd name="T98" fmla="*/ 163 w 528"/>
                <a:gd name="T99" fmla="*/ 2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8" h="530">
                  <a:moveTo>
                    <a:pt x="163" y="26"/>
                  </a:moveTo>
                  <a:lnTo>
                    <a:pt x="163" y="26"/>
                  </a:lnTo>
                  <a:lnTo>
                    <a:pt x="180" y="18"/>
                  </a:lnTo>
                  <a:lnTo>
                    <a:pt x="199" y="10"/>
                  </a:lnTo>
                  <a:lnTo>
                    <a:pt x="217" y="5"/>
                  </a:lnTo>
                  <a:lnTo>
                    <a:pt x="237" y="2"/>
                  </a:lnTo>
                  <a:lnTo>
                    <a:pt x="255" y="0"/>
                  </a:lnTo>
                  <a:lnTo>
                    <a:pt x="272" y="0"/>
                  </a:lnTo>
                  <a:lnTo>
                    <a:pt x="291" y="1"/>
                  </a:lnTo>
                  <a:lnTo>
                    <a:pt x="309" y="4"/>
                  </a:lnTo>
                  <a:lnTo>
                    <a:pt x="326" y="8"/>
                  </a:lnTo>
                  <a:lnTo>
                    <a:pt x="344" y="13"/>
                  </a:lnTo>
                  <a:lnTo>
                    <a:pt x="361" y="21"/>
                  </a:lnTo>
                  <a:lnTo>
                    <a:pt x="378" y="29"/>
                  </a:lnTo>
                  <a:lnTo>
                    <a:pt x="393" y="38"/>
                  </a:lnTo>
                  <a:lnTo>
                    <a:pt x="408" y="47"/>
                  </a:lnTo>
                  <a:lnTo>
                    <a:pt x="424" y="58"/>
                  </a:lnTo>
                  <a:lnTo>
                    <a:pt x="437" y="71"/>
                  </a:lnTo>
                  <a:lnTo>
                    <a:pt x="450" y="84"/>
                  </a:lnTo>
                  <a:lnTo>
                    <a:pt x="463" y="98"/>
                  </a:lnTo>
                  <a:lnTo>
                    <a:pt x="475" y="113"/>
                  </a:lnTo>
                  <a:lnTo>
                    <a:pt x="485" y="128"/>
                  </a:lnTo>
                  <a:lnTo>
                    <a:pt x="494" y="143"/>
                  </a:lnTo>
                  <a:lnTo>
                    <a:pt x="503" y="160"/>
                  </a:lnTo>
                  <a:lnTo>
                    <a:pt x="510" y="177"/>
                  </a:lnTo>
                  <a:lnTo>
                    <a:pt x="517" y="194"/>
                  </a:lnTo>
                  <a:lnTo>
                    <a:pt x="522" y="212"/>
                  </a:lnTo>
                  <a:lnTo>
                    <a:pt x="525" y="230"/>
                  </a:lnTo>
                  <a:lnTo>
                    <a:pt x="527" y="248"/>
                  </a:lnTo>
                  <a:lnTo>
                    <a:pt x="528" y="267"/>
                  </a:lnTo>
                  <a:lnTo>
                    <a:pt x="527" y="286"/>
                  </a:lnTo>
                  <a:lnTo>
                    <a:pt x="525" y="305"/>
                  </a:lnTo>
                  <a:lnTo>
                    <a:pt x="521" y="323"/>
                  </a:lnTo>
                  <a:lnTo>
                    <a:pt x="516" y="341"/>
                  </a:lnTo>
                  <a:lnTo>
                    <a:pt x="516" y="341"/>
                  </a:lnTo>
                  <a:lnTo>
                    <a:pt x="511" y="360"/>
                  </a:lnTo>
                  <a:lnTo>
                    <a:pt x="505" y="376"/>
                  </a:lnTo>
                  <a:lnTo>
                    <a:pt x="498" y="392"/>
                  </a:lnTo>
                  <a:lnTo>
                    <a:pt x="490" y="407"/>
                  </a:lnTo>
                  <a:lnTo>
                    <a:pt x="481" y="421"/>
                  </a:lnTo>
                  <a:lnTo>
                    <a:pt x="471" y="435"/>
                  </a:lnTo>
                  <a:lnTo>
                    <a:pt x="459" y="448"/>
                  </a:lnTo>
                  <a:lnTo>
                    <a:pt x="448" y="460"/>
                  </a:lnTo>
                  <a:lnTo>
                    <a:pt x="435" y="470"/>
                  </a:lnTo>
                  <a:lnTo>
                    <a:pt x="421" y="480"/>
                  </a:lnTo>
                  <a:lnTo>
                    <a:pt x="407" y="490"/>
                  </a:lnTo>
                  <a:lnTo>
                    <a:pt x="393" y="498"/>
                  </a:lnTo>
                  <a:lnTo>
                    <a:pt x="378" y="506"/>
                  </a:lnTo>
                  <a:lnTo>
                    <a:pt x="361" y="512"/>
                  </a:lnTo>
                  <a:lnTo>
                    <a:pt x="345" y="517"/>
                  </a:lnTo>
                  <a:lnTo>
                    <a:pt x="329" y="522"/>
                  </a:lnTo>
                  <a:lnTo>
                    <a:pt x="312" y="525"/>
                  </a:lnTo>
                  <a:lnTo>
                    <a:pt x="295" y="528"/>
                  </a:lnTo>
                  <a:lnTo>
                    <a:pt x="277" y="529"/>
                  </a:lnTo>
                  <a:lnTo>
                    <a:pt x="261" y="530"/>
                  </a:lnTo>
                  <a:lnTo>
                    <a:pt x="244" y="529"/>
                  </a:lnTo>
                  <a:lnTo>
                    <a:pt x="226" y="528"/>
                  </a:lnTo>
                  <a:lnTo>
                    <a:pt x="210" y="526"/>
                  </a:lnTo>
                  <a:lnTo>
                    <a:pt x="193" y="522"/>
                  </a:lnTo>
                  <a:lnTo>
                    <a:pt x="176" y="517"/>
                  </a:lnTo>
                  <a:lnTo>
                    <a:pt x="161" y="512"/>
                  </a:lnTo>
                  <a:lnTo>
                    <a:pt x="146" y="505"/>
                  </a:lnTo>
                  <a:lnTo>
                    <a:pt x="130" y="497"/>
                  </a:lnTo>
                  <a:lnTo>
                    <a:pt x="116" y="488"/>
                  </a:lnTo>
                  <a:lnTo>
                    <a:pt x="102" y="477"/>
                  </a:lnTo>
                  <a:lnTo>
                    <a:pt x="88" y="466"/>
                  </a:lnTo>
                  <a:lnTo>
                    <a:pt x="76" y="454"/>
                  </a:lnTo>
                  <a:lnTo>
                    <a:pt x="76" y="454"/>
                  </a:lnTo>
                  <a:lnTo>
                    <a:pt x="65" y="442"/>
                  </a:lnTo>
                  <a:lnTo>
                    <a:pt x="54" y="429"/>
                  </a:lnTo>
                  <a:lnTo>
                    <a:pt x="44" y="416"/>
                  </a:lnTo>
                  <a:lnTo>
                    <a:pt x="35" y="403"/>
                  </a:lnTo>
                  <a:lnTo>
                    <a:pt x="27" y="388"/>
                  </a:lnTo>
                  <a:lnTo>
                    <a:pt x="21" y="374"/>
                  </a:lnTo>
                  <a:lnTo>
                    <a:pt x="15" y="359"/>
                  </a:lnTo>
                  <a:lnTo>
                    <a:pt x="11" y="343"/>
                  </a:lnTo>
                  <a:lnTo>
                    <a:pt x="7" y="328"/>
                  </a:lnTo>
                  <a:lnTo>
                    <a:pt x="4" y="312"/>
                  </a:lnTo>
                  <a:lnTo>
                    <a:pt x="2" y="296"/>
                  </a:lnTo>
                  <a:lnTo>
                    <a:pt x="0" y="280"/>
                  </a:lnTo>
                  <a:lnTo>
                    <a:pt x="0" y="265"/>
                  </a:lnTo>
                  <a:lnTo>
                    <a:pt x="2" y="248"/>
                  </a:lnTo>
                  <a:lnTo>
                    <a:pt x="4" y="232"/>
                  </a:lnTo>
                  <a:lnTo>
                    <a:pt x="7" y="217"/>
                  </a:lnTo>
                  <a:lnTo>
                    <a:pt x="10" y="201"/>
                  </a:lnTo>
                  <a:lnTo>
                    <a:pt x="15" y="186"/>
                  </a:lnTo>
                  <a:lnTo>
                    <a:pt x="20" y="171"/>
                  </a:lnTo>
                  <a:lnTo>
                    <a:pt x="26" y="155"/>
                  </a:lnTo>
                  <a:lnTo>
                    <a:pt x="33" y="141"/>
                  </a:lnTo>
                  <a:lnTo>
                    <a:pt x="41" y="128"/>
                  </a:lnTo>
                  <a:lnTo>
                    <a:pt x="50" y="115"/>
                  </a:lnTo>
                  <a:lnTo>
                    <a:pt x="59" y="101"/>
                  </a:lnTo>
                  <a:lnTo>
                    <a:pt x="69" y="89"/>
                  </a:lnTo>
                  <a:lnTo>
                    <a:pt x="80" y="78"/>
                  </a:lnTo>
                  <a:lnTo>
                    <a:pt x="92" y="67"/>
                  </a:lnTo>
                  <a:lnTo>
                    <a:pt x="105" y="57"/>
                  </a:lnTo>
                  <a:lnTo>
                    <a:pt x="118" y="48"/>
                  </a:lnTo>
                  <a:lnTo>
                    <a:pt x="132" y="40"/>
                  </a:lnTo>
                  <a:lnTo>
                    <a:pt x="147" y="32"/>
                  </a:lnTo>
                  <a:lnTo>
                    <a:pt x="163" y="26"/>
                  </a:lnTo>
                  <a:lnTo>
                    <a:pt x="163"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43" name="Group 442"/>
            <p:cNvGrpSpPr/>
            <p:nvPr/>
          </p:nvGrpSpPr>
          <p:grpSpPr>
            <a:xfrm>
              <a:off x="2086720" y="3138766"/>
              <a:ext cx="292327" cy="503566"/>
              <a:chOff x="2093028" y="3187815"/>
              <a:chExt cx="321560" cy="553923"/>
            </a:xfrm>
            <a:solidFill>
              <a:schemeClr val="accent5">
                <a:lumMod val="75000"/>
              </a:schemeClr>
            </a:solidFill>
          </p:grpSpPr>
          <p:sp>
            <p:nvSpPr>
              <p:cNvPr id="444" name="Freeform 2005"/>
              <p:cNvSpPr>
                <a:spLocks/>
              </p:cNvSpPr>
              <p:nvPr/>
            </p:nvSpPr>
            <p:spPr bwMode="auto">
              <a:xfrm>
                <a:off x="2132013" y="3484563"/>
                <a:ext cx="282575" cy="47625"/>
              </a:xfrm>
              <a:custGeom>
                <a:avLst/>
                <a:gdLst>
                  <a:gd name="T0" fmla="*/ 0 w 1071"/>
                  <a:gd name="T1" fmla="*/ 89 h 180"/>
                  <a:gd name="T2" fmla="*/ 2 w 1071"/>
                  <a:gd name="T3" fmla="*/ 71 h 180"/>
                  <a:gd name="T4" fmla="*/ 6 w 1071"/>
                  <a:gd name="T5" fmla="*/ 55 h 180"/>
                  <a:gd name="T6" fmla="*/ 12 w 1071"/>
                  <a:gd name="T7" fmla="*/ 39 h 180"/>
                  <a:gd name="T8" fmla="*/ 22 w 1071"/>
                  <a:gd name="T9" fmla="*/ 26 h 180"/>
                  <a:gd name="T10" fmla="*/ 33 w 1071"/>
                  <a:gd name="T11" fmla="*/ 15 h 180"/>
                  <a:gd name="T12" fmla="*/ 45 w 1071"/>
                  <a:gd name="T13" fmla="*/ 7 h 180"/>
                  <a:gd name="T14" fmla="*/ 58 w 1071"/>
                  <a:gd name="T15" fmla="*/ 2 h 180"/>
                  <a:gd name="T16" fmla="*/ 73 w 1071"/>
                  <a:gd name="T17" fmla="*/ 0 h 180"/>
                  <a:gd name="T18" fmla="*/ 998 w 1071"/>
                  <a:gd name="T19" fmla="*/ 0 h 180"/>
                  <a:gd name="T20" fmla="*/ 1014 w 1071"/>
                  <a:gd name="T21" fmla="*/ 2 h 180"/>
                  <a:gd name="T22" fmla="*/ 1027 w 1071"/>
                  <a:gd name="T23" fmla="*/ 7 h 180"/>
                  <a:gd name="T24" fmla="*/ 1039 w 1071"/>
                  <a:gd name="T25" fmla="*/ 15 h 180"/>
                  <a:gd name="T26" fmla="*/ 1050 w 1071"/>
                  <a:gd name="T27" fmla="*/ 26 h 180"/>
                  <a:gd name="T28" fmla="*/ 1059 w 1071"/>
                  <a:gd name="T29" fmla="*/ 39 h 180"/>
                  <a:gd name="T30" fmla="*/ 1066 w 1071"/>
                  <a:gd name="T31" fmla="*/ 55 h 180"/>
                  <a:gd name="T32" fmla="*/ 1070 w 1071"/>
                  <a:gd name="T33" fmla="*/ 71 h 180"/>
                  <a:gd name="T34" fmla="*/ 1071 w 1071"/>
                  <a:gd name="T35" fmla="*/ 89 h 180"/>
                  <a:gd name="T36" fmla="*/ 1071 w 1071"/>
                  <a:gd name="T37" fmla="*/ 89 h 180"/>
                  <a:gd name="T38" fmla="*/ 1070 w 1071"/>
                  <a:gd name="T39" fmla="*/ 108 h 180"/>
                  <a:gd name="T40" fmla="*/ 1066 w 1071"/>
                  <a:gd name="T41" fmla="*/ 125 h 180"/>
                  <a:gd name="T42" fmla="*/ 1059 w 1071"/>
                  <a:gd name="T43" fmla="*/ 141 h 180"/>
                  <a:gd name="T44" fmla="*/ 1050 w 1071"/>
                  <a:gd name="T45" fmla="*/ 154 h 180"/>
                  <a:gd name="T46" fmla="*/ 1039 w 1071"/>
                  <a:gd name="T47" fmla="*/ 165 h 180"/>
                  <a:gd name="T48" fmla="*/ 1027 w 1071"/>
                  <a:gd name="T49" fmla="*/ 173 h 180"/>
                  <a:gd name="T50" fmla="*/ 1014 w 1071"/>
                  <a:gd name="T51" fmla="*/ 178 h 180"/>
                  <a:gd name="T52" fmla="*/ 998 w 1071"/>
                  <a:gd name="T53" fmla="*/ 180 h 180"/>
                  <a:gd name="T54" fmla="*/ 73 w 1071"/>
                  <a:gd name="T55" fmla="*/ 180 h 180"/>
                  <a:gd name="T56" fmla="*/ 58 w 1071"/>
                  <a:gd name="T57" fmla="*/ 178 h 180"/>
                  <a:gd name="T58" fmla="*/ 45 w 1071"/>
                  <a:gd name="T59" fmla="*/ 173 h 180"/>
                  <a:gd name="T60" fmla="*/ 33 w 1071"/>
                  <a:gd name="T61" fmla="*/ 165 h 180"/>
                  <a:gd name="T62" fmla="*/ 22 w 1071"/>
                  <a:gd name="T63" fmla="*/ 154 h 180"/>
                  <a:gd name="T64" fmla="*/ 12 w 1071"/>
                  <a:gd name="T65" fmla="*/ 141 h 180"/>
                  <a:gd name="T66" fmla="*/ 6 w 1071"/>
                  <a:gd name="T67" fmla="*/ 125 h 180"/>
                  <a:gd name="T68" fmla="*/ 2 w 1071"/>
                  <a:gd name="T69" fmla="*/ 108 h 180"/>
                  <a:gd name="T70" fmla="*/ 0 w 1071"/>
                  <a:gd name="T71" fmla="*/ 8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71" h="180">
                    <a:moveTo>
                      <a:pt x="0" y="89"/>
                    </a:moveTo>
                    <a:lnTo>
                      <a:pt x="0" y="89"/>
                    </a:lnTo>
                    <a:lnTo>
                      <a:pt x="1" y="80"/>
                    </a:lnTo>
                    <a:lnTo>
                      <a:pt x="2" y="71"/>
                    </a:lnTo>
                    <a:lnTo>
                      <a:pt x="4" y="63"/>
                    </a:lnTo>
                    <a:lnTo>
                      <a:pt x="6" y="55"/>
                    </a:lnTo>
                    <a:lnTo>
                      <a:pt x="9" y="47"/>
                    </a:lnTo>
                    <a:lnTo>
                      <a:pt x="12" y="39"/>
                    </a:lnTo>
                    <a:lnTo>
                      <a:pt x="18" y="32"/>
                    </a:lnTo>
                    <a:lnTo>
                      <a:pt x="22" y="26"/>
                    </a:lnTo>
                    <a:lnTo>
                      <a:pt x="27" y="20"/>
                    </a:lnTo>
                    <a:lnTo>
                      <a:pt x="33" y="15"/>
                    </a:lnTo>
                    <a:lnTo>
                      <a:pt x="38" y="10"/>
                    </a:lnTo>
                    <a:lnTo>
                      <a:pt x="45" y="7"/>
                    </a:lnTo>
                    <a:lnTo>
                      <a:pt x="51" y="4"/>
                    </a:lnTo>
                    <a:lnTo>
                      <a:pt x="58" y="2"/>
                    </a:lnTo>
                    <a:lnTo>
                      <a:pt x="66" y="0"/>
                    </a:lnTo>
                    <a:lnTo>
                      <a:pt x="73" y="0"/>
                    </a:lnTo>
                    <a:lnTo>
                      <a:pt x="998" y="0"/>
                    </a:lnTo>
                    <a:lnTo>
                      <a:pt x="998" y="0"/>
                    </a:lnTo>
                    <a:lnTo>
                      <a:pt x="1007" y="0"/>
                    </a:lnTo>
                    <a:lnTo>
                      <a:pt x="1014" y="2"/>
                    </a:lnTo>
                    <a:lnTo>
                      <a:pt x="1020" y="4"/>
                    </a:lnTo>
                    <a:lnTo>
                      <a:pt x="1027" y="7"/>
                    </a:lnTo>
                    <a:lnTo>
                      <a:pt x="1033" y="10"/>
                    </a:lnTo>
                    <a:lnTo>
                      <a:pt x="1039" y="15"/>
                    </a:lnTo>
                    <a:lnTo>
                      <a:pt x="1044" y="20"/>
                    </a:lnTo>
                    <a:lnTo>
                      <a:pt x="1050" y="26"/>
                    </a:lnTo>
                    <a:lnTo>
                      <a:pt x="1055" y="32"/>
                    </a:lnTo>
                    <a:lnTo>
                      <a:pt x="1059" y="39"/>
                    </a:lnTo>
                    <a:lnTo>
                      <a:pt x="1063" y="47"/>
                    </a:lnTo>
                    <a:lnTo>
                      <a:pt x="1066" y="55"/>
                    </a:lnTo>
                    <a:lnTo>
                      <a:pt x="1068" y="63"/>
                    </a:lnTo>
                    <a:lnTo>
                      <a:pt x="1070" y="71"/>
                    </a:lnTo>
                    <a:lnTo>
                      <a:pt x="1071" y="80"/>
                    </a:lnTo>
                    <a:lnTo>
                      <a:pt x="1071" y="89"/>
                    </a:lnTo>
                    <a:lnTo>
                      <a:pt x="1071" y="89"/>
                    </a:lnTo>
                    <a:lnTo>
                      <a:pt x="1071" y="89"/>
                    </a:lnTo>
                    <a:lnTo>
                      <a:pt x="1071" y="99"/>
                    </a:lnTo>
                    <a:lnTo>
                      <a:pt x="1070" y="108"/>
                    </a:lnTo>
                    <a:lnTo>
                      <a:pt x="1068" y="117"/>
                    </a:lnTo>
                    <a:lnTo>
                      <a:pt x="1066" y="125"/>
                    </a:lnTo>
                    <a:lnTo>
                      <a:pt x="1063" y="132"/>
                    </a:lnTo>
                    <a:lnTo>
                      <a:pt x="1059" y="141"/>
                    </a:lnTo>
                    <a:lnTo>
                      <a:pt x="1055" y="148"/>
                    </a:lnTo>
                    <a:lnTo>
                      <a:pt x="1050" y="154"/>
                    </a:lnTo>
                    <a:lnTo>
                      <a:pt x="1044" y="160"/>
                    </a:lnTo>
                    <a:lnTo>
                      <a:pt x="1039" y="165"/>
                    </a:lnTo>
                    <a:lnTo>
                      <a:pt x="1033" y="169"/>
                    </a:lnTo>
                    <a:lnTo>
                      <a:pt x="1027" y="173"/>
                    </a:lnTo>
                    <a:lnTo>
                      <a:pt x="1020" y="176"/>
                    </a:lnTo>
                    <a:lnTo>
                      <a:pt x="1014" y="178"/>
                    </a:lnTo>
                    <a:lnTo>
                      <a:pt x="1007" y="179"/>
                    </a:lnTo>
                    <a:lnTo>
                      <a:pt x="998" y="180"/>
                    </a:lnTo>
                    <a:lnTo>
                      <a:pt x="73" y="180"/>
                    </a:lnTo>
                    <a:lnTo>
                      <a:pt x="73" y="180"/>
                    </a:lnTo>
                    <a:lnTo>
                      <a:pt x="66" y="179"/>
                    </a:lnTo>
                    <a:lnTo>
                      <a:pt x="58" y="178"/>
                    </a:lnTo>
                    <a:lnTo>
                      <a:pt x="51" y="176"/>
                    </a:lnTo>
                    <a:lnTo>
                      <a:pt x="45" y="173"/>
                    </a:lnTo>
                    <a:lnTo>
                      <a:pt x="38" y="169"/>
                    </a:lnTo>
                    <a:lnTo>
                      <a:pt x="33" y="165"/>
                    </a:lnTo>
                    <a:lnTo>
                      <a:pt x="27" y="160"/>
                    </a:lnTo>
                    <a:lnTo>
                      <a:pt x="22" y="154"/>
                    </a:lnTo>
                    <a:lnTo>
                      <a:pt x="18" y="148"/>
                    </a:lnTo>
                    <a:lnTo>
                      <a:pt x="12" y="141"/>
                    </a:lnTo>
                    <a:lnTo>
                      <a:pt x="9" y="132"/>
                    </a:lnTo>
                    <a:lnTo>
                      <a:pt x="6" y="125"/>
                    </a:lnTo>
                    <a:lnTo>
                      <a:pt x="4" y="117"/>
                    </a:lnTo>
                    <a:lnTo>
                      <a:pt x="2" y="108"/>
                    </a:lnTo>
                    <a:lnTo>
                      <a:pt x="1" y="99"/>
                    </a:lnTo>
                    <a:lnTo>
                      <a:pt x="0" y="89"/>
                    </a:lnTo>
                    <a:lnTo>
                      <a:pt x="0"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45" name="Freeform 2006"/>
              <p:cNvSpPr>
                <a:spLocks/>
              </p:cNvSpPr>
              <p:nvPr/>
            </p:nvSpPr>
            <p:spPr bwMode="auto">
              <a:xfrm>
                <a:off x="2349500" y="3549650"/>
                <a:ext cx="58738" cy="192088"/>
              </a:xfrm>
              <a:custGeom>
                <a:avLst/>
                <a:gdLst>
                  <a:gd name="T0" fmla="*/ 0 w 225"/>
                  <a:gd name="T1" fmla="*/ 0 h 723"/>
                  <a:gd name="T2" fmla="*/ 103 w 225"/>
                  <a:gd name="T3" fmla="*/ 0 h 723"/>
                  <a:gd name="T4" fmla="*/ 225 w 225"/>
                  <a:gd name="T5" fmla="*/ 723 h 723"/>
                  <a:gd name="T6" fmla="*/ 122 w 225"/>
                  <a:gd name="T7" fmla="*/ 723 h 723"/>
                  <a:gd name="T8" fmla="*/ 0 w 225"/>
                  <a:gd name="T9" fmla="*/ 0 h 723"/>
                </a:gdLst>
                <a:ahLst/>
                <a:cxnLst>
                  <a:cxn ang="0">
                    <a:pos x="T0" y="T1"/>
                  </a:cxn>
                  <a:cxn ang="0">
                    <a:pos x="T2" y="T3"/>
                  </a:cxn>
                  <a:cxn ang="0">
                    <a:pos x="T4" y="T5"/>
                  </a:cxn>
                  <a:cxn ang="0">
                    <a:pos x="T6" y="T7"/>
                  </a:cxn>
                  <a:cxn ang="0">
                    <a:pos x="T8" y="T9"/>
                  </a:cxn>
                </a:cxnLst>
                <a:rect l="0" t="0" r="r" b="b"/>
                <a:pathLst>
                  <a:path w="225" h="723">
                    <a:moveTo>
                      <a:pt x="0" y="0"/>
                    </a:moveTo>
                    <a:lnTo>
                      <a:pt x="103" y="0"/>
                    </a:lnTo>
                    <a:lnTo>
                      <a:pt x="225" y="723"/>
                    </a:lnTo>
                    <a:lnTo>
                      <a:pt x="122" y="72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46" name="Freeform 2007"/>
              <p:cNvSpPr>
                <a:spLocks/>
              </p:cNvSpPr>
              <p:nvPr/>
            </p:nvSpPr>
            <p:spPr bwMode="auto">
              <a:xfrm>
                <a:off x="2125663" y="3549650"/>
                <a:ext cx="60325" cy="192088"/>
              </a:xfrm>
              <a:custGeom>
                <a:avLst/>
                <a:gdLst>
                  <a:gd name="T0" fmla="*/ 225 w 225"/>
                  <a:gd name="T1" fmla="*/ 0 h 723"/>
                  <a:gd name="T2" fmla="*/ 122 w 225"/>
                  <a:gd name="T3" fmla="*/ 0 h 723"/>
                  <a:gd name="T4" fmla="*/ 0 w 225"/>
                  <a:gd name="T5" fmla="*/ 723 h 723"/>
                  <a:gd name="T6" fmla="*/ 102 w 225"/>
                  <a:gd name="T7" fmla="*/ 723 h 723"/>
                  <a:gd name="T8" fmla="*/ 225 w 225"/>
                  <a:gd name="T9" fmla="*/ 0 h 723"/>
                </a:gdLst>
                <a:ahLst/>
                <a:cxnLst>
                  <a:cxn ang="0">
                    <a:pos x="T0" y="T1"/>
                  </a:cxn>
                  <a:cxn ang="0">
                    <a:pos x="T2" y="T3"/>
                  </a:cxn>
                  <a:cxn ang="0">
                    <a:pos x="T4" y="T5"/>
                  </a:cxn>
                  <a:cxn ang="0">
                    <a:pos x="T6" y="T7"/>
                  </a:cxn>
                  <a:cxn ang="0">
                    <a:pos x="T8" y="T9"/>
                  </a:cxn>
                </a:cxnLst>
                <a:rect l="0" t="0" r="r" b="b"/>
                <a:pathLst>
                  <a:path w="225" h="723">
                    <a:moveTo>
                      <a:pt x="225" y="0"/>
                    </a:moveTo>
                    <a:lnTo>
                      <a:pt x="122" y="0"/>
                    </a:lnTo>
                    <a:lnTo>
                      <a:pt x="0" y="723"/>
                    </a:lnTo>
                    <a:lnTo>
                      <a:pt x="102" y="723"/>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47" name="Freeform 2005"/>
              <p:cNvSpPr>
                <a:spLocks/>
              </p:cNvSpPr>
              <p:nvPr/>
            </p:nvSpPr>
            <p:spPr bwMode="auto">
              <a:xfrm rot="4500000">
                <a:off x="1975553" y="3305290"/>
                <a:ext cx="282575" cy="47625"/>
              </a:xfrm>
              <a:custGeom>
                <a:avLst/>
                <a:gdLst>
                  <a:gd name="T0" fmla="*/ 0 w 1071"/>
                  <a:gd name="T1" fmla="*/ 89 h 180"/>
                  <a:gd name="T2" fmla="*/ 2 w 1071"/>
                  <a:gd name="T3" fmla="*/ 71 h 180"/>
                  <a:gd name="T4" fmla="*/ 6 w 1071"/>
                  <a:gd name="T5" fmla="*/ 55 h 180"/>
                  <a:gd name="T6" fmla="*/ 12 w 1071"/>
                  <a:gd name="T7" fmla="*/ 39 h 180"/>
                  <a:gd name="T8" fmla="*/ 22 w 1071"/>
                  <a:gd name="T9" fmla="*/ 26 h 180"/>
                  <a:gd name="T10" fmla="*/ 33 w 1071"/>
                  <a:gd name="T11" fmla="*/ 15 h 180"/>
                  <a:gd name="T12" fmla="*/ 45 w 1071"/>
                  <a:gd name="T13" fmla="*/ 7 h 180"/>
                  <a:gd name="T14" fmla="*/ 58 w 1071"/>
                  <a:gd name="T15" fmla="*/ 2 h 180"/>
                  <a:gd name="T16" fmla="*/ 73 w 1071"/>
                  <a:gd name="T17" fmla="*/ 0 h 180"/>
                  <a:gd name="T18" fmla="*/ 998 w 1071"/>
                  <a:gd name="T19" fmla="*/ 0 h 180"/>
                  <a:gd name="T20" fmla="*/ 1014 w 1071"/>
                  <a:gd name="T21" fmla="*/ 2 h 180"/>
                  <a:gd name="T22" fmla="*/ 1027 w 1071"/>
                  <a:gd name="T23" fmla="*/ 7 h 180"/>
                  <a:gd name="T24" fmla="*/ 1039 w 1071"/>
                  <a:gd name="T25" fmla="*/ 15 h 180"/>
                  <a:gd name="T26" fmla="*/ 1050 w 1071"/>
                  <a:gd name="T27" fmla="*/ 26 h 180"/>
                  <a:gd name="T28" fmla="*/ 1059 w 1071"/>
                  <a:gd name="T29" fmla="*/ 39 h 180"/>
                  <a:gd name="T30" fmla="*/ 1066 w 1071"/>
                  <a:gd name="T31" fmla="*/ 55 h 180"/>
                  <a:gd name="T32" fmla="*/ 1070 w 1071"/>
                  <a:gd name="T33" fmla="*/ 71 h 180"/>
                  <a:gd name="T34" fmla="*/ 1071 w 1071"/>
                  <a:gd name="T35" fmla="*/ 89 h 180"/>
                  <a:gd name="T36" fmla="*/ 1071 w 1071"/>
                  <a:gd name="T37" fmla="*/ 89 h 180"/>
                  <a:gd name="T38" fmla="*/ 1070 w 1071"/>
                  <a:gd name="T39" fmla="*/ 108 h 180"/>
                  <a:gd name="T40" fmla="*/ 1066 w 1071"/>
                  <a:gd name="T41" fmla="*/ 125 h 180"/>
                  <a:gd name="T42" fmla="*/ 1059 w 1071"/>
                  <a:gd name="T43" fmla="*/ 141 h 180"/>
                  <a:gd name="T44" fmla="*/ 1050 w 1071"/>
                  <a:gd name="T45" fmla="*/ 154 h 180"/>
                  <a:gd name="T46" fmla="*/ 1039 w 1071"/>
                  <a:gd name="T47" fmla="*/ 165 h 180"/>
                  <a:gd name="T48" fmla="*/ 1027 w 1071"/>
                  <a:gd name="T49" fmla="*/ 173 h 180"/>
                  <a:gd name="T50" fmla="*/ 1014 w 1071"/>
                  <a:gd name="T51" fmla="*/ 178 h 180"/>
                  <a:gd name="T52" fmla="*/ 998 w 1071"/>
                  <a:gd name="T53" fmla="*/ 180 h 180"/>
                  <a:gd name="T54" fmla="*/ 73 w 1071"/>
                  <a:gd name="T55" fmla="*/ 180 h 180"/>
                  <a:gd name="T56" fmla="*/ 58 w 1071"/>
                  <a:gd name="T57" fmla="*/ 178 h 180"/>
                  <a:gd name="T58" fmla="*/ 45 w 1071"/>
                  <a:gd name="T59" fmla="*/ 173 h 180"/>
                  <a:gd name="T60" fmla="*/ 33 w 1071"/>
                  <a:gd name="T61" fmla="*/ 165 h 180"/>
                  <a:gd name="T62" fmla="*/ 22 w 1071"/>
                  <a:gd name="T63" fmla="*/ 154 h 180"/>
                  <a:gd name="T64" fmla="*/ 12 w 1071"/>
                  <a:gd name="T65" fmla="*/ 141 h 180"/>
                  <a:gd name="T66" fmla="*/ 6 w 1071"/>
                  <a:gd name="T67" fmla="*/ 125 h 180"/>
                  <a:gd name="T68" fmla="*/ 2 w 1071"/>
                  <a:gd name="T69" fmla="*/ 108 h 180"/>
                  <a:gd name="T70" fmla="*/ 0 w 1071"/>
                  <a:gd name="T71" fmla="*/ 8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71" h="180">
                    <a:moveTo>
                      <a:pt x="0" y="89"/>
                    </a:moveTo>
                    <a:lnTo>
                      <a:pt x="0" y="89"/>
                    </a:lnTo>
                    <a:lnTo>
                      <a:pt x="1" y="80"/>
                    </a:lnTo>
                    <a:lnTo>
                      <a:pt x="2" y="71"/>
                    </a:lnTo>
                    <a:lnTo>
                      <a:pt x="4" y="63"/>
                    </a:lnTo>
                    <a:lnTo>
                      <a:pt x="6" y="55"/>
                    </a:lnTo>
                    <a:lnTo>
                      <a:pt x="9" y="47"/>
                    </a:lnTo>
                    <a:lnTo>
                      <a:pt x="12" y="39"/>
                    </a:lnTo>
                    <a:lnTo>
                      <a:pt x="18" y="32"/>
                    </a:lnTo>
                    <a:lnTo>
                      <a:pt x="22" y="26"/>
                    </a:lnTo>
                    <a:lnTo>
                      <a:pt x="27" y="20"/>
                    </a:lnTo>
                    <a:lnTo>
                      <a:pt x="33" y="15"/>
                    </a:lnTo>
                    <a:lnTo>
                      <a:pt x="38" y="10"/>
                    </a:lnTo>
                    <a:lnTo>
                      <a:pt x="45" y="7"/>
                    </a:lnTo>
                    <a:lnTo>
                      <a:pt x="51" y="4"/>
                    </a:lnTo>
                    <a:lnTo>
                      <a:pt x="58" y="2"/>
                    </a:lnTo>
                    <a:lnTo>
                      <a:pt x="66" y="0"/>
                    </a:lnTo>
                    <a:lnTo>
                      <a:pt x="73" y="0"/>
                    </a:lnTo>
                    <a:lnTo>
                      <a:pt x="998" y="0"/>
                    </a:lnTo>
                    <a:lnTo>
                      <a:pt x="998" y="0"/>
                    </a:lnTo>
                    <a:lnTo>
                      <a:pt x="1007" y="0"/>
                    </a:lnTo>
                    <a:lnTo>
                      <a:pt x="1014" y="2"/>
                    </a:lnTo>
                    <a:lnTo>
                      <a:pt x="1020" y="4"/>
                    </a:lnTo>
                    <a:lnTo>
                      <a:pt x="1027" y="7"/>
                    </a:lnTo>
                    <a:lnTo>
                      <a:pt x="1033" y="10"/>
                    </a:lnTo>
                    <a:lnTo>
                      <a:pt x="1039" y="15"/>
                    </a:lnTo>
                    <a:lnTo>
                      <a:pt x="1044" y="20"/>
                    </a:lnTo>
                    <a:lnTo>
                      <a:pt x="1050" y="26"/>
                    </a:lnTo>
                    <a:lnTo>
                      <a:pt x="1055" y="32"/>
                    </a:lnTo>
                    <a:lnTo>
                      <a:pt x="1059" y="39"/>
                    </a:lnTo>
                    <a:lnTo>
                      <a:pt x="1063" y="47"/>
                    </a:lnTo>
                    <a:lnTo>
                      <a:pt x="1066" y="55"/>
                    </a:lnTo>
                    <a:lnTo>
                      <a:pt x="1068" y="63"/>
                    </a:lnTo>
                    <a:lnTo>
                      <a:pt x="1070" y="71"/>
                    </a:lnTo>
                    <a:lnTo>
                      <a:pt x="1071" y="80"/>
                    </a:lnTo>
                    <a:lnTo>
                      <a:pt x="1071" y="89"/>
                    </a:lnTo>
                    <a:lnTo>
                      <a:pt x="1071" y="89"/>
                    </a:lnTo>
                    <a:lnTo>
                      <a:pt x="1071" y="89"/>
                    </a:lnTo>
                    <a:lnTo>
                      <a:pt x="1071" y="99"/>
                    </a:lnTo>
                    <a:lnTo>
                      <a:pt x="1070" y="108"/>
                    </a:lnTo>
                    <a:lnTo>
                      <a:pt x="1068" y="117"/>
                    </a:lnTo>
                    <a:lnTo>
                      <a:pt x="1066" y="125"/>
                    </a:lnTo>
                    <a:lnTo>
                      <a:pt x="1063" y="132"/>
                    </a:lnTo>
                    <a:lnTo>
                      <a:pt x="1059" y="141"/>
                    </a:lnTo>
                    <a:lnTo>
                      <a:pt x="1055" y="148"/>
                    </a:lnTo>
                    <a:lnTo>
                      <a:pt x="1050" y="154"/>
                    </a:lnTo>
                    <a:lnTo>
                      <a:pt x="1044" y="160"/>
                    </a:lnTo>
                    <a:lnTo>
                      <a:pt x="1039" y="165"/>
                    </a:lnTo>
                    <a:lnTo>
                      <a:pt x="1033" y="169"/>
                    </a:lnTo>
                    <a:lnTo>
                      <a:pt x="1027" y="173"/>
                    </a:lnTo>
                    <a:lnTo>
                      <a:pt x="1020" y="176"/>
                    </a:lnTo>
                    <a:lnTo>
                      <a:pt x="1014" y="178"/>
                    </a:lnTo>
                    <a:lnTo>
                      <a:pt x="1007" y="179"/>
                    </a:lnTo>
                    <a:lnTo>
                      <a:pt x="998" y="180"/>
                    </a:lnTo>
                    <a:lnTo>
                      <a:pt x="73" y="180"/>
                    </a:lnTo>
                    <a:lnTo>
                      <a:pt x="73" y="180"/>
                    </a:lnTo>
                    <a:lnTo>
                      <a:pt x="66" y="179"/>
                    </a:lnTo>
                    <a:lnTo>
                      <a:pt x="58" y="178"/>
                    </a:lnTo>
                    <a:lnTo>
                      <a:pt x="51" y="176"/>
                    </a:lnTo>
                    <a:lnTo>
                      <a:pt x="45" y="173"/>
                    </a:lnTo>
                    <a:lnTo>
                      <a:pt x="38" y="169"/>
                    </a:lnTo>
                    <a:lnTo>
                      <a:pt x="33" y="165"/>
                    </a:lnTo>
                    <a:lnTo>
                      <a:pt x="27" y="160"/>
                    </a:lnTo>
                    <a:lnTo>
                      <a:pt x="22" y="154"/>
                    </a:lnTo>
                    <a:lnTo>
                      <a:pt x="18" y="148"/>
                    </a:lnTo>
                    <a:lnTo>
                      <a:pt x="12" y="141"/>
                    </a:lnTo>
                    <a:lnTo>
                      <a:pt x="9" y="132"/>
                    </a:lnTo>
                    <a:lnTo>
                      <a:pt x="6" y="125"/>
                    </a:lnTo>
                    <a:lnTo>
                      <a:pt x="4" y="117"/>
                    </a:lnTo>
                    <a:lnTo>
                      <a:pt x="2" y="108"/>
                    </a:lnTo>
                    <a:lnTo>
                      <a:pt x="1" y="99"/>
                    </a:lnTo>
                    <a:lnTo>
                      <a:pt x="0" y="89"/>
                    </a:lnTo>
                    <a:lnTo>
                      <a:pt x="0"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930" name="Rectangle 929"/>
          <p:cNvSpPr/>
          <p:nvPr/>
        </p:nvSpPr>
        <p:spPr bwMode="auto">
          <a:xfrm>
            <a:off x="194410" y="6149169"/>
            <a:ext cx="1189446" cy="487216"/>
          </a:xfrm>
          <a:prstGeom prst="rect">
            <a:avLst/>
          </a:prstGeom>
          <a:solidFill>
            <a:schemeClr val="tx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INSPIRATION,</a:t>
            </a:r>
          </a:p>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DISCOVERY,</a:t>
            </a:r>
          </a:p>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PRE-SHOPPING</a:t>
            </a:r>
          </a:p>
        </p:txBody>
      </p:sp>
      <p:sp>
        <p:nvSpPr>
          <p:cNvPr id="6" name="Rectangle 5"/>
          <p:cNvSpPr/>
          <p:nvPr/>
        </p:nvSpPr>
        <p:spPr bwMode="auto">
          <a:xfrm>
            <a:off x="632651" y="2032851"/>
            <a:ext cx="2778448" cy="49597"/>
          </a:xfrm>
          <a:prstGeom prst="rect">
            <a:avLst/>
          </a:prstGeom>
          <a:solidFill>
            <a:srgbClr val="005B73"/>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93" name="Group 292"/>
          <p:cNvGrpSpPr/>
          <p:nvPr/>
        </p:nvGrpSpPr>
        <p:grpSpPr>
          <a:xfrm flipH="1">
            <a:off x="2673511" y="2023490"/>
            <a:ext cx="545002" cy="468248"/>
            <a:chOff x="1662050" y="7011985"/>
            <a:chExt cx="3584575" cy="3079750"/>
          </a:xfrm>
          <a:solidFill>
            <a:schemeClr val="accent5"/>
          </a:solidFill>
        </p:grpSpPr>
        <p:sp>
          <p:nvSpPr>
            <p:cNvPr id="294" name="Freeform 1175"/>
            <p:cNvSpPr>
              <a:spLocks/>
            </p:cNvSpPr>
            <p:nvPr/>
          </p:nvSpPr>
          <p:spPr bwMode="auto">
            <a:xfrm>
              <a:off x="1662050" y="7011985"/>
              <a:ext cx="3584575" cy="3079750"/>
            </a:xfrm>
            <a:custGeom>
              <a:avLst/>
              <a:gdLst>
                <a:gd name="T0" fmla="*/ 4373 w 4516"/>
                <a:gd name="T1" fmla="*/ 714 h 3880"/>
                <a:gd name="T2" fmla="*/ 4018 w 4516"/>
                <a:gd name="T3" fmla="*/ 666 h 3880"/>
                <a:gd name="T4" fmla="*/ 3956 w 4516"/>
                <a:gd name="T5" fmla="*/ 560 h 3880"/>
                <a:gd name="T6" fmla="*/ 3851 w 4516"/>
                <a:gd name="T7" fmla="*/ 377 h 3880"/>
                <a:gd name="T8" fmla="*/ 3754 w 4516"/>
                <a:gd name="T9" fmla="*/ 305 h 3880"/>
                <a:gd name="T10" fmla="*/ 3563 w 4516"/>
                <a:gd name="T11" fmla="*/ 240 h 3880"/>
                <a:gd name="T12" fmla="*/ 3576 w 4516"/>
                <a:gd name="T13" fmla="*/ 130 h 3880"/>
                <a:gd name="T14" fmla="*/ 3562 w 4516"/>
                <a:gd name="T15" fmla="*/ 18 h 3880"/>
                <a:gd name="T16" fmla="*/ 3472 w 4516"/>
                <a:gd name="T17" fmla="*/ 0 h 3880"/>
                <a:gd name="T18" fmla="*/ 3287 w 4516"/>
                <a:gd name="T19" fmla="*/ 82 h 3880"/>
                <a:gd name="T20" fmla="*/ 3130 w 4516"/>
                <a:gd name="T21" fmla="*/ 195 h 3880"/>
                <a:gd name="T22" fmla="*/ 3059 w 4516"/>
                <a:gd name="T23" fmla="*/ 271 h 3880"/>
                <a:gd name="T24" fmla="*/ 2939 w 4516"/>
                <a:gd name="T25" fmla="*/ 312 h 3880"/>
                <a:gd name="T26" fmla="*/ 2859 w 4516"/>
                <a:gd name="T27" fmla="*/ 399 h 3880"/>
                <a:gd name="T28" fmla="*/ 2783 w 4516"/>
                <a:gd name="T29" fmla="*/ 619 h 3880"/>
                <a:gd name="T30" fmla="*/ 2725 w 4516"/>
                <a:gd name="T31" fmla="*/ 1048 h 3880"/>
                <a:gd name="T32" fmla="*/ 2712 w 4516"/>
                <a:gd name="T33" fmla="*/ 1247 h 3880"/>
                <a:gd name="T34" fmla="*/ 2400 w 4516"/>
                <a:gd name="T35" fmla="*/ 1414 h 3880"/>
                <a:gd name="T36" fmla="*/ 2002 w 4516"/>
                <a:gd name="T37" fmla="*/ 1542 h 3880"/>
                <a:gd name="T38" fmla="*/ 1730 w 4516"/>
                <a:gd name="T39" fmla="*/ 1692 h 3880"/>
                <a:gd name="T40" fmla="*/ 1458 w 4516"/>
                <a:gd name="T41" fmla="*/ 1913 h 3880"/>
                <a:gd name="T42" fmla="*/ 1212 w 4516"/>
                <a:gd name="T43" fmla="*/ 2224 h 3880"/>
                <a:gd name="T44" fmla="*/ 1017 w 4516"/>
                <a:gd name="T45" fmla="*/ 2634 h 3880"/>
                <a:gd name="T46" fmla="*/ 900 w 4516"/>
                <a:gd name="T47" fmla="*/ 3162 h 3880"/>
                <a:gd name="T48" fmla="*/ 769 w 4516"/>
                <a:gd name="T49" fmla="*/ 3381 h 3880"/>
                <a:gd name="T50" fmla="*/ 454 w 4516"/>
                <a:gd name="T51" fmla="*/ 3179 h 3880"/>
                <a:gd name="T52" fmla="*/ 309 w 4516"/>
                <a:gd name="T53" fmla="*/ 3023 h 3880"/>
                <a:gd name="T54" fmla="*/ 227 w 4516"/>
                <a:gd name="T55" fmla="*/ 2881 h 3880"/>
                <a:gd name="T56" fmla="*/ 176 w 4516"/>
                <a:gd name="T57" fmla="*/ 2888 h 3880"/>
                <a:gd name="T58" fmla="*/ 80 w 4516"/>
                <a:gd name="T59" fmla="*/ 3007 h 3880"/>
                <a:gd name="T60" fmla="*/ 8 w 4516"/>
                <a:gd name="T61" fmla="*/ 3207 h 3880"/>
                <a:gd name="T62" fmla="*/ 23 w 4516"/>
                <a:gd name="T63" fmla="*/ 3442 h 3880"/>
                <a:gd name="T64" fmla="*/ 121 w 4516"/>
                <a:gd name="T65" fmla="*/ 3605 h 3880"/>
                <a:gd name="T66" fmla="*/ 272 w 4516"/>
                <a:gd name="T67" fmla="*/ 3700 h 3880"/>
                <a:gd name="T68" fmla="*/ 636 w 4516"/>
                <a:gd name="T69" fmla="*/ 3796 h 3880"/>
                <a:gd name="T70" fmla="*/ 941 w 4516"/>
                <a:gd name="T71" fmla="*/ 3841 h 3880"/>
                <a:gd name="T72" fmla="*/ 1068 w 4516"/>
                <a:gd name="T73" fmla="*/ 3840 h 3880"/>
                <a:gd name="T74" fmla="*/ 2060 w 4516"/>
                <a:gd name="T75" fmla="*/ 3868 h 3880"/>
                <a:gd name="T76" fmla="*/ 2320 w 4516"/>
                <a:gd name="T77" fmla="*/ 3876 h 3880"/>
                <a:gd name="T78" fmla="*/ 2422 w 4516"/>
                <a:gd name="T79" fmla="*/ 3873 h 3880"/>
                <a:gd name="T80" fmla="*/ 2625 w 4516"/>
                <a:gd name="T81" fmla="*/ 3828 h 3880"/>
                <a:gd name="T82" fmla="*/ 2724 w 4516"/>
                <a:gd name="T83" fmla="*/ 3741 h 3880"/>
                <a:gd name="T84" fmla="*/ 2760 w 4516"/>
                <a:gd name="T85" fmla="*/ 3584 h 3880"/>
                <a:gd name="T86" fmla="*/ 2724 w 4516"/>
                <a:gd name="T87" fmla="*/ 3425 h 3880"/>
                <a:gd name="T88" fmla="*/ 2629 w 4516"/>
                <a:gd name="T89" fmla="*/ 3340 h 3880"/>
                <a:gd name="T90" fmla="*/ 2395 w 4516"/>
                <a:gd name="T91" fmla="*/ 3309 h 3880"/>
                <a:gd name="T92" fmla="*/ 2289 w 4516"/>
                <a:gd name="T93" fmla="*/ 3275 h 3880"/>
                <a:gd name="T94" fmla="*/ 2467 w 4516"/>
                <a:gd name="T95" fmla="*/ 3159 h 3880"/>
                <a:gd name="T96" fmla="*/ 2920 w 4516"/>
                <a:gd name="T97" fmla="*/ 3367 h 3880"/>
                <a:gd name="T98" fmla="*/ 2955 w 4516"/>
                <a:gd name="T99" fmla="*/ 3645 h 3880"/>
                <a:gd name="T100" fmla="*/ 3020 w 4516"/>
                <a:gd name="T101" fmla="*/ 3756 h 3880"/>
                <a:gd name="T102" fmla="*/ 3116 w 4516"/>
                <a:gd name="T103" fmla="*/ 3813 h 3880"/>
                <a:gd name="T104" fmla="*/ 3237 w 4516"/>
                <a:gd name="T105" fmla="*/ 3827 h 3880"/>
                <a:gd name="T106" fmla="*/ 3359 w 4516"/>
                <a:gd name="T107" fmla="*/ 3792 h 3880"/>
                <a:gd name="T108" fmla="*/ 3436 w 4516"/>
                <a:gd name="T109" fmla="*/ 3708 h 3880"/>
                <a:gd name="T110" fmla="*/ 3491 w 4516"/>
                <a:gd name="T111" fmla="*/ 3501 h 3880"/>
                <a:gd name="T112" fmla="*/ 3501 w 4516"/>
                <a:gd name="T113" fmla="*/ 2766 h 3880"/>
                <a:gd name="T114" fmla="*/ 3924 w 4516"/>
                <a:gd name="T115" fmla="*/ 1363 h 3880"/>
                <a:gd name="T116" fmla="*/ 4286 w 4516"/>
                <a:gd name="T117" fmla="*/ 1246 h 3880"/>
                <a:gd name="T118" fmla="*/ 4418 w 4516"/>
                <a:gd name="T119" fmla="*/ 1158 h 3880"/>
                <a:gd name="T120" fmla="*/ 4490 w 4516"/>
                <a:gd name="T121" fmla="*/ 1065 h 3880"/>
                <a:gd name="T122" fmla="*/ 4510 w 4516"/>
                <a:gd name="T123" fmla="*/ 900 h 3880"/>
                <a:gd name="T124" fmla="*/ 4437 w 4516"/>
                <a:gd name="T125" fmla="*/ 744 h 3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16" h="3880">
                  <a:moveTo>
                    <a:pt x="4421" y="724"/>
                  </a:moveTo>
                  <a:lnTo>
                    <a:pt x="4421" y="724"/>
                  </a:lnTo>
                  <a:lnTo>
                    <a:pt x="4420" y="722"/>
                  </a:lnTo>
                  <a:lnTo>
                    <a:pt x="4417" y="721"/>
                  </a:lnTo>
                  <a:lnTo>
                    <a:pt x="4407" y="718"/>
                  </a:lnTo>
                  <a:lnTo>
                    <a:pt x="4392" y="715"/>
                  </a:lnTo>
                  <a:lnTo>
                    <a:pt x="4373" y="714"/>
                  </a:lnTo>
                  <a:lnTo>
                    <a:pt x="4327" y="711"/>
                  </a:lnTo>
                  <a:lnTo>
                    <a:pt x="4273" y="710"/>
                  </a:lnTo>
                  <a:lnTo>
                    <a:pt x="4170" y="710"/>
                  </a:lnTo>
                  <a:lnTo>
                    <a:pt x="4112" y="710"/>
                  </a:lnTo>
                  <a:lnTo>
                    <a:pt x="4025" y="672"/>
                  </a:lnTo>
                  <a:lnTo>
                    <a:pt x="4025" y="672"/>
                  </a:lnTo>
                  <a:lnTo>
                    <a:pt x="4018" y="666"/>
                  </a:lnTo>
                  <a:lnTo>
                    <a:pt x="4009" y="659"/>
                  </a:lnTo>
                  <a:lnTo>
                    <a:pt x="4002" y="652"/>
                  </a:lnTo>
                  <a:lnTo>
                    <a:pt x="3996" y="643"/>
                  </a:lnTo>
                  <a:lnTo>
                    <a:pt x="3984" y="625"/>
                  </a:lnTo>
                  <a:lnTo>
                    <a:pt x="3974" y="605"/>
                  </a:lnTo>
                  <a:lnTo>
                    <a:pt x="3965" y="583"/>
                  </a:lnTo>
                  <a:lnTo>
                    <a:pt x="3956" y="560"/>
                  </a:lnTo>
                  <a:lnTo>
                    <a:pt x="3936" y="509"/>
                  </a:lnTo>
                  <a:lnTo>
                    <a:pt x="3924" y="484"/>
                  </a:lnTo>
                  <a:lnTo>
                    <a:pt x="3910" y="457"/>
                  </a:lnTo>
                  <a:lnTo>
                    <a:pt x="3893" y="430"/>
                  </a:lnTo>
                  <a:lnTo>
                    <a:pt x="3874" y="404"/>
                  </a:lnTo>
                  <a:lnTo>
                    <a:pt x="3864" y="391"/>
                  </a:lnTo>
                  <a:lnTo>
                    <a:pt x="3851" y="377"/>
                  </a:lnTo>
                  <a:lnTo>
                    <a:pt x="3838" y="364"/>
                  </a:lnTo>
                  <a:lnTo>
                    <a:pt x="3824" y="351"/>
                  </a:lnTo>
                  <a:lnTo>
                    <a:pt x="3809" y="340"/>
                  </a:lnTo>
                  <a:lnTo>
                    <a:pt x="3792" y="327"/>
                  </a:lnTo>
                  <a:lnTo>
                    <a:pt x="3773" y="316"/>
                  </a:lnTo>
                  <a:lnTo>
                    <a:pt x="3754" y="305"/>
                  </a:lnTo>
                  <a:lnTo>
                    <a:pt x="3754" y="305"/>
                  </a:lnTo>
                  <a:lnTo>
                    <a:pt x="3737" y="295"/>
                  </a:lnTo>
                  <a:lnTo>
                    <a:pt x="3720" y="288"/>
                  </a:lnTo>
                  <a:lnTo>
                    <a:pt x="3683" y="274"/>
                  </a:lnTo>
                  <a:lnTo>
                    <a:pt x="3648" y="261"/>
                  </a:lnTo>
                  <a:lnTo>
                    <a:pt x="3615" y="253"/>
                  </a:lnTo>
                  <a:lnTo>
                    <a:pt x="3586" y="246"/>
                  </a:lnTo>
                  <a:lnTo>
                    <a:pt x="3563" y="240"/>
                  </a:lnTo>
                  <a:lnTo>
                    <a:pt x="3542" y="236"/>
                  </a:lnTo>
                  <a:lnTo>
                    <a:pt x="3542" y="236"/>
                  </a:lnTo>
                  <a:lnTo>
                    <a:pt x="3552" y="216"/>
                  </a:lnTo>
                  <a:lnTo>
                    <a:pt x="3560" y="193"/>
                  </a:lnTo>
                  <a:lnTo>
                    <a:pt x="3570" y="164"/>
                  </a:lnTo>
                  <a:lnTo>
                    <a:pt x="3573" y="148"/>
                  </a:lnTo>
                  <a:lnTo>
                    <a:pt x="3576" y="130"/>
                  </a:lnTo>
                  <a:lnTo>
                    <a:pt x="3579" y="113"/>
                  </a:lnTo>
                  <a:lnTo>
                    <a:pt x="3579" y="95"/>
                  </a:lnTo>
                  <a:lnTo>
                    <a:pt x="3577" y="75"/>
                  </a:lnTo>
                  <a:lnTo>
                    <a:pt x="3575" y="56"/>
                  </a:lnTo>
                  <a:lnTo>
                    <a:pt x="3569" y="37"/>
                  </a:lnTo>
                  <a:lnTo>
                    <a:pt x="3562" y="18"/>
                  </a:lnTo>
                  <a:lnTo>
                    <a:pt x="3562" y="18"/>
                  </a:lnTo>
                  <a:lnTo>
                    <a:pt x="3559" y="16"/>
                  </a:lnTo>
                  <a:lnTo>
                    <a:pt x="3555" y="13"/>
                  </a:lnTo>
                  <a:lnTo>
                    <a:pt x="3543" y="8"/>
                  </a:lnTo>
                  <a:lnTo>
                    <a:pt x="3527" y="4"/>
                  </a:lnTo>
                  <a:lnTo>
                    <a:pt x="3508" y="1"/>
                  </a:lnTo>
                  <a:lnTo>
                    <a:pt x="3490" y="0"/>
                  </a:lnTo>
                  <a:lnTo>
                    <a:pt x="3472" y="0"/>
                  </a:lnTo>
                  <a:lnTo>
                    <a:pt x="3456" y="1"/>
                  </a:lnTo>
                  <a:lnTo>
                    <a:pt x="3450" y="1"/>
                  </a:lnTo>
                  <a:lnTo>
                    <a:pt x="3445" y="4"/>
                  </a:lnTo>
                  <a:lnTo>
                    <a:pt x="3445" y="4"/>
                  </a:lnTo>
                  <a:lnTo>
                    <a:pt x="3388" y="34"/>
                  </a:lnTo>
                  <a:lnTo>
                    <a:pt x="3335" y="59"/>
                  </a:lnTo>
                  <a:lnTo>
                    <a:pt x="3287" y="82"/>
                  </a:lnTo>
                  <a:lnTo>
                    <a:pt x="3243" y="104"/>
                  </a:lnTo>
                  <a:lnTo>
                    <a:pt x="3222" y="117"/>
                  </a:lnTo>
                  <a:lnTo>
                    <a:pt x="3202" y="130"/>
                  </a:lnTo>
                  <a:lnTo>
                    <a:pt x="3184" y="144"/>
                  </a:lnTo>
                  <a:lnTo>
                    <a:pt x="3165" y="159"/>
                  </a:lnTo>
                  <a:lnTo>
                    <a:pt x="3147" y="176"/>
                  </a:lnTo>
                  <a:lnTo>
                    <a:pt x="3130" y="195"/>
                  </a:lnTo>
                  <a:lnTo>
                    <a:pt x="3113" y="214"/>
                  </a:lnTo>
                  <a:lnTo>
                    <a:pt x="3096" y="238"/>
                  </a:lnTo>
                  <a:lnTo>
                    <a:pt x="3096" y="238"/>
                  </a:lnTo>
                  <a:lnTo>
                    <a:pt x="3089" y="248"/>
                  </a:lnTo>
                  <a:lnTo>
                    <a:pt x="3079" y="257"/>
                  </a:lnTo>
                  <a:lnTo>
                    <a:pt x="3069" y="265"/>
                  </a:lnTo>
                  <a:lnTo>
                    <a:pt x="3059" y="271"/>
                  </a:lnTo>
                  <a:lnTo>
                    <a:pt x="3048" y="277"/>
                  </a:lnTo>
                  <a:lnTo>
                    <a:pt x="3037" y="281"/>
                  </a:lnTo>
                  <a:lnTo>
                    <a:pt x="3013" y="289"/>
                  </a:lnTo>
                  <a:lnTo>
                    <a:pt x="2987" y="295"/>
                  </a:lnTo>
                  <a:lnTo>
                    <a:pt x="2963" y="303"/>
                  </a:lnTo>
                  <a:lnTo>
                    <a:pt x="2951" y="308"/>
                  </a:lnTo>
                  <a:lnTo>
                    <a:pt x="2939" y="312"/>
                  </a:lnTo>
                  <a:lnTo>
                    <a:pt x="2928" y="319"/>
                  </a:lnTo>
                  <a:lnTo>
                    <a:pt x="2918" y="326"/>
                  </a:lnTo>
                  <a:lnTo>
                    <a:pt x="2918" y="326"/>
                  </a:lnTo>
                  <a:lnTo>
                    <a:pt x="2900" y="341"/>
                  </a:lnTo>
                  <a:lnTo>
                    <a:pt x="2884" y="360"/>
                  </a:lnTo>
                  <a:lnTo>
                    <a:pt x="2872" y="380"/>
                  </a:lnTo>
                  <a:lnTo>
                    <a:pt x="2859" y="399"/>
                  </a:lnTo>
                  <a:lnTo>
                    <a:pt x="2849" y="420"/>
                  </a:lnTo>
                  <a:lnTo>
                    <a:pt x="2839" y="443"/>
                  </a:lnTo>
                  <a:lnTo>
                    <a:pt x="2822" y="488"/>
                  </a:lnTo>
                  <a:lnTo>
                    <a:pt x="2822" y="488"/>
                  </a:lnTo>
                  <a:lnTo>
                    <a:pt x="2807" y="531"/>
                  </a:lnTo>
                  <a:lnTo>
                    <a:pt x="2794" y="576"/>
                  </a:lnTo>
                  <a:lnTo>
                    <a:pt x="2783" y="619"/>
                  </a:lnTo>
                  <a:lnTo>
                    <a:pt x="2774" y="665"/>
                  </a:lnTo>
                  <a:lnTo>
                    <a:pt x="2766" y="710"/>
                  </a:lnTo>
                  <a:lnTo>
                    <a:pt x="2759" y="755"/>
                  </a:lnTo>
                  <a:lnTo>
                    <a:pt x="2746" y="845"/>
                  </a:lnTo>
                  <a:lnTo>
                    <a:pt x="2746" y="845"/>
                  </a:lnTo>
                  <a:lnTo>
                    <a:pt x="2735" y="947"/>
                  </a:lnTo>
                  <a:lnTo>
                    <a:pt x="2725" y="1048"/>
                  </a:lnTo>
                  <a:lnTo>
                    <a:pt x="2725" y="1048"/>
                  </a:lnTo>
                  <a:lnTo>
                    <a:pt x="2714" y="1154"/>
                  </a:lnTo>
                  <a:lnTo>
                    <a:pt x="2711" y="1188"/>
                  </a:lnTo>
                  <a:lnTo>
                    <a:pt x="2709" y="1218"/>
                  </a:lnTo>
                  <a:lnTo>
                    <a:pt x="2709" y="1239"/>
                  </a:lnTo>
                  <a:lnTo>
                    <a:pt x="2711" y="1245"/>
                  </a:lnTo>
                  <a:lnTo>
                    <a:pt x="2712" y="1247"/>
                  </a:lnTo>
                  <a:lnTo>
                    <a:pt x="2604" y="1386"/>
                  </a:lnTo>
                  <a:lnTo>
                    <a:pt x="2604" y="1386"/>
                  </a:lnTo>
                  <a:lnTo>
                    <a:pt x="2584" y="1386"/>
                  </a:lnTo>
                  <a:lnTo>
                    <a:pt x="2532" y="1391"/>
                  </a:lnTo>
                  <a:lnTo>
                    <a:pt x="2495" y="1397"/>
                  </a:lnTo>
                  <a:lnTo>
                    <a:pt x="2450" y="1404"/>
                  </a:lnTo>
                  <a:lnTo>
                    <a:pt x="2400" y="1414"/>
                  </a:lnTo>
                  <a:lnTo>
                    <a:pt x="2344" y="1427"/>
                  </a:lnTo>
                  <a:lnTo>
                    <a:pt x="2283" y="1442"/>
                  </a:lnTo>
                  <a:lnTo>
                    <a:pt x="2218" y="1460"/>
                  </a:lnTo>
                  <a:lnTo>
                    <a:pt x="2149" y="1484"/>
                  </a:lnTo>
                  <a:lnTo>
                    <a:pt x="2077" y="1511"/>
                  </a:lnTo>
                  <a:lnTo>
                    <a:pt x="2041" y="1525"/>
                  </a:lnTo>
                  <a:lnTo>
                    <a:pt x="2002" y="1542"/>
                  </a:lnTo>
                  <a:lnTo>
                    <a:pt x="1964" y="1559"/>
                  </a:lnTo>
                  <a:lnTo>
                    <a:pt x="1926" y="1578"/>
                  </a:lnTo>
                  <a:lnTo>
                    <a:pt x="1887" y="1599"/>
                  </a:lnTo>
                  <a:lnTo>
                    <a:pt x="1849" y="1620"/>
                  </a:lnTo>
                  <a:lnTo>
                    <a:pt x="1809" y="1642"/>
                  </a:lnTo>
                  <a:lnTo>
                    <a:pt x="1770" y="1666"/>
                  </a:lnTo>
                  <a:lnTo>
                    <a:pt x="1730" y="1692"/>
                  </a:lnTo>
                  <a:lnTo>
                    <a:pt x="1691" y="1719"/>
                  </a:lnTo>
                  <a:lnTo>
                    <a:pt x="1651" y="1747"/>
                  </a:lnTo>
                  <a:lnTo>
                    <a:pt x="1612" y="1777"/>
                  </a:lnTo>
                  <a:lnTo>
                    <a:pt x="1572" y="1809"/>
                  </a:lnTo>
                  <a:lnTo>
                    <a:pt x="1534" y="1841"/>
                  </a:lnTo>
                  <a:lnTo>
                    <a:pt x="1496" y="1877"/>
                  </a:lnTo>
                  <a:lnTo>
                    <a:pt x="1458" y="1913"/>
                  </a:lnTo>
                  <a:lnTo>
                    <a:pt x="1421" y="1953"/>
                  </a:lnTo>
                  <a:lnTo>
                    <a:pt x="1384" y="1992"/>
                  </a:lnTo>
                  <a:lnTo>
                    <a:pt x="1348" y="2035"/>
                  </a:lnTo>
                  <a:lnTo>
                    <a:pt x="1312" y="2080"/>
                  </a:lnTo>
                  <a:lnTo>
                    <a:pt x="1279" y="2125"/>
                  </a:lnTo>
                  <a:lnTo>
                    <a:pt x="1245" y="2173"/>
                  </a:lnTo>
                  <a:lnTo>
                    <a:pt x="1212" y="2224"/>
                  </a:lnTo>
                  <a:lnTo>
                    <a:pt x="1181" y="2276"/>
                  </a:lnTo>
                  <a:lnTo>
                    <a:pt x="1150" y="2330"/>
                  </a:lnTo>
                  <a:lnTo>
                    <a:pt x="1120" y="2386"/>
                  </a:lnTo>
                  <a:lnTo>
                    <a:pt x="1094" y="2445"/>
                  </a:lnTo>
                  <a:lnTo>
                    <a:pt x="1067" y="2506"/>
                  </a:lnTo>
                  <a:lnTo>
                    <a:pt x="1041" y="2570"/>
                  </a:lnTo>
                  <a:lnTo>
                    <a:pt x="1017" y="2634"/>
                  </a:lnTo>
                  <a:lnTo>
                    <a:pt x="996" y="2704"/>
                  </a:lnTo>
                  <a:lnTo>
                    <a:pt x="975" y="2773"/>
                  </a:lnTo>
                  <a:lnTo>
                    <a:pt x="957" y="2846"/>
                  </a:lnTo>
                  <a:lnTo>
                    <a:pt x="940" y="2921"/>
                  </a:lnTo>
                  <a:lnTo>
                    <a:pt x="924" y="2999"/>
                  </a:lnTo>
                  <a:lnTo>
                    <a:pt x="912" y="3079"/>
                  </a:lnTo>
                  <a:lnTo>
                    <a:pt x="900" y="3162"/>
                  </a:lnTo>
                  <a:lnTo>
                    <a:pt x="892" y="3248"/>
                  </a:lnTo>
                  <a:lnTo>
                    <a:pt x="885" y="3337"/>
                  </a:lnTo>
                  <a:lnTo>
                    <a:pt x="881" y="3427"/>
                  </a:lnTo>
                  <a:lnTo>
                    <a:pt x="881" y="3427"/>
                  </a:lnTo>
                  <a:lnTo>
                    <a:pt x="847" y="3415"/>
                  </a:lnTo>
                  <a:lnTo>
                    <a:pt x="810" y="3399"/>
                  </a:lnTo>
                  <a:lnTo>
                    <a:pt x="769" y="3381"/>
                  </a:lnTo>
                  <a:lnTo>
                    <a:pt x="727" y="3361"/>
                  </a:lnTo>
                  <a:lnTo>
                    <a:pt x="683" y="3337"/>
                  </a:lnTo>
                  <a:lnTo>
                    <a:pt x="638" y="3312"/>
                  </a:lnTo>
                  <a:lnTo>
                    <a:pt x="591" y="3284"/>
                  </a:lnTo>
                  <a:lnTo>
                    <a:pt x="545" y="3251"/>
                  </a:lnTo>
                  <a:lnTo>
                    <a:pt x="500" y="3217"/>
                  </a:lnTo>
                  <a:lnTo>
                    <a:pt x="454" y="3179"/>
                  </a:lnTo>
                  <a:lnTo>
                    <a:pt x="432" y="3159"/>
                  </a:lnTo>
                  <a:lnTo>
                    <a:pt x="411" y="3140"/>
                  </a:lnTo>
                  <a:lnTo>
                    <a:pt x="388" y="3117"/>
                  </a:lnTo>
                  <a:lnTo>
                    <a:pt x="368" y="3094"/>
                  </a:lnTo>
                  <a:lnTo>
                    <a:pt x="347" y="3072"/>
                  </a:lnTo>
                  <a:lnTo>
                    <a:pt x="329" y="3048"/>
                  </a:lnTo>
                  <a:lnTo>
                    <a:pt x="309" y="3023"/>
                  </a:lnTo>
                  <a:lnTo>
                    <a:pt x="292" y="2997"/>
                  </a:lnTo>
                  <a:lnTo>
                    <a:pt x="275" y="2970"/>
                  </a:lnTo>
                  <a:lnTo>
                    <a:pt x="258" y="2943"/>
                  </a:lnTo>
                  <a:lnTo>
                    <a:pt x="244" y="2915"/>
                  </a:lnTo>
                  <a:lnTo>
                    <a:pt x="230" y="2886"/>
                  </a:lnTo>
                  <a:lnTo>
                    <a:pt x="230" y="2886"/>
                  </a:lnTo>
                  <a:lnTo>
                    <a:pt x="227" y="2881"/>
                  </a:lnTo>
                  <a:lnTo>
                    <a:pt x="224" y="2879"/>
                  </a:lnTo>
                  <a:lnTo>
                    <a:pt x="222" y="2876"/>
                  </a:lnTo>
                  <a:lnTo>
                    <a:pt x="217" y="2874"/>
                  </a:lnTo>
                  <a:lnTo>
                    <a:pt x="209" y="2874"/>
                  </a:lnTo>
                  <a:lnTo>
                    <a:pt x="200" y="2876"/>
                  </a:lnTo>
                  <a:lnTo>
                    <a:pt x="189" y="2881"/>
                  </a:lnTo>
                  <a:lnTo>
                    <a:pt x="176" y="2888"/>
                  </a:lnTo>
                  <a:lnTo>
                    <a:pt x="164" y="2900"/>
                  </a:lnTo>
                  <a:lnTo>
                    <a:pt x="151" y="2912"/>
                  </a:lnTo>
                  <a:lnTo>
                    <a:pt x="137" y="2927"/>
                  </a:lnTo>
                  <a:lnTo>
                    <a:pt x="123" y="2943"/>
                  </a:lnTo>
                  <a:lnTo>
                    <a:pt x="109" y="2963"/>
                  </a:lnTo>
                  <a:lnTo>
                    <a:pt x="95" y="2984"/>
                  </a:lnTo>
                  <a:lnTo>
                    <a:pt x="80" y="3007"/>
                  </a:lnTo>
                  <a:lnTo>
                    <a:pt x="68" y="3032"/>
                  </a:lnTo>
                  <a:lnTo>
                    <a:pt x="55" y="3058"/>
                  </a:lnTo>
                  <a:lnTo>
                    <a:pt x="44" y="3086"/>
                  </a:lnTo>
                  <a:lnTo>
                    <a:pt x="32" y="3114"/>
                  </a:lnTo>
                  <a:lnTo>
                    <a:pt x="23" y="3144"/>
                  </a:lnTo>
                  <a:lnTo>
                    <a:pt x="14" y="3175"/>
                  </a:lnTo>
                  <a:lnTo>
                    <a:pt x="8" y="3207"/>
                  </a:lnTo>
                  <a:lnTo>
                    <a:pt x="3" y="3240"/>
                  </a:lnTo>
                  <a:lnTo>
                    <a:pt x="0" y="3272"/>
                  </a:lnTo>
                  <a:lnTo>
                    <a:pt x="0" y="3306"/>
                  </a:lnTo>
                  <a:lnTo>
                    <a:pt x="1" y="3340"/>
                  </a:lnTo>
                  <a:lnTo>
                    <a:pt x="6" y="3374"/>
                  </a:lnTo>
                  <a:lnTo>
                    <a:pt x="13" y="3408"/>
                  </a:lnTo>
                  <a:lnTo>
                    <a:pt x="23" y="3442"/>
                  </a:lnTo>
                  <a:lnTo>
                    <a:pt x="35" y="3475"/>
                  </a:lnTo>
                  <a:lnTo>
                    <a:pt x="52" y="3508"/>
                  </a:lnTo>
                  <a:lnTo>
                    <a:pt x="72" y="3542"/>
                  </a:lnTo>
                  <a:lnTo>
                    <a:pt x="83" y="3557"/>
                  </a:lnTo>
                  <a:lnTo>
                    <a:pt x="95" y="3574"/>
                  </a:lnTo>
                  <a:lnTo>
                    <a:pt x="109" y="3590"/>
                  </a:lnTo>
                  <a:lnTo>
                    <a:pt x="121" y="3605"/>
                  </a:lnTo>
                  <a:lnTo>
                    <a:pt x="121" y="3605"/>
                  </a:lnTo>
                  <a:lnTo>
                    <a:pt x="133" y="3615"/>
                  </a:lnTo>
                  <a:lnTo>
                    <a:pt x="144" y="3626"/>
                  </a:lnTo>
                  <a:lnTo>
                    <a:pt x="171" y="3646"/>
                  </a:lnTo>
                  <a:lnTo>
                    <a:pt x="200" y="3665"/>
                  </a:lnTo>
                  <a:lnTo>
                    <a:pt x="234" y="3683"/>
                  </a:lnTo>
                  <a:lnTo>
                    <a:pt x="272" y="3700"/>
                  </a:lnTo>
                  <a:lnTo>
                    <a:pt x="315" y="3717"/>
                  </a:lnTo>
                  <a:lnTo>
                    <a:pt x="360" y="3732"/>
                  </a:lnTo>
                  <a:lnTo>
                    <a:pt x="409" y="3746"/>
                  </a:lnTo>
                  <a:lnTo>
                    <a:pt x="461" y="3761"/>
                  </a:lnTo>
                  <a:lnTo>
                    <a:pt x="516" y="3773"/>
                  </a:lnTo>
                  <a:lnTo>
                    <a:pt x="574" y="3784"/>
                  </a:lnTo>
                  <a:lnTo>
                    <a:pt x="636" y="3796"/>
                  </a:lnTo>
                  <a:lnTo>
                    <a:pt x="701" y="3806"/>
                  </a:lnTo>
                  <a:lnTo>
                    <a:pt x="769" y="3814"/>
                  </a:lnTo>
                  <a:lnTo>
                    <a:pt x="838" y="3823"/>
                  </a:lnTo>
                  <a:lnTo>
                    <a:pt x="912" y="3828"/>
                  </a:lnTo>
                  <a:lnTo>
                    <a:pt x="912" y="3828"/>
                  </a:lnTo>
                  <a:lnTo>
                    <a:pt x="926" y="3837"/>
                  </a:lnTo>
                  <a:lnTo>
                    <a:pt x="941" y="3841"/>
                  </a:lnTo>
                  <a:lnTo>
                    <a:pt x="960" y="3845"/>
                  </a:lnTo>
                  <a:lnTo>
                    <a:pt x="979" y="3847"/>
                  </a:lnTo>
                  <a:lnTo>
                    <a:pt x="1001" y="3847"/>
                  </a:lnTo>
                  <a:lnTo>
                    <a:pt x="1022" y="3847"/>
                  </a:lnTo>
                  <a:lnTo>
                    <a:pt x="1044" y="3844"/>
                  </a:lnTo>
                  <a:lnTo>
                    <a:pt x="1068" y="3840"/>
                  </a:lnTo>
                  <a:lnTo>
                    <a:pt x="1068" y="3840"/>
                  </a:lnTo>
                  <a:lnTo>
                    <a:pt x="1180" y="3845"/>
                  </a:lnTo>
                  <a:lnTo>
                    <a:pt x="1297" y="3848"/>
                  </a:lnTo>
                  <a:lnTo>
                    <a:pt x="1297" y="3848"/>
                  </a:lnTo>
                  <a:lnTo>
                    <a:pt x="1401" y="3849"/>
                  </a:lnTo>
                  <a:lnTo>
                    <a:pt x="1517" y="3852"/>
                  </a:lnTo>
                  <a:lnTo>
                    <a:pt x="1774" y="3859"/>
                  </a:lnTo>
                  <a:lnTo>
                    <a:pt x="2060" y="3868"/>
                  </a:lnTo>
                  <a:lnTo>
                    <a:pt x="2210" y="3869"/>
                  </a:lnTo>
                  <a:lnTo>
                    <a:pt x="2364" y="3871"/>
                  </a:lnTo>
                  <a:lnTo>
                    <a:pt x="2364" y="3871"/>
                  </a:lnTo>
                  <a:lnTo>
                    <a:pt x="2402" y="3872"/>
                  </a:lnTo>
                  <a:lnTo>
                    <a:pt x="2403" y="3872"/>
                  </a:lnTo>
                  <a:lnTo>
                    <a:pt x="2398" y="3872"/>
                  </a:lnTo>
                  <a:lnTo>
                    <a:pt x="2320" y="3876"/>
                  </a:lnTo>
                  <a:lnTo>
                    <a:pt x="2244" y="3880"/>
                  </a:lnTo>
                  <a:lnTo>
                    <a:pt x="2237" y="3880"/>
                  </a:lnTo>
                  <a:lnTo>
                    <a:pt x="2240" y="3880"/>
                  </a:lnTo>
                  <a:lnTo>
                    <a:pt x="2278" y="3880"/>
                  </a:lnTo>
                  <a:lnTo>
                    <a:pt x="2278" y="3880"/>
                  </a:lnTo>
                  <a:lnTo>
                    <a:pt x="2351" y="3879"/>
                  </a:lnTo>
                  <a:lnTo>
                    <a:pt x="2422" y="3873"/>
                  </a:lnTo>
                  <a:lnTo>
                    <a:pt x="2455" y="3871"/>
                  </a:lnTo>
                  <a:lnTo>
                    <a:pt x="2488" y="3866"/>
                  </a:lnTo>
                  <a:lnTo>
                    <a:pt x="2519" y="3861"/>
                  </a:lnTo>
                  <a:lnTo>
                    <a:pt x="2549" y="3854"/>
                  </a:lnTo>
                  <a:lnTo>
                    <a:pt x="2575" y="3847"/>
                  </a:lnTo>
                  <a:lnTo>
                    <a:pt x="2601" y="3838"/>
                  </a:lnTo>
                  <a:lnTo>
                    <a:pt x="2625" y="3828"/>
                  </a:lnTo>
                  <a:lnTo>
                    <a:pt x="2647" y="3818"/>
                  </a:lnTo>
                  <a:lnTo>
                    <a:pt x="2667" y="3806"/>
                  </a:lnTo>
                  <a:lnTo>
                    <a:pt x="2684" y="3792"/>
                  </a:lnTo>
                  <a:lnTo>
                    <a:pt x="2700" y="3777"/>
                  </a:lnTo>
                  <a:lnTo>
                    <a:pt x="2712" y="3761"/>
                  </a:lnTo>
                  <a:lnTo>
                    <a:pt x="2712" y="3761"/>
                  </a:lnTo>
                  <a:lnTo>
                    <a:pt x="2724" y="3741"/>
                  </a:lnTo>
                  <a:lnTo>
                    <a:pt x="2733" y="3721"/>
                  </a:lnTo>
                  <a:lnTo>
                    <a:pt x="2742" y="3700"/>
                  </a:lnTo>
                  <a:lnTo>
                    <a:pt x="2748" y="3679"/>
                  </a:lnTo>
                  <a:lnTo>
                    <a:pt x="2753" y="3655"/>
                  </a:lnTo>
                  <a:lnTo>
                    <a:pt x="2757" y="3632"/>
                  </a:lnTo>
                  <a:lnTo>
                    <a:pt x="2759" y="3608"/>
                  </a:lnTo>
                  <a:lnTo>
                    <a:pt x="2760" y="3584"/>
                  </a:lnTo>
                  <a:lnTo>
                    <a:pt x="2759" y="3560"/>
                  </a:lnTo>
                  <a:lnTo>
                    <a:pt x="2757" y="3536"/>
                  </a:lnTo>
                  <a:lnTo>
                    <a:pt x="2753" y="3512"/>
                  </a:lnTo>
                  <a:lnTo>
                    <a:pt x="2748" y="3488"/>
                  </a:lnTo>
                  <a:lnTo>
                    <a:pt x="2742" y="3467"/>
                  </a:lnTo>
                  <a:lnTo>
                    <a:pt x="2733" y="3444"/>
                  </a:lnTo>
                  <a:lnTo>
                    <a:pt x="2724" y="3425"/>
                  </a:lnTo>
                  <a:lnTo>
                    <a:pt x="2712" y="3406"/>
                  </a:lnTo>
                  <a:lnTo>
                    <a:pt x="2712" y="3406"/>
                  </a:lnTo>
                  <a:lnTo>
                    <a:pt x="2700" y="3388"/>
                  </a:lnTo>
                  <a:lnTo>
                    <a:pt x="2684" y="3374"/>
                  </a:lnTo>
                  <a:lnTo>
                    <a:pt x="2669" y="3360"/>
                  </a:lnTo>
                  <a:lnTo>
                    <a:pt x="2649" y="3348"/>
                  </a:lnTo>
                  <a:lnTo>
                    <a:pt x="2629" y="3340"/>
                  </a:lnTo>
                  <a:lnTo>
                    <a:pt x="2608" y="3332"/>
                  </a:lnTo>
                  <a:lnTo>
                    <a:pt x="2584" y="3326"/>
                  </a:lnTo>
                  <a:lnTo>
                    <a:pt x="2560" y="3320"/>
                  </a:lnTo>
                  <a:lnTo>
                    <a:pt x="2534" y="3316"/>
                  </a:lnTo>
                  <a:lnTo>
                    <a:pt x="2508" y="3313"/>
                  </a:lnTo>
                  <a:lnTo>
                    <a:pt x="2453" y="3310"/>
                  </a:lnTo>
                  <a:lnTo>
                    <a:pt x="2395" y="3309"/>
                  </a:lnTo>
                  <a:lnTo>
                    <a:pt x="2336" y="3309"/>
                  </a:lnTo>
                  <a:lnTo>
                    <a:pt x="2336" y="3309"/>
                  </a:lnTo>
                  <a:lnTo>
                    <a:pt x="2320" y="3309"/>
                  </a:lnTo>
                  <a:lnTo>
                    <a:pt x="2309" y="3308"/>
                  </a:lnTo>
                  <a:lnTo>
                    <a:pt x="2309" y="3308"/>
                  </a:lnTo>
                  <a:lnTo>
                    <a:pt x="2289" y="3275"/>
                  </a:lnTo>
                  <a:lnTo>
                    <a:pt x="2289" y="3275"/>
                  </a:lnTo>
                  <a:lnTo>
                    <a:pt x="2297" y="3265"/>
                  </a:lnTo>
                  <a:lnTo>
                    <a:pt x="2309" y="3255"/>
                  </a:lnTo>
                  <a:lnTo>
                    <a:pt x="2321" y="3245"/>
                  </a:lnTo>
                  <a:lnTo>
                    <a:pt x="2337" y="3234"/>
                  </a:lnTo>
                  <a:lnTo>
                    <a:pt x="2371" y="3213"/>
                  </a:lnTo>
                  <a:lnTo>
                    <a:pt x="2406" y="3192"/>
                  </a:lnTo>
                  <a:lnTo>
                    <a:pt x="2467" y="3159"/>
                  </a:lnTo>
                  <a:lnTo>
                    <a:pt x="2495" y="3145"/>
                  </a:lnTo>
                  <a:lnTo>
                    <a:pt x="2928" y="2736"/>
                  </a:lnTo>
                  <a:lnTo>
                    <a:pt x="2928" y="2736"/>
                  </a:lnTo>
                  <a:lnTo>
                    <a:pt x="2923" y="3038"/>
                  </a:lnTo>
                  <a:lnTo>
                    <a:pt x="2921" y="3214"/>
                  </a:lnTo>
                  <a:lnTo>
                    <a:pt x="2920" y="3367"/>
                  </a:lnTo>
                  <a:lnTo>
                    <a:pt x="2920" y="3367"/>
                  </a:lnTo>
                  <a:lnTo>
                    <a:pt x="2921" y="3411"/>
                  </a:lnTo>
                  <a:lnTo>
                    <a:pt x="2923" y="3454"/>
                  </a:lnTo>
                  <a:lnTo>
                    <a:pt x="2925" y="3497"/>
                  </a:lnTo>
                  <a:lnTo>
                    <a:pt x="2931" y="3536"/>
                  </a:lnTo>
                  <a:lnTo>
                    <a:pt x="2937" y="3574"/>
                  </a:lnTo>
                  <a:lnTo>
                    <a:pt x="2945" y="3611"/>
                  </a:lnTo>
                  <a:lnTo>
                    <a:pt x="2955" y="3645"/>
                  </a:lnTo>
                  <a:lnTo>
                    <a:pt x="2968" y="3677"/>
                  </a:lnTo>
                  <a:lnTo>
                    <a:pt x="2975" y="3691"/>
                  </a:lnTo>
                  <a:lnTo>
                    <a:pt x="2983" y="3705"/>
                  </a:lnTo>
                  <a:lnTo>
                    <a:pt x="2990" y="3720"/>
                  </a:lnTo>
                  <a:lnTo>
                    <a:pt x="3000" y="3732"/>
                  </a:lnTo>
                  <a:lnTo>
                    <a:pt x="3010" y="3745"/>
                  </a:lnTo>
                  <a:lnTo>
                    <a:pt x="3020" y="3756"/>
                  </a:lnTo>
                  <a:lnTo>
                    <a:pt x="3031" y="3766"/>
                  </a:lnTo>
                  <a:lnTo>
                    <a:pt x="3044" y="3776"/>
                  </a:lnTo>
                  <a:lnTo>
                    <a:pt x="3057" y="3786"/>
                  </a:lnTo>
                  <a:lnTo>
                    <a:pt x="3069" y="3793"/>
                  </a:lnTo>
                  <a:lnTo>
                    <a:pt x="3083" y="3801"/>
                  </a:lnTo>
                  <a:lnTo>
                    <a:pt x="3099" y="3807"/>
                  </a:lnTo>
                  <a:lnTo>
                    <a:pt x="3116" y="3813"/>
                  </a:lnTo>
                  <a:lnTo>
                    <a:pt x="3133" y="3817"/>
                  </a:lnTo>
                  <a:lnTo>
                    <a:pt x="3150" y="3821"/>
                  </a:lnTo>
                  <a:lnTo>
                    <a:pt x="3170" y="3824"/>
                  </a:lnTo>
                  <a:lnTo>
                    <a:pt x="3170" y="3824"/>
                  </a:lnTo>
                  <a:lnTo>
                    <a:pt x="3194" y="3825"/>
                  </a:lnTo>
                  <a:lnTo>
                    <a:pt x="3216" y="3827"/>
                  </a:lnTo>
                  <a:lnTo>
                    <a:pt x="3237" y="3827"/>
                  </a:lnTo>
                  <a:lnTo>
                    <a:pt x="3258" y="3825"/>
                  </a:lnTo>
                  <a:lnTo>
                    <a:pt x="3277" y="3823"/>
                  </a:lnTo>
                  <a:lnTo>
                    <a:pt x="3295" y="3818"/>
                  </a:lnTo>
                  <a:lnTo>
                    <a:pt x="3313" y="3813"/>
                  </a:lnTo>
                  <a:lnTo>
                    <a:pt x="3329" y="3807"/>
                  </a:lnTo>
                  <a:lnTo>
                    <a:pt x="3345" y="3800"/>
                  </a:lnTo>
                  <a:lnTo>
                    <a:pt x="3359" y="3792"/>
                  </a:lnTo>
                  <a:lnTo>
                    <a:pt x="3373" y="3783"/>
                  </a:lnTo>
                  <a:lnTo>
                    <a:pt x="3385" y="3772"/>
                  </a:lnTo>
                  <a:lnTo>
                    <a:pt x="3397" y="3762"/>
                  </a:lnTo>
                  <a:lnTo>
                    <a:pt x="3408" y="3749"/>
                  </a:lnTo>
                  <a:lnTo>
                    <a:pt x="3418" y="3737"/>
                  </a:lnTo>
                  <a:lnTo>
                    <a:pt x="3428" y="3722"/>
                  </a:lnTo>
                  <a:lnTo>
                    <a:pt x="3436" y="3708"/>
                  </a:lnTo>
                  <a:lnTo>
                    <a:pt x="3445" y="3693"/>
                  </a:lnTo>
                  <a:lnTo>
                    <a:pt x="3452" y="3676"/>
                  </a:lnTo>
                  <a:lnTo>
                    <a:pt x="3459" y="3660"/>
                  </a:lnTo>
                  <a:lnTo>
                    <a:pt x="3470" y="3624"/>
                  </a:lnTo>
                  <a:lnTo>
                    <a:pt x="3479" y="3586"/>
                  </a:lnTo>
                  <a:lnTo>
                    <a:pt x="3486" y="3545"/>
                  </a:lnTo>
                  <a:lnTo>
                    <a:pt x="3491" y="3501"/>
                  </a:lnTo>
                  <a:lnTo>
                    <a:pt x="3495" y="3457"/>
                  </a:lnTo>
                  <a:lnTo>
                    <a:pt x="3497" y="3411"/>
                  </a:lnTo>
                  <a:lnTo>
                    <a:pt x="3497" y="3411"/>
                  </a:lnTo>
                  <a:lnTo>
                    <a:pt x="3498" y="3344"/>
                  </a:lnTo>
                  <a:lnTo>
                    <a:pt x="3500" y="3257"/>
                  </a:lnTo>
                  <a:lnTo>
                    <a:pt x="3501" y="3032"/>
                  </a:lnTo>
                  <a:lnTo>
                    <a:pt x="3501" y="2766"/>
                  </a:lnTo>
                  <a:lnTo>
                    <a:pt x="3500" y="2485"/>
                  </a:lnTo>
                  <a:lnTo>
                    <a:pt x="3497" y="1991"/>
                  </a:lnTo>
                  <a:lnTo>
                    <a:pt x="3495" y="1777"/>
                  </a:lnTo>
                  <a:lnTo>
                    <a:pt x="3562" y="1580"/>
                  </a:lnTo>
                  <a:lnTo>
                    <a:pt x="3769" y="1400"/>
                  </a:lnTo>
                  <a:lnTo>
                    <a:pt x="3924" y="1363"/>
                  </a:lnTo>
                  <a:lnTo>
                    <a:pt x="3924" y="1363"/>
                  </a:lnTo>
                  <a:lnTo>
                    <a:pt x="4006" y="1345"/>
                  </a:lnTo>
                  <a:lnTo>
                    <a:pt x="4080" y="1325"/>
                  </a:lnTo>
                  <a:lnTo>
                    <a:pt x="4147" y="1304"/>
                  </a:lnTo>
                  <a:lnTo>
                    <a:pt x="4208" y="1281"/>
                  </a:lnTo>
                  <a:lnTo>
                    <a:pt x="4235" y="1270"/>
                  </a:lnTo>
                  <a:lnTo>
                    <a:pt x="4262" y="1259"/>
                  </a:lnTo>
                  <a:lnTo>
                    <a:pt x="4286" y="1246"/>
                  </a:lnTo>
                  <a:lnTo>
                    <a:pt x="4310" y="1235"/>
                  </a:lnTo>
                  <a:lnTo>
                    <a:pt x="4331" y="1222"/>
                  </a:lnTo>
                  <a:lnTo>
                    <a:pt x="4351" y="1209"/>
                  </a:lnTo>
                  <a:lnTo>
                    <a:pt x="4370" y="1197"/>
                  </a:lnTo>
                  <a:lnTo>
                    <a:pt x="4387" y="1184"/>
                  </a:lnTo>
                  <a:lnTo>
                    <a:pt x="4403" y="1171"/>
                  </a:lnTo>
                  <a:lnTo>
                    <a:pt x="4418" y="1158"/>
                  </a:lnTo>
                  <a:lnTo>
                    <a:pt x="4433" y="1144"/>
                  </a:lnTo>
                  <a:lnTo>
                    <a:pt x="4444" y="1132"/>
                  </a:lnTo>
                  <a:lnTo>
                    <a:pt x="4455" y="1119"/>
                  </a:lnTo>
                  <a:lnTo>
                    <a:pt x="4466" y="1105"/>
                  </a:lnTo>
                  <a:lnTo>
                    <a:pt x="4475" y="1092"/>
                  </a:lnTo>
                  <a:lnTo>
                    <a:pt x="4483" y="1078"/>
                  </a:lnTo>
                  <a:lnTo>
                    <a:pt x="4490" y="1065"/>
                  </a:lnTo>
                  <a:lnTo>
                    <a:pt x="4496" y="1051"/>
                  </a:lnTo>
                  <a:lnTo>
                    <a:pt x="4506" y="1026"/>
                  </a:lnTo>
                  <a:lnTo>
                    <a:pt x="4512" y="999"/>
                  </a:lnTo>
                  <a:lnTo>
                    <a:pt x="4516" y="974"/>
                  </a:lnTo>
                  <a:lnTo>
                    <a:pt x="4516" y="948"/>
                  </a:lnTo>
                  <a:lnTo>
                    <a:pt x="4514" y="923"/>
                  </a:lnTo>
                  <a:lnTo>
                    <a:pt x="4510" y="900"/>
                  </a:lnTo>
                  <a:lnTo>
                    <a:pt x="4504" y="878"/>
                  </a:lnTo>
                  <a:lnTo>
                    <a:pt x="4497" y="855"/>
                  </a:lnTo>
                  <a:lnTo>
                    <a:pt x="4490" y="835"/>
                  </a:lnTo>
                  <a:lnTo>
                    <a:pt x="4481" y="816"/>
                  </a:lnTo>
                  <a:lnTo>
                    <a:pt x="4472" y="797"/>
                  </a:lnTo>
                  <a:lnTo>
                    <a:pt x="4454" y="768"/>
                  </a:lnTo>
                  <a:lnTo>
                    <a:pt x="4437" y="744"/>
                  </a:lnTo>
                  <a:lnTo>
                    <a:pt x="4425" y="730"/>
                  </a:lnTo>
                  <a:lnTo>
                    <a:pt x="4421" y="724"/>
                  </a:lnTo>
                  <a:lnTo>
                    <a:pt x="4421" y="7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5" name="Freeform 1176"/>
            <p:cNvSpPr>
              <a:spLocks/>
            </p:cNvSpPr>
            <p:nvPr/>
          </p:nvSpPr>
          <p:spPr bwMode="auto">
            <a:xfrm>
              <a:off x="3711513" y="7951785"/>
              <a:ext cx="849313" cy="417513"/>
            </a:xfrm>
            <a:custGeom>
              <a:avLst/>
              <a:gdLst>
                <a:gd name="T0" fmla="*/ 1064 w 1070"/>
                <a:gd name="T1" fmla="*/ 449 h 526"/>
                <a:gd name="T2" fmla="*/ 1070 w 1070"/>
                <a:gd name="T3" fmla="*/ 426 h 526"/>
                <a:gd name="T4" fmla="*/ 1070 w 1070"/>
                <a:gd name="T5" fmla="*/ 402 h 526"/>
                <a:gd name="T6" fmla="*/ 1066 w 1070"/>
                <a:gd name="T7" fmla="*/ 378 h 526"/>
                <a:gd name="T8" fmla="*/ 1056 w 1070"/>
                <a:gd name="T9" fmla="*/ 357 h 526"/>
                <a:gd name="T10" fmla="*/ 1043 w 1070"/>
                <a:gd name="T11" fmla="*/ 336 h 526"/>
                <a:gd name="T12" fmla="*/ 1025 w 1070"/>
                <a:gd name="T13" fmla="*/ 319 h 526"/>
                <a:gd name="T14" fmla="*/ 1005 w 1070"/>
                <a:gd name="T15" fmla="*/ 303 h 526"/>
                <a:gd name="T16" fmla="*/ 981 w 1070"/>
                <a:gd name="T17" fmla="*/ 293 h 526"/>
                <a:gd name="T18" fmla="*/ 168 w 1070"/>
                <a:gd name="T19" fmla="*/ 7 h 526"/>
                <a:gd name="T20" fmla="*/ 143 w 1070"/>
                <a:gd name="T21" fmla="*/ 1 h 526"/>
                <a:gd name="T22" fmla="*/ 118 w 1070"/>
                <a:gd name="T23" fmla="*/ 0 h 526"/>
                <a:gd name="T24" fmla="*/ 94 w 1070"/>
                <a:gd name="T25" fmla="*/ 3 h 526"/>
                <a:gd name="T26" fmla="*/ 70 w 1070"/>
                <a:gd name="T27" fmla="*/ 10 h 526"/>
                <a:gd name="T28" fmla="*/ 50 w 1070"/>
                <a:gd name="T29" fmla="*/ 21 h 526"/>
                <a:gd name="T30" fmla="*/ 32 w 1070"/>
                <a:gd name="T31" fmla="*/ 37 h 526"/>
                <a:gd name="T32" fmla="*/ 16 w 1070"/>
                <a:gd name="T33" fmla="*/ 55 h 526"/>
                <a:gd name="T34" fmla="*/ 6 w 1070"/>
                <a:gd name="T35" fmla="*/ 76 h 526"/>
                <a:gd name="T36" fmla="*/ 3 w 1070"/>
                <a:gd name="T37" fmla="*/ 89 h 526"/>
                <a:gd name="T38" fmla="*/ 0 w 1070"/>
                <a:gd name="T39" fmla="*/ 113 h 526"/>
                <a:gd name="T40" fmla="*/ 2 w 1070"/>
                <a:gd name="T41" fmla="*/ 135 h 526"/>
                <a:gd name="T42" fmla="*/ 9 w 1070"/>
                <a:gd name="T43" fmla="*/ 158 h 526"/>
                <a:gd name="T44" fmla="*/ 20 w 1070"/>
                <a:gd name="T45" fmla="*/ 179 h 526"/>
                <a:gd name="T46" fmla="*/ 36 w 1070"/>
                <a:gd name="T47" fmla="*/ 199 h 526"/>
                <a:gd name="T48" fmla="*/ 54 w 1070"/>
                <a:gd name="T49" fmla="*/ 216 h 526"/>
                <a:gd name="T50" fmla="*/ 77 w 1070"/>
                <a:gd name="T51" fmla="*/ 228 h 526"/>
                <a:gd name="T52" fmla="*/ 901 w 1070"/>
                <a:gd name="T53" fmla="*/ 519 h 526"/>
                <a:gd name="T54" fmla="*/ 913 w 1070"/>
                <a:gd name="T55" fmla="*/ 522 h 526"/>
                <a:gd name="T56" fmla="*/ 940 w 1070"/>
                <a:gd name="T57" fmla="*/ 526 h 526"/>
                <a:gd name="T58" fmla="*/ 964 w 1070"/>
                <a:gd name="T59" fmla="*/ 526 h 526"/>
                <a:gd name="T60" fmla="*/ 988 w 1070"/>
                <a:gd name="T61" fmla="*/ 521 h 526"/>
                <a:gd name="T62" fmla="*/ 1011 w 1070"/>
                <a:gd name="T63" fmla="*/ 511 h 526"/>
                <a:gd name="T64" fmla="*/ 1031 w 1070"/>
                <a:gd name="T65" fmla="*/ 498 h 526"/>
                <a:gd name="T66" fmla="*/ 1048 w 1070"/>
                <a:gd name="T67" fmla="*/ 481 h 526"/>
                <a:gd name="T68" fmla="*/ 1060 w 1070"/>
                <a:gd name="T69" fmla="*/ 460 h 526"/>
                <a:gd name="T70" fmla="*/ 1064 w 1070"/>
                <a:gd name="T71" fmla="*/ 449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70" h="526">
                  <a:moveTo>
                    <a:pt x="1064" y="449"/>
                  </a:moveTo>
                  <a:lnTo>
                    <a:pt x="1064" y="449"/>
                  </a:lnTo>
                  <a:lnTo>
                    <a:pt x="1067" y="437"/>
                  </a:lnTo>
                  <a:lnTo>
                    <a:pt x="1070" y="426"/>
                  </a:lnTo>
                  <a:lnTo>
                    <a:pt x="1070" y="413"/>
                  </a:lnTo>
                  <a:lnTo>
                    <a:pt x="1070" y="402"/>
                  </a:lnTo>
                  <a:lnTo>
                    <a:pt x="1069" y="391"/>
                  </a:lnTo>
                  <a:lnTo>
                    <a:pt x="1066" y="378"/>
                  </a:lnTo>
                  <a:lnTo>
                    <a:pt x="1062" y="367"/>
                  </a:lnTo>
                  <a:lnTo>
                    <a:pt x="1056" y="357"/>
                  </a:lnTo>
                  <a:lnTo>
                    <a:pt x="1050" y="346"/>
                  </a:lnTo>
                  <a:lnTo>
                    <a:pt x="1043" y="336"/>
                  </a:lnTo>
                  <a:lnTo>
                    <a:pt x="1035" y="327"/>
                  </a:lnTo>
                  <a:lnTo>
                    <a:pt x="1025" y="319"/>
                  </a:lnTo>
                  <a:lnTo>
                    <a:pt x="1015" y="310"/>
                  </a:lnTo>
                  <a:lnTo>
                    <a:pt x="1005" y="303"/>
                  </a:lnTo>
                  <a:lnTo>
                    <a:pt x="993" y="298"/>
                  </a:lnTo>
                  <a:lnTo>
                    <a:pt x="981" y="293"/>
                  </a:lnTo>
                  <a:lnTo>
                    <a:pt x="168" y="7"/>
                  </a:lnTo>
                  <a:lnTo>
                    <a:pt x="168" y="7"/>
                  </a:lnTo>
                  <a:lnTo>
                    <a:pt x="156" y="3"/>
                  </a:lnTo>
                  <a:lnTo>
                    <a:pt x="143" y="1"/>
                  </a:lnTo>
                  <a:lnTo>
                    <a:pt x="130" y="0"/>
                  </a:lnTo>
                  <a:lnTo>
                    <a:pt x="118" y="0"/>
                  </a:lnTo>
                  <a:lnTo>
                    <a:pt x="105" y="0"/>
                  </a:lnTo>
                  <a:lnTo>
                    <a:pt x="94" y="3"/>
                  </a:lnTo>
                  <a:lnTo>
                    <a:pt x="82" y="6"/>
                  </a:lnTo>
                  <a:lnTo>
                    <a:pt x="70" y="10"/>
                  </a:lnTo>
                  <a:lnTo>
                    <a:pt x="60" y="15"/>
                  </a:lnTo>
                  <a:lnTo>
                    <a:pt x="50" y="21"/>
                  </a:lnTo>
                  <a:lnTo>
                    <a:pt x="40" y="28"/>
                  </a:lnTo>
                  <a:lnTo>
                    <a:pt x="32" y="37"/>
                  </a:lnTo>
                  <a:lnTo>
                    <a:pt x="23" y="45"/>
                  </a:lnTo>
                  <a:lnTo>
                    <a:pt x="16" y="55"/>
                  </a:lnTo>
                  <a:lnTo>
                    <a:pt x="10" y="65"/>
                  </a:lnTo>
                  <a:lnTo>
                    <a:pt x="6" y="76"/>
                  </a:lnTo>
                  <a:lnTo>
                    <a:pt x="6" y="76"/>
                  </a:lnTo>
                  <a:lnTo>
                    <a:pt x="3" y="89"/>
                  </a:lnTo>
                  <a:lnTo>
                    <a:pt x="0" y="100"/>
                  </a:lnTo>
                  <a:lnTo>
                    <a:pt x="0" y="113"/>
                  </a:lnTo>
                  <a:lnTo>
                    <a:pt x="0" y="124"/>
                  </a:lnTo>
                  <a:lnTo>
                    <a:pt x="2" y="135"/>
                  </a:lnTo>
                  <a:lnTo>
                    <a:pt x="5" y="147"/>
                  </a:lnTo>
                  <a:lnTo>
                    <a:pt x="9" y="158"/>
                  </a:lnTo>
                  <a:lnTo>
                    <a:pt x="15" y="169"/>
                  </a:lnTo>
                  <a:lnTo>
                    <a:pt x="20" y="179"/>
                  </a:lnTo>
                  <a:lnTo>
                    <a:pt x="27" y="189"/>
                  </a:lnTo>
                  <a:lnTo>
                    <a:pt x="36" y="199"/>
                  </a:lnTo>
                  <a:lnTo>
                    <a:pt x="44" y="207"/>
                  </a:lnTo>
                  <a:lnTo>
                    <a:pt x="54" y="216"/>
                  </a:lnTo>
                  <a:lnTo>
                    <a:pt x="65" y="221"/>
                  </a:lnTo>
                  <a:lnTo>
                    <a:pt x="77" y="228"/>
                  </a:lnTo>
                  <a:lnTo>
                    <a:pt x="89" y="233"/>
                  </a:lnTo>
                  <a:lnTo>
                    <a:pt x="901" y="519"/>
                  </a:lnTo>
                  <a:lnTo>
                    <a:pt x="901" y="519"/>
                  </a:lnTo>
                  <a:lnTo>
                    <a:pt x="913" y="522"/>
                  </a:lnTo>
                  <a:lnTo>
                    <a:pt x="928" y="525"/>
                  </a:lnTo>
                  <a:lnTo>
                    <a:pt x="940" y="526"/>
                  </a:lnTo>
                  <a:lnTo>
                    <a:pt x="953" y="526"/>
                  </a:lnTo>
                  <a:lnTo>
                    <a:pt x="964" y="526"/>
                  </a:lnTo>
                  <a:lnTo>
                    <a:pt x="977" y="523"/>
                  </a:lnTo>
                  <a:lnTo>
                    <a:pt x="988" y="521"/>
                  </a:lnTo>
                  <a:lnTo>
                    <a:pt x="1000" y="516"/>
                  </a:lnTo>
                  <a:lnTo>
                    <a:pt x="1011" y="511"/>
                  </a:lnTo>
                  <a:lnTo>
                    <a:pt x="1021" y="505"/>
                  </a:lnTo>
                  <a:lnTo>
                    <a:pt x="1031" y="498"/>
                  </a:lnTo>
                  <a:lnTo>
                    <a:pt x="1039" y="490"/>
                  </a:lnTo>
                  <a:lnTo>
                    <a:pt x="1048" y="481"/>
                  </a:lnTo>
                  <a:lnTo>
                    <a:pt x="1053" y="471"/>
                  </a:lnTo>
                  <a:lnTo>
                    <a:pt x="1060" y="460"/>
                  </a:lnTo>
                  <a:lnTo>
                    <a:pt x="1064" y="449"/>
                  </a:lnTo>
                  <a:lnTo>
                    <a:pt x="1064" y="44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33" name="Group 332"/>
          <p:cNvGrpSpPr/>
          <p:nvPr/>
        </p:nvGrpSpPr>
        <p:grpSpPr>
          <a:xfrm flipH="1">
            <a:off x="399167" y="1865223"/>
            <a:ext cx="683245" cy="858915"/>
            <a:chOff x="-1041232" y="3347355"/>
            <a:chExt cx="856474" cy="1035518"/>
          </a:xfrm>
          <a:solidFill>
            <a:schemeClr val="accent6">
              <a:lumMod val="75000"/>
            </a:schemeClr>
          </a:solidFill>
        </p:grpSpPr>
        <p:sp>
          <p:nvSpPr>
            <p:cNvPr id="334" name="Freeform 33"/>
            <p:cNvSpPr>
              <a:spLocks/>
            </p:cNvSpPr>
            <p:nvPr/>
          </p:nvSpPr>
          <p:spPr bwMode="auto">
            <a:xfrm>
              <a:off x="-1041232" y="3360857"/>
              <a:ext cx="37570" cy="524803"/>
            </a:xfrm>
            <a:custGeom>
              <a:avLst/>
              <a:gdLst>
                <a:gd name="T0" fmla="*/ 76 w 128"/>
                <a:gd name="T1" fmla="*/ 40 h 1788"/>
                <a:gd name="T2" fmla="*/ 76 w 128"/>
                <a:gd name="T3" fmla="*/ 40 h 1788"/>
                <a:gd name="T4" fmla="*/ 60 w 128"/>
                <a:gd name="T5" fmla="*/ 20 h 1788"/>
                <a:gd name="T6" fmla="*/ 54 w 128"/>
                <a:gd name="T7" fmla="*/ 12 h 1788"/>
                <a:gd name="T8" fmla="*/ 46 w 128"/>
                <a:gd name="T9" fmla="*/ 6 h 1788"/>
                <a:gd name="T10" fmla="*/ 40 w 128"/>
                <a:gd name="T11" fmla="*/ 2 h 1788"/>
                <a:gd name="T12" fmla="*/ 34 w 128"/>
                <a:gd name="T13" fmla="*/ 0 h 1788"/>
                <a:gd name="T14" fmla="*/ 28 w 128"/>
                <a:gd name="T15" fmla="*/ 0 h 1788"/>
                <a:gd name="T16" fmla="*/ 22 w 128"/>
                <a:gd name="T17" fmla="*/ 2 h 1788"/>
                <a:gd name="T18" fmla="*/ 16 w 128"/>
                <a:gd name="T19" fmla="*/ 6 h 1788"/>
                <a:gd name="T20" fmla="*/ 12 w 128"/>
                <a:gd name="T21" fmla="*/ 12 h 1788"/>
                <a:gd name="T22" fmla="*/ 8 w 128"/>
                <a:gd name="T23" fmla="*/ 20 h 1788"/>
                <a:gd name="T24" fmla="*/ 6 w 128"/>
                <a:gd name="T25" fmla="*/ 30 h 1788"/>
                <a:gd name="T26" fmla="*/ 0 w 128"/>
                <a:gd name="T27" fmla="*/ 54 h 1788"/>
                <a:gd name="T28" fmla="*/ 0 w 128"/>
                <a:gd name="T29" fmla="*/ 86 h 1788"/>
                <a:gd name="T30" fmla="*/ 0 w 128"/>
                <a:gd name="T31" fmla="*/ 1564 h 1788"/>
                <a:gd name="T32" fmla="*/ 0 w 128"/>
                <a:gd name="T33" fmla="*/ 1564 h 1788"/>
                <a:gd name="T34" fmla="*/ 0 w 128"/>
                <a:gd name="T35" fmla="*/ 1580 h 1788"/>
                <a:gd name="T36" fmla="*/ 2 w 128"/>
                <a:gd name="T37" fmla="*/ 1598 h 1788"/>
                <a:gd name="T38" fmla="*/ 8 w 128"/>
                <a:gd name="T39" fmla="*/ 1614 h 1788"/>
                <a:gd name="T40" fmla="*/ 12 w 128"/>
                <a:gd name="T41" fmla="*/ 1630 h 1788"/>
                <a:gd name="T42" fmla="*/ 28 w 128"/>
                <a:gd name="T43" fmla="*/ 1660 h 1788"/>
                <a:gd name="T44" fmla="*/ 46 w 128"/>
                <a:gd name="T45" fmla="*/ 1688 h 1788"/>
                <a:gd name="T46" fmla="*/ 66 w 128"/>
                <a:gd name="T47" fmla="*/ 1714 h 1788"/>
                <a:gd name="T48" fmla="*/ 88 w 128"/>
                <a:gd name="T49" fmla="*/ 1740 h 1788"/>
                <a:gd name="T50" fmla="*/ 108 w 128"/>
                <a:gd name="T51" fmla="*/ 1764 h 1788"/>
                <a:gd name="T52" fmla="*/ 128 w 128"/>
                <a:gd name="T53" fmla="*/ 1788 h 1788"/>
                <a:gd name="T54" fmla="*/ 128 w 128"/>
                <a:gd name="T55" fmla="*/ 170 h 1788"/>
                <a:gd name="T56" fmla="*/ 128 w 128"/>
                <a:gd name="T57" fmla="*/ 170 h 1788"/>
                <a:gd name="T58" fmla="*/ 126 w 128"/>
                <a:gd name="T59" fmla="*/ 138 h 1788"/>
                <a:gd name="T60" fmla="*/ 120 w 128"/>
                <a:gd name="T61" fmla="*/ 110 h 1788"/>
                <a:gd name="T62" fmla="*/ 112 w 128"/>
                <a:gd name="T63" fmla="*/ 88 h 1788"/>
                <a:gd name="T64" fmla="*/ 102 w 128"/>
                <a:gd name="T65" fmla="*/ 70 h 1788"/>
                <a:gd name="T66" fmla="*/ 92 w 128"/>
                <a:gd name="T67" fmla="*/ 58 h 1788"/>
                <a:gd name="T68" fmla="*/ 84 w 128"/>
                <a:gd name="T69" fmla="*/ 48 h 1788"/>
                <a:gd name="T70" fmla="*/ 76 w 128"/>
                <a:gd name="T71" fmla="*/ 40 h 1788"/>
                <a:gd name="T72" fmla="*/ 76 w 128"/>
                <a:gd name="T73" fmla="*/ 40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88">
                  <a:moveTo>
                    <a:pt x="76" y="40"/>
                  </a:moveTo>
                  <a:lnTo>
                    <a:pt x="76" y="40"/>
                  </a:lnTo>
                  <a:lnTo>
                    <a:pt x="60" y="20"/>
                  </a:lnTo>
                  <a:lnTo>
                    <a:pt x="54" y="12"/>
                  </a:lnTo>
                  <a:lnTo>
                    <a:pt x="46" y="6"/>
                  </a:lnTo>
                  <a:lnTo>
                    <a:pt x="40" y="2"/>
                  </a:lnTo>
                  <a:lnTo>
                    <a:pt x="34" y="0"/>
                  </a:lnTo>
                  <a:lnTo>
                    <a:pt x="28" y="0"/>
                  </a:lnTo>
                  <a:lnTo>
                    <a:pt x="22" y="2"/>
                  </a:lnTo>
                  <a:lnTo>
                    <a:pt x="16" y="6"/>
                  </a:lnTo>
                  <a:lnTo>
                    <a:pt x="12" y="12"/>
                  </a:lnTo>
                  <a:lnTo>
                    <a:pt x="8" y="20"/>
                  </a:lnTo>
                  <a:lnTo>
                    <a:pt x="6" y="30"/>
                  </a:lnTo>
                  <a:lnTo>
                    <a:pt x="0" y="54"/>
                  </a:lnTo>
                  <a:lnTo>
                    <a:pt x="0" y="86"/>
                  </a:lnTo>
                  <a:lnTo>
                    <a:pt x="0" y="1564"/>
                  </a:lnTo>
                  <a:lnTo>
                    <a:pt x="0" y="1564"/>
                  </a:lnTo>
                  <a:lnTo>
                    <a:pt x="0" y="1580"/>
                  </a:lnTo>
                  <a:lnTo>
                    <a:pt x="2" y="1598"/>
                  </a:lnTo>
                  <a:lnTo>
                    <a:pt x="8" y="1614"/>
                  </a:lnTo>
                  <a:lnTo>
                    <a:pt x="12" y="1630"/>
                  </a:lnTo>
                  <a:lnTo>
                    <a:pt x="28" y="1660"/>
                  </a:lnTo>
                  <a:lnTo>
                    <a:pt x="46" y="1688"/>
                  </a:lnTo>
                  <a:lnTo>
                    <a:pt x="66" y="1714"/>
                  </a:lnTo>
                  <a:lnTo>
                    <a:pt x="88" y="1740"/>
                  </a:lnTo>
                  <a:lnTo>
                    <a:pt x="108" y="1764"/>
                  </a:lnTo>
                  <a:lnTo>
                    <a:pt x="128" y="1788"/>
                  </a:lnTo>
                  <a:lnTo>
                    <a:pt x="128" y="170"/>
                  </a:lnTo>
                  <a:lnTo>
                    <a:pt x="128" y="170"/>
                  </a:lnTo>
                  <a:lnTo>
                    <a:pt x="126" y="138"/>
                  </a:lnTo>
                  <a:lnTo>
                    <a:pt x="120" y="110"/>
                  </a:lnTo>
                  <a:lnTo>
                    <a:pt x="112" y="88"/>
                  </a:lnTo>
                  <a:lnTo>
                    <a:pt x="102" y="70"/>
                  </a:lnTo>
                  <a:lnTo>
                    <a:pt x="92" y="58"/>
                  </a:lnTo>
                  <a:lnTo>
                    <a:pt x="84" y="48"/>
                  </a:lnTo>
                  <a:lnTo>
                    <a:pt x="76" y="40"/>
                  </a:lnTo>
                  <a:lnTo>
                    <a:pt x="76" y="40"/>
                  </a:lnTo>
                  <a:close/>
                </a:path>
              </a:pathLst>
            </a:custGeom>
            <a:grpFill/>
            <a:ln w="9525">
              <a:solidFill>
                <a:schemeClr val="accent6">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 name="Freeform 35"/>
            <p:cNvSpPr>
              <a:spLocks/>
            </p:cNvSpPr>
            <p:nvPr/>
          </p:nvSpPr>
          <p:spPr bwMode="auto">
            <a:xfrm>
              <a:off x="-1031253" y="3352051"/>
              <a:ext cx="371589" cy="503083"/>
            </a:xfrm>
            <a:custGeom>
              <a:avLst/>
              <a:gdLst>
                <a:gd name="T0" fmla="*/ 1146 w 1266"/>
                <a:gd name="T1" fmla="*/ 0 h 1714"/>
                <a:gd name="T2" fmla="*/ 72 w 1266"/>
                <a:gd name="T3" fmla="*/ 0 h 1714"/>
                <a:gd name="T4" fmla="*/ 72 w 1266"/>
                <a:gd name="T5" fmla="*/ 0 h 1714"/>
                <a:gd name="T6" fmla="*/ 62 w 1266"/>
                <a:gd name="T7" fmla="*/ 0 h 1714"/>
                <a:gd name="T8" fmla="*/ 52 w 1266"/>
                <a:gd name="T9" fmla="*/ 2 h 1714"/>
                <a:gd name="T10" fmla="*/ 32 w 1266"/>
                <a:gd name="T11" fmla="*/ 10 h 1714"/>
                <a:gd name="T12" fmla="*/ 16 w 1266"/>
                <a:gd name="T13" fmla="*/ 20 h 1714"/>
                <a:gd name="T14" fmla="*/ 0 w 1266"/>
                <a:gd name="T15" fmla="*/ 36 h 1714"/>
                <a:gd name="T16" fmla="*/ 0 w 1266"/>
                <a:gd name="T17" fmla="*/ 36 h 1714"/>
                <a:gd name="T18" fmla="*/ 12 w 1266"/>
                <a:gd name="T19" fmla="*/ 38 h 1714"/>
                <a:gd name="T20" fmla="*/ 24 w 1266"/>
                <a:gd name="T21" fmla="*/ 46 h 1714"/>
                <a:gd name="T22" fmla="*/ 38 w 1266"/>
                <a:gd name="T23" fmla="*/ 60 h 1714"/>
                <a:gd name="T24" fmla="*/ 50 w 1266"/>
                <a:gd name="T25" fmla="*/ 78 h 1714"/>
                <a:gd name="T26" fmla="*/ 50 w 1266"/>
                <a:gd name="T27" fmla="*/ 78 h 1714"/>
                <a:gd name="T28" fmla="*/ 64 w 1266"/>
                <a:gd name="T29" fmla="*/ 92 h 1714"/>
                <a:gd name="T30" fmla="*/ 74 w 1266"/>
                <a:gd name="T31" fmla="*/ 104 h 1714"/>
                <a:gd name="T32" fmla="*/ 84 w 1266"/>
                <a:gd name="T33" fmla="*/ 120 h 1714"/>
                <a:gd name="T34" fmla="*/ 92 w 1266"/>
                <a:gd name="T35" fmla="*/ 140 h 1714"/>
                <a:gd name="T36" fmla="*/ 100 w 1266"/>
                <a:gd name="T37" fmla="*/ 164 h 1714"/>
                <a:gd name="T38" fmla="*/ 106 w 1266"/>
                <a:gd name="T39" fmla="*/ 192 h 1714"/>
                <a:gd name="T40" fmla="*/ 108 w 1266"/>
                <a:gd name="T41" fmla="*/ 224 h 1714"/>
                <a:gd name="T42" fmla="*/ 108 w 1266"/>
                <a:gd name="T43" fmla="*/ 1714 h 1714"/>
                <a:gd name="T44" fmla="*/ 1182 w 1266"/>
                <a:gd name="T45" fmla="*/ 1714 h 1714"/>
                <a:gd name="T46" fmla="*/ 1182 w 1266"/>
                <a:gd name="T47" fmla="*/ 1714 h 1714"/>
                <a:gd name="T48" fmla="*/ 1194 w 1266"/>
                <a:gd name="T49" fmla="*/ 1712 h 1714"/>
                <a:gd name="T50" fmla="*/ 1204 w 1266"/>
                <a:gd name="T51" fmla="*/ 1708 h 1714"/>
                <a:gd name="T52" fmla="*/ 1214 w 1266"/>
                <a:gd name="T53" fmla="*/ 1702 h 1714"/>
                <a:gd name="T54" fmla="*/ 1224 w 1266"/>
                <a:gd name="T55" fmla="*/ 1692 h 1714"/>
                <a:gd name="T56" fmla="*/ 1230 w 1266"/>
                <a:gd name="T57" fmla="*/ 1682 h 1714"/>
                <a:gd name="T58" fmla="*/ 1238 w 1266"/>
                <a:gd name="T59" fmla="*/ 1668 h 1714"/>
                <a:gd name="T60" fmla="*/ 1244 w 1266"/>
                <a:gd name="T61" fmla="*/ 1654 h 1714"/>
                <a:gd name="T62" fmla="*/ 1248 w 1266"/>
                <a:gd name="T63" fmla="*/ 1638 h 1714"/>
                <a:gd name="T64" fmla="*/ 1256 w 1266"/>
                <a:gd name="T65" fmla="*/ 1604 h 1714"/>
                <a:gd name="T66" fmla="*/ 1262 w 1266"/>
                <a:gd name="T67" fmla="*/ 1568 h 1714"/>
                <a:gd name="T68" fmla="*/ 1264 w 1266"/>
                <a:gd name="T69" fmla="*/ 1530 h 1714"/>
                <a:gd name="T70" fmla="*/ 1266 w 1266"/>
                <a:gd name="T71" fmla="*/ 1494 h 1714"/>
                <a:gd name="T72" fmla="*/ 1266 w 1266"/>
                <a:gd name="T73" fmla="*/ 168 h 1714"/>
                <a:gd name="T74" fmla="*/ 1266 w 1266"/>
                <a:gd name="T75" fmla="*/ 168 h 1714"/>
                <a:gd name="T76" fmla="*/ 1266 w 1266"/>
                <a:gd name="T77" fmla="*/ 150 h 1714"/>
                <a:gd name="T78" fmla="*/ 1264 w 1266"/>
                <a:gd name="T79" fmla="*/ 134 h 1714"/>
                <a:gd name="T80" fmla="*/ 1260 w 1266"/>
                <a:gd name="T81" fmla="*/ 118 h 1714"/>
                <a:gd name="T82" fmla="*/ 1256 w 1266"/>
                <a:gd name="T83" fmla="*/ 102 h 1714"/>
                <a:gd name="T84" fmla="*/ 1246 w 1266"/>
                <a:gd name="T85" fmla="*/ 74 h 1714"/>
                <a:gd name="T86" fmla="*/ 1238 w 1266"/>
                <a:gd name="T87" fmla="*/ 60 h 1714"/>
                <a:gd name="T88" fmla="*/ 1230 w 1266"/>
                <a:gd name="T89" fmla="*/ 48 h 1714"/>
                <a:gd name="T90" fmla="*/ 1222 w 1266"/>
                <a:gd name="T91" fmla="*/ 38 h 1714"/>
                <a:gd name="T92" fmla="*/ 1214 w 1266"/>
                <a:gd name="T93" fmla="*/ 28 h 1714"/>
                <a:gd name="T94" fmla="*/ 1204 w 1266"/>
                <a:gd name="T95" fmla="*/ 20 h 1714"/>
                <a:gd name="T96" fmla="*/ 1192 w 1266"/>
                <a:gd name="T97" fmla="*/ 12 h 1714"/>
                <a:gd name="T98" fmla="*/ 1182 w 1266"/>
                <a:gd name="T99" fmla="*/ 8 h 1714"/>
                <a:gd name="T100" fmla="*/ 1170 w 1266"/>
                <a:gd name="T101" fmla="*/ 4 h 1714"/>
                <a:gd name="T102" fmla="*/ 1158 w 1266"/>
                <a:gd name="T103" fmla="*/ 0 h 1714"/>
                <a:gd name="T104" fmla="*/ 1146 w 1266"/>
                <a:gd name="T105" fmla="*/ 0 h 1714"/>
                <a:gd name="T106" fmla="*/ 1146 w 1266"/>
                <a:gd name="T107" fmla="*/ 0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66" h="1714">
                  <a:moveTo>
                    <a:pt x="1146" y="0"/>
                  </a:moveTo>
                  <a:lnTo>
                    <a:pt x="72" y="0"/>
                  </a:lnTo>
                  <a:lnTo>
                    <a:pt x="72" y="0"/>
                  </a:lnTo>
                  <a:lnTo>
                    <a:pt x="62" y="0"/>
                  </a:lnTo>
                  <a:lnTo>
                    <a:pt x="52" y="2"/>
                  </a:lnTo>
                  <a:lnTo>
                    <a:pt x="32" y="10"/>
                  </a:lnTo>
                  <a:lnTo>
                    <a:pt x="16" y="20"/>
                  </a:lnTo>
                  <a:lnTo>
                    <a:pt x="0" y="36"/>
                  </a:lnTo>
                  <a:lnTo>
                    <a:pt x="0" y="36"/>
                  </a:lnTo>
                  <a:lnTo>
                    <a:pt x="12" y="38"/>
                  </a:lnTo>
                  <a:lnTo>
                    <a:pt x="24" y="46"/>
                  </a:lnTo>
                  <a:lnTo>
                    <a:pt x="38" y="60"/>
                  </a:lnTo>
                  <a:lnTo>
                    <a:pt x="50" y="78"/>
                  </a:lnTo>
                  <a:lnTo>
                    <a:pt x="50" y="78"/>
                  </a:lnTo>
                  <a:lnTo>
                    <a:pt x="64" y="92"/>
                  </a:lnTo>
                  <a:lnTo>
                    <a:pt x="74" y="104"/>
                  </a:lnTo>
                  <a:lnTo>
                    <a:pt x="84" y="120"/>
                  </a:lnTo>
                  <a:lnTo>
                    <a:pt x="92" y="140"/>
                  </a:lnTo>
                  <a:lnTo>
                    <a:pt x="100" y="164"/>
                  </a:lnTo>
                  <a:lnTo>
                    <a:pt x="106" y="192"/>
                  </a:lnTo>
                  <a:lnTo>
                    <a:pt x="108" y="224"/>
                  </a:lnTo>
                  <a:lnTo>
                    <a:pt x="108" y="1714"/>
                  </a:lnTo>
                  <a:lnTo>
                    <a:pt x="1182" y="1714"/>
                  </a:lnTo>
                  <a:lnTo>
                    <a:pt x="1182" y="1714"/>
                  </a:lnTo>
                  <a:lnTo>
                    <a:pt x="1194" y="1712"/>
                  </a:lnTo>
                  <a:lnTo>
                    <a:pt x="1204" y="1708"/>
                  </a:lnTo>
                  <a:lnTo>
                    <a:pt x="1214" y="1702"/>
                  </a:lnTo>
                  <a:lnTo>
                    <a:pt x="1224" y="1692"/>
                  </a:lnTo>
                  <a:lnTo>
                    <a:pt x="1230" y="1682"/>
                  </a:lnTo>
                  <a:lnTo>
                    <a:pt x="1238" y="1668"/>
                  </a:lnTo>
                  <a:lnTo>
                    <a:pt x="1244" y="1654"/>
                  </a:lnTo>
                  <a:lnTo>
                    <a:pt x="1248" y="1638"/>
                  </a:lnTo>
                  <a:lnTo>
                    <a:pt x="1256" y="1604"/>
                  </a:lnTo>
                  <a:lnTo>
                    <a:pt x="1262" y="1568"/>
                  </a:lnTo>
                  <a:lnTo>
                    <a:pt x="1264" y="1530"/>
                  </a:lnTo>
                  <a:lnTo>
                    <a:pt x="1266" y="1494"/>
                  </a:lnTo>
                  <a:lnTo>
                    <a:pt x="1266" y="168"/>
                  </a:lnTo>
                  <a:lnTo>
                    <a:pt x="1266" y="168"/>
                  </a:lnTo>
                  <a:lnTo>
                    <a:pt x="1266" y="150"/>
                  </a:lnTo>
                  <a:lnTo>
                    <a:pt x="1264" y="134"/>
                  </a:lnTo>
                  <a:lnTo>
                    <a:pt x="1260" y="118"/>
                  </a:lnTo>
                  <a:lnTo>
                    <a:pt x="1256" y="102"/>
                  </a:lnTo>
                  <a:lnTo>
                    <a:pt x="1246" y="74"/>
                  </a:lnTo>
                  <a:lnTo>
                    <a:pt x="1238" y="60"/>
                  </a:lnTo>
                  <a:lnTo>
                    <a:pt x="1230" y="48"/>
                  </a:lnTo>
                  <a:lnTo>
                    <a:pt x="1222" y="38"/>
                  </a:lnTo>
                  <a:lnTo>
                    <a:pt x="1214" y="28"/>
                  </a:lnTo>
                  <a:lnTo>
                    <a:pt x="1204" y="20"/>
                  </a:lnTo>
                  <a:lnTo>
                    <a:pt x="1192" y="12"/>
                  </a:lnTo>
                  <a:lnTo>
                    <a:pt x="1182" y="8"/>
                  </a:lnTo>
                  <a:lnTo>
                    <a:pt x="1170" y="4"/>
                  </a:lnTo>
                  <a:lnTo>
                    <a:pt x="1158" y="0"/>
                  </a:lnTo>
                  <a:lnTo>
                    <a:pt x="1146" y="0"/>
                  </a:lnTo>
                  <a:lnTo>
                    <a:pt x="1146" y="0"/>
                  </a:lnTo>
                  <a:close/>
                </a:path>
              </a:pathLst>
            </a:custGeom>
            <a:grpFill/>
            <a:ln w="19050">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 name="Freeform 36"/>
            <p:cNvSpPr>
              <a:spLocks/>
            </p:cNvSpPr>
            <p:nvPr/>
          </p:nvSpPr>
          <p:spPr bwMode="auto">
            <a:xfrm>
              <a:off x="-1000140" y="3602712"/>
              <a:ext cx="341650" cy="702673"/>
            </a:xfrm>
            <a:custGeom>
              <a:avLst/>
              <a:gdLst>
                <a:gd name="T0" fmla="*/ 1164 w 1164"/>
                <a:gd name="T1" fmla="*/ 2394 h 2394"/>
                <a:gd name="T2" fmla="*/ 66 w 1164"/>
                <a:gd name="T3" fmla="*/ 936 h 2394"/>
                <a:gd name="T4" fmla="*/ 0 w 1164"/>
                <a:gd name="T5" fmla="*/ 960 h 2394"/>
                <a:gd name="T6" fmla="*/ 0 w 1164"/>
                <a:gd name="T7" fmla="*/ 0 h 2394"/>
                <a:gd name="T8" fmla="*/ 1164 w 1164"/>
                <a:gd name="T9" fmla="*/ 1442 h 2394"/>
                <a:gd name="T10" fmla="*/ 1164 w 1164"/>
                <a:gd name="T11" fmla="*/ 2394 h 2394"/>
              </a:gdLst>
              <a:ahLst/>
              <a:cxnLst>
                <a:cxn ang="0">
                  <a:pos x="T0" y="T1"/>
                </a:cxn>
                <a:cxn ang="0">
                  <a:pos x="T2" y="T3"/>
                </a:cxn>
                <a:cxn ang="0">
                  <a:pos x="T4" y="T5"/>
                </a:cxn>
                <a:cxn ang="0">
                  <a:pos x="T6" y="T7"/>
                </a:cxn>
                <a:cxn ang="0">
                  <a:pos x="T8" y="T9"/>
                </a:cxn>
                <a:cxn ang="0">
                  <a:pos x="T10" y="T11"/>
                </a:cxn>
              </a:cxnLst>
              <a:rect l="0" t="0" r="r" b="b"/>
              <a:pathLst>
                <a:path w="1164" h="2394">
                  <a:moveTo>
                    <a:pt x="1164" y="2394"/>
                  </a:moveTo>
                  <a:lnTo>
                    <a:pt x="66" y="936"/>
                  </a:lnTo>
                  <a:lnTo>
                    <a:pt x="0" y="960"/>
                  </a:lnTo>
                  <a:lnTo>
                    <a:pt x="0" y="0"/>
                  </a:lnTo>
                  <a:lnTo>
                    <a:pt x="1164" y="1442"/>
                  </a:lnTo>
                  <a:lnTo>
                    <a:pt x="1164" y="2394"/>
                  </a:lnTo>
                  <a:close/>
                </a:path>
              </a:pathLst>
            </a:custGeom>
            <a:grpFill/>
            <a:ln w="19050">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 name="Freeform 37"/>
            <p:cNvSpPr>
              <a:spLocks/>
            </p:cNvSpPr>
            <p:nvPr/>
          </p:nvSpPr>
          <p:spPr bwMode="auto">
            <a:xfrm>
              <a:off x="-1001314" y="3578057"/>
              <a:ext cx="489581" cy="319930"/>
            </a:xfrm>
            <a:custGeom>
              <a:avLst/>
              <a:gdLst>
                <a:gd name="T0" fmla="*/ 1612 w 1668"/>
                <a:gd name="T1" fmla="*/ 468 h 1090"/>
                <a:gd name="T2" fmla="*/ 1146 w 1668"/>
                <a:gd name="T3" fmla="*/ 26 h 1090"/>
                <a:gd name="T4" fmla="*/ 1128 w 1668"/>
                <a:gd name="T5" fmla="*/ 14 h 1090"/>
                <a:gd name="T6" fmla="*/ 1096 w 1668"/>
                <a:gd name="T7" fmla="*/ 2 h 1090"/>
                <a:gd name="T8" fmla="*/ 1068 w 1668"/>
                <a:gd name="T9" fmla="*/ 0 h 1090"/>
                <a:gd name="T10" fmla="*/ 1042 w 1668"/>
                <a:gd name="T11" fmla="*/ 4 h 1090"/>
                <a:gd name="T12" fmla="*/ 1008 w 1668"/>
                <a:gd name="T13" fmla="*/ 20 h 1090"/>
                <a:gd name="T14" fmla="*/ 962 w 1668"/>
                <a:gd name="T15" fmla="*/ 40 h 1090"/>
                <a:gd name="T16" fmla="*/ 938 w 1668"/>
                <a:gd name="T17" fmla="*/ 42 h 1090"/>
                <a:gd name="T18" fmla="*/ 120 w 1668"/>
                <a:gd name="T19" fmla="*/ 42 h 1090"/>
                <a:gd name="T20" fmla="*/ 72 w 1668"/>
                <a:gd name="T21" fmla="*/ 40 h 1090"/>
                <a:gd name="T22" fmla="*/ 34 w 1668"/>
                <a:gd name="T23" fmla="*/ 40 h 1090"/>
                <a:gd name="T24" fmla="*/ 20 w 1668"/>
                <a:gd name="T25" fmla="*/ 46 h 1090"/>
                <a:gd name="T26" fmla="*/ 10 w 1668"/>
                <a:gd name="T27" fmla="*/ 58 h 1090"/>
                <a:gd name="T28" fmla="*/ 2 w 1668"/>
                <a:gd name="T29" fmla="*/ 78 h 1090"/>
                <a:gd name="T30" fmla="*/ 0 w 1668"/>
                <a:gd name="T31" fmla="*/ 108 h 1090"/>
                <a:gd name="T32" fmla="*/ 0 w 1668"/>
                <a:gd name="T33" fmla="*/ 212 h 1090"/>
                <a:gd name="T34" fmla="*/ 6 w 1668"/>
                <a:gd name="T35" fmla="*/ 232 h 1090"/>
                <a:gd name="T36" fmla="*/ 46 w 1668"/>
                <a:gd name="T37" fmla="*/ 302 h 1090"/>
                <a:gd name="T38" fmla="*/ 116 w 1668"/>
                <a:gd name="T39" fmla="*/ 402 h 1090"/>
                <a:gd name="T40" fmla="*/ 254 w 1668"/>
                <a:gd name="T41" fmla="*/ 576 h 1090"/>
                <a:gd name="T42" fmla="*/ 398 w 1668"/>
                <a:gd name="T43" fmla="*/ 744 h 1090"/>
                <a:gd name="T44" fmla="*/ 478 w 1668"/>
                <a:gd name="T45" fmla="*/ 828 h 1090"/>
                <a:gd name="T46" fmla="*/ 534 w 1668"/>
                <a:gd name="T47" fmla="*/ 876 h 1090"/>
                <a:gd name="T48" fmla="*/ 548 w 1668"/>
                <a:gd name="T49" fmla="*/ 884 h 1090"/>
                <a:gd name="T50" fmla="*/ 1548 w 1668"/>
                <a:gd name="T51" fmla="*/ 1090 h 1090"/>
                <a:gd name="T52" fmla="*/ 1572 w 1668"/>
                <a:gd name="T53" fmla="*/ 1088 h 1090"/>
                <a:gd name="T54" fmla="*/ 1594 w 1668"/>
                <a:gd name="T55" fmla="*/ 1078 h 1090"/>
                <a:gd name="T56" fmla="*/ 1616 w 1668"/>
                <a:gd name="T57" fmla="*/ 1062 h 1090"/>
                <a:gd name="T58" fmla="*/ 1632 w 1668"/>
                <a:gd name="T59" fmla="*/ 1042 h 1090"/>
                <a:gd name="T60" fmla="*/ 1648 w 1668"/>
                <a:gd name="T61" fmla="*/ 1016 h 1090"/>
                <a:gd name="T62" fmla="*/ 1662 w 1668"/>
                <a:gd name="T63" fmla="*/ 972 h 1090"/>
                <a:gd name="T64" fmla="*/ 1666 w 1668"/>
                <a:gd name="T65" fmla="*/ 940 h 1090"/>
                <a:gd name="T66" fmla="*/ 1668 w 1668"/>
                <a:gd name="T67" fmla="*/ 610 h 1090"/>
                <a:gd name="T68" fmla="*/ 1666 w 1668"/>
                <a:gd name="T69" fmla="*/ 588 h 1090"/>
                <a:gd name="T70" fmla="*/ 1658 w 1668"/>
                <a:gd name="T71" fmla="*/ 546 h 1090"/>
                <a:gd name="T72" fmla="*/ 1644 w 1668"/>
                <a:gd name="T73" fmla="*/ 510 h 1090"/>
                <a:gd name="T74" fmla="*/ 1624 w 1668"/>
                <a:gd name="T75" fmla="*/ 480 h 1090"/>
                <a:gd name="T76" fmla="*/ 1612 w 1668"/>
                <a:gd name="T77" fmla="*/ 46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8" h="1090">
                  <a:moveTo>
                    <a:pt x="1612" y="468"/>
                  </a:moveTo>
                  <a:lnTo>
                    <a:pt x="1612" y="468"/>
                  </a:lnTo>
                  <a:lnTo>
                    <a:pt x="1612" y="468"/>
                  </a:lnTo>
                  <a:lnTo>
                    <a:pt x="1146" y="26"/>
                  </a:lnTo>
                  <a:lnTo>
                    <a:pt x="1146" y="26"/>
                  </a:lnTo>
                  <a:lnTo>
                    <a:pt x="1128" y="14"/>
                  </a:lnTo>
                  <a:lnTo>
                    <a:pt x="1112" y="6"/>
                  </a:lnTo>
                  <a:lnTo>
                    <a:pt x="1096" y="2"/>
                  </a:lnTo>
                  <a:lnTo>
                    <a:pt x="1082" y="0"/>
                  </a:lnTo>
                  <a:lnTo>
                    <a:pt x="1068" y="0"/>
                  </a:lnTo>
                  <a:lnTo>
                    <a:pt x="1054" y="0"/>
                  </a:lnTo>
                  <a:lnTo>
                    <a:pt x="1042" y="4"/>
                  </a:lnTo>
                  <a:lnTo>
                    <a:pt x="1030" y="8"/>
                  </a:lnTo>
                  <a:lnTo>
                    <a:pt x="1008" y="20"/>
                  </a:lnTo>
                  <a:lnTo>
                    <a:pt x="984" y="30"/>
                  </a:lnTo>
                  <a:lnTo>
                    <a:pt x="962" y="40"/>
                  </a:lnTo>
                  <a:lnTo>
                    <a:pt x="950" y="42"/>
                  </a:lnTo>
                  <a:lnTo>
                    <a:pt x="938" y="42"/>
                  </a:lnTo>
                  <a:lnTo>
                    <a:pt x="120" y="42"/>
                  </a:lnTo>
                  <a:lnTo>
                    <a:pt x="120" y="42"/>
                  </a:lnTo>
                  <a:lnTo>
                    <a:pt x="96" y="42"/>
                  </a:lnTo>
                  <a:lnTo>
                    <a:pt x="72" y="40"/>
                  </a:lnTo>
                  <a:lnTo>
                    <a:pt x="52" y="38"/>
                  </a:lnTo>
                  <a:lnTo>
                    <a:pt x="34" y="40"/>
                  </a:lnTo>
                  <a:lnTo>
                    <a:pt x="28" y="42"/>
                  </a:lnTo>
                  <a:lnTo>
                    <a:pt x="20" y="46"/>
                  </a:lnTo>
                  <a:lnTo>
                    <a:pt x="14" y="52"/>
                  </a:lnTo>
                  <a:lnTo>
                    <a:pt x="10" y="58"/>
                  </a:lnTo>
                  <a:lnTo>
                    <a:pt x="6" y="66"/>
                  </a:lnTo>
                  <a:lnTo>
                    <a:pt x="2" y="78"/>
                  </a:lnTo>
                  <a:lnTo>
                    <a:pt x="0" y="92"/>
                  </a:lnTo>
                  <a:lnTo>
                    <a:pt x="0" y="108"/>
                  </a:lnTo>
                  <a:lnTo>
                    <a:pt x="0" y="212"/>
                  </a:lnTo>
                  <a:lnTo>
                    <a:pt x="0" y="212"/>
                  </a:lnTo>
                  <a:lnTo>
                    <a:pt x="2" y="222"/>
                  </a:lnTo>
                  <a:lnTo>
                    <a:pt x="6" y="232"/>
                  </a:lnTo>
                  <a:lnTo>
                    <a:pt x="22" y="264"/>
                  </a:lnTo>
                  <a:lnTo>
                    <a:pt x="46" y="302"/>
                  </a:lnTo>
                  <a:lnTo>
                    <a:pt x="78" y="350"/>
                  </a:lnTo>
                  <a:lnTo>
                    <a:pt x="116" y="402"/>
                  </a:lnTo>
                  <a:lnTo>
                    <a:pt x="160" y="458"/>
                  </a:lnTo>
                  <a:lnTo>
                    <a:pt x="254" y="576"/>
                  </a:lnTo>
                  <a:lnTo>
                    <a:pt x="352" y="692"/>
                  </a:lnTo>
                  <a:lnTo>
                    <a:pt x="398" y="744"/>
                  </a:lnTo>
                  <a:lnTo>
                    <a:pt x="440" y="790"/>
                  </a:lnTo>
                  <a:lnTo>
                    <a:pt x="478" y="828"/>
                  </a:lnTo>
                  <a:lnTo>
                    <a:pt x="510" y="858"/>
                  </a:lnTo>
                  <a:lnTo>
                    <a:pt x="534" y="876"/>
                  </a:lnTo>
                  <a:lnTo>
                    <a:pt x="542" y="882"/>
                  </a:lnTo>
                  <a:lnTo>
                    <a:pt x="548" y="884"/>
                  </a:lnTo>
                  <a:lnTo>
                    <a:pt x="1548" y="1090"/>
                  </a:lnTo>
                  <a:lnTo>
                    <a:pt x="1548" y="1090"/>
                  </a:lnTo>
                  <a:lnTo>
                    <a:pt x="1560" y="1090"/>
                  </a:lnTo>
                  <a:lnTo>
                    <a:pt x="1572" y="1088"/>
                  </a:lnTo>
                  <a:lnTo>
                    <a:pt x="1584" y="1082"/>
                  </a:lnTo>
                  <a:lnTo>
                    <a:pt x="1594" y="1078"/>
                  </a:lnTo>
                  <a:lnTo>
                    <a:pt x="1606" y="1070"/>
                  </a:lnTo>
                  <a:lnTo>
                    <a:pt x="1616" y="1062"/>
                  </a:lnTo>
                  <a:lnTo>
                    <a:pt x="1624" y="1052"/>
                  </a:lnTo>
                  <a:lnTo>
                    <a:pt x="1632" y="1042"/>
                  </a:lnTo>
                  <a:lnTo>
                    <a:pt x="1640" y="1030"/>
                  </a:lnTo>
                  <a:lnTo>
                    <a:pt x="1648" y="1016"/>
                  </a:lnTo>
                  <a:lnTo>
                    <a:pt x="1658" y="988"/>
                  </a:lnTo>
                  <a:lnTo>
                    <a:pt x="1662" y="972"/>
                  </a:lnTo>
                  <a:lnTo>
                    <a:pt x="1666" y="956"/>
                  </a:lnTo>
                  <a:lnTo>
                    <a:pt x="1666" y="940"/>
                  </a:lnTo>
                  <a:lnTo>
                    <a:pt x="1668" y="922"/>
                  </a:lnTo>
                  <a:lnTo>
                    <a:pt x="1668" y="610"/>
                  </a:lnTo>
                  <a:lnTo>
                    <a:pt x="1668" y="610"/>
                  </a:lnTo>
                  <a:lnTo>
                    <a:pt x="1666" y="588"/>
                  </a:lnTo>
                  <a:lnTo>
                    <a:pt x="1664" y="566"/>
                  </a:lnTo>
                  <a:lnTo>
                    <a:pt x="1658" y="546"/>
                  </a:lnTo>
                  <a:lnTo>
                    <a:pt x="1652" y="528"/>
                  </a:lnTo>
                  <a:lnTo>
                    <a:pt x="1644" y="510"/>
                  </a:lnTo>
                  <a:lnTo>
                    <a:pt x="1634" y="494"/>
                  </a:lnTo>
                  <a:lnTo>
                    <a:pt x="1624" y="480"/>
                  </a:lnTo>
                  <a:lnTo>
                    <a:pt x="1612" y="468"/>
                  </a:lnTo>
                  <a:lnTo>
                    <a:pt x="1612" y="468"/>
                  </a:lnTo>
                  <a:close/>
                </a:path>
              </a:pathLst>
            </a:custGeom>
            <a:grpFill/>
            <a:ln w="19050">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8" name="Freeform 38"/>
            <p:cNvSpPr>
              <a:spLocks/>
            </p:cNvSpPr>
            <p:nvPr/>
          </p:nvSpPr>
          <p:spPr bwMode="auto">
            <a:xfrm>
              <a:off x="-843991" y="3761210"/>
              <a:ext cx="489581" cy="337541"/>
            </a:xfrm>
            <a:custGeom>
              <a:avLst/>
              <a:gdLst>
                <a:gd name="T0" fmla="*/ 1612 w 1668"/>
                <a:gd name="T1" fmla="*/ 528 h 1150"/>
                <a:gd name="T2" fmla="*/ 1146 w 1668"/>
                <a:gd name="T3" fmla="*/ 86 h 1150"/>
                <a:gd name="T4" fmla="*/ 1112 w 1668"/>
                <a:gd name="T5" fmla="*/ 62 h 1150"/>
                <a:gd name="T6" fmla="*/ 1056 w 1668"/>
                <a:gd name="T7" fmla="*/ 28 h 1150"/>
                <a:gd name="T8" fmla="*/ 1008 w 1668"/>
                <a:gd name="T9" fmla="*/ 8 h 1150"/>
                <a:gd name="T10" fmla="*/ 962 w 1668"/>
                <a:gd name="T11" fmla="*/ 0 h 1150"/>
                <a:gd name="T12" fmla="*/ 120 w 1668"/>
                <a:gd name="T13" fmla="*/ 0 h 1150"/>
                <a:gd name="T14" fmla="*/ 108 w 1668"/>
                <a:gd name="T15" fmla="*/ 0 h 1150"/>
                <a:gd name="T16" fmla="*/ 84 w 1668"/>
                <a:gd name="T17" fmla="*/ 6 h 1150"/>
                <a:gd name="T18" fmla="*/ 62 w 1668"/>
                <a:gd name="T19" fmla="*/ 20 h 1150"/>
                <a:gd name="T20" fmla="*/ 44 w 1668"/>
                <a:gd name="T21" fmla="*/ 38 h 1150"/>
                <a:gd name="T22" fmla="*/ 28 w 1668"/>
                <a:gd name="T23" fmla="*/ 60 h 1150"/>
                <a:gd name="T24" fmla="*/ 10 w 1668"/>
                <a:gd name="T25" fmla="*/ 102 h 1150"/>
                <a:gd name="T26" fmla="*/ 2 w 1668"/>
                <a:gd name="T27" fmla="*/ 134 h 1150"/>
                <a:gd name="T28" fmla="*/ 0 w 1668"/>
                <a:gd name="T29" fmla="*/ 168 h 1150"/>
                <a:gd name="T30" fmla="*/ 0 w 1668"/>
                <a:gd name="T31" fmla="*/ 272 h 1150"/>
                <a:gd name="T32" fmla="*/ 6 w 1668"/>
                <a:gd name="T33" fmla="*/ 292 h 1150"/>
                <a:gd name="T34" fmla="*/ 46 w 1668"/>
                <a:gd name="T35" fmla="*/ 362 h 1150"/>
                <a:gd name="T36" fmla="*/ 118 w 1668"/>
                <a:gd name="T37" fmla="*/ 462 h 1150"/>
                <a:gd name="T38" fmla="*/ 256 w 1668"/>
                <a:gd name="T39" fmla="*/ 636 h 1150"/>
                <a:gd name="T40" fmla="*/ 398 w 1668"/>
                <a:gd name="T41" fmla="*/ 802 h 1150"/>
                <a:gd name="T42" fmla="*/ 478 w 1668"/>
                <a:gd name="T43" fmla="*/ 888 h 1150"/>
                <a:gd name="T44" fmla="*/ 534 w 1668"/>
                <a:gd name="T45" fmla="*/ 936 h 1150"/>
                <a:gd name="T46" fmla="*/ 548 w 1668"/>
                <a:gd name="T47" fmla="*/ 944 h 1150"/>
                <a:gd name="T48" fmla="*/ 1548 w 1668"/>
                <a:gd name="T49" fmla="*/ 1150 h 1150"/>
                <a:gd name="T50" fmla="*/ 1572 w 1668"/>
                <a:gd name="T51" fmla="*/ 1146 h 1150"/>
                <a:gd name="T52" fmla="*/ 1596 w 1668"/>
                <a:gd name="T53" fmla="*/ 1138 h 1150"/>
                <a:gd name="T54" fmla="*/ 1616 w 1668"/>
                <a:gd name="T55" fmla="*/ 1122 h 1150"/>
                <a:gd name="T56" fmla="*/ 1634 w 1668"/>
                <a:gd name="T57" fmla="*/ 1102 h 1150"/>
                <a:gd name="T58" fmla="*/ 1648 w 1668"/>
                <a:gd name="T59" fmla="*/ 1076 h 1150"/>
                <a:gd name="T60" fmla="*/ 1662 w 1668"/>
                <a:gd name="T61" fmla="*/ 1032 h 1150"/>
                <a:gd name="T62" fmla="*/ 1668 w 1668"/>
                <a:gd name="T63" fmla="*/ 1000 h 1150"/>
                <a:gd name="T64" fmla="*/ 1668 w 1668"/>
                <a:gd name="T65" fmla="*/ 670 h 1150"/>
                <a:gd name="T66" fmla="*/ 1668 w 1668"/>
                <a:gd name="T67" fmla="*/ 648 h 1150"/>
                <a:gd name="T68" fmla="*/ 1660 w 1668"/>
                <a:gd name="T69" fmla="*/ 606 h 1150"/>
                <a:gd name="T70" fmla="*/ 1644 w 1668"/>
                <a:gd name="T71" fmla="*/ 570 h 1150"/>
                <a:gd name="T72" fmla="*/ 1624 w 1668"/>
                <a:gd name="T73" fmla="*/ 540 h 1150"/>
                <a:gd name="T74" fmla="*/ 1612 w 1668"/>
                <a:gd name="T75" fmla="*/ 528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8" h="1150">
                  <a:moveTo>
                    <a:pt x="1612" y="528"/>
                  </a:moveTo>
                  <a:lnTo>
                    <a:pt x="1612" y="528"/>
                  </a:lnTo>
                  <a:lnTo>
                    <a:pt x="1612" y="528"/>
                  </a:lnTo>
                  <a:lnTo>
                    <a:pt x="1146" y="86"/>
                  </a:lnTo>
                  <a:lnTo>
                    <a:pt x="1146" y="86"/>
                  </a:lnTo>
                  <a:lnTo>
                    <a:pt x="1112" y="62"/>
                  </a:lnTo>
                  <a:lnTo>
                    <a:pt x="1082" y="42"/>
                  </a:lnTo>
                  <a:lnTo>
                    <a:pt x="1056" y="28"/>
                  </a:lnTo>
                  <a:lnTo>
                    <a:pt x="1030" y="16"/>
                  </a:lnTo>
                  <a:lnTo>
                    <a:pt x="1008" y="8"/>
                  </a:lnTo>
                  <a:lnTo>
                    <a:pt x="984" y="2"/>
                  </a:lnTo>
                  <a:lnTo>
                    <a:pt x="962" y="0"/>
                  </a:lnTo>
                  <a:lnTo>
                    <a:pt x="938" y="0"/>
                  </a:lnTo>
                  <a:lnTo>
                    <a:pt x="120" y="0"/>
                  </a:lnTo>
                  <a:lnTo>
                    <a:pt x="120" y="0"/>
                  </a:lnTo>
                  <a:lnTo>
                    <a:pt x="108" y="0"/>
                  </a:lnTo>
                  <a:lnTo>
                    <a:pt x="96" y="2"/>
                  </a:lnTo>
                  <a:lnTo>
                    <a:pt x="84" y="6"/>
                  </a:lnTo>
                  <a:lnTo>
                    <a:pt x="74" y="12"/>
                  </a:lnTo>
                  <a:lnTo>
                    <a:pt x="62" y="20"/>
                  </a:lnTo>
                  <a:lnTo>
                    <a:pt x="52" y="28"/>
                  </a:lnTo>
                  <a:lnTo>
                    <a:pt x="44" y="38"/>
                  </a:lnTo>
                  <a:lnTo>
                    <a:pt x="36" y="48"/>
                  </a:lnTo>
                  <a:lnTo>
                    <a:pt x="28" y="60"/>
                  </a:lnTo>
                  <a:lnTo>
                    <a:pt x="20" y="74"/>
                  </a:lnTo>
                  <a:lnTo>
                    <a:pt x="10" y="102"/>
                  </a:lnTo>
                  <a:lnTo>
                    <a:pt x="6" y="118"/>
                  </a:lnTo>
                  <a:lnTo>
                    <a:pt x="2" y="134"/>
                  </a:lnTo>
                  <a:lnTo>
                    <a:pt x="2" y="150"/>
                  </a:lnTo>
                  <a:lnTo>
                    <a:pt x="0" y="168"/>
                  </a:lnTo>
                  <a:lnTo>
                    <a:pt x="0" y="272"/>
                  </a:lnTo>
                  <a:lnTo>
                    <a:pt x="0" y="272"/>
                  </a:lnTo>
                  <a:lnTo>
                    <a:pt x="2" y="282"/>
                  </a:lnTo>
                  <a:lnTo>
                    <a:pt x="6" y="292"/>
                  </a:lnTo>
                  <a:lnTo>
                    <a:pt x="22" y="324"/>
                  </a:lnTo>
                  <a:lnTo>
                    <a:pt x="46" y="362"/>
                  </a:lnTo>
                  <a:lnTo>
                    <a:pt x="78" y="410"/>
                  </a:lnTo>
                  <a:lnTo>
                    <a:pt x="118" y="462"/>
                  </a:lnTo>
                  <a:lnTo>
                    <a:pt x="160" y="518"/>
                  </a:lnTo>
                  <a:lnTo>
                    <a:pt x="256" y="636"/>
                  </a:lnTo>
                  <a:lnTo>
                    <a:pt x="352" y="752"/>
                  </a:lnTo>
                  <a:lnTo>
                    <a:pt x="398" y="802"/>
                  </a:lnTo>
                  <a:lnTo>
                    <a:pt x="442" y="848"/>
                  </a:lnTo>
                  <a:lnTo>
                    <a:pt x="478" y="888"/>
                  </a:lnTo>
                  <a:lnTo>
                    <a:pt x="510" y="918"/>
                  </a:lnTo>
                  <a:lnTo>
                    <a:pt x="534" y="936"/>
                  </a:lnTo>
                  <a:lnTo>
                    <a:pt x="542" y="942"/>
                  </a:lnTo>
                  <a:lnTo>
                    <a:pt x="548" y="944"/>
                  </a:lnTo>
                  <a:lnTo>
                    <a:pt x="1548" y="1150"/>
                  </a:lnTo>
                  <a:lnTo>
                    <a:pt x="1548" y="1150"/>
                  </a:lnTo>
                  <a:lnTo>
                    <a:pt x="1562" y="1150"/>
                  </a:lnTo>
                  <a:lnTo>
                    <a:pt x="1572" y="1146"/>
                  </a:lnTo>
                  <a:lnTo>
                    <a:pt x="1584" y="1142"/>
                  </a:lnTo>
                  <a:lnTo>
                    <a:pt x="1596" y="1138"/>
                  </a:lnTo>
                  <a:lnTo>
                    <a:pt x="1606" y="1130"/>
                  </a:lnTo>
                  <a:lnTo>
                    <a:pt x="1616" y="1122"/>
                  </a:lnTo>
                  <a:lnTo>
                    <a:pt x="1624" y="1112"/>
                  </a:lnTo>
                  <a:lnTo>
                    <a:pt x="1634" y="1102"/>
                  </a:lnTo>
                  <a:lnTo>
                    <a:pt x="1640" y="1090"/>
                  </a:lnTo>
                  <a:lnTo>
                    <a:pt x="1648" y="1076"/>
                  </a:lnTo>
                  <a:lnTo>
                    <a:pt x="1658" y="1048"/>
                  </a:lnTo>
                  <a:lnTo>
                    <a:pt x="1662" y="1032"/>
                  </a:lnTo>
                  <a:lnTo>
                    <a:pt x="1666" y="1016"/>
                  </a:lnTo>
                  <a:lnTo>
                    <a:pt x="1668" y="1000"/>
                  </a:lnTo>
                  <a:lnTo>
                    <a:pt x="1668" y="982"/>
                  </a:lnTo>
                  <a:lnTo>
                    <a:pt x="1668" y="670"/>
                  </a:lnTo>
                  <a:lnTo>
                    <a:pt x="1668" y="670"/>
                  </a:lnTo>
                  <a:lnTo>
                    <a:pt x="1668" y="648"/>
                  </a:lnTo>
                  <a:lnTo>
                    <a:pt x="1664" y="626"/>
                  </a:lnTo>
                  <a:lnTo>
                    <a:pt x="1660" y="606"/>
                  </a:lnTo>
                  <a:lnTo>
                    <a:pt x="1652" y="588"/>
                  </a:lnTo>
                  <a:lnTo>
                    <a:pt x="1644" y="570"/>
                  </a:lnTo>
                  <a:lnTo>
                    <a:pt x="1636" y="554"/>
                  </a:lnTo>
                  <a:lnTo>
                    <a:pt x="1624" y="540"/>
                  </a:lnTo>
                  <a:lnTo>
                    <a:pt x="1612" y="528"/>
                  </a:lnTo>
                  <a:lnTo>
                    <a:pt x="1612" y="528"/>
                  </a:lnTo>
                  <a:close/>
                </a:path>
              </a:pathLst>
            </a:custGeom>
            <a:grpFill/>
            <a:ln w="19050">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9" name="Freeform 39"/>
            <p:cNvSpPr>
              <a:spLocks/>
            </p:cNvSpPr>
            <p:nvPr/>
          </p:nvSpPr>
          <p:spPr bwMode="auto">
            <a:xfrm>
              <a:off x="-378477" y="3696637"/>
              <a:ext cx="165542" cy="260641"/>
            </a:xfrm>
            <a:custGeom>
              <a:avLst/>
              <a:gdLst>
                <a:gd name="T0" fmla="*/ 414 w 564"/>
                <a:gd name="T1" fmla="*/ 6 h 888"/>
                <a:gd name="T2" fmla="*/ 390 w 564"/>
                <a:gd name="T3" fmla="*/ 0 h 888"/>
                <a:gd name="T4" fmla="*/ 366 w 564"/>
                <a:gd name="T5" fmla="*/ 4 h 888"/>
                <a:gd name="T6" fmla="*/ 342 w 564"/>
                <a:gd name="T7" fmla="*/ 12 h 888"/>
                <a:gd name="T8" fmla="*/ 320 w 564"/>
                <a:gd name="T9" fmla="*/ 26 h 888"/>
                <a:gd name="T10" fmla="*/ 300 w 564"/>
                <a:gd name="T11" fmla="*/ 46 h 888"/>
                <a:gd name="T12" fmla="*/ 282 w 564"/>
                <a:gd name="T13" fmla="*/ 72 h 888"/>
                <a:gd name="T14" fmla="*/ 266 w 564"/>
                <a:gd name="T15" fmla="*/ 102 h 888"/>
                <a:gd name="T16" fmla="*/ 256 w 564"/>
                <a:gd name="T17" fmla="*/ 136 h 888"/>
                <a:gd name="T18" fmla="*/ 8 w 564"/>
                <a:gd name="T19" fmla="*/ 690 h 888"/>
                <a:gd name="T20" fmla="*/ 2 w 564"/>
                <a:gd name="T21" fmla="*/ 724 h 888"/>
                <a:gd name="T22" fmla="*/ 0 w 564"/>
                <a:gd name="T23" fmla="*/ 760 h 888"/>
                <a:gd name="T24" fmla="*/ 4 w 564"/>
                <a:gd name="T25" fmla="*/ 790 h 888"/>
                <a:gd name="T26" fmla="*/ 12 w 564"/>
                <a:gd name="T27" fmla="*/ 818 h 888"/>
                <a:gd name="T28" fmla="*/ 24 w 564"/>
                <a:gd name="T29" fmla="*/ 842 h 888"/>
                <a:gd name="T30" fmla="*/ 42 w 564"/>
                <a:gd name="T31" fmla="*/ 860 h 888"/>
                <a:gd name="T32" fmla="*/ 60 w 564"/>
                <a:gd name="T33" fmla="*/ 874 h 888"/>
                <a:gd name="T34" fmla="*/ 84 w 564"/>
                <a:gd name="T35" fmla="*/ 880 h 888"/>
                <a:gd name="T36" fmla="*/ 156 w 564"/>
                <a:gd name="T37" fmla="*/ 888 h 888"/>
                <a:gd name="T38" fmla="*/ 180 w 564"/>
                <a:gd name="T39" fmla="*/ 886 h 888"/>
                <a:gd name="T40" fmla="*/ 206 w 564"/>
                <a:gd name="T41" fmla="*/ 878 h 888"/>
                <a:gd name="T42" fmla="*/ 230 w 564"/>
                <a:gd name="T43" fmla="*/ 864 h 888"/>
                <a:gd name="T44" fmla="*/ 254 w 564"/>
                <a:gd name="T45" fmla="*/ 844 h 888"/>
                <a:gd name="T46" fmla="*/ 294 w 564"/>
                <a:gd name="T47" fmla="*/ 792 h 888"/>
                <a:gd name="T48" fmla="*/ 314 w 564"/>
                <a:gd name="T49" fmla="*/ 742 h 888"/>
                <a:gd name="T50" fmla="*/ 556 w 564"/>
                <a:gd name="T51" fmla="*/ 244 h 888"/>
                <a:gd name="T52" fmla="*/ 560 w 564"/>
                <a:gd name="T53" fmla="*/ 228 h 888"/>
                <a:gd name="T54" fmla="*/ 564 w 564"/>
                <a:gd name="T55" fmla="*/ 192 h 888"/>
                <a:gd name="T56" fmla="*/ 562 w 564"/>
                <a:gd name="T57" fmla="*/ 142 h 888"/>
                <a:gd name="T58" fmla="*/ 554 w 564"/>
                <a:gd name="T59" fmla="*/ 110 h 888"/>
                <a:gd name="T60" fmla="*/ 542 w 564"/>
                <a:gd name="T61" fmla="*/ 84 h 888"/>
                <a:gd name="T62" fmla="*/ 526 w 564"/>
                <a:gd name="T63" fmla="*/ 60 h 888"/>
                <a:gd name="T64" fmla="*/ 508 w 564"/>
                <a:gd name="T65" fmla="*/ 42 h 888"/>
                <a:gd name="T66" fmla="*/ 484 w 564"/>
                <a:gd name="T67" fmla="*/ 30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888">
                  <a:moveTo>
                    <a:pt x="414" y="6"/>
                  </a:moveTo>
                  <a:lnTo>
                    <a:pt x="414" y="6"/>
                  </a:lnTo>
                  <a:lnTo>
                    <a:pt x="402" y="2"/>
                  </a:lnTo>
                  <a:lnTo>
                    <a:pt x="390" y="0"/>
                  </a:lnTo>
                  <a:lnTo>
                    <a:pt x="378" y="2"/>
                  </a:lnTo>
                  <a:lnTo>
                    <a:pt x="366" y="4"/>
                  </a:lnTo>
                  <a:lnTo>
                    <a:pt x="354" y="6"/>
                  </a:lnTo>
                  <a:lnTo>
                    <a:pt x="342" y="12"/>
                  </a:lnTo>
                  <a:lnTo>
                    <a:pt x="332" y="18"/>
                  </a:lnTo>
                  <a:lnTo>
                    <a:pt x="320" y="26"/>
                  </a:lnTo>
                  <a:lnTo>
                    <a:pt x="310" y="36"/>
                  </a:lnTo>
                  <a:lnTo>
                    <a:pt x="300" y="46"/>
                  </a:lnTo>
                  <a:lnTo>
                    <a:pt x="290" y="58"/>
                  </a:lnTo>
                  <a:lnTo>
                    <a:pt x="282" y="72"/>
                  </a:lnTo>
                  <a:lnTo>
                    <a:pt x="274" y="86"/>
                  </a:lnTo>
                  <a:lnTo>
                    <a:pt x="266" y="102"/>
                  </a:lnTo>
                  <a:lnTo>
                    <a:pt x="260" y="118"/>
                  </a:lnTo>
                  <a:lnTo>
                    <a:pt x="256" y="136"/>
                  </a:lnTo>
                  <a:lnTo>
                    <a:pt x="8" y="690"/>
                  </a:lnTo>
                  <a:lnTo>
                    <a:pt x="8" y="690"/>
                  </a:lnTo>
                  <a:lnTo>
                    <a:pt x="4" y="708"/>
                  </a:lnTo>
                  <a:lnTo>
                    <a:pt x="2" y="724"/>
                  </a:lnTo>
                  <a:lnTo>
                    <a:pt x="2" y="742"/>
                  </a:lnTo>
                  <a:lnTo>
                    <a:pt x="0" y="760"/>
                  </a:lnTo>
                  <a:lnTo>
                    <a:pt x="2" y="776"/>
                  </a:lnTo>
                  <a:lnTo>
                    <a:pt x="4" y="790"/>
                  </a:lnTo>
                  <a:lnTo>
                    <a:pt x="8" y="804"/>
                  </a:lnTo>
                  <a:lnTo>
                    <a:pt x="12" y="818"/>
                  </a:lnTo>
                  <a:lnTo>
                    <a:pt x="18" y="830"/>
                  </a:lnTo>
                  <a:lnTo>
                    <a:pt x="24" y="842"/>
                  </a:lnTo>
                  <a:lnTo>
                    <a:pt x="32" y="852"/>
                  </a:lnTo>
                  <a:lnTo>
                    <a:pt x="42" y="860"/>
                  </a:lnTo>
                  <a:lnTo>
                    <a:pt x="50" y="868"/>
                  </a:lnTo>
                  <a:lnTo>
                    <a:pt x="60" y="874"/>
                  </a:lnTo>
                  <a:lnTo>
                    <a:pt x="72" y="878"/>
                  </a:lnTo>
                  <a:lnTo>
                    <a:pt x="84" y="880"/>
                  </a:lnTo>
                  <a:lnTo>
                    <a:pt x="156" y="888"/>
                  </a:lnTo>
                  <a:lnTo>
                    <a:pt x="156" y="888"/>
                  </a:lnTo>
                  <a:lnTo>
                    <a:pt x="168" y="888"/>
                  </a:lnTo>
                  <a:lnTo>
                    <a:pt x="180" y="886"/>
                  </a:lnTo>
                  <a:lnTo>
                    <a:pt x="194" y="884"/>
                  </a:lnTo>
                  <a:lnTo>
                    <a:pt x="206" y="878"/>
                  </a:lnTo>
                  <a:lnTo>
                    <a:pt x="218" y="872"/>
                  </a:lnTo>
                  <a:lnTo>
                    <a:pt x="230" y="864"/>
                  </a:lnTo>
                  <a:lnTo>
                    <a:pt x="242" y="856"/>
                  </a:lnTo>
                  <a:lnTo>
                    <a:pt x="254" y="844"/>
                  </a:lnTo>
                  <a:lnTo>
                    <a:pt x="274" y="820"/>
                  </a:lnTo>
                  <a:lnTo>
                    <a:pt x="294" y="792"/>
                  </a:lnTo>
                  <a:lnTo>
                    <a:pt x="308" y="760"/>
                  </a:lnTo>
                  <a:lnTo>
                    <a:pt x="314" y="742"/>
                  </a:lnTo>
                  <a:lnTo>
                    <a:pt x="320" y="724"/>
                  </a:lnTo>
                  <a:lnTo>
                    <a:pt x="556" y="244"/>
                  </a:lnTo>
                  <a:lnTo>
                    <a:pt x="556" y="244"/>
                  </a:lnTo>
                  <a:lnTo>
                    <a:pt x="560" y="228"/>
                  </a:lnTo>
                  <a:lnTo>
                    <a:pt x="564" y="210"/>
                  </a:lnTo>
                  <a:lnTo>
                    <a:pt x="564" y="192"/>
                  </a:lnTo>
                  <a:lnTo>
                    <a:pt x="564" y="174"/>
                  </a:lnTo>
                  <a:lnTo>
                    <a:pt x="562" y="142"/>
                  </a:lnTo>
                  <a:lnTo>
                    <a:pt x="558" y="126"/>
                  </a:lnTo>
                  <a:lnTo>
                    <a:pt x="554" y="110"/>
                  </a:lnTo>
                  <a:lnTo>
                    <a:pt x="548" y="96"/>
                  </a:lnTo>
                  <a:lnTo>
                    <a:pt x="542" y="84"/>
                  </a:lnTo>
                  <a:lnTo>
                    <a:pt x="534" y="72"/>
                  </a:lnTo>
                  <a:lnTo>
                    <a:pt x="526" y="60"/>
                  </a:lnTo>
                  <a:lnTo>
                    <a:pt x="518" y="52"/>
                  </a:lnTo>
                  <a:lnTo>
                    <a:pt x="508" y="42"/>
                  </a:lnTo>
                  <a:lnTo>
                    <a:pt x="496" y="36"/>
                  </a:lnTo>
                  <a:lnTo>
                    <a:pt x="484" y="30"/>
                  </a:lnTo>
                  <a:lnTo>
                    <a:pt x="414" y="6"/>
                  </a:lnTo>
                  <a:close/>
                </a:path>
              </a:pathLst>
            </a:custGeom>
            <a:grpFill/>
            <a:ln w="19050">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0" name="Freeform 40"/>
            <p:cNvSpPr>
              <a:spLocks/>
            </p:cNvSpPr>
            <p:nvPr/>
          </p:nvSpPr>
          <p:spPr bwMode="auto">
            <a:xfrm>
              <a:off x="-548877" y="3519941"/>
              <a:ext cx="324626" cy="417377"/>
            </a:xfrm>
            <a:custGeom>
              <a:avLst/>
              <a:gdLst>
                <a:gd name="T0" fmla="*/ 1006 w 1106"/>
                <a:gd name="T1" fmla="*/ 614 h 1422"/>
                <a:gd name="T2" fmla="*/ 986 w 1106"/>
                <a:gd name="T3" fmla="*/ 612 h 1422"/>
                <a:gd name="T4" fmla="*/ 950 w 1106"/>
                <a:gd name="T5" fmla="*/ 624 h 1422"/>
                <a:gd name="T6" fmla="*/ 916 w 1106"/>
                <a:gd name="T7" fmla="*/ 646 h 1422"/>
                <a:gd name="T8" fmla="*/ 888 w 1106"/>
                <a:gd name="T9" fmla="*/ 680 h 1422"/>
                <a:gd name="T10" fmla="*/ 876 w 1106"/>
                <a:gd name="T11" fmla="*/ 700 h 1422"/>
                <a:gd name="T12" fmla="*/ 860 w 1106"/>
                <a:gd name="T13" fmla="*/ 732 h 1422"/>
                <a:gd name="T14" fmla="*/ 860 w 1106"/>
                <a:gd name="T15" fmla="*/ 740 h 1422"/>
                <a:gd name="T16" fmla="*/ 738 w 1106"/>
                <a:gd name="T17" fmla="*/ 1034 h 1422"/>
                <a:gd name="T18" fmla="*/ 618 w 1106"/>
                <a:gd name="T19" fmla="*/ 1318 h 1422"/>
                <a:gd name="T20" fmla="*/ 618 w 1106"/>
                <a:gd name="T21" fmla="*/ 1372 h 1422"/>
                <a:gd name="T22" fmla="*/ 628 w 1106"/>
                <a:gd name="T23" fmla="*/ 1422 h 1422"/>
                <a:gd name="T24" fmla="*/ 310 w 1106"/>
                <a:gd name="T25" fmla="*/ 1108 h 1422"/>
                <a:gd name="T26" fmla="*/ 98 w 1106"/>
                <a:gd name="T27" fmla="*/ 898 h 1422"/>
                <a:gd name="T28" fmla="*/ 36 w 1106"/>
                <a:gd name="T29" fmla="*/ 822 h 1422"/>
                <a:gd name="T30" fmla="*/ 10 w 1106"/>
                <a:gd name="T31" fmla="*/ 774 h 1422"/>
                <a:gd name="T32" fmla="*/ 0 w 1106"/>
                <a:gd name="T33" fmla="*/ 734 h 1422"/>
                <a:gd name="T34" fmla="*/ 0 w 1106"/>
                <a:gd name="T35" fmla="*/ 688 h 1422"/>
                <a:gd name="T36" fmla="*/ 234 w 1106"/>
                <a:gd name="T37" fmla="*/ 152 h 1422"/>
                <a:gd name="T38" fmla="*/ 240 w 1106"/>
                <a:gd name="T39" fmla="*/ 118 h 1422"/>
                <a:gd name="T40" fmla="*/ 250 w 1106"/>
                <a:gd name="T41" fmla="*/ 88 h 1422"/>
                <a:gd name="T42" fmla="*/ 264 w 1106"/>
                <a:gd name="T43" fmla="*/ 62 h 1422"/>
                <a:gd name="T44" fmla="*/ 282 w 1106"/>
                <a:gd name="T45" fmla="*/ 38 h 1422"/>
                <a:gd name="T46" fmla="*/ 302 w 1106"/>
                <a:gd name="T47" fmla="*/ 20 h 1422"/>
                <a:gd name="T48" fmla="*/ 324 w 1106"/>
                <a:gd name="T49" fmla="*/ 8 h 1422"/>
                <a:gd name="T50" fmla="*/ 348 w 1106"/>
                <a:gd name="T51" fmla="*/ 0 h 1422"/>
                <a:gd name="T52" fmla="*/ 372 w 1106"/>
                <a:gd name="T53" fmla="*/ 0 h 1422"/>
                <a:gd name="T54" fmla="*/ 444 w 1106"/>
                <a:gd name="T55" fmla="*/ 8 h 1422"/>
                <a:gd name="T56" fmla="*/ 458 w 1106"/>
                <a:gd name="T57" fmla="*/ 14 h 1422"/>
                <a:gd name="T58" fmla="*/ 512 w 1106"/>
                <a:gd name="T59" fmla="*/ 52 h 1422"/>
                <a:gd name="T60" fmla="*/ 640 w 1106"/>
                <a:gd name="T61" fmla="*/ 160 h 1422"/>
                <a:gd name="T62" fmla="*/ 852 w 1106"/>
                <a:gd name="T63" fmla="*/ 356 h 1422"/>
                <a:gd name="T64" fmla="*/ 1000 w 1106"/>
                <a:gd name="T65" fmla="*/ 506 h 1422"/>
                <a:gd name="T66" fmla="*/ 1078 w 1106"/>
                <a:gd name="T67" fmla="*/ 594 h 1422"/>
                <a:gd name="T68" fmla="*/ 1106 w 1106"/>
                <a:gd name="T69" fmla="*/ 630 h 1422"/>
                <a:gd name="T70" fmla="*/ 1078 w 1106"/>
                <a:gd name="T71" fmla="*/ 622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06" h="1422">
                  <a:moveTo>
                    <a:pt x="1078" y="622"/>
                  </a:moveTo>
                  <a:lnTo>
                    <a:pt x="1006" y="614"/>
                  </a:lnTo>
                  <a:lnTo>
                    <a:pt x="1006" y="614"/>
                  </a:lnTo>
                  <a:lnTo>
                    <a:pt x="986" y="612"/>
                  </a:lnTo>
                  <a:lnTo>
                    <a:pt x="968" y="616"/>
                  </a:lnTo>
                  <a:lnTo>
                    <a:pt x="950" y="624"/>
                  </a:lnTo>
                  <a:lnTo>
                    <a:pt x="932" y="634"/>
                  </a:lnTo>
                  <a:lnTo>
                    <a:pt x="916" y="646"/>
                  </a:lnTo>
                  <a:lnTo>
                    <a:pt x="900" y="662"/>
                  </a:lnTo>
                  <a:lnTo>
                    <a:pt x="888" y="680"/>
                  </a:lnTo>
                  <a:lnTo>
                    <a:pt x="876" y="700"/>
                  </a:lnTo>
                  <a:lnTo>
                    <a:pt x="876" y="700"/>
                  </a:lnTo>
                  <a:lnTo>
                    <a:pt x="864" y="720"/>
                  </a:lnTo>
                  <a:lnTo>
                    <a:pt x="860" y="732"/>
                  </a:lnTo>
                  <a:lnTo>
                    <a:pt x="860" y="738"/>
                  </a:lnTo>
                  <a:lnTo>
                    <a:pt x="860" y="740"/>
                  </a:lnTo>
                  <a:lnTo>
                    <a:pt x="860" y="740"/>
                  </a:lnTo>
                  <a:lnTo>
                    <a:pt x="738" y="1034"/>
                  </a:lnTo>
                  <a:lnTo>
                    <a:pt x="618" y="1318"/>
                  </a:lnTo>
                  <a:lnTo>
                    <a:pt x="618" y="1318"/>
                  </a:lnTo>
                  <a:lnTo>
                    <a:pt x="616" y="1346"/>
                  </a:lnTo>
                  <a:lnTo>
                    <a:pt x="618" y="1372"/>
                  </a:lnTo>
                  <a:lnTo>
                    <a:pt x="622" y="1398"/>
                  </a:lnTo>
                  <a:lnTo>
                    <a:pt x="628" y="1422"/>
                  </a:lnTo>
                  <a:lnTo>
                    <a:pt x="628" y="1422"/>
                  </a:lnTo>
                  <a:lnTo>
                    <a:pt x="310" y="1108"/>
                  </a:lnTo>
                  <a:lnTo>
                    <a:pt x="98" y="898"/>
                  </a:lnTo>
                  <a:lnTo>
                    <a:pt x="98" y="898"/>
                  </a:lnTo>
                  <a:lnTo>
                    <a:pt x="54" y="844"/>
                  </a:lnTo>
                  <a:lnTo>
                    <a:pt x="36" y="822"/>
                  </a:lnTo>
                  <a:lnTo>
                    <a:pt x="22" y="798"/>
                  </a:lnTo>
                  <a:lnTo>
                    <a:pt x="10" y="774"/>
                  </a:lnTo>
                  <a:lnTo>
                    <a:pt x="2" y="748"/>
                  </a:lnTo>
                  <a:lnTo>
                    <a:pt x="0" y="734"/>
                  </a:lnTo>
                  <a:lnTo>
                    <a:pt x="0" y="720"/>
                  </a:lnTo>
                  <a:lnTo>
                    <a:pt x="0" y="688"/>
                  </a:lnTo>
                  <a:lnTo>
                    <a:pt x="234" y="152"/>
                  </a:lnTo>
                  <a:lnTo>
                    <a:pt x="234" y="152"/>
                  </a:lnTo>
                  <a:lnTo>
                    <a:pt x="236" y="134"/>
                  </a:lnTo>
                  <a:lnTo>
                    <a:pt x="240" y="118"/>
                  </a:lnTo>
                  <a:lnTo>
                    <a:pt x="244" y="104"/>
                  </a:lnTo>
                  <a:lnTo>
                    <a:pt x="250" y="88"/>
                  </a:lnTo>
                  <a:lnTo>
                    <a:pt x="258" y="74"/>
                  </a:lnTo>
                  <a:lnTo>
                    <a:pt x="264" y="62"/>
                  </a:lnTo>
                  <a:lnTo>
                    <a:pt x="274" y="50"/>
                  </a:lnTo>
                  <a:lnTo>
                    <a:pt x="282" y="38"/>
                  </a:lnTo>
                  <a:lnTo>
                    <a:pt x="292" y="28"/>
                  </a:lnTo>
                  <a:lnTo>
                    <a:pt x="302" y="20"/>
                  </a:lnTo>
                  <a:lnTo>
                    <a:pt x="312" y="14"/>
                  </a:lnTo>
                  <a:lnTo>
                    <a:pt x="324" y="8"/>
                  </a:lnTo>
                  <a:lnTo>
                    <a:pt x="336" y="4"/>
                  </a:lnTo>
                  <a:lnTo>
                    <a:pt x="348" y="0"/>
                  </a:lnTo>
                  <a:lnTo>
                    <a:pt x="360" y="0"/>
                  </a:lnTo>
                  <a:lnTo>
                    <a:pt x="372" y="0"/>
                  </a:lnTo>
                  <a:lnTo>
                    <a:pt x="444" y="8"/>
                  </a:lnTo>
                  <a:lnTo>
                    <a:pt x="444" y="8"/>
                  </a:lnTo>
                  <a:lnTo>
                    <a:pt x="450" y="10"/>
                  </a:lnTo>
                  <a:lnTo>
                    <a:pt x="458" y="14"/>
                  </a:lnTo>
                  <a:lnTo>
                    <a:pt x="480" y="30"/>
                  </a:lnTo>
                  <a:lnTo>
                    <a:pt x="512" y="52"/>
                  </a:lnTo>
                  <a:lnTo>
                    <a:pt x="550" y="82"/>
                  </a:lnTo>
                  <a:lnTo>
                    <a:pt x="640" y="160"/>
                  </a:lnTo>
                  <a:lnTo>
                    <a:pt x="744" y="254"/>
                  </a:lnTo>
                  <a:lnTo>
                    <a:pt x="852" y="356"/>
                  </a:lnTo>
                  <a:lnTo>
                    <a:pt x="954" y="458"/>
                  </a:lnTo>
                  <a:lnTo>
                    <a:pt x="1000" y="506"/>
                  </a:lnTo>
                  <a:lnTo>
                    <a:pt x="1042" y="552"/>
                  </a:lnTo>
                  <a:lnTo>
                    <a:pt x="1078" y="594"/>
                  </a:lnTo>
                  <a:lnTo>
                    <a:pt x="1106" y="630"/>
                  </a:lnTo>
                  <a:lnTo>
                    <a:pt x="1106" y="630"/>
                  </a:lnTo>
                  <a:lnTo>
                    <a:pt x="1092" y="624"/>
                  </a:lnTo>
                  <a:lnTo>
                    <a:pt x="1078" y="622"/>
                  </a:lnTo>
                  <a:lnTo>
                    <a:pt x="1078" y="622"/>
                  </a:lnTo>
                  <a:close/>
                </a:path>
              </a:pathLst>
            </a:custGeom>
            <a:grpFill/>
            <a:ln w="19050">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1" name="Freeform 41"/>
            <p:cNvSpPr>
              <a:spLocks/>
            </p:cNvSpPr>
            <p:nvPr/>
          </p:nvSpPr>
          <p:spPr bwMode="auto">
            <a:xfrm>
              <a:off x="-729096" y="3347355"/>
              <a:ext cx="325214" cy="402114"/>
            </a:xfrm>
            <a:custGeom>
              <a:avLst/>
              <a:gdLst>
                <a:gd name="T0" fmla="*/ 1006 w 1108"/>
                <a:gd name="T1" fmla="*/ 612 h 1370"/>
                <a:gd name="T2" fmla="*/ 988 w 1108"/>
                <a:gd name="T3" fmla="*/ 612 h 1370"/>
                <a:gd name="T4" fmla="*/ 950 w 1108"/>
                <a:gd name="T5" fmla="*/ 622 h 1370"/>
                <a:gd name="T6" fmla="*/ 916 w 1108"/>
                <a:gd name="T7" fmla="*/ 646 h 1370"/>
                <a:gd name="T8" fmla="*/ 888 w 1108"/>
                <a:gd name="T9" fmla="*/ 680 h 1370"/>
                <a:gd name="T10" fmla="*/ 876 w 1108"/>
                <a:gd name="T11" fmla="*/ 700 h 1370"/>
                <a:gd name="T12" fmla="*/ 826 w 1108"/>
                <a:gd name="T13" fmla="*/ 814 h 1370"/>
                <a:gd name="T14" fmla="*/ 620 w 1108"/>
                <a:gd name="T15" fmla="*/ 1318 h 1370"/>
                <a:gd name="T16" fmla="*/ 618 w 1108"/>
                <a:gd name="T17" fmla="*/ 1330 h 1370"/>
                <a:gd name="T18" fmla="*/ 610 w 1108"/>
                <a:gd name="T19" fmla="*/ 1346 h 1370"/>
                <a:gd name="T20" fmla="*/ 608 w 1108"/>
                <a:gd name="T21" fmla="*/ 1354 h 1370"/>
                <a:gd name="T22" fmla="*/ 612 w 1108"/>
                <a:gd name="T23" fmla="*/ 1370 h 1370"/>
                <a:gd name="T24" fmla="*/ 472 w 1108"/>
                <a:gd name="T25" fmla="*/ 1238 h 1370"/>
                <a:gd name="T26" fmla="*/ 98 w 1108"/>
                <a:gd name="T27" fmla="*/ 896 h 1370"/>
                <a:gd name="T28" fmla="*/ 56 w 1108"/>
                <a:gd name="T29" fmla="*/ 844 h 1370"/>
                <a:gd name="T30" fmla="*/ 22 w 1108"/>
                <a:gd name="T31" fmla="*/ 798 h 1370"/>
                <a:gd name="T32" fmla="*/ 4 w 1108"/>
                <a:gd name="T33" fmla="*/ 748 h 1370"/>
                <a:gd name="T34" fmla="*/ 0 w 1108"/>
                <a:gd name="T35" fmla="*/ 718 h 1370"/>
                <a:gd name="T36" fmla="*/ 234 w 1108"/>
                <a:gd name="T37" fmla="*/ 152 h 1370"/>
                <a:gd name="T38" fmla="*/ 252 w 1108"/>
                <a:gd name="T39" fmla="*/ 124 h 1370"/>
                <a:gd name="T40" fmla="*/ 282 w 1108"/>
                <a:gd name="T41" fmla="*/ 72 h 1370"/>
                <a:gd name="T42" fmla="*/ 312 w 1108"/>
                <a:gd name="T43" fmla="*/ 26 h 1370"/>
                <a:gd name="T44" fmla="*/ 330 w 1108"/>
                <a:gd name="T45" fmla="*/ 10 h 1370"/>
                <a:gd name="T46" fmla="*/ 350 w 1108"/>
                <a:gd name="T47" fmla="*/ 0 h 1370"/>
                <a:gd name="T48" fmla="*/ 372 w 1108"/>
                <a:gd name="T49" fmla="*/ 0 h 1370"/>
                <a:gd name="T50" fmla="*/ 444 w 1108"/>
                <a:gd name="T51" fmla="*/ 8 h 1370"/>
                <a:gd name="T52" fmla="*/ 458 w 1108"/>
                <a:gd name="T53" fmla="*/ 14 h 1370"/>
                <a:gd name="T54" fmla="*/ 512 w 1108"/>
                <a:gd name="T55" fmla="*/ 52 h 1370"/>
                <a:gd name="T56" fmla="*/ 640 w 1108"/>
                <a:gd name="T57" fmla="*/ 160 h 1370"/>
                <a:gd name="T58" fmla="*/ 852 w 1108"/>
                <a:gd name="T59" fmla="*/ 356 h 1370"/>
                <a:gd name="T60" fmla="*/ 1000 w 1108"/>
                <a:gd name="T61" fmla="*/ 506 h 1370"/>
                <a:gd name="T62" fmla="*/ 1078 w 1108"/>
                <a:gd name="T63" fmla="*/ 592 h 1370"/>
                <a:gd name="T64" fmla="*/ 1108 w 1108"/>
                <a:gd name="T65" fmla="*/ 630 h 1370"/>
                <a:gd name="T66" fmla="*/ 1078 w 1108"/>
                <a:gd name="T67" fmla="*/ 622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8" h="1370">
                  <a:moveTo>
                    <a:pt x="1078" y="622"/>
                  </a:moveTo>
                  <a:lnTo>
                    <a:pt x="1006" y="612"/>
                  </a:lnTo>
                  <a:lnTo>
                    <a:pt x="1006" y="612"/>
                  </a:lnTo>
                  <a:lnTo>
                    <a:pt x="988" y="612"/>
                  </a:lnTo>
                  <a:lnTo>
                    <a:pt x="968" y="616"/>
                  </a:lnTo>
                  <a:lnTo>
                    <a:pt x="950" y="622"/>
                  </a:lnTo>
                  <a:lnTo>
                    <a:pt x="932" y="632"/>
                  </a:lnTo>
                  <a:lnTo>
                    <a:pt x="916" y="646"/>
                  </a:lnTo>
                  <a:lnTo>
                    <a:pt x="902" y="662"/>
                  </a:lnTo>
                  <a:lnTo>
                    <a:pt x="888" y="680"/>
                  </a:lnTo>
                  <a:lnTo>
                    <a:pt x="876" y="700"/>
                  </a:lnTo>
                  <a:lnTo>
                    <a:pt x="876" y="700"/>
                  </a:lnTo>
                  <a:lnTo>
                    <a:pt x="858" y="740"/>
                  </a:lnTo>
                  <a:lnTo>
                    <a:pt x="826" y="814"/>
                  </a:lnTo>
                  <a:lnTo>
                    <a:pt x="738" y="1024"/>
                  </a:lnTo>
                  <a:lnTo>
                    <a:pt x="620" y="1318"/>
                  </a:lnTo>
                  <a:lnTo>
                    <a:pt x="620" y="1318"/>
                  </a:lnTo>
                  <a:lnTo>
                    <a:pt x="618" y="1330"/>
                  </a:lnTo>
                  <a:lnTo>
                    <a:pt x="614" y="1338"/>
                  </a:lnTo>
                  <a:lnTo>
                    <a:pt x="610" y="1346"/>
                  </a:lnTo>
                  <a:lnTo>
                    <a:pt x="610" y="1350"/>
                  </a:lnTo>
                  <a:lnTo>
                    <a:pt x="608" y="1354"/>
                  </a:lnTo>
                  <a:lnTo>
                    <a:pt x="612" y="1370"/>
                  </a:lnTo>
                  <a:lnTo>
                    <a:pt x="612" y="1370"/>
                  </a:lnTo>
                  <a:lnTo>
                    <a:pt x="550" y="1310"/>
                  </a:lnTo>
                  <a:lnTo>
                    <a:pt x="472" y="1238"/>
                  </a:lnTo>
                  <a:lnTo>
                    <a:pt x="302" y="1082"/>
                  </a:lnTo>
                  <a:lnTo>
                    <a:pt x="98" y="896"/>
                  </a:lnTo>
                  <a:lnTo>
                    <a:pt x="98" y="896"/>
                  </a:lnTo>
                  <a:lnTo>
                    <a:pt x="56" y="844"/>
                  </a:lnTo>
                  <a:lnTo>
                    <a:pt x="38" y="820"/>
                  </a:lnTo>
                  <a:lnTo>
                    <a:pt x="22" y="798"/>
                  </a:lnTo>
                  <a:lnTo>
                    <a:pt x="10" y="774"/>
                  </a:lnTo>
                  <a:lnTo>
                    <a:pt x="4" y="748"/>
                  </a:lnTo>
                  <a:lnTo>
                    <a:pt x="2" y="734"/>
                  </a:lnTo>
                  <a:lnTo>
                    <a:pt x="0" y="718"/>
                  </a:lnTo>
                  <a:lnTo>
                    <a:pt x="2" y="686"/>
                  </a:lnTo>
                  <a:lnTo>
                    <a:pt x="234" y="152"/>
                  </a:lnTo>
                  <a:lnTo>
                    <a:pt x="234" y="152"/>
                  </a:lnTo>
                  <a:lnTo>
                    <a:pt x="252" y="124"/>
                  </a:lnTo>
                  <a:lnTo>
                    <a:pt x="266" y="98"/>
                  </a:lnTo>
                  <a:lnTo>
                    <a:pt x="282" y="72"/>
                  </a:lnTo>
                  <a:lnTo>
                    <a:pt x="296" y="46"/>
                  </a:lnTo>
                  <a:lnTo>
                    <a:pt x="312" y="26"/>
                  </a:lnTo>
                  <a:lnTo>
                    <a:pt x="320" y="18"/>
                  </a:lnTo>
                  <a:lnTo>
                    <a:pt x="330" y="10"/>
                  </a:lnTo>
                  <a:lnTo>
                    <a:pt x="340" y="4"/>
                  </a:lnTo>
                  <a:lnTo>
                    <a:pt x="350" y="0"/>
                  </a:lnTo>
                  <a:lnTo>
                    <a:pt x="360" y="0"/>
                  </a:lnTo>
                  <a:lnTo>
                    <a:pt x="372" y="0"/>
                  </a:lnTo>
                  <a:lnTo>
                    <a:pt x="444" y="8"/>
                  </a:lnTo>
                  <a:lnTo>
                    <a:pt x="444" y="8"/>
                  </a:lnTo>
                  <a:lnTo>
                    <a:pt x="450" y="10"/>
                  </a:lnTo>
                  <a:lnTo>
                    <a:pt x="458" y="14"/>
                  </a:lnTo>
                  <a:lnTo>
                    <a:pt x="482" y="30"/>
                  </a:lnTo>
                  <a:lnTo>
                    <a:pt x="512" y="52"/>
                  </a:lnTo>
                  <a:lnTo>
                    <a:pt x="550" y="82"/>
                  </a:lnTo>
                  <a:lnTo>
                    <a:pt x="640" y="160"/>
                  </a:lnTo>
                  <a:lnTo>
                    <a:pt x="744" y="254"/>
                  </a:lnTo>
                  <a:lnTo>
                    <a:pt x="852" y="356"/>
                  </a:lnTo>
                  <a:lnTo>
                    <a:pt x="954" y="458"/>
                  </a:lnTo>
                  <a:lnTo>
                    <a:pt x="1000" y="506"/>
                  </a:lnTo>
                  <a:lnTo>
                    <a:pt x="1042" y="552"/>
                  </a:lnTo>
                  <a:lnTo>
                    <a:pt x="1078" y="592"/>
                  </a:lnTo>
                  <a:lnTo>
                    <a:pt x="1108" y="630"/>
                  </a:lnTo>
                  <a:lnTo>
                    <a:pt x="1108" y="630"/>
                  </a:lnTo>
                  <a:lnTo>
                    <a:pt x="1094" y="624"/>
                  </a:lnTo>
                  <a:lnTo>
                    <a:pt x="1078" y="622"/>
                  </a:lnTo>
                  <a:lnTo>
                    <a:pt x="1078" y="622"/>
                  </a:lnTo>
                  <a:close/>
                </a:path>
              </a:pathLst>
            </a:custGeom>
            <a:grpFill/>
            <a:ln w="19050">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2" name="Freeform 43"/>
            <p:cNvSpPr>
              <a:spLocks/>
            </p:cNvSpPr>
            <p:nvPr/>
          </p:nvSpPr>
          <p:spPr bwMode="auto">
            <a:xfrm>
              <a:off x="-666121" y="3848090"/>
              <a:ext cx="481363" cy="533609"/>
            </a:xfrm>
            <a:custGeom>
              <a:avLst/>
              <a:gdLst>
                <a:gd name="T0" fmla="*/ 1520 w 1640"/>
                <a:gd name="T1" fmla="*/ 0 h 1818"/>
                <a:gd name="T2" fmla="*/ 72 w 1640"/>
                <a:gd name="T3" fmla="*/ 0 h 1818"/>
                <a:gd name="T4" fmla="*/ 72 w 1640"/>
                <a:gd name="T5" fmla="*/ 0 h 1818"/>
                <a:gd name="T6" fmla="*/ 62 w 1640"/>
                <a:gd name="T7" fmla="*/ 0 h 1818"/>
                <a:gd name="T8" fmla="*/ 52 w 1640"/>
                <a:gd name="T9" fmla="*/ 2 h 1818"/>
                <a:gd name="T10" fmla="*/ 34 w 1640"/>
                <a:gd name="T11" fmla="*/ 10 h 1818"/>
                <a:gd name="T12" fmla="*/ 16 w 1640"/>
                <a:gd name="T13" fmla="*/ 20 h 1818"/>
                <a:gd name="T14" fmla="*/ 0 w 1640"/>
                <a:gd name="T15" fmla="*/ 36 h 1818"/>
                <a:gd name="T16" fmla="*/ 0 w 1640"/>
                <a:gd name="T17" fmla="*/ 36 h 1818"/>
                <a:gd name="T18" fmla="*/ 12 w 1640"/>
                <a:gd name="T19" fmla="*/ 38 h 1818"/>
                <a:gd name="T20" fmla="*/ 26 w 1640"/>
                <a:gd name="T21" fmla="*/ 48 h 1818"/>
                <a:gd name="T22" fmla="*/ 38 w 1640"/>
                <a:gd name="T23" fmla="*/ 60 h 1818"/>
                <a:gd name="T24" fmla="*/ 52 w 1640"/>
                <a:gd name="T25" fmla="*/ 78 h 1818"/>
                <a:gd name="T26" fmla="*/ 52 w 1640"/>
                <a:gd name="T27" fmla="*/ 78 h 1818"/>
                <a:gd name="T28" fmla="*/ 66 w 1640"/>
                <a:gd name="T29" fmla="*/ 92 h 1818"/>
                <a:gd name="T30" fmla="*/ 74 w 1640"/>
                <a:gd name="T31" fmla="*/ 104 h 1818"/>
                <a:gd name="T32" fmla="*/ 84 w 1640"/>
                <a:gd name="T33" fmla="*/ 120 h 1818"/>
                <a:gd name="T34" fmla="*/ 94 w 1640"/>
                <a:gd name="T35" fmla="*/ 140 h 1818"/>
                <a:gd name="T36" fmla="*/ 100 w 1640"/>
                <a:gd name="T37" fmla="*/ 164 h 1818"/>
                <a:gd name="T38" fmla="*/ 106 w 1640"/>
                <a:gd name="T39" fmla="*/ 192 h 1818"/>
                <a:gd name="T40" fmla="*/ 108 w 1640"/>
                <a:gd name="T41" fmla="*/ 224 h 1818"/>
                <a:gd name="T42" fmla="*/ 108 w 1640"/>
                <a:gd name="T43" fmla="*/ 1818 h 1818"/>
                <a:gd name="T44" fmla="*/ 242 w 1640"/>
                <a:gd name="T45" fmla="*/ 1818 h 1818"/>
                <a:gd name="T46" fmla="*/ 332 w 1640"/>
                <a:gd name="T47" fmla="*/ 1714 h 1818"/>
                <a:gd name="T48" fmla="*/ 1382 w 1640"/>
                <a:gd name="T49" fmla="*/ 1714 h 1818"/>
                <a:gd name="T50" fmla="*/ 1442 w 1640"/>
                <a:gd name="T51" fmla="*/ 1818 h 1818"/>
                <a:gd name="T52" fmla="*/ 1556 w 1640"/>
                <a:gd name="T53" fmla="*/ 1818 h 1818"/>
                <a:gd name="T54" fmla="*/ 1556 w 1640"/>
                <a:gd name="T55" fmla="*/ 1818 h 1818"/>
                <a:gd name="T56" fmla="*/ 1562 w 1640"/>
                <a:gd name="T57" fmla="*/ 1816 h 1818"/>
                <a:gd name="T58" fmla="*/ 1568 w 1640"/>
                <a:gd name="T59" fmla="*/ 1814 h 1818"/>
                <a:gd name="T60" fmla="*/ 1578 w 1640"/>
                <a:gd name="T61" fmla="*/ 1808 h 1818"/>
                <a:gd name="T62" fmla="*/ 1588 w 1640"/>
                <a:gd name="T63" fmla="*/ 1796 h 1818"/>
                <a:gd name="T64" fmla="*/ 1596 w 1640"/>
                <a:gd name="T65" fmla="*/ 1780 h 1818"/>
                <a:gd name="T66" fmla="*/ 1604 w 1640"/>
                <a:gd name="T67" fmla="*/ 1762 h 1818"/>
                <a:gd name="T68" fmla="*/ 1612 w 1640"/>
                <a:gd name="T69" fmla="*/ 1740 h 1818"/>
                <a:gd name="T70" fmla="*/ 1618 w 1640"/>
                <a:gd name="T71" fmla="*/ 1716 h 1818"/>
                <a:gd name="T72" fmla="*/ 1622 w 1640"/>
                <a:gd name="T73" fmla="*/ 1690 h 1818"/>
                <a:gd name="T74" fmla="*/ 1630 w 1640"/>
                <a:gd name="T75" fmla="*/ 1638 h 1818"/>
                <a:gd name="T76" fmla="*/ 1636 w 1640"/>
                <a:gd name="T77" fmla="*/ 1584 h 1818"/>
                <a:gd name="T78" fmla="*/ 1638 w 1640"/>
                <a:gd name="T79" fmla="*/ 1536 h 1818"/>
                <a:gd name="T80" fmla="*/ 1640 w 1640"/>
                <a:gd name="T81" fmla="*/ 1494 h 1818"/>
                <a:gd name="T82" fmla="*/ 1640 w 1640"/>
                <a:gd name="T83" fmla="*/ 168 h 1818"/>
                <a:gd name="T84" fmla="*/ 1640 w 1640"/>
                <a:gd name="T85" fmla="*/ 168 h 1818"/>
                <a:gd name="T86" fmla="*/ 1638 w 1640"/>
                <a:gd name="T87" fmla="*/ 150 h 1818"/>
                <a:gd name="T88" fmla="*/ 1636 w 1640"/>
                <a:gd name="T89" fmla="*/ 134 h 1818"/>
                <a:gd name="T90" fmla="*/ 1634 w 1640"/>
                <a:gd name="T91" fmla="*/ 118 h 1818"/>
                <a:gd name="T92" fmla="*/ 1630 w 1640"/>
                <a:gd name="T93" fmla="*/ 102 h 1818"/>
                <a:gd name="T94" fmla="*/ 1618 w 1640"/>
                <a:gd name="T95" fmla="*/ 74 h 1818"/>
                <a:gd name="T96" fmla="*/ 1612 w 1640"/>
                <a:gd name="T97" fmla="*/ 62 h 1818"/>
                <a:gd name="T98" fmla="*/ 1604 w 1640"/>
                <a:gd name="T99" fmla="*/ 50 h 1818"/>
                <a:gd name="T100" fmla="*/ 1596 w 1640"/>
                <a:gd name="T101" fmla="*/ 38 h 1818"/>
                <a:gd name="T102" fmla="*/ 1586 w 1640"/>
                <a:gd name="T103" fmla="*/ 28 h 1818"/>
                <a:gd name="T104" fmla="*/ 1576 w 1640"/>
                <a:gd name="T105" fmla="*/ 20 h 1818"/>
                <a:gd name="T106" fmla="*/ 1566 w 1640"/>
                <a:gd name="T107" fmla="*/ 14 h 1818"/>
                <a:gd name="T108" fmla="*/ 1556 w 1640"/>
                <a:gd name="T109" fmla="*/ 8 h 1818"/>
                <a:gd name="T110" fmla="*/ 1544 w 1640"/>
                <a:gd name="T111" fmla="*/ 4 h 1818"/>
                <a:gd name="T112" fmla="*/ 1532 w 1640"/>
                <a:gd name="T113" fmla="*/ 0 h 1818"/>
                <a:gd name="T114" fmla="*/ 1520 w 1640"/>
                <a:gd name="T115" fmla="*/ 0 h 1818"/>
                <a:gd name="T116" fmla="*/ 1520 w 1640"/>
                <a:gd name="T117" fmla="*/ 0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0" h="1818">
                  <a:moveTo>
                    <a:pt x="1520" y="0"/>
                  </a:moveTo>
                  <a:lnTo>
                    <a:pt x="72" y="0"/>
                  </a:lnTo>
                  <a:lnTo>
                    <a:pt x="72" y="0"/>
                  </a:lnTo>
                  <a:lnTo>
                    <a:pt x="62" y="0"/>
                  </a:lnTo>
                  <a:lnTo>
                    <a:pt x="52" y="2"/>
                  </a:lnTo>
                  <a:lnTo>
                    <a:pt x="34" y="10"/>
                  </a:lnTo>
                  <a:lnTo>
                    <a:pt x="16" y="20"/>
                  </a:lnTo>
                  <a:lnTo>
                    <a:pt x="0" y="36"/>
                  </a:lnTo>
                  <a:lnTo>
                    <a:pt x="0" y="36"/>
                  </a:lnTo>
                  <a:lnTo>
                    <a:pt x="12" y="38"/>
                  </a:lnTo>
                  <a:lnTo>
                    <a:pt x="26" y="48"/>
                  </a:lnTo>
                  <a:lnTo>
                    <a:pt x="38" y="60"/>
                  </a:lnTo>
                  <a:lnTo>
                    <a:pt x="52" y="78"/>
                  </a:lnTo>
                  <a:lnTo>
                    <a:pt x="52" y="78"/>
                  </a:lnTo>
                  <a:lnTo>
                    <a:pt x="66" y="92"/>
                  </a:lnTo>
                  <a:lnTo>
                    <a:pt x="74" y="104"/>
                  </a:lnTo>
                  <a:lnTo>
                    <a:pt x="84" y="120"/>
                  </a:lnTo>
                  <a:lnTo>
                    <a:pt x="94" y="140"/>
                  </a:lnTo>
                  <a:lnTo>
                    <a:pt x="100" y="164"/>
                  </a:lnTo>
                  <a:lnTo>
                    <a:pt x="106" y="192"/>
                  </a:lnTo>
                  <a:lnTo>
                    <a:pt x="108" y="224"/>
                  </a:lnTo>
                  <a:lnTo>
                    <a:pt x="108" y="1818"/>
                  </a:lnTo>
                  <a:lnTo>
                    <a:pt x="242" y="1818"/>
                  </a:lnTo>
                  <a:lnTo>
                    <a:pt x="332" y="1714"/>
                  </a:lnTo>
                  <a:lnTo>
                    <a:pt x="1382" y="1714"/>
                  </a:lnTo>
                  <a:lnTo>
                    <a:pt x="1442" y="1818"/>
                  </a:lnTo>
                  <a:lnTo>
                    <a:pt x="1556" y="1818"/>
                  </a:lnTo>
                  <a:lnTo>
                    <a:pt x="1556" y="1818"/>
                  </a:lnTo>
                  <a:lnTo>
                    <a:pt x="1562" y="1816"/>
                  </a:lnTo>
                  <a:lnTo>
                    <a:pt x="1568" y="1814"/>
                  </a:lnTo>
                  <a:lnTo>
                    <a:pt x="1578" y="1808"/>
                  </a:lnTo>
                  <a:lnTo>
                    <a:pt x="1588" y="1796"/>
                  </a:lnTo>
                  <a:lnTo>
                    <a:pt x="1596" y="1780"/>
                  </a:lnTo>
                  <a:lnTo>
                    <a:pt x="1604" y="1762"/>
                  </a:lnTo>
                  <a:lnTo>
                    <a:pt x="1612" y="1740"/>
                  </a:lnTo>
                  <a:lnTo>
                    <a:pt x="1618" y="1716"/>
                  </a:lnTo>
                  <a:lnTo>
                    <a:pt x="1622" y="1690"/>
                  </a:lnTo>
                  <a:lnTo>
                    <a:pt x="1630" y="1638"/>
                  </a:lnTo>
                  <a:lnTo>
                    <a:pt x="1636" y="1584"/>
                  </a:lnTo>
                  <a:lnTo>
                    <a:pt x="1638" y="1536"/>
                  </a:lnTo>
                  <a:lnTo>
                    <a:pt x="1640" y="1494"/>
                  </a:lnTo>
                  <a:lnTo>
                    <a:pt x="1640" y="168"/>
                  </a:lnTo>
                  <a:lnTo>
                    <a:pt x="1640" y="168"/>
                  </a:lnTo>
                  <a:lnTo>
                    <a:pt x="1638" y="150"/>
                  </a:lnTo>
                  <a:lnTo>
                    <a:pt x="1636" y="134"/>
                  </a:lnTo>
                  <a:lnTo>
                    <a:pt x="1634" y="118"/>
                  </a:lnTo>
                  <a:lnTo>
                    <a:pt x="1630" y="102"/>
                  </a:lnTo>
                  <a:lnTo>
                    <a:pt x="1618" y="74"/>
                  </a:lnTo>
                  <a:lnTo>
                    <a:pt x="1612" y="62"/>
                  </a:lnTo>
                  <a:lnTo>
                    <a:pt x="1604" y="50"/>
                  </a:lnTo>
                  <a:lnTo>
                    <a:pt x="1596" y="38"/>
                  </a:lnTo>
                  <a:lnTo>
                    <a:pt x="1586" y="28"/>
                  </a:lnTo>
                  <a:lnTo>
                    <a:pt x="1576" y="20"/>
                  </a:lnTo>
                  <a:lnTo>
                    <a:pt x="1566" y="14"/>
                  </a:lnTo>
                  <a:lnTo>
                    <a:pt x="1556" y="8"/>
                  </a:lnTo>
                  <a:lnTo>
                    <a:pt x="1544" y="4"/>
                  </a:lnTo>
                  <a:lnTo>
                    <a:pt x="1532" y="0"/>
                  </a:lnTo>
                  <a:lnTo>
                    <a:pt x="1520" y="0"/>
                  </a:lnTo>
                  <a:lnTo>
                    <a:pt x="1520" y="0"/>
                  </a:lnTo>
                  <a:close/>
                </a:path>
              </a:pathLst>
            </a:custGeom>
            <a:grpFill/>
            <a:ln w="19050">
              <a:solidFill>
                <a:schemeClr val="accent6">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3" name="Freeform 44"/>
            <p:cNvSpPr>
              <a:spLocks/>
            </p:cNvSpPr>
            <p:nvPr/>
          </p:nvSpPr>
          <p:spPr bwMode="auto">
            <a:xfrm>
              <a:off x="-676101" y="3863940"/>
              <a:ext cx="37570" cy="518933"/>
            </a:xfrm>
            <a:custGeom>
              <a:avLst/>
              <a:gdLst>
                <a:gd name="T0" fmla="*/ 76 w 128"/>
                <a:gd name="T1" fmla="*/ 40 h 1768"/>
                <a:gd name="T2" fmla="*/ 76 w 128"/>
                <a:gd name="T3" fmla="*/ 40 h 1768"/>
                <a:gd name="T4" fmla="*/ 62 w 128"/>
                <a:gd name="T5" fmla="*/ 20 h 1768"/>
                <a:gd name="T6" fmla="*/ 54 w 128"/>
                <a:gd name="T7" fmla="*/ 12 h 1768"/>
                <a:gd name="T8" fmla="*/ 46 w 128"/>
                <a:gd name="T9" fmla="*/ 6 h 1768"/>
                <a:gd name="T10" fmla="*/ 40 w 128"/>
                <a:gd name="T11" fmla="*/ 2 h 1768"/>
                <a:gd name="T12" fmla="*/ 34 w 128"/>
                <a:gd name="T13" fmla="*/ 0 h 1768"/>
                <a:gd name="T14" fmla="*/ 28 w 128"/>
                <a:gd name="T15" fmla="*/ 0 h 1768"/>
                <a:gd name="T16" fmla="*/ 22 w 128"/>
                <a:gd name="T17" fmla="*/ 2 h 1768"/>
                <a:gd name="T18" fmla="*/ 18 w 128"/>
                <a:gd name="T19" fmla="*/ 6 h 1768"/>
                <a:gd name="T20" fmla="*/ 12 w 128"/>
                <a:gd name="T21" fmla="*/ 12 h 1768"/>
                <a:gd name="T22" fmla="*/ 10 w 128"/>
                <a:gd name="T23" fmla="*/ 20 h 1768"/>
                <a:gd name="T24" fmla="*/ 6 w 128"/>
                <a:gd name="T25" fmla="*/ 30 h 1768"/>
                <a:gd name="T26" fmla="*/ 2 w 128"/>
                <a:gd name="T27" fmla="*/ 54 h 1768"/>
                <a:gd name="T28" fmla="*/ 0 w 128"/>
                <a:gd name="T29" fmla="*/ 86 h 1768"/>
                <a:gd name="T30" fmla="*/ 0 w 128"/>
                <a:gd name="T31" fmla="*/ 1542 h 1768"/>
                <a:gd name="T32" fmla="*/ 0 w 128"/>
                <a:gd name="T33" fmla="*/ 1542 h 1768"/>
                <a:gd name="T34" fmla="*/ 0 w 128"/>
                <a:gd name="T35" fmla="*/ 1560 h 1768"/>
                <a:gd name="T36" fmla="*/ 4 w 128"/>
                <a:gd name="T37" fmla="*/ 1576 h 1768"/>
                <a:gd name="T38" fmla="*/ 8 w 128"/>
                <a:gd name="T39" fmla="*/ 1592 h 1768"/>
                <a:gd name="T40" fmla="*/ 14 w 128"/>
                <a:gd name="T41" fmla="*/ 1608 h 1768"/>
                <a:gd name="T42" fmla="*/ 28 w 128"/>
                <a:gd name="T43" fmla="*/ 1638 h 1768"/>
                <a:gd name="T44" fmla="*/ 46 w 128"/>
                <a:gd name="T45" fmla="*/ 1666 h 1768"/>
                <a:gd name="T46" fmla="*/ 66 w 128"/>
                <a:gd name="T47" fmla="*/ 1694 h 1768"/>
                <a:gd name="T48" fmla="*/ 88 w 128"/>
                <a:gd name="T49" fmla="*/ 1720 h 1768"/>
                <a:gd name="T50" fmla="*/ 110 w 128"/>
                <a:gd name="T51" fmla="*/ 1744 h 1768"/>
                <a:gd name="T52" fmla="*/ 128 w 128"/>
                <a:gd name="T53" fmla="*/ 1768 h 1768"/>
                <a:gd name="T54" fmla="*/ 128 w 128"/>
                <a:gd name="T55" fmla="*/ 170 h 1768"/>
                <a:gd name="T56" fmla="*/ 128 w 128"/>
                <a:gd name="T57" fmla="*/ 170 h 1768"/>
                <a:gd name="T58" fmla="*/ 126 w 128"/>
                <a:gd name="T59" fmla="*/ 138 h 1768"/>
                <a:gd name="T60" fmla="*/ 120 w 128"/>
                <a:gd name="T61" fmla="*/ 110 h 1768"/>
                <a:gd name="T62" fmla="*/ 112 w 128"/>
                <a:gd name="T63" fmla="*/ 88 h 1768"/>
                <a:gd name="T64" fmla="*/ 102 w 128"/>
                <a:gd name="T65" fmla="*/ 70 h 1768"/>
                <a:gd name="T66" fmla="*/ 92 w 128"/>
                <a:gd name="T67" fmla="*/ 58 h 1768"/>
                <a:gd name="T68" fmla="*/ 84 w 128"/>
                <a:gd name="T69" fmla="*/ 48 h 1768"/>
                <a:gd name="T70" fmla="*/ 76 w 128"/>
                <a:gd name="T71" fmla="*/ 40 h 1768"/>
                <a:gd name="T72" fmla="*/ 76 w 128"/>
                <a:gd name="T73" fmla="*/ 40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8">
                  <a:moveTo>
                    <a:pt x="76" y="40"/>
                  </a:moveTo>
                  <a:lnTo>
                    <a:pt x="76" y="40"/>
                  </a:lnTo>
                  <a:lnTo>
                    <a:pt x="62" y="20"/>
                  </a:lnTo>
                  <a:lnTo>
                    <a:pt x="54" y="12"/>
                  </a:lnTo>
                  <a:lnTo>
                    <a:pt x="46" y="6"/>
                  </a:lnTo>
                  <a:lnTo>
                    <a:pt x="40" y="2"/>
                  </a:lnTo>
                  <a:lnTo>
                    <a:pt x="34" y="0"/>
                  </a:lnTo>
                  <a:lnTo>
                    <a:pt x="28" y="0"/>
                  </a:lnTo>
                  <a:lnTo>
                    <a:pt x="22" y="2"/>
                  </a:lnTo>
                  <a:lnTo>
                    <a:pt x="18" y="6"/>
                  </a:lnTo>
                  <a:lnTo>
                    <a:pt x="12" y="12"/>
                  </a:lnTo>
                  <a:lnTo>
                    <a:pt x="10" y="20"/>
                  </a:lnTo>
                  <a:lnTo>
                    <a:pt x="6" y="30"/>
                  </a:lnTo>
                  <a:lnTo>
                    <a:pt x="2" y="54"/>
                  </a:lnTo>
                  <a:lnTo>
                    <a:pt x="0" y="86"/>
                  </a:lnTo>
                  <a:lnTo>
                    <a:pt x="0" y="1542"/>
                  </a:lnTo>
                  <a:lnTo>
                    <a:pt x="0" y="1542"/>
                  </a:lnTo>
                  <a:lnTo>
                    <a:pt x="0" y="1560"/>
                  </a:lnTo>
                  <a:lnTo>
                    <a:pt x="4" y="1576"/>
                  </a:lnTo>
                  <a:lnTo>
                    <a:pt x="8" y="1592"/>
                  </a:lnTo>
                  <a:lnTo>
                    <a:pt x="14" y="1608"/>
                  </a:lnTo>
                  <a:lnTo>
                    <a:pt x="28" y="1638"/>
                  </a:lnTo>
                  <a:lnTo>
                    <a:pt x="46" y="1666"/>
                  </a:lnTo>
                  <a:lnTo>
                    <a:pt x="66" y="1694"/>
                  </a:lnTo>
                  <a:lnTo>
                    <a:pt x="88" y="1720"/>
                  </a:lnTo>
                  <a:lnTo>
                    <a:pt x="110" y="1744"/>
                  </a:lnTo>
                  <a:lnTo>
                    <a:pt x="128" y="1768"/>
                  </a:lnTo>
                  <a:lnTo>
                    <a:pt x="128" y="170"/>
                  </a:lnTo>
                  <a:lnTo>
                    <a:pt x="128" y="170"/>
                  </a:lnTo>
                  <a:lnTo>
                    <a:pt x="126" y="138"/>
                  </a:lnTo>
                  <a:lnTo>
                    <a:pt x="120" y="110"/>
                  </a:lnTo>
                  <a:lnTo>
                    <a:pt x="112" y="88"/>
                  </a:lnTo>
                  <a:lnTo>
                    <a:pt x="102" y="70"/>
                  </a:lnTo>
                  <a:lnTo>
                    <a:pt x="92" y="58"/>
                  </a:lnTo>
                  <a:lnTo>
                    <a:pt x="84" y="48"/>
                  </a:lnTo>
                  <a:lnTo>
                    <a:pt x="76" y="40"/>
                  </a:lnTo>
                  <a:lnTo>
                    <a:pt x="76" y="40"/>
                  </a:lnTo>
                  <a:close/>
                </a:path>
              </a:pathLst>
            </a:custGeom>
            <a:grpFill/>
            <a:ln w="9525">
              <a:solidFill>
                <a:schemeClr val="accent6">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91" name="Group 1390"/>
          <p:cNvGrpSpPr/>
          <p:nvPr/>
        </p:nvGrpSpPr>
        <p:grpSpPr>
          <a:xfrm>
            <a:off x="8970986" y="3397715"/>
            <a:ext cx="871351" cy="954328"/>
            <a:chOff x="9442634" y="3602562"/>
            <a:chExt cx="871351" cy="954328"/>
          </a:xfrm>
        </p:grpSpPr>
        <p:sp>
          <p:nvSpPr>
            <p:cNvPr id="691" name="Parallelogram 690"/>
            <p:cNvSpPr/>
            <p:nvPr/>
          </p:nvSpPr>
          <p:spPr bwMode="auto">
            <a:xfrm rot="5400000">
              <a:off x="9401146" y="3644050"/>
              <a:ext cx="954328" cy="871351"/>
            </a:xfrm>
            <a:custGeom>
              <a:avLst/>
              <a:gdLst>
                <a:gd name="connsiteX0" fmla="*/ 0 w 954328"/>
                <a:gd name="connsiteY0" fmla="*/ 871351 h 871351"/>
                <a:gd name="connsiteX1" fmla="*/ 454845 w 954328"/>
                <a:gd name="connsiteY1" fmla="*/ 0 h 871351"/>
                <a:gd name="connsiteX2" fmla="*/ 954328 w 954328"/>
                <a:gd name="connsiteY2" fmla="*/ 0 h 871351"/>
                <a:gd name="connsiteX3" fmla="*/ 499483 w 954328"/>
                <a:gd name="connsiteY3" fmla="*/ 871351 h 871351"/>
                <a:gd name="connsiteX4" fmla="*/ 0 w 954328"/>
                <a:gd name="connsiteY4" fmla="*/ 871351 h 871351"/>
                <a:gd name="connsiteX0" fmla="*/ 0 w 954328"/>
                <a:gd name="connsiteY0" fmla="*/ 871351 h 871351"/>
                <a:gd name="connsiteX1" fmla="*/ 454845 w 954328"/>
                <a:gd name="connsiteY1" fmla="*/ 0 h 871351"/>
                <a:gd name="connsiteX2" fmla="*/ 954328 w 954328"/>
                <a:gd name="connsiteY2" fmla="*/ 0 h 871351"/>
                <a:gd name="connsiteX3" fmla="*/ 378906 w 954328"/>
                <a:gd name="connsiteY3" fmla="*/ 871351 h 871351"/>
                <a:gd name="connsiteX4" fmla="*/ 0 w 954328"/>
                <a:gd name="connsiteY4" fmla="*/ 871351 h 871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328" h="871351">
                  <a:moveTo>
                    <a:pt x="0" y="871351"/>
                  </a:moveTo>
                  <a:lnTo>
                    <a:pt x="454845" y="0"/>
                  </a:lnTo>
                  <a:lnTo>
                    <a:pt x="954328" y="0"/>
                  </a:lnTo>
                  <a:lnTo>
                    <a:pt x="378906" y="871351"/>
                  </a:lnTo>
                  <a:lnTo>
                    <a:pt x="0" y="871351"/>
                  </a:lnTo>
                  <a:close/>
                </a:path>
              </a:pathLst>
            </a:custGeom>
            <a:solidFill>
              <a:srgbClr val="003B46">
                <a:alpha val="44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2" name="Straight Connector 11"/>
            <p:cNvCxnSpPr/>
            <p:nvPr/>
          </p:nvCxnSpPr>
          <p:spPr>
            <a:xfrm>
              <a:off x="9869214" y="3809345"/>
              <a:ext cx="0" cy="459839"/>
            </a:xfrm>
            <a:prstGeom prst="line">
              <a:avLst/>
            </a:prstGeom>
            <a:ln>
              <a:solidFill>
                <a:srgbClr val="00749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9442634" y="3794002"/>
              <a:ext cx="865093" cy="511590"/>
            </a:xfrm>
            <a:prstGeom prst="line">
              <a:avLst/>
            </a:prstGeom>
            <a:ln>
              <a:solidFill>
                <a:srgbClr val="007491"/>
              </a:solidFill>
            </a:ln>
          </p:spPr>
          <p:style>
            <a:lnRef idx="1">
              <a:schemeClr val="accent1"/>
            </a:lnRef>
            <a:fillRef idx="0">
              <a:schemeClr val="accent1"/>
            </a:fillRef>
            <a:effectRef idx="0">
              <a:schemeClr val="accent1"/>
            </a:effectRef>
            <a:fontRef idx="minor">
              <a:schemeClr val="tx1"/>
            </a:fontRef>
          </p:style>
        </p:cxnSp>
      </p:grpSp>
      <p:sp>
        <p:nvSpPr>
          <p:cNvPr id="1202" name="Freeform 108"/>
          <p:cNvSpPr>
            <a:spLocks noEditPoints="1"/>
          </p:cNvSpPr>
          <p:nvPr/>
        </p:nvSpPr>
        <p:spPr bwMode="auto">
          <a:xfrm>
            <a:off x="748857" y="3841244"/>
            <a:ext cx="221256" cy="219946"/>
          </a:xfrm>
          <a:custGeom>
            <a:avLst/>
            <a:gdLst>
              <a:gd name="T0" fmla="*/ 146 w 842"/>
              <a:gd name="T1" fmla="*/ 1 h 840"/>
              <a:gd name="T2" fmla="*/ 86 w 842"/>
              <a:gd name="T3" fmla="*/ 20 h 840"/>
              <a:gd name="T4" fmla="*/ 38 w 842"/>
              <a:gd name="T5" fmla="*/ 59 h 840"/>
              <a:gd name="T6" fmla="*/ 8 w 842"/>
              <a:gd name="T7" fmla="*/ 115 h 840"/>
              <a:gd name="T8" fmla="*/ 0 w 842"/>
              <a:gd name="T9" fmla="*/ 334 h 840"/>
              <a:gd name="T10" fmla="*/ 4 w 842"/>
              <a:gd name="T11" fmla="*/ 711 h 840"/>
              <a:gd name="T12" fmla="*/ 29 w 842"/>
              <a:gd name="T13" fmla="*/ 770 h 840"/>
              <a:gd name="T14" fmla="*/ 72 w 842"/>
              <a:gd name="T15" fmla="*/ 813 h 840"/>
              <a:gd name="T16" fmla="*/ 131 w 842"/>
              <a:gd name="T17" fmla="*/ 838 h 840"/>
              <a:gd name="T18" fmla="*/ 679 w 842"/>
              <a:gd name="T19" fmla="*/ 840 h 840"/>
              <a:gd name="T20" fmla="*/ 742 w 842"/>
              <a:gd name="T21" fmla="*/ 828 h 840"/>
              <a:gd name="T22" fmla="*/ 794 w 842"/>
              <a:gd name="T23" fmla="*/ 793 h 840"/>
              <a:gd name="T24" fmla="*/ 829 w 842"/>
              <a:gd name="T25" fmla="*/ 742 h 840"/>
              <a:gd name="T26" fmla="*/ 842 w 842"/>
              <a:gd name="T27" fmla="*/ 679 h 840"/>
              <a:gd name="T28" fmla="*/ 841 w 842"/>
              <a:gd name="T29" fmla="*/ 146 h 840"/>
              <a:gd name="T30" fmla="*/ 822 w 842"/>
              <a:gd name="T31" fmla="*/ 85 h 840"/>
              <a:gd name="T32" fmla="*/ 782 w 842"/>
              <a:gd name="T33" fmla="*/ 37 h 840"/>
              <a:gd name="T34" fmla="*/ 727 w 842"/>
              <a:gd name="T35" fmla="*/ 7 h 840"/>
              <a:gd name="T36" fmla="*/ 726 w 842"/>
              <a:gd name="T37" fmla="*/ 97 h 840"/>
              <a:gd name="T38" fmla="*/ 602 w 842"/>
              <a:gd name="T39" fmla="*/ 240 h 840"/>
              <a:gd name="T40" fmla="*/ 301 w 842"/>
              <a:gd name="T41" fmla="*/ 334 h 840"/>
              <a:gd name="T42" fmla="*/ 353 w 842"/>
              <a:gd name="T43" fmla="*/ 290 h 840"/>
              <a:gd name="T44" fmla="*/ 422 w 842"/>
              <a:gd name="T45" fmla="*/ 273 h 840"/>
              <a:gd name="T46" fmla="*/ 474 w 842"/>
              <a:gd name="T47" fmla="*/ 282 h 840"/>
              <a:gd name="T48" fmla="*/ 530 w 842"/>
              <a:gd name="T49" fmla="*/ 321 h 840"/>
              <a:gd name="T50" fmla="*/ 553 w 842"/>
              <a:gd name="T51" fmla="*/ 354 h 840"/>
              <a:gd name="T52" fmla="*/ 568 w 842"/>
              <a:gd name="T53" fmla="*/ 397 h 840"/>
              <a:gd name="T54" fmla="*/ 569 w 842"/>
              <a:gd name="T55" fmla="*/ 436 h 840"/>
              <a:gd name="T56" fmla="*/ 551 w 842"/>
              <a:gd name="T57" fmla="*/ 491 h 840"/>
              <a:gd name="T58" fmla="*/ 516 w 842"/>
              <a:gd name="T59" fmla="*/ 535 h 840"/>
              <a:gd name="T60" fmla="*/ 465 w 842"/>
              <a:gd name="T61" fmla="*/ 562 h 840"/>
              <a:gd name="T62" fmla="*/ 422 w 842"/>
              <a:gd name="T63" fmla="*/ 568 h 840"/>
              <a:gd name="T64" fmla="*/ 364 w 842"/>
              <a:gd name="T65" fmla="*/ 557 h 840"/>
              <a:gd name="T66" fmla="*/ 317 w 842"/>
              <a:gd name="T67" fmla="*/ 525 h 840"/>
              <a:gd name="T68" fmla="*/ 285 w 842"/>
              <a:gd name="T69" fmla="*/ 478 h 840"/>
              <a:gd name="T70" fmla="*/ 274 w 842"/>
              <a:gd name="T71" fmla="*/ 420 h 840"/>
              <a:gd name="T72" fmla="*/ 278 w 842"/>
              <a:gd name="T73" fmla="*/ 386 h 840"/>
              <a:gd name="T74" fmla="*/ 295 w 842"/>
              <a:gd name="T75" fmla="*/ 344 h 840"/>
              <a:gd name="T76" fmla="*/ 759 w 842"/>
              <a:gd name="T77" fmla="*/ 687 h 840"/>
              <a:gd name="T78" fmla="*/ 750 w 842"/>
              <a:gd name="T79" fmla="*/ 717 h 840"/>
              <a:gd name="T80" fmla="*/ 730 w 842"/>
              <a:gd name="T81" fmla="*/ 741 h 840"/>
              <a:gd name="T82" fmla="*/ 703 w 842"/>
              <a:gd name="T83" fmla="*/ 755 h 840"/>
              <a:gd name="T84" fmla="*/ 163 w 842"/>
              <a:gd name="T85" fmla="*/ 759 h 840"/>
              <a:gd name="T86" fmla="*/ 140 w 842"/>
              <a:gd name="T87" fmla="*/ 755 h 840"/>
              <a:gd name="T88" fmla="*/ 112 w 842"/>
              <a:gd name="T89" fmla="*/ 741 h 840"/>
              <a:gd name="T90" fmla="*/ 92 w 842"/>
              <a:gd name="T91" fmla="*/ 717 h 840"/>
              <a:gd name="T92" fmla="*/ 83 w 842"/>
              <a:gd name="T93" fmla="*/ 687 h 840"/>
              <a:gd name="T94" fmla="*/ 208 w 842"/>
              <a:gd name="T95" fmla="*/ 334 h 840"/>
              <a:gd name="T96" fmla="*/ 192 w 842"/>
              <a:gd name="T97" fmla="*/ 420 h 840"/>
              <a:gd name="T98" fmla="*/ 202 w 842"/>
              <a:gd name="T99" fmla="*/ 489 h 840"/>
              <a:gd name="T100" fmla="*/ 244 w 842"/>
              <a:gd name="T101" fmla="*/ 567 h 840"/>
              <a:gd name="T102" fmla="*/ 312 w 842"/>
              <a:gd name="T103" fmla="*/ 623 h 840"/>
              <a:gd name="T104" fmla="*/ 397 w 842"/>
              <a:gd name="T105" fmla="*/ 649 h 840"/>
              <a:gd name="T106" fmla="*/ 467 w 842"/>
              <a:gd name="T107" fmla="*/ 646 h 840"/>
              <a:gd name="T108" fmla="*/ 550 w 842"/>
              <a:gd name="T109" fmla="*/ 612 h 840"/>
              <a:gd name="T110" fmla="*/ 612 w 842"/>
              <a:gd name="T111" fmla="*/ 550 h 840"/>
              <a:gd name="T112" fmla="*/ 646 w 842"/>
              <a:gd name="T113" fmla="*/ 467 h 840"/>
              <a:gd name="T114" fmla="*/ 650 w 842"/>
              <a:gd name="T115" fmla="*/ 398 h 840"/>
              <a:gd name="T116" fmla="*/ 760 w 842"/>
              <a:gd name="T117" fmla="*/ 334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2" h="840">
                <a:moveTo>
                  <a:pt x="679" y="0"/>
                </a:moveTo>
                <a:lnTo>
                  <a:pt x="163" y="0"/>
                </a:lnTo>
                <a:lnTo>
                  <a:pt x="163" y="0"/>
                </a:lnTo>
                <a:lnTo>
                  <a:pt x="146" y="1"/>
                </a:lnTo>
                <a:lnTo>
                  <a:pt x="131" y="3"/>
                </a:lnTo>
                <a:lnTo>
                  <a:pt x="115" y="7"/>
                </a:lnTo>
                <a:lnTo>
                  <a:pt x="100" y="13"/>
                </a:lnTo>
                <a:lnTo>
                  <a:pt x="86" y="20"/>
                </a:lnTo>
                <a:lnTo>
                  <a:pt x="72" y="27"/>
                </a:lnTo>
                <a:lnTo>
                  <a:pt x="60" y="37"/>
                </a:lnTo>
                <a:lnTo>
                  <a:pt x="49" y="47"/>
                </a:lnTo>
                <a:lnTo>
                  <a:pt x="38" y="59"/>
                </a:lnTo>
                <a:lnTo>
                  <a:pt x="29" y="72"/>
                </a:lnTo>
                <a:lnTo>
                  <a:pt x="20" y="85"/>
                </a:lnTo>
                <a:lnTo>
                  <a:pt x="14" y="99"/>
                </a:lnTo>
                <a:lnTo>
                  <a:pt x="8" y="115"/>
                </a:lnTo>
                <a:lnTo>
                  <a:pt x="4" y="130"/>
                </a:lnTo>
                <a:lnTo>
                  <a:pt x="2" y="146"/>
                </a:lnTo>
                <a:lnTo>
                  <a:pt x="0" y="162"/>
                </a:lnTo>
                <a:lnTo>
                  <a:pt x="0" y="334"/>
                </a:lnTo>
                <a:lnTo>
                  <a:pt x="0" y="679"/>
                </a:lnTo>
                <a:lnTo>
                  <a:pt x="0" y="679"/>
                </a:lnTo>
                <a:lnTo>
                  <a:pt x="2" y="696"/>
                </a:lnTo>
                <a:lnTo>
                  <a:pt x="4" y="711"/>
                </a:lnTo>
                <a:lnTo>
                  <a:pt x="8" y="727"/>
                </a:lnTo>
                <a:lnTo>
                  <a:pt x="14" y="742"/>
                </a:lnTo>
                <a:lnTo>
                  <a:pt x="20" y="756"/>
                </a:lnTo>
                <a:lnTo>
                  <a:pt x="29" y="770"/>
                </a:lnTo>
                <a:lnTo>
                  <a:pt x="38" y="782"/>
                </a:lnTo>
                <a:lnTo>
                  <a:pt x="49" y="793"/>
                </a:lnTo>
                <a:lnTo>
                  <a:pt x="60" y="804"/>
                </a:lnTo>
                <a:lnTo>
                  <a:pt x="72" y="813"/>
                </a:lnTo>
                <a:lnTo>
                  <a:pt x="86" y="822"/>
                </a:lnTo>
                <a:lnTo>
                  <a:pt x="100" y="828"/>
                </a:lnTo>
                <a:lnTo>
                  <a:pt x="115" y="834"/>
                </a:lnTo>
                <a:lnTo>
                  <a:pt x="131" y="838"/>
                </a:lnTo>
                <a:lnTo>
                  <a:pt x="146" y="840"/>
                </a:lnTo>
                <a:lnTo>
                  <a:pt x="163" y="840"/>
                </a:lnTo>
                <a:lnTo>
                  <a:pt x="679" y="840"/>
                </a:lnTo>
                <a:lnTo>
                  <a:pt x="679" y="840"/>
                </a:lnTo>
                <a:lnTo>
                  <a:pt x="696" y="840"/>
                </a:lnTo>
                <a:lnTo>
                  <a:pt x="711" y="838"/>
                </a:lnTo>
                <a:lnTo>
                  <a:pt x="727" y="834"/>
                </a:lnTo>
                <a:lnTo>
                  <a:pt x="742" y="828"/>
                </a:lnTo>
                <a:lnTo>
                  <a:pt x="757" y="822"/>
                </a:lnTo>
                <a:lnTo>
                  <a:pt x="770" y="813"/>
                </a:lnTo>
                <a:lnTo>
                  <a:pt x="782" y="804"/>
                </a:lnTo>
                <a:lnTo>
                  <a:pt x="794" y="793"/>
                </a:lnTo>
                <a:lnTo>
                  <a:pt x="804" y="782"/>
                </a:lnTo>
                <a:lnTo>
                  <a:pt x="814" y="770"/>
                </a:lnTo>
                <a:lnTo>
                  <a:pt x="822" y="756"/>
                </a:lnTo>
                <a:lnTo>
                  <a:pt x="829" y="742"/>
                </a:lnTo>
                <a:lnTo>
                  <a:pt x="834" y="727"/>
                </a:lnTo>
                <a:lnTo>
                  <a:pt x="839" y="711"/>
                </a:lnTo>
                <a:lnTo>
                  <a:pt x="841" y="696"/>
                </a:lnTo>
                <a:lnTo>
                  <a:pt x="842" y="679"/>
                </a:lnTo>
                <a:lnTo>
                  <a:pt x="842" y="334"/>
                </a:lnTo>
                <a:lnTo>
                  <a:pt x="842" y="162"/>
                </a:lnTo>
                <a:lnTo>
                  <a:pt x="842" y="162"/>
                </a:lnTo>
                <a:lnTo>
                  <a:pt x="841" y="146"/>
                </a:lnTo>
                <a:lnTo>
                  <a:pt x="839" y="130"/>
                </a:lnTo>
                <a:lnTo>
                  <a:pt x="834" y="115"/>
                </a:lnTo>
                <a:lnTo>
                  <a:pt x="829" y="99"/>
                </a:lnTo>
                <a:lnTo>
                  <a:pt x="822" y="85"/>
                </a:lnTo>
                <a:lnTo>
                  <a:pt x="814" y="72"/>
                </a:lnTo>
                <a:lnTo>
                  <a:pt x="804" y="59"/>
                </a:lnTo>
                <a:lnTo>
                  <a:pt x="794" y="47"/>
                </a:lnTo>
                <a:lnTo>
                  <a:pt x="782" y="37"/>
                </a:lnTo>
                <a:lnTo>
                  <a:pt x="770" y="27"/>
                </a:lnTo>
                <a:lnTo>
                  <a:pt x="757" y="20"/>
                </a:lnTo>
                <a:lnTo>
                  <a:pt x="742" y="13"/>
                </a:lnTo>
                <a:lnTo>
                  <a:pt x="727" y="7"/>
                </a:lnTo>
                <a:lnTo>
                  <a:pt x="711" y="3"/>
                </a:lnTo>
                <a:lnTo>
                  <a:pt x="696" y="1"/>
                </a:lnTo>
                <a:lnTo>
                  <a:pt x="679" y="0"/>
                </a:lnTo>
                <a:close/>
                <a:moveTo>
                  <a:pt x="726" y="97"/>
                </a:moveTo>
                <a:lnTo>
                  <a:pt x="745" y="97"/>
                </a:lnTo>
                <a:lnTo>
                  <a:pt x="745" y="116"/>
                </a:lnTo>
                <a:lnTo>
                  <a:pt x="745" y="240"/>
                </a:lnTo>
                <a:lnTo>
                  <a:pt x="602" y="240"/>
                </a:lnTo>
                <a:lnTo>
                  <a:pt x="602" y="97"/>
                </a:lnTo>
                <a:lnTo>
                  <a:pt x="726" y="97"/>
                </a:lnTo>
                <a:close/>
                <a:moveTo>
                  <a:pt x="301" y="334"/>
                </a:moveTo>
                <a:lnTo>
                  <a:pt x="301" y="334"/>
                </a:lnTo>
                <a:lnTo>
                  <a:pt x="312" y="321"/>
                </a:lnTo>
                <a:lnTo>
                  <a:pt x="324" y="308"/>
                </a:lnTo>
                <a:lnTo>
                  <a:pt x="338" y="298"/>
                </a:lnTo>
                <a:lnTo>
                  <a:pt x="353" y="290"/>
                </a:lnTo>
                <a:lnTo>
                  <a:pt x="369" y="282"/>
                </a:lnTo>
                <a:lnTo>
                  <a:pt x="385" y="277"/>
                </a:lnTo>
                <a:lnTo>
                  <a:pt x="403" y="274"/>
                </a:lnTo>
                <a:lnTo>
                  <a:pt x="422" y="273"/>
                </a:lnTo>
                <a:lnTo>
                  <a:pt x="422" y="273"/>
                </a:lnTo>
                <a:lnTo>
                  <a:pt x="439" y="274"/>
                </a:lnTo>
                <a:lnTo>
                  <a:pt x="457" y="277"/>
                </a:lnTo>
                <a:lnTo>
                  <a:pt x="474" y="282"/>
                </a:lnTo>
                <a:lnTo>
                  <a:pt x="489" y="290"/>
                </a:lnTo>
                <a:lnTo>
                  <a:pt x="505" y="298"/>
                </a:lnTo>
                <a:lnTo>
                  <a:pt x="518" y="308"/>
                </a:lnTo>
                <a:lnTo>
                  <a:pt x="530" y="321"/>
                </a:lnTo>
                <a:lnTo>
                  <a:pt x="541" y="334"/>
                </a:lnTo>
                <a:lnTo>
                  <a:pt x="541" y="334"/>
                </a:lnTo>
                <a:lnTo>
                  <a:pt x="548" y="344"/>
                </a:lnTo>
                <a:lnTo>
                  <a:pt x="553" y="354"/>
                </a:lnTo>
                <a:lnTo>
                  <a:pt x="558" y="364"/>
                </a:lnTo>
                <a:lnTo>
                  <a:pt x="562" y="375"/>
                </a:lnTo>
                <a:lnTo>
                  <a:pt x="565" y="386"/>
                </a:lnTo>
                <a:lnTo>
                  <a:pt x="568" y="397"/>
                </a:lnTo>
                <a:lnTo>
                  <a:pt x="569" y="409"/>
                </a:lnTo>
                <a:lnTo>
                  <a:pt x="569" y="420"/>
                </a:lnTo>
                <a:lnTo>
                  <a:pt x="569" y="420"/>
                </a:lnTo>
                <a:lnTo>
                  <a:pt x="569" y="436"/>
                </a:lnTo>
                <a:lnTo>
                  <a:pt x="567" y="450"/>
                </a:lnTo>
                <a:lnTo>
                  <a:pt x="562" y="464"/>
                </a:lnTo>
                <a:lnTo>
                  <a:pt x="558" y="478"/>
                </a:lnTo>
                <a:lnTo>
                  <a:pt x="551" y="491"/>
                </a:lnTo>
                <a:lnTo>
                  <a:pt x="543" y="503"/>
                </a:lnTo>
                <a:lnTo>
                  <a:pt x="536" y="514"/>
                </a:lnTo>
                <a:lnTo>
                  <a:pt x="526" y="525"/>
                </a:lnTo>
                <a:lnTo>
                  <a:pt x="516" y="535"/>
                </a:lnTo>
                <a:lnTo>
                  <a:pt x="504" y="543"/>
                </a:lnTo>
                <a:lnTo>
                  <a:pt x="491" y="551"/>
                </a:lnTo>
                <a:lnTo>
                  <a:pt x="479" y="557"/>
                </a:lnTo>
                <a:lnTo>
                  <a:pt x="465" y="562"/>
                </a:lnTo>
                <a:lnTo>
                  <a:pt x="450" y="565"/>
                </a:lnTo>
                <a:lnTo>
                  <a:pt x="436" y="567"/>
                </a:lnTo>
                <a:lnTo>
                  <a:pt x="422" y="568"/>
                </a:lnTo>
                <a:lnTo>
                  <a:pt x="422" y="568"/>
                </a:lnTo>
                <a:lnTo>
                  <a:pt x="406" y="567"/>
                </a:lnTo>
                <a:lnTo>
                  <a:pt x="392" y="565"/>
                </a:lnTo>
                <a:lnTo>
                  <a:pt x="378" y="562"/>
                </a:lnTo>
                <a:lnTo>
                  <a:pt x="364" y="557"/>
                </a:lnTo>
                <a:lnTo>
                  <a:pt x="351" y="551"/>
                </a:lnTo>
                <a:lnTo>
                  <a:pt x="339" y="543"/>
                </a:lnTo>
                <a:lnTo>
                  <a:pt x="327" y="535"/>
                </a:lnTo>
                <a:lnTo>
                  <a:pt x="317" y="525"/>
                </a:lnTo>
                <a:lnTo>
                  <a:pt x="307" y="514"/>
                </a:lnTo>
                <a:lnTo>
                  <a:pt x="299" y="503"/>
                </a:lnTo>
                <a:lnTo>
                  <a:pt x="291" y="491"/>
                </a:lnTo>
                <a:lnTo>
                  <a:pt x="285" y="478"/>
                </a:lnTo>
                <a:lnTo>
                  <a:pt x="280" y="464"/>
                </a:lnTo>
                <a:lnTo>
                  <a:pt x="276" y="450"/>
                </a:lnTo>
                <a:lnTo>
                  <a:pt x="274" y="436"/>
                </a:lnTo>
                <a:lnTo>
                  <a:pt x="274" y="420"/>
                </a:lnTo>
                <a:lnTo>
                  <a:pt x="274" y="420"/>
                </a:lnTo>
                <a:lnTo>
                  <a:pt x="274" y="409"/>
                </a:lnTo>
                <a:lnTo>
                  <a:pt x="275" y="397"/>
                </a:lnTo>
                <a:lnTo>
                  <a:pt x="278" y="386"/>
                </a:lnTo>
                <a:lnTo>
                  <a:pt x="280" y="375"/>
                </a:lnTo>
                <a:lnTo>
                  <a:pt x="285" y="364"/>
                </a:lnTo>
                <a:lnTo>
                  <a:pt x="289" y="354"/>
                </a:lnTo>
                <a:lnTo>
                  <a:pt x="295" y="344"/>
                </a:lnTo>
                <a:lnTo>
                  <a:pt x="301" y="334"/>
                </a:lnTo>
                <a:close/>
                <a:moveTo>
                  <a:pt x="760" y="679"/>
                </a:moveTo>
                <a:lnTo>
                  <a:pt x="760" y="679"/>
                </a:lnTo>
                <a:lnTo>
                  <a:pt x="759" y="687"/>
                </a:lnTo>
                <a:lnTo>
                  <a:pt x="758" y="694"/>
                </a:lnTo>
                <a:lnTo>
                  <a:pt x="756" y="702"/>
                </a:lnTo>
                <a:lnTo>
                  <a:pt x="753" y="710"/>
                </a:lnTo>
                <a:lnTo>
                  <a:pt x="750" y="717"/>
                </a:lnTo>
                <a:lnTo>
                  <a:pt x="746" y="723"/>
                </a:lnTo>
                <a:lnTo>
                  <a:pt x="741" y="730"/>
                </a:lnTo>
                <a:lnTo>
                  <a:pt x="736" y="735"/>
                </a:lnTo>
                <a:lnTo>
                  <a:pt x="730" y="741"/>
                </a:lnTo>
                <a:lnTo>
                  <a:pt x="724" y="745"/>
                </a:lnTo>
                <a:lnTo>
                  <a:pt x="717" y="750"/>
                </a:lnTo>
                <a:lnTo>
                  <a:pt x="710" y="753"/>
                </a:lnTo>
                <a:lnTo>
                  <a:pt x="703" y="755"/>
                </a:lnTo>
                <a:lnTo>
                  <a:pt x="695" y="758"/>
                </a:lnTo>
                <a:lnTo>
                  <a:pt x="687" y="759"/>
                </a:lnTo>
                <a:lnTo>
                  <a:pt x="679" y="759"/>
                </a:lnTo>
                <a:lnTo>
                  <a:pt x="163" y="759"/>
                </a:lnTo>
                <a:lnTo>
                  <a:pt x="163" y="759"/>
                </a:lnTo>
                <a:lnTo>
                  <a:pt x="155" y="759"/>
                </a:lnTo>
                <a:lnTo>
                  <a:pt x="148" y="758"/>
                </a:lnTo>
                <a:lnTo>
                  <a:pt x="140" y="755"/>
                </a:lnTo>
                <a:lnTo>
                  <a:pt x="132" y="753"/>
                </a:lnTo>
                <a:lnTo>
                  <a:pt x="125" y="750"/>
                </a:lnTo>
                <a:lnTo>
                  <a:pt x="119" y="745"/>
                </a:lnTo>
                <a:lnTo>
                  <a:pt x="112" y="741"/>
                </a:lnTo>
                <a:lnTo>
                  <a:pt x="107" y="735"/>
                </a:lnTo>
                <a:lnTo>
                  <a:pt x="101" y="730"/>
                </a:lnTo>
                <a:lnTo>
                  <a:pt x="97" y="723"/>
                </a:lnTo>
                <a:lnTo>
                  <a:pt x="92" y="717"/>
                </a:lnTo>
                <a:lnTo>
                  <a:pt x="89" y="710"/>
                </a:lnTo>
                <a:lnTo>
                  <a:pt x="87" y="702"/>
                </a:lnTo>
                <a:lnTo>
                  <a:pt x="85" y="694"/>
                </a:lnTo>
                <a:lnTo>
                  <a:pt x="83" y="687"/>
                </a:lnTo>
                <a:lnTo>
                  <a:pt x="83" y="679"/>
                </a:lnTo>
                <a:lnTo>
                  <a:pt x="83" y="334"/>
                </a:lnTo>
                <a:lnTo>
                  <a:pt x="208" y="334"/>
                </a:lnTo>
                <a:lnTo>
                  <a:pt x="208" y="334"/>
                </a:lnTo>
                <a:lnTo>
                  <a:pt x="201" y="355"/>
                </a:lnTo>
                <a:lnTo>
                  <a:pt x="196" y="376"/>
                </a:lnTo>
                <a:lnTo>
                  <a:pt x="193" y="398"/>
                </a:lnTo>
                <a:lnTo>
                  <a:pt x="192" y="420"/>
                </a:lnTo>
                <a:lnTo>
                  <a:pt x="192" y="420"/>
                </a:lnTo>
                <a:lnTo>
                  <a:pt x="193" y="444"/>
                </a:lnTo>
                <a:lnTo>
                  <a:pt x="196" y="467"/>
                </a:lnTo>
                <a:lnTo>
                  <a:pt x="202" y="489"/>
                </a:lnTo>
                <a:lnTo>
                  <a:pt x="209" y="510"/>
                </a:lnTo>
                <a:lnTo>
                  <a:pt x="219" y="530"/>
                </a:lnTo>
                <a:lnTo>
                  <a:pt x="230" y="550"/>
                </a:lnTo>
                <a:lnTo>
                  <a:pt x="244" y="567"/>
                </a:lnTo>
                <a:lnTo>
                  <a:pt x="259" y="583"/>
                </a:lnTo>
                <a:lnTo>
                  <a:pt x="275" y="598"/>
                </a:lnTo>
                <a:lnTo>
                  <a:pt x="292" y="612"/>
                </a:lnTo>
                <a:lnTo>
                  <a:pt x="312" y="623"/>
                </a:lnTo>
                <a:lnTo>
                  <a:pt x="332" y="633"/>
                </a:lnTo>
                <a:lnTo>
                  <a:pt x="353" y="640"/>
                </a:lnTo>
                <a:lnTo>
                  <a:pt x="375" y="646"/>
                </a:lnTo>
                <a:lnTo>
                  <a:pt x="397" y="649"/>
                </a:lnTo>
                <a:lnTo>
                  <a:pt x="422" y="650"/>
                </a:lnTo>
                <a:lnTo>
                  <a:pt x="422" y="650"/>
                </a:lnTo>
                <a:lnTo>
                  <a:pt x="445" y="649"/>
                </a:lnTo>
                <a:lnTo>
                  <a:pt x="467" y="646"/>
                </a:lnTo>
                <a:lnTo>
                  <a:pt x="489" y="640"/>
                </a:lnTo>
                <a:lnTo>
                  <a:pt x="510" y="633"/>
                </a:lnTo>
                <a:lnTo>
                  <a:pt x="531" y="623"/>
                </a:lnTo>
                <a:lnTo>
                  <a:pt x="550" y="612"/>
                </a:lnTo>
                <a:lnTo>
                  <a:pt x="568" y="598"/>
                </a:lnTo>
                <a:lnTo>
                  <a:pt x="583" y="583"/>
                </a:lnTo>
                <a:lnTo>
                  <a:pt x="599" y="567"/>
                </a:lnTo>
                <a:lnTo>
                  <a:pt x="612" y="550"/>
                </a:lnTo>
                <a:lnTo>
                  <a:pt x="623" y="530"/>
                </a:lnTo>
                <a:lnTo>
                  <a:pt x="633" y="510"/>
                </a:lnTo>
                <a:lnTo>
                  <a:pt x="641" y="489"/>
                </a:lnTo>
                <a:lnTo>
                  <a:pt x="646" y="467"/>
                </a:lnTo>
                <a:lnTo>
                  <a:pt x="650" y="444"/>
                </a:lnTo>
                <a:lnTo>
                  <a:pt x="651" y="420"/>
                </a:lnTo>
                <a:lnTo>
                  <a:pt x="651" y="420"/>
                </a:lnTo>
                <a:lnTo>
                  <a:pt x="650" y="398"/>
                </a:lnTo>
                <a:lnTo>
                  <a:pt x="646" y="376"/>
                </a:lnTo>
                <a:lnTo>
                  <a:pt x="642" y="355"/>
                </a:lnTo>
                <a:lnTo>
                  <a:pt x="634" y="334"/>
                </a:lnTo>
                <a:lnTo>
                  <a:pt x="760" y="334"/>
                </a:lnTo>
                <a:lnTo>
                  <a:pt x="760" y="6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428" name="Group 1427"/>
          <p:cNvGrpSpPr/>
          <p:nvPr/>
        </p:nvGrpSpPr>
        <p:grpSpPr>
          <a:xfrm>
            <a:off x="4870043" y="2958540"/>
            <a:ext cx="827807" cy="3377461"/>
            <a:chOff x="4868454" y="2958540"/>
            <a:chExt cx="827807" cy="3257836"/>
          </a:xfrm>
        </p:grpSpPr>
        <p:sp>
          <p:nvSpPr>
            <p:cNvPr id="227" name="Rectangle 1152"/>
            <p:cNvSpPr/>
            <p:nvPr/>
          </p:nvSpPr>
          <p:spPr bwMode="auto">
            <a:xfrm>
              <a:off x="4868454" y="2958540"/>
              <a:ext cx="827807" cy="3231593"/>
            </a:xfrm>
            <a:custGeom>
              <a:avLst/>
              <a:gdLst>
                <a:gd name="connsiteX0" fmla="*/ 0 w 758163"/>
                <a:gd name="connsiteY0" fmla="*/ 0 h 2727807"/>
                <a:gd name="connsiteX1" fmla="*/ 758163 w 758163"/>
                <a:gd name="connsiteY1" fmla="*/ 0 h 2727807"/>
                <a:gd name="connsiteX2" fmla="*/ 758163 w 758163"/>
                <a:gd name="connsiteY2" fmla="*/ 2727807 h 2727807"/>
                <a:gd name="connsiteX3" fmla="*/ 0 w 758163"/>
                <a:gd name="connsiteY3" fmla="*/ 2727807 h 2727807"/>
                <a:gd name="connsiteX4" fmla="*/ 0 w 758163"/>
                <a:gd name="connsiteY4" fmla="*/ 0 h 2727807"/>
                <a:gd name="connsiteX0" fmla="*/ 8667 w 766830"/>
                <a:gd name="connsiteY0" fmla="*/ 0 h 3330185"/>
                <a:gd name="connsiteX1" fmla="*/ 766830 w 766830"/>
                <a:gd name="connsiteY1" fmla="*/ 0 h 3330185"/>
                <a:gd name="connsiteX2" fmla="*/ 766830 w 766830"/>
                <a:gd name="connsiteY2" fmla="*/ 2727807 h 3330185"/>
                <a:gd name="connsiteX3" fmla="*/ 0 w 766830"/>
                <a:gd name="connsiteY3" fmla="*/ 3330185 h 3330185"/>
                <a:gd name="connsiteX4" fmla="*/ 8667 w 766830"/>
                <a:gd name="connsiteY4" fmla="*/ 0 h 3330185"/>
                <a:gd name="connsiteX0" fmla="*/ 8667 w 771164"/>
                <a:gd name="connsiteY0" fmla="*/ 0 h 3330185"/>
                <a:gd name="connsiteX1" fmla="*/ 766830 w 771164"/>
                <a:gd name="connsiteY1" fmla="*/ 0 h 3330185"/>
                <a:gd name="connsiteX2" fmla="*/ 771164 w 771164"/>
                <a:gd name="connsiteY2" fmla="*/ 2606465 h 3330185"/>
                <a:gd name="connsiteX3" fmla="*/ 0 w 771164"/>
                <a:gd name="connsiteY3" fmla="*/ 3330185 h 3330185"/>
                <a:gd name="connsiteX4" fmla="*/ 8667 w 771164"/>
                <a:gd name="connsiteY4" fmla="*/ 0 h 3330185"/>
                <a:gd name="connsiteX0" fmla="*/ 17335 w 779832"/>
                <a:gd name="connsiteY0" fmla="*/ 0 h 3117836"/>
                <a:gd name="connsiteX1" fmla="*/ 775498 w 779832"/>
                <a:gd name="connsiteY1" fmla="*/ 0 h 3117836"/>
                <a:gd name="connsiteX2" fmla="*/ 779832 w 779832"/>
                <a:gd name="connsiteY2" fmla="*/ 2606465 h 3117836"/>
                <a:gd name="connsiteX3" fmla="*/ 0 w 779832"/>
                <a:gd name="connsiteY3" fmla="*/ 3117836 h 3117836"/>
                <a:gd name="connsiteX4" fmla="*/ 17335 w 779832"/>
                <a:gd name="connsiteY4" fmla="*/ 0 h 3117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832" h="3117836">
                  <a:moveTo>
                    <a:pt x="17335" y="0"/>
                  </a:moveTo>
                  <a:lnTo>
                    <a:pt x="775498" y="0"/>
                  </a:lnTo>
                  <a:cubicBezTo>
                    <a:pt x="776943" y="868822"/>
                    <a:pt x="778387" y="1737643"/>
                    <a:pt x="779832" y="2606465"/>
                  </a:cubicBezTo>
                  <a:lnTo>
                    <a:pt x="0" y="3117836"/>
                  </a:lnTo>
                  <a:cubicBezTo>
                    <a:pt x="5778" y="2078557"/>
                    <a:pt x="11557" y="1039279"/>
                    <a:pt x="17335" y="0"/>
                  </a:cubicBezTo>
                  <a:close/>
                </a:path>
              </a:pathLst>
            </a:custGeom>
            <a:gradFill flip="none" rotWithShape="1">
              <a:gsLst>
                <a:gs pos="93000">
                  <a:schemeClr val="accent1">
                    <a:lumMod val="50000"/>
                  </a:schemeClr>
                </a:gs>
                <a:gs pos="0">
                  <a:schemeClr val="accent1">
                    <a:lumMod val="75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4" name="Group 23"/>
            <p:cNvGrpSpPr/>
            <p:nvPr/>
          </p:nvGrpSpPr>
          <p:grpSpPr>
            <a:xfrm>
              <a:off x="4876986" y="4714969"/>
              <a:ext cx="690798" cy="1501407"/>
              <a:chOff x="4876986" y="4783215"/>
              <a:chExt cx="690798" cy="1364915"/>
            </a:xfrm>
          </p:grpSpPr>
          <p:sp>
            <p:nvSpPr>
              <p:cNvPr id="675" name="Rectangle 406"/>
              <p:cNvSpPr/>
              <p:nvPr/>
            </p:nvSpPr>
            <p:spPr bwMode="auto">
              <a:xfrm flipH="1">
                <a:off x="4876986" y="4783215"/>
                <a:ext cx="690798" cy="1364915"/>
              </a:xfrm>
              <a:custGeom>
                <a:avLst/>
                <a:gdLst/>
                <a:ahLst/>
                <a:cxnLst/>
                <a:rect l="l" t="t" r="r" b="b"/>
                <a:pathLst>
                  <a:path w="690798" h="1364915">
                    <a:moveTo>
                      <a:pt x="325" y="0"/>
                    </a:moveTo>
                    <a:cubicBezTo>
                      <a:pt x="1302" y="269509"/>
                      <a:pt x="201" y="604385"/>
                      <a:pt x="0" y="911927"/>
                    </a:cubicBezTo>
                    <a:lnTo>
                      <a:pt x="690798" y="1364915"/>
                    </a:lnTo>
                    <a:lnTo>
                      <a:pt x="683992" y="140818"/>
                    </a:lnTo>
                    <a:close/>
                  </a:path>
                </a:pathLst>
              </a:custGeom>
              <a:solidFill>
                <a:schemeClr val="accent1">
                  <a:lumMod val="50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26" name="Group 425"/>
              <p:cNvGrpSpPr/>
              <p:nvPr/>
            </p:nvGrpSpPr>
            <p:grpSpPr>
              <a:xfrm flipH="1">
                <a:off x="4927095" y="4841394"/>
                <a:ext cx="586613" cy="1267059"/>
                <a:chOff x="4739475" y="3394816"/>
                <a:chExt cx="435078" cy="939751"/>
              </a:xfrm>
            </p:grpSpPr>
            <p:sp>
              <p:nvSpPr>
                <p:cNvPr id="428" name="Rectangle 1037"/>
                <p:cNvSpPr/>
                <p:nvPr/>
              </p:nvSpPr>
              <p:spPr bwMode="auto">
                <a:xfrm>
                  <a:off x="4739475" y="3394816"/>
                  <a:ext cx="201719" cy="787810"/>
                </a:xfrm>
                <a:custGeom>
                  <a:avLst/>
                  <a:gdLst>
                    <a:gd name="connsiteX0" fmla="*/ 0 w 308265"/>
                    <a:gd name="connsiteY0" fmla="*/ 0 h 752068"/>
                    <a:gd name="connsiteX1" fmla="*/ 308265 w 308265"/>
                    <a:gd name="connsiteY1" fmla="*/ 0 h 752068"/>
                    <a:gd name="connsiteX2" fmla="*/ 308265 w 308265"/>
                    <a:gd name="connsiteY2" fmla="*/ 752068 h 752068"/>
                    <a:gd name="connsiteX3" fmla="*/ 0 w 308265"/>
                    <a:gd name="connsiteY3" fmla="*/ 752068 h 752068"/>
                    <a:gd name="connsiteX4" fmla="*/ 0 w 308265"/>
                    <a:gd name="connsiteY4" fmla="*/ 0 h 752068"/>
                    <a:gd name="connsiteX0" fmla="*/ 0 w 314222"/>
                    <a:gd name="connsiteY0" fmla="*/ 0 h 957584"/>
                    <a:gd name="connsiteX1" fmla="*/ 308265 w 314222"/>
                    <a:gd name="connsiteY1" fmla="*/ 0 h 957584"/>
                    <a:gd name="connsiteX2" fmla="*/ 314222 w 314222"/>
                    <a:gd name="connsiteY2" fmla="*/ 957584 h 957584"/>
                    <a:gd name="connsiteX3" fmla="*/ 0 w 314222"/>
                    <a:gd name="connsiteY3" fmla="*/ 752068 h 957584"/>
                    <a:gd name="connsiteX4" fmla="*/ 0 w 314222"/>
                    <a:gd name="connsiteY4" fmla="*/ 0 h 957584"/>
                    <a:gd name="connsiteX0" fmla="*/ 0 w 314222"/>
                    <a:gd name="connsiteY0" fmla="*/ 0 h 957584"/>
                    <a:gd name="connsiteX1" fmla="*/ 308265 w 314222"/>
                    <a:gd name="connsiteY1" fmla="*/ 122119 h 957584"/>
                    <a:gd name="connsiteX2" fmla="*/ 314222 w 314222"/>
                    <a:gd name="connsiteY2" fmla="*/ 957584 h 957584"/>
                    <a:gd name="connsiteX3" fmla="*/ 0 w 314222"/>
                    <a:gd name="connsiteY3" fmla="*/ 752068 h 957584"/>
                    <a:gd name="connsiteX4" fmla="*/ 0 w 314222"/>
                    <a:gd name="connsiteY4" fmla="*/ 0 h 957584"/>
                    <a:gd name="connsiteX0" fmla="*/ 0 w 317200"/>
                    <a:gd name="connsiteY0" fmla="*/ 0 h 874186"/>
                    <a:gd name="connsiteX1" fmla="*/ 311243 w 317200"/>
                    <a:gd name="connsiteY1" fmla="*/ 38721 h 874186"/>
                    <a:gd name="connsiteX2" fmla="*/ 317200 w 317200"/>
                    <a:gd name="connsiteY2" fmla="*/ 874186 h 874186"/>
                    <a:gd name="connsiteX3" fmla="*/ 2978 w 317200"/>
                    <a:gd name="connsiteY3" fmla="*/ 668670 h 874186"/>
                    <a:gd name="connsiteX4" fmla="*/ 0 w 317200"/>
                    <a:gd name="connsiteY4" fmla="*/ 0 h 874186"/>
                    <a:gd name="connsiteX0" fmla="*/ 0 w 317200"/>
                    <a:gd name="connsiteY0" fmla="*/ 0 h 874186"/>
                    <a:gd name="connsiteX1" fmla="*/ 311243 w 317200"/>
                    <a:gd name="connsiteY1" fmla="*/ 2979 h 874186"/>
                    <a:gd name="connsiteX2" fmla="*/ 317200 w 317200"/>
                    <a:gd name="connsiteY2" fmla="*/ 874186 h 874186"/>
                    <a:gd name="connsiteX3" fmla="*/ 2978 w 317200"/>
                    <a:gd name="connsiteY3" fmla="*/ 668670 h 874186"/>
                    <a:gd name="connsiteX4" fmla="*/ 0 w 317200"/>
                    <a:gd name="connsiteY4" fmla="*/ 0 h 874186"/>
                    <a:gd name="connsiteX0" fmla="*/ 0 w 317200"/>
                    <a:gd name="connsiteY0" fmla="*/ 0 h 874186"/>
                    <a:gd name="connsiteX1" fmla="*/ 311243 w 317200"/>
                    <a:gd name="connsiteY1" fmla="*/ 2979 h 874186"/>
                    <a:gd name="connsiteX2" fmla="*/ 317200 w 317200"/>
                    <a:gd name="connsiteY2" fmla="*/ 874186 h 874186"/>
                    <a:gd name="connsiteX3" fmla="*/ 2978 w 317200"/>
                    <a:gd name="connsiteY3" fmla="*/ 668670 h 874186"/>
                    <a:gd name="connsiteX4" fmla="*/ 0 w 317200"/>
                    <a:gd name="connsiteY4" fmla="*/ 0 h 874186"/>
                    <a:gd name="connsiteX0" fmla="*/ 0 w 317200"/>
                    <a:gd name="connsiteY0" fmla="*/ 0 h 874186"/>
                    <a:gd name="connsiteX1" fmla="*/ 248694 w 317200"/>
                    <a:gd name="connsiteY1" fmla="*/ 2979 h 874186"/>
                    <a:gd name="connsiteX2" fmla="*/ 317200 w 317200"/>
                    <a:gd name="connsiteY2" fmla="*/ 874186 h 874186"/>
                    <a:gd name="connsiteX3" fmla="*/ 2978 w 317200"/>
                    <a:gd name="connsiteY3" fmla="*/ 668670 h 874186"/>
                    <a:gd name="connsiteX4" fmla="*/ 0 w 317200"/>
                    <a:gd name="connsiteY4" fmla="*/ 0 h 874186"/>
                    <a:gd name="connsiteX0" fmla="*/ 0 w 248958"/>
                    <a:gd name="connsiteY0" fmla="*/ 0 h 823552"/>
                    <a:gd name="connsiteX1" fmla="*/ 248694 w 248958"/>
                    <a:gd name="connsiteY1" fmla="*/ 2979 h 823552"/>
                    <a:gd name="connsiteX2" fmla="*/ 242738 w 248958"/>
                    <a:gd name="connsiteY2" fmla="*/ 823552 h 823552"/>
                    <a:gd name="connsiteX3" fmla="*/ 2978 w 248958"/>
                    <a:gd name="connsiteY3" fmla="*/ 668670 h 823552"/>
                    <a:gd name="connsiteX4" fmla="*/ 0 w 248958"/>
                    <a:gd name="connsiteY4" fmla="*/ 0 h 823552"/>
                    <a:gd name="connsiteX0" fmla="*/ 0 w 246075"/>
                    <a:gd name="connsiteY0" fmla="*/ 0 h 823552"/>
                    <a:gd name="connsiteX1" fmla="*/ 245715 w 246075"/>
                    <a:gd name="connsiteY1" fmla="*/ 47656 h 823552"/>
                    <a:gd name="connsiteX2" fmla="*/ 242738 w 246075"/>
                    <a:gd name="connsiteY2" fmla="*/ 823552 h 823552"/>
                    <a:gd name="connsiteX3" fmla="*/ 2978 w 246075"/>
                    <a:gd name="connsiteY3" fmla="*/ 668670 h 823552"/>
                    <a:gd name="connsiteX4" fmla="*/ 0 w 246075"/>
                    <a:gd name="connsiteY4" fmla="*/ 0 h 823552"/>
                    <a:gd name="connsiteX0" fmla="*/ 0 w 246075"/>
                    <a:gd name="connsiteY0" fmla="*/ 0 h 823552"/>
                    <a:gd name="connsiteX1" fmla="*/ 245715 w 246075"/>
                    <a:gd name="connsiteY1" fmla="*/ 44678 h 823552"/>
                    <a:gd name="connsiteX2" fmla="*/ 242738 w 246075"/>
                    <a:gd name="connsiteY2" fmla="*/ 823552 h 823552"/>
                    <a:gd name="connsiteX3" fmla="*/ 2978 w 246075"/>
                    <a:gd name="connsiteY3" fmla="*/ 668670 h 823552"/>
                    <a:gd name="connsiteX4" fmla="*/ 0 w 246075"/>
                    <a:gd name="connsiteY4" fmla="*/ 0 h 823552"/>
                    <a:gd name="connsiteX0" fmla="*/ 0 w 246075"/>
                    <a:gd name="connsiteY0" fmla="*/ 0 h 805681"/>
                    <a:gd name="connsiteX1" fmla="*/ 245715 w 246075"/>
                    <a:gd name="connsiteY1" fmla="*/ 44678 h 805681"/>
                    <a:gd name="connsiteX2" fmla="*/ 242738 w 246075"/>
                    <a:gd name="connsiteY2" fmla="*/ 805681 h 805681"/>
                    <a:gd name="connsiteX3" fmla="*/ 2978 w 246075"/>
                    <a:gd name="connsiteY3" fmla="*/ 668670 h 805681"/>
                    <a:gd name="connsiteX4" fmla="*/ 0 w 246075"/>
                    <a:gd name="connsiteY4" fmla="*/ 0 h 805681"/>
                    <a:gd name="connsiteX0" fmla="*/ 0 w 245906"/>
                    <a:gd name="connsiteY0" fmla="*/ 0 h 787810"/>
                    <a:gd name="connsiteX1" fmla="*/ 245715 w 245906"/>
                    <a:gd name="connsiteY1" fmla="*/ 44678 h 787810"/>
                    <a:gd name="connsiteX2" fmla="*/ 235477 w 245906"/>
                    <a:gd name="connsiteY2" fmla="*/ 787810 h 787810"/>
                    <a:gd name="connsiteX3" fmla="*/ 2978 w 245906"/>
                    <a:gd name="connsiteY3" fmla="*/ 668670 h 787810"/>
                    <a:gd name="connsiteX4" fmla="*/ 0 w 245906"/>
                    <a:gd name="connsiteY4" fmla="*/ 0 h 787810"/>
                    <a:gd name="connsiteX0" fmla="*/ 0 w 245905"/>
                    <a:gd name="connsiteY0" fmla="*/ 0 h 787810"/>
                    <a:gd name="connsiteX1" fmla="*/ 245715 w 245905"/>
                    <a:gd name="connsiteY1" fmla="*/ 44678 h 787810"/>
                    <a:gd name="connsiteX2" fmla="*/ 235477 w 245905"/>
                    <a:gd name="connsiteY2" fmla="*/ 787810 h 787810"/>
                    <a:gd name="connsiteX3" fmla="*/ 682 w 245905"/>
                    <a:gd name="connsiteY3" fmla="*/ 673808 h 787810"/>
                    <a:gd name="connsiteX4" fmla="*/ 0 w 245905"/>
                    <a:gd name="connsiteY4" fmla="*/ 0 h 787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05" h="787810">
                      <a:moveTo>
                        <a:pt x="0" y="0"/>
                      </a:moveTo>
                      <a:lnTo>
                        <a:pt x="245715" y="44678"/>
                      </a:lnTo>
                      <a:cubicBezTo>
                        <a:pt x="247701" y="363873"/>
                        <a:pt x="233491" y="468615"/>
                        <a:pt x="235477" y="787810"/>
                      </a:cubicBezTo>
                      <a:cubicBezTo>
                        <a:pt x="157977" y="748097"/>
                        <a:pt x="78182" y="713521"/>
                        <a:pt x="682" y="673808"/>
                      </a:cubicBezTo>
                      <a:cubicBezTo>
                        <a:pt x="-311" y="450918"/>
                        <a:pt x="993" y="222890"/>
                        <a:pt x="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29" name="Rectangle 739"/>
                <p:cNvSpPr/>
                <p:nvPr/>
              </p:nvSpPr>
              <p:spPr bwMode="auto">
                <a:xfrm>
                  <a:off x="4960101" y="3448466"/>
                  <a:ext cx="214452" cy="886101"/>
                </a:xfrm>
                <a:custGeom>
                  <a:avLst/>
                  <a:gdLst>
                    <a:gd name="connsiteX0" fmla="*/ 0 w 308265"/>
                    <a:gd name="connsiteY0" fmla="*/ 0 h 752068"/>
                    <a:gd name="connsiteX1" fmla="*/ 308265 w 308265"/>
                    <a:gd name="connsiteY1" fmla="*/ 0 h 752068"/>
                    <a:gd name="connsiteX2" fmla="*/ 308265 w 308265"/>
                    <a:gd name="connsiteY2" fmla="*/ 752068 h 752068"/>
                    <a:gd name="connsiteX3" fmla="*/ 0 w 308265"/>
                    <a:gd name="connsiteY3" fmla="*/ 752068 h 752068"/>
                    <a:gd name="connsiteX4" fmla="*/ 0 w 308265"/>
                    <a:gd name="connsiteY4" fmla="*/ 0 h 752068"/>
                    <a:gd name="connsiteX0" fmla="*/ 0 w 308265"/>
                    <a:gd name="connsiteY0" fmla="*/ 0 h 1052896"/>
                    <a:gd name="connsiteX1" fmla="*/ 308265 w 308265"/>
                    <a:gd name="connsiteY1" fmla="*/ 0 h 1052896"/>
                    <a:gd name="connsiteX2" fmla="*/ 302308 w 308265"/>
                    <a:gd name="connsiteY2" fmla="*/ 1052896 h 1052896"/>
                    <a:gd name="connsiteX3" fmla="*/ 0 w 308265"/>
                    <a:gd name="connsiteY3" fmla="*/ 752068 h 1052896"/>
                    <a:gd name="connsiteX4" fmla="*/ 0 w 308265"/>
                    <a:gd name="connsiteY4" fmla="*/ 0 h 1052896"/>
                    <a:gd name="connsiteX0" fmla="*/ 5957 w 314222"/>
                    <a:gd name="connsiteY0" fmla="*/ 0 h 1052896"/>
                    <a:gd name="connsiteX1" fmla="*/ 314222 w 314222"/>
                    <a:gd name="connsiteY1" fmla="*/ 0 h 1052896"/>
                    <a:gd name="connsiteX2" fmla="*/ 308265 w 314222"/>
                    <a:gd name="connsiteY2" fmla="*/ 1052896 h 1052896"/>
                    <a:gd name="connsiteX3" fmla="*/ 0 w 314222"/>
                    <a:gd name="connsiteY3" fmla="*/ 835466 h 1052896"/>
                    <a:gd name="connsiteX4" fmla="*/ 5957 w 314222"/>
                    <a:gd name="connsiteY4" fmla="*/ 0 h 1052896"/>
                    <a:gd name="connsiteX0" fmla="*/ 5957 w 314222"/>
                    <a:gd name="connsiteY0" fmla="*/ 0 h 1052896"/>
                    <a:gd name="connsiteX1" fmla="*/ 314222 w 314222"/>
                    <a:gd name="connsiteY1" fmla="*/ 101269 h 1052896"/>
                    <a:gd name="connsiteX2" fmla="*/ 308265 w 314222"/>
                    <a:gd name="connsiteY2" fmla="*/ 1052896 h 1052896"/>
                    <a:gd name="connsiteX3" fmla="*/ 0 w 314222"/>
                    <a:gd name="connsiteY3" fmla="*/ 835466 h 1052896"/>
                    <a:gd name="connsiteX4" fmla="*/ 5957 w 314222"/>
                    <a:gd name="connsiteY4" fmla="*/ 0 h 1052896"/>
                    <a:gd name="connsiteX0" fmla="*/ 5957 w 314222"/>
                    <a:gd name="connsiteY0" fmla="*/ 0 h 1011197"/>
                    <a:gd name="connsiteX1" fmla="*/ 314222 w 314222"/>
                    <a:gd name="connsiteY1" fmla="*/ 59570 h 1011197"/>
                    <a:gd name="connsiteX2" fmla="*/ 308265 w 314222"/>
                    <a:gd name="connsiteY2" fmla="*/ 1011197 h 1011197"/>
                    <a:gd name="connsiteX3" fmla="*/ 0 w 314222"/>
                    <a:gd name="connsiteY3" fmla="*/ 793767 h 1011197"/>
                    <a:gd name="connsiteX4" fmla="*/ 5957 w 314222"/>
                    <a:gd name="connsiteY4" fmla="*/ 0 h 1011197"/>
                    <a:gd name="connsiteX0" fmla="*/ 10322 w 318587"/>
                    <a:gd name="connsiteY0" fmla="*/ 0 h 1011197"/>
                    <a:gd name="connsiteX1" fmla="*/ 318587 w 318587"/>
                    <a:gd name="connsiteY1" fmla="*/ 59570 h 1011197"/>
                    <a:gd name="connsiteX2" fmla="*/ 312630 w 318587"/>
                    <a:gd name="connsiteY2" fmla="*/ 1011197 h 1011197"/>
                    <a:gd name="connsiteX3" fmla="*/ 0 w 318587"/>
                    <a:gd name="connsiteY3" fmla="*/ 749090 h 1011197"/>
                    <a:gd name="connsiteX4" fmla="*/ 10322 w 318587"/>
                    <a:gd name="connsiteY4" fmla="*/ 0 h 1011197"/>
                    <a:gd name="connsiteX0" fmla="*/ 10322 w 318587"/>
                    <a:gd name="connsiteY0" fmla="*/ 0 h 895036"/>
                    <a:gd name="connsiteX1" fmla="*/ 318587 w 318587"/>
                    <a:gd name="connsiteY1" fmla="*/ 59570 h 895036"/>
                    <a:gd name="connsiteX2" fmla="*/ 303901 w 318587"/>
                    <a:gd name="connsiteY2" fmla="*/ 895036 h 895036"/>
                    <a:gd name="connsiteX3" fmla="*/ 0 w 318587"/>
                    <a:gd name="connsiteY3" fmla="*/ 749090 h 895036"/>
                    <a:gd name="connsiteX4" fmla="*/ 10322 w 318587"/>
                    <a:gd name="connsiteY4" fmla="*/ 0 h 895036"/>
                    <a:gd name="connsiteX0" fmla="*/ 10322 w 314222"/>
                    <a:gd name="connsiteY0" fmla="*/ 0 h 895036"/>
                    <a:gd name="connsiteX1" fmla="*/ 314222 w 314222"/>
                    <a:gd name="connsiteY1" fmla="*/ 50635 h 895036"/>
                    <a:gd name="connsiteX2" fmla="*/ 303901 w 314222"/>
                    <a:gd name="connsiteY2" fmla="*/ 895036 h 895036"/>
                    <a:gd name="connsiteX3" fmla="*/ 0 w 314222"/>
                    <a:gd name="connsiteY3" fmla="*/ 749090 h 895036"/>
                    <a:gd name="connsiteX4" fmla="*/ 10322 w 314222"/>
                    <a:gd name="connsiteY4" fmla="*/ 0 h 895036"/>
                    <a:gd name="connsiteX0" fmla="*/ 10323 w 314222"/>
                    <a:gd name="connsiteY0" fmla="*/ 0 h 886100"/>
                    <a:gd name="connsiteX1" fmla="*/ 314222 w 314222"/>
                    <a:gd name="connsiteY1" fmla="*/ 41699 h 886100"/>
                    <a:gd name="connsiteX2" fmla="*/ 303901 w 314222"/>
                    <a:gd name="connsiteY2" fmla="*/ 886100 h 886100"/>
                    <a:gd name="connsiteX3" fmla="*/ 0 w 314222"/>
                    <a:gd name="connsiteY3" fmla="*/ 740154 h 886100"/>
                    <a:gd name="connsiteX4" fmla="*/ 10323 w 314222"/>
                    <a:gd name="connsiteY4" fmla="*/ 0 h 886100"/>
                    <a:gd name="connsiteX0" fmla="*/ 10323 w 314222"/>
                    <a:gd name="connsiteY0" fmla="*/ 0 h 886100"/>
                    <a:gd name="connsiteX1" fmla="*/ 314222 w 314222"/>
                    <a:gd name="connsiteY1" fmla="*/ 41699 h 886100"/>
                    <a:gd name="connsiteX2" fmla="*/ 303901 w 314222"/>
                    <a:gd name="connsiteY2" fmla="*/ 886100 h 886100"/>
                    <a:gd name="connsiteX3" fmla="*/ 0 w 314222"/>
                    <a:gd name="connsiteY3" fmla="*/ 740154 h 886100"/>
                    <a:gd name="connsiteX4" fmla="*/ 10323 w 314222"/>
                    <a:gd name="connsiteY4" fmla="*/ 0 h 886100"/>
                    <a:gd name="connsiteX0" fmla="*/ 10323 w 314222"/>
                    <a:gd name="connsiteY0" fmla="*/ 0 h 886100"/>
                    <a:gd name="connsiteX1" fmla="*/ 314222 w 314222"/>
                    <a:gd name="connsiteY1" fmla="*/ 41699 h 886100"/>
                    <a:gd name="connsiteX2" fmla="*/ 303901 w 314222"/>
                    <a:gd name="connsiteY2" fmla="*/ 886100 h 886100"/>
                    <a:gd name="connsiteX3" fmla="*/ 0 w 314222"/>
                    <a:gd name="connsiteY3" fmla="*/ 751531 h 886100"/>
                    <a:gd name="connsiteX4" fmla="*/ 10323 w 314222"/>
                    <a:gd name="connsiteY4" fmla="*/ 0 h 886100"/>
                    <a:gd name="connsiteX0" fmla="*/ 10323 w 314222"/>
                    <a:gd name="connsiteY0" fmla="*/ 0 h 891238"/>
                    <a:gd name="connsiteX1" fmla="*/ 314222 w 314222"/>
                    <a:gd name="connsiteY1" fmla="*/ 46837 h 891238"/>
                    <a:gd name="connsiteX2" fmla="*/ 303901 w 314222"/>
                    <a:gd name="connsiteY2" fmla="*/ 891238 h 891238"/>
                    <a:gd name="connsiteX3" fmla="*/ 0 w 314222"/>
                    <a:gd name="connsiteY3" fmla="*/ 756669 h 891238"/>
                    <a:gd name="connsiteX4" fmla="*/ 10323 w 314222"/>
                    <a:gd name="connsiteY4" fmla="*/ 0 h 891238"/>
                    <a:gd name="connsiteX0" fmla="*/ 10323 w 314222"/>
                    <a:gd name="connsiteY0" fmla="*/ 0 h 886100"/>
                    <a:gd name="connsiteX1" fmla="*/ 314222 w 314222"/>
                    <a:gd name="connsiteY1" fmla="*/ 46837 h 886100"/>
                    <a:gd name="connsiteX2" fmla="*/ 303901 w 314222"/>
                    <a:gd name="connsiteY2" fmla="*/ 886100 h 886100"/>
                    <a:gd name="connsiteX3" fmla="*/ 0 w 314222"/>
                    <a:gd name="connsiteY3" fmla="*/ 756669 h 886100"/>
                    <a:gd name="connsiteX4" fmla="*/ 10323 w 314222"/>
                    <a:gd name="connsiteY4" fmla="*/ 0 h 886100"/>
                    <a:gd name="connsiteX0" fmla="*/ 10323 w 314222"/>
                    <a:gd name="connsiteY0" fmla="*/ 0 h 886100"/>
                    <a:gd name="connsiteX1" fmla="*/ 314222 w 314222"/>
                    <a:gd name="connsiteY1" fmla="*/ 46837 h 886100"/>
                    <a:gd name="connsiteX2" fmla="*/ 303901 w 314222"/>
                    <a:gd name="connsiteY2" fmla="*/ 886100 h 886100"/>
                    <a:gd name="connsiteX3" fmla="*/ 0 w 314222"/>
                    <a:gd name="connsiteY3" fmla="*/ 749819 h 886100"/>
                    <a:gd name="connsiteX4" fmla="*/ 10323 w 314222"/>
                    <a:gd name="connsiteY4" fmla="*/ 0 h 88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222" h="886100">
                      <a:moveTo>
                        <a:pt x="10323" y="0"/>
                      </a:moveTo>
                      <a:cubicBezTo>
                        <a:pt x="111623" y="13900"/>
                        <a:pt x="212922" y="32937"/>
                        <a:pt x="314222" y="46837"/>
                      </a:cubicBezTo>
                      <a:cubicBezTo>
                        <a:pt x="312236" y="397802"/>
                        <a:pt x="305887" y="535135"/>
                        <a:pt x="303901" y="886100"/>
                      </a:cubicBezTo>
                      <a:cubicBezTo>
                        <a:pt x="202601" y="837451"/>
                        <a:pt x="101300" y="798468"/>
                        <a:pt x="0" y="749819"/>
                      </a:cubicBezTo>
                      <a:cubicBezTo>
                        <a:pt x="1986" y="471330"/>
                        <a:pt x="8337" y="278489"/>
                        <a:pt x="1032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cxnSp>
          <p:nvCxnSpPr>
            <p:cNvPr id="1433" name="Straight Connector 1432"/>
            <p:cNvCxnSpPr/>
            <p:nvPr/>
          </p:nvCxnSpPr>
          <p:spPr>
            <a:xfrm flipV="1">
              <a:off x="4961257" y="5471925"/>
              <a:ext cx="230384" cy="115425"/>
            </a:xfrm>
            <a:prstGeom prst="line">
              <a:avLst/>
            </a:prstGeom>
            <a:ln w="38100">
              <a:solidFill>
                <a:srgbClr val="007491"/>
              </a:solidFill>
            </a:ln>
          </p:spPr>
          <p:style>
            <a:lnRef idx="1">
              <a:schemeClr val="accent1"/>
            </a:lnRef>
            <a:fillRef idx="0">
              <a:schemeClr val="accent1"/>
            </a:fillRef>
            <a:effectRef idx="0">
              <a:schemeClr val="accent1"/>
            </a:effectRef>
            <a:fontRef idx="minor">
              <a:schemeClr val="tx1"/>
            </a:fontRef>
          </p:style>
        </p:cxnSp>
        <p:cxnSp>
          <p:nvCxnSpPr>
            <p:cNvPr id="1203" name="Straight Connector 1202"/>
            <p:cNvCxnSpPr/>
            <p:nvPr/>
          </p:nvCxnSpPr>
          <p:spPr>
            <a:xfrm flipV="1">
              <a:off x="5260343" y="5321781"/>
              <a:ext cx="230384" cy="115425"/>
            </a:xfrm>
            <a:prstGeom prst="line">
              <a:avLst/>
            </a:prstGeom>
            <a:ln w="38100">
              <a:solidFill>
                <a:srgbClr val="007491"/>
              </a:solidFill>
            </a:ln>
          </p:spPr>
          <p:style>
            <a:lnRef idx="1">
              <a:schemeClr val="accent1"/>
            </a:lnRef>
            <a:fillRef idx="0">
              <a:schemeClr val="accent1"/>
            </a:fillRef>
            <a:effectRef idx="0">
              <a:schemeClr val="accent1"/>
            </a:effectRef>
            <a:fontRef idx="minor">
              <a:schemeClr val="tx1"/>
            </a:fontRef>
          </p:style>
        </p:cxnSp>
      </p:grpSp>
      <p:grpSp>
        <p:nvGrpSpPr>
          <p:cNvPr id="296" name="Group 295"/>
          <p:cNvGrpSpPr/>
          <p:nvPr/>
        </p:nvGrpSpPr>
        <p:grpSpPr>
          <a:xfrm flipH="1">
            <a:off x="5984974" y="4906021"/>
            <a:ext cx="438577" cy="1165692"/>
            <a:chOff x="2696470" y="3306661"/>
            <a:chExt cx="301625" cy="801687"/>
          </a:xfrm>
        </p:grpSpPr>
        <p:sp>
          <p:nvSpPr>
            <p:cNvPr id="297" name="Freeform 1966"/>
            <p:cNvSpPr>
              <a:spLocks/>
            </p:cNvSpPr>
            <p:nvPr/>
          </p:nvSpPr>
          <p:spPr bwMode="auto">
            <a:xfrm>
              <a:off x="2696470" y="3451123"/>
              <a:ext cx="301625" cy="657225"/>
            </a:xfrm>
            <a:custGeom>
              <a:avLst/>
              <a:gdLst>
                <a:gd name="T0" fmla="*/ 719 w 1142"/>
                <a:gd name="T1" fmla="*/ 19 h 2481"/>
                <a:gd name="T2" fmla="*/ 765 w 1142"/>
                <a:gd name="T3" fmla="*/ 4 h 2481"/>
                <a:gd name="T4" fmla="*/ 813 w 1142"/>
                <a:gd name="T5" fmla="*/ 0 h 2481"/>
                <a:gd name="T6" fmla="*/ 861 w 1142"/>
                <a:gd name="T7" fmla="*/ 9 h 2481"/>
                <a:gd name="T8" fmla="*/ 906 w 1142"/>
                <a:gd name="T9" fmla="*/ 27 h 2481"/>
                <a:gd name="T10" fmla="*/ 945 w 1142"/>
                <a:gd name="T11" fmla="*/ 56 h 2481"/>
                <a:gd name="T12" fmla="*/ 978 w 1142"/>
                <a:gd name="T13" fmla="*/ 92 h 2481"/>
                <a:gd name="T14" fmla="*/ 999 w 1142"/>
                <a:gd name="T15" fmla="*/ 136 h 2481"/>
                <a:gd name="T16" fmla="*/ 1014 w 1142"/>
                <a:gd name="T17" fmla="*/ 195 h 2481"/>
                <a:gd name="T18" fmla="*/ 1056 w 1142"/>
                <a:gd name="T19" fmla="*/ 455 h 2481"/>
                <a:gd name="T20" fmla="*/ 1115 w 1142"/>
                <a:gd name="T21" fmla="*/ 874 h 2481"/>
                <a:gd name="T22" fmla="*/ 1139 w 1142"/>
                <a:gd name="T23" fmla="*/ 1001 h 2481"/>
                <a:gd name="T24" fmla="*/ 1141 w 1142"/>
                <a:gd name="T25" fmla="*/ 1074 h 2481"/>
                <a:gd name="T26" fmla="*/ 1117 w 1142"/>
                <a:gd name="T27" fmla="*/ 1424 h 2481"/>
                <a:gd name="T28" fmla="*/ 1070 w 1142"/>
                <a:gd name="T29" fmla="*/ 1888 h 2481"/>
                <a:gd name="T30" fmla="*/ 1018 w 1142"/>
                <a:gd name="T31" fmla="*/ 2278 h 2481"/>
                <a:gd name="T32" fmla="*/ 998 w 1142"/>
                <a:gd name="T33" fmla="*/ 2387 h 2481"/>
                <a:gd name="T34" fmla="*/ 976 w 1142"/>
                <a:gd name="T35" fmla="*/ 2428 h 2481"/>
                <a:gd name="T36" fmla="*/ 942 w 1142"/>
                <a:gd name="T37" fmla="*/ 2457 h 2481"/>
                <a:gd name="T38" fmla="*/ 900 w 1142"/>
                <a:gd name="T39" fmla="*/ 2476 h 2481"/>
                <a:gd name="T40" fmla="*/ 855 w 1142"/>
                <a:gd name="T41" fmla="*/ 2481 h 2481"/>
                <a:gd name="T42" fmla="*/ 810 w 1142"/>
                <a:gd name="T43" fmla="*/ 2475 h 2481"/>
                <a:gd name="T44" fmla="*/ 770 w 1142"/>
                <a:gd name="T45" fmla="*/ 2456 h 2481"/>
                <a:gd name="T46" fmla="*/ 737 w 1142"/>
                <a:gd name="T47" fmla="*/ 2426 h 2481"/>
                <a:gd name="T48" fmla="*/ 716 w 1142"/>
                <a:gd name="T49" fmla="*/ 2382 h 2481"/>
                <a:gd name="T50" fmla="*/ 712 w 1142"/>
                <a:gd name="T51" fmla="*/ 2316 h 2481"/>
                <a:gd name="T52" fmla="*/ 719 w 1142"/>
                <a:gd name="T53" fmla="*/ 2207 h 2481"/>
                <a:gd name="T54" fmla="*/ 740 w 1142"/>
                <a:gd name="T55" fmla="*/ 2032 h 2481"/>
                <a:gd name="T56" fmla="*/ 773 w 1142"/>
                <a:gd name="T57" fmla="*/ 1692 h 2481"/>
                <a:gd name="T58" fmla="*/ 817 w 1142"/>
                <a:gd name="T59" fmla="*/ 1141 h 2481"/>
                <a:gd name="T60" fmla="*/ 793 w 1142"/>
                <a:gd name="T61" fmla="*/ 794 h 2481"/>
                <a:gd name="T62" fmla="*/ 776 w 1142"/>
                <a:gd name="T63" fmla="*/ 662 h 2481"/>
                <a:gd name="T64" fmla="*/ 753 w 1142"/>
                <a:gd name="T65" fmla="*/ 718 h 2481"/>
                <a:gd name="T66" fmla="*/ 723 w 1142"/>
                <a:gd name="T67" fmla="*/ 757 h 2481"/>
                <a:gd name="T68" fmla="*/ 692 w 1142"/>
                <a:gd name="T69" fmla="*/ 780 h 2481"/>
                <a:gd name="T70" fmla="*/ 486 w 1142"/>
                <a:gd name="T71" fmla="*/ 788 h 2481"/>
                <a:gd name="T72" fmla="*/ 105 w 1142"/>
                <a:gd name="T73" fmla="*/ 789 h 2481"/>
                <a:gd name="T74" fmla="*/ 58 w 1142"/>
                <a:gd name="T75" fmla="*/ 781 h 2481"/>
                <a:gd name="T76" fmla="*/ 20 w 1142"/>
                <a:gd name="T77" fmla="*/ 750 h 2481"/>
                <a:gd name="T78" fmla="*/ 1 w 1142"/>
                <a:gd name="T79" fmla="*/ 706 h 2481"/>
                <a:gd name="T80" fmla="*/ 9 w 1142"/>
                <a:gd name="T81" fmla="*/ 659 h 2481"/>
                <a:gd name="T82" fmla="*/ 19 w 1142"/>
                <a:gd name="T83" fmla="*/ 638 h 2481"/>
                <a:gd name="T84" fmla="*/ 57 w 1142"/>
                <a:gd name="T85" fmla="*/ 608 h 2481"/>
                <a:gd name="T86" fmla="*/ 112 w 1142"/>
                <a:gd name="T87" fmla="*/ 595 h 2481"/>
                <a:gd name="T88" fmla="*/ 202 w 1142"/>
                <a:gd name="T89" fmla="*/ 591 h 2481"/>
                <a:gd name="T90" fmla="*/ 248 w 1142"/>
                <a:gd name="T91" fmla="*/ 587 h 2481"/>
                <a:gd name="T92" fmla="*/ 432 w 1142"/>
                <a:gd name="T93" fmla="*/ 585 h 2481"/>
                <a:gd name="T94" fmla="*/ 532 w 1142"/>
                <a:gd name="T95" fmla="*/ 572 h 2481"/>
                <a:gd name="T96" fmla="*/ 574 w 1142"/>
                <a:gd name="T97" fmla="*/ 554 h 2481"/>
                <a:gd name="T98" fmla="*/ 593 w 1142"/>
                <a:gd name="T99" fmla="*/ 531 h 2481"/>
                <a:gd name="T100" fmla="*/ 615 w 1142"/>
                <a:gd name="T101" fmla="*/ 478 h 2481"/>
                <a:gd name="T102" fmla="*/ 631 w 1142"/>
                <a:gd name="T103" fmla="*/ 371 h 2481"/>
                <a:gd name="T104" fmla="*/ 647 w 1142"/>
                <a:gd name="T105" fmla="*/ 169 h 2481"/>
                <a:gd name="T106" fmla="*/ 665 w 1142"/>
                <a:gd name="T107" fmla="*/ 87 h 2481"/>
                <a:gd name="T108" fmla="*/ 689 w 1142"/>
                <a:gd name="T109" fmla="*/ 41 h 2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2" h="2481">
                  <a:moveTo>
                    <a:pt x="698" y="32"/>
                  </a:moveTo>
                  <a:lnTo>
                    <a:pt x="698" y="32"/>
                  </a:lnTo>
                  <a:lnTo>
                    <a:pt x="708" y="25"/>
                  </a:lnTo>
                  <a:lnTo>
                    <a:pt x="719" y="19"/>
                  </a:lnTo>
                  <a:lnTo>
                    <a:pt x="730" y="14"/>
                  </a:lnTo>
                  <a:lnTo>
                    <a:pt x="741" y="10"/>
                  </a:lnTo>
                  <a:lnTo>
                    <a:pt x="753" y="6"/>
                  </a:lnTo>
                  <a:lnTo>
                    <a:pt x="765" y="4"/>
                  </a:lnTo>
                  <a:lnTo>
                    <a:pt x="776" y="2"/>
                  </a:lnTo>
                  <a:lnTo>
                    <a:pt x="789" y="1"/>
                  </a:lnTo>
                  <a:lnTo>
                    <a:pt x="801" y="0"/>
                  </a:lnTo>
                  <a:lnTo>
                    <a:pt x="813" y="0"/>
                  </a:lnTo>
                  <a:lnTo>
                    <a:pt x="825" y="1"/>
                  </a:lnTo>
                  <a:lnTo>
                    <a:pt x="837" y="3"/>
                  </a:lnTo>
                  <a:lnTo>
                    <a:pt x="849" y="6"/>
                  </a:lnTo>
                  <a:lnTo>
                    <a:pt x="861" y="9"/>
                  </a:lnTo>
                  <a:lnTo>
                    <a:pt x="872" y="12"/>
                  </a:lnTo>
                  <a:lnTo>
                    <a:pt x="884" y="17"/>
                  </a:lnTo>
                  <a:lnTo>
                    <a:pt x="895" y="22"/>
                  </a:lnTo>
                  <a:lnTo>
                    <a:pt x="906" y="27"/>
                  </a:lnTo>
                  <a:lnTo>
                    <a:pt x="916" y="33"/>
                  </a:lnTo>
                  <a:lnTo>
                    <a:pt x="926" y="41"/>
                  </a:lnTo>
                  <a:lnTo>
                    <a:pt x="936" y="48"/>
                  </a:lnTo>
                  <a:lnTo>
                    <a:pt x="945" y="56"/>
                  </a:lnTo>
                  <a:lnTo>
                    <a:pt x="954" y="64"/>
                  </a:lnTo>
                  <a:lnTo>
                    <a:pt x="962" y="73"/>
                  </a:lnTo>
                  <a:lnTo>
                    <a:pt x="970" y="83"/>
                  </a:lnTo>
                  <a:lnTo>
                    <a:pt x="978" y="92"/>
                  </a:lnTo>
                  <a:lnTo>
                    <a:pt x="984" y="102"/>
                  </a:lnTo>
                  <a:lnTo>
                    <a:pt x="990" y="113"/>
                  </a:lnTo>
                  <a:lnTo>
                    <a:pt x="995" y="124"/>
                  </a:lnTo>
                  <a:lnTo>
                    <a:pt x="999" y="136"/>
                  </a:lnTo>
                  <a:lnTo>
                    <a:pt x="1003" y="147"/>
                  </a:lnTo>
                  <a:lnTo>
                    <a:pt x="1006" y="159"/>
                  </a:lnTo>
                  <a:lnTo>
                    <a:pt x="1006" y="159"/>
                  </a:lnTo>
                  <a:lnTo>
                    <a:pt x="1014" y="195"/>
                  </a:lnTo>
                  <a:lnTo>
                    <a:pt x="1023" y="238"/>
                  </a:lnTo>
                  <a:lnTo>
                    <a:pt x="1031" y="286"/>
                  </a:lnTo>
                  <a:lnTo>
                    <a:pt x="1039" y="339"/>
                  </a:lnTo>
                  <a:lnTo>
                    <a:pt x="1056" y="455"/>
                  </a:lnTo>
                  <a:lnTo>
                    <a:pt x="1074" y="580"/>
                  </a:lnTo>
                  <a:lnTo>
                    <a:pt x="1090" y="705"/>
                  </a:lnTo>
                  <a:lnTo>
                    <a:pt x="1107" y="821"/>
                  </a:lnTo>
                  <a:lnTo>
                    <a:pt x="1115" y="874"/>
                  </a:lnTo>
                  <a:lnTo>
                    <a:pt x="1124" y="922"/>
                  </a:lnTo>
                  <a:lnTo>
                    <a:pt x="1131" y="965"/>
                  </a:lnTo>
                  <a:lnTo>
                    <a:pt x="1139" y="1001"/>
                  </a:lnTo>
                  <a:lnTo>
                    <a:pt x="1139" y="1001"/>
                  </a:lnTo>
                  <a:lnTo>
                    <a:pt x="1141" y="1010"/>
                  </a:lnTo>
                  <a:lnTo>
                    <a:pt x="1142" y="1027"/>
                  </a:lnTo>
                  <a:lnTo>
                    <a:pt x="1142" y="1048"/>
                  </a:lnTo>
                  <a:lnTo>
                    <a:pt x="1141" y="1074"/>
                  </a:lnTo>
                  <a:lnTo>
                    <a:pt x="1139" y="1140"/>
                  </a:lnTo>
                  <a:lnTo>
                    <a:pt x="1133" y="1223"/>
                  </a:lnTo>
                  <a:lnTo>
                    <a:pt x="1126" y="1319"/>
                  </a:lnTo>
                  <a:lnTo>
                    <a:pt x="1117" y="1424"/>
                  </a:lnTo>
                  <a:lnTo>
                    <a:pt x="1106" y="1537"/>
                  </a:lnTo>
                  <a:lnTo>
                    <a:pt x="1095" y="1654"/>
                  </a:lnTo>
                  <a:lnTo>
                    <a:pt x="1083" y="1772"/>
                  </a:lnTo>
                  <a:lnTo>
                    <a:pt x="1070" y="1888"/>
                  </a:lnTo>
                  <a:lnTo>
                    <a:pt x="1056" y="2000"/>
                  </a:lnTo>
                  <a:lnTo>
                    <a:pt x="1043" y="2105"/>
                  </a:lnTo>
                  <a:lnTo>
                    <a:pt x="1031" y="2198"/>
                  </a:lnTo>
                  <a:lnTo>
                    <a:pt x="1018" y="2278"/>
                  </a:lnTo>
                  <a:lnTo>
                    <a:pt x="1007" y="2342"/>
                  </a:lnTo>
                  <a:lnTo>
                    <a:pt x="1002" y="2366"/>
                  </a:lnTo>
                  <a:lnTo>
                    <a:pt x="998" y="2387"/>
                  </a:lnTo>
                  <a:lnTo>
                    <a:pt x="998" y="2387"/>
                  </a:lnTo>
                  <a:lnTo>
                    <a:pt x="993" y="2398"/>
                  </a:lnTo>
                  <a:lnTo>
                    <a:pt x="988" y="2408"/>
                  </a:lnTo>
                  <a:lnTo>
                    <a:pt x="982" y="2418"/>
                  </a:lnTo>
                  <a:lnTo>
                    <a:pt x="976" y="2428"/>
                  </a:lnTo>
                  <a:lnTo>
                    <a:pt x="967" y="2437"/>
                  </a:lnTo>
                  <a:lnTo>
                    <a:pt x="959" y="2444"/>
                  </a:lnTo>
                  <a:lnTo>
                    <a:pt x="951" y="2451"/>
                  </a:lnTo>
                  <a:lnTo>
                    <a:pt x="942" y="2457"/>
                  </a:lnTo>
                  <a:lnTo>
                    <a:pt x="932" y="2463"/>
                  </a:lnTo>
                  <a:lnTo>
                    <a:pt x="921" y="2468"/>
                  </a:lnTo>
                  <a:lnTo>
                    <a:pt x="911" y="2473"/>
                  </a:lnTo>
                  <a:lnTo>
                    <a:pt x="900" y="2476"/>
                  </a:lnTo>
                  <a:lnTo>
                    <a:pt x="889" y="2478"/>
                  </a:lnTo>
                  <a:lnTo>
                    <a:pt x="877" y="2480"/>
                  </a:lnTo>
                  <a:lnTo>
                    <a:pt x="866" y="2481"/>
                  </a:lnTo>
                  <a:lnTo>
                    <a:pt x="855" y="2481"/>
                  </a:lnTo>
                  <a:lnTo>
                    <a:pt x="844" y="2481"/>
                  </a:lnTo>
                  <a:lnTo>
                    <a:pt x="832" y="2480"/>
                  </a:lnTo>
                  <a:lnTo>
                    <a:pt x="821" y="2478"/>
                  </a:lnTo>
                  <a:lnTo>
                    <a:pt x="810" y="2475"/>
                  </a:lnTo>
                  <a:lnTo>
                    <a:pt x="800" y="2472"/>
                  </a:lnTo>
                  <a:lnTo>
                    <a:pt x="790" y="2466"/>
                  </a:lnTo>
                  <a:lnTo>
                    <a:pt x="779" y="2462"/>
                  </a:lnTo>
                  <a:lnTo>
                    <a:pt x="770" y="2456"/>
                  </a:lnTo>
                  <a:lnTo>
                    <a:pt x="761" y="2449"/>
                  </a:lnTo>
                  <a:lnTo>
                    <a:pt x="752" y="2442"/>
                  </a:lnTo>
                  <a:lnTo>
                    <a:pt x="745" y="2434"/>
                  </a:lnTo>
                  <a:lnTo>
                    <a:pt x="737" y="2426"/>
                  </a:lnTo>
                  <a:lnTo>
                    <a:pt x="730" y="2415"/>
                  </a:lnTo>
                  <a:lnTo>
                    <a:pt x="725" y="2405"/>
                  </a:lnTo>
                  <a:lnTo>
                    <a:pt x="720" y="2394"/>
                  </a:lnTo>
                  <a:lnTo>
                    <a:pt x="716" y="2382"/>
                  </a:lnTo>
                  <a:lnTo>
                    <a:pt x="716" y="2382"/>
                  </a:lnTo>
                  <a:lnTo>
                    <a:pt x="714" y="2360"/>
                  </a:lnTo>
                  <a:lnTo>
                    <a:pt x="712" y="2339"/>
                  </a:lnTo>
                  <a:lnTo>
                    <a:pt x="712" y="2316"/>
                  </a:lnTo>
                  <a:lnTo>
                    <a:pt x="712" y="2295"/>
                  </a:lnTo>
                  <a:lnTo>
                    <a:pt x="713" y="2272"/>
                  </a:lnTo>
                  <a:lnTo>
                    <a:pt x="714" y="2251"/>
                  </a:lnTo>
                  <a:lnTo>
                    <a:pt x="719" y="2207"/>
                  </a:lnTo>
                  <a:lnTo>
                    <a:pt x="731" y="2119"/>
                  </a:lnTo>
                  <a:lnTo>
                    <a:pt x="736" y="2076"/>
                  </a:lnTo>
                  <a:lnTo>
                    <a:pt x="740" y="2032"/>
                  </a:lnTo>
                  <a:lnTo>
                    <a:pt x="740" y="2032"/>
                  </a:lnTo>
                  <a:lnTo>
                    <a:pt x="745" y="2000"/>
                  </a:lnTo>
                  <a:lnTo>
                    <a:pt x="750" y="1956"/>
                  </a:lnTo>
                  <a:lnTo>
                    <a:pt x="761" y="1837"/>
                  </a:lnTo>
                  <a:lnTo>
                    <a:pt x="773" y="1692"/>
                  </a:lnTo>
                  <a:lnTo>
                    <a:pt x="786" y="1537"/>
                  </a:lnTo>
                  <a:lnTo>
                    <a:pt x="808" y="1262"/>
                  </a:lnTo>
                  <a:lnTo>
                    <a:pt x="817" y="1141"/>
                  </a:lnTo>
                  <a:lnTo>
                    <a:pt x="817" y="1141"/>
                  </a:lnTo>
                  <a:lnTo>
                    <a:pt x="814" y="1085"/>
                  </a:lnTo>
                  <a:lnTo>
                    <a:pt x="806" y="951"/>
                  </a:lnTo>
                  <a:lnTo>
                    <a:pt x="800" y="872"/>
                  </a:lnTo>
                  <a:lnTo>
                    <a:pt x="793" y="794"/>
                  </a:lnTo>
                  <a:lnTo>
                    <a:pt x="784" y="721"/>
                  </a:lnTo>
                  <a:lnTo>
                    <a:pt x="780" y="689"/>
                  </a:lnTo>
                  <a:lnTo>
                    <a:pt x="776" y="662"/>
                  </a:lnTo>
                  <a:lnTo>
                    <a:pt x="776" y="662"/>
                  </a:lnTo>
                  <a:lnTo>
                    <a:pt x="771" y="675"/>
                  </a:lnTo>
                  <a:lnTo>
                    <a:pt x="766" y="690"/>
                  </a:lnTo>
                  <a:lnTo>
                    <a:pt x="758" y="708"/>
                  </a:lnTo>
                  <a:lnTo>
                    <a:pt x="753" y="718"/>
                  </a:lnTo>
                  <a:lnTo>
                    <a:pt x="747" y="727"/>
                  </a:lnTo>
                  <a:lnTo>
                    <a:pt x="739" y="737"/>
                  </a:lnTo>
                  <a:lnTo>
                    <a:pt x="732" y="748"/>
                  </a:lnTo>
                  <a:lnTo>
                    <a:pt x="723" y="757"/>
                  </a:lnTo>
                  <a:lnTo>
                    <a:pt x="714" y="765"/>
                  </a:lnTo>
                  <a:lnTo>
                    <a:pt x="704" y="773"/>
                  </a:lnTo>
                  <a:lnTo>
                    <a:pt x="692" y="780"/>
                  </a:lnTo>
                  <a:lnTo>
                    <a:pt x="692" y="780"/>
                  </a:lnTo>
                  <a:lnTo>
                    <a:pt x="668" y="782"/>
                  </a:lnTo>
                  <a:lnTo>
                    <a:pt x="639" y="784"/>
                  </a:lnTo>
                  <a:lnTo>
                    <a:pt x="569" y="787"/>
                  </a:lnTo>
                  <a:lnTo>
                    <a:pt x="486" y="788"/>
                  </a:lnTo>
                  <a:lnTo>
                    <a:pt x="399" y="789"/>
                  </a:lnTo>
                  <a:lnTo>
                    <a:pt x="229" y="789"/>
                  </a:lnTo>
                  <a:lnTo>
                    <a:pt x="105" y="789"/>
                  </a:lnTo>
                  <a:lnTo>
                    <a:pt x="105" y="789"/>
                  </a:lnTo>
                  <a:lnTo>
                    <a:pt x="93" y="790"/>
                  </a:lnTo>
                  <a:lnTo>
                    <a:pt x="80" y="789"/>
                  </a:lnTo>
                  <a:lnTo>
                    <a:pt x="69" y="786"/>
                  </a:lnTo>
                  <a:lnTo>
                    <a:pt x="58" y="781"/>
                  </a:lnTo>
                  <a:lnTo>
                    <a:pt x="47" y="775"/>
                  </a:lnTo>
                  <a:lnTo>
                    <a:pt x="36" y="768"/>
                  </a:lnTo>
                  <a:lnTo>
                    <a:pt x="28" y="760"/>
                  </a:lnTo>
                  <a:lnTo>
                    <a:pt x="20" y="750"/>
                  </a:lnTo>
                  <a:lnTo>
                    <a:pt x="13" y="740"/>
                  </a:lnTo>
                  <a:lnTo>
                    <a:pt x="8" y="729"/>
                  </a:lnTo>
                  <a:lnTo>
                    <a:pt x="4" y="718"/>
                  </a:lnTo>
                  <a:lnTo>
                    <a:pt x="1" y="706"/>
                  </a:lnTo>
                  <a:lnTo>
                    <a:pt x="0" y="695"/>
                  </a:lnTo>
                  <a:lnTo>
                    <a:pt x="1" y="682"/>
                  </a:lnTo>
                  <a:lnTo>
                    <a:pt x="4" y="670"/>
                  </a:lnTo>
                  <a:lnTo>
                    <a:pt x="9" y="659"/>
                  </a:lnTo>
                  <a:lnTo>
                    <a:pt x="9" y="659"/>
                  </a:lnTo>
                  <a:lnTo>
                    <a:pt x="12" y="652"/>
                  </a:lnTo>
                  <a:lnTo>
                    <a:pt x="15" y="645"/>
                  </a:lnTo>
                  <a:lnTo>
                    <a:pt x="19" y="638"/>
                  </a:lnTo>
                  <a:lnTo>
                    <a:pt x="24" y="632"/>
                  </a:lnTo>
                  <a:lnTo>
                    <a:pt x="33" y="622"/>
                  </a:lnTo>
                  <a:lnTo>
                    <a:pt x="45" y="614"/>
                  </a:lnTo>
                  <a:lnTo>
                    <a:pt x="57" y="608"/>
                  </a:lnTo>
                  <a:lnTo>
                    <a:pt x="69" y="603"/>
                  </a:lnTo>
                  <a:lnTo>
                    <a:pt x="83" y="600"/>
                  </a:lnTo>
                  <a:lnTo>
                    <a:pt x="98" y="598"/>
                  </a:lnTo>
                  <a:lnTo>
                    <a:pt x="112" y="595"/>
                  </a:lnTo>
                  <a:lnTo>
                    <a:pt x="127" y="594"/>
                  </a:lnTo>
                  <a:lnTo>
                    <a:pt x="158" y="593"/>
                  </a:lnTo>
                  <a:lnTo>
                    <a:pt x="188" y="592"/>
                  </a:lnTo>
                  <a:lnTo>
                    <a:pt x="202" y="591"/>
                  </a:lnTo>
                  <a:lnTo>
                    <a:pt x="215" y="590"/>
                  </a:lnTo>
                  <a:lnTo>
                    <a:pt x="215" y="590"/>
                  </a:lnTo>
                  <a:lnTo>
                    <a:pt x="230" y="588"/>
                  </a:lnTo>
                  <a:lnTo>
                    <a:pt x="248" y="587"/>
                  </a:lnTo>
                  <a:lnTo>
                    <a:pt x="293" y="587"/>
                  </a:lnTo>
                  <a:lnTo>
                    <a:pt x="346" y="587"/>
                  </a:lnTo>
                  <a:lnTo>
                    <a:pt x="403" y="586"/>
                  </a:lnTo>
                  <a:lnTo>
                    <a:pt x="432" y="585"/>
                  </a:lnTo>
                  <a:lnTo>
                    <a:pt x="459" y="583"/>
                  </a:lnTo>
                  <a:lnTo>
                    <a:pt x="486" y="581"/>
                  </a:lnTo>
                  <a:lnTo>
                    <a:pt x="511" y="577"/>
                  </a:lnTo>
                  <a:lnTo>
                    <a:pt x="532" y="572"/>
                  </a:lnTo>
                  <a:lnTo>
                    <a:pt x="551" y="566"/>
                  </a:lnTo>
                  <a:lnTo>
                    <a:pt x="560" y="562"/>
                  </a:lnTo>
                  <a:lnTo>
                    <a:pt x="568" y="558"/>
                  </a:lnTo>
                  <a:lnTo>
                    <a:pt x="574" y="554"/>
                  </a:lnTo>
                  <a:lnTo>
                    <a:pt x="579" y="548"/>
                  </a:lnTo>
                  <a:lnTo>
                    <a:pt x="579" y="548"/>
                  </a:lnTo>
                  <a:lnTo>
                    <a:pt x="587" y="540"/>
                  </a:lnTo>
                  <a:lnTo>
                    <a:pt x="593" y="531"/>
                  </a:lnTo>
                  <a:lnTo>
                    <a:pt x="599" y="520"/>
                  </a:lnTo>
                  <a:lnTo>
                    <a:pt x="606" y="507"/>
                  </a:lnTo>
                  <a:lnTo>
                    <a:pt x="611" y="493"/>
                  </a:lnTo>
                  <a:lnTo>
                    <a:pt x="615" y="478"/>
                  </a:lnTo>
                  <a:lnTo>
                    <a:pt x="618" y="462"/>
                  </a:lnTo>
                  <a:lnTo>
                    <a:pt x="622" y="445"/>
                  </a:lnTo>
                  <a:lnTo>
                    <a:pt x="627" y="408"/>
                  </a:lnTo>
                  <a:lnTo>
                    <a:pt x="631" y="371"/>
                  </a:lnTo>
                  <a:lnTo>
                    <a:pt x="637" y="289"/>
                  </a:lnTo>
                  <a:lnTo>
                    <a:pt x="639" y="248"/>
                  </a:lnTo>
                  <a:lnTo>
                    <a:pt x="643" y="208"/>
                  </a:lnTo>
                  <a:lnTo>
                    <a:pt x="647" y="169"/>
                  </a:lnTo>
                  <a:lnTo>
                    <a:pt x="653" y="134"/>
                  </a:lnTo>
                  <a:lnTo>
                    <a:pt x="657" y="117"/>
                  </a:lnTo>
                  <a:lnTo>
                    <a:pt x="661" y="101"/>
                  </a:lnTo>
                  <a:lnTo>
                    <a:pt x="665" y="87"/>
                  </a:lnTo>
                  <a:lnTo>
                    <a:pt x="670" y="73"/>
                  </a:lnTo>
                  <a:lnTo>
                    <a:pt x="676" y="61"/>
                  </a:lnTo>
                  <a:lnTo>
                    <a:pt x="682" y="50"/>
                  </a:lnTo>
                  <a:lnTo>
                    <a:pt x="689" y="41"/>
                  </a:lnTo>
                  <a:lnTo>
                    <a:pt x="698" y="32"/>
                  </a:lnTo>
                  <a:lnTo>
                    <a:pt x="698"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8" name="Freeform 1967"/>
            <p:cNvSpPr>
              <a:spLocks/>
            </p:cNvSpPr>
            <p:nvPr/>
          </p:nvSpPr>
          <p:spPr bwMode="auto">
            <a:xfrm>
              <a:off x="2802832" y="3306661"/>
              <a:ext cx="134938" cy="134938"/>
            </a:xfrm>
            <a:custGeom>
              <a:avLst/>
              <a:gdLst>
                <a:gd name="T0" fmla="*/ 0 w 509"/>
                <a:gd name="T1" fmla="*/ 254 h 509"/>
                <a:gd name="T2" fmla="*/ 1 w 509"/>
                <a:gd name="T3" fmla="*/ 228 h 509"/>
                <a:gd name="T4" fmla="*/ 5 w 509"/>
                <a:gd name="T5" fmla="*/ 203 h 509"/>
                <a:gd name="T6" fmla="*/ 12 w 509"/>
                <a:gd name="T7" fmla="*/ 179 h 509"/>
                <a:gd name="T8" fmla="*/ 21 w 509"/>
                <a:gd name="T9" fmla="*/ 155 h 509"/>
                <a:gd name="T10" fmla="*/ 44 w 509"/>
                <a:gd name="T11" fmla="*/ 112 h 509"/>
                <a:gd name="T12" fmla="*/ 75 w 509"/>
                <a:gd name="T13" fmla="*/ 75 h 509"/>
                <a:gd name="T14" fmla="*/ 113 w 509"/>
                <a:gd name="T15" fmla="*/ 43 h 509"/>
                <a:gd name="T16" fmla="*/ 156 w 509"/>
                <a:gd name="T17" fmla="*/ 19 h 509"/>
                <a:gd name="T18" fmla="*/ 179 w 509"/>
                <a:gd name="T19" fmla="*/ 11 h 509"/>
                <a:gd name="T20" fmla="*/ 204 w 509"/>
                <a:gd name="T21" fmla="*/ 5 h 509"/>
                <a:gd name="T22" fmla="*/ 229 w 509"/>
                <a:gd name="T23" fmla="*/ 1 h 509"/>
                <a:gd name="T24" fmla="*/ 255 w 509"/>
                <a:gd name="T25" fmla="*/ 0 h 509"/>
                <a:gd name="T26" fmla="*/ 268 w 509"/>
                <a:gd name="T27" fmla="*/ 0 h 509"/>
                <a:gd name="T28" fmla="*/ 294 w 509"/>
                <a:gd name="T29" fmla="*/ 3 h 509"/>
                <a:gd name="T30" fmla="*/ 318 w 509"/>
                <a:gd name="T31" fmla="*/ 8 h 509"/>
                <a:gd name="T32" fmla="*/ 343 w 509"/>
                <a:gd name="T33" fmla="*/ 15 h 509"/>
                <a:gd name="T34" fmla="*/ 376 w 509"/>
                <a:gd name="T35" fmla="*/ 31 h 509"/>
                <a:gd name="T36" fmla="*/ 416 w 509"/>
                <a:gd name="T37" fmla="*/ 58 h 509"/>
                <a:gd name="T38" fmla="*/ 451 w 509"/>
                <a:gd name="T39" fmla="*/ 92 h 509"/>
                <a:gd name="T40" fmla="*/ 478 w 509"/>
                <a:gd name="T41" fmla="*/ 133 h 509"/>
                <a:gd name="T42" fmla="*/ 494 w 509"/>
                <a:gd name="T43" fmla="*/ 167 h 509"/>
                <a:gd name="T44" fmla="*/ 501 w 509"/>
                <a:gd name="T45" fmla="*/ 191 h 509"/>
                <a:gd name="T46" fmla="*/ 506 w 509"/>
                <a:gd name="T47" fmla="*/ 216 h 509"/>
                <a:gd name="T48" fmla="*/ 509 w 509"/>
                <a:gd name="T49" fmla="*/ 241 h 509"/>
                <a:gd name="T50" fmla="*/ 509 w 509"/>
                <a:gd name="T51" fmla="*/ 254 h 509"/>
                <a:gd name="T52" fmla="*/ 508 w 509"/>
                <a:gd name="T53" fmla="*/ 280 h 509"/>
                <a:gd name="T54" fmla="*/ 504 w 509"/>
                <a:gd name="T55" fmla="*/ 306 h 509"/>
                <a:gd name="T56" fmla="*/ 498 w 509"/>
                <a:gd name="T57" fmla="*/ 330 h 509"/>
                <a:gd name="T58" fmla="*/ 489 w 509"/>
                <a:gd name="T59" fmla="*/ 354 h 509"/>
                <a:gd name="T60" fmla="*/ 465 w 509"/>
                <a:gd name="T61" fmla="*/ 396 h 509"/>
                <a:gd name="T62" fmla="*/ 435 w 509"/>
                <a:gd name="T63" fmla="*/ 434 h 509"/>
                <a:gd name="T64" fmla="*/ 397 w 509"/>
                <a:gd name="T65" fmla="*/ 465 h 509"/>
                <a:gd name="T66" fmla="*/ 354 w 509"/>
                <a:gd name="T67" fmla="*/ 488 h 509"/>
                <a:gd name="T68" fmla="*/ 330 w 509"/>
                <a:gd name="T69" fmla="*/ 498 h 509"/>
                <a:gd name="T70" fmla="*/ 306 w 509"/>
                <a:gd name="T71" fmla="*/ 504 h 509"/>
                <a:gd name="T72" fmla="*/ 280 w 509"/>
                <a:gd name="T73" fmla="*/ 507 h 509"/>
                <a:gd name="T74" fmla="*/ 255 w 509"/>
                <a:gd name="T75" fmla="*/ 509 h 509"/>
                <a:gd name="T76" fmla="*/ 241 w 509"/>
                <a:gd name="T77" fmla="*/ 508 h 509"/>
                <a:gd name="T78" fmla="*/ 216 w 509"/>
                <a:gd name="T79" fmla="*/ 506 h 509"/>
                <a:gd name="T80" fmla="*/ 191 w 509"/>
                <a:gd name="T81" fmla="*/ 501 h 509"/>
                <a:gd name="T82" fmla="*/ 167 w 509"/>
                <a:gd name="T83" fmla="*/ 494 h 509"/>
                <a:gd name="T84" fmla="*/ 133 w 509"/>
                <a:gd name="T85" fmla="*/ 478 h 509"/>
                <a:gd name="T86" fmla="*/ 93 w 509"/>
                <a:gd name="T87" fmla="*/ 451 h 509"/>
                <a:gd name="T88" fmla="*/ 59 w 509"/>
                <a:gd name="T89" fmla="*/ 416 h 509"/>
                <a:gd name="T90" fmla="*/ 31 w 509"/>
                <a:gd name="T91" fmla="*/ 375 h 509"/>
                <a:gd name="T92" fmla="*/ 16 w 509"/>
                <a:gd name="T93" fmla="*/ 341 h 509"/>
                <a:gd name="T94" fmla="*/ 8 w 509"/>
                <a:gd name="T95" fmla="*/ 318 h 509"/>
                <a:gd name="T96" fmla="*/ 3 w 509"/>
                <a:gd name="T97" fmla="*/ 293 h 509"/>
                <a:gd name="T98" fmla="*/ 0 w 509"/>
                <a:gd name="T99" fmla="*/ 268 h 509"/>
                <a:gd name="T100" fmla="*/ 0 w 509"/>
                <a:gd name="T101" fmla="*/ 25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9" h="509">
                  <a:moveTo>
                    <a:pt x="0" y="254"/>
                  </a:moveTo>
                  <a:lnTo>
                    <a:pt x="0" y="254"/>
                  </a:lnTo>
                  <a:lnTo>
                    <a:pt x="0" y="241"/>
                  </a:lnTo>
                  <a:lnTo>
                    <a:pt x="1" y="228"/>
                  </a:lnTo>
                  <a:lnTo>
                    <a:pt x="3" y="216"/>
                  </a:lnTo>
                  <a:lnTo>
                    <a:pt x="5" y="203"/>
                  </a:lnTo>
                  <a:lnTo>
                    <a:pt x="8" y="191"/>
                  </a:lnTo>
                  <a:lnTo>
                    <a:pt x="12" y="179"/>
                  </a:lnTo>
                  <a:lnTo>
                    <a:pt x="16" y="167"/>
                  </a:lnTo>
                  <a:lnTo>
                    <a:pt x="21" y="155"/>
                  </a:lnTo>
                  <a:lnTo>
                    <a:pt x="31" y="133"/>
                  </a:lnTo>
                  <a:lnTo>
                    <a:pt x="44" y="112"/>
                  </a:lnTo>
                  <a:lnTo>
                    <a:pt x="59" y="92"/>
                  </a:lnTo>
                  <a:lnTo>
                    <a:pt x="75" y="75"/>
                  </a:lnTo>
                  <a:lnTo>
                    <a:pt x="93" y="58"/>
                  </a:lnTo>
                  <a:lnTo>
                    <a:pt x="113" y="43"/>
                  </a:lnTo>
                  <a:lnTo>
                    <a:pt x="133" y="31"/>
                  </a:lnTo>
                  <a:lnTo>
                    <a:pt x="156" y="19"/>
                  </a:lnTo>
                  <a:lnTo>
                    <a:pt x="167" y="15"/>
                  </a:lnTo>
                  <a:lnTo>
                    <a:pt x="179" y="11"/>
                  </a:lnTo>
                  <a:lnTo>
                    <a:pt x="191" y="8"/>
                  </a:lnTo>
                  <a:lnTo>
                    <a:pt x="204" y="5"/>
                  </a:lnTo>
                  <a:lnTo>
                    <a:pt x="216" y="3"/>
                  </a:lnTo>
                  <a:lnTo>
                    <a:pt x="229" y="1"/>
                  </a:lnTo>
                  <a:lnTo>
                    <a:pt x="241" y="0"/>
                  </a:lnTo>
                  <a:lnTo>
                    <a:pt x="255" y="0"/>
                  </a:lnTo>
                  <a:lnTo>
                    <a:pt x="255" y="0"/>
                  </a:lnTo>
                  <a:lnTo>
                    <a:pt x="268" y="0"/>
                  </a:lnTo>
                  <a:lnTo>
                    <a:pt x="280" y="1"/>
                  </a:lnTo>
                  <a:lnTo>
                    <a:pt x="294" y="3"/>
                  </a:lnTo>
                  <a:lnTo>
                    <a:pt x="306" y="5"/>
                  </a:lnTo>
                  <a:lnTo>
                    <a:pt x="318" y="8"/>
                  </a:lnTo>
                  <a:lnTo>
                    <a:pt x="330" y="11"/>
                  </a:lnTo>
                  <a:lnTo>
                    <a:pt x="343" y="15"/>
                  </a:lnTo>
                  <a:lnTo>
                    <a:pt x="354" y="19"/>
                  </a:lnTo>
                  <a:lnTo>
                    <a:pt x="376" y="31"/>
                  </a:lnTo>
                  <a:lnTo>
                    <a:pt x="397" y="43"/>
                  </a:lnTo>
                  <a:lnTo>
                    <a:pt x="416" y="58"/>
                  </a:lnTo>
                  <a:lnTo>
                    <a:pt x="435" y="75"/>
                  </a:lnTo>
                  <a:lnTo>
                    <a:pt x="451" y="92"/>
                  </a:lnTo>
                  <a:lnTo>
                    <a:pt x="465" y="112"/>
                  </a:lnTo>
                  <a:lnTo>
                    <a:pt x="478" y="133"/>
                  </a:lnTo>
                  <a:lnTo>
                    <a:pt x="489" y="155"/>
                  </a:lnTo>
                  <a:lnTo>
                    <a:pt x="494" y="167"/>
                  </a:lnTo>
                  <a:lnTo>
                    <a:pt x="498" y="179"/>
                  </a:lnTo>
                  <a:lnTo>
                    <a:pt x="501" y="191"/>
                  </a:lnTo>
                  <a:lnTo>
                    <a:pt x="504" y="203"/>
                  </a:lnTo>
                  <a:lnTo>
                    <a:pt x="506" y="216"/>
                  </a:lnTo>
                  <a:lnTo>
                    <a:pt x="508" y="228"/>
                  </a:lnTo>
                  <a:lnTo>
                    <a:pt x="509" y="241"/>
                  </a:lnTo>
                  <a:lnTo>
                    <a:pt x="509" y="254"/>
                  </a:lnTo>
                  <a:lnTo>
                    <a:pt x="509" y="254"/>
                  </a:lnTo>
                  <a:lnTo>
                    <a:pt x="509" y="268"/>
                  </a:lnTo>
                  <a:lnTo>
                    <a:pt x="508" y="280"/>
                  </a:lnTo>
                  <a:lnTo>
                    <a:pt x="506" y="293"/>
                  </a:lnTo>
                  <a:lnTo>
                    <a:pt x="504" y="306"/>
                  </a:lnTo>
                  <a:lnTo>
                    <a:pt x="501" y="318"/>
                  </a:lnTo>
                  <a:lnTo>
                    <a:pt x="498" y="330"/>
                  </a:lnTo>
                  <a:lnTo>
                    <a:pt x="494" y="341"/>
                  </a:lnTo>
                  <a:lnTo>
                    <a:pt x="489" y="354"/>
                  </a:lnTo>
                  <a:lnTo>
                    <a:pt x="478" y="375"/>
                  </a:lnTo>
                  <a:lnTo>
                    <a:pt x="465" y="396"/>
                  </a:lnTo>
                  <a:lnTo>
                    <a:pt x="451" y="416"/>
                  </a:lnTo>
                  <a:lnTo>
                    <a:pt x="435" y="434"/>
                  </a:lnTo>
                  <a:lnTo>
                    <a:pt x="416" y="451"/>
                  </a:lnTo>
                  <a:lnTo>
                    <a:pt x="397" y="465"/>
                  </a:lnTo>
                  <a:lnTo>
                    <a:pt x="376" y="478"/>
                  </a:lnTo>
                  <a:lnTo>
                    <a:pt x="354" y="488"/>
                  </a:lnTo>
                  <a:lnTo>
                    <a:pt x="343" y="494"/>
                  </a:lnTo>
                  <a:lnTo>
                    <a:pt x="330" y="498"/>
                  </a:lnTo>
                  <a:lnTo>
                    <a:pt x="318" y="501"/>
                  </a:lnTo>
                  <a:lnTo>
                    <a:pt x="306" y="504"/>
                  </a:lnTo>
                  <a:lnTo>
                    <a:pt x="294" y="506"/>
                  </a:lnTo>
                  <a:lnTo>
                    <a:pt x="280" y="507"/>
                  </a:lnTo>
                  <a:lnTo>
                    <a:pt x="268" y="508"/>
                  </a:lnTo>
                  <a:lnTo>
                    <a:pt x="255" y="509"/>
                  </a:lnTo>
                  <a:lnTo>
                    <a:pt x="255" y="509"/>
                  </a:lnTo>
                  <a:lnTo>
                    <a:pt x="241" y="508"/>
                  </a:lnTo>
                  <a:lnTo>
                    <a:pt x="229" y="507"/>
                  </a:lnTo>
                  <a:lnTo>
                    <a:pt x="216" y="506"/>
                  </a:lnTo>
                  <a:lnTo>
                    <a:pt x="204" y="504"/>
                  </a:lnTo>
                  <a:lnTo>
                    <a:pt x="191" y="501"/>
                  </a:lnTo>
                  <a:lnTo>
                    <a:pt x="179" y="498"/>
                  </a:lnTo>
                  <a:lnTo>
                    <a:pt x="167" y="494"/>
                  </a:lnTo>
                  <a:lnTo>
                    <a:pt x="156" y="488"/>
                  </a:lnTo>
                  <a:lnTo>
                    <a:pt x="133" y="478"/>
                  </a:lnTo>
                  <a:lnTo>
                    <a:pt x="113" y="465"/>
                  </a:lnTo>
                  <a:lnTo>
                    <a:pt x="93" y="451"/>
                  </a:lnTo>
                  <a:lnTo>
                    <a:pt x="75" y="434"/>
                  </a:lnTo>
                  <a:lnTo>
                    <a:pt x="59" y="416"/>
                  </a:lnTo>
                  <a:lnTo>
                    <a:pt x="44" y="396"/>
                  </a:lnTo>
                  <a:lnTo>
                    <a:pt x="31" y="375"/>
                  </a:lnTo>
                  <a:lnTo>
                    <a:pt x="21" y="354"/>
                  </a:lnTo>
                  <a:lnTo>
                    <a:pt x="16" y="341"/>
                  </a:lnTo>
                  <a:lnTo>
                    <a:pt x="12" y="330"/>
                  </a:lnTo>
                  <a:lnTo>
                    <a:pt x="8" y="318"/>
                  </a:lnTo>
                  <a:lnTo>
                    <a:pt x="5" y="306"/>
                  </a:lnTo>
                  <a:lnTo>
                    <a:pt x="3" y="293"/>
                  </a:lnTo>
                  <a:lnTo>
                    <a:pt x="1" y="280"/>
                  </a:lnTo>
                  <a:lnTo>
                    <a:pt x="0" y="268"/>
                  </a:lnTo>
                  <a:lnTo>
                    <a:pt x="0" y="254"/>
                  </a:lnTo>
                  <a:lnTo>
                    <a:pt x="0" y="2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426" name="Group 1425"/>
          <p:cNvGrpSpPr/>
          <p:nvPr/>
        </p:nvGrpSpPr>
        <p:grpSpPr>
          <a:xfrm>
            <a:off x="7469686" y="3720603"/>
            <a:ext cx="567577" cy="876415"/>
            <a:chOff x="7040854" y="3882800"/>
            <a:chExt cx="567577" cy="876415"/>
          </a:xfrm>
        </p:grpSpPr>
        <p:grpSp>
          <p:nvGrpSpPr>
            <p:cNvPr id="1434" name="Group 1433"/>
            <p:cNvGrpSpPr/>
            <p:nvPr/>
          </p:nvGrpSpPr>
          <p:grpSpPr>
            <a:xfrm>
              <a:off x="7040854" y="3882800"/>
              <a:ext cx="567577" cy="876415"/>
              <a:chOff x="8373561" y="3191430"/>
              <a:chExt cx="755446" cy="1166508"/>
            </a:xfrm>
          </p:grpSpPr>
          <p:grpSp>
            <p:nvGrpSpPr>
              <p:cNvPr id="875" name="Group 874"/>
              <p:cNvGrpSpPr/>
              <p:nvPr/>
            </p:nvGrpSpPr>
            <p:grpSpPr>
              <a:xfrm>
                <a:off x="8373561" y="3330344"/>
                <a:ext cx="755446" cy="1027594"/>
                <a:chOff x="6863266" y="6601904"/>
                <a:chExt cx="914089" cy="1367728"/>
              </a:xfrm>
            </p:grpSpPr>
            <p:grpSp>
              <p:nvGrpSpPr>
                <p:cNvPr id="876" name="Group 875"/>
                <p:cNvGrpSpPr/>
                <p:nvPr/>
              </p:nvGrpSpPr>
              <p:grpSpPr>
                <a:xfrm>
                  <a:off x="7214597" y="7841417"/>
                  <a:ext cx="562758" cy="128215"/>
                  <a:chOff x="20407313" y="5199062"/>
                  <a:chExt cx="1289050" cy="293688"/>
                </a:xfrm>
                <a:solidFill>
                  <a:schemeClr val="tx2"/>
                </a:solidFill>
              </p:grpSpPr>
              <p:sp>
                <p:nvSpPr>
                  <p:cNvPr id="1137" name="Freeform 22"/>
                  <p:cNvSpPr>
                    <a:spLocks/>
                  </p:cNvSpPr>
                  <p:nvPr/>
                </p:nvSpPr>
                <p:spPr bwMode="auto">
                  <a:xfrm>
                    <a:off x="20407313" y="5199062"/>
                    <a:ext cx="1287463" cy="234950"/>
                  </a:xfrm>
                  <a:custGeom>
                    <a:avLst/>
                    <a:gdLst>
                      <a:gd name="T0" fmla="*/ 811 w 811"/>
                      <a:gd name="T1" fmla="*/ 0 h 148"/>
                      <a:gd name="T2" fmla="*/ 215 w 811"/>
                      <a:gd name="T3" fmla="*/ 0 h 148"/>
                      <a:gd name="T4" fmla="*/ 0 w 811"/>
                      <a:gd name="T5" fmla="*/ 148 h 148"/>
                      <a:gd name="T6" fmla="*/ 594 w 811"/>
                      <a:gd name="T7" fmla="*/ 148 h 148"/>
                      <a:gd name="T8" fmla="*/ 811 w 811"/>
                      <a:gd name="T9" fmla="*/ 0 h 148"/>
                    </a:gdLst>
                    <a:ahLst/>
                    <a:cxnLst>
                      <a:cxn ang="0">
                        <a:pos x="T0" y="T1"/>
                      </a:cxn>
                      <a:cxn ang="0">
                        <a:pos x="T2" y="T3"/>
                      </a:cxn>
                      <a:cxn ang="0">
                        <a:pos x="T4" y="T5"/>
                      </a:cxn>
                      <a:cxn ang="0">
                        <a:pos x="T6" y="T7"/>
                      </a:cxn>
                      <a:cxn ang="0">
                        <a:pos x="T8" y="T9"/>
                      </a:cxn>
                    </a:cxnLst>
                    <a:rect l="0" t="0" r="r" b="b"/>
                    <a:pathLst>
                      <a:path w="811" h="148">
                        <a:moveTo>
                          <a:pt x="811" y="0"/>
                        </a:moveTo>
                        <a:lnTo>
                          <a:pt x="215" y="0"/>
                        </a:lnTo>
                        <a:lnTo>
                          <a:pt x="0" y="148"/>
                        </a:lnTo>
                        <a:lnTo>
                          <a:pt x="594" y="148"/>
                        </a:lnTo>
                        <a:lnTo>
                          <a:pt x="811" y="0"/>
                        </a:lnTo>
                        <a:close/>
                      </a:path>
                    </a:pathLst>
                  </a:custGeom>
                  <a:grpFill/>
                  <a:ln w="7">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8" name="Rectangle 23"/>
                  <p:cNvSpPr>
                    <a:spLocks noChangeArrowheads="1"/>
                  </p:cNvSpPr>
                  <p:nvPr/>
                </p:nvSpPr>
                <p:spPr bwMode="auto">
                  <a:xfrm>
                    <a:off x="20407313" y="5434012"/>
                    <a:ext cx="942975" cy="58738"/>
                  </a:xfrm>
                  <a:prstGeom prst="rect">
                    <a:avLst/>
                  </a:prstGeom>
                  <a:grpFill/>
                  <a:ln w="7">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9" name="Freeform 24"/>
                  <p:cNvSpPr>
                    <a:spLocks/>
                  </p:cNvSpPr>
                  <p:nvPr/>
                </p:nvSpPr>
                <p:spPr bwMode="auto">
                  <a:xfrm>
                    <a:off x="21350288" y="5199062"/>
                    <a:ext cx="346075" cy="293688"/>
                  </a:xfrm>
                  <a:custGeom>
                    <a:avLst/>
                    <a:gdLst>
                      <a:gd name="T0" fmla="*/ 0 w 218"/>
                      <a:gd name="T1" fmla="*/ 185 h 185"/>
                      <a:gd name="T2" fmla="*/ 218 w 218"/>
                      <a:gd name="T3" fmla="*/ 33 h 185"/>
                      <a:gd name="T4" fmla="*/ 218 w 218"/>
                      <a:gd name="T5" fmla="*/ 0 h 185"/>
                      <a:gd name="T6" fmla="*/ 0 w 218"/>
                      <a:gd name="T7" fmla="*/ 148 h 185"/>
                      <a:gd name="T8" fmla="*/ 0 w 218"/>
                      <a:gd name="T9" fmla="*/ 185 h 185"/>
                    </a:gdLst>
                    <a:ahLst/>
                    <a:cxnLst>
                      <a:cxn ang="0">
                        <a:pos x="T0" y="T1"/>
                      </a:cxn>
                      <a:cxn ang="0">
                        <a:pos x="T2" y="T3"/>
                      </a:cxn>
                      <a:cxn ang="0">
                        <a:pos x="T4" y="T5"/>
                      </a:cxn>
                      <a:cxn ang="0">
                        <a:pos x="T6" y="T7"/>
                      </a:cxn>
                      <a:cxn ang="0">
                        <a:pos x="T8" y="T9"/>
                      </a:cxn>
                    </a:cxnLst>
                    <a:rect l="0" t="0" r="r" b="b"/>
                    <a:pathLst>
                      <a:path w="218" h="185">
                        <a:moveTo>
                          <a:pt x="0" y="185"/>
                        </a:moveTo>
                        <a:lnTo>
                          <a:pt x="218" y="33"/>
                        </a:lnTo>
                        <a:lnTo>
                          <a:pt x="218" y="0"/>
                        </a:lnTo>
                        <a:lnTo>
                          <a:pt x="0" y="148"/>
                        </a:lnTo>
                        <a:lnTo>
                          <a:pt x="0" y="185"/>
                        </a:lnTo>
                        <a:close/>
                      </a:path>
                    </a:pathLst>
                  </a:custGeom>
                  <a:grpFill/>
                  <a:ln w="7">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77" name="Group 876"/>
                <p:cNvGrpSpPr/>
                <p:nvPr/>
              </p:nvGrpSpPr>
              <p:grpSpPr>
                <a:xfrm>
                  <a:off x="7475878" y="6601904"/>
                  <a:ext cx="58216" cy="1302106"/>
                  <a:chOff x="21005801" y="2574925"/>
                  <a:chExt cx="133350" cy="2711450"/>
                </a:xfrm>
                <a:solidFill>
                  <a:schemeClr val="tx2"/>
                </a:solidFill>
              </p:grpSpPr>
              <p:sp>
                <p:nvSpPr>
                  <p:cNvPr id="1135" name="Rectangle 29"/>
                  <p:cNvSpPr>
                    <a:spLocks noChangeArrowheads="1"/>
                  </p:cNvSpPr>
                  <p:nvPr/>
                </p:nvSpPr>
                <p:spPr bwMode="auto">
                  <a:xfrm>
                    <a:off x="21005801" y="2574925"/>
                    <a:ext cx="87313" cy="2711450"/>
                  </a:xfrm>
                  <a:prstGeom prst="rect">
                    <a:avLst/>
                  </a:prstGeom>
                  <a:grpFill/>
                  <a:ln w="7">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6" name="Rectangle 30"/>
                  <p:cNvSpPr>
                    <a:spLocks noChangeArrowheads="1"/>
                  </p:cNvSpPr>
                  <p:nvPr/>
                </p:nvSpPr>
                <p:spPr bwMode="auto">
                  <a:xfrm>
                    <a:off x="21091526" y="2574925"/>
                    <a:ext cx="47625" cy="2711450"/>
                  </a:xfrm>
                  <a:prstGeom prst="rect">
                    <a:avLst/>
                  </a:prstGeom>
                  <a:grpFill/>
                  <a:ln w="7">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78" name="Group 877"/>
                <p:cNvGrpSpPr/>
                <p:nvPr/>
              </p:nvGrpSpPr>
              <p:grpSpPr>
                <a:xfrm>
                  <a:off x="7056582" y="6836915"/>
                  <a:ext cx="448404" cy="315339"/>
                  <a:chOff x="17124363" y="978617"/>
                  <a:chExt cx="1027113" cy="722313"/>
                </a:xfrm>
                <a:solidFill>
                  <a:schemeClr val="tx2"/>
                </a:solidFill>
              </p:grpSpPr>
              <p:sp>
                <p:nvSpPr>
                  <p:cNvPr id="1132" name="Freeform 25"/>
                  <p:cNvSpPr>
                    <a:spLocks/>
                  </p:cNvSpPr>
                  <p:nvPr/>
                </p:nvSpPr>
                <p:spPr bwMode="auto">
                  <a:xfrm>
                    <a:off x="17176751" y="978617"/>
                    <a:ext cx="974725" cy="722313"/>
                  </a:xfrm>
                  <a:custGeom>
                    <a:avLst/>
                    <a:gdLst>
                      <a:gd name="T0" fmla="*/ 614 w 614"/>
                      <a:gd name="T1" fmla="*/ 0 h 455"/>
                      <a:gd name="T2" fmla="*/ 0 w 614"/>
                      <a:gd name="T3" fmla="*/ 420 h 455"/>
                      <a:gd name="T4" fmla="*/ 0 w 614"/>
                      <a:gd name="T5" fmla="*/ 455 h 455"/>
                      <a:gd name="T6" fmla="*/ 614 w 614"/>
                      <a:gd name="T7" fmla="*/ 35 h 455"/>
                      <a:gd name="T8" fmla="*/ 614 w 614"/>
                      <a:gd name="T9" fmla="*/ 0 h 455"/>
                    </a:gdLst>
                    <a:ahLst/>
                    <a:cxnLst>
                      <a:cxn ang="0">
                        <a:pos x="T0" y="T1"/>
                      </a:cxn>
                      <a:cxn ang="0">
                        <a:pos x="T2" y="T3"/>
                      </a:cxn>
                      <a:cxn ang="0">
                        <a:pos x="T4" y="T5"/>
                      </a:cxn>
                      <a:cxn ang="0">
                        <a:pos x="T6" y="T7"/>
                      </a:cxn>
                      <a:cxn ang="0">
                        <a:pos x="T8" y="T9"/>
                      </a:cxn>
                    </a:cxnLst>
                    <a:rect l="0" t="0" r="r" b="b"/>
                    <a:pathLst>
                      <a:path w="614" h="455">
                        <a:moveTo>
                          <a:pt x="614" y="0"/>
                        </a:moveTo>
                        <a:lnTo>
                          <a:pt x="0" y="420"/>
                        </a:lnTo>
                        <a:lnTo>
                          <a:pt x="0" y="455"/>
                        </a:lnTo>
                        <a:lnTo>
                          <a:pt x="614" y="35"/>
                        </a:lnTo>
                        <a:lnTo>
                          <a:pt x="614" y="0"/>
                        </a:lnTo>
                        <a:close/>
                      </a:path>
                    </a:pathLst>
                  </a:custGeom>
                  <a:grpFill/>
                  <a:ln w="952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3" name="Freeform 26"/>
                  <p:cNvSpPr>
                    <a:spLocks/>
                  </p:cNvSpPr>
                  <p:nvPr/>
                </p:nvSpPr>
                <p:spPr bwMode="auto">
                  <a:xfrm>
                    <a:off x="17124363" y="978617"/>
                    <a:ext cx="1027113" cy="666750"/>
                  </a:xfrm>
                  <a:custGeom>
                    <a:avLst/>
                    <a:gdLst>
                      <a:gd name="T0" fmla="*/ 647 w 647"/>
                      <a:gd name="T1" fmla="*/ 0 h 420"/>
                      <a:gd name="T2" fmla="*/ 33 w 647"/>
                      <a:gd name="T3" fmla="*/ 420 h 420"/>
                      <a:gd name="T4" fmla="*/ 0 w 647"/>
                      <a:gd name="T5" fmla="*/ 420 h 420"/>
                      <a:gd name="T6" fmla="*/ 615 w 647"/>
                      <a:gd name="T7" fmla="*/ 0 h 420"/>
                      <a:gd name="T8" fmla="*/ 647 w 647"/>
                      <a:gd name="T9" fmla="*/ 0 h 420"/>
                    </a:gdLst>
                    <a:ahLst/>
                    <a:cxnLst>
                      <a:cxn ang="0">
                        <a:pos x="T0" y="T1"/>
                      </a:cxn>
                      <a:cxn ang="0">
                        <a:pos x="T2" y="T3"/>
                      </a:cxn>
                      <a:cxn ang="0">
                        <a:pos x="T4" y="T5"/>
                      </a:cxn>
                      <a:cxn ang="0">
                        <a:pos x="T6" y="T7"/>
                      </a:cxn>
                      <a:cxn ang="0">
                        <a:pos x="T8" y="T9"/>
                      </a:cxn>
                    </a:cxnLst>
                    <a:rect l="0" t="0" r="r" b="b"/>
                    <a:pathLst>
                      <a:path w="647" h="420">
                        <a:moveTo>
                          <a:pt x="647" y="0"/>
                        </a:moveTo>
                        <a:lnTo>
                          <a:pt x="33" y="420"/>
                        </a:lnTo>
                        <a:lnTo>
                          <a:pt x="0" y="420"/>
                        </a:lnTo>
                        <a:lnTo>
                          <a:pt x="615" y="0"/>
                        </a:lnTo>
                        <a:lnTo>
                          <a:pt x="647" y="0"/>
                        </a:lnTo>
                        <a:close/>
                      </a:path>
                    </a:pathLst>
                  </a:custGeom>
                  <a:grpFill/>
                  <a:ln w="952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4" name="Rectangle 27"/>
                  <p:cNvSpPr>
                    <a:spLocks noChangeArrowheads="1"/>
                  </p:cNvSpPr>
                  <p:nvPr/>
                </p:nvSpPr>
                <p:spPr bwMode="auto">
                  <a:xfrm>
                    <a:off x="17124363" y="1632667"/>
                    <a:ext cx="66675" cy="68263"/>
                  </a:xfrm>
                  <a:prstGeom prst="rect">
                    <a:avLst/>
                  </a:prstGeom>
                  <a:grpFill/>
                  <a:ln w="9525">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926" name="Group 925"/>
                <p:cNvGrpSpPr/>
                <p:nvPr/>
              </p:nvGrpSpPr>
              <p:grpSpPr>
                <a:xfrm>
                  <a:off x="7134931" y="6888455"/>
                  <a:ext cx="535036" cy="753742"/>
                  <a:chOff x="5994782" y="7135988"/>
                  <a:chExt cx="535036" cy="753742"/>
                </a:xfrm>
              </p:grpSpPr>
              <p:grpSp>
                <p:nvGrpSpPr>
                  <p:cNvPr id="1121" name="Group 1120"/>
                  <p:cNvGrpSpPr/>
                  <p:nvPr/>
                </p:nvGrpSpPr>
                <p:grpSpPr>
                  <a:xfrm>
                    <a:off x="5994782" y="7250057"/>
                    <a:ext cx="535036" cy="639673"/>
                    <a:chOff x="19642138" y="3821846"/>
                    <a:chExt cx="1225551" cy="1465230"/>
                  </a:xfrm>
                  <a:solidFill>
                    <a:schemeClr val="accent3"/>
                  </a:solidFill>
                </p:grpSpPr>
                <p:sp>
                  <p:nvSpPr>
                    <p:cNvPr id="1127" name="Freeform 111"/>
                    <p:cNvSpPr>
                      <a:spLocks/>
                    </p:cNvSpPr>
                    <p:nvPr/>
                  </p:nvSpPr>
                  <p:spPr bwMode="auto">
                    <a:xfrm>
                      <a:off x="19730413" y="3845626"/>
                      <a:ext cx="996949"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rgbClr val="45A2C3"/>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8"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9"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3">
                        <a:lumMod val="5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0"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1"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rgbClr val="0081A4"/>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22" name="Group 1121"/>
                  <p:cNvGrpSpPr/>
                  <p:nvPr/>
                </p:nvGrpSpPr>
                <p:grpSpPr>
                  <a:xfrm>
                    <a:off x="6180583" y="7135988"/>
                    <a:ext cx="163144" cy="135142"/>
                    <a:chOff x="13903209" y="2449178"/>
                    <a:chExt cx="1124068" cy="931129"/>
                  </a:xfrm>
                </p:grpSpPr>
                <p:sp>
                  <p:nvSpPr>
                    <p:cNvPr id="1123" name="Arc 1122"/>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124" name="Straight Connector 1123"/>
                    <p:cNvCxnSpPr>
                      <a:stCxn id="1123"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25" name="Straight Connector 1124"/>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26" name="Straight Connector 1125"/>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927" name="Group 926"/>
                <p:cNvGrpSpPr/>
                <p:nvPr/>
              </p:nvGrpSpPr>
              <p:grpSpPr>
                <a:xfrm>
                  <a:off x="7092683" y="6926245"/>
                  <a:ext cx="535036" cy="753742"/>
                  <a:chOff x="5994782" y="7135988"/>
                  <a:chExt cx="535036" cy="753742"/>
                </a:xfrm>
              </p:grpSpPr>
              <p:grpSp>
                <p:nvGrpSpPr>
                  <p:cNvPr id="1110" name="Group 1109"/>
                  <p:cNvGrpSpPr/>
                  <p:nvPr/>
                </p:nvGrpSpPr>
                <p:grpSpPr>
                  <a:xfrm>
                    <a:off x="5994782" y="7250057"/>
                    <a:ext cx="535036" cy="639673"/>
                    <a:chOff x="19642138" y="3821846"/>
                    <a:chExt cx="1225551" cy="1465230"/>
                  </a:xfrm>
                  <a:solidFill>
                    <a:schemeClr val="accent3"/>
                  </a:solidFill>
                </p:grpSpPr>
                <p:sp>
                  <p:nvSpPr>
                    <p:cNvPr id="1116" name="Freeform 111"/>
                    <p:cNvSpPr>
                      <a:spLocks/>
                    </p:cNvSpPr>
                    <p:nvPr/>
                  </p:nvSpPr>
                  <p:spPr bwMode="auto">
                    <a:xfrm>
                      <a:off x="19730413" y="3845626"/>
                      <a:ext cx="996949"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rgbClr val="45A2C3"/>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17"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18"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3">
                        <a:lumMod val="5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19"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0"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rgbClr val="0081A4"/>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11" name="Group 1110"/>
                  <p:cNvGrpSpPr/>
                  <p:nvPr/>
                </p:nvGrpSpPr>
                <p:grpSpPr>
                  <a:xfrm>
                    <a:off x="6180583" y="7135988"/>
                    <a:ext cx="163144" cy="135142"/>
                    <a:chOff x="13903209" y="2449178"/>
                    <a:chExt cx="1124068" cy="931129"/>
                  </a:xfrm>
                </p:grpSpPr>
                <p:sp>
                  <p:nvSpPr>
                    <p:cNvPr id="1112" name="Arc 1111"/>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113" name="Straight Connector 1112"/>
                    <p:cNvCxnSpPr>
                      <a:stCxn id="1112"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14" name="Straight Connector 1113"/>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928" name="Group 927"/>
                <p:cNvGrpSpPr/>
                <p:nvPr/>
              </p:nvGrpSpPr>
              <p:grpSpPr>
                <a:xfrm>
                  <a:off x="7042209" y="6965906"/>
                  <a:ext cx="535036" cy="753742"/>
                  <a:chOff x="5994782" y="7135988"/>
                  <a:chExt cx="535036" cy="753742"/>
                </a:xfrm>
              </p:grpSpPr>
              <p:grpSp>
                <p:nvGrpSpPr>
                  <p:cNvPr id="1099" name="Group 1098"/>
                  <p:cNvGrpSpPr/>
                  <p:nvPr/>
                </p:nvGrpSpPr>
                <p:grpSpPr>
                  <a:xfrm>
                    <a:off x="5994782" y="7250057"/>
                    <a:ext cx="535036" cy="639673"/>
                    <a:chOff x="19642138" y="3821846"/>
                    <a:chExt cx="1225551" cy="1465230"/>
                  </a:xfrm>
                  <a:solidFill>
                    <a:schemeClr val="accent3"/>
                  </a:solidFill>
                </p:grpSpPr>
                <p:sp>
                  <p:nvSpPr>
                    <p:cNvPr id="1105" name="Freeform 111"/>
                    <p:cNvSpPr>
                      <a:spLocks/>
                    </p:cNvSpPr>
                    <p:nvPr/>
                  </p:nvSpPr>
                  <p:spPr bwMode="auto">
                    <a:xfrm>
                      <a:off x="19730413" y="3845626"/>
                      <a:ext cx="996949"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rgbClr val="45A2C3"/>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6"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7"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3">
                        <a:lumMod val="5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8"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9"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rgbClr val="0081A4"/>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00" name="Group 1099"/>
                  <p:cNvGrpSpPr/>
                  <p:nvPr/>
                </p:nvGrpSpPr>
                <p:grpSpPr>
                  <a:xfrm>
                    <a:off x="6180583" y="7135988"/>
                    <a:ext cx="163144" cy="135142"/>
                    <a:chOff x="13903209" y="2449178"/>
                    <a:chExt cx="1124068" cy="931129"/>
                  </a:xfrm>
                </p:grpSpPr>
                <p:sp>
                  <p:nvSpPr>
                    <p:cNvPr id="1101" name="Arc 1100"/>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102" name="Straight Connector 1101"/>
                    <p:cNvCxnSpPr>
                      <a:stCxn id="1101"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03" name="Straight Connector 1102"/>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937" name="Group 936"/>
                <p:cNvGrpSpPr/>
                <p:nvPr/>
              </p:nvGrpSpPr>
              <p:grpSpPr>
                <a:xfrm>
                  <a:off x="6982874" y="6998190"/>
                  <a:ext cx="535036" cy="753742"/>
                  <a:chOff x="5994782" y="7135988"/>
                  <a:chExt cx="535036" cy="753742"/>
                </a:xfrm>
              </p:grpSpPr>
              <p:grpSp>
                <p:nvGrpSpPr>
                  <p:cNvPr id="1086" name="Group 1085"/>
                  <p:cNvGrpSpPr/>
                  <p:nvPr/>
                </p:nvGrpSpPr>
                <p:grpSpPr>
                  <a:xfrm>
                    <a:off x="5994782" y="7250057"/>
                    <a:ext cx="535036" cy="639673"/>
                    <a:chOff x="19642138" y="3821846"/>
                    <a:chExt cx="1225551" cy="1465230"/>
                  </a:xfrm>
                  <a:solidFill>
                    <a:schemeClr val="accent3"/>
                  </a:solidFill>
                </p:grpSpPr>
                <p:sp>
                  <p:nvSpPr>
                    <p:cNvPr id="1094" name="Freeform 111"/>
                    <p:cNvSpPr>
                      <a:spLocks/>
                    </p:cNvSpPr>
                    <p:nvPr/>
                  </p:nvSpPr>
                  <p:spPr bwMode="auto">
                    <a:xfrm>
                      <a:off x="19730413" y="3845626"/>
                      <a:ext cx="996949"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rgbClr val="45A2C3"/>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95"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96"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3">
                        <a:lumMod val="5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97"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98"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rgbClr val="0081A4"/>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87" name="Group 1086"/>
                  <p:cNvGrpSpPr/>
                  <p:nvPr/>
                </p:nvGrpSpPr>
                <p:grpSpPr>
                  <a:xfrm>
                    <a:off x="6180583" y="7135988"/>
                    <a:ext cx="163144" cy="135142"/>
                    <a:chOff x="13903209" y="2449178"/>
                    <a:chExt cx="1124068" cy="931129"/>
                  </a:xfrm>
                </p:grpSpPr>
                <p:sp>
                  <p:nvSpPr>
                    <p:cNvPr id="1090" name="Arc 1089"/>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091" name="Straight Connector 1090"/>
                    <p:cNvCxnSpPr>
                      <a:stCxn id="1090"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92" name="Straight Connector 1091"/>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938" name="Group 937"/>
                <p:cNvGrpSpPr/>
                <p:nvPr/>
              </p:nvGrpSpPr>
              <p:grpSpPr>
                <a:xfrm>
                  <a:off x="6922532" y="7043042"/>
                  <a:ext cx="535036" cy="753742"/>
                  <a:chOff x="5994782" y="7135988"/>
                  <a:chExt cx="535036" cy="753742"/>
                </a:xfrm>
              </p:grpSpPr>
              <p:grpSp>
                <p:nvGrpSpPr>
                  <p:cNvPr id="1064" name="Group 1063"/>
                  <p:cNvGrpSpPr/>
                  <p:nvPr/>
                </p:nvGrpSpPr>
                <p:grpSpPr>
                  <a:xfrm>
                    <a:off x="5994782" y="7250057"/>
                    <a:ext cx="535036" cy="639673"/>
                    <a:chOff x="19642138" y="3821846"/>
                    <a:chExt cx="1225551" cy="1465230"/>
                  </a:xfrm>
                  <a:solidFill>
                    <a:schemeClr val="accent3"/>
                  </a:solidFill>
                </p:grpSpPr>
                <p:sp>
                  <p:nvSpPr>
                    <p:cNvPr id="1070" name="Freeform 111"/>
                    <p:cNvSpPr>
                      <a:spLocks/>
                    </p:cNvSpPr>
                    <p:nvPr/>
                  </p:nvSpPr>
                  <p:spPr bwMode="auto">
                    <a:xfrm>
                      <a:off x="19730413" y="3845626"/>
                      <a:ext cx="996949"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rgbClr val="45A2C3"/>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78"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79"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3">
                        <a:lumMod val="5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84"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rgbClr val="E27C00"/>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85"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rgbClr val="0081A4"/>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65" name="Group 1064"/>
                  <p:cNvGrpSpPr/>
                  <p:nvPr/>
                </p:nvGrpSpPr>
                <p:grpSpPr>
                  <a:xfrm>
                    <a:off x="6180583" y="7135988"/>
                    <a:ext cx="163144" cy="135142"/>
                    <a:chOff x="13903209" y="2449178"/>
                    <a:chExt cx="1124068" cy="931129"/>
                  </a:xfrm>
                </p:grpSpPr>
                <p:sp>
                  <p:nvSpPr>
                    <p:cNvPr id="1066" name="Arc 1065"/>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067" name="Straight Connector 1066"/>
                    <p:cNvCxnSpPr>
                      <a:stCxn id="1066"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68" name="Straight Connector 1067"/>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69" name="Straight Connector 1068"/>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945" name="Group 944"/>
                <p:cNvGrpSpPr/>
                <p:nvPr/>
              </p:nvGrpSpPr>
              <p:grpSpPr>
                <a:xfrm>
                  <a:off x="6863266" y="7081491"/>
                  <a:ext cx="535036" cy="743038"/>
                  <a:chOff x="5994782" y="7135988"/>
                  <a:chExt cx="535036" cy="743038"/>
                </a:xfrm>
              </p:grpSpPr>
              <p:grpSp>
                <p:nvGrpSpPr>
                  <p:cNvPr id="957" name="Group 956"/>
                  <p:cNvGrpSpPr/>
                  <p:nvPr/>
                </p:nvGrpSpPr>
                <p:grpSpPr>
                  <a:xfrm>
                    <a:off x="5994782" y="7249735"/>
                    <a:ext cx="535036" cy="629291"/>
                    <a:chOff x="19642138" y="3821112"/>
                    <a:chExt cx="1225551" cy="1441450"/>
                  </a:xfrm>
                  <a:solidFill>
                    <a:schemeClr val="accent3"/>
                  </a:solidFill>
                </p:grpSpPr>
                <p:sp>
                  <p:nvSpPr>
                    <p:cNvPr id="1056" name="Freeform 111"/>
                    <p:cNvSpPr>
                      <a:spLocks/>
                    </p:cNvSpPr>
                    <p:nvPr/>
                  </p:nvSpPr>
                  <p:spPr bwMode="auto">
                    <a:xfrm>
                      <a:off x="19731038" y="3821112"/>
                      <a:ext cx="996950" cy="1441450"/>
                    </a:xfrm>
                    <a:custGeom>
                      <a:avLst/>
                      <a:gdLst>
                        <a:gd name="T0" fmla="*/ 571 w 628"/>
                        <a:gd name="T1" fmla="*/ 90 h 908"/>
                        <a:gd name="T2" fmla="*/ 568 w 628"/>
                        <a:gd name="T3" fmla="*/ 74 h 908"/>
                        <a:gd name="T4" fmla="*/ 563 w 628"/>
                        <a:gd name="T5" fmla="*/ 60 h 908"/>
                        <a:gd name="T6" fmla="*/ 540 w 628"/>
                        <a:gd name="T7" fmla="*/ 37 h 908"/>
                        <a:gd name="T8" fmla="*/ 503 w 628"/>
                        <a:gd name="T9" fmla="*/ 20 h 908"/>
                        <a:gd name="T10" fmla="*/ 460 w 628"/>
                        <a:gd name="T11" fmla="*/ 7 h 908"/>
                        <a:gd name="T12" fmla="*/ 450 w 628"/>
                        <a:gd name="T13" fmla="*/ 14 h 908"/>
                        <a:gd name="T14" fmla="*/ 435 w 628"/>
                        <a:gd name="T15" fmla="*/ 22 h 908"/>
                        <a:gd name="T16" fmla="*/ 401 w 628"/>
                        <a:gd name="T17" fmla="*/ 35 h 908"/>
                        <a:gd name="T18" fmla="*/ 365 w 628"/>
                        <a:gd name="T19" fmla="*/ 44 h 908"/>
                        <a:gd name="T20" fmla="*/ 328 w 628"/>
                        <a:gd name="T21" fmla="*/ 45 h 908"/>
                        <a:gd name="T22" fmla="*/ 310 w 628"/>
                        <a:gd name="T23" fmla="*/ 44 h 908"/>
                        <a:gd name="T24" fmla="*/ 278 w 628"/>
                        <a:gd name="T25" fmla="*/ 39 h 908"/>
                        <a:gd name="T26" fmla="*/ 213 w 628"/>
                        <a:gd name="T27" fmla="*/ 15 h 908"/>
                        <a:gd name="T28" fmla="*/ 116 w 628"/>
                        <a:gd name="T29" fmla="*/ 39 h 908"/>
                        <a:gd name="T30" fmla="*/ 96 w 628"/>
                        <a:gd name="T31" fmla="*/ 54 h 908"/>
                        <a:gd name="T32" fmla="*/ 63 w 628"/>
                        <a:gd name="T33" fmla="*/ 85 h 908"/>
                        <a:gd name="T34" fmla="*/ 38 w 628"/>
                        <a:gd name="T35" fmla="*/ 114 h 908"/>
                        <a:gd name="T36" fmla="*/ 20 w 628"/>
                        <a:gd name="T37" fmla="*/ 142 h 908"/>
                        <a:gd name="T38" fmla="*/ 8 w 628"/>
                        <a:gd name="T39" fmla="*/ 169 h 908"/>
                        <a:gd name="T40" fmla="*/ 1 w 628"/>
                        <a:gd name="T41" fmla="*/ 195 h 908"/>
                        <a:gd name="T42" fmla="*/ 0 w 628"/>
                        <a:gd name="T43" fmla="*/ 220 h 908"/>
                        <a:gd name="T44" fmla="*/ 3 w 628"/>
                        <a:gd name="T45" fmla="*/ 256 h 908"/>
                        <a:gd name="T46" fmla="*/ 18 w 628"/>
                        <a:gd name="T47" fmla="*/ 299 h 908"/>
                        <a:gd name="T48" fmla="*/ 46 w 628"/>
                        <a:gd name="T49" fmla="*/ 361 h 908"/>
                        <a:gd name="T50" fmla="*/ 58 w 628"/>
                        <a:gd name="T51" fmla="*/ 399 h 908"/>
                        <a:gd name="T52" fmla="*/ 48 w 628"/>
                        <a:gd name="T53" fmla="*/ 874 h 908"/>
                        <a:gd name="T54" fmla="*/ 60 w 628"/>
                        <a:gd name="T55" fmla="*/ 879 h 908"/>
                        <a:gd name="T56" fmla="*/ 85 w 628"/>
                        <a:gd name="T57" fmla="*/ 888 h 908"/>
                        <a:gd name="T58" fmla="*/ 128 w 628"/>
                        <a:gd name="T59" fmla="*/ 894 h 908"/>
                        <a:gd name="T60" fmla="*/ 183 w 628"/>
                        <a:gd name="T61" fmla="*/ 894 h 908"/>
                        <a:gd name="T62" fmla="*/ 225 w 628"/>
                        <a:gd name="T63" fmla="*/ 889 h 908"/>
                        <a:gd name="T64" fmla="*/ 246 w 628"/>
                        <a:gd name="T65" fmla="*/ 894 h 908"/>
                        <a:gd name="T66" fmla="*/ 335 w 628"/>
                        <a:gd name="T67" fmla="*/ 906 h 908"/>
                        <a:gd name="T68" fmla="*/ 405 w 628"/>
                        <a:gd name="T69" fmla="*/ 908 h 908"/>
                        <a:gd name="T70" fmla="*/ 435 w 628"/>
                        <a:gd name="T71" fmla="*/ 904 h 908"/>
                        <a:gd name="T72" fmla="*/ 493 w 628"/>
                        <a:gd name="T73" fmla="*/ 894 h 908"/>
                        <a:gd name="T74" fmla="*/ 520 w 628"/>
                        <a:gd name="T75" fmla="*/ 891 h 908"/>
                        <a:gd name="T76" fmla="*/ 575 w 628"/>
                        <a:gd name="T77" fmla="*/ 898 h 908"/>
                        <a:gd name="T78" fmla="*/ 611 w 628"/>
                        <a:gd name="T79" fmla="*/ 896 h 908"/>
                        <a:gd name="T80" fmla="*/ 623 w 628"/>
                        <a:gd name="T81" fmla="*/ 893 h 908"/>
                        <a:gd name="T82" fmla="*/ 628 w 628"/>
                        <a:gd name="T83" fmla="*/ 8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 h="908">
                          <a:moveTo>
                            <a:pt x="571" y="90"/>
                          </a:moveTo>
                          <a:lnTo>
                            <a:pt x="571" y="90"/>
                          </a:lnTo>
                          <a:lnTo>
                            <a:pt x="570" y="82"/>
                          </a:lnTo>
                          <a:lnTo>
                            <a:pt x="568" y="74"/>
                          </a:lnTo>
                          <a:lnTo>
                            <a:pt x="566" y="67"/>
                          </a:lnTo>
                          <a:lnTo>
                            <a:pt x="563" y="60"/>
                          </a:lnTo>
                          <a:lnTo>
                            <a:pt x="553" y="49"/>
                          </a:lnTo>
                          <a:lnTo>
                            <a:pt x="540" y="37"/>
                          </a:lnTo>
                          <a:lnTo>
                            <a:pt x="523" y="29"/>
                          </a:lnTo>
                          <a:lnTo>
                            <a:pt x="503" y="20"/>
                          </a:lnTo>
                          <a:lnTo>
                            <a:pt x="483" y="14"/>
                          </a:lnTo>
                          <a:lnTo>
                            <a:pt x="460" y="7"/>
                          </a:lnTo>
                          <a:lnTo>
                            <a:pt x="460" y="7"/>
                          </a:lnTo>
                          <a:lnTo>
                            <a:pt x="450" y="14"/>
                          </a:lnTo>
                          <a:lnTo>
                            <a:pt x="450" y="14"/>
                          </a:lnTo>
                          <a:lnTo>
                            <a:pt x="435" y="22"/>
                          </a:lnTo>
                          <a:lnTo>
                            <a:pt x="418" y="30"/>
                          </a:lnTo>
                          <a:lnTo>
                            <a:pt x="401" y="35"/>
                          </a:lnTo>
                          <a:lnTo>
                            <a:pt x="383" y="40"/>
                          </a:lnTo>
                          <a:lnTo>
                            <a:pt x="365" y="44"/>
                          </a:lnTo>
                          <a:lnTo>
                            <a:pt x="346" y="45"/>
                          </a:lnTo>
                          <a:lnTo>
                            <a:pt x="328" y="45"/>
                          </a:lnTo>
                          <a:lnTo>
                            <a:pt x="310" y="44"/>
                          </a:lnTo>
                          <a:lnTo>
                            <a:pt x="310" y="44"/>
                          </a:lnTo>
                          <a:lnTo>
                            <a:pt x="293" y="42"/>
                          </a:lnTo>
                          <a:lnTo>
                            <a:pt x="278" y="39"/>
                          </a:lnTo>
                          <a:lnTo>
                            <a:pt x="245" y="29"/>
                          </a:lnTo>
                          <a:lnTo>
                            <a:pt x="213" y="15"/>
                          </a:lnTo>
                          <a:lnTo>
                            <a:pt x="183" y="0"/>
                          </a:lnTo>
                          <a:lnTo>
                            <a:pt x="116" y="39"/>
                          </a:lnTo>
                          <a:lnTo>
                            <a:pt x="116" y="39"/>
                          </a:lnTo>
                          <a:lnTo>
                            <a:pt x="96" y="54"/>
                          </a:lnTo>
                          <a:lnTo>
                            <a:pt x="80" y="70"/>
                          </a:lnTo>
                          <a:lnTo>
                            <a:pt x="63" y="85"/>
                          </a:lnTo>
                          <a:lnTo>
                            <a:pt x="50" y="100"/>
                          </a:lnTo>
                          <a:lnTo>
                            <a:pt x="38" y="114"/>
                          </a:lnTo>
                          <a:lnTo>
                            <a:pt x="28" y="129"/>
                          </a:lnTo>
                          <a:lnTo>
                            <a:pt x="20" y="142"/>
                          </a:lnTo>
                          <a:lnTo>
                            <a:pt x="13" y="155"/>
                          </a:lnTo>
                          <a:lnTo>
                            <a:pt x="8" y="169"/>
                          </a:lnTo>
                          <a:lnTo>
                            <a:pt x="3" y="182"/>
                          </a:lnTo>
                          <a:lnTo>
                            <a:pt x="1" y="195"/>
                          </a:lnTo>
                          <a:lnTo>
                            <a:pt x="0" y="207"/>
                          </a:lnTo>
                          <a:lnTo>
                            <a:pt x="0" y="220"/>
                          </a:lnTo>
                          <a:lnTo>
                            <a:pt x="0" y="232"/>
                          </a:lnTo>
                          <a:lnTo>
                            <a:pt x="3" y="256"/>
                          </a:lnTo>
                          <a:lnTo>
                            <a:pt x="10" y="277"/>
                          </a:lnTo>
                          <a:lnTo>
                            <a:pt x="18" y="299"/>
                          </a:lnTo>
                          <a:lnTo>
                            <a:pt x="36" y="341"/>
                          </a:lnTo>
                          <a:lnTo>
                            <a:pt x="46" y="361"/>
                          </a:lnTo>
                          <a:lnTo>
                            <a:pt x="53" y="379"/>
                          </a:lnTo>
                          <a:lnTo>
                            <a:pt x="58" y="399"/>
                          </a:lnTo>
                          <a:lnTo>
                            <a:pt x="60" y="417"/>
                          </a:lnTo>
                          <a:lnTo>
                            <a:pt x="48" y="874"/>
                          </a:lnTo>
                          <a:lnTo>
                            <a:pt x="48" y="874"/>
                          </a:lnTo>
                          <a:lnTo>
                            <a:pt x="60" y="879"/>
                          </a:lnTo>
                          <a:lnTo>
                            <a:pt x="71" y="884"/>
                          </a:lnTo>
                          <a:lnTo>
                            <a:pt x="85" y="888"/>
                          </a:lnTo>
                          <a:lnTo>
                            <a:pt x="100" y="891"/>
                          </a:lnTo>
                          <a:lnTo>
                            <a:pt x="128" y="894"/>
                          </a:lnTo>
                          <a:lnTo>
                            <a:pt x="158" y="894"/>
                          </a:lnTo>
                          <a:lnTo>
                            <a:pt x="183" y="894"/>
                          </a:lnTo>
                          <a:lnTo>
                            <a:pt x="205" y="893"/>
                          </a:lnTo>
                          <a:lnTo>
                            <a:pt x="225" y="889"/>
                          </a:lnTo>
                          <a:lnTo>
                            <a:pt x="225" y="889"/>
                          </a:lnTo>
                          <a:lnTo>
                            <a:pt x="246" y="894"/>
                          </a:lnTo>
                          <a:lnTo>
                            <a:pt x="301" y="903"/>
                          </a:lnTo>
                          <a:lnTo>
                            <a:pt x="335" y="906"/>
                          </a:lnTo>
                          <a:lnTo>
                            <a:pt x="370" y="908"/>
                          </a:lnTo>
                          <a:lnTo>
                            <a:pt x="405" y="908"/>
                          </a:lnTo>
                          <a:lnTo>
                            <a:pt x="420" y="908"/>
                          </a:lnTo>
                          <a:lnTo>
                            <a:pt x="435" y="904"/>
                          </a:lnTo>
                          <a:lnTo>
                            <a:pt x="435" y="904"/>
                          </a:lnTo>
                          <a:lnTo>
                            <a:pt x="493" y="894"/>
                          </a:lnTo>
                          <a:lnTo>
                            <a:pt x="520" y="891"/>
                          </a:lnTo>
                          <a:lnTo>
                            <a:pt x="520" y="891"/>
                          </a:lnTo>
                          <a:lnTo>
                            <a:pt x="536" y="894"/>
                          </a:lnTo>
                          <a:lnTo>
                            <a:pt x="575" y="898"/>
                          </a:lnTo>
                          <a:lnTo>
                            <a:pt x="595" y="898"/>
                          </a:lnTo>
                          <a:lnTo>
                            <a:pt x="611" y="896"/>
                          </a:lnTo>
                          <a:lnTo>
                            <a:pt x="618" y="896"/>
                          </a:lnTo>
                          <a:lnTo>
                            <a:pt x="623" y="893"/>
                          </a:lnTo>
                          <a:lnTo>
                            <a:pt x="626" y="891"/>
                          </a:lnTo>
                          <a:lnTo>
                            <a:pt x="628" y="886"/>
                          </a:lnTo>
                          <a:lnTo>
                            <a:pt x="571" y="90"/>
                          </a:lnTo>
                          <a:close/>
                        </a:path>
                      </a:pathLst>
                    </a:custGeom>
                    <a:solidFill>
                      <a:schemeClr val="accent2"/>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57" name="Freeform 113"/>
                    <p:cNvSpPr>
                      <a:spLocks/>
                    </p:cNvSpPr>
                    <p:nvPr/>
                  </p:nvSpPr>
                  <p:spPr bwMode="auto">
                    <a:xfrm>
                      <a:off x="19980781" y="3821846"/>
                      <a:ext cx="518103" cy="411325"/>
                    </a:xfrm>
                    <a:custGeom>
                      <a:avLst/>
                      <a:gdLst>
                        <a:gd name="T0" fmla="*/ 5 w 359"/>
                        <a:gd name="T1" fmla="*/ 5 h 290"/>
                        <a:gd name="T2" fmla="*/ 25 w 359"/>
                        <a:gd name="T3" fmla="*/ 8 h 290"/>
                        <a:gd name="T4" fmla="*/ 69 w 359"/>
                        <a:gd name="T5" fmla="*/ 25 h 290"/>
                        <a:gd name="T6" fmla="*/ 89 w 359"/>
                        <a:gd name="T7" fmla="*/ 33 h 290"/>
                        <a:gd name="T8" fmla="*/ 154 w 359"/>
                        <a:gd name="T9" fmla="*/ 50 h 290"/>
                        <a:gd name="T10" fmla="*/ 185 w 359"/>
                        <a:gd name="T11" fmla="*/ 55 h 290"/>
                        <a:gd name="T12" fmla="*/ 220 w 359"/>
                        <a:gd name="T13" fmla="*/ 51 h 290"/>
                        <a:gd name="T14" fmla="*/ 237 w 359"/>
                        <a:gd name="T15" fmla="*/ 46 h 290"/>
                        <a:gd name="T16" fmla="*/ 284 w 359"/>
                        <a:gd name="T17" fmla="*/ 25 h 290"/>
                        <a:gd name="T18" fmla="*/ 297 w 359"/>
                        <a:gd name="T19" fmla="*/ 20 h 290"/>
                        <a:gd name="T20" fmla="*/ 329 w 359"/>
                        <a:gd name="T21" fmla="*/ 10 h 290"/>
                        <a:gd name="T22" fmla="*/ 344 w 359"/>
                        <a:gd name="T23" fmla="*/ 10 h 290"/>
                        <a:gd name="T24" fmla="*/ 350 w 359"/>
                        <a:gd name="T25" fmla="*/ 13 h 290"/>
                        <a:gd name="T26" fmla="*/ 357 w 359"/>
                        <a:gd name="T27" fmla="*/ 21 h 290"/>
                        <a:gd name="T28" fmla="*/ 357 w 359"/>
                        <a:gd name="T29" fmla="*/ 31 h 290"/>
                        <a:gd name="T30" fmla="*/ 350 w 359"/>
                        <a:gd name="T31" fmla="*/ 50 h 290"/>
                        <a:gd name="T32" fmla="*/ 339 w 359"/>
                        <a:gd name="T33" fmla="*/ 71 h 290"/>
                        <a:gd name="T34" fmla="*/ 324 w 359"/>
                        <a:gd name="T35" fmla="*/ 115 h 290"/>
                        <a:gd name="T36" fmla="*/ 319 w 359"/>
                        <a:gd name="T37" fmla="*/ 138 h 290"/>
                        <a:gd name="T38" fmla="*/ 312 w 359"/>
                        <a:gd name="T39" fmla="*/ 200 h 290"/>
                        <a:gd name="T40" fmla="*/ 299 w 359"/>
                        <a:gd name="T41" fmla="*/ 236 h 290"/>
                        <a:gd name="T42" fmla="*/ 289 w 359"/>
                        <a:gd name="T43" fmla="*/ 253 h 290"/>
                        <a:gd name="T44" fmla="*/ 274 w 359"/>
                        <a:gd name="T45" fmla="*/ 266 h 290"/>
                        <a:gd name="T46" fmla="*/ 254 w 359"/>
                        <a:gd name="T47" fmla="*/ 278 h 290"/>
                        <a:gd name="T48" fmla="*/ 234 w 359"/>
                        <a:gd name="T49" fmla="*/ 285 h 290"/>
                        <a:gd name="T50" fmla="*/ 190 w 359"/>
                        <a:gd name="T51" fmla="*/ 290 h 290"/>
                        <a:gd name="T52" fmla="*/ 145 w 359"/>
                        <a:gd name="T53" fmla="*/ 283 h 290"/>
                        <a:gd name="T54" fmla="*/ 115 w 359"/>
                        <a:gd name="T55" fmla="*/ 270 h 290"/>
                        <a:gd name="T56" fmla="*/ 100 w 359"/>
                        <a:gd name="T57" fmla="*/ 256 h 290"/>
                        <a:gd name="T58" fmla="*/ 94 w 359"/>
                        <a:gd name="T59" fmla="*/ 250 h 290"/>
                        <a:gd name="T60" fmla="*/ 84 w 359"/>
                        <a:gd name="T61" fmla="*/ 233 h 290"/>
                        <a:gd name="T62" fmla="*/ 74 w 359"/>
                        <a:gd name="T63" fmla="*/ 196 h 290"/>
                        <a:gd name="T64" fmla="*/ 67 w 359"/>
                        <a:gd name="T65" fmla="*/ 161 h 290"/>
                        <a:gd name="T66" fmla="*/ 57 w 359"/>
                        <a:gd name="T67" fmla="*/ 125 h 290"/>
                        <a:gd name="T68" fmla="*/ 47 w 359"/>
                        <a:gd name="T69" fmla="*/ 106 h 290"/>
                        <a:gd name="T70" fmla="*/ 32 w 359"/>
                        <a:gd name="T71" fmla="*/ 86 h 290"/>
                        <a:gd name="T72" fmla="*/ 12 w 359"/>
                        <a:gd name="T73" fmla="*/ 53 h 290"/>
                        <a:gd name="T74" fmla="*/ 2 w 359"/>
                        <a:gd name="T75" fmla="*/ 30 h 290"/>
                        <a:gd name="T76" fmla="*/ 0 w 359"/>
                        <a:gd name="T77" fmla="*/ 16 h 290"/>
                        <a:gd name="T78" fmla="*/ 2 w 359"/>
                        <a:gd name="T79" fmla="*/ 5 h 290"/>
                        <a:gd name="T80" fmla="*/ 7 w 359"/>
                        <a:gd name="T81" fmla="*/ 0 h 290"/>
                        <a:gd name="T82" fmla="*/ 12 w 359"/>
                        <a:gd name="T83" fmla="*/ 0 h 290"/>
                        <a:gd name="T84" fmla="*/ 10 w 359"/>
                        <a:gd name="T85" fmla="*/ 6 h 29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84" fmla="*/ 334 w 10000"/>
                        <a:gd name="connsiteY84" fmla="*/ 103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83" fmla="*/ 334 w 10000"/>
                        <a:gd name="connsiteY83"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82" fmla="*/ 279 w 10000"/>
                        <a:gd name="connsiteY82"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39 w 10000"/>
                        <a:gd name="connsiteY80" fmla="*/ 34 h 10000"/>
                        <a:gd name="connsiteX81" fmla="*/ 195 w 10000"/>
                        <a:gd name="connsiteY81" fmla="*/ 0 h 10000"/>
                        <a:gd name="connsiteX0" fmla="*/ 139 w 10000"/>
                        <a:gd name="connsiteY0" fmla="*/ 172 h 10000"/>
                        <a:gd name="connsiteX1" fmla="*/ 139 w 10000"/>
                        <a:gd name="connsiteY1" fmla="*/ 172 h 10000"/>
                        <a:gd name="connsiteX2" fmla="*/ 418 w 10000"/>
                        <a:gd name="connsiteY2" fmla="*/ 207 h 10000"/>
                        <a:gd name="connsiteX3" fmla="*/ 696 w 10000"/>
                        <a:gd name="connsiteY3" fmla="*/ 276 h 10000"/>
                        <a:gd name="connsiteX4" fmla="*/ 1309 w 10000"/>
                        <a:gd name="connsiteY4" fmla="*/ 552 h 10000"/>
                        <a:gd name="connsiteX5" fmla="*/ 1922 w 10000"/>
                        <a:gd name="connsiteY5" fmla="*/ 862 h 10000"/>
                        <a:gd name="connsiteX6" fmla="*/ 2479 w 10000"/>
                        <a:gd name="connsiteY6" fmla="*/ 1138 h 10000"/>
                        <a:gd name="connsiteX7" fmla="*/ 2479 w 10000"/>
                        <a:gd name="connsiteY7" fmla="*/ 1138 h 10000"/>
                        <a:gd name="connsiteX8" fmla="*/ 3343 w 10000"/>
                        <a:gd name="connsiteY8" fmla="*/ 1414 h 10000"/>
                        <a:gd name="connsiteX9" fmla="*/ 4290 w 10000"/>
                        <a:gd name="connsiteY9" fmla="*/ 1724 h 10000"/>
                        <a:gd name="connsiteX10" fmla="*/ 4708 w 10000"/>
                        <a:gd name="connsiteY10" fmla="*/ 1828 h 10000"/>
                        <a:gd name="connsiteX11" fmla="*/ 5153 w 10000"/>
                        <a:gd name="connsiteY11" fmla="*/ 1897 h 10000"/>
                        <a:gd name="connsiteX12" fmla="*/ 5627 w 10000"/>
                        <a:gd name="connsiteY12" fmla="*/ 1828 h 10000"/>
                        <a:gd name="connsiteX13" fmla="*/ 6128 w 10000"/>
                        <a:gd name="connsiteY13" fmla="*/ 1759 h 10000"/>
                        <a:gd name="connsiteX14" fmla="*/ 6128 w 10000"/>
                        <a:gd name="connsiteY14" fmla="*/ 1759 h 10000"/>
                        <a:gd name="connsiteX15" fmla="*/ 6602 w 10000"/>
                        <a:gd name="connsiteY15" fmla="*/ 1586 h 10000"/>
                        <a:gd name="connsiteX16" fmla="*/ 7075 w 10000"/>
                        <a:gd name="connsiteY16" fmla="*/ 1414 h 10000"/>
                        <a:gd name="connsiteX17" fmla="*/ 7911 w 10000"/>
                        <a:gd name="connsiteY17" fmla="*/ 862 h 10000"/>
                        <a:gd name="connsiteX18" fmla="*/ 7911 w 10000"/>
                        <a:gd name="connsiteY18" fmla="*/ 862 h 10000"/>
                        <a:gd name="connsiteX19" fmla="*/ 8273 w 10000"/>
                        <a:gd name="connsiteY19" fmla="*/ 690 h 10000"/>
                        <a:gd name="connsiteX20" fmla="*/ 8691 w 10000"/>
                        <a:gd name="connsiteY20" fmla="*/ 448 h 10000"/>
                        <a:gd name="connsiteX21" fmla="*/ 9164 w 10000"/>
                        <a:gd name="connsiteY21" fmla="*/ 345 h 10000"/>
                        <a:gd name="connsiteX22" fmla="*/ 9331 w 10000"/>
                        <a:gd name="connsiteY22" fmla="*/ 345 h 10000"/>
                        <a:gd name="connsiteX23" fmla="*/ 9582 w 10000"/>
                        <a:gd name="connsiteY23" fmla="*/ 345 h 10000"/>
                        <a:gd name="connsiteX24" fmla="*/ 9582 w 10000"/>
                        <a:gd name="connsiteY24" fmla="*/ 345 h 10000"/>
                        <a:gd name="connsiteX25" fmla="*/ 9749 w 10000"/>
                        <a:gd name="connsiteY25" fmla="*/ 448 h 10000"/>
                        <a:gd name="connsiteX26" fmla="*/ 9889 w 10000"/>
                        <a:gd name="connsiteY26" fmla="*/ 552 h 10000"/>
                        <a:gd name="connsiteX27" fmla="*/ 9944 w 10000"/>
                        <a:gd name="connsiteY27" fmla="*/ 724 h 10000"/>
                        <a:gd name="connsiteX28" fmla="*/ 10000 w 10000"/>
                        <a:gd name="connsiteY28" fmla="*/ 897 h 10000"/>
                        <a:gd name="connsiteX29" fmla="*/ 9944 w 10000"/>
                        <a:gd name="connsiteY29" fmla="*/ 1069 h 10000"/>
                        <a:gd name="connsiteX30" fmla="*/ 9889 w 10000"/>
                        <a:gd name="connsiteY30" fmla="*/ 1310 h 10000"/>
                        <a:gd name="connsiteX31" fmla="*/ 9749 w 10000"/>
                        <a:gd name="connsiteY31" fmla="*/ 1724 h 10000"/>
                        <a:gd name="connsiteX32" fmla="*/ 9749 w 10000"/>
                        <a:gd name="connsiteY32" fmla="*/ 1724 h 10000"/>
                        <a:gd name="connsiteX33" fmla="*/ 9443 w 10000"/>
                        <a:gd name="connsiteY33" fmla="*/ 2448 h 10000"/>
                        <a:gd name="connsiteX34" fmla="*/ 9192 w 10000"/>
                        <a:gd name="connsiteY34" fmla="*/ 3138 h 10000"/>
                        <a:gd name="connsiteX35" fmla="*/ 9025 w 10000"/>
                        <a:gd name="connsiteY35" fmla="*/ 3966 h 10000"/>
                        <a:gd name="connsiteX36" fmla="*/ 8886 w 10000"/>
                        <a:gd name="connsiteY36" fmla="*/ 4759 h 10000"/>
                        <a:gd name="connsiteX37" fmla="*/ 8886 w 10000"/>
                        <a:gd name="connsiteY37" fmla="*/ 4759 h 10000"/>
                        <a:gd name="connsiteX38" fmla="*/ 8747 w 10000"/>
                        <a:gd name="connsiteY38" fmla="*/ 6207 h 10000"/>
                        <a:gd name="connsiteX39" fmla="*/ 8691 w 10000"/>
                        <a:gd name="connsiteY39" fmla="*/ 6897 h 10000"/>
                        <a:gd name="connsiteX40" fmla="*/ 8552 w 10000"/>
                        <a:gd name="connsiteY40" fmla="*/ 7517 h 10000"/>
                        <a:gd name="connsiteX41" fmla="*/ 8329 w 10000"/>
                        <a:gd name="connsiteY41" fmla="*/ 8138 h 10000"/>
                        <a:gd name="connsiteX42" fmla="*/ 8189 w 10000"/>
                        <a:gd name="connsiteY42" fmla="*/ 8448 h 10000"/>
                        <a:gd name="connsiteX43" fmla="*/ 8050 w 10000"/>
                        <a:gd name="connsiteY43" fmla="*/ 8724 h 10000"/>
                        <a:gd name="connsiteX44" fmla="*/ 7855 w 10000"/>
                        <a:gd name="connsiteY44" fmla="*/ 8966 h 10000"/>
                        <a:gd name="connsiteX45" fmla="*/ 7632 w 10000"/>
                        <a:gd name="connsiteY45" fmla="*/ 9172 h 10000"/>
                        <a:gd name="connsiteX46" fmla="*/ 7382 w 10000"/>
                        <a:gd name="connsiteY46" fmla="*/ 9414 h 10000"/>
                        <a:gd name="connsiteX47" fmla="*/ 7075 w 10000"/>
                        <a:gd name="connsiteY47" fmla="*/ 9586 h 10000"/>
                        <a:gd name="connsiteX48" fmla="*/ 7075 w 10000"/>
                        <a:gd name="connsiteY48" fmla="*/ 9586 h 10000"/>
                        <a:gd name="connsiteX49" fmla="*/ 6518 w 10000"/>
                        <a:gd name="connsiteY49" fmla="*/ 9828 h 10000"/>
                        <a:gd name="connsiteX50" fmla="*/ 5905 w 10000"/>
                        <a:gd name="connsiteY50" fmla="*/ 10000 h 10000"/>
                        <a:gd name="connsiteX51" fmla="*/ 5292 w 10000"/>
                        <a:gd name="connsiteY51" fmla="*/ 10000 h 10000"/>
                        <a:gd name="connsiteX52" fmla="*/ 4652 w 10000"/>
                        <a:gd name="connsiteY52" fmla="*/ 9931 h 10000"/>
                        <a:gd name="connsiteX53" fmla="*/ 4039 w 10000"/>
                        <a:gd name="connsiteY53" fmla="*/ 9759 h 10000"/>
                        <a:gd name="connsiteX54" fmla="*/ 3482 w 10000"/>
                        <a:gd name="connsiteY54" fmla="*/ 9483 h 10000"/>
                        <a:gd name="connsiteX55" fmla="*/ 3203 w 10000"/>
                        <a:gd name="connsiteY55" fmla="*/ 9310 h 10000"/>
                        <a:gd name="connsiteX56" fmla="*/ 2981 w 10000"/>
                        <a:gd name="connsiteY56" fmla="*/ 9069 h 10000"/>
                        <a:gd name="connsiteX57" fmla="*/ 2786 w 10000"/>
                        <a:gd name="connsiteY57" fmla="*/ 8828 h 10000"/>
                        <a:gd name="connsiteX58" fmla="*/ 2618 w 10000"/>
                        <a:gd name="connsiteY58" fmla="*/ 8621 h 10000"/>
                        <a:gd name="connsiteX59" fmla="*/ 2618 w 10000"/>
                        <a:gd name="connsiteY59" fmla="*/ 8621 h 10000"/>
                        <a:gd name="connsiteX60" fmla="*/ 2479 w 10000"/>
                        <a:gd name="connsiteY60" fmla="*/ 8310 h 10000"/>
                        <a:gd name="connsiteX61" fmla="*/ 2340 w 10000"/>
                        <a:gd name="connsiteY61" fmla="*/ 8034 h 10000"/>
                        <a:gd name="connsiteX62" fmla="*/ 2145 w 10000"/>
                        <a:gd name="connsiteY62" fmla="*/ 7414 h 10000"/>
                        <a:gd name="connsiteX63" fmla="*/ 2061 w 10000"/>
                        <a:gd name="connsiteY63" fmla="*/ 6759 h 10000"/>
                        <a:gd name="connsiteX64" fmla="*/ 1950 w 10000"/>
                        <a:gd name="connsiteY64" fmla="*/ 6138 h 10000"/>
                        <a:gd name="connsiteX65" fmla="*/ 1866 w 10000"/>
                        <a:gd name="connsiteY65" fmla="*/ 5552 h 10000"/>
                        <a:gd name="connsiteX66" fmla="*/ 1783 w 10000"/>
                        <a:gd name="connsiteY66" fmla="*/ 4931 h 10000"/>
                        <a:gd name="connsiteX67" fmla="*/ 1588 w 10000"/>
                        <a:gd name="connsiteY67" fmla="*/ 4310 h 10000"/>
                        <a:gd name="connsiteX68" fmla="*/ 1504 w 10000"/>
                        <a:gd name="connsiteY68" fmla="*/ 4000 h 10000"/>
                        <a:gd name="connsiteX69" fmla="*/ 1309 w 10000"/>
                        <a:gd name="connsiteY69" fmla="*/ 3655 h 10000"/>
                        <a:gd name="connsiteX70" fmla="*/ 1309 w 10000"/>
                        <a:gd name="connsiteY70" fmla="*/ 3655 h 10000"/>
                        <a:gd name="connsiteX71" fmla="*/ 891 w 10000"/>
                        <a:gd name="connsiteY71" fmla="*/ 2966 h 10000"/>
                        <a:gd name="connsiteX72" fmla="*/ 474 w 10000"/>
                        <a:gd name="connsiteY72" fmla="*/ 2241 h 10000"/>
                        <a:gd name="connsiteX73" fmla="*/ 334 w 10000"/>
                        <a:gd name="connsiteY73" fmla="*/ 1828 h 10000"/>
                        <a:gd name="connsiteX74" fmla="*/ 139 w 10000"/>
                        <a:gd name="connsiteY74" fmla="*/ 1414 h 10000"/>
                        <a:gd name="connsiteX75" fmla="*/ 56 w 10000"/>
                        <a:gd name="connsiteY75" fmla="*/ 1034 h 10000"/>
                        <a:gd name="connsiteX76" fmla="*/ 0 w 10000"/>
                        <a:gd name="connsiteY76" fmla="*/ 552 h 10000"/>
                        <a:gd name="connsiteX77" fmla="*/ 0 w 10000"/>
                        <a:gd name="connsiteY77" fmla="*/ 552 h 10000"/>
                        <a:gd name="connsiteX78" fmla="*/ 0 w 10000"/>
                        <a:gd name="connsiteY78" fmla="*/ 345 h 10000"/>
                        <a:gd name="connsiteX79" fmla="*/ 56 w 10000"/>
                        <a:gd name="connsiteY79" fmla="*/ 172 h 10000"/>
                        <a:gd name="connsiteX80" fmla="*/ 195 w 10000"/>
                        <a:gd name="connsiteY80" fmla="*/ 0 h 10000"/>
                        <a:gd name="connsiteX0" fmla="*/ 139 w 10000"/>
                        <a:gd name="connsiteY0" fmla="*/ 0 h 9828"/>
                        <a:gd name="connsiteX1" fmla="*/ 139 w 10000"/>
                        <a:gd name="connsiteY1" fmla="*/ 0 h 9828"/>
                        <a:gd name="connsiteX2" fmla="*/ 418 w 10000"/>
                        <a:gd name="connsiteY2" fmla="*/ 35 h 9828"/>
                        <a:gd name="connsiteX3" fmla="*/ 696 w 10000"/>
                        <a:gd name="connsiteY3" fmla="*/ 104 h 9828"/>
                        <a:gd name="connsiteX4" fmla="*/ 1309 w 10000"/>
                        <a:gd name="connsiteY4" fmla="*/ 380 h 9828"/>
                        <a:gd name="connsiteX5" fmla="*/ 1922 w 10000"/>
                        <a:gd name="connsiteY5" fmla="*/ 690 h 9828"/>
                        <a:gd name="connsiteX6" fmla="*/ 2479 w 10000"/>
                        <a:gd name="connsiteY6" fmla="*/ 966 h 9828"/>
                        <a:gd name="connsiteX7" fmla="*/ 2479 w 10000"/>
                        <a:gd name="connsiteY7" fmla="*/ 966 h 9828"/>
                        <a:gd name="connsiteX8" fmla="*/ 3343 w 10000"/>
                        <a:gd name="connsiteY8" fmla="*/ 1242 h 9828"/>
                        <a:gd name="connsiteX9" fmla="*/ 4290 w 10000"/>
                        <a:gd name="connsiteY9" fmla="*/ 1552 h 9828"/>
                        <a:gd name="connsiteX10" fmla="*/ 4708 w 10000"/>
                        <a:gd name="connsiteY10" fmla="*/ 1656 h 9828"/>
                        <a:gd name="connsiteX11" fmla="*/ 5153 w 10000"/>
                        <a:gd name="connsiteY11" fmla="*/ 1725 h 9828"/>
                        <a:gd name="connsiteX12" fmla="*/ 5627 w 10000"/>
                        <a:gd name="connsiteY12" fmla="*/ 1656 h 9828"/>
                        <a:gd name="connsiteX13" fmla="*/ 6128 w 10000"/>
                        <a:gd name="connsiteY13" fmla="*/ 1587 h 9828"/>
                        <a:gd name="connsiteX14" fmla="*/ 6128 w 10000"/>
                        <a:gd name="connsiteY14" fmla="*/ 1587 h 9828"/>
                        <a:gd name="connsiteX15" fmla="*/ 6602 w 10000"/>
                        <a:gd name="connsiteY15" fmla="*/ 1414 h 9828"/>
                        <a:gd name="connsiteX16" fmla="*/ 7075 w 10000"/>
                        <a:gd name="connsiteY16" fmla="*/ 1242 h 9828"/>
                        <a:gd name="connsiteX17" fmla="*/ 7911 w 10000"/>
                        <a:gd name="connsiteY17" fmla="*/ 690 h 9828"/>
                        <a:gd name="connsiteX18" fmla="*/ 7911 w 10000"/>
                        <a:gd name="connsiteY18" fmla="*/ 690 h 9828"/>
                        <a:gd name="connsiteX19" fmla="*/ 8273 w 10000"/>
                        <a:gd name="connsiteY19" fmla="*/ 518 h 9828"/>
                        <a:gd name="connsiteX20" fmla="*/ 8691 w 10000"/>
                        <a:gd name="connsiteY20" fmla="*/ 276 h 9828"/>
                        <a:gd name="connsiteX21" fmla="*/ 9164 w 10000"/>
                        <a:gd name="connsiteY21" fmla="*/ 173 h 9828"/>
                        <a:gd name="connsiteX22" fmla="*/ 9331 w 10000"/>
                        <a:gd name="connsiteY22" fmla="*/ 173 h 9828"/>
                        <a:gd name="connsiteX23" fmla="*/ 9582 w 10000"/>
                        <a:gd name="connsiteY23" fmla="*/ 173 h 9828"/>
                        <a:gd name="connsiteX24" fmla="*/ 9582 w 10000"/>
                        <a:gd name="connsiteY24" fmla="*/ 173 h 9828"/>
                        <a:gd name="connsiteX25" fmla="*/ 9749 w 10000"/>
                        <a:gd name="connsiteY25" fmla="*/ 276 h 9828"/>
                        <a:gd name="connsiteX26" fmla="*/ 9889 w 10000"/>
                        <a:gd name="connsiteY26" fmla="*/ 380 h 9828"/>
                        <a:gd name="connsiteX27" fmla="*/ 9944 w 10000"/>
                        <a:gd name="connsiteY27" fmla="*/ 552 h 9828"/>
                        <a:gd name="connsiteX28" fmla="*/ 10000 w 10000"/>
                        <a:gd name="connsiteY28" fmla="*/ 725 h 9828"/>
                        <a:gd name="connsiteX29" fmla="*/ 9944 w 10000"/>
                        <a:gd name="connsiteY29" fmla="*/ 897 h 9828"/>
                        <a:gd name="connsiteX30" fmla="*/ 9889 w 10000"/>
                        <a:gd name="connsiteY30" fmla="*/ 1138 h 9828"/>
                        <a:gd name="connsiteX31" fmla="*/ 9749 w 10000"/>
                        <a:gd name="connsiteY31" fmla="*/ 1552 h 9828"/>
                        <a:gd name="connsiteX32" fmla="*/ 9749 w 10000"/>
                        <a:gd name="connsiteY32" fmla="*/ 1552 h 9828"/>
                        <a:gd name="connsiteX33" fmla="*/ 9443 w 10000"/>
                        <a:gd name="connsiteY33" fmla="*/ 2276 h 9828"/>
                        <a:gd name="connsiteX34" fmla="*/ 9192 w 10000"/>
                        <a:gd name="connsiteY34" fmla="*/ 2966 h 9828"/>
                        <a:gd name="connsiteX35" fmla="*/ 9025 w 10000"/>
                        <a:gd name="connsiteY35" fmla="*/ 3794 h 9828"/>
                        <a:gd name="connsiteX36" fmla="*/ 8886 w 10000"/>
                        <a:gd name="connsiteY36" fmla="*/ 4587 h 9828"/>
                        <a:gd name="connsiteX37" fmla="*/ 8886 w 10000"/>
                        <a:gd name="connsiteY37" fmla="*/ 4587 h 9828"/>
                        <a:gd name="connsiteX38" fmla="*/ 8747 w 10000"/>
                        <a:gd name="connsiteY38" fmla="*/ 6035 h 9828"/>
                        <a:gd name="connsiteX39" fmla="*/ 8691 w 10000"/>
                        <a:gd name="connsiteY39" fmla="*/ 6725 h 9828"/>
                        <a:gd name="connsiteX40" fmla="*/ 8552 w 10000"/>
                        <a:gd name="connsiteY40" fmla="*/ 7345 h 9828"/>
                        <a:gd name="connsiteX41" fmla="*/ 8329 w 10000"/>
                        <a:gd name="connsiteY41" fmla="*/ 7966 h 9828"/>
                        <a:gd name="connsiteX42" fmla="*/ 8189 w 10000"/>
                        <a:gd name="connsiteY42" fmla="*/ 8276 h 9828"/>
                        <a:gd name="connsiteX43" fmla="*/ 8050 w 10000"/>
                        <a:gd name="connsiteY43" fmla="*/ 8552 h 9828"/>
                        <a:gd name="connsiteX44" fmla="*/ 7855 w 10000"/>
                        <a:gd name="connsiteY44" fmla="*/ 8794 h 9828"/>
                        <a:gd name="connsiteX45" fmla="*/ 7632 w 10000"/>
                        <a:gd name="connsiteY45" fmla="*/ 9000 h 9828"/>
                        <a:gd name="connsiteX46" fmla="*/ 7382 w 10000"/>
                        <a:gd name="connsiteY46" fmla="*/ 9242 h 9828"/>
                        <a:gd name="connsiteX47" fmla="*/ 7075 w 10000"/>
                        <a:gd name="connsiteY47" fmla="*/ 9414 h 9828"/>
                        <a:gd name="connsiteX48" fmla="*/ 7075 w 10000"/>
                        <a:gd name="connsiteY48" fmla="*/ 9414 h 9828"/>
                        <a:gd name="connsiteX49" fmla="*/ 6518 w 10000"/>
                        <a:gd name="connsiteY49" fmla="*/ 9656 h 9828"/>
                        <a:gd name="connsiteX50" fmla="*/ 5905 w 10000"/>
                        <a:gd name="connsiteY50" fmla="*/ 9828 h 9828"/>
                        <a:gd name="connsiteX51" fmla="*/ 5292 w 10000"/>
                        <a:gd name="connsiteY51" fmla="*/ 9828 h 9828"/>
                        <a:gd name="connsiteX52" fmla="*/ 4652 w 10000"/>
                        <a:gd name="connsiteY52" fmla="*/ 9759 h 9828"/>
                        <a:gd name="connsiteX53" fmla="*/ 4039 w 10000"/>
                        <a:gd name="connsiteY53" fmla="*/ 9587 h 9828"/>
                        <a:gd name="connsiteX54" fmla="*/ 3482 w 10000"/>
                        <a:gd name="connsiteY54" fmla="*/ 9311 h 9828"/>
                        <a:gd name="connsiteX55" fmla="*/ 3203 w 10000"/>
                        <a:gd name="connsiteY55" fmla="*/ 9138 h 9828"/>
                        <a:gd name="connsiteX56" fmla="*/ 2981 w 10000"/>
                        <a:gd name="connsiteY56" fmla="*/ 8897 h 9828"/>
                        <a:gd name="connsiteX57" fmla="*/ 2786 w 10000"/>
                        <a:gd name="connsiteY57" fmla="*/ 8656 h 9828"/>
                        <a:gd name="connsiteX58" fmla="*/ 2618 w 10000"/>
                        <a:gd name="connsiteY58" fmla="*/ 8449 h 9828"/>
                        <a:gd name="connsiteX59" fmla="*/ 2618 w 10000"/>
                        <a:gd name="connsiteY59" fmla="*/ 8449 h 9828"/>
                        <a:gd name="connsiteX60" fmla="*/ 2479 w 10000"/>
                        <a:gd name="connsiteY60" fmla="*/ 8138 h 9828"/>
                        <a:gd name="connsiteX61" fmla="*/ 2340 w 10000"/>
                        <a:gd name="connsiteY61" fmla="*/ 7862 h 9828"/>
                        <a:gd name="connsiteX62" fmla="*/ 2145 w 10000"/>
                        <a:gd name="connsiteY62" fmla="*/ 7242 h 9828"/>
                        <a:gd name="connsiteX63" fmla="*/ 2061 w 10000"/>
                        <a:gd name="connsiteY63" fmla="*/ 6587 h 9828"/>
                        <a:gd name="connsiteX64" fmla="*/ 1950 w 10000"/>
                        <a:gd name="connsiteY64" fmla="*/ 5966 h 9828"/>
                        <a:gd name="connsiteX65" fmla="*/ 1866 w 10000"/>
                        <a:gd name="connsiteY65" fmla="*/ 5380 h 9828"/>
                        <a:gd name="connsiteX66" fmla="*/ 1783 w 10000"/>
                        <a:gd name="connsiteY66" fmla="*/ 4759 h 9828"/>
                        <a:gd name="connsiteX67" fmla="*/ 1588 w 10000"/>
                        <a:gd name="connsiteY67" fmla="*/ 4138 h 9828"/>
                        <a:gd name="connsiteX68" fmla="*/ 1504 w 10000"/>
                        <a:gd name="connsiteY68" fmla="*/ 3828 h 9828"/>
                        <a:gd name="connsiteX69" fmla="*/ 1309 w 10000"/>
                        <a:gd name="connsiteY69" fmla="*/ 3483 h 9828"/>
                        <a:gd name="connsiteX70" fmla="*/ 1309 w 10000"/>
                        <a:gd name="connsiteY70" fmla="*/ 3483 h 9828"/>
                        <a:gd name="connsiteX71" fmla="*/ 891 w 10000"/>
                        <a:gd name="connsiteY71" fmla="*/ 2794 h 9828"/>
                        <a:gd name="connsiteX72" fmla="*/ 474 w 10000"/>
                        <a:gd name="connsiteY72" fmla="*/ 2069 h 9828"/>
                        <a:gd name="connsiteX73" fmla="*/ 334 w 10000"/>
                        <a:gd name="connsiteY73" fmla="*/ 1656 h 9828"/>
                        <a:gd name="connsiteX74" fmla="*/ 139 w 10000"/>
                        <a:gd name="connsiteY74" fmla="*/ 1242 h 9828"/>
                        <a:gd name="connsiteX75" fmla="*/ 56 w 10000"/>
                        <a:gd name="connsiteY75" fmla="*/ 862 h 9828"/>
                        <a:gd name="connsiteX76" fmla="*/ 0 w 10000"/>
                        <a:gd name="connsiteY76" fmla="*/ 380 h 9828"/>
                        <a:gd name="connsiteX77" fmla="*/ 0 w 10000"/>
                        <a:gd name="connsiteY77" fmla="*/ 380 h 9828"/>
                        <a:gd name="connsiteX78" fmla="*/ 0 w 10000"/>
                        <a:gd name="connsiteY78" fmla="*/ 173 h 9828"/>
                        <a:gd name="connsiteX79" fmla="*/ 56 w 10000"/>
                        <a:gd name="connsiteY79" fmla="*/ 0 h 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000" h="9828">
                          <a:moveTo>
                            <a:pt x="139" y="0"/>
                          </a:moveTo>
                          <a:lnTo>
                            <a:pt x="139" y="0"/>
                          </a:lnTo>
                          <a:lnTo>
                            <a:pt x="418" y="35"/>
                          </a:lnTo>
                          <a:lnTo>
                            <a:pt x="696" y="104"/>
                          </a:lnTo>
                          <a:lnTo>
                            <a:pt x="1309" y="380"/>
                          </a:lnTo>
                          <a:lnTo>
                            <a:pt x="1922" y="690"/>
                          </a:lnTo>
                          <a:lnTo>
                            <a:pt x="2479" y="966"/>
                          </a:lnTo>
                          <a:lnTo>
                            <a:pt x="2479" y="966"/>
                          </a:lnTo>
                          <a:lnTo>
                            <a:pt x="3343" y="1242"/>
                          </a:lnTo>
                          <a:lnTo>
                            <a:pt x="4290" y="1552"/>
                          </a:lnTo>
                          <a:lnTo>
                            <a:pt x="4708" y="1656"/>
                          </a:lnTo>
                          <a:lnTo>
                            <a:pt x="5153" y="1725"/>
                          </a:lnTo>
                          <a:lnTo>
                            <a:pt x="5627" y="1656"/>
                          </a:lnTo>
                          <a:lnTo>
                            <a:pt x="6128" y="1587"/>
                          </a:lnTo>
                          <a:lnTo>
                            <a:pt x="6128" y="1587"/>
                          </a:lnTo>
                          <a:lnTo>
                            <a:pt x="6602" y="1414"/>
                          </a:lnTo>
                          <a:lnTo>
                            <a:pt x="7075" y="1242"/>
                          </a:lnTo>
                          <a:lnTo>
                            <a:pt x="7911" y="690"/>
                          </a:lnTo>
                          <a:lnTo>
                            <a:pt x="7911" y="690"/>
                          </a:lnTo>
                          <a:lnTo>
                            <a:pt x="8273" y="518"/>
                          </a:lnTo>
                          <a:lnTo>
                            <a:pt x="8691" y="276"/>
                          </a:lnTo>
                          <a:lnTo>
                            <a:pt x="9164" y="173"/>
                          </a:lnTo>
                          <a:lnTo>
                            <a:pt x="9331" y="173"/>
                          </a:lnTo>
                          <a:lnTo>
                            <a:pt x="9582" y="173"/>
                          </a:lnTo>
                          <a:lnTo>
                            <a:pt x="9582" y="173"/>
                          </a:lnTo>
                          <a:lnTo>
                            <a:pt x="9749" y="276"/>
                          </a:lnTo>
                          <a:lnTo>
                            <a:pt x="9889" y="380"/>
                          </a:lnTo>
                          <a:cubicBezTo>
                            <a:pt x="9907" y="437"/>
                            <a:pt x="9926" y="495"/>
                            <a:pt x="9944" y="552"/>
                          </a:cubicBezTo>
                          <a:cubicBezTo>
                            <a:pt x="9963" y="610"/>
                            <a:pt x="9981" y="667"/>
                            <a:pt x="10000" y="725"/>
                          </a:cubicBezTo>
                          <a:cubicBezTo>
                            <a:pt x="9981" y="782"/>
                            <a:pt x="9963" y="840"/>
                            <a:pt x="9944" y="897"/>
                          </a:cubicBezTo>
                          <a:cubicBezTo>
                            <a:pt x="9926" y="977"/>
                            <a:pt x="9907" y="1058"/>
                            <a:pt x="9889" y="1138"/>
                          </a:cubicBezTo>
                          <a:cubicBezTo>
                            <a:pt x="9842" y="1276"/>
                            <a:pt x="9796" y="1414"/>
                            <a:pt x="9749" y="1552"/>
                          </a:cubicBezTo>
                          <a:lnTo>
                            <a:pt x="9749" y="1552"/>
                          </a:lnTo>
                          <a:lnTo>
                            <a:pt x="9443" y="2276"/>
                          </a:lnTo>
                          <a:cubicBezTo>
                            <a:pt x="9359" y="2506"/>
                            <a:pt x="9276" y="2736"/>
                            <a:pt x="9192" y="2966"/>
                          </a:cubicBezTo>
                          <a:cubicBezTo>
                            <a:pt x="9136" y="3242"/>
                            <a:pt x="9081" y="3518"/>
                            <a:pt x="9025" y="3794"/>
                          </a:cubicBezTo>
                          <a:cubicBezTo>
                            <a:pt x="8979" y="4058"/>
                            <a:pt x="8932" y="4323"/>
                            <a:pt x="8886" y="4587"/>
                          </a:cubicBezTo>
                          <a:lnTo>
                            <a:pt x="8886" y="4587"/>
                          </a:lnTo>
                          <a:cubicBezTo>
                            <a:pt x="8840" y="5070"/>
                            <a:pt x="8793" y="5552"/>
                            <a:pt x="8747" y="6035"/>
                          </a:cubicBezTo>
                          <a:cubicBezTo>
                            <a:pt x="8728" y="6265"/>
                            <a:pt x="8710" y="6495"/>
                            <a:pt x="8691" y="6725"/>
                          </a:cubicBezTo>
                          <a:cubicBezTo>
                            <a:pt x="8645" y="6932"/>
                            <a:pt x="8598" y="7138"/>
                            <a:pt x="8552" y="7345"/>
                          </a:cubicBezTo>
                          <a:cubicBezTo>
                            <a:pt x="8478" y="7552"/>
                            <a:pt x="8403" y="7759"/>
                            <a:pt x="8329" y="7966"/>
                          </a:cubicBezTo>
                          <a:cubicBezTo>
                            <a:pt x="8282" y="8069"/>
                            <a:pt x="8236" y="8173"/>
                            <a:pt x="8189" y="8276"/>
                          </a:cubicBezTo>
                          <a:cubicBezTo>
                            <a:pt x="8143" y="8368"/>
                            <a:pt x="8096" y="8460"/>
                            <a:pt x="8050" y="8552"/>
                          </a:cubicBezTo>
                          <a:lnTo>
                            <a:pt x="7855" y="8794"/>
                          </a:lnTo>
                          <a:lnTo>
                            <a:pt x="7632" y="9000"/>
                          </a:lnTo>
                          <a:lnTo>
                            <a:pt x="7382" y="9242"/>
                          </a:lnTo>
                          <a:lnTo>
                            <a:pt x="7075" y="9414"/>
                          </a:lnTo>
                          <a:lnTo>
                            <a:pt x="7075" y="9414"/>
                          </a:lnTo>
                          <a:lnTo>
                            <a:pt x="6518" y="9656"/>
                          </a:lnTo>
                          <a:lnTo>
                            <a:pt x="5905" y="9828"/>
                          </a:lnTo>
                          <a:lnTo>
                            <a:pt x="5292" y="9828"/>
                          </a:lnTo>
                          <a:lnTo>
                            <a:pt x="4652" y="9759"/>
                          </a:lnTo>
                          <a:lnTo>
                            <a:pt x="4039" y="9587"/>
                          </a:lnTo>
                          <a:lnTo>
                            <a:pt x="3482" y="9311"/>
                          </a:lnTo>
                          <a:lnTo>
                            <a:pt x="3203" y="9138"/>
                          </a:lnTo>
                          <a:lnTo>
                            <a:pt x="2981" y="8897"/>
                          </a:lnTo>
                          <a:lnTo>
                            <a:pt x="2786" y="8656"/>
                          </a:lnTo>
                          <a:lnTo>
                            <a:pt x="2618" y="8449"/>
                          </a:lnTo>
                          <a:lnTo>
                            <a:pt x="2618" y="8449"/>
                          </a:lnTo>
                          <a:cubicBezTo>
                            <a:pt x="2572" y="8345"/>
                            <a:pt x="2525" y="8242"/>
                            <a:pt x="2479" y="8138"/>
                          </a:cubicBezTo>
                          <a:cubicBezTo>
                            <a:pt x="2433" y="8046"/>
                            <a:pt x="2386" y="7954"/>
                            <a:pt x="2340" y="7862"/>
                          </a:cubicBezTo>
                          <a:lnTo>
                            <a:pt x="2145" y="7242"/>
                          </a:lnTo>
                          <a:cubicBezTo>
                            <a:pt x="2117" y="7024"/>
                            <a:pt x="2089" y="6805"/>
                            <a:pt x="2061" y="6587"/>
                          </a:cubicBezTo>
                          <a:lnTo>
                            <a:pt x="1950" y="5966"/>
                          </a:lnTo>
                          <a:cubicBezTo>
                            <a:pt x="1922" y="5771"/>
                            <a:pt x="1894" y="5575"/>
                            <a:pt x="1866" y="5380"/>
                          </a:cubicBezTo>
                          <a:cubicBezTo>
                            <a:pt x="1838" y="5173"/>
                            <a:pt x="1811" y="4966"/>
                            <a:pt x="1783" y="4759"/>
                          </a:cubicBezTo>
                          <a:lnTo>
                            <a:pt x="1588" y="4138"/>
                          </a:lnTo>
                          <a:cubicBezTo>
                            <a:pt x="1560" y="4035"/>
                            <a:pt x="1532" y="3931"/>
                            <a:pt x="1504" y="3828"/>
                          </a:cubicBezTo>
                          <a:lnTo>
                            <a:pt x="1309" y="3483"/>
                          </a:lnTo>
                          <a:lnTo>
                            <a:pt x="1309" y="3483"/>
                          </a:lnTo>
                          <a:lnTo>
                            <a:pt x="891" y="2794"/>
                          </a:lnTo>
                          <a:lnTo>
                            <a:pt x="474" y="2069"/>
                          </a:lnTo>
                          <a:cubicBezTo>
                            <a:pt x="427" y="1931"/>
                            <a:pt x="381" y="1794"/>
                            <a:pt x="334" y="1656"/>
                          </a:cubicBezTo>
                          <a:lnTo>
                            <a:pt x="139" y="1242"/>
                          </a:lnTo>
                          <a:cubicBezTo>
                            <a:pt x="111" y="1115"/>
                            <a:pt x="84" y="989"/>
                            <a:pt x="56" y="862"/>
                          </a:cubicBezTo>
                          <a:cubicBezTo>
                            <a:pt x="37" y="701"/>
                            <a:pt x="19" y="541"/>
                            <a:pt x="0" y="380"/>
                          </a:cubicBezTo>
                          <a:lnTo>
                            <a:pt x="0" y="380"/>
                          </a:lnTo>
                          <a:lnTo>
                            <a:pt x="0" y="173"/>
                          </a:lnTo>
                          <a:cubicBezTo>
                            <a:pt x="19" y="115"/>
                            <a:pt x="37" y="58"/>
                            <a:pt x="56" y="0"/>
                          </a:cubicBezTo>
                        </a:path>
                      </a:pathLst>
                    </a:custGeom>
                    <a:solidFill>
                      <a:schemeClr val="accent2">
                        <a:lumMod val="7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61" name="Freeform 114"/>
                    <p:cNvSpPr>
                      <a:spLocks/>
                    </p:cNvSpPr>
                    <p:nvPr/>
                  </p:nvSpPr>
                  <p:spPr bwMode="auto">
                    <a:xfrm>
                      <a:off x="20081876" y="3890962"/>
                      <a:ext cx="344488" cy="150813"/>
                    </a:xfrm>
                    <a:custGeom>
                      <a:avLst/>
                      <a:gdLst>
                        <a:gd name="T0" fmla="*/ 0 w 217"/>
                        <a:gd name="T1" fmla="*/ 8 h 95"/>
                        <a:gd name="T2" fmla="*/ 0 w 217"/>
                        <a:gd name="T3" fmla="*/ 8 h 95"/>
                        <a:gd name="T4" fmla="*/ 7 w 217"/>
                        <a:gd name="T5" fmla="*/ 25 h 95"/>
                        <a:gd name="T6" fmla="*/ 15 w 217"/>
                        <a:gd name="T7" fmla="*/ 43 h 95"/>
                        <a:gd name="T8" fmla="*/ 27 w 217"/>
                        <a:gd name="T9" fmla="*/ 60 h 95"/>
                        <a:gd name="T10" fmla="*/ 34 w 217"/>
                        <a:gd name="T11" fmla="*/ 68 h 95"/>
                        <a:gd name="T12" fmla="*/ 42 w 217"/>
                        <a:gd name="T13" fmla="*/ 75 h 95"/>
                        <a:gd name="T14" fmla="*/ 50 w 217"/>
                        <a:gd name="T15" fmla="*/ 81 h 95"/>
                        <a:gd name="T16" fmla="*/ 60 w 217"/>
                        <a:gd name="T17" fmla="*/ 86 h 95"/>
                        <a:gd name="T18" fmla="*/ 70 w 217"/>
                        <a:gd name="T19" fmla="*/ 90 h 95"/>
                        <a:gd name="T20" fmla="*/ 80 w 217"/>
                        <a:gd name="T21" fmla="*/ 93 h 95"/>
                        <a:gd name="T22" fmla="*/ 92 w 217"/>
                        <a:gd name="T23" fmla="*/ 95 h 95"/>
                        <a:gd name="T24" fmla="*/ 105 w 217"/>
                        <a:gd name="T25" fmla="*/ 93 h 95"/>
                        <a:gd name="T26" fmla="*/ 119 w 217"/>
                        <a:gd name="T27" fmla="*/ 91 h 95"/>
                        <a:gd name="T28" fmla="*/ 134 w 217"/>
                        <a:gd name="T29" fmla="*/ 86 h 95"/>
                        <a:gd name="T30" fmla="*/ 134 w 217"/>
                        <a:gd name="T31" fmla="*/ 86 h 95"/>
                        <a:gd name="T32" fmla="*/ 147 w 217"/>
                        <a:gd name="T33" fmla="*/ 81 h 95"/>
                        <a:gd name="T34" fmla="*/ 157 w 217"/>
                        <a:gd name="T35" fmla="*/ 76 h 95"/>
                        <a:gd name="T36" fmla="*/ 169 w 217"/>
                        <a:gd name="T37" fmla="*/ 70 h 95"/>
                        <a:gd name="T38" fmla="*/ 177 w 217"/>
                        <a:gd name="T39" fmla="*/ 61 h 95"/>
                        <a:gd name="T40" fmla="*/ 194 w 217"/>
                        <a:gd name="T41" fmla="*/ 46 h 95"/>
                        <a:gd name="T42" fmla="*/ 207 w 217"/>
                        <a:gd name="T43" fmla="*/ 28 h 95"/>
                        <a:gd name="T44" fmla="*/ 207 w 217"/>
                        <a:gd name="T45" fmla="*/ 28 h 95"/>
                        <a:gd name="T46" fmla="*/ 212 w 217"/>
                        <a:gd name="T47" fmla="*/ 20 h 95"/>
                        <a:gd name="T48" fmla="*/ 217 w 217"/>
                        <a:gd name="T49" fmla="*/ 8 h 95"/>
                        <a:gd name="T50" fmla="*/ 217 w 217"/>
                        <a:gd name="T51" fmla="*/ 5 h 95"/>
                        <a:gd name="T52" fmla="*/ 215 w 217"/>
                        <a:gd name="T53" fmla="*/ 1 h 95"/>
                        <a:gd name="T54" fmla="*/ 210 w 217"/>
                        <a:gd name="T55" fmla="*/ 0 h 95"/>
                        <a:gd name="T56" fmla="*/ 200 w 217"/>
                        <a:gd name="T57" fmla="*/ 1 h 95"/>
                        <a:gd name="T58" fmla="*/ 200 w 217"/>
                        <a:gd name="T59" fmla="*/ 1 h 95"/>
                        <a:gd name="T60" fmla="*/ 180 w 217"/>
                        <a:gd name="T61" fmla="*/ 8 h 95"/>
                        <a:gd name="T62" fmla="*/ 170 w 217"/>
                        <a:gd name="T63" fmla="*/ 11 h 95"/>
                        <a:gd name="T64" fmla="*/ 159 w 217"/>
                        <a:gd name="T65" fmla="*/ 13 h 95"/>
                        <a:gd name="T66" fmla="*/ 159 w 217"/>
                        <a:gd name="T67" fmla="*/ 13 h 95"/>
                        <a:gd name="T68" fmla="*/ 137 w 217"/>
                        <a:gd name="T69" fmla="*/ 16 h 95"/>
                        <a:gd name="T70" fmla="*/ 114 w 217"/>
                        <a:gd name="T71" fmla="*/ 18 h 95"/>
                        <a:gd name="T72" fmla="*/ 114 w 217"/>
                        <a:gd name="T73" fmla="*/ 18 h 95"/>
                        <a:gd name="T74" fmla="*/ 100 w 217"/>
                        <a:gd name="T75" fmla="*/ 18 h 95"/>
                        <a:gd name="T76" fmla="*/ 87 w 217"/>
                        <a:gd name="T77" fmla="*/ 18 h 95"/>
                        <a:gd name="T78" fmla="*/ 65 w 217"/>
                        <a:gd name="T79" fmla="*/ 13 h 95"/>
                        <a:gd name="T80" fmla="*/ 20 w 217"/>
                        <a:gd name="T81" fmla="*/ 1 h 95"/>
                        <a:gd name="T82" fmla="*/ 20 w 217"/>
                        <a:gd name="T83" fmla="*/ 1 h 95"/>
                        <a:gd name="T84" fmla="*/ 10 w 217"/>
                        <a:gd name="T85" fmla="*/ 0 h 95"/>
                        <a:gd name="T86" fmla="*/ 5 w 217"/>
                        <a:gd name="T87" fmla="*/ 0 h 95"/>
                        <a:gd name="T88" fmla="*/ 5 w 217"/>
                        <a:gd name="T89" fmla="*/ 0 h 95"/>
                        <a:gd name="T90" fmla="*/ 0 w 217"/>
                        <a:gd name="T91" fmla="*/ 1 h 95"/>
                        <a:gd name="T92" fmla="*/ 0 w 217"/>
                        <a:gd name="T93" fmla="*/ 5 h 95"/>
                        <a:gd name="T94" fmla="*/ 0 w 217"/>
                        <a:gd name="T95" fmla="*/ 8 h 95"/>
                        <a:gd name="T96" fmla="*/ 0 w 217"/>
                        <a:gd name="T97" fmla="*/ 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7" h="95">
                          <a:moveTo>
                            <a:pt x="0" y="8"/>
                          </a:moveTo>
                          <a:lnTo>
                            <a:pt x="0" y="8"/>
                          </a:lnTo>
                          <a:lnTo>
                            <a:pt x="7" y="25"/>
                          </a:lnTo>
                          <a:lnTo>
                            <a:pt x="15" y="43"/>
                          </a:lnTo>
                          <a:lnTo>
                            <a:pt x="27" y="60"/>
                          </a:lnTo>
                          <a:lnTo>
                            <a:pt x="34" y="68"/>
                          </a:lnTo>
                          <a:lnTo>
                            <a:pt x="42" y="75"/>
                          </a:lnTo>
                          <a:lnTo>
                            <a:pt x="50" y="81"/>
                          </a:lnTo>
                          <a:lnTo>
                            <a:pt x="60" y="86"/>
                          </a:lnTo>
                          <a:lnTo>
                            <a:pt x="70" y="90"/>
                          </a:lnTo>
                          <a:lnTo>
                            <a:pt x="80" y="93"/>
                          </a:lnTo>
                          <a:lnTo>
                            <a:pt x="92" y="95"/>
                          </a:lnTo>
                          <a:lnTo>
                            <a:pt x="105" y="93"/>
                          </a:lnTo>
                          <a:lnTo>
                            <a:pt x="119" y="91"/>
                          </a:lnTo>
                          <a:lnTo>
                            <a:pt x="134" y="86"/>
                          </a:lnTo>
                          <a:lnTo>
                            <a:pt x="134" y="86"/>
                          </a:lnTo>
                          <a:lnTo>
                            <a:pt x="147" y="81"/>
                          </a:lnTo>
                          <a:lnTo>
                            <a:pt x="157" y="76"/>
                          </a:lnTo>
                          <a:lnTo>
                            <a:pt x="169" y="70"/>
                          </a:lnTo>
                          <a:lnTo>
                            <a:pt x="177" y="61"/>
                          </a:lnTo>
                          <a:lnTo>
                            <a:pt x="194" y="46"/>
                          </a:lnTo>
                          <a:lnTo>
                            <a:pt x="207" y="28"/>
                          </a:lnTo>
                          <a:lnTo>
                            <a:pt x="207" y="28"/>
                          </a:lnTo>
                          <a:lnTo>
                            <a:pt x="212" y="20"/>
                          </a:lnTo>
                          <a:lnTo>
                            <a:pt x="217" y="8"/>
                          </a:lnTo>
                          <a:lnTo>
                            <a:pt x="217" y="5"/>
                          </a:lnTo>
                          <a:lnTo>
                            <a:pt x="215" y="1"/>
                          </a:lnTo>
                          <a:lnTo>
                            <a:pt x="210" y="0"/>
                          </a:lnTo>
                          <a:lnTo>
                            <a:pt x="200" y="1"/>
                          </a:lnTo>
                          <a:lnTo>
                            <a:pt x="200" y="1"/>
                          </a:lnTo>
                          <a:lnTo>
                            <a:pt x="180" y="8"/>
                          </a:lnTo>
                          <a:lnTo>
                            <a:pt x="170" y="11"/>
                          </a:lnTo>
                          <a:lnTo>
                            <a:pt x="159" y="13"/>
                          </a:lnTo>
                          <a:lnTo>
                            <a:pt x="159" y="13"/>
                          </a:lnTo>
                          <a:lnTo>
                            <a:pt x="137" y="16"/>
                          </a:lnTo>
                          <a:lnTo>
                            <a:pt x="114" y="18"/>
                          </a:lnTo>
                          <a:lnTo>
                            <a:pt x="114" y="18"/>
                          </a:lnTo>
                          <a:lnTo>
                            <a:pt x="100" y="18"/>
                          </a:lnTo>
                          <a:lnTo>
                            <a:pt x="87" y="18"/>
                          </a:lnTo>
                          <a:lnTo>
                            <a:pt x="65" y="13"/>
                          </a:lnTo>
                          <a:lnTo>
                            <a:pt x="20" y="1"/>
                          </a:lnTo>
                          <a:lnTo>
                            <a:pt x="20" y="1"/>
                          </a:lnTo>
                          <a:lnTo>
                            <a:pt x="10" y="0"/>
                          </a:lnTo>
                          <a:lnTo>
                            <a:pt x="5" y="0"/>
                          </a:lnTo>
                          <a:lnTo>
                            <a:pt x="5" y="0"/>
                          </a:lnTo>
                          <a:lnTo>
                            <a:pt x="0" y="1"/>
                          </a:lnTo>
                          <a:lnTo>
                            <a:pt x="0" y="5"/>
                          </a:lnTo>
                          <a:lnTo>
                            <a:pt x="0" y="8"/>
                          </a:lnTo>
                          <a:lnTo>
                            <a:pt x="0" y="8"/>
                          </a:lnTo>
                          <a:close/>
                        </a:path>
                      </a:pathLst>
                    </a:custGeom>
                    <a:solidFill>
                      <a:schemeClr val="accent2">
                        <a:lumMod val="5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62" name="Freeform 109"/>
                    <p:cNvSpPr>
                      <a:spLocks/>
                    </p:cNvSpPr>
                    <p:nvPr/>
                  </p:nvSpPr>
                  <p:spPr bwMode="auto">
                    <a:xfrm>
                      <a:off x="19642138" y="3906837"/>
                      <a:ext cx="368300" cy="833438"/>
                    </a:xfrm>
                    <a:custGeom>
                      <a:avLst/>
                      <a:gdLst>
                        <a:gd name="T0" fmla="*/ 231 w 232"/>
                        <a:gd name="T1" fmla="*/ 136 h 525"/>
                        <a:gd name="T2" fmla="*/ 231 w 232"/>
                        <a:gd name="T3" fmla="*/ 136 h 525"/>
                        <a:gd name="T4" fmla="*/ 232 w 232"/>
                        <a:gd name="T5" fmla="*/ 93 h 525"/>
                        <a:gd name="T6" fmla="*/ 231 w 232"/>
                        <a:gd name="T7" fmla="*/ 75 h 525"/>
                        <a:gd name="T8" fmla="*/ 229 w 232"/>
                        <a:gd name="T9" fmla="*/ 58 h 525"/>
                        <a:gd name="T10" fmla="*/ 227 w 232"/>
                        <a:gd name="T11" fmla="*/ 50 h 525"/>
                        <a:gd name="T12" fmla="*/ 224 w 232"/>
                        <a:gd name="T13" fmla="*/ 45 h 525"/>
                        <a:gd name="T14" fmla="*/ 219 w 232"/>
                        <a:gd name="T15" fmla="*/ 38 h 525"/>
                        <a:gd name="T16" fmla="*/ 214 w 232"/>
                        <a:gd name="T17" fmla="*/ 35 h 525"/>
                        <a:gd name="T18" fmla="*/ 209 w 232"/>
                        <a:gd name="T19" fmla="*/ 30 h 525"/>
                        <a:gd name="T20" fmla="*/ 201 w 232"/>
                        <a:gd name="T21" fmla="*/ 28 h 525"/>
                        <a:gd name="T22" fmla="*/ 192 w 232"/>
                        <a:gd name="T23" fmla="*/ 26 h 525"/>
                        <a:gd name="T24" fmla="*/ 181 w 232"/>
                        <a:gd name="T25" fmla="*/ 25 h 525"/>
                        <a:gd name="T26" fmla="*/ 159 w 232"/>
                        <a:gd name="T27" fmla="*/ 0 h 525"/>
                        <a:gd name="T28" fmla="*/ 159 w 232"/>
                        <a:gd name="T29" fmla="*/ 0 h 525"/>
                        <a:gd name="T30" fmla="*/ 147 w 232"/>
                        <a:gd name="T31" fmla="*/ 0 h 525"/>
                        <a:gd name="T32" fmla="*/ 136 w 232"/>
                        <a:gd name="T33" fmla="*/ 5 h 525"/>
                        <a:gd name="T34" fmla="*/ 124 w 232"/>
                        <a:gd name="T35" fmla="*/ 11 h 525"/>
                        <a:gd name="T36" fmla="*/ 114 w 232"/>
                        <a:gd name="T37" fmla="*/ 20 h 525"/>
                        <a:gd name="T38" fmla="*/ 104 w 232"/>
                        <a:gd name="T39" fmla="*/ 30 h 525"/>
                        <a:gd name="T40" fmla="*/ 94 w 232"/>
                        <a:gd name="T41" fmla="*/ 41 h 525"/>
                        <a:gd name="T42" fmla="*/ 84 w 232"/>
                        <a:gd name="T43" fmla="*/ 55 h 525"/>
                        <a:gd name="T44" fmla="*/ 76 w 232"/>
                        <a:gd name="T45" fmla="*/ 68 h 525"/>
                        <a:gd name="T46" fmla="*/ 61 w 232"/>
                        <a:gd name="T47" fmla="*/ 98 h 525"/>
                        <a:gd name="T48" fmla="*/ 49 w 232"/>
                        <a:gd name="T49" fmla="*/ 128 h 525"/>
                        <a:gd name="T50" fmla="*/ 42 w 232"/>
                        <a:gd name="T51" fmla="*/ 156 h 525"/>
                        <a:gd name="T52" fmla="*/ 39 w 232"/>
                        <a:gd name="T53" fmla="*/ 170 h 525"/>
                        <a:gd name="T54" fmla="*/ 39 w 232"/>
                        <a:gd name="T55" fmla="*/ 183 h 525"/>
                        <a:gd name="T56" fmla="*/ 0 w 232"/>
                        <a:gd name="T57" fmla="*/ 503 h 525"/>
                        <a:gd name="T58" fmla="*/ 0 w 232"/>
                        <a:gd name="T59" fmla="*/ 503 h 525"/>
                        <a:gd name="T60" fmla="*/ 0 w 232"/>
                        <a:gd name="T61" fmla="*/ 508 h 525"/>
                        <a:gd name="T62" fmla="*/ 4 w 232"/>
                        <a:gd name="T63" fmla="*/ 512 h 525"/>
                        <a:gd name="T64" fmla="*/ 12 w 232"/>
                        <a:gd name="T65" fmla="*/ 517 h 525"/>
                        <a:gd name="T66" fmla="*/ 24 w 232"/>
                        <a:gd name="T67" fmla="*/ 520 h 525"/>
                        <a:gd name="T68" fmla="*/ 39 w 232"/>
                        <a:gd name="T69" fmla="*/ 522 h 525"/>
                        <a:gd name="T70" fmla="*/ 76 w 232"/>
                        <a:gd name="T71" fmla="*/ 523 h 525"/>
                        <a:gd name="T72" fmla="*/ 121 w 232"/>
                        <a:gd name="T73" fmla="*/ 523 h 525"/>
                        <a:gd name="T74" fmla="*/ 121 w 232"/>
                        <a:gd name="T75" fmla="*/ 523 h 525"/>
                        <a:gd name="T76" fmla="*/ 137 w 232"/>
                        <a:gd name="T77" fmla="*/ 525 h 525"/>
                        <a:gd name="T78" fmla="*/ 156 w 232"/>
                        <a:gd name="T79" fmla="*/ 523 h 525"/>
                        <a:gd name="T80" fmla="*/ 176 w 232"/>
                        <a:gd name="T81" fmla="*/ 523 h 525"/>
                        <a:gd name="T82" fmla="*/ 196 w 232"/>
                        <a:gd name="T83" fmla="*/ 518 h 525"/>
                        <a:gd name="T84" fmla="*/ 206 w 232"/>
                        <a:gd name="T85" fmla="*/ 517 h 525"/>
                        <a:gd name="T86" fmla="*/ 214 w 232"/>
                        <a:gd name="T87" fmla="*/ 513 h 525"/>
                        <a:gd name="T88" fmla="*/ 221 w 232"/>
                        <a:gd name="T89" fmla="*/ 510 h 525"/>
                        <a:gd name="T90" fmla="*/ 227 w 232"/>
                        <a:gd name="T91" fmla="*/ 505 h 525"/>
                        <a:gd name="T92" fmla="*/ 231 w 232"/>
                        <a:gd name="T93" fmla="*/ 498 h 525"/>
                        <a:gd name="T94" fmla="*/ 232 w 232"/>
                        <a:gd name="T95" fmla="*/ 492 h 525"/>
                        <a:gd name="T96" fmla="*/ 231 w 232"/>
                        <a:gd name="T97"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525">
                          <a:moveTo>
                            <a:pt x="231" y="136"/>
                          </a:moveTo>
                          <a:lnTo>
                            <a:pt x="231" y="136"/>
                          </a:lnTo>
                          <a:lnTo>
                            <a:pt x="232" y="93"/>
                          </a:lnTo>
                          <a:lnTo>
                            <a:pt x="231" y="75"/>
                          </a:lnTo>
                          <a:lnTo>
                            <a:pt x="229" y="58"/>
                          </a:lnTo>
                          <a:lnTo>
                            <a:pt x="227" y="50"/>
                          </a:lnTo>
                          <a:lnTo>
                            <a:pt x="224" y="45"/>
                          </a:lnTo>
                          <a:lnTo>
                            <a:pt x="219" y="38"/>
                          </a:lnTo>
                          <a:lnTo>
                            <a:pt x="214" y="35"/>
                          </a:lnTo>
                          <a:lnTo>
                            <a:pt x="209" y="30"/>
                          </a:lnTo>
                          <a:lnTo>
                            <a:pt x="201" y="28"/>
                          </a:lnTo>
                          <a:lnTo>
                            <a:pt x="192" y="26"/>
                          </a:lnTo>
                          <a:lnTo>
                            <a:pt x="181" y="25"/>
                          </a:lnTo>
                          <a:lnTo>
                            <a:pt x="159" y="0"/>
                          </a:lnTo>
                          <a:lnTo>
                            <a:pt x="159" y="0"/>
                          </a:lnTo>
                          <a:lnTo>
                            <a:pt x="147" y="0"/>
                          </a:lnTo>
                          <a:lnTo>
                            <a:pt x="136" y="5"/>
                          </a:lnTo>
                          <a:lnTo>
                            <a:pt x="124" y="11"/>
                          </a:lnTo>
                          <a:lnTo>
                            <a:pt x="114" y="20"/>
                          </a:lnTo>
                          <a:lnTo>
                            <a:pt x="104" y="30"/>
                          </a:lnTo>
                          <a:lnTo>
                            <a:pt x="94" y="41"/>
                          </a:lnTo>
                          <a:lnTo>
                            <a:pt x="84" y="55"/>
                          </a:lnTo>
                          <a:lnTo>
                            <a:pt x="76" y="68"/>
                          </a:lnTo>
                          <a:lnTo>
                            <a:pt x="61" y="98"/>
                          </a:lnTo>
                          <a:lnTo>
                            <a:pt x="49" y="128"/>
                          </a:lnTo>
                          <a:lnTo>
                            <a:pt x="42" y="156"/>
                          </a:lnTo>
                          <a:lnTo>
                            <a:pt x="39" y="170"/>
                          </a:lnTo>
                          <a:lnTo>
                            <a:pt x="39" y="183"/>
                          </a:lnTo>
                          <a:lnTo>
                            <a:pt x="0" y="503"/>
                          </a:lnTo>
                          <a:lnTo>
                            <a:pt x="0" y="503"/>
                          </a:lnTo>
                          <a:lnTo>
                            <a:pt x="0" y="508"/>
                          </a:lnTo>
                          <a:lnTo>
                            <a:pt x="4" y="512"/>
                          </a:lnTo>
                          <a:lnTo>
                            <a:pt x="12" y="517"/>
                          </a:lnTo>
                          <a:lnTo>
                            <a:pt x="24" y="520"/>
                          </a:lnTo>
                          <a:lnTo>
                            <a:pt x="39" y="522"/>
                          </a:lnTo>
                          <a:lnTo>
                            <a:pt x="76" y="523"/>
                          </a:lnTo>
                          <a:lnTo>
                            <a:pt x="121" y="523"/>
                          </a:lnTo>
                          <a:lnTo>
                            <a:pt x="121" y="523"/>
                          </a:lnTo>
                          <a:lnTo>
                            <a:pt x="137" y="525"/>
                          </a:lnTo>
                          <a:lnTo>
                            <a:pt x="156" y="523"/>
                          </a:lnTo>
                          <a:lnTo>
                            <a:pt x="176" y="523"/>
                          </a:lnTo>
                          <a:lnTo>
                            <a:pt x="196" y="518"/>
                          </a:lnTo>
                          <a:lnTo>
                            <a:pt x="206" y="517"/>
                          </a:lnTo>
                          <a:lnTo>
                            <a:pt x="214" y="513"/>
                          </a:lnTo>
                          <a:lnTo>
                            <a:pt x="221" y="510"/>
                          </a:lnTo>
                          <a:lnTo>
                            <a:pt x="227" y="505"/>
                          </a:lnTo>
                          <a:lnTo>
                            <a:pt x="231" y="498"/>
                          </a:lnTo>
                          <a:lnTo>
                            <a:pt x="232" y="492"/>
                          </a:lnTo>
                          <a:lnTo>
                            <a:pt x="231" y="136"/>
                          </a:lnTo>
                          <a:close/>
                        </a:path>
                      </a:pathLst>
                    </a:custGeom>
                    <a:solidFill>
                      <a:schemeClr val="accent2"/>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63" name="Freeform 110"/>
                    <p:cNvSpPr>
                      <a:spLocks/>
                    </p:cNvSpPr>
                    <p:nvPr/>
                  </p:nvSpPr>
                  <p:spPr bwMode="auto">
                    <a:xfrm>
                      <a:off x="20500976" y="3906837"/>
                      <a:ext cx="366713" cy="833438"/>
                    </a:xfrm>
                    <a:custGeom>
                      <a:avLst/>
                      <a:gdLst>
                        <a:gd name="T0" fmla="*/ 0 w 231"/>
                        <a:gd name="T1" fmla="*/ 136 h 525"/>
                        <a:gd name="T2" fmla="*/ 0 w 231"/>
                        <a:gd name="T3" fmla="*/ 136 h 525"/>
                        <a:gd name="T4" fmla="*/ 0 w 231"/>
                        <a:gd name="T5" fmla="*/ 93 h 525"/>
                        <a:gd name="T6" fmla="*/ 0 w 231"/>
                        <a:gd name="T7" fmla="*/ 75 h 525"/>
                        <a:gd name="T8" fmla="*/ 1 w 231"/>
                        <a:gd name="T9" fmla="*/ 58 h 525"/>
                        <a:gd name="T10" fmla="*/ 5 w 231"/>
                        <a:gd name="T11" fmla="*/ 50 h 525"/>
                        <a:gd name="T12" fmla="*/ 6 w 231"/>
                        <a:gd name="T13" fmla="*/ 45 h 525"/>
                        <a:gd name="T14" fmla="*/ 11 w 231"/>
                        <a:gd name="T15" fmla="*/ 38 h 525"/>
                        <a:gd name="T16" fmla="*/ 16 w 231"/>
                        <a:gd name="T17" fmla="*/ 35 h 525"/>
                        <a:gd name="T18" fmla="*/ 23 w 231"/>
                        <a:gd name="T19" fmla="*/ 30 h 525"/>
                        <a:gd name="T20" fmla="*/ 30 w 231"/>
                        <a:gd name="T21" fmla="*/ 28 h 525"/>
                        <a:gd name="T22" fmla="*/ 40 w 231"/>
                        <a:gd name="T23" fmla="*/ 26 h 525"/>
                        <a:gd name="T24" fmla="*/ 50 w 231"/>
                        <a:gd name="T25" fmla="*/ 25 h 525"/>
                        <a:gd name="T26" fmla="*/ 73 w 231"/>
                        <a:gd name="T27" fmla="*/ 0 h 525"/>
                        <a:gd name="T28" fmla="*/ 73 w 231"/>
                        <a:gd name="T29" fmla="*/ 0 h 525"/>
                        <a:gd name="T30" fmla="*/ 83 w 231"/>
                        <a:gd name="T31" fmla="*/ 1 h 525"/>
                        <a:gd name="T32" fmla="*/ 95 w 231"/>
                        <a:gd name="T33" fmla="*/ 5 h 525"/>
                        <a:gd name="T34" fmla="*/ 105 w 231"/>
                        <a:gd name="T35" fmla="*/ 11 h 525"/>
                        <a:gd name="T36" fmla="*/ 115 w 231"/>
                        <a:gd name="T37" fmla="*/ 21 h 525"/>
                        <a:gd name="T38" fmla="*/ 123 w 231"/>
                        <a:gd name="T39" fmla="*/ 31 h 525"/>
                        <a:gd name="T40" fmla="*/ 131 w 231"/>
                        <a:gd name="T41" fmla="*/ 45 h 525"/>
                        <a:gd name="T42" fmla="*/ 140 w 231"/>
                        <a:gd name="T43" fmla="*/ 58 h 525"/>
                        <a:gd name="T44" fmla="*/ 146 w 231"/>
                        <a:gd name="T45" fmla="*/ 73 h 525"/>
                        <a:gd name="T46" fmla="*/ 158 w 231"/>
                        <a:gd name="T47" fmla="*/ 105 h 525"/>
                        <a:gd name="T48" fmla="*/ 168 w 231"/>
                        <a:gd name="T49" fmla="*/ 136 h 525"/>
                        <a:gd name="T50" fmla="*/ 173 w 231"/>
                        <a:gd name="T51" fmla="*/ 166 h 525"/>
                        <a:gd name="T52" fmla="*/ 175 w 231"/>
                        <a:gd name="T53" fmla="*/ 193 h 525"/>
                        <a:gd name="T54" fmla="*/ 231 w 231"/>
                        <a:gd name="T55" fmla="*/ 503 h 525"/>
                        <a:gd name="T56" fmla="*/ 231 w 231"/>
                        <a:gd name="T57" fmla="*/ 503 h 525"/>
                        <a:gd name="T58" fmla="*/ 230 w 231"/>
                        <a:gd name="T59" fmla="*/ 508 h 525"/>
                        <a:gd name="T60" fmla="*/ 226 w 231"/>
                        <a:gd name="T61" fmla="*/ 512 h 525"/>
                        <a:gd name="T62" fmla="*/ 220 w 231"/>
                        <a:gd name="T63" fmla="*/ 517 h 525"/>
                        <a:gd name="T64" fmla="*/ 206 w 231"/>
                        <a:gd name="T65" fmla="*/ 520 h 525"/>
                        <a:gd name="T66" fmla="*/ 191 w 231"/>
                        <a:gd name="T67" fmla="*/ 522 h 525"/>
                        <a:gd name="T68" fmla="*/ 155 w 231"/>
                        <a:gd name="T69" fmla="*/ 523 h 525"/>
                        <a:gd name="T70" fmla="*/ 110 w 231"/>
                        <a:gd name="T71" fmla="*/ 523 h 525"/>
                        <a:gd name="T72" fmla="*/ 110 w 231"/>
                        <a:gd name="T73" fmla="*/ 523 h 525"/>
                        <a:gd name="T74" fmla="*/ 93 w 231"/>
                        <a:gd name="T75" fmla="*/ 525 h 525"/>
                        <a:gd name="T76" fmla="*/ 75 w 231"/>
                        <a:gd name="T77" fmla="*/ 523 h 525"/>
                        <a:gd name="T78" fmla="*/ 55 w 231"/>
                        <a:gd name="T79" fmla="*/ 523 h 525"/>
                        <a:gd name="T80" fmla="*/ 35 w 231"/>
                        <a:gd name="T81" fmla="*/ 518 h 525"/>
                        <a:gd name="T82" fmla="*/ 25 w 231"/>
                        <a:gd name="T83" fmla="*/ 517 h 525"/>
                        <a:gd name="T84" fmla="*/ 16 w 231"/>
                        <a:gd name="T85" fmla="*/ 513 h 525"/>
                        <a:gd name="T86" fmla="*/ 10 w 231"/>
                        <a:gd name="T87" fmla="*/ 510 h 525"/>
                        <a:gd name="T88" fmla="*/ 3 w 231"/>
                        <a:gd name="T89" fmla="*/ 505 h 525"/>
                        <a:gd name="T90" fmla="*/ 0 w 231"/>
                        <a:gd name="T91" fmla="*/ 498 h 525"/>
                        <a:gd name="T92" fmla="*/ 0 w 231"/>
                        <a:gd name="T93" fmla="*/ 492 h 525"/>
                        <a:gd name="T94" fmla="*/ 0 w 231"/>
                        <a:gd name="T95" fmla="*/ 13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1" h="525">
                          <a:moveTo>
                            <a:pt x="0" y="136"/>
                          </a:moveTo>
                          <a:lnTo>
                            <a:pt x="0" y="136"/>
                          </a:lnTo>
                          <a:lnTo>
                            <a:pt x="0" y="93"/>
                          </a:lnTo>
                          <a:lnTo>
                            <a:pt x="0" y="75"/>
                          </a:lnTo>
                          <a:lnTo>
                            <a:pt x="1" y="58"/>
                          </a:lnTo>
                          <a:lnTo>
                            <a:pt x="5" y="50"/>
                          </a:lnTo>
                          <a:lnTo>
                            <a:pt x="6" y="45"/>
                          </a:lnTo>
                          <a:lnTo>
                            <a:pt x="11" y="38"/>
                          </a:lnTo>
                          <a:lnTo>
                            <a:pt x="16" y="35"/>
                          </a:lnTo>
                          <a:lnTo>
                            <a:pt x="23" y="30"/>
                          </a:lnTo>
                          <a:lnTo>
                            <a:pt x="30" y="28"/>
                          </a:lnTo>
                          <a:lnTo>
                            <a:pt x="40" y="26"/>
                          </a:lnTo>
                          <a:lnTo>
                            <a:pt x="50" y="25"/>
                          </a:lnTo>
                          <a:lnTo>
                            <a:pt x="73" y="0"/>
                          </a:lnTo>
                          <a:lnTo>
                            <a:pt x="73" y="0"/>
                          </a:lnTo>
                          <a:lnTo>
                            <a:pt x="83" y="1"/>
                          </a:lnTo>
                          <a:lnTo>
                            <a:pt x="95" y="5"/>
                          </a:lnTo>
                          <a:lnTo>
                            <a:pt x="105" y="11"/>
                          </a:lnTo>
                          <a:lnTo>
                            <a:pt x="115" y="21"/>
                          </a:lnTo>
                          <a:lnTo>
                            <a:pt x="123" y="31"/>
                          </a:lnTo>
                          <a:lnTo>
                            <a:pt x="131" y="45"/>
                          </a:lnTo>
                          <a:lnTo>
                            <a:pt x="140" y="58"/>
                          </a:lnTo>
                          <a:lnTo>
                            <a:pt x="146" y="73"/>
                          </a:lnTo>
                          <a:lnTo>
                            <a:pt x="158" y="105"/>
                          </a:lnTo>
                          <a:lnTo>
                            <a:pt x="168" y="136"/>
                          </a:lnTo>
                          <a:lnTo>
                            <a:pt x="173" y="166"/>
                          </a:lnTo>
                          <a:lnTo>
                            <a:pt x="175" y="193"/>
                          </a:lnTo>
                          <a:lnTo>
                            <a:pt x="231" y="503"/>
                          </a:lnTo>
                          <a:lnTo>
                            <a:pt x="231" y="503"/>
                          </a:lnTo>
                          <a:lnTo>
                            <a:pt x="230" y="508"/>
                          </a:lnTo>
                          <a:lnTo>
                            <a:pt x="226" y="512"/>
                          </a:lnTo>
                          <a:lnTo>
                            <a:pt x="220" y="517"/>
                          </a:lnTo>
                          <a:lnTo>
                            <a:pt x="206" y="520"/>
                          </a:lnTo>
                          <a:lnTo>
                            <a:pt x="191" y="522"/>
                          </a:lnTo>
                          <a:lnTo>
                            <a:pt x="155" y="523"/>
                          </a:lnTo>
                          <a:lnTo>
                            <a:pt x="110" y="523"/>
                          </a:lnTo>
                          <a:lnTo>
                            <a:pt x="110" y="523"/>
                          </a:lnTo>
                          <a:lnTo>
                            <a:pt x="93" y="525"/>
                          </a:lnTo>
                          <a:lnTo>
                            <a:pt x="75" y="523"/>
                          </a:lnTo>
                          <a:lnTo>
                            <a:pt x="55" y="523"/>
                          </a:lnTo>
                          <a:lnTo>
                            <a:pt x="35" y="518"/>
                          </a:lnTo>
                          <a:lnTo>
                            <a:pt x="25" y="517"/>
                          </a:lnTo>
                          <a:lnTo>
                            <a:pt x="16" y="513"/>
                          </a:lnTo>
                          <a:lnTo>
                            <a:pt x="10" y="510"/>
                          </a:lnTo>
                          <a:lnTo>
                            <a:pt x="3" y="505"/>
                          </a:lnTo>
                          <a:lnTo>
                            <a:pt x="0" y="498"/>
                          </a:lnTo>
                          <a:lnTo>
                            <a:pt x="0" y="492"/>
                          </a:lnTo>
                          <a:lnTo>
                            <a:pt x="0" y="136"/>
                          </a:lnTo>
                          <a:close/>
                        </a:path>
                      </a:pathLst>
                    </a:custGeom>
                    <a:solidFill>
                      <a:schemeClr val="accent2"/>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963" name="Group 962"/>
                  <p:cNvGrpSpPr/>
                  <p:nvPr/>
                </p:nvGrpSpPr>
                <p:grpSpPr>
                  <a:xfrm>
                    <a:off x="6180583" y="7135988"/>
                    <a:ext cx="163144" cy="135142"/>
                    <a:chOff x="13903209" y="2449178"/>
                    <a:chExt cx="1124068" cy="931129"/>
                  </a:xfrm>
                </p:grpSpPr>
                <p:sp>
                  <p:nvSpPr>
                    <p:cNvPr id="964" name="Arc 963"/>
                    <p:cNvSpPr/>
                    <p:nvPr/>
                  </p:nvSpPr>
                  <p:spPr>
                    <a:xfrm>
                      <a:off x="14243052" y="2449178"/>
                      <a:ext cx="408103" cy="408102"/>
                    </a:xfrm>
                    <a:prstGeom prst="arc">
                      <a:avLst>
                        <a:gd name="adj1" fmla="val 12746340"/>
                        <a:gd name="adj2" fmla="val 5605334"/>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1032" name="Straight Connector 1031"/>
                    <p:cNvCxnSpPr>
                      <a:stCxn id="964" idx="2"/>
                    </p:cNvCxnSpPr>
                    <p:nvPr/>
                  </p:nvCxnSpPr>
                  <p:spPr>
                    <a:xfrm>
                      <a:off x="14434922" y="2856916"/>
                      <a:ext cx="12180" cy="2987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3" name="Straight Connector 1042"/>
                    <p:cNvCxnSpPr/>
                    <p:nvPr/>
                  </p:nvCxnSpPr>
                  <p:spPr>
                    <a:xfrm>
                      <a:off x="14447102" y="3140860"/>
                      <a:ext cx="580175" cy="23944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8" name="Straight Connector 1047"/>
                    <p:cNvCxnSpPr/>
                    <p:nvPr/>
                  </p:nvCxnSpPr>
                  <p:spPr>
                    <a:xfrm flipH="1">
                      <a:off x="13903209" y="3133358"/>
                      <a:ext cx="543893" cy="24111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sp>
            <p:nvSpPr>
              <p:cNvPr id="885" name="Rectangle 884"/>
              <p:cNvSpPr/>
              <p:nvPr/>
            </p:nvSpPr>
            <p:spPr bwMode="auto">
              <a:xfrm>
                <a:off x="8644379" y="3191430"/>
                <a:ext cx="413558" cy="298386"/>
              </a:xfrm>
              <a:prstGeom prst="rect">
                <a:avLst/>
              </a:prstGeom>
              <a:solidFill>
                <a:schemeClr val="tx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dirty="0">
                  <a:ln w="3175">
                    <a:noFill/>
                  </a:ln>
                  <a:solidFill>
                    <a:srgbClr val="00BCF2"/>
                  </a:solidFill>
                  <a:effectLst/>
                  <a:uLnTx/>
                  <a:uFillTx/>
                  <a:cs typeface="Arial" charset="0"/>
                </a:endParaRPr>
              </a:p>
            </p:txBody>
          </p:sp>
        </p:grpSp>
        <p:grpSp>
          <p:nvGrpSpPr>
            <p:cNvPr id="1208" name="Group 1207"/>
            <p:cNvGrpSpPr/>
            <p:nvPr/>
          </p:nvGrpSpPr>
          <p:grpSpPr>
            <a:xfrm>
              <a:off x="7318670" y="3920403"/>
              <a:ext cx="176874" cy="159177"/>
              <a:chOff x="5570989" y="5418077"/>
              <a:chExt cx="983407" cy="885011"/>
            </a:xfrm>
          </p:grpSpPr>
          <p:grpSp>
            <p:nvGrpSpPr>
              <p:cNvPr id="1209" name="Group 1208"/>
              <p:cNvGrpSpPr/>
              <p:nvPr/>
            </p:nvGrpSpPr>
            <p:grpSpPr>
              <a:xfrm>
                <a:off x="5570989" y="5428447"/>
                <a:ext cx="983407" cy="874641"/>
                <a:chOff x="6146016" y="7045324"/>
                <a:chExt cx="3416300" cy="3038475"/>
              </a:xfrm>
            </p:grpSpPr>
            <p:sp>
              <p:nvSpPr>
                <p:cNvPr id="1211" name="Freeform 1174"/>
                <p:cNvSpPr>
                  <a:spLocks/>
                </p:cNvSpPr>
                <p:nvPr/>
              </p:nvSpPr>
              <p:spPr bwMode="auto">
                <a:xfrm>
                  <a:off x="6146016" y="7045324"/>
                  <a:ext cx="3416300" cy="3038475"/>
                </a:xfrm>
                <a:custGeom>
                  <a:avLst/>
                  <a:gdLst>
                    <a:gd name="T0" fmla="*/ 2502 w 4304"/>
                    <a:gd name="T1" fmla="*/ 1154 h 3828"/>
                    <a:gd name="T2" fmla="*/ 2554 w 4304"/>
                    <a:gd name="T3" fmla="*/ 710 h 3828"/>
                    <a:gd name="T4" fmla="*/ 2627 w 4304"/>
                    <a:gd name="T5" fmla="*/ 443 h 3828"/>
                    <a:gd name="T6" fmla="*/ 2706 w 4304"/>
                    <a:gd name="T7" fmla="*/ 326 h 3828"/>
                    <a:gd name="T8" fmla="*/ 2825 w 4304"/>
                    <a:gd name="T9" fmla="*/ 281 h 3828"/>
                    <a:gd name="T10" fmla="*/ 2884 w 4304"/>
                    <a:gd name="T11" fmla="*/ 238 h 3828"/>
                    <a:gd name="T12" fmla="*/ 3010 w 4304"/>
                    <a:gd name="T13" fmla="*/ 117 h 3828"/>
                    <a:gd name="T14" fmla="*/ 3238 w 4304"/>
                    <a:gd name="T15" fmla="*/ 3 h 3828"/>
                    <a:gd name="T16" fmla="*/ 3343 w 4304"/>
                    <a:gd name="T17" fmla="*/ 14 h 3828"/>
                    <a:gd name="T18" fmla="*/ 3367 w 4304"/>
                    <a:gd name="T19" fmla="*/ 94 h 3828"/>
                    <a:gd name="T20" fmla="*/ 3330 w 4304"/>
                    <a:gd name="T21" fmla="*/ 237 h 3828"/>
                    <a:gd name="T22" fmla="*/ 3508 w 4304"/>
                    <a:gd name="T23" fmla="*/ 288 h 3828"/>
                    <a:gd name="T24" fmla="*/ 3612 w 4304"/>
                    <a:gd name="T25" fmla="*/ 353 h 3828"/>
                    <a:gd name="T26" fmla="*/ 3712 w 4304"/>
                    <a:gd name="T27" fmla="*/ 484 h 3828"/>
                    <a:gd name="T28" fmla="*/ 3790 w 4304"/>
                    <a:gd name="T29" fmla="*/ 652 h 3828"/>
                    <a:gd name="T30" fmla="*/ 4061 w 4304"/>
                    <a:gd name="T31" fmla="*/ 711 h 3828"/>
                    <a:gd name="T32" fmla="*/ 4209 w 4304"/>
                    <a:gd name="T33" fmla="*/ 725 h 3828"/>
                    <a:gd name="T34" fmla="*/ 4278 w 4304"/>
                    <a:gd name="T35" fmla="*/ 835 h 3828"/>
                    <a:gd name="T36" fmla="*/ 4300 w 4304"/>
                    <a:gd name="T37" fmla="*/ 999 h 3828"/>
                    <a:gd name="T38" fmla="*/ 4243 w 4304"/>
                    <a:gd name="T39" fmla="*/ 1119 h 3828"/>
                    <a:gd name="T40" fmla="*/ 4139 w 4304"/>
                    <a:gd name="T41" fmla="*/ 1209 h 3828"/>
                    <a:gd name="T42" fmla="*/ 3935 w 4304"/>
                    <a:gd name="T43" fmla="*/ 1304 h 3828"/>
                    <a:gd name="T44" fmla="*/ 3283 w 4304"/>
                    <a:gd name="T45" fmla="*/ 1776 h 3828"/>
                    <a:gd name="T46" fmla="*/ 3285 w 4304"/>
                    <a:gd name="T47" fmla="*/ 3410 h 3828"/>
                    <a:gd name="T48" fmla="*/ 3247 w 4304"/>
                    <a:gd name="T49" fmla="*/ 3660 h 3828"/>
                    <a:gd name="T50" fmla="*/ 3185 w 4304"/>
                    <a:gd name="T51" fmla="*/ 3762 h 3828"/>
                    <a:gd name="T52" fmla="*/ 3083 w 4304"/>
                    <a:gd name="T53" fmla="*/ 3818 h 3828"/>
                    <a:gd name="T54" fmla="*/ 2958 w 4304"/>
                    <a:gd name="T55" fmla="*/ 3824 h 3828"/>
                    <a:gd name="T56" fmla="*/ 2845 w 4304"/>
                    <a:gd name="T57" fmla="*/ 3786 h 3828"/>
                    <a:gd name="T58" fmla="*/ 2771 w 4304"/>
                    <a:gd name="T59" fmla="*/ 3705 h 3828"/>
                    <a:gd name="T60" fmla="*/ 2713 w 4304"/>
                    <a:gd name="T61" fmla="*/ 3496 h 3828"/>
                    <a:gd name="T62" fmla="*/ 2718 w 4304"/>
                    <a:gd name="T63" fmla="*/ 2670 h 3828"/>
                    <a:gd name="T64" fmla="*/ 1956 w 4304"/>
                    <a:gd name="T65" fmla="*/ 3083 h 3828"/>
                    <a:gd name="T66" fmla="*/ 2124 w 4304"/>
                    <a:gd name="T67" fmla="*/ 3358 h 3828"/>
                    <a:gd name="T68" fmla="*/ 2176 w 4304"/>
                    <a:gd name="T69" fmla="*/ 3551 h 3828"/>
                    <a:gd name="T70" fmla="*/ 2142 w 4304"/>
                    <a:gd name="T71" fmla="*/ 3690 h 3828"/>
                    <a:gd name="T72" fmla="*/ 2012 w 4304"/>
                    <a:gd name="T73" fmla="*/ 3804 h 3828"/>
                    <a:gd name="T74" fmla="*/ 1848 w 4304"/>
                    <a:gd name="T75" fmla="*/ 3821 h 3828"/>
                    <a:gd name="T76" fmla="*/ 1711 w 4304"/>
                    <a:gd name="T77" fmla="*/ 3748 h 3828"/>
                    <a:gd name="T78" fmla="*/ 1552 w 4304"/>
                    <a:gd name="T79" fmla="*/ 3549 h 3828"/>
                    <a:gd name="T80" fmla="*/ 1129 w 4304"/>
                    <a:gd name="T81" fmla="*/ 2844 h 3828"/>
                    <a:gd name="T82" fmla="*/ 1113 w 4304"/>
                    <a:gd name="T83" fmla="*/ 3520 h 3828"/>
                    <a:gd name="T84" fmla="*/ 1075 w 4304"/>
                    <a:gd name="T85" fmla="*/ 3717 h 3828"/>
                    <a:gd name="T86" fmla="*/ 980 w 4304"/>
                    <a:gd name="T87" fmla="*/ 3801 h 3828"/>
                    <a:gd name="T88" fmla="*/ 821 w 4304"/>
                    <a:gd name="T89" fmla="*/ 3827 h 3828"/>
                    <a:gd name="T90" fmla="*/ 670 w 4304"/>
                    <a:gd name="T91" fmla="*/ 3780 h 3828"/>
                    <a:gd name="T92" fmla="*/ 594 w 4304"/>
                    <a:gd name="T93" fmla="*/ 3669 h 3828"/>
                    <a:gd name="T94" fmla="*/ 554 w 4304"/>
                    <a:gd name="T95" fmla="*/ 3419 h 3828"/>
                    <a:gd name="T96" fmla="*/ 561 w 4304"/>
                    <a:gd name="T97" fmla="*/ 2885 h 3828"/>
                    <a:gd name="T98" fmla="*/ 502 w 4304"/>
                    <a:gd name="T99" fmla="*/ 1741 h 3828"/>
                    <a:gd name="T100" fmla="*/ 297 w 4304"/>
                    <a:gd name="T101" fmla="*/ 1638 h 3828"/>
                    <a:gd name="T102" fmla="*/ 156 w 4304"/>
                    <a:gd name="T103" fmla="*/ 1486 h 3828"/>
                    <a:gd name="T104" fmla="*/ 60 w 4304"/>
                    <a:gd name="T105" fmla="*/ 1284 h 3828"/>
                    <a:gd name="T106" fmla="*/ 1 w 4304"/>
                    <a:gd name="T107" fmla="*/ 852 h 3828"/>
                    <a:gd name="T108" fmla="*/ 73 w 4304"/>
                    <a:gd name="T109" fmla="*/ 557 h 3828"/>
                    <a:gd name="T110" fmla="*/ 203 w 4304"/>
                    <a:gd name="T111" fmla="*/ 388 h 3828"/>
                    <a:gd name="T112" fmla="*/ 310 w 4304"/>
                    <a:gd name="T113" fmla="*/ 337 h 3828"/>
                    <a:gd name="T114" fmla="*/ 341 w 4304"/>
                    <a:gd name="T115" fmla="*/ 444 h 3828"/>
                    <a:gd name="T116" fmla="*/ 412 w 4304"/>
                    <a:gd name="T117" fmla="*/ 755 h 3828"/>
                    <a:gd name="T118" fmla="*/ 614 w 4304"/>
                    <a:gd name="T119" fmla="*/ 1239 h 3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04" h="3828">
                      <a:moveTo>
                        <a:pt x="2500" y="1247"/>
                      </a:moveTo>
                      <a:lnTo>
                        <a:pt x="2500" y="1247"/>
                      </a:lnTo>
                      <a:lnTo>
                        <a:pt x="2499" y="1244"/>
                      </a:lnTo>
                      <a:lnTo>
                        <a:pt x="2497" y="1239"/>
                      </a:lnTo>
                      <a:lnTo>
                        <a:pt x="2497" y="1218"/>
                      </a:lnTo>
                      <a:lnTo>
                        <a:pt x="2499" y="1188"/>
                      </a:lnTo>
                      <a:lnTo>
                        <a:pt x="2502" y="1154"/>
                      </a:lnTo>
                      <a:lnTo>
                        <a:pt x="2513" y="1048"/>
                      </a:lnTo>
                      <a:lnTo>
                        <a:pt x="2513" y="1048"/>
                      </a:lnTo>
                      <a:lnTo>
                        <a:pt x="2523" y="947"/>
                      </a:lnTo>
                      <a:lnTo>
                        <a:pt x="2534" y="846"/>
                      </a:lnTo>
                      <a:lnTo>
                        <a:pt x="2534" y="846"/>
                      </a:lnTo>
                      <a:lnTo>
                        <a:pt x="2547" y="755"/>
                      </a:lnTo>
                      <a:lnTo>
                        <a:pt x="2554" y="710"/>
                      </a:lnTo>
                      <a:lnTo>
                        <a:pt x="2562" y="664"/>
                      </a:lnTo>
                      <a:lnTo>
                        <a:pt x="2571" y="619"/>
                      </a:lnTo>
                      <a:lnTo>
                        <a:pt x="2582" y="575"/>
                      </a:lnTo>
                      <a:lnTo>
                        <a:pt x="2595" y="532"/>
                      </a:lnTo>
                      <a:lnTo>
                        <a:pt x="2610" y="488"/>
                      </a:lnTo>
                      <a:lnTo>
                        <a:pt x="2610" y="488"/>
                      </a:lnTo>
                      <a:lnTo>
                        <a:pt x="2627" y="443"/>
                      </a:lnTo>
                      <a:lnTo>
                        <a:pt x="2637" y="422"/>
                      </a:lnTo>
                      <a:lnTo>
                        <a:pt x="2647" y="399"/>
                      </a:lnTo>
                      <a:lnTo>
                        <a:pt x="2660" y="379"/>
                      </a:lnTo>
                      <a:lnTo>
                        <a:pt x="2672" y="360"/>
                      </a:lnTo>
                      <a:lnTo>
                        <a:pt x="2688" y="341"/>
                      </a:lnTo>
                      <a:lnTo>
                        <a:pt x="2706" y="326"/>
                      </a:lnTo>
                      <a:lnTo>
                        <a:pt x="2706" y="326"/>
                      </a:lnTo>
                      <a:lnTo>
                        <a:pt x="2716" y="319"/>
                      </a:lnTo>
                      <a:lnTo>
                        <a:pt x="2727" y="313"/>
                      </a:lnTo>
                      <a:lnTo>
                        <a:pt x="2739" y="307"/>
                      </a:lnTo>
                      <a:lnTo>
                        <a:pt x="2751" y="303"/>
                      </a:lnTo>
                      <a:lnTo>
                        <a:pt x="2775" y="296"/>
                      </a:lnTo>
                      <a:lnTo>
                        <a:pt x="2801" y="289"/>
                      </a:lnTo>
                      <a:lnTo>
                        <a:pt x="2825" y="281"/>
                      </a:lnTo>
                      <a:lnTo>
                        <a:pt x="2836" y="276"/>
                      </a:lnTo>
                      <a:lnTo>
                        <a:pt x="2847" y="271"/>
                      </a:lnTo>
                      <a:lnTo>
                        <a:pt x="2857" y="265"/>
                      </a:lnTo>
                      <a:lnTo>
                        <a:pt x="2867" y="258"/>
                      </a:lnTo>
                      <a:lnTo>
                        <a:pt x="2877" y="248"/>
                      </a:lnTo>
                      <a:lnTo>
                        <a:pt x="2884" y="238"/>
                      </a:lnTo>
                      <a:lnTo>
                        <a:pt x="2884" y="238"/>
                      </a:lnTo>
                      <a:lnTo>
                        <a:pt x="2901" y="216"/>
                      </a:lnTo>
                      <a:lnTo>
                        <a:pt x="2918" y="194"/>
                      </a:lnTo>
                      <a:lnTo>
                        <a:pt x="2935" y="176"/>
                      </a:lnTo>
                      <a:lnTo>
                        <a:pt x="2953" y="159"/>
                      </a:lnTo>
                      <a:lnTo>
                        <a:pt x="2972" y="144"/>
                      </a:lnTo>
                      <a:lnTo>
                        <a:pt x="2990" y="130"/>
                      </a:lnTo>
                      <a:lnTo>
                        <a:pt x="3010" y="117"/>
                      </a:lnTo>
                      <a:lnTo>
                        <a:pt x="3031" y="106"/>
                      </a:lnTo>
                      <a:lnTo>
                        <a:pt x="3075" y="82"/>
                      </a:lnTo>
                      <a:lnTo>
                        <a:pt x="3123" y="59"/>
                      </a:lnTo>
                      <a:lnTo>
                        <a:pt x="3176" y="34"/>
                      </a:lnTo>
                      <a:lnTo>
                        <a:pt x="3233" y="4"/>
                      </a:lnTo>
                      <a:lnTo>
                        <a:pt x="3233" y="4"/>
                      </a:lnTo>
                      <a:lnTo>
                        <a:pt x="3238" y="3"/>
                      </a:lnTo>
                      <a:lnTo>
                        <a:pt x="3244" y="1"/>
                      </a:lnTo>
                      <a:lnTo>
                        <a:pt x="3260" y="0"/>
                      </a:lnTo>
                      <a:lnTo>
                        <a:pt x="3278" y="0"/>
                      </a:lnTo>
                      <a:lnTo>
                        <a:pt x="3296" y="1"/>
                      </a:lnTo>
                      <a:lnTo>
                        <a:pt x="3315" y="5"/>
                      </a:lnTo>
                      <a:lnTo>
                        <a:pt x="3331" y="8"/>
                      </a:lnTo>
                      <a:lnTo>
                        <a:pt x="3343" y="14"/>
                      </a:lnTo>
                      <a:lnTo>
                        <a:pt x="3347" y="15"/>
                      </a:lnTo>
                      <a:lnTo>
                        <a:pt x="3350" y="18"/>
                      </a:lnTo>
                      <a:lnTo>
                        <a:pt x="3350" y="18"/>
                      </a:lnTo>
                      <a:lnTo>
                        <a:pt x="3357" y="36"/>
                      </a:lnTo>
                      <a:lnTo>
                        <a:pt x="3363" y="56"/>
                      </a:lnTo>
                      <a:lnTo>
                        <a:pt x="3365" y="75"/>
                      </a:lnTo>
                      <a:lnTo>
                        <a:pt x="3367" y="94"/>
                      </a:lnTo>
                      <a:lnTo>
                        <a:pt x="3367" y="113"/>
                      </a:lnTo>
                      <a:lnTo>
                        <a:pt x="3364" y="131"/>
                      </a:lnTo>
                      <a:lnTo>
                        <a:pt x="3361" y="148"/>
                      </a:lnTo>
                      <a:lnTo>
                        <a:pt x="3358" y="165"/>
                      </a:lnTo>
                      <a:lnTo>
                        <a:pt x="3348" y="193"/>
                      </a:lnTo>
                      <a:lnTo>
                        <a:pt x="3340" y="216"/>
                      </a:lnTo>
                      <a:lnTo>
                        <a:pt x="3330" y="237"/>
                      </a:lnTo>
                      <a:lnTo>
                        <a:pt x="3330" y="237"/>
                      </a:lnTo>
                      <a:lnTo>
                        <a:pt x="3351" y="240"/>
                      </a:lnTo>
                      <a:lnTo>
                        <a:pt x="3374" y="245"/>
                      </a:lnTo>
                      <a:lnTo>
                        <a:pt x="3403" y="252"/>
                      </a:lnTo>
                      <a:lnTo>
                        <a:pt x="3436" y="261"/>
                      </a:lnTo>
                      <a:lnTo>
                        <a:pt x="3471" y="274"/>
                      </a:lnTo>
                      <a:lnTo>
                        <a:pt x="3508" y="288"/>
                      </a:lnTo>
                      <a:lnTo>
                        <a:pt x="3525" y="296"/>
                      </a:lnTo>
                      <a:lnTo>
                        <a:pt x="3542" y="305"/>
                      </a:lnTo>
                      <a:lnTo>
                        <a:pt x="3542" y="305"/>
                      </a:lnTo>
                      <a:lnTo>
                        <a:pt x="3561" y="316"/>
                      </a:lnTo>
                      <a:lnTo>
                        <a:pt x="3580" y="327"/>
                      </a:lnTo>
                      <a:lnTo>
                        <a:pt x="3597" y="340"/>
                      </a:lnTo>
                      <a:lnTo>
                        <a:pt x="3612" y="353"/>
                      </a:lnTo>
                      <a:lnTo>
                        <a:pt x="3626" y="364"/>
                      </a:lnTo>
                      <a:lnTo>
                        <a:pt x="3639" y="378"/>
                      </a:lnTo>
                      <a:lnTo>
                        <a:pt x="3652" y="391"/>
                      </a:lnTo>
                      <a:lnTo>
                        <a:pt x="3662" y="403"/>
                      </a:lnTo>
                      <a:lnTo>
                        <a:pt x="3681" y="430"/>
                      </a:lnTo>
                      <a:lnTo>
                        <a:pt x="3698" y="457"/>
                      </a:lnTo>
                      <a:lnTo>
                        <a:pt x="3712" y="484"/>
                      </a:lnTo>
                      <a:lnTo>
                        <a:pt x="3724" y="509"/>
                      </a:lnTo>
                      <a:lnTo>
                        <a:pt x="3744" y="560"/>
                      </a:lnTo>
                      <a:lnTo>
                        <a:pt x="3753" y="584"/>
                      </a:lnTo>
                      <a:lnTo>
                        <a:pt x="3762" y="605"/>
                      </a:lnTo>
                      <a:lnTo>
                        <a:pt x="3772" y="625"/>
                      </a:lnTo>
                      <a:lnTo>
                        <a:pt x="3784" y="643"/>
                      </a:lnTo>
                      <a:lnTo>
                        <a:pt x="3790" y="652"/>
                      </a:lnTo>
                      <a:lnTo>
                        <a:pt x="3797" y="659"/>
                      </a:lnTo>
                      <a:lnTo>
                        <a:pt x="3806" y="666"/>
                      </a:lnTo>
                      <a:lnTo>
                        <a:pt x="3813" y="671"/>
                      </a:lnTo>
                      <a:lnTo>
                        <a:pt x="3900" y="711"/>
                      </a:lnTo>
                      <a:lnTo>
                        <a:pt x="3900" y="711"/>
                      </a:lnTo>
                      <a:lnTo>
                        <a:pt x="3958" y="711"/>
                      </a:lnTo>
                      <a:lnTo>
                        <a:pt x="4061" y="711"/>
                      </a:lnTo>
                      <a:lnTo>
                        <a:pt x="4115" y="712"/>
                      </a:lnTo>
                      <a:lnTo>
                        <a:pt x="4161" y="714"/>
                      </a:lnTo>
                      <a:lnTo>
                        <a:pt x="4180" y="717"/>
                      </a:lnTo>
                      <a:lnTo>
                        <a:pt x="4195" y="718"/>
                      </a:lnTo>
                      <a:lnTo>
                        <a:pt x="4205" y="721"/>
                      </a:lnTo>
                      <a:lnTo>
                        <a:pt x="4208" y="722"/>
                      </a:lnTo>
                      <a:lnTo>
                        <a:pt x="4209" y="725"/>
                      </a:lnTo>
                      <a:lnTo>
                        <a:pt x="4209" y="725"/>
                      </a:lnTo>
                      <a:lnTo>
                        <a:pt x="4213" y="729"/>
                      </a:lnTo>
                      <a:lnTo>
                        <a:pt x="4225" y="745"/>
                      </a:lnTo>
                      <a:lnTo>
                        <a:pt x="4242" y="767"/>
                      </a:lnTo>
                      <a:lnTo>
                        <a:pt x="4260" y="798"/>
                      </a:lnTo>
                      <a:lnTo>
                        <a:pt x="4269" y="815"/>
                      </a:lnTo>
                      <a:lnTo>
                        <a:pt x="4278" y="835"/>
                      </a:lnTo>
                      <a:lnTo>
                        <a:pt x="4285" y="855"/>
                      </a:lnTo>
                      <a:lnTo>
                        <a:pt x="4292" y="877"/>
                      </a:lnTo>
                      <a:lnTo>
                        <a:pt x="4298" y="900"/>
                      </a:lnTo>
                      <a:lnTo>
                        <a:pt x="4302" y="924"/>
                      </a:lnTo>
                      <a:lnTo>
                        <a:pt x="4304" y="948"/>
                      </a:lnTo>
                      <a:lnTo>
                        <a:pt x="4304" y="973"/>
                      </a:lnTo>
                      <a:lnTo>
                        <a:pt x="4300" y="999"/>
                      </a:lnTo>
                      <a:lnTo>
                        <a:pt x="4294" y="1026"/>
                      </a:lnTo>
                      <a:lnTo>
                        <a:pt x="4284" y="1052"/>
                      </a:lnTo>
                      <a:lnTo>
                        <a:pt x="4278" y="1065"/>
                      </a:lnTo>
                      <a:lnTo>
                        <a:pt x="4271" y="1078"/>
                      </a:lnTo>
                      <a:lnTo>
                        <a:pt x="4263" y="1092"/>
                      </a:lnTo>
                      <a:lnTo>
                        <a:pt x="4254" y="1105"/>
                      </a:lnTo>
                      <a:lnTo>
                        <a:pt x="4243" y="1119"/>
                      </a:lnTo>
                      <a:lnTo>
                        <a:pt x="4232" y="1131"/>
                      </a:lnTo>
                      <a:lnTo>
                        <a:pt x="4221" y="1144"/>
                      </a:lnTo>
                      <a:lnTo>
                        <a:pt x="4206" y="1158"/>
                      </a:lnTo>
                      <a:lnTo>
                        <a:pt x="4191" y="1171"/>
                      </a:lnTo>
                      <a:lnTo>
                        <a:pt x="4175" y="1184"/>
                      </a:lnTo>
                      <a:lnTo>
                        <a:pt x="4158" y="1196"/>
                      </a:lnTo>
                      <a:lnTo>
                        <a:pt x="4139" y="1209"/>
                      </a:lnTo>
                      <a:lnTo>
                        <a:pt x="4119" y="1222"/>
                      </a:lnTo>
                      <a:lnTo>
                        <a:pt x="4098" y="1234"/>
                      </a:lnTo>
                      <a:lnTo>
                        <a:pt x="4074" y="1247"/>
                      </a:lnTo>
                      <a:lnTo>
                        <a:pt x="4050" y="1258"/>
                      </a:lnTo>
                      <a:lnTo>
                        <a:pt x="4023" y="1270"/>
                      </a:lnTo>
                      <a:lnTo>
                        <a:pt x="3996" y="1281"/>
                      </a:lnTo>
                      <a:lnTo>
                        <a:pt x="3935" y="1304"/>
                      </a:lnTo>
                      <a:lnTo>
                        <a:pt x="3868" y="1325"/>
                      </a:lnTo>
                      <a:lnTo>
                        <a:pt x="3794" y="1345"/>
                      </a:lnTo>
                      <a:lnTo>
                        <a:pt x="3712" y="1363"/>
                      </a:lnTo>
                      <a:lnTo>
                        <a:pt x="3557" y="1400"/>
                      </a:lnTo>
                      <a:lnTo>
                        <a:pt x="3350" y="1582"/>
                      </a:lnTo>
                      <a:lnTo>
                        <a:pt x="3283" y="1776"/>
                      </a:lnTo>
                      <a:lnTo>
                        <a:pt x="3283" y="1776"/>
                      </a:lnTo>
                      <a:lnTo>
                        <a:pt x="3285" y="1991"/>
                      </a:lnTo>
                      <a:lnTo>
                        <a:pt x="3288" y="2485"/>
                      </a:lnTo>
                      <a:lnTo>
                        <a:pt x="3289" y="2767"/>
                      </a:lnTo>
                      <a:lnTo>
                        <a:pt x="3289" y="3032"/>
                      </a:lnTo>
                      <a:lnTo>
                        <a:pt x="3288" y="3257"/>
                      </a:lnTo>
                      <a:lnTo>
                        <a:pt x="3286" y="3344"/>
                      </a:lnTo>
                      <a:lnTo>
                        <a:pt x="3285" y="3410"/>
                      </a:lnTo>
                      <a:lnTo>
                        <a:pt x="3285" y="3410"/>
                      </a:lnTo>
                      <a:lnTo>
                        <a:pt x="3283" y="3457"/>
                      </a:lnTo>
                      <a:lnTo>
                        <a:pt x="3279" y="3502"/>
                      </a:lnTo>
                      <a:lnTo>
                        <a:pt x="3274" y="3544"/>
                      </a:lnTo>
                      <a:lnTo>
                        <a:pt x="3267" y="3585"/>
                      </a:lnTo>
                      <a:lnTo>
                        <a:pt x="3258" y="3623"/>
                      </a:lnTo>
                      <a:lnTo>
                        <a:pt x="3247" y="3660"/>
                      </a:lnTo>
                      <a:lnTo>
                        <a:pt x="3240" y="3677"/>
                      </a:lnTo>
                      <a:lnTo>
                        <a:pt x="3233" y="3693"/>
                      </a:lnTo>
                      <a:lnTo>
                        <a:pt x="3224" y="3708"/>
                      </a:lnTo>
                      <a:lnTo>
                        <a:pt x="3216" y="3722"/>
                      </a:lnTo>
                      <a:lnTo>
                        <a:pt x="3206" y="3736"/>
                      </a:lnTo>
                      <a:lnTo>
                        <a:pt x="3196" y="3749"/>
                      </a:lnTo>
                      <a:lnTo>
                        <a:pt x="3185" y="3762"/>
                      </a:lnTo>
                      <a:lnTo>
                        <a:pt x="3173" y="3773"/>
                      </a:lnTo>
                      <a:lnTo>
                        <a:pt x="3161" y="3783"/>
                      </a:lnTo>
                      <a:lnTo>
                        <a:pt x="3147" y="3791"/>
                      </a:lnTo>
                      <a:lnTo>
                        <a:pt x="3133" y="3800"/>
                      </a:lnTo>
                      <a:lnTo>
                        <a:pt x="3117" y="3807"/>
                      </a:lnTo>
                      <a:lnTo>
                        <a:pt x="3101" y="3814"/>
                      </a:lnTo>
                      <a:lnTo>
                        <a:pt x="3083" y="3818"/>
                      </a:lnTo>
                      <a:lnTo>
                        <a:pt x="3065" y="3822"/>
                      </a:lnTo>
                      <a:lnTo>
                        <a:pt x="3046" y="3825"/>
                      </a:lnTo>
                      <a:lnTo>
                        <a:pt x="3025" y="3827"/>
                      </a:lnTo>
                      <a:lnTo>
                        <a:pt x="3004" y="3827"/>
                      </a:lnTo>
                      <a:lnTo>
                        <a:pt x="2982" y="3825"/>
                      </a:lnTo>
                      <a:lnTo>
                        <a:pt x="2958" y="3824"/>
                      </a:lnTo>
                      <a:lnTo>
                        <a:pt x="2958" y="3824"/>
                      </a:lnTo>
                      <a:lnTo>
                        <a:pt x="2938" y="3821"/>
                      </a:lnTo>
                      <a:lnTo>
                        <a:pt x="2921" y="3817"/>
                      </a:lnTo>
                      <a:lnTo>
                        <a:pt x="2904" y="3812"/>
                      </a:lnTo>
                      <a:lnTo>
                        <a:pt x="2887" y="3807"/>
                      </a:lnTo>
                      <a:lnTo>
                        <a:pt x="2871" y="3801"/>
                      </a:lnTo>
                      <a:lnTo>
                        <a:pt x="2857" y="3794"/>
                      </a:lnTo>
                      <a:lnTo>
                        <a:pt x="2845" y="3786"/>
                      </a:lnTo>
                      <a:lnTo>
                        <a:pt x="2832" y="3776"/>
                      </a:lnTo>
                      <a:lnTo>
                        <a:pt x="2819" y="3766"/>
                      </a:lnTo>
                      <a:lnTo>
                        <a:pt x="2808" y="3756"/>
                      </a:lnTo>
                      <a:lnTo>
                        <a:pt x="2798" y="3745"/>
                      </a:lnTo>
                      <a:lnTo>
                        <a:pt x="2788" y="3732"/>
                      </a:lnTo>
                      <a:lnTo>
                        <a:pt x="2778" y="3719"/>
                      </a:lnTo>
                      <a:lnTo>
                        <a:pt x="2771" y="3705"/>
                      </a:lnTo>
                      <a:lnTo>
                        <a:pt x="2763" y="3691"/>
                      </a:lnTo>
                      <a:lnTo>
                        <a:pt x="2756" y="3677"/>
                      </a:lnTo>
                      <a:lnTo>
                        <a:pt x="2743" y="3645"/>
                      </a:lnTo>
                      <a:lnTo>
                        <a:pt x="2733" y="3611"/>
                      </a:lnTo>
                      <a:lnTo>
                        <a:pt x="2725" y="3574"/>
                      </a:lnTo>
                      <a:lnTo>
                        <a:pt x="2719" y="3536"/>
                      </a:lnTo>
                      <a:lnTo>
                        <a:pt x="2713" y="3496"/>
                      </a:lnTo>
                      <a:lnTo>
                        <a:pt x="2711" y="3454"/>
                      </a:lnTo>
                      <a:lnTo>
                        <a:pt x="2709" y="3410"/>
                      </a:lnTo>
                      <a:lnTo>
                        <a:pt x="2708" y="3367"/>
                      </a:lnTo>
                      <a:lnTo>
                        <a:pt x="2708" y="3367"/>
                      </a:lnTo>
                      <a:lnTo>
                        <a:pt x="2709" y="3163"/>
                      </a:lnTo>
                      <a:lnTo>
                        <a:pt x="2713" y="2935"/>
                      </a:lnTo>
                      <a:lnTo>
                        <a:pt x="2718" y="2670"/>
                      </a:lnTo>
                      <a:lnTo>
                        <a:pt x="1716" y="2648"/>
                      </a:lnTo>
                      <a:lnTo>
                        <a:pt x="1716" y="2648"/>
                      </a:lnTo>
                      <a:lnTo>
                        <a:pt x="1738" y="2691"/>
                      </a:lnTo>
                      <a:lnTo>
                        <a:pt x="1796" y="2799"/>
                      </a:lnTo>
                      <a:lnTo>
                        <a:pt x="1874" y="2940"/>
                      </a:lnTo>
                      <a:lnTo>
                        <a:pt x="1915" y="3014"/>
                      </a:lnTo>
                      <a:lnTo>
                        <a:pt x="1956" y="3083"/>
                      </a:lnTo>
                      <a:lnTo>
                        <a:pt x="1956" y="3083"/>
                      </a:lnTo>
                      <a:lnTo>
                        <a:pt x="1992" y="3142"/>
                      </a:lnTo>
                      <a:lnTo>
                        <a:pt x="2032" y="3203"/>
                      </a:lnTo>
                      <a:lnTo>
                        <a:pt x="2070" y="3264"/>
                      </a:lnTo>
                      <a:lnTo>
                        <a:pt x="2090" y="3295"/>
                      </a:lnTo>
                      <a:lnTo>
                        <a:pt x="2107" y="3327"/>
                      </a:lnTo>
                      <a:lnTo>
                        <a:pt x="2124" y="3358"/>
                      </a:lnTo>
                      <a:lnTo>
                        <a:pt x="2138" y="3389"/>
                      </a:lnTo>
                      <a:lnTo>
                        <a:pt x="2150" y="3422"/>
                      </a:lnTo>
                      <a:lnTo>
                        <a:pt x="2162" y="3454"/>
                      </a:lnTo>
                      <a:lnTo>
                        <a:pt x="2169" y="3487"/>
                      </a:lnTo>
                      <a:lnTo>
                        <a:pt x="2174" y="3519"/>
                      </a:lnTo>
                      <a:lnTo>
                        <a:pt x="2174" y="3534"/>
                      </a:lnTo>
                      <a:lnTo>
                        <a:pt x="2176" y="3551"/>
                      </a:lnTo>
                      <a:lnTo>
                        <a:pt x="2174" y="3568"/>
                      </a:lnTo>
                      <a:lnTo>
                        <a:pt x="2173" y="3584"/>
                      </a:lnTo>
                      <a:lnTo>
                        <a:pt x="2173" y="3584"/>
                      </a:lnTo>
                      <a:lnTo>
                        <a:pt x="2169" y="3614"/>
                      </a:lnTo>
                      <a:lnTo>
                        <a:pt x="2162" y="3640"/>
                      </a:lnTo>
                      <a:lnTo>
                        <a:pt x="2153" y="3666"/>
                      </a:lnTo>
                      <a:lnTo>
                        <a:pt x="2142" y="3690"/>
                      </a:lnTo>
                      <a:lnTo>
                        <a:pt x="2129" y="3711"/>
                      </a:lnTo>
                      <a:lnTo>
                        <a:pt x="2114" y="3731"/>
                      </a:lnTo>
                      <a:lnTo>
                        <a:pt x="2097" y="3749"/>
                      </a:lnTo>
                      <a:lnTo>
                        <a:pt x="2078" y="3766"/>
                      </a:lnTo>
                      <a:lnTo>
                        <a:pt x="2059" y="3781"/>
                      </a:lnTo>
                      <a:lnTo>
                        <a:pt x="2036" y="3793"/>
                      </a:lnTo>
                      <a:lnTo>
                        <a:pt x="2012" y="3804"/>
                      </a:lnTo>
                      <a:lnTo>
                        <a:pt x="1987" y="3812"/>
                      </a:lnTo>
                      <a:lnTo>
                        <a:pt x="1960" y="3818"/>
                      </a:lnTo>
                      <a:lnTo>
                        <a:pt x="1930" y="3822"/>
                      </a:lnTo>
                      <a:lnTo>
                        <a:pt x="1901" y="3824"/>
                      </a:lnTo>
                      <a:lnTo>
                        <a:pt x="1868" y="3824"/>
                      </a:lnTo>
                      <a:lnTo>
                        <a:pt x="1868" y="3824"/>
                      </a:lnTo>
                      <a:lnTo>
                        <a:pt x="1848" y="3821"/>
                      </a:lnTo>
                      <a:lnTo>
                        <a:pt x="1827" y="3817"/>
                      </a:lnTo>
                      <a:lnTo>
                        <a:pt x="1807" y="3810"/>
                      </a:lnTo>
                      <a:lnTo>
                        <a:pt x="1788" y="3801"/>
                      </a:lnTo>
                      <a:lnTo>
                        <a:pt x="1768" y="3790"/>
                      </a:lnTo>
                      <a:lnTo>
                        <a:pt x="1748" y="3777"/>
                      </a:lnTo>
                      <a:lnTo>
                        <a:pt x="1730" y="3763"/>
                      </a:lnTo>
                      <a:lnTo>
                        <a:pt x="1711" y="3748"/>
                      </a:lnTo>
                      <a:lnTo>
                        <a:pt x="1693" y="3731"/>
                      </a:lnTo>
                      <a:lnTo>
                        <a:pt x="1675" y="3712"/>
                      </a:lnTo>
                      <a:lnTo>
                        <a:pt x="1658" y="3694"/>
                      </a:lnTo>
                      <a:lnTo>
                        <a:pt x="1641" y="3674"/>
                      </a:lnTo>
                      <a:lnTo>
                        <a:pt x="1608" y="3633"/>
                      </a:lnTo>
                      <a:lnTo>
                        <a:pt x="1579" y="3591"/>
                      </a:lnTo>
                      <a:lnTo>
                        <a:pt x="1552" y="3549"/>
                      </a:lnTo>
                      <a:lnTo>
                        <a:pt x="1528" y="3508"/>
                      </a:lnTo>
                      <a:lnTo>
                        <a:pt x="1507" y="3470"/>
                      </a:lnTo>
                      <a:lnTo>
                        <a:pt x="1488" y="3436"/>
                      </a:lnTo>
                      <a:lnTo>
                        <a:pt x="1463" y="3386"/>
                      </a:lnTo>
                      <a:lnTo>
                        <a:pt x="1455" y="3367"/>
                      </a:lnTo>
                      <a:lnTo>
                        <a:pt x="1129" y="2844"/>
                      </a:lnTo>
                      <a:lnTo>
                        <a:pt x="1129" y="2844"/>
                      </a:lnTo>
                      <a:lnTo>
                        <a:pt x="1120" y="3055"/>
                      </a:lnTo>
                      <a:lnTo>
                        <a:pt x="1116" y="3238"/>
                      </a:lnTo>
                      <a:lnTo>
                        <a:pt x="1115" y="3327"/>
                      </a:lnTo>
                      <a:lnTo>
                        <a:pt x="1115" y="3403"/>
                      </a:lnTo>
                      <a:lnTo>
                        <a:pt x="1115" y="3403"/>
                      </a:lnTo>
                      <a:lnTo>
                        <a:pt x="1115" y="3463"/>
                      </a:lnTo>
                      <a:lnTo>
                        <a:pt x="1113" y="3520"/>
                      </a:lnTo>
                      <a:lnTo>
                        <a:pt x="1110" y="3575"/>
                      </a:lnTo>
                      <a:lnTo>
                        <a:pt x="1107" y="3602"/>
                      </a:lnTo>
                      <a:lnTo>
                        <a:pt x="1103" y="3628"/>
                      </a:lnTo>
                      <a:lnTo>
                        <a:pt x="1099" y="3652"/>
                      </a:lnTo>
                      <a:lnTo>
                        <a:pt x="1092" y="3674"/>
                      </a:lnTo>
                      <a:lnTo>
                        <a:pt x="1085" y="3697"/>
                      </a:lnTo>
                      <a:lnTo>
                        <a:pt x="1075" y="3717"/>
                      </a:lnTo>
                      <a:lnTo>
                        <a:pt x="1064" y="3735"/>
                      </a:lnTo>
                      <a:lnTo>
                        <a:pt x="1051" y="3752"/>
                      </a:lnTo>
                      <a:lnTo>
                        <a:pt x="1035" y="3767"/>
                      </a:lnTo>
                      <a:lnTo>
                        <a:pt x="1019" y="3780"/>
                      </a:lnTo>
                      <a:lnTo>
                        <a:pt x="1019" y="3780"/>
                      </a:lnTo>
                      <a:lnTo>
                        <a:pt x="1000" y="3791"/>
                      </a:lnTo>
                      <a:lnTo>
                        <a:pt x="980" y="3801"/>
                      </a:lnTo>
                      <a:lnTo>
                        <a:pt x="959" y="3810"/>
                      </a:lnTo>
                      <a:lnTo>
                        <a:pt x="938" y="3815"/>
                      </a:lnTo>
                      <a:lnTo>
                        <a:pt x="914" y="3821"/>
                      </a:lnTo>
                      <a:lnTo>
                        <a:pt x="892" y="3824"/>
                      </a:lnTo>
                      <a:lnTo>
                        <a:pt x="868" y="3827"/>
                      </a:lnTo>
                      <a:lnTo>
                        <a:pt x="844" y="3828"/>
                      </a:lnTo>
                      <a:lnTo>
                        <a:pt x="821" y="3827"/>
                      </a:lnTo>
                      <a:lnTo>
                        <a:pt x="797" y="3824"/>
                      </a:lnTo>
                      <a:lnTo>
                        <a:pt x="774" y="3821"/>
                      </a:lnTo>
                      <a:lnTo>
                        <a:pt x="752" y="3815"/>
                      </a:lnTo>
                      <a:lnTo>
                        <a:pt x="729" y="3808"/>
                      </a:lnTo>
                      <a:lnTo>
                        <a:pt x="708" y="3801"/>
                      </a:lnTo>
                      <a:lnTo>
                        <a:pt x="688" y="3791"/>
                      </a:lnTo>
                      <a:lnTo>
                        <a:pt x="670" y="3780"/>
                      </a:lnTo>
                      <a:lnTo>
                        <a:pt x="670" y="3780"/>
                      </a:lnTo>
                      <a:lnTo>
                        <a:pt x="654" y="3767"/>
                      </a:lnTo>
                      <a:lnTo>
                        <a:pt x="639" y="3752"/>
                      </a:lnTo>
                      <a:lnTo>
                        <a:pt x="626" y="3735"/>
                      </a:lnTo>
                      <a:lnTo>
                        <a:pt x="614" y="3715"/>
                      </a:lnTo>
                      <a:lnTo>
                        <a:pt x="604" y="3693"/>
                      </a:lnTo>
                      <a:lnTo>
                        <a:pt x="594" y="3669"/>
                      </a:lnTo>
                      <a:lnTo>
                        <a:pt x="585" y="3643"/>
                      </a:lnTo>
                      <a:lnTo>
                        <a:pt x="578" y="3615"/>
                      </a:lnTo>
                      <a:lnTo>
                        <a:pt x="571" y="3587"/>
                      </a:lnTo>
                      <a:lnTo>
                        <a:pt x="567" y="3556"/>
                      </a:lnTo>
                      <a:lnTo>
                        <a:pt x="563" y="3523"/>
                      </a:lnTo>
                      <a:lnTo>
                        <a:pt x="559" y="3489"/>
                      </a:lnTo>
                      <a:lnTo>
                        <a:pt x="554" y="3419"/>
                      </a:lnTo>
                      <a:lnTo>
                        <a:pt x="551" y="3344"/>
                      </a:lnTo>
                      <a:lnTo>
                        <a:pt x="551" y="3344"/>
                      </a:lnTo>
                      <a:lnTo>
                        <a:pt x="551" y="3281"/>
                      </a:lnTo>
                      <a:lnTo>
                        <a:pt x="553" y="3216"/>
                      </a:lnTo>
                      <a:lnTo>
                        <a:pt x="556" y="3083"/>
                      </a:lnTo>
                      <a:lnTo>
                        <a:pt x="560" y="2950"/>
                      </a:lnTo>
                      <a:lnTo>
                        <a:pt x="561" y="2885"/>
                      </a:lnTo>
                      <a:lnTo>
                        <a:pt x="561" y="2822"/>
                      </a:lnTo>
                      <a:lnTo>
                        <a:pt x="561" y="2822"/>
                      </a:lnTo>
                      <a:lnTo>
                        <a:pt x="561" y="1755"/>
                      </a:lnTo>
                      <a:lnTo>
                        <a:pt x="561" y="1755"/>
                      </a:lnTo>
                      <a:lnTo>
                        <a:pt x="546" y="1752"/>
                      </a:lnTo>
                      <a:lnTo>
                        <a:pt x="527" y="1748"/>
                      </a:lnTo>
                      <a:lnTo>
                        <a:pt x="502" y="1741"/>
                      </a:lnTo>
                      <a:lnTo>
                        <a:pt x="472" y="1733"/>
                      </a:lnTo>
                      <a:lnTo>
                        <a:pt x="437" y="1718"/>
                      </a:lnTo>
                      <a:lnTo>
                        <a:pt x="400" y="1702"/>
                      </a:lnTo>
                      <a:lnTo>
                        <a:pt x="361" y="1680"/>
                      </a:lnTo>
                      <a:lnTo>
                        <a:pt x="340" y="1668"/>
                      </a:lnTo>
                      <a:lnTo>
                        <a:pt x="319" y="1654"/>
                      </a:lnTo>
                      <a:lnTo>
                        <a:pt x="297" y="1638"/>
                      </a:lnTo>
                      <a:lnTo>
                        <a:pt x="276" y="1621"/>
                      </a:lnTo>
                      <a:lnTo>
                        <a:pt x="257" y="1603"/>
                      </a:lnTo>
                      <a:lnTo>
                        <a:pt x="235" y="1583"/>
                      </a:lnTo>
                      <a:lnTo>
                        <a:pt x="214" y="1560"/>
                      </a:lnTo>
                      <a:lnTo>
                        <a:pt x="194" y="1538"/>
                      </a:lnTo>
                      <a:lnTo>
                        <a:pt x="175" y="1512"/>
                      </a:lnTo>
                      <a:lnTo>
                        <a:pt x="156" y="1486"/>
                      </a:lnTo>
                      <a:lnTo>
                        <a:pt x="138" y="1457"/>
                      </a:lnTo>
                      <a:lnTo>
                        <a:pt x="120" y="1426"/>
                      </a:lnTo>
                      <a:lnTo>
                        <a:pt x="104" y="1394"/>
                      </a:lnTo>
                      <a:lnTo>
                        <a:pt x="89" y="1359"/>
                      </a:lnTo>
                      <a:lnTo>
                        <a:pt x="74" y="1322"/>
                      </a:lnTo>
                      <a:lnTo>
                        <a:pt x="60" y="1284"/>
                      </a:lnTo>
                      <a:lnTo>
                        <a:pt x="60" y="1284"/>
                      </a:lnTo>
                      <a:lnTo>
                        <a:pt x="41" y="1213"/>
                      </a:lnTo>
                      <a:lnTo>
                        <a:pt x="25" y="1146"/>
                      </a:lnTo>
                      <a:lnTo>
                        <a:pt x="14" y="1082"/>
                      </a:lnTo>
                      <a:lnTo>
                        <a:pt x="5" y="1020"/>
                      </a:lnTo>
                      <a:lnTo>
                        <a:pt x="1" y="962"/>
                      </a:lnTo>
                      <a:lnTo>
                        <a:pt x="0" y="906"/>
                      </a:lnTo>
                      <a:lnTo>
                        <a:pt x="1" y="852"/>
                      </a:lnTo>
                      <a:lnTo>
                        <a:pt x="4" y="803"/>
                      </a:lnTo>
                      <a:lnTo>
                        <a:pt x="11" y="755"/>
                      </a:lnTo>
                      <a:lnTo>
                        <a:pt x="19" y="710"/>
                      </a:lnTo>
                      <a:lnTo>
                        <a:pt x="31" y="667"/>
                      </a:lnTo>
                      <a:lnTo>
                        <a:pt x="43" y="628"/>
                      </a:lnTo>
                      <a:lnTo>
                        <a:pt x="58" y="591"/>
                      </a:lnTo>
                      <a:lnTo>
                        <a:pt x="73" y="557"/>
                      </a:lnTo>
                      <a:lnTo>
                        <a:pt x="90" y="525"/>
                      </a:lnTo>
                      <a:lnTo>
                        <a:pt x="108" y="496"/>
                      </a:lnTo>
                      <a:lnTo>
                        <a:pt x="127" y="470"/>
                      </a:lnTo>
                      <a:lnTo>
                        <a:pt x="145" y="446"/>
                      </a:lnTo>
                      <a:lnTo>
                        <a:pt x="165" y="423"/>
                      </a:lnTo>
                      <a:lnTo>
                        <a:pt x="183" y="405"/>
                      </a:lnTo>
                      <a:lnTo>
                        <a:pt x="203" y="388"/>
                      </a:lnTo>
                      <a:lnTo>
                        <a:pt x="221" y="374"/>
                      </a:lnTo>
                      <a:lnTo>
                        <a:pt x="238" y="361"/>
                      </a:lnTo>
                      <a:lnTo>
                        <a:pt x="257" y="351"/>
                      </a:lnTo>
                      <a:lnTo>
                        <a:pt x="272" y="344"/>
                      </a:lnTo>
                      <a:lnTo>
                        <a:pt x="286" y="340"/>
                      </a:lnTo>
                      <a:lnTo>
                        <a:pt x="299" y="337"/>
                      </a:lnTo>
                      <a:lnTo>
                        <a:pt x="310" y="337"/>
                      </a:lnTo>
                      <a:lnTo>
                        <a:pt x="320" y="338"/>
                      </a:lnTo>
                      <a:lnTo>
                        <a:pt x="327" y="343"/>
                      </a:lnTo>
                      <a:lnTo>
                        <a:pt x="331" y="348"/>
                      </a:lnTo>
                      <a:lnTo>
                        <a:pt x="333" y="357"/>
                      </a:lnTo>
                      <a:lnTo>
                        <a:pt x="333" y="357"/>
                      </a:lnTo>
                      <a:lnTo>
                        <a:pt x="336" y="401"/>
                      </a:lnTo>
                      <a:lnTo>
                        <a:pt x="341" y="444"/>
                      </a:lnTo>
                      <a:lnTo>
                        <a:pt x="347" y="488"/>
                      </a:lnTo>
                      <a:lnTo>
                        <a:pt x="355" y="532"/>
                      </a:lnTo>
                      <a:lnTo>
                        <a:pt x="364" y="577"/>
                      </a:lnTo>
                      <a:lnTo>
                        <a:pt x="375" y="622"/>
                      </a:lnTo>
                      <a:lnTo>
                        <a:pt x="386" y="666"/>
                      </a:lnTo>
                      <a:lnTo>
                        <a:pt x="399" y="711"/>
                      </a:lnTo>
                      <a:lnTo>
                        <a:pt x="412" y="755"/>
                      </a:lnTo>
                      <a:lnTo>
                        <a:pt x="426" y="798"/>
                      </a:lnTo>
                      <a:lnTo>
                        <a:pt x="457" y="883"/>
                      </a:lnTo>
                      <a:lnTo>
                        <a:pt x="488" y="965"/>
                      </a:lnTo>
                      <a:lnTo>
                        <a:pt x="520" y="1043"/>
                      </a:lnTo>
                      <a:lnTo>
                        <a:pt x="553" y="1115"/>
                      </a:lnTo>
                      <a:lnTo>
                        <a:pt x="584" y="1181"/>
                      </a:lnTo>
                      <a:lnTo>
                        <a:pt x="614" y="1239"/>
                      </a:lnTo>
                      <a:lnTo>
                        <a:pt x="639" y="1288"/>
                      </a:lnTo>
                      <a:lnTo>
                        <a:pt x="678" y="1360"/>
                      </a:lnTo>
                      <a:lnTo>
                        <a:pt x="693" y="1385"/>
                      </a:lnTo>
                      <a:lnTo>
                        <a:pt x="2392" y="1385"/>
                      </a:lnTo>
                      <a:lnTo>
                        <a:pt x="2500" y="1247"/>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2" name="Freeform 1182"/>
                <p:cNvSpPr>
                  <a:spLocks/>
                </p:cNvSpPr>
                <p:nvPr/>
              </p:nvSpPr>
              <p:spPr bwMode="auto">
                <a:xfrm>
                  <a:off x="6671479" y="7935912"/>
                  <a:ext cx="2201863" cy="1154113"/>
                </a:xfrm>
                <a:custGeom>
                  <a:avLst/>
                  <a:gdLst>
                    <a:gd name="T0" fmla="*/ 559 w 2773"/>
                    <a:gd name="T1" fmla="*/ 1454 h 1454"/>
                    <a:gd name="T2" fmla="*/ 559 w 2773"/>
                    <a:gd name="T3" fmla="*/ 1454 h 1454"/>
                    <a:gd name="T4" fmla="*/ 533 w 2773"/>
                    <a:gd name="T5" fmla="*/ 1436 h 1454"/>
                    <a:gd name="T6" fmla="*/ 509 w 2773"/>
                    <a:gd name="T7" fmla="*/ 1416 h 1454"/>
                    <a:gd name="T8" fmla="*/ 485 w 2773"/>
                    <a:gd name="T9" fmla="*/ 1395 h 1454"/>
                    <a:gd name="T10" fmla="*/ 463 w 2773"/>
                    <a:gd name="T11" fmla="*/ 1370 h 1454"/>
                    <a:gd name="T12" fmla="*/ 442 w 2773"/>
                    <a:gd name="T13" fmla="*/ 1343 h 1454"/>
                    <a:gd name="T14" fmla="*/ 420 w 2773"/>
                    <a:gd name="T15" fmla="*/ 1315 h 1454"/>
                    <a:gd name="T16" fmla="*/ 399 w 2773"/>
                    <a:gd name="T17" fmla="*/ 1285 h 1454"/>
                    <a:gd name="T18" fmla="*/ 380 w 2773"/>
                    <a:gd name="T19" fmla="*/ 1253 h 1454"/>
                    <a:gd name="T20" fmla="*/ 361 w 2773"/>
                    <a:gd name="T21" fmla="*/ 1220 h 1454"/>
                    <a:gd name="T22" fmla="*/ 343 w 2773"/>
                    <a:gd name="T23" fmla="*/ 1185 h 1454"/>
                    <a:gd name="T24" fmla="*/ 325 w 2773"/>
                    <a:gd name="T25" fmla="*/ 1150 h 1454"/>
                    <a:gd name="T26" fmla="*/ 308 w 2773"/>
                    <a:gd name="T27" fmla="*/ 1111 h 1454"/>
                    <a:gd name="T28" fmla="*/ 291 w 2773"/>
                    <a:gd name="T29" fmla="*/ 1073 h 1454"/>
                    <a:gd name="T30" fmla="*/ 274 w 2773"/>
                    <a:gd name="T31" fmla="*/ 1034 h 1454"/>
                    <a:gd name="T32" fmla="*/ 243 w 2773"/>
                    <a:gd name="T33" fmla="*/ 952 h 1454"/>
                    <a:gd name="T34" fmla="*/ 213 w 2773"/>
                    <a:gd name="T35" fmla="*/ 869 h 1454"/>
                    <a:gd name="T36" fmla="*/ 186 w 2773"/>
                    <a:gd name="T37" fmla="*/ 784 h 1454"/>
                    <a:gd name="T38" fmla="*/ 159 w 2773"/>
                    <a:gd name="T39" fmla="*/ 698 h 1454"/>
                    <a:gd name="T40" fmla="*/ 134 w 2773"/>
                    <a:gd name="T41" fmla="*/ 613 h 1454"/>
                    <a:gd name="T42" fmla="*/ 87 w 2773"/>
                    <a:gd name="T43" fmla="*/ 447 h 1454"/>
                    <a:gd name="T44" fmla="*/ 65 w 2773"/>
                    <a:gd name="T45" fmla="*/ 369 h 1454"/>
                    <a:gd name="T46" fmla="*/ 42 w 2773"/>
                    <a:gd name="T47" fmla="*/ 294 h 1454"/>
                    <a:gd name="T48" fmla="*/ 0 w 2773"/>
                    <a:gd name="T49" fmla="*/ 155 h 1454"/>
                    <a:gd name="T50" fmla="*/ 1675 w 2773"/>
                    <a:gd name="T51" fmla="*/ 155 h 1454"/>
                    <a:gd name="T52" fmla="*/ 1726 w 2773"/>
                    <a:gd name="T53" fmla="*/ 90 h 1454"/>
                    <a:gd name="T54" fmla="*/ 1726 w 2773"/>
                    <a:gd name="T55" fmla="*/ 90 h 1454"/>
                    <a:gd name="T56" fmla="*/ 1729 w 2773"/>
                    <a:gd name="T57" fmla="*/ 52 h 1454"/>
                    <a:gd name="T58" fmla="*/ 1808 w 2773"/>
                    <a:gd name="T59" fmla="*/ 0 h 1454"/>
                    <a:gd name="T60" fmla="*/ 2773 w 2773"/>
                    <a:gd name="T61" fmla="*/ 543 h 1454"/>
                    <a:gd name="T62" fmla="*/ 2729 w 2773"/>
                    <a:gd name="T63" fmla="*/ 673 h 1454"/>
                    <a:gd name="T64" fmla="*/ 2729 w 2773"/>
                    <a:gd name="T65" fmla="*/ 673 h 1454"/>
                    <a:gd name="T66" fmla="*/ 2728 w 2773"/>
                    <a:gd name="T67" fmla="*/ 708 h 1454"/>
                    <a:gd name="T68" fmla="*/ 2724 w 2773"/>
                    <a:gd name="T69" fmla="*/ 757 h 1454"/>
                    <a:gd name="T70" fmla="*/ 2709 w 2773"/>
                    <a:gd name="T71" fmla="*/ 894 h 1454"/>
                    <a:gd name="T72" fmla="*/ 2702 w 2773"/>
                    <a:gd name="T73" fmla="*/ 982 h 1454"/>
                    <a:gd name="T74" fmla="*/ 2697 w 2773"/>
                    <a:gd name="T75" fmla="*/ 1078 h 1454"/>
                    <a:gd name="T76" fmla="*/ 2691 w 2773"/>
                    <a:gd name="T77" fmla="*/ 1183 h 1454"/>
                    <a:gd name="T78" fmla="*/ 2691 w 2773"/>
                    <a:gd name="T79" fmla="*/ 1238 h 1454"/>
                    <a:gd name="T80" fmla="*/ 2691 w 2773"/>
                    <a:gd name="T81" fmla="*/ 1296 h 1454"/>
                    <a:gd name="T82" fmla="*/ 2691 w 2773"/>
                    <a:gd name="T83" fmla="*/ 1450 h 1454"/>
                    <a:gd name="T84" fmla="*/ 2015 w 2773"/>
                    <a:gd name="T85" fmla="*/ 1450 h 1454"/>
                    <a:gd name="T86" fmla="*/ 697 w 2773"/>
                    <a:gd name="T87" fmla="*/ 1452 h 1454"/>
                    <a:gd name="T88" fmla="*/ 559 w 2773"/>
                    <a:gd name="T89" fmla="*/ 1454 h 1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3" h="1454">
                      <a:moveTo>
                        <a:pt x="559" y="1454"/>
                      </a:moveTo>
                      <a:lnTo>
                        <a:pt x="559" y="1454"/>
                      </a:lnTo>
                      <a:lnTo>
                        <a:pt x="533" y="1436"/>
                      </a:lnTo>
                      <a:lnTo>
                        <a:pt x="509" y="1416"/>
                      </a:lnTo>
                      <a:lnTo>
                        <a:pt x="485" y="1395"/>
                      </a:lnTo>
                      <a:lnTo>
                        <a:pt x="463" y="1370"/>
                      </a:lnTo>
                      <a:lnTo>
                        <a:pt x="442" y="1343"/>
                      </a:lnTo>
                      <a:lnTo>
                        <a:pt x="420" y="1315"/>
                      </a:lnTo>
                      <a:lnTo>
                        <a:pt x="399" y="1285"/>
                      </a:lnTo>
                      <a:lnTo>
                        <a:pt x="380" y="1253"/>
                      </a:lnTo>
                      <a:lnTo>
                        <a:pt x="361" y="1220"/>
                      </a:lnTo>
                      <a:lnTo>
                        <a:pt x="343" y="1185"/>
                      </a:lnTo>
                      <a:lnTo>
                        <a:pt x="325" y="1150"/>
                      </a:lnTo>
                      <a:lnTo>
                        <a:pt x="308" y="1111"/>
                      </a:lnTo>
                      <a:lnTo>
                        <a:pt x="291" y="1073"/>
                      </a:lnTo>
                      <a:lnTo>
                        <a:pt x="274" y="1034"/>
                      </a:lnTo>
                      <a:lnTo>
                        <a:pt x="243" y="952"/>
                      </a:lnTo>
                      <a:lnTo>
                        <a:pt x="213" y="869"/>
                      </a:lnTo>
                      <a:lnTo>
                        <a:pt x="186" y="784"/>
                      </a:lnTo>
                      <a:lnTo>
                        <a:pt x="159" y="698"/>
                      </a:lnTo>
                      <a:lnTo>
                        <a:pt x="134" y="613"/>
                      </a:lnTo>
                      <a:lnTo>
                        <a:pt x="87" y="447"/>
                      </a:lnTo>
                      <a:lnTo>
                        <a:pt x="65" y="369"/>
                      </a:lnTo>
                      <a:lnTo>
                        <a:pt x="42" y="294"/>
                      </a:lnTo>
                      <a:lnTo>
                        <a:pt x="0" y="155"/>
                      </a:lnTo>
                      <a:lnTo>
                        <a:pt x="1675" y="155"/>
                      </a:lnTo>
                      <a:lnTo>
                        <a:pt x="1726" y="90"/>
                      </a:lnTo>
                      <a:lnTo>
                        <a:pt x="1726" y="90"/>
                      </a:lnTo>
                      <a:lnTo>
                        <a:pt x="1729" y="52"/>
                      </a:lnTo>
                      <a:lnTo>
                        <a:pt x="1808" y="0"/>
                      </a:lnTo>
                      <a:lnTo>
                        <a:pt x="2773" y="543"/>
                      </a:lnTo>
                      <a:lnTo>
                        <a:pt x="2729" y="673"/>
                      </a:lnTo>
                      <a:lnTo>
                        <a:pt x="2729" y="673"/>
                      </a:lnTo>
                      <a:lnTo>
                        <a:pt x="2728" y="708"/>
                      </a:lnTo>
                      <a:lnTo>
                        <a:pt x="2724" y="757"/>
                      </a:lnTo>
                      <a:lnTo>
                        <a:pt x="2709" y="894"/>
                      </a:lnTo>
                      <a:lnTo>
                        <a:pt x="2702" y="982"/>
                      </a:lnTo>
                      <a:lnTo>
                        <a:pt x="2697" y="1078"/>
                      </a:lnTo>
                      <a:lnTo>
                        <a:pt x="2691" y="1183"/>
                      </a:lnTo>
                      <a:lnTo>
                        <a:pt x="2691" y="1238"/>
                      </a:lnTo>
                      <a:lnTo>
                        <a:pt x="2691" y="1296"/>
                      </a:lnTo>
                      <a:lnTo>
                        <a:pt x="2691" y="1450"/>
                      </a:lnTo>
                      <a:lnTo>
                        <a:pt x="2015" y="1450"/>
                      </a:lnTo>
                      <a:lnTo>
                        <a:pt x="697" y="1452"/>
                      </a:lnTo>
                      <a:lnTo>
                        <a:pt x="559" y="145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210" name="Freeform 1209"/>
              <p:cNvSpPr/>
              <p:nvPr/>
            </p:nvSpPr>
            <p:spPr bwMode="auto">
              <a:xfrm>
                <a:off x="6061618" y="5418077"/>
                <a:ext cx="234456" cy="339879"/>
              </a:xfrm>
              <a:custGeom>
                <a:avLst/>
                <a:gdLst>
                  <a:gd name="connsiteX0" fmla="*/ 151456 w 176150"/>
                  <a:gd name="connsiteY0" fmla="*/ 254849 h 255356"/>
                  <a:gd name="connsiteX1" fmla="*/ 118118 w 176150"/>
                  <a:gd name="connsiteY1" fmla="*/ 152455 h 255356"/>
                  <a:gd name="connsiteX2" fmla="*/ 175268 w 176150"/>
                  <a:gd name="connsiteY2" fmla="*/ 16724 h 255356"/>
                  <a:gd name="connsiteX3" fmla="*/ 141931 w 176150"/>
                  <a:gd name="connsiteY3" fmla="*/ 9580 h 255356"/>
                  <a:gd name="connsiteX4" fmla="*/ 6199 w 176150"/>
                  <a:gd name="connsiteY4" fmla="*/ 14343 h 255356"/>
                  <a:gd name="connsiteX5" fmla="*/ 34774 w 176150"/>
                  <a:gd name="connsiteY5" fmla="*/ 183411 h 255356"/>
                  <a:gd name="connsiteX6" fmla="*/ 151456 w 176150"/>
                  <a:gd name="connsiteY6" fmla="*/ 254849 h 25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150" h="255356">
                    <a:moveTo>
                      <a:pt x="151456" y="254849"/>
                    </a:moveTo>
                    <a:cubicBezTo>
                      <a:pt x="165347" y="249690"/>
                      <a:pt x="114149" y="192142"/>
                      <a:pt x="118118" y="152455"/>
                    </a:cubicBezTo>
                    <a:cubicBezTo>
                      <a:pt x="122087" y="112767"/>
                      <a:pt x="171299" y="40536"/>
                      <a:pt x="175268" y="16724"/>
                    </a:cubicBezTo>
                    <a:cubicBezTo>
                      <a:pt x="179237" y="-7089"/>
                      <a:pt x="170109" y="9977"/>
                      <a:pt x="141931" y="9580"/>
                    </a:cubicBezTo>
                    <a:cubicBezTo>
                      <a:pt x="113753" y="9183"/>
                      <a:pt x="24058" y="-14629"/>
                      <a:pt x="6199" y="14343"/>
                    </a:cubicBezTo>
                    <a:cubicBezTo>
                      <a:pt x="-11661" y="43315"/>
                      <a:pt x="12549" y="141739"/>
                      <a:pt x="34774" y="183411"/>
                    </a:cubicBezTo>
                    <a:cubicBezTo>
                      <a:pt x="56999" y="225083"/>
                      <a:pt x="137565" y="260008"/>
                      <a:pt x="151456" y="254849"/>
                    </a:cubicBezTo>
                    <a:close/>
                  </a:path>
                </a:pathLst>
              </a:cu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625" name="Rectangle 624"/>
          <p:cNvSpPr/>
          <p:nvPr/>
        </p:nvSpPr>
        <p:spPr bwMode="auto">
          <a:xfrm>
            <a:off x="671148" y="3097849"/>
            <a:ext cx="661157" cy="453123"/>
          </a:xfrm>
          <a:prstGeom prst="rect">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w="3175">
                <a:noFill/>
              </a:ln>
              <a:solidFill>
                <a:srgbClr val="00BCF2"/>
              </a:solidFill>
              <a:effectLst/>
              <a:uLnTx/>
              <a:uFillTx/>
              <a:cs typeface="Arial" charset="0"/>
            </a:endParaRPr>
          </a:p>
        </p:txBody>
      </p:sp>
      <p:grpSp>
        <p:nvGrpSpPr>
          <p:cNvPr id="902" name="Group 901"/>
          <p:cNvGrpSpPr>
            <a:grpSpLocks noChangeAspect="1"/>
          </p:cNvGrpSpPr>
          <p:nvPr/>
        </p:nvGrpSpPr>
        <p:grpSpPr>
          <a:xfrm>
            <a:off x="996474" y="3177183"/>
            <a:ext cx="289269" cy="301686"/>
            <a:chOff x="12212638" y="3036422"/>
            <a:chExt cx="2030413" cy="2329328"/>
          </a:xfrm>
        </p:grpSpPr>
        <p:sp>
          <p:nvSpPr>
            <p:cNvPr id="909" name="Freeform 31"/>
            <p:cNvSpPr>
              <a:spLocks/>
            </p:cNvSpPr>
            <p:nvPr/>
          </p:nvSpPr>
          <p:spPr bwMode="auto">
            <a:xfrm>
              <a:off x="12212638" y="3335337"/>
              <a:ext cx="784225" cy="1325563"/>
            </a:xfrm>
            <a:custGeom>
              <a:avLst/>
              <a:gdLst>
                <a:gd name="T0" fmla="*/ 257 w 494"/>
                <a:gd name="T1" fmla="*/ 0 h 835"/>
                <a:gd name="T2" fmla="*/ 494 w 494"/>
                <a:gd name="T3" fmla="*/ 133 h 835"/>
                <a:gd name="T4" fmla="*/ 237 w 494"/>
                <a:gd name="T5" fmla="*/ 835 h 835"/>
                <a:gd name="T6" fmla="*/ 0 w 494"/>
                <a:gd name="T7" fmla="*/ 702 h 835"/>
                <a:gd name="T8" fmla="*/ 257 w 494"/>
                <a:gd name="T9" fmla="*/ 0 h 835"/>
              </a:gdLst>
              <a:ahLst/>
              <a:cxnLst>
                <a:cxn ang="0">
                  <a:pos x="T0" y="T1"/>
                </a:cxn>
                <a:cxn ang="0">
                  <a:pos x="T2" y="T3"/>
                </a:cxn>
                <a:cxn ang="0">
                  <a:pos x="T4" y="T5"/>
                </a:cxn>
                <a:cxn ang="0">
                  <a:pos x="T6" y="T7"/>
                </a:cxn>
                <a:cxn ang="0">
                  <a:pos x="T8" y="T9"/>
                </a:cxn>
              </a:cxnLst>
              <a:rect l="0" t="0" r="r" b="b"/>
              <a:pathLst>
                <a:path w="494" h="835">
                  <a:moveTo>
                    <a:pt x="257" y="0"/>
                  </a:moveTo>
                  <a:lnTo>
                    <a:pt x="494" y="133"/>
                  </a:lnTo>
                  <a:lnTo>
                    <a:pt x="237" y="835"/>
                  </a:lnTo>
                  <a:lnTo>
                    <a:pt x="0" y="702"/>
                  </a:lnTo>
                  <a:lnTo>
                    <a:pt x="257" y="0"/>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0" name="Freeform 32"/>
            <p:cNvSpPr>
              <a:spLocks/>
            </p:cNvSpPr>
            <p:nvPr/>
          </p:nvSpPr>
          <p:spPr bwMode="auto">
            <a:xfrm>
              <a:off x="13406438" y="3335337"/>
              <a:ext cx="836613" cy="1341438"/>
            </a:xfrm>
            <a:custGeom>
              <a:avLst/>
              <a:gdLst>
                <a:gd name="T0" fmla="*/ 237 w 527"/>
                <a:gd name="T1" fmla="*/ 0 h 845"/>
                <a:gd name="T2" fmla="*/ 0 w 527"/>
                <a:gd name="T3" fmla="*/ 133 h 845"/>
                <a:gd name="T4" fmla="*/ 290 w 527"/>
                <a:gd name="T5" fmla="*/ 845 h 845"/>
                <a:gd name="T6" fmla="*/ 527 w 527"/>
                <a:gd name="T7" fmla="*/ 712 h 845"/>
                <a:gd name="T8" fmla="*/ 237 w 527"/>
                <a:gd name="T9" fmla="*/ 0 h 845"/>
              </a:gdLst>
              <a:ahLst/>
              <a:cxnLst>
                <a:cxn ang="0">
                  <a:pos x="T0" y="T1"/>
                </a:cxn>
                <a:cxn ang="0">
                  <a:pos x="T2" y="T3"/>
                </a:cxn>
                <a:cxn ang="0">
                  <a:pos x="T4" y="T5"/>
                </a:cxn>
                <a:cxn ang="0">
                  <a:pos x="T6" y="T7"/>
                </a:cxn>
                <a:cxn ang="0">
                  <a:pos x="T8" y="T9"/>
                </a:cxn>
              </a:cxnLst>
              <a:rect l="0" t="0" r="r" b="b"/>
              <a:pathLst>
                <a:path w="527" h="845">
                  <a:moveTo>
                    <a:pt x="237" y="0"/>
                  </a:moveTo>
                  <a:lnTo>
                    <a:pt x="0" y="133"/>
                  </a:lnTo>
                  <a:lnTo>
                    <a:pt x="290" y="845"/>
                  </a:lnTo>
                  <a:lnTo>
                    <a:pt x="527" y="712"/>
                  </a:lnTo>
                  <a:lnTo>
                    <a:pt x="237" y="0"/>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1" name="Freeform 33"/>
            <p:cNvSpPr>
              <a:spLocks/>
            </p:cNvSpPr>
            <p:nvPr/>
          </p:nvSpPr>
          <p:spPr bwMode="auto">
            <a:xfrm>
              <a:off x="12620626" y="3213100"/>
              <a:ext cx="1158875" cy="2152650"/>
            </a:xfrm>
            <a:custGeom>
              <a:avLst/>
              <a:gdLst>
                <a:gd name="T0" fmla="*/ 554 w 730"/>
                <a:gd name="T1" fmla="*/ 0 h 1356"/>
                <a:gd name="T2" fmla="*/ 179 w 730"/>
                <a:gd name="T3" fmla="*/ 0 h 1356"/>
                <a:gd name="T4" fmla="*/ 179 w 730"/>
                <a:gd name="T5" fmla="*/ 0 h 1356"/>
                <a:gd name="T6" fmla="*/ 157 w 730"/>
                <a:gd name="T7" fmla="*/ 1 h 1356"/>
                <a:gd name="T8" fmla="*/ 137 w 730"/>
                <a:gd name="T9" fmla="*/ 5 h 1356"/>
                <a:gd name="T10" fmla="*/ 117 w 730"/>
                <a:gd name="T11" fmla="*/ 8 h 1356"/>
                <a:gd name="T12" fmla="*/ 98 w 730"/>
                <a:gd name="T13" fmla="*/ 15 h 1356"/>
                <a:gd name="T14" fmla="*/ 80 w 730"/>
                <a:gd name="T15" fmla="*/ 21 h 1356"/>
                <a:gd name="T16" fmla="*/ 65 w 730"/>
                <a:gd name="T17" fmla="*/ 30 h 1356"/>
                <a:gd name="T18" fmla="*/ 50 w 730"/>
                <a:gd name="T19" fmla="*/ 38 h 1356"/>
                <a:gd name="T20" fmla="*/ 37 w 730"/>
                <a:gd name="T21" fmla="*/ 47 h 1356"/>
                <a:gd name="T22" fmla="*/ 25 w 730"/>
                <a:gd name="T23" fmla="*/ 57 h 1356"/>
                <a:gd name="T24" fmla="*/ 15 w 730"/>
                <a:gd name="T25" fmla="*/ 67 h 1356"/>
                <a:gd name="T26" fmla="*/ 8 w 730"/>
                <a:gd name="T27" fmla="*/ 77 h 1356"/>
                <a:gd name="T28" fmla="*/ 3 w 730"/>
                <a:gd name="T29" fmla="*/ 87 h 1356"/>
                <a:gd name="T30" fmla="*/ 0 w 730"/>
                <a:gd name="T31" fmla="*/ 97 h 1356"/>
                <a:gd name="T32" fmla="*/ 0 w 730"/>
                <a:gd name="T33" fmla="*/ 107 h 1356"/>
                <a:gd name="T34" fmla="*/ 3 w 730"/>
                <a:gd name="T35" fmla="*/ 115 h 1356"/>
                <a:gd name="T36" fmla="*/ 10 w 730"/>
                <a:gd name="T37" fmla="*/ 122 h 1356"/>
                <a:gd name="T38" fmla="*/ 82 w 730"/>
                <a:gd name="T39" fmla="*/ 540 h 1356"/>
                <a:gd name="T40" fmla="*/ 38 w 730"/>
                <a:gd name="T41" fmla="*/ 1356 h 1356"/>
                <a:gd name="T42" fmla="*/ 692 w 730"/>
                <a:gd name="T43" fmla="*/ 1356 h 1356"/>
                <a:gd name="T44" fmla="*/ 650 w 730"/>
                <a:gd name="T45" fmla="*/ 543 h 1356"/>
                <a:gd name="T46" fmla="*/ 722 w 730"/>
                <a:gd name="T47" fmla="*/ 122 h 1356"/>
                <a:gd name="T48" fmla="*/ 722 w 730"/>
                <a:gd name="T49" fmla="*/ 122 h 1356"/>
                <a:gd name="T50" fmla="*/ 727 w 730"/>
                <a:gd name="T51" fmla="*/ 115 h 1356"/>
                <a:gd name="T52" fmla="*/ 730 w 730"/>
                <a:gd name="T53" fmla="*/ 107 h 1356"/>
                <a:gd name="T54" fmla="*/ 730 w 730"/>
                <a:gd name="T55" fmla="*/ 97 h 1356"/>
                <a:gd name="T56" fmla="*/ 729 w 730"/>
                <a:gd name="T57" fmla="*/ 87 h 1356"/>
                <a:gd name="T58" fmla="*/ 724 w 730"/>
                <a:gd name="T59" fmla="*/ 77 h 1356"/>
                <a:gd name="T60" fmla="*/ 715 w 730"/>
                <a:gd name="T61" fmla="*/ 67 h 1356"/>
                <a:gd name="T62" fmla="*/ 707 w 730"/>
                <a:gd name="T63" fmla="*/ 57 h 1356"/>
                <a:gd name="T64" fmla="*/ 695 w 730"/>
                <a:gd name="T65" fmla="*/ 47 h 1356"/>
                <a:gd name="T66" fmla="*/ 682 w 730"/>
                <a:gd name="T67" fmla="*/ 38 h 1356"/>
                <a:gd name="T68" fmla="*/ 667 w 730"/>
                <a:gd name="T69" fmla="*/ 30 h 1356"/>
                <a:gd name="T70" fmla="*/ 650 w 730"/>
                <a:gd name="T71" fmla="*/ 21 h 1356"/>
                <a:gd name="T72" fmla="*/ 632 w 730"/>
                <a:gd name="T73" fmla="*/ 15 h 1356"/>
                <a:gd name="T74" fmla="*/ 614 w 730"/>
                <a:gd name="T75" fmla="*/ 8 h 1356"/>
                <a:gd name="T76" fmla="*/ 594 w 730"/>
                <a:gd name="T77" fmla="*/ 5 h 1356"/>
                <a:gd name="T78" fmla="*/ 574 w 730"/>
                <a:gd name="T79" fmla="*/ 1 h 1356"/>
                <a:gd name="T80" fmla="*/ 554 w 730"/>
                <a:gd name="T81" fmla="*/ 0 h 1356"/>
                <a:gd name="T82" fmla="*/ 554 w 730"/>
                <a:gd name="T83" fmla="*/ 0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0" h="1356">
                  <a:moveTo>
                    <a:pt x="554" y="0"/>
                  </a:moveTo>
                  <a:lnTo>
                    <a:pt x="179" y="0"/>
                  </a:lnTo>
                  <a:lnTo>
                    <a:pt x="179" y="0"/>
                  </a:lnTo>
                  <a:lnTo>
                    <a:pt x="157" y="1"/>
                  </a:lnTo>
                  <a:lnTo>
                    <a:pt x="137" y="5"/>
                  </a:lnTo>
                  <a:lnTo>
                    <a:pt x="117" y="8"/>
                  </a:lnTo>
                  <a:lnTo>
                    <a:pt x="98" y="15"/>
                  </a:lnTo>
                  <a:lnTo>
                    <a:pt x="80" y="21"/>
                  </a:lnTo>
                  <a:lnTo>
                    <a:pt x="65" y="30"/>
                  </a:lnTo>
                  <a:lnTo>
                    <a:pt x="50" y="38"/>
                  </a:lnTo>
                  <a:lnTo>
                    <a:pt x="37" y="47"/>
                  </a:lnTo>
                  <a:lnTo>
                    <a:pt x="25" y="57"/>
                  </a:lnTo>
                  <a:lnTo>
                    <a:pt x="15" y="67"/>
                  </a:lnTo>
                  <a:lnTo>
                    <a:pt x="8" y="77"/>
                  </a:lnTo>
                  <a:lnTo>
                    <a:pt x="3" y="87"/>
                  </a:lnTo>
                  <a:lnTo>
                    <a:pt x="0" y="97"/>
                  </a:lnTo>
                  <a:lnTo>
                    <a:pt x="0" y="107"/>
                  </a:lnTo>
                  <a:lnTo>
                    <a:pt x="3" y="115"/>
                  </a:lnTo>
                  <a:lnTo>
                    <a:pt x="10" y="122"/>
                  </a:lnTo>
                  <a:lnTo>
                    <a:pt x="82" y="540"/>
                  </a:lnTo>
                  <a:lnTo>
                    <a:pt x="38" y="1356"/>
                  </a:lnTo>
                  <a:lnTo>
                    <a:pt x="692" y="1356"/>
                  </a:lnTo>
                  <a:lnTo>
                    <a:pt x="650" y="543"/>
                  </a:lnTo>
                  <a:lnTo>
                    <a:pt x="722" y="122"/>
                  </a:lnTo>
                  <a:lnTo>
                    <a:pt x="722" y="122"/>
                  </a:lnTo>
                  <a:lnTo>
                    <a:pt x="727" y="115"/>
                  </a:lnTo>
                  <a:lnTo>
                    <a:pt x="730" y="107"/>
                  </a:lnTo>
                  <a:lnTo>
                    <a:pt x="730" y="97"/>
                  </a:lnTo>
                  <a:lnTo>
                    <a:pt x="729" y="87"/>
                  </a:lnTo>
                  <a:lnTo>
                    <a:pt x="724" y="77"/>
                  </a:lnTo>
                  <a:lnTo>
                    <a:pt x="715" y="67"/>
                  </a:lnTo>
                  <a:lnTo>
                    <a:pt x="707" y="57"/>
                  </a:lnTo>
                  <a:lnTo>
                    <a:pt x="695" y="47"/>
                  </a:lnTo>
                  <a:lnTo>
                    <a:pt x="682" y="38"/>
                  </a:lnTo>
                  <a:lnTo>
                    <a:pt x="667" y="30"/>
                  </a:lnTo>
                  <a:lnTo>
                    <a:pt x="650" y="21"/>
                  </a:lnTo>
                  <a:lnTo>
                    <a:pt x="632" y="15"/>
                  </a:lnTo>
                  <a:lnTo>
                    <a:pt x="614" y="8"/>
                  </a:lnTo>
                  <a:lnTo>
                    <a:pt x="594" y="5"/>
                  </a:lnTo>
                  <a:lnTo>
                    <a:pt x="574" y="1"/>
                  </a:lnTo>
                  <a:lnTo>
                    <a:pt x="554" y="0"/>
                  </a:lnTo>
                  <a:lnTo>
                    <a:pt x="554" y="0"/>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2" name="Freeform 34"/>
            <p:cNvSpPr>
              <a:spLocks/>
            </p:cNvSpPr>
            <p:nvPr/>
          </p:nvSpPr>
          <p:spPr bwMode="auto">
            <a:xfrm>
              <a:off x="13012738" y="3036422"/>
              <a:ext cx="409575" cy="1019175"/>
            </a:xfrm>
            <a:custGeom>
              <a:avLst/>
              <a:gdLst>
                <a:gd name="T0" fmla="*/ 0 w 258"/>
                <a:gd name="T1" fmla="*/ 45 h 642"/>
                <a:gd name="T2" fmla="*/ 130 w 258"/>
                <a:gd name="T3" fmla="*/ 642 h 642"/>
                <a:gd name="T4" fmla="*/ 130 w 258"/>
                <a:gd name="T5" fmla="*/ 642 h 642"/>
                <a:gd name="T6" fmla="*/ 258 w 258"/>
                <a:gd name="T7" fmla="*/ 45 h 642"/>
                <a:gd name="T8" fmla="*/ 258 w 258"/>
                <a:gd name="T9" fmla="*/ 45 h 642"/>
                <a:gd name="T10" fmla="*/ 257 w 258"/>
                <a:gd name="T11" fmla="*/ 42 h 642"/>
                <a:gd name="T12" fmla="*/ 248 w 258"/>
                <a:gd name="T13" fmla="*/ 37 h 642"/>
                <a:gd name="T14" fmla="*/ 225 w 258"/>
                <a:gd name="T15" fmla="*/ 25 h 642"/>
                <a:gd name="T16" fmla="*/ 198 w 258"/>
                <a:gd name="T17" fmla="*/ 14 h 642"/>
                <a:gd name="T18" fmla="*/ 182 w 258"/>
                <a:gd name="T19" fmla="*/ 7 h 642"/>
                <a:gd name="T20" fmla="*/ 182 w 258"/>
                <a:gd name="T21" fmla="*/ 7 h 642"/>
                <a:gd name="T22" fmla="*/ 168 w 258"/>
                <a:gd name="T23" fmla="*/ 4 h 642"/>
                <a:gd name="T24" fmla="*/ 157 w 258"/>
                <a:gd name="T25" fmla="*/ 0 h 642"/>
                <a:gd name="T26" fmla="*/ 145 w 258"/>
                <a:gd name="T27" fmla="*/ 0 h 642"/>
                <a:gd name="T28" fmla="*/ 133 w 258"/>
                <a:gd name="T29" fmla="*/ 0 h 642"/>
                <a:gd name="T30" fmla="*/ 110 w 258"/>
                <a:gd name="T31" fmla="*/ 2 h 642"/>
                <a:gd name="T32" fmla="*/ 88 w 258"/>
                <a:gd name="T33" fmla="*/ 7 h 642"/>
                <a:gd name="T34" fmla="*/ 67 w 258"/>
                <a:gd name="T35" fmla="*/ 15 h 642"/>
                <a:gd name="T36" fmla="*/ 45 w 258"/>
                <a:gd name="T37" fmla="*/ 24 h 642"/>
                <a:gd name="T38" fmla="*/ 0 w 258"/>
                <a:gd name="T39" fmla="*/ 45 h 642"/>
                <a:gd name="T40" fmla="*/ 0 w 258"/>
                <a:gd name="T41" fmla="*/ 4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8" h="642">
                  <a:moveTo>
                    <a:pt x="0" y="45"/>
                  </a:moveTo>
                  <a:lnTo>
                    <a:pt x="130" y="642"/>
                  </a:lnTo>
                  <a:lnTo>
                    <a:pt x="130" y="642"/>
                  </a:lnTo>
                  <a:lnTo>
                    <a:pt x="258" y="45"/>
                  </a:lnTo>
                  <a:lnTo>
                    <a:pt x="258" y="45"/>
                  </a:lnTo>
                  <a:lnTo>
                    <a:pt x="257" y="42"/>
                  </a:lnTo>
                  <a:lnTo>
                    <a:pt x="248" y="37"/>
                  </a:lnTo>
                  <a:lnTo>
                    <a:pt x="225" y="25"/>
                  </a:lnTo>
                  <a:lnTo>
                    <a:pt x="198" y="14"/>
                  </a:lnTo>
                  <a:lnTo>
                    <a:pt x="182" y="7"/>
                  </a:lnTo>
                  <a:lnTo>
                    <a:pt x="182" y="7"/>
                  </a:lnTo>
                  <a:lnTo>
                    <a:pt x="168" y="4"/>
                  </a:lnTo>
                  <a:lnTo>
                    <a:pt x="157" y="0"/>
                  </a:lnTo>
                  <a:lnTo>
                    <a:pt x="145" y="0"/>
                  </a:lnTo>
                  <a:lnTo>
                    <a:pt x="133" y="0"/>
                  </a:lnTo>
                  <a:lnTo>
                    <a:pt x="110" y="2"/>
                  </a:lnTo>
                  <a:lnTo>
                    <a:pt x="88" y="7"/>
                  </a:lnTo>
                  <a:lnTo>
                    <a:pt x="67" y="15"/>
                  </a:lnTo>
                  <a:lnTo>
                    <a:pt x="45" y="24"/>
                  </a:lnTo>
                  <a:lnTo>
                    <a:pt x="0" y="45"/>
                  </a:lnTo>
                  <a:lnTo>
                    <a:pt x="0" y="45"/>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3" name="Freeform 35"/>
            <p:cNvSpPr>
              <a:spLocks/>
            </p:cNvSpPr>
            <p:nvPr/>
          </p:nvSpPr>
          <p:spPr bwMode="auto">
            <a:xfrm>
              <a:off x="13055601" y="3228975"/>
              <a:ext cx="327025" cy="806450"/>
            </a:xfrm>
            <a:custGeom>
              <a:avLst/>
              <a:gdLst>
                <a:gd name="T0" fmla="*/ 0 w 206"/>
                <a:gd name="T1" fmla="*/ 33 h 508"/>
                <a:gd name="T2" fmla="*/ 103 w 206"/>
                <a:gd name="T3" fmla="*/ 508 h 508"/>
                <a:gd name="T4" fmla="*/ 103 w 206"/>
                <a:gd name="T5" fmla="*/ 508 h 508"/>
                <a:gd name="T6" fmla="*/ 206 w 206"/>
                <a:gd name="T7" fmla="*/ 28 h 508"/>
                <a:gd name="T8" fmla="*/ 206 w 206"/>
                <a:gd name="T9" fmla="*/ 28 h 508"/>
                <a:gd name="T10" fmla="*/ 175 w 206"/>
                <a:gd name="T11" fmla="*/ 15 h 508"/>
                <a:gd name="T12" fmla="*/ 155 w 206"/>
                <a:gd name="T13" fmla="*/ 6 h 508"/>
                <a:gd name="T14" fmla="*/ 155 w 206"/>
                <a:gd name="T15" fmla="*/ 6 h 508"/>
                <a:gd name="T16" fmla="*/ 133 w 206"/>
                <a:gd name="T17" fmla="*/ 1 h 508"/>
                <a:gd name="T18" fmla="*/ 113 w 206"/>
                <a:gd name="T19" fmla="*/ 0 h 508"/>
                <a:gd name="T20" fmla="*/ 93 w 206"/>
                <a:gd name="T21" fmla="*/ 0 h 508"/>
                <a:gd name="T22" fmla="*/ 75 w 206"/>
                <a:gd name="T23" fmla="*/ 3 h 508"/>
                <a:gd name="T24" fmla="*/ 55 w 206"/>
                <a:gd name="T25" fmla="*/ 10 h 508"/>
                <a:gd name="T26" fmla="*/ 36 w 206"/>
                <a:gd name="T27" fmla="*/ 16 h 508"/>
                <a:gd name="T28" fmla="*/ 0 w 206"/>
                <a:gd name="T29" fmla="*/ 33 h 508"/>
                <a:gd name="T30" fmla="*/ 0 w 206"/>
                <a:gd name="T31" fmla="*/ 33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6" h="508">
                  <a:moveTo>
                    <a:pt x="0" y="33"/>
                  </a:moveTo>
                  <a:lnTo>
                    <a:pt x="103" y="508"/>
                  </a:lnTo>
                  <a:lnTo>
                    <a:pt x="103" y="508"/>
                  </a:lnTo>
                  <a:lnTo>
                    <a:pt x="206" y="28"/>
                  </a:lnTo>
                  <a:lnTo>
                    <a:pt x="206" y="28"/>
                  </a:lnTo>
                  <a:lnTo>
                    <a:pt x="175" y="15"/>
                  </a:lnTo>
                  <a:lnTo>
                    <a:pt x="155" y="6"/>
                  </a:lnTo>
                  <a:lnTo>
                    <a:pt x="155" y="6"/>
                  </a:lnTo>
                  <a:lnTo>
                    <a:pt x="133" y="1"/>
                  </a:lnTo>
                  <a:lnTo>
                    <a:pt x="113" y="0"/>
                  </a:lnTo>
                  <a:lnTo>
                    <a:pt x="93" y="0"/>
                  </a:lnTo>
                  <a:lnTo>
                    <a:pt x="75" y="3"/>
                  </a:lnTo>
                  <a:lnTo>
                    <a:pt x="55" y="10"/>
                  </a:lnTo>
                  <a:lnTo>
                    <a:pt x="36" y="16"/>
                  </a:lnTo>
                  <a:lnTo>
                    <a:pt x="0" y="33"/>
                  </a:lnTo>
                  <a:lnTo>
                    <a:pt x="0" y="33"/>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4" name="Freeform 36"/>
            <p:cNvSpPr>
              <a:spLocks/>
            </p:cNvSpPr>
            <p:nvPr/>
          </p:nvSpPr>
          <p:spPr bwMode="auto">
            <a:xfrm>
              <a:off x="12815888" y="3103562"/>
              <a:ext cx="311150" cy="517525"/>
            </a:xfrm>
            <a:custGeom>
              <a:avLst/>
              <a:gdLst>
                <a:gd name="T0" fmla="*/ 0 w 196"/>
                <a:gd name="T1" fmla="*/ 301 h 326"/>
                <a:gd name="T2" fmla="*/ 196 w 196"/>
                <a:gd name="T3" fmla="*/ 326 h 326"/>
                <a:gd name="T4" fmla="*/ 124 w 196"/>
                <a:gd name="T5" fmla="*/ 0 h 326"/>
                <a:gd name="T6" fmla="*/ 0 w 196"/>
                <a:gd name="T7" fmla="*/ 301 h 326"/>
              </a:gdLst>
              <a:ahLst/>
              <a:cxnLst>
                <a:cxn ang="0">
                  <a:pos x="T0" y="T1"/>
                </a:cxn>
                <a:cxn ang="0">
                  <a:pos x="T2" y="T3"/>
                </a:cxn>
                <a:cxn ang="0">
                  <a:pos x="T4" y="T5"/>
                </a:cxn>
                <a:cxn ang="0">
                  <a:pos x="T6" y="T7"/>
                </a:cxn>
              </a:cxnLst>
              <a:rect l="0" t="0" r="r" b="b"/>
              <a:pathLst>
                <a:path w="196" h="326">
                  <a:moveTo>
                    <a:pt x="0" y="301"/>
                  </a:moveTo>
                  <a:lnTo>
                    <a:pt x="196" y="326"/>
                  </a:lnTo>
                  <a:lnTo>
                    <a:pt x="124" y="0"/>
                  </a:lnTo>
                  <a:lnTo>
                    <a:pt x="0" y="301"/>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5" name="Freeform 37"/>
            <p:cNvSpPr>
              <a:spLocks/>
            </p:cNvSpPr>
            <p:nvPr/>
          </p:nvSpPr>
          <p:spPr bwMode="auto">
            <a:xfrm>
              <a:off x="12815888" y="3103562"/>
              <a:ext cx="311150" cy="517525"/>
            </a:xfrm>
            <a:custGeom>
              <a:avLst/>
              <a:gdLst>
                <a:gd name="T0" fmla="*/ 0 w 196"/>
                <a:gd name="T1" fmla="*/ 301 h 326"/>
                <a:gd name="T2" fmla="*/ 196 w 196"/>
                <a:gd name="T3" fmla="*/ 326 h 326"/>
                <a:gd name="T4" fmla="*/ 124 w 196"/>
                <a:gd name="T5" fmla="*/ 0 h 326"/>
                <a:gd name="T6" fmla="*/ 40 w 196"/>
                <a:gd name="T7" fmla="*/ 72 h 326"/>
                <a:gd name="T8" fmla="*/ 0 w 196"/>
                <a:gd name="T9" fmla="*/ 301 h 326"/>
              </a:gdLst>
              <a:ahLst/>
              <a:cxnLst>
                <a:cxn ang="0">
                  <a:pos x="T0" y="T1"/>
                </a:cxn>
                <a:cxn ang="0">
                  <a:pos x="T2" y="T3"/>
                </a:cxn>
                <a:cxn ang="0">
                  <a:pos x="T4" y="T5"/>
                </a:cxn>
                <a:cxn ang="0">
                  <a:pos x="T6" y="T7"/>
                </a:cxn>
                <a:cxn ang="0">
                  <a:pos x="T8" y="T9"/>
                </a:cxn>
              </a:cxnLst>
              <a:rect l="0" t="0" r="r" b="b"/>
              <a:pathLst>
                <a:path w="196" h="326">
                  <a:moveTo>
                    <a:pt x="0" y="301"/>
                  </a:moveTo>
                  <a:lnTo>
                    <a:pt x="196" y="326"/>
                  </a:lnTo>
                  <a:lnTo>
                    <a:pt x="124" y="0"/>
                  </a:lnTo>
                  <a:lnTo>
                    <a:pt x="40" y="72"/>
                  </a:lnTo>
                  <a:lnTo>
                    <a:pt x="0" y="301"/>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6" name="Freeform 38"/>
            <p:cNvSpPr>
              <a:spLocks/>
            </p:cNvSpPr>
            <p:nvPr/>
          </p:nvSpPr>
          <p:spPr bwMode="auto">
            <a:xfrm>
              <a:off x="13304090" y="3103562"/>
              <a:ext cx="309563" cy="517525"/>
            </a:xfrm>
            <a:custGeom>
              <a:avLst/>
              <a:gdLst>
                <a:gd name="T0" fmla="*/ 195 w 195"/>
                <a:gd name="T1" fmla="*/ 301 h 326"/>
                <a:gd name="T2" fmla="*/ 0 w 195"/>
                <a:gd name="T3" fmla="*/ 326 h 326"/>
                <a:gd name="T4" fmla="*/ 70 w 195"/>
                <a:gd name="T5" fmla="*/ 0 h 326"/>
                <a:gd name="T6" fmla="*/ 161 w 195"/>
                <a:gd name="T7" fmla="*/ 75 h 326"/>
                <a:gd name="T8" fmla="*/ 195 w 195"/>
                <a:gd name="T9" fmla="*/ 301 h 326"/>
              </a:gdLst>
              <a:ahLst/>
              <a:cxnLst>
                <a:cxn ang="0">
                  <a:pos x="T0" y="T1"/>
                </a:cxn>
                <a:cxn ang="0">
                  <a:pos x="T2" y="T3"/>
                </a:cxn>
                <a:cxn ang="0">
                  <a:pos x="T4" y="T5"/>
                </a:cxn>
                <a:cxn ang="0">
                  <a:pos x="T6" y="T7"/>
                </a:cxn>
                <a:cxn ang="0">
                  <a:pos x="T8" y="T9"/>
                </a:cxn>
              </a:cxnLst>
              <a:rect l="0" t="0" r="r" b="b"/>
              <a:pathLst>
                <a:path w="195" h="326">
                  <a:moveTo>
                    <a:pt x="195" y="301"/>
                  </a:moveTo>
                  <a:lnTo>
                    <a:pt x="0" y="326"/>
                  </a:lnTo>
                  <a:lnTo>
                    <a:pt x="70" y="0"/>
                  </a:lnTo>
                  <a:lnTo>
                    <a:pt x="161" y="75"/>
                  </a:lnTo>
                  <a:lnTo>
                    <a:pt x="195" y="301"/>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7" name="Freeform 39"/>
            <p:cNvSpPr>
              <a:spLocks/>
            </p:cNvSpPr>
            <p:nvPr/>
          </p:nvSpPr>
          <p:spPr bwMode="auto">
            <a:xfrm>
              <a:off x="13277851" y="4173537"/>
              <a:ext cx="144463" cy="149225"/>
            </a:xfrm>
            <a:custGeom>
              <a:avLst/>
              <a:gdLst>
                <a:gd name="T0" fmla="*/ 91 w 91"/>
                <a:gd name="T1" fmla="*/ 47 h 94"/>
                <a:gd name="T2" fmla="*/ 91 w 91"/>
                <a:gd name="T3" fmla="*/ 47 h 94"/>
                <a:gd name="T4" fmla="*/ 91 w 91"/>
                <a:gd name="T5" fmla="*/ 37 h 94"/>
                <a:gd name="T6" fmla="*/ 88 w 91"/>
                <a:gd name="T7" fmla="*/ 28 h 94"/>
                <a:gd name="T8" fmla="*/ 85 w 91"/>
                <a:gd name="T9" fmla="*/ 22 h 94"/>
                <a:gd name="T10" fmla="*/ 78 w 91"/>
                <a:gd name="T11" fmla="*/ 13 h 94"/>
                <a:gd name="T12" fmla="*/ 71 w 91"/>
                <a:gd name="T13" fmla="*/ 8 h 94"/>
                <a:gd name="T14" fmla="*/ 63 w 91"/>
                <a:gd name="T15" fmla="*/ 3 h 94"/>
                <a:gd name="T16" fmla="*/ 55 w 91"/>
                <a:gd name="T17" fmla="*/ 2 h 94"/>
                <a:gd name="T18" fmla="*/ 46 w 91"/>
                <a:gd name="T19" fmla="*/ 0 h 94"/>
                <a:gd name="T20" fmla="*/ 46 w 91"/>
                <a:gd name="T21" fmla="*/ 0 h 94"/>
                <a:gd name="T22" fmla="*/ 36 w 91"/>
                <a:gd name="T23" fmla="*/ 2 h 94"/>
                <a:gd name="T24" fmla="*/ 28 w 91"/>
                <a:gd name="T25" fmla="*/ 3 h 94"/>
                <a:gd name="T26" fmla="*/ 20 w 91"/>
                <a:gd name="T27" fmla="*/ 8 h 94"/>
                <a:gd name="T28" fmla="*/ 13 w 91"/>
                <a:gd name="T29" fmla="*/ 13 h 94"/>
                <a:gd name="T30" fmla="*/ 8 w 91"/>
                <a:gd name="T31" fmla="*/ 22 h 94"/>
                <a:gd name="T32" fmla="*/ 3 w 91"/>
                <a:gd name="T33" fmla="*/ 28 h 94"/>
                <a:gd name="T34" fmla="*/ 0 w 91"/>
                <a:gd name="T35" fmla="*/ 37 h 94"/>
                <a:gd name="T36" fmla="*/ 0 w 91"/>
                <a:gd name="T37" fmla="*/ 47 h 94"/>
                <a:gd name="T38" fmla="*/ 0 w 91"/>
                <a:gd name="T39" fmla="*/ 47 h 94"/>
                <a:gd name="T40" fmla="*/ 0 w 91"/>
                <a:gd name="T41" fmla="*/ 57 h 94"/>
                <a:gd name="T42" fmla="*/ 3 w 91"/>
                <a:gd name="T43" fmla="*/ 65 h 94"/>
                <a:gd name="T44" fmla="*/ 8 w 91"/>
                <a:gd name="T45" fmla="*/ 74 h 94"/>
                <a:gd name="T46" fmla="*/ 13 w 91"/>
                <a:gd name="T47" fmla="*/ 80 h 94"/>
                <a:gd name="T48" fmla="*/ 20 w 91"/>
                <a:gd name="T49" fmla="*/ 85 h 94"/>
                <a:gd name="T50" fmla="*/ 28 w 91"/>
                <a:gd name="T51" fmla="*/ 90 h 94"/>
                <a:gd name="T52" fmla="*/ 36 w 91"/>
                <a:gd name="T53" fmla="*/ 92 h 94"/>
                <a:gd name="T54" fmla="*/ 46 w 91"/>
                <a:gd name="T55" fmla="*/ 94 h 94"/>
                <a:gd name="T56" fmla="*/ 46 w 91"/>
                <a:gd name="T57" fmla="*/ 94 h 94"/>
                <a:gd name="T58" fmla="*/ 55 w 91"/>
                <a:gd name="T59" fmla="*/ 92 h 94"/>
                <a:gd name="T60" fmla="*/ 63 w 91"/>
                <a:gd name="T61" fmla="*/ 90 h 94"/>
                <a:gd name="T62" fmla="*/ 71 w 91"/>
                <a:gd name="T63" fmla="*/ 85 h 94"/>
                <a:gd name="T64" fmla="*/ 78 w 91"/>
                <a:gd name="T65" fmla="*/ 80 h 94"/>
                <a:gd name="T66" fmla="*/ 85 w 91"/>
                <a:gd name="T67" fmla="*/ 74 h 94"/>
                <a:gd name="T68" fmla="*/ 88 w 91"/>
                <a:gd name="T69" fmla="*/ 65 h 94"/>
                <a:gd name="T70" fmla="*/ 91 w 91"/>
                <a:gd name="T71" fmla="*/ 57 h 94"/>
                <a:gd name="T72" fmla="*/ 91 w 91"/>
                <a:gd name="T73" fmla="*/ 47 h 94"/>
                <a:gd name="T74" fmla="*/ 91 w 91"/>
                <a:gd name="T75"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1" h="94">
                  <a:moveTo>
                    <a:pt x="91" y="47"/>
                  </a:moveTo>
                  <a:lnTo>
                    <a:pt x="91" y="47"/>
                  </a:lnTo>
                  <a:lnTo>
                    <a:pt x="91" y="37"/>
                  </a:lnTo>
                  <a:lnTo>
                    <a:pt x="88" y="28"/>
                  </a:lnTo>
                  <a:lnTo>
                    <a:pt x="85" y="22"/>
                  </a:lnTo>
                  <a:lnTo>
                    <a:pt x="78" y="13"/>
                  </a:lnTo>
                  <a:lnTo>
                    <a:pt x="71" y="8"/>
                  </a:lnTo>
                  <a:lnTo>
                    <a:pt x="63" y="3"/>
                  </a:lnTo>
                  <a:lnTo>
                    <a:pt x="55" y="2"/>
                  </a:lnTo>
                  <a:lnTo>
                    <a:pt x="46" y="0"/>
                  </a:lnTo>
                  <a:lnTo>
                    <a:pt x="46" y="0"/>
                  </a:lnTo>
                  <a:lnTo>
                    <a:pt x="36" y="2"/>
                  </a:lnTo>
                  <a:lnTo>
                    <a:pt x="28" y="3"/>
                  </a:lnTo>
                  <a:lnTo>
                    <a:pt x="20" y="8"/>
                  </a:lnTo>
                  <a:lnTo>
                    <a:pt x="13" y="13"/>
                  </a:lnTo>
                  <a:lnTo>
                    <a:pt x="8" y="22"/>
                  </a:lnTo>
                  <a:lnTo>
                    <a:pt x="3" y="28"/>
                  </a:lnTo>
                  <a:lnTo>
                    <a:pt x="0" y="37"/>
                  </a:lnTo>
                  <a:lnTo>
                    <a:pt x="0" y="47"/>
                  </a:lnTo>
                  <a:lnTo>
                    <a:pt x="0" y="47"/>
                  </a:lnTo>
                  <a:lnTo>
                    <a:pt x="0" y="57"/>
                  </a:lnTo>
                  <a:lnTo>
                    <a:pt x="3" y="65"/>
                  </a:lnTo>
                  <a:lnTo>
                    <a:pt x="8" y="74"/>
                  </a:lnTo>
                  <a:lnTo>
                    <a:pt x="13" y="80"/>
                  </a:lnTo>
                  <a:lnTo>
                    <a:pt x="20" y="85"/>
                  </a:lnTo>
                  <a:lnTo>
                    <a:pt x="28" y="90"/>
                  </a:lnTo>
                  <a:lnTo>
                    <a:pt x="36" y="92"/>
                  </a:lnTo>
                  <a:lnTo>
                    <a:pt x="46" y="94"/>
                  </a:lnTo>
                  <a:lnTo>
                    <a:pt x="46" y="94"/>
                  </a:lnTo>
                  <a:lnTo>
                    <a:pt x="55" y="92"/>
                  </a:lnTo>
                  <a:lnTo>
                    <a:pt x="63" y="90"/>
                  </a:lnTo>
                  <a:lnTo>
                    <a:pt x="71" y="85"/>
                  </a:lnTo>
                  <a:lnTo>
                    <a:pt x="78" y="80"/>
                  </a:lnTo>
                  <a:lnTo>
                    <a:pt x="85" y="74"/>
                  </a:lnTo>
                  <a:lnTo>
                    <a:pt x="88" y="65"/>
                  </a:lnTo>
                  <a:lnTo>
                    <a:pt x="91" y="57"/>
                  </a:lnTo>
                  <a:lnTo>
                    <a:pt x="91" y="47"/>
                  </a:lnTo>
                  <a:lnTo>
                    <a:pt x="91" y="47"/>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8" name="Freeform 40"/>
            <p:cNvSpPr>
              <a:spLocks/>
            </p:cNvSpPr>
            <p:nvPr/>
          </p:nvSpPr>
          <p:spPr bwMode="auto">
            <a:xfrm>
              <a:off x="13277851" y="4173537"/>
              <a:ext cx="144463" cy="149225"/>
            </a:xfrm>
            <a:custGeom>
              <a:avLst/>
              <a:gdLst>
                <a:gd name="T0" fmla="*/ 91 w 91"/>
                <a:gd name="T1" fmla="*/ 47 h 94"/>
                <a:gd name="T2" fmla="*/ 91 w 91"/>
                <a:gd name="T3" fmla="*/ 47 h 94"/>
                <a:gd name="T4" fmla="*/ 91 w 91"/>
                <a:gd name="T5" fmla="*/ 37 h 94"/>
                <a:gd name="T6" fmla="*/ 88 w 91"/>
                <a:gd name="T7" fmla="*/ 28 h 94"/>
                <a:gd name="T8" fmla="*/ 85 w 91"/>
                <a:gd name="T9" fmla="*/ 22 h 94"/>
                <a:gd name="T10" fmla="*/ 78 w 91"/>
                <a:gd name="T11" fmla="*/ 13 h 94"/>
                <a:gd name="T12" fmla="*/ 71 w 91"/>
                <a:gd name="T13" fmla="*/ 8 h 94"/>
                <a:gd name="T14" fmla="*/ 63 w 91"/>
                <a:gd name="T15" fmla="*/ 3 h 94"/>
                <a:gd name="T16" fmla="*/ 55 w 91"/>
                <a:gd name="T17" fmla="*/ 2 h 94"/>
                <a:gd name="T18" fmla="*/ 46 w 91"/>
                <a:gd name="T19" fmla="*/ 0 h 94"/>
                <a:gd name="T20" fmla="*/ 46 w 91"/>
                <a:gd name="T21" fmla="*/ 0 h 94"/>
                <a:gd name="T22" fmla="*/ 36 w 91"/>
                <a:gd name="T23" fmla="*/ 2 h 94"/>
                <a:gd name="T24" fmla="*/ 28 w 91"/>
                <a:gd name="T25" fmla="*/ 3 h 94"/>
                <a:gd name="T26" fmla="*/ 20 w 91"/>
                <a:gd name="T27" fmla="*/ 8 h 94"/>
                <a:gd name="T28" fmla="*/ 13 w 91"/>
                <a:gd name="T29" fmla="*/ 13 h 94"/>
                <a:gd name="T30" fmla="*/ 8 w 91"/>
                <a:gd name="T31" fmla="*/ 22 h 94"/>
                <a:gd name="T32" fmla="*/ 3 w 91"/>
                <a:gd name="T33" fmla="*/ 28 h 94"/>
                <a:gd name="T34" fmla="*/ 0 w 91"/>
                <a:gd name="T35" fmla="*/ 37 h 94"/>
                <a:gd name="T36" fmla="*/ 0 w 91"/>
                <a:gd name="T37" fmla="*/ 47 h 94"/>
                <a:gd name="T38" fmla="*/ 0 w 91"/>
                <a:gd name="T39" fmla="*/ 47 h 94"/>
                <a:gd name="T40" fmla="*/ 0 w 91"/>
                <a:gd name="T41" fmla="*/ 57 h 94"/>
                <a:gd name="T42" fmla="*/ 3 w 91"/>
                <a:gd name="T43" fmla="*/ 65 h 94"/>
                <a:gd name="T44" fmla="*/ 8 w 91"/>
                <a:gd name="T45" fmla="*/ 74 h 94"/>
                <a:gd name="T46" fmla="*/ 13 w 91"/>
                <a:gd name="T47" fmla="*/ 80 h 94"/>
                <a:gd name="T48" fmla="*/ 20 w 91"/>
                <a:gd name="T49" fmla="*/ 85 h 94"/>
                <a:gd name="T50" fmla="*/ 28 w 91"/>
                <a:gd name="T51" fmla="*/ 90 h 94"/>
                <a:gd name="T52" fmla="*/ 36 w 91"/>
                <a:gd name="T53" fmla="*/ 92 h 94"/>
                <a:gd name="T54" fmla="*/ 46 w 91"/>
                <a:gd name="T55" fmla="*/ 94 h 94"/>
                <a:gd name="T56" fmla="*/ 46 w 91"/>
                <a:gd name="T57" fmla="*/ 94 h 94"/>
                <a:gd name="T58" fmla="*/ 55 w 91"/>
                <a:gd name="T59" fmla="*/ 92 h 94"/>
                <a:gd name="T60" fmla="*/ 63 w 91"/>
                <a:gd name="T61" fmla="*/ 90 h 94"/>
                <a:gd name="T62" fmla="*/ 71 w 91"/>
                <a:gd name="T63" fmla="*/ 85 h 94"/>
                <a:gd name="T64" fmla="*/ 78 w 91"/>
                <a:gd name="T65" fmla="*/ 80 h 94"/>
                <a:gd name="T66" fmla="*/ 85 w 91"/>
                <a:gd name="T67" fmla="*/ 74 h 94"/>
                <a:gd name="T68" fmla="*/ 88 w 91"/>
                <a:gd name="T69" fmla="*/ 65 h 94"/>
                <a:gd name="T70" fmla="*/ 91 w 91"/>
                <a:gd name="T71" fmla="*/ 57 h 94"/>
                <a:gd name="T72" fmla="*/ 91 w 91"/>
                <a:gd name="T73" fmla="*/ 47 h 94"/>
                <a:gd name="T74" fmla="*/ 91 w 91"/>
                <a:gd name="T75"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1" h="94">
                  <a:moveTo>
                    <a:pt x="91" y="47"/>
                  </a:moveTo>
                  <a:lnTo>
                    <a:pt x="91" y="47"/>
                  </a:lnTo>
                  <a:lnTo>
                    <a:pt x="91" y="37"/>
                  </a:lnTo>
                  <a:lnTo>
                    <a:pt x="88" y="28"/>
                  </a:lnTo>
                  <a:lnTo>
                    <a:pt x="85" y="22"/>
                  </a:lnTo>
                  <a:lnTo>
                    <a:pt x="78" y="13"/>
                  </a:lnTo>
                  <a:lnTo>
                    <a:pt x="71" y="8"/>
                  </a:lnTo>
                  <a:lnTo>
                    <a:pt x="63" y="3"/>
                  </a:lnTo>
                  <a:lnTo>
                    <a:pt x="55" y="2"/>
                  </a:lnTo>
                  <a:lnTo>
                    <a:pt x="46" y="0"/>
                  </a:lnTo>
                  <a:lnTo>
                    <a:pt x="46" y="0"/>
                  </a:lnTo>
                  <a:lnTo>
                    <a:pt x="36" y="2"/>
                  </a:lnTo>
                  <a:lnTo>
                    <a:pt x="28" y="3"/>
                  </a:lnTo>
                  <a:lnTo>
                    <a:pt x="20" y="8"/>
                  </a:lnTo>
                  <a:lnTo>
                    <a:pt x="13" y="13"/>
                  </a:lnTo>
                  <a:lnTo>
                    <a:pt x="8" y="22"/>
                  </a:lnTo>
                  <a:lnTo>
                    <a:pt x="3" y="28"/>
                  </a:lnTo>
                  <a:lnTo>
                    <a:pt x="0" y="37"/>
                  </a:lnTo>
                  <a:lnTo>
                    <a:pt x="0" y="47"/>
                  </a:lnTo>
                  <a:lnTo>
                    <a:pt x="0" y="47"/>
                  </a:lnTo>
                  <a:lnTo>
                    <a:pt x="0" y="57"/>
                  </a:lnTo>
                  <a:lnTo>
                    <a:pt x="3" y="65"/>
                  </a:lnTo>
                  <a:lnTo>
                    <a:pt x="8" y="74"/>
                  </a:lnTo>
                  <a:lnTo>
                    <a:pt x="13" y="80"/>
                  </a:lnTo>
                  <a:lnTo>
                    <a:pt x="20" y="85"/>
                  </a:lnTo>
                  <a:lnTo>
                    <a:pt x="28" y="90"/>
                  </a:lnTo>
                  <a:lnTo>
                    <a:pt x="36" y="92"/>
                  </a:lnTo>
                  <a:lnTo>
                    <a:pt x="46" y="94"/>
                  </a:lnTo>
                  <a:lnTo>
                    <a:pt x="46" y="94"/>
                  </a:lnTo>
                  <a:lnTo>
                    <a:pt x="55" y="92"/>
                  </a:lnTo>
                  <a:lnTo>
                    <a:pt x="63" y="90"/>
                  </a:lnTo>
                  <a:lnTo>
                    <a:pt x="71" y="85"/>
                  </a:lnTo>
                  <a:lnTo>
                    <a:pt x="78" y="80"/>
                  </a:lnTo>
                  <a:lnTo>
                    <a:pt x="85" y="74"/>
                  </a:lnTo>
                  <a:lnTo>
                    <a:pt x="88" y="65"/>
                  </a:lnTo>
                  <a:lnTo>
                    <a:pt x="91" y="57"/>
                  </a:lnTo>
                  <a:lnTo>
                    <a:pt x="91" y="47"/>
                  </a:lnTo>
                  <a:lnTo>
                    <a:pt x="91" y="47"/>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19" name="Freeform 41"/>
            <p:cNvSpPr>
              <a:spLocks/>
            </p:cNvSpPr>
            <p:nvPr/>
          </p:nvSpPr>
          <p:spPr bwMode="auto">
            <a:xfrm>
              <a:off x="13277851" y="4430712"/>
              <a:ext cx="144463" cy="146050"/>
            </a:xfrm>
            <a:custGeom>
              <a:avLst/>
              <a:gdLst>
                <a:gd name="T0" fmla="*/ 91 w 91"/>
                <a:gd name="T1" fmla="*/ 45 h 92"/>
                <a:gd name="T2" fmla="*/ 91 w 91"/>
                <a:gd name="T3" fmla="*/ 45 h 92"/>
                <a:gd name="T4" fmla="*/ 91 w 91"/>
                <a:gd name="T5" fmla="*/ 37 h 92"/>
                <a:gd name="T6" fmla="*/ 88 w 91"/>
                <a:gd name="T7" fmla="*/ 27 h 92"/>
                <a:gd name="T8" fmla="*/ 85 w 91"/>
                <a:gd name="T9" fmla="*/ 20 h 92"/>
                <a:gd name="T10" fmla="*/ 78 w 91"/>
                <a:gd name="T11" fmla="*/ 13 h 92"/>
                <a:gd name="T12" fmla="*/ 71 w 91"/>
                <a:gd name="T13" fmla="*/ 7 h 92"/>
                <a:gd name="T14" fmla="*/ 63 w 91"/>
                <a:gd name="T15" fmla="*/ 3 h 92"/>
                <a:gd name="T16" fmla="*/ 55 w 91"/>
                <a:gd name="T17" fmla="*/ 0 h 92"/>
                <a:gd name="T18" fmla="*/ 46 w 91"/>
                <a:gd name="T19" fmla="*/ 0 h 92"/>
                <a:gd name="T20" fmla="*/ 46 w 91"/>
                <a:gd name="T21" fmla="*/ 0 h 92"/>
                <a:gd name="T22" fmla="*/ 36 w 91"/>
                <a:gd name="T23" fmla="*/ 0 h 92"/>
                <a:gd name="T24" fmla="*/ 28 w 91"/>
                <a:gd name="T25" fmla="*/ 3 h 92"/>
                <a:gd name="T26" fmla="*/ 20 w 91"/>
                <a:gd name="T27" fmla="*/ 7 h 92"/>
                <a:gd name="T28" fmla="*/ 13 w 91"/>
                <a:gd name="T29" fmla="*/ 13 h 92"/>
                <a:gd name="T30" fmla="*/ 8 w 91"/>
                <a:gd name="T31" fmla="*/ 20 h 92"/>
                <a:gd name="T32" fmla="*/ 3 w 91"/>
                <a:gd name="T33" fmla="*/ 27 h 92"/>
                <a:gd name="T34" fmla="*/ 0 w 91"/>
                <a:gd name="T35" fmla="*/ 37 h 92"/>
                <a:gd name="T36" fmla="*/ 0 w 91"/>
                <a:gd name="T37" fmla="*/ 45 h 92"/>
                <a:gd name="T38" fmla="*/ 0 w 91"/>
                <a:gd name="T39" fmla="*/ 45 h 92"/>
                <a:gd name="T40" fmla="*/ 0 w 91"/>
                <a:gd name="T41" fmla="*/ 55 h 92"/>
                <a:gd name="T42" fmla="*/ 3 w 91"/>
                <a:gd name="T43" fmla="*/ 63 h 92"/>
                <a:gd name="T44" fmla="*/ 8 w 91"/>
                <a:gd name="T45" fmla="*/ 72 h 92"/>
                <a:gd name="T46" fmla="*/ 13 w 91"/>
                <a:gd name="T47" fmla="*/ 78 h 92"/>
                <a:gd name="T48" fmla="*/ 20 w 91"/>
                <a:gd name="T49" fmla="*/ 83 h 92"/>
                <a:gd name="T50" fmla="*/ 28 w 91"/>
                <a:gd name="T51" fmla="*/ 88 h 92"/>
                <a:gd name="T52" fmla="*/ 36 w 91"/>
                <a:gd name="T53" fmla="*/ 90 h 92"/>
                <a:gd name="T54" fmla="*/ 46 w 91"/>
                <a:gd name="T55" fmla="*/ 92 h 92"/>
                <a:gd name="T56" fmla="*/ 46 w 91"/>
                <a:gd name="T57" fmla="*/ 92 h 92"/>
                <a:gd name="T58" fmla="*/ 55 w 91"/>
                <a:gd name="T59" fmla="*/ 90 h 92"/>
                <a:gd name="T60" fmla="*/ 63 w 91"/>
                <a:gd name="T61" fmla="*/ 88 h 92"/>
                <a:gd name="T62" fmla="*/ 71 w 91"/>
                <a:gd name="T63" fmla="*/ 83 h 92"/>
                <a:gd name="T64" fmla="*/ 78 w 91"/>
                <a:gd name="T65" fmla="*/ 78 h 92"/>
                <a:gd name="T66" fmla="*/ 85 w 91"/>
                <a:gd name="T67" fmla="*/ 72 h 92"/>
                <a:gd name="T68" fmla="*/ 88 w 91"/>
                <a:gd name="T69" fmla="*/ 63 h 92"/>
                <a:gd name="T70" fmla="*/ 91 w 91"/>
                <a:gd name="T71" fmla="*/ 55 h 92"/>
                <a:gd name="T72" fmla="*/ 91 w 91"/>
                <a:gd name="T73" fmla="*/ 45 h 92"/>
                <a:gd name="T74" fmla="*/ 91 w 91"/>
                <a:gd name="T75" fmla="*/ 4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1" h="92">
                  <a:moveTo>
                    <a:pt x="91" y="45"/>
                  </a:moveTo>
                  <a:lnTo>
                    <a:pt x="91" y="45"/>
                  </a:lnTo>
                  <a:lnTo>
                    <a:pt x="91" y="37"/>
                  </a:lnTo>
                  <a:lnTo>
                    <a:pt x="88" y="27"/>
                  </a:lnTo>
                  <a:lnTo>
                    <a:pt x="85" y="20"/>
                  </a:lnTo>
                  <a:lnTo>
                    <a:pt x="78" y="13"/>
                  </a:lnTo>
                  <a:lnTo>
                    <a:pt x="71" y="7"/>
                  </a:lnTo>
                  <a:lnTo>
                    <a:pt x="63" y="3"/>
                  </a:lnTo>
                  <a:lnTo>
                    <a:pt x="55" y="0"/>
                  </a:lnTo>
                  <a:lnTo>
                    <a:pt x="46" y="0"/>
                  </a:lnTo>
                  <a:lnTo>
                    <a:pt x="46" y="0"/>
                  </a:lnTo>
                  <a:lnTo>
                    <a:pt x="36" y="0"/>
                  </a:lnTo>
                  <a:lnTo>
                    <a:pt x="28" y="3"/>
                  </a:lnTo>
                  <a:lnTo>
                    <a:pt x="20" y="7"/>
                  </a:lnTo>
                  <a:lnTo>
                    <a:pt x="13" y="13"/>
                  </a:lnTo>
                  <a:lnTo>
                    <a:pt x="8" y="20"/>
                  </a:lnTo>
                  <a:lnTo>
                    <a:pt x="3" y="27"/>
                  </a:lnTo>
                  <a:lnTo>
                    <a:pt x="0" y="37"/>
                  </a:lnTo>
                  <a:lnTo>
                    <a:pt x="0" y="45"/>
                  </a:lnTo>
                  <a:lnTo>
                    <a:pt x="0" y="45"/>
                  </a:lnTo>
                  <a:lnTo>
                    <a:pt x="0" y="55"/>
                  </a:lnTo>
                  <a:lnTo>
                    <a:pt x="3" y="63"/>
                  </a:lnTo>
                  <a:lnTo>
                    <a:pt x="8" y="72"/>
                  </a:lnTo>
                  <a:lnTo>
                    <a:pt x="13" y="78"/>
                  </a:lnTo>
                  <a:lnTo>
                    <a:pt x="20" y="83"/>
                  </a:lnTo>
                  <a:lnTo>
                    <a:pt x="28" y="88"/>
                  </a:lnTo>
                  <a:lnTo>
                    <a:pt x="36" y="90"/>
                  </a:lnTo>
                  <a:lnTo>
                    <a:pt x="46" y="92"/>
                  </a:lnTo>
                  <a:lnTo>
                    <a:pt x="46" y="92"/>
                  </a:lnTo>
                  <a:lnTo>
                    <a:pt x="55" y="90"/>
                  </a:lnTo>
                  <a:lnTo>
                    <a:pt x="63" y="88"/>
                  </a:lnTo>
                  <a:lnTo>
                    <a:pt x="71" y="83"/>
                  </a:lnTo>
                  <a:lnTo>
                    <a:pt x="78" y="78"/>
                  </a:lnTo>
                  <a:lnTo>
                    <a:pt x="85" y="72"/>
                  </a:lnTo>
                  <a:lnTo>
                    <a:pt x="88" y="63"/>
                  </a:lnTo>
                  <a:lnTo>
                    <a:pt x="91" y="55"/>
                  </a:lnTo>
                  <a:lnTo>
                    <a:pt x="91" y="45"/>
                  </a:lnTo>
                  <a:lnTo>
                    <a:pt x="91" y="45"/>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20" name="Freeform 43"/>
            <p:cNvSpPr>
              <a:spLocks/>
            </p:cNvSpPr>
            <p:nvPr/>
          </p:nvSpPr>
          <p:spPr bwMode="auto">
            <a:xfrm>
              <a:off x="12996863" y="4173537"/>
              <a:ext cx="146050" cy="149225"/>
            </a:xfrm>
            <a:custGeom>
              <a:avLst/>
              <a:gdLst>
                <a:gd name="T0" fmla="*/ 92 w 92"/>
                <a:gd name="T1" fmla="*/ 47 h 94"/>
                <a:gd name="T2" fmla="*/ 92 w 92"/>
                <a:gd name="T3" fmla="*/ 47 h 94"/>
                <a:gd name="T4" fmla="*/ 92 w 92"/>
                <a:gd name="T5" fmla="*/ 37 h 94"/>
                <a:gd name="T6" fmla="*/ 88 w 92"/>
                <a:gd name="T7" fmla="*/ 28 h 94"/>
                <a:gd name="T8" fmla="*/ 85 w 92"/>
                <a:gd name="T9" fmla="*/ 22 h 94"/>
                <a:gd name="T10" fmla="*/ 78 w 92"/>
                <a:gd name="T11" fmla="*/ 13 h 94"/>
                <a:gd name="T12" fmla="*/ 72 w 92"/>
                <a:gd name="T13" fmla="*/ 8 h 94"/>
                <a:gd name="T14" fmla="*/ 63 w 92"/>
                <a:gd name="T15" fmla="*/ 3 h 94"/>
                <a:gd name="T16" fmla="*/ 55 w 92"/>
                <a:gd name="T17" fmla="*/ 2 h 94"/>
                <a:gd name="T18" fmla="*/ 45 w 92"/>
                <a:gd name="T19" fmla="*/ 0 h 94"/>
                <a:gd name="T20" fmla="*/ 45 w 92"/>
                <a:gd name="T21" fmla="*/ 0 h 94"/>
                <a:gd name="T22" fmla="*/ 37 w 92"/>
                <a:gd name="T23" fmla="*/ 2 h 94"/>
                <a:gd name="T24" fmla="*/ 28 w 92"/>
                <a:gd name="T25" fmla="*/ 3 h 94"/>
                <a:gd name="T26" fmla="*/ 20 w 92"/>
                <a:gd name="T27" fmla="*/ 8 h 94"/>
                <a:gd name="T28" fmla="*/ 13 w 92"/>
                <a:gd name="T29" fmla="*/ 13 h 94"/>
                <a:gd name="T30" fmla="*/ 7 w 92"/>
                <a:gd name="T31" fmla="*/ 22 h 94"/>
                <a:gd name="T32" fmla="*/ 3 w 92"/>
                <a:gd name="T33" fmla="*/ 28 h 94"/>
                <a:gd name="T34" fmla="*/ 0 w 92"/>
                <a:gd name="T35" fmla="*/ 37 h 94"/>
                <a:gd name="T36" fmla="*/ 0 w 92"/>
                <a:gd name="T37" fmla="*/ 47 h 94"/>
                <a:gd name="T38" fmla="*/ 0 w 92"/>
                <a:gd name="T39" fmla="*/ 47 h 94"/>
                <a:gd name="T40" fmla="*/ 0 w 92"/>
                <a:gd name="T41" fmla="*/ 57 h 94"/>
                <a:gd name="T42" fmla="*/ 3 w 92"/>
                <a:gd name="T43" fmla="*/ 65 h 94"/>
                <a:gd name="T44" fmla="*/ 7 w 92"/>
                <a:gd name="T45" fmla="*/ 74 h 94"/>
                <a:gd name="T46" fmla="*/ 13 w 92"/>
                <a:gd name="T47" fmla="*/ 80 h 94"/>
                <a:gd name="T48" fmla="*/ 20 w 92"/>
                <a:gd name="T49" fmla="*/ 85 h 94"/>
                <a:gd name="T50" fmla="*/ 28 w 92"/>
                <a:gd name="T51" fmla="*/ 90 h 94"/>
                <a:gd name="T52" fmla="*/ 37 w 92"/>
                <a:gd name="T53" fmla="*/ 92 h 94"/>
                <a:gd name="T54" fmla="*/ 45 w 92"/>
                <a:gd name="T55" fmla="*/ 94 h 94"/>
                <a:gd name="T56" fmla="*/ 45 w 92"/>
                <a:gd name="T57" fmla="*/ 94 h 94"/>
                <a:gd name="T58" fmla="*/ 55 w 92"/>
                <a:gd name="T59" fmla="*/ 92 h 94"/>
                <a:gd name="T60" fmla="*/ 63 w 92"/>
                <a:gd name="T61" fmla="*/ 90 h 94"/>
                <a:gd name="T62" fmla="*/ 72 w 92"/>
                <a:gd name="T63" fmla="*/ 85 h 94"/>
                <a:gd name="T64" fmla="*/ 78 w 92"/>
                <a:gd name="T65" fmla="*/ 80 h 94"/>
                <a:gd name="T66" fmla="*/ 85 w 92"/>
                <a:gd name="T67" fmla="*/ 74 h 94"/>
                <a:gd name="T68" fmla="*/ 88 w 92"/>
                <a:gd name="T69" fmla="*/ 65 h 94"/>
                <a:gd name="T70" fmla="*/ 92 w 92"/>
                <a:gd name="T71" fmla="*/ 57 h 94"/>
                <a:gd name="T72" fmla="*/ 92 w 92"/>
                <a:gd name="T73" fmla="*/ 47 h 94"/>
                <a:gd name="T74" fmla="*/ 92 w 92"/>
                <a:gd name="T75"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94">
                  <a:moveTo>
                    <a:pt x="92" y="47"/>
                  </a:moveTo>
                  <a:lnTo>
                    <a:pt x="92" y="47"/>
                  </a:lnTo>
                  <a:lnTo>
                    <a:pt x="92" y="37"/>
                  </a:lnTo>
                  <a:lnTo>
                    <a:pt x="88" y="28"/>
                  </a:lnTo>
                  <a:lnTo>
                    <a:pt x="85" y="22"/>
                  </a:lnTo>
                  <a:lnTo>
                    <a:pt x="78" y="13"/>
                  </a:lnTo>
                  <a:lnTo>
                    <a:pt x="72" y="8"/>
                  </a:lnTo>
                  <a:lnTo>
                    <a:pt x="63" y="3"/>
                  </a:lnTo>
                  <a:lnTo>
                    <a:pt x="55" y="2"/>
                  </a:lnTo>
                  <a:lnTo>
                    <a:pt x="45" y="0"/>
                  </a:lnTo>
                  <a:lnTo>
                    <a:pt x="45" y="0"/>
                  </a:lnTo>
                  <a:lnTo>
                    <a:pt x="37" y="2"/>
                  </a:lnTo>
                  <a:lnTo>
                    <a:pt x="28" y="3"/>
                  </a:lnTo>
                  <a:lnTo>
                    <a:pt x="20" y="8"/>
                  </a:lnTo>
                  <a:lnTo>
                    <a:pt x="13" y="13"/>
                  </a:lnTo>
                  <a:lnTo>
                    <a:pt x="7" y="22"/>
                  </a:lnTo>
                  <a:lnTo>
                    <a:pt x="3" y="28"/>
                  </a:lnTo>
                  <a:lnTo>
                    <a:pt x="0" y="37"/>
                  </a:lnTo>
                  <a:lnTo>
                    <a:pt x="0" y="47"/>
                  </a:lnTo>
                  <a:lnTo>
                    <a:pt x="0" y="47"/>
                  </a:lnTo>
                  <a:lnTo>
                    <a:pt x="0" y="57"/>
                  </a:lnTo>
                  <a:lnTo>
                    <a:pt x="3" y="65"/>
                  </a:lnTo>
                  <a:lnTo>
                    <a:pt x="7" y="74"/>
                  </a:lnTo>
                  <a:lnTo>
                    <a:pt x="13" y="80"/>
                  </a:lnTo>
                  <a:lnTo>
                    <a:pt x="20" y="85"/>
                  </a:lnTo>
                  <a:lnTo>
                    <a:pt x="28" y="90"/>
                  </a:lnTo>
                  <a:lnTo>
                    <a:pt x="37" y="92"/>
                  </a:lnTo>
                  <a:lnTo>
                    <a:pt x="45" y="94"/>
                  </a:lnTo>
                  <a:lnTo>
                    <a:pt x="45" y="94"/>
                  </a:lnTo>
                  <a:lnTo>
                    <a:pt x="55" y="92"/>
                  </a:lnTo>
                  <a:lnTo>
                    <a:pt x="63" y="90"/>
                  </a:lnTo>
                  <a:lnTo>
                    <a:pt x="72" y="85"/>
                  </a:lnTo>
                  <a:lnTo>
                    <a:pt x="78" y="80"/>
                  </a:lnTo>
                  <a:lnTo>
                    <a:pt x="85" y="74"/>
                  </a:lnTo>
                  <a:lnTo>
                    <a:pt x="88" y="65"/>
                  </a:lnTo>
                  <a:lnTo>
                    <a:pt x="92" y="57"/>
                  </a:lnTo>
                  <a:lnTo>
                    <a:pt x="92" y="47"/>
                  </a:lnTo>
                  <a:lnTo>
                    <a:pt x="92" y="47"/>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21" name="Freeform 44"/>
            <p:cNvSpPr>
              <a:spLocks/>
            </p:cNvSpPr>
            <p:nvPr/>
          </p:nvSpPr>
          <p:spPr bwMode="auto">
            <a:xfrm>
              <a:off x="12996863" y="4430712"/>
              <a:ext cx="146050" cy="146050"/>
            </a:xfrm>
            <a:custGeom>
              <a:avLst/>
              <a:gdLst>
                <a:gd name="T0" fmla="*/ 92 w 92"/>
                <a:gd name="T1" fmla="*/ 45 h 92"/>
                <a:gd name="T2" fmla="*/ 92 w 92"/>
                <a:gd name="T3" fmla="*/ 45 h 92"/>
                <a:gd name="T4" fmla="*/ 92 w 92"/>
                <a:gd name="T5" fmla="*/ 37 h 92"/>
                <a:gd name="T6" fmla="*/ 88 w 92"/>
                <a:gd name="T7" fmla="*/ 27 h 92"/>
                <a:gd name="T8" fmla="*/ 85 w 92"/>
                <a:gd name="T9" fmla="*/ 20 h 92"/>
                <a:gd name="T10" fmla="*/ 78 w 92"/>
                <a:gd name="T11" fmla="*/ 13 h 92"/>
                <a:gd name="T12" fmla="*/ 72 w 92"/>
                <a:gd name="T13" fmla="*/ 7 h 92"/>
                <a:gd name="T14" fmla="*/ 63 w 92"/>
                <a:gd name="T15" fmla="*/ 3 h 92"/>
                <a:gd name="T16" fmla="*/ 55 w 92"/>
                <a:gd name="T17" fmla="*/ 0 h 92"/>
                <a:gd name="T18" fmla="*/ 45 w 92"/>
                <a:gd name="T19" fmla="*/ 0 h 92"/>
                <a:gd name="T20" fmla="*/ 45 w 92"/>
                <a:gd name="T21" fmla="*/ 0 h 92"/>
                <a:gd name="T22" fmla="*/ 37 w 92"/>
                <a:gd name="T23" fmla="*/ 0 h 92"/>
                <a:gd name="T24" fmla="*/ 28 w 92"/>
                <a:gd name="T25" fmla="*/ 3 h 92"/>
                <a:gd name="T26" fmla="*/ 20 w 92"/>
                <a:gd name="T27" fmla="*/ 7 h 92"/>
                <a:gd name="T28" fmla="*/ 13 w 92"/>
                <a:gd name="T29" fmla="*/ 13 h 92"/>
                <a:gd name="T30" fmla="*/ 7 w 92"/>
                <a:gd name="T31" fmla="*/ 20 h 92"/>
                <a:gd name="T32" fmla="*/ 3 w 92"/>
                <a:gd name="T33" fmla="*/ 27 h 92"/>
                <a:gd name="T34" fmla="*/ 0 w 92"/>
                <a:gd name="T35" fmla="*/ 37 h 92"/>
                <a:gd name="T36" fmla="*/ 0 w 92"/>
                <a:gd name="T37" fmla="*/ 45 h 92"/>
                <a:gd name="T38" fmla="*/ 0 w 92"/>
                <a:gd name="T39" fmla="*/ 45 h 92"/>
                <a:gd name="T40" fmla="*/ 0 w 92"/>
                <a:gd name="T41" fmla="*/ 55 h 92"/>
                <a:gd name="T42" fmla="*/ 3 w 92"/>
                <a:gd name="T43" fmla="*/ 63 h 92"/>
                <a:gd name="T44" fmla="*/ 7 w 92"/>
                <a:gd name="T45" fmla="*/ 72 h 92"/>
                <a:gd name="T46" fmla="*/ 13 w 92"/>
                <a:gd name="T47" fmla="*/ 78 h 92"/>
                <a:gd name="T48" fmla="*/ 20 w 92"/>
                <a:gd name="T49" fmla="*/ 83 h 92"/>
                <a:gd name="T50" fmla="*/ 28 w 92"/>
                <a:gd name="T51" fmla="*/ 88 h 92"/>
                <a:gd name="T52" fmla="*/ 37 w 92"/>
                <a:gd name="T53" fmla="*/ 90 h 92"/>
                <a:gd name="T54" fmla="*/ 45 w 92"/>
                <a:gd name="T55" fmla="*/ 92 h 92"/>
                <a:gd name="T56" fmla="*/ 45 w 92"/>
                <a:gd name="T57" fmla="*/ 92 h 92"/>
                <a:gd name="T58" fmla="*/ 55 w 92"/>
                <a:gd name="T59" fmla="*/ 90 h 92"/>
                <a:gd name="T60" fmla="*/ 63 w 92"/>
                <a:gd name="T61" fmla="*/ 88 h 92"/>
                <a:gd name="T62" fmla="*/ 72 w 92"/>
                <a:gd name="T63" fmla="*/ 83 h 92"/>
                <a:gd name="T64" fmla="*/ 78 w 92"/>
                <a:gd name="T65" fmla="*/ 78 h 92"/>
                <a:gd name="T66" fmla="*/ 85 w 92"/>
                <a:gd name="T67" fmla="*/ 72 h 92"/>
                <a:gd name="T68" fmla="*/ 88 w 92"/>
                <a:gd name="T69" fmla="*/ 63 h 92"/>
                <a:gd name="T70" fmla="*/ 92 w 92"/>
                <a:gd name="T71" fmla="*/ 55 h 92"/>
                <a:gd name="T72" fmla="*/ 92 w 92"/>
                <a:gd name="T73" fmla="*/ 45 h 92"/>
                <a:gd name="T74" fmla="*/ 92 w 92"/>
                <a:gd name="T75" fmla="*/ 4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92">
                  <a:moveTo>
                    <a:pt x="92" y="45"/>
                  </a:moveTo>
                  <a:lnTo>
                    <a:pt x="92" y="45"/>
                  </a:lnTo>
                  <a:lnTo>
                    <a:pt x="92" y="37"/>
                  </a:lnTo>
                  <a:lnTo>
                    <a:pt x="88" y="27"/>
                  </a:lnTo>
                  <a:lnTo>
                    <a:pt x="85" y="20"/>
                  </a:lnTo>
                  <a:lnTo>
                    <a:pt x="78" y="13"/>
                  </a:lnTo>
                  <a:lnTo>
                    <a:pt x="72" y="7"/>
                  </a:lnTo>
                  <a:lnTo>
                    <a:pt x="63" y="3"/>
                  </a:lnTo>
                  <a:lnTo>
                    <a:pt x="55" y="0"/>
                  </a:lnTo>
                  <a:lnTo>
                    <a:pt x="45" y="0"/>
                  </a:lnTo>
                  <a:lnTo>
                    <a:pt x="45" y="0"/>
                  </a:lnTo>
                  <a:lnTo>
                    <a:pt x="37" y="0"/>
                  </a:lnTo>
                  <a:lnTo>
                    <a:pt x="28" y="3"/>
                  </a:lnTo>
                  <a:lnTo>
                    <a:pt x="20" y="7"/>
                  </a:lnTo>
                  <a:lnTo>
                    <a:pt x="13" y="13"/>
                  </a:lnTo>
                  <a:lnTo>
                    <a:pt x="7" y="20"/>
                  </a:lnTo>
                  <a:lnTo>
                    <a:pt x="3" y="27"/>
                  </a:lnTo>
                  <a:lnTo>
                    <a:pt x="0" y="37"/>
                  </a:lnTo>
                  <a:lnTo>
                    <a:pt x="0" y="45"/>
                  </a:lnTo>
                  <a:lnTo>
                    <a:pt x="0" y="45"/>
                  </a:lnTo>
                  <a:lnTo>
                    <a:pt x="0" y="55"/>
                  </a:lnTo>
                  <a:lnTo>
                    <a:pt x="3" y="63"/>
                  </a:lnTo>
                  <a:lnTo>
                    <a:pt x="7" y="72"/>
                  </a:lnTo>
                  <a:lnTo>
                    <a:pt x="13" y="78"/>
                  </a:lnTo>
                  <a:lnTo>
                    <a:pt x="20" y="83"/>
                  </a:lnTo>
                  <a:lnTo>
                    <a:pt x="28" y="88"/>
                  </a:lnTo>
                  <a:lnTo>
                    <a:pt x="37" y="90"/>
                  </a:lnTo>
                  <a:lnTo>
                    <a:pt x="45" y="92"/>
                  </a:lnTo>
                  <a:lnTo>
                    <a:pt x="45" y="92"/>
                  </a:lnTo>
                  <a:lnTo>
                    <a:pt x="55" y="90"/>
                  </a:lnTo>
                  <a:lnTo>
                    <a:pt x="63" y="88"/>
                  </a:lnTo>
                  <a:lnTo>
                    <a:pt x="72" y="83"/>
                  </a:lnTo>
                  <a:lnTo>
                    <a:pt x="78" y="78"/>
                  </a:lnTo>
                  <a:lnTo>
                    <a:pt x="85" y="72"/>
                  </a:lnTo>
                  <a:lnTo>
                    <a:pt x="88" y="63"/>
                  </a:lnTo>
                  <a:lnTo>
                    <a:pt x="92" y="55"/>
                  </a:lnTo>
                  <a:lnTo>
                    <a:pt x="92" y="45"/>
                  </a:lnTo>
                  <a:lnTo>
                    <a:pt x="92" y="45"/>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grpSp>
      <p:grpSp>
        <p:nvGrpSpPr>
          <p:cNvPr id="903" name="Group 902"/>
          <p:cNvGrpSpPr>
            <a:grpSpLocks noChangeAspect="1"/>
          </p:cNvGrpSpPr>
          <p:nvPr/>
        </p:nvGrpSpPr>
        <p:grpSpPr>
          <a:xfrm>
            <a:off x="714774" y="3191109"/>
            <a:ext cx="294922" cy="292373"/>
            <a:chOff x="14722476" y="2832100"/>
            <a:chExt cx="2070100" cy="2257425"/>
          </a:xfrm>
        </p:grpSpPr>
        <p:sp>
          <p:nvSpPr>
            <p:cNvPr id="904" name="Freeform 45"/>
            <p:cNvSpPr>
              <a:spLocks/>
            </p:cNvSpPr>
            <p:nvPr/>
          </p:nvSpPr>
          <p:spPr bwMode="auto">
            <a:xfrm>
              <a:off x="14722476" y="3297237"/>
              <a:ext cx="774700" cy="1565275"/>
            </a:xfrm>
            <a:custGeom>
              <a:avLst/>
              <a:gdLst>
                <a:gd name="T0" fmla="*/ 305 w 488"/>
                <a:gd name="T1" fmla="*/ 0 h 986"/>
                <a:gd name="T2" fmla="*/ 488 w 488"/>
                <a:gd name="T3" fmla="*/ 164 h 986"/>
                <a:gd name="T4" fmla="*/ 488 w 488"/>
                <a:gd name="T5" fmla="*/ 164 h 986"/>
                <a:gd name="T6" fmla="*/ 273 w 488"/>
                <a:gd name="T7" fmla="*/ 776 h 986"/>
                <a:gd name="T8" fmla="*/ 273 w 488"/>
                <a:gd name="T9" fmla="*/ 776 h 986"/>
                <a:gd name="T10" fmla="*/ 258 w 488"/>
                <a:gd name="T11" fmla="*/ 817 h 986"/>
                <a:gd name="T12" fmla="*/ 247 w 488"/>
                <a:gd name="T13" fmla="*/ 846 h 986"/>
                <a:gd name="T14" fmla="*/ 215 w 488"/>
                <a:gd name="T15" fmla="*/ 916 h 986"/>
                <a:gd name="T16" fmla="*/ 215 w 488"/>
                <a:gd name="T17" fmla="*/ 916 h 986"/>
                <a:gd name="T18" fmla="*/ 205 w 488"/>
                <a:gd name="T19" fmla="*/ 936 h 986"/>
                <a:gd name="T20" fmla="*/ 193 w 488"/>
                <a:gd name="T21" fmla="*/ 951 h 986"/>
                <a:gd name="T22" fmla="*/ 180 w 488"/>
                <a:gd name="T23" fmla="*/ 964 h 986"/>
                <a:gd name="T24" fmla="*/ 167 w 488"/>
                <a:gd name="T25" fmla="*/ 974 h 986"/>
                <a:gd name="T26" fmla="*/ 153 w 488"/>
                <a:gd name="T27" fmla="*/ 981 h 986"/>
                <a:gd name="T28" fmla="*/ 138 w 488"/>
                <a:gd name="T29" fmla="*/ 984 h 986"/>
                <a:gd name="T30" fmla="*/ 125 w 488"/>
                <a:gd name="T31" fmla="*/ 986 h 986"/>
                <a:gd name="T32" fmla="*/ 110 w 488"/>
                <a:gd name="T33" fmla="*/ 984 h 986"/>
                <a:gd name="T34" fmla="*/ 95 w 488"/>
                <a:gd name="T35" fmla="*/ 981 h 986"/>
                <a:gd name="T36" fmla="*/ 82 w 488"/>
                <a:gd name="T37" fmla="*/ 976 h 986"/>
                <a:gd name="T38" fmla="*/ 68 w 488"/>
                <a:gd name="T39" fmla="*/ 967 h 986"/>
                <a:gd name="T40" fmla="*/ 55 w 488"/>
                <a:gd name="T41" fmla="*/ 959 h 986"/>
                <a:gd name="T42" fmla="*/ 43 w 488"/>
                <a:gd name="T43" fmla="*/ 949 h 986"/>
                <a:gd name="T44" fmla="*/ 32 w 488"/>
                <a:gd name="T45" fmla="*/ 937 h 986"/>
                <a:gd name="T46" fmla="*/ 22 w 488"/>
                <a:gd name="T47" fmla="*/ 926 h 986"/>
                <a:gd name="T48" fmla="*/ 13 w 488"/>
                <a:gd name="T49" fmla="*/ 912 h 986"/>
                <a:gd name="T50" fmla="*/ 13 w 488"/>
                <a:gd name="T51" fmla="*/ 912 h 986"/>
                <a:gd name="T52" fmla="*/ 8 w 488"/>
                <a:gd name="T53" fmla="*/ 901 h 986"/>
                <a:gd name="T54" fmla="*/ 5 w 488"/>
                <a:gd name="T55" fmla="*/ 889 h 986"/>
                <a:gd name="T56" fmla="*/ 2 w 488"/>
                <a:gd name="T57" fmla="*/ 877 h 986"/>
                <a:gd name="T58" fmla="*/ 0 w 488"/>
                <a:gd name="T59" fmla="*/ 866 h 986"/>
                <a:gd name="T60" fmla="*/ 0 w 488"/>
                <a:gd name="T61" fmla="*/ 854 h 986"/>
                <a:gd name="T62" fmla="*/ 2 w 488"/>
                <a:gd name="T63" fmla="*/ 842 h 986"/>
                <a:gd name="T64" fmla="*/ 7 w 488"/>
                <a:gd name="T65" fmla="*/ 819 h 986"/>
                <a:gd name="T66" fmla="*/ 13 w 488"/>
                <a:gd name="T67" fmla="*/ 796 h 986"/>
                <a:gd name="T68" fmla="*/ 23 w 488"/>
                <a:gd name="T69" fmla="*/ 772 h 986"/>
                <a:gd name="T70" fmla="*/ 42 w 488"/>
                <a:gd name="T71" fmla="*/ 727 h 986"/>
                <a:gd name="T72" fmla="*/ 42 w 488"/>
                <a:gd name="T73" fmla="*/ 727 h 986"/>
                <a:gd name="T74" fmla="*/ 62 w 488"/>
                <a:gd name="T75" fmla="*/ 676 h 986"/>
                <a:gd name="T76" fmla="*/ 83 w 488"/>
                <a:gd name="T77" fmla="*/ 624 h 986"/>
                <a:gd name="T78" fmla="*/ 105 w 488"/>
                <a:gd name="T79" fmla="*/ 570 h 986"/>
                <a:gd name="T80" fmla="*/ 123 w 488"/>
                <a:gd name="T81" fmla="*/ 519 h 986"/>
                <a:gd name="T82" fmla="*/ 123 w 488"/>
                <a:gd name="T83" fmla="*/ 519 h 986"/>
                <a:gd name="T84" fmla="*/ 273 w 488"/>
                <a:gd name="T85" fmla="*/ 92 h 986"/>
                <a:gd name="T86" fmla="*/ 273 w 488"/>
                <a:gd name="T87" fmla="*/ 92 h 986"/>
                <a:gd name="T88" fmla="*/ 305 w 488"/>
                <a:gd name="T89" fmla="*/ 0 h 986"/>
                <a:gd name="T90" fmla="*/ 305 w 488"/>
                <a:gd name="T91" fmla="*/ 0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8" h="986">
                  <a:moveTo>
                    <a:pt x="305" y="0"/>
                  </a:moveTo>
                  <a:lnTo>
                    <a:pt x="488" y="164"/>
                  </a:lnTo>
                  <a:lnTo>
                    <a:pt x="488" y="164"/>
                  </a:lnTo>
                  <a:lnTo>
                    <a:pt x="273" y="776"/>
                  </a:lnTo>
                  <a:lnTo>
                    <a:pt x="273" y="776"/>
                  </a:lnTo>
                  <a:lnTo>
                    <a:pt x="258" y="817"/>
                  </a:lnTo>
                  <a:lnTo>
                    <a:pt x="247" y="846"/>
                  </a:lnTo>
                  <a:lnTo>
                    <a:pt x="215" y="916"/>
                  </a:lnTo>
                  <a:lnTo>
                    <a:pt x="215" y="916"/>
                  </a:lnTo>
                  <a:lnTo>
                    <a:pt x="205" y="936"/>
                  </a:lnTo>
                  <a:lnTo>
                    <a:pt x="193" y="951"/>
                  </a:lnTo>
                  <a:lnTo>
                    <a:pt x="180" y="964"/>
                  </a:lnTo>
                  <a:lnTo>
                    <a:pt x="167" y="974"/>
                  </a:lnTo>
                  <a:lnTo>
                    <a:pt x="153" y="981"/>
                  </a:lnTo>
                  <a:lnTo>
                    <a:pt x="138" y="984"/>
                  </a:lnTo>
                  <a:lnTo>
                    <a:pt x="125" y="986"/>
                  </a:lnTo>
                  <a:lnTo>
                    <a:pt x="110" y="984"/>
                  </a:lnTo>
                  <a:lnTo>
                    <a:pt x="95" y="981"/>
                  </a:lnTo>
                  <a:lnTo>
                    <a:pt x="82" y="976"/>
                  </a:lnTo>
                  <a:lnTo>
                    <a:pt x="68" y="967"/>
                  </a:lnTo>
                  <a:lnTo>
                    <a:pt x="55" y="959"/>
                  </a:lnTo>
                  <a:lnTo>
                    <a:pt x="43" y="949"/>
                  </a:lnTo>
                  <a:lnTo>
                    <a:pt x="32" y="937"/>
                  </a:lnTo>
                  <a:lnTo>
                    <a:pt x="22" y="926"/>
                  </a:lnTo>
                  <a:lnTo>
                    <a:pt x="13" y="912"/>
                  </a:lnTo>
                  <a:lnTo>
                    <a:pt x="13" y="912"/>
                  </a:lnTo>
                  <a:lnTo>
                    <a:pt x="8" y="901"/>
                  </a:lnTo>
                  <a:lnTo>
                    <a:pt x="5" y="889"/>
                  </a:lnTo>
                  <a:lnTo>
                    <a:pt x="2" y="877"/>
                  </a:lnTo>
                  <a:lnTo>
                    <a:pt x="0" y="866"/>
                  </a:lnTo>
                  <a:lnTo>
                    <a:pt x="0" y="854"/>
                  </a:lnTo>
                  <a:lnTo>
                    <a:pt x="2" y="842"/>
                  </a:lnTo>
                  <a:lnTo>
                    <a:pt x="7" y="819"/>
                  </a:lnTo>
                  <a:lnTo>
                    <a:pt x="13" y="796"/>
                  </a:lnTo>
                  <a:lnTo>
                    <a:pt x="23" y="772"/>
                  </a:lnTo>
                  <a:lnTo>
                    <a:pt x="42" y="727"/>
                  </a:lnTo>
                  <a:lnTo>
                    <a:pt x="42" y="727"/>
                  </a:lnTo>
                  <a:lnTo>
                    <a:pt x="62" y="676"/>
                  </a:lnTo>
                  <a:lnTo>
                    <a:pt x="83" y="624"/>
                  </a:lnTo>
                  <a:lnTo>
                    <a:pt x="105" y="570"/>
                  </a:lnTo>
                  <a:lnTo>
                    <a:pt x="123" y="519"/>
                  </a:lnTo>
                  <a:lnTo>
                    <a:pt x="123" y="519"/>
                  </a:lnTo>
                  <a:lnTo>
                    <a:pt x="273" y="92"/>
                  </a:lnTo>
                  <a:lnTo>
                    <a:pt x="273" y="92"/>
                  </a:lnTo>
                  <a:lnTo>
                    <a:pt x="305" y="0"/>
                  </a:lnTo>
                  <a:lnTo>
                    <a:pt x="305" y="0"/>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05" name="Freeform 46"/>
            <p:cNvSpPr>
              <a:spLocks/>
            </p:cNvSpPr>
            <p:nvPr/>
          </p:nvSpPr>
          <p:spPr bwMode="auto">
            <a:xfrm>
              <a:off x="15967076" y="3297237"/>
              <a:ext cx="825500" cy="1498600"/>
            </a:xfrm>
            <a:custGeom>
              <a:avLst/>
              <a:gdLst>
                <a:gd name="T0" fmla="*/ 183 w 520"/>
                <a:gd name="T1" fmla="*/ 0 h 944"/>
                <a:gd name="T2" fmla="*/ 0 w 520"/>
                <a:gd name="T3" fmla="*/ 164 h 944"/>
                <a:gd name="T4" fmla="*/ 0 w 520"/>
                <a:gd name="T5" fmla="*/ 164 h 944"/>
                <a:gd name="T6" fmla="*/ 188 w 520"/>
                <a:gd name="T7" fmla="*/ 624 h 944"/>
                <a:gd name="T8" fmla="*/ 188 w 520"/>
                <a:gd name="T9" fmla="*/ 624 h 944"/>
                <a:gd name="T10" fmla="*/ 201 w 520"/>
                <a:gd name="T11" fmla="*/ 656 h 944"/>
                <a:gd name="T12" fmla="*/ 213 w 520"/>
                <a:gd name="T13" fmla="*/ 681 h 944"/>
                <a:gd name="T14" fmla="*/ 235 w 520"/>
                <a:gd name="T15" fmla="*/ 721 h 944"/>
                <a:gd name="T16" fmla="*/ 256 w 520"/>
                <a:gd name="T17" fmla="*/ 762 h 944"/>
                <a:gd name="T18" fmla="*/ 268 w 520"/>
                <a:gd name="T19" fmla="*/ 787 h 944"/>
                <a:gd name="T20" fmla="*/ 281 w 520"/>
                <a:gd name="T21" fmla="*/ 817 h 944"/>
                <a:gd name="T22" fmla="*/ 281 w 520"/>
                <a:gd name="T23" fmla="*/ 817 h 944"/>
                <a:gd name="T24" fmla="*/ 296 w 520"/>
                <a:gd name="T25" fmla="*/ 851 h 944"/>
                <a:gd name="T26" fmla="*/ 308 w 520"/>
                <a:gd name="T27" fmla="*/ 869 h 944"/>
                <a:gd name="T28" fmla="*/ 320 w 520"/>
                <a:gd name="T29" fmla="*/ 887 h 944"/>
                <a:gd name="T30" fmla="*/ 335 w 520"/>
                <a:gd name="T31" fmla="*/ 906 h 944"/>
                <a:gd name="T32" fmla="*/ 348 w 520"/>
                <a:gd name="T33" fmla="*/ 921 h 944"/>
                <a:gd name="T34" fmla="*/ 365 w 520"/>
                <a:gd name="T35" fmla="*/ 932 h 944"/>
                <a:gd name="T36" fmla="*/ 371 w 520"/>
                <a:gd name="T37" fmla="*/ 937 h 944"/>
                <a:gd name="T38" fmla="*/ 380 w 520"/>
                <a:gd name="T39" fmla="*/ 939 h 944"/>
                <a:gd name="T40" fmla="*/ 380 w 520"/>
                <a:gd name="T41" fmla="*/ 939 h 944"/>
                <a:gd name="T42" fmla="*/ 390 w 520"/>
                <a:gd name="T43" fmla="*/ 942 h 944"/>
                <a:gd name="T44" fmla="*/ 401 w 520"/>
                <a:gd name="T45" fmla="*/ 944 h 944"/>
                <a:gd name="T46" fmla="*/ 411 w 520"/>
                <a:gd name="T47" fmla="*/ 942 h 944"/>
                <a:gd name="T48" fmla="*/ 421 w 520"/>
                <a:gd name="T49" fmla="*/ 942 h 944"/>
                <a:gd name="T50" fmla="*/ 440 w 520"/>
                <a:gd name="T51" fmla="*/ 937 h 944"/>
                <a:gd name="T52" fmla="*/ 458 w 520"/>
                <a:gd name="T53" fmla="*/ 927 h 944"/>
                <a:gd name="T54" fmla="*/ 476 w 520"/>
                <a:gd name="T55" fmla="*/ 916 h 944"/>
                <a:gd name="T56" fmla="*/ 491 w 520"/>
                <a:gd name="T57" fmla="*/ 902 h 944"/>
                <a:gd name="T58" fmla="*/ 503 w 520"/>
                <a:gd name="T59" fmla="*/ 887 h 944"/>
                <a:gd name="T60" fmla="*/ 513 w 520"/>
                <a:gd name="T61" fmla="*/ 872 h 944"/>
                <a:gd name="T62" fmla="*/ 513 w 520"/>
                <a:gd name="T63" fmla="*/ 872 h 944"/>
                <a:gd name="T64" fmla="*/ 518 w 520"/>
                <a:gd name="T65" fmla="*/ 859 h 944"/>
                <a:gd name="T66" fmla="*/ 520 w 520"/>
                <a:gd name="T67" fmla="*/ 844 h 944"/>
                <a:gd name="T68" fmla="*/ 520 w 520"/>
                <a:gd name="T69" fmla="*/ 827 h 944"/>
                <a:gd name="T70" fmla="*/ 518 w 520"/>
                <a:gd name="T71" fmla="*/ 811 h 944"/>
                <a:gd name="T72" fmla="*/ 513 w 520"/>
                <a:gd name="T73" fmla="*/ 792 h 944"/>
                <a:gd name="T74" fmla="*/ 508 w 520"/>
                <a:gd name="T75" fmla="*/ 774 h 944"/>
                <a:gd name="T76" fmla="*/ 493 w 520"/>
                <a:gd name="T77" fmla="*/ 736 h 944"/>
                <a:gd name="T78" fmla="*/ 476 w 520"/>
                <a:gd name="T79" fmla="*/ 699 h 944"/>
                <a:gd name="T80" fmla="*/ 458 w 520"/>
                <a:gd name="T81" fmla="*/ 664 h 944"/>
                <a:gd name="T82" fmla="*/ 441 w 520"/>
                <a:gd name="T83" fmla="*/ 632 h 944"/>
                <a:gd name="T84" fmla="*/ 428 w 520"/>
                <a:gd name="T85" fmla="*/ 606 h 944"/>
                <a:gd name="T86" fmla="*/ 428 w 520"/>
                <a:gd name="T87" fmla="*/ 606 h 944"/>
                <a:gd name="T88" fmla="*/ 368 w 520"/>
                <a:gd name="T89" fmla="*/ 464 h 944"/>
                <a:gd name="T90" fmla="*/ 318 w 520"/>
                <a:gd name="T91" fmla="*/ 340 h 944"/>
                <a:gd name="T92" fmla="*/ 270 w 520"/>
                <a:gd name="T93" fmla="*/ 217 h 944"/>
                <a:gd name="T94" fmla="*/ 213 w 520"/>
                <a:gd name="T95" fmla="*/ 74 h 944"/>
                <a:gd name="T96" fmla="*/ 213 w 520"/>
                <a:gd name="T97" fmla="*/ 74 h 944"/>
                <a:gd name="T98" fmla="*/ 183 w 520"/>
                <a:gd name="T99" fmla="*/ 0 h 944"/>
                <a:gd name="T100" fmla="*/ 183 w 520"/>
                <a:gd name="T101"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0" h="944">
                  <a:moveTo>
                    <a:pt x="183" y="0"/>
                  </a:moveTo>
                  <a:lnTo>
                    <a:pt x="0" y="164"/>
                  </a:lnTo>
                  <a:lnTo>
                    <a:pt x="0" y="164"/>
                  </a:lnTo>
                  <a:lnTo>
                    <a:pt x="188" y="624"/>
                  </a:lnTo>
                  <a:lnTo>
                    <a:pt x="188" y="624"/>
                  </a:lnTo>
                  <a:lnTo>
                    <a:pt x="201" y="656"/>
                  </a:lnTo>
                  <a:lnTo>
                    <a:pt x="213" y="681"/>
                  </a:lnTo>
                  <a:lnTo>
                    <a:pt x="235" y="721"/>
                  </a:lnTo>
                  <a:lnTo>
                    <a:pt x="256" y="762"/>
                  </a:lnTo>
                  <a:lnTo>
                    <a:pt x="268" y="787"/>
                  </a:lnTo>
                  <a:lnTo>
                    <a:pt x="281" y="817"/>
                  </a:lnTo>
                  <a:lnTo>
                    <a:pt x="281" y="817"/>
                  </a:lnTo>
                  <a:lnTo>
                    <a:pt x="296" y="851"/>
                  </a:lnTo>
                  <a:lnTo>
                    <a:pt x="308" y="869"/>
                  </a:lnTo>
                  <a:lnTo>
                    <a:pt x="320" y="887"/>
                  </a:lnTo>
                  <a:lnTo>
                    <a:pt x="335" y="906"/>
                  </a:lnTo>
                  <a:lnTo>
                    <a:pt x="348" y="921"/>
                  </a:lnTo>
                  <a:lnTo>
                    <a:pt x="365" y="932"/>
                  </a:lnTo>
                  <a:lnTo>
                    <a:pt x="371" y="937"/>
                  </a:lnTo>
                  <a:lnTo>
                    <a:pt x="380" y="939"/>
                  </a:lnTo>
                  <a:lnTo>
                    <a:pt x="380" y="939"/>
                  </a:lnTo>
                  <a:lnTo>
                    <a:pt x="390" y="942"/>
                  </a:lnTo>
                  <a:lnTo>
                    <a:pt x="401" y="944"/>
                  </a:lnTo>
                  <a:lnTo>
                    <a:pt x="411" y="942"/>
                  </a:lnTo>
                  <a:lnTo>
                    <a:pt x="421" y="942"/>
                  </a:lnTo>
                  <a:lnTo>
                    <a:pt x="440" y="937"/>
                  </a:lnTo>
                  <a:lnTo>
                    <a:pt x="458" y="927"/>
                  </a:lnTo>
                  <a:lnTo>
                    <a:pt x="476" y="916"/>
                  </a:lnTo>
                  <a:lnTo>
                    <a:pt x="491" y="902"/>
                  </a:lnTo>
                  <a:lnTo>
                    <a:pt x="503" y="887"/>
                  </a:lnTo>
                  <a:lnTo>
                    <a:pt x="513" y="872"/>
                  </a:lnTo>
                  <a:lnTo>
                    <a:pt x="513" y="872"/>
                  </a:lnTo>
                  <a:lnTo>
                    <a:pt x="518" y="859"/>
                  </a:lnTo>
                  <a:lnTo>
                    <a:pt x="520" y="844"/>
                  </a:lnTo>
                  <a:lnTo>
                    <a:pt x="520" y="827"/>
                  </a:lnTo>
                  <a:lnTo>
                    <a:pt x="518" y="811"/>
                  </a:lnTo>
                  <a:lnTo>
                    <a:pt x="513" y="792"/>
                  </a:lnTo>
                  <a:lnTo>
                    <a:pt x="508" y="774"/>
                  </a:lnTo>
                  <a:lnTo>
                    <a:pt x="493" y="736"/>
                  </a:lnTo>
                  <a:lnTo>
                    <a:pt x="476" y="699"/>
                  </a:lnTo>
                  <a:lnTo>
                    <a:pt x="458" y="664"/>
                  </a:lnTo>
                  <a:lnTo>
                    <a:pt x="441" y="632"/>
                  </a:lnTo>
                  <a:lnTo>
                    <a:pt x="428" y="606"/>
                  </a:lnTo>
                  <a:lnTo>
                    <a:pt x="428" y="606"/>
                  </a:lnTo>
                  <a:lnTo>
                    <a:pt x="368" y="464"/>
                  </a:lnTo>
                  <a:lnTo>
                    <a:pt x="318" y="340"/>
                  </a:lnTo>
                  <a:lnTo>
                    <a:pt x="270" y="217"/>
                  </a:lnTo>
                  <a:lnTo>
                    <a:pt x="213" y="74"/>
                  </a:lnTo>
                  <a:lnTo>
                    <a:pt x="213" y="74"/>
                  </a:lnTo>
                  <a:lnTo>
                    <a:pt x="183" y="0"/>
                  </a:lnTo>
                  <a:lnTo>
                    <a:pt x="183" y="0"/>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06" name="Freeform 47"/>
            <p:cNvSpPr>
              <a:spLocks/>
            </p:cNvSpPr>
            <p:nvPr/>
          </p:nvSpPr>
          <p:spPr bwMode="auto">
            <a:xfrm>
              <a:off x="15203488" y="3090862"/>
              <a:ext cx="1089025" cy="1998663"/>
            </a:xfrm>
            <a:custGeom>
              <a:avLst/>
              <a:gdLst>
                <a:gd name="T0" fmla="*/ 467 w 686"/>
                <a:gd name="T1" fmla="*/ 0 h 1259"/>
                <a:gd name="T2" fmla="*/ 219 w 686"/>
                <a:gd name="T3" fmla="*/ 0 h 1259"/>
                <a:gd name="T4" fmla="*/ 202 w 686"/>
                <a:gd name="T5" fmla="*/ 3 h 1259"/>
                <a:gd name="T6" fmla="*/ 157 w 686"/>
                <a:gd name="T7" fmla="*/ 22 h 1259"/>
                <a:gd name="T8" fmla="*/ 89 w 686"/>
                <a:gd name="T9" fmla="*/ 65 h 1259"/>
                <a:gd name="T10" fmla="*/ 52 w 686"/>
                <a:gd name="T11" fmla="*/ 90 h 1259"/>
                <a:gd name="T12" fmla="*/ 27 w 686"/>
                <a:gd name="T13" fmla="*/ 110 h 1259"/>
                <a:gd name="T14" fmla="*/ 12 w 686"/>
                <a:gd name="T15" fmla="*/ 132 h 1259"/>
                <a:gd name="T16" fmla="*/ 4 w 686"/>
                <a:gd name="T17" fmla="*/ 155 h 1259"/>
                <a:gd name="T18" fmla="*/ 0 w 686"/>
                <a:gd name="T19" fmla="*/ 180 h 1259"/>
                <a:gd name="T20" fmla="*/ 7 w 686"/>
                <a:gd name="T21" fmla="*/ 235 h 1259"/>
                <a:gd name="T22" fmla="*/ 17 w 686"/>
                <a:gd name="T23" fmla="*/ 290 h 1259"/>
                <a:gd name="T24" fmla="*/ 39 w 686"/>
                <a:gd name="T25" fmla="*/ 470 h 1259"/>
                <a:gd name="T26" fmla="*/ 44 w 686"/>
                <a:gd name="T27" fmla="*/ 497 h 1259"/>
                <a:gd name="T28" fmla="*/ 59 w 686"/>
                <a:gd name="T29" fmla="*/ 585 h 1259"/>
                <a:gd name="T30" fmla="*/ 67 w 686"/>
                <a:gd name="T31" fmla="*/ 644 h 1259"/>
                <a:gd name="T32" fmla="*/ 69 w 686"/>
                <a:gd name="T33" fmla="*/ 700 h 1259"/>
                <a:gd name="T34" fmla="*/ 62 w 686"/>
                <a:gd name="T35" fmla="*/ 776 h 1259"/>
                <a:gd name="T36" fmla="*/ 44 w 686"/>
                <a:gd name="T37" fmla="*/ 929 h 1259"/>
                <a:gd name="T38" fmla="*/ 35 w 686"/>
                <a:gd name="T39" fmla="*/ 1004 h 1259"/>
                <a:gd name="T40" fmla="*/ 25 w 686"/>
                <a:gd name="T41" fmla="*/ 1071 h 1259"/>
                <a:gd name="T42" fmla="*/ 19 w 686"/>
                <a:gd name="T43" fmla="*/ 1126 h 1259"/>
                <a:gd name="T44" fmla="*/ 19 w 686"/>
                <a:gd name="T45" fmla="*/ 1162 h 1259"/>
                <a:gd name="T46" fmla="*/ 25 w 686"/>
                <a:gd name="T47" fmla="*/ 1196 h 1259"/>
                <a:gd name="T48" fmla="*/ 40 w 686"/>
                <a:gd name="T49" fmla="*/ 1222 h 1259"/>
                <a:gd name="T50" fmla="*/ 65 w 686"/>
                <a:gd name="T51" fmla="*/ 1241 h 1259"/>
                <a:gd name="T52" fmla="*/ 84 w 686"/>
                <a:gd name="T53" fmla="*/ 1246 h 1259"/>
                <a:gd name="T54" fmla="*/ 139 w 686"/>
                <a:gd name="T55" fmla="*/ 1252 h 1259"/>
                <a:gd name="T56" fmla="*/ 252 w 686"/>
                <a:gd name="T57" fmla="*/ 1259 h 1259"/>
                <a:gd name="T58" fmla="*/ 422 w 686"/>
                <a:gd name="T59" fmla="*/ 1252 h 1259"/>
                <a:gd name="T60" fmla="*/ 536 w 686"/>
                <a:gd name="T61" fmla="*/ 1247 h 1259"/>
                <a:gd name="T62" fmla="*/ 569 w 686"/>
                <a:gd name="T63" fmla="*/ 1247 h 1259"/>
                <a:gd name="T64" fmla="*/ 604 w 686"/>
                <a:gd name="T65" fmla="*/ 1244 h 1259"/>
                <a:gd name="T66" fmla="*/ 627 w 686"/>
                <a:gd name="T67" fmla="*/ 1236 h 1259"/>
                <a:gd name="T68" fmla="*/ 641 w 686"/>
                <a:gd name="T69" fmla="*/ 1227 h 1259"/>
                <a:gd name="T70" fmla="*/ 652 w 686"/>
                <a:gd name="T71" fmla="*/ 1212 h 1259"/>
                <a:gd name="T72" fmla="*/ 657 w 686"/>
                <a:gd name="T73" fmla="*/ 1204 h 1259"/>
                <a:gd name="T74" fmla="*/ 666 w 686"/>
                <a:gd name="T75" fmla="*/ 1179 h 1259"/>
                <a:gd name="T76" fmla="*/ 669 w 686"/>
                <a:gd name="T77" fmla="*/ 1152 h 1259"/>
                <a:gd name="T78" fmla="*/ 666 w 686"/>
                <a:gd name="T79" fmla="*/ 1092 h 1259"/>
                <a:gd name="T80" fmla="*/ 656 w 686"/>
                <a:gd name="T81" fmla="*/ 1034 h 1259"/>
                <a:gd name="T82" fmla="*/ 644 w 686"/>
                <a:gd name="T83" fmla="*/ 979 h 1259"/>
                <a:gd name="T84" fmla="*/ 622 w 686"/>
                <a:gd name="T85" fmla="*/ 842 h 1259"/>
                <a:gd name="T86" fmla="*/ 616 w 686"/>
                <a:gd name="T87" fmla="*/ 772 h 1259"/>
                <a:gd name="T88" fmla="*/ 619 w 686"/>
                <a:gd name="T89" fmla="*/ 704 h 1259"/>
                <a:gd name="T90" fmla="*/ 649 w 686"/>
                <a:gd name="T91" fmla="*/ 457 h 1259"/>
                <a:gd name="T92" fmla="*/ 672 w 686"/>
                <a:gd name="T93" fmla="*/ 274 h 1259"/>
                <a:gd name="T94" fmla="*/ 679 w 686"/>
                <a:gd name="T95" fmla="*/ 235 h 1259"/>
                <a:gd name="T96" fmla="*/ 684 w 686"/>
                <a:gd name="T97" fmla="*/ 195 h 1259"/>
                <a:gd name="T98" fmla="*/ 682 w 686"/>
                <a:gd name="T99" fmla="*/ 157 h 1259"/>
                <a:gd name="T100" fmla="*/ 676 w 686"/>
                <a:gd name="T101" fmla="*/ 139 h 1259"/>
                <a:gd name="T102" fmla="*/ 664 w 686"/>
                <a:gd name="T103" fmla="*/ 122 h 1259"/>
                <a:gd name="T104" fmla="*/ 654 w 686"/>
                <a:gd name="T105" fmla="*/ 110 h 1259"/>
                <a:gd name="T106" fmla="*/ 627 w 686"/>
                <a:gd name="T107" fmla="*/ 92 h 1259"/>
                <a:gd name="T108" fmla="*/ 584 w 686"/>
                <a:gd name="T109" fmla="*/ 70 h 1259"/>
                <a:gd name="T110" fmla="*/ 556 w 686"/>
                <a:gd name="T111" fmla="*/ 55 h 1259"/>
                <a:gd name="T112" fmla="*/ 536 w 686"/>
                <a:gd name="T113" fmla="*/ 40 h 1259"/>
                <a:gd name="T114" fmla="*/ 502 w 686"/>
                <a:gd name="T115" fmla="*/ 13 h 1259"/>
                <a:gd name="T116" fmla="*/ 479 w 686"/>
                <a:gd name="T117" fmla="*/ 2 h 1259"/>
                <a:gd name="T118" fmla="*/ 467 w 686"/>
                <a:gd name="T119" fmla="*/ 0 h 1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6" h="1259">
                  <a:moveTo>
                    <a:pt x="467" y="0"/>
                  </a:moveTo>
                  <a:lnTo>
                    <a:pt x="467" y="0"/>
                  </a:lnTo>
                  <a:lnTo>
                    <a:pt x="219" y="0"/>
                  </a:lnTo>
                  <a:lnTo>
                    <a:pt x="219" y="0"/>
                  </a:lnTo>
                  <a:lnTo>
                    <a:pt x="210" y="2"/>
                  </a:lnTo>
                  <a:lnTo>
                    <a:pt x="202" y="3"/>
                  </a:lnTo>
                  <a:lnTo>
                    <a:pt x="180" y="12"/>
                  </a:lnTo>
                  <a:lnTo>
                    <a:pt x="157" y="22"/>
                  </a:lnTo>
                  <a:lnTo>
                    <a:pt x="134" y="37"/>
                  </a:lnTo>
                  <a:lnTo>
                    <a:pt x="89" y="65"/>
                  </a:lnTo>
                  <a:lnTo>
                    <a:pt x="52" y="90"/>
                  </a:lnTo>
                  <a:lnTo>
                    <a:pt x="52" y="90"/>
                  </a:lnTo>
                  <a:lnTo>
                    <a:pt x="39" y="100"/>
                  </a:lnTo>
                  <a:lnTo>
                    <a:pt x="27" y="110"/>
                  </a:lnTo>
                  <a:lnTo>
                    <a:pt x="19" y="120"/>
                  </a:lnTo>
                  <a:lnTo>
                    <a:pt x="12" y="132"/>
                  </a:lnTo>
                  <a:lnTo>
                    <a:pt x="7" y="144"/>
                  </a:lnTo>
                  <a:lnTo>
                    <a:pt x="4" y="155"/>
                  </a:lnTo>
                  <a:lnTo>
                    <a:pt x="2" y="169"/>
                  </a:lnTo>
                  <a:lnTo>
                    <a:pt x="0" y="180"/>
                  </a:lnTo>
                  <a:lnTo>
                    <a:pt x="2" y="207"/>
                  </a:lnTo>
                  <a:lnTo>
                    <a:pt x="7" y="235"/>
                  </a:lnTo>
                  <a:lnTo>
                    <a:pt x="12" y="262"/>
                  </a:lnTo>
                  <a:lnTo>
                    <a:pt x="17" y="290"/>
                  </a:lnTo>
                  <a:lnTo>
                    <a:pt x="17" y="290"/>
                  </a:lnTo>
                  <a:lnTo>
                    <a:pt x="39" y="470"/>
                  </a:lnTo>
                  <a:lnTo>
                    <a:pt x="39" y="470"/>
                  </a:lnTo>
                  <a:lnTo>
                    <a:pt x="44" y="497"/>
                  </a:lnTo>
                  <a:lnTo>
                    <a:pt x="49" y="525"/>
                  </a:lnTo>
                  <a:lnTo>
                    <a:pt x="59" y="585"/>
                  </a:lnTo>
                  <a:lnTo>
                    <a:pt x="64" y="614"/>
                  </a:lnTo>
                  <a:lnTo>
                    <a:pt x="67" y="644"/>
                  </a:lnTo>
                  <a:lnTo>
                    <a:pt x="69" y="672"/>
                  </a:lnTo>
                  <a:lnTo>
                    <a:pt x="69" y="700"/>
                  </a:lnTo>
                  <a:lnTo>
                    <a:pt x="69" y="700"/>
                  </a:lnTo>
                  <a:lnTo>
                    <a:pt x="62" y="776"/>
                  </a:lnTo>
                  <a:lnTo>
                    <a:pt x="52" y="852"/>
                  </a:lnTo>
                  <a:lnTo>
                    <a:pt x="44" y="929"/>
                  </a:lnTo>
                  <a:lnTo>
                    <a:pt x="35" y="1004"/>
                  </a:lnTo>
                  <a:lnTo>
                    <a:pt x="35" y="1004"/>
                  </a:lnTo>
                  <a:lnTo>
                    <a:pt x="32" y="1036"/>
                  </a:lnTo>
                  <a:lnTo>
                    <a:pt x="25" y="1071"/>
                  </a:lnTo>
                  <a:lnTo>
                    <a:pt x="20" y="1107"/>
                  </a:lnTo>
                  <a:lnTo>
                    <a:pt x="19" y="1126"/>
                  </a:lnTo>
                  <a:lnTo>
                    <a:pt x="19" y="1146"/>
                  </a:lnTo>
                  <a:lnTo>
                    <a:pt x="19" y="1162"/>
                  </a:lnTo>
                  <a:lnTo>
                    <a:pt x="22" y="1181"/>
                  </a:lnTo>
                  <a:lnTo>
                    <a:pt x="25" y="1196"/>
                  </a:lnTo>
                  <a:lnTo>
                    <a:pt x="32" y="1209"/>
                  </a:lnTo>
                  <a:lnTo>
                    <a:pt x="40" y="1222"/>
                  </a:lnTo>
                  <a:lnTo>
                    <a:pt x="52" y="1232"/>
                  </a:lnTo>
                  <a:lnTo>
                    <a:pt x="65" y="1241"/>
                  </a:lnTo>
                  <a:lnTo>
                    <a:pt x="84" y="1246"/>
                  </a:lnTo>
                  <a:lnTo>
                    <a:pt x="84" y="1246"/>
                  </a:lnTo>
                  <a:lnTo>
                    <a:pt x="112" y="1249"/>
                  </a:lnTo>
                  <a:lnTo>
                    <a:pt x="139" y="1252"/>
                  </a:lnTo>
                  <a:lnTo>
                    <a:pt x="195" y="1257"/>
                  </a:lnTo>
                  <a:lnTo>
                    <a:pt x="252" y="1259"/>
                  </a:lnTo>
                  <a:lnTo>
                    <a:pt x="309" y="1257"/>
                  </a:lnTo>
                  <a:lnTo>
                    <a:pt x="422" y="1252"/>
                  </a:lnTo>
                  <a:lnTo>
                    <a:pt x="479" y="1249"/>
                  </a:lnTo>
                  <a:lnTo>
                    <a:pt x="536" y="1247"/>
                  </a:lnTo>
                  <a:lnTo>
                    <a:pt x="536" y="1247"/>
                  </a:lnTo>
                  <a:lnTo>
                    <a:pt x="569" y="1247"/>
                  </a:lnTo>
                  <a:lnTo>
                    <a:pt x="587" y="1247"/>
                  </a:lnTo>
                  <a:lnTo>
                    <a:pt x="604" y="1244"/>
                  </a:lnTo>
                  <a:lnTo>
                    <a:pt x="621" y="1239"/>
                  </a:lnTo>
                  <a:lnTo>
                    <a:pt x="627" y="1236"/>
                  </a:lnTo>
                  <a:lnTo>
                    <a:pt x="634" y="1232"/>
                  </a:lnTo>
                  <a:lnTo>
                    <a:pt x="641" y="1227"/>
                  </a:lnTo>
                  <a:lnTo>
                    <a:pt x="647" y="1221"/>
                  </a:lnTo>
                  <a:lnTo>
                    <a:pt x="652" y="1212"/>
                  </a:lnTo>
                  <a:lnTo>
                    <a:pt x="657" y="1204"/>
                  </a:lnTo>
                  <a:lnTo>
                    <a:pt x="657" y="1204"/>
                  </a:lnTo>
                  <a:lnTo>
                    <a:pt x="662" y="1192"/>
                  </a:lnTo>
                  <a:lnTo>
                    <a:pt x="666" y="1179"/>
                  </a:lnTo>
                  <a:lnTo>
                    <a:pt x="667" y="1166"/>
                  </a:lnTo>
                  <a:lnTo>
                    <a:pt x="669" y="1152"/>
                  </a:lnTo>
                  <a:lnTo>
                    <a:pt x="669" y="1122"/>
                  </a:lnTo>
                  <a:lnTo>
                    <a:pt x="666" y="1092"/>
                  </a:lnTo>
                  <a:lnTo>
                    <a:pt x="661" y="1062"/>
                  </a:lnTo>
                  <a:lnTo>
                    <a:pt x="656" y="1034"/>
                  </a:lnTo>
                  <a:lnTo>
                    <a:pt x="644" y="979"/>
                  </a:lnTo>
                  <a:lnTo>
                    <a:pt x="644" y="979"/>
                  </a:lnTo>
                  <a:lnTo>
                    <a:pt x="632" y="912"/>
                  </a:lnTo>
                  <a:lnTo>
                    <a:pt x="622" y="842"/>
                  </a:lnTo>
                  <a:lnTo>
                    <a:pt x="617" y="807"/>
                  </a:lnTo>
                  <a:lnTo>
                    <a:pt x="616" y="772"/>
                  </a:lnTo>
                  <a:lnTo>
                    <a:pt x="616" y="739"/>
                  </a:lnTo>
                  <a:lnTo>
                    <a:pt x="619" y="704"/>
                  </a:lnTo>
                  <a:lnTo>
                    <a:pt x="619" y="704"/>
                  </a:lnTo>
                  <a:lnTo>
                    <a:pt x="649" y="457"/>
                  </a:lnTo>
                  <a:lnTo>
                    <a:pt x="649" y="457"/>
                  </a:lnTo>
                  <a:lnTo>
                    <a:pt x="672" y="274"/>
                  </a:lnTo>
                  <a:lnTo>
                    <a:pt x="672" y="274"/>
                  </a:lnTo>
                  <a:lnTo>
                    <a:pt x="679" y="235"/>
                  </a:lnTo>
                  <a:lnTo>
                    <a:pt x="682" y="215"/>
                  </a:lnTo>
                  <a:lnTo>
                    <a:pt x="684" y="195"/>
                  </a:lnTo>
                  <a:lnTo>
                    <a:pt x="686" y="177"/>
                  </a:lnTo>
                  <a:lnTo>
                    <a:pt x="682" y="157"/>
                  </a:lnTo>
                  <a:lnTo>
                    <a:pt x="679" y="149"/>
                  </a:lnTo>
                  <a:lnTo>
                    <a:pt x="676" y="139"/>
                  </a:lnTo>
                  <a:lnTo>
                    <a:pt x="671" y="130"/>
                  </a:lnTo>
                  <a:lnTo>
                    <a:pt x="664" y="122"/>
                  </a:lnTo>
                  <a:lnTo>
                    <a:pt x="664" y="122"/>
                  </a:lnTo>
                  <a:lnTo>
                    <a:pt x="654" y="110"/>
                  </a:lnTo>
                  <a:lnTo>
                    <a:pt x="641" y="100"/>
                  </a:lnTo>
                  <a:lnTo>
                    <a:pt x="627" y="92"/>
                  </a:lnTo>
                  <a:lnTo>
                    <a:pt x="614" y="83"/>
                  </a:lnTo>
                  <a:lnTo>
                    <a:pt x="584" y="70"/>
                  </a:lnTo>
                  <a:lnTo>
                    <a:pt x="556" y="55"/>
                  </a:lnTo>
                  <a:lnTo>
                    <a:pt x="556" y="55"/>
                  </a:lnTo>
                  <a:lnTo>
                    <a:pt x="546" y="48"/>
                  </a:lnTo>
                  <a:lnTo>
                    <a:pt x="536" y="40"/>
                  </a:lnTo>
                  <a:lnTo>
                    <a:pt x="514" y="22"/>
                  </a:lnTo>
                  <a:lnTo>
                    <a:pt x="502" y="13"/>
                  </a:lnTo>
                  <a:lnTo>
                    <a:pt x="491" y="7"/>
                  </a:lnTo>
                  <a:lnTo>
                    <a:pt x="479" y="2"/>
                  </a:lnTo>
                  <a:lnTo>
                    <a:pt x="467" y="0"/>
                  </a:lnTo>
                  <a:lnTo>
                    <a:pt x="467" y="0"/>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07" name="Freeform 48"/>
            <p:cNvSpPr>
              <a:spLocks/>
            </p:cNvSpPr>
            <p:nvPr/>
          </p:nvSpPr>
          <p:spPr bwMode="auto">
            <a:xfrm>
              <a:off x="15420976" y="2832100"/>
              <a:ext cx="657225" cy="465138"/>
            </a:xfrm>
            <a:custGeom>
              <a:avLst/>
              <a:gdLst>
                <a:gd name="T0" fmla="*/ 404 w 414"/>
                <a:gd name="T1" fmla="*/ 170 h 293"/>
                <a:gd name="T2" fmla="*/ 409 w 414"/>
                <a:gd name="T3" fmla="*/ 141 h 293"/>
                <a:gd name="T4" fmla="*/ 414 w 414"/>
                <a:gd name="T5" fmla="*/ 106 h 293"/>
                <a:gd name="T6" fmla="*/ 405 w 414"/>
                <a:gd name="T7" fmla="*/ 83 h 293"/>
                <a:gd name="T8" fmla="*/ 394 w 414"/>
                <a:gd name="T9" fmla="*/ 70 h 293"/>
                <a:gd name="T10" fmla="*/ 367 w 414"/>
                <a:gd name="T11" fmla="*/ 45 h 293"/>
                <a:gd name="T12" fmla="*/ 339 w 414"/>
                <a:gd name="T13" fmla="*/ 28 h 293"/>
                <a:gd name="T14" fmla="*/ 310 w 414"/>
                <a:gd name="T15" fmla="*/ 15 h 293"/>
                <a:gd name="T16" fmla="*/ 257 w 414"/>
                <a:gd name="T17" fmla="*/ 1 h 293"/>
                <a:gd name="T18" fmla="*/ 194 w 414"/>
                <a:gd name="T19" fmla="*/ 0 h 293"/>
                <a:gd name="T20" fmla="*/ 154 w 414"/>
                <a:gd name="T21" fmla="*/ 0 h 293"/>
                <a:gd name="T22" fmla="*/ 114 w 414"/>
                <a:gd name="T23" fmla="*/ 5 h 293"/>
                <a:gd name="T24" fmla="*/ 68 w 414"/>
                <a:gd name="T25" fmla="*/ 23 h 293"/>
                <a:gd name="T26" fmla="*/ 15 w 414"/>
                <a:gd name="T27" fmla="*/ 60 h 293"/>
                <a:gd name="T28" fmla="*/ 10 w 414"/>
                <a:gd name="T29" fmla="*/ 65 h 293"/>
                <a:gd name="T30" fmla="*/ 3 w 414"/>
                <a:gd name="T31" fmla="*/ 76 h 293"/>
                <a:gd name="T32" fmla="*/ 0 w 414"/>
                <a:gd name="T33" fmla="*/ 96 h 293"/>
                <a:gd name="T34" fmla="*/ 8 w 414"/>
                <a:gd name="T35" fmla="*/ 141 h 293"/>
                <a:gd name="T36" fmla="*/ 12 w 414"/>
                <a:gd name="T37" fmla="*/ 170 h 293"/>
                <a:gd name="T38" fmla="*/ 13 w 414"/>
                <a:gd name="T39" fmla="*/ 181 h 293"/>
                <a:gd name="T40" fmla="*/ 20 w 414"/>
                <a:gd name="T41" fmla="*/ 206 h 293"/>
                <a:gd name="T42" fmla="*/ 35 w 414"/>
                <a:gd name="T43" fmla="*/ 228 h 293"/>
                <a:gd name="T44" fmla="*/ 57 w 414"/>
                <a:gd name="T45" fmla="*/ 248 h 293"/>
                <a:gd name="T46" fmla="*/ 83 w 414"/>
                <a:gd name="T47" fmla="*/ 265 h 293"/>
                <a:gd name="T48" fmla="*/ 115 w 414"/>
                <a:gd name="T49" fmla="*/ 278 h 293"/>
                <a:gd name="T50" fmla="*/ 150 w 414"/>
                <a:gd name="T51" fmla="*/ 287 h 293"/>
                <a:gd name="T52" fmla="*/ 189 w 414"/>
                <a:gd name="T53" fmla="*/ 292 h 293"/>
                <a:gd name="T54" fmla="*/ 209 w 414"/>
                <a:gd name="T55" fmla="*/ 293 h 293"/>
                <a:gd name="T56" fmla="*/ 247 w 414"/>
                <a:gd name="T57" fmla="*/ 290 h 293"/>
                <a:gd name="T58" fmla="*/ 285 w 414"/>
                <a:gd name="T59" fmla="*/ 283 h 293"/>
                <a:gd name="T60" fmla="*/ 319 w 414"/>
                <a:gd name="T61" fmla="*/ 271 h 293"/>
                <a:gd name="T62" fmla="*/ 347 w 414"/>
                <a:gd name="T63" fmla="*/ 256 h 293"/>
                <a:gd name="T64" fmla="*/ 370 w 414"/>
                <a:gd name="T65" fmla="*/ 238 h 293"/>
                <a:gd name="T66" fmla="*/ 389 w 414"/>
                <a:gd name="T67" fmla="*/ 218 h 293"/>
                <a:gd name="T68" fmla="*/ 400 w 414"/>
                <a:gd name="T69" fmla="*/ 195 h 293"/>
                <a:gd name="T70" fmla="*/ 404 w 414"/>
                <a:gd name="T71" fmla="*/ 17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4" h="293">
                  <a:moveTo>
                    <a:pt x="404" y="170"/>
                  </a:moveTo>
                  <a:lnTo>
                    <a:pt x="404" y="170"/>
                  </a:lnTo>
                  <a:lnTo>
                    <a:pt x="405" y="155"/>
                  </a:lnTo>
                  <a:lnTo>
                    <a:pt x="409" y="141"/>
                  </a:lnTo>
                  <a:lnTo>
                    <a:pt x="414" y="118"/>
                  </a:lnTo>
                  <a:lnTo>
                    <a:pt x="414" y="106"/>
                  </a:lnTo>
                  <a:lnTo>
                    <a:pt x="412" y="95"/>
                  </a:lnTo>
                  <a:lnTo>
                    <a:pt x="405" y="83"/>
                  </a:lnTo>
                  <a:lnTo>
                    <a:pt x="394" y="70"/>
                  </a:lnTo>
                  <a:lnTo>
                    <a:pt x="394" y="70"/>
                  </a:lnTo>
                  <a:lnTo>
                    <a:pt x="380" y="56"/>
                  </a:lnTo>
                  <a:lnTo>
                    <a:pt x="367" y="45"/>
                  </a:lnTo>
                  <a:lnTo>
                    <a:pt x="352" y="36"/>
                  </a:lnTo>
                  <a:lnTo>
                    <a:pt x="339" y="28"/>
                  </a:lnTo>
                  <a:lnTo>
                    <a:pt x="324" y="21"/>
                  </a:lnTo>
                  <a:lnTo>
                    <a:pt x="310" y="15"/>
                  </a:lnTo>
                  <a:lnTo>
                    <a:pt x="282" y="6"/>
                  </a:lnTo>
                  <a:lnTo>
                    <a:pt x="257" y="1"/>
                  </a:lnTo>
                  <a:lnTo>
                    <a:pt x="234" y="0"/>
                  </a:lnTo>
                  <a:lnTo>
                    <a:pt x="194" y="0"/>
                  </a:lnTo>
                  <a:lnTo>
                    <a:pt x="194" y="0"/>
                  </a:lnTo>
                  <a:lnTo>
                    <a:pt x="154" y="0"/>
                  </a:lnTo>
                  <a:lnTo>
                    <a:pt x="134" y="1"/>
                  </a:lnTo>
                  <a:lnTo>
                    <a:pt x="114" y="5"/>
                  </a:lnTo>
                  <a:lnTo>
                    <a:pt x="92" y="11"/>
                  </a:lnTo>
                  <a:lnTo>
                    <a:pt x="68" y="23"/>
                  </a:lnTo>
                  <a:lnTo>
                    <a:pt x="43" y="38"/>
                  </a:lnTo>
                  <a:lnTo>
                    <a:pt x="15" y="60"/>
                  </a:lnTo>
                  <a:lnTo>
                    <a:pt x="15" y="60"/>
                  </a:lnTo>
                  <a:lnTo>
                    <a:pt x="10" y="65"/>
                  </a:lnTo>
                  <a:lnTo>
                    <a:pt x="7" y="70"/>
                  </a:lnTo>
                  <a:lnTo>
                    <a:pt x="3" y="76"/>
                  </a:lnTo>
                  <a:lnTo>
                    <a:pt x="2" y="83"/>
                  </a:lnTo>
                  <a:lnTo>
                    <a:pt x="0" y="96"/>
                  </a:lnTo>
                  <a:lnTo>
                    <a:pt x="2" y="111"/>
                  </a:lnTo>
                  <a:lnTo>
                    <a:pt x="8" y="141"/>
                  </a:lnTo>
                  <a:lnTo>
                    <a:pt x="10" y="156"/>
                  </a:lnTo>
                  <a:lnTo>
                    <a:pt x="12" y="170"/>
                  </a:lnTo>
                  <a:lnTo>
                    <a:pt x="12" y="170"/>
                  </a:lnTo>
                  <a:lnTo>
                    <a:pt x="13" y="181"/>
                  </a:lnTo>
                  <a:lnTo>
                    <a:pt x="15" y="195"/>
                  </a:lnTo>
                  <a:lnTo>
                    <a:pt x="20" y="206"/>
                  </a:lnTo>
                  <a:lnTo>
                    <a:pt x="27" y="218"/>
                  </a:lnTo>
                  <a:lnTo>
                    <a:pt x="35" y="228"/>
                  </a:lnTo>
                  <a:lnTo>
                    <a:pt x="45" y="238"/>
                  </a:lnTo>
                  <a:lnTo>
                    <a:pt x="57" y="248"/>
                  </a:lnTo>
                  <a:lnTo>
                    <a:pt x="70" y="256"/>
                  </a:lnTo>
                  <a:lnTo>
                    <a:pt x="83" y="265"/>
                  </a:lnTo>
                  <a:lnTo>
                    <a:pt x="98" y="271"/>
                  </a:lnTo>
                  <a:lnTo>
                    <a:pt x="115" y="278"/>
                  </a:lnTo>
                  <a:lnTo>
                    <a:pt x="132" y="283"/>
                  </a:lnTo>
                  <a:lnTo>
                    <a:pt x="150" y="287"/>
                  </a:lnTo>
                  <a:lnTo>
                    <a:pt x="169" y="290"/>
                  </a:lnTo>
                  <a:lnTo>
                    <a:pt x="189" y="292"/>
                  </a:lnTo>
                  <a:lnTo>
                    <a:pt x="209" y="293"/>
                  </a:lnTo>
                  <a:lnTo>
                    <a:pt x="209" y="293"/>
                  </a:lnTo>
                  <a:lnTo>
                    <a:pt x="229" y="292"/>
                  </a:lnTo>
                  <a:lnTo>
                    <a:pt x="247" y="290"/>
                  </a:lnTo>
                  <a:lnTo>
                    <a:pt x="267" y="287"/>
                  </a:lnTo>
                  <a:lnTo>
                    <a:pt x="285" y="283"/>
                  </a:lnTo>
                  <a:lnTo>
                    <a:pt x="302" y="278"/>
                  </a:lnTo>
                  <a:lnTo>
                    <a:pt x="319" y="271"/>
                  </a:lnTo>
                  <a:lnTo>
                    <a:pt x="334" y="265"/>
                  </a:lnTo>
                  <a:lnTo>
                    <a:pt x="347" y="256"/>
                  </a:lnTo>
                  <a:lnTo>
                    <a:pt x="360" y="248"/>
                  </a:lnTo>
                  <a:lnTo>
                    <a:pt x="370" y="238"/>
                  </a:lnTo>
                  <a:lnTo>
                    <a:pt x="380" y="228"/>
                  </a:lnTo>
                  <a:lnTo>
                    <a:pt x="389" y="218"/>
                  </a:lnTo>
                  <a:lnTo>
                    <a:pt x="395" y="206"/>
                  </a:lnTo>
                  <a:lnTo>
                    <a:pt x="400" y="195"/>
                  </a:lnTo>
                  <a:lnTo>
                    <a:pt x="404" y="181"/>
                  </a:lnTo>
                  <a:lnTo>
                    <a:pt x="404" y="170"/>
                  </a:lnTo>
                  <a:lnTo>
                    <a:pt x="404" y="170"/>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sp>
          <p:nvSpPr>
            <p:cNvPr id="908" name="Freeform 49"/>
            <p:cNvSpPr>
              <a:spLocks/>
            </p:cNvSpPr>
            <p:nvPr/>
          </p:nvSpPr>
          <p:spPr bwMode="auto">
            <a:xfrm>
              <a:off x="15508288" y="2908300"/>
              <a:ext cx="458788" cy="161925"/>
            </a:xfrm>
            <a:custGeom>
              <a:avLst/>
              <a:gdLst>
                <a:gd name="T0" fmla="*/ 289 w 289"/>
                <a:gd name="T1" fmla="*/ 50 h 102"/>
                <a:gd name="T2" fmla="*/ 289 w 289"/>
                <a:gd name="T3" fmla="*/ 50 h 102"/>
                <a:gd name="T4" fmla="*/ 289 w 289"/>
                <a:gd name="T5" fmla="*/ 45 h 102"/>
                <a:gd name="T6" fmla="*/ 287 w 289"/>
                <a:gd name="T7" fmla="*/ 40 h 102"/>
                <a:gd name="T8" fmla="*/ 282 w 289"/>
                <a:gd name="T9" fmla="*/ 35 h 102"/>
                <a:gd name="T10" fmla="*/ 279 w 289"/>
                <a:gd name="T11" fmla="*/ 30 h 102"/>
                <a:gd name="T12" fmla="*/ 265 w 289"/>
                <a:gd name="T13" fmla="*/ 22 h 102"/>
                <a:gd name="T14" fmla="*/ 247 w 289"/>
                <a:gd name="T15" fmla="*/ 15 h 102"/>
                <a:gd name="T16" fmla="*/ 225 w 289"/>
                <a:gd name="T17" fmla="*/ 8 h 102"/>
                <a:gd name="T18" fmla="*/ 200 w 289"/>
                <a:gd name="T19" fmla="*/ 3 h 102"/>
                <a:gd name="T20" fmla="*/ 174 w 289"/>
                <a:gd name="T21" fmla="*/ 0 h 102"/>
                <a:gd name="T22" fmla="*/ 145 w 289"/>
                <a:gd name="T23" fmla="*/ 0 h 102"/>
                <a:gd name="T24" fmla="*/ 145 w 289"/>
                <a:gd name="T25" fmla="*/ 0 h 102"/>
                <a:gd name="T26" fmla="*/ 115 w 289"/>
                <a:gd name="T27" fmla="*/ 0 h 102"/>
                <a:gd name="T28" fmla="*/ 89 w 289"/>
                <a:gd name="T29" fmla="*/ 3 h 102"/>
                <a:gd name="T30" fmla="*/ 64 w 289"/>
                <a:gd name="T31" fmla="*/ 8 h 102"/>
                <a:gd name="T32" fmla="*/ 43 w 289"/>
                <a:gd name="T33" fmla="*/ 15 h 102"/>
                <a:gd name="T34" fmla="*/ 25 w 289"/>
                <a:gd name="T35" fmla="*/ 22 h 102"/>
                <a:gd name="T36" fmla="*/ 12 w 289"/>
                <a:gd name="T37" fmla="*/ 30 h 102"/>
                <a:gd name="T38" fmla="*/ 7 w 289"/>
                <a:gd name="T39" fmla="*/ 35 h 102"/>
                <a:gd name="T40" fmla="*/ 3 w 289"/>
                <a:gd name="T41" fmla="*/ 40 h 102"/>
                <a:gd name="T42" fmla="*/ 2 w 289"/>
                <a:gd name="T43" fmla="*/ 45 h 102"/>
                <a:gd name="T44" fmla="*/ 0 w 289"/>
                <a:gd name="T45" fmla="*/ 50 h 102"/>
                <a:gd name="T46" fmla="*/ 0 w 289"/>
                <a:gd name="T47" fmla="*/ 50 h 102"/>
                <a:gd name="T48" fmla="*/ 2 w 289"/>
                <a:gd name="T49" fmla="*/ 55 h 102"/>
                <a:gd name="T50" fmla="*/ 3 w 289"/>
                <a:gd name="T51" fmla="*/ 60 h 102"/>
                <a:gd name="T52" fmla="*/ 7 w 289"/>
                <a:gd name="T53" fmla="*/ 65 h 102"/>
                <a:gd name="T54" fmla="*/ 12 w 289"/>
                <a:gd name="T55" fmla="*/ 70 h 102"/>
                <a:gd name="T56" fmla="*/ 25 w 289"/>
                <a:gd name="T57" fmla="*/ 78 h 102"/>
                <a:gd name="T58" fmla="*/ 43 w 289"/>
                <a:gd name="T59" fmla="*/ 87 h 102"/>
                <a:gd name="T60" fmla="*/ 64 w 289"/>
                <a:gd name="T61" fmla="*/ 92 h 102"/>
                <a:gd name="T62" fmla="*/ 89 w 289"/>
                <a:gd name="T63" fmla="*/ 97 h 102"/>
                <a:gd name="T64" fmla="*/ 115 w 289"/>
                <a:gd name="T65" fmla="*/ 100 h 102"/>
                <a:gd name="T66" fmla="*/ 145 w 289"/>
                <a:gd name="T67" fmla="*/ 102 h 102"/>
                <a:gd name="T68" fmla="*/ 145 w 289"/>
                <a:gd name="T69" fmla="*/ 102 h 102"/>
                <a:gd name="T70" fmla="*/ 174 w 289"/>
                <a:gd name="T71" fmla="*/ 100 h 102"/>
                <a:gd name="T72" fmla="*/ 200 w 289"/>
                <a:gd name="T73" fmla="*/ 97 h 102"/>
                <a:gd name="T74" fmla="*/ 225 w 289"/>
                <a:gd name="T75" fmla="*/ 92 h 102"/>
                <a:gd name="T76" fmla="*/ 247 w 289"/>
                <a:gd name="T77" fmla="*/ 87 h 102"/>
                <a:gd name="T78" fmla="*/ 265 w 289"/>
                <a:gd name="T79" fmla="*/ 78 h 102"/>
                <a:gd name="T80" fmla="*/ 279 w 289"/>
                <a:gd name="T81" fmla="*/ 70 h 102"/>
                <a:gd name="T82" fmla="*/ 282 w 289"/>
                <a:gd name="T83" fmla="*/ 65 h 102"/>
                <a:gd name="T84" fmla="*/ 287 w 289"/>
                <a:gd name="T85" fmla="*/ 60 h 102"/>
                <a:gd name="T86" fmla="*/ 289 w 289"/>
                <a:gd name="T87" fmla="*/ 55 h 102"/>
                <a:gd name="T88" fmla="*/ 289 w 289"/>
                <a:gd name="T89" fmla="*/ 50 h 102"/>
                <a:gd name="T90" fmla="*/ 289 w 289"/>
                <a:gd name="T91" fmla="*/ 5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9" h="102">
                  <a:moveTo>
                    <a:pt x="289" y="50"/>
                  </a:moveTo>
                  <a:lnTo>
                    <a:pt x="289" y="50"/>
                  </a:lnTo>
                  <a:lnTo>
                    <a:pt x="289" y="45"/>
                  </a:lnTo>
                  <a:lnTo>
                    <a:pt x="287" y="40"/>
                  </a:lnTo>
                  <a:lnTo>
                    <a:pt x="282" y="35"/>
                  </a:lnTo>
                  <a:lnTo>
                    <a:pt x="279" y="30"/>
                  </a:lnTo>
                  <a:lnTo>
                    <a:pt x="265" y="22"/>
                  </a:lnTo>
                  <a:lnTo>
                    <a:pt x="247" y="15"/>
                  </a:lnTo>
                  <a:lnTo>
                    <a:pt x="225" y="8"/>
                  </a:lnTo>
                  <a:lnTo>
                    <a:pt x="200" y="3"/>
                  </a:lnTo>
                  <a:lnTo>
                    <a:pt x="174" y="0"/>
                  </a:lnTo>
                  <a:lnTo>
                    <a:pt x="145" y="0"/>
                  </a:lnTo>
                  <a:lnTo>
                    <a:pt x="145" y="0"/>
                  </a:lnTo>
                  <a:lnTo>
                    <a:pt x="115" y="0"/>
                  </a:lnTo>
                  <a:lnTo>
                    <a:pt x="89" y="3"/>
                  </a:lnTo>
                  <a:lnTo>
                    <a:pt x="64" y="8"/>
                  </a:lnTo>
                  <a:lnTo>
                    <a:pt x="43" y="15"/>
                  </a:lnTo>
                  <a:lnTo>
                    <a:pt x="25" y="22"/>
                  </a:lnTo>
                  <a:lnTo>
                    <a:pt x="12" y="30"/>
                  </a:lnTo>
                  <a:lnTo>
                    <a:pt x="7" y="35"/>
                  </a:lnTo>
                  <a:lnTo>
                    <a:pt x="3" y="40"/>
                  </a:lnTo>
                  <a:lnTo>
                    <a:pt x="2" y="45"/>
                  </a:lnTo>
                  <a:lnTo>
                    <a:pt x="0" y="50"/>
                  </a:lnTo>
                  <a:lnTo>
                    <a:pt x="0" y="50"/>
                  </a:lnTo>
                  <a:lnTo>
                    <a:pt x="2" y="55"/>
                  </a:lnTo>
                  <a:lnTo>
                    <a:pt x="3" y="60"/>
                  </a:lnTo>
                  <a:lnTo>
                    <a:pt x="7" y="65"/>
                  </a:lnTo>
                  <a:lnTo>
                    <a:pt x="12" y="70"/>
                  </a:lnTo>
                  <a:lnTo>
                    <a:pt x="25" y="78"/>
                  </a:lnTo>
                  <a:lnTo>
                    <a:pt x="43" y="87"/>
                  </a:lnTo>
                  <a:lnTo>
                    <a:pt x="64" y="92"/>
                  </a:lnTo>
                  <a:lnTo>
                    <a:pt x="89" y="97"/>
                  </a:lnTo>
                  <a:lnTo>
                    <a:pt x="115" y="100"/>
                  </a:lnTo>
                  <a:lnTo>
                    <a:pt x="145" y="102"/>
                  </a:lnTo>
                  <a:lnTo>
                    <a:pt x="145" y="102"/>
                  </a:lnTo>
                  <a:lnTo>
                    <a:pt x="174" y="100"/>
                  </a:lnTo>
                  <a:lnTo>
                    <a:pt x="200" y="97"/>
                  </a:lnTo>
                  <a:lnTo>
                    <a:pt x="225" y="92"/>
                  </a:lnTo>
                  <a:lnTo>
                    <a:pt x="247" y="87"/>
                  </a:lnTo>
                  <a:lnTo>
                    <a:pt x="265" y="78"/>
                  </a:lnTo>
                  <a:lnTo>
                    <a:pt x="279" y="70"/>
                  </a:lnTo>
                  <a:lnTo>
                    <a:pt x="282" y="65"/>
                  </a:lnTo>
                  <a:lnTo>
                    <a:pt x="287" y="60"/>
                  </a:lnTo>
                  <a:lnTo>
                    <a:pt x="289" y="55"/>
                  </a:lnTo>
                  <a:lnTo>
                    <a:pt x="289" y="50"/>
                  </a:lnTo>
                  <a:lnTo>
                    <a:pt x="289" y="50"/>
                  </a:lnTo>
                  <a:close/>
                </a:path>
              </a:pathLst>
            </a:custGeom>
            <a:solidFill>
              <a:schemeClr val="tx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w="3175">
                  <a:noFill/>
                </a:ln>
                <a:solidFill>
                  <a:srgbClr val="00BCF2"/>
                </a:solidFill>
                <a:effectLst/>
                <a:uLnTx/>
                <a:uFillTx/>
                <a:cs typeface="Arial" charset="0"/>
              </a:endParaRPr>
            </a:p>
          </p:txBody>
        </p:sp>
      </p:grpSp>
      <p:sp>
        <p:nvSpPr>
          <p:cNvPr id="732" name="Rectangle 731"/>
          <p:cNvSpPr/>
          <p:nvPr/>
        </p:nvSpPr>
        <p:spPr>
          <a:xfrm>
            <a:off x="7701679" y="1900147"/>
            <a:ext cx="538929"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8C00"/>
                </a:solidFill>
                <a:effectLst/>
                <a:uLnTx/>
                <a:uFillTx/>
                <a:cs typeface="Arial" charset="0"/>
              </a:rPr>
              <a:t>Purchas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8C00"/>
                </a:solidFill>
                <a:effectLst/>
                <a:uLnTx/>
                <a:uFillTx/>
                <a:cs typeface="Arial" charset="0"/>
              </a:rPr>
              <a:t>History </a:t>
            </a:r>
            <a:endParaRPr kumimoji="0" lang="en-US" sz="700" b="0" i="0" u="none" strike="noStrike" kern="0" cap="none" spc="0" normalizeH="0" baseline="0" noProof="0" dirty="0">
              <a:ln>
                <a:noFill/>
              </a:ln>
              <a:solidFill>
                <a:srgbClr val="FF8C00"/>
              </a:solidFill>
              <a:effectLst/>
              <a:uLnTx/>
              <a:uFillTx/>
            </a:endParaRPr>
          </a:p>
        </p:txBody>
      </p:sp>
      <p:pic>
        <p:nvPicPr>
          <p:cNvPr id="734" name="Picture 7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65806" y="2210877"/>
            <a:ext cx="182417" cy="291635"/>
          </a:xfrm>
          <a:prstGeom prst="rect">
            <a:avLst/>
          </a:prstGeom>
        </p:spPr>
      </p:pic>
      <p:grpSp>
        <p:nvGrpSpPr>
          <p:cNvPr id="1060" name="Group 1059"/>
          <p:cNvGrpSpPr/>
          <p:nvPr/>
        </p:nvGrpSpPr>
        <p:grpSpPr>
          <a:xfrm>
            <a:off x="1427051" y="4660988"/>
            <a:ext cx="93347" cy="101737"/>
            <a:chOff x="4932811" y="5795734"/>
            <a:chExt cx="407610" cy="403859"/>
          </a:xfrm>
          <a:solidFill>
            <a:schemeClr val="bg1"/>
          </a:solidFill>
        </p:grpSpPr>
        <p:sp>
          <p:nvSpPr>
            <p:cNvPr id="1071" name="Freeform 97"/>
            <p:cNvSpPr>
              <a:spLocks noEditPoints="1"/>
            </p:cNvSpPr>
            <p:nvPr/>
          </p:nvSpPr>
          <p:spPr bwMode="auto">
            <a:xfrm>
              <a:off x="4932811" y="5795734"/>
              <a:ext cx="407610" cy="403859"/>
            </a:xfrm>
            <a:custGeom>
              <a:avLst/>
              <a:gdLst>
                <a:gd name="T0" fmla="*/ 0 w 582"/>
                <a:gd name="T1" fmla="*/ 424 h 424"/>
                <a:gd name="T2" fmla="*/ 582 w 582"/>
                <a:gd name="T3" fmla="*/ 424 h 424"/>
                <a:gd name="T4" fmla="*/ 582 w 582"/>
                <a:gd name="T5" fmla="*/ 0 h 424"/>
                <a:gd name="T6" fmla="*/ 0 w 582"/>
                <a:gd name="T7" fmla="*/ 0 h 424"/>
                <a:gd name="T8" fmla="*/ 0 w 582"/>
                <a:gd name="T9" fmla="*/ 424 h 424"/>
                <a:gd name="T10" fmla="*/ 523 w 582"/>
                <a:gd name="T11" fmla="*/ 362 h 424"/>
                <a:gd name="T12" fmla="*/ 59 w 582"/>
                <a:gd name="T13" fmla="*/ 362 h 424"/>
                <a:gd name="T14" fmla="*/ 59 w 582"/>
                <a:gd name="T15" fmla="*/ 62 h 424"/>
                <a:gd name="T16" fmla="*/ 523 w 582"/>
                <a:gd name="T17" fmla="*/ 62 h 424"/>
                <a:gd name="T18" fmla="*/ 523 w 582"/>
                <a:gd name="T19" fmla="*/ 362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24">
                  <a:moveTo>
                    <a:pt x="0" y="424"/>
                  </a:moveTo>
                  <a:lnTo>
                    <a:pt x="582" y="424"/>
                  </a:lnTo>
                  <a:lnTo>
                    <a:pt x="582" y="0"/>
                  </a:lnTo>
                  <a:lnTo>
                    <a:pt x="0" y="0"/>
                  </a:lnTo>
                  <a:lnTo>
                    <a:pt x="0" y="424"/>
                  </a:lnTo>
                  <a:close/>
                  <a:moveTo>
                    <a:pt x="523" y="362"/>
                  </a:moveTo>
                  <a:lnTo>
                    <a:pt x="59" y="362"/>
                  </a:lnTo>
                  <a:lnTo>
                    <a:pt x="59" y="62"/>
                  </a:lnTo>
                  <a:lnTo>
                    <a:pt x="523" y="62"/>
                  </a:lnTo>
                  <a:lnTo>
                    <a:pt x="523"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72" name="Freeform 98"/>
            <p:cNvSpPr>
              <a:spLocks/>
            </p:cNvSpPr>
            <p:nvPr/>
          </p:nvSpPr>
          <p:spPr bwMode="auto">
            <a:xfrm>
              <a:off x="5037585" y="6003379"/>
              <a:ext cx="200026" cy="173354"/>
            </a:xfrm>
            <a:custGeom>
              <a:avLst/>
              <a:gdLst>
                <a:gd name="T0" fmla="*/ 0 w 211"/>
                <a:gd name="T1" fmla="*/ 182 h 182"/>
                <a:gd name="T2" fmla="*/ 0 w 211"/>
                <a:gd name="T3" fmla="*/ 182 h 182"/>
                <a:gd name="T4" fmla="*/ 1 w 211"/>
                <a:gd name="T5" fmla="*/ 145 h 182"/>
                <a:gd name="T6" fmla="*/ 2 w 211"/>
                <a:gd name="T7" fmla="*/ 128 h 182"/>
                <a:gd name="T8" fmla="*/ 4 w 211"/>
                <a:gd name="T9" fmla="*/ 111 h 182"/>
                <a:gd name="T10" fmla="*/ 6 w 211"/>
                <a:gd name="T11" fmla="*/ 95 h 182"/>
                <a:gd name="T12" fmla="*/ 10 w 211"/>
                <a:gd name="T13" fmla="*/ 80 h 182"/>
                <a:gd name="T14" fmla="*/ 14 w 211"/>
                <a:gd name="T15" fmla="*/ 66 h 182"/>
                <a:gd name="T16" fmla="*/ 19 w 211"/>
                <a:gd name="T17" fmla="*/ 53 h 182"/>
                <a:gd name="T18" fmla="*/ 25 w 211"/>
                <a:gd name="T19" fmla="*/ 41 h 182"/>
                <a:gd name="T20" fmla="*/ 33 w 211"/>
                <a:gd name="T21" fmla="*/ 31 h 182"/>
                <a:gd name="T22" fmla="*/ 41 w 211"/>
                <a:gd name="T23" fmla="*/ 22 h 182"/>
                <a:gd name="T24" fmla="*/ 51 w 211"/>
                <a:gd name="T25" fmla="*/ 14 h 182"/>
                <a:gd name="T26" fmla="*/ 63 w 211"/>
                <a:gd name="T27" fmla="*/ 8 h 182"/>
                <a:gd name="T28" fmla="*/ 76 w 211"/>
                <a:gd name="T29" fmla="*/ 3 h 182"/>
                <a:gd name="T30" fmla="*/ 91 w 211"/>
                <a:gd name="T31" fmla="*/ 1 h 182"/>
                <a:gd name="T32" fmla="*/ 107 w 211"/>
                <a:gd name="T33" fmla="*/ 0 h 182"/>
                <a:gd name="T34" fmla="*/ 107 w 211"/>
                <a:gd name="T35" fmla="*/ 0 h 182"/>
                <a:gd name="T36" fmla="*/ 123 w 211"/>
                <a:gd name="T37" fmla="*/ 1 h 182"/>
                <a:gd name="T38" fmla="*/ 137 w 211"/>
                <a:gd name="T39" fmla="*/ 3 h 182"/>
                <a:gd name="T40" fmla="*/ 150 w 211"/>
                <a:gd name="T41" fmla="*/ 8 h 182"/>
                <a:gd name="T42" fmla="*/ 161 w 211"/>
                <a:gd name="T43" fmla="*/ 14 h 182"/>
                <a:gd name="T44" fmla="*/ 171 w 211"/>
                <a:gd name="T45" fmla="*/ 22 h 182"/>
                <a:gd name="T46" fmla="*/ 179 w 211"/>
                <a:gd name="T47" fmla="*/ 31 h 182"/>
                <a:gd name="T48" fmla="*/ 186 w 211"/>
                <a:gd name="T49" fmla="*/ 41 h 182"/>
                <a:gd name="T50" fmla="*/ 193 w 211"/>
                <a:gd name="T51" fmla="*/ 53 h 182"/>
                <a:gd name="T52" fmla="*/ 198 w 211"/>
                <a:gd name="T53" fmla="*/ 66 h 182"/>
                <a:gd name="T54" fmla="*/ 202 w 211"/>
                <a:gd name="T55" fmla="*/ 80 h 182"/>
                <a:gd name="T56" fmla="*/ 205 w 211"/>
                <a:gd name="T57" fmla="*/ 95 h 182"/>
                <a:gd name="T58" fmla="*/ 208 w 211"/>
                <a:gd name="T59" fmla="*/ 111 h 182"/>
                <a:gd name="T60" fmla="*/ 209 w 211"/>
                <a:gd name="T61" fmla="*/ 128 h 182"/>
                <a:gd name="T62" fmla="*/ 211 w 211"/>
                <a:gd name="T63" fmla="*/ 145 h 182"/>
                <a:gd name="T64" fmla="*/ 211 w 211"/>
                <a:gd name="T65" fmla="*/ 182 h 182"/>
                <a:gd name="T66" fmla="*/ 0 w 211"/>
                <a:gd name="T6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1" h="182">
                  <a:moveTo>
                    <a:pt x="0" y="182"/>
                  </a:moveTo>
                  <a:lnTo>
                    <a:pt x="0" y="182"/>
                  </a:lnTo>
                  <a:lnTo>
                    <a:pt x="1" y="145"/>
                  </a:lnTo>
                  <a:lnTo>
                    <a:pt x="2" y="128"/>
                  </a:lnTo>
                  <a:lnTo>
                    <a:pt x="4" y="111"/>
                  </a:lnTo>
                  <a:lnTo>
                    <a:pt x="6" y="95"/>
                  </a:lnTo>
                  <a:lnTo>
                    <a:pt x="10" y="80"/>
                  </a:lnTo>
                  <a:lnTo>
                    <a:pt x="14" y="66"/>
                  </a:lnTo>
                  <a:lnTo>
                    <a:pt x="19" y="53"/>
                  </a:lnTo>
                  <a:lnTo>
                    <a:pt x="25" y="41"/>
                  </a:lnTo>
                  <a:lnTo>
                    <a:pt x="33" y="31"/>
                  </a:lnTo>
                  <a:lnTo>
                    <a:pt x="41" y="22"/>
                  </a:lnTo>
                  <a:lnTo>
                    <a:pt x="51" y="14"/>
                  </a:lnTo>
                  <a:lnTo>
                    <a:pt x="63" y="8"/>
                  </a:lnTo>
                  <a:lnTo>
                    <a:pt x="76" y="3"/>
                  </a:lnTo>
                  <a:lnTo>
                    <a:pt x="91" y="1"/>
                  </a:lnTo>
                  <a:lnTo>
                    <a:pt x="107" y="0"/>
                  </a:lnTo>
                  <a:lnTo>
                    <a:pt x="107" y="0"/>
                  </a:lnTo>
                  <a:lnTo>
                    <a:pt x="123" y="1"/>
                  </a:lnTo>
                  <a:lnTo>
                    <a:pt x="137" y="3"/>
                  </a:lnTo>
                  <a:lnTo>
                    <a:pt x="150" y="8"/>
                  </a:lnTo>
                  <a:lnTo>
                    <a:pt x="161" y="14"/>
                  </a:lnTo>
                  <a:lnTo>
                    <a:pt x="171" y="22"/>
                  </a:lnTo>
                  <a:lnTo>
                    <a:pt x="179" y="31"/>
                  </a:lnTo>
                  <a:lnTo>
                    <a:pt x="186" y="41"/>
                  </a:lnTo>
                  <a:lnTo>
                    <a:pt x="193" y="53"/>
                  </a:lnTo>
                  <a:lnTo>
                    <a:pt x="198" y="66"/>
                  </a:lnTo>
                  <a:lnTo>
                    <a:pt x="202" y="80"/>
                  </a:lnTo>
                  <a:lnTo>
                    <a:pt x="205" y="95"/>
                  </a:lnTo>
                  <a:lnTo>
                    <a:pt x="208" y="111"/>
                  </a:lnTo>
                  <a:lnTo>
                    <a:pt x="209" y="128"/>
                  </a:lnTo>
                  <a:lnTo>
                    <a:pt x="211" y="145"/>
                  </a:lnTo>
                  <a:lnTo>
                    <a:pt x="211" y="182"/>
                  </a:lnTo>
                  <a:lnTo>
                    <a:pt x="0"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73" name="Freeform 102"/>
            <p:cNvSpPr>
              <a:spLocks/>
            </p:cNvSpPr>
            <p:nvPr/>
          </p:nvSpPr>
          <p:spPr bwMode="auto">
            <a:xfrm>
              <a:off x="5077591" y="5870030"/>
              <a:ext cx="120016" cy="121920"/>
            </a:xfrm>
            <a:custGeom>
              <a:avLst/>
              <a:gdLst>
                <a:gd name="T0" fmla="*/ 0 w 127"/>
                <a:gd name="T1" fmla="*/ 65 h 130"/>
                <a:gd name="T2" fmla="*/ 0 w 127"/>
                <a:gd name="T3" fmla="*/ 65 h 130"/>
                <a:gd name="T4" fmla="*/ 0 w 127"/>
                <a:gd name="T5" fmla="*/ 58 h 130"/>
                <a:gd name="T6" fmla="*/ 1 w 127"/>
                <a:gd name="T7" fmla="*/ 52 h 130"/>
                <a:gd name="T8" fmla="*/ 3 w 127"/>
                <a:gd name="T9" fmla="*/ 46 h 130"/>
                <a:gd name="T10" fmla="*/ 5 w 127"/>
                <a:gd name="T11" fmla="*/ 40 h 130"/>
                <a:gd name="T12" fmla="*/ 11 w 127"/>
                <a:gd name="T13" fmla="*/ 29 h 130"/>
                <a:gd name="T14" fmla="*/ 19 w 127"/>
                <a:gd name="T15" fmla="*/ 19 h 130"/>
                <a:gd name="T16" fmla="*/ 28 w 127"/>
                <a:gd name="T17" fmla="*/ 11 h 130"/>
                <a:gd name="T18" fmla="*/ 33 w 127"/>
                <a:gd name="T19" fmla="*/ 8 h 130"/>
                <a:gd name="T20" fmla="*/ 39 w 127"/>
                <a:gd name="T21" fmla="*/ 5 h 130"/>
                <a:gd name="T22" fmla="*/ 44 w 127"/>
                <a:gd name="T23" fmla="*/ 3 h 130"/>
                <a:gd name="T24" fmla="*/ 51 w 127"/>
                <a:gd name="T25" fmla="*/ 1 h 130"/>
                <a:gd name="T26" fmla="*/ 58 w 127"/>
                <a:gd name="T27" fmla="*/ 0 h 130"/>
                <a:gd name="T28" fmla="*/ 64 w 127"/>
                <a:gd name="T29" fmla="*/ 0 h 130"/>
                <a:gd name="T30" fmla="*/ 64 w 127"/>
                <a:gd name="T31" fmla="*/ 0 h 130"/>
                <a:gd name="T32" fmla="*/ 70 w 127"/>
                <a:gd name="T33" fmla="*/ 0 h 130"/>
                <a:gd name="T34" fmla="*/ 77 w 127"/>
                <a:gd name="T35" fmla="*/ 1 h 130"/>
                <a:gd name="T36" fmla="*/ 83 w 127"/>
                <a:gd name="T37" fmla="*/ 3 h 130"/>
                <a:gd name="T38" fmla="*/ 88 w 127"/>
                <a:gd name="T39" fmla="*/ 5 h 130"/>
                <a:gd name="T40" fmla="*/ 94 w 127"/>
                <a:gd name="T41" fmla="*/ 8 h 130"/>
                <a:gd name="T42" fmla="*/ 99 w 127"/>
                <a:gd name="T43" fmla="*/ 11 h 130"/>
                <a:gd name="T44" fmla="*/ 108 w 127"/>
                <a:gd name="T45" fmla="*/ 19 h 130"/>
                <a:gd name="T46" fmla="*/ 116 w 127"/>
                <a:gd name="T47" fmla="*/ 29 h 130"/>
                <a:gd name="T48" fmla="*/ 122 w 127"/>
                <a:gd name="T49" fmla="*/ 40 h 130"/>
                <a:gd name="T50" fmla="*/ 124 w 127"/>
                <a:gd name="T51" fmla="*/ 46 h 130"/>
                <a:gd name="T52" fmla="*/ 126 w 127"/>
                <a:gd name="T53" fmla="*/ 52 h 130"/>
                <a:gd name="T54" fmla="*/ 127 w 127"/>
                <a:gd name="T55" fmla="*/ 58 h 130"/>
                <a:gd name="T56" fmla="*/ 127 w 127"/>
                <a:gd name="T57" fmla="*/ 65 h 130"/>
                <a:gd name="T58" fmla="*/ 127 w 127"/>
                <a:gd name="T59" fmla="*/ 65 h 130"/>
                <a:gd name="T60" fmla="*/ 127 w 127"/>
                <a:gd name="T61" fmla="*/ 71 h 130"/>
                <a:gd name="T62" fmla="*/ 126 w 127"/>
                <a:gd name="T63" fmla="*/ 78 h 130"/>
                <a:gd name="T64" fmla="*/ 124 w 127"/>
                <a:gd name="T65" fmla="*/ 84 h 130"/>
                <a:gd name="T66" fmla="*/ 122 w 127"/>
                <a:gd name="T67" fmla="*/ 90 h 130"/>
                <a:gd name="T68" fmla="*/ 116 w 127"/>
                <a:gd name="T69" fmla="*/ 101 h 130"/>
                <a:gd name="T70" fmla="*/ 108 w 127"/>
                <a:gd name="T71" fmla="*/ 111 h 130"/>
                <a:gd name="T72" fmla="*/ 99 w 127"/>
                <a:gd name="T73" fmla="*/ 119 h 130"/>
                <a:gd name="T74" fmla="*/ 94 w 127"/>
                <a:gd name="T75" fmla="*/ 123 h 130"/>
                <a:gd name="T76" fmla="*/ 88 w 127"/>
                <a:gd name="T77" fmla="*/ 125 h 130"/>
                <a:gd name="T78" fmla="*/ 83 w 127"/>
                <a:gd name="T79" fmla="*/ 128 h 130"/>
                <a:gd name="T80" fmla="*/ 77 w 127"/>
                <a:gd name="T81" fmla="*/ 129 h 130"/>
                <a:gd name="T82" fmla="*/ 70 w 127"/>
                <a:gd name="T83" fmla="*/ 130 h 130"/>
                <a:gd name="T84" fmla="*/ 64 w 127"/>
                <a:gd name="T85" fmla="*/ 130 h 130"/>
                <a:gd name="T86" fmla="*/ 64 w 127"/>
                <a:gd name="T87" fmla="*/ 130 h 130"/>
                <a:gd name="T88" fmla="*/ 58 w 127"/>
                <a:gd name="T89" fmla="*/ 130 h 130"/>
                <a:gd name="T90" fmla="*/ 51 w 127"/>
                <a:gd name="T91" fmla="*/ 129 h 130"/>
                <a:gd name="T92" fmla="*/ 44 w 127"/>
                <a:gd name="T93" fmla="*/ 128 h 130"/>
                <a:gd name="T94" fmla="*/ 39 w 127"/>
                <a:gd name="T95" fmla="*/ 125 h 130"/>
                <a:gd name="T96" fmla="*/ 33 w 127"/>
                <a:gd name="T97" fmla="*/ 123 h 130"/>
                <a:gd name="T98" fmla="*/ 28 w 127"/>
                <a:gd name="T99" fmla="*/ 119 h 130"/>
                <a:gd name="T100" fmla="*/ 19 w 127"/>
                <a:gd name="T101" fmla="*/ 111 h 130"/>
                <a:gd name="T102" fmla="*/ 11 w 127"/>
                <a:gd name="T103" fmla="*/ 101 h 130"/>
                <a:gd name="T104" fmla="*/ 5 w 127"/>
                <a:gd name="T105" fmla="*/ 90 h 130"/>
                <a:gd name="T106" fmla="*/ 3 w 127"/>
                <a:gd name="T107" fmla="*/ 84 h 130"/>
                <a:gd name="T108" fmla="*/ 1 w 127"/>
                <a:gd name="T109" fmla="*/ 78 h 130"/>
                <a:gd name="T110" fmla="*/ 0 w 127"/>
                <a:gd name="T111" fmla="*/ 71 h 130"/>
                <a:gd name="T112" fmla="*/ 0 w 127"/>
                <a:gd name="T113" fmla="*/ 6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 h="130">
                  <a:moveTo>
                    <a:pt x="0" y="65"/>
                  </a:moveTo>
                  <a:lnTo>
                    <a:pt x="0" y="65"/>
                  </a:lnTo>
                  <a:lnTo>
                    <a:pt x="0" y="58"/>
                  </a:lnTo>
                  <a:lnTo>
                    <a:pt x="1" y="52"/>
                  </a:lnTo>
                  <a:lnTo>
                    <a:pt x="3" y="46"/>
                  </a:lnTo>
                  <a:lnTo>
                    <a:pt x="5" y="40"/>
                  </a:lnTo>
                  <a:lnTo>
                    <a:pt x="11" y="29"/>
                  </a:lnTo>
                  <a:lnTo>
                    <a:pt x="19" y="19"/>
                  </a:lnTo>
                  <a:lnTo>
                    <a:pt x="28" y="11"/>
                  </a:lnTo>
                  <a:lnTo>
                    <a:pt x="33" y="8"/>
                  </a:lnTo>
                  <a:lnTo>
                    <a:pt x="39" y="5"/>
                  </a:lnTo>
                  <a:lnTo>
                    <a:pt x="44" y="3"/>
                  </a:lnTo>
                  <a:lnTo>
                    <a:pt x="51" y="1"/>
                  </a:lnTo>
                  <a:lnTo>
                    <a:pt x="58" y="0"/>
                  </a:lnTo>
                  <a:lnTo>
                    <a:pt x="64" y="0"/>
                  </a:lnTo>
                  <a:lnTo>
                    <a:pt x="64" y="0"/>
                  </a:lnTo>
                  <a:lnTo>
                    <a:pt x="70" y="0"/>
                  </a:lnTo>
                  <a:lnTo>
                    <a:pt x="77" y="1"/>
                  </a:lnTo>
                  <a:lnTo>
                    <a:pt x="83" y="3"/>
                  </a:lnTo>
                  <a:lnTo>
                    <a:pt x="88" y="5"/>
                  </a:lnTo>
                  <a:lnTo>
                    <a:pt x="94" y="8"/>
                  </a:lnTo>
                  <a:lnTo>
                    <a:pt x="99" y="11"/>
                  </a:lnTo>
                  <a:lnTo>
                    <a:pt x="108" y="19"/>
                  </a:lnTo>
                  <a:lnTo>
                    <a:pt x="116" y="29"/>
                  </a:lnTo>
                  <a:lnTo>
                    <a:pt x="122" y="40"/>
                  </a:lnTo>
                  <a:lnTo>
                    <a:pt x="124" y="46"/>
                  </a:lnTo>
                  <a:lnTo>
                    <a:pt x="126" y="52"/>
                  </a:lnTo>
                  <a:lnTo>
                    <a:pt x="127" y="58"/>
                  </a:lnTo>
                  <a:lnTo>
                    <a:pt x="127" y="65"/>
                  </a:lnTo>
                  <a:lnTo>
                    <a:pt x="127" y="65"/>
                  </a:lnTo>
                  <a:lnTo>
                    <a:pt x="127" y="71"/>
                  </a:lnTo>
                  <a:lnTo>
                    <a:pt x="126" y="78"/>
                  </a:lnTo>
                  <a:lnTo>
                    <a:pt x="124" y="84"/>
                  </a:lnTo>
                  <a:lnTo>
                    <a:pt x="122" y="90"/>
                  </a:lnTo>
                  <a:lnTo>
                    <a:pt x="116" y="101"/>
                  </a:lnTo>
                  <a:lnTo>
                    <a:pt x="108" y="111"/>
                  </a:lnTo>
                  <a:lnTo>
                    <a:pt x="99" y="119"/>
                  </a:lnTo>
                  <a:lnTo>
                    <a:pt x="94" y="123"/>
                  </a:lnTo>
                  <a:lnTo>
                    <a:pt x="88" y="125"/>
                  </a:lnTo>
                  <a:lnTo>
                    <a:pt x="83" y="128"/>
                  </a:lnTo>
                  <a:lnTo>
                    <a:pt x="77" y="129"/>
                  </a:lnTo>
                  <a:lnTo>
                    <a:pt x="70" y="130"/>
                  </a:lnTo>
                  <a:lnTo>
                    <a:pt x="64" y="130"/>
                  </a:lnTo>
                  <a:lnTo>
                    <a:pt x="64" y="130"/>
                  </a:lnTo>
                  <a:lnTo>
                    <a:pt x="58" y="130"/>
                  </a:lnTo>
                  <a:lnTo>
                    <a:pt x="51" y="129"/>
                  </a:lnTo>
                  <a:lnTo>
                    <a:pt x="44" y="128"/>
                  </a:lnTo>
                  <a:lnTo>
                    <a:pt x="39" y="125"/>
                  </a:lnTo>
                  <a:lnTo>
                    <a:pt x="33" y="123"/>
                  </a:lnTo>
                  <a:lnTo>
                    <a:pt x="28" y="119"/>
                  </a:lnTo>
                  <a:lnTo>
                    <a:pt x="19" y="111"/>
                  </a:lnTo>
                  <a:lnTo>
                    <a:pt x="11" y="101"/>
                  </a:lnTo>
                  <a:lnTo>
                    <a:pt x="5" y="90"/>
                  </a:lnTo>
                  <a:lnTo>
                    <a:pt x="3" y="84"/>
                  </a:lnTo>
                  <a:lnTo>
                    <a:pt x="1" y="78"/>
                  </a:lnTo>
                  <a:lnTo>
                    <a:pt x="0" y="71"/>
                  </a:lnTo>
                  <a:lnTo>
                    <a:pt x="0" y="6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148" name="Group 1147"/>
          <p:cNvGrpSpPr/>
          <p:nvPr/>
        </p:nvGrpSpPr>
        <p:grpSpPr>
          <a:xfrm>
            <a:off x="1572393" y="4670073"/>
            <a:ext cx="437980" cy="75728"/>
            <a:chOff x="1584249" y="4635598"/>
            <a:chExt cx="437980" cy="75728"/>
          </a:xfrm>
        </p:grpSpPr>
        <p:sp>
          <p:nvSpPr>
            <p:cNvPr id="1149" name="Rectangle 1148"/>
            <p:cNvSpPr/>
            <p:nvPr/>
          </p:nvSpPr>
          <p:spPr bwMode="auto">
            <a:xfrm>
              <a:off x="1586328" y="4635598"/>
              <a:ext cx="435901" cy="23461"/>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50" name="Rectangle 1149"/>
            <p:cNvSpPr/>
            <p:nvPr/>
          </p:nvSpPr>
          <p:spPr bwMode="auto">
            <a:xfrm>
              <a:off x="1584249" y="4687865"/>
              <a:ext cx="365760" cy="23461"/>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191" name="Group 1190"/>
          <p:cNvGrpSpPr/>
          <p:nvPr/>
        </p:nvGrpSpPr>
        <p:grpSpPr>
          <a:xfrm rot="20220357" flipH="1">
            <a:off x="10755875" y="1056904"/>
            <a:ext cx="748862" cy="663061"/>
            <a:chOff x="10829750" y="-453599"/>
            <a:chExt cx="1238426" cy="1096537"/>
          </a:xfrm>
          <a:solidFill>
            <a:schemeClr val="accent6">
              <a:lumMod val="50000"/>
            </a:schemeClr>
          </a:solidFill>
        </p:grpSpPr>
        <p:sp>
          <p:nvSpPr>
            <p:cNvPr id="1192" name="Freeform 21"/>
            <p:cNvSpPr>
              <a:spLocks/>
            </p:cNvSpPr>
            <p:nvPr/>
          </p:nvSpPr>
          <p:spPr bwMode="auto">
            <a:xfrm>
              <a:off x="10923183" y="-71358"/>
              <a:ext cx="611189" cy="679451"/>
            </a:xfrm>
            <a:custGeom>
              <a:avLst/>
              <a:gdLst>
                <a:gd name="T0" fmla="*/ 0 w 770"/>
                <a:gd name="T1" fmla="*/ 0 h 855"/>
                <a:gd name="T2" fmla="*/ 713 w 770"/>
                <a:gd name="T3" fmla="*/ 855 h 855"/>
                <a:gd name="T4" fmla="*/ 770 w 770"/>
                <a:gd name="T5" fmla="*/ 848 h 855"/>
                <a:gd name="T6" fmla="*/ 0 w 770"/>
                <a:gd name="T7" fmla="*/ 0 h 855"/>
              </a:gdLst>
              <a:ahLst/>
              <a:cxnLst>
                <a:cxn ang="0">
                  <a:pos x="T0" y="T1"/>
                </a:cxn>
                <a:cxn ang="0">
                  <a:pos x="T2" y="T3"/>
                </a:cxn>
                <a:cxn ang="0">
                  <a:pos x="T4" y="T5"/>
                </a:cxn>
                <a:cxn ang="0">
                  <a:pos x="T6" y="T7"/>
                </a:cxn>
              </a:cxnLst>
              <a:rect l="0" t="0" r="r" b="b"/>
              <a:pathLst>
                <a:path w="770" h="855">
                  <a:moveTo>
                    <a:pt x="0" y="0"/>
                  </a:moveTo>
                  <a:lnTo>
                    <a:pt x="713" y="855"/>
                  </a:lnTo>
                  <a:lnTo>
                    <a:pt x="770" y="84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4" name="Freeform 22"/>
            <p:cNvSpPr>
              <a:spLocks/>
            </p:cNvSpPr>
            <p:nvPr/>
          </p:nvSpPr>
          <p:spPr bwMode="auto">
            <a:xfrm>
              <a:off x="11179292" y="-291387"/>
              <a:ext cx="404813" cy="444499"/>
            </a:xfrm>
            <a:custGeom>
              <a:avLst/>
              <a:gdLst>
                <a:gd name="T0" fmla="*/ 0 w 509"/>
                <a:gd name="T1" fmla="*/ 0 h 561"/>
                <a:gd name="T2" fmla="*/ 450 w 509"/>
                <a:gd name="T3" fmla="*/ 561 h 561"/>
                <a:gd name="T4" fmla="*/ 509 w 509"/>
                <a:gd name="T5" fmla="*/ 553 h 561"/>
                <a:gd name="T6" fmla="*/ 0 w 509"/>
                <a:gd name="T7" fmla="*/ 0 h 561"/>
              </a:gdLst>
              <a:ahLst/>
              <a:cxnLst>
                <a:cxn ang="0">
                  <a:pos x="T0" y="T1"/>
                </a:cxn>
                <a:cxn ang="0">
                  <a:pos x="T2" y="T3"/>
                </a:cxn>
                <a:cxn ang="0">
                  <a:pos x="T4" y="T5"/>
                </a:cxn>
                <a:cxn ang="0">
                  <a:pos x="T6" y="T7"/>
                </a:cxn>
              </a:cxnLst>
              <a:rect l="0" t="0" r="r" b="b"/>
              <a:pathLst>
                <a:path w="509" h="561">
                  <a:moveTo>
                    <a:pt x="0" y="0"/>
                  </a:moveTo>
                  <a:lnTo>
                    <a:pt x="450" y="561"/>
                  </a:lnTo>
                  <a:lnTo>
                    <a:pt x="509"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5" name="Freeform 23"/>
            <p:cNvSpPr>
              <a:spLocks/>
            </p:cNvSpPr>
            <p:nvPr/>
          </p:nvSpPr>
          <p:spPr bwMode="auto">
            <a:xfrm>
              <a:off x="11182351" y="-112712"/>
              <a:ext cx="403225" cy="444500"/>
            </a:xfrm>
            <a:custGeom>
              <a:avLst/>
              <a:gdLst>
                <a:gd name="T0" fmla="*/ 0 w 508"/>
                <a:gd name="T1" fmla="*/ 0 h 560"/>
                <a:gd name="T2" fmla="*/ 449 w 508"/>
                <a:gd name="T3" fmla="*/ 560 h 560"/>
                <a:gd name="T4" fmla="*/ 508 w 508"/>
                <a:gd name="T5" fmla="*/ 552 h 560"/>
                <a:gd name="T6" fmla="*/ 0 w 508"/>
                <a:gd name="T7" fmla="*/ 0 h 560"/>
              </a:gdLst>
              <a:ahLst/>
              <a:cxnLst>
                <a:cxn ang="0">
                  <a:pos x="T0" y="T1"/>
                </a:cxn>
                <a:cxn ang="0">
                  <a:pos x="T2" y="T3"/>
                </a:cxn>
                <a:cxn ang="0">
                  <a:pos x="T4" y="T5"/>
                </a:cxn>
                <a:cxn ang="0">
                  <a:pos x="T6" y="T7"/>
                </a:cxn>
              </a:cxnLst>
              <a:rect l="0" t="0" r="r" b="b"/>
              <a:pathLst>
                <a:path w="508" h="560">
                  <a:moveTo>
                    <a:pt x="0" y="0"/>
                  </a:moveTo>
                  <a:lnTo>
                    <a:pt x="449" y="560"/>
                  </a:lnTo>
                  <a:lnTo>
                    <a:pt x="508" y="55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6" name="Freeform 24"/>
            <p:cNvSpPr>
              <a:spLocks/>
            </p:cNvSpPr>
            <p:nvPr/>
          </p:nvSpPr>
          <p:spPr bwMode="auto">
            <a:xfrm>
              <a:off x="11239501" y="119063"/>
              <a:ext cx="403225" cy="446088"/>
            </a:xfrm>
            <a:custGeom>
              <a:avLst/>
              <a:gdLst>
                <a:gd name="T0" fmla="*/ 0 w 508"/>
                <a:gd name="T1" fmla="*/ 0 h 561"/>
                <a:gd name="T2" fmla="*/ 451 w 508"/>
                <a:gd name="T3" fmla="*/ 561 h 561"/>
                <a:gd name="T4" fmla="*/ 508 w 508"/>
                <a:gd name="T5" fmla="*/ 553 h 561"/>
                <a:gd name="T6" fmla="*/ 0 w 508"/>
                <a:gd name="T7" fmla="*/ 0 h 561"/>
              </a:gdLst>
              <a:ahLst/>
              <a:cxnLst>
                <a:cxn ang="0">
                  <a:pos x="T0" y="T1"/>
                </a:cxn>
                <a:cxn ang="0">
                  <a:pos x="T2" y="T3"/>
                </a:cxn>
                <a:cxn ang="0">
                  <a:pos x="T4" y="T5"/>
                </a:cxn>
                <a:cxn ang="0">
                  <a:pos x="T6" y="T7"/>
                </a:cxn>
              </a:cxnLst>
              <a:rect l="0" t="0" r="r" b="b"/>
              <a:pathLst>
                <a:path w="508" h="561">
                  <a:moveTo>
                    <a:pt x="0" y="0"/>
                  </a:moveTo>
                  <a:lnTo>
                    <a:pt x="451" y="561"/>
                  </a:lnTo>
                  <a:lnTo>
                    <a:pt x="508"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7" name="Freeform 25"/>
            <p:cNvSpPr>
              <a:spLocks/>
            </p:cNvSpPr>
            <p:nvPr/>
          </p:nvSpPr>
          <p:spPr bwMode="auto">
            <a:xfrm>
              <a:off x="11453813" y="-179387"/>
              <a:ext cx="403225" cy="446088"/>
            </a:xfrm>
            <a:custGeom>
              <a:avLst/>
              <a:gdLst>
                <a:gd name="T0" fmla="*/ 0 w 509"/>
                <a:gd name="T1" fmla="*/ 0 h 561"/>
                <a:gd name="T2" fmla="*/ 450 w 509"/>
                <a:gd name="T3" fmla="*/ 561 h 561"/>
                <a:gd name="T4" fmla="*/ 509 w 509"/>
                <a:gd name="T5" fmla="*/ 553 h 561"/>
                <a:gd name="T6" fmla="*/ 0 w 509"/>
                <a:gd name="T7" fmla="*/ 0 h 561"/>
              </a:gdLst>
              <a:ahLst/>
              <a:cxnLst>
                <a:cxn ang="0">
                  <a:pos x="T0" y="T1"/>
                </a:cxn>
                <a:cxn ang="0">
                  <a:pos x="T2" y="T3"/>
                </a:cxn>
                <a:cxn ang="0">
                  <a:pos x="T4" y="T5"/>
                </a:cxn>
                <a:cxn ang="0">
                  <a:pos x="T6" y="T7"/>
                </a:cxn>
              </a:cxnLst>
              <a:rect l="0" t="0" r="r" b="b"/>
              <a:pathLst>
                <a:path w="509" h="561">
                  <a:moveTo>
                    <a:pt x="0" y="0"/>
                  </a:moveTo>
                  <a:lnTo>
                    <a:pt x="450" y="561"/>
                  </a:lnTo>
                  <a:lnTo>
                    <a:pt x="509" y="5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8" name="Freeform 26"/>
            <p:cNvSpPr>
              <a:spLocks/>
            </p:cNvSpPr>
            <p:nvPr/>
          </p:nvSpPr>
          <p:spPr bwMode="auto">
            <a:xfrm>
              <a:off x="11615271" y="178144"/>
              <a:ext cx="312738" cy="323850"/>
            </a:xfrm>
            <a:custGeom>
              <a:avLst/>
              <a:gdLst>
                <a:gd name="T0" fmla="*/ 0 w 394"/>
                <a:gd name="T1" fmla="*/ 0 h 409"/>
                <a:gd name="T2" fmla="*/ 335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5"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19" name="Freeform 27"/>
            <p:cNvSpPr>
              <a:spLocks/>
            </p:cNvSpPr>
            <p:nvPr/>
          </p:nvSpPr>
          <p:spPr bwMode="auto">
            <a:xfrm>
              <a:off x="11618913" y="319088"/>
              <a:ext cx="312738" cy="323850"/>
            </a:xfrm>
            <a:custGeom>
              <a:avLst/>
              <a:gdLst>
                <a:gd name="T0" fmla="*/ 0 w 394"/>
                <a:gd name="T1" fmla="*/ 0 h 408"/>
                <a:gd name="T2" fmla="*/ 337 w 394"/>
                <a:gd name="T3" fmla="*/ 408 h 408"/>
                <a:gd name="T4" fmla="*/ 394 w 394"/>
                <a:gd name="T5" fmla="*/ 400 h 408"/>
                <a:gd name="T6" fmla="*/ 0 w 394"/>
                <a:gd name="T7" fmla="*/ 0 h 408"/>
              </a:gdLst>
              <a:ahLst/>
              <a:cxnLst>
                <a:cxn ang="0">
                  <a:pos x="T0" y="T1"/>
                </a:cxn>
                <a:cxn ang="0">
                  <a:pos x="T2" y="T3"/>
                </a:cxn>
                <a:cxn ang="0">
                  <a:pos x="T4" y="T5"/>
                </a:cxn>
                <a:cxn ang="0">
                  <a:pos x="T6" y="T7"/>
                </a:cxn>
              </a:cxnLst>
              <a:rect l="0" t="0" r="r" b="b"/>
              <a:pathLst>
                <a:path w="394" h="408">
                  <a:moveTo>
                    <a:pt x="0" y="0"/>
                  </a:moveTo>
                  <a:lnTo>
                    <a:pt x="337" y="408"/>
                  </a:lnTo>
                  <a:lnTo>
                    <a:pt x="394" y="4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20" name="Freeform 28"/>
            <p:cNvSpPr>
              <a:spLocks/>
            </p:cNvSpPr>
            <p:nvPr/>
          </p:nvSpPr>
          <p:spPr bwMode="auto">
            <a:xfrm>
              <a:off x="10829750" y="8911"/>
              <a:ext cx="311150" cy="323850"/>
            </a:xfrm>
            <a:custGeom>
              <a:avLst/>
              <a:gdLst>
                <a:gd name="T0" fmla="*/ 0 w 394"/>
                <a:gd name="T1" fmla="*/ 0 h 409"/>
                <a:gd name="T2" fmla="*/ 336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6"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21" name="Freeform 29"/>
            <p:cNvSpPr>
              <a:spLocks/>
            </p:cNvSpPr>
            <p:nvPr/>
          </p:nvSpPr>
          <p:spPr bwMode="auto">
            <a:xfrm>
              <a:off x="11366518" y="-453599"/>
              <a:ext cx="312738" cy="323849"/>
            </a:xfrm>
            <a:custGeom>
              <a:avLst/>
              <a:gdLst>
                <a:gd name="T0" fmla="*/ 0 w 394"/>
                <a:gd name="T1" fmla="*/ 0 h 409"/>
                <a:gd name="T2" fmla="*/ 337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7"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22" name="Freeform 30"/>
            <p:cNvSpPr>
              <a:spLocks/>
            </p:cNvSpPr>
            <p:nvPr/>
          </p:nvSpPr>
          <p:spPr bwMode="auto">
            <a:xfrm>
              <a:off x="11755438" y="-6350"/>
              <a:ext cx="312738" cy="325438"/>
            </a:xfrm>
            <a:custGeom>
              <a:avLst/>
              <a:gdLst>
                <a:gd name="T0" fmla="*/ 0 w 394"/>
                <a:gd name="T1" fmla="*/ 0 h 409"/>
                <a:gd name="T2" fmla="*/ 336 w 394"/>
                <a:gd name="T3" fmla="*/ 409 h 409"/>
                <a:gd name="T4" fmla="*/ 394 w 394"/>
                <a:gd name="T5" fmla="*/ 401 h 409"/>
                <a:gd name="T6" fmla="*/ 0 w 394"/>
                <a:gd name="T7" fmla="*/ 0 h 409"/>
              </a:gdLst>
              <a:ahLst/>
              <a:cxnLst>
                <a:cxn ang="0">
                  <a:pos x="T0" y="T1"/>
                </a:cxn>
                <a:cxn ang="0">
                  <a:pos x="T2" y="T3"/>
                </a:cxn>
                <a:cxn ang="0">
                  <a:pos x="T4" y="T5"/>
                </a:cxn>
                <a:cxn ang="0">
                  <a:pos x="T6" y="T7"/>
                </a:cxn>
              </a:cxnLst>
              <a:rect l="0" t="0" r="r" b="b"/>
              <a:pathLst>
                <a:path w="394" h="409">
                  <a:moveTo>
                    <a:pt x="0" y="0"/>
                  </a:moveTo>
                  <a:lnTo>
                    <a:pt x="336" y="409"/>
                  </a:lnTo>
                  <a:lnTo>
                    <a:pt x="394" y="40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666" name="Group 665"/>
          <p:cNvGrpSpPr/>
          <p:nvPr/>
        </p:nvGrpSpPr>
        <p:grpSpPr>
          <a:xfrm>
            <a:off x="5217021" y="4353484"/>
            <a:ext cx="366832" cy="311505"/>
            <a:chOff x="5239026" y="4102134"/>
            <a:chExt cx="333484" cy="257442"/>
          </a:xfrm>
          <a:solidFill>
            <a:schemeClr val="accent3"/>
          </a:solidFill>
        </p:grpSpPr>
        <p:sp>
          <p:nvSpPr>
            <p:cNvPr id="667" name="Freeform 207"/>
            <p:cNvSpPr>
              <a:spLocks noEditPoints="1"/>
            </p:cNvSpPr>
            <p:nvPr/>
          </p:nvSpPr>
          <p:spPr bwMode="auto">
            <a:xfrm flipH="1">
              <a:off x="5309239" y="4102134"/>
              <a:ext cx="263271" cy="159558"/>
            </a:xfrm>
            <a:custGeom>
              <a:avLst/>
              <a:gdLst>
                <a:gd name="T0" fmla="*/ 106 w 198"/>
                <a:gd name="T1" fmla="*/ 106 h 120"/>
                <a:gd name="T2" fmla="*/ 104 w 198"/>
                <a:gd name="T3" fmla="*/ 106 h 120"/>
                <a:gd name="T4" fmla="*/ 100 w 198"/>
                <a:gd name="T5" fmla="*/ 100 h 120"/>
                <a:gd name="T6" fmla="*/ 127 w 198"/>
                <a:gd name="T7" fmla="*/ 80 h 120"/>
                <a:gd name="T8" fmla="*/ 131 w 198"/>
                <a:gd name="T9" fmla="*/ 79 h 120"/>
                <a:gd name="T10" fmla="*/ 134 w 198"/>
                <a:gd name="T11" fmla="*/ 71 h 120"/>
                <a:gd name="T12" fmla="*/ 112 w 198"/>
                <a:gd name="T13" fmla="*/ 7 h 120"/>
                <a:gd name="T14" fmla="*/ 110 w 198"/>
                <a:gd name="T15" fmla="*/ 3 h 120"/>
                <a:gd name="T16" fmla="*/ 102 w 198"/>
                <a:gd name="T17" fmla="*/ 0 h 120"/>
                <a:gd name="T18" fmla="*/ 27 w 198"/>
                <a:gd name="T19" fmla="*/ 25 h 120"/>
                <a:gd name="T20" fmla="*/ 23 w 198"/>
                <a:gd name="T21" fmla="*/ 27 h 120"/>
                <a:gd name="T22" fmla="*/ 19 w 198"/>
                <a:gd name="T23" fmla="*/ 35 h 120"/>
                <a:gd name="T24" fmla="*/ 24 w 198"/>
                <a:gd name="T25" fmla="*/ 54 h 120"/>
                <a:gd name="T26" fmla="*/ 14 w 198"/>
                <a:gd name="T27" fmla="*/ 55 h 120"/>
                <a:gd name="T28" fmla="*/ 12 w 198"/>
                <a:gd name="T29" fmla="*/ 54 h 120"/>
                <a:gd name="T30" fmla="*/ 7 w 198"/>
                <a:gd name="T31" fmla="*/ 51 h 120"/>
                <a:gd name="T32" fmla="*/ 4 w 198"/>
                <a:gd name="T33" fmla="*/ 51 h 120"/>
                <a:gd name="T34" fmla="*/ 0 w 198"/>
                <a:gd name="T35" fmla="*/ 55 h 120"/>
                <a:gd name="T36" fmla="*/ 0 w 198"/>
                <a:gd name="T37" fmla="*/ 60 h 120"/>
                <a:gd name="T38" fmla="*/ 12 w 198"/>
                <a:gd name="T39" fmla="*/ 95 h 120"/>
                <a:gd name="T40" fmla="*/ 16 w 198"/>
                <a:gd name="T41" fmla="*/ 99 h 120"/>
                <a:gd name="T42" fmla="*/ 22 w 198"/>
                <a:gd name="T43" fmla="*/ 99 h 120"/>
                <a:gd name="T44" fmla="*/ 24 w 198"/>
                <a:gd name="T45" fmla="*/ 98 h 120"/>
                <a:gd name="T46" fmla="*/ 27 w 198"/>
                <a:gd name="T47" fmla="*/ 94 h 120"/>
                <a:gd name="T48" fmla="*/ 26 w 198"/>
                <a:gd name="T49" fmla="*/ 88 h 120"/>
                <a:gd name="T50" fmla="*/ 35 w 198"/>
                <a:gd name="T51" fmla="*/ 84 h 120"/>
                <a:gd name="T52" fmla="*/ 40 w 198"/>
                <a:gd name="T53" fmla="*/ 99 h 120"/>
                <a:gd name="T54" fmla="*/ 47 w 198"/>
                <a:gd name="T55" fmla="*/ 104 h 120"/>
                <a:gd name="T56" fmla="*/ 55 w 198"/>
                <a:gd name="T57" fmla="*/ 106 h 120"/>
                <a:gd name="T58" fmla="*/ 87 w 198"/>
                <a:gd name="T59" fmla="*/ 112 h 120"/>
                <a:gd name="T60" fmla="*/ 90 w 198"/>
                <a:gd name="T61" fmla="*/ 115 h 120"/>
                <a:gd name="T62" fmla="*/ 95 w 198"/>
                <a:gd name="T63" fmla="*/ 119 h 120"/>
                <a:gd name="T64" fmla="*/ 198 w 198"/>
                <a:gd name="T65" fmla="*/ 120 h 120"/>
                <a:gd name="T66" fmla="*/ 90 w 198"/>
                <a:gd name="T67" fmla="*/ 23 h 120"/>
                <a:gd name="T68" fmla="*/ 90 w 198"/>
                <a:gd name="T69" fmla="*/ 20 h 120"/>
                <a:gd name="T70" fmla="*/ 94 w 198"/>
                <a:gd name="T71" fmla="*/ 17 h 120"/>
                <a:gd name="T72" fmla="*/ 96 w 198"/>
                <a:gd name="T73" fmla="*/ 16 h 120"/>
                <a:gd name="T74" fmla="*/ 102 w 198"/>
                <a:gd name="T75" fmla="*/ 19 h 120"/>
                <a:gd name="T76" fmla="*/ 103 w 198"/>
                <a:gd name="T77" fmla="*/ 23 h 120"/>
                <a:gd name="T78" fmla="*/ 103 w 198"/>
                <a:gd name="T79" fmla="*/ 27 h 120"/>
                <a:gd name="T80" fmla="*/ 99 w 198"/>
                <a:gd name="T81" fmla="*/ 29 h 120"/>
                <a:gd name="T82" fmla="*/ 96 w 198"/>
                <a:gd name="T83" fmla="*/ 31 h 120"/>
                <a:gd name="T84" fmla="*/ 91 w 198"/>
                <a:gd name="T85" fmla="*/ 28 h 120"/>
                <a:gd name="T86" fmla="*/ 90 w 198"/>
                <a:gd name="T87"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 h="120">
                  <a:moveTo>
                    <a:pt x="198" y="106"/>
                  </a:moveTo>
                  <a:lnTo>
                    <a:pt x="106" y="106"/>
                  </a:lnTo>
                  <a:lnTo>
                    <a:pt x="106" y="106"/>
                  </a:lnTo>
                  <a:lnTo>
                    <a:pt x="104" y="106"/>
                  </a:lnTo>
                  <a:lnTo>
                    <a:pt x="103" y="104"/>
                  </a:lnTo>
                  <a:lnTo>
                    <a:pt x="100" y="100"/>
                  </a:lnTo>
                  <a:lnTo>
                    <a:pt x="98" y="91"/>
                  </a:lnTo>
                  <a:lnTo>
                    <a:pt x="127" y="80"/>
                  </a:lnTo>
                  <a:lnTo>
                    <a:pt x="127" y="80"/>
                  </a:lnTo>
                  <a:lnTo>
                    <a:pt x="131" y="79"/>
                  </a:lnTo>
                  <a:lnTo>
                    <a:pt x="132" y="75"/>
                  </a:lnTo>
                  <a:lnTo>
                    <a:pt x="134" y="71"/>
                  </a:lnTo>
                  <a:lnTo>
                    <a:pt x="134" y="66"/>
                  </a:lnTo>
                  <a:lnTo>
                    <a:pt x="112" y="7"/>
                  </a:lnTo>
                  <a:lnTo>
                    <a:pt x="112" y="7"/>
                  </a:lnTo>
                  <a:lnTo>
                    <a:pt x="110" y="3"/>
                  </a:lnTo>
                  <a:lnTo>
                    <a:pt x="107" y="1"/>
                  </a:lnTo>
                  <a:lnTo>
                    <a:pt x="102" y="0"/>
                  </a:lnTo>
                  <a:lnTo>
                    <a:pt x="98" y="0"/>
                  </a:lnTo>
                  <a:lnTo>
                    <a:pt x="27" y="25"/>
                  </a:lnTo>
                  <a:lnTo>
                    <a:pt x="27" y="25"/>
                  </a:lnTo>
                  <a:lnTo>
                    <a:pt x="23" y="27"/>
                  </a:lnTo>
                  <a:lnTo>
                    <a:pt x="20" y="31"/>
                  </a:lnTo>
                  <a:lnTo>
                    <a:pt x="19" y="35"/>
                  </a:lnTo>
                  <a:lnTo>
                    <a:pt x="20" y="40"/>
                  </a:lnTo>
                  <a:lnTo>
                    <a:pt x="24" y="54"/>
                  </a:lnTo>
                  <a:lnTo>
                    <a:pt x="14" y="56"/>
                  </a:lnTo>
                  <a:lnTo>
                    <a:pt x="14" y="55"/>
                  </a:lnTo>
                  <a:lnTo>
                    <a:pt x="14" y="55"/>
                  </a:lnTo>
                  <a:lnTo>
                    <a:pt x="12" y="54"/>
                  </a:lnTo>
                  <a:lnTo>
                    <a:pt x="10" y="51"/>
                  </a:lnTo>
                  <a:lnTo>
                    <a:pt x="7" y="51"/>
                  </a:lnTo>
                  <a:lnTo>
                    <a:pt x="4" y="51"/>
                  </a:lnTo>
                  <a:lnTo>
                    <a:pt x="4" y="51"/>
                  </a:lnTo>
                  <a:lnTo>
                    <a:pt x="2" y="52"/>
                  </a:lnTo>
                  <a:lnTo>
                    <a:pt x="0" y="55"/>
                  </a:lnTo>
                  <a:lnTo>
                    <a:pt x="0" y="58"/>
                  </a:lnTo>
                  <a:lnTo>
                    <a:pt x="0" y="60"/>
                  </a:lnTo>
                  <a:lnTo>
                    <a:pt x="12" y="95"/>
                  </a:lnTo>
                  <a:lnTo>
                    <a:pt x="12" y="95"/>
                  </a:lnTo>
                  <a:lnTo>
                    <a:pt x="15" y="98"/>
                  </a:lnTo>
                  <a:lnTo>
                    <a:pt x="16" y="99"/>
                  </a:lnTo>
                  <a:lnTo>
                    <a:pt x="19" y="100"/>
                  </a:lnTo>
                  <a:lnTo>
                    <a:pt x="22" y="99"/>
                  </a:lnTo>
                  <a:lnTo>
                    <a:pt x="22" y="99"/>
                  </a:lnTo>
                  <a:lnTo>
                    <a:pt x="24" y="98"/>
                  </a:lnTo>
                  <a:lnTo>
                    <a:pt x="26" y="96"/>
                  </a:lnTo>
                  <a:lnTo>
                    <a:pt x="27" y="94"/>
                  </a:lnTo>
                  <a:lnTo>
                    <a:pt x="26" y="91"/>
                  </a:lnTo>
                  <a:lnTo>
                    <a:pt x="26" y="88"/>
                  </a:lnTo>
                  <a:lnTo>
                    <a:pt x="30" y="86"/>
                  </a:lnTo>
                  <a:lnTo>
                    <a:pt x="35" y="84"/>
                  </a:lnTo>
                  <a:lnTo>
                    <a:pt x="40" y="99"/>
                  </a:lnTo>
                  <a:lnTo>
                    <a:pt x="40" y="99"/>
                  </a:lnTo>
                  <a:lnTo>
                    <a:pt x="43" y="103"/>
                  </a:lnTo>
                  <a:lnTo>
                    <a:pt x="47" y="104"/>
                  </a:lnTo>
                  <a:lnTo>
                    <a:pt x="51" y="106"/>
                  </a:lnTo>
                  <a:lnTo>
                    <a:pt x="55" y="106"/>
                  </a:lnTo>
                  <a:lnTo>
                    <a:pt x="83" y="95"/>
                  </a:lnTo>
                  <a:lnTo>
                    <a:pt x="87" y="112"/>
                  </a:lnTo>
                  <a:lnTo>
                    <a:pt x="87" y="112"/>
                  </a:lnTo>
                  <a:lnTo>
                    <a:pt x="90" y="115"/>
                  </a:lnTo>
                  <a:lnTo>
                    <a:pt x="92" y="118"/>
                  </a:lnTo>
                  <a:lnTo>
                    <a:pt x="95" y="119"/>
                  </a:lnTo>
                  <a:lnTo>
                    <a:pt x="99" y="120"/>
                  </a:lnTo>
                  <a:lnTo>
                    <a:pt x="198" y="120"/>
                  </a:lnTo>
                  <a:lnTo>
                    <a:pt x="198" y="106"/>
                  </a:lnTo>
                  <a:close/>
                  <a:moveTo>
                    <a:pt x="90" y="23"/>
                  </a:moveTo>
                  <a:lnTo>
                    <a:pt x="90" y="23"/>
                  </a:lnTo>
                  <a:lnTo>
                    <a:pt x="90" y="20"/>
                  </a:lnTo>
                  <a:lnTo>
                    <a:pt x="91" y="19"/>
                  </a:lnTo>
                  <a:lnTo>
                    <a:pt x="94" y="17"/>
                  </a:lnTo>
                  <a:lnTo>
                    <a:pt x="96" y="16"/>
                  </a:lnTo>
                  <a:lnTo>
                    <a:pt x="96" y="16"/>
                  </a:lnTo>
                  <a:lnTo>
                    <a:pt x="99" y="17"/>
                  </a:lnTo>
                  <a:lnTo>
                    <a:pt x="102" y="19"/>
                  </a:lnTo>
                  <a:lnTo>
                    <a:pt x="103" y="20"/>
                  </a:lnTo>
                  <a:lnTo>
                    <a:pt x="103" y="23"/>
                  </a:lnTo>
                  <a:lnTo>
                    <a:pt x="103" y="23"/>
                  </a:lnTo>
                  <a:lnTo>
                    <a:pt x="103" y="27"/>
                  </a:lnTo>
                  <a:lnTo>
                    <a:pt x="102" y="28"/>
                  </a:lnTo>
                  <a:lnTo>
                    <a:pt x="99" y="29"/>
                  </a:lnTo>
                  <a:lnTo>
                    <a:pt x="96" y="31"/>
                  </a:lnTo>
                  <a:lnTo>
                    <a:pt x="96" y="31"/>
                  </a:lnTo>
                  <a:lnTo>
                    <a:pt x="94" y="29"/>
                  </a:lnTo>
                  <a:lnTo>
                    <a:pt x="91" y="28"/>
                  </a:lnTo>
                  <a:lnTo>
                    <a:pt x="90" y="27"/>
                  </a:lnTo>
                  <a:lnTo>
                    <a:pt x="90" y="23"/>
                  </a:lnTo>
                  <a:lnTo>
                    <a:pt x="90" y="23"/>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8" name="Oval 667"/>
            <p:cNvSpPr/>
            <p:nvPr/>
          </p:nvSpPr>
          <p:spPr bwMode="auto">
            <a:xfrm>
              <a:off x="5239026" y="4142457"/>
              <a:ext cx="115959" cy="21711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34" name="Group 633"/>
          <p:cNvGrpSpPr>
            <a:grpSpLocks noChangeAspect="1"/>
          </p:cNvGrpSpPr>
          <p:nvPr/>
        </p:nvGrpSpPr>
        <p:grpSpPr>
          <a:xfrm>
            <a:off x="3273315" y="1219292"/>
            <a:ext cx="5616864" cy="1802534"/>
            <a:chOff x="15071726" y="361950"/>
            <a:chExt cx="6178550" cy="1982787"/>
          </a:xfrm>
          <a:solidFill>
            <a:schemeClr val="accent2"/>
          </a:solidFill>
        </p:grpSpPr>
        <p:sp>
          <p:nvSpPr>
            <p:cNvPr id="635" name="Freeform 103"/>
            <p:cNvSpPr>
              <a:spLocks/>
            </p:cNvSpPr>
            <p:nvPr/>
          </p:nvSpPr>
          <p:spPr bwMode="auto">
            <a:xfrm>
              <a:off x="20399376" y="412750"/>
              <a:ext cx="844550" cy="849313"/>
            </a:xfrm>
            <a:custGeom>
              <a:avLst/>
              <a:gdLst>
                <a:gd name="T0" fmla="*/ 0 w 532"/>
                <a:gd name="T1" fmla="*/ 73 h 535"/>
                <a:gd name="T2" fmla="*/ 62 w 532"/>
                <a:gd name="T3" fmla="*/ 196 h 535"/>
                <a:gd name="T4" fmla="*/ 62 w 532"/>
                <a:gd name="T5" fmla="*/ 196 h 535"/>
                <a:gd name="T6" fmla="*/ 89 w 532"/>
                <a:gd name="T7" fmla="*/ 208 h 535"/>
                <a:gd name="T8" fmla="*/ 114 w 532"/>
                <a:gd name="T9" fmla="*/ 220 h 535"/>
                <a:gd name="T10" fmla="*/ 139 w 532"/>
                <a:gd name="T11" fmla="*/ 235 h 535"/>
                <a:gd name="T12" fmla="*/ 162 w 532"/>
                <a:gd name="T13" fmla="*/ 250 h 535"/>
                <a:gd name="T14" fmla="*/ 184 w 532"/>
                <a:gd name="T15" fmla="*/ 268 h 535"/>
                <a:gd name="T16" fmla="*/ 204 w 532"/>
                <a:gd name="T17" fmla="*/ 286 h 535"/>
                <a:gd name="T18" fmla="*/ 224 w 532"/>
                <a:gd name="T19" fmla="*/ 306 h 535"/>
                <a:gd name="T20" fmla="*/ 242 w 532"/>
                <a:gd name="T21" fmla="*/ 328 h 535"/>
                <a:gd name="T22" fmla="*/ 259 w 532"/>
                <a:gd name="T23" fmla="*/ 350 h 535"/>
                <a:gd name="T24" fmla="*/ 274 w 532"/>
                <a:gd name="T25" fmla="*/ 373 h 535"/>
                <a:gd name="T26" fmla="*/ 289 w 532"/>
                <a:gd name="T27" fmla="*/ 398 h 535"/>
                <a:gd name="T28" fmla="*/ 300 w 532"/>
                <a:gd name="T29" fmla="*/ 425 h 535"/>
                <a:gd name="T30" fmla="*/ 310 w 532"/>
                <a:gd name="T31" fmla="*/ 450 h 535"/>
                <a:gd name="T32" fmla="*/ 319 w 532"/>
                <a:gd name="T33" fmla="*/ 478 h 535"/>
                <a:gd name="T34" fmla="*/ 327 w 532"/>
                <a:gd name="T35" fmla="*/ 506 h 535"/>
                <a:gd name="T36" fmla="*/ 332 w 532"/>
                <a:gd name="T37" fmla="*/ 535 h 535"/>
                <a:gd name="T38" fmla="*/ 449 w 532"/>
                <a:gd name="T39" fmla="*/ 448 h 535"/>
                <a:gd name="T40" fmla="*/ 532 w 532"/>
                <a:gd name="T41" fmla="*/ 535 h 535"/>
                <a:gd name="T42" fmla="*/ 532 w 532"/>
                <a:gd name="T43" fmla="*/ 535 h 535"/>
                <a:gd name="T44" fmla="*/ 527 w 532"/>
                <a:gd name="T45" fmla="*/ 488 h 535"/>
                <a:gd name="T46" fmla="*/ 517 w 532"/>
                <a:gd name="T47" fmla="*/ 443 h 535"/>
                <a:gd name="T48" fmla="*/ 506 w 532"/>
                <a:gd name="T49" fmla="*/ 400 h 535"/>
                <a:gd name="T50" fmla="*/ 489 w 532"/>
                <a:gd name="T51" fmla="*/ 356 h 535"/>
                <a:gd name="T52" fmla="*/ 471 w 532"/>
                <a:gd name="T53" fmla="*/ 316 h 535"/>
                <a:gd name="T54" fmla="*/ 449 w 532"/>
                <a:gd name="T55" fmla="*/ 276 h 535"/>
                <a:gd name="T56" fmla="*/ 426 w 532"/>
                <a:gd name="T57" fmla="*/ 238 h 535"/>
                <a:gd name="T58" fmla="*/ 399 w 532"/>
                <a:gd name="T59" fmla="*/ 203 h 535"/>
                <a:gd name="T60" fmla="*/ 369 w 532"/>
                <a:gd name="T61" fmla="*/ 168 h 535"/>
                <a:gd name="T62" fmla="*/ 337 w 532"/>
                <a:gd name="T63" fmla="*/ 136 h 535"/>
                <a:gd name="T64" fmla="*/ 304 w 532"/>
                <a:gd name="T65" fmla="*/ 108 h 535"/>
                <a:gd name="T66" fmla="*/ 269 w 532"/>
                <a:gd name="T67" fmla="*/ 81 h 535"/>
                <a:gd name="T68" fmla="*/ 230 w 532"/>
                <a:gd name="T69" fmla="*/ 56 h 535"/>
                <a:gd name="T70" fmla="*/ 192 w 532"/>
                <a:gd name="T71" fmla="*/ 35 h 535"/>
                <a:gd name="T72" fmla="*/ 150 w 532"/>
                <a:gd name="T73" fmla="*/ 16 h 535"/>
                <a:gd name="T74" fmla="*/ 109 w 532"/>
                <a:gd name="T75" fmla="*/ 0 h 535"/>
                <a:gd name="T76" fmla="*/ 0 w 532"/>
                <a:gd name="T77" fmla="*/ 7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2" h="535">
                  <a:moveTo>
                    <a:pt x="0" y="73"/>
                  </a:moveTo>
                  <a:lnTo>
                    <a:pt x="62" y="196"/>
                  </a:lnTo>
                  <a:lnTo>
                    <a:pt x="62" y="196"/>
                  </a:lnTo>
                  <a:lnTo>
                    <a:pt x="89" y="208"/>
                  </a:lnTo>
                  <a:lnTo>
                    <a:pt x="114" y="220"/>
                  </a:lnTo>
                  <a:lnTo>
                    <a:pt x="139" y="235"/>
                  </a:lnTo>
                  <a:lnTo>
                    <a:pt x="162" y="250"/>
                  </a:lnTo>
                  <a:lnTo>
                    <a:pt x="184" y="268"/>
                  </a:lnTo>
                  <a:lnTo>
                    <a:pt x="204" y="286"/>
                  </a:lnTo>
                  <a:lnTo>
                    <a:pt x="224" y="306"/>
                  </a:lnTo>
                  <a:lnTo>
                    <a:pt x="242" y="328"/>
                  </a:lnTo>
                  <a:lnTo>
                    <a:pt x="259" y="350"/>
                  </a:lnTo>
                  <a:lnTo>
                    <a:pt x="274" y="373"/>
                  </a:lnTo>
                  <a:lnTo>
                    <a:pt x="289" y="398"/>
                  </a:lnTo>
                  <a:lnTo>
                    <a:pt x="300" y="425"/>
                  </a:lnTo>
                  <a:lnTo>
                    <a:pt x="310" y="450"/>
                  </a:lnTo>
                  <a:lnTo>
                    <a:pt x="319" y="478"/>
                  </a:lnTo>
                  <a:lnTo>
                    <a:pt x="327" y="506"/>
                  </a:lnTo>
                  <a:lnTo>
                    <a:pt x="332" y="535"/>
                  </a:lnTo>
                  <a:lnTo>
                    <a:pt x="449" y="448"/>
                  </a:lnTo>
                  <a:lnTo>
                    <a:pt x="532" y="535"/>
                  </a:lnTo>
                  <a:lnTo>
                    <a:pt x="532" y="535"/>
                  </a:lnTo>
                  <a:lnTo>
                    <a:pt x="527" y="488"/>
                  </a:lnTo>
                  <a:lnTo>
                    <a:pt x="517" y="443"/>
                  </a:lnTo>
                  <a:lnTo>
                    <a:pt x="506" y="400"/>
                  </a:lnTo>
                  <a:lnTo>
                    <a:pt x="489" y="356"/>
                  </a:lnTo>
                  <a:lnTo>
                    <a:pt x="471" y="316"/>
                  </a:lnTo>
                  <a:lnTo>
                    <a:pt x="449" y="276"/>
                  </a:lnTo>
                  <a:lnTo>
                    <a:pt x="426" y="238"/>
                  </a:lnTo>
                  <a:lnTo>
                    <a:pt x="399" y="203"/>
                  </a:lnTo>
                  <a:lnTo>
                    <a:pt x="369" y="168"/>
                  </a:lnTo>
                  <a:lnTo>
                    <a:pt x="337" y="136"/>
                  </a:lnTo>
                  <a:lnTo>
                    <a:pt x="304" y="108"/>
                  </a:lnTo>
                  <a:lnTo>
                    <a:pt x="269" y="81"/>
                  </a:lnTo>
                  <a:lnTo>
                    <a:pt x="230" y="56"/>
                  </a:lnTo>
                  <a:lnTo>
                    <a:pt x="192" y="35"/>
                  </a:lnTo>
                  <a:lnTo>
                    <a:pt x="150" y="16"/>
                  </a:lnTo>
                  <a:lnTo>
                    <a:pt x="109" y="0"/>
                  </a:lnTo>
                  <a:lnTo>
                    <a:pt x="0" y="73"/>
                  </a:lnTo>
                  <a:close/>
                </a:path>
              </a:pathLst>
            </a:custGeom>
            <a:solidFill>
              <a:schemeClr val="accent2"/>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36" name="Freeform 104"/>
            <p:cNvSpPr>
              <a:spLocks/>
            </p:cNvSpPr>
            <p:nvPr/>
          </p:nvSpPr>
          <p:spPr bwMode="auto">
            <a:xfrm>
              <a:off x="15159038" y="361950"/>
              <a:ext cx="5327650" cy="782638"/>
            </a:xfrm>
            <a:custGeom>
              <a:avLst/>
              <a:gdLst>
                <a:gd name="T0" fmla="*/ 70 w 3356"/>
                <a:gd name="T1" fmla="*/ 493 h 493"/>
                <a:gd name="T2" fmla="*/ 185 w 3356"/>
                <a:gd name="T3" fmla="*/ 445 h 493"/>
                <a:gd name="T4" fmla="*/ 185 w 3356"/>
                <a:gd name="T5" fmla="*/ 445 h 493"/>
                <a:gd name="T6" fmla="*/ 198 w 3356"/>
                <a:gd name="T7" fmla="*/ 418 h 493"/>
                <a:gd name="T8" fmla="*/ 213 w 3356"/>
                <a:gd name="T9" fmla="*/ 393 h 493"/>
                <a:gd name="T10" fmla="*/ 232 w 3356"/>
                <a:gd name="T11" fmla="*/ 368 h 493"/>
                <a:gd name="T12" fmla="*/ 250 w 3356"/>
                <a:gd name="T13" fmla="*/ 345 h 493"/>
                <a:gd name="T14" fmla="*/ 270 w 3356"/>
                <a:gd name="T15" fmla="*/ 323 h 493"/>
                <a:gd name="T16" fmla="*/ 292 w 3356"/>
                <a:gd name="T17" fmla="*/ 303 h 493"/>
                <a:gd name="T18" fmla="*/ 315 w 3356"/>
                <a:gd name="T19" fmla="*/ 285 h 493"/>
                <a:gd name="T20" fmla="*/ 339 w 3356"/>
                <a:gd name="T21" fmla="*/ 268 h 493"/>
                <a:gd name="T22" fmla="*/ 365 w 3356"/>
                <a:gd name="T23" fmla="*/ 253 h 493"/>
                <a:gd name="T24" fmla="*/ 392 w 3356"/>
                <a:gd name="T25" fmla="*/ 240 h 493"/>
                <a:gd name="T26" fmla="*/ 419 w 3356"/>
                <a:gd name="T27" fmla="*/ 228 h 493"/>
                <a:gd name="T28" fmla="*/ 447 w 3356"/>
                <a:gd name="T29" fmla="*/ 218 h 493"/>
                <a:gd name="T30" fmla="*/ 477 w 3356"/>
                <a:gd name="T31" fmla="*/ 210 h 493"/>
                <a:gd name="T32" fmla="*/ 507 w 3356"/>
                <a:gd name="T33" fmla="*/ 205 h 493"/>
                <a:gd name="T34" fmla="*/ 539 w 3356"/>
                <a:gd name="T35" fmla="*/ 202 h 493"/>
                <a:gd name="T36" fmla="*/ 570 w 3356"/>
                <a:gd name="T37" fmla="*/ 200 h 493"/>
                <a:gd name="T38" fmla="*/ 3211 w 3356"/>
                <a:gd name="T39" fmla="*/ 200 h 493"/>
                <a:gd name="T40" fmla="*/ 3211 w 3356"/>
                <a:gd name="T41" fmla="*/ 200 h 493"/>
                <a:gd name="T42" fmla="*/ 3236 w 3356"/>
                <a:gd name="T43" fmla="*/ 200 h 493"/>
                <a:gd name="T44" fmla="*/ 3261 w 3356"/>
                <a:gd name="T45" fmla="*/ 203 h 493"/>
                <a:gd name="T46" fmla="*/ 3285 w 3356"/>
                <a:gd name="T47" fmla="*/ 207 h 493"/>
                <a:gd name="T48" fmla="*/ 3308 w 3356"/>
                <a:gd name="T49" fmla="*/ 212 h 493"/>
                <a:gd name="T50" fmla="*/ 3248 w 3356"/>
                <a:gd name="T51" fmla="*/ 90 h 493"/>
                <a:gd name="T52" fmla="*/ 3356 w 3356"/>
                <a:gd name="T53" fmla="*/ 16 h 493"/>
                <a:gd name="T54" fmla="*/ 3356 w 3356"/>
                <a:gd name="T55" fmla="*/ 16 h 493"/>
                <a:gd name="T56" fmla="*/ 3321 w 3356"/>
                <a:gd name="T57" fmla="*/ 10 h 493"/>
                <a:gd name="T58" fmla="*/ 3285 w 3356"/>
                <a:gd name="T59" fmla="*/ 5 h 493"/>
                <a:gd name="T60" fmla="*/ 3250 w 3356"/>
                <a:gd name="T61" fmla="*/ 1 h 493"/>
                <a:gd name="T62" fmla="*/ 3211 w 3356"/>
                <a:gd name="T63" fmla="*/ 0 h 493"/>
                <a:gd name="T64" fmla="*/ 570 w 3356"/>
                <a:gd name="T65" fmla="*/ 0 h 493"/>
                <a:gd name="T66" fmla="*/ 570 w 3356"/>
                <a:gd name="T67" fmla="*/ 0 h 493"/>
                <a:gd name="T68" fmla="*/ 522 w 3356"/>
                <a:gd name="T69" fmla="*/ 1 h 493"/>
                <a:gd name="T70" fmla="*/ 477 w 3356"/>
                <a:gd name="T71" fmla="*/ 6 h 493"/>
                <a:gd name="T72" fmla="*/ 432 w 3356"/>
                <a:gd name="T73" fmla="*/ 15 h 493"/>
                <a:gd name="T74" fmla="*/ 387 w 3356"/>
                <a:gd name="T75" fmla="*/ 26 h 493"/>
                <a:gd name="T76" fmla="*/ 345 w 3356"/>
                <a:gd name="T77" fmla="*/ 42 h 493"/>
                <a:gd name="T78" fmla="*/ 304 w 3356"/>
                <a:gd name="T79" fmla="*/ 60 h 493"/>
                <a:gd name="T80" fmla="*/ 263 w 3356"/>
                <a:gd name="T81" fmla="*/ 80 h 493"/>
                <a:gd name="T82" fmla="*/ 227 w 3356"/>
                <a:gd name="T83" fmla="*/ 103 h 493"/>
                <a:gd name="T84" fmla="*/ 190 w 3356"/>
                <a:gd name="T85" fmla="*/ 128 h 493"/>
                <a:gd name="T86" fmla="*/ 157 w 3356"/>
                <a:gd name="T87" fmla="*/ 157 h 493"/>
                <a:gd name="T88" fmla="*/ 123 w 3356"/>
                <a:gd name="T89" fmla="*/ 187 h 493"/>
                <a:gd name="T90" fmla="*/ 93 w 3356"/>
                <a:gd name="T91" fmla="*/ 220 h 493"/>
                <a:gd name="T92" fmla="*/ 67 w 3356"/>
                <a:gd name="T93" fmla="*/ 255 h 493"/>
                <a:gd name="T94" fmla="*/ 42 w 3356"/>
                <a:gd name="T95" fmla="*/ 292 h 493"/>
                <a:gd name="T96" fmla="*/ 20 w 3356"/>
                <a:gd name="T97" fmla="*/ 330 h 493"/>
                <a:gd name="T98" fmla="*/ 0 w 3356"/>
                <a:gd name="T99" fmla="*/ 370 h 493"/>
                <a:gd name="T100" fmla="*/ 70 w 3356"/>
                <a:gd name="T101" fmla="*/ 49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56" h="493">
                  <a:moveTo>
                    <a:pt x="70" y="493"/>
                  </a:moveTo>
                  <a:lnTo>
                    <a:pt x="185" y="445"/>
                  </a:lnTo>
                  <a:lnTo>
                    <a:pt x="185" y="445"/>
                  </a:lnTo>
                  <a:lnTo>
                    <a:pt x="198" y="418"/>
                  </a:lnTo>
                  <a:lnTo>
                    <a:pt x="213" y="393"/>
                  </a:lnTo>
                  <a:lnTo>
                    <a:pt x="232" y="368"/>
                  </a:lnTo>
                  <a:lnTo>
                    <a:pt x="250" y="345"/>
                  </a:lnTo>
                  <a:lnTo>
                    <a:pt x="270" y="323"/>
                  </a:lnTo>
                  <a:lnTo>
                    <a:pt x="292" y="303"/>
                  </a:lnTo>
                  <a:lnTo>
                    <a:pt x="315" y="285"/>
                  </a:lnTo>
                  <a:lnTo>
                    <a:pt x="339" y="268"/>
                  </a:lnTo>
                  <a:lnTo>
                    <a:pt x="365" y="253"/>
                  </a:lnTo>
                  <a:lnTo>
                    <a:pt x="392" y="240"/>
                  </a:lnTo>
                  <a:lnTo>
                    <a:pt x="419" y="228"/>
                  </a:lnTo>
                  <a:lnTo>
                    <a:pt x="447" y="218"/>
                  </a:lnTo>
                  <a:lnTo>
                    <a:pt x="477" y="210"/>
                  </a:lnTo>
                  <a:lnTo>
                    <a:pt x="507" y="205"/>
                  </a:lnTo>
                  <a:lnTo>
                    <a:pt x="539" y="202"/>
                  </a:lnTo>
                  <a:lnTo>
                    <a:pt x="570" y="200"/>
                  </a:lnTo>
                  <a:lnTo>
                    <a:pt x="3211" y="200"/>
                  </a:lnTo>
                  <a:lnTo>
                    <a:pt x="3211" y="200"/>
                  </a:lnTo>
                  <a:lnTo>
                    <a:pt x="3236" y="200"/>
                  </a:lnTo>
                  <a:lnTo>
                    <a:pt x="3261" y="203"/>
                  </a:lnTo>
                  <a:lnTo>
                    <a:pt x="3285" y="207"/>
                  </a:lnTo>
                  <a:lnTo>
                    <a:pt x="3308" y="212"/>
                  </a:lnTo>
                  <a:lnTo>
                    <a:pt x="3248" y="90"/>
                  </a:lnTo>
                  <a:lnTo>
                    <a:pt x="3356" y="16"/>
                  </a:lnTo>
                  <a:lnTo>
                    <a:pt x="3356" y="16"/>
                  </a:lnTo>
                  <a:lnTo>
                    <a:pt x="3321" y="10"/>
                  </a:lnTo>
                  <a:lnTo>
                    <a:pt x="3285" y="5"/>
                  </a:lnTo>
                  <a:lnTo>
                    <a:pt x="3250" y="1"/>
                  </a:lnTo>
                  <a:lnTo>
                    <a:pt x="3211" y="0"/>
                  </a:lnTo>
                  <a:lnTo>
                    <a:pt x="570" y="0"/>
                  </a:lnTo>
                  <a:lnTo>
                    <a:pt x="570" y="0"/>
                  </a:lnTo>
                  <a:lnTo>
                    <a:pt x="522" y="1"/>
                  </a:lnTo>
                  <a:lnTo>
                    <a:pt x="477" y="6"/>
                  </a:lnTo>
                  <a:lnTo>
                    <a:pt x="432" y="15"/>
                  </a:lnTo>
                  <a:lnTo>
                    <a:pt x="387" y="26"/>
                  </a:lnTo>
                  <a:lnTo>
                    <a:pt x="345" y="42"/>
                  </a:lnTo>
                  <a:lnTo>
                    <a:pt x="304" y="60"/>
                  </a:lnTo>
                  <a:lnTo>
                    <a:pt x="263" y="80"/>
                  </a:lnTo>
                  <a:lnTo>
                    <a:pt x="227" y="103"/>
                  </a:lnTo>
                  <a:lnTo>
                    <a:pt x="190" y="128"/>
                  </a:lnTo>
                  <a:lnTo>
                    <a:pt x="157" y="157"/>
                  </a:lnTo>
                  <a:lnTo>
                    <a:pt x="123" y="187"/>
                  </a:lnTo>
                  <a:lnTo>
                    <a:pt x="93" y="220"/>
                  </a:lnTo>
                  <a:lnTo>
                    <a:pt x="67" y="255"/>
                  </a:lnTo>
                  <a:lnTo>
                    <a:pt x="42" y="292"/>
                  </a:lnTo>
                  <a:lnTo>
                    <a:pt x="20" y="330"/>
                  </a:lnTo>
                  <a:lnTo>
                    <a:pt x="0" y="370"/>
                  </a:lnTo>
                  <a:lnTo>
                    <a:pt x="70" y="493"/>
                  </a:lnTo>
                  <a:close/>
                </a:path>
              </a:pathLst>
            </a:custGeom>
            <a:solidFill>
              <a:srgbClr val="8DC548"/>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637" name="Freeform 105"/>
            <p:cNvSpPr>
              <a:spLocks/>
            </p:cNvSpPr>
            <p:nvPr/>
          </p:nvSpPr>
          <p:spPr bwMode="auto">
            <a:xfrm>
              <a:off x="15784513" y="2008187"/>
              <a:ext cx="4792663" cy="336550"/>
            </a:xfrm>
            <a:custGeom>
              <a:avLst/>
              <a:gdLst>
                <a:gd name="T0" fmla="*/ 3019 w 3019"/>
                <a:gd name="T1" fmla="*/ 80 h 212"/>
                <a:gd name="T2" fmla="*/ 2916 w 3019"/>
                <a:gd name="T3" fmla="*/ 2 h 212"/>
                <a:gd name="T4" fmla="*/ 2916 w 3019"/>
                <a:gd name="T5" fmla="*/ 2 h 212"/>
                <a:gd name="T6" fmla="*/ 2892 w 3019"/>
                <a:gd name="T7" fmla="*/ 7 h 212"/>
                <a:gd name="T8" fmla="*/ 2867 w 3019"/>
                <a:gd name="T9" fmla="*/ 10 h 212"/>
                <a:gd name="T10" fmla="*/ 2842 w 3019"/>
                <a:gd name="T11" fmla="*/ 12 h 212"/>
                <a:gd name="T12" fmla="*/ 2817 w 3019"/>
                <a:gd name="T13" fmla="*/ 12 h 212"/>
                <a:gd name="T14" fmla="*/ 176 w 3019"/>
                <a:gd name="T15" fmla="*/ 12 h 212"/>
                <a:gd name="T16" fmla="*/ 176 w 3019"/>
                <a:gd name="T17" fmla="*/ 12 h 212"/>
                <a:gd name="T18" fmla="*/ 150 w 3019"/>
                <a:gd name="T19" fmla="*/ 12 h 212"/>
                <a:gd name="T20" fmla="*/ 125 w 3019"/>
                <a:gd name="T21" fmla="*/ 10 h 212"/>
                <a:gd name="T22" fmla="*/ 101 w 3019"/>
                <a:gd name="T23" fmla="*/ 5 h 212"/>
                <a:gd name="T24" fmla="*/ 76 w 3019"/>
                <a:gd name="T25" fmla="*/ 0 h 212"/>
                <a:gd name="T26" fmla="*/ 111 w 3019"/>
                <a:gd name="T27" fmla="*/ 145 h 212"/>
                <a:gd name="T28" fmla="*/ 0 w 3019"/>
                <a:gd name="T29" fmla="*/ 187 h 212"/>
                <a:gd name="T30" fmla="*/ 0 w 3019"/>
                <a:gd name="T31" fmla="*/ 187 h 212"/>
                <a:gd name="T32" fmla="*/ 43 w 3019"/>
                <a:gd name="T33" fmla="*/ 199 h 212"/>
                <a:gd name="T34" fmla="*/ 86 w 3019"/>
                <a:gd name="T35" fmla="*/ 207 h 212"/>
                <a:gd name="T36" fmla="*/ 131 w 3019"/>
                <a:gd name="T37" fmla="*/ 212 h 212"/>
                <a:gd name="T38" fmla="*/ 176 w 3019"/>
                <a:gd name="T39" fmla="*/ 212 h 212"/>
                <a:gd name="T40" fmla="*/ 2817 w 3019"/>
                <a:gd name="T41" fmla="*/ 212 h 212"/>
                <a:gd name="T42" fmla="*/ 2817 w 3019"/>
                <a:gd name="T43" fmla="*/ 212 h 212"/>
                <a:gd name="T44" fmla="*/ 2851 w 3019"/>
                <a:gd name="T45" fmla="*/ 212 h 212"/>
                <a:gd name="T46" fmla="*/ 2884 w 3019"/>
                <a:gd name="T47" fmla="*/ 209 h 212"/>
                <a:gd name="T48" fmla="*/ 2917 w 3019"/>
                <a:gd name="T49" fmla="*/ 205 h 212"/>
                <a:gd name="T50" fmla="*/ 2949 w 3019"/>
                <a:gd name="T51" fmla="*/ 199 h 212"/>
                <a:gd name="T52" fmla="*/ 3019 w 3019"/>
                <a:gd name="T53" fmla="*/ 8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9" h="212">
                  <a:moveTo>
                    <a:pt x="3019" y="80"/>
                  </a:moveTo>
                  <a:lnTo>
                    <a:pt x="2916" y="2"/>
                  </a:lnTo>
                  <a:lnTo>
                    <a:pt x="2916" y="2"/>
                  </a:lnTo>
                  <a:lnTo>
                    <a:pt x="2892" y="7"/>
                  </a:lnTo>
                  <a:lnTo>
                    <a:pt x="2867" y="10"/>
                  </a:lnTo>
                  <a:lnTo>
                    <a:pt x="2842" y="12"/>
                  </a:lnTo>
                  <a:lnTo>
                    <a:pt x="2817" y="12"/>
                  </a:lnTo>
                  <a:lnTo>
                    <a:pt x="176" y="12"/>
                  </a:lnTo>
                  <a:lnTo>
                    <a:pt x="176" y="12"/>
                  </a:lnTo>
                  <a:lnTo>
                    <a:pt x="150" y="12"/>
                  </a:lnTo>
                  <a:lnTo>
                    <a:pt x="125" y="10"/>
                  </a:lnTo>
                  <a:lnTo>
                    <a:pt x="101" y="5"/>
                  </a:lnTo>
                  <a:lnTo>
                    <a:pt x="76" y="0"/>
                  </a:lnTo>
                  <a:lnTo>
                    <a:pt x="111" y="145"/>
                  </a:lnTo>
                  <a:lnTo>
                    <a:pt x="0" y="187"/>
                  </a:lnTo>
                  <a:lnTo>
                    <a:pt x="0" y="187"/>
                  </a:lnTo>
                  <a:lnTo>
                    <a:pt x="43" y="199"/>
                  </a:lnTo>
                  <a:lnTo>
                    <a:pt x="86" y="207"/>
                  </a:lnTo>
                  <a:lnTo>
                    <a:pt x="131" y="212"/>
                  </a:lnTo>
                  <a:lnTo>
                    <a:pt x="176" y="212"/>
                  </a:lnTo>
                  <a:lnTo>
                    <a:pt x="2817" y="212"/>
                  </a:lnTo>
                  <a:lnTo>
                    <a:pt x="2817" y="212"/>
                  </a:lnTo>
                  <a:lnTo>
                    <a:pt x="2851" y="212"/>
                  </a:lnTo>
                  <a:lnTo>
                    <a:pt x="2884" y="209"/>
                  </a:lnTo>
                  <a:lnTo>
                    <a:pt x="2917" y="205"/>
                  </a:lnTo>
                  <a:lnTo>
                    <a:pt x="2949" y="199"/>
                  </a:lnTo>
                  <a:lnTo>
                    <a:pt x="3019" y="80"/>
                  </a:lnTo>
                  <a:close/>
                </a:path>
              </a:pathLst>
            </a:custGeom>
            <a:solidFill>
              <a:schemeClr val="accent2"/>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38" name="Freeform 106"/>
            <p:cNvSpPr>
              <a:spLocks/>
            </p:cNvSpPr>
            <p:nvPr/>
          </p:nvSpPr>
          <p:spPr bwMode="auto">
            <a:xfrm>
              <a:off x="15071726" y="1028700"/>
              <a:ext cx="809625" cy="1241425"/>
            </a:xfrm>
            <a:custGeom>
              <a:avLst/>
              <a:gdLst>
                <a:gd name="T0" fmla="*/ 510 w 510"/>
                <a:gd name="T1" fmla="*/ 737 h 782"/>
                <a:gd name="T2" fmla="*/ 479 w 510"/>
                <a:gd name="T3" fmla="*/ 604 h 782"/>
                <a:gd name="T4" fmla="*/ 479 w 510"/>
                <a:gd name="T5" fmla="*/ 604 h 782"/>
                <a:gd name="T6" fmla="*/ 449 w 510"/>
                <a:gd name="T7" fmla="*/ 592 h 782"/>
                <a:gd name="T8" fmla="*/ 420 w 510"/>
                <a:gd name="T9" fmla="*/ 577 h 782"/>
                <a:gd name="T10" fmla="*/ 394 w 510"/>
                <a:gd name="T11" fmla="*/ 560 h 782"/>
                <a:gd name="T12" fmla="*/ 367 w 510"/>
                <a:gd name="T13" fmla="*/ 542 h 782"/>
                <a:gd name="T14" fmla="*/ 342 w 510"/>
                <a:gd name="T15" fmla="*/ 522 h 782"/>
                <a:gd name="T16" fmla="*/ 320 w 510"/>
                <a:gd name="T17" fmla="*/ 500 h 782"/>
                <a:gd name="T18" fmla="*/ 298 w 510"/>
                <a:gd name="T19" fmla="*/ 475 h 782"/>
                <a:gd name="T20" fmla="*/ 278 w 510"/>
                <a:gd name="T21" fmla="*/ 450 h 782"/>
                <a:gd name="T22" fmla="*/ 262 w 510"/>
                <a:gd name="T23" fmla="*/ 424 h 782"/>
                <a:gd name="T24" fmla="*/ 245 w 510"/>
                <a:gd name="T25" fmla="*/ 395 h 782"/>
                <a:gd name="T26" fmla="*/ 232 w 510"/>
                <a:gd name="T27" fmla="*/ 367 h 782"/>
                <a:gd name="T28" fmla="*/ 220 w 510"/>
                <a:gd name="T29" fmla="*/ 335 h 782"/>
                <a:gd name="T30" fmla="*/ 212 w 510"/>
                <a:gd name="T31" fmla="*/ 305 h 782"/>
                <a:gd name="T32" fmla="*/ 205 w 510"/>
                <a:gd name="T33" fmla="*/ 272 h 782"/>
                <a:gd name="T34" fmla="*/ 202 w 510"/>
                <a:gd name="T35" fmla="*/ 239 h 782"/>
                <a:gd name="T36" fmla="*/ 200 w 510"/>
                <a:gd name="T37" fmla="*/ 205 h 782"/>
                <a:gd name="T38" fmla="*/ 200 w 510"/>
                <a:gd name="T39" fmla="*/ 205 h 782"/>
                <a:gd name="T40" fmla="*/ 202 w 510"/>
                <a:gd name="T41" fmla="*/ 172 h 782"/>
                <a:gd name="T42" fmla="*/ 205 w 510"/>
                <a:gd name="T43" fmla="*/ 140 h 782"/>
                <a:gd name="T44" fmla="*/ 212 w 510"/>
                <a:gd name="T45" fmla="*/ 108 h 782"/>
                <a:gd name="T46" fmla="*/ 218 w 510"/>
                <a:gd name="T47" fmla="*/ 78 h 782"/>
                <a:gd name="T48" fmla="*/ 107 w 510"/>
                <a:gd name="T49" fmla="*/ 125 h 782"/>
                <a:gd name="T50" fmla="*/ 35 w 510"/>
                <a:gd name="T51" fmla="*/ 0 h 782"/>
                <a:gd name="T52" fmla="*/ 35 w 510"/>
                <a:gd name="T53" fmla="*/ 0 h 782"/>
                <a:gd name="T54" fmla="*/ 27 w 510"/>
                <a:gd name="T55" fmla="*/ 23 h 782"/>
                <a:gd name="T56" fmla="*/ 20 w 510"/>
                <a:gd name="T57" fmla="*/ 48 h 782"/>
                <a:gd name="T58" fmla="*/ 13 w 510"/>
                <a:gd name="T59" fmla="*/ 73 h 782"/>
                <a:gd name="T60" fmla="*/ 8 w 510"/>
                <a:gd name="T61" fmla="*/ 98 h 782"/>
                <a:gd name="T62" fmla="*/ 5 w 510"/>
                <a:gd name="T63" fmla="*/ 125 h 782"/>
                <a:gd name="T64" fmla="*/ 2 w 510"/>
                <a:gd name="T65" fmla="*/ 152 h 782"/>
                <a:gd name="T66" fmla="*/ 0 w 510"/>
                <a:gd name="T67" fmla="*/ 178 h 782"/>
                <a:gd name="T68" fmla="*/ 0 w 510"/>
                <a:gd name="T69" fmla="*/ 205 h 782"/>
                <a:gd name="T70" fmla="*/ 0 w 510"/>
                <a:gd name="T71" fmla="*/ 205 h 782"/>
                <a:gd name="T72" fmla="*/ 2 w 510"/>
                <a:gd name="T73" fmla="*/ 254 h 782"/>
                <a:gd name="T74" fmla="*/ 7 w 510"/>
                <a:gd name="T75" fmla="*/ 300 h 782"/>
                <a:gd name="T76" fmla="*/ 17 w 510"/>
                <a:gd name="T77" fmla="*/ 347 h 782"/>
                <a:gd name="T78" fmla="*/ 28 w 510"/>
                <a:gd name="T79" fmla="*/ 392 h 782"/>
                <a:gd name="T80" fmla="*/ 43 w 510"/>
                <a:gd name="T81" fmla="*/ 435 h 782"/>
                <a:gd name="T82" fmla="*/ 63 w 510"/>
                <a:gd name="T83" fmla="*/ 477 h 782"/>
                <a:gd name="T84" fmla="*/ 85 w 510"/>
                <a:gd name="T85" fmla="*/ 519 h 782"/>
                <a:gd name="T86" fmla="*/ 108 w 510"/>
                <a:gd name="T87" fmla="*/ 557 h 782"/>
                <a:gd name="T88" fmla="*/ 135 w 510"/>
                <a:gd name="T89" fmla="*/ 594 h 782"/>
                <a:gd name="T90" fmla="*/ 165 w 510"/>
                <a:gd name="T91" fmla="*/ 627 h 782"/>
                <a:gd name="T92" fmla="*/ 197 w 510"/>
                <a:gd name="T93" fmla="*/ 660 h 782"/>
                <a:gd name="T94" fmla="*/ 232 w 510"/>
                <a:gd name="T95" fmla="*/ 690 h 782"/>
                <a:gd name="T96" fmla="*/ 267 w 510"/>
                <a:gd name="T97" fmla="*/ 717 h 782"/>
                <a:gd name="T98" fmla="*/ 305 w 510"/>
                <a:gd name="T99" fmla="*/ 742 h 782"/>
                <a:gd name="T100" fmla="*/ 345 w 510"/>
                <a:gd name="T101" fmla="*/ 764 h 782"/>
                <a:gd name="T102" fmla="*/ 387 w 510"/>
                <a:gd name="T103" fmla="*/ 782 h 782"/>
                <a:gd name="T104" fmla="*/ 510 w 510"/>
                <a:gd name="T105" fmla="*/ 737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0" h="782">
                  <a:moveTo>
                    <a:pt x="510" y="737"/>
                  </a:moveTo>
                  <a:lnTo>
                    <a:pt x="479" y="604"/>
                  </a:lnTo>
                  <a:lnTo>
                    <a:pt x="479" y="604"/>
                  </a:lnTo>
                  <a:lnTo>
                    <a:pt x="449" y="592"/>
                  </a:lnTo>
                  <a:lnTo>
                    <a:pt x="420" y="577"/>
                  </a:lnTo>
                  <a:lnTo>
                    <a:pt x="394" y="560"/>
                  </a:lnTo>
                  <a:lnTo>
                    <a:pt x="367" y="542"/>
                  </a:lnTo>
                  <a:lnTo>
                    <a:pt x="342" y="522"/>
                  </a:lnTo>
                  <a:lnTo>
                    <a:pt x="320" y="500"/>
                  </a:lnTo>
                  <a:lnTo>
                    <a:pt x="298" y="475"/>
                  </a:lnTo>
                  <a:lnTo>
                    <a:pt x="278" y="450"/>
                  </a:lnTo>
                  <a:lnTo>
                    <a:pt x="262" y="424"/>
                  </a:lnTo>
                  <a:lnTo>
                    <a:pt x="245" y="395"/>
                  </a:lnTo>
                  <a:lnTo>
                    <a:pt x="232" y="367"/>
                  </a:lnTo>
                  <a:lnTo>
                    <a:pt x="220" y="335"/>
                  </a:lnTo>
                  <a:lnTo>
                    <a:pt x="212" y="305"/>
                  </a:lnTo>
                  <a:lnTo>
                    <a:pt x="205" y="272"/>
                  </a:lnTo>
                  <a:lnTo>
                    <a:pt x="202" y="239"/>
                  </a:lnTo>
                  <a:lnTo>
                    <a:pt x="200" y="205"/>
                  </a:lnTo>
                  <a:lnTo>
                    <a:pt x="200" y="205"/>
                  </a:lnTo>
                  <a:lnTo>
                    <a:pt x="202" y="172"/>
                  </a:lnTo>
                  <a:lnTo>
                    <a:pt x="205" y="140"/>
                  </a:lnTo>
                  <a:lnTo>
                    <a:pt x="212" y="108"/>
                  </a:lnTo>
                  <a:lnTo>
                    <a:pt x="218" y="78"/>
                  </a:lnTo>
                  <a:lnTo>
                    <a:pt x="107" y="125"/>
                  </a:lnTo>
                  <a:lnTo>
                    <a:pt x="35" y="0"/>
                  </a:lnTo>
                  <a:lnTo>
                    <a:pt x="35" y="0"/>
                  </a:lnTo>
                  <a:lnTo>
                    <a:pt x="27" y="23"/>
                  </a:lnTo>
                  <a:lnTo>
                    <a:pt x="20" y="48"/>
                  </a:lnTo>
                  <a:lnTo>
                    <a:pt x="13" y="73"/>
                  </a:lnTo>
                  <a:lnTo>
                    <a:pt x="8" y="98"/>
                  </a:lnTo>
                  <a:lnTo>
                    <a:pt x="5" y="125"/>
                  </a:lnTo>
                  <a:lnTo>
                    <a:pt x="2" y="152"/>
                  </a:lnTo>
                  <a:lnTo>
                    <a:pt x="0" y="178"/>
                  </a:lnTo>
                  <a:lnTo>
                    <a:pt x="0" y="205"/>
                  </a:lnTo>
                  <a:lnTo>
                    <a:pt x="0" y="205"/>
                  </a:lnTo>
                  <a:lnTo>
                    <a:pt x="2" y="254"/>
                  </a:lnTo>
                  <a:lnTo>
                    <a:pt x="7" y="300"/>
                  </a:lnTo>
                  <a:lnTo>
                    <a:pt x="17" y="347"/>
                  </a:lnTo>
                  <a:lnTo>
                    <a:pt x="28" y="392"/>
                  </a:lnTo>
                  <a:lnTo>
                    <a:pt x="43" y="435"/>
                  </a:lnTo>
                  <a:lnTo>
                    <a:pt x="63" y="477"/>
                  </a:lnTo>
                  <a:lnTo>
                    <a:pt x="85" y="519"/>
                  </a:lnTo>
                  <a:lnTo>
                    <a:pt x="108" y="557"/>
                  </a:lnTo>
                  <a:lnTo>
                    <a:pt x="135" y="594"/>
                  </a:lnTo>
                  <a:lnTo>
                    <a:pt x="165" y="627"/>
                  </a:lnTo>
                  <a:lnTo>
                    <a:pt x="197" y="660"/>
                  </a:lnTo>
                  <a:lnTo>
                    <a:pt x="232" y="690"/>
                  </a:lnTo>
                  <a:lnTo>
                    <a:pt x="267" y="717"/>
                  </a:lnTo>
                  <a:lnTo>
                    <a:pt x="305" y="742"/>
                  </a:lnTo>
                  <a:lnTo>
                    <a:pt x="345" y="764"/>
                  </a:lnTo>
                  <a:lnTo>
                    <a:pt x="387" y="782"/>
                  </a:lnTo>
                  <a:lnTo>
                    <a:pt x="510" y="737"/>
                  </a:lnTo>
                  <a:close/>
                </a:path>
              </a:pathLst>
            </a:custGeom>
            <a:solidFill>
              <a:schemeClr val="accent2"/>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39" name="Freeform 107"/>
            <p:cNvSpPr>
              <a:spLocks/>
            </p:cNvSpPr>
            <p:nvPr/>
          </p:nvSpPr>
          <p:spPr bwMode="auto">
            <a:xfrm>
              <a:off x="20493038" y="1211262"/>
              <a:ext cx="757238" cy="1087438"/>
            </a:xfrm>
            <a:custGeom>
              <a:avLst/>
              <a:gdLst>
                <a:gd name="T0" fmla="*/ 385 w 477"/>
                <a:gd name="T1" fmla="*/ 0 h 685"/>
                <a:gd name="T2" fmla="*/ 276 w 477"/>
                <a:gd name="T3" fmla="*/ 80 h 685"/>
                <a:gd name="T4" fmla="*/ 276 w 477"/>
                <a:gd name="T5" fmla="*/ 80 h 685"/>
                <a:gd name="T6" fmla="*/ 276 w 477"/>
                <a:gd name="T7" fmla="*/ 90 h 685"/>
                <a:gd name="T8" fmla="*/ 276 w 477"/>
                <a:gd name="T9" fmla="*/ 90 h 685"/>
                <a:gd name="T10" fmla="*/ 275 w 477"/>
                <a:gd name="T11" fmla="*/ 124 h 685"/>
                <a:gd name="T12" fmla="*/ 271 w 477"/>
                <a:gd name="T13" fmla="*/ 157 h 685"/>
                <a:gd name="T14" fmla="*/ 265 w 477"/>
                <a:gd name="T15" fmla="*/ 189 h 685"/>
                <a:gd name="T16" fmla="*/ 256 w 477"/>
                <a:gd name="T17" fmla="*/ 220 h 685"/>
                <a:gd name="T18" fmla="*/ 245 w 477"/>
                <a:gd name="T19" fmla="*/ 250 h 685"/>
                <a:gd name="T20" fmla="*/ 231 w 477"/>
                <a:gd name="T21" fmla="*/ 280 h 685"/>
                <a:gd name="T22" fmla="*/ 216 w 477"/>
                <a:gd name="T23" fmla="*/ 309 h 685"/>
                <a:gd name="T24" fmla="*/ 198 w 477"/>
                <a:gd name="T25" fmla="*/ 335 h 685"/>
                <a:gd name="T26" fmla="*/ 180 w 477"/>
                <a:gd name="T27" fmla="*/ 360 h 685"/>
                <a:gd name="T28" fmla="*/ 158 w 477"/>
                <a:gd name="T29" fmla="*/ 384 h 685"/>
                <a:gd name="T30" fmla="*/ 135 w 477"/>
                <a:gd name="T31" fmla="*/ 405 h 685"/>
                <a:gd name="T32" fmla="*/ 111 w 477"/>
                <a:gd name="T33" fmla="*/ 427 h 685"/>
                <a:gd name="T34" fmla="*/ 85 w 477"/>
                <a:gd name="T35" fmla="*/ 445 h 685"/>
                <a:gd name="T36" fmla="*/ 58 w 477"/>
                <a:gd name="T37" fmla="*/ 462 h 685"/>
                <a:gd name="T38" fmla="*/ 28 w 477"/>
                <a:gd name="T39" fmla="*/ 475 h 685"/>
                <a:gd name="T40" fmla="*/ 0 w 477"/>
                <a:gd name="T41" fmla="*/ 489 h 685"/>
                <a:gd name="T42" fmla="*/ 106 w 477"/>
                <a:gd name="T43" fmla="*/ 572 h 685"/>
                <a:gd name="T44" fmla="*/ 40 w 477"/>
                <a:gd name="T45" fmla="*/ 685 h 685"/>
                <a:gd name="T46" fmla="*/ 40 w 477"/>
                <a:gd name="T47" fmla="*/ 685 h 685"/>
                <a:gd name="T48" fmla="*/ 86 w 477"/>
                <a:gd name="T49" fmla="*/ 669 h 685"/>
                <a:gd name="T50" fmla="*/ 131 w 477"/>
                <a:gd name="T51" fmla="*/ 649 h 685"/>
                <a:gd name="T52" fmla="*/ 173 w 477"/>
                <a:gd name="T53" fmla="*/ 625 h 685"/>
                <a:gd name="T54" fmla="*/ 213 w 477"/>
                <a:gd name="T55" fmla="*/ 599 h 685"/>
                <a:gd name="T56" fmla="*/ 251 w 477"/>
                <a:gd name="T57" fmla="*/ 569 h 685"/>
                <a:gd name="T58" fmla="*/ 288 w 477"/>
                <a:gd name="T59" fmla="*/ 537 h 685"/>
                <a:gd name="T60" fmla="*/ 321 w 477"/>
                <a:gd name="T61" fmla="*/ 502 h 685"/>
                <a:gd name="T62" fmla="*/ 352 w 477"/>
                <a:gd name="T63" fmla="*/ 464 h 685"/>
                <a:gd name="T64" fmla="*/ 380 w 477"/>
                <a:gd name="T65" fmla="*/ 425 h 685"/>
                <a:gd name="T66" fmla="*/ 403 w 477"/>
                <a:gd name="T67" fmla="*/ 382 h 685"/>
                <a:gd name="T68" fmla="*/ 425 w 477"/>
                <a:gd name="T69" fmla="*/ 339 h 685"/>
                <a:gd name="T70" fmla="*/ 443 w 477"/>
                <a:gd name="T71" fmla="*/ 294 h 685"/>
                <a:gd name="T72" fmla="*/ 457 w 477"/>
                <a:gd name="T73" fmla="*/ 245 h 685"/>
                <a:gd name="T74" fmla="*/ 463 w 477"/>
                <a:gd name="T75" fmla="*/ 222 h 685"/>
                <a:gd name="T76" fmla="*/ 467 w 477"/>
                <a:gd name="T77" fmla="*/ 197 h 685"/>
                <a:gd name="T78" fmla="*/ 472 w 477"/>
                <a:gd name="T79" fmla="*/ 172 h 685"/>
                <a:gd name="T80" fmla="*/ 473 w 477"/>
                <a:gd name="T81" fmla="*/ 147 h 685"/>
                <a:gd name="T82" fmla="*/ 477 w 477"/>
                <a:gd name="T83" fmla="*/ 122 h 685"/>
                <a:gd name="T84" fmla="*/ 477 w 477"/>
                <a:gd name="T85" fmla="*/ 95 h 685"/>
                <a:gd name="T86" fmla="*/ 385 w 477"/>
                <a:gd name="T87" fmla="*/ 0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7" h="685">
                  <a:moveTo>
                    <a:pt x="385" y="0"/>
                  </a:moveTo>
                  <a:lnTo>
                    <a:pt x="276" y="80"/>
                  </a:lnTo>
                  <a:lnTo>
                    <a:pt x="276" y="80"/>
                  </a:lnTo>
                  <a:lnTo>
                    <a:pt x="276" y="90"/>
                  </a:lnTo>
                  <a:lnTo>
                    <a:pt x="276" y="90"/>
                  </a:lnTo>
                  <a:lnTo>
                    <a:pt x="275" y="124"/>
                  </a:lnTo>
                  <a:lnTo>
                    <a:pt x="271" y="157"/>
                  </a:lnTo>
                  <a:lnTo>
                    <a:pt x="265" y="189"/>
                  </a:lnTo>
                  <a:lnTo>
                    <a:pt x="256" y="220"/>
                  </a:lnTo>
                  <a:lnTo>
                    <a:pt x="245" y="250"/>
                  </a:lnTo>
                  <a:lnTo>
                    <a:pt x="231" y="280"/>
                  </a:lnTo>
                  <a:lnTo>
                    <a:pt x="216" y="309"/>
                  </a:lnTo>
                  <a:lnTo>
                    <a:pt x="198" y="335"/>
                  </a:lnTo>
                  <a:lnTo>
                    <a:pt x="180" y="360"/>
                  </a:lnTo>
                  <a:lnTo>
                    <a:pt x="158" y="384"/>
                  </a:lnTo>
                  <a:lnTo>
                    <a:pt x="135" y="405"/>
                  </a:lnTo>
                  <a:lnTo>
                    <a:pt x="111" y="427"/>
                  </a:lnTo>
                  <a:lnTo>
                    <a:pt x="85" y="445"/>
                  </a:lnTo>
                  <a:lnTo>
                    <a:pt x="58" y="462"/>
                  </a:lnTo>
                  <a:lnTo>
                    <a:pt x="28" y="475"/>
                  </a:lnTo>
                  <a:lnTo>
                    <a:pt x="0" y="489"/>
                  </a:lnTo>
                  <a:lnTo>
                    <a:pt x="106" y="572"/>
                  </a:lnTo>
                  <a:lnTo>
                    <a:pt x="40" y="685"/>
                  </a:lnTo>
                  <a:lnTo>
                    <a:pt x="40" y="685"/>
                  </a:lnTo>
                  <a:lnTo>
                    <a:pt x="86" y="669"/>
                  </a:lnTo>
                  <a:lnTo>
                    <a:pt x="131" y="649"/>
                  </a:lnTo>
                  <a:lnTo>
                    <a:pt x="173" y="625"/>
                  </a:lnTo>
                  <a:lnTo>
                    <a:pt x="213" y="599"/>
                  </a:lnTo>
                  <a:lnTo>
                    <a:pt x="251" y="569"/>
                  </a:lnTo>
                  <a:lnTo>
                    <a:pt x="288" y="537"/>
                  </a:lnTo>
                  <a:lnTo>
                    <a:pt x="321" y="502"/>
                  </a:lnTo>
                  <a:lnTo>
                    <a:pt x="352" y="464"/>
                  </a:lnTo>
                  <a:lnTo>
                    <a:pt x="380" y="425"/>
                  </a:lnTo>
                  <a:lnTo>
                    <a:pt x="403" y="382"/>
                  </a:lnTo>
                  <a:lnTo>
                    <a:pt x="425" y="339"/>
                  </a:lnTo>
                  <a:lnTo>
                    <a:pt x="443" y="294"/>
                  </a:lnTo>
                  <a:lnTo>
                    <a:pt x="457" y="245"/>
                  </a:lnTo>
                  <a:lnTo>
                    <a:pt x="463" y="222"/>
                  </a:lnTo>
                  <a:lnTo>
                    <a:pt x="467" y="197"/>
                  </a:lnTo>
                  <a:lnTo>
                    <a:pt x="472" y="172"/>
                  </a:lnTo>
                  <a:lnTo>
                    <a:pt x="473" y="147"/>
                  </a:lnTo>
                  <a:lnTo>
                    <a:pt x="477" y="122"/>
                  </a:lnTo>
                  <a:lnTo>
                    <a:pt x="477" y="95"/>
                  </a:lnTo>
                  <a:lnTo>
                    <a:pt x="385" y="0"/>
                  </a:lnTo>
                  <a:close/>
                </a:path>
              </a:pathLst>
            </a:custGeom>
            <a:solidFill>
              <a:schemeClr val="accent2"/>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 name="TextBox 10"/>
          <p:cNvSpPr txBox="1"/>
          <p:nvPr/>
        </p:nvSpPr>
        <p:spPr>
          <a:xfrm>
            <a:off x="4606265" y="2783655"/>
            <a:ext cx="2979470" cy="184666"/>
          </a:xfrm>
          <a:prstGeom prst="rect">
            <a:avLst/>
          </a:prstGeom>
          <a:noFill/>
          <a:ln>
            <a:noFill/>
            <a:headEnd type="none" w="med" len="med"/>
            <a:tailEnd type="none" w="med" len="med"/>
          </a:ln>
        </p:spPr>
        <p:txBody>
          <a:bodyPr wrap="none" lIns="0" tIns="0" rIns="0" bIns="0" rtlCol="0">
            <a:spAutoFit/>
          </a:bodyPr>
          <a:lstStyle>
            <a:defPPr>
              <a:defRPr lang="en-US"/>
            </a:defPPr>
            <a:lvl1pPr>
              <a:defRPr sz="1200">
                <a:solidFill>
                  <a:schemeClr val="tx2"/>
                </a:solidFill>
                <a:latin typeface="Segoe UI" pitchFamily="34" charset="0"/>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55059"/>
                </a:solidFill>
                <a:effectLst/>
                <a:uLnTx/>
                <a:uFillTx/>
                <a:latin typeface="Segoe UI" pitchFamily="34" charset="0"/>
                <a:ea typeface="Segoe UI" pitchFamily="34" charset="0"/>
                <a:cs typeface="Segoe UI" pitchFamily="34" charset="0"/>
              </a:rPr>
              <a:t>RIGHT OFFER, RIGHT TIME, RIGHT PLACE</a:t>
            </a:r>
          </a:p>
        </p:txBody>
      </p:sp>
      <p:sp>
        <p:nvSpPr>
          <p:cNvPr id="965" name="TextBox 964"/>
          <p:cNvSpPr txBox="1"/>
          <p:nvPr/>
        </p:nvSpPr>
        <p:spPr>
          <a:xfrm>
            <a:off x="4051939" y="1268486"/>
            <a:ext cx="3917163" cy="184666"/>
          </a:xfrm>
          <a:prstGeom prst="rect">
            <a:avLst/>
          </a:prstGeom>
          <a:noFill/>
          <a:ln>
            <a:noFill/>
            <a:headEnd type="none" w="med" len="med"/>
            <a:tailEnd type="none" w="med" len="med"/>
          </a:ln>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55059"/>
                </a:solidFill>
                <a:effectLst/>
                <a:uLnTx/>
                <a:uFillTx/>
                <a:ea typeface="Segoe UI" pitchFamily="34" charset="0"/>
                <a:cs typeface="Segoe UI" pitchFamily="34" charset="0"/>
              </a:rPr>
              <a:t>IoT DATA FUELS CUSTOMER AND PRODUCT INSIGHTS</a:t>
            </a:r>
          </a:p>
        </p:txBody>
      </p:sp>
      <p:sp>
        <p:nvSpPr>
          <p:cNvPr id="892" name="Rectangle 891"/>
          <p:cNvSpPr/>
          <p:nvPr/>
        </p:nvSpPr>
        <p:spPr bwMode="auto">
          <a:xfrm>
            <a:off x="4792407" y="3021826"/>
            <a:ext cx="96304" cy="3836174"/>
          </a:xfrm>
          <a:prstGeom prst="rect">
            <a:avLst/>
          </a:prstGeom>
          <a:gradFill>
            <a:gsLst>
              <a:gs pos="2500">
                <a:schemeClr val="accent5"/>
              </a:gs>
              <a:gs pos="100000">
                <a:schemeClr val="accent5">
                  <a:lumMod val="50000"/>
                </a:schemeClr>
              </a:gs>
              <a:gs pos="61000">
                <a:schemeClr val="accent5">
                  <a:alpha val="54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0" rIns="9144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500" b="0" i="0" u="none" strike="noStrike" kern="0" cap="none" spc="100" normalizeH="0" baseline="0" noProof="0" dirty="0">
                <a:ln w="3175">
                  <a:noFill/>
                </a:ln>
                <a:solidFill>
                  <a:srgbClr val="00BCF2">
                    <a:lumMod val="60000"/>
                    <a:lumOff val="40000"/>
                  </a:srgbClr>
                </a:solidFill>
                <a:effectLst/>
                <a:uLnTx/>
                <a:uFillTx/>
                <a:cs typeface="Arial" charset="0"/>
              </a:rPr>
              <a:t>1001001001001001001011010010101100101101001010000101010101011010010110100101010</a:t>
            </a:r>
          </a:p>
        </p:txBody>
      </p:sp>
      <p:grpSp>
        <p:nvGrpSpPr>
          <p:cNvPr id="1052" name="Group 1051"/>
          <p:cNvGrpSpPr/>
          <p:nvPr/>
        </p:nvGrpSpPr>
        <p:grpSpPr>
          <a:xfrm>
            <a:off x="4687489" y="4403139"/>
            <a:ext cx="327233" cy="327233"/>
            <a:chOff x="4826727" y="1390548"/>
            <a:chExt cx="502642" cy="502642"/>
          </a:xfrm>
        </p:grpSpPr>
        <p:sp>
          <p:nvSpPr>
            <p:cNvPr id="1053" name="Oval 1052"/>
            <p:cNvSpPr/>
            <p:nvPr/>
          </p:nvSpPr>
          <p:spPr bwMode="auto">
            <a:xfrm>
              <a:off x="4826727" y="1390548"/>
              <a:ext cx="502642" cy="502642"/>
            </a:xfrm>
            <a:prstGeom prst="ellipse">
              <a:avLst/>
            </a:prstGeom>
            <a:solidFill>
              <a:schemeClr val="bg2">
                <a:lumMod val="10000"/>
              </a:schemeClr>
            </a:solidFill>
            <a:ln w="2857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4" name="Left Arrow 1053"/>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390" name="Freeform 1389"/>
          <p:cNvSpPr/>
          <p:nvPr/>
        </p:nvSpPr>
        <p:spPr bwMode="auto">
          <a:xfrm>
            <a:off x="6813013" y="3917343"/>
            <a:ext cx="896682" cy="841059"/>
          </a:xfrm>
          <a:custGeom>
            <a:avLst/>
            <a:gdLst>
              <a:gd name="connsiteX0" fmla="*/ 0 w 950119"/>
              <a:gd name="connsiteY0" fmla="*/ 0 h 868936"/>
              <a:gd name="connsiteX1" fmla="*/ 500063 w 950119"/>
              <a:gd name="connsiteY1" fmla="*/ 821532 h 868936"/>
              <a:gd name="connsiteX2" fmla="*/ 950119 w 950119"/>
              <a:gd name="connsiteY2" fmla="*/ 764382 h 868936"/>
              <a:gd name="connsiteX0" fmla="*/ 0 w 1042988"/>
              <a:gd name="connsiteY0" fmla="*/ 0 h 876595"/>
              <a:gd name="connsiteX1" fmla="*/ 592932 w 1042988"/>
              <a:gd name="connsiteY1" fmla="*/ 828676 h 876595"/>
              <a:gd name="connsiteX2" fmla="*/ 1042988 w 1042988"/>
              <a:gd name="connsiteY2" fmla="*/ 771526 h 876595"/>
              <a:gd name="connsiteX0" fmla="*/ 0 w 1042988"/>
              <a:gd name="connsiteY0" fmla="*/ 0 h 876595"/>
              <a:gd name="connsiteX1" fmla="*/ 592932 w 1042988"/>
              <a:gd name="connsiteY1" fmla="*/ 828676 h 876595"/>
              <a:gd name="connsiteX2" fmla="*/ 1042988 w 1042988"/>
              <a:gd name="connsiteY2" fmla="*/ 771526 h 876595"/>
              <a:gd name="connsiteX0" fmla="*/ 0 w 1042988"/>
              <a:gd name="connsiteY0" fmla="*/ 0 h 790930"/>
              <a:gd name="connsiteX1" fmla="*/ 521494 w 1042988"/>
              <a:gd name="connsiteY1" fmla="*/ 700089 h 790930"/>
              <a:gd name="connsiteX2" fmla="*/ 1042988 w 1042988"/>
              <a:gd name="connsiteY2" fmla="*/ 771526 h 790930"/>
              <a:gd name="connsiteX0" fmla="*/ 0 w 900113"/>
              <a:gd name="connsiteY0" fmla="*/ 0 h 770938"/>
              <a:gd name="connsiteX1" fmla="*/ 521494 w 900113"/>
              <a:gd name="connsiteY1" fmla="*/ 700089 h 770938"/>
              <a:gd name="connsiteX2" fmla="*/ 900113 w 900113"/>
              <a:gd name="connsiteY2" fmla="*/ 735807 h 770938"/>
              <a:gd name="connsiteX0" fmla="*/ 0 w 900113"/>
              <a:gd name="connsiteY0" fmla="*/ 0 h 829339"/>
              <a:gd name="connsiteX1" fmla="*/ 521494 w 900113"/>
              <a:gd name="connsiteY1" fmla="*/ 700089 h 829339"/>
              <a:gd name="connsiteX2" fmla="*/ 900113 w 900113"/>
              <a:gd name="connsiteY2" fmla="*/ 735807 h 829339"/>
            </a:gdLst>
            <a:ahLst/>
            <a:cxnLst>
              <a:cxn ang="0">
                <a:pos x="connsiteX0" y="connsiteY0"/>
              </a:cxn>
              <a:cxn ang="0">
                <a:pos x="connsiteX1" y="connsiteY1"/>
              </a:cxn>
              <a:cxn ang="0">
                <a:pos x="connsiteX2" y="connsiteY2"/>
              </a:cxn>
            </a:cxnLst>
            <a:rect l="l" t="t" r="r" b="b"/>
            <a:pathLst>
              <a:path w="900113" h="829339">
                <a:moveTo>
                  <a:pt x="0" y="0"/>
                </a:moveTo>
                <a:cubicBezTo>
                  <a:pt x="263724" y="325636"/>
                  <a:pt x="321468" y="441723"/>
                  <a:pt x="521494" y="700089"/>
                </a:cubicBezTo>
                <a:cubicBezTo>
                  <a:pt x="721520" y="958455"/>
                  <a:pt x="806054" y="752476"/>
                  <a:pt x="900113" y="735807"/>
                </a:cubicBezTo>
              </a:path>
            </a:pathLst>
          </a:custGeom>
          <a:noFill/>
          <a:ln w="22225">
            <a:solidFill>
              <a:schemeClr val="accent3"/>
            </a:solidFill>
            <a:prstDash val="dash"/>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4" name="Freeform 137"/>
          <p:cNvSpPr>
            <a:spLocks/>
          </p:cNvSpPr>
          <p:nvPr/>
        </p:nvSpPr>
        <p:spPr bwMode="auto">
          <a:xfrm rot="20770394">
            <a:off x="7620298" y="4639392"/>
            <a:ext cx="117601" cy="114300"/>
          </a:xfrm>
          <a:custGeom>
            <a:avLst/>
            <a:gdLst>
              <a:gd name="T0" fmla="*/ 0 w 227"/>
              <a:gd name="T1" fmla="*/ 0 h 215"/>
              <a:gd name="T2" fmla="*/ 227 w 227"/>
              <a:gd name="T3" fmla="*/ 36 h 215"/>
              <a:gd name="T4" fmla="*/ 82 w 227"/>
              <a:gd name="T5" fmla="*/ 215 h 215"/>
              <a:gd name="T6" fmla="*/ 0 w 227"/>
              <a:gd name="T7" fmla="*/ 0 h 215"/>
            </a:gdLst>
            <a:ahLst/>
            <a:cxnLst>
              <a:cxn ang="0">
                <a:pos x="T0" y="T1"/>
              </a:cxn>
              <a:cxn ang="0">
                <a:pos x="T2" y="T3"/>
              </a:cxn>
              <a:cxn ang="0">
                <a:pos x="T4" y="T5"/>
              </a:cxn>
              <a:cxn ang="0">
                <a:pos x="T6" y="T7"/>
              </a:cxn>
            </a:cxnLst>
            <a:rect l="0" t="0" r="r" b="b"/>
            <a:pathLst>
              <a:path w="227" h="215">
                <a:moveTo>
                  <a:pt x="0" y="0"/>
                </a:moveTo>
                <a:lnTo>
                  <a:pt x="227" y="36"/>
                </a:lnTo>
                <a:lnTo>
                  <a:pt x="82" y="215"/>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30" name="Freeform 1429"/>
          <p:cNvSpPr/>
          <p:nvPr/>
        </p:nvSpPr>
        <p:spPr bwMode="auto">
          <a:xfrm>
            <a:off x="7786454" y="4505326"/>
            <a:ext cx="586008" cy="228040"/>
          </a:xfrm>
          <a:custGeom>
            <a:avLst/>
            <a:gdLst>
              <a:gd name="connsiteX0" fmla="*/ 0 w 535837"/>
              <a:gd name="connsiteY0" fmla="*/ 185738 h 185738"/>
              <a:gd name="connsiteX1" fmla="*/ 483394 w 535837"/>
              <a:gd name="connsiteY1" fmla="*/ 26194 h 185738"/>
              <a:gd name="connsiteX2" fmla="*/ 526257 w 535837"/>
              <a:gd name="connsiteY2" fmla="*/ 0 h 185738"/>
              <a:gd name="connsiteX0" fmla="*/ 0 w 586008"/>
              <a:gd name="connsiteY0" fmla="*/ 219355 h 219355"/>
              <a:gd name="connsiteX1" fmla="*/ 530459 w 586008"/>
              <a:gd name="connsiteY1" fmla="*/ 26194 h 219355"/>
              <a:gd name="connsiteX2" fmla="*/ 573322 w 586008"/>
              <a:gd name="connsiteY2" fmla="*/ 0 h 219355"/>
              <a:gd name="connsiteX0" fmla="*/ 0 w 586008"/>
              <a:gd name="connsiteY0" fmla="*/ 219355 h 228040"/>
              <a:gd name="connsiteX1" fmla="*/ 530459 w 586008"/>
              <a:gd name="connsiteY1" fmla="*/ 26194 h 228040"/>
              <a:gd name="connsiteX2" fmla="*/ 573322 w 586008"/>
              <a:gd name="connsiteY2" fmla="*/ 0 h 228040"/>
            </a:gdLst>
            <a:ahLst/>
            <a:cxnLst>
              <a:cxn ang="0">
                <a:pos x="connsiteX0" y="connsiteY0"/>
              </a:cxn>
              <a:cxn ang="0">
                <a:pos x="connsiteX1" y="connsiteY1"/>
              </a:cxn>
              <a:cxn ang="0">
                <a:pos x="connsiteX2" y="connsiteY2"/>
              </a:cxn>
            </a:cxnLst>
            <a:rect l="l" t="t" r="r" b="b"/>
            <a:pathLst>
              <a:path w="586008" h="228040">
                <a:moveTo>
                  <a:pt x="0" y="219355"/>
                </a:moveTo>
                <a:cubicBezTo>
                  <a:pt x="291120" y="269268"/>
                  <a:pt x="353639" y="90581"/>
                  <a:pt x="530459" y="26194"/>
                </a:cubicBezTo>
                <a:cubicBezTo>
                  <a:pt x="626013" y="-10365"/>
                  <a:pt x="568163" y="6350"/>
                  <a:pt x="573322" y="0"/>
                </a:cubicBezTo>
              </a:path>
            </a:pathLst>
          </a:custGeom>
          <a:noFill/>
          <a:ln w="22225">
            <a:solidFill>
              <a:schemeClr val="accent3"/>
            </a:solidFill>
            <a:prstDash val="dash"/>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94" name="Group 193"/>
          <p:cNvGrpSpPr/>
          <p:nvPr/>
        </p:nvGrpSpPr>
        <p:grpSpPr>
          <a:xfrm>
            <a:off x="2707171" y="4788336"/>
            <a:ext cx="794152" cy="1384517"/>
            <a:chOff x="2873978" y="4581068"/>
            <a:chExt cx="794152" cy="1384517"/>
          </a:xfrm>
        </p:grpSpPr>
        <p:grpSp>
          <p:nvGrpSpPr>
            <p:cNvPr id="922" name="Group 921"/>
            <p:cNvGrpSpPr/>
            <p:nvPr/>
          </p:nvGrpSpPr>
          <p:grpSpPr>
            <a:xfrm flipH="1">
              <a:off x="3523292" y="4716596"/>
              <a:ext cx="144838" cy="194971"/>
              <a:chOff x="10862862" y="1959882"/>
              <a:chExt cx="291775" cy="392769"/>
            </a:xfrm>
          </p:grpSpPr>
          <p:sp>
            <p:nvSpPr>
              <p:cNvPr id="923" name="Freeform 2367"/>
              <p:cNvSpPr>
                <a:spLocks/>
              </p:cNvSpPr>
              <p:nvPr/>
            </p:nvSpPr>
            <p:spPr bwMode="auto">
              <a:xfrm>
                <a:off x="10868474" y="1959882"/>
                <a:ext cx="286163" cy="375938"/>
              </a:xfrm>
              <a:custGeom>
                <a:avLst/>
                <a:gdLst>
                  <a:gd name="T0" fmla="*/ 266 w 306"/>
                  <a:gd name="T1" fmla="*/ 371 h 402"/>
                  <a:gd name="T2" fmla="*/ 266 w 306"/>
                  <a:gd name="T3" fmla="*/ 371 h 402"/>
                  <a:gd name="T4" fmla="*/ 277 w 306"/>
                  <a:gd name="T5" fmla="*/ 368 h 402"/>
                  <a:gd name="T6" fmla="*/ 287 w 306"/>
                  <a:gd name="T7" fmla="*/ 363 h 402"/>
                  <a:gd name="T8" fmla="*/ 294 w 306"/>
                  <a:gd name="T9" fmla="*/ 358 h 402"/>
                  <a:gd name="T10" fmla="*/ 300 w 306"/>
                  <a:gd name="T11" fmla="*/ 353 h 402"/>
                  <a:gd name="T12" fmla="*/ 303 w 306"/>
                  <a:gd name="T13" fmla="*/ 346 h 402"/>
                  <a:gd name="T14" fmla="*/ 306 w 306"/>
                  <a:gd name="T15" fmla="*/ 338 h 402"/>
                  <a:gd name="T16" fmla="*/ 306 w 306"/>
                  <a:gd name="T17" fmla="*/ 330 h 402"/>
                  <a:gd name="T18" fmla="*/ 305 w 306"/>
                  <a:gd name="T19" fmla="*/ 322 h 402"/>
                  <a:gd name="T20" fmla="*/ 301 w 306"/>
                  <a:gd name="T21" fmla="*/ 309 h 402"/>
                  <a:gd name="T22" fmla="*/ 301 w 306"/>
                  <a:gd name="T23" fmla="*/ 309 h 402"/>
                  <a:gd name="T24" fmla="*/ 208 w 306"/>
                  <a:gd name="T25" fmla="*/ 43 h 402"/>
                  <a:gd name="T26" fmla="*/ 208 w 306"/>
                  <a:gd name="T27" fmla="*/ 43 h 402"/>
                  <a:gd name="T28" fmla="*/ 201 w 306"/>
                  <a:gd name="T29" fmla="*/ 25 h 402"/>
                  <a:gd name="T30" fmla="*/ 196 w 306"/>
                  <a:gd name="T31" fmla="*/ 17 h 402"/>
                  <a:gd name="T32" fmla="*/ 191 w 306"/>
                  <a:gd name="T33" fmla="*/ 10 h 402"/>
                  <a:gd name="T34" fmla="*/ 185 w 306"/>
                  <a:gd name="T35" fmla="*/ 5 h 402"/>
                  <a:gd name="T36" fmla="*/ 182 w 306"/>
                  <a:gd name="T37" fmla="*/ 3 h 402"/>
                  <a:gd name="T38" fmla="*/ 178 w 306"/>
                  <a:gd name="T39" fmla="*/ 1 h 402"/>
                  <a:gd name="T40" fmla="*/ 174 w 306"/>
                  <a:gd name="T41" fmla="*/ 0 h 402"/>
                  <a:gd name="T42" fmla="*/ 170 w 306"/>
                  <a:gd name="T43" fmla="*/ 0 h 402"/>
                  <a:gd name="T44" fmla="*/ 165 w 306"/>
                  <a:gd name="T45" fmla="*/ 0 h 402"/>
                  <a:gd name="T46" fmla="*/ 159 w 306"/>
                  <a:gd name="T47" fmla="*/ 1 h 402"/>
                  <a:gd name="T48" fmla="*/ 37 w 306"/>
                  <a:gd name="T49" fmla="*/ 22 h 402"/>
                  <a:gd name="T50" fmla="*/ 37 w 306"/>
                  <a:gd name="T51" fmla="*/ 22 h 402"/>
                  <a:gd name="T52" fmla="*/ 30 w 306"/>
                  <a:gd name="T53" fmla="*/ 24 h 402"/>
                  <a:gd name="T54" fmla="*/ 24 w 306"/>
                  <a:gd name="T55" fmla="*/ 26 h 402"/>
                  <a:gd name="T56" fmla="*/ 19 w 306"/>
                  <a:gd name="T57" fmla="*/ 29 h 402"/>
                  <a:gd name="T58" fmla="*/ 14 w 306"/>
                  <a:gd name="T59" fmla="*/ 31 h 402"/>
                  <a:gd name="T60" fmla="*/ 10 w 306"/>
                  <a:gd name="T61" fmla="*/ 35 h 402"/>
                  <a:gd name="T62" fmla="*/ 7 w 306"/>
                  <a:gd name="T63" fmla="*/ 38 h 402"/>
                  <a:gd name="T64" fmla="*/ 4 w 306"/>
                  <a:gd name="T65" fmla="*/ 42 h 402"/>
                  <a:gd name="T66" fmla="*/ 2 w 306"/>
                  <a:gd name="T67" fmla="*/ 46 h 402"/>
                  <a:gd name="T68" fmla="*/ 0 w 306"/>
                  <a:gd name="T69" fmla="*/ 51 h 402"/>
                  <a:gd name="T70" fmla="*/ 0 w 306"/>
                  <a:gd name="T71" fmla="*/ 55 h 402"/>
                  <a:gd name="T72" fmla="*/ 0 w 306"/>
                  <a:gd name="T73" fmla="*/ 65 h 402"/>
                  <a:gd name="T74" fmla="*/ 1 w 306"/>
                  <a:gd name="T75" fmla="*/ 74 h 402"/>
                  <a:gd name="T76" fmla="*/ 5 w 306"/>
                  <a:gd name="T77" fmla="*/ 84 h 402"/>
                  <a:gd name="T78" fmla="*/ 119 w 306"/>
                  <a:gd name="T79" fmla="*/ 372 h 402"/>
                  <a:gd name="T80" fmla="*/ 119 w 306"/>
                  <a:gd name="T81" fmla="*/ 372 h 402"/>
                  <a:gd name="T82" fmla="*/ 124 w 306"/>
                  <a:gd name="T83" fmla="*/ 381 h 402"/>
                  <a:gd name="T84" fmla="*/ 130 w 306"/>
                  <a:gd name="T85" fmla="*/ 389 h 402"/>
                  <a:gd name="T86" fmla="*/ 138 w 306"/>
                  <a:gd name="T87" fmla="*/ 395 h 402"/>
                  <a:gd name="T88" fmla="*/ 147 w 306"/>
                  <a:gd name="T89" fmla="*/ 399 h 402"/>
                  <a:gd name="T90" fmla="*/ 157 w 306"/>
                  <a:gd name="T91" fmla="*/ 402 h 402"/>
                  <a:gd name="T92" fmla="*/ 169 w 306"/>
                  <a:gd name="T93" fmla="*/ 402 h 402"/>
                  <a:gd name="T94" fmla="*/ 180 w 306"/>
                  <a:gd name="T95" fmla="*/ 400 h 402"/>
                  <a:gd name="T96" fmla="*/ 193 w 306"/>
                  <a:gd name="T97" fmla="*/ 396 h 402"/>
                  <a:gd name="T98" fmla="*/ 266 w 306"/>
                  <a:gd name="T99" fmla="*/ 37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 h="402">
                    <a:moveTo>
                      <a:pt x="266" y="371"/>
                    </a:moveTo>
                    <a:lnTo>
                      <a:pt x="266" y="371"/>
                    </a:lnTo>
                    <a:lnTo>
                      <a:pt x="277" y="368"/>
                    </a:lnTo>
                    <a:lnTo>
                      <a:pt x="287" y="363"/>
                    </a:lnTo>
                    <a:lnTo>
                      <a:pt x="294" y="358"/>
                    </a:lnTo>
                    <a:lnTo>
                      <a:pt x="300" y="353"/>
                    </a:lnTo>
                    <a:lnTo>
                      <a:pt x="303" y="346"/>
                    </a:lnTo>
                    <a:lnTo>
                      <a:pt x="306" y="338"/>
                    </a:lnTo>
                    <a:lnTo>
                      <a:pt x="306" y="330"/>
                    </a:lnTo>
                    <a:lnTo>
                      <a:pt x="305" y="322"/>
                    </a:lnTo>
                    <a:lnTo>
                      <a:pt x="301" y="309"/>
                    </a:lnTo>
                    <a:lnTo>
                      <a:pt x="301" y="309"/>
                    </a:lnTo>
                    <a:lnTo>
                      <a:pt x="208" y="43"/>
                    </a:lnTo>
                    <a:lnTo>
                      <a:pt x="208" y="43"/>
                    </a:lnTo>
                    <a:lnTo>
                      <a:pt x="201" y="25"/>
                    </a:lnTo>
                    <a:lnTo>
                      <a:pt x="196" y="17"/>
                    </a:lnTo>
                    <a:lnTo>
                      <a:pt x="191" y="10"/>
                    </a:lnTo>
                    <a:lnTo>
                      <a:pt x="185" y="5"/>
                    </a:lnTo>
                    <a:lnTo>
                      <a:pt x="182" y="3"/>
                    </a:lnTo>
                    <a:lnTo>
                      <a:pt x="178" y="1"/>
                    </a:lnTo>
                    <a:lnTo>
                      <a:pt x="174" y="0"/>
                    </a:lnTo>
                    <a:lnTo>
                      <a:pt x="170" y="0"/>
                    </a:lnTo>
                    <a:lnTo>
                      <a:pt x="165" y="0"/>
                    </a:lnTo>
                    <a:lnTo>
                      <a:pt x="159" y="1"/>
                    </a:lnTo>
                    <a:lnTo>
                      <a:pt x="37" y="22"/>
                    </a:lnTo>
                    <a:lnTo>
                      <a:pt x="37" y="22"/>
                    </a:lnTo>
                    <a:lnTo>
                      <a:pt x="30" y="24"/>
                    </a:lnTo>
                    <a:lnTo>
                      <a:pt x="24" y="26"/>
                    </a:lnTo>
                    <a:lnTo>
                      <a:pt x="19" y="29"/>
                    </a:lnTo>
                    <a:lnTo>
                      <a:pt x="14" y="31"/>
                    </a:lnTo>
                    <a:lnTo>
                      <a:pt x="10" y="35"/>
                    </a:lnTo>
                    <a:lnTo>
                      <a:pt x="7" y="38"/>
                    </a:lnTo>
                    <a:lnTo>
                      <a:pt x="4" y="42"/>
                    </a:lnTo>
                    <a:lnTo>
                      <a:pt x="2" y="46"/>
                    </a:lnTo>
                    <a:lnTo>
                      <a:pt x="0" y="51"/>
                    </a:lnTo>
                    <a:lnTo>
                      <a:pt x="0" y="55"/>
                    </a:lnTo>
                    <a:lnTo>
                      <a:pt x="0" y="65"/>
                    </a:lnTo>
                    <a:lnTo>
                      <a:pt x="1" y="74"/>
                    </a:lnTo>
                    <a:lnTo>
                      <a:pt x="5" y="84"/>
                    </a:lnTo>
                    <a:lnTo>
                      <a:pt x="119" y="372"/>
                    </a:lnTo>
                    <a:lnTo>
                      <a:pt x="119" y="372"/>
                    </a:lnTo>
                    <a:lnTo>
                      <a:pt x="124" y="381"/>
                    </a:lnTo>
                    <a:lnTo>
                      <a:pt x="130" y="389"/>
                    </a:lnTo>
                    <a:lnTo>
                      <a:pt x="138" y="395"/>
                    </a:lnTo>
                    <a:lnTo>
                      <a:pt x="147" y="399"/>
                    </a:lnTo>
                    <a:lnTo>
                      <a:pt x="157" y="402"/>
                    </a:lnTo>
                    <a:lnTo>
                      <a:pt x="169" y="402"/>
                    </a:lnTo>
                    <a:lnTo>
                      <a:pt x="180" y="400"/>
                    </a:lnTo>
                    <a:lnTo>
                      <a:pt x="193" y="396"/>
                    </a:lnTo>
                    <a:lnTo>
                      <a:pt x="266" y="37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4" name="Freeform 2368"/>
              <p:cNvSpPr>
                <a:spLocks/>
              </p:cNvSpPr>
              <p:nvPr/>
            </p:nvSpPr>
            <p:spPr bwMode="auto">
              <a:xfrm>
                <a:off x="10862862" y="2004769"/>
                <a:ext cx="291772" cy="347882"/>
              </a:xfrm>
              <a:custGeom>
                <a:avLst/>
                <a:gdLst>
                  <a:gd name="T0" fmla="*/ 273 w 313"/>
                  <a:gd name="T1" fmla="*/ 323 h 373"/>
                  <a:gd name="T2" fmla="*/ 200 w 313"/>
                  <a:gd name="T3" fmla="*/ 348 h 373"/>
                  <a:gd name="T4" fmla="*/ 200 w 313"/>
                  <a:gd name="T5" fmla="*/ 348 h 373"/>
                  <a:gd name="T6" fmla="*/ 187 w 313"/>
                  <a:gd name="T7" fmla="*/ 352 h 373"/>
                  <a:gd name="T8" fmla="*/ 176 w 313"/>
                  <a:gd name="T9" fmla="*/ 354 h 373"/>
                  <a:gd name="T10" fmla="*/ 164 w 313"/>
                  <a:gd name="T11" fmla="*/ 354 h 373"/>
                  <a:gd name="T12" fmla="*/ 154 w 313"/>
                  <a:gd name="T13" fmla="*/ 351 h 373"/>
                  <a:gd name="T14" fmla="*/ 145 w 313"/>
                  <a:gd name="T15" fmla="*/ 347 h 373"/>
                  <a:gd name="T16" fmla="*/ 137 w 313"/>
                  <a:gd name="T17" fmla="*/ 341 h 373"/>
                  <a:gd name="T18" fmla="*/ 131 w 313"/>
                  <a:gd name="T19" fmla="*/ 333 h 373"/>
                  <a:gd name="T20" fmla="*/ 126 w 313"/>
                  <a:gd name="T21" fmla="*/ 324 h 373"/>
                  <a:gd name="T22" fmla="*/ 12 w 313"/>
                  <a:gd name="T23" fmla="*/ 36 h 373"/>
                  <a:gd name="T24" fmla="*/ 12 w 313"/>
                  <a:gd name="T25" fmla="*/ 36 h 373"/>
                  <a:gd name="T26" fmla="*/ 8 w 313"/>
                  <a:gd name="T27" fmla="*/ 27 h 373"/>
                  <a:gd name="T28" fmla="*/ 7 w 313"/>
                  <a:gd name="T29" fmla="*/ 18 h 373"/>
                  <a:gd name="T30" fmla="*/ 7 w 313"/>
                  <a:gd name="T31" fmla="*/ 9 h 373"/>
                  <a:gd name="T32" fmla="*/ 8 w 313"/>
                  <a:gd name="T33" fmla="*/ 0 h 373"/>
                  <a:gd name="T34" fmla="*/ 8 w 313"/>
                  <a:gd name="T35" fmla="*/ 0 h 373"/>
                  <a:gd name="T36" fmla="*/ 4 w 313"/>
                  <a:gd name="T37" fmla="*/ 10 h 373"/>
                  <a:gd name="T38" fmla="*/ 2 w 313"/>
                  <a:gd name="T39" fmla="*/ 15 h 373"/>
                  <a:gd name="T40" fmla="*/ 1 w 313"/>
                  <a:gd name="T41" fmla="*/ 22 h 373"/>
                  <a:gd name="T42" fmla="*/ 0 w 313"/>
                  <a:gd name="T43" fmla="*/ 29 h 373"/>
                  <a:gd name="T44" fmla="*/ 0 w 313"/>
                  <a:gd name="T45" fmla="*/ 37 h 373"/>
                  <a:gd name="T46" fmla="*/ 2 w 313"/>
                  <a:gd name="T47" fmla="*/ 46 h 373"/>
                  <a:gd name="T48" fmla="*/ 5 w 313"/>
                  <a:gd name="T49" fmla="*/ 55 h 373"/>
                  <a:gd name="T50" fmla="*/ 119 w 313"/>
                  <a:gd name="T51" fmla="*/ 342 h 373"/>
                  <a:gd name="T52" fmla="*/ 119 w 313"/>
                  <a:gd name="T53" fmla="*/ 342 h 373"/>
                  <a:gd name="T54" fmla="*/ 124 w 313"/>
                  <a:gd name="T55" fmla="*/ 352 h 373"/>
                  <a:gd name="T56" fmla="*/ 130 w 313"/>
                  <a:gd name="T57" fmla="*/ 360 h 373"/>
                  <a:gd name="T58" fmla="*/ 138 w 313"/>
                  <a:gd name="T59" fmla="*/ 366 h 373"/>
                  <a:gd name="T60" fmla="*/ 147 w 313"/>
                  <a:gd name="T61" fmla="*/ 370 h 373"/>
                  <a:gd name="T62" fmla="*/ 157 w 313"/>
                  <a:gd name="T63" fmla="*/ 372 h 373"/>
                  <a:gd name="T64" fmla="*/ 168 w 313"/>
                  <a:gd name="T65" fmla="*/ 373 h 373"/>
                  <a:gd name="T66" fmla="*/ 180 w 313"/>
                  <a:gd name="T67" fmla="*/ 371 h 373"/>
                  <a:gd name="T68" fmla="*/ 193 w 313"/>
                  <a:gd name="T69" fmla="*/ 368 h 373"/>
                  <a:gd name="T70" fmla="*/ 266 w 313"/>
                  <a:gd name="T71" fmla="*/ 342 h 373"/>
                  <a:gd name="T72" fmla="*/ 266 w 313"/>
                  <a:gd name="T73" fmla="*/ 342 h 373"/>
                  <a:gd name="T74" fmla="*/ 276 w 313"/>
                  <a:gd name="T75" fmla="*/ 338 h 373"/>
                  <a:gd name="T76" fmla="*/ 285 w 313"/>
                  <a:gd name="T77" fmla="*/ 335 h 373"/>
                  <a:gd name="T78" fmla="*/ 293 w 313"/>
                  <a:gd name="T79" fmla="*/ 332 h 373"/>
                  <a:gd name="T80" fmla="*/ 299 w 313"/>
                  <a:gd name="T81" fmla="*/ 327 h 373"/>
                  <a:gd name="T82" fmla="*/ 303 w 313"/>
                  <a:gd name="T83" fmla="*/ 321 h 373"/>
                  <a:gd name="T84" fmla="*/ 307 w 313"/>
                  <a:gd name="T85" fmla="*/ 314 h 373"/>
                  <a:gd name="T86" fmla="*/ 310 w 313"/>
                  <a:gd name="T87" fmla="*/ 304 h 373"/>
                  <a:gd name="T88" fmla="*/ 313 w 313"/>
                  <a:gd name="T89" fmla="*/ 291 h 373"/>
                  <a:gd name="T90" fmla="*/ 313 w 313"/>
                  <a:gd name="T91" fmla="*/ 291 h 373"/>
                  <a:gd name="T92" fmla="*/ 313 w 313"/>
                  <a:gd name="T93" fmla="*/ 291 h 373"/>
                  <a:gd name="T94" fmla="*/ 311 w 313"/>
                  <a:gd name="T95" fmla="*/ 297 h 373"/>
                  <a:gd name="T96" fmla="*/ 309 w 313"/>
                  <a:gd name="T97" fmla="*/ 302 h 373"/>
                  <a:gd name="T98" fmla="*/ 305 w 313"/>
                  <a:gd name="T99" fmla="*/ 306 h 373"/>
                  <a:gd name="T100" fmla="*/ 301 w 313"/>
                  <a:gd name="T101" fmla="*/ 310 h 373"/>
                  <a:gd name="T102" fmla="*/ 295 w 313"/>
                  <a:gd name="T103" fmla="*/ 314 h 373"/>
                  <a:gd name="T104" fmla="*/ 288 w 313"/>
                  <a:gd name="T105" fmla="*/ 318 h 373"/>
                  <a:gd name="T106" fmla="*/ 281 w 313"/>
                  <a:gd name="T107" fmla="*/ 321 h 373"/>
                  <a:gd name="T108" fmla="*/ 273 w 313"/>
                  <a:gd name="T109" fmla="*/ 323 h 373"/>
                  <a:gd name="T110" fmla="*/ 273 w 313"/>
                  <a:gd name="T111" fmla="*/ 32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3" h="373">
                    <a:moveTo>
                      <a:pt x="273" y="323"/>
                    </a:moveTo>
                    <a:lnTo>
                      <a:pt x="200" y="348"/>
                    </a:lnTo>
                    <a:lnTo>
                      <a:pt x="200" y="348"/>
                    </a:lnTo>
                    <a:lnTo>
                      <a:pt x="187" y="352"/>
                    </a:lnTo>
                    <a:lnTo>
                      <a:pt x="176" y="354"/>
                    </a:lnTo>
                    <a:lnTo>
                      <a:pt x="164" y="354"/>
                    </a:lnTo>
                    <a:lnTo>
                      <a:pt x="154" y="351"/>
                    </a:lnTo>
                    <a:lnTo>
                      <a:pt x="145" y="347"/>
                    </a:lnTo>
                    <a:lnTo>
                      <a:pt x="137" y="341"/>
                    </a:lnTo>
                    <a:lnTo>
                      <a:pt x="131" y="333"/>
                    </a:lnTo>
                    <a:lnTo>
                      <a:pt x="126" y="324"/>
                    </a:lnTo>
                    <a:lnTo>
                      <a:pt x="12" y="36"/>
                    </a:lnTo>
                    <a:lnTo>
                      <a:pt x="12" y="36"/>
                    </a:lnTo>
                    <a:lnTo>
                      <a:pt x="8" y="27"/>
                    </a:lnTo>
                    <a:lnTo>
                      <a:pt x="7" y="18"/>
                    </a:lnTo>
                    <a:lnTo>
                      <a:pt x="7" y="9"/>
                    </a:lnTo>
                    <a:lnTo>
                      <a:pt x="8" y="0"/>
                    </a:lnTo>
                    <a:lnTo>
                      <a:pt x="8" y="0"/>
                    </a:lnTo>
                    <a:lnTo>
                      <a:pt x="4" y="10"/>
                    </a:lnTo>
                    <a:lnTo>
                      <a:pt x="2" y="15"/>
                    </a:lnTo>
                    <a:lnTo>
                      <a:pt x="1" y="22"/>
                    </a:lnTo>
                    <a:lnTo>
                      <a:pt x="0" y="29"/>
                    </a:lnTo>
                    <a:lnTo>
                      <a:pt x="0" y="37"/>
                    </a:lnTo>
                    <a:lnTo>
                      <a:pt x="2" y="46"/>
                    </a:lnTo>
                    <a:lnTo>
                      <a:pt x="5" y="55"/>
                    </a:lnTo>
                    <a:lnTo>
                      <a:pt x="119" y="342"/>
                    </a:lnTo>
                    <a:lnTo>
                      <a:pt x="119" y="342"/>
                    </a:lnTo>
                    <a:lnTo>
                      <a:pt x="124" y="352"/>
                    </a:lnTo>
                    <a:lnTo>
                      <a:pt x="130" y="360"/>
                    </a:lnTo>
                    <a:lnTo>
                      <a:pt x="138" y="366"/>
                    </a:lnTo>
                    <a:lnTo>
                      <a:pt x="147" y="370"/>
                    </a:lnTo>
                    <a:lnTo>
                      <a:pt x="157" y="372"/>
                    </a:lnTo>
                    <a:lnTo>
                      <a:pt x="168" y="373"/>
                    </a:lnTo>
                    <a:lnTo>
                      <a:pt x="180" y="371"/>
                    </a:lnTo>
                    <a:lnTo>
                      <a:pt x="193" y="368"/>
                    </a:lnTo>
                    <a:lnTo>
                      <a:pt x="266" y="342"/>
                    </a:lnTo>
                    <a:lnTo>
                      <a:pt x="266" y="342"/>
                    </a:lnTo>
                    <a:lnTo>
                      <a:pt x="276" y="338"/>
                    </a:lnTo>
                    <a:lnTo>
                      <a:pt x="285" y="335"/>
                    </a:lnTo>
                    <a:lnTo>
                      <a:pt x="293" y="332"/>
                    </a:lnTo>
                    <a:lnTo>
                      <a:pt x="299" y="327"/>
                    </a:lnTo>
                    <a:lnTo>
                      <a:pt x="303" y="321"/>
                    </a:lnTo>
                    <a:lnTo>
                      <a:pt x="307" y="314"/>
                    </a:lnTo>
                    <a:lnTo>
                      <a:pt x="310" y="304"/>
                    </a:lnTo>
                    <a:lnTo>
                      <a:pt x="313" y="291"/>
                    </a:lnTo>
                    <a:lnTo>
                      <a:pt x="313" y="291"/>
                    </a:lnTo>
                    <a:lnTo>
                      <a:pt x="313" y="291"/>
                    </a:lnTo>
                    <a:lnTo>
                      <a:pt x="311" y="297"/>
                    </a:lnTo>
                    <a:lnTo>
                      <a:pt x="309" y="302"/>
                    </a:lnTo>
                    <a:lnTo>
                      <a:pt x="305" y="306"/>
                    </a:lnTo>
                    <a:lnTo>
                      <a:pt x="301" y="310"/>
                    </a:lnTo>
                    <a:lnTo>
                      <a:pt x="295" y="314"/>
                    </a:lnTo>
                    <a:lnTo>
                      <a:pt x="288" y="318"/>
                    </a:lnTo>
                    <a:lnTo>
                      <a:pt x="281" y="321"/>
                    </a:lnTo>
                    <a:lnTo>
                      <a:pt x="273" y="323"/>
                    </a:lnTo>
                    <a:lnTo>
                      <a:pt x="273" y="323"/>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5" name="Freeform 2369"/>
              <p:cNvSpPr>
                <a:spLocks/>
              </p:cNvSpPr>
              <p:nvPr/>
            </p:nvSpPr>
            <p:spPr bwMode="auto">
              <a:xfrm>
                <a:off x="10890918" y="1987935"/>
                <a:ext cx="230053" cy="286162"/>
              </a:xfrm>
              <a:custGeom>
                <a:avLst/>
                <a:gdLst>
                  <a:gd name="T0" fmla="*/ 166 w 243"/>
                  <a:gd name="T1" fmla="*/ 18 h 305"/>
                  <a:gd name="T2" fmla="*/ 166 w 243"/>
                  <a:gd name="T3" fmla="*/ 18 h 305"/>
                  <a:gd name="T4" fmla="*/ 162 w 243"/>
                  <a:gd name="T5" fmla="*/ 11 h 305"/>
                  <a:gd name="T6" fmla="*/ 158 w 243"/>
                  <a:gd name="T7" fmla="*/ 6 h 305"/>
                  <a:gd name="T8" fmla="*/ 153 w 243"/>
                  <a:gd name="T9" fmla="*/ 3 h 305"/>
                  <a:gd name="T10" fmla="*/ 148 w 243"/>
                  <a:gd name="T11" fmla="*/ 1 h 305"/>
                  <a:gd name="T12" fmla="*/ 144 w 243"/>
                  <a:gd name="T13" fmla="*/ 0 h 305"/>
                  <a:gd name="T14" fmla="*/ 139 w 243"/>
                  <a:gd name="T15" fmla="*/ 0 h 305"/>
                  <a:gd name="T16" fmla="*/ 131 w 243"/>
                  <a:gd name="T17" fmla="*/ 0 h 305"/>
                  <a:gd name="T18" fmla="*/ 131 w 243"/>
                  <a:gd name="T19" fmla="*/ 0 h 305"/>
                  <a:gd name="T20" fmla="*/ 122 w 243"/>
                  <a:gd name="T21" fmla="*/ 2 h 305"/>
                  <a:gd name="T22" fmla="*/ 122 w 243"/>
                  <a:gd name="T23" fmla="*/ 2 h 305"/>
                  <a:gd name="T24" fmla="*/ 30 w 243"/>
                  <a:gd name="T25" fmla="*/ 22 h 305"/>
                  <a:gd name="T26" fmla="*/ 30 w 243"/>
                  <a:gd name="T27" fmla="*/ 22 h 305"/>
                  <a:gd name="T28" fmla="*/ 20 w 243"/>
                  <a:gd name="T29" fmla="*/ 25 h 305"/>
                  <a:gd name="T30" fmla="*/ 10 w 243"/>
                  <a:gd name="T31" fmla="*/ 29 h 305"/>
                  <a:gd name="T32" fmla="*/ 10 w 243"/>
                  <a:gd name="T33" fmla="*/ 29 h 305"/>
                  <a:gd name="T34" fmla="*/ 5 w 243"/>
                  <a:gd name="T35" fmla="*/ 32 h 305"/>
                  <a:gd name="T36" fmla="*/ 2 w 243"/>
                  <a:gd name="T37" fmla="*/ 37 h 305"/>
                  <a:gd name="T38" fmla="*/ 0 w 243"/>
                  <a:gd name="T39" fmla="*/ 42 h 305"/>
                  <a:gd name="T40" fmla="*/ 0 w 243"/>
                  <a:gd name="T41" fmla="*/ 48 h 305"/>
                  <a:gd name="T42" fmla="*/ 1 w 243"/>
                  <a:gd name="T43" fmla="*/ 53 h 305"/>
                  <a:gd name="T44" fmla="*/ 2 w 243"/>
                  <a:gd name="T45" fmla="*/ 59 h 305"/>
                  <a:gd name="T46" fmla="*/ 5 w 243"/>
                  <a:gd name="T47" fmla="*/ 68 h 305"/>
                  <a:gd name="T48" fmla="*/ 5 w 243"/>
                  <a:gd name="T49" fmla="*/ 68 h 305"/>
                  <a:gd name="T50" fmla="*/ 89 w 243"/>
                  <a:gd name="T51" fmla="*/ 276 h 305"/>
                  <a:gd name="T52" fmla="*/ 89 w 243"/>
                  <a:gd name="T53" fmla="*/ 276 h 305"/>
                  <a:gd name="T54" fmla="*/ 96 w 243"/>
                  <a:gd name="T55" fmla="*/ 291 h 305"/>
                  <a:gd name="T56" fmla="*/ 99 w 243"/>
                  <a:gd name="T57" fmla="*/ 296 h 305"/>
                  <a:gd name="T58" fmla="*/ 104 w 243"/>
                  <a:gd name="T59" fmla="*/ 301 h 305"/>
                  <a:gd name="T60" fmla="*/ 109 w 243"/>
                  <a:gd name="T61" fmla="*/ 303 h 305"/>
                  <a:gd name="T62" fmla="*/ 115 w 243"/>
                  <a:gd name="T63" fmla="*/ 305 h 305"/>
                  <a:gd name="T64" fmla="*/ 122 w 243"/>
                  <a:gd name="T65" fmla="*/ 305 h 305"/>
                  <a:gd name="T66" fmla="*/ 131 w 243"/>
                  <a:gd name="T67" fmla="*/ 303 h 305"/>
                  <a:gd name="T68" fmla="*/ 131 w 243"/>
                  <a:gd name="T69" fmla="*/ 303 h 305"/>
                  <a:gd name="T70" fmla="*/ 170 w 243"/>
                  <a:gd name="T71" fmla="*/ 291 h 305"/>
                  <a:gd name="T72" fmla="*/ 204 w 243"/>
                  <a:gd name="T73" fmla="*/ 281 h 305"/>
                  <a:gd name="T74" fmla="*/ 204 w 243"/>
                  <a:gd name="T75" fmla="*/ 281 h 305"/>
                  <a:gd name="T76" fmla="*/ 223 w 243"/>
                  <a:gd name="T77" fmla="*/ 275 h 305"/>
                  <a:gd name="T78" fmla="*/ 231 w 243"/>
                  <a:gd name="T79" fmla="*/ 272 h 305"/>
                  <a:gd name="T80" fmla="*/ 237 w 243"/>
                  <a:gd name="T81" fmla="*/ 268 h 305"/>
                  <a:gd name="T82" fmla="*/ 241 w 243"/>
                  <a:gd name="T83" fmla="*/ 264 h 305"/>
                  <a:gd name="T84" fmla="*/ 242 w 243"/>
                  <a:gd name="T85" fmla="*/ 262 h 305"/>
                  <a:gd name="T86" fmla="*/ 243 w 243"/>
                  <a:gd name="T87" fmla="*/ 259 h 305"/>
                  <a:gd name="T88" fmla="*/ 243 w 243"/>
                  <a:gd name="T89" fmla="*/ 251 h 305"/>
                  <a:gd name="T90" fmla="*/ 241 w 243"/>
                  <a:gd name="T91" fmla="*/ 242 h 305"/>
                  <a:gd name="T92" fmla="*/ 241 w 243"/>
                  <a:gd name="T93" fmla="*/ 242 h 305"/>
                  <a:gd name="T94" fmla="*/ 166 w 243"/>
                  <a:gd name="T95" fmla="*/ 18 h 305"/>
                  <a:gd name="T96" fmla="*/ 166 w 243"/>
                  <a:gd name="T97" fmla="*/ 18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305">
                    <a:moveTo>
                      <a:pt x="166" y="18"/>
                    </a:moveTo>
                    <a:lnTo>
                      <a:pt x="166" y="18"/>
                    </a:lnTo>
                    <a:lnTo>
                      <a:pt x="162" y="11"/>
                    </a:lnTo>
                    <a:lnTo>
                      <a:pt x="158" y="6"/>
                    </a:lnTo>
                    <a:lnTo>
                      <a:pt x="153" y="3"/>
                    </a:lnTo>
                    <a:lnTo>
                      <a:pt x="148" y="1"/>
                    </a:lnTo>
                    <a:lnTo>
                      <a:pt x="144" y="0"/>
                    </a:lnTo>
                    <a:lnTo>
                      <a:pt x="139" y="0"/>
                    </a:lnTo>
                    <a:lnTo>
                      <a:pt x="131" y="0"/>
                    </a:lnTo>
                    <a:lnTo>
                      <a:pt x="131" y="0"/>
                    </a:lnTo>
                    <a:lnTo>
                      <a:pt x="122" y="2"/>
                    </a:lnTo>
                    <a:lnTo>
                      <a:pt x="122" y="2"/>
                    </a:lnTo>
                    <a:lnTo>
                      <a:pt x="30" y="22"/>
                    </a:lnTo>
                    <a:lnTo>
                      <a:pt x="30" y="22"/>
                    </a:lnTo>
                    <a:lnTo>
                      <a:pt x="20" y="25"/>
                    </a:lnTo>
                    <a:lnTo>
                      <a:pt x="10" y="29"/>
                    </a:lnTo>
                    <a:lnTo>
                      <a:pt x="10" y="29"/>
                    </a:lnTo>
                    <a:lnTo>
                      <a:pt x="5" y="32"/>
                    </a:lnTo>
                    <a:lnTo>
                      <a:pt x="2" y="37"/>
                    </a:lnTo>
                    <a:lnTo>
                      <a:pt x="0" y="42"/>
                    </a:lnTo>
                    <a:lnTo>
                      <a:pt x="0" y="48"/>
                    </a:lnTo>
                    <a:lnTo>
                      <a:pt x="1" y="53"/>
                    </a:lnTo>
                    <a:lnTo>
                      <a:pt x="2" y="59"/>
                    </a:lnTo>
                    <a:lnTo>
                      <a:pt x="5" y="68"/>
                    </a:lnTo>
                    <a:lnTo>
                      <a:pt x="5" y="68"/>
                    </a:lnTo>
                    <a:lnTo>
                      <a:pt x="89" y="276"/>
                    </a:lnTo>
                    <a:lnTo>
                      <a:pt x="89" y="276"/>
                    </a:lnTo>
                    <a:lnTo>
                      <a:pt x="96" y="291"/>
                    </a:lnTo>
                    <a:lnTo>
                      <a:pt x="99" y="296"/>
                    </a:lnTo>
                    <a:lnTo>
                      <a:pt x="104" y="301"/>
                    </a:lnTo>
                    <a:lnTo>
                      <a:pt x="109" y="303"/>
                    </a:lnTo>
                    <a:lnTo>
                      <a:pt x="115" y="305"/>
                    </a:lnTo>
                    <a:lnTo>
                      <a:pt x="122" y="305"/>
                    </a:lnTo>
                    <a:lnTo>
                      <a:pt x="131" y="303"/>
                    </a:lnTo>
                    <a:lnTo>
                      <a:pt x="131" y="303"/>
                    </a:lnTo>
                    <a:lnTo>
                      <a:pt x="170" y="291"/>
                    </a:lnTo>
                    <a:lnTo>
                      <a:pt x="204" y="281"/>
                    </a:lnTo>
                    <a:lnTo>
                      <a:pt x="204" y="281"/>
                    </a:lnTo>
                    <a:lnTo>
                      <a:pt x="223" y="275"/>
                    </a:lnTo>
                    <a:lnTo>
                      <a:pt x="231" y="272"/>
                    </a:lnTo>
                    <a:lnTo>
                      <a:pt x="237" y="268"/>
                    </a:lnTo>
                    <a:lnTo>
                      <a:pt x="241" y="264"/>
                    </a:lnTo>
                    <a:lnTo>
                      <a:pt x="242" y="262"/>
                    </a:lnTo>
                    <a:lnTo>
                      <a:pt x="243" y="259"/>
                    </a:lnTo>
                    <a:lnTo>
                      <a:pt x="243" y="251"/>
                    </a:lnTo>
                    <a:lnTo>
                      <a:pt x="241" y="242"/>
                    </a:lnTo>
                    <a:lnTo>
                      <a:pt x="241" y="242"/>
                    </a:lnTo>
                    <a:lnTo>
                      <a:pt x="166" y="18"/>
                    </a:lnTo>
                    <a:lnTo>
                      <a:pt x="166"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8" name="Group 17"/>
            <p:cNvGrpSpPr/>
            <p:nvPr/>
          </p:nvGrpSpPr>
          <p:grpSpPr>
            <a:xfrm>
              <a:off x="2873978" y="4581068"/>
              <a:ext cx="771998" cy="1384517"/>
              <a:chOff x="3118660" y="4510239"/>
              <a:chExt cx="771998" cy="1384517"/>
            </a:xfrm>
          </p:grpSpPr>
          <p:grpSp>
            <p:nvGrpSpPr>
              <p:cNvPr id="512" name="Group 511"/>
              <p:cNvGrpSpPr/>
              <p:nvPr/>
            </p:nvGrpSpPr>
            <p:grpSpPr>
              <a:xfrm flipH="1">
                <a:off x="3259012" y="4510239"/>
                <a:ext cx="631646" cy="1384517"/>
                <a:chOff x="7550150" y="4914901"/>
                <a:chExt cx="314325" cy="688975"/>
              </a:xfrm>
            </p:grpSpPr>
            <p:sp>
              <p:nvSpPr>
                <p:cNvPr id="513" name="Freeform 2370"/>
                <p:cNvSpPr>
                  <a:spLocks/>
                </p:cNvSpPr>
                <p:nvPr/>
              </p:nvSpPr>
              <p:spPr bwMode="auto">
                <a:xfrm>
                  <a:off x="7742238" y="4914901"/>
                  <a:ext cx="109538" cy="111125"/>
                </a:xfrm>
                <a:custGeom>
                  <a:avLst/>
                  <a:gdLst>
                    <a:gd name="T0" fmla="*/ 80 w 415"/>
                    <a:gd name="T1" fmla="*/ 41 h 424"/>
                    <a:gd name="T2" fmla="*/ 105 w 415"/>
                    <a:gd name="T3" fmla="*/ 24 h 424"/>
                    <a:gd name="T4" fmla="*/ 130 w 415"/>
                    <a:gd name="T5" fmla="*/ 12 h 424"/>
                    <a:gd name="T6" fmla="*/ 156 w 415"/>
                    <a:gd name="T7" fmla="*/ 4 h 424"/>
                    <a:gd name="T8" fmla="*/ 184 w 415"/>
                    <a:gd name="T9" fmla="*/ 0 h 424"/>
                    <a:gd name="T10" fmla="*/ 211 w 415"/>
                    <a:gd name="T11" fmla="*/ 0 h 424"/>
                    <a:gd name="T12" fmla="*/ 239 w 415"/>
                    <a:gd name="T13" fmla="*/ 4 h 424"/>
                    <a:gd name="T14" fmla="*/ 266 w 415"/>
                    <a:gd name="T15" fmla="*/ 11 h 424"/>
                    <a:gd name="T16" fmla="*/ 292 w 415"/>
                    <a:gd name="T17" fmla="*/ 21 h 424"/>
                    <a:gd name="T18" fmla="*/ 316 w 415"/>
                    <a:gd name="T19" fmla="*/ 36 h 424"/>
                    <a:gd name="T20" fmla="*/ 339 w 415"/>
                    <a:gd name="T21" fmla="*/ 52 h 424"/>
                    <a:gd name="T22" fmla="*/ 359 w 415"/>
                    <a:gd name="T23" fmla="*/ 70 h 424"/>
                    <a:gd name="T24" fmla="*/ 377 w 415"/>
                    <a:gd name="T25" fmla="*/ 91 h 424"/>
                    <a:gd name="T26" fmla="*/ 391 w 415"/>
                    <a:gd name="T27" fmla="*/ 115 h 424"/>
                    <a:gd name="T28" fmla="*/ 404 w 415"/>
                    <a:gd name="T29" fmla="*/ 140 h 424"/>
                    <a:gd name="T30" fmla="*/ 411 w 415"/>
                    <a:gd name="T31" fmla="*/ 168 h 424"/>
                    <a:gd name="T32" fmla="*/ 414 w 415"/>
                    <a:gd name="T33" fmla="*/ 197 h 424"/>
                    <a:gd name="T34" fmla="*/ 415 w 415"/>
                    <a:gd name="T35" fmla="*/ 209 h 424"/>
                    <a:gd name="T36" fmla="*/ 415 w 415"/>
                    <a:gd name="T37" fmla="*/ 235 h 424"/>
                    <a:gd name="T38" fmla="*/ 411 w 415"/>
                    <a:gd name="T39" fmla="*/ 259 h 424"/>
                    <a:gd name="T40" fmla="*/ 405 w 415"/>
                    <a:gd name="T41" fmla="*/ 284 h 424"/>
                    <a:gd name="T42" fmla="*/ 394 w 415"/>
                    <a:gd name="T43" fmla="*/ 306 h 424"/>
                    <a:gd name="T44" fmla="*/ 382 w 415"/>
                    <a:gd name="T45" fmla="*/ 327 h 424"/>
                    <a:gd name="T46" fmla="*/ 368 w 415"/>
                    <a:gd name="T47" fmla="*/ 348 h 424"/>
                    <a:gd name="T48" fmla="*/ 352 w 415"/>
                    <a:gd name="T49" fmla="*/ 366 h 424"/>
                    <a:gd name="T50" fmla="*/ 333 w 415"/>
                    <a:gd name="T51" fmla="*/ 381 h 424"/>
                    <a:gd name="T52" fmla="*/ 313 w 415"/>
                    <a:gd name="T53" fmla="*/ 396 h 424"/>
                    <a:gd name="T54" fmla="*/ 292 w 415"/>
                    <a:gd name="T55" fmla="*/ 407 h 424"/>
                    <a:gd name="T56" fmla="*/ 269 w 415"/>
                    <a:gd name="T57" fmla="*/ 416 h 424"/>
                    <a:gd name="T58" fmla="*/ 246 w 415"/>
                    <a:gd name="T59" fmla="*/ 421 h 424"/>
                    <a:gd name="T60" fmla="*/ 222 w 415"/>
                    <a:gd name="T61" fmla="*/ 424 h 424"/>
                    <a:gd name="T62" fmla="*/ 196 w 415"/>
                    <a:gd name="T63" fmla="*/ 423 h 424"/>
                    <a:gd name="T64" fmla="*/ 171 w 415"/>
                    <a:gd name="T65" fmla="*/ 418 h 424"/>
                    <a:gd name="T66" fmla="*/ 159 w 415"/>
                    <a:gd name="T67" fmla="*/ 414 h 424"/>
                    <a:gd name="T68" fmla="*/ 130 w 415"/>
                    <a:gd name="T69" fmla="*/ 405 h 424"/>
                    <a:gd name="T70" fmla="*/ 104 w 415"/>
                    <a:gd name="T71" fmla="*/ 392 h 424"/>
                    <a:gd name="T72" fmla="*/ 79 w 415"/>
                    <a:gd name="T73" fmla="*/ 374 h 424"/>
                    <a:gd name="T74" fmla="*/ 59 w 415"/>
                    <a:gd name="T75" fmla="*/ 354 h 424"/>
                    <a:gd name="T76" fmla="*/ 41 w 415"/>
                    <a:gd name="T77" fmla="*/ 331 h 424"/>
                    <a:gd name="T78" fmla="*/ 25 w 415"/>
                    <a:gd name="T79" fmla="*/ 305 h 424"/>
                    <a:gd name="T80" fmla="*/ 14 w 415"/>
                    <a:gd name="T81" fmla="*/ 278 h 424"/>
                    <a:gd name="T82" fmla="*/ 6 w 415"/>
                    <a:gd name="T83" fmla="*/ 249 h 424"/>
                    <a:gd name="T84" fmla="*/ 1 w 415"/>
                    <a:gd name="T85" fmla="*/ 221 h 424"/>
                    <a:gd name="T86" fmla="*/ 0 w 415"/>
                    <a:gd name="T87" fmla="*/ 191 h 424"/>
                    <a:gd name="T88" fmla="*/ 3 w 415"/>
                    <a:gd name="T89" fmla="*/ 162 h 424"/>
                    <a:gd name="T90" fmla="*/ 10 w 415"/>
                    <a:gd name="T91" fmla="*/ 134 h 424"/>
                    <a:gd name="T92" fmla="*/ 21 w 415"/>
                    <a:gd name="T93" fmla="*/ 108 h 424"/>
                    <a:gd name="T94" fmla="*/ 36 w 415"/>
                    <a:gd name="T95" fmla="*/ 82 h 424"/>
                    <a:gd name="T96" fmla="*/ 56 w 415"/>
                    <a:gd name="T97" fmla="*/ 60 h 424"/>
                    <a:gd name="T98" fmla="*/ 80 w 415"/>
                    <a:gd name="T99" fmla="*/ 41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5" h="424">
                      <a:moveTo>
                        <a:pt x="80" y="41"/>
                      </a:moveTo>
                      <a:lnTo>
                        <a:pt x="80" y="41"/>
                      </a:lnTo>
                      <a:lnTo>
                        <a:pt x="92" y="31"/>
                      </a:lnTo>
                      <a:lnTo>
                        <a:pt x="105" y="24"/>
                      </a:lnTo>
                      <a:lnTo>
                        <a:pt x="117" y="17"/>
                      </a:lnTo>
                      <a:lnTo>
                        <a:pt x="130" y="12"/>
                      </a:lnTo>
                      <a:lnTo>
                        <a:pt x="143" y="7"/>
                      </a:lnTo>
                      <a:lnTo>
                        <a:pt x="156" y="4"/>
                      </a:lnTo>
                      <a:lnTo>
                        <a:pt x="170" y="2"/>
                      </a:lnTo>
                      <a:lnTo>
                        <a:pt x="184" y="0"/>
                      </a:lnTo>
                      <a:lnTo>
                        <a:pt x="198" y="0"/>
                      </a:lnTo>
                      <a:lnTo>
                        <a:pt x="211" y="0"/>
                      </a:lnTo>
                      <a:lnTo>
                        <a:pt x="226" y="2"/>
                      </a:lnTo>
                      <a:lnTo>
                        <a:pt x="239" y="4"/>
                      </a:lnTo>
                      <a:lnTo>
                        <a:pt x="252" y="7"/>
                      </a:lnTo>
                      <a:lnTo>
                        <a:pt x="266" y="11"/>
                      </a:lnTo>
                      <a:lnTo>
                        <a:pt x="279" y="16"/>
                      </a:lnTo>
                      <a:lnTo>
                        <a:pt x="292" y="21"/>
                      </a:lnTo>
                      <a:lnTo>
                        <a:pt x="304" y="28"/>
                      </a:lnTo>
                      <a:lnTo>
                        <a:pt x="316" y="36"/>
                      </a:lnTo>
                      <a:lnTo>
                        <a:pt x="327" y="43"/>
                      </a:lnTo>
                      <a:lnTo>
                        <a:pt x="339" y="52"/>
                      </a:lnTo>
                      <a:lnTo>
                        <a:pt x="350" y="61"/>
                      </a:lnTo>
                      <a:lnTo>
                        <a:pt x="359" y="70"/>
                      </a:lnTo>
                      <a:lnTo>
                        <a:pt x="369" y="80"/>
                      </a:lnTo>
                      <a:lnTo>
                        <a:pt x="377" y="91"/>
                      </a:lnTo>
                      <a:lnTo>
                        <a:pt x="385" y="104"/>
                      </a:lnTo>
                      <a:lnTo>
                        <a:pt x="391" y="115"/>
                      </a:lnTo>
                      <a:lnTo>
                        <a:pt x="397" y="128"/>
                      </a:lnTo>
                      <a:lnTo>
                        <a:pt x="404" y="140"/>
                      </a:lnTo>
                      <a:lnTo>
                        <a:pt x="408" y="155"/>
                      </a:lnTo>
                      <a:lnTo>
                        <a:pt x="411" y="168"/>
                      </a:lnTo>
                      <a:lnTo>
                        <a:pt x="413" y="182"/>
                      </a:lnTo>
                      <a:lnTo>
                        <a:pt x="414" y="197"/>
                      </a:lnTo>
                      <a:lnTo>
                        <a:pt x="414" y="197"/>
                      </a:lnTo>
                      <a:lnTo>
                        <a:pt x="415" y="209"/>
                      </a:lnTo>
                      <a:lnTo>
                        <a:pt x="415" y="223"/>
                      </a:lnTo>
                      <a:lnTo>
                        <a:pt x="415" y="235"/>
                      </a:lnTo>
                      <a:lnTo>
                        <a:pt x="413" y="247"/>
                      </a:lnTo>
                      <a:lnTo>
                        <a:pt x="411" y="259"/>
                      </a:lnTo>
                      <a:lnTo>
                        <a:pt x="408" y="272"/>
                      </a:lnTo>
                      <a:lnTo>
                        <a:pt x="405" y="284"/>
                      </a:lnTo>
                      <a:lnTo>
                        <a:pt x="400" y="295"/>
                      </a:lnTo>
                      <a:lnTo>
                        <a:pt x="394" y="306"/>
                      </a:lnTo>
                      <a:lnTo>
                        <a:pt x="389" y="317"/>
                      </a:lnTo>
                      <a:lnTo>
                        <a:pt x="382" y="327"/>
                      </a:lnTo>
                      <a:lnTo>
                        <a:pt x="376" y="338"/>
                      </a:lnTo>
                      <a:lnTo>
                        <a:pt x="368" y="348"/>
                      </a:lnTo>
                      <a:lnTo>
                        <a:pt x="360" y="357"/>
                      </a:lnTo>
                      <a:lnTo>
                        <a:pt x="352" y="366"/>
                      </a:lnTo>
                      <a:lnTo>
                        <a:pt x="343" y="374"/>
                      </a:lnTo>
                      <a:lnTo>
                        <a:pt x="333" y="381"/>
                      </a:lnTo>
                      <a:lnTo>
                        <a:pt x="323" y="390"/>
                      </a:lnTo>
                      <a:lnTo>
                        <a:pt x="313" y="396"/>
                      </a:lnTo>
                      <a:lnTo>
                        <a:pt x="303" y="402"/>
                      </a:lnTo>
                      <a:lnTo>
                        <a:pt x="292" y="407"/>
                      </a:lnTo>
                      <a:lnTo>
                        <a:pt x="281" y="412"/>
                      </a:lnTo>
                      <a:lnTo>
                        <a:pt x="269" y="416"/>
                      </a:lnTo>
                      <a:lnTo>
                        <a:pt x="257" y="419"/>
                      </a:lnTo>
                      <a:lnTo>
                        <a:pt x="246" y="421"/>
                      </a:lnTo>
                      <a:lnTo>
                        <a:pt x="234" y="423"/>
                      </a:lnTo>
                      <a:lnTo>
                        <a:pt x="222" y="424"/>
                      </a:lnTo>
                      <a:lnTo>
                        <a:pt x="208" y="424"/>
                      </a:lnTo>
                      <a:lnTo>
                        <a:pt x="196" y="423"/>
                      </a:lnTo>
                      <a:lnTo>
                        <a:pt x="184" y="421"/>
                      </a:lnTo>
                      <a:lnTo>
                        <a:pt x="171" y="418"/>
                      </a:lnTo>
                      <a:lnTo>
                        <a:pt x="159" y="414"/>
                      </a:lnTo>
                      <a:lnTo>
                        <a:pt x="159" y="414"/>
                      </a:lnTo>
                      <a:lnTo>
                        <a:pt x="144" y="410"/>
                      </a:lnTo>
                      <a:lnTo>
                        <a:pt x="130" y="405"/>
                      </a:lnTo>
                      <a:lnTo>
                        <a:pt x="116" y="399"/>
                      </a:lnTo>
                      <a:lnTo>
                        <a:pt x="104" y="392"/>
                      </a:lnTo>
                      <a:lnTo>
                        <a:pt x="91" y="383"/>
                      </a:lnTo>
                      <a:lnTo>
                        <a:pt x="79" y="374"/>
                      </a:lnTo>
                      <a:lnTo>
                        <a:pt x="69" y="364"/>
                      </a:lnTo>
                      <a:lnTo>
                        <a:pt x="59" y="354"/>
                      </a:lnTo>
                      <a:lnTo>
                        <a:pt x="49" y="343"/>
                      </a:lnTo>
                      <a:lnTo>
                        <a:pt x="41" y="331"/>
                      </a:lnTo>
                      <a:lnTo>
                        <a:pt x="32" y="318"/>
                      </a:lnTo>
                      <a:lnTo>
                        <a:pt x="25" y="305"/>
                      </a:lnTo>
                      <a:lnTo>
                        <a:pt x="19" y="292"/>
                      </a:lnTo>
                      <a:lnTo>
                        <a:pt x="14" y="278"/>
                      </a:lnTo>
                      <a:lnTo>
                        <a:pt x="9" y="263"/>
                      </a:lnTo>
                      <a:lnTo>
                        <a:pt x="6" y="249"/>
                      </a:lnTo>
                      <a:lnTo>
                        <a:pt x="3" y="235"/>
                      </a:lnTo>
                      <a:lnTo>
                        <a:pt x="1" y="221"/>
                      </a:lnTo>
                      <a:lnTo>
                        <a:pt x="0" y="205"/>
                      </a:lnTo>
                      <a:lnTo>
                        <a:pt x="0" y="191"/>
                      </a:lnTo>
                      <a:lnTo>
                        <a:pt x="1" y="177"/>
                      </a:lnTo>
                      <a:lnTo>
                        <a:pt x="3" y="162"/>
                      </a:lnTo>
                      <a:lnTo>
                        <a:pt x="6" y="148"/>
                      </a:lnTo>
                      <a:lnTo>
                        <a:pt x="10" y="134"/>
                      </a:lnTo>
                      <a:lnTo>
                        <a:pt x="15" y="121"/>
                      </a:lnTo>
                      <a:lnTo>
                        <a:pt x="21" y="108"/>
                      </a:lnTo>
                      <a:lnTo>
                        <a:pt x="28" y="95"/>
                      </a:lnTo>
                      <a:lnTo>
                        <a:pt x="36" y="82"/>
                      </a:lnTo>
                      <a:lnTo>
                        <a:pt x="46" y="71"/>
                      </a:lnTo>
                      <a:lnTo>
                        <a:pt x="56" y="60"/>
                      </a:lnTo>
                      <a:lnTo>
                        <a:pt x="68" y="50"/>
                      </a:lnTo>
                      <a:lnTo>
                        <a:pt x="80" y="41"/>
                      </a:lnTo>
                      <a:lnTo>
                        <a:pt x="8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14" name="Freeform 2371"/>
                <p:cNvSpPr>
                  <a:spLocks/>
                </p:cNvSpPr>
                <p:nvPr/>
              </p:nvSpPr>
              <p:spPr bwMode="auto">
                <a:xfrm>
                  <a:off x="7550150" y="5033963"/>
                  <a:ext cx="314325" cy="569913"/>
                </a:xfrm>
                <a:custGeom>
                  <a:avLst/>
                  <a:gdLst>
                    <a:gd name="T0" fmla="*/ 1188 w 1189"/>
                    <a:gd name="T1" fmla="*/ 605 h 2149"/>
                    <a:gd name="T2" fmla="*/ 1188 w 1189"/>
                    <a:gd name="T3" fmla="*/ 149 h 2149"/>
                    <a:gd name="T4" fmla="*/ 1187 w 1189"/>
                    <a:gd name="T5" fmla="*/ 112 h 2149"/>
                    <a:gd name="T6" fmla="*/ 1181 w 1189"/>
                    <a:gd name="T7" fmla="*/ 64 h 2149"/>
                    <a:gd name="T8" fmla="*/ 1172 w 1189"/>
                    <a:gd name="T9" fmla="*/ 37 h 2149"/>
                    <a:gd name="T10" fmla="*/ 1155 w 1189"/>
                    <a:gd name="T11" fmla="*/ 15 h 2149"/>
                    <a:gd name="T12" fmla="*/ 1120 w 1189"/>
                    <a:gd name="T13" fmla="*/ 4 h 2149"/>
                    <a:gd name="T14" fmla="*/ 1073 w 1189"/>
                    <a:gd name="T15" fmla="*/ 0 h 2149"/>
                    <a:gd name="T16" fmla="*/ 998 w 1189"/>
                    <a:gd name="T17" fmla="*/ 3 h 2149"/>
                    <a:gd name="T18" fmla="*/ 930 w 1189"/>
                    <a:gd name="T19" fmla="*/ 5 h 2149"/>
                    <a:gd name="T20" fmla="*/ 845 w 1189"/>
                    <a:gd name="T21" fmla="*/ 9 h 2149"/>
                    <a:gd name="T22" fmla="*/ 796 w 1189"/>
                    <a:gd name="T23" fmla="*/ 17 h 2149"/>
                    <a:gd name="T24" fmla="*/ 748 w 1189"/>
                    <a:gd name="T25" fmla="*/ 35 h 2149"/>
                    <a:gd name="T26" fmla="*/ 689 w 1189"/>
                    <a:gd name="T27" fmla="*/ 69 h 2149"/>
                    <a:gd name="T28" fmla="*/ 475 w 1189"/>
                    <a:gd name="T29" fmla="*/ 206 h 2149"/>
                    <a:gd name="T30" fmla="*/ 360 w 1189"/>
                    <a:gd name="T31" fmla="*/ 236 h 2149"/>
                    <a:gd name="T32" fmla="*/ 222 w 1189"/>
                    <a:gd name="T33" fmla="*/ 110 h 2149"/>
                    <a:gd name="T34" fmla="*/ 166 w 1189"/>
                    <a:gd name="T35" fmla="*/ 60 h 2149"/>
                    <a:gd name="T36" fmla="*/ 129 w 1189"/>
                    <a:gd name="T37" fmla="*/ 41 h 2149"/>
                    <a:gd name="T38" fmla="*/ 90 w 1189"/>
                    <a:gd name="T39" fmla="*/ 40 h 2149"/>
                    <a:gd name="T40" fmla="*/ 55 w 1189"/>
                    <a:gd name="T41" fmla="*/ 55 h 2149"/>
                    <a:gd name="T42" fmla="*/ 24 w 1189"/>
                    <a:gd name="T43" fmla="*/ 81 h 2149"/>
                    <a:gd name="T44" fmla="*/ 4 w 1189"/>
                    <a:gd name="T45" fmla="*/ 116 h 2149"/>
                    <a:gd name="T46" fmla="*/ 3 w 1189"/>
                    <a:gd name="T47" fmla="*/ 142 h 2149"/>
                    <a:gd name="T48" fmla="*/ 15 w 1189"/>
                    <a:gd name="T49" fmla="*/ 180 h 2149"/>
                    <a:gd name="T50" fmla="*/ 35 w 1189"/>
                    <a:gd name="T51" fmla="*/ 212 h 2149"/>
                    <a:gd name="T52" fmla="*/ 79 w 1189"/>
                    <a:gd name="T53" fmla="*/ 261 h 2149"/>
                    <a:gd name="T54" fmla="*/ 147 w 1189"/>
                    <a:gd name="T55" fmla="*/ 324 h 2149"/>
                    <a:gd name="T56" fmla="*/ 265 w 1189"/>
                    <a:gd name="T57" fmla="*/ 436 h 2149"/>
                    <a:gd name="T58" fmla="*/ 343 w 1189"/>
                    <a:gd name="T59" fmla="*/ 500 h 2149"/>
                    <a:gd name="T60" fmla="*/ 402 w 1189"/>
                    <a:gd name="T61" fmla="*/ 486 h 2149"/>
                    <a:gd name="T62" fmla="*/ 614 w 1189"/>
                    <a:gd name="T63" fmla="*/ 358 h 2149"/>
                    <a:gd name="T64" fmla="*/ 692 w 1189"/>
                    <a:gd name="T65" fmla="*/ 402 h 2149"/>
                    <a:gd name="T66" fmla="*/ 671 w 1189"/>
                    <a:gd name="T67" fmla="*/ 1047 h 2149"/>
                    <a:gd name="T68" fmla="*/ 656 w 1189"/>
                    <a:gd name="T69" fmla="*/ 1833 h 2149"/>
                    <a:gd name="T70" fmla="*/ 656 w 1189"/>
                    <a:gd name="T71" fmla="*/ 2038 h 2149"/>
                    <a:gd name="T72" fmla="*/ 660 w 1189"/>
                    <a:gd name="T73" fmla="*/ 2076 h 2149"/>
                    <a:gd name="T74" fmla="*/ 675 w 1189"/>
                    <a:gd name="T75" fmla="*/ 2105 h 2149"/>
                    <a:gd name="T76" fmla="*/ 699 w 1189"/>
                    <a:gd name="T77" fmla="*/ 2127 h 2149"/>
                    <a:gd name="T78" fmla="*/ 730 w 1189"/>
                    <a:gd name="T79" fmla="*/ 2141 h 2149"/>
                    <a:gd name="T80" fmla="*/ 763 w 1189"/>
                    <a:gd name="T81" fmla="*/ 2148 h 2149"/>
                    <a:gd name="T82" fmla="*/ 799 w 1189"/>
                    <a:gd name="T83" fmla="*/ 2147 h 2149"/>
                    <a:gd name="T84" fmla="*/ 833 w 1189"/>
                    <a:gd name="T85" fmla="*/ 2139 h 2149"/>
                    <a:gd name="T86" fmla="*/ 861 w 1189"/>
                    <a:gd name="T87" fmla="*/ 2124 h 2149"/>
                    <a:gd name="T88" fmla="*/ 883 w 1189"/>
                    <a:gd name="T89" fmla="*/ 2100 h 2149"/>
                    <a:gd name="T90" fmla="*/ 896 w 1189"/>
                    <a:gd name="T91" fmla="*/ 2069 h 2149"/>
                    <a:gd name="T92" fmla="*/ 898 w 1189"/>
                    <a:gd name="T93" fmla="*/ 2043 h 2149"/>
                    <a:gd name="T94" fmla="*/ 900 w 1189"/>
                    <a:gd name="T95" fmla="*/ 1547 h 2149"/>
                    <a:gd name="T96" fmla="*/ 900 w 1189"/>
                    <a:gd name="T97" fmla="*/ 1050 h 2149"/>
                    <a:gd name="T98" fmla="*/ 952 w 1189"/>
                    <a:gd name="T99" fmla="*/ 1520 h 2149"/>
                    <a:gd name="T100" fmla="*/ 953 w 1189"/>
                    <a:gd name="T101" fmla="*/ 2027 h 2149"/>
                    <a:gd name="T102" fmla="*/ 959 w 1189"/>
                    <a:gd name="T103" fmla="*/ 2074 h 2149"/>
                    <a:gd name="T104" fmla="*/ 968 w 1189"/>
                    <a:gd name="T105" fmla="*/ 2100 h 2149"/>
                    <a:gd name="T106" fmla="*/ 984 w 1189"/>
                    <a:gd name="T107" fmla="*/ 2123 h 2149"/>
                    <a:gd name="T108" fmla="*/ 1006 w 1189"/>
                    <a:gd name="T109" fmla="*/ 2137 h 2149"/>
                    <a:gd name="T110" fmla="*/ 1052 w 1189"/>
                    <a:gd name="T111" fmla="*/ 2149 h 2149"/>
                    <a:gd name="T112" fmla="*/ 1099 w 1189"/>
                    <a:gd name="T113" fmla="*/ 2144 h 2149"/>
                    <a:gd name="T114" fmla="*/ 1142 w 1189"/>
                    <a:gd name="T115" fmla="*/ 2124 h 2149"/>
                    <a:gd name="T116" fmla="*/ 1171 w 1189"/>
                    <a:gd name="T117" fmla="*/ 2088 h 2149"/>
                    <a:gd name="T118" fmla="*/ 1180 w 1189"/>
                    <a:gd name="T119" fmla="*/ 2066 h 2149"/>
                    <a:gd name="T120" fmla="*/ 1184 w 1189"/>
                    <a:gd name="T121" fmla="*/ 2040 h 2149"/>
                    <a:gd name="T122" fmla="*/ 1187 w 1189"/>
                    <a:gd name="T123" fmla="*/ 1680 h 2149"/>
                    <a:gd name="T124" fmla="*/ 1187 w 1189"/>
                    <a:gd name="T125" fmla="*/ 762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89" h="2149">
                      <a:moveTo>
                        <a:pt x="1187" y="762"/>
                      </a:moveTo>
                      <a:lnTo>
                        <a:pt x="1187" y="762"/>
                      </a:lnTo>
                      <a:lnTo>
                        <a:pt x="1188" y="605"/>
                      </a:lnTo>
                      <a:lnTo>
                        <a:pt x="1188" y="605"/>
                      </a:lnTo>
                      <a:lnTo>
                        <a:pt x="1189" y="377"/>
                      </a:lnTo>
                      <a:lnTo>
                        <a:pt x="1188" y="149"/>
                      </a:lnTo>
                      <a:lnTo>
                        <a:pt x="1188" y="149"/>
                      </a:lnTo>
                      <a:lnTo>
                        <a:pt x="1187" y="131"/>
                      </a:lnTo>
                      <a:lnTo>
                        <a:pt x="1187" y="112"/>
                      </a:lnTo>
                      <a:lnTo>
                        <a:pt x="1186" y="92"/>
                      </a:lnTo>
                      <a:lnTo>
                        <a:pt x="1184" y="73"/>
                      </a:lnTo>
                      <a:lnTo>
                        <a:pt x="1181" y="64"/>
                      </a:lnTo>
                      <a:lnTo>
                        <a:pt x="1179" y="55"/>
                      </a:lnTo>
                      <a:lnTo>
                        <a:pt x="1176" y="45"/>
                      </a:lnTo>
                      <a:lnTo>
                        <a:pt x="1172" y="37"/>
                      </a:lnTo>
                      <a:lnTo>
                        <a:pt x="1167" y="29"/>
                      </a:lnTo>
                      <a:lnTo>
                        <a:pt x="1162" y="22"/>
                      </a:lnTo>
                      <a:lnTo>
                        <a:pt x="1155" y="15"/>
                      </a:lnTo>
                      <a:lnTo>
                        <a:pt x="1147" y="9"/>
                      </a:lnTo>
                      <a:lnTo>
                        <a:pt x="1147" y="9"/>
                      </a:lnTo>
                      <a:lnTo>
                        <a:pt x="1120" y="4"/>
                      </a:lnTo>
                      <a:lnTo>
                        <a:pt x="1101" y="1"/>
                      </a:lnTo>
                      <a:lnTo>
                        <a:pt x="1086" y="0"/>
                      </a:lnTo>
                      <a:lnTo>
                        <a:pt x="1073" y="0"/>
                      </a:lnTo>
                      <a:lnTo>
                        <a:pt x="1044" y="2"/>
                      </a:lnTo>
                      <a:lnTo>
                        <a:pt x="1024" y="3"/>
                      </a:lnTo>
                      <a:lnTo>
                        <a:pt x="998" y="3"/>
                      </a:lnTo>
                      <a:lnTo>
                        <a:pt x="998" y="3"/>
                      </a:lnTo>
                      <a:lnTo>
                        <a:pt x="965" y="4"/>
                      </a:lnTo>
                      <a:lnTo>
                        <a:pt x="930" y="5"/>
                      </a:lnTo>
                      <a:lnTo>
                        <a:pt x="896" y="6"/>
                      </a:lnTo>
                      <a:lnTo>
                        <a:pt x="862" y="7"/>
                      </a:lnTo>
                      <a:lnTo>
                        <a:pt x="845" y="9"/>
                      </a:lnTo>
                      <a:lnTo>
                        <a:pt x="829" y="11"/>
                      </a:lnTo>
                      <a:lnTo>
                        <a:pt x="812" y="14"/>
                      </a:lnTo>
                      <a:lnTo>
                        <a:pt x="796" y="17"/>
                      </a:lnTo>
                      <a:lnTo>
                        <a:pt x="780" y="22"/>
                      </a:lnTo>
                      <a:lnTo>
                        <a:pt x="763" y="28"/>
                      </a:lnTo>
                      <a:lnTo>
                        <a:pt x="748" y="35"/>
                      </a:lnTo>
                      <a:lnTo>
                        <a:pt x="733" y="43"/>
                      </a:lnTo>
                      <a:lnTo>
                        <a:pt x="733" y="43"/>
                      </a:lnTo>
                      <a:lnTo>
                        <a:pt x="689" y="69"/>
                      </a:lnTo>
                      <a:lnTo>
                        <a:pt x="646" y="95"/>
                      </a:lnTo>
                      <a:lnTo>
                        <a:pt x="560" y="150"/>
                      </a:lnTo>
                      <a:lnTo>
                        <a:pt x="475" y="206"/>
                      </a:lnTo>
                      <a:lnTo>
                        <a:pt x="388" y="260"/>
                      </a:lnTo>
                      <a:lnTo>
                        <a:pt x="388" y="260"/>
                      </a:lnTo>
                      <a:lnTo>
                        <a:pt x="360" y="236"/>
                      </a:lnTo>
                      <a:lnTo>
                        <a:pt x="332" y="211"/>
                      </a:lnTo>
                      <a:lnTo>
                        <a:pt x="277" y="160"/>
                      </a:lnTo>
                      <a:lnTo>
                        <a:pt x="222" y="110"/>
                      </a:lnTo>
                      <a:lnTo>
                        <a:pt x="195" y="84"/>
                      </a:lnTo>
                      <a:lnTo>
                        <a:pt x="166" y="60"/>
                      </a:lnTo>
                      <a:lnTo>
                        <a:pt x="166" y="60"/>
                      </a:lnTo>
                      <a:lnTo>
                        <a:pt x="154" y="52"/>
                      </a:lnTo>
                      <a:lnTo>
                        <a:pt x="142" y="45"/>
                      </a:lnTo>
                      <a:lnTo>
                        <a:pt x="129" y="41"/>
                      </a:lnTo>
                      <a:lnTo>
                        <a:pt x="117" y="39"/>
                      </a:lnTo>
                      <a:lnTo>
                        <a:pt x="103" y="38"/>
                      </a:lnTo>
                      <a:lnTo>
                        <a:pt x="90" y="40"/>
                      </a:lnTo>
                      <a:lnTo>
                        <a:pt x="78" y="43"/>
                      </a:lnTo>
                      <a:lnTo>
                        <a:pt x="66" y="48"/>
                      </a:lnTo>
                      <a:lnTo>
                        <a:pt x="55" y="55"/>
                      </a:lnTo>
                      <a:lnTo>
                        <a:pt x="43" y="63"/>
                      </a:lnTo>
                      <a:lnTo>
                        <a:pt x="33" y="71"/>
                      </a:lnTo>
                      <a:lnTo>
                        <a:pt x="24" y="81"/>
                      </a:lnTo>
                      <a:lnTo>
                        <a:pt x="16" y="92"/>
                      </a:lnTo>
                      <a:lnTo>
                        <a:pt x="9" y="103"/>
                      </a:lnTo>
                      <a:lnTo>
                        <a:pt x="4" y="116"/>
                      </a:lnTo>
                      <a:lnTo>
                        <a:pt x="0" y="129"/>
                      </a:lnTo>
                      <a:lnTo>
                        <a:pt x="0" y="129"/>
                      </a:lnTo>
                      <a:lnTo>
                        <a:pt x="3" y="142"/>
                      </a:lnTo>
                      <a:lnTo>
                        <a:pt x="6" y="155"/>
                      </a:lnTo>
                      <a:lnTo>
                        <a:pt x="10" y="168"/>
                      </a:lnTo>
                      <a:lnTo>
                        <a:pt x="15" y="180"/>
                      </a:lnTo>
                      <a:lnTo>
                        <a:pt x="21" y="191"/>
                      </a:lnTo>
                      <a:lnTo>
                        <a:pt x="28" y="202"/>
                      </a:lnTo>
                      <a:lnTo>
                        <a:pt x="35" y="212"/>
                      </a:lnTo>
                      <a:lnTo>
                        <a:pt x="43" y="222"/>
                      </a:lnTo>
                      <a:lnTo>
                        <a:pt x="61" y="243"/>
                      </a:lnTo>
                      <a:lnTo>
                        <a:pt x="79" y="261"/>
                      </a:lnTo>
                      <a:lnTo>
                        <a:pt x="117" y="297"/>
                      </a:lnTo>
                      <a:lnTo>
                        <a:pt x="117" y="297"/>
                      </a:lnTo>
                      <a:lnTo>
                        <a:pt x="147" y="324"/>
                      </a:lnTo>
                      <a:lnTo>
                        <a:pt x="177" y="353"/>
                      </a:lnTo>
                      <a:lnTo>
                        <a:pt x="235" y="409"/>
                      </a:lnTo>
                      <a:lnTo>
                        <a:pt x="265" y="436"/>
                      </a:lnTo>
                      <a:lnTo>
                        <a:pt x="296" y="463"/>
                      </a:lnTo>
                      <a:lnTo>
                        <a:pt x="327" y="488"/>
                      </a:lnTo>
                      <a:lnTo>
                        <a:pt x="343" y="500"/>
                      </a:lnTo>
                      <a:lnTo>
                        <a:pt x="361" y="512"/>
                      </a:lnTo>
                      <a:lnTo>
                        <a:pt x="361" y="512"/>
                      </a:lnTo>
                      <a:lnTo>
                        <a:pt x="402" y="486"/>
                      </a:lnTo>
                      <a:lnTo>
                        <a:pt x="444" y="459"/>
                      </a:lnTo>
                      <a:lnTo>
                        <a:pt x="529" y="409"/>
                      </a:lnTo>
                      <a:lnTo>
                        <a:pt x="614" y="358"/>
                      </a:lnTo>
                      <a:lnTo>
                        <a:pt x="697" y="306"/>
                      </a:lnTo>
                      <a:lnTo>
                        <a:pt x="697" y="306"/>
                      </a:lnTo>
                      <a:lnTo>
                        <a:pt x="692" y="402"/>
                      </a:lnTo>
                      <a:lnTo>
                        <a:pt x="686" y="569"/>
                      </a:lnTo>
                      <a:lnTo>
                        <a:pt x="679" y="790"/>
                      </a:lnTo>
                      <a:lnTo>
                        <a:pt x="671" y="1047"/>
                      </a:lnTo>
                      <a:lnTo>
                        <a:pt x="664" y="1318"/>
                      </a:lnTo>
                      <a:lnTo>
                        <a:pt x="659" y="1587"/>
                      </a:lnTo>
                      <a:lnTo>
                        <a:pt x="656" y="1833"/>
                      </a:lnTo>
                      <a:lnTo>
                        <a:pt x="656" y="1942"/>
                      </a:lnTo>
                      <a:lnTo>
                        <a:pt x="656" y="2038"/>
                      </a:lnTo>
                      <a:lnTo>
                        <a:pt x="656" y="2038"/>
                      </a:lnTo>
                      <a:lnTo>
                        <a:pt x="656" y="2052"/>
                      </a:lnTo>
                      <a:lnTo>
                        <a:pt x="657" y="2064"/>
                      </a:lnTo>
                      <a:lnTo>
                        <a:pt x="660" y="2076"/>
                      </a:lnTo>
                      <a:lnTo>
                        <a:pt x="664" y="2086"/>
                      </a:lnTo>
                      <a:lnTo>
                        <a:pt x="669" y="2096"/>
                      </a:lnTo>
                      <a:lnTo>
                        <a:pt x="675" y="2105"/>
                      </a:lnTo>
                      <a:lnTo>
                        <a:pt x="682" y="2113"/>
                      </a:lnTo>
                      <a:lnTo>
                        <a:pt x="690" y="2121"/>
                      </a:lnTo>
                      <a:lnTo>
                        <a:pt x="699" y="2127"/>
                      </a:lnTo>
                      <a:lnTo>
                        <a:pt x="709" y="2132"/>
                      </a:lnTo>
                      <a:lnTo>
                        <a:pt x="719" y="2137"/>
                      </a:lnTo>
                      <a:lnTo>
                        <a:pt x="730" y="2141"/>
                      </a:lnTo>
                      <a:lnTo>
                        <a:pt x="741" y="2144"/>
                      </a:lnTo>
                      <a:lnTo>
                        <a:pt x="752" y="2147"/>
                      </a:lnTo>
                      <a:lnTo>
                        <a:pt x="763" y="2148"/>
                      </a:lnTo>
                      <a:lnTo>
                        <a:pt x="776" y="2149"/>
                      </a:lnTo>
                      <a:lnTo>
                        <a:pt x="787" y="2148"/>
                      </a:lnTo>
                      <a:lnTo>
                        <a:pt x="799" y="2147"/>
                      </a:lnTo>
                      <a:lnTo>
                        <a:pt x="810" y="2146"/>
                      </a:lnTo>
                      <a:lnTo>
                        <a:pt x="821" y="2143"/>
                      </a:lnTo>
                      <a:lnTo>
                        <a:pt x="833" y="2139"/>
                      </a:lnTo>
                      <a:lnTo>
                        <a:pt x="843" y="2135"/>
                      </a:lnTo>
                      <a:lnTo>
                        <a:pt x="852" y="2130"/>
                      </a:lnTo>
                      <a:lnTo>
                        <a:pt x="861" y="2124"/>
                      </a:lnTo>
                      <a:lnTo>
                        <a:pt x="869" y="2117"/>
                      </a:lnTo>
                      <a:lnTo>
                        <a:pt x="877" y="2109"/>
                      </a:lnTo>
                      <a:lnTo>
                        <a:pt x="883" y="2100"/>
                      </a:lnTo>
                      <a:lnTo>
                        <a:pt x="889" y="2090"/>
                      </a:lnTo>
                      <a:lnTo>
                        <a:pt x="893" y="2080"/>
                      </a:lnTo>
                      <a:lnTo>
                        <a:pt x="896" y="2069"/>
                      </a:lnTo>
                      <a:lnTo>
                        <a:pt x="898" y="2057"/>
                      </a:lnTo>
                      <a:lnTo>
                        <a:pt x="898" y="2043"/>
                      </a:lnTo>
                      <a:lnTo>
                        <a:pt x="898" y="2043"/>
                      </a:lnTo>
                      <a:lnTo>
                        <a:pt x="899" y="1919"/>
                      </a:lnTo>
                      <a:lnTo>
                        <a:pt x="900" y="1795"/>
                      </a:lnTo>
                      <a:lnTo>
                        <a:pt x="900" y="1547"/>
                      </a:lnTo>
                      <a:lnTo>
                        <a:pt x="900" y="1299"/>
                      </a:lnTo>
                      <a:lnTo>
                        <a:pt x="900" y="1050"/>
                      </a:lnTo>
                      <a:lnTo>
                        <a:pt x="900" y="1050"/>
                      </a:lnTo>
                      <a:lnTo>
                        <a:pt x="952" y="1050"/>
                      </a:lnTo>
                      <a:lnTo>
                        <a:pt x="952" y="1050"/>
                      </a:lnTo>
                      <a:lnTo>
                        <a:pt x="952" y="1520"/>
                      </a:lnTo>
                      <a:lnTo>
                        <a:pt x="952" y="1990"/>
                      </a:lnTo>
                      <a:lnTo>
                        <a:pt x="952" y="1990"/>
                      </a:lnTo>
                      <a:lnTo>
                        <a:pt x="953" y="2027"/>
                      </a:lnTo>
                      <a:lnTo>
                        <a:pt x="954" y="2047"/>
                      </a:lnTo>
                      <a:lnTo>
                        <a:pt x="956" y="2065"/>
                      </a:lnTo>
                      <a:lnTo>
                        <a:pt x="959" y="2074"/>
                      </a:lnTo>
                      <a:lnTo>
                        <a:pt x="961" y="2083"/>
                      </a:lnTo>
                      <a:lnTo>
                        <a:pt x="964" y="2091"/>
                      </a:lnTo>
                      <a:lnTo>
                        <a:pt x="968" y="2100"/>
                      </a:lnTo>
                      <a:lnTo>
                        <a:pt x="973" y="2108"/>
                      </a:lnTo>
                      <a:lnTo>
                        <a:pt x="978" y="2116"/>
                      </a:lnTo>
                      <a:lnTo>
                        <a:pt x="984" y="2123"/>
                      </a:lnTo>
                      <a:lnTo>
                        <a:pt x="992" y="2129"/>
                      </a:lnTo>
                      <a:lnTo>
                        <a:pt x="992" y="2129"/>
                      </a:lnTo>
                      <a:lnTo>
                        <a:pt x="1006" y="2137"/>
                      </a:lnTo>
                      <a:lnTo>
                        <a:pt x="1021" y="2143"/>
                      </a:lnTo>
                      <a:lnTo>
                        <a:pt x="1036" y="2147"/>
                      </a:lnTo>
                      <a:lnTo>
                        <a:pt x="1052" y="2149"/>
                      </a:lnTo>
                      <a:lnTo>
                        <a:pt x="1069" y="2149"/>
                      </a:lnTo>
                      <a:lnTo>
                        <a:pt x="1084" y="2148"/>
                      </a:lnTo>
                      <a:lnTo>
                        <a:pt x="1099" y="2144"/>
                      </a:lnTo>
                      <a:lnTo>
                        <a:pt x="1114" y="2139"/>
                      </a:lnTo>
                      <a:lnTo>
                        <a:pt x="1129" y="2132"/>
                      </a:lnTo>
                      <a:lnTo>
                        <a:pt x="1142" y="2124"/>
                      </a:lnTo>
                      <a:lnTo>
                        <a:pt x="1153" y="2114"/>
                      </a:lnTo>
                      <a:lnTo>
                        <a:pt x="1163" y="2101"/>
                      </a:lnTo>
                      <a:lnTo>
                        <a:pt x="1171" y="2088"/>
                      </a:lnTo>
                      <a:lnTo>
                        <a:pt x="1175" y="2081"/>
                      </a:lnTo>
                      <a:lnTo>
                        <a:pt x="1178" y="2074"/>
                      </a:lnTo>
                      <a:lnTo>
                        <a:pt x="1180" y="2066"/>
                      </a:lnTo>
                      <a:lnTo>
                        <a:pt x="1182" y="2058"/>
                      </a:lnTo>
                      <a:lnTo>
                        <a:pt x="1184" y="2049"/>
                      </a:lnTo>
                      <a:lnTo>
                        <a:pt x="1184" y="2040"/>
                      </a:lnTo>
                      <a:lnTo>
                        <a:pt x="1184" y="2040"/>
                      </a:lnTo>
                      <a:lnTo>
                        <a:pt x="1186" y="1875"/>
                      </a:lnTo>
                      <a:lnTo>
                        <a:pt x="1187" y="1680"/>
                      </a:lnTo>
                      <a:lnTo>
                        <a:pt x="1188" y="1268"/>
                      </a:lnTo>
                      <a:lnTo>
                        <a:pt x="1188" y="921"/>
                      </a:lnTo>
                      <a:lnTo>
                        <a:pt x="1187" y="762"/>
                      </a:lnTo>
                      <a:lnTo>
                        <a:pt x="1187" y="7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672" name="Freeform 191"/>
              <p:cNvSpPr>
                <a:spLocks/>
              </p:cNvSpPr>
              <p:nvPr/>
            </p:nvSpPr>
            <p:spPr bwMode="auto">
              <a:xfrm flipH="1">
                <a:off x="3118660" y="4561152"/>
                <a:ext cx="147821" cy="147821"/>
              </a:xfrm>
              <a:custGeom>
                <a:avLst/>
                <a:gdLst>
                  <a:gd name="T0" fmla="*/ 12 w 55"/>
                  <a:gd name="T1" fmla="*/ 0 h 55"/>
                  <a:gd name="T2" fmla="*/ 12 w 55"/>
                  <a:gd name="T3" fmla="*/ 0 h 55"/>
                  <a:gd name="T4" fmla="*/ 6 w 55"/>
                  <a:gd name="T5" fmla="*/ 0 h 55"/>
                  <a:gd name="T6" fmla="*/ 3 w 55"/>
                  <a:gd name="T7" fmla="*/ 0 h 55"/>
                  <a:gd name="T8" fmla="*/ 2 w 55"/>
                  <a:gd name="T9" fmla="*/ 2 h 55"/>
                  <a:gd name="T10" fmla="*/ 0 w 55"/>
                  <a:gd name="T11" fmla="*/ 6 h 55"/>
                  <a:gd name="T12" fmla="*/ 0 w 55"/>
                  <a:gd name="T13" fmla="*/ 13 h 55"/>
                  <a:gd name="T14" fmla="*/ 2 w 55"/>
                  <a:gd name="T15" fmla="*/ 19 h 55"/>
                  <a:gd name="T16" fmla="*/ 6 w 55"/>
                  <a:gd name="T17" fmla="*/ 27 h 55"/>
                  <a:gd name="T18" fmla="*/ 11 w 55"/>
                  <a:gd name="T19" fmla="*/ 35 h 55"/>
                  <a:gd name="T20" fmla="*/ 18 w 55"/>
                  <a:gd name="T21" fmla="*/ 45 h 55"/>
                  <a:gd name="T22" fmla="*/ 18 w 55"/>
                  <a:gd name="T23" fmla="*/ 45 h 55"/>
                  <a:gd name="T24" fmla="*/ 23 w 55"/>
                  <a:gd name="T25" fmla="*/ 51 h 55"/>
                  <a:gd name="T26" fmla="*/ 30 w 55"/>
                  <a:gd name="T27" fmla="*/ 54 h 55"/>
                  <a:gd name="T28" fmla="*/ 36 w 55"/>
                  <a:gd name="T29" fmla="*/ 55 h 55"/>
                  <a:gd name="T30" fmla="*/ 42 w 55"/>
                  <a:gd name="T31" fmla="*/ 55 h 55"/>
                  <a:gd name="T32" fmla="*/ 47 w 55"/>
                  <a:gd name="T33" fmla="*/ 54 h 55"/>
                  <a:gd name="T34" fmla="*/ 51 w 55"/>
                  <a:gd name="T35" fmla="*/ 53 h 55"/>
                  <a:gd name="T36" fmla="*/ 55 w 55"/>
                  <a:gd name="T37" fmla="*/ 50 h 55"/>
                  <a:gd name="T38" fmla="*/ 55 w 55"/>
                  <a:gd name="T39" fmla="*/ 50 h 55"/>
                  <a:gd name="T40" fmla="*/ 52 w 55"/>
                  <a:gd name="T41" fmla="*/ 51 h 55"/>
                  <a:gd name="T42" fmla="*/ 46 w 55"/>
                  <a:gd name="T43" fmla="*/ 50 h 55"/>
                  <a:gd name="T44" fmla="*/ 42 w 55"/>
                  <a:gd name="T45" fmla="*/ 49 h 55"/>
                  <a:gd name="T46" fmla="*/ 38 w 55"/>
                  <a:gd name="T47" fmla="*/ 47 h 55"/>
                  <a:gd name="T48" fmla="*/ 35 w 55"/>
                  <a:gd name="T49" fmla="*/ 42 h 55"/>
                  <a:gd name="T50" fmla="*/ 31 w 55"/>
                  <a:gd name="T51" fmla="*/ 37 h 55"/>
                  <a:gd name="T52" fmla="*/ 31 w 55"/>
                  <a:gd name="T53" fmla="*/ 37 h 55"/>
                  <a:gd name="T54" fmla="*/ 28 w 55"/>
                  <a:gd name="T55" fmla="*/ 27 h 55"/>
                  <a:gd name="T56" fmla="*/ 26 w 55"/>
                  <a:gd name="T57" fmla="*/ 17 h 55"/>
                  <a:gd name="T58" fmla="*/ 24 w 55"/>
                  <a:gd name="T59" fmla="*/ 11 h 55"/>
                  <a:gd name="T60" fmla="*/ 22 w 55"/>
                  <a:gd name="T61" fmla="*/ 6 h 55"/>
                  <a:gd name="T62" fmla="*/ 18 w 55"/>
                  <a:gd name="T63" fmla="*/ 3 h 55"/>
                  <a:gd name="T64" fmla="*/ 12 w 55"/>
                  <a:gd name="T65" fmla="*/ 0 h 55"/>
                  <a:gd name="T66" fmla="*/ 12 w 55"/>
                  <a:gd name="T6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5">
                    <a:moveTo>
                      <a:pt x="12" y="0"/>
                    </a:moveTo>
                    <a:lnTo>
                      <a:pt x="12" y="0"/>
                    </a:lnTo>
                    <a:lnTo>
                      <a:pt x="6" y="0"/>
                    </a:lnTo>
                    <a:lnTo>
                      <a:pt x="3" y="0"/>
                    </a:lnTo>
                    <a:lnTo>
                      <a:pt x="2" y="2"/>
                    </a:lnTo>
                    <a:lnTo>
                      <a:pt x="0" y="6"/>
                    </a:lnTo>
                    <a:lnTo>
                      <a:pt x="0" y="13"/>
                    </a:lnTo>
                    <a:lnTo>
                      <a:pt x="2" y="19"/>
                    </a:lnTo>
                    <a:lnTo>
                      <a:pt x="6" y="27"/>
                    </a:lnTo>
                    <a:lnTo>
                      <a:pt x="11" y="35"/>
                    </a:lnTo>
                    <a:lnTo>
                      <a:pt x="18" y="45"/>
                    </a:lnTo>
                    <a:lnTo>
                      <a:pt x="18" y="45"/>
                    </a:lnTo>
                    <a:lnTo>
                      <a:pt x="23" y="51"/>
                    </a:lnTo>
                    <a:lnTo>
                      <a:pt x="30" y="54"/>
                    </a:lnTo>
                    <a:lnTo>
                      <a:pt x="36" y="55"/>
                    </a:lnTo>
                    <a:lnTo>
                      <a:pt x="42" y="55"/>
                    </a:lnTo>
                    <a:lnTo>
                      <a:pt x="47" y="54"/>
                    </a:lnTo>
                    <a:lnTo>
                      <a:pt x="51" y="53"/>
                    </a:lnTo>
                    <a:lnTo>
                      <a:pt x="55" y="50"/>
                    </a:lnTo>
                    <a:lnTo>
                      <a:pt x="55" y="50"/>
                    </a:lnTo>
                    <a:lnTo>
                      <a:pt x="52" y="51"/>
                    </a:lnTo>
                    <a:lnTo>
                      <a:pt x="46" y="50"/>
                    </a:lnTo>
                    <a:lnTo>
                      <a:pt x="42" y="49"/>
                    </a:lnTo>
                    <a:lnTo>
                      <a:pt x="38" y="47"/>
                    </a:lnTo>
                    <a:lnTo>
                      <a:pt x="35" y="42"/>
                    </a:lnTo>
                    <a:lnTo>
                      <a:pt x="31" y="37"/>
                    </a:lnTo>
                    <a:lnTo>
                      <a:pt x="31" y="37"/>
                    </a:lnTo>
                    <a:lnTo>
                      <a:pt x="28" y="27"/>
                    </a:lnTo>
                    <a:lnTo>
                      <a:pt x="26" y="17"/>
                    </a:lnTo>
                    <a:lnTo>
                      <a:pt x="24" y="11"/>
                    </a:lnTo>
                    <a:lnTo>
                      <a:pt x="22" y="6"/>
                    </a:lnTo>
                    <a:lnTo>
                      <a:pt x="18" y="3"/>
                    </a:lnTo>
                    <a:lnTo>
                      <a:pt x="12" y="0"/>
                    </a:lnTo>
                    <a:lnTo>
                      <a:pt x="12" y="0"/>
                    </a:ln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9" name="Group 198"/>
          <p:cNvGrpSpPr/>
          <p:nvPr/>
        </p:nvGrpSpPr>
        <p:grpSpPr>
          <a:xfrm>
            <a:off x="9972958" y="5468707"/>
            <a:ext cx="300233" cy="381670"/>
            <a:chOff x="9888822" y="5257800"/>
            <a:chExt cx="439571" cy="558803"/>
          </a:xfrm>
        </p:grpSpPr>
        <p:sp>
          <p:nvSpPr>
            <p:cNvPr id="1261" name="Isosceles Triangle 2662"/>
            <p:cNvSpPr/>
            <p:nvPr/>
          </p:nvSpPr>
          <p:spPr bwMode="auto">
            <a:xfrm rot="9000000">
              <a:off x="9888822" y="5257800"/>
              <a:ext cx="439571" cy="558803"/>
            </a:xfrm>
            <a:custGeom>
              <a:avLst/>
              <a:gdLst/>
              <a:ahLst/>
              <a:cxnLst/>
              <a:rect l="l" t="t" r="r" b="b"/>
              <a:pathLst>
                <a:path w="384849" h="461821">
                  <a:moveTo>
                    <a:pt x="108837" y="430605"/>
                  </a:moveTo>
                  <a:cubicBezTo>
                    <a:pt x="13141" y="375355"/>
                    <a:pt x="-27012" y="265747"/>
                    <a:pt x="19152" y="185788"/>
                  </a:cubicBezTo>
                  <a:cubicBezTo>
                    <a:pt x="38669" y="151983"/>
                    <a:pt x="70490" y="128891"/>
                    <a:pt x="108806" y="120511"/>
                  </a:cubicBezTo>
                  <a:lnTo>
                    <a:pt x="163813" y="0"/>
                  </a:lnTo>
                  <a:lnTo>
                    <a:pt x="218403" y="119596"/>
                  </a:lnTo>
                  <a:cubicBezTo>
                    <a:pt x="238305" y="122507"/>
                    <a:pt x="257519" y="130372"/>
                    <a:pt x="276012" y="141049"/>
                  </a:cubicBezTo>
                  <a:cubicBezTo>
                    <a:pt x="371708" y="196299"/>
                    <a:pt x="411861" y="305908"/>
                    <a:pt x="365697" y="385866"/>
                  </a:cubicBezTo>
                  <a:cubicBezTo>
                    <a:pt x="319533" y="465825"/>
                    <a:pt x="204533" y="485855"/>
                    <a:pt x="108837" y="430605"/>
                  </a:cubicBezTo>
                  <a:close/>
                </a:path>
              </a:pathLst>
            </a:custGeom>
            <a:solidFill>
              <a:schemeClr val="tx1"/>
            </a:solidFill>
            <a:ln>
              <a:solidFill>
                <a:srgbClr val="008D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45720" bIns="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w="3175">
                  <a:noFill/>
                </a:ln>
                <a:solidFill>
                  <a:srgbClr val="8DC548"/>
                </a:solidFill>
                <a:effectLst/>
                <a:uLnTx/>
                <a:uFillTx/>
                <a:latin typeface="Arial" pitchFamily="34" charset="0"/>
                <a:cs typeface="Arial" pitchFamily="34" charset="0"/>
              </a:endParaRPr>
            </a:p>
          </p:txBody>
        </p:sp>
        <p:sp>
          <p:nvSpPr>
            <p:cNvPr id="1263" name="Freeform 228"/>
            <p:cNvSpPr>
              <a:spLocks/>
            </p:cNvSpPr>
            <p:nvPr/>
          </p:nvSpPr>
          <p:spPr bwMode="auto">
            <a:xfrm>
              <a:off x="9989111" y="5388903"/>
              <a:ext cx="183061" cy="174798"/>
            </a:xfrm>
            <a:custGeom>
              <a:avLst/>
              <a:gdLst>
                <a:gd name="T0" fmla="*/ 467 w 576"/>
                <a:gd name="T1" fmla="*/ 549 h 549"/>
                <a:gd name="T2" fmla="*/ 288 w 576"/>
                <a:gd name="T3" fmla="*/ 419 h 549"/>
                <a:gd name="T4" fmla="*/ 109 w 576"/>
                <a:gd name="T5" fmla="*/ 549 h 549"/>
                <a:gd name="T6" fmla="*/ 177 w 576"/>
                <a:gd name="T7" fmla="*/ 339 h 549"/>
                <a:gd name="T8" fmla="*/ 0 w 576"/>
                <a:gd name="T9" fmla="*/ 210 h 549"/>
                <a:gd name="T10" fmla="*/ 219 w 576"/>
                <a:gd name="T11" fmla="*/ 210 h 549"/>
                <a:gd name="T12" fmla="*/ 288 w 576"/>
                <a:gd name="T13" fmla="*/ 0 h 549"/>
                <a:gd name="T14" fmla="*/ 357 w 576"/>
                <a:gd name="T15" fmla="*/ 210 h 549"/>
                <a:gd name="T16" fmla="*/ 576 w 576"/>
                <a:gd name="T17" fmla="*/ 210 h 549"/>
                <a:gd name="T18" fmla="*/ 398 w 576"/>
                <a:gd name="T19" fmla="*/ 339 h 549"/>
                <a:gd name="T20" fmla="*/ 467 w 576"/>
                <a:gd name="T21"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6" h="549">
                  <a:moveTo>
                    <a:pt x="467" y="549"/>
                  </a:moveTo>
                  <a:lnTo>
                    <a:pt x="288" y="419"/>
                  </a:lnTo>
                  <a:lnTo>
                    <a:pt x="109" y="549"/>
                  </a:lnTo>
                  <a:lnTo>
                    <a:pt x="177" y="339"/>
                  </a:lnTo>
                  <a:lnTo>
                    <a:pt x="0" y="210"/>
                  </a:lnTo>
                  <a:lnTo>
                    <a:pt x="219" y="210"/>
                  </a:lnTo>
                  <a:lnTo>
                    <a:pt x="288" y="0"/>
                  </a:lnTo>
                  <a:lnTo>
                    <a:pt x="357" y="210"/>
                  </a:lnTo>
                  <a:lnTo>
                    <a:pt x="576" y="210"/>
                  </a:lnTo>
                  <a:lnTo>
                    <a:pt x="398" y="339"/>
                  </a:lnTo>
                  <a:lnTo>
                    <a:pt x="467" y="54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00" name="Group 199"/>
          <p:cNvGrpSpPr/>
          <p:nvPr/>
        </p:nvGrpSpPr>
        <p:grpSpPr>
          <a:xfrm rot="402574">
            <a:off x="9815503" y="4832615"/>
            <a:ext cx="627997" cy="798339"/>
            <a:chOff x="9762402" y="4774663"/>
            <a:chExt cx="627997" cy="798339"/>
          </a:xfrm>
        </p:grpSpPr>
        <p:sp>
          <p:nvSpPr>
            <p:cNvPr id="1269" name="Isosceles Triangle 2662"/>
            <p:cNvSpPr/>
            <p:nvPr/>
          </p:nvSpPr>
          <p:spPr bwMode="auto">
            <a:xfrm rot="9000000">
              <a:off x="9762402" y="4774663"/>
              <a:ext cx="627997" cy="798339"/>
            </a:xfrm>
            <a:custGeom>
              <a:avLst/>
              <a:gdLst/>
              <a:ahLst/>
              <a:cxnLst/>
              <a:rect l="l" t="t" r="r" b="b"/>
              <a:pathLst>
                <a:path w="384849" h="461821">
                  <a:moveTo>
                    <a:pt x="108837" y="430605"/>
                  </a:moveTo>
                  <a:cubicBezTo>
                    <a:pt x="13141" y="375355"/>
                    <a:pt x="-27012" y="265747"/>
                    <a:pt x="19152" y="185788"/>
                  </a:cubicBezTo>
                  <a:cubicBezTo>
                    <a:pt x="38669" y="151983"/>
                    <a:pt x="70490" y="128891"/>
                    <a:pt x="108806" y="120511"/>
                  </a:cubicBezTo>
                  <a:lnTo>
                    <a:pt x="163813" y="0"/>
                  </a:lnTo>
                  <a:lnTo>
                    <a:pt x="218403" y="119596"/>
                  </a:lnTo>
                  <a:cubicBezTo>
                    <a:pt x="238305" y="122507"/>
                    <a:pt x="257519" y="130372"/>
                    <a:pt x="276012" y="141049"/>
                  </a:cubicBezTo>
                  <a:cubicBezTo>
                    <a:pt x="371708" y="196299"/>
                    <a:pt x="411861" y="305908"/>
                    <a:pt x="365697" y="385866"/>
                  </a:cubicBezTo>
                  <a:cubicBezTo>
                    <a:pt x="319533" y="465825"/>
                    <a:pt x="204533" y="485855"/>
                    <a:pt x="108837" y="430605"/>
                  </a:cubicBezTo>
                  <a:close/>
                </a:path>
              </a:pathLst>
            </a:custGeom>
            <a:solidFill>
              <a:schemeClr val="tx1"/>
            </a:solidFill>
            <a:ln>
              <a:solidFill>
                <a:srgbClr val="008D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45720" bIns="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w="3175">
                  <a:noFill/>
                </a:ln>
                <a:solidFill>
                  <a:srgbClr val="8DC548"/>
                </a:solidFill>
                <a:effectLst/>
                <a:uLnTx/>
                <a:uFillTx/>
                <a:latin typeface="Arial" pitchFamily="34" charset="0"/>
                <a:cs typeface="Arial" pitchFamily="34" charset="0"/>
              </a:endParaRPr>
            </a:p>
          </p:txBody>
        </p:sp>
        <p:grpSp>
          <p:nvGrpSpPr>
            <p:cNvPr id="1264" name="Group 1263"/>
            <p:cNvGrpSpPr/>
            <p:nvPr/>
          </p:nvGrpSpPr>
          <p:grpSpPr>
            <a:xfrm>
              <a:off x="9892555" y="4913175"/>
              <a:ext cx="302870" cy="320301"/>
              <a:chOff x="4293870" y="468630"/>
              <a:chExt cx="529592" cy="560071"/>
            </a:xfrm>
            <a:solidFill>
              <a:schemeClr val="accent1"/>
            </a:solidFill>
          </p:grpSpPr>
          <p:sp>
            <p:nvSpPr>
              <p:cNvPr id="1265" name="Freeform 58"/>
              <p:cNvSpPr>
                <a:spLocks noEditPoints="1"/>
              </p:cNvSpPr>
              <p:nvPr/>
            </p:nvSpPr>
            <p:spPr bwMode="auto">
              <a:xfrm>
                <a:off x="4293870" y="468630"/>
                <a:ext cx="529590" cy="560071"/>
              </a:xfrm>
              <a:custGeom>
                <a:avLst/>
                <a:gdLst>
                  <a:gd name="T0" fmla="*/ 57 w 556"/>
                  <a:gd name="T1" fmla="*/ 548 h 587"/>
                  <a:gd name="T2" fmla="*/ 518 w 556"/>
                  <a:gd name="T3" fmla="*/ 229 h 587"/>
                  <a:gd name="T4" fmla="*/ 382 w 556"/>
                  <a:gd name="T5" fmla="*/ 226 h 587"/>
                  <a:gd name="T6" fmla="*/ 415 w 556"/>
                  <a:gd name="T7" fmla="*/ 140 h 587"/>
                  <a:gd name="T8" fmla="*/ 423 w 556"/>
                  <a:gd name="T9" fmla="*/ 99 h 587"/>
                  <a:gd name="T10" fmla="*/ 422 w 556"/>
                  <a:gd name="T11" fmla="*/ 53 h 587"/>
                  <a:gd name="T12" fmla="*/ 414 w 556"/>
                  <a:gd name="T13" fmla="*/ 24 h 587"/>
                  <a:gd name="T14" fmla="*/ 396 w 556"/>
                  <a:gd name="T15" fmla="*/ 4 h 587"/>
                  <a:gd name="T16" fmla="*/ 378 w 556"/>
                  <a:gd name="T17" fmla="*/ 0 h 587"/>
                  <a:gd name="T18" fmla="*/ 356 w 556"/>
                  <a:gd name="T19" fmla="*/ 6 h 587"/>
                  <a:gd name="T20" fmla="*/ 342 w 556"/>
                  <a:gd name="T21" fmla="*/ 22 h 587"/>
                  <a:gd name="T22" fmla="*/ 339 w 556"/>
                  <a:gd name="T23" fmla="*/ 37 h 587"/>
                  <a:gd name="T24" fmla="*/ 333 w 556"/>
                  <a:gd name="T25" fmla="*/ 82 h 587"/>
                  <a:gd name="T26" fmla="*/ 316 w 556"/>
                  <a:gd name="T27" fmla="*/ 123 h 587"/>
                  <a:gd name="T28" fmla="*/ 290 w 556"/>
                  <a:gd name="T29" fmla="*/ 158 h 587"/>
                  <a:gd name="T30" fmla="*/ 254 w 556"/>
                  <a:gd name="T31" fmla="*/ 186 h 587"/>
                  <a:gd name="T32" fmla="*/ 208 w 556"/>
                  <a:gd name="T33" fmla="*/ 206 h 587"/>
                  <a:gd name="T34" fmla="*/ 174 w 556"/>
                  <a:gd name="T35" fmla="*/ 215 h 587"/>
                  <a:gd name="T36" fmla="*/ 127 w 556"/>
                  <a:gd name="T37" fmla="*/ 234 h 587"/>
                  <a:gd name="T38" fmla="*/ 92 w 556"/>
                  <a:gd name="T39" fmla="*/ 259 h 587"/>
                  <a:gd name="T40" fmla="*/ 85 w 556"/>
                  <a:gd name="T41" fmla="*/ 528 h 587"/>
                  <a:gd name="T42" fmla="*/ 142 w 556"/>
                  <a:gd name="T43" fmla="*/ 557 h 587"/>
                  <a:gd name="T44" fmla="*/ 203 w 556"/>
                  <a:gd name="T45" fmla="*/ 582 h 587"/>
                  <a:gd name="T46" fmla="*/ 235 w 556"/>
                  <a:gd name="T47" fmla="*/ 587 h 587"/>
                  <a:gd name="T48" fmla="*/ 401 w 556"/>
                  <a:gd name="T49" fmla="*/ 584 h 587"/>
                  <a:gd name="T50" fmla="*/ 423 w 556"/>
                  <a:gd name="T51" fmla="*/ 579 h 587"/>
                  <a:gd name="T52" fmla="*/ 439 w 556"/>
                  <a:gd name="T53" fmla="*/ 562 h 587"/>
                  <a:gd name="T54" fmla="*/ 443 w 556"/>
                  <a:gd name="T55" fmla="*/ 547 h 587"/>
                  <a:gd name="T56" fmla="*/ 440 w 556"/>
                  <a:gd name="T57" fmla="*/ 530 h 587"/>
                  <a:gd name="T58" fmla="*/ 431 w 556"/>
                  <a:gd name="T59" fmla="*/ 516 h 587"/>
                  <a:gd name="T60" fmla="*/ 421 w 556"/>
                  <a:gd name="T61" fmla="*/ 509 h 587"/>
                  <a:gd name="T62" fmla="*/ 417 w 556"/>
                  <a:gd name="T63" fmla="*/ 506 h 587"/>
                  <a:gd name="T64" fmla="*/ 415 w 556"/>
                  <a:gd name="T65" fmla="*/ 502 h 587"/>
                  <a:gd name="T66" fmla="*/ 420 w 556"/>
                  <a:gd name="T67" fmla="*/ 494 h 587"/>
                  <a:gd name="T68" fmla="*/ 438 w 556"/>
                  <a:gd name="T69" fmla="*/ 493 h 587"/>
                  <a:gd name="T70" fmla="*/ 461 w 556"/>
                  <a:gd name="T71" fmla="*/ 487 h 587"/>
                  <a:gd name="T72" fmla="*/ 476 w 556"/>
                  <a:gd name="T73" fmla="*/ 471 h 587"/>
                  <a:gd name="T74" fmla="*/ 480 w 556"/>
                  <a:gd name="T75" fmla="*/ 456 h 587"/>
                  <a:gd name="T76" fmla="*/ 477 w 556"/>
                  <a:gd name="T77" fmla="*/ 439 h 587"/>
                  <a:gd name="T78" fmla="*/ 469 w 556"/>
                  <a:gd name="T79" fmla="*/ 425 h 587"/>
                  <a:gd name="T80" fmla="*/ 460 w 556"/>
                  <a:gd name="T81" fmla="*/ 418 h 587"/>
                  <a:gd name="T82" fmla="*/ 459 w 556"/>
                  <a:gd name="T83" fmla="*/ 417 h 587"/>
                  <a:gd name="T84" fmla="*/ 453 w 556"/>
                  <a:gd name="T85" fmla="*/ 412 h 587"/>
                  <a:gd name="T86" fmla="*/ 453 w 556"/>
                  <a:gd name="T87" fmla="*/ 406 h 587"/>
                  <a:gd name="T88" fmla="*/ 460 w 556"/>
                  <a:gd name="T89" fmla="*/ 401 h 587"/>
                  <a:gd name="T90" fmla="*/ 484 w 556"/>
                  <a:gd name="T91" fmla="*/ 399 h 587"/>
                  <a:gd name="T92" fmla="*/ 504 w 556"/>
                  <a:gd name="T93" fmla="*/ 390 h 587"/>
                  <a:gd name="T94" fmla="*/ 516 w 556"/>
                  <a:gd name="T95" fmla="*/ 370 h 587"/>
                  <a:gd name="T96" fmla="*/ 517 w 556"/>
                  <a:gd name="T97" fmla="*/ 356 h 587"/>
                  <a:gd name="T98" fmla="*/ 513 w 556"/>
                  <a:gd name="T99" fmla="*/ 340 h 587"/>
                  <a:gd name="T100" fmla="*/ 502 w 556"/>
                  <a:gd name="T101" fmla="*/ 329 h 587"/>
                  <a:gd name="T102" fmla="*/ 496 w 556"/>
                  <a:gd name="T103" fmla="*/ 325 h 587"/>
                  <a:gd name="T104" fmla="*/ 491 w 556"/>
                  <a:gd name="T105" fmla="*/ 319 h 587"/>
                  <a:gd name="T106" fmla="*/ 491 w 556"/>
                  <a:gd name="T107" fmla="*/ 314 h 587"/>
                  <a:gd name="T108" fmla="*/ 498 w 556"/>
                  <a:gd name="T109" fmla="*/ 309 h 587"/>
                  <a:gd name="T110" fmla="*/ 521 w 556"/>
                  <a:gd name="T111" fmla="*/ 308 h 587"/>
                  <a:gd name="T112" fmla="*/ 542 w 556"/>
                  <a:gd name="T113" fmla="*/ 298 h 587"/>
                  <a:gd name="T114" fmla="*/ 555 w 556"/>
                  <a:gd name="T115" fmla="*/ 279 h 587"/>
                  <a:gd name="T116" fmla="*/ 556 w 556"/>
                  <a:gd name="T117" fmla="*/ 263 h 587"/>
                  <a:gd name="T118" fmla="*/ 547 w 556"/>
                  <a:gd name="T119" fmla="*/ 242 h 587"/>
                  <a:gd name="T120" fmla="*/ 526 w 556"/>
                  <a:gd name="T121" fmla="*/ 23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6" h="587">
                    <a:moveTo>
                      <a:pt x="0" y="236"/>
                    </a:moveTo>
                    <a:lnTo>
                      <a:pt x="57" y="236"/>
                    </a:lnTo>
                    <a:lnTo>
                      <a:pt x="57" y="548"/>
                    </a:lnTo>
                    <a:lnTo>
                      <a:pt x="0" y="548"/>
                    </a:lnTo>
                    <a:lnTo>
                      <a:pt x="0" y="236"/>
                    </a:lnTo>
                    <a:close/>
                    <a:moveTo>
                      <a:pt x="518" y="229"/>
                    </a:moveTo>
                    <a:lnTo>
                      <a:pt x="518" y="229"/>
                    </a:lnTo>
                    <a:lnTo>
                      <a:pt x="382" y="226"/>
                    </a:lnTo>
                    <a:lnTo>
                      <a:pt x="382" y="226"/>
                    </a:lnTo>
                    <a:lnTo>
                      <a:pt x="400" y="181"/>
                    </a:lnTo>
                    <a:lnTo>
                      <a:pt x="409" y="159"/>
                    </a:lnTo>
                    <a:lnTo>
                      <a:pt x="415" y="140"/>
                    </a:lnTo>
                    <a:lnTo>
                      <a:pt x="415" y="140"/>
                    </a:lnTo>
                    <a:lnTo>
                      <a:pt x="420" y="121"/>
                    </a:lnTo>
                    <a:lnTo>
                      <a:pt x="423" y="99"/>
                    </a:lnTo>
                    <a:lnTo>
                      <a:pt x="424" y="76"/>
                    </a:lnTo>
                    <a:lnTo>
                      <a:pt x="424" y="64"/>
                    </a:lnTo>
                    <a:lnTo>
                      <a:pt x="422" y="53"/>
                    </a:lnTo>
                    <a:lnTo>
                      <a:pt x="421" y="42"/>
                    </a:lnTo>
                    <a:lnTo>
                      <a:pt x="418" y="33"/>
                    </a:lnTo>
                    <a:lnTo>
                      <a:pt x="414" y="24"/>
                    </a:lnTo>
                    <a:lnTo>
                      <a:pt x="409" y="16"/>
                    </a:lnTo>
                    <a:lnTo>
                      <a:pt x="403" y="9"/>
                    </a:lnTo>
                    <a:lnTo>
                      <a:pt x="396" y="4"/>
                    </a:lnTo>
                    <a:lnTo>
                      <a:pt x="388" y="1"/>
                    </a:lnTo>
                    <a:lnTo>
                      <a:pt x="378" y="0"/>
                    </a:lnTo>
                    <a:lnTo>
                      <a:pt x="378" y="0"/>
                    </a:lnTo>
                    <a:lnTo>
                      <a:pt x="370" y="0"/>
                    </a:lnTo>
                    <a:lnTo>
                      <a:pt x="362" y="3"/>
                    </a:lnTo>
                    <a:lnTo>
                      <a:pt x="356" y="6"/>
                    </a:lnTo>
                    <a:lnTo>
                      <a:pt x="350" y="10"/>
                    </a:lnTo>
                    <a:lnTo>
                      <a:pt x="345" y="16"/>
                    </a:lnTo>
                    <a:lnTo>
                      <a:pt x="342" y="22"/>
                    </a:lnTo>
                    <a:lnTo>
                      <a:pt x="340" y="29"/>
                    </a:lnTo>
                    <a:lnTo>
                      <a:pt x="339" y="37"/>
                    </a:lnTo>
                    <a:lnTo>
                      <a:pt x="339" y="37"/>
                    </a:lnTo>
                    <a:lnTo>
                      <a:pt x="338" y="53"/>
                    </a:lnTo>
                    <a:lnTo>
                      <a:pt x="336" y="68"/>
                    </a:lnTo>
                    <a:lnTo>
                      <a:pt x="333" y="82"/>
                    </a:lnTo>
                    <a:lnTo>
                      <a:pt x="329" y="96"/>
                    </a:lnTo>
                    <a:lnTo>
                      <a:pt x="323" y="110"/>
                    </a:lnTo>
                    <a:lnTo>
                      <a:pt x="316" y="123"/>
                    </a:lnTo>
                    <a:lnTo>
                      <a:pt x="309" y="135"/>
                    </a:lnTo>
                    <a:lnTo>
                      <a:pt x="300" y="147"/>
                    </a:lnTo>
                    <a:lnTo>
                      <a:pt x="290" y="158"/>
                    </a:lnTo>
                    <a:lnTo>
                      <a:pt x="279" y="168"/>
                    </a:lnTo>
                    <a:lnTo>
                      <a:pt x="267" y="177"/>
                    </a:lnTo>
                    <a:lnTo>
                      <a:pt x="254" y="186"/>
                    </a:lnTo>
                    <a:lnTo>
                      <a:pt x="239" y="194"/>
                    </a:lnTo>
                    <a:lnTo>
                      <a:pt x="224" y="200"/>
                    </a:lnTo>
                    <a:lnTo>
                      <a:pt x="208" y="206"/>
                    </a:lnTo>
                    <a:lnTo>
                      <a:pt x="190" y="210"/>
                    </a:lnTo>
                    <a:lnTo>
                      <a:pt x="190" y="210"/>
                    </a:lnTo>
                    <a:lnTo>
                      <a:pt x="174" y="215"/>
                    </a:lnTo>
                    <a:lnTo>
                      <a:pt x="157" y="220"/>
                    </a:lnTo>
                    <a:lnTo>
                      <a:pt x="142" y="227"/>
                    </a:lnTo>
                    <a:lnTo>
                      <a:pt x="127" y="234"/>
                    </a:lnTo>
                    <a:lnTo>
                      <a:pt x="114" y="242"/>
                    </a:lnTo>
                    <a:lnTo>
                      <a:pt x="101" y="251"/>
                    </a:lnTo>
                    <a:lnTo>
                      <a:pt x="92" y="259"/>
                    </a:lnTo>
                    <a:lnTo>
                      <a:pt x="85" y="268"/>
                    </a:lnTo>
                    <a:lnTo>
                      <a:pt x="85" y="528"/>
                    </a:lnTo>
                    <a:lnTo>
                      <a:pt x="85" y="528"/>
                    </a:lnTo>
                    <a:lnTo>
                      <a:pt x="102" y="537"/>
                    </a:lnTo>
                    <a:lnTo>
                      <a:pt x="120" y="547"/>
                    </a:lnTo>
                    <a:lnTo>
                      <a:pt x="142" y="557"/>
                    </a:lnTo>
                    <a:lnTo>
                      <a:pt x="166" y="568"/>
                    </a:lnTo>
                    <a:lnTo>
                      <a:pt x="191" y="578"/>
                    </a:lnTo>
                    <a:lnTo>
                      <a:pt x="203" y="582"/>
                    </a:lnTo>
                    <a:lnTo>
                      <a:pt x="214" y="585"/>
                    </a:lnTo>
                    <a:lnTo>
                      <a:pt x="225" y="586"/>
                    </a:lnTo>
                    <a:lnTo>
                      <a:pt x="235" y="587"/>
                    </a:lnTo>
                    <a:lnTo>
                      <a:pt x="235" y="587"/>
                    </a:lnTo>
                    <a:lnTo>
                      <a:pt x="401" y="584"/>
                    </a:lnTo>
                    <a:lnTo>
                      <a:pt x="401" y="584"/>
                    </a:lnTo>
                    <a:lnTo>
                      <a:pt x="409" y="584"/>
                    </a:lnTo>
                    <a:lnTo>
                      <a:pt x="416" y="582"/>
                    </a:lnTo>
                    <a:lnTo>
                      <a:pt x="423" y="579"/>
                    </a:lnTo>
                    <a:lnTo>
                      <a:pt x="429" y="574"/>
                    </a:lnTo>
                    <a:lnTo>
                      <a:pt x="435" y="568"/>
                    </a:lnTo>
                    <a:lnTo>
                      <a:pt x="439" y="562"/>
                    </a:lnTo>
                    <a:lnTo>
                      <a:pt x="441" y="555"/>
                    </a:lnTo>
                    <a:lnTo>
                      <a:pt x="443" y="547"/>
                    </a:lnTo>
                    <a:lnTo>
                      <a:pt x="443" y="547"/>
                    </a:lnTo>
                    <a:lnTo>
                      <a:pt x="442" y="541"/>
                    </a:lnTo>
                    <a:lnTo>
                      <a:pt x="441" y="535"/>
                    </a:lnTo>
                    <a:lnTo>
                      <a:pt x="440" y="530"/>
                    </a:lnTo>
                    <a:lnTo>
                      <a:pt x="437" y="525"/>
                    </a:lnTo>
                    <a:lnTo>
                      <a:pt x="435" y="520"/>
                    </a:lnTo>
                    <a:lnTo>
                      <a:pt x="431" y="516"/>
                    </a:lnTo>
                    <a:lnTo>
                      <a:pt x="427" y="512"/>
                    </a:lnTo>
                    <a:lnTo>
                      <a:pt x="422" y="509"/>
                    </a:lnTo>
                    <a:lnTo>
                      <a:pt x="421" y="509"/>
                    </a:lnTo>
                    <a:lnTo>
                      <a:pt x="421" y="509"/>
                    </a:lnTo>
                    <a:lnTo>
                      <a:pt x="418" y="508"/>
                    </a:lnTo>
                    <a:lnTo>
                      <a:pt x="417" y="506"/>
                    </a:lnTo>
                    <a:lnTo>
                      <a:pt x="416" y="504"/>
                    </a:lnTo>
                    <a:lnTo>
                      <a:pt x="415" y="502"/>
                    </a:lnTo>
                    <a:lnTo>
                      <a:pt x="415" y="502"/>
                    </a:lnTo>
                    <a:lnTo>
                      <a:pt x="416" y="498"/>
                    </a:lnTo>
                    <a:lnTo>
                      <a:pt x="417" y="495"/>
                    </a:lnTo>
                    <a:lnTo>
                      <a:pt x="420" y="494"/>
                    </a:lnTo>
                    <a:lnTo>
                      <a:pt x="422" y="493"/>
                    </a:lnTo>
                    <a:lnTo>
                      <a:pt x="438" y="493"/>
                    </a:lnTo>
                    <a:lnTo>
                      <a:pt x="438" y="493"/>
                    </a:lnTo>
                    <a:lnTo>
                      <a:pt x="446" y="492"/>
                    </a:lnTo>
                    <a:lnTo>
                      <a:pt x="454" y="490"/>
                    </a:lnTo>
                    <a:lnTo>
                      <a:pt x="461" y="487"/>
                    </a:lnTo>
                    <a:lnTo>
                      <a:pt x="467" y="483"/>
                    </a:lnTo>
                    <a:lnTo>
                      <a:pt x="472" y="477"/>
                    </a:lnTo>
                    <a:lnTo>
                      <a:pt x="476" y="471"/>
                    </a:lnTo>
                    <a:lnTo>
                      <a:pt x="479" y="463"/>
                    </a:lnTo>
                    <a:lnTo>
                      <a:pt x="480" y="456"/>
                    </a:lnTo>
                    <a:lnTo>
                      <a:pt x="480" y="456"/>
                    </a:lnTo>
                    <a:lnTo>
                      <a:pt x="480" y="450"/>
                    </a:lnTo>
                    <a:lnTo>
                      <a:pt x="479" y="444"/>
                    </a:lnTo>
                    <a:lnTo>
                      <a:pt x="477" y="439"/>
                    </a:lnTo>
                    <a:lnTo>
                      <a:pt x="475" y="434"/>
                    </a:lnTo>
                    <a:lnTo>
                      <a:pt x="472" y="429"/>
                    </a:lnTo>
                    <a:lnTo>
                      <a:pt x="469" y="425"/>
                    </a:lnTo>
                    <a:lnTo>
                      <a:pt x="465" y="421"/>
                    </a:lnTo>
                    <a:lnTo>
                      <a:pt x="460" y="418"/>
                    </a:lnTo>
                    <a:lnTo>
                      <a:pt x="460" y="418"/>
                    </a:lnTo>
                    <a:lnTo>
                      <a:pt x="459" y="418"/>
                    </a:lnTo>
                    <a:lnTo>
                      <a:pt x="459" y="417"/>
                    </a:lnTo>
                    <a:lnTo>
                      <a:pt x="459" y="417"/>
                    </a:lnTo>
                    <a:lnTo>
                      <a:pt x="456" y="416"/>
                    </a:lnTo>
                    <a:lnTo>
                      <a:pt x="454" y="415"/>
                    </a:lnTo>
                    <a:lnTo>
                      <a:pt x="453" y="412"/>
                    </a:lnTo>
                    <a:lnTo>
                      <a:pt x="453" y="409"/>
                    </a:lnTo>
                    <a:lnTo>
                      <a:pt x="453" y="409"/>
                    </a:lnTo>
                    <a:lnTo>
                      <a:pt x="453" y="406"/>
                    </a:lnTo>
                    <a:lnTo>
                      <a:pt x="455" y="403"/>
                    </a:lnTo>
                    <a:lnTo>
                      <a:pt x="457" y="402"/>
                    </a:lnTo>
                    <a:lnTo>
                      <a:pt x="460" y="401"/>
                    </a:lnTo>
                    <a:lnTo>
                      <a:pt x="476" y="400"/>
                    </a:lnTo>
                    <a:lnTo>
                      <a:pt x="476" y="400"/>
                    </a:lnTo>
                    <a:lnTo>
                      <a:pt x="484" y="399"/>
                    </a:lnTo>
                    <a:lnTo>
                      <a:pt x="491" y="397"/>
                    </a:lnTo>
                    <a:lnTo>
                      <a:pt x="498" y="394"/>
                    </a:lnTo>
                    <a:lnTo>
                      <a:pt x="504" y="390"/>
                    </a:lnTo>
                    <a:lnTo>
                      <a:pt x="510" y="384"/>
                    </a:lnTo>
                    <a:lnTo>
                      <a:pt x="514" y="377"/>
                    </a:lnTo>
                    <a:lnTo>
                      <a:pt x="516" y="370"/>
                    </a:lnTo>
                    <a:lnTo>
                      <a:pt x="518" y="362"/>
                    </a:lnTo>
                    <a:lnTo>
                      <a:pt x="518" y="362"/>
                    </a:lnTo>
                    <a:lnTo>
                      <a:pt x="517" y="356"/>
                    </a:lnTo>
                    <a:lnTo>
                      <a:pt x="516" y="351"/>
                    </a:lnTo>
                    <a:lnTo>
                      <a:pt x="515" y="345"/>
                    </a:lnTo>
                    <a:lnTo>
                      <a:pt x="513" y="340"/>
                    </a:lnTo>
                    <a:lnTo>
                      <a:pt x="510" y="336"/>
                    </a:lnTo>
                    <a:lnTo>
                      <a:pt x="506" y="332"/>
                    </a:lnTo>
                    <a:lnTo>
                      <a:pt x="502" y="329"/>
                    </a:lnTo>
                    <a:lnTo>
                      <a:pt x="498" y="326"/>
                    </a:lnTo>
                    <a:lnTo>
                      <a:pt x="496" y="325"/>
                    </a:lnTo>
                    <a:lnTo>
                      <a:pt x="496" y="325"/>
                    </a:lnTo>
                    <a:lnTo>
                      <a:pt x="493" y="323"/>
                    </a:lnTo>
                    <a:lnTo>
                      <a:pt x="492" y="321"/>
                    </a:lnTo>
                    <a:lnTo>
                      <a:pt x="491" y="319"/>
                    </a:lnTo>
                    <a:lnTo>
                      <a:pt x="490" y="317"/>
                    </a:lnTo>
                    <a:lnTo>
                      <a:pt x="490" y="317"/>
                    </a:lnTo>
                    <a:lnTo>
                      <a:pt x="491" y="314"/>
                    </a:lnTo>
                    <a:lnTo>
                      <a:pt x="492" y="311"/>
                    </a:lnTo>
                    <a:lnTo>
                      <a:pt x="495" y="309"/>
                    </a:lnTo>
                    <a:lnTo>
                      <a:pt x="498" y="309"/>
                    </a:lnTo>
                    <a:lnTo>
                      <a:pt x="513" y="309"/>
                    </a:lnTo>
                    <a:lnTo>
                      <a:pt x="513" y="309"/>
                    </a:lnTo>
                    <a:lnTo>
                      <a:pt x="521" y="308"/>
                    </a:lnTo>
                    <a:lnTo>
                      <a:pt x="529" y="306"/>
                    </a:lnTo>
                    <a:lnTo>
                      <a:pt x="536" y="303"/>
                    </a:lnTo>
                    <a:lnTo>
                      <a:pt x="542" y="298"/>
                    </a:lnTo>
                    <a:lnTo>
                      <a:pt x="548" y="293"/>
                    </a:lnTo>
                    <a:lnTo>
                      <a:pt x="552" y="286"/>
                    </a:lnTo>
                    <a:lnTo>
                      <a:pt x="555" y="279"/>
                    </a:lnTo>
                    <a:lnTo>
                      <a:pt x="556" y="271"/>
                    </a:lnTo>
                    <a:lnTo>
                      <a:pt x="556" y="271"/>
                    </a:lnTo>
                    <a:lnTo>
                      <a:pt x="556" y="263"/>
                    </a:lnTo>
                    <a:lnTo>
                      <a:pt x="554" y="256"/>
                    </a:lnTo>
                    <a:lnTo>
                      <a:pt x="551" y="249"/>
                    </a:lnTo>
                    <a:lnTo>
                      <a:pt x="547" y="242"/>
                    </a:lnTo>
                    <a:lnTo>
                      <a:pt x="540" y="237"/>
                    </a:lnTo>
                    <a:lnTo>
                      <a:pt x="534" y="233"/>
                    </a:lnTo>
                    <a:lnTo>
                      <a:pt x="526" y="230"/>
                    </a:lnTo>
                    <a:lnTo>
                      <a:pt x="518"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6" name="Rectangle 59"/>
              <p:cNvSpPr>
                <a:spLocks noChangeArrowheads="1"/>
              </p:cNvSpPr>
              <p:nvPr/>
            </p:nvSpPr>
            <p:spPr bwMode="auto">
              <a:xfrm>
                <a:off x="4293870" y="693419"/>
                <a:ext cx="55246" cy="2990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7" name="Freeform 60"/>
              <p:cNvSpPr>
                <a:spLocks/>
              </p:cNvSpPr>
              <p:nvPr/>
            </p:nvSpPr>
            <p:spPr bwMode="auto">
              <a:xfrm>
                <a:off x="4375786" y="468630"/>
                <a:ext cx="447676" cy="560071"/>
              </a:xfrm>
              <a:custGeom>
                <a:avLst/>
                <a:gdLst>
                  <a:gd name="T0" fmla="*/ 297 w 471"/>
                  <a:gd name="T1" fmla="*/ 226 h 587"/>
                  <a:gd name="T2" fmla="*/ 324 w 471"/>
                  <a:gd name="T3" fmla="*/ 159 h 587"/>
                  <a:gd name="T4" fmla="*/ 335 w 471"/>
                  <a:gd name="T5" fmla="*/ 121 h 587"/>
                  <a:gd name="T6" fmla="*/ 339 w 471"/>
                  <a:gd name="T7" fmla="*/ 64 h 587"/>
                  <a:gd name="T8" fmla="*/ 333 w 471"/>
                  <a:gd name="T9" fmla="*/ 33 h 587"/>
                  <a:gd name="T10" fmla="*/ 318 w 471"/>
                  <a:gd name="T11" fmla="*/ 9 h 587"/>
                  <a:gd name="T12" fmla="*/ 293 w 471"/>
                  <a:gd name="T13" fmla="*/ 0 h 587"/>
                  <a:gd name="T14" fmla="*/ 277 w 471"/>
                  <a:gd name="T15" fmla="*/ 3 h 587"/>
                  <a:gd name="T16" fmla="*/ 260 w 471"/>
                  <a:gd name="T17" fmla="*/ 16 h 587"/>
                  <a:gd name="T18" fmla="*/ 254 w 471"/>
                  <a:gd name="T19" fmla="*/ 37 h 587"/>
                  <a:gd name="T20" fmla="*/ 251 w 471"/>
                  <a:gd name="T21" fmla="*/ 68 h 587"/>
                  <a:gd name="T22" fmla="*/ 238 w 471"/>
                  <a:gd name="T23" fmla="*/ 110 h 587"/>
                  <a:gd name="T24" fmla="*/ 215 w 471"/>
                  <a:gd name="T25" fmla="*/ 147 h 587"/>
                  <a:gd name="T26" fmla="*/ 182 w 471"/>
                  <a:gd name="T27" fmla="*/ 177 h 587"/>
                  <a:gd name="T28" fmla="*/ 139 w 471"/>
                  <a:gd name="T29" fmla="*/ 200 h 587"/>
                  <a:gd name="T30" fmla="*/ 105 w 471"/>
                  <a:gd name="T31" fmla="*/ 210 h 587"/>
                  <a:gd name="T32" fmla="*/ 57 w 471"/>
                  <a:gd name="T33" fmla="*/ 227 h 587"/>
                  <a:gd name="T34" fmla="*/ 16 w 471"/>
                  <a:gd name="T35" fmla="*/ 251 h 587"/>
                  <a:gd name="T36" fmla="*/ 0 w 471"/>
                  <a:gd name="T37" fmla="*/ 528 h 587"/>
                  <a:gd name="T38" fmla="*/ 35 w 471"/>
                  <a:gd name="T39" fmla="*/ 547 h 587"/>
                  <a:gd name="T40" fmla="*/ 106 w 471"/>
                  <a:gd name="T41" fmla="*/ 578 h 587"/>
                  <a:gd name="T42" fmla="*/ 140 w 471"/>
                  <a:gd name="T43" fmla="*/ 586 h 587"/>
                  <a:gd name="T44" fmla="*/ 316 w 471"/>
                  <a:gd name="T45" fmla="*/ 584 h 587"/>
                  <a:gd name="T46" fmla="*/ 331 w 471"/>
                  <a:gd name="T47" fmla="*/ 582 h 587"/>
                  <a:gd name="T48" fmla="*/ 350 w 471"/>
                  <a:gd name="T49" fmla="*/ 568 h 587"/>
                  <a:gd name="T50" fmla="*/ 358 w 471"/>
                  <a:gd name="T51" fmla="*/ 547 h 587"/>
                  <a:gd name="T52" fmla="*/ 356 w 471"/>
                  <a:gd name="T53" fmla="*/ 535 h 587"/>
                  <a:gd name="T54" fmla="*/ 350 w 471"/>
                  <a:gd name="T55" fmla="*/ 520 h 587"/>
                  <a:gd name="T56" fmla="*/ 337 w 471"/>
                  <a:gd name="T57" fmla="*/ 509 h 587"/>
                  <a:gd name="T58" fmla="*/ 333 w 471"/>
                  <a:gd name="T59" fmla="*/ 508 h 587"/>
                  <a:gd name="T60" fmla="*/ 330 w 471"/>
                  <a:gd name="T61" fmla="*/ 502 h 587"/>
                  <a:gd name="T62" fmla="*/ 332 w 471"/>
                  <a:gd name="T63" fmla="*/ 495 h 587"/>
                  <a:gd name="T64" fmla="*/ 353 w 471"/>
                  <a:gd name="T65" fmla="*/ 493 h 587"/>
                  <a:gd name="T66" fmla="*/ 369 w 471"/>
                  <a:gd name="T67" fmla="*/ 490 h 587"/>
                  <a:gd name="T68" fmla="*/ 387 w 471"/>
                  <a:gd name="T69" fmla="*/ 477 h 587"/>
                  <a:gd name="T70" fmla="*/ 395 w 471"/>
                  <a:gd name="T71" fmla="*/ 456 h 587"/>
                  <a:gd name="T72" fmla="*/ 394 w 471"/>
                  <a:gd name="T73" fmla="*/ 444 h 587"/>
                  <a:gd name="T74" fmla="*/ 387 w 471"/>
                  <a:gd name="T75" fmla="*/ 429 h 587"/>
                  <a:gd name="T76" fmla="*/ 375 w 471"/>
                  <a:gd name="T77" fmla="*/ 418 h 587"/>
                  <a:gd name="T78" fmla="*/ 374 w 471"/>
                  <a:gd name="T79" fmla="*/ 417 h 587"/>
                  <a:gd name="T80" fmla="*/ 369 w 471"/>
                  <a:gd name="T81" fmla="*/ 415 h 587"/>
                  <a:gd name="T82" fmla="*/ 368 w 471"/>
                  <a:gd name="T83" fmla="*/ 409 h 587"/>
                  <a:gd name="T84" fmla="*/ 372 w 471"/>
                  <a:gd name="T85" fmla="*/ 402 h 587"/>
                  <a:gd name="T86" fmla="*/ 391 w 471"/>
                  <a:gd name="T87" fmla="*/ 400 h 587"/>
                  <a:gd name="T88" fmla="*/ 413 w 471"/>
                  <a:gd name="T89" fmla="*/ 394 h 587"/>
                  <a:gd name="T90" fmla="*/ 429 w 471"/>
                  <a:gd name="T91" fmla="*/ 377 h 587"/>
                  <a:gd name="T92" fmla="*/ 433 w 471"/>
                  <a:gd name="T93" fmla="*/ 362 h 587"/>
                  <a:gd name="T94" fmla="*/ 430 w 471"/>
                  <a:gd name="T95" fmla="*/ 345 h 587"/>
                  <a:gd name="T96" fmla="*/ 421 w 471"/>
                  <a:gd name="T97" fmla="*/ 332 h 587"/>
                  <a:gd name="T98" fmla="*/ 411 w 471"/>
                  <a:gd name="T99" fmla="*/ 325 h 587"/>
                  <a:gd name="T100" fmla="*/ 407 w 471"/>
                  <a:gd name="T101" fmla="*/ 321 h 587"/>
                  <a:gd name="T102" fmla="*/ 405 w 471"/>
                  <a:gd name="T103" fmla="*/ 317 h 587"/>
                  <a:gd name="T104" fmla="*/ 410 w 471"/>
                  <a:gd name="T105" fmla="*/ 309 h 587"/>
                  <a:gd name="T106" fmla="*/ 428 w 471"/>
                  <a:gd name="T107" fmla="*/ 309 h 587"/>
                  <a:gd name="T108" fmla="*/ 451 w 471"/>
                  <a:gd name="T109" fmla="*/ 303 h 587"/>
                  <a:gd name="T110" fmla="*/ 467 w 471"/>
                  <a:gd name="T111" fmla="*/ 286 h 587"/>
                  <a:gd name="T112" fmla="*/ 471 w 471"/>
                  <a:gd name="T113" fmla="*/ 271 h 587"/>
                  <a:gd name="T114" fmla="*/ 466 w 471"/>
                  <a:gd name="T115" fmla="*/ 249 h 587"/>
                  <a:gd name="T116" fmla="*/ 449 w 471"/>
                  <a:gd name="T117" fmla="*/ 233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1" h="587">
                    <a:moveTo>
                      <a:pt x="433" y="229"/>
                    </a:moveTo>
                    <a:lnTo>
                      <a:pt x="433" y="229"/>
                    </a:lnTo>
                    <a:lnTo>
                      <a:pt x="297" y="226"/>
                    </a:lnTo>
                    <a:lnTo>
                      <a:pt x="297" y="226"/>
                    </a:lnTo>
                    <a:lnTo>
                      <a:pt x="315" y="181"/>
                    </a:lnTo>
                    <a:lnTo>
                      <a:pt x="324" y="159"/>
                    </a:lnTo>
                    <a:lnTo>
                      <a:pt x="330" y="140"/>
                    </a:lnTo>
                    <a:lnTo>
                      <a:pt x="330" y="140"/>
                    </a:lnTo>
                    <a:lnTo>
                      <a:pt x="335" y="121"/>
                    </a:lnTo>
                    <a:lnTo>
                      <a:pt x="338" y="99"/>
                    </a:lnTo>
                    <a:lnTo>
                      <a:pt x="339" y="76"/>
                    </a:lnTo>
                    <a:lnTo>
                      <a:pt x="339" y="64"/>
                    </a:lnTo>
                    <a:lnTo>
                      <a:pt x="337" y="53"/>
                    </a:lnTo>
                    <a:lnTo>
                      <a:pt x="336" y="42"/>
                    </a:lnTo>
                    <a:lnTo>
                      <a:pt x="333" y="33"/>
                    </a:lnTo>
                    <a:lnTo>
                      <a:pt x="329" y="24"/>
                    </a:lnTo>
                    <a:lnTo>
                      <a:pt x="324" y="16"/>
                    </a:lnTo>
                    <a:lnTo>
                      <a:pt x="318" y="9"/>
                    </a:lnTo>
                    <a:lnTo>
                      <a:pt x="311" y="4"/>
                    </a:lnTo>
                    <a:lnTo>
                      <a:pt x="303" y="1"/>
                    </a:lnTo>
                    <a:lnTo>
                      <a:pt x="293" y="0"/>
                    </a:lnTo>
                    <a:lnTo>
                      <a:pt x="293" y="0"/>
                    </a:lnTo>
                    <a:lnTo>
                      <a:pt x="285" y="0"/>
                    </a:lnTo>
                    <a:lnTo>
                      <a:pt x="277" y="3"/>
                    </a:lnTo>
                    <a:lnTo>
                      <a:pt x="271" y="6"/>
                    </a:lnTo>
                    <a:lnTo>
                      <a:pt x="265" y="10"/>
                    </a:lnTo>
                    <a:lnTo>
                      <a:pt x="260" y="16"/>
                    </a:lnTo>
                    <a:lnTo>
                      <a:pt x="257" y="22"/>
                    </a:lnTo>
                    <a:lnTo>
                      <a:pt x="255" y="29"/>
                    </a:lnTo>
                    <a:lnTo>
                      <a:pt x="254" y="37"/>
                    </a:lnTo>
                    <a:lnTo>
                      <a:pt x="254" y="37"/>
                    </a:lnTo>
                    <a:lnTo>
                      <a:pt x="253" y="53"/>
                    </a:lnTo>
                    <a:lnTo>
                      <a:pt x="251" y="68"/>
                    </a:lnTo>
                    <a:lnTo>
                      <a:pt x="248" y="82"/>
                    </a:lnTo>
                    <a:lnTo>
                      <a:pt x="244" y="96"/>
                    </a:lnTo>
                    <a:lnTo>
                      <a:pt x="238" y="110"/>
                    </a:lnTo>
                    <a:lnTo>
                      <a:pt x="231" y="123"/>
                    </a:lnTo>
                    <a:lnTo>
                      <a:pt x="224" y="135"/>
                    </a:lnTo>
                    <a:lnTo>
                      <a:pt x="215" y="147"/>
                    </a:lnTo>
                    <a:lnTo>
                      <a:pt x="205" y="158"/>
                    </a:lnTo>
                    <a:lnTo>
                      <a:pt x="194" y="168"/>
                    </a:lnTo>
                    <a:lnTo>
                      <a:pt x="182" y="177"/>
                    </a:lnTo>
                    <a:lnTo>
                      <a:pt x="169" y="186"/>
                    </a:lnTo>
                    <a:lnTo>
                      <a:pt x="154" y="194"/>
                    </a:lnTo>
                    <a:lnTo>
                      <a:pt x="139" y="200"/>
                    </a:lnTo>
                    <a:lnTo>
                      <a:pt x="123" y="206"/>
                    </a:lnTo>
                    <a:lnTo>
                      <a:pt x="105" y="210"/>
                    </a:lnTo>
                    <a:lnTo>
                      <a:pt x="105" y="210"/>
                    </a:lnTo>
                    <a:lnTo>
                      <a:pt x="89" y="215"/>
                    </a:lnTo>
                    <a:lnTo>
                      <a:pt x="72" y="220"/>
                    </a:lnTo>
                    <a:lnTo>
                      <a:pt x="57" y="227"/>
                    </a:lnTo>
                    <a:lnTo>
                      <a:pt x="42" y="234"/>
                    </a:lnTo>
                    <a:lnTo>
                      <a:pt x="29" y="242"/>
                    </a:lnTo>
                    <a:lnTo>
                      <a:pt x="16" y="251"/>
                    </a:lnTo>
                    <a:lnTo>
                      <a:pt x="7" y="259"/>
                    </a:lnTo>
                    <a:lnTo>
                      <a:pt x="0" y="268"/>
                    </a:lnTo>
                    <a:lnTo>
                      <a:pt x="0" y="528"/>
                    </a:lnTo>
                    <a:lnTo>
                      <a:pt x="0" y="528"/>
                    </a:lnTo>
                    <a:lnTo>
                      <a:pt x="17" y="537"/>
                    </a:lnTo>
                    <a:lnTo>
                      <a:pt x="35" y="547"/>
                    </a:lnTo>
                    <a:lnTo>
                      <a:pt x="57" y="557"/>
                    </a:lnTo>
                    <a:lnTo>
                      <a:pt x="81" y="568"/>
                    </a:lnTo>
                    <a:lnTo>
                      <a:pt x="106" y="578"/>
                    </a:lnTo>
                    <a:lnTo>
                      <a:pt x="118" y="582"/>
                    </a:lnTo>
                    <a:lnTo>
                      <a:pt x="129" y="585"/>
                    </a:lnTo>
                    <a:lnTo>
                      <a:pt x="140" y="586"/>
                    </a:lnTo>
                    <a:lnTo>
                      <a:pt x="150" y="587"/>
                    </a:lnTo>
                    <a:lnTo>
                      <a:pt x="150" y="587"/>
                    </a:lnTo>
                    <a:lnTo>
                      <a:pt x="316" y="584"/>
                    </a:lnTo>
                    <a:lnTo>
                      <a:pt x="316" y="584"/>
                    </a:lnTo>
                    <a:lnTo>
                      <a:pt x="324" y="584"/>
                    </a:lnTo>
                    <a:lnTo>
                      <a:pt x="331" y="582"/>
                    </a:lnTo>
                    <a:lnTo>
                      <a:pt x="338" y="579"/>
                    </a:lnTo>
                    <a:lnTo>
                      <a:pt x="344" y="574"/>
                    </a:lnTo>
                    <a:lnTo>
                      <a:pt x="350" y="568"/>
                    </a:lnTo>
                    <a:lnTo>
                      <a:pt x="354" y="562"/>
                    </a:lnTo>
                    <a:lnTo>
                      <a:pt x="356" y="555"/>
                    </a:lnTo>
                    <a:lnTo>
                      <a:pt x="358" y="547"/>
                    </a:lnTo>
                    <a:lnTo>
                      <a:pt x="358" y="547"/>
                    </a:lnTo>
                    <a:lnTo>
                      <a:pt x="357" y="541"/>
                    </a:lnTo>
                    <a:lnTo>
                      <a:pt x="356" y="535"/>
                    </a:lnTo>
                    <a:lnTo>
                      <a:pt x="355" y="530"/>
                    </a:lnTo>
                    <a:lnTo>
                      <a:pt x="352" y="525"/>
                    </a:lnTo>
                    <a:lnTo>
                      <a:pt x="350" y="520"/>
                    </a:lnTo>
                    <a:lnTo>
                      <a:pt x="346" y="516"/>
                    </a:lnTo>
                    <a:lnTo>
                      <a:pt x="342" y="512"/>
                    </a:lnTo>
                    <a:lnTo>
                      <a:pt x="337" y="509"/>
                    </a:lnTo>
                    <a:lnTo>
                      <a:pt x="336" y="509"/>
                    </a:lnTo>
                    <a:lnTo>
                      <a:pt x="336" y="509"/>
                    </a:lnTo>
                    <a:lnTo>
                      <a:pt x="333" y="508"/>
                    </a:lnTo>
                    <a:lnTo>
                      <a:pt x="332" y="506"/>
                    </a:lnTo>
                    <a:lnTo>
                      <a:pt x="331" y="504"/>
                    </a:lnTo>
                    <a:lnTo>
                      <a:pt x="330" y="502"/>
                    </a:lnTo>
                    <a:lnTo>
                      <a:pt x="330" y="502"/>
                    </a:lnTo>
                    <a:lnTo>
                      <a:pt x="331" y="498"/>
                    </a:lnTo>
                    <a:lnTo>
                      <a:pt x="332" y="495"/>
                    </a:lnTo>
                    <a:lnTo>
                      <a:pt x="335" y="494"/>
                    </a:lnTo>
                    <a:lnTo>
                      <a:pt x="337" y="493"/>
                    </a:lnTo>
                    <a:lnTo>
                      <a:pt x="353" y="493"/>
                    </a:lnTo>
                    <a:lnTo>
                      <a:pt x="353" y="493"/>
                    </a:lnTo>
                    <a:lnTo>
                      <a:pt x="361" y="492"/>
                    </a:lnTo>
                    <a:lnTo>
                      <a:pt x="369" y="490"/>
                    </a:lnTo>
                    <a:lnTo>
                      <a:pt x="376" y="487"/>
                    </a:lnTo>
                    <a:lnTo>
                      <a:pt x="382" y="483"/>
                    </a:lnTo>
                    <a:lnTo>
                      <a:pt x="387" y="477"/>
                    </a:lnTo>
                    <a:lnTo>
                      <a:pt x="391" y="471"/>
                    </a:lnTo>
                    <a:lnTo>
                      <a:pt x="394" y="463"/>
                    </a:lnTo>
                    <a:lnTo>
                      <a:pt x="395" y="456"/>
                    </a:lnTo>
                    <a:lnTo>
                      <a:pt x="395" y="456"/>
                    </a:lnTo>
                    <a:lnTo>
                      <a:pt x="395" y="450"/>
                    </a:lnTo>
                    <a:lnTo>
                      <a:pt x="394" y="444"/>
                    </a:lnTo>
                    <a:lnTo>
                      <a:pt x="392" y="439"/>
                    </a:lnTo>
                    <a:lnTo>
                      <a:pt x="390" y="434"/>
                    </a:lnTo>
                    <a:lnTo>
                      <a:pt x="387" y="429"/>
                    </a:lnTo>
                    <a:lnTo>
                      <a:pt x="384" y="425"/>
                    </a:lnTo>
                    <a:lnTo>
                      <a:pt x="380" y="421"/>
                    </a:lnTo>
                    <a:lnTo>
                      <a:pt x="375" y="418"/>
                    </a:lnTo>
                    <a:lnTo>
                      <a:pt x="375" y="418"/>
                    </a:lnTo>
                    <a:lnTo>
                      <a:pt x="374" y="418"/>
                    </a:lnTo>
                    <a:lnTo>
                      <a:pt x="374" y="417"/>
                    </a:lnTo>
                    <a:lnTo>
                      <a:pt x="374" y="417"/>
                    </a:lnTo>
                    <a:lnTo>
                      <a:pt x="371" y="416"/>
                    </a:lnTo>
                    <a:lnTo>
                      <a:pt x="369" y="415"/>
                    </a:lnTo>
                    <a:lnTo>
                      <a:pt x="368" y="412"/>
                    </a:lnTo>
                    <a:lnTo>
                      <a:pt x="368" y="409"/>
                    </a:lnTo>
                    <a:lnTo>
                      <a:pt x="368" y="409"/>
                    </a:lnTo>
                    <a:lnTo>
                      <a:pt x="368" y="406"/>
                    </a:lnTo>
                    <a:lnTo>
                      <a:pt x="370" y="403"/>
                    </a:lnTo>
                    <a:lnTo>
                      <a:pt x="372" y="402"/>
                    </a:lnTo>
                    <a:lnTo>
                      <a:pt x="375" y="401"/>
                    </a:lnTo>
                    <a:lnTo>
                      <a:pt x="391" y="400"/>
                    </a:lnTo>
                    <a:lnTo>
                      <a:pt x="391" y="400"/>
                    </a:lnTo>
                    <a:lnTo>
                      <a:pt x="399" y="399"/>
                    </a:lnTo>
                    <a:lnTo>
                      <a:pt x="406" y="397"/>
                    </a:lnTo>
                    <a:lnTo>
                      <a:pt x="413" y="394"/>
                    </a:lnTo>
                    <a:lnTo>
                      <a:pt x="419" y="390"/>
                    </a:lnTo>
                    <a:lnTo>
                      <a:pt x="425" y="384"/>
                    </a:lnTo>
                    <a:lnTo>
                      <a:pt x="429" y="377"/>
                    </a:lnTo>
                    <a:lnTo>
                      <a:pt x="431" y="370"/>
                    </a:lnTo>
                    <a:lnTo>
                      <a:pt x="433" y="362"/>
                    </a:lnTo>
                    <a:lnTo>
                      <a:pt x="433" y="362"/>
                    </a:lnTo>
                    <a:lnTo>
                      <a:pt x="432" y="356"/>
                    </a:lnTo>
                    <a:lnTo>
                      <a:pt x="431" y="351"/>
                    </a:lnTo>
                    <a:lnTo>
                      <a:pt x="430" y="345"/>
                    </a:lnTo>
                    <a:lnTo>
                      <a:pt x="428" y="340"/>
                    </a:lnTo>
                    <a:lnTo>
                      <a:pt x="425" y="336"/>
                    </a:lnTo>
                    <a:lnTo>
                      <a:pt x="421" y="332"/>
                    </a:lnTo>
                    <a:lnTo>
                      <a:pt x="417" y="329"/>
                    </a:lnTo>
                    <a:lnTo>
                      <a:pt x="413" y="326"/>
                    </a:lnTo>
                    <a:lnTo>
                      <a:pt x="411" y="325"/>
                    </a:lnTo>
                    <a:lnTo>
                      <a:pt x="411" y="325"/>
                    </a:lnTo>
                    <a:lnTo>
                      <a:pt x="408" y="323"/>
                    </a:lnTo>
                    <a:lnTo>
                      <a:pt x="407" y="321"/>
                    </a:lnTo>
                    <a:lnTo>
                      <a:pt x="406" y="319"/>
                    </a:lnTo>
                    <a:lnTo>
                      <a:pt x="405" y="317"/>
                    </a:lnTo>
                    <a:lnTo>
                      <a:pt x="405" y="317"/>
                    </a:lnTo>
                    <a:lnTo>
                      <a:pt x="406" y="314"/>
                    </a:lnTo>
                    <a:lnTo>
                      <a:pt x="407" y="311"/>
                    </a:lnTo>
                    <a:lnTo>
                      <a:pt x="410" y="309"/>
                    </a:lnTo>
                    <a:lnTo>
                      <a:pt x="413" y="309"/>
                    </a:lnTo>
                    <a:lnTo>
                      <a:pt x="428" y="309"/>
                    </a:lnTo>
                    <a:lnTo>
                      <a:pt x="428" y="309"/>
                    </a:lnTo>
                    <a:lnTo>
                      <a:pt x="436" y="308"/>
                    </a:lnTo>
                    <a:lnTo>
                      <a:pt x="444" y="306"/>
                    </a:lnTo>
                    <a:lnTo>
                      <a:pt x="451" y="303"/>
                    </a:lnTo>
                    <a:lnTo>
                      <a:pt x="457" y="298"/>
                    </a:lnTo>
                    <a:lnTo>
                      <a:pt x="463" y="293"/>
                    </a:lnTo>
                    <a:lnTo>
                      <a:pt x="467" y="286"/>
                    </a:lnTo>
                    <a:lnTo>
                      <a:pt x="470" y="279"/>
                    </a:lnTo>
                    <a:lnTo>
                      <a:pt x="471" y="271"/>
                    </a:lnTo>
                    <a:lnTo>
                      <a:pt x="471" y="271"/>
                    </a:lnTo>
                    <a:lnTo>
                      <a:pt x="471" y="263"/>
                    </a:lnTo>
                    <a:lnTo>
                      <a:pt x="469" y="256"/>
                    </a:lnTo>
                    <a:lnTo>
                      <a:pt x="466" y="249"/>
                    </a:lnTo>
                    <a:lnTo>
                      <a:pt x="462" y="242"/>
                    </a:lnTo>
                    <a:lnTo>
                      <a:pt x="455" y="237"/>
                    </a:lnTo>
                    <a:lnTo>
                      <a:pt x="449" y="233"/>
                    </a:lnTo>
                    <a:lnTo>
                      <a:pt x="441" y="230"/>
                    </a:lnTo>
                    <a:lnTo>
                      <a:pt x="433" y="22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201" name="Group 200"/>
          <p:cNvGrpSpPr/>
          <p:nvPr/>
        </p:nvGrpSpPr>
        <p:grpSpPr>
          <a:xfrm>
            <a:off x="793809" y="4392141"/>
            <a:ext cx="291871" cy="350247"/>
            <a:chOff x="750393" y="4017662"/>
            <a:chExt cx="512234" cy="614684"/>
          </a:xfrm>
        </p:grpSpPr>
        <p:sp>
          <p:nvSpPr>
            <p:cNvPr id="1273" name="Isosceles Triangle 2662"/>
            <p:cNvSpPr/>
            <p:nvPr/>
          </p:nvSpPr>
          <p:spPr bwMode="auto">
            <a:xfrm rot="12600000" flipH="1">
              <a:off x="750393" y="4017662"/>
              <a:ext cx="512234" cy="614684"/>
            </a:xfrm>
            <a:custGeom>
              <a:avLst/>
              <a:gdLst/>
              <a:ahLst/>
              <a:cxnLst/>
              <a:rect l="l" t="t" r="r" b="b"/>
              <a:pathLst>
                <a:path w="384849" h="461821">
                  <a:moveTo>
                    <a:pt x="108837" y="430605"/>
                  </a:moveTo>
                  <a:cubicBezTo>
                    <a:pt x="13141" y="375355"/>
                    <a:pt x="-27012" y="265747"/>
                    <a:pt x="19152" y="185788"/>
                  </a:cubicBezTo>
                  <a:cubicBezTo>
                    <a:pt x="38669" y="151983"/>
                    <a:pt x="70490" y="128891"/>
                    <a:pt x="108806" y="120511"/>
                  </a:cubicBezTo>
                  <a:lnTo>
                    <a:pt x="163813" y="0"/>
                  </a:lnTo>
                  <a:lnTo>
                    <a:pt x="218403" y="119596"/>
                  </a:lnTo>
                  <a:cubicBezTo>
                    <a:pt x="238305" y="122507"/>
                    <a:pt x="257519" y="130372"/>
                    <a:pt x="276012" y="141049"/>
                  </a:cubicBezTo>
                  <a:cubicBezTo>
                    <a:pt x="371708" y="196299"/>
                    <a:pt x="411861" y="305908"/>
                    <a:pt x="365697" y="385866"/>
                  </a:cubicBezTo>
                  <a:cubicBezTo>
                    <a:pt x="319533" y="465825"/>
                    <a:pt x="204533" y="485855"/>
                    <a:pt x="108837" y="430605"/>
                  </a:cubicBezTo>
                  <a:close/>
                </a:path>
              </a:pathLst>
            </a:custGeom>
            <a:solidFill>
              <a:schemeClr val="tx1"/>
            </a:solidFill>
            <a:ln>
              <a:solidFill>
                <a:srgbClr val="008D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45720" bIns="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w="3175">
                  <a:noFill/>
                </a:ln>
                <a:solidFill>
                  <a:srgbClr val="8DC548"/>
                </a:solidFill>
                <a:effectLst/>
                <a:uLnTx/>
                <a:uFillTx/>
                <a:latin typeface="Arial" pitchFamily="34" charset="0"/>
                <a:cs typeface="Arial" pitchFamily="34" charset="0"/>
              </a:endParaRPr>
            </a:p>
          </p:txBody>
        </p:sp>
        <p:sp>
          <p:nvSpPr>
            <p:cNvPr id="1271" name="Freeform 133"/>
            <p:cNvSpPr>
              <a:spLocks noEditPoints="1"/>
            </p:cNvSpPr>
            <p:nvPr/>
          </p:nvSpPr>
          <p:spPr bwMode="black">
            <a:xfrm>
              <a:off x="920165" y="4094235"/>
              <a:ext cx="237696" cy="307892"/>
            </a:xfrm>
            <a:custGeom>
              <a:avLst/>
              <a:gdLst>
                <a:gd name="T0" fmla="*/ 60 w 65"/>
                <a:gd name="T1" fmla="*/ 76 h 76"/>
                <a:gd name="T2" fmla="*/ 5 w 65"/>
                <a:gd name="T3" fmla="*/ 76 h 76"/>
                <a:gd name="T4" fmla="*/ 5 w 65"/>
                <a:gd name="T5" fmla="*/ 43 h 76"/>
                <a:gd name="T6" fmla="*/ 60 w 65"/>
                <a:gd name="T7" fmla="*/ 43 h 76"/>
                <a:gd name="T8" fmla="*/ 60 w 65"/>
                <a:gd name="T9" fmla="*/ 76 h 76"/>
                <a:gd name="T10" fmla="*/ 63 w 65"/>
                <a:gd name="T11" fmla="*/ 30 h 76"/>
                <a:gd name="T12" fmla="*/ 63 w 65"/>
                <a:gd name="T13" fmla="*/ 38 h 76"/>
                <a:gd name="T14" fmla="*/ 2 w 65"/>
                <a:gd name="T15" fmla="*/ 38 h 76"/>
                <a:gd name="T16" fmla="*/ 2 w 65"/>
                <a:gd name="T17" fmla="*/ 30 h 76"/>
                <a:gd name="T18" fmla="*/ 4 w 65"/>
                <a:gd name="T19" fmla="*/ 22 h 76"/>
                <a:gd name="T20" fmla="*/ 19 w 65"/>
                <a:gd name="T21" fmla="*/ 22 h 76"/>
                <a:gd name="T22" fmla="*/ 5 w 65"/>
                <a:gd name="T23" fmla="*/ 16 h 76"/>
                <a:gd name="T24" fmla="*/ 14 w 65"/>
                <a:gd name="T25" fmla="*/ 5 h 76"/>
                <a:gd name="T26" fmla="*/ 32 w 65"/>
                <a:gd name="T27" fmla="*/ 14 h 76"/>
                <a:gd name="T28" fmla="*/ 51 w 65"/>
                <a:gd name="T29" fmla="*/ 5 h 76"/>
                <a:gd name="T30" fmla="*/ 60 w 65"/>
                <a:gd name="T31" fmla="*/ 16 h 76"/>
                <a:gd name="T32" fmla="*/ 45 w 65"/>
                <a:gd name="T33" fmla="*/ 22 h 76"/>
                <a:gd name="T34" fmla="*/ 61 w 65"/>
                <a:gd name="T35" fmla="*/ 22 h 76"/>
                <a:gd name="T36" fmla="*/ 63 w 65"/>
                <a:gd name="T37" fmla="*/ 30 h 76"/>
                <a:gd name="T38" fmla="*/ 39 w 65"/>
                <a:gd name="T39" fmla="*/ 20 h 76"/>
                <a:gd name="T40" fmla="*/ 57 w 65"/>
                <a:gd name="T41" fmla="*/ 15 h 76"/>
                <a:gd name="T42" fmla="*/ 51 w 65"/>
                <a:gd name="T43" fmla="*/ 10 h 76"/>
                <a:gd name="T44" fmla="*/ 39 w 65"/>
                <a:gd name="T45" fmla="*/ 20 h 76"/>
                <a:gd name="T46" fmla="*/ 8 w 65"/>
                <a:gd name="T47" fmla="*/ 15 h 76"/>
                <a:gd name="T48" fmla="*/ 26 w 65"/>
                <a:gd name="T49" fmla="*/ 20 h 76"/>
                <a:gd name="T50" fmla="*/ 14 w 65"/>
                <a:gd name="T51" fmla="*/ 10 h 76"/>
                <a:gd name="T52" fmla="*/ 8 w 65"/>
                <a:gd name="T53" fmla="*/ 1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6">
                  <a:moveTo>
                    <a:pt x="60" y="76"/>
                  </a:moveTo>
                  <a:cubicBezTo>
                    <a:pt x="5" y="76"/>
                    <a:pt x="5" y="76"/>
                    <a:pt x="5" y="76"/>
                  </a:cubicBezTo>
                  <a:cubicBezTo>
                    <a:pt x="5" y="43"/>
                    <a:pt x="5" y="43"/>
                    <a:pt x="5" y="43"/>
                  </a:cubicBezTo>
                  <a:cubicBezTo>
                    <a:pt x="60" y="43"/>
                    <a:pt x="60" y="43"/>
                    <a:pt x="60" y="43"/>
                  </a:cubicBezTo>
                  <a:lnTo>
                    <a:pt x="60" y="76"/>
                  </a:lnTo>
                  <a:close/>
                  <a:moveTo>
                    <a:pt x="63" y="30"/>
                  </a:moveTo>
                  <a:cubicBezTo>
                    <a:pt x="63" y="38"/>
                    <a:pt x="63" y="38"/>
                    <a:pt x="63" y="38"/>
                  </a:cubicBezTo>
                  <a:cubicBezTo>
                    <a:pt x="2" y="38"/>
                    <a:pt x="2" y="38"/>
                    <a:pt x="2" y="38"/>
                  </a:cubicBezTo>
                  <a:cubicBezTo>
                    <a:pt x="2" y="30"/>
                    <a:pt x="2" y="30"/>
                    <a:pt x="2" y="30"/>
                  </a:cubicBezTo>
                  <a:cubicBezTo>
                    <a:pt x="4" y="22"/>
                    <a:pt x="4" y="22"/>
                    <a:pt x="4" y="22"/>
                  </a:cubicBezTo>
                  <a:cubicBezTo>
                    <a:pt x="19" y="22"/>
                    <a:pt x="19" y="22"/>
                    <a:pt x="19" y="22"/>
                  </a:cubicBezTo>
                  <a:cubicBezTo>
                    <a:pt x="13" y="21"/>
                    <a:pt x="8" y="18"/>
                    <a:pt x="5" y="16"/>
                  </a:cubicBezTo>
                  <a:cubicBezTo>
                    <a:pt x="0" y="13"/>
                    <a:pt x="11" y="9"/>
                    <a:pt x="14" y="5"/>
                  </a:cubicBezTo>
                  <a:cubicBezTo>
                    <a:pt x="18" y="0"/>
                    <a:pt x="26" y="8"/>
                    <a:pt x="32" y="14"/>
                  </a:cubicBezTo>
                  <a:cubicBezTo>
                    <a:pt x="39" y="8"/>
                    <a:pt x="46" y="0"/>
                    <a:pt x="51" y="5"/>
                  </a:cubicBezTo>
                  <a:cubicBezTo>
                    <a:pt x="54" y="9"/>
                    <a:pt x="65" y="13"/>
                    <a:pt x="60" y="16"/>
                  </a:cubicBezTo>
                  <a:cubicBezTo>
                    <a:pt x="57" y="18"/>
                    <a:pt x="51" y="21"/>
                    <a:pt x="45" y="22"/>
                  </a:cubicBezTo>
                  <a:cubicBezTo>
                    <a:pt x="61" y="22"/>
                    <a:pt x="61" y="22"/>
                    <a:pt x="61" y="22"/>
                  </a:cubicBezTo>
                  <a:lnTo>
                    <a:pt x="63" y="30"/>
                  </a:lnTo>
                  <a:close/>
                  <a:moveTo>
                    <a:pt x="39" y="20"/>
                  </a:moveTo>
                  <a:cubicBezTo>
                    <a:pt x="50" y="19"/>
                    <a:pt x="56" y="16"/>
                    <a:pt x="57" y="15"/>
                  </a:cubicBezTo>
                  <a:cubicBezTo>
                    <a:pt x="58" y="14"/>
                    <a:pt x="52" y="10"/>
                    <a:pt x="51" y="10"/>
                  </a:cubicBezTo>
                  <a:cubicBezTo>
                    <a:pt x="49" y="10"/>
                    <a:pt x="39" y="20"/>
                    <a:pt x="39" y="20"/>
                  </a:cubicBezTo>
                  <a:close/>
                  <a:moveTo>
                    <a:pt x="8" y="15"/>
                  </a:moveTo>
                  <a:cubicBezTo>
                    <a:pt x="9" y="16"/>
                    <a:pt x="15" y="19"/>
                    <a:pt x="26" y="20"/>
                  </a:cubicBezTo>
                  <a:cubicBezTo>
                    <a:pt x="26" y="20"/>
                    <a:pt x="16" y="10"/>
                    <a:pt x="14" y="10"/>
                  </a:cubicBezTo>
                  <a:cubicBezTo>
                    <a:pt x="13" y="10"/>
                    <a:pt x="7" y="14"/>
                    <a:pt x="8" y="15"/>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02" name="Group 201"/>
          <p:cNvGrpSpPr/>
          <p:nvPr/>
        </p:nvGrpSpPr>
        <p:grpSpPr>
          <a:xfrm>
            <a:off x="96434" y="4685312"/>
            <a:ext cx="432377" cy="360313"/>
            <a:chOff x="-156861" y="4672435"/>
            <a:chExt cx="558803" cy="465667"/>
          </a:xfrm>
        </p:grpSpPr>
        <p:sp>
          <p:nvSpPr>
            <p:cNvPr id="1285" name="Isosceles Triangle 2662"/>
            <p:cNvSpPr/>
            <p:nvPr/>
          </p:nvSpPr>
          <p:spPr bwMode="auto">
            <a:xfrm rot="6806193">
              <a:off x="-110293" y="4625867"/>
              <a:ext cx="465667" cy="558803"/>
            </a:xfrm>
            <a:custGeom>
              <a:avLst/>
              <a:gdLst/>
              <a:ahLst/>
              <a:cxnLst/>
              <a:rect l="l" t="t" r="r" b="b"/>
              <a:pathLst>
                <a:path w="384849" h="461821">
                  <a:moveTo>
                    <a:pt x="108837" y="430605"/>
                  </a:moveTo>
                  <a:cubicBezTo>
                    <a:pt x="13141" y="375355"/>
                    <a:pt x="-27012" y="265747"/>
                    <a:pt x="19152" y="185788"/>
                  </a:cubicBezTo>
                  <a:cubicBezTo>
                    <a:pt x="38669" y="151983"/>
                    <a:pt x="70490" y="128891"/>
                    <a:pt x="108806" y="120511"/>
                  </a:cubicBezTo>
                  <a:lnTo>
                    <a:pt x="163813" y="0"/>
                  </a:lnTo>
                  <a:lnTo>
                    <a:pt x="218403" y="119596"/>
                  </a:lnTo>
                  <a:cubicBezTo>
                    <a:pt x="238305" y="122507"/>
                    <a:pt x="257519" y="130372"/>
                    <a:pt x="276012" y="141049"/>
                  </a:cubicBezTo>
                  <a:cubicBezTo>
                    <a:pt x="371708" y="196299"/>
                    <a:pt x="411861" y="305908"/>
                    <a:pt x="365697" y="385866"/>
                  </a:cubicBezTo>
                  <a:cubicBezTo>
                    <a:pt x="319533" y="465825"/>
                    <a:pt x="204533" y="485855"/>
                    <a:pt x="108837" y="430605"/>
                  </a:cubicBezTo>
                  <a:close/>
                </a:path>
              </a:pathLst>
            </a:custGeom>
            <a:solidFill>
              <a:schemeClr val="tx1"/>
            </a:solidFill>
            <a:ln>
              <a:solidFill>
                <a:srgbClr val="008D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45720" bIns="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w="3175">
                  <a:noFill/>
                </a:ln>
                <a:solidFill>
                  <a:srgbClr val="8DC548"/>
                </a:solidFill>
                <a:effectLst/>
                <a:uLnTx/>
                <a:uFillTx/>
                <a:latin typeface="Arial" pitchFamily="34" charset="0"/>
                <a:cs typeface="Arial" pitchFamily="34" charset="0"/>
              </a:endParaRPr>
            </a:p>
          </p:txBody>
        </p:sp>
        <p:sp>
          <p:nvSpPr>
            <p:cNvPr id="1283" name="Freeform 90"/>
            <p:cNvSpPr>
              <a:spLocks noEditPoints="1"/>
            </p:cNvSpPr>
            <p:nvPr/>
          </p:nvSpPr>
          <p:spPr bwMode="black">
            <a:xfrm>
              <a:off x="-54664" y="4743383"/>
              <a:ext cx="251010" cy="275394"/>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accent1"/>
            </a:solidFill>
            <a:ln>
              <a:noFill/>
            </a:ln>
            <a:extLst/>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B3B41"/>
                </a:solidFill>
                <a:effectLst/>
                <a:uLnTx/>
                <a:uFillTx/>
              </a:endParaRPr>
            </a:p>
          </p:txBody>
        </p:sp>
      </p:grpSp>
      <p:grpSp>
        <p:nvGrpSpPr>
          <p:cNvPr id="1030" name="Group 1029"/>
          <p:cNvGrpSpPr/>
          <p:nvPr/>
        </p:nvGrpSpPr>
        <p:grpSpPr>
          <a:xfrm rot="17644882">
            <a:off x="10480325" y="4846948"/>
            <a:ext cx="327233" cy="327233"/>
            <a:chOff x="4826727" y="1390548"/>
            <a:chExt cx="502642" cy="502642"/>
          </a:xfrm>
        </p:grpSpPr>
        <p:sp>
          <p:nvSpPr>
            <p:cNvPr id="1153" name="Oval 1152"/>
            <p:cNvSpPr/>
            <p:nvPr/>
          </p:nvSpPr>
          <p:spPr bwMode="auto">
            <a:xfrm>
              <a:off x="4826727" y="1390548"/>
              <a:ext cx="502642" cy="502642"/>
            </a:xfrm>
            <a:prstGeom prst="ellipse">
              <a:avLst/>
            </a:prstGeom>
            <a:solidFill>
              <a:schemeClr val="bg2">
                <a:lumMod val="10000"/>
              </a:schemeClr>
            </a:solidFill>
            <a:ln w="2857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97" name="Left Arrow 1196"/>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241" name="Freeform 138"/>
          <p:cNvSpPr>
            <a:spLocks/>
          </p:cNvSpPr>
          <p:nvPr/>
        </p:nvSpPr>
        <p:spPr bwMode="auto">
          <a:xfrm rot="21032002">
            <a:off x="10964104" y="3068179"/>
            <a:ext cx="225322" cy="210113"/>
          </a:xfrm>
          <a:custGeom>
            <a:avLst/>
            <a:gdLst>
              <a:gd name="T0" fmla="*/ 94 w 230"/>
              <a:gd name="T1" fmla="*/ 0 h 211"/>
              <a:gd name="T2" fmla="*/ 230 w 230"/>
              <a:gd name="T3" fmla="*/ 187 h 211"/>
              <a:gd name="T4" fmla="*/ 0 w 230"/>
              <a:gd name="T5" fmla="*/ 211 h 211"/>
              <a:gd name="T6" fmla="*/ 94 w 230"/>
              <a:gd name="T7" fmla="*/ 0 h 211"/>
            </a:gdLst>
            <a:ahLst/>
            <a:cxnLst>
              <a:cxn ang="0">
                <a:pos x="T0" y="T1"/>
              </a:cxn>
              <a:cxn ang="0">
                <a:pos x="T2" y="T3"/>
              </a:cxn>
              <a:cxn ang="0">
                <a:pos x="T4" y="T5"/>
              </a:cxn>
              <a:cxn ang="0">
                <a:pos x="T6" y="T7"/>
              </a:cxn>
            </a:cxnLst>
            <a:rect l="0" t="0" r="r" b="b"/>
            <a:pathLst>
              <a:path w="230" h="211">
                <a:moveTo>
                  <a:pt x="94" y="0"/>
                </a:moveTo>
                <a:lnTo>
                  <a:pt x="230" y="187"/>
                </a:lnTo>
                <a:lnTo>
                  <a:pt x="0" y="211"/>
                </a:lnTo>
                <a:lnTo>
                  <a:pt x="94"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055" name="Group 1054"/>
          <p:cNvGrpSpPr/>
          <p:nvPr/>
        </p:nvGrpSpPr>
        <p:grpSpPr>
          <a:xfrm rot="16845577">
            <a:off x="10876305" y="3763359"/>
            <a:ext cx="327233" cy="327233"/>
            <a:chOff x="4826727" y="1390548"/>
            <a:chExt cx="502642" cy="502642"/>
          </a:xfrm>
        </p:grpSpPr>
        <p:sp>
          <p:nvSpPr>
            <p:cNvPr id="1058" name="Oval 1057"/>
            <p:cNvSpPr/>
            <p:nvPr/>
          </p:nvSpPr>
          <p:spPr bwMode="auto">
            <a:xfrm>
              <a:off x="4826727" y="1390548"/>
              <a:ext cx="502642" cy="502642"/>
            </a:xfrm>
            <a:prstGeom prst="ellipse">
              <a:avLst/>
            </a:prstGeom>
            <a:solidFill>
              <a:schemeClr val="bg2">
                <a:lumMod val="10000"/>
              </a:schemeClr>
            </a:solidFill>
            <a:ln w="2857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9" name="Left Arrow 1058"/>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92" name="Group 191"/>
          <p:cNvGrpSpPr/>
          <p:nvPr/>
        </p:nvGrpSpPr>
        <p:grpSpPr>
          <a:xfrm>
            <a:off x="11068479" y="3944847"/>
            <a:ext cx="1094421" cy="2187945"/>
            <a:chOff x="11046598" y="4077738"/>
            <a:chExt cx="1094421" cy="2187945"/>
          </a:xfrm>
        </p:grpSpPr>
        <p:grpSp>
          <p:nvGrpSpPr>
            <p:cNvPr id="1276" name="Group 1275"/>
            <p:cNvGrpSpPr/>
            <p:nvPr/>
          </p:nvGrpSpPr>
          <p:grpSpPr>
            <a:xfrm>
              <a:off x="11226152" y="4077738"/>
              <a:ext cx="881363" cy="2187945"/>
              <a:chOff x="7979046" y="3677560"/>
              <a:chExt cx="1051165" cy="2372241"/>
            </a:xfrm>
          </p:grpSpPr>
          <p:sp>
            <p:nvSpPr>
              <p:cNvPr id="1277" name="Freeform 1276"/>
              <p:cNvSpPr/>
              <p:nvPr/>
            </p:nvSpPr>
            <p:spPr bwMode="auto">
              <a:xfrm>
                <a:off x="7979046" y="3677560"/>
                <a:ext cx="1051165" cy="2372241"/>
              </a:xfrm>
              <a:custGeom>
                <a:avLst/>
                <a:gdLst>
                  <a:gd name="connsiteX0" fmla="*/ 6439 w 1017431"/>
                  <a:gd name="connsiteY0" fmla="*/ 64394 h 2331076"/>
                  <a:gd name="connsiteX1" fmla="*/ 6439 w 1017431"/>
                  <a:gd name="connsiteY1" fmla="*/ 64394 h 2331076"/>
                  <a:gd name="connsiteX2" fmla="*/ 57955 w 1017431"/>
                  <a:gd name="connsiteY2" fmla="*/ 38636 h 2331076"/>
                  <a:gd name="connsiteX3" fmla="*/ 96592 w 1017431"/>
                  <a:gd name="connsiteY3" fmla="*/ 25758 h 2331076"/>
                  <a:gd name="connsiteX4" fmla="*/ 128789 w 1017431"/>
                  <a:gd name="connsiteY4" fmla="*/ 0 h 2331076"/>
                  <a:gd name="connsiteX5" fmla="*/ 1017431 w 1017431"/>
                  <a:gd name="connsiteY5" fmla="*/ 347729 h 2331076"/>
                  <a:gd name="connsiteX6" fmla="*/ 1004552 w 1017431"/>
                  <a:gd name="connsiteY6" fmla="*/ 2260242 h 2331076"/>
                  <a:gd name="connsiteX7" fmla="*/ 901521 w 1017431"/>
                  <a:gd name="connsiteY7" fmla="*/ 2331076 h 2331076"/>
                  <a:gd name="connsiteX8" fmla="*/ 0 w 1017431"/>
                  <a:gd name="connsiteY8" fmla="*/ 1783724 h 2331076"/>
                  <a:gd name="connsiteX9" fmla="*/ 6439 w 1017431"/>
                  <a:gd name="connsiteY9" fmla="*/ 64394 h 2331076"/>
                  <a:gd name="connsiteX0" fmla="*/ 6439 w 1017431"/>
                  <a:gd name="connsiteY0" fmla="*/ 81619 h 2348301"/>
                  <a:gd name="connsiteX1" fmla="*/ 6439 w 1017431"/>
                  <a:gd name="connsiteY1" fmla="*/ 81619 h 2348301"/>
                  <a:gd name="connsiteX2" fmla="*/ 57955 w 1017431"/>
                  <a:gd name="connsiteY2" fmla="*/ 55861 h 2348301"/>
                  <a:gd name="connsiteX3" fmla="*/ 128789 w 1017431"/>
                  <a:gd name="connsiteY3" fmla="*/ 17225 h 2348301"/>
                  <a:gd name="connsiteX4" fmla="*/ 1017431 w 1017431"/>
                  <a:gd name="connsiteY4" fmla="*/ 364954 h 2348301"/>
                  <a:gd name="connsiteX5" fmla="*/ 1004552 w 1017431"/>
                  <a:gd name="connsiteY5" fmla="*/ 2277467 h 2348301"/>
                  <a:gd name="connsiteX6" fmla="*/ 901521 w 1017431"/>
                  <a:gd name="connsiteY6" fmla="*/ 2348301 h 2348301"/>
                  <a:gd name="connsiteX7" fmla="*/ 0 w 1017431"/>
                  <a:gd name="connsiteY7" fmla="*/ 1800949 h 2348301"/>
                  <a:gd name="connsiteX8" fmla="*/ 6439 w 1017431"/>
                  <a:gd name="connsiteY8" fmla="*/ 81619 h 2348301"/>
                  <a:gd name="connsiteX0" fmla="*/ 6439 w 1017431"/>
                  <a:gd name="connsiteY0" fmla="*/ 76907 h 2343589"/>
                  <a:gd name="connsiteX1" fmla="*/ 6439 w 1017431"/>
                  <a:gd name="connsiteY1" fmla="*/ 76907 h 2343589"/>
                  <a:gd name="connsiteX2" fmla="*/ 128789 w 1017431"/>
                  <a:gd name="connsiteY2" fmla="*/ 12513 h 2343589"/>
                  <a:gd name="connsiteX3" fmla="*/ 1017431 w 1017431"/>
                  <a:gd name="connsiteY3" fmla="*/ 360242 h 2343589"/>
                  <a:gd name="connsiteX4" fmla="*/ 1004552 w 1017431"/>
                  <a:gd name="connsiteY4" fmla="*/ 2272755 h 2343589"/>
                  <a:gd name="connsiteX5" fmla="*/ 901521 w 1017431"/>
                  <a:gd name="connsiteY5" fmla="*/ 2343589 h 2343589"/>
                  <a:gd name="connsiteX6" fmla="*/ 0 w 1017431"/>
                  <a:gd name="connsiteY6" fmla="*/ 1796237 h 2343589"/>
                  <a:gd name="connsiteX7" fmla="*/ 6439 w 1017431"/>
                  <a:gd name="connsiteY7" fmla="*/ 76907 h 2343589"/>
                  <a:gd name="connsiteX0" fmla="*/ 6439 w 1017431"/>
                  <a:gd name="connsiteY0" fmla="*/ 64517 h 2331199"/>
                  <a:gd name="connsiteX1" fmla="*/ 6439 w 1017431"/>
                  <a:gd name="connsiteY1" fmla="*/ 64517 h 2331199"/>
                  <a:gd name="connsiteX2" fmla="*/ 128789 w 1017431"/>
                  <a:gd name="connsiteY2" fmla="*/ 123 h 2331199"/>
                  <a:gd name="connsiteX3" fmla="*/ 1017431 w 1017431"/>
                  <a:gd name="connsiteY3" fmla="*/ 347852 h 2331199"/>
                  <a:gd name="connsiteX4" fmla="*/ 1004552 w 1017431"/>
                  <a:gd name="connsiteY4" fmla="*/ 2260365 h 2331199"/>
                  <a:gd name="connsiteX5" fmla="*/ 901521 w 1017431"/>
                  <a:gd name="connsiteY5" fmla="*/ 2331199 h 2331199"/>
                  <a:gd name="connsiteX6" fmla="*/ 0 w 1017431"/>
                  <a:gd name="connsiteY6" fmla="*/ 1783847 h 2331199"/>
                  <a:gd name="connsiteX7" fmla="*/ 6439 w 1017431"/>
                  <a:gd name="connsiteY7" fmla="*/ 64517 h 2331199"/>
                  <a:gd name="connsiteX0" fmla="*/ 6439 w 1027934"/>
                  <a:gd name="connsiteY0" fmla="*/ 64394 h 2331076"/>
                  <a:gd name="connsiteX1" fmla="*/ 6439 w 1027934"/>
                  <a:gd name="connsiteY1" fmla="*/ 64394 h 2331076"/>
                  <a:gd name="connsiteX2" fmla="*/ 128789 w 1027934"/>
                  <a:gd name="connsiteY2" fmla="*/ 0 h 2331076"/>
                  <a:gd name="connsiteX3" fmla="*/ 935920 w 1027934"/>
                  <a:gd name="connsiteY3" fmla="*/ 314949 h 2331076"/>
                  <a:gd name="connsiteX4" fmla="*/ 1017431 w 1027934"/>
                  <a:gd name="connsiteY4" fmla="*/ 347729 h 2331076"/>
                  <a:gd name="connsiteX5" fmla="*/ 1004552 w 1027934"/>
                  <a:gd name="connsiteY5" fmla="*/ 2260242 h 2331076"/>
                  <a:gd name="connsiteX6" fmla="*/ 901521 w 1027934"/>
                  <a:gd name="connsiteY6" fmla="*/ 2331076 h 2331076"/>
                  <a:gd name="connsiteX7" fmla="*/ 0 w 1027934"/>
                  <a:gd name="connsiteY7" fmla="*/ 1783724 h 2331076"/>
                  <a:gd name="connsiteX8" fmla="*/ 6439 w 1027934"/>
                  <a:gd name="connsiteY8" fmla="*/ 64394 h 2331076"/>
                  <a:gd name="connsiteX0" fmla="*/ 6439 w 1025326"/>
                  <a:gd name="connsiteY0" fmla="*/ 64394 h 2331076"/>
                  <a:gd name="connsiteX1" fmla="*/ 6439 w 1025326"/>
                  <a:gd name="connsiteY1" fmla="*/ 64394 h 2331076"/>
                  <a:gd name="connsiteX2" fmla="*/ 128789 w 1025326"/>
                  <a:gd name="connsiteY2" fmla="*/ 0 h 2331076"/>
                  <a:gd name="connsiteX3" fmla="*/ 935920 w 1025326"/>
                  <a:gd name="connsiteY3" fmla="*/ 314949 h 2331076"/>
                  <a:gd name="connsiteX4" fmla="*/ 1012164 w 1025326"/>
                  <a:gd name="connsiteY4" fmla="*/ 642890 h 2331076"/>
                  <a:gd name="connsiteX5" fmla="*/ 1004552 w 1025326"/>
                  <a:gd name="connsiteY5" fmla="*/ 2260242 h 2331076"/>
                  <a:gd name="connsiteX6" fmla="*/ 901521 w 1025326"/>
                  <a:gd name="connsiteY6" fmla="*/ 2331076 h 2331076"/>
                  <a:gd name="connsiteX7" fmla="*/ 0 w 1025326"/>
                  <a:gd name="connsiteY7" fmla="*/ 1783724 h 2331076"/>
                  <a:gd name="connsiteX8" fmla="*/ 6439 w 1025326"/>
                  <a:gd name="connsiteY8" fmla="*/ 64394 h 2331076"/>
                  <a:gd name="connsiteX0" fmla="*/ 6439 w 1027270"/>
                  <a:gd name="connsiteY0" fmla="*/ 64394 h 2331076"/>
                  <a:gd name="connsiteX1" fmla="*/ 6439 w 1027270"/>
                  <a:gd name="connsiteY1" fmla="*/ 64394 h 2331076"/>
                  <a:gd name="connsiteX2" fmla="*/ 128789 w 1027270"/>
                  <a:gd name="connsiteY2" fmla="*/ 0 h 2331076"/>
                  <a:gd name="connsiteX3" fmla="*/ 935920 w 1027270"/>
                  <a:gd name="connsiteY3" fmla="*/ 314949 h 2331076"/>
                  <a:gd name="connsiteX4" fmla="*/ 1012164 w 1027270"/>
                  <a:gd name="connsiteY4" fmla="*/ 642890 h 2331076"/>
                  <a:gd name="connsiteX5" fmla="*/ 1004552 w 1027270"/>
                  <a:gd name="connsiteY5" fmla="*/ 2260242 h 2331076"/>
                  <a:gd name="connsiteX6" fmla="*/ 901521 w 1027270"/>
                  <a:gd name="connsiteY6" fmla="*/ 2331076 h 2331076"/>
                  <a:gd name="connsiteX7" fmla="*/ 0 w 1027270"/>
                  <a:gd name="connsiteY7" fmla="*/ 1783724 h 2331076"/>
                  <a:gd name="connsiteX8" fmla="*/ 6439 w 1027270"/>
                  <a:gd name="connsiteY8" fmla="*/ 64394 h 2331076"/>
                  <a:gd name="connsiteX0" fmla="*/ 6439 w 1029252"/>
                  <a:gd name="connsiteY0" fmla="*/ 64394 h 2331076"/>
                  <a:gd name="connsiteX1" fmla="*/ 6439 w 1029252"/>
                  <a:gd name="connsiteY1" fmla="*/ 64394 h 2331076"/>
                  <a:gd name="connsiteX2" fmla="*/ 128789 w 1029252"/>
                  <a:gd name="connsiteY2" fmla="*/ 0 h 2331076"/>
                  <a:gd name="connsiteX3" fmla="*/ 935920 w 1029252"/>
                  <a:gd name="connsiteY3" fmla="*/ 314949 h 2331076"/>
                  <a:gd name="connsiteX4" fmla="*/ 1012164 w 1029252"/>
                  <a:gd name="connsiteY4" fmla="*/ 642890 h 2331076"/>
                  <a:gd name="connsiteX5" fmla="*/ 1004552 w 1029252"/>
                  <a:gd name="connsiteY5" fmla="*/ 2260242 h 2331076"/>
                  <a:gd name="connsiteX6" fmla="*/ 901521 w 1029252"/>
                  <a:gd name="connsiteY6" fmla="*/ 2331076 h 2331076"/>
                  <a:gd name="connsiteX7" fmla="*/ 0 w 1029252"/>
                  <a:gd name="connsiteY7" fmla="*/ 1783724 h 2331076"/>
                  <a:gd name="connsiteX8" fmla="*/ 6439 w 1029252"/>
                  <a:gd name="connsiteY8" fmla="*/ 64394 h 2331076"/>
                  <a:gd name="connsiteX0" fmla="*/ 6439 w 1012164"/>
                  <a:gd name="connsiteY0" fmla="*/ 64394 h 2331076"/>
                  <a:gd name="connsiteX1" fmla="*/ 6439 w 1012164"/>
                  <a:gd name="connsiteY1" fmla="*/ 64394 h 2331076"/>
                  <a:gd name="connsiteX2" fmla="*/ 128789 w 1012164"/>
                  <a:gd name="connsiteY2" fmla="*/ 0 h 2331076"/>
                  <a:gd name="connsiteX3" fmla="*/ 935920 w 1012164"/>
                  <a:gd name="connsiteY3" fmla="*/ 314949 h 2331076"/>
                  <a:gd name="connsiteX4" fmla="*/ 1012164 w 1012164"/>
                  <a:gd name="connsiteY4" fmla="*/ 642890 h 2331076"/>
                  <a:gd name="connsiteX5" fmla="*/ 1004552 w 1012164"/>
                  <a:gd name="connsiteY5" fmla="*/ 2260242 h 2331076"/>
                  <a:gd name="connsiteX6" fmla="*/ 901521 w 1012164"/>
                  <a:gd name="connsiteY6" fmla="*/ 2331076 h 2331076"/>
                  <a:gd name="connsiteX7" fmla="*/ 0 w 1012164"/>
                  <a:gd name="connsiteY7" fmla="*/ 1783724 h 2331076"/>
                  <a:gd name="connsiteX8" fmla="*/ 6439 w 1012164"/>
                  <a:gd name="connsiteY8" fmla="*/ 64394 h 2331076"/>
                  <a:gd name="connsiteX0" fmla="*/ 6439 w 1016987"/>
                  <a:gd name="connsiteY0" fmla="*/ 64394 h 2331076"/>
                  <a:gd name="connsiteX1" fmla="*/ 6439 w 1016987"/>
                  <a:gd name="connsiteY1" fmla="*/ 64394 h 2331076"/>
                  <a:gd name="connsiteX2" fmla="*/ 128789 w 1016987"/>
                  <a:gd name="connsiteY2" fmla="*/ 0 h 2331076"/>
                  <a:gd name="connsiteX3" fmla="*/ 935920 w 1016987"/>
                  <a:gd name="connsiteY3" fmla="*/ 314949 h 2331076"/>
                  <a:gd name="connsiteX4" fmla="*/ 1012164 w 1016987"/>
                  <a:gd name="connsiteY4" fmla="*/ 642890 h 2331076"/>
                  <a:gd name="connsiteX5" fmla="*/ 1004552 w 1016987"/>
                  <a:gd name="connsiteY5" fmla="*/ 2260242 h 2331076"/>
                  <a:gd name="connsiteX6" fmla="*/ 901521 w 1016987"/>
                  <a:gd name="connsiteY6" fmla="*/ 2331076 h 2331076"/>
                  <a:gd name="connsiteX7" fmla="*/ 0 w 1016987"/>
                  <a:gd name="connsiteY7" fmla="*/ 1783724 h 2331076"/>
                  <a:gd name="connsiteX8" fmla="*/ 6439 w 1016987"/>
                  <a:gd name="connsiteY8" fmla="*/ 64394 h 2331076"/>
                  <a:gd name="connsiteX0" fmla="*/ 6439 w 1016987"/>
                  <a:gd name="connsiteY0" fmla="*/ 64394 h 2331076"/>
                  <a:gd name="connsiteX1" fmla="*/ 6439 w 1016987"/>
                  <a:gd name="connsiteY1" fmla="*/ 64394 h 2331076"/>
                  <a:gd name="connsiteX2" fmla="*/ 128789 w 1016987"/>
                  <a:gd name="connsiteY2" fmla="*/ 0 h 2331076"/>
                  <a:gd name="connsiteX3" fmla="*/ 935920 w 1016987"/>
                  <a:gd name="connsiteY3" fmla="*/ 314949 h 2331076"/>
                  <a:gd name="connsiteX4" fmla="*/ 1012164 w 1016987"/>
                  <a:gd name="connsiteY4" fmla="*/ 642890 h 2331076"/>
                  <a:gd name="connsiteX5" fmla="*/ 1004552 w 1016987"/>
                  <a:gd name="connsiteY5" fmla="*/ 2260242 h 2331076"/>
                  <a:gd name="connsiteX6" fmla="*/ 901521 w 1016987"/>
                  <a:gd name="connsiteY6" fmla="*/ 2331076 h 2331076"/>
                  <a:gd name="connsiteX7" fmla="*/ 0 w 1016987"/>
                  <a:gd name="connsiteY7" fmla="*/ 1783724 h 2331076"/>
                  <a:gd name="connsiteX8" fmla="*/ 6439 w 1016987"/>
                  <a:gd name="connsiteY8" fmla="*/ 64394 h 2331076"/>
                  <a:gd name="connsiteX0" fmla="*/ 6439 w 1012164"/>
                  <a:gd name="connsiteY0" fmla="*/ 64394 h 2331076"/>
                  <a:gd name="connsiteX1" fmla="*/ 6439 w 1012164"/>
                  <a:gd name="connsiteY1" fmla="*/ 64394 h 2331076"/>
                  <a:gd name="connsiteX2" fmla="*/ 128789 w 1012164"/>
                  <a:gd name="connsiteY2" fmla="*/ 0 h 2331076"/>
                  <a:gd name="connsiteX3" fmla="*/ 935920 w 1012164"/>
                  <a:gd name="connsiteY3" fmla="*/ 314949 h 2331076"/>
                  <a:gd name="connsiteX4" fmla="*/ 1012164 w 1012164"/>
                  <a:gd name="connsiteY4" fmla="*/ 642890 h 2331076"/>
                  <a:gd name="connsiteX5" fmla="*/ 1004552 w 1012164"/>
                  <a:gd name="connsiteY5" fmla="*/ 2260242 h 2331076"/>
                  <a:gd name="connsiteX6" fmla="*/ 901521 w 1012164"/>
                  <a:gd name="connsiteY6" fmla="*/ 2331076 h 2331076"/>
                  <a:gd name="connsiteX7" fmla="*/ 0 w 1012164"/>
                  <a:gd name="connsiteY7" fmla="*/ 1783724 h 2331076"/>
                  <a:gd name="connsiteX8" fmla="*/ 6439 w 1012164"/>
                  <a:gd name="connsiteY8" fmla="*/ 64394 h 2331076"/>
                  <a:gd name="connsiteX0" fmla="*/ 6439 w 1012164"/>
                  <a:gd name="connsiteY0" fmla="*/ 40349 h 2307031"/>
                  <a:gd name="connsiteX1" fmla="*/ 6439 w 1012164"/>
                  <a:gd name="connsiteY1" fmla="*/ 40349 h 2307031"/>
                  <a:gd name="connsiteX2" fmla="*/ 209905 w 1012164"/>
                  <a:gd name="connsiteY2" fmla="*/ 0 h 2307031"/>
                  <a:gd name="connsiteX3" fmla="*/ 935920 w 1012164"/>
                  <a:gd name="connsiteY3" fmla="*/ 290904 h 2307031"/>
                  <a:gd name="connsiteX4" fmla="*/ 1012164 w 1012164"/>
                  <a:gd name="connsiteY4" fmla="*/ 618845 h 2307031"/>
                  <a:gd name="connsiteX5" fmla="*/ 1004552 w 1012164"/>
                  <a:gd name="connsiteY5" fmla="*/ 2236197 h 2307031"/>
                  <a:gd name="connsiteX6" fmla="*/ 901521 w 1012164"/>
                  <a:gd name="connsiteY6" fmla="*/ 2307031 h 2307031"/>
                  <a:gd name="connsiteX7" fmla="*/ 0 w 1012164"/>
                  <a:gd name="connsiteY7" fmla="*/ 1759679 h 2307031"/>
                  <a:gd name="connsiteX8" fmla="*/ 6439 w 1012164"/>
                  <a:gd name="connsiteY8" fmla="*/ 40349 h 2307031"/>
                  <a:gd name="connsiteX0" fmla="*/ 6439 w 1012164"/>
                  <a:gd name="connsiteY0" fmla="*/ 48364 h 2315046"/>
                  <a:gd name="connsiteX1" fmla="*/ 6439 w 1012164"/>
                  <a:gd name="connsiteY1" fmla="*/ 48364 h 2315046"/>
                  <a:gd name="connsiteX2" fmla="*/ 151321 w 1012164"/>
                  <a:gd name="connsiteY2" fmla="*/ 0 h 2315046"/>
                  <a:gd name="connsiteX3" fmla="*/ 935920 w 1012164"/>
                  <a:gd name="connsiteY3" fmla="*/ 298919 h 2315046"/>
                  <a:gd name="connsiteX4" fmla="*/ 1012164 w 1012164"/>
                  <a:gd name="connsiteY4" fmla="*/ 626860 h 2315046"/>
                  <a:gd name="connsiteX5" fmla="*/ 1004552 w 1012164"/>
                  <a:gd name="connsiteY5" fmla="*/ 2244212 h 2315046"/>
                  <a:gd name="connsiteX6" fmla="*/ 901521 w 1012164"/>
                  <a:gd name="connsiteY6" fmla="*/ 2315046 h 2315046"/>
                  <a:gd name="connsiteX7" fmla="*/ 0 w 1012164"/>
                  <a:gd name="connsiteY7" fmla="*/ 1767694 h 2315046"/>
                  <a:gd name="connsiteX8" fmla="*/ 6439 w 1012164"/>
                  <a:gd name="connsiteY8" fmla="*/ 48364 h 2315046"/>
                  <a:gd name="connsiteX0" fmla="*/ 6439 w 1012164"/>
                  <a:gd name="connsiteY0" fmla="*/ 48416 h 2315098"/>
                  <a:gd name="connsiteX1" fmla="*/ 6439 w 1012164"/>
                  <a:gd name="connsiteY1" fmla="*/ 48416 h 2315098"/>
                  <a:gd name="connsiteX2" fmla="*/ 151321 w 1012164"/>
                  <a:gd name="connsiteY2" fmla="*/ 52 h 2315098"/>
                  <a:gd name="connsiteX3" fmla="*/ 935920 w 1012164"/>
                  <a:gd name="connsiteY3" fmla="*/ 298971 h 2315098"/>
                  <a:gd name="connsiteX4" fmla="*/ 1012164 w 1012164"/>
                  <a:gd name="connsiteY4" fmla="*/ 626912 h 2315098"/>
                  <a:gd name="connsiteX5" fmla="*/ 1004552 w 1012164"/>
                  <a:gd name="connsiteY5" fmla="*/ 2244264 h 2315098"/>
                  <a:gd name="connsiteX6" fmla="*/ 901521 w 1012164"/>
                  <a:gd name="connsiteY6" fmla="*/ 2315098 h 2315098"/>
                  <a:gd name="connsiteX7" fmla="*/ 0 w 1012164"/>
                  <a:gd name="connsiteY7" fmla="*/ 1767746 h 2315098"/>
                  <a:gd name="connsiteX8" fmla="*/ 6439 w 1012164"/>
                  <a:gd name="connsiteY8" fmla="*/ 48416 h 2315098"/>
                  <a:gd name="connsiteX0" fmla="*/ 42 w 1028487"/>
                  <a:gd name="connsiteY0" fmla="*/ 109030 h 2315098"/>
                  <a:gd name="connsiteX1" fmla="*/ 22762 w 1028487"/>
                  <a:gd name="connsiteY1" fmla="*/ 48416 h 2315098"/>
                  <a:gd name="connsiteX2" fmla="*/ 167644 w 1028487"/>
                  <a:gd name="connsiteY2" fmla="*/ 52 h 2315098"/>
                  <a:gd name="connsiteX3" fmla="*/ 952243 w 1028487"/>
                  <a:gd name="connsiteY3" fmla="*/ 298971 h 2315098"/>
                  <a:gd name="connsiteX4" fmla="*/ 1028487 w 1028487"/>
                  <a:gd name="connsiteY4" fmla="*/ 626912 h 2315098"/>
                  <a:gd name="connsiteX5" fmla="*/ 1020875 w 1028487"/>
                  <a:gd name="connsiteY5" fmla="*/ 2244264 h 2315098"/>
                  <a:gd name="connsiteX6" fmla="*/ 917844 w 1028487"/>
                  <a:gd name="connsiteY6" fmla="*/ 2315098 h 2315098"/>
                  <a:gd name="connsiteX7" fmla="*/ 16323 w 1028487"/>
                  <a:gd name="connsiteY7" fmla="*/ 1767746 h 2315098"/>
                  <a:gd name="connsiteX8" fmla="*/ 42 w 1028487"/>
                  <a:gd name="connsiteY8" fmla="*/ 109030 h 2315098"/>
                  <a:gd name="connsiteX0" fmla="*/ 22720 w 1051165"/>
                  <a:gd name="connsiteY0" fmla="*/ 114466 h 2320534"/>
                  <a:gd name="connsiteX1" fmla="*/ 0 w 1051165"/>
                  <a:gd name="connsiteY1" fmla="*/ 107731 h 2320534"/>
                  <a:gd name="connsiteX2" fmla="*/ 190322 w 1051165"/>
                  <a:gd name="connsiteY2" fmla="*/ 5488 h 2320534"/>
                  <a:gd name="connsiteX3" fmla="*/ 974921 w 1051165"/>
                  <a:gd name="connsiteY3" fmla="*/ 304407 h 2320534"/>
                  <a:gd name="connsiteX4" fmla="*/ 1051165 w 1051165"/>
                  <a:gd name="connsiteY4" fmla="*/ 632348 h 2320534"/>
                  <a:gd name="connsiteX5" fmla="*/ 1043553 w 1051165"/>
                  <a:gd name="connsiteY5" fmla="*/ 2249700 h 2320534"/>
                  <a:gd name="connsiteX6" fmla="*/ 940522 w 1051165"/>
                  <a:gd name="connsiteY6" fmla="*/ 2320534 h 2320534"/>
                  <a:gd name="connsiteX7" fmla="*/ 39001 w 1051165"/>
                  <a:gd name="connsiteY7" fmla="*/ 1773182 h 2320534"/>
                  <a:gd name="connsiteX8" fmla="*/ 22720 w 1051165"/>
                  <a:gd name="connsiteY8" fmla="*/ 114466 h 2320534"/>
                  <a:gd name="connsiteX0" fmla="*/ 45440 w 1051165"/>
                  <a:gd name="connsiteY0" fmla="*/ 100997 h 2320534"/>
                  <a:gd name="connsiteX1" fmla="*/ 0 w 1051165"/>
                  <a:gd name="connsiteY1" fmla="*/ 107731 h 2320534"/>
                  <a:gd name="connsiteX2" fmla="*/ 190322 w 1051165"/>
                  <a:gd name="connsiteY2" fmla="*/ 5488 h 2320534"/>
                  <a:gd name="connsiteX3" fmla="*/ 974921 w 1051165"/>
                  <a:gd name="connsiteY3" fmla="*/ 304407 h 2320534"/>
                  <a:gd name="connsiteX4" fmla="*/ 1051165 w 1051165"/>
                  <a:gd name="connsiteY4" fmla="*/ 632348 h 2320534"/>
                  <a:gd name="connsiteX5" fmla="*/ 1043553 w 1051165"/>
                  <a:gd name="connsiteY5" fmla="*/ 2249700 h 2320534"/>
                  <a:gd name="connsiteX6" fmla="*/ 940522 w 1051165"/>
                  <a:gd name="connsiteY6" fmla="*/ 2320534 h 2320534"/>
                  <a:gd name="connsiteX7" fmla="*/ 39001 w 1051165"/>
                  <a:gd name="connsiteY7" fmla="*/ 1773182 h 2320534"/>
                  <a:gd name="connsiteX8" fmla="*/ 45440 w 1051165"/>
                  <a:gd name="connsiteY8" fmla="*/ 100997 h 2320534"/>
                  <a:gd name="connsiteX0" fmla="*/ 15147 w 1051165"/>
                  <a:gd name="connsiteY0" fmla="*/ 202019 h 2320534"/>
                  <a:gd name="connsiteX1" fmla="*/ 0 w 1051165"/>
                  <a:gd name="connsiteY1" fmla="*/ 107731 h 2320534"/>
                  <a:gd name="connsiteX2" fmla="*/ 190322 w 1051165"/>
                  <a:gd name="connsiteY2" fmla="*/ 5488 h 2320534"/>
                  <a:gd name="connsiteX3" fmla="*/ 974921 w 1051165"/>
                  <a:gd name="connsiteY3" fmla="*/ 304407 h 2320534"/>
                  <a:gd name="connsiteX4" fmla="*/ 1051165 w 1051165"/>
                  <a:gd name="connsiteY4" fmla="*/ 632348 h 2320534"/>
                  <a:gd name="connsiteX5" fmla="*/ 1043553 w 1051165"/>
                  <a:gd name="connsiteY5" fmla="*/ 2249700 h 2320534"/>
                  <a:gd name="connsiteX6" fmla="*/ 940522 w 1051165"/>
                  <a:gd name="connsiteY6" fmla="*/ 2320534 h 2320534"/>
                  <a:gd name="connsiteX7" fmla="*/ 39001 w 1051165"/>
                  <a:gd name="connsiteY7" fmla="*/ 1773182 h 2320534"/>
                  <a:gd name="connsiteX8" fmla="*/ 15147 w 1051165"/>
                  <a:gd name="connsiteY8" fmla="*/ 202019 h 232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1165" h="2320534">
                    <a:moveTo>
                      <a:pt x="15147" y="202019"/>
                    </a:moveTo>
                    <a:lnTo>
                      <a:pt x="0" y="107731"/>
                    </a:lnTo>
                    <a:cubicBezTo>
                      <a:pt x="20392" y="96999"/>
                      <a:pt x="27835" y="-27291"/>
                      <a:pt x="190322" y="5488"/>
                    </a:cubicBezTo>
                    <a:cubicBezTo>
                      <a:pt x="352809" y="38267"/>
                      <a:pt x="826814" y="246452"/>
                      <a:pt x="974921" y="304407"/>
                    </a:cubicBezTo>
                    <a:cubicBezTo>
                      <a:pt x="1059110" y="324939"/>
                      <a:pt x="1050264" y="411205"/>
                      <a:pt x="1051165" y="632348"/>
                    </a:cubicBezTo>
                    <a:cubicBezTo>
                      <a:pt x="1048628" y="1171465"/>
                      <a:pt x="1046090" y="1710583"/>
                      <a:pt x="1043553" y="2249700"/>
                    </a:cubicBezTo>
                    <a:lnTo>
                      <a:pt x="940522" y="2320534"/>
                    </a:lnTo>
                    <a:lnTo>
                      <a:pt x="39001" y="1773182"/>
                    </a:lnTo>
                    <a:cubicBezTo>
                      <a:pt x="41147" y="1202219"/>
                      <a:pt x="14074" y="488574"/>
                      <a:pt x="15147" y="202019"/>
                    </a:cubicBezTo>
                    <a:close/>
                  </a:path>
                </a:pathLst>
              </a:custGeom>
              <a:solidFill>
                <a:schemeClr val="accent3">
                  <a:lumMod val="50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78" name="Rectangle 406"/>
              <p:cNvSpPr/>
              <p:nvPr/>
            </p:nvSpPr>
            <p:spPr bwMode="auto">
              <a:xfrm rot="10800000">
                <a:off x="7983993" y="3761308"/>
                <a:ext cx="966716" cy="2265685"/>
              </a:xfrm>
              <a:custGeom>
                <a:avLst/>
                <a:gdLst>
                  <a:gd name="connsiteX0" fmla="*/ 544896 w 551335"/>
                  <a:gd name="connsiteY0" fmla="*/ 1817471 h 1817471"/>
                  <a:gd name="connsiteX1" fmla="*/ 0 w 551335"/>
                  <a:gd name="connsiteY1" fmla="*/ 1604671 h 1817471"/>
                  <a:gd name="connsiteX2" fmla="*/ 8316 w 551335"/>
                  <a:gd name="connsiteY2" fmla="*/ 1197398 h 1817471"/>
                  <a:gd name="connsiteX3" fmla="*/ 6439 w 551335"/>
                  <a:gd name="connsiteY3" fmla="*/ 1197398 h 1817471"/>
                  <a:gd name="connsiteX4" fmla="*/ 6439 w 551335"/>
                  <a:gd name="connsiteY4" fmla="*/ 0 h 1817471"/>
                  <a:gd name="connsiteX5" fmla="*/ 551335 w 551335"/>
                  <a:gd name="connsiteY5" fmla="*/ 283633 h 1817471"/>
                  <a:gd name="connsiteX6" fmla="*/ 543019 w 551335"/>
                  <a:gd name="connsiteY6" fmla="*/ 690906 h 1817471"/>
                  <a:gd name="connsiteX7" fmla="*/ 544896 w 551335"/>
                  <a:gd name="connsiteY7" fmla="*/ 690906 h 1817471"/>
                  <a:gd name="connsiteX8" fmla="*/ 544896 w 551335"/>
                  <a:gd name="connsiteY8" fmla="*/ 1817471 h 1817471"/>
                  <a:gd name="connsiteX0" fmla="*/ 544896 w 551335"/>
                  <a:gd name="connsiteY0" fmla="*/ 1817471 h 1817471"/>
                  <a:gd name="connsiteX1" fmla="*/ 0 w 551335"/>
                  <a:gd name="connsiteY1" fmla="*/ 1604671 h 1817471"/>
                  <a:gd name="connsiteX2" fmla="*/ 8316 w 551335"/>
                  <a:gd name="connsiteY2" fmla="*/ 1197398 h 1817471"/>
                  <a:gd name="connsiteX3" fmla="*/ 6439 w 551335"/>
                  <a:gd name="connsiteY3" fmla="*/ 1197398 h 1817471"/>
                  <a:gd name="connsiteX4" fmla="*/ 6439 w 551335"/>
                  <a:gd name="connsiteY4" fmla="*/ 0 h 1817471"/>
                  <a:gd name="connsiteX5" fmla="*/ 551335 w 551335"/>
                  <a:gd name="connsiteY5" fmla="*/ 283633 h 1817471"/>
                  <a:gd name="connsiteX6" fmla="*/ 543019 w 551335"/>
                  <a:gd name="connsiteY6" fmla="*/ 690906 h 1817471"/>
                  <a:gd name="connsiteX7" fmla="*/ 544896 w 551335"/>
                  <a:gd name="connsiteY7" fmla="*/ 1817471 h 1817471"/>
                  <a:gd name="connsiteX0" fmla="*/ 544896 w 551335"/>
                  <a:gd name="connsiteY0" fmla="*/ 1817471 h 1817471"/>
                  <a:gd name="connsiteX1" fmla="*/ 0 w 551335"/>
                  <a:gd name="connsiteY1" fmla="*/ 1604671 h 1817471"/>
                  <a:gd name="connsiteX2" fmla="*/ 8316 w 551335"/>
                  <a:gd name="connsiteY2" fmla="*/ 1197398 h 1817471"/>
                  <a:gd name="connsiteX3" fmla="*/ 6439 w 551335"/>
                  <a:gd name="connsiteY3" fmla="*/ 1197398 h 1817471"/>
                  <a:gd name="connsiteX4" fmla="*/ 6439 w 551335"/>
                  <a:gd name="connsiteY4" fmla="*/ 0 h 1817471"/>
                  <a:gd name="connsiteX5" fmla="*/ 551335 w 551335"/>
                  <a:gd name="connsiteY5" fmla="*/ 283633 h 1817471"/>
                  <a:gd name="connsiteX6" fmla="*/ 544896 w 551335"/>
                  <a:gd name="connsiteY6" fmla="*/ 1817471 h 1817471"/>
                  <a:gd name="connsiteX0" fmla="*/ 544896 w 551335"/>
                  <a:gd name="connsiteY0" fmla="*/ 1817471 h 1817471"/>
                  <a:gd name="connsiteX1" fmla="*/ 0 w 551335"/>
                  <a:gd name="connsiteY1" fmla="*/ 1604671 h 1817471"/>
                  <a:gd name="connsiteX2" fmla="*/ 8316 w 551335"/>
                  <a:gd name="connsiteY2" fmla="*/ 1197398 h 1817471"/>
                  <a:gd name="connsiteX3" fmla="*/ 6439 w 551335"/>
                  <a:gd name="connsiteY3" fmla="*/ 0 h 1817471"/>
                  <a:gd name="connsiteX4" fmla="*/ 551335 w 551335"/>
                  <a:gd name="connsiteY4" fmla="*/ 283633 h 1817471"/>
                  <a:gd name="connsiteX5" fmla="*/ 544896 w 551335"/>
                  <a:gd name="connsiteY5" fmla="*/ 1817471 h 1817471"/>
                  <a:gd name="connsiteX0" fmla="*/ 544896 w 551335"/>
                  <a:gd name="connsiteY0" fmla="*/ 1817471 h 1817471"/>
                  <a:gd name="connsiteX1" fmla="*/ 0 w 551335"/>
                  <a:gd name="connsiteY1" fmla="*/ 1604671 h 1817471"/>
                  <a:gd name="connsiteX2" fmla="*/ 6439 w 551335"/>
                  <a:gd name="connsiteY2" fmla="*/ 0 h 1817471"/>
                  <a:gd name="connsiteX3" fmla="*/ 551335 w 551335"/>
                  <a:gd name="connsiteY3" fmla="*/ 283633 h 1817471"/>
                  <a:gd name="connsiteX4" fmla="*/ 544896 w 551335"/>
                  <a:gd name="connsiteY4" fmla="*/ 1817471 h 1817471"/>
                  <a:gd name="connsiteX0" fmla="*/ 549366 w 555805"/>
                  <a:gd name="connsiteY0" fmla="*/ 1817471 h 1817471"/>
                  <a:gd name="connsiteX1" fmla="*/ 0 w 555805"/>
                  <a:gd name="connsiteY1" fmla="*/ 1484254 h 1817471"/>
                  <a:gd name="connsiteX2" fmla="*/ 10909 w 555805"/>
                  <a:gd name="connsiteY2" fmla="*/ 0 h 1817471"/>
                  <a:gd name="connsiteX3" fmla="*/ 555805 w 555805"/>
                  <a:gd name="connsiteY3" fmla="*/ 283633 h 1817471"/>
                  <a:gd name="connsiteX4" fmla="*/ 549366 w 555805"/>
                  <a:gd name="connsiteY4" fmla="*/ 1817471 h 1817471"/>
                  <a:gd name="connsiteX0" fmla="*/ 549366 w 555805"/>
                  <a:gd name="connsiteY0" fmla="*/ 2150390 h 2150390"/>
                  <a:gd name="connsiteX1" fmla="*/ 0 w 555805"/>
                  <a:gd name="connsiteY1" fmla="*/ 1817173 h 2150390"/>
                  <a:gd name="connsiteX2" fmla="*/ 10909 w 555805"/>
                  <a:gd name="connsiteY2" fmla="*/ 0 h 2150390"/>
                  <a:gd name="connsiteX3" fmla="*/ 555805 w 555805"/>
                  <a:gd name="connsiteY3" fmla="*/ 616552 h 2150390"/>
                  <a:gd name="connsiteX4" fmla="*/ 549366 w 555805"/>
                  <a:gd name="connsiteY4" fmla="*/ 2150390 h 2150390"/>
                  <a:gd name="connsiteX0" fmla="*/ 549366 w 551335"/>
                  <a:gd name="connsiteY0" fmla="*/ 2150390 h 2150390"/>
                  <a:gd name="connsiteX1" fmla="*/ 0 w 551335"/>
                  <a:gd name="connsiteY1" fmla="*/ 1817173 h 2150390"/>
                  <a:gd name="connsiteX2" fmla="*/ 10909 w 551335"/>
                  <a:gd name="connsiteY2" fmla="*/ 0 h 2150390"/>
                  <a:gd name="connsiteX3" fmla="*/ 551335 w 551335"/>
                  <a:gd name="connsiteY3" fmla="*/ 517385 h 2150390"/>
                  <a:gd name="connsiteX4" fmla="*/ 549366 w 551335"/>
                  <a:gd name="connsiteY4" fmla="*/ 2150390 h 2150390"/>
                  <a:gd name="connsiteX0" fmla="*/ 549366 w 551335"/>
                  <a:gd name="connsiteY0" fmla="*/ 2150390 h 2150390"/>
                  <a:gd name="connsiteX1" fmla="*/ 0 w 551335"/>
                  <a:gd name="connsiteY1" fmla="*/ 1817173 h 2150390"/>
                  <a:gd name="connsiteX2" fmla="*/ 10909 w 551335"/>
                  <a:gd name="connsiteY2" fmla="*/ 0 h 2150390"/>
                  <a:gd name="connsiteX3" fmla="*/ 106307 w 551335"/>
                  <a:gd name="connsiteY3" fmla="*/ 93980 h 2150390"/>
                  <a:gd name="connsiteX4" fmla="*/ 551335 w 551335"/>
                  <a:gd name="connsiteY4" fmla="*/ 517385 h 2150390"/>
                  <a:gd name="connsiteX5" fmla="*/ 549366 w 551335"/>
                  <a:gd name="connsiteY5" fmla="*/ 2150390 h 2150390"/>
                  <a:gd name="connsiteX0" fmla="*/ 549366 w 551335"/>
                  <a:gd name="connsiteY0" fmla="*/ 2056410 h 2056410"/>
                  <a:gd name="connsiteX1" fmla="*/ 0 w 551335"/>
                  <a:gd name="connsiteY1" fmla="*/ 1723193 h 2056410"/>
                  <a:gd name="connsiteX2" fmla="*/ 1896 w 551335"/>
                  <a:gd name="connsiteY2" fmla="*/ 68305 h 2056410"/>
                  <a:gd name="connsiteX3" fmla="*/ 106307 w 551335"/>
                  <a:gd name="connsiteY3" fmla="*/ 0 h 2056410"/>
                  <a:gd name="connsiteX4" fmla="*/ 551335 w 551335"/>
                  <a:gd name="connsiteY4" fmla="*/ 423405 h 2056410"/>
                  <a:gd name="connsiteX5" fmla="*/ 549366 w 551335"/>
                  <a:gd name="connsiteY5" fmla="*/ 2056410 h 2056410"/>
                  <a:gd name="connsiteX0" fmla="*/ 549366 w 551335"/>
                  <a:gd name="connsiteY0" fmla="*/ 2093951 h 2093951"/>
                  <a:gd name="connsiteX1" fmla="*/ 0 w 551335"/>
                  <a:gd name="connsiteY1" fmla="*/ 1760734 h 2093951"/>
                  <a:gd name="connsiteX2" fmla="*/ 1896 w 551335"/>
                  <a:gd name="connsiteY2" fmla="*/ 105846 h 2093951"/>
                  <a:gd name="connsiteX3" fmla="*/ 106307 w 551335"/>
                  <a:gd name="connsiteY3" fmla="*/ 37541 h 2093951"/>
                  <a:gd name="connsiteX4" fmla="*/ 551335 w 551335"/>
                  <a:gd name="connsiteY4" fmla="*/ 460946 h 2093951"/>
                  <a:gd name="connsiteX5" fmla="*/ 549366 w 551335"/>
                  <a:gd name="connsiteY5" fmla="*/ 2093951 h 2093951"/>
                  <a:gd name="connsiteX0" fmla="*/ 549366 w 551335"/>
                  <a:gd name="connsiteY0" fmla="*/ 2144834 h 2144834"/>
                  <a:gd name="connsiteX1" fmla="*/ 0 w 551335"/>
                  <a:gd name="connsiteY1" fmla="*/ 1811617 h 2144834"/>
                  <a:gd name="connsiteX2" fmla="*/ 1896 w 551335"/>
                  <a:gd name="connsiteY2" fmla="*/ 85324 h 2144834"/>
                  <a:gd name="connsiteX3" fmla="*/ 106307 w 551335"/>
                  <a:gd name="connsiteY3" fmla="*/ 88424 h 2144834"/>
                  <a:gd name="connsiteX4" fmla="*/ 551335 w 551335"/>
                  <a:gd name="connsiteY4" fmla="*/ 511829 h 2144834"/>
                  <a:gd name="connsiteX5" fmla="*/ 549366 w 551335"/>
                  <a:gd name="connsiteY5" fmla="*/ 2144834 h 2144834"/>
                  <a:gd name="connsiteX0" fmla="*/ 549366 w 551335"/>
                  <a:gd name="connsiteY0" fmla="*/ 2149596 h 2149596"/>
                  <a:gd name="connsiteX1" fmla="*/ 0 w 551335"/>
                  <a:gd name="connsiteY1" fmla="*/ 1816379 h 2149596"/>
                  <a:gd name="connsiteX2" fmla="*/ 1896 w 551335"/>
                  <a:gd name="connsiteY2" fmla="*/ 90086 h 2149596"/>
                  <a:gd name="connsiteX3" fmla="*/ 97294 w 551335"/>
                  <a:gd name="connsiteY3" fmla="*/ 73712 h 2149596"/>
                  <a:gd name="connsiteX4" fmla="*/ 551335 w 551335"/>
                  <a:gd name="connsiteY4" fmla="*/ 516591 h 2149596"/>
                  <a:gd name="connsiteX5" fmla="*/ 549366 w 551335"/>
                  <a:gd name="connsiteY5" fmla="*/ 2149596 h 2149596"/>
                  <a:gd name="connsiteX0" fmla="*/ 549366 w 551335"/>
                  <a:gd name="connsiteY0" fmla="*/ 2171416 h 2171416"/>
                  <a:gd name="connsiteX1" fmla="*/ 0 w 551335"/>
                  <a:gd name="connsiteY1" fmla="*/ 1838199 h 2171416"/>
                  <a:gd name="connsiteX2" fmla="*/ 1896 w 551335"/>
                  <a:gd name="connsiteY2" fmla="*/ 111906 h 2171416"/>
                  <a:gd name="connsiteX3" fmla="*/ 97294 w 551335"/>
                  <a:gd name="connsiteY3" fmla="*/ 95532 h 2171416"/>
                  <a:gd name="connsiteX4" fmla="*/ 551335 w 551335"/>
                  <a:gd name="connsiteY4" fmla="*/ 538411 h 2171416"/>
                  <a:gd name="connsiteX5" fmla="*/ 549366 w 551335"/>
                  <a:gd name="connsiteY5" fmla="*/ 2171416 h 2171416"/>
                  <a:gd name="connsiteX0" fmla="*/ 551747 w 553716"/>
                  <a:gd name="connsiteY0" fmla="*/ 2144081 h 2144081"/>
                  <a:gd name="connsiteX1" fmla="*/ 2381 w 553716"/>
                  <a:gd name="connsiteY1" fmla="*/ 1810864 h 2144081"/>
                  <a:gd name="connsiteX2" fmla="*/ 4277 w 553716"/>
                  <a:gd name="connsiteY2" fmla="*/ 84571 h 2144081"/>
                  <a:gd name="connsiteX3" fmla="*/ 99675 w 553716"/>
                  <a:gd name="connsiteY3" fmla="*/ 68197 h 2144081"/>
                  <a:gd name="connsiteX4" fmla="*/ 553716 w 553716"/>
                  <a:gd name="connsiteY4" fmla="*/ 511076 h 2144081"/>
                  <a:gd name="connsiteX5" fmla="*/ 551747 w 553716"/>
                  <a:gd name="connsiteY5" fmla="*/ 2144081 h 2144081"/>
                  <a:gd name="connsiteX0" fmla="*/ 549366 w 551335"/>
                  <a:gd name="connsiteY0" fmla="*/ 2136194 h 2136194"/>
                  <a:gd name="connsiteX1" fmla="*/ 0 w 551335"/>
                  <a:gd name="connsiteY1" fmla="*/ 1802977 h 2136194"/>
                  <a:gd name="connsiteX2" fmla="*/ 1896 w 551335"/>
                  <a:gd name="connsiteY2" fmla="*/ 76684 h 2136194"/>
                  <a:gd name="connsiteX3" fmla="*/ 97294 w 551335"/>
                  <a:gd name="connsiteY3" fmla="*/ 60310 h 2136194"/>
                  <a:gd name="connsiteX4" fmla="*/ 551335 w 551335"/>
                  <a:gd name="connsiteY4" fmla="*/ 503189 h 2136194"/>
                  <a:gd name="connsiteX5" fmla="*/ 549366 w 551335"/>
                  <a:gd name="connsiteY5" fmla="*/ 2136194 h 2136194"/>
                  <a:gd name="connsiteX0" fmla="*/ 549366 w 551335"/>
                  <a:gd name="connsiteY0" fmla="*/ 2136194 h 2136194"/>
                  <a:gd name="connsiteX1" fmla="*/ 79595 w 551335"/>
                  <a:gd name="connsiteY1" fmla="*/ 1852149 h 2136194"/>
                  <a:gd name="connsiteX2" fmla="*/ 0 w 551335"/>
                  <a:gd name="connsiteY2" fmla="*/ 1802977 h 2136194"/>
                  <a:gd name="connsiteX3" fmla="*/ 1896 w 551335"/>
                  <a:gd name="connsiteY3" fmla="*/ 76684 h 2136194"/>
                  <a:gd name="connsiteX4" fmla="*/ 97294 w 551335"/>
                  <a:gd name="connsiteY4" fmla="*/ 60310 h 2136194"/>
                  <a:gd name="connsiteX5" fmla="*/ 551335 w 551335"/>
                  <a:gd name="connsiteY5" fmla="*/ 503189 h 2136194"/>
                  <a:gd name="connsiteX6" fmla="*/ 549366 w 551335"/>
                  <a:gd name="connsiteY6" fmla="*/ 2136194 h 2136194"/>
                  <a:gd name="connsiteX0" fmla="*/ 554009 w 555978"/>
                  <a:gd name="connsiteY0" fmla="*/ 2136194 h 2136194"/>
                  <a:gd name="connsiteX1" fmla="*/ 84238 w 555978"/>
                  <a:gd name="connsiteY1" fmla="*/ 1852149 h 2136194"/>
                  <a:gd name="connsiteX2" fmla="*/ 4643 w 555978"/>
                  <a:gd name="connsiteY2" fmla="*/ 1802977 h 2136194"/>
                  <a:gd name="connsiteX3" fmla="*/ 9154 w 555978"/>
                  <a:gd name="connsiteY3" fmla="*/ 1659017 h 2136194"/>
                  <a:gd name="connsiteX4" fmla="*/ 6539 w 555978"/>
                  <a:gd name="connsiteY4" fmla="*/ 76684 h 2136194"/>
                  <a:gd name="connsiteX5" fmla="*/ 101937 w 555978"/>
                  <a:gd name="connsiteY5" fmla="*/ 60310 h 2136194"/>
                  <a:gd name="connsiteX6" fmla="*/ 555978 w 555978"/>
                  <a:gd name="connsiteY6" fmla="*/ 503189 h 2136194"/>
                  <a:gd name="connsiteX7" fmla="*/ 554009 w 555978"/>
                  <a:gd name="connsiteY7" fmla="*/ 2136194 h 2136194"/>
                  <a:gd name="connsiteX0" fmla="*/ 554009 w 555978"/>
                  <a:gd name="connsiteY0" fmla="*/ 2136194 h 2136194"/>
                  <a:gd name="connsiteX1" fmla="*/ 84238 w 555978"/>
                  <a:gd name="connsiteY1" fmla="*/ 1852149 h 2136194"/>
                  <a:gd name="connsiteX2" fmla="*/ 4643 w 555978"/>
                  <a:gd name="connsiteY2" fmla="*/ 1802977 h 2136194"/>
                  <a:gd name="connsiteX3" fmla="*/ 9154 w 555978"/>
                  <a:gd name="connsiteY3" fmla="*/ 1547000 h 2136194"/>
                  <a:gd name="connsiteX4" fmla="*/ 6539 w 555978"/>
                  <a:gd name="connsiteY4" fmla="*/ 76684 h 2136194"/>
                  <a:gd name="connsiteX5" fmla="*/ 101937 w 555978"/>
                  <a:gd name="connsiteY5" fmla="*/ 60310 h 2136194"/>
                  <a:gd name="connsiteX6" fmla="*/ 555978 w 555978"/>
                  <a:gd name="connsiteY6" fmla="*/ 503189 h 2136194"/>
                  <a:gd name="connsiteX7" fmla="*/ 554009 w 555978"/>
                  <a:gd name="connsiteY7" fmla="*/ 2136194 h 2136194"/>
                  <a:gd name="connsiteX0" fmla="*/ 554476 w 556445"/>
                  <a:gd name="connsiteY0" fmla="*/ 2136194 h 2136194"/>
                  <a:gd name="connsiteX1" fmla="*/ 84705 w 556445"/>
                  <a:gd name="connsiteY1" fmla="*/ 1852149 h 2136194"/>
                  <a:gd name="connsiteX2" fmla="*/ 5110 w 556445"/>
                  <a:gd name="connsiteY2" fmla="*/ 1802977 h 2136194"/>
                  <a:gd name="connsiteX3" fmla="*/ 9621 w 556445"/>
                  <a:gd name="connsiteY3" fmla="*/ 1547000 h 2136194"/>
                  <a:gd name="connsiteX4" fmla="*/ 7006 w 556445"/>
                  <a:gd name="connsiteY4" fmla="*/ 76684 h 2136194"/>
                  <a:gd name="connsiteX5" fmla="*/ 102404 w 556445"/>
                  <a:gd name="connsiteY5" fmla="*/ 60310 h 2136194"/>
                  <a:gd name="connsiteX6" fmla="*/ 556445 w 556445"/>
                  <a:gd name="connsiteY6" fmla="*/ 503189 h 2136194"/>
                  <a:gd name="connsiteX7" fmla="*/ 554476 w 556445"/>
                  <a:gd name="connsiteY7" fmla="*/ 2136194 h 2136194"/>
                  <a:gd name="connsiteX0" fmla="*/ 553923 w 555892"/>
                  <a:gd name="connsiteY0" fmla="*/ 2136194 h 2136194"/>
                  <a:gd name="connsiteX1" fmla="*/ 84152 w 555892"/>
                  <a:gd name="connsiteY1" fmla="*/ 1852149 h 2136194"/>
                  <a:gd name="connsiteX2" fmla="*/ 12602 w 555892"/>
                  <a:gd name="connsiteY2" fmla="*/ 1810703 h 2136194"/>
                  <a:gd name="connsiteX3" fmla="*/ 9068 w 555892"/>
                  <a:gd name="connsiteY3" fmla="*/ 1547000 h 2136194"/>
                  <a:gd name="connsiteX4" fmla="*/ 6453 w 555892"/>
                  <a:gd name="connsiteY4" fmla="*/ 76684 h 2136194"/>
                  <a:gd name="connsiteX5" fmla="*/ 101851 w 555892"/>
                  <a:gd name="connsiteY5" fmla="*/ 60310 h 2136194"/>
                  <a:gd name="connsiteX6" fmla="*/ 555892 w 555892"/>
                  <a:gd name="connsiteY6" fmla="*/ 503189 h 2136194"/>
                  <a:gd name="connsiteX7" fmla="*/ 553923 w 555892"/>
                  <a:gd name="connsiteY7" fmla="*/ 2136194 h 2136194"/>
                  <a:gd name="connsiteX0" fmla="*/ 555477 w 557446"/>
                  <a:gd name="connsiteY0" fmla="*/ 2136194 h 2136194"/>
                  <a:gd name="connsiteX1" fmla="*/ 85706 w 557446"/>
                  <a:gd name="connsiteY1" fmla="*/ 1852149 h 2136194"/>
                  <a:gd name="connsiteX2" fmla="*/ 14156 w 557446"/>
                  <a:gd name="connsiteY2" fmla="*/ 1810703 h 2136194"/>
                  <a:gd name="connsiteX3" fmla="*/ 8007 w 557446"/>
                  <a:gd name="connsiteY3" fmla="*/ 76684 h 2136194"/>
                  <a:gd name="connsiteX4" fmla="*/ 103405 w 557446"/>
                  <a:gd name="connsiteY4" fmla="*/ 60310 h 2136194"/>
                  <a:gd name="connsiteX5" fmla="*/ 557446 w 557446"/>
                  <a:gd name="connsiteY5" fmla="*/ 503189 h 2136194"/>
                  <a:gd name="connsiteX6" fmla="*/ 555477 w 557446"/>
                  <a:gd name="connsiteY6" fmla="*/ 2136194 h 2136194"/>
                  <a:gd name="connsiteX0" fmla="*/ 563842 w 565811"/>
                  <a:gd name="connsiteY0" fmla="*/ 2136194 h 2136194"/>
                  <a:gd name="connsiteX1" fmla="*/ 94071 w 565811"/>
                  <a:gd name="connsiteY1" fmla="*/ 1852149 h 2136194"/>
                  <a:gd name="connsiteX2" fmla="*/ 22521 w 565811"/>
                  <a:gd name="connsiteY2" fmla="*/ 1810703 h 2136194"/>
                  <a:gd name="connsiteX3" fmla="*/ 217 w 565811"/>
                  <a:gd name="connsiteY3" fmla="*/ 1697643 h 2136194"/>
                  <a:gd name="connsiteX4" fmla="*/ 16372 w 565811"/>
                  <a:gd name="connsiteY4" fmla="*/ 76684 h 2136194"/>
                  <a:gd name="connsiteX5" fmla="*/ 111770 w 565811"/>
                  <a:gd name="connsiteY5" fmla="*/ 60310 h 2136194"/>
                  <a:gd name="connsiteX6" fmla="*/ 565811 w 565811"/>
                  <a:gd name="connsiteY6" fmla="*/ 503189 h 2136194"/>
                  <a:gd name="connsiteX7" fmla="*/ 563842 w 565811"/>
                  <a:gd name="connsiteY7" fmla="*/ 2136194 h 2136194"/>
                  <a:gd name="connsiteX0" fmla="*/ 563842 w 565811"/>
                  <a:gd name="connsiteY0" fmla="*/ 2136194 h 2136194"/>
                  <a:gd name="connsiteX1" fmla="*/ 94071 w 565811"/>
                  <a:gd name="connsiteY1" fmla="*/ 1852149 h 2136194"/>
                  <a:gd name="connsiteX2" fmla="*/ 217 w 565811"/>
                  <a:gd name="connsiteY2" fmla="*/ 1697643 h 2136194"/>
                  <a:gd name="connsiteX3" fmla="*/ 16372 w 565811"/>
                  <a:gd name="connsiteY3" fmla="*/ 76684 h 2136194"/>
                  <a:gd name="connsiteX4" fmla="*/ 111770 w 565811"/>
                  <a:gd name="connsiteY4" fmla="*/ 60310 h 2136194"/>
                  <a:gd name="connsiteX5" fmla="*/ 565811 w 565811"/>
                  <a:gd name="connsiteY5" fmla="*/ 503189 h 2136194"/>
                  <a:gd name="connsiteX6" fmla="*/ 563842 w 565811"/>
                  <a:gd name="connsiteY6" fmla="*/ 2136194 h 2136194"/>
                  <a:gd name="connsiteX0" fmla="*/ 563842 w 565811"/>
                  <a:gd name="connsiteY0" fmla="*/ 2136194 h 2136194"/>
                  <a:gd name="connsiteX1" fmla="*/ 94071 w 565811"/>
                  <a:gd name="connsiteY1" fmla="*/ 1852149 h 2136194"/>
                  <a:gd name="connsiteX2" fmla="*/ 217 w 565811"/>
                  <a:gd name="connsiteY2" fmla="*/ 1697643 h 2136194"/>
                  <a:gd name="connsiteX3" fmla="*/ 16372 w 565811"/>
                  <a:gd name="connsiteY3" fmla="*/ 76684 h 2136194"/>
                  <a:gd name="connsiteX4" fmla="*/ 111770 w 565811"/>
                  <a:gd name="connsiteY4" fmla="*/ 60310 h 2136194"/>
                  <a:gd name="connsiteX5" fmla="*/ 565811 w 565811"/>
                  <a:gd name="connsiteY5" fmla="*/ 503189 h 2136194"/>
                  <a:gd name="connsiteX6" fmla="*/ 563842 w 565811"/>
                  <a:gd name="connsiteY6" fmla="*/ 2136194 h 2136194"/>
                  <a:gd name="connsiteX0" fmla="*/ 563842 w 565811"/>
                  <a:gd name="connsiteY0" fmla="*/ 2136194 h 2136194"/>
                  <a:gd name="connsiteX1" fmla="*/ 94071 w 565811"/>
                  <a:gd name="connsiteY1" fmla="*/ 1852149 h 2136194"/>
                  <a:gd name="connsiteX2" fmla="*/ 217 w 565811"/>
                  <a:gd name="connsiteY2" fmla="*/ 1697643 h 2136194"/>
                  <a:gd name="connsiteX3" fmla="*/ 16372 w 565811"/>
                  <a:gd name="connsiteY3" fmla="*/ 76684 h 2136194"/>
                  <a:gd name="connsiteX4" fmla="*/ 111770 w 565811"/>
                  <a:gd name="connsiteY4" fmla="*/ 60310 h 2136194"/>
                  <a:gd name="connsiteX5" fmla="*/ 565811 w 565811"/>
                  <a:gd name="connsiteY5" fmla="*/ 503189 h 2136194"/>
                  <a:gd name="connsiteX6" fmla="*/ 563842 w 565811"/>
                  <a:gd name="connsiteY6" fmla="*/ 2136194 h 2136194"/>
                  <a:gd name="connsiteX0" fmla="*/ 556255 w 558224"/>
                  <a:gd name="connsiteY0" fmla="*/ 2136194 h 2136194"/>
                  <a:gd name="connsiteX1" fmla="*/ 86484 w 558224"/>
                  <a:gd name="connsiteY1" fmla="*/ 1852149 h 2136194"/>
                  <a:gd name="connsiteX2" fmla="*/ 3356 w 558224"/>
                  <a:gd name="connsiteY2" fmla="*/ 1705368 h 2136194"/>
                  <a:gd name="connsiteX3" fmla="*/ 8785 w 558224"/>
                  <a:gd name="connsiteY3" fmla="*/ 76684 h 2136194"/>
                  <a:gd name="connsiteX4" fmla="*/ 104183 w 558224"/>
                  <a:gd name="connsiteY4" fmla="*/ 60310 h 2136194"/>
                  <a:gd name="connsiteX5" fmla="*/ 558224 w 558224"/>
                  <a:gd name="connsiteY5" fmla="*/ 503189 h 2136194"/>
                  <a:gd name="connsiteX6" fmla="*/ 556255 w 558224"/>
                  <a:gd name="connsiteY6" fmla="*/ 2136194 h 2136194"/>
                  <a:gd name="connsiteX0" fmla="*/ 556255 w 558224"/>
                  <a:gd name="connsiteY0" fmla="*/ 2136194 h 2136194"/>
                  <a:gd name="connsiteX1" fmla="*/ 86484 w 558224"/>
                  <a:gd name="connsiteY1" fmla="*/ 1852149 h 2136194"/>
                  <a:gd name="connsiteX2" fmla="*/ 3356 w 558224"/>
                  <a:gd name="connsiteY2" fmla="*/ 1705368 h 2136194"/>
                  <a:gd name="connsiteX3" fmla="*/ 8785 w 558224"/>
                  <a:gd name="connsiteY3" fmla="*/ 76684 h 2136194"/>
                  <a:gd name="connsiteX4" fmla="*/ 104183 w 558224"/>
                  <a:gd name="connsiteY4" fmla="*/ 60310 h 2136194"/>
                  <a:gd name="connsiteX5" fmla="*/ 558224 w 558224"/>
                  <a:gd name="connsiteY5" fmla="*/ 503189 h 2136194"/>
                  <a:gd name="connsiteX6" fmla="*/ 556255 w 558224"/>
                  <a:gd name="connsiteY6" fmla="*/ 2136194 h 2136194"/>
                  <a:gd name="connsiteX0" fmla="*/ 552996 w 554965"/>
                  <a:gd name="connsiteY0" fmla="*/ 2136194 h 2136194"/>
                  <a:gd name="connsiteX1" fmla="*/ 83225 w 554965"/>
                  <a:gd name="connsiteY1" fmla="*/ 1852149 h 2136194"/>
                  <a:gd name="connsiteX2" fmla="*/ 97 w 554965"/>
                  <a:gd name="connsiteY2" fmla="*/ 1705368 h 2136194"/>
                  <a:gd name="connsiteX3" fmla="*/ 5526 w 554965"/>
                  <a:gd name="connsiteY3" fmla="*/ 76684 h 2136194"/>
                  <a:gd name="connsiteX4" fmla="*/ 100924 w 554965"/>
                  <a:gd name="connsiteY4" fmla="*/ 60310 h 2136194"/>
                  <a:gd name="connsiteX5" fmla="*/ 554965 w 554965"/>
                  <a:gd name="connsiteY5" fmla="*/ 503189 h 2136194"/>
                  <a:gd name="connsiteX6" fmla="*/ 552996 w 554965"/>
                  <a:gd name="connsiteY6" fmla="*/ 2136194 h 2136194"/>
                  <a:gd name="connsiteX0" fmla="*/ 552996 w 589651"/>
                  <a:gd name="connsiteY0" fmla="*/ 2136194 h 2136194"/>
                  <a:gd name="connsiteX1" fmla="*/ 83225 w 589651"/>
                  <a:gd name="connsiteY1" fmla="*/ 1852149 h 2136194"/>
                  <a:gd name="connsiteX2" fmla="*/ 97 w 589651"/>
                  <a:gd name="connsiteY2" fmla="*/ 1705368 h 2136194"/>
                  <a:gd name="connsiteX3" fmla="*/ 5526 w 589651"/>
                  <a:gd name="connsiteY3" fmla="*/ 76684 h 2136194"/>
                  <a:gd name="connsiteX4" fmla="*/ 100924 w 589651"/>
                  <a:gd name="connsiteY4" fmla="*/ 60310 h 2136194"/>
                  <a:gd name="connsiteX5" fmla="*/ 554965 w 589651"/>
                  <a:gd name="connsiteY5" fmla="*/ 503189 h 2136194"/>
                  <a:gd name="connsiteX6" fmla="*/ 557850 w 589651"/>
                  <a:gd name="connsiteY6" fmla="*/ 608380 h 2136194"/>
                  <a:gd name="connsiteX7" fmla="*/ 552996 w 589651"/>
                  <a:gd name="connsiteY7" fmla="*/ 2136194 h 2136194"/>
                  <a:gd name="connsiteX0" fmla="*/ 552996 w 589651"/>
                  <a:gd name="connsiteY0" fmla="*/ 2136194 h 2136194"/>
                  <a:gd name="connsiteX1" fmla="*/ 83225 w 589651"/>
                  <a:gd name="connsiteY1" fmla="*/ 1852149 h 2136194"/>
                  <a:gd name="connsiteX2" fmla="*/ 97 w 589651"/>
                  <a:gd name="connsiteY2" fmla="*/ 1705368 h 2136194"/>
                  <a:gd name="connsiteX3" fmla="*/ 5526 w 589651"/>
                  <a:gd name="connsiteY3" fmla="*/ 76684 h 2136194"/>
                  <a:gd name="connsiteX4" fmla="*/ 100924 w 589651"/>
                  <a:gd name="connsiteY4" fmla="*/ 60310 h 2136194"/>
                  <a:gd name="connsiteX5" fmla="*/ 554965 w 589651"/>
                  <a:gd name="connsiteY5" fmla="*/ 503189 h 2136194"/>
                  <a:gd name="connsiteX6" fmla="*/ 557850 w 589651"/>
                  <a:gd name="connsiteY6" fmla="*/ 608380 h 2136194"/>
                  <a:gd name="connsiteX7" fmla="*/ 552996 w 589651"/>
                  <a:gd name="connsiteY7" fmla="*/ 2136194 h 2136194"/>
                  <a:gd name="connsiteX0" fmla="*/ 552996 w 589651"/>
                  <a:gd name="connsiteY0" fmla="*/ 2136194 h 2136194"/>
                  <a:gd name="connsiteX1" fmla="*/ 83225 w 589651"/>
                  <a:gd name="connsiteY1" fmla="*/ 1852149 h 2136194"/>
                  <a:gd name="connsiteX2" fmla="*/ 97 w 589651"/>
                  <a:gd name="connsiteY2" fmla="*/ 1705368 h 2136194"/>
                  <a:gd name="connsiteX3" fmla="*/ 5526 w 589651"/>
                  <a:gd name="connsiteY3" fmla="*/ 76684 h 2136194"/>
                  <a:gd name="connsiteX4" fmla="*/ 100924 w 589651"/>
                  <a:gd name="connsiteY4" fmla="*/ 60310 h 2136194"/>
                  <a:gd name="connsiteX5" fmla="*/ 554965 w 589651"/>
                  <a:gd name="connsiteY5" fmla="*/ 503189 h 2136194"/>
                  <a:gd name="connsiteX6" fmla="*/ 557850 w 589651"/>
                  <a:gd name="connsiteY6" fmla="*/ 608380 h 2136194"/>
                  <a:gd name="connsiteX7" fmla="*/ 552996 w 589651"/>
                  <a:gd name="connsiteY7" fmla="*/ 2136194 h 2136194"/>
                  <a:gd name="connsiteX0" fmla="*/ 552996 w 557854"/>
                  <a:gd name="connsiteY0" fmla="*/ 2136194 h 2136194"/>
                  <a:gd name="connsiteX1" fmla="*/ 83225 w 557854"/>
                  <a:gd name="connsiteY1" fmla="*/ 1852149 h 2136194"/>
                  <a:gd name="connsiteX2" fmla="*/ 97 w 557854"/>
                  <a:gd name="connsiteY2" fmla="*/ 1705368 h 2136194"/>
                  <a:gd name="connsiteX3" fmla="*/ 5526 w 557854"/>
                  <a:gd name="connsiteY3" fmla="*/ 76684 h 2136194"/>
                  <a:gd name="connsiteX4" fmla="*/ 100924 w 557854"/>
                  <a:gd name="connsiteY4" fmla="*/ 60310 h 2136194"/>
                  <a:gd name="connsiteX5" fmla="*/ 463794 w 557854"/>
                  <a:gd name="connsiteY5" fmla="*/ 414348 h 2136194"/>
                  <a:gd name="connsiteX6" fmla="*/ 557850 w 557854"/>
                  <a:gd name="connsiteY6" fmla="*/ 608380 h 2136194"/>
                  <a:gd name="connsiteX7" fmla="*/ 552996 w 557854"/>
                  <a:gd name="connsiteY7" fmla="*/ 2136194 h 2136194"/>
                  <a:gd name="connsiteX0" fmla="*/ 552996 w 557850"/>
                  <a:gd name="connsiteY0" fmla="*/ 2136194 h 2136194"/>
                  <a:gd name="connsiteX1" fmla="*/ 83225 w 557850"/>
                  <a:gd name="connsiteY1" fmla="*/ 1852149 h 2136194"/>
                  <a:gd name="connsiteX2" fmla="*/ 97 w 557850"/>
                  <a:gd name="connsiteY2" fmla="*/ 1705368 h 2136194"/>
                  <a:gd name="connsiteX3" fmla="*/ 5526 w 557850"/>
                  <a:gd name="connsiteY3" fmla="*/ 76684 h 2136194"/>
                  <a:gd name="connsiteX4" fmla="*/ 100924 w 557850"/>
                  <a:gd name="connsiteY4" fmla="*/ 60310 h 2136194"/>
                  <a:gd name="connsiteX5" fmla="*/ 463794 w 557850"/>
                  <a:gd name="connsiteY5" fmla="*/ 414348 h 2136194"/>
                  <a:gd name="connsiteX6" fmla="*/ 557850 w 557850"/>
                  <a:gd name="connsiteY6" fmla="*/ 608380 h 2136194"/>
                  <a:gd name="connsiteX7" fmla="*/ 552996 w 557850"/>
                  <a:gd name="connsiteY7" fmla="*/ 2136194 h 2136194"/>
                  <a:gd name="connsiteX0" fmla="*/ 552996 w 558635"/>
                  <a:gd name="connsiteY0" fmla="*/ 2136194 h 2136194"/>
                  <a:gd name="connsiteX1" fmla="*/ 83225 w 558635"/>
                  <a:gd name="connsiteY1" fmla="*/ 1852149 h 2136194"/>
                  <a:gd name="connsiteX2" fmla="*/ 97 w 558635"/>
                  <a:gd name="connsiteY2" fmla="*/ 1705368 h 2136194"/>
                  <a:gd name="connsiteX3" fmla="*/ 5526 w 558635"/>
                  <a:gd name="connsiteY3" fmla="*/ 76684 h 2136194"/>
                  <a:gd name="connsiteX4" fmla="*/ 100924 w 558635"/>
                  <a:gd name="connsiteY4" fmla="*/ 60310 h 2136194"/>
                  <a:gd name="connsiteX5" fmla="*/ 463794 w 558635"/>
                  <a:gd name="connsiteY5" fmla="*/ 414348 h 2136194"/>
                  <a:gd name="connsiteX6" fmla="*/ 557850 w 558635"/>
                  <a:gd name="connsiteY6" fmla="*/ 608380 h 2136194"/>
                  <a:gd name="connsiteX7" fmla="*/ 552996 w 558635"/>
                  <a:gd name="connsiteY7" fmla="*/ 2136194 h 2136194"/>
                  <a:gd name="connsiteX0" fmla="*/ 552996 w 557850"/>
                  <a:gd name="connsiteY0" fmla="*/ 2136194 h 2136194"/>
                  <a:gd name="connsiteX1" fmla="*/ 83225 w 557850"/>
                  <a:gd name="connsiteY1" fmla="*/ 1852149 h 2136194"/>
                  <a:gd name="connsiteX2" fmla="*/ 97 w 557850"/>
                  <a:gd name="connsiteY2" fmla="*/ 1705368 h 2136194"/>
                  <a:gd name="connsiteX3" fmla="*/ 5526 w 557850"/>
                  <a:gd name="connsiteY3" fmla="*/ 76684 h 2136194"/>
                  <a:gd name="connsiteX4" fmla="*/ 100924 w 557850"/>
                  <a:gd name="connsiteY4" fmla="*/ 60310 h 2136194"/>
                  <a:gd name="connsiteX5" fmla="*/ 463794 w 557850"/>
                  <a:gd name="connsiteY5" fmla="*/ 414348 h 2136194"/>
                  <a:gd name="connsiteX6" fmla="*/ 557850 w 557850"/>
                  <a:gd name="connsiteY6" fmla="*/ 608380 h 2136194"/>
                  <a:gd name="connsiteX7" fmla="*/ 552996 w 557850"/>
                  <a:gd name="connsiteY7" fmla="*/ 2136194 h 213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7850" h="2136194">
                    <a:moveTo>
                      <a:pt x="552996" y="2136194"/>
                    </a:moveTo>
                    <a:lnTo>
                      <a:pt x="83225" y="1852149"/>
                    </a:lnTo>
                    <a:cubicBezTo>
                      <a:pt x="25125" y="1812234"/>
                      <a:pt x="1886" y="1837985"/>
                      <a:pt x="97" y="1705368"/>
                    </a:cubicBezTo>
                    <a:cubicBezTo>
                      <a:pt x="-928" y="1713788"/>
                      <a:pt x="6598" y="74682"/>
                      <a:pt x="5526" y="76684"/>
                    </a:cubicBezTo>
                    <a:cubicBezTo>
                      <a:pt x="4278" y="-43456"/>
                      <a:pt x="34575" y="-1310"/>
                      <a:pt x="100924" y="60310"/>
                    </a:cubicBezTo>
                    <a:lnTo>
                      <a:pt x="463794" y="414348"/>
                    </a:lnTo>
                    <a:cubicBezTo>
                      <a:pt x="459503" y="420714"/>
                      <a:pt x="552814" y="467543"/>
                      <a:pt x="557850" y="608380"/>
                    </a:cubicBezTo>
                    <a:cubicBezTo>
                      <a:pt x="557522" y="614024"/>
                      <a:pt x="554336" y="2137482"/>
                      <a:pt x="552996" y="2136194"/>
                    </a:cubicBezTo>
                    <a:close/>
                  </a:path>
                </a:pathLst>
              </a:custGeom>
              <a:solidFill>
                <a:schemeClr val="accent3">
                  <a:lumMod val="75000"/>
                </a:schemeClr>
              </a:solidFill>
              <a:ln w="28575">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80" name="Oval 1279"/>
              <p:cNvSpPr/>
              <p:nvPr/>
            </p:nvSpPr>
            <p:spPr bwMode="auto">
              <a:xfrm rot="1403112">
                <a:off x="8837877" y="3985190"/>
                <a:ext cx="98706" cy="46851"/>
              </a:xfrm>
              <a:prstGeom prst="ellipse">
                <a:avLst/>
              </a:prstGeom>
              <a:solidFill>
                <a:schemeClr val="accent3">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81" name="Freeform 1280"/>
              <p:cNvSpPr/>
              <p:nvPr/>
            </p:nvSpPr>
            <p:spPr bwMode="auto">
              <a:xfrm>
                <a:off x="8240683" y="3757318"/>
                <a:ext cx="575711" cy="238225"/>
              </a:xfrm>
              <a:custGeom>
                <a:avLst/>
                <a:gdLst>
                  <a:gd name="connsiteX0" fmla="*/ 0 w 1019907"/>
                  <a:gd name="connsiteY0" fmla="*/ 62523 h 422031"/>
                  <a:gd name="connsiteX1" fmla="*/ 125046 w 1019907"/>
                  <a:gd name="connsiteY1" fmla="*/ 0 h 422031"/>
                  <a:gd name="connsiteX2" fmla="*/ 1019907 w 1019907"/>
                  <a:gd name="connsiteY2" fmla="*/ 355600 h 422031"/>
                  <a:gd name="connsiteX3" fmla="*/ 930030 w 1019907"/>
                  <a:gd name="connsiteY3" fmla="*/ 422031 h 422031"/>
                  <a:gd name="connsiteX4" fmla="*/ 0 w 1019907"/>
                  <a:gd name="connsiteY4" fmla="*/ 62523 h 422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9907" h="422031">
                    <a:moveTo>
                      <a:pt x="0" y="62523"/>
                    </a:moveTo>
                    <a:lnTo>
                      <a:pt x="125046" y="0"/>
                    </a:lnTo>
                    <a:lnTo>
                      <a:pt x="1019907" y="355600"/>
                    </a:lnTo>
                    <a:lnTo>
                      <a:pt x="930030" y="422031"/>
                    </a:lnTo>
                    <a:lnTo>
                      <a:pt x="0" y="62523"/>
                    </a:lnTo>
                    <a:close/>
                  </a:path>
                </a:pathLst>
              </a:custGeom>
              <a:pattFill prst="narVert">
                <a:fgClr>
                  <a:schemeClr val="accent3">
                    <a:lumMod val="75000"/>
                  </a:schemeClr>
                </a:fgClr>
                <a:bgClr>
                  <a:schemeClr val="accent3">
                    <a:lumMod val="50000"/>
                  </a:schemeClr>
                </a:bgClr>
              </a:patt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82" name="Rectangle 1281"/>
              <p:cNvSpPr/>
              <p:nvPr/>
            </p:nvSpPr>
            <p:spPr bwMode="auto">
              <a:xfrm>
                <a:off x="8980725" y="4361162"/>
                <a:ext cx="28388" cy="202845"/>
              </a:xfrm>
              <a:prstGeom prst="rect">
                <a:avLst/>
              </a:prstGeom>
              <a:solidFill>
                <a:schemeClr val="accent3">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84" name="Rectangle 1283"/>
              <p:cNvSpPr/>
              <p:nvPr/>
            </p:nvSpPr>
            <p:spPr bwMode="auto">
              <a:xfrm>
                <a:off x="8980725" y="4595624"/>
                <a:ext cx="28388" cy="202845"/>
              </a:xfrm>
              <a:prstGeom prst="rect">
                <a:avLst/>
              </a:prstGeom>
              <a:solidFill>
                <a:schemeClr val="accent3">
                  <a:lumMod val="7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86" name="Oval 1285"/>
              <p:cNvSpPr/>
              <p:nvPr/>
            </p:nvSpPr>
            <p:spPr bwMode="auto">
              <a:xfrm rot="1959660">
                <a:off x="8331200" y="5585292"/>
                <a:ext cx="109415" cy="67938"/>
              </a:xfrm>
              <a:prstGeom prst="ellipse">
                <a:avLst/>
              </a:prstGeom>
              <a:solidFill>
                <a:schemeClr val="accent3"/>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10" name="Group 209"/>
            <p:cNvGrpSpPr/>
            <p:nvPr/>
          </p:nvGrpSpPr>
          <p:grpSpPr>
            <a:xfrm>
              <a:off x="11046598" y="4313294"/>
              <a:ext cx="1094421" cy="1718748"/>
              <a:chOff x="12331409" y="2804822"/>
              <a:chExt cx="1280160" cy="1908647"/>
            </a:xfrm>
          </p:grpSpPr>
          <p:grpSp>
            <p:nvGrpSpPr>
              <p:cNvPr id="209" name="Group 208"/>
              <p:cNvGrpSpPr/>
              <p:nvPr/>
            </p:nvGrpSpPr>
            <p:grpSpPr>
              <a:xfrm>
                <a:off x="12545638" y="2804822"/>
                <a:ext cx="938539" cy="1908647"/>
                <a:chOff x="12545638" y="2804822"/>
                <a:chExt cx="938539" cy="1908647"/>
              </a:xfrm>
            </p:grpSpPr>
            <p:sp>
              <p:nvSpPr>
                <p:cNvPr id="1296" name="Freeform 1295"/>
                <p:cNvSpPr/>
                <p:nvPr/>
              </p:nvSpPr>
              <p:spPr bwMode="auto">
                <a:xfrm>
                  <a:off x="12638495" y="2804822"/>
                  <a:ext cx="746976" cy="1656539"/>
                </a:xfrm>
                <a:custGeom>
                  <a:avLst/>
                  <a:gdLst/>
                  <a:ahLst/>
                  <a:cxnLst/>
                  <a:rect l="l" t="t" r="r" b="b"/>
                  <a:pathLst>
                    <a:path w="746976" h="1656539">
                      <a:moveTo>
                        <a:pt x="0" y="0"/>
                      </a:moveTo>
                      <a:lnTo>
                        <a:pt x="746976" y="282018"/>
                      </a:lnTo>
                      <a:lnTo>
                        <a:pt x="746976" y="1656539"/>
                      </a:lnTo>
                      <a:lnTo>
                        <a:pt x="0" y="1176313"/>
                      </a:lnTo>
                      <a:close/>
                    </a:path>
                  </a:pathLst>
                </a:custGeom>
                <a:solidFill>
                  <a:schemeClr val="bg2">
                    <a:lumMod val="25000"/>
                  </a:schemeClr>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5" name="Freeform 204"/>
                <p:cNvSpPr/>
                <p:nvPr/>
              </p:nvSpPr>
              <p:spPr bwMode="auto">
                <a:xfrm>
                  <a:off x="12640612" y="3031754"/>
                  <a:ext cx="746976" cy="1681715"/>
                </a:xfrm>
                <a:custGeom>
                  <a:avLst/>
                  <a:gdLst>
                    <a:gd name="connsiteX0" fmla="*/ 8840 w 746976"/>
                    <a:gd name="connsiteY0" fmla="*/ 0 h 1681715"/>
                    <a:gd name="connsiteX1" fmla="*/ 746976 w 746976"/>
                    <a:gd name="connsiteY1" fmla="*/ 307194 h 1681715"/>
                    <a:gd name="connsiteX2" fmla="*/ 746976 w 746976"/>
                    <a:gd name="connsiteY2" fmla="*/ 1681715 h 1681715"/>
                    <a:gd name="connsiteX3" fmla="*/ 0 w 746976"/>
                    <a:gd name="connsiteY3" fmla="*/ 1201489 h 1681715"/>
                    <a:gd name="connsiteX4" fmla="*/ 8840 w 746976"/>
                    <a:gd name="connsiteY4" fmla="*/ 0 h 168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976" h="1681715">
                      <a:moveTo>
                        <a:pt x="8840" y="0"/>
                      </a:moveTo>
                      <a:lnTo>
                        <a:pt x="746976" y="307194"/>
                      </a:lnTo>
                      <a:lnTo>
                        <a:pt x="746976" y="1681715"/>
                      </a:lnTo>
                      <a:lnTo>
                        <a:pt x="0" y="1201489"/>
                      </a:lnTo>
                      <a:cubicBezTo>
                        <a:pt x="0" y="809385"/>
                        <a:pt x="8840" y="392104"/>
                        <a:pt x="8840" y="0"/>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8" name="TextBox 207"/>
                <p:cNvSpPr txBox="1"/>
                <p:nvPr/>
              </p:nvSpPr>
              <p:spPr>
                <a:xfrm rot="223333">
                  <a:off x="12545638" y="3011288"/>
                  <a:ext cx="938539" cy="119624"/>
                </a:xfrm>
                <a:prstGeom prst="rect">
                  <a:avLst/>
                </a:prstGeom>
                <a:noFill/>
                <a:ln>
                  <a:noFill/>
                  <a:headEnd type="none" w="med" len="med"/>
                  <a:tailEnd type="none" w="med" len="med"/>
                </a:ln>
                <a:scene3d>
                  <a:camera prst="orthographicFront">
                    <a:rot lat="1020000" lon="2999994" rev="0"/>
                  </a:camera>
                  <a:lightRig rig="threePt" dir="t"/>
                </a:scene3d>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38" normalizeH="0" baseline="0" noProof="0" dirty="0">
                      <a:ln>
                        <a:noFill/>
                      </a:ln>
                      <a:solidFill>
                        <a:srgbClr val="FFFFFF"/>
                      </a:solidFill>
                      <a:effectLst/>
                      <a:uLnTx/>
                      <a:uFillTx/>
                      <a:ea typeface="Segoe UI" pitchFamily="34" charset="0"/>
                      <a:cs typeface="Segoe UI" pitchFamily="34" charset="0"/>
                    </a:rPr>
                    <a:t>Dog&lt;3@outlook.com</a:t>
                  </a:r>
                </a:p>
              </p:txBody>
            </p:sp>
          </p:grpSp>
          <p:grpSp>
            <p:nvGrpSpPr>
              <p:cNvPr id="206" name="Group 205"/>
              <p:cNvGrpSpPr/>
              <p:nvPr/>
            </p:nvGrpSpPr>
            <p:grpSpPr>
              <a:xfrm>
                <a:off x="12331409" y="3198702"/>
                <a:ext cx="1280160" cy="1142963"/>
                <a:chOff x="10811353" y="4243803"/>
                <a:chExt cx="1280160" cy="1142963"/>
              </a:xfrm>
            </p:grpSpPr>
            <p:sp>
              <p:nvSpPr>
                <p:cNvPr id="1383" name="Freeform 19"/>
                <p:cNvSpPr>
                  <a:spLocks noEditPoints="1"/>
                </p:cNvSpPr>
                <p:nvPr/>
              </p:nvSpPr>
              <p:spPr bwMode="auto">
                <a:xfrm>
                  <a:off x="11216893" y="4243803"/>
                  <a:ext cx="66358" cy="162402"/>
                </a:xfrm>
                <a:custGeom>
                  <a:avLst/>
                  <a:gdLst>
                    <a:gd name="T0" fmla="*/ 71 w 152"/>
                    <a:gd name="T1" fmla="*/ 33 h 370"/>
                    <a:gd name="T2" fmla="*/ 71 w 152"/>
                    <a:gd name="T3" fmla="*/ 33 h 370"/>
                    <a:gd name="T4" fmla="*/ 89 w 152"/>
                    <a:gd name="T5" fmla="*/ 41 h 370"/>
                    <a:gd name="T6" fmla="*/ 96 w 152"/>
                    <a:gd name="T7" fmla="*/ 47 h 370"/>
                    <a:gd name="T8" fmla="*/ 104 w 152"/>
                    <a:gd name="T9" fmla="*/ 52 h 370"/>
                    <a:gd name="T10" fmla="*/ 110 w 152"/>
                    <a:gd name="T11" fmla="*/ 59 h 370"/>
                    <a:gd name="T12" fmla="*/ 117 w 152"/>
                    <a:gd name="T13" fmla="*/ 64 h 370"/>
                    <a:gd name="T14" fmla="*/ 122 w 152"/>
                    <a:gd name="T15" fmla="*/ 72 h 370"/>
                    <a:gd name="T16" fmla="*/ 127 w 152"/>
                    <a:gd name="T17" fmla="*/ 78 h 370"/>
                    <a:gd name="T18" fmla="*/ 127 w 152"/>
                    <a:gd name="T19" fmla="*/ 78 h 370"/>
                    <a:gd name="T20" fmla="*/ 133 w 152"/>
                    <a:gd name="T21" fmla="*/ 91 h 370"/>
                    <a:gd name="T22" fmla="*/ 139 w 152"/>
                    <a:gd name="T23" fmla="*/ 105 h 370"/>
                    <a:gd name="T24" fmla="*/ 142 w 152"/>
                    <a:gd name="T25" fmla="*/ 120 h 370"/>
                    <a:gd name="T26" fmla="*/ 143 w 152"/>
                    <a:gd name="T27" fmla="*/ 137 h 370"/>
                    <a:gd name="T28" fmla="*/ 143 w 152"/>
                    <a:gd name="T29" fmla="*/ 180 h 370"/>
                    <a:gd name="T30" fmla="*/ 143 w 152"/>
                    <a:gd name="T31" fmla="*/ 180 h 370"/>
                    <a:gd name="T32" fmla="*/ 142 w 152"/>
                    <a:gd name="T33" fmla="*/ 188 h 370"/>
                    <a:gd name="T34" fmla="*/ 141 w 152"/>
                    <a:gd name="T35" fmla="*/ 195 h 370"/>
                    <a:gd name="T36" fmla="*/ 139 w 152"/>
                    <a:gd name="T37" fmla="*/ 201 h 370"/>
                    <a:gd name="T38" fmla="*/ 136 w 152"/>
                    <a:gd name="T39" fmla="*/ 207 h 370"/>
                    <a:gd name="T40" fmla="*/ 133 w 152"/>
                    <a:gd name="T41" fmla="*/ 212 h 370"/>
                    <a:gd name="T42" fmla="*/ 129 w 152"/>
                    <a:gd name="T43" fmla="*/ 216 h 370"/>
                    <a:gd name="T44" fmla="*/ 123 w 152"/>
                    <a:gd name="T45" fmla="*/ 220 h 370"/>
                    <a:gd name="T46" fmla="*/ 118 w 152"/>
                    <a:gd name="T47" fmla="*/ 224 h 370"/>
                    <a:gd name="T48" fmla="*/ 152 w 152"/>
                    <a:gd name="T49" fmla="*/ 370 h 370"/>
                    <a:gd name="T50" fmla="*/ 103 w 152"/>
                    <a:gd name="T51" fmla="*/ 348 h 370"/>
                    <a:gd name="T52" fmla="*/ 75 w 152"/>
                    <a:gd name="T53" fmla="*/ 221 h 370"/>
                    <a:gd name="T54" fmla="*/ 75 w 152"/>
                    <a:gd name="T55" fmla="*/ 221 h 370"/>
                    <a:gd name="T56" fmla="*/ 71 w 152"/>
                    <a:gd name="T57" fmla="*/ 220 h 370"/>
                    <a:gd name="T58" fmla="*/ 45 w 152"/>
                    <a:gd name="T59" fmla="*/ 208 h 370"/>
                    <a:gd name="T60" fmla="*/ 45 w 152"/>
                    <a:gd name="T61" fmla="*/ 321 h 370"/>
                    <a:gd name="T62" fmla="*/ 0 w 152"/>
                    <a:gd name="T63" fmla="*/ 301 h 370"/>
                    <a:gd name="T64" fmla="*/ 0 w 152"/>
                    <a:gd name="T65" fmla="*/ 0 h 370"/>
                    <a:gd name="T66" fmla="*/ 71 w 152"/>
                    <a:gd name="T67" fmla="*/ 33 h 370"/>
                    <a:gd name="T68" fmla="*/ 98 w 152"/>
                    <a:gd name="T69" fmla="*/ 117 h 370"/>
                    <a:gd name="T70" fmla="*/ 98 w 152"/>
                    <a:gd name="T71" fmla="*/ 117 h 370"/>
                    <a:gd name="T72" fmla="*/ 97 w 152"/>
                    <a:gd name="T73" fmla="*/ 111 h 370"/>
                    <a:gd name="T74" fmla="*/ 96 w 152"/>
                    <a:gd name="T75" fmla="*/ 105 h 370"/>
                    <a:gd name="T76" fmla="*/ 94 w 152"/>
                    <a:gd name="T77" fmla="*/ 100 h 370"/>
                    <a:gd name="T78" fmla="*/ 92 w 152"/>
                    <a:gd name="T79" fmla="*/ 94 h 370"/>
                    <a:gd name="T80" fmla="*/ 88 w 152"/>
                    <a:gd name="T81" fmla="*/ 90 h 370"/>
                    <a:gd name="T82" fmla="*/ 83 w 152"/>
                    <a:gd name="T83" fmla="*/ 86 h 370"/>
                    <a:gd name="T84" fmla="*/ 78 w 152"/>
                    <a:gd name="T85" fmla="*/ 82 h 370"/>
                    <a:gd name="T86" fmla="*/ 72 w 152"/>
                    <a:gd name="T87" fmla="*/ 79 h 370"/>
                    <a:gd name="T88" fmla="*/ 45 w 152"/>
                    <a:gd name="T89" fmla="*/ 66 h 370"/>
                    <a:gd name="T90" fmla="*/ 45 w 152"/>
                    <a:gd name="T91" fmla="*/ 163 h 370"/>
                    <a:gd name="T92" fmla="*/ 72 w 152"/>
                    <a:gd name="T93" fmla="*/ 176 h 370"/>
                    <a:gd name="T94" fmla="*/ 72 w 152"/>
                    <a:gd name="T95" fmla="*/ 176 h 370"/>
                    <a:gd name="T96" fmla="*/ 78 w 152"/>
                    <a:gd name="T97" fmla="*/ 177 h 370"/>
                    <a:gd name="T98" fmla="*/ 82 w 152"/>
                    <a:gd name="T99" fmla="*/ 178 h 370"/>
                    <a:gd name="T100" fmla="*/ 87 w 152"/>
                    <a:gd name="T101" fmla="*/ 178 h 370"/>
                    <a:gd name="T102" fmla="*/ 91 w 152"/>
                    <a:gd name="T103" fmla="*/ 176 h 370"/>
                    <a:gd name="T104" fmla="*/ 91 w 152"/>
                    <a:gd name="T105" fmla="*/ 176 h 370"/>
                    <a:gd name="T106" fmla="*/ 94 w 152"/>
                    <a:gd name="T107" fmla="*/ 174 h 370"/>
                    <a:gd name="T108" fmla="*/ 96 w 152"/>
                    <a:gd name="T109" fmla="*/ 170 h 370"/>
                    <a:gd name="T110" fmla="*/ 97 w 152"/>
                    <a:gd name="T111" fmla="*/ 166 h 370"/>
                    <a:gd name="T112" fmla="*/ 98 w 152"/>
                    <a:gd name="T113" fmla="*/ 161 h 370"/>
                    <a:gd name="T114" fmla="*/ 98 w 152"/>
                    <a:gd name="T115" fmla="*/ 11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 h="370">
                      <a:moveTo>
                        <a:pt x="71" y="33"/>
                      </a:moveTo>
                      <a:lnTo>
                        <a:pt x="71" y="33"/>
                      </a:lnTo>
                      <a:lnTo>
                        <a:pt x="89" y="41"/>
                      </a:lnTo>
                      <a:lnTo>
                        <a:pt x="96" y="47"/>
                      </a:lnTo>
                      <a:lnTo>
                        <a:pt x="104" y="52"/>
                      </a:lnTo>
                      <a:lnTo>
                        <a:pt x="110" y="59"/>
                      </a:lnTo>
                      <a:lnTo>
                        <a:pt x="117" y="64"/>
                      </a:lnTo>
                      <a:lnTo>
                        <a:pt x="122" y="72"/>
                      </a:lnTo>
                      <a:lnTo>
                        <a:pt x="127" y="78"/>
                      </a:lnTo>
                      <a:lnTo>
                        <a:pt x="127" y="78"/>
                      </a:lnTo>
                      <a:lnTo>
                        <a:pt x="133" y="91"/>
                      </a:lnTo>
                      <a:lnTo>
                        <a:pt x="139" y="105"/>
                      </a:lnTo>
                      <a:lnTo>
                        <a:pt x="142" y="120"/>
                      </a:lnTo>
                      <a:lnTo>
                        <a:pt x="143" y="137"/>
                      </a:lnTo>
                      <a:lnTo>
                        <a:pt x="143" y="180"/>
                      </a:lnTo>
                      <a:lnTo>
                        <a:pt x="143" y="180"/>
                      </a:lnTo>
                      <a:lnTo>
                        <a:pt x="142" y="188"/>
                      </a:lnTo>
                      <a:lnTo>
                        <a:pt x="141" y="195"/>
                      </a:lnTo>
                      <a:lnTo>
                        <a:pt x="139" y="201"/>
                      </a:lnTo>
                      <a:lnTo>
                        <a:pt x="136" y="207"/>
                      </a:lnTo>
                      <a:lnTo>
                        <a:pt x="133" y="212"/>
                      </a:lnTo>
                      <a:lnTo>
                        <a:pt x="129" y="216"/>
                      </a:lnTo>
                      <a:lnTo>
                        <a:pt x="123" y="220"/>
                      </a:lnTo>
                      <a:lnTo>
                        <a:pt x="118" y="224"/>
                      </a:lnTo>
                      <a:lnTo>
                        <a:pt x="152" y="370"/>
                      </a:lnTo>
                      <a:lnTo>
                        <a:pt x="103" y="348"/>
                      </a:lnTo>
                      <a:lnTo>
                        <a:pt x="75" y="221"/>
                      </a:lnTo>
                      <a:lnTo>
                        <a:pt x="75" y="221"/>
                      </a:lnTo>
                      <a:lnTo>
                        <a:pt x="71" y="220"/>
                      </a:lnTo>
                      <a:lnTo>
                        <a:pt x="45" y="208"/>
                      </a:lnTo>
                      <a:lnTo>
                        <a:pt x="45" y="321"/>
                      </a:lnTo>
                      <a:lnTo>
                        <a:pt x="0" y="301"/>
                      </a:lnTo>
                      <a:lnTo>
                        <a:pt x="0" y="0"/>
                      </a:lnTo>
                      <a:lnTo>
                        <a:pt x="71" y="33"/>
                      </a:lnTo>
                      <a:close/>
                      <a:moveTo>
                        <a:pt x="98" y="117"/>
                      </a:moveTo>
                      <a:lnTo>
                        <a:pt x="98" y="117"/>
                      </a:lnTo>
                      <a:lnTo>
                        <a:pt x="97" y="111"/>
                      </a:lnTo>
                      <a:lnTo>
                        <a:pt x="96" y="105"/>
                      </a:lnTo>
                      <a:lnTo>
                        <a:pt x="94" y="100"/>
                      </a:lnTo>
                      <a:lnTo>
                        <a:pt x="92" y="94"/>
                      </a:lnTo>
                      <a:lnTo>
                        <a:pt x="88" y="90"/>
                      </a:lnTo>
                      <a:lnTo>
                        <a:pt x="83" y="86"/>
                      </a:lnTo>
                      <a:lnTo>
                        <a:pt x="78" y="82"/>
                      </a:lnTo>
                      <a:lnTo>
                        <a:pt x="72" y="79"/>
                      </a:lnTo>
                      <a:lnTo>
                        <a:pt x="45" y="66"/>
                      </a:lnTo>
                      <a:lnTo>
                        <a:pt x="45" y="163"/>
                      </a:lnTo>
                      <a:lnTo>
                        <a:pt x="72" y="176"/>
                      </a:lnTo>
                      <a:lnTo>
                        <a:pt x="72" y="176"/>
                      </a:lnTo>
                      <a:lnTo>
                        <a:pt x="78" y="177"/>
                      </a:lnTo>
                      <a:lnTo>
                        <a:pt x="82" y="178"/>
                      </a:lnTo>
                      <a:lnTo>
                        <a:pt x="87" y="178"/>
                      </a:lnTo>
                      <a:lnTo>
                        <a:pt x="91" y="176"/>
                      </a:lnTo>
                      <a:lnTo>
                        <a:pt x="91" y="176"/>
                      </a:lnTo>
                      <a:lnTo>
                        <a:pt x="94" y="174"/>
                      </a:lnTo>
                      <a:lnTo>
                        <a:pt x="96" y="170"/>
                      </a:lnTo>
                      <a:lnTo>
                        <a:pt x="97" y="166"/>
                      </a:lnTo>
                      <a:lnTo>
                        <a:pt x="98" y="161"/>
                      </a:lnTo>
                      <a:lnTo>
                        <a:pt x="98" y="117"/>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4" name="Freeform 20"/>
                <p:cNvSpPr>
                  <a:spLocks/>
                </p:cNvSpPr>
                <p:nvPr/>
              </p:nvSpPr>
              <p:spPr bwMode="auto">
                <a:xfrm>
                  <a:off x="11300713" y="4282221"/>
                  <a:ext cx="55880" cy="157163"/>
                </a:xfrm>
                <a:custGeom>
                  <a:avLst/>
                  <a:gdLst>
                    <a:gd name="T0" fmla="*/ 0 w 129"/>
                    <a:gd name="T1" fmla="*/ 301 h 361"/>
                    <a:gd name="T2" fmla="*/ 0 w 129"/>
                    <a:gd name="T3" fmla="*/ 0 h 361"/>
                    <a:gd name="T4" fmla="*/ 129 w 129"/>
                    <a:gd name="T5" fmla="*/ 59 h 361"/>
                    <a:gd name="T6" fmla="*/ 129 w 129"/>
                    <a:gd name="T7" fmla="*/ 105 h 361"/>
                    <a:gd name="T8" fmla="*/ 45 w 129"/>
                    <a:gd name="T9" fmla="*/ 67 h 361"/>
                    <a:gd name="T10" fmla="*/ 45 w 129"/>
                    <a:gd name="T11" fmla="*/ 148 h 361"/>
                    <a:gd name="T12" fmla="*/ 107 w 129"/>
                    <a:gd name="T13" fmla="*/ 177 h 361"/>
                    <a:gd name="T14" fmla="*/ 107 w 129"/>
                    <a:gd name="T15" fmla="*/ 222 h 361"/>
                    <a:gd name="T16" fmla="*/ 45 w 129"/>
                    <a:gd name="T17" fmla="*/ 195 h 361"/>
                    <a:gd name="T18" fmla="*/ 45 w 129"/>
                    <a:gd name="T19" fmla="*/ 276 h 361"/>
                    <a:gd name="T20" fmla="*/ 129 w 129"/>
                    <a:gd name="T21" fmla="*/ 315 h 361"/>
                    <a:gd name="T22" fmla="*/ 129 w 129"/>
                    <a:gd name="T23" fmla="*/ 361 h 361"/>
                    <a:gd name="T24" fmla="*/ 0 w 129"/>
                    <a:gd name="T25" fmla="*/ 30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361">
                      <a:moveTo>
                        <a:pt x="0" y="301"/>
                      </a:moveTo>
                      <a:lnTo>
                        <a:pt x="0" y="0"/>
                      </a:lnTo>
                      <a:lnTo>
                        <a:pt x="129" y="59"/>
                      </a:lnTo>
                      <a:lnTo>
                        <a:pt x="129" y="105"/>
                      </a:lnTo>
                      <a:lnTo>
                        <a:pt x="45" y="67"/>
                      </a:lnTo>
                      <a:lnTo>
                        <a:pt x="45" y="148"/>
                      </a:lnTo>
                      <a:lnTo>
                        <a:pt x="107" y="177"/>
                      </a:lnTo>
                      <a:lnTo>
                        <a:pt x="107" y="222"/>
                      </a:lnTo>
                      <a:lnTo>
                        <a:pt x="45" y="195"/>
                      </a:lnTo>
                      <a:lnTo>
                        <a:pt x="45" y="276"/>
                      </a:lnTo>
                      <a:lnTo>
                        <a:pt x="129" y="315"/>
                      </a:lnTo>
                      <a:lnTo>
                        <a:pt x="129" y="361"/>
                      </a:lnTo>
                      <a:lnTo>
                        <a:pt x="0" y="301"/>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5" name="Freeform 21"/>
                <p:cNvSpPr>
                  <a:spLocks/>
                </p:cNvSpPr>
                <p:nvPr/>
              </p:nvSpPr>
              <p:spPr bwMode="auto">
                <a:xfrm>
                  <a:off x="11370563" y="4313653"/>
                  <a:ext cx="62865" cy="150178"/>
                </a:xfrm>
                <a:custGeom>
                  <a:avLst/>
                  <a:gdLst>
                    <a:gd name="T0" fmla="*/ 49 w 143"/>
                    <a:gd name="T1" fmla="*/ 67 h 344"/>
                    <a:gd name="T2" fmla="*/ 0 w 143"/>
                    <a:gd name="T3" fmla="*/ 45 h 344"/>
                    <a:gd name="T4" fmla="*/ 0 w 143"/>
                    <a:gd name="T5" fmla="*/ 0 h 344"/>
                    <a:gd name="T6" fmla="*/ 143 w 143"/>
                    <a:gd name="T7" fmla="*/ 64 h 344"/>
                    <a:gd name="T8" fmla="*/ 143 w 143"/>
                    <a:gd name="T9" fmla="*/ 110 h 344"/>
                    <a:gd name="T10" fmla="*/ 95 w 143"/>
                    <a:gd name="T11" fmla="*/ 87 h 344"/>
                    <a:gd name="T12" fmla="*/ 95 w 143"/>
                    <a:gd name="T13" fmla="*/ 344 h 344"/>
                    <a:gd name="T14" fmla="*/ 49 w 143"/>
                    <a:gd name="T15" fmla="*/ 323 h 344"/>
                    <a:gd name="T16" fmla="*/ 49 w 143"/>
                    <a:gd name="T17" fmla="*/ 6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344">
                      <a:moveTo>
                        <a:pt x="49" y="67"/>
                      </a:moveTo>
                      <a:lnTo>
                        <a:pt x="0" y="45"/>
                      </a:lnTo>
                      <a:lnTo>
                        <a:pt x="0" y="0"/>
                      </a:lnTo>
                      <a:lnTo>
                        <a:pt x="143" y="64"/>
                      </a:lnTo>
                      <a:lnTo>
                        <a:pt x="143" y="110"/>
                      </a:lnTo>
                      <a:lnTo>
                        <a:pt x="95" y="87"/>
                      </a:lnTo>
                      <a:lnTo>
                        <a:pt x="95" y="344"/>
                      </a:lnTo>
                      <a:lnTo>
                        <a:pt x="49" y="323"/>
                      </a:lnTo>
                      <a:lnTo>
                        <a:pt x="49" y="67"/>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6" name="Freeform 22"/>
                <p:cNvSpPr>
                  <a:spLocks noEditPoints="1"/>
                </p:cNvSpPr>
                <p:nvPr/>
              </p:nvSpPr>
              <p:spPr bwMode="auto">
                <a:xfrm>
                  <a:off x="11431682" y="4352071"/>
                  <a:ext cx="71597" cy="153670"/>
                </a:xfrm>
                <a:custGeom>
                  <a:avLst/>
                  <a:gdLst>
                    <a:gd name="T0" fmla="*/ 58 w 164"/>
                    <a:gd name="T1" fmla="*/ 236 h 353"/>
                    <a:gd name="T2" fmla="*/ 47 w 164"/>
                    <a:gd name="T3" fmla="*/ 300 h 353"/>
                    <a:gd name="T4" fmla="*/ 0 w 164"/>
                    <a:gd name="T5" fmla="*/ 278 h 353"/>
                    <a:gd name="T6" fmla="*/ 51 w 164"/>
                    <a:gd name="T7" fmla="*/ 0 h 353"/>
                    <a:gd name="T8" fmla="*/ 113 w 164"/>
                    <a:gd name="T9" fmla="*/ 28 h 353"/>
                    <a:gd name="T10" fmla="*/ 164 w 164"/>
                    <a:gd name="T11" fmla="*/ 353 h 353"/>
                    <a:gd name="T12" fmla="*/ 116 w 164"/>
                    <a:gd name="T13" fmla="*/ 331 h 353"/>
                    <a:gd name="T14" fmla="*/ 106 w 164"/>
                    <a:gd name="T15" fmla="*/ 257 h 353"/>
                    <a:gd name="T16" fmla="*/ 58 w 164"/>
                    <a:gd name="T17" fmla="*/ 236 h 353"/>
                    <a:gd name="T18" fmla="*/ 82 w 164"/>
                    <a:gd name="T19" fmla="*/ 83 h 353"/>
                    <a:gd name="T20" fmla="*/ 65 w 164"/>
                    <a:gd name="T21" fmla="*/ 194 h 353"/>
                    <a:gd name="T22" fmla="*/ 99 w 164"/>
                    <a:gd name="T23" fmla="*/ 210 h 353"/>
                    <a:gd name="T24" fmla="*/ 82 w 164"/>
                    <a:gd name="T25" fmla="*/ 8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4" h="353">
                      <a:moveTo>
                        <a:pt x="58" y="236"/>
                      </a:moveTo>
                      <a:lnTo>
                        <a:pt x="47" y="300"/>
                      </a:lnTo>
                      <a:lnTo>
                        <a:pt x="0" y="278"/>
                      </a:lnTo>
                      <a:lnTo>
                        <a:pt x="51" y="0"/>
                      </a:lnTo>
                      <a:lnTo>
                        <a:pt x="113" y="28"/>
                      </a:lnTo>
                      <a:lnTo>
                        <a:pt x="164" y="353"/>
                      </a:lnTo>
                      <a:lnTo>
                        <a:pt x="116" y="331"/>
                      </a:lnTo>
                      <a:lnTo>
                        <a:pt x="106" y="257"/>
                      </a:lnTo>
                      <a:lnTo>
                        <a:pt x="58" y="236"/>
                      </a:lnTo>
                      <a:close/>
                      <a:moveTo>
                        <a:pt x="82" y="83"/>
                      </a:moveTo>
                      <a:lnTo>
                        <a:pt x="65" y="194"/>
                      </a:lnTo>
                      <a:lnTo>
                        <a:pt x="99" y="210"/>
                      </a:lnTo>
                      <a:lnTo>
                        <a:pt x="82" y="83"/>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7" name="Freeform 23"/>
                <p:cNvSpPr>
                  <a:spLocks/>
                </p:cNvSpPr>
                <p:nvPr/>
              </p:nvSpPr>
              <p:spPr bwMode="auto">
                <a:xfrm>
                  <a:off x="11518995" y="4381756"/>
                  <a:ext cx="20955" cy="139700"/>
                </a:xfrm>
                <a:custGeom>
                  <a:avLst/>
                  <a:gdLst>
                    <a:gd name="T0" fmla="*/ 46 w 46"/>
                    <a:gd name="T1" fmla="*/ 322 h 322"/>
                    <a:gd name="T2" fmla="*/ 0 w 46"/>
                    <a:gd name="T3" fmla="*/ 301 h 322"/>
                    <a:gd name="T4" fmla="*/ 0 w 46"/>
                    <a:gd name="T5" fmla="*/ 0 h 322"/>
                    <a:gd name="T6" fmla="*/ 46 w 46"/>
                    <a:gd name="T7" fmla="*/ 20 h 322"/>
                    <a:gd name="T8" fmla="*/ 46 w 46"/>
                    <a:gd name="T9" fmla="*/ 322 h 322"/>
                  </a:gdLst>
                  <a:ahLst/>
                  <a:cxnLst>
                    <a:cxn ang="0">
                      <a:pos x="T0" y="T1"/>
                    </a:cxn>
                    <a:cxn ang="0">
                      <a:pos x="T2" y="T3"/>
                    </a:cxn>
                    <a:cxn ang="0">
                      <a:pos x="T4" y="T5"/>
                    </a:cxn>
                    <a:cxn ang="0">
                      <a:pos x="T6" y="T7"/>
                    </a:cxn>
                    <a:cxn ang="0">
                      <a:pos x="T8" y="T9"/>
                    </a:cxn>
                  </a:cxnLst>
                  <a:rect l="0" t="0" r="r" b="b"/>
                  <a:pathLst>
                    <a:path w="46" h="322">
                      <a:moveTo>
                        <a:pt x="46" y="322"/>
                      </a:moveTo>
                      <a:lnTo>
                        <a:pt x="0" y="301"/>
                      </a:lnTo>
                      <a:lnTo>
                        <a:pt x="0" y="0"/>
                      </a:lnTo>
                      <a:lnTo>
                        <a:pt x="46" y="20"/>
                      </a:lnTo>
                      <a:lnTo>
                        <a:pt x="46" y="322"/>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8" name="Freeform 24"/>
                <p:cNvSpPr>
                  <a:spLocks/>
                </p:cNvSpPr>
                <p:nvPr/>
              </p:nvSpPr>
              <p:spPr bwMode="auto">
                <a:xfrm>
                  <a:off x="11557412" y="4399219"/>
                  <a:ext cx="54134" cy="155417"/>
                </a:xfrm>
                <a:custGeom>
                  <a:avLst/>
                  <a:gdLst>
                    <a:gd name="T0" fmla="*/ 124 w 124"/>
                    <a:gd name="T1" fmla="*/ 358 h 358"/>
                    <a:gd name="T2" fmla="*/ 0 w 124"/>
                    <a:gd name="T3" fmla="*/ 301 h 358"/>
                    <a:gd name="T4" fmla="*/ 0 w 124"/>
                    <a:gd name="T5" fmla="*/ 0 h 358"/>
                    <a:gd name="T6" fmla="*/ 45 w 124"/>
                    <a:gd name="T7" fmla="*/ 20 h 358"/>
                    <a:gd name="T8" fmla="*/ 45 w 124"/>
                    <a:gd name="T9" fmla="*/ 276 h 358"/>
                    <a:gd name="T10" fmla="*/ 124 w 124"/>
                    <a:gd name="T11" fmla="*/ 312 h 358"/>
                    <a:gd name="T12" fmla="*/ 124 w 124"/>
                    <a:gd name="T13" fmla="*/ 358 h 358"/>
                  </a:gdLst>
                  <a:ahLst/>
                  <a:cxnLst>
                    <a:cxn ang="0">
                      <a:pos x="T0" y="T1"/>
                    </a:cxn>
                    <a:cxn ang="0">
                      <a:pos x="T2" y="T3"/>
                    </a:cxn>
                    <a:cxn ang="0">
                      <a:pos x="T4" y="T5"/>
                    </a:cxn>
                    <a:cxn ang="0">
                      <a:pos x="T6" y="T7"/>
                    </a:cxn>
                    <a:cxn ang="0">
                      <a:pos x="T8" y="T9"/>
                    </a:cxn>
                    <a:cxn ang="0">
                      <a:pos x="T10" y="T11"/>
                    </a:cxn>
                    <a:cxn ang="0">
                      <a:pos x="T12" y="T13"/>
                    </a:cxn>
                  </a:cxnLst>
                  <a:rect l="0" t="0" r="r" b="b"/>
                  <a:pathLst>
                    <a:path w="124" h="358">
                      <a:moveTo>
                        <a:pt x="124" y="358"/>
                      </a:moveTo>
                      <a:lnTo>
                        <a:pt x="0" y="301"/>
                      </a:lnTo>
                      <a:lnTo>
                        <a:pt x="0" y="0"/>
                      </a:lnTo>
                      <a:lnTo>
                        <a:pt x="45" y="20"/>
                      </a:lnTo>
                      <a:lnTo>
                        <a:pt x="45" y="276"/>
                      </a:lnTo>
                      <a:lnTo>
                        <a:pt x="124" y="312"/>
                      </a:lnTo>
                      <a:lnTo>
                        <a:pt x="124" y="358"/>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89" name="Freeform 25"/>
                <p:cNvSpPr>
                  <a:spLocks/>
                </p:cNvSpPr>
                <p:nvPr/>
              </p:nvSpPr>
              <p:spPr bwMode="auto">
                <a:xfrm>
                  <a:off x="11625515" y="4428906"/>
                  <a:ext cx="55880" cy="157163"/>
                </a:xfrm>
                <a:custGeom>
                  <a:avLst/>
                  <a:gdLst>
                    <a:gd name="T0" fmla="*/ 0 w 129"/>
                    <a:gd name="T1" fmla="*/ 302 h 360"/>
                    <a:gd name="T2" fmla="*/ 0 w 129"/>
                    <a:gd name="T3" fmla="*/ 0 h 360"/>
                    <a:gd name="T4" fmla="*/ 129 w 129"/>
                    <a:gd name="T5" fmla="*/ 59 h 360"/>
                    <a:gd name="T6" fmla="*/ 129 w 129"/>
                    <a:gd name="T7" fmla="*/ 104 h 360"/>
                    <a:gd name="T8" fmla="*/ 45 w 129"/>
                    <a:gd name="T9" fmla="*/ 66 h 360"/>
                    <a:gd name="T10" fmla="*/ 45 w 129"/>
                    <a:gd name="T11" fmla="*/ 149 h 360"/>
                    <a:gd name="T12" fmla="*/ 107 w 129"/>
                    <a:gd name="T13" fmla="*/ 177 h 360"/>
                    <a:gd name="T14" fmla="*/ 107 w 129"/>
                    <a:gd name="T15" fmla="*/ 223 h 360"/>
                    <a:gd name="T16" fmla="*/ 45 w 129"/>
                    <a:gd name="T17" fmla="*/ 194 h 360"/>
                    <a:gd name="T18" fmla="*/ 45 w 129"/>
                    <a:gd name="T19" fmla="*/ 277 h 360"/>
                    <a:gd name="T20" fmla="*/ 129 w 129"/>
                    <a:gd name="T21" fmla="*/ 315 h 360"/>
                    <a:gd name="T22" fmla="*/ 129 w 129"/>
                    <a:gd name="T23" fmla="*/ 360 h 360"/>
                    <a:gd name="T24" fmla="*/ 0 w 129"/>
                    <a:gd name="T25" fmla="*/ 30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360">
                      <a:moveTo>
                        <a:pt x="0" y="302"/>
                      </a:moveTo>
                      <a:lnTo>
                        <a:pt x="0" y="0"/>
                      </a:lnTo>
                      <a:lnTo>
                        <a:pt x="129" y="59"/>
                      </a:lnTo>
                      <a:lnTo>
                        <a:pt x="129" y="104"/>
                      </a:lnTo>
                      <a:lnTo>
                        <a:pt x="45" y="66"/>
                      </a:lnTo>
                      <a:lnTo>
                        <a:pt x="45" y="149"/>
                      </a:lnTo>
                      <a:lnTo>
                        <a:pt x="107" y="177"/>
                      </a:lnTo>
                      <a:lnTo>
                        <a:pt x="107" y="223"/>
                      </a:lnTo>
                      <a:lnTo>
                        <a:pt x="45" y="194"/>
                      </a:lnTo>
                      <a:lnTo>
                        <a:pt x="45" y="277"/>
                      </a:lnTo>
                      <a:lnTo>
                        <a:pt x="129" y="315"/>
                      </a:lnTo>
                      <a:lnTo>
                        <a:pt x="129" y="360"/>
                      </a:lnTo>
                      <a:lnTo>
                        <a:pt x="0" y="302"/>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2" name="Freeform 26"/>
                <p:cNvSpPr>
                  <a:spLocks noEditPoints="1"/>
                </p:cNvSpPr>
                <p:nvPr/>
              </p:nvSpPr>
              <p:spPr bwMode="auto">
                <a:xfrm>
                  <a:off x="11695365" y="4462084"/>
                  <a:ext cx="66358" cy="160655"/>
                </a:xfrm>
                <a:custGeom>
                  <a:avLst/>
                  <a:gdLst>
                    <a:gd name="T0" fmla="*/ 72 w 152"/>
                    <a:gd name="T1" fmla="*/ 33 h 370"/>
                    <a:gd name="T2" fmla="*/ 72 w 152"/>
                    <a:gd name="T3" fmla="*/ 33 h 370"/>
                    <a:gd name="T4" fmla="*/ 89 w 152"/>
                    <a:gd name="T5" fmla="*/ 41 h 370"/>
                    <a:gd name="T6" fmla="*/ 97 w 152"/>
                    <a:gd name="T7" fmla="*/ 47 h 370"/>
                    <a:gd name="T8" fmla="*/ 104 w 152"/>
                    <a:gd name="T9" fmla="*/ 52 h 370"/>
                    <a:gd name="T10" fmla="*/ 111 w 152"/>
                    <a:gd name="T11" fmla="*/ 59 h 370"/>
                    <a:gd name="T12" fmla="*/ 117 w 152"/>
                    <a:gd name="T13" fmla="*/ 65 h 370"/>
                    <a:gd name="T14" fmla="*/ 123 w 152"/>
                    <a:gd name="T15" fmla="*/ 72 h 370"/>
                    <a:gd name="T16" fmla="*/ 127 w 152"/>
                    <a:gd name="T17" fmla="*/ 78 h 370"/>
                    <a:gd name="T18" fmla="*/ 127 w 152"/>
                    <a:gd name="T19" fmla="*/ 78 h 370"/>
                    <a:gd name="T20" fmla="*/ 133 w 152"/>
                    <a:gd name="T21" fmla="*/ 91 h 370"/>
                    <a:gd name="T22" fmla="*/ 139 w 152"/>
                    <a:gd name="T23" fmla="*/ 105 h 370"/>
                    <a:gd name="T24" fmla="*/ 142 w 152"/>
                    <a:gd name="T25" fmla="*/ 120 h 370"/>
                    <a:gd name="T26" fmla="*/ 142 w 152"/>
                    <a:gd name="T27" fmla="*/ 137 h 370"/>
                    <a:gd name="T28" fmla="*/ 142 w 152"/>
                    <a:gd name="T29" fmla="*/ 180 h 370"/>
                    <a:gd name="T30" fmla="*/ 142 w 152"/>
                    <a:gd name="T31" fmla="*/ 180 h 370"/>
                    <a:gd name="T32" fmla="*/ 142 w 152"/>
                    <a:gd name="T33" fmla="*/ 188 h 370"/>
                    <a:gd name="T34" fmla="*/ 141 w 152"/>
                    <a:gd name="T35" fmla="*/ 195 h 370"/>
                    <a:gd name="T36" fmla="*/ 139 w 152"/>
                    <a:gd name="T37" fmla="*/ 202 h 370"/>
                    <a:gd name="T38" fmla="*/ 137 w 152"/>
                    <a:gd name="T39" fmla="*/ 207 h 370"/>
                    <a:gd name="T40" fmla="*/ 133 w 152"/>
                    <a:gd name="T41" fmla="*/ 212 h 370"/>
                    <a:gd name="T42" fmla="*/ 129 w 152"/>
                    <a:gd name="T43" fmla="*/ 216 h 370"/>
                    <a:gd name="T44" fmla="*/ 124 w 152"/>
                    <a:gd name="T45" fmla="*/ 220 h 370"/>
                    <a:gd name="T46" fmla="*/ 118 w 152"/>
                    <a:gd name="T47" fmla="*/ 224 h 370"/>
                    <a:gd name="T48" fmla="*/ 152 w 152"/>
                    <a:gd name="T49" fmla="*/ 370 h 370"/>
                    <a:gd name="T50" fmla="*/ 103 w 152"/>
                    <a:gd name="T51" fmla="*/ 348 h 370"/>
                    <a:gd name="T52" fmla="*/ 75 w 152"/>
                    <a:gd name="T53" fmla="*/ 221 h 370"/>
                    <a:gd name="T54" fmla="*/ 75 w 152"/>
                    <a:gd name="T55" fmla="*/ 221 h 370"/>
                    <a:gd name="T56" fmla="*/ 72 w 152"/>
                    <a:gd name="T57" fmla="*/ 220 h 370"/>
                    <a:gd name="T58" fmla="*/ 44 w 152"/>
                    <a:gd name="T59" fmla="*/ 208 h 370"/>
                    <a:gd name="T60" fmla="*/ 44 w 152"/>
                    <a:gd name="T61" fmla="*/ 321 h 370"/>
                    <a:gd name="T62" fmla="*/ 0 w 152"/>
                    <a:gd name="T63" fmla="*/ 301 h 370"/>
                    <a:gd name="T64" fmla="*/ 0 w 152"/>
                    <a:gd name="T65" fmla="*/ 0 h 370"/>
                    <a:gd name="T66" fmla="*/ 72 w 152"/>
                    <a:gd name="T67" fmla="*/ 33 h 370"/>
                    <a:gd name="T68" fmla="*/ 99 w 152"/>
                    <a:gd name="T69" fmla="*/ 117 h 370"/>
                    <a:gd name="T70" fmla="*/ 99 w 152"/>
                    <a:gd name="T71" fmla="*/ 117 h 370"/>
                    <a:gd name="T72" fmla="*/ 98 w 152"/>
                    <a:gd name="T73" fmla="*/ 111 h 370"/>
                    <a:gd name="T74" fmla="*/ 97 w 152"/>
                    <a:gd name="T75" fmla="*/ 105 h 370"/>
                    <a:gd name="T76" fmla="*/ 94 w 152"/>
                    <a:gd name="T77" fmla="*/ 100 h 370"/>
                    <a:gd name="T78" fmla="*/ 92 w 152"/>
                    <a:gd name="T79" fmla="*/ 94 h 370"/>
                    <a:gd name="T80" fmla="*/ 88 w 152"/>
                    <a:gd name="T81" fmla="*/ 90 h 370"/>
                    <a:gd name="T82" fmla="*/ 84 w 152"/>
                    <a:gd name="T83" fmla="*/ 86 h 370"/>
                    <a:gd name="T84" fmla="*/ 78 w 152"/>
                    <a:gd name="T85" fmla="*/ 82 h 370"/>
                    <a:gd name="T86" fmla="*/ 73 w 152"/>
                    <a:gd name="T87" fmla="*/ 79 h 370"/>
                    <a:gd name="T88" fmla="*/ 44 w 152"/>
                    <a:gd name="T89" fmla="*/ 66 h 370"/>
                    <a:gd name="T90" fmla="*/ 44 w 152"/>
                    <a:gd name="T91" fmla="*/ 163 h 370"/>
                    <a:gd name="T92" fmla="*/ 73 w 152"/>
                    <a:gd name="T93" fmla="*/ 176 h 370"/>
                    <a:gd name="T94" fmla="*/ 73 w 152"/>
                    <a:gd name="T95" fmla="*/ 176 h 370"/>
                    <a:gd name="T96" fmla="*/ 78 w 152"/>
                    <a:gd name="T97" fmla="*/ 177 h 370"/>
                    <a:gd name="T98" fmla="*/ 82 w 152"/>
                    <a:gd name="T99" fmla="*/ 178 h 370"/>
                    <a:gd name="T100" fmla="*/ 87 w 152"/>
                    <a:gd name="T101" fmla="*/ 178 h 370"/>
                    <a:gd name="T102" fmla="*/ 91 w 152"/>
                    <a:gd name="T103" fmla="*/ 176 h 370"/>
                    <a:gd name="T104" fmla="*/ 91 w 152"/>
                    <a:gd name="T105" fmla="*/ 176 h 370"/>
                    <a:gd name="T106" fmla="*/ 94 w 152"/>
                    <a:gd name="T107" fmla="*/ 174 h 370"/>
                    <a:gd name="T108" fmla="*/ 97 w 152"/>
                    <a:gd name="T109" fmla="*/ 170 h 370"/>
                    <a:gd name="T110" fmla="*/ 98 w 152"/>
                    <a:gd name="T111" fmla="*/ 166 h 370"/>
                    <a:gd name="T112" fmla="*/ 99 w 152"/>
                    <a:gd name="T113" fmla="*/ 161 h 370"/>
                    <a:gd name="T114" fmla="*/ 99 w 152"/>
                    <a:gd name="T115" fmla="*/ 11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 h="370">
                      <a:moveTo>
                        <a:pt x="72" y="33"/>
                      </a:moveTo>
                      <a:lnTo>
                        <a:pt x="72" y="33"/>
                      </a:lnTo>
                      <a:lnTo>
                        <a:pt x="89" y="41"/>
                      </a:lnTo>
                      <a:lnTo>
                        <a:pt x="97" y="47"/>
                      </a:lnTo>
                      <a:lnTo>
                        <a:pt x="104" y="52"/>
                      </a:lnTo>
                      <a:lnTo>
                        <a:pt x="111" y="59"/>
                      </a:lnTo>
                      <a:lnTo>
                        <a:pt x="117" y="65"/>
                      </a:lnTo>
                      <a:lnTo>
                        <a:pt x="123" y="72"/>
                      </a:lnTo>
                      <a:lnTo>
                        <a:pt x="127" y="78"/>
                      </a:lnTo>
                      <a:lnTo>
                        <a:pt x="127" y="78"/>
                      </a:lnTo>
                      <a:lnTo>
                        <a:pt x="133" y="91"/>
                      </a:lnTo>
                      <a:lnTo>
                        <a:pt x="139" y="105"/>
                      </a:lnTo>
                      <a:lnTo>
                        <a:pt x="142" y="120"/>
                      </a:lnTo>
                      <a:lnTo>
                        <a:pt x="142" y="137"/>
                      </a:lnTo>
                      <a:lnTo>
                        <a:pt x="142" y="180"/>
                      </a:lnTo>
                      <a:lnTo>
                        <a:pt x="142" y="180"/>
                      </a:lnTo>
                      <a:lnTo>
                        <a:pt x="142" y="188"/>
                      </a:lnTo>
                      <a:lnTo>
                        <a:pt x="141" y="195"/>
                      </a:lnTo>
                      <a:lnTo>
                        <a:pt x="139" y="202"/>
                      </a:lnTo>
                      <a:lnTo>
                        <a:pt x="137" y="207"/>
                      </a:lnTo>
                      <a:lnTo>
                        <a:pt x="133" y="212"/>
                      </a:lnTo>
                      <a:lnTo>
                        <a:pt x="129" y="216"/>
                      </a:lnTo>
                      <a:lnTo>
                        <a:pt x="124" y="220"/>
                      </a:lnTo>
                      <a:lnTo>
                        <a:pt x="118" y="224"/>
                      </a:lnTo>
                      <a:lnTo>
                        <a:pt x="152" y="370"/>
                      </a:lnTo>
                      <a:lnTo>
                        <a:pt x="103" y="348"/>
                      </a:lnTo>
                      <a:lnTo>
                        <a:pt x="75" y="221"/>
                      </a:lnTo>
                      <a:lnTo>
                        <a:pt x="75" y="221"/>
                      </a:lnTo>
                      <a:lnTo>
                        <a:pt x="72" y="220"/>
                      </a:lnTo>
                      <a:lnTo>
                        <a:pt x="44" y="208"/>
                      </a:lnTo>
                      <a:lnTo>
                        <a:pt x="44" y="321"/>
                      </a:lnTo>
                      <a:lnTo>
                        <a:pt x="0" y="301"/>
                      </a:lnTo>
                      <a:lnTo>
                        <a:pt x="0" y="0"/>
                      </a:lnTo>
                      <a:lnTo>
                        <a:pt x="72" y="33"/>
                      </a:lnTo>
                      <a:close/>
                      <a:moveTo>
                        <a:pt x="99" y="117"/>
                      </a:moveTo>
                      <a:lnTo>
                        <a:pt x="99" y="117"/>
                      </a:lnTo>
                      <a:lnTo>
                        <a:pt x="98" y="111"/>
                      </a:lnTo>
                      <a:lnTo>
                        <a:pt x="97" y="105"/>
                      </a:lnTo>
                      <a:lnTo>
                        <a:pt x="94" y="100"/>
                      </a:lnTo>
                      <a:lnTo>
                        <a:pt x="92" y="94"/>
                      </a:lnTo>
                      <a:lnTo>
                        <a:pt x="88" y="90"/>
                      </a:lnTo>
                      <a:lnTo>
                        <a:pt x="84" y="86"/>
                      </a:lnTo>
                      <a:lnTo>
                        <a:pt x="78" y="82"/>
                      </a:lnTo>
                      <a:lnTo>
                        <a:pt x="73" y="79"/>
                      </a:lnTo>
                      <a:lnTo>
                        <a:pt x="44" y="66"/>
                      </a:lnTo>
                      <a:lnTo>
                        <a:pt x="44" y="163"/>
                      </a:lnTo>
                      <a:lnTo>
                        <a:pt x="73" y="176"/>
                      </a:lnTo>
                      <a:lnTo>
                        <a:pt x="73" y="176"/>
                      </a:lnTo>
                      <a:lnTo>
                        <a:pt x="78" y="177"/>
                      </a:lnTo>
                      <a:lnTo>
                        <a:pt x="82" y="178"/>
                      </a:lnTo>
                      <a:lnTo>
                        <a:pt x="87" y="178"/>
                      </a:lnTo>
                      <a:lnTo>
                        <a:pt x="91" y="176"/>
                      </a:lnTo>
                      <a:lnTo>
                        <a:pt x="91" y="176"/>
                      </a:lnTo>
                      <a:lnTo>
                        <a:pt x="94" y="174"/>
                      </a:lnTo>
                      <a:lnTo>
                        <a:pt x="97" y="170"/>
                      </a:lnTo>
                      <a:lnTo>
                        <a:pt x="98" y="166"/>
                      </a:lnTo>
                      <a:lnTo>
                        <a:pt x="99" y="161"/>
                      </a:lnTo>
                      <a:lnTo>
                        <a:pt x="99" y="117"/>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3" name="Freeform 27"/>
                <p:cNvSpPr>
                  <a:spLocks noEditPoints="1"/>
                </p:cNvSpPr>
                <p:nvPr/>
              </p:nvSpPr>
              <p:spPr bwMode="auto">
                <a:xfrm>
                  <a:off x="11190700" y="4503994"/>
                  <a:ext cx="55880" cy="92552"/>
                </a:xfrm>
                <a:custGeom>
                  <a:avLst/>
                  <a:gdLst>
                    <a:gd name="T0" fmla="*/ 0 w 125"/>
                    <a:gd name="T1" fmla="*/ 0 h 211"/>
                    <a:gd name="T2" fmla="*/ 63 w 125"/>
                    <a:gd name="T3" fmla="*/ 30 h 211"/>
                    <a:gd name="T4" fmla="*/ 91 w 125"/>
                    <a:gd name="T5" fmla="*/ 49 h 211"/>
                    <a:gd name="T6" fmla="*/ 97 w 125"/>
                    <a:gd name="T7" fmla="*/ 53 h 211"/>
                    <a:gd name="T8" fmla="*/ 104 w 125"/>
                    <a:gd name="T9" fmla="*/ 64 h 211"/>
                    <a:gd name="T10" fmla="*/ 107 w 125"/>
                    <a:gd name="T11" fmla="*/ 70 h 211"/>
                    <a:gd name="T12" fmla="*/ 112 w 125"/>
                    <a:gd name="T13" fmla="*/ 83 h 211"/>
                    <a:gd name="T14" fmla="*/ 113 w 125"/>
                    <a:gd name="T15" fmla="*/ 96 h 211"/>
                    <a:gd name="T16" fmla="*/ 113 w 125"/>
                    <a:gd name="T17" fmla="*/ 104 h 211"/>
                    <a:gd name="T18" fmla="*/ 107 w 125"/>
                    <a:gd name="T19" fmla="*/ 115 h 211"/>
                    <a:gd name="T20" fmla="*/ 103 w 125"/>
                    <a:gd name="T21" fmla="*/ 118 h 211"/>
                    <a:gd name="T22" fmla="*/ 91 w 125"/>
                    <a:gd name="T23" fmla="*/ 121 h 211"/>
                    <a:gd name="T24" fmla="*/ 74 w 125"/>
                    <a:gd name="T25" fmla="*/ 118 h 211"/>
                    <a:gd name="T26" fmla="*/ 80 w 125"/>
                    <a:gd name="T27" fmla="*/ 125 h 211"/>
                    <a:gd name="T28" fmla="*/ 85 w 125"/>
                    <a:gd name="T29" fmla="*/ 131 h 211"/>
                    <a:gd name="T30" fmla="*/ 100 w 125"/>
                    <a:gd name="T31" fmla="*/ 158 h 211"/>
                    <a:gd name="T32" fmla="*/ 101 w 125"/>
                    <a:gd name="T33" fmla="*/ 200 h 211"/>
                    <a:gd name="T34" fmla="*/ 82 w 125"/>
                    <a:gd name="T35" fmla="*/ 159 h 211"/>
                    <a:gd name="T36" fmla="*/ 69 w 125"/>
                    <a:gd name="T37" fmla="*/ 132 h 211"/>
                    <a:gd name="T38" fmla="*/ 60 w 125"/>
                    <a:gd name="T39" fmla="*/ 117 h 211"/>
                    <a:gd name="T40" fmla="*/ 55 w 125"/>
                    <a:gd name="T41" fmla="*/ 113 h 211"/>
                    <a:gd name="T42" fmla="*/ 51 w 125"/>
                    <a:gd name="T43" fmla="*/ 109 h 211"/>
                    <a:gd name="T44" fmla="*/ 18 w 125"/>
                    <a:gd name="T45" fmla="*/ 93 h 211"/>
                    <a:gd name="T46" fmla="*/ 0 w 125"/>
                    <a:gd name="T47" fmla="*/ 151 h 211"/>
                    <a:gd name="T48" fmla="*/ 59 w 125"/>
                    <a:gd name="T49" fmla="*/ 95 h 211"/>
                    <a:gd name="T50" fmla="*/ 71 w 125"/>
                    <a:gd name="T51" fmla="*/ 100 h 211"/>
                    <a:gd name="T52" fmla="*/ 79 w 125"/>
                    <a:gd name="T53" fmla="*/ 102 h 211"/>
                    <a:gd name="T54" fmla="*/ 86 w 125"/>
                    <a:gd name="T55" fmla="*/ 102 h 211"/>
                    <a:gd name="T56" fmla="*/ 90 w 125"/>
                    <a:gd name="T57" fmla="*/ 98 h 211"/>
                    <a:gd name="T58" fmla="*/ 93 w 125"/>
                    <a:gd name="T59" fmla="*/ 93 h 211"/>
                    <a:gd name="T60" fmla="*/ 93 w 125"/>
                    <a:gd name="T61" fmla="*/ 87 h 211"/>
                    <a:gd name="T62" fmla="*/ 92 w 125"/>
                    <a:gd name="T63" fmla="*/ 76 h 211"/>
                    <a:gd name="T64" fmla="*/ 87 w 125"/>
                    <a:gd name="T65" fmla="*/ 65 h 211"/>
                    <a:gd name="T66" fmla="*/ 82 w 125"/>
                    <a:gd name="T67" fmla="*/ 61 h 211"/>
                    <a:gd name="T68" fmla="*/ 71 w 125"/>
                    <a:gd name="T69" fmla="*/ 52 h 211"/>
                    <a:gd name="T70" fmla="*/ 18 w 125"/>
                    <a:gd name="T71" fmla="*/ 2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5" h="211">
                      <a:moveTo>
                        <a:pt x="0" y="151"/>
                      </a:moveTo>
                      <a:lnTo>
                        <a:pt x="0" y="0"/>
                      </a:lnTo>
                      <a:lnTo>
                        <a:pt x="63" y="30"/>
                      </a:lnTo>
                      <a:lnTo>
                        <a:pt x="63" y="30"/>
                      </a:lnTo>
                      <a:lnTo>
                        <a:pt x="79" y="39"/>
                      </a:lnTo>
                      <a:lnTo>
                        <a:pt x="91" y="49"/>
                      </a:lnTo>
                      <a:lnTo>
                        <a:pt x="91" y="49"/>
                      </a:lnTo>
                      <a:lnTo>
                        <a:pt x="97" y="53"/>
                      </a:lnTo>
                      <a:lnTo>
                        <a:pt x="100" y="58"/>
                      </a:lnTo>
                      <a:lnTo>
                        <a:pt x="104" y="64"/>
                      </a:lnTo>
                      <a:lnTo>
                        <a:pt x="107" y="70"/>
                      </a:lnTo>
                      <a:lnTo>
                        <a:pt x="107" y="70"/>
                      </a:lnTo>
                      <a:lnTo>
                        <a:pt x="110" y="77"/>
                      </a:lnTo>
                      <a:lnTo>
                        <a:pt x="112" y="83"/>
                      </a:lnTo>
                      <a:lnTo>
                        <a:pt x="113" y="90"/>
                      </a:lnTo>
                      <a:lnTo>
                        <a:pt x="113" y="96"/>
                      </a:lnTo>
                      <a:lnTo>
                        <a:pt x="113" y="96"/>
                      </a:lnTo>
                      <a:lnTo>
                        <a:pt x="113" y="104"/>
                      </a:lnTo>
                      <a:lnTo>
                        <a:pt x="111" y="109"/>
                      </a:lnTo>
                      <a:lnTo>
                        <a:pt x="107" y="115"/>
                      </a:lnTo>
                      <a:lnTo>
                        <a:pt x="103" y="118"/>
                      </a:lnTo>
                      <a:lnTo>
                        <a:pt x="103" y="118"/>
                      </a:lnTo>
                      <a:lnTo>
                        <a:pt x="98" y="120"/>
                      </a:lnTo>
                      <a:lnTo>
                        <a:pt x="91" y="121"/>
                      </a:lnTo>
                      <a:lnTo>
                        <a:pt x="82" y="120"/>
                      </a:lnTo>
                      <a:lnTo>
                        <a:pt x="74" y="118"/>
                      </a:lnTo>
                      <a:lnTo>
                        <a:pt x="74" y="118"/>
                      </a:lnTo>
                      <a:lnTo>
                        <a:pt x="80" y="125"/>
                      </a:lnTo>
                      <a:lnTo>
                        <a:pt x="85" y="131"/>
                      </a:lnTo>
                      <a:lnTo>
                        <a:pt x="85" y="131"/>
                      </a:lnTo>
                      <a:lnTo>
                        <a:pt x="92" y="144"/>
                      </a:lnTo>
                      <a:lnTo>
                        <a:pt x="100" y="158"/>
                      </a:lnTo>
                      <a:lnTo>
                        <a:pt x="125" y="211"/>
                      </a:lnTo>
                      <a:lnTo>
                        <a:pt x="101" y="200"/>
                      </a:lnTo>
                      <a:lnTo>
                        <a:pt x="82" y="159"/>
                      </a:lnTo>
                      <a:lnTo>
                        <a:pt x="82" y="159"/>
                      </a:lnTo>
                      <a:lnTo>
                        <a:pt x="69" y="132"/>
                      </a:lnTo>
                      <a:lnTo>
                        <a:pt x="69" y="132"/>
                      </a:lnTo>
                      <a:lnTo>
                        <a:pt x="64" y="123"/>
                      </a:lnTo>
                      <a:lnTo>
                        <a:pt x="60" y="117"/>
                      </a:lnTo>
                      <a:lnTo>
                        <a:pt x="60" y="117"/>
                      </a:lnTo>
                      <a:lnTo>
                        <a:pt x="55" y="113"/>
                      </a:lnTo>
                      <a:lnTo>
                        <a:pt x="51" y="109"/>
                      </a:lnTo>
                      <a:lnTo>
                        <a:pt x="51" y="109"/>
                      </a:lnTo>
                      <a:lnTo>
                        <a:pt x="40" y="104"/>
                      </a:lnTo>
                      <a:lnTo>
                        <a:pt x="18" y="93"/>
                      </a:lnTo>
                      <a:lnTo>
                        <a:pt x="18" y="160"/>
                      </a:lnTo>
                      <a:lnTo>
                        <a:pt x="0" y="151"/>
                      </a:lnTo>
                      <a:close/>
                      <a:moveTo>
                        <a:pt x="18" y="76"/>
                      </a:moveTo>
                      <a:lnTo>
                        <a:pt x="59" y="95"/>
                      </a:lnTo>
                      <a:lnTo>
                        <a:pt x="59" y="95"/>
                      </a:lnTo>
                      <a:lnTo>
                        <a:pt x="71" y="100"/>
                      </a:lnTo>
                      <a:lnTo>
                        <a:pt x="79" y="102"/>
                      </a:lnTo>
                      <a:lnTo>
                        <a:pt x="79" y="102"/>
                      </a:lnTo>
                      <a:lnTo>
                        <a:pt x="82" y="102"/>
                      </a:lnTo>
                      <a:lnTo>
                        <a:pt x="86" y="102"/>
                      </a:lnTo>
                      <a:lnTo>
                        <a:pt x="88" y="101"/>
                      </a:lnTo>
                      <a:lnTo>
                        <a:pt x="90" y="98"/>
                      </a:lnTo>
                      <a:lnTo>
                        <a:pt x="90" y="98"/>
                      </a:lnTo>
                      <a:lnTo>
                        <a:pt x="93" y="93"/>
                      </a:lnTo>
                      <a:lnTo>
                        <a:pt x="93" y="87"/>
                      </a:lnTo>
                      <a:lnTo>
                        <a:pt x="93" y="87"/>
                      </a:lnTo>
                      <a:lnTo>
                        <a:pt x="93" y="81"/>
                      </a:lnTo>
                      <a:lnTo>
                        <a:pt x="92" y="76"/>
                      </a:lnTo>
                      <a:lnTo>
                        <a:pt x="90" y="70"/>
                      </a:lnTo>
                      <a:lnTo>
                        <a:pt x="87" y="65"/>
                      </a:lnTo>
                      <a:lnTo>
                        <a:pt x="87" y="65"/>
                      </a:lnTo>
                      <a:lnTo>
                        <a:pt x="82" y="61"/>
                      </a:lnTo>
                      <a:lnTo>
                        <a:pt x="77" y="56"/>
                      </a:lnTo>
                      <a:lnTo>
                        <a:pt x="71" y="52"/>
                      </a:lnTo>
                      <a:lnTo>
                        <a:pt x="64" y="47"/>
                      </a:lnTo>
                      <a:lnTo>
                        <a:pt x="18" y="26"/>
                      </a:lnTo>
                      <a:lnTo>
                        <a:pt x="18" y="7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4" name="Freeform 28"/>
                <p:cNvSpPr>
                  <a:spLocks noEditPoints="1"/>
                </p:cNvSpPr>
                <p:nvPr/>
              </p:nvSpPr>
              <p:spPr bwMode="auto">
                <a:xfrm>
                  <a:off x="11250072" y="4558128"/>
                  <a:ext cx="40164" cy="61119"/>
                </a:xfrm>
                <a:custGeom>
                  <a:avLst/>
                  <a:gdLst>
                    <a:gd name="T0" fmla="*/ 72 w 93"/>
                    <a:gd name="T1" fmla="*/ 118 h 142"/>
                    <a:gd name="T2" fmla="*/ 53 w 93"/>
                    <a:gd name="T3" fmla="*/ 122 h 142"/>
                    <a:gd name="T4" fmla="*/ 44 w 93"/>
                    <a:gd name="T5" fmla="*/ 120 h 142"/>
                    <a:gd name="T6" fmla="*/ 34 w 93"/>
                    <a:gd name="T7" fmla="*/ 115 h 142"/>
                    <a:gd name="T8" fmla="*/ 19 w 93"/>
                    <a:gd name="T9" fmla="*/ 107 h 142"/>
                    <a:gd name="T10" fmla="*/ 8 w 93"/>
                    <a:gd name="T11" fmla="*/ 95 h 142"/>
                    <a:gd name="T12" fmla="*/ 4 w 93"/>
                    <a:gd name="T13" fmla="*/ 88 h 142"/>
                    <a:gd name="T14" fmla="*/ 0 w 93"/>
                    <a:gd name="T15" fmla="*/ 74 h 142"/>
                    <a:gd name="T16" fmla="*/ 0 w 93"/>
                    <a:gd name="T17" fmla="*/ 67 h 142"/>
                    <a:gd name="T18" fmla="*/ 3 w 93"/>
                    <a:gd name="T19" fmla="*/ 54 h 142"/>
                    <a:gd name="T20" fmla="*/ 6 w 93"/>
                    <a:gd name="T21" fmla="*/ 50 h 142"/>
                    <a:gd name="T22" fmla="*/ 12 w 93"/>
                    <a:gd name="T23" fmla="*/ 48 h 142"/>
                    <a:gd name="T24" fmla="*/ 25 w 93"/>
                    <a:gd name="T25" fmla="*/ 48 h 142"/>
                    <a:gd name="T26" fmla="*/ 40 w 93"/>
                    <a:gd name="T27" fmla="*/ 52 h 142"/>
                    <a:gd name="T28" fmla="*/ 58 w 93"/>
                    <a:gd name="T29" fmla="*/ 59 h 142"/>
                    <a:gd name="T30" fmla="*/ 70 w 93"/>
                    <a:gd name="T31" fmla="*/ 61 h 142"/>
                    <a:gd name="T32" fmla="*/ 70 w 93"/>
                    <a:gd name="T33" fmla="*/ 57 h 142"/>
                    <a:gd name="T34" fmla="*/ 69 w 93"/>
                    <a:gd name="T35" fmla="*/ 46 h 142"/>
                    <a:gd name="T36" fmla="*/ 66 w 93"/>
                    <a:gd name="T37" fmla="*/ 38 h 142"/>
                    <a:gd name="T38" fmla="*/ 61 w 93"/>
                    <a:gd name="T39" fmla="*/ 34 h 142"/>
                    <a:gd name="T40" fmla="*/ 52 w 93"/>
                    <a:gd name="T41" fmla="*/ 25 h 142"/>
                    <a:gd name="T42" fmla="*/ 46 w 93"/>
                    <a:gd name="T43" fmla="*/ 22 h 142"/>
                    <a:gd name="T44" fmla="*/ 31 w 93"/>
                    <a:gd name="T45" fmla="*/ 18 h 142"/>
                    <a:gd name="T46" fmla="*/ 28 w 93"/>
                    <a:gd name="T47" fmla="*/ 18 h 142"/>
                    <a:gd name="T48" fmla="*/ 22 w 93"/>
                    <a:gd name="T49" fmla="*/ 22 h 142"/>
                    <a:gd name="T50" fmla="*/ 19 w 93"/>
                    <a:gd name="T51" fmla="*/ 31 h 142"/>
                    <a:gd name="T52" fmla="*/ 2 w 93"/>
                    <a:gd name="T53" fmla="*/ 20 h 142"/>
                    <a:gd name="T54" fmla="*/ 7 w 93"/>
                    <a:gd name="T55" fmla="*/ 7 h 142"/>
                    <a:gd name="T56" fmla="*/ 9 w 93"/>
                    <a:gd name="T57" fmla="*/ 5 h 142"/>
                    <a:gd name="T58" fmla="*/ 16 w 93"/>
                    <a:gd name="T59" fmla="*/ 1 h 142"/>
                    <a:gd name="T60" fmla="*/ 26 w 93"/>
                    <a:gd name="T61" fmla="*/ 0 h 142"/>
                    <a:gd name="T62" fmla="*/ 36 w 93"/>
                    <a:gd name="T63" fmla="*/ 3 h 142"/>
                    <a:gd name="T64" fmla="*/ 48 w 93"/>
                    <a:gd name="T65" fmla="*/ 8 h 142"/>
                    <a:gd name="T66" fmla="*/ 70 w 93"/>
                    <a:gd name="T67" fmla="*/ 22 h 142"/>
                    <a:gd name="T68" fmla="*/ 77 w 93"/>
                    <a:gd name="T69" fmla="*/ 29 h 142"/>
                    <a:gd name="T70" fmla="*/ 82 w 93"/>
                    <a:gd name="T71" fmla="*/ 36 h 142"/>
                    <a:gd name="T72" fmla="*/ 88 w 93"/>
                    <a:gd name="T73" fmla="*/ 51 h 142"/>
                    <a:gd name="T74" fmla="*/ 88 w 93"/>
                    <a:gd name="T75" fmla="*/ 69 h 142"/>
                    <a:gd name="T76" fmla="*/ 88 w 93"/>
                    <a:gd name="T77" fmla="*/ 94 h 142"/>
                    <a:gd name="T78" fmla="*/ 89 w 93"/>
                    <a:gd name="T79" fmla="*/ 127 h 142"/>
                    <a:gd name="T80" fmla="*/ 91 w 93"/>
                    <a:gd name="T81" fmla="*/ 135 h 142"/>
                    <a:gd name="T82" fmla="*/ 76 w 93"/>
                    <a:gd name="T83" fmla="*/ 134 h 142"/>
                    <a:gd name="T84" fmla="*/ 73 w 93"/>
                    <a:gd name="T85" fmla="*/ 126 h 142"/>
                    <a:gd name="T86" fmla="*/ 72 w 93"/>
                    <a:gd name="T87" fmla="*/ 118 h 142"/>
                    <a:gd name="T88" fmla="*/ 70 w 93"/>
                    <a:gd name="T89" fmla="*/ 76 h 142"/>
                    <a:gd name="T90" fmla="*/ 42 w 93"/>
                    <a:gd name="T91" fmla="*/ 70 h 142"/>
                    <a:gd name="T92" fmla="*/ 33 w 93"/>
                    <a:gd name="T93" fmla="*/ 66 h 142"/>
                    <a:gd name="T94" fmla="*/ 27 w 93"/>
                    <a:gd name="T95" fmla="*/ 65 h 142"/>
                    <a:gd name="T96" fmla="*/ 20 w 93"/>
                    <a:gd name="T97" fmla="*/ 69 h 142"/>
                    <a:gd name="T98" fmla="*/ 18 w 93"/>
                    <a:gd name="T99" fmla="*/ 72 h 142"/>
                    <a:gd name="T100" fmla="*/ 18 w 93"/>
                    <a:gd name="T101" fmla="*/ 76 h 142"/>
                    <a:gd name="T102" fmla="*/ 23 w 93"/>
                    <a:gd name="T103" fmla="*/ 90 h 142"/>
                    <a:gd name="T104" fmla="*/ 26 w 93"/>
                    <a:gd name="T105" fmla="*/ 95 h 142"/>
                    <a:gd name="T106" fmla="*/ 39 w 93"/>
                    <a:gd name="T107" fmla="*/ 103 h 142"/>
                    <a:gd name="T108" fmla="*/ 47 w 93"/>
                    <a:gd name="T109" fmla="*/ 107 h 142"/>
                    <a:gd name="T110" fmla="*/ 56 w 93"/>
                    <a:gd name="T111" fmla="*/ 108 h 142"/>
                    <a:gd name="T112" fmla="*/ 59 w 93"/>
                    <a:gd name="T113" fmla="*/ 107 h 142"/>
                    <a:gd name="T114" fmla="*/ 66 w 93"/>
                    <a:gd name="T115" fmla="*/ 103 h 142"/>
                    <a:gd name="T116" fmla="*/ 68 w 93"/>
                    <a:gd name="T117" fmla="*/ 100 h 142"/>
                    <a:gd name="T118" fmla="*/ 70 w 93"/>
                    <a:gd name="T119" fmla="*/ 8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 h="142">
                      <a:moveTo>
                        <a:pt x="72" y="118"/>
                      </a:moveTo>
                      <a:lnTo>
                        <a:pt x="72" y="118"/>
                      </a:lnTo>
                      <a:lnTo>
                        <a:pt x="63" y="121"/>
                      </a:lnTo>
                      <a:lnTo>
                        <a:pt x="53" y="122"/>
                      </a:lnTo>
                      <a:lnTo>
                        <a:pt x="53" y="122"/>
                      </a:lnTo>
                      <a:lnTo>
                        <a:pt x="44" y="120"/>
                      </a:lnTo>
                      <a:lnTo>
                        <a:pt x="34" y="115"/>
                      </a:lnTo>
                      <a:lnTo>
                        <a:pt x="34" y="115"/>
                      </a:lnTo>
                      <a:lnTo>
                        <a:pt x="27" y="111"/>
                      </a:lnTo>
                      <a:lnTo>
                        <a:pt x="19" y="107"/>
                      </a:lnTo>
                      <a:lnTo>
                        <a:pt x="14" y="101"/>
                      </a:lnTo>
                      <a:lnTo>
                        <a:pt x="8" y="95"/>
                      </a:lnTo>
                      <a:lnTo>
                        <a:pt x="8" y="95"/>
                      </a:lnTo>
                      <a:lnTo>
                        <a:pt x="4" y="88"/>
                      </a:lnTo>
                      <a:lnTo>
                        <a:pt x="2" y="80"/>
                      </a:lnTo>
                      <a:lnTo>
                        <a:pt x="0" y="74"/>
                      </a:lnTo>
                      <a:lnTo>
                        <a:pt x="0" y="67"/>
                      </a:lnTo>
                      <a:lnTo>
                        <a:pt x="0" y="67"/>
                      </a:lnTo>
                      <a:lnTo>
                        <a:pt x="0" y="60"/>
                      </a:lnTo>
                      <a:lnTo>
                        <a:pt x="3" y="54"/>
                      </a:lnTo>
                      <a:lnTo>
                        <a:pt x="3" y="54"/>
                      </a:lnTo>
                      <a:lnTo>
                        <a:pt x="6" y="50"/>
                      </a:lnTo>
                      <a:lnTo>
                        <a:pt x="12" y="48"/>
                      </a:lnTo>
                      <a:lnTo>
                        <a:pt x="12" y="48"/>
                      </a:lnTo>
                      <a:lnTo>
                        <a:pt x="18" y="47"/>
                      </a:lnTo>
                      <a:lnTo>
                        <a:pt x="25" y="48"/>
                      </a:lnTo>
                      <a:lnTo>
                        <a:pt x="25" y="48"/>
                      </a:lnTo>
                      <a:lnTo>
                        <a:pt x="40" y="52"/>
                      </a:lnTo>
                      <a:lnTo>
                        <a:pt x="40" y="52"/>
                      </a:lnTo>
                      <a:lnTo>
                        <a:pt x="58" y="59"/>
                      </a:lnTo>
                      <a:lnTo>
                        <a:pt x="70" y="61"/>
                      </a:lnTo>
                      <a:lnTo>
                        <a:pt x="70" y="61"/>
                      </a:lnTo>
                      <a:lnTo>
                        <a:pt x="70" y="57"/>
                      </a:lnTo>
                      <a:lnTo>
                        <a:pt x="70" y="57"/>
                      </a:lnTo>
                      <a:lnTo>
                        <a:pt x="70" y="51"/>
                      </a:lnTo>
                      <a:lnTo>
                        <a:pt x="69" y="46"/>
                      </a:lnTo>
                      <a:lnTo>
                        <a:pt x="68" y="41"/>
                      </a:lnTo>
                      <a:lnTo>
                        <a:pt x="66" y="38"/>
                      </a:lnTo>
                      <a:lnTo>
                        <a:pt x="66" y="38"/>
                      </a:lnTo>
                      <a:lnTo>
                        <a:pt x="61" y="34"/>
                      </a:lnTo>
                      <a:lnTo>
                        <a:pt x="57" y="29"/>
                      </a:lnTo>
                      <a:lnTo>
                        <a:pt x="52" y="25"/>
                      </a:lnTo>
                      <a:lnTo>
                        <a:pt x="46" y="22"/>
                      </a:lnTo>
                      <a:lnTo>
                        <a:pt x="46" y="22"/>
                      </a:lnTo>
                      <a:lnTo>
                        <a:pt x="35" y="19"/>
                      </a:lnTo>
                      <a:lnTo>
                        <a:pt x="31" y="18"/>
                      </a:lnTo>
                      <a:lnTo>
                        <a:pt x="28" y="18"/>
                      </a:lnTo>
                      <a:lnTo>
                        <a:pt x="28" y="18"/>
                      </a:lnTo>
                      <a:lnTo>
                        <a:pt x="25" y="20"/>
                      </a:lnTo>
                      <a:lnTo>
                        <a:pt x="22" y="22"/>
                      </a:lnTo>
                      <a:lnTo>
                        <a:pt x="21" y="25"/>
                      </a:lnTo>
                      <a:lnTo>
                        <a:pt x="19" y="31"/>
                      </a:lnTo>
                      <a:lnTo>
                        <a:pt x="2" y="20"/>
                      </a:lnTo>
                      <a:lnTo>
                        <a:pt x="2" y="20"/>
                      </a:lnTo>
                      <a:lnTo>
                        <a:pt x="5" y="10"/>
                      </a:lnTo>
                      <a:lnTo>
                        <a:pt x="7" y="7"/>
                      </a:lnTo>
                      <a:lnTo>
                        <a:pt x="9" y="5"/>
                      </a:lnTo>
                      <a:lnTo>
                        <a:pt x="9" y="5"/>
                      </a:lnTo>
                      <a:lnTo>
                        <a:pt x="13" y="2"/>
                      </a:lnTo>
                      <a:lnTo>
                        <a:pt x="16" y="1"/>
                      </a:lnTo>
                      <a:lnTo>
                        <a:pt x="20" y="0"/>
                      </a:lnTo>
                      <a:lnTo>
                        <a:pt x="26" y="0"/>
                      </a:lnTo>
                      <a:lnTo>
                        <a:pt x="26" y="0"/>
                      </a:lnTo>
                      <a:lnTo>
                        <a:pt x="36" y="3"/>
                      </a:lnTo>
                      <a:lnTo>
                        <a:pt x="48" y="8"/>
                      </a:lnTo>
                      <a:lnTo>
                        <a:pt x="48" y="8"/>
                      </a:lnTo>
                      <a:lnTo>
                        <a:pt x="60" y="14"/>
                      </a:lnTo>
                      <a:lnTo>
                        <a:pt x="70" y="22"/>
                      </a:lnTo>
                      <a:lnTo>
                        <a:pt x="70" y="22"/>
                      </a:lnTo>
                      <a:lnTo>
                        <a:pt x="77" y="29"/>
                      </a:lnTo>
                      <a:lnTo>
                        <a:pt x="82" y="36"/>
                      </a:lnTo>
                      <a:lnTo>
                        <a:pt x="82" y="36"/>
                      </a:lnTo>
                      <a:lnTo>
                        <a:pt x="85" y="44"/>
                      </a:lnTo>
                      <a:lnTo>
                        <a:pt x="88" y="51"/>
                      </a:lnTo>
                      <a:lnTo>
                        <a:pt x="88" y="51"/>
                      </a:lnTo>
                      <a:lnTo>
                        <a:pt x="88" y="69"/>
                      </a:lnTo>
                      <a:lnTo>
                        <a:pt x="88" y="94"/>
                      </a:lnTo>
                      <a:lnTo>
                        <a:pt x="88" y="94"/>
                      </a:lnTo>
                      <a:lnTo>
                        <a:pt x="89" y="115"/>
                      </a:lnTo>
                      <a:lnTo>
                        <a:pt x="89" y="127"/>
                      </a:lnTo>
                      <a:lnTo>
                        <a:pt x="89" y="127"/>
                      </a:lnTo>
                      <a:lnTo>
                        <a:pt x="91" y="135"/>
                      </a:lnTo>
                      <a:lnTo>
                        <a:pt x="93" y="142"/>
                      </a:lnTo>
                      <a:lnTo>
                        <a:pt x="76" y="134"/>
                      </a:lnTo>
                      <a:lnTo>
                        <a:pt x="76" y="134"/>
                      </a:lnTo>
                      <a:lnTo>
                        <a:pt x="73" y="126"/>
                      </a:lnTo>
                      <a:lnTo>
                        <a:pt x="72" y="118"/>
                      </a:lnTo>
                      <a:lnTo>
                        <a:pt x="72" y="118"/>
                      </a:lnTo>
                      <a:close/>
                      <a:moveTo>
                        <a:pt x="70" y="76"/>
                      </a:moveTo>
                      <a:lnTo>
                        <a:pt x="70" y="76"/>
                      </a:lnTo>
                      <a:lnTo>
                        <a:pt x="58" y="74"/>
                      </a:lnTo>
                      <a:lnTo>
                        <a:pt x="42" y="70"/>
                      </a:lnTo>
                      <a:lnTo>
                        <a:pt x="42" y="70"/>
                      </a:lnTo>
                      <a:lnTo>
                        <a:pt x="33" y="66"/>
                      </a:lnTo>
                      <a:lnTo>
                        <a:pt x="27" y="65"/>
                      </a:lnTo>
                      <a:lnTo>
                        <a:pt x="27" y="65"/>
                      </a:lnTo>
                      <a:lnTo>
                        <a:pt x="23" y="66"/>
                      </a:lnTo>
                      <a:lnTo>
                        <a:pt x="20" y="69"/>
                      </a:lnTo>
                      <a:lnTo>
                        <a:pt x="20" y="69"/>
                      </a:lnTo>
                      <a:lnTo>
                        <a:pt x="18" y="72"/>
                      </a:lnTo>
                      <a:lnTo>
                        <a:pt x="18" y="76"/>
                      </a:lnTo>
                      <a:lnTo>
                        <a:pt x="18" y="76"/>
                      </a:lnTo>
                      <a:lnTo>
                        <a:pt x="19" y="84"/>
                      </a:lnTo>
                      <a:lnTo>
                        <a:pt x="23" y="90"/>
                      </a:lnTo>
                      <a:lnTo>
                        <a:pt x="23" y="90"/>
                      </a:lnTo>
                      <a:lnTo>
                        <a:pt x="26" y="95"/>
                      </a:lnTo>
                      <a:lnTo>
                        <a:pt x="30" y="98"/>
                      </a:lnTo>
                      <a:lnTo>
                        <a:pt x="39" y="103"/>
                      </a:lnTo>
                      <a:lnTo>
                        <a:pt x="39" y="103"/>
                      </a:lnTo>
                      <a:lnTo>
                        <a:pt x="47" y="107"/>
                      </a:lnTo>
                      <a:lnTo>
                        <a:pt x="52" y="108"/>
                      </a:lnTo>
                      <a:lnTo>
                        <a:pt x="56" y="108"/>
                      </a:lnTo>
                      <a:lnTo>
                        <a:pt x="56" y="108"/>
                      </a:lnTo>
                      <a:lnTo>
                        <a:pt x="59" y="107"/>
                      </a:lnTo>
                      <a:lnTo>
                        <a:pt x="63" y="105"/>
                      </a:lnTo>
                      <a:lnTo>
                        <a:pt x="66" y="103"/>
                      </a:lnTo>
                      <a:lnTo>
                        <a:pt x="68" y="100"/>
                      </a:lnTo>
                      <a:lnTo>
                        <a:pt x="68" y="100"/>
                      </a:lnTo>
                      <a:lnTo>
                        <a:pt x="70" y="94"/>
                      </a:lnTo>
                      <a:lnTo>
                        <a:pt x="70" y="83"/>
                      </a:lnTo>
                      <a:lnTo>
                        <a:pt x="70" y="7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5" name="Freeform 29"/>
                <p:cNvSpPr>
                  <a:spLocks noEditPoints="1"/>
                </p:cNvSpPr>
                <p:nvPr/>
              </p:nvSpPr>
              <p:spPr bwMode="auto">
                <a:xfrm>
                  <a:off x="11300713" y="4558128"/>
                  <a:ext cx="6985" cy="69850"/>
                </a:xfrm>
                <a:custGeom>
                  <a:avLst/>
                  <a:gdLst>
                    <a:gd name="T0" fmla="*/ 0 w 17"/>
                    <a:gd name="T1" fmla="*/ 22 h 160"/>
                    <a:gd name="T2" fmla="*/ 0 w 17"/>
                    <a:gd name="T3" fmla="*/ 0 h 160"/>
                    <a:gd name="T4" fmla="*/ 17 w 17"/>
                    <a:gd name="T5" fmla="*/ 9 h 160"/>
                    <a:gd name="T6" fmla="*/ 17 w 17"/>
                    <a:gd name="T7" fmla="*/ 30 h 160"/>
                    <a:gd name="T8" fmla="*/ 0 w 17"/>
                    <a:gd name="T9" fmla="*/ 22 h 160"/>
                    <a:gd name="T10" fmla="*/ 0 w 17"/>
                    <a:gd name="T11" fmla="*/ 151 h 160"/>
                    <a:gd name="T12" fmla="*/ 0 w 17"/>
                    <a:gd name="T13" fmla="*/ 42 h 160"/>
                    <a:gd name="T14" fmla="*/ 17 w 17"/>
                    <a:gd name="T15" fmla="*/ 50 h 160"/>
                    <a:gd name="T16" fmla="*/ 17 w 17"/>
                    <a:gd name="T17" fmla="*/ 160 h 160"/>
                    <a:gd name="T18" fmla="*/ 0 w 17"/>
                    <a:gd name="T19" fmla="*/ 15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0">
                      <a:moveTo>
                        <a:pt x="0" y="22"/>
                      </a:moveTo>
                      <a:lnTo>
                        <a:pt x="0" y="0"/>
                      </a:lnTo>
                      <a:lnTo>
                        <a:pt x="17" y="9"/>
                      </a:lnTo>
                      <a:lnTo>
                        <a:pt x="17" y="30"/>
                      </a:lnTo>
                      <a:lnTo>
                        <a:pt x="0" y="22"/>
                      </a:lnTo>
                      <a:close/>
                      <a:moveTo>
                        <a:pt x="0" y="151"/>
                      </a:moveTo>
                      <a:lnTo>
                        <a:pt x="0" y="42"/>
                      </a:lnTo>
                      <a:lnTo>
                        <a:pt x="17" y="50"/>
                      </a:lnTo>
                      <a:lnTo>
                        <a:pt x="17" y="160"/>
                      </a:lnTo>
                      <a:lnTo>
                        <a:pt x="0" y="151"/>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6" name="Freeform 30"/>
                <p:cNvSpPr>
                  <a:spLocks/>
                </p:cNvSpPr>
                <p:nvPr/>
              </p:nvSpPr>
              <p:spPr bwMode="auto">
                <a:xfrm>
                  <a:off x="11319922" y="4586068"/>
                  <a:ext cx="36672" cy="64612"/>
                </a:xfrm>
                <a:custGeom>
                  <a:avLst/>
                  <a:gdLst>
                    <a:gd name="T0" fmla="*/ 0 w 83"/>
                    <a:gd name="T1" fmla="*/ 110 h 150"/>
                    <a:gd name="T2" fmla="*/ 0 w 83"/>
                    <a:gd name="T3" fmla="*/ 0 h 150"/>
                    <a:gd name="T4" fmla="*/ 15 w 83"/>
                    <a:gd name="T5" fmla="*/ 8 h 150"/>
                    <a:gd name="T6" fmla="*/ 15 w 83"/>
                    <a:gd name="T7" fmla="*/ 23 h 150"/>
                    <a:gd name="T8" fmla="*/ 15 w 83"/>
                    <a:gd name="T9" fmla="*/ 23 h 150"/>
                    <a:gd name="T10" fmla="*/ 19 w 83"/>
                    <a:gd name="T11" fmla="*/ 21 h 150"/>
                    <a:gd name="T12" fmla="*/ 22 w 83"/>
                    <a:gd name="T13" fmla="*/ 19 h 150"/>
                    <a:gd name="T14" fmla="*/ 25 w 83"/>
                    <a:gd name="T15" fmla="*/ 18 h 150"/>
                    <a:gd name="T16" fmla="*/ 29 w 83"/>
                    <a:gd name="T17" fmla="*/ 16 h 150"/>
                    <a:gd name="T18" fmla="*/ 34 w 83"/>
                    <a:gd name="T19" fmla="*/ 16 h 150"/>
                    <a:gd name="T20" fmla="*/ 38 w 83"/>
                    <a:gd name="T21" fmla="*/ 18 h 150"/>
                    <a:gd name="T22" fmla="*/ 48 w 83"/>
                    <a:gd name="T23" fmla="*/ 21 h 150"/>
                    <a:gd name="T24" fmla="*/ 48 w 83"/>
                    <a:gd name="T25" fmla="*/ 21 h 150"/>
                    <a:gd name="T26" fmla="*/ 57 w 83"/>
                    <a:gd name="T27" fmla="*/ 26 h 150"/>
                    <a:gd name="T28" fmla="*/ 65 w 83"/>
                    <a:gd name="T29" fmla="*/ 33 h 150"/>
                    <a:gd name="T30" fmla="*/ 65 w 83"/>
                    <a:gd name="T31" fmla="*/ 33 h 150"/>
                    <a:gd name="T32" fmla="*/ 72 w 83"/>
                    <a:gd name="T33" fmla="*/ 40 h 150"/>
                    <a:gd name="T34" fmla="*/ 76 w 83"/>
                    <a:gd name="T35" fmla="*/ 48 h 150"/>
                    <a:gd name="T36" fmla="*/ 76 w 83"/>
                    <a:gd name="T37" fmla="*/ 48 h 150"/>
                    <a:gd name="T38" fmla="*/ 79 w 83"/>
                    <a:gd name="T39" fmla="*/ 56 h 150"/>
                    <a:gd name="T40" fmla="*/ 82 w 83"/>
                    <a:gd name="T41" fmla="*/ 64 h 150"/>
                    <a:gd name="T42" fmla="*/ 82 w 83"/>
                    <a:gd name="T43" fmla="*/ 64 h 150"/>
                    <a:gd name="T44" fmla="*/ 83 w 83"/>
                    <a:gd name="T45" fmla="*/ 72 h 150"/>
                    <a:gd name="T46" fmla="*/ 83 w 83"/>
                    <a:gd name="T47" fmla="*/ 83 h 150"/>
                    <a:gd name="T48" fmla="*/ 83 w 83"/>
                    <a:gd name="T49" fmla="*/ 150 h 150"/>
                    <a:gd name="T50" fmla="*/ 65 w 83"/>
                    <a:gd name="T51" fmla="*/ 142 h 150"/>
                    <a:gd name="T52" fmla="*/ 65 w 83"/>
                    <a:gd name="T53" fmla="*/ 75 h 150"/>
                    <a:gd name="T54" fmla="*/ 65 w 83"/>
                    <a:gd name="T55" fmla="*/ 75 h 150"/>
                    <a:gd name="T56" fmla="*/ 65 w 83"/>
                    <a:gd name="T57" fmla="*/ 65 h 150"/>
                    <a:gd name="T58" fmla="*/ 63 w 83"/>
                    <a:gd name="T59" fmla="*/ 58 h 150"/>
                    <a:gd name="T60" fmla="*/ 63 w 83"/>
                    <a:gd name="T61" fmla="*/ 58 h 150"/>
                    <a:gd name="T62" fmla="*/ 61 w 83"/>
                    <a:gd name="T63" fmla="*/ 51 h 150"/>
                    <a:gd name="T64" fmla="*/ 57 w 83"/>
                    <a:gd name="T65" fmla="*/ 45 h 150"/>
                    <a:gd name="T66" fmla="*/ 57 w 83"/>
                    <a:gd name="T67" fmla="*/ 45 h 150"/>
                    <a:gd name="T68" fmla="*/ 51 w 83"/>
                    <a:gd name="T69" fmla="*/ 39 h 150"/>
                    <a:gd name="T70" fmla="*/ 45 w 83"/>
                    <a:gd name="T71" fmla="*/ 36 h 150"/>
                    <a:gd name="T72" fmla="*/ 45 w 83"/>
                    <a:gd name="T73" fmla="*/ 36 h 150"/>
                    <a:gd name="T74" fmla="*/ 39 w 83"/>
                    <a:gd name="T75" fmla="*/ 34 h 150"/>
                    <a:gd name="T76" fmla="*/ 34 w 83"/>
                    <a:gd name="T77" fmla="*/ 33 h 150"/>
                    <a:gd name="T78" fmla="*/ 29 w 83"/>
                    <a:gd name="T79" fmla="*/ 33 h 150"/>
                    <a:gd name="T80" fmla="*/ 25 w 83"/>
                    <a:gd name="T81" fmla="*/ 34 h 150"/>
                    <a:gd name="T82" fmla="*/ 25 w 83"/>
                    <a:gd name="T83" fmla="*/ 34 h 150"/>
                    <a:gd name="T84" fmla="*/ 22 w 83"/>
                    <a:gd name="T85" fmla="*/ 37 h 150"/>
                    <a:gd name="T86" fmla="*/ 19 w 83"/>
                    <a:gd name="T87" fmla="*/ 41 h 150"/>
                    <a:gd name="T88" fmla="*/ 18 w 83"/>
                    <a:gd name="T89" fmla="*/ 49 h 150"/>
                    <a:gd name="T90" fmla="*/ 18 w 83"/>
                    <a:gd name="T91" fmla="*/ 59 h 150"/>
                    <a:gd name="T92" fmla="*/ 18 w 83"/>
                    <a:gd name="T93" fmla="*/ 119 h 150"/>
                    <a:gd name="T94" fmla="*/ 0 w 83"/>
                    <a:gd name="T95" fmla="*/ 1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3" h="150">
                      <a:moveTo>
                        <a:pt x="0" y="110"/>
                      </a:moveTo>
                      <a:lnTo>
                        <a:pt x="0" y="0"/>
                      </a:lnTo>
                      <a:lnTo>
                        <a:pt x="15" y="8"/>
                      </a:lnTo>
                      <a:lnTo>
                        <a:pt x="15" y="23"/>
                      </a:lnTo>
                      <a:lnTo>
                        <a:pt x="15" y="23"/>
                      </a:lnTo>
                      <a:lnTo>
                        <a:pt x="19" y="21"/>
                      </a:lnTo>
                      <a:lnTo>
                        <a:pt x="22" y="19"/>
                      </a:lnTo>
                      <a:lnTo>
                        <a:pt x="25" y="18"/>
                      </a:lnTo>
                      <a:lnTo>
                        <a:pt x="29" y="16"/>
                      </a:lnTo>
                      <a:lnTo>
                        <a:pt x="34" y="16"/>
                      </a:lnTo>
                      <a:lnTo>
                        <a:pt x="38" y="18"/>
                      </a:lnTo>
                      <a:lnTo>
                        <a:pt x="48" y="21"/>
                      </a:lnTo>
                      <a:lnTo>
                        <a:pt x="48" y="21"/>
                      </a:lnTo>
                      <a:lnTo>
                        <a:pt x="57" y="26"/>
                      </a:lnTo>
                      <a:lnTo>
                        <a:pt x="65" y="33"/>
                      </a:lnTo>
                      <a:lnTo>
                        <a:pt x="65" y="33"/>
                      </a:lnTo>
                      <a:lnTo>
                        <a:pt x="72" y="40"/>
                      </a:lnTo>
                      <a:lnTo>
                        <a:pt x="76" y="48"/>
                      </a:lnTo>
                      <a:lnTo>
                        <a:pt x="76" y="48"/>
                      </a:lnTo>
                      <a:lnTo>
                        <a:pt x="79" y="56"/>
                      </a:lnTo>
                      <a:lnTo>
                        <a:pt x="82" y="64"/>
                      </a:lnTo>
                      <a:lnTo>
                        <a:pt x="82" y="64"/>
                      </a:lnTo>
                      <a:lnTo>
                        <a:pt x="83" y="72"/>
                      </a:lnTo>
                      <a:lnTo>
                        <a:pt x="83" y="83"/>
                      </a:lnTo>
                      <a:lnTo>
                        <a:pt x="83" y="150"/>
                      </a:lnTo>
                      <a:lnTo>
                        <a:pt x="65" y="142"/>
                      </a:lnTo>
                      <a:lnTo>
                        <a:pt x="65" y="75"/>
                      </a:lnTo>
                      <a:lnTo>
                        <a:pt x="65" y="75"/>
                      </a:lnTo>
                      <a:lnTo>
                        <a:pt x="65" y="65"/>
                      </a:lnTo>
                      <a:lnTo>
                        <a:pt x="63" y="58"/>
                      </a:lnTo>
                      <a:lnTo>
                        <a:pt x="63" y="58"/>
                      </a:lnTo>
                      <a:lnTo>
                        <a:pt x="61" y="51"/>
                      </a:lnTo>
                      <a:lnTo>
                        <a:pt x="57" y="45"/>
                      </a:lnTo>
                      <a:lnTo>
                        <a:pt x="57" y="45"/>
                      </a:lnTo>
                      <a:lnTo>
                        <a:pt x="51" y="39"/>
                      </a:lnTo>
                      <a:lnTo>
                        <a:pt x="45" y="36"/>
                      </a:lnTo>
                      <a:lnTo>
                        <a:pt x="45" y="36"/>
                      </a:lnTo>
                      <a:lnTo>
                        <a:pt x="39" y="34"/>
                      </a:lnTo>
                      <a:lnTo>
                        <a:pt x="34" y="33"/>
                      </a:lnTo>
                      <a:lnTo>
                        <a:pt x="29" y="33"/>
                      </a:lnTo>
                      <a:lnTo>
                        <a:pt x="25" y="34"/>
                      </a:lnTo>
                      <a:lnTo>
                        <a:pt x="25" y="34"/>
                      </a:lnTo>
                      <a:lnTo>
                        <a:pt x="22" y="37"/>
                      </a:lnTo>
                      <a:lnTo>
                        <a:pt x="19" y="41"/>
                      </a:lnTo>
                      <a:lnTo>
                        <a:pt x="18" y="49"/>
                      </a:lnTo>
                      <a:lnTo>
                        <a:pt x="18" y="59"/>
                      </a:lnTo>
                      <a:lnTo>
                        <a:pt x="18" y="119"/>
                      </a:lnTo>
                      <a:lnTo>
                        <a:pt x="0" y="110"/>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7" name="Freeform 31"/>
                <p:cNvSpPr>
                  <a:spLocks/>
                </p:cNvSpPr>
                <p:nvPr/>
              </p:nvSpPr>
              <p:spPr bwMode="auto">
                <a:xfrm>
                  <a:off x="11389772" y="4610516"/>
                  <a:ext cx="54134" cy="75089"/>
                </a:xfrm>
                <a:custGeom>
                  <a:avLst/>
                  <a:gdLst>
                    <a:gd name="T0" fmla="*/ 125 w 125"/>
                    <a:gd name="T1" fmla="*/ 142 h 171"/>
                    <a:gd name="T2" fmla="*/ 121 w 125"/>
                    <a:gd name="T3" fmla="*/ 152 h 171"/>
                    <a:gd name="T4" fmla="*/ 111 w 125"/>
                    <a:gd name="T5" fmla="*/ 166 h 171"/>
                    <a:gd name="T6" fmla="*/ 104 w 125"/>
                    <a:gd name="T7" fmla="*/ 169 h 171"/>
                    <a:gd name="T8" fmla="*/ 87 w 125"/>
                    <a:gd name="T9" fmla="*/ 171 h 171"/>
                    <a:gd name="T10" fmla="*/ 66 w 125"/>
                    <a:gd name="T11" fmla="*/ 165 h 171"/>
                    <a:gd name="T12" fmla="*/ 55 w 125"/>
                    <a:gd name="T13" fmla="*/ 158 h 171"/>
                    <a:gd name="T14" fmla="*/ 37 w 125"/>
                    <a:gd name="T15" fmla="*/ 144 h 171"/>
                    <a:gd name="T16" fmla="*/ 29 w 125"/>
                    <a:gd name="T17" fmla="*/ 137 h 171"/>
                    <a:gd name="T18" fmla="*/ 17 w 125"/>
                    <a:gd name="T19" fmla="*/ 118 h 171"/>
                    <a:gd name="T20" fmla="*/ 7 w 125"/>
                    <a:gd name="T21" fmla="*/ 96 h 171"/>
                    <a:gd name="T22" fmla="*/ 4 w 125"/>
                    <a:gd name="T23" fmla="*/ 86 h 171"/>
                    <a:gd name="T24" fmla="*/ 1 w 125"/>
                    <a:gd name="T25" fmla="*/ 64 h 171"/>
                    <a:gd name="T26" fmla="*/ 0 w 125"/>
                    <a:gd name="T27" fmla="*/ 53 h 171"/>
                    <a:gd name="T28" fmla="*/ 2 w 125"/>
                    <a:gd name="T29" fmla="*/ 31 h 171"/>
                    <a:gd name="T30" fmla="*/ 9 w 125"/>
                    <a:gd name="T31" fmla="*/ 15 h 171"/>
                    <a:gd name="T32" fmla="*/ 13 w 125"/>
                    <a:gd name="T33" fmla="*/ 10 h 171"/>
                    <a:gd name="T34" fmla="*/ 25 w 125"/>
                    <a:gd name="T35" fmla="*/ 2 h 171"/>
                    <a:gd name="T36" fmla="*/ 32 w 125"/>
                    <a:gd name="T37" fmla="*/ 1 h 171"/>
                    <a:gd name="T38" fmla="*/ 49 w 125"/>
                    <a:gd name="T39" fmla="*/ 2 h 171"/>
                    <a:gd name="T40" fmla="*/ 67 w 125"/>
                    <a:gd name="T41" fmla="*/ 9 h 171"/>
                    <a:gd name="T42" fmla="*/ 77 w 125"/>
                    <a:gd name="T43" fmla="*/ 14 h 171"/>
                    <a:gd name="T44" fmla="*/ 94 w 125"/>
                    <a:gd name="T45" fmla="*/ 28 h 171"/>
                    <a:gd name="T46" fmla="*/ 102 w 125"/>
                    <a:gd name="T47" fmla="*/ 37 h 171"/>
                    <a:gd name="T48" fmla="*/ 115 w 125"/>
                    <a:gd name="T49" fmla="*/ 56 h 171"/>
                    <a:gd name="T50" fmla="*/ 122 w 125"/>
                    <a:gd name="T51" fmla="*/ 79 h 171"/>
                    <a:gd name="T52" fmla="*/ 104 w 125"/>
                    <a:gd name="T53" fmla="*/ 75 h 171"/>
                    <a:gd name="T54" fmla="*/ 98 w 125"/>
                    <a:gd name="T55" fmla="*/ 57 h 171"/>
                    <a:gd name="T56" fmla="*/ 90 w 125"/>
                    <a:gd name="T57" fmla="*/ 44 h 171"/>
                    <a:gd name="T58" fmla="*/ 85 w 125"/>
                    <a:gd name="T59" fmla="*/ 38 h 171"/>
                    <a:gd name="T60" fmla="*/ 73 w 125"/>
                    <a:gd name="T61" fmla="*/ 29 h 171"/>
                    <a:gd name="T62" fmla="*/ 66 w 125"/>
                    <a:gd name="T63" fmla="*/ 25 h 171"/>
                    <a:gd name="T64" fmla="*/ 51 w 125"/>
                    <a:gd name="T65" fmla="*/ 19 h 171"/>
                    <a:gd name="T66" fmla="*/ 39 w 125"/>
                    <a:gd name="T67" fmla="*/ 20 h 171"/>
                    <a:gd name="T68" fmla="*/ 35 w 125"/>
                    <a:gd name="T69" fmla="*/ 23 h 171"/>
                    <a:gd name="T70" fmla="*/ 26 w 125"/>
                    <a:gd name="T71" fmla="*/ 29 h 171"/>
                    <a:gd name="T72" fmla="*/ 24 w 125"/>
                    <a:gd name="T73" fmla="*/ 35 h 171"/>
                    <a:gd name="T74" fmla="*/ 19 w 125"/>
                    <a:gd name="T75" fmla="*/ 62 h 171"/>
                    <a:gd name="T76" fmla="*/ 19 w 125"/>
                    <a:gd name="T77" fmla="*/ 71 h 171"/>
                    <a:gd name="T78" fmla="*/ 23 w 125"/>
                    <a:gd name="T79" fmla="*/ 90 h 171"/>
                    <a:gd name="T80" fmla="*/ 25 w 125"/>
                    <a:gd name="T81" fmla="*/ 99 h 171"/>
                    <a:gd name="T82" fmla="*/ 31 w 125"/>
                    <a:gd name="T83" fmla="*/ 114 h 171"/>
                    <a:gd name="T84" fmla="*/ 41 w 125"/>
                    <a:gd name="T85" fmla="*/ 128 h 171"/>
                    <a:gd name="T86" fmla="*/ 47 w 125"/>
                    <a:gd name="T87" fmla="*/ 133 h 171"/>
                    <a:gd name="T88" fmla="*/ 58 w 125"/>
                    <a:gd name="T89" fmla="*/ 143 h 171"/>
                    <a:gd name="T90" fmla="*/ 65 w 125"/>
                    <a:gd name="T91" fmla="*/ 146 h 171"/>
                    <a:gd name="T92" fmla="*/ 79 w 125"/>
                    <a:gd name="T93" fmla="*/ 151 h 171"/>
                    <a:gd name="T94" fmla="*/ 91 w 125"/>
                    <a:gd name="T95" fmla="*/ 150 h 171"/>
                    <a:gd name="T96" fmla="*/ 96 w 125"/>
                    <a:gd name="T97" fmla="*/ 146 h 171"/>
                    <a:gd name="T98" fmla="*/ 104 w 125"/>
                    <a:gd name="T99" fmla="*/ 135 h 171"/>
                    <a:gd name="T100" fmla="*/ 106 w 125"/>
                    <a:gd name="T101" fmla="*/ 12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5" h="171">
                      <a:moveTo>
                        <a:pt x="106" y="128"/>
                      </a:moveTo>
                      <a:lnTo>
                        <a:pt x="125" y="142"/>
                      </a:lnTo>
                      <a:lnTo>
                        <a:pt x="125" y="142"/>
                      </a:lnTo>
                      <a:lnTo>
                        <a:pt x="121" y="152"/>
                      </a:lnTo>
                      <a:lnTo>
                        <a:pt x="117" y="160"/>
                      </a:lnTo>
                      <a:lnTo>
                        <a:pt x="111" y="166"/>
                      </a:lnTo>
                      <a:lnTo>
                        <a:pt x="104" y="169"/>
                      </a:lnTo>
                      <a:lnTo>
                        <a:pt x="104" y="169"/>
                      </a:lnTo>
                      <a:lnTo>
                        <a:pt x="95" y="171"/>
                      </a:lnTo>
                      <a:lnTo>
                        <a:pt x="87" y="171"/>
                      </a:lnTo>
                      <a:lnTo>
                        <a:pt x="77" y="169"/>
                      </a:lnTo>
                      <a:lnTo>
                        <a:pt x="66" y="165"/>
                      </a:lnTo>
                      <a:lnTo>
                        <a:pt x="66" y="165"/>
                      </a:lnTo>
                      <a:lnTo>
                        <a:pt x="55" y="158"/>
                      </a:lnTo>
                      <a:lnTo>
                        <a:pt x="45" y="152"/>
                      </a:lnTo>
                      <a:lnTo>
                        <a:pt x="37" y="144"/>
                      </a:lnTo>
                      <a:lnTo>
                        <a:pt x="29" y="137"/>
                      </a:lnTo>
                      <a:lnTo>
                        <a:pt x="29" y="137"/>
                      </a:lnTo>
                      <a:lnTo>
                        <a:pt x="23" y="128"/>
                      </a:lnTo>
                      <a:lnTo>
                        <a:pt x="17" y="118"/>
                      </a:lnTo>
                      <a:lnTo>
                        <a:pt x="12" y="107"/>
                      </a:lnTo>
                      <a:lnTo>
                        <a:pt x="7" y="96"/>
                      </a:lnTo>
                      <a:lnTo>
                        <a:pt x="7" y="96"/>
                      </a:lnTo>
                      <a:lnTo>
                        <a:pt x="4" y="86"/>
                      </a:lnTo>
                      <a:lnTo>
                        <a:pt x="2" y="75"/>
                      </a:lnTo>
                      <a:lnTo>
                        <a:pt x="1" y="64"/>
                      </a:lnTo>
                      <a:lnTo>
                        <a:pt x="0" y="53"/>
                      </a:lnTo>
                      <a:lnTo>
                        <a:pt x="0" y="53"/>
                      </a:lnTo>
                      <a:lnTo>
                        <a:pt x="1" y="41"/>
                      </a:lnTo>
                      <a:lnTo>
                        <a:pt x="2" y="31"/>
                      </a:lnTo>
                      <a:lnTo>
                        <a:pt x="5" y="23"/>
                      </a:lnTo>
                      <a:lnTo>
                        <a:pt x="9" y="15"/>
                      </a:lnTo>
                      <a:lnTo>
                        <a:pt x="9" y="15"/>
                      </a:lnTo>
                      <a:lnTo>
                        <a:pt x="13" y="10"/>
                      </a:lnTo>
                      <a:lnTo>
                        <a:pt x="18" y="5"/>
                      </a:lnTo>
                      <a:lnTo>
                        <a:pt x="25" y="2"/>
                      </a:lnTo>
                      <a:lnTo>
                        <a:pt x="32" y="1"/>
                      </a:lnTo>
                      <a:lnTo>
                        <a:pt x="32" y="1"/>
                      </a:lnTo>
                      <a:lnTo>
                        <a:pt x="40" y="0"/>
                      </a:lnTo>
                      <a:lnTo>
                        <a:pt x="49" y="2"/>
                      </a:lnTo>
                      <a:lnTo>
                        <a:pt x="57" y="4"/>
                      </a:lnTo>
                      <a:lnTo>
                        <a:pt x="67" y="9"/>
                      </a:lnTo>
                      <a:lnTo>
                        <a:pt x="67" y="9"/>
                      </a:lnTo>
                      <a:lnTo>
                        <a:pt x="77" y="14"/>
                      </a:lnTo>
                      <a:lnTo>
                        <a:pt x="87" y="20"/>
                      </a:lnTo>
                      <a:lnTo>
                        <a:pt x="94" y="28"/>
                      </a:lnTo>
                      <a:lnTo>
                        <a:pt x="102" y="37"/>
                      </a:lnTo>
                      <a:lnTo>
                        <a:pt x="102" y="37"/>
                      </a:lnTo>
                      <a:lnTo>
                        <a:pt x="109" y="46"/>
                      </a:lnTo>
                      <a:lnTo>
                        <a:pt x="115" y="56"/>
                      </a:lnTo>
                      <a:lnTo>
                        <a:pt x="119" y="68"/>
                      </a:lnTo>
                      <a:lnTo>
                        <a:pt x="122" y="79"/>
                      </a:lnTo>
                      <a:lnTo>
                        <a:pt x="104" y="75"/>
                      </a:lnTo>
                      <a:lnTo>
                        <a:pt x="104" y="75"/>
                      </a:lnTo>
                      <a:lnTo>
                        <a:pt x="101" y="66"/>
                      </a:lnTo>
                      <a:lnTo>
                        <a:pt x="98" y="57"/>
                      </a:lnTo>
                      <a:lnTo>
                        <a:pt x="94" y="51"/>
                      </a:lnTo>
                      <a:lnTo>
                        <a:pt x="90" y="44"/>
                      </a:lnTo>
                      <a:lnTo>
                        <a:pt x="90" y="44"/>
                      </a:lnTo>
                      <a:lnTo>
                        <a:pt x="85" y="38"/>
                      </a:lnTo>
                      <a:lnTo>
                        <a:pt x="79" y="33"/>
                      </a:lnTo>
                      <a:lnTo>
                        <a:pt x="73" y="29"/>
                      </a:lnTo>
                      <a:lnTo>
                        <a:pt x="66" y="25"/>
                      </a:lnTo>
                      <a:lnTo>
                        <a:pt x="66" y="25"/>
                      </a:lnTo>
                      <a:lnTo>
                        <a:pt x="58" y="22"/>
                      </a:lnTo>
                      <a:lnTo>
                        <a:pt x="51" y="19"/>
                      </a:lnTo>
                      <a:lnTo>
                        <a:pt x="45" y="19"/>
                      </a:lnTo>
                      <a:lnTo>
                        <a:pt x="39" y="20"/>
                      </a:lnTo>
                      <a:lnTo>
                        <a:pt x="39" y="20"/>
                      </a:lnTo>
                      <a:lnTo>
                        <a:pt x="35" y="23"/>
                      </a:lnTo>
                      <a:lnTo>
                        <a:pt x="30" y="25"/>
                      </a:lnTo>
                      <a:lnTo>
                        <a:pt x="26" y="29"/>
                      </a:lnTo>
                      <a:lnTo>
                        <a:pt x="24" y="35"/>
                      </a:lnTo>
                      <a:lnTo>
                        <a:pt x="24" y="35"/>
                      </a:lnTo>
                      <a:lnTo>
                        <a:pt x="20" y="48"/>
                      </a:lnTo>
                      <a:lnTo>
                        <a:pt x="19" y="62"/>
                      </a:lnTo>
                      <a:lnTo>
                        <a:pt x="19" y="62"/>
                      </a:lnTo>
                      <a:lnTo>
                        <a:pt x="19" y="71"/>
                      </a:lnTo>
                      <a:lnTo>
                        <a:pt x="20" y="80"/>
                      </a:lnTo>
                      <a:lnTo>
                        <a:pt x="23" y="90"/>
                      </a:lnTo>
                      <a:lnTo>
                        <a:pt x="25" y="99"/>
                      </a:lnTo>
                      <a:lnTo>
                        <a:pt x="25" y="99"/>
                      </a:lnTo>
                      <a:lnTo>
                        <a:pt x="28" y="106"/>
                      </a:lnTo>
                      <a:lnTo>
                        <a:pt x="31" y="114"/>
                      </a:lnTo>
                      <a:lnTo>
                        <a:pt x="36" y="121"/>
                      </a:lnTo>
                      <a:lnTo>
                        <a:pt x="41" y="128"/>
                      </a:lnTo>
                      <a:lnTo>
                        <a:pt x="41" y="128"/>
                      </a:lnTo>
                      <a:lnTo>
                        <a:pt x="47" y="133"/>
                      </a:lnTo>
                      <a:lnTo>
                        <a:pt x="52" y="139"/>
                      </a:lnTo>
                      <a:lnTo>
                        <a:pt x="58" y="143"/>
                      </a:lnTo>
                      <a:lnTo>
                        <a:pt x="65" y="146"/>
                      </a:lnTo>
                      <a:lnTo>
                        <a:pt x="65" y="146"/>
                      </a:lnTo>
                      <a:lnTo>
                        <a:pt x="73" y="150"/>
                      </a:lnTo>
                      <a:lnTo>
                        <a:pt x="79" y="151"/>
                      </a:lnTo>
                      <a:lnTo>
                        <a:pt x="86" y="151"/>
                      </a:lnTo>
                      <a:lnTo>
                        <a:pt x="91" y="150"/>
                      </a:lnTo>
                      <a:lnTo>
                        <a:pt x="91" y="150"/>
                      </a:lnTo>
                      <a:lnTo>
                        <a:pt x="96" y="146"/>
                      </a:lnTo>
                      <a:lnTo>
                        <a:pt x="101" y="142"/>
                      </a:lnTo>
                      <a:lnTo>
                        <a:pt x="104" y="135"/>
                      </a:lnTo>
                      <a:lnTo>
                        <a:pt x="106" y="128"/>
                      </a:lnTo>
                      <a:lnTo>
                        <a:pt x="106" y="128"/>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8" name="Freeform 32"/>
                <p:cNvSpPr>
                  <a:spLocks noEditPoints="1"/>
                </p:cNvSpPr>
                <p:nvPr/>
              </p:nvSpPr>
              <p:spPr bwMode="auto">
                <a:xfrm>
                  <a:off x="11450890" y="4655918"/>
                  <a:ext cx="41910" cy="54134"/>
                </a:xfrm>
                <a:custGeom>
                  <a:avLst/>
                  <a:gdLst>
                    <a:gd name="T0" fmla="*/ 0 w 96"/>
                    <a:gd name="T1" fmla="*/ 39 h 126"/>
                    <a:gd name="T2" fmla="*/ 2 w 96"/>
                    <a:gd name="T3" fmla="*/ 19 h 126"/>
                    <a:gd name="T4" fmla="*/ 6 w 96"/>
                    <a:gd name="T5" fmla="*/ 11 h 126"/>
                    <a:gd name="T6" fmla="*/ 13 w 96"/>
                    <a:gd name="T7" fmla="*/ 4 h 126"/>
                    <a:gd name="T8" fmla="*/ 16 w 96"/>
                    <a:gd name="T9" fmla="*/ 2 h 126"/>
                    <a:gd name="T10" fmla="*/ 30 w 96"/>
                    <a:gd name="T11" fmla="*/ 0 h 126"/>
                    <a:gd name="T12" fmla="*/ 49 w 96"/>
                    <a:gd name="T13" fmla="*/ 5 h 126"/>
                    <a:gd name="T14" fmla="*/ 58 w 96"/>
                    <a:gd name="T15" fmla="*/ 11 h 126"/>
                    <a:gd name="T16" fmla="*/ 76 w 96"/>
                    <a:gd name="T17" fmla="*/ 27 h 126"/>
                    <a:gd name="T18" fmla="*/ 82 w 96"/>
                    <a:gd name="T19" fmla="*/ 37 h 126"/>
                    <a:gd name="T20" fmla="*/ 93 w 96"/>
                    <a:gd name="T21" fmla="*/ 60 h 126"/>
                    <a:gd name="T22" fmla="*/ 96 w 96"/>
                    <a:gd name="T23" fmla="*/ 85 h 126"/>
                    <a:gd name="T24" fmla="*/ 95 w 96"/>
                    <a:gd name="T25" fmla="*/ 94 h 126"/>
                    <a:gd name="T26" fmla="*/ 93 w 96"/>
                    <a:gd name="T27" fmla="*/ 110 h 126"/>
                    <a:gd name="T28" fmla="*/ 90 w 96"/>
                    <a:gd name="T29" fmla="*/ 115 h 126"/>
                    <a:gd name="T30" fmla="*/ 83 w 96"/>
                    <a:gd name="T31" fmla="*/ 123 h 126"/>
                    <a:gd name="T32" fmla="*/ 73 w 96"/>
                    <a:gd name="T33" fmla="*/ 126 h 126"/>
                    <a:gd name="T34" fmla="*/ 67 w 96"/>
                    <a:gd name="T35" fmla="*/ 126 h 126"/>
                    <a:gd name="T36" fmla="*/ 55 w 96"/>
                    <a:gd name="T37" fmla="*/ 123 h 126"/>
                    <a:gd name="T38" fmla="*/ 49 w 96"/>
                    <a:gd name="T39" fmla="*/ 120 h 126"/>
                    <a:gd name="T40" fmla="*/ 29 w 96"/>
                    <a:gd name="T41" fmla="*/ 107 h 126"/>
                    <a:gd name="T42" fmla="*/ 14 w 96"/>
                    <a:gd name="T43" fmla="*/ 88 h 126"/>
                    <a:gd name="T44" fmla="*/ 7 w 96"/>
                    <a:gd name="T45" fmla="*/ 77 h 126"/>
                    <a:gd name="T46" fmla="*/ 1 w 96"/>
                    <a:gd name="T47" fmla="*/ 53 h 126"/>
                    <a:gd name="T48" fmla="*/ 0 w 96"/>
                    <a:gd name="T49" fmla="*/ 39 h 126"/>
                    <a:gd name="T50" fmla="*/ 18 w 96"/>
                    <a:gd name="T51" fmla="*/ 48 h 126"/>
                    <a:gd name="T52" fmla="*/ 20 w 96"/>
                    <a:gd name="T53" fmla="*/ 67 h 126"/>
                    <a:gd name="T54" fmla="*/ 27 w 96"/>
                    <a:gd name="T55" fmla="*/ 83 h 126"/>
                    <a:gd name="T56" fmla="*/ 31 w 96"/>
                    <a:gd name="T57" fmla="*/ 91 h 126"/>
                    <a:gd name="T58" fmla="*/ 42 w 96"/>
                    <a:gd name="T59" fmla="*/ 101 h 126"/>
                    <a:gd name="T60" fmla="*/ 49 w 96"/>
                    <a:gd name="T61" fmla="*/ 105 h 126"/>
                    <a:gd name="T62" fmla="*/ 59 w 96"/>
                    <a:gd name="T63" fmla="*/ 107 h 126"/>
                    <a:gd name="T64" fmla="*/ 69 w 96"/>
                    <a:gd name="T65" fmla="*/ 105 h 126"/>
                    <a:gd name="T66" fmla="*/ 74 w 96"/>
                    <a:gd name="T67" fmla="*/ 101 h 126"/>
                    <a:gd name="T68" fmla="*/ 78 w 96"/>
                    <a:gd name="T69" fmla="*/ 87 h 126"/>
                    <a:gd name="T70" fmla="*/ 78 w 96"/>
                    <a:gd name="T71" fmla="*/ 77 h 126"/>
                    <a:gd name="T72" fmla="*/ 76 w 96"/>
                    <a:gd name="T73" fmla="*/ 57 h 126"/>
                    <a:gd name="T74" fmla="*/ 69 w 96"/>
                    <a:gd name="T75" fmla="*/ 42 h 126"/>
                    <a:gd name="T76" fmla="*/ 65 w 96"/>
                    <a:gd name="T77" fmla="*/ 35 h 126"/>
                    <a:gd name="T78" fmla="*/ 54 w 96"/>
                    <a:gd name="T79" fmla="*/ 25 h 126"/>
                    <a:gd name="T80" fmla="*/ 49 w 96"/>
                    <a:gd name="T81" fmla="*/ 21 h 126"/>
                    <a:gd name="T82" fmla="*/ 37 w 96"/>
                    <a:gd name="T83" fmla="*/ 17 h 126"/>
                    <a:gd name="T84" fmla="*/ 27 w 96"/>
                    <a:gd name="T85" fmla="*/ 21 h 126"/>
                    <a:gd name="T86" fmla="*/ 23 w 96"/>
                    <a:gd name="T87" fmla="*/ 25 h 126"/>
                    <a:gd name="T88" fmla="*/ 18 w 96"/>
                    <a:gd name="T89" fmla="*/ 38 h 126"/>
                    <a:gd name="T90" fmla="*/ 18 w 96"/>
                    <a:gd name="T91" fmla="*/ 4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 h="126">
                      <a:moveTo>
                        <a:pt x="0" y="39"/>
                      </a:moveTo>
                      <a:lnTo>
                        <a:pt x="0" y="39"/>
                      </a:lnTo>
                      <a:lnTo>
                        <a:pt x="1" y="26"/>
                      </a:lnTo>
                      <a:lnTo>
                        <a:pt x="2" y="19"/>
                      </a:lnTo>
                      <a:lnTo>
                        <a:pt x="4" y="15"/>
                      </a:lnTo>
                      <a:lnTo>
                        <a:pt x="6" y="11"/>
                      </a:lnTo>
                      <a:lnTo>
                        <a:pt x="10" y="6"/>
                      </a:lnTo>
                      <a:lnTo>
                        <a:pt x="13" y="4"/>
                      </a:lnTo>
                      <a:lnTo>
                        <a:pt x="16" y="2"/>
                      </a:lnTo>
                      <a:lnTo>
                        <a:pt x="16" y="2"/>
                      </a:lnTo>
                      <a:lnTo>
                        <a:pt x="23" y="0"/>
                      </a:lnTo>
                      <a:lnTo>
                        <a:pt x="30" y="0"/>
                      </a:lnTo>
                      <a:lnTo>
                        <a:pt x="39" y="2"/>
                      </a:lnTo>
                      <a:lnTo>
                        <a:pt x="49" y="5"/>
                      </a:lnTo>
                      <a:lnTo>
                        <a:pt x="49" y="5"/>
                      </a:lnTo>
                      <a:lnTo>
                        <a:pt x="58" y="11"/>
                      </a:lnTo>
                      <a:lnTo>
                        <a:pt x="67" y="18"/>
                      </a:lnTo>
                      <a:lnTo>
                        <a:pt x="76" y="27"/>
                      </a:lnTo>
                      <a:lnTo>
                        <a:pt x="82" y="37"/>
                      </a:lnTo>
                      <a:lnTo>
                        <a:pt x="82" y="37"/>
                      </a:lnTo>
                      <a:lnTo>
                        <a:pt x="89" y="48"/>
                      </a:lnTo>
                      <a:lnTo>
                        <a:pt x="93" y="60"/>
                      </a:lnTo>
                      <a:lnTo>
                        <a:pt x="95" y="72"/>
                      </a:lnTo>
                      <a:lnTo>
                        <a:pt x="96" y="85"/>
                      </a:lnTo>
                      <a:lnTo>
                        <a:pt x="96" y="85"/>
                      </a:lnTo>
                      <a:lnTo>
                        <a:pt x="95" y="94"/>
                      </a:lnTo>
                      <a:lnTo>
                        <a:pt x="94" y="103"/>
                      </a:lnTo>
                      <a:lnTo>
                        <a:pt x="93" y="110"/>
                      </a:lnTo>
                      <a:lnTo>
                        <a:pt x="90" y="115"/>
                      </a:lnTo>
                      <a:lnTo>
                        <a:pt x="90" y="115"/>
                      </a:lnTo>
                      <a:lnTo>
                        <a:pt x="87" y="119"/>
                      </a:lnTo>
                      <a:lnTo>
                        <a:pt x="83" y="123"/>
                      </a:lnTo>
                      <a:lnTo>
                        <a:pt x="78" y="125"/>
                      </a:lnTo>
                      <a:lnTo>
                        <a:pt x="73" y="126"/>
                      </a:lnTo>
                      <a:lnTo>
                        <a:pt x="73" y="126"/>
                      </a:lnTo>
                      <a:lnTo>
                        <a:pt x="67" y="126"/>
                      </a:lnTo>
                      <a:lnTo>
                        <a:pt x="61" y="125"/>
                      </a:lnTo>
                      <a:lnTo>
                        <a:pt x="55" y="123"/>
                      </a:lnTo>
                      <a:lnTo>
                        <a:pt x="49" y="120"/>
                      </a:lnTo>
                      <a:lnTo>
                        <a:pt x="49" y="120"/>
                      </a:lnTo>
                      <a:lnTo>
                        <a:pt x="38" y="114"/>
                      </a:lnTo>
                      <a:lnTo>
                        <a:pt x="29" y="107"/>
                      </a:lnTo>
                      <a:lnTo>
                        <a:pt x="20" y="99"/>
                      </a:lnTo>
                      <a:lnTo>
                        <a:pt x="14" y="88"/>
                      </a:lnTo>
                      <a:lnTo>
                        <a:pt x="14" y="88"/>
                      </a:lnTo>
                      <a:lnTo>
                        <a:pt x="7" y="77"/>
                      </a:lnTo>
                      <a:lnTo>
                        <a:pt x="3" y="65"/>
                      </a:lnTo>
                      <a:lnTo>
                        <a:pt x="1" y="53"/>
                      </a:lnTo>
                      <a:lnTo>
                        <a:pt x="0" y="39"/>
                      </a:lnTo>
                      <a:lnTo>
                        <a:pt x="0" y="39"/>
                      </a:lnTo>
                      <a:close/>
                      <a:moveTo>
                        <a:pt x="18" y="48"/>
                      </a:moveTo>
                      <a:lnTo>
                        <a:pt x="18" y="48"/>
                      </a:lnTo>
                      <a:lnTo>
                        <a:pt x="18" y="59"/>
                      </a:lnTo>
                      <a:lnTo>
                        <a:pt x="20" y="67"/>
                      </a:lnTo>
                      <a:lnTo>
                        <a:pt x="23" y="76"/>
                      </a:lnTo>
                      <a:lnTo>
                        <a:pt x="27" y="83"/>
                      </a:lnTo>
                      <a:lnTo>
                        <a:pt x="27" y="83"/>
                      </a:lnTo>
                      <a:lnTo>
                        <a:pt x="31" y="91"/>
                      </a:lnTo>
                      <a:lnTo>
                        <a:pt x="37" y="96"/>
                      </a:lnTo>
                      <a:lnTo>
                        <a:pt x="42" y="101"/>
                      </a:lnTo>
                      <a:lnTo>
                        <a:pt x="49" y="105"/>
                      </a:lnTo>
                      <a:lnTo>
                        <a:pt x="49" y="105"/>
                      </a:lnTo>
                      <a:lnTo>
                        <a:pt x="54" y="107"/>
                      </a:lnTo>
                      <a:lnTo>
                        <a:pt x="59" y="107"/>
                      </a:lnTo>
                      <a:lnTo>
                        <a:pt x="65" y="107"/>
                      </a:lnTo>
                      <a:lnTo>
                        <a:pt x="69" y="105"/>
                      </a:lnTo>
                      <a:lnTo>
                        <a:pt x="69" y="105"/>
                      </a:lnTo>
                      <a:lnTo>
                        <a:pt x="74" y="101"/>
                      </a:lnTo>
                      <a:lnTo>
                        <a:pt x="76" y="94"/>
                      </a:lnTo>
                      <a:lnTo>
                        <a:pt x="78" y="87"/>
                      </a:lnTo>
                      <a:lnTo>
                        <a:pt x="78" y="77"/>
                      </a:lnTo>
                      <a:lnTo>
                        <a:pt x="78" y="77"/>
                      </a:lnTo>
                      <a:lnTo>
                        <a:pt x="78" y="67"/>
                      </a:lnTo>
                      <a:lnTo>
                        <a:pt x="76" y="57"/>
                      </a:lnTo>
                      <a:lnTo>
                        <a:pt x="74" y="50"/>
                      </a:lnTo>
                      <a:lnTo>
                        <a:pt x="69" y="42"/>
                      </a:lnTo>
                      <a:lnTo>
                        <a:pt x="69" y="42"/>
                      </a:lnTo>
                      <a:lnTo>
                        <a:pt x="65" y="35"/>
                      </a:lnTo>
                      <a:lnTo>
                        <a:pt x="59" y="29"/>
                      </a:lnTo>
                      <a:lnTo>
                        <a:pt x="54" y="25"/>
                      </a:lnTo>
                      <a:lnTo>
                        <a:pt x="49" y="21"/>
                      </a:lnTo>
                      <a:lnTo>
                        <a:pt x="49" y="21"/>
                      </a:lnTo>
                      <a:lnTo>
                        <a:pt x="42" y="18"/>
                      </a:lnTo>
                      <a:lnTo>
                        <a:pt x="37" y="17"/>
                      </a:lnTo>
                      <a:lnTo>
                        <a:pt x="31" y="18"/>
                      </a:lnTo>
                      <a:lnTo>
                        <a:pt x="27" y="21"/>
                      </a:lnTo>
                      <a:lnTo>
                        <a:pt x="27" y="21"/>
                      </a:lnTo>
                      <a:lnTo>
                        <a:pt x="23" y="25"/>
                      </a:lnTo>
                      <a:lnTo>
                        <a:pt x="20" y="30"/>
                      </a:lnTo>
                      <a:lnTo>
                        <a:pt x="18" y="38"/>
                      </a:lnTo>
                      <a:lnTo>
                        <a:pt x="18" y="48"/>
                      </a:lnTo>
                      <a:lnTo>
                        <a:pt x="18" y="48"/>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9" name="Freeform 33"/>
                <p:cNvSpPr>
                  <a:spLocks noEditPoints="1"/>
                </p:cNvSpPr>
                <p:nvPr/>
              </p:nvSpPr>
              <p:spPr bwMode="auto">
                <a:xfrm>
                  <a:off x="11499785" y="4678619"/>
                  <a:ext cx="40164" cy="62865"/>
                </a:xfrm>
                <a:custGeom>
                  <a:avLst/>
                  <a:gdLst>
                    <a:gd name="T0" fmla="*/ 72 w 94"/>
                    <a:gd name="T1" fmla="*/ 117 h 142"/>
                    <a:gd name="T2" fmla="*/ 54 w 94"/>
                    <a:gd name="T3" fmla="*/ 122 h 142"/>
                    <a:gd name="T4" fmla="*/ 44 w 94"/>
                    <a:gd name="T5" fmla="*/ 119 h 142"/>
                    <a:gd name="T6" fmla="*/ 34 w 94"/>
                    <a:gd name="T7" fmla="*/ 115 h 142"/>
                    <a:gd name="T8" fmla="*/ 19 w 94"/>
                    <a:gd name="T9" fmla="*/ 106 h 142"/>
                    <a:gd name="T10" fmla="*/ 8 w 94"/>
                    <a:gd name="T11" fmla="*/ 94 h 142"/>
                    <a:gd name="T12" fmla="*/ 5 w 94"/>
                    <a:gd name="T13" fmla="*/ 87 h 142"/>
                    <a:gd name="T14" fmla="*/ 1 w 94"/>
                    <a:gd name="T15" fmla="*/ 74 h 142"/>
                    <a:gd name="T16" fmla="*/ 0 w 94"/>
                    <a:gd name="T17" fmla="*/ 67 h 142"/>
                    <a:gd name="T18" fmla="*/ 3 w 94"/>
                    <a:gd name="T19" fmla="*/ 54 h 142"/>
                    <a:gd name="T20" fmla="*/ 7 w 94"/>
                    <a:gd name="T21" fmla="*/ 50 h 142"/>
                    <a:gd name="T22" fmla="*/ 11 w 94"/>
                    <a:gd name="T23" fmla="*/ 48 h 142"/>
                    <a:gd name="T24" fmla="*/ 24 w 94"/>
                    <a:gd name="T25" fmla="*/ 48 h 142"/>
                    <a:gd name="T26" fmla="*/ 40 w 94"/>
                    <a:gd name="T27" fmla="*/ 52 h 142"/>
                    <a:gd name="T28" fmla="*/ 58 w 94"/>
                    <a:gd name="T29" fmla="*/ 59 h 142"/>
                    <a:gd name="T30" fmla="*/ 71 w 94"/>
                    <a:gd name="T31" fmla="*/ 61 h 142"/>
                    <a:gd name="T32" fmla="*/ 71 w 94"/>
                    <a:gd name="T33" fmla="*/ 56 h 142"/>
                    <a:gd name="T34" fmla="*/ 70 w 94"/>
                    <a:gd name="T35" fmla="*/ 46 h 142"/>
                    <a:gd name="T36" fmla="*/ 66 w 94"/>
                    <a:gd name="T37" fmla="*/ 38 h 142"/>
                    <a:gd name="T38" fmla="*/ 62 w 94"/>
                    <a:gd name="T39" fmla="*/ 34 h 142"/>
                    <a:gd name="T40" fmla="*/ 53 w 94"/>
                    <a:gd name="T41" fmla="*/ 25 h 142"/>
                    <a:gd name="T42" fmla="*/ 46 w 94"/>
                    <a:gd name="T43" fmla="*/ 22 h 142"/>
                    <a:gd name="T44" fmla="*/ 31 w 94"/>
                    <a:gd name="T45" fmla="*/ 17 h 142"/>
                    <a:gd name="T46" fmla="*/ 28 w 94"/>
                    <a:gd name="T47" fmla="*/ 17 h 142"/>
                    <a:gd name="T48" fmla="*/ 23 w 94"/>
                    <a:gd name="T49" fmla="*/ 22 h 142"/>
                    <a:gd name="T50" fmla="*/ 19 w 94"/>
                    <a:gd name="T51" fmla="*/ 29 h 142"/>
                    <a:gd name="T52" fmla="*/ 3 w 94"/>
                    <a:gd name="T53" fmla="*/ 18 h 142"/>
                    <a:gd name="T54" fmla="*/ 7 w 94"/>
                    <a:gd name="T55" fmla="*/ 7 h 142"/>
                    <a:gd name="T56" fmla="*/ 10 w 94"/>
                    <a:gd name="T57" fmla="*/ 4 h 142"/>
                    <a:gd name="T58" fmla="*/ 17 w 94"/>
                    <a:gd name="T59" fmla="*/ 1 h 142"/>
                    <a:gd name="T60" fmla="*/ 26 w 94"/>
                    <a:gd name="T61" fmla="*/ 0 h 142"/>
                    <a:gd name="T62" fmla="*/ 36 w 94"/>
                    <a:gd name="T63" fmla="*/ 2 h 142"/>
                    <a:gd name="T64" fmla="*/ 48 w 94"/>
                    <a:gd name="T65" fmla="*/ 8 h 142"/>
                    <a:gd name="T66" fmla="*/ 70 w 94"/>
                    <a:gd name="T67" fmla="*/ 22 h 142"/>
                    <a:gd name="T68" fmla="*/ 77 w 94"/>
                    <a:gd name="T69" fmla="*/ 28 h 142"/>
                    <a:gd name="T70" fmla="*/ 82 w 94"/>
                    <a:gd name="T71" fmla="*/ 36 h 142"/>
                    <a:gd name="T72" fmla="*/ 87 w 94"/>
                    <a:gd name="T73" fmla="*/ 51 h 142"/>
                    <a:gd name="T74" fmla="*/ 89 w 94"/>
                    <a:gd name="T75" fmla="*/ 68 h 142"/>
                    <a:gd name="T76" fmla="*/ 89 w 94"/>
                    <a:gd name="T77" fmla="*/ 93 h 142"/>
                    <a:gd name="T78" fmla="*/ 90 w 94"/>
                    <a:gd name="T79" fmla="*/ 126 h 142"/>
                    <a:gd name="T80" fmla="*/ 91 w 94"/>
                    <a:gd name="T81" fmla="*/ 133 h 142"/>
                    <a:gd name="T82" fmla="*/ 75 w 94"/>
                    <a:gd name="T83" fmla="*/ 132 h 142"/>
                    <a:gd name="T84" fmla="*/ 73 w 94"/>
                    <a:gd name="T85" fmla="*/ 126 h 142"/>
                    <a:gd name="T86" fmla="*/ 72 w 94"/>
                    <a:gd name="T87" fmla="*/ 117 h 142"/>
                    <a:gd name="T88" fmla="*/ 71 w 94"/>
                    <a:gd name="T89" fmla="*/ 76 h 142"/>
                    <a:gd name="T90" fmla="*/ 42 w 94"/>
                    <a:gd name="T91" fmla="*/ 68 h 142"/>
                    <a:gd name="T92" fmla="*/ 33 w 94"/>
                    <a:gd name="T93" fmla="*/ 66 h 142"/>
                    <a:gd name="T94" fmla="*/ 28 w 94"/>
                    <a:gd name="T95" fmla="*/ 65 h 142"/>
                    <a:gd name="T96" fmla="*/ 20 w 94"/>
                    <a:gd name="T97" fmla="*/ 67 h 142"/>
                    <a:gd name="T98" fmla="*/ 19 w 94"/>
                    <a:gd name="T99" fmla="*/ 72 h 142"/>
                    <a:gd name="T100" fmla="*/ 18 w 94"/>
                    <a:gd name="T101" fmla="*/ 76 h 142"/>
                    <a:gd name="T102" fmla="*/ 23 w 94"/>
                    <a:gd name="T103" fmla="*/ 90 h 142"/>
                    <a:gd name="T104" fmla="*/ 27 w 94"/>
                    <a:gd name="T105" fmla="*/ 94 h 142"/>
                    <a:gd name="T106" fmla="*/ 39 w 94"/>
                    <a:gd name="T107" fmla="*/ 103 h 142"/>
                    <a:gd name="T108" fmla="*/ 48 w 94"/>
                    <a:gd name="T109" fmla="*/ 106 h 142"/>
                    <a:gd name="T110" fmla="*/ 56 w 94"/>
                    <a:gd name="T111" fmla="*/ 106 h 142"/>
                    <a:gd name="T112" fmla="*/ 60 w 94"/>
                    <a:gd name="T113" fmla="*/ 106 h 142"/>
                    <a:gd name="T114" fmla="*/ 66 w 94"/>
                    <a:gd name="T115" fmla="*/ 102 h 142"/>
                    <a:gd name="T116" fmla="*/ 68 w 94"/>
                    <a:gd name="T117" fmla="*/ 100 h 142"/>
                    <a:gd name="T118" fmla="*/ 71 w 94"/>
                    <a:gd name="T119" fmla="*/ 8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 h="142">
                      <a:moveTo>
                        <a:pt x="72" y="117"/>
                      </a:moveTo>
                      <a:lnTo>
                        <a:pt x="72" y="117"/>
                      </a:lnTo>
                      <a:lnTo>
                        <a:pt x="62" y="120"/>
                      </a:lnTo>
                      <a:lnTo>
                        <a:pt x="54" y="122"/>
                      </a:lnTo>
                      <a:lnTo>
                        <a:pt x="54" y="122"/>
                      </a:lnTo>
                      <a:lnTo>
                        <a:pt x="44" y="119"/>
                      </a:lnTo>
                      <a:lnTo>
                        <a:pt x="34" y="115"/>
                      </a:lnTo>
                      <a:lnTo>
                        <a:pt x="34" y="115"/>
                      </a:lnTo>
                      <a:lnTo>
                        <a:pt x="27" y="111"/>
                      </a:lnTo>
                      <a:lnTo>
                        <a:pt x="19" y="106"/>
                      </a:lnTo>
                      <a:lnTo>
                        <a:pt x="14" y="100"/>
                      </a:lnTo>
                      <a:lnTo>
                        <a:pt x="8" y="94"/>
                      </a:lnTo>
                      <a:lnTo>
                        <a:pt x="8" y="94"/>
                      </a:lnTo>
                      <a:lnTo>
                        <a:pt x="5" y="87"/>
                      </a:lnTo>
                      <a:lnTo>
                        <a:pt x="2" y="80"/>
                      </a:lnTo>
                      <a:lnTo>
                        <a:pt x="1" y="74"/>
                      </a:lnTo>
                      <a:lnTo>
                        <a:pt x="0" y="67"/>
                      </a:lnTo>
                      <a:lnTo>
                        <a:pt x="0" y="67"/>
                      </a:lnTo>
                      <a:lnTo>
                        <a:pt x="1" y="60"/>
                      </a:lnTo>
                      <a:lnTo>
                        <a:pt x="3" y="54"/>
                      </a:lnTo>
                      <a:lnTo>
                        <a:pt x="3" y="54"/>
                      </a:lnTo>
                      <a:lnTo>
                        <a:pt x="7" y="50"/>
                      </a:lnTo>
                      <a:lnTo>
                        <a:pt x="11" y="48"/>
                      </a:lnTo>
                      <a:lnTo>
                        <a:pt x="11" y="48"/>
                      </a:lnTo>
                      <a:lnTo>
                        <a:pt x="18" y="47"/>
                      </a:lnTo>
                      <a:lnTo>
                        <a:pt x="24" y="48"/>
                      </a:lnTo>
                      <a:lnTo>
                        <a:pt x="24" y="48"/>
                      </a:lnTo>
                      <a:lnTo>
                        <a:pt x="40" y="52"/>
                      </a:lnTo>
                      <a:lnTo>
                        <a:pt x="40" y="52"/>
                      </a:lnTo>
                      <a:lnTo>
                        <a:pt x="58" y="59"/>
                      </a:lnTo>
                      <a:lnTo>
                        <a:pt x="71" y="61"/>
                      </a:lnTo>
                      <a:lnTo>
                        <a:pt x="71" y="61"/>
                      </a:lnTo>
                      <a:lnTo>
                        <a:pt x="71" y="56"/>
                      </a:lnTo>
                      <a:lnTo>
                        <a:pt x="71" y="56"/>
                      </a:lnTo>
                      <a:lnTo>
                        <a:pt x="70" y="51"/>
                      </a:lnTo>
                      <a:lnTo>
                        <a:pt x="70" y="46"/>
                      </a:lnTo>
                      <a:lnTo>
                        <a:pt x="68" y="41"/>
                      </a:lnTo>
                      <a:lnTo>
                        <a:pt x="66" y="38"/>
                      </a:lnTo>
                      <a:lnTo>
                        <a:pt x="66" y="38"/>
                      </a:lnTo>
                      <a:lnTo>
                        <a:pt x="62" y="34"/>
                      </a:lnTo>
                      <a:lnTo>
                        <a:pt x="58" y="29"/>
                      </a:lnTo>
                      <a:lnTo>
                        <a:pt x="53" y="25"/>
                      </a:lnTo>
                      <a:lnTo>
                        <a:pt x="46" y="22"/>
                      </a:lnTo>
                      <a:lnTo>
                        <a:pt x="46" y="22"/>
                      </a:lnTo>
                      <a:lnTo>
                        <a:pt x="35" y="17"/>
                      </a:lnTo>
                      <a:lnTo>
                        <a:pt x="31" y="17"/>
                      </a:lnTo>
                      <a:lnTo>
                        <a:pt x="28" y="17"/>
                      </a:lnTo>
                      <a:lnTo>
                        <a:pt x="28" y="17"/>
                      </a:lnTo>
                      <a:lnTo>
                        <a:pt x="26" y="20"/>
                      </a:lnTo>
                      <a:lnTo>
                        <a:pt x="23" y="22"/>
                      </a:lnTo>
                      <a:lnTo>
                        <a:pt x="21" y="25"/>
                      </a:lnTo>
                      <a:lnTo>
                        <a:pt x="19" y="29"/>
                      </a:lnTo>
                      <a:lnTo>
                        <a:pt x="3" y="18"/>
                      </a:lnTo>
                      <a:lnTo>
                        <a:pt x="3" y="18"/>
                      </a:lnTo>
                      <a:lnTo>
                        <a:pt x="6" y="10"/>
                      </a:lnTo>
                      <a:lnTo>
                        <a:pt x="7" y="7"/>
                      </a:lnTo>
                      <a:lnTo>
                        <a:pt x="10" y="4"/>
                      </a:lnTo>
                      <a:lnTo>
                        <a:pt x="10" y="4"/>
                      </a:lnTo>
                      <a:lnTo>
                        <a:pt x="13" y="2"/>
                      </a:lnTo>
                      <a:lnTo>
                        <a:pt x="17" y="1"/>
                      </a:lnTo>
                      <a:lnTo>
                        <a:pt x="21" y="0"/>
                      </a:lnTo>
                      <a:lnTo>
                        <a:pt x="26" y="0"/>
                      </a:lnTo>
                      <a:lnTo>
                        <a:pt x="26" y="0"/>
                      </a:lnTo>
                      <a:lnTo>
                        <a:pt x="36" y="2"/>
                      </a:lnTo>
                      <a:lnTo>
                        <a:pt x="48" y="8"/>
                      </a:lnTo>
                      <a:lnTo>
                        <a:pt x="48" y="8"/>
                      </a:lnTo>
                      <a:lnTo>
                        <a:pt x="60" y="14"/>
                      </a:lnTo>
                      <a:lnTo>
                        <a:pt x="70" y="22"/>
                      </a:lnTo>
                      <a:lnTo>
                        <a:pt x="70" y="22"/>
                      </a:lnTo>
                      <a:lnTo>
                        <a:pt x="77" y="28"/>
                      </a:lnTo>
                      <a:lnTo>
                        <a:pt x="82" y="36"/>
                      </a:lnTo>
                      <a:lnTo>
                        <a:pt x="82" y="36"/>
                      </a:lnTo>
                      <a:lnTo>
                        <a:pt x="85" y="42"/>
                      </a:lnTo>
                      <a:lnTo>
                        <a:pt x="87" y="51"/>
                      </a:lnTo>
                      <a:lnTo>
                        <a:pt x="87" y="51"/>
                      </a:lnTo>
                      <a:lnTo>
                        <a:pt x="89" y="68"/>
                      </a:lnTo>
                      <a:lnTo>
                        <a:pt x="89" y="93"/>
                      </a:lnTo>
                      <a:lnTo>
                        <a:pt x="89" y="93"/>
                      </a:lnTo>
                      <a:lnTo>
                        <a:pt x="89" y="114"/>
                      </a:lnTo>
                      <a:lnTo>
                        <a:pt x="90" y="126"/>
                      </a:lnTo>
                      <a:lnTo>
                        <a:pt x="90" y="126"/>
                      </a:lnTo>
                      <a:lnTo>
                        <a:pt x="91" y="133"/>
                      </a:lnTo>
                      <a:lnTo>
                        <a:pt x="94" y="142"/>
                      </a:lnTo>
                      <a:lnTo>
                        <a:pt x="75" y="132"/>
                      </a:lnTo>
                      <a:lnTo>
                        <a:pt x="75" y="132"/>
                      </a:lnTo>
                      <a:lnTo>
                        <a:pt x="73" y="126"/>
                      </a:lnTo>
                      <a:lnTo>
                        <a:pt x="72" y="117"/>
                      </a:lnTo>
                      <a:lnTo>
                        <a:pt x="72" y="117"/>
                      </a:lnTo>
                      <a:close/>
                      <a:moveTo>
                        <a:pt x="71" y="76"/>
                      </a:moveTo>
                      <a:lnTo>
                        <a:pt x="71" y="76"/>
                      </a:lnTo>
                      <a:lnTo>
                        <a:pt x="59" y="74"/>
                      </a:lnTo>
                      <a:lnTo>
                        <a:pt x="42" y="68"/>
                      </a:lnTo>
                      <a:lnTo>
                        <a:pt x="42" y="68"/>
                      </a:lnTo>
                      <a:lnTo>
                        <a:pt x="33" y="66"/>
                      </a:lnTo>
                      <a:lnTo>
                        <a:pt x="28" y="65"/>
                      </a:lnTo>
                      <a:lnTo>
                        <a:pt x="28" y="65"/>
                      </a:lnTo>
                      <a:lnTo>
                        <a:pt x="23" y="66"/>
                      </a:lnTo>
                      <a:lnTo>
                        <a:pt x="20" y="67"/>
                      </a:lnTo>
                      <a:lnTo>
                        <a:pt x="20" y="67"/>
                      </a:lnTo>
                      <a:lnTo>
                        <a:pt x="19" y="72"/>
                      </a:lnTo>
                      <a:lnTo>
                        <a:pt x="18" y="76"/>
                      </a:lnTo>
                      <a:lnTo>
                        <a:pt x="18" y="76"/>
                      </a:lnTo>
                      <a:lnTo>
                        <a:pt x="19" y="82"/>
                      </a:lnTo>
                      <a:lnTo>
                        <a:pt x="23" y="90"/>
                      </a:lnTo>
                      <a:lnTo>
                        <a:pt x="23" y="90"/>
                      </a:lnTo>
                      <a:lnTo>
                        <a:pt x="27" y="94"/>
                      </a:lnTo>
                      <a:lnTo>
                        <a:pt x="30" y="98"/>
                      </a:lnTo>
                      <a:lnTo>
                        <a:pt x="39" y="103"/>
                      </a:lnTo>
                      <a:lnTo>
                        <a:pt x="39" y="103"/>
                      </a:lnTo>
                      <a:lnTo>
                        <a:pt x="48" y="106"/>
                      </a:lnTo>
                      <a:lnTo>
                        <a:pt x="53" y="106"/>
                      </a:lnTo>
                      <a:lnTo>
                        <a:pt x="56" y="106"/>
                      </a:lnTo>
                      <a:lnTo>
                        <a:pt x="56" y="106"/>
                      </a:lnTo>
                      <a:lnTo>
                        <a:pt x="60" y="106"/>
                      </a:lnTo>
                      <a:lnTo>
                        <a:pt x="64" y="104"/>
                      </a:lnTo>
                      <a:lnTo>
                        <a:pt x="66" y="102"/>
                      </a:lnTo>
                      <a:lnTo>
                        <a:pt x="68" y="100"/>
                      </a:lnTo>
                      <a:lnTo>
                        <a:pt x="68" y="100"/>
                      </a:lnTo>
                      <a:lnTo>
                        <a:pt x="70" y="92"/>
                      </a:lnTo>
                      <a:lnTo>
                        <a:pt x="71" y="82"/>
                      </a:lnTo>
                      <a:lnTo>
                        <a:pt x="71" y="7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0" name="Freeform 34"/>
                <p:cNvSpPr>
                  <a:spLocks/>
                </p:cNvSpPr>
                <p:nvPr/>
              </p:nvSpPr>
              <p:spPr bwMode="auto">
                <a:xfrm>
                  <a:off x="11545188" y="4685604"/>
                  <a:ext cx="22702" cy="68104"/>
                </a:xfrm>
                <a:custGeom>
                  <a:avLst/>
                  <a:gdLst>
                    <a:gd name="T0" fmla="*/ 47 w 50"/>
                    <a:gd name="T1" fmla="*/ 140 h 157"/>
                    <a:gd name="T2" fmla="*/ 50 w 50"/>
                    <a:gd name="T3" fmla="*/ 157 h 157"/>
                    <a:gd name="T4" fmla="*/ 50 w 50"/>
                    <a:gd name="T5" fmla="*/ 157 h 157"/>
                    <a:gd name="T6" fmla="*/ 42 w 50"/>
                    <a:gd name="T7" fmla="*/ 155 h 157"/>
                    <a:gd name="T8" fmla="*/ 37 w 50"/>
                    <a:gd name="T9" fmla="*/ 153 h 157"/>
                    <a:gd name="T10" fmla="*/ 37 w 50"/>
                    <a:gd name="T11" fmla="*/ 153 h 157"/>
                    <a:gd name="T12" fmla="*/ 28 w 50"/>
                    <a:gd name="T13" fmla="*/ 148 h 157"/>
                    <a:gd name="T14" fmla="*/ 22 w 50"/>
                    <a:gd name="T15" fmla="*/ 142 h 157"/>
                    <a:gd name="T16" fmla="*/ 22 w 50"/>
                    <a:gd name="T17" fmla="*/ 142 h 157"/>
                    <a:gd name="T18" fmla="*/ 17 w 50"/>
                    <a:gd name="T19" fmla="*/ 137 h 157"/>
                    <a:gd name="T20" fmla="*/ 14 w 50"/>
                    <a:gd name="T21" fmla="*/ 130 h 157"/>
                    <a:gd name="T22" fmla="*/ 14 w 50"/>
                    <a:gd name="T23" fmla="*/ 130 h 157"/>
                    <a:gd name="T24" fmla="*/ 13 w 50"/>
                    <a:gd name="T25" fmla="*/ 122 h 157"/>
                    <a:gd name="T26" fmla="*/ 12 w 50"/>
                    <a:gd name="T27" fmla="*/ 108 h 157"/>
                    <a:gd name="T28" fmla="*/ 12 w 50"/>
                    <a:gd name="T29" fmla="*/ 45 h 157"/>
                    <a:gd name="T30" fmla="*/ 0 w 50"/>
                    <a:gd name="T31" fmla="*/ 38 h 157"/>
                    <a:gd name="T32" fmla="*/ 0 w 50"/>
                    <a:gd name="T33" fmla="*/ 24 h 157"/>
                    <a:gd name="T34" fmla="*/ 12 w 50"/>
                    <a:gd name="T35" fmla="*/ 30 h 157"/>
                    <a:gd name="T36" fmla="*/ 12 w 50"/>
                    <a:gd name="T37" fmla="*/ 3 h 157"/>
                    <a:gd name="T38" fmla="*/ 29 w 50"/>
                    <a:gd name="T39" fmla="*/ 0 h 157"/>
                    <a:gd name="T40" fmla="*/ 29 w 50"/>
                    <a:gd name="T41" fmla="*/ 38 h 157"/>
                    <a:gd name="T42" fmla="*/ 47 w 50"/>
                    <a:gd name="T43" fmla="*/ 47 h 157"/>
                    <a:gd name="T44" fmla="*/ 47 w 50"/>
                    <a:gd name="T45" fmla="*/ 61 h 157"/>
                    <a:gd name="T46" fmla="*/ 29 w 50"/>
                    <a:gd name="T47" fmla="*/ 53 h 157"/>
                    <a:gd name="T48" fmla="*/ 29 w 50"/>
                    <a:gd name="T49" fmla="*/ 117 h 157"/>
                    <a:gd name="T50" fmla="*/ 29 w 50"/>
                    <a:gd name="T51" fmla="*/ 117 h 157"/>
                    <a:gd name="T52" fmla="*/ 29 w 50"/>
                    <a:gd name="T53" fmla="*/ 124 h 157"/>
                    <a:gd name="T54" fmla="*/ 30 w 50"/>
                    <a:gd name="T55" fmla="*/ 128 h 157"/>
                    <a:gd name="T56" fmla="*/ 30 w 50"/>
                    <a:gd name="T57" fmla="*/ 128 h 157"/>
                    <a:gd name="T58" fmla="*/ 34 w 50"/>
                    <a:gd name="T59" fmla="*/ 132 h 157"/>
                    <a:gd name="T60" fmla="*/ 34 w 50"/>
                    <a:gd name="T61" fmla="*/ 132 h 157"/>
                    <a:gd name="T62" fmla="*/ 36 w 50"/>
                    <a:gd name="T63" fmla="*/ 135 h 157"/>
                    <a:gd name="T64" fmla="*/ 39 w 50"/>
                    <a:gd name="T65" fmla="*/ 137 h 157"/>
                    <a:gd name="T66" fmla="*/ 39 w 50"/>
                    <a:gd name="T67" fmla="*/ 137 h 157"/>
                    <a:gd name="T68" fmla="*/ 47 w 50"/>
                    <a:gd name="T69" fmla="*/ 140 h 157"/>
                    <a:gd name="T70" fmla="*/ 47 w 50"/>
                    <a:gd name="T71" fmla="*/ 14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157">
                      <a:moveTo>
                        <a:pt x="47" y="140"/>
                      </a:moveTo>
                      <a:lnTo>
                        <a:pt x="50" y="157"/>
                      </a:lnTo>
                      <a:lnTo>
                        <a:pt x="50" y="157"/>
                      </a:lnTo>
                      <a:lnTo>
                        <a:pt x="42" y="155"/>
                      </a:lnTo>
                      <a:lnTo>
                        <a:pt x="37" y="153"/>
                      </a:lnTo>
                      <a:lnTo>
                        <a:pt x="37" y="153"/>
                      </a:lnTo>
                      <a:lnTo>
                        <a:pt x="28" y="148"/>
                      </a:lnTo>
                      <a:lnTo>
                        <a:pt x="22" y="142"/>
                      </a:lnTo>
                      <a:lnTo>
                        <a:pt x="22" y="142"/>
                      </a:lnTo>
                      <a:lnTo>
                        <a:pt x="17" y="137"/>
                      </a:lnTo>
                      <a:lnTo>
                        <a:pt x="14" y="130"/>
                      </a:lnTo>
                      <a:lnTo>
                        <a:pt x="14" y="130"/>
                      </a:lnTo>
                      <a:lnTo>
                        <a:pt x="13" y="122"/>
                      </a:lnTo>
                      <a:lnTo>
                        <a:pt x="12" y="108"/>
                      </a:lnTo>
                      <a:lnTo>
                        <a:pt x="12" y="45"/>
                      </a:lnTo>
                      <a:lnTo>
                        <a:pt x="0" y="38"/>
                      </a:lnTo>
                      <a:lnTo>
                        <a:pt x="0" y="24"/>
                      </a:lnTo>
                      <a:lnTo>
                        <a:pt x="12" y="30"/>
                      </a:lnTo>
                      <a:lnTo>
                        <a:pt x="12" y="3"/>
                      </a:lnTo>
                      <a:lnTo>
                        <a:pt x="29" y="0"/>
                      </a:lnTo>
                      <a:lnTo>
                        <a:pt x="29" y="38"/>
                      </a:lnTo>
                      <a:lnTo>
                        <a:pt x="47" y="47"/>
                      </a:lnTo>
                      <a:lnTo>
                        <a:pt x="47" y="61"/>
                      </a:lnTo>
                      <a:lnTo>
                        <a:pt x="29" y="53"/>
                      </a:lnTo>
                      <a:lnTo>
                        <a:pt x="29" y="117"/>
                      </a:lnTo>
                      <a:lnTo>
                        <a:pt x="29" y="117"/>
                      </a:lnTo>
                      <a:lnTo>
                        <a:pt x="29" y="124"/>
                      </a:lnTo>
                      <a:lnTo>
                        <a:pt x="30" y="128"/>
                      </a:lnTo>
                      <a:lnTo>
                        <a:pt x="30" y="128"/>
                      </a:lnTo>
                      <a:lnTo>
                        <a:pt x="34" y="132"/>
                      </a:lnTo>
                      <a:lnTo>
                        <a:pt x="34" y="132"/>
                      </a:lnTo>
                      <a:lnTo>
                        <a:pt x="36" y="135"/>
                      </a:lnTo>
                      <a:lnTo>
                        <a:pt x="39" y="137"/>
                      </a:lnTo>
                      <a:lnTo>
                        <a:pt x="39" y="137"/>
                      </a:lnTo>
                      <a:lnTo>
                        <a:pt x="47" y="140"/>
                      </a:lnTo>
                      <a:lnTo>
                        <a:pt x="47" y="140"/>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1" name="Freeform 35"/>
                <p:cNvSpPr>
                  <a:spLocks noEditPoints="1"/>
                </p:cNvSpPr>
                <p:nvPr/>
              </p:nvSpPr>
              <p:spPr bwMode="auto">
                <a:xfrm>
                  <a:off x="11190700" y="4650679"/>
                  <a:ext cx="41910" cy="66358"/>
                </a:xfrm>
                <a:custGeom>
                  <a:avLst/>
                  <a:gdLst>
                    <a:gd name="T0" fmla="*/ 0 w 96"/>
                    <a:gd name="T1" fmla="*/ 126 h 154"/>
                    <a:gd name="T2" fmla="*/ 0 w 96"/>
                    <a:gd name="T3" fmla="*/ 0 h 154"/>
                    <a:gd name="T4" fmla="*/ 40 w 96"/>
                    <a:gd name="T5" fmla="*/ 19 h 154"/>
                    <a:gd name="T6" fmla="*/ 40 w 96"/>
                    <a:gd name="T7" fmla="*/ 19 h 154"/>
                    <a:gd name="T8" fmla="*/ 52 w 96"/>
                    <a:gd name="T9" fmla="*/ 26 h 154"/>
                    <a:gd name="T10" fmla="*/ 61 w 96"/>
                    <a:gd name="T11" fmla="*/ 31 h 154"/>
                    <a:gd name="T12" fmla="*/ 61 w 96"/>
                    <a:gd name="T13" fmla="*/ 31 h 154"/>
                    <a:gd name="T14" fmla="*/ 69 w 96"/>
                    <a:gd name="T15" fmla="*/ 40 h 154"/>
                    <a:gd name="T16" fmla="*/ 78 w 96"/>
                    <a:gd name="T17" fmla="*/ 49 h 154"/>
                    <a:gd name="T18" fmla="*/ 78 w 96"/>
                    <a:gd name="T19" fmla="*/ 49 h 154"/>
                    <a:gd name="T20" fmla="*/ 82 w 96"/>
                    <a:gd name="T21" fmla="*/ 55 h 154"/>
                    <a:gd name="T22" fmla="*/ 86 w 96"/>
                    <a:gd name="T23" fmla="*/ 63 h 154"/>
                    <a:gd name="T24" fmla="*/ 89 w 96"/>
                    <a:gd name="T25" fmla="*/ 69 h 154"/>
                    <a:gd name="T26" fmla="*/ 91 w 96"/>
                    <a:gd name="T27" fmla="*/ 77 h 154"/>
                    <a:gd name="T28" fmla="*/ 91 w 96"/>
                    <a:gd name="T29" fmla="*/ 77 h 154"/>
                    <a:gd name="T30" fmla="*/ 95 w 96"/>
                    <a:gd name="T31" fmla="*/ 93 h 154"/>
                    <a:gd name="T32" fmla="*/ 96 w 96"/>
                    <a:gd name="T33" fmla="*/ 109 h 154"/>
                    <a:gd name="T34" fmla="*/ 96 w 96"/>
                    <a:gd name="T35" fmla="*/ 109 h 154"/>
                    <a:gd name="T36" fmla="*/ 95 w 96"/>
                    <a:gd name="T37" fmla="*/ 123 h 154"/>
                    <a:gd name="T38" fmla="*/ 93 w 96"/>
                    <a:gd name="T39" fmla="*/ 133 h 154"/>
                    <a:gd name="T40" fmla="*/ 93 w 96"/>
                    <a:gd name="T41" fmla="*/ 133 h 154"/>
                    <a:gd name="T42" fmla="*/ 89 w 96"/>
                    <a:gd name="T43" fmla="*/ 141 h 154"/>
                    <a:gd name="T44" fmla="*/ 84 w 96"/>
                    <a:gd name="T45" fmla="*/ 147 h 154"/>
                    <a:gd name="T46" fmla="*/ 84 w 96"/>
                    <a:gd name="T47" fmla="*/ 147 h 154"/>
                    <a:gd name="T48" fmla="*/ 80 w 96"/>
                    <a:gd name="T49" fmla="*/ 152 h 154"/>
                    <a:gd name="T50" fmla="*/ 75 w 96"/>
                    <a:gd name="T51" fmla="*/ 154 h 154"/>
                    <a:gd name="T52" fmla="*/ 75 w 96"/>
                    <a:gd name="T53" fmla="*/ 154 h 154"/>
                    <a:gd name="T54" fmla="*/ 68 w 96"/>
                    <a:gd name="T55" fmla="*/ 154 h 154"/>
                    <a:gd name="T56" fmla="*/ 61 w 96"/>
                    <a:gd name="T57" fmla="*/ 153 h 154"/>
                    <a:gd name="T58" fmla="*/ 61 w 96"/>
                    <a:gd name="T59" fmla="*/ 153 h 154"/>
                    <a:gd name="T60" fmla="*/ 52 w 96"/>
                    <a:gd name="T61" fmla="*/ 151 h 154"/>
                    <a:gd name="T62" fmla="*/ 41 w 96"/>
                    <a:gd name="T63" fmla="*/ 146 h 154"/>
                    <a:gd name="T64" fmla="*/ 0 w 96"/>
                    <a:gd name="T65" fmla="*/ 126 h 154"/>
                    <a:gd name="T66" fmla="*/ 15 w 96"/>
                    <a:gd name="T67" fmla="*/ 118 h 154"/>
                    <a:gd name="T68" fmla="*/ 40 w 96"/>
                    <a:gd name="T69" fmla="*/ 130 h 154"/>
                    <a:gd name="T70" fmla="*/ 40 w 96"/>
                    <a:gd name="T71" fmla="*/ 130 h 154"/>
                    <a:gd name="T72" fmla="*/ 50 w 96"/>
                    <a:gd name="T73" fmla="*/ 134 h 154"/>
                    <a:gd name="T74" fmla="*/ 57 w 96"/>
                    <a:gd name="T75" fmla="*/ 137 h 154"/>
                    <a:gd name="T76" fmla="*/ 57 w 96"/>
                    <a:gd name="T77" fmla="*/ 137 h 154"/>
                    <a:gd name="T78" fmla="*/ 64 w 96"/>
                    <a:gd name="T79" fmla="*/ 137 h 154"/>
                    <a:gd name="T80" fmla="*/ 68 w 96"/>
                    <a:gd name="T81" fmla="*/ 136 h 154"/>
                    <a:gd name="T82" fmla="*/ 68 w 96"/>
                    <a:gd name="T83" fmla="*/ 136 h 154"/>
                    <a:gd name="T84" fmla="*/ 71 w 96"/>
                    <a:gd name="T85" fmla="*/ 133 h 154"/>
                    <a:gd name="T86" fmla="*/ 74 w 96"/>
                    <a:gd name="T87" fmla="*/ 131 h 154"/>
                    <a:gd name="T88" fmla="*/ 77 w 96"/>
                    <a:gd name="T89" fmla="*/ 124 h 154"/>
                    <a:gd name="T90" fmla="*/ 77 w 96"/>
                    <a:gd name="T91" fmla="*/ 124 h 154"/>
                    <a:gd name="T92" fmla="*/ 79 w 96"/>
                    <a:gd name="T93" fmla="*/ 114 h 154"/>
                    <a:gd name="T94" fmla="*/ 80 w 96"/>
                    <a:gd name="T95" fmla="*/ 101 h 154"/>
                    <a:gd name="T96" fmla="*/ 80 w 96"/>
                    <a:gd name="T97" fmla="*/ 101 h 154"/>
                    <a:gd name="T98" fmla="*/ 80 w 96"/>
                    <a:gd name="T99" fmla="*/ 92 h 154"/>
                    <a:gd name="T100" fmla="*/ 78 w 96"/>
                    <a:gd name="T101" fmla="*/ 83 h 154"/>
                    <a:gd name="T102" fmla="*/ 77 w 96"/>
                    <a:gd name="T103" fmla="*/ 75 h 154"/>
                    <a:gd name="T104" fmla="*/ 74 w 96"/>
                    <a:gd name="T105" fmla="*/ 68 h 154"/>
                    <a:gd name="T106" fmla="*/ 74 w 96"/>
                    <a:gd name="T107" fmla="*/ 68 h 154"/>
                    <a:gd name="T108" fmla="*/ 67 w 96"/>
                    <a:gd name="T109" fmla="*/ 56 h 154"/>
                    <a:gd name="T110" fmla="*/ 64 w 96"/>
                    <a:gd name="T111" fmla="*/ 51 h 154"/>
                    <a:gd name="T112" fmla="*/ 60 w 96"/>
                    <a:gd name="T113" fmla="*/ 47 h 154"/>
                    <a:gd name="T114" fmla="*/ 60 w 96"/>
                    <a:gd name="T115" fmla="*/ 47 h 154"/>
                    <a:gd name="T116" fmla="*/ 51 w 96"/>
                    <a:gd name="T117" fmla="*/ 41 h 154"/>
                    <a:gd name="T118" fmla="*/ 39 w 96"/>
                    <a:gd name="T119" fmla="*/ 35 h 154"/>
                    <a:gd name="T120" fmla="*/ 15 w 96"/>
                    <a:gd name="T121" fmla="*/ 23 h 154"/>
                    <a:gd name="T122" fmla="*/ 15 w 96"/>
                    <a:gd name="T123" fmla="*/ 11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 h="154">
                      <a:moveTo>
                        <a:pt x="0" y="126"/>
                      </a:moveTo>
                      <a:lnTo>
                        <a:pt x="0" y="0"/>
                      </a:lnTo>
                      <a:lnTo>
                        <a:pt x="40" y="19"/>
                      </a:lnTo>
                      <a:lnTo>
                        <a:pt x="40" y="19"/>
                      </a:lnTo>
                      <a:lnTo>
                        <a:pt x="52" y="26"/>
                      </a:lnTo>
                      <a:lnTo>
                        <a:pt x="61" y="31"/>
                      </a:lnTo>
                      <a:lnTo>
                        <a:pt x="61" y="31"/>
                      </a:lnTo>
                      <a:lnTo>
                        <a:pt x="69" y="40"/>
                      </a:lnTo>
                      <a:lnTo>
                        <a:pt x="78" y="49"/>
                      </a:lnTo>
                      <a:lnTo>
                        <a:pt x="78" y="49"/>
                      </a:lnTo>
                      <a:lnTo>
                        <a:pt x="82" y="55"/>
                      </a:lnTo>
                      <a:lnTo>
                        <a:pt x="86" y="63"/>
                      </a:lnTo>
                      <a:lnTo>
                        <a:pt x="89" y="69"/>
                      </a:lnTo>
                      <a:lnTo>
                        <a:pt x="91" y="77"/>
                      </a:lnTo>
                      <a:lnTo>
                        <a:pt x="91" y="77"/>
                      </a:lnTo>
                      <a:lnTo>
                        <a:pt x="95" y="93"/>
                      </a:lnTo>
                      <a:lnTo>
                        <a:pt x="96" y="109"/>
                      </a:lnTo>
                      <a:lnTo>
                        <a:pt x="96" y="109"/>
                      </a:lnTo>
                      <a:lnTo>
                        <a:pt x="95" y="123"/>
                      </a:lnTo>
                      <a:lnTo>
                        <a:pt x="93" y="133"/>
                      </a:lnTo>
                      <a:lnTo>
                        <a:pt x="93" y="133"/>
                      </a:lnTo>
                      <a:lnTo>
                        <a:pt x="89" y="141"/>
                      </a:lnTo>
                      <a:lnTo>
                        <a:pt x="84" y="147"/>
                      </a:lnTo>
                      <a:lnTo>
                        <a:pt x="84" y="147"/>
                      </a:lnTo>
                      <a:lnTo>
                        <a:pt x="80" y="152"/>
                      </a:lnTo>
                      <a:lnTo>
                        <a:pt x="75" y="154"/>
                      </a:lnTo>
                      <a:lnTo>
                        <a:pt x="75" y="154"/>
                      </a:lnTo>
                      <a:lnTo>
                        <a:pt x="68" y="154"/>
                      </a:lnTo>
                      <a:lnTo>
                        <a:pt x="61" y="153"/>
                      </a:lnTo>
                      <a:lnTo>
                        <a:pt x="61" y="153"/>
                      </a:lnTo>
                      <a:lnTo>
                        <a:pt x="52" y="151"/>
                      </a:lnTo>
                      <a:lnTo>
                        <a:pt x="41" y="146"/>
                      </a:lnTo>
                      <a:lnTo>
                        <a:pt x="0" y="126"/>
                      </a:lnTo>
                      <a:close/>
                      <a:moveTo>
                        <a:pt x="15" y="118"/>
                      </a:moveTo>
                      <a:lnTo>
                        <a:pt x="40" y="130"/>
                      </a:lnTo>
                      <a:lnTo>
                        <a:pt x="40" y="130"/>
                      </a:lnTo>
                      <a:lnTo>
                        <a:pt x="50" y="134"/>
                      </a:lnTo>
                      <a:lnTo>
                        <a:pt x="57" y="137"/>
                      </a:lnTo>
                      <a:lnTo>
                        <a:pt x="57" y="137"/>
                      </a:lnTo>
                      <a:lnTo>
                        <a:pt x="64" y="137"/>
                      </a:lnTo>
                      <a:lnTo>
                        <a:pt x="68" y="136"/>
                      </a:lnTo>
                      <a:lnTo>
                        <a:pt x="68" y="136"/>
                      </a:lnTo>
                      <a:lnTo>
                        <a:pt x="71" y="133"/>
                      </a:lnTo>
                      <a:lnTo>
                        <a:pt x="74" y="131"/>
                      </a:lnTo>
                      <a:lnTo>
                        <a:pt x="77" y="124"/>
                      </a:lnTo>
                      <a:lnTo>
                        <a:pt x="77" y="124"/>
                      </a:lnTo>
                      <a:lnTo>
                        <a:pt x="79" y="114"/>
                      </a:lnTo>
                      <a:lnTo>
                        <a:pt x="80" y="101"/>
                      </a:lnTo>
                      <a:lnTo>
                        <a:pt x="80" y="101"/>
                      </a:lnTo>
                      <a:lnTo>
                        <a:pt x="80" y="92"/>
                      </a:lnTo>
                      <a:lnTo>
                        <a:pt x="78" y="83"/>
                      </a:lnTo>
                      <a:lnTo>
                        <a:pt x="77" y="75"/>
                      </a:lnTo>
                      <a:lnTo>
                        <a:pt x="74" y="68"/>
                      </a:lnTo>
                      <a:lnTo>
                        <a:pt x="74" y="68"/>
                      </a:lnTo>
                      <a:lnTo>
                        <a:pt x="67" y="56"/>
                      </a:lnTo>
                      <a:lnTo>
                        <a:pt x="64" y="51"/>
                      </a:lnTo>
                      <a:lnTo>
                        <a:pt x="60" y="47"/>
                      </a:lnTo>
                      <a:lnTo>
                        <a:pt x="60" y="47"/>
                      </a:lnTo>
                      <a:lnTo>
                        <a:pt x="51" y="41"/>
                      </a:lnTo>
                      <a:lnTo>
                        <a:pt x="39" y="35"/>
                      </a:lnTo>
                      <a:lnTo>
                        <a:pt x="15" y="23"/>
                      </a:lnTo>
                      <a:lnTo>
                        <a:pt x="15" y="118"/>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2" name="Freeform 36"/>
                <p:cNvSpPr>
                  <a:spLocks noEditPoints="1"/>
                </p:cNvSpPr>
                <p:nvPr/>
              </p:nvSpPr>
              <p:spPr bwMode="auto">
                <a:xfrm>
                  <a:off x="11239595" y="4694336"/>
                  <a:ext cx="33179" cy="45403"/>
                </a:xfrm>
                <a:custGeom>
                  <a:avLst/>
                  <a:gdLst>
                    <a:gd name="T0" fmla="*/ 0 w 79"/>
                    <a:gd name="T1" fmla="*/ 32 h 103"/>
                    <a:gd name="T2" fmla="*/ 3 w 79"/>
                    <a:gd name="T3" fmla="*/ 12 h 103"/>
                    <a:gd name="T4" fmla="*/ 6 w 79"/>
                    <a:gd name="T5" fmla="*/ 5 h 103"/>
                    <a:gd name="T6" fmla="*/ 13 w 79"/>
                    <a:gd name="T7" fmla="*/ 1 h 103"/>
                    <a:gd name="T8" fmla="*/ 18 w 79"/>
                    <a:gd name="T9" fmla="*/ 0 h 103"/>
                    <a:gd name="T10" fmla="*/ 31 w 79"/>
                    <a:gd name="T11" fmla="*/ 1 h 103"/>
                    <a:gd name="T12" fmla="*/ 39 w 79"/>
                    <a:gd name="T13" fmla="*/ 4 h 103"/>
                    <a:gd name="T14" fmla="*/ 55 w 79"/>
                    <a:gd name="T15" fmla="*/ 15 h 103"/>
                    <a:gd name="T16" fmla="*/ 67 w 79"/>
                    <a:gd name="T17" fmla="*/ 30 h 103"/>
                    <a:gd name="T18" fmla="*/ 72 w 79"/>
                    <a:gd name="T19" fmla="*/ 39 h 103"/>
                    <a:gd name="T20" fmla="*/ 78 w 79"/>
                    <a:gd name="T21" fmla="*/ 58 h 103"/>
                    <a:gd name="T22" fmla="*/ 79 w 79"/>
                    <a:gd name="T23" fmla="*/ 69 h 103"/>
                    <a:gd name="T24" fmla="*/ 78 w 79"/>
                    <a:gd name="T25" fmla="*/ 85 h 103"/>
                    <a:gd name="T26" fmla="*/ 73 w 79"/>
                    <a:gd name="T27" fmla="*/ 94 h 103"/>
                    <a:gd name="T28" fmla="*/ 71 w 79"/>
                    <a:gd name="T29" fmla="*/ 98 h 103"/>
                    <a:gd name="T30" fmla="*/ 64 w 79"/>
                    <a:gd name="T31" fmla="*/ 102 h 103"/>
                    <a:gd name="T32" fmla="*/ 59 w 79"/>
                    <a:gd name="T33" fmla="*/ 103 h 103"/>
                    <a:gd name="T34" fmla="*/ 49 w 79"/>
                    <a:gd name="T35" fmla="*/ 103 h 103"/>
                    <a:gd name="T36" fmla="*/ 39 w 79"/>
                    <a:gd name="T37" fmla="*/ 99 h 103"/>
                    <a:gd name="T38" fmla="*/ 30 w 79"/>
                    <a:gd name="T39" fmla="*/ 94 h 103"/>
                    <a:gd name="T40" fmla="*/ 16 w 79"/>
                    <a:gd name="T41" fmla="*/ 81 h 103"/>
                    <a:gd name="T42" fmla="*/ 10 w 79"/>
                    <a:gd name="T43" fmla="*/ 73 h 103"/>
                    <a:gd name="T44" fmla="*/ 2 w 79"/>
                    <a:gd name="T45" fmla="*/ 54 h 103"/>
                    <a:gd name="T46" fmla="*/ 0 w 79"/>
                    <a:gd name="T47" fmla="*/ 32 h 103"/>
                    <a:gd name="T48" fmla="*/ 14 w 79"/>
                    <a:gd name="T49" fmla="*/ 39 h 103"/>
                    <a:gd name="T50" fmla="*/ 15 w 79"/>
                    <a:gd name="T51" fmla="*/ 48 h 103"/>
                    <a:gd name="T52" fmla="*/ 18 w 79"/>
                    <a:gd name="T53" fmla="*/ 63 h 103"/>
                    <a:gd name="T54" fmla="*/ 21 w 79"/>
                    <a:gd name="T55" fmla="*/ 69 h 103"/>
                    <a:gd name="T56" fmla="*/ 29 w 79"/>
                    <a:gd name="T57" fmla="*/ 79 h 103"/>
                    <a:gd name="T58" fmla="*/ 39 w 79"/>
                    <a:gd name="T59" fmla="*/ 87 h 103"/>
                    <a:gd name="T60" fmla="*/ 44 w 79"/>
                    <a:gd name="T61" fmla="*/ 88 h 103"/>
                    <a:gd name="T62" fmla="*/ 53 w 79"/>
                    <a:gd name="T63" fmla="*/ 88 h 103"/>
                    <a:gd name="T64" fmla="*/ 57 w 79"/>
                    <a:gd name="T65" fmla="*/ 87 h 103"/>
                    <a:gd name="T66" fmla="*/ 61 w 79"/>
                    <a:gd name="T67" fmla="*/ 78 h 103"/>
                    <a:gd name="T68" fmla="*/ 64 w 79"/>
                    <a:gd name="T69" fmla="*/ 63 h 103"/>
                    <a:gd name="T70" fmla="*/ 64 w 79"/>
                    <a:gd name="T71" fmla="*/ 55 h 103"/>
                    <a:gd name="T72" fmla="*/ 59 w 79"/>
                    <a:gd name="T73" fmla="*/ 40 h 103"/>
                    <a:gd name="T74" fmla="*/ 56 w 79"/>
                    <a:gd name="T75" fmla="*/ 34 h 103"/>
                    <a:gd name="T76" fmla="*/ 48 w 79"/>
                    <a:gd name="T77" fmla="*/ 24 h 103"/>
                    <a:gd name="T78" fmla="*/ 39 w 79"/>
                    <a:gd name="T79" fmla="*/ 17 h 103"/>
                    <a:gd name="T80" fmla="*/ 33 w 79"/>
                    <a:gd name="T81" fmla="*/ 15 h 103"/>
                    <a:gd name="T82" fmla="*/ 25 w 79"/>
                    <a:gd name="T83" fmla="*/ 15 h 103"/>
                    <a:gd name="T84" fmla="*/ 21 w 79"/>
                    <a:gd name="T85" fmla="*/ 16 h 103"/>
                    <a:gd name="T86" fmla="*/ 16 w 79"/>
                    <a:gd name="T87" fmla="*/ 25 h 103"/>
                    <a:gd name="T88" fmla="*/ 14 w 79"/>
                    <a:gd name="T89" fmla="*/ 3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 h="103">
                      <a:moveTo>
                        <a:pt x="0" y="32"/>
                      </a:moveTo>
                      <a:lnTo>
                        <a:pt x="0" y="32"/>
                      </a:lnTo>
                      <a:lnTo>
                        <a:pt x="0" y="21"/>
                      </a:lnTo>
                      <a:lnTo>
                        <a:pt x="3" y="12"/>
                      </a:lnTo>
                      <a:lnTo>
                        <a:pt x="4" y="9"/>
                      </a:lnTo>
                      <a:lnTo>
                        <a:pt x="6" y="5"/>
                      </a:lnTo>
                      <a:lnTo>
                        <a:pt x="9" y="3"/>
                      </a:lnTo>
                      <a:lnTo>
                        <a:pt x="13" y="1"/>
                      </a:lnTo>
                      <a:lnTo>
                        <a:pt x="13" y="1"/>
                      </a:lnTo>
                      <a:lnTo>
                        <a:pt x="18" y="0"/>
                      </a:lnTo>
                      <a:lnTo>
                        <a:pt x="25" y="0"/>
                      </a:lnTo>
                      <a:lnTo>
                        <a:pt x="31" y="1"/>
                      </a:lnTo>
                      <a:lnTo>
                        <a:pt x="39" y="4"/>
                      </a:lnTo>
                      <a:lnTo>
                        <a:pt x="39" y="4"/>
                      </a:lnTo>
                      <a:lnTo>
                        <a:pt x="47" y="9"/>
                      </a:lnTo>
                      <a:lnTo>
                        <a:pt x="55" y="15"/>
                      </a:lnTo>
                      <a:lnTo>
                        <a:pt x="61" y="22"/>
                      </a:lnTo>
                      <a:lnTo>
                        <a:pt x="67" y="30"/>
                      </a:lnTo>
                      <a:lnTo>
                        <a:pt x="67" y="30"/>
                      </a:lnTo>
                      <a:lnTo>
                        <a:pt x="72" y="39"/>
                      </a:lnTo>
                      <a:lnTo>
                        <a:pt x="76" y="49"/>
                      </a:lnTo>
                      <a:lnTo>
                        <a:pt x="78" y="58"/>
                      </a:lnTo>
                      <a:lnTo>
                        <a:pt x="79" y="69"/>
                      </a:lnTo>
                      <a:lnTo>
                        <a:pt x="79" y="69"/>
                      </a:lnTo>
                      <a:lnTo>
                        <a:pt x="78" y="78"/>
                      </a:lnTo>
                      <a:lnTo>
                        <a:pt x="78" y="85"/>
                      </a:lnTo>
                      <a:lnTo>
                        <a:pt x="76" y="90"/>
                      </a:lnTo>
                      <a:lnTo>
                        <a:pt x="73" y="94"/>
                      </a:lnTo>
                      <a:lnTo>
                        <a:pt x="73" y="94"/>
                      </a:lnTo>
                      <a:lnTo>
                        <a:pt x="71" y="98"/>
                      </a:lnTo>
                      <a:lnTo>
                        <a:pt x="68" y="101"/>
                      </a:lnTo>
                      <a:lnTo>
                        <a:pt x="64" y="102"/>
                      </a:lnTo>
                      <a:lnTo>
                        <a:pt x="59" y="103"/>
                      </a:lnTo>
                      <a:lnTo>
                        <a:pt x="59" y="103"/>
                      </a:lnTo>
                      <a:lnTo>
                        <a:pt x="55" y="103"/>
                      </a:lnTo>
                      <a:lnTo>
                        <a:pt x="49" y="103"/>
                      </a:lnTo>
                      <a:lnTo>
                        <a:pt x="44" y="101"/>
                      </a:lnTo>
                      <a:lnTo>
                        <a:pt x="39" y="99"/>
                      </a:lnTo>
                      <a:lnTo>
                        <a:pt x="39" y="99"/>
                      </a:lnTo>
                      <a:lnTo>
                        <a:pt x="30" y="94"/>
                      </a:lnTo>
                      <a:lnTo>
                        <a:pt x="22" y="88"/>
                      </a:lnTo>
                      <a:lnTo>
                        <a:pt x="16" y="81"/>
                      </a:lnTo>
                      <a:lnTo>
                        <a:pt x="10" y="73"/>
                      </a:lnTo>
                      <a:lnTo>
                        <a:pt x="10" y="73"/>
                      </a:lnTo>
                      <a:lnTo>
                        <a:pt x="5" y="64"/>
                      </a:lnTo>
                      <a:lnTo>
                        <a:pt x="2" y="54"/>
                      </a:lnTo>
                      <a:lnTo>
                        <a:pt x="0" y="43"/>
                      </a:lnTo>
                      <a:lnTo>
                        <a:pt x="0" y="32"/>
                      </a:lnTo>
                      <a:lnTo>
                        <a:pt x="0" y="32"/>
                      </a:lnTo>
                      <a:close/>
                      <a:moveTo>
                        <a:pt x="14" y="39"/>
                      </a:moveTo>
                      <a:lnTo>
                        <a:pt x="14" y="39"/>
                      </a:lnTo>
                      <a:lnTo>
                        <a:pt x="15" y="48"/>
                      </a:lnTo>
                      <a:lnTo>
                        <a:pt x="16" y="55"/>
                      </a:lnTo>
                      <a:lnTo>
                        <a:pt x="18" y="63"/>
                      </a:lnTo>
                      <a:lnTo>
                        <a:pt x="21" y="69"/>
                      </a:lnTo>
                      <a:lnTo>
                        <a:pt x="21" y="69"/>
                      </a:lnTo>
                      <a:lnTo>
                        <a:pt x="25" y="75"/>
                      </a:lnTo>
                      <a:lnTo>
                        <a:pt x="29" y="79"/>
                      </a:lnTo>
                      <a:lnTo>
                        <a:pt x="33" y="83"/>
                      </a:lnTo>
                      <a:lnTo>
                        <a:pt x="39" y="87"/>
                      </a:lnTo>
                      <a:lnTo>
                        <a:pt x="39" y="87"/>
                      </a:lnTo>
                      <a:lnTo>
                        <a:pt x="44" y="88"/>
                      </a:lnTo>
                      <a:lnTo>
                        <a:pt x="48" y="89"/>
                      </a:lnTo>
                      <a:lnTo>
                        <a:pt x="53" y="88"/>
                      </a:lnTo>
                      <a:lnTo>
                        <a:pt x="57" y="87"/>
                      </a:lnTo>
                      <a:lnTo>
                        <a:pt x="57" y="87"/>
                      </a:lnTo>
                      <a:lnTo>
                        <a:pt x="59" y="82"/>
                      </a:lnTo>
                      <a:lnTo>
                        <a:pt x="61" y="78"/>
                      </a:lnTo>
                      <a:lnTo>
                        <a:pt x="64" y="72"/>
                      </a:lnTo>
                      <a:lnTo>
                        <a:pt x="64" y="63"/>
                      </a:lnTo>
                      <a:lnTo>
                        <a:pt x="64" y="63"/>
                      </a:lnTo>
                      <a:lnTo>
                        <a:pt x="64" y="55"/>
                      </a:lnTo>
                      <a:lnTo>
                        <a:pt x="61" y="48"/>
                      </a:lnTo>
                      <a:lnTo>
                        <a:pt x="59" y="40"/>
                      </a:lnTo>
                      <a:lnTo>
                        <a:pt x="56" y="34"/>
                      </a:lnTo>
                      <a:lnTo>
                        <a:pt x="56" y="34"/>
                      </a:lnTo>
                      <a:lnTo>
                        <a:pt x="53" y="28"/>
                      </a:lnTo>
                      <a:lnTo>
                        <a:pt x="48" y="24"/>
                      </a:lnTo>
                      <a:lnTo>
                        <a:pt x="44" y="19"/>
                      </a:lnTo>
                      <a:lnTo>
                        <a:pt x="39" y="17"/>
                      </a:lnTo>
                      <a:lnTo>
                        <a:pt x="39" y="17"/>
                      </a:lnTo>
                      <a:lnTo>
                        <a:pt x="33" y="15"/>
                      </a:lnTo>
                      <a:lnTo>
                        <a:pt x="29" y="14"/>
                      </a:lnTo>
                      <a:lnTo>
                        <a:pt x="25" y="15"/>
                      </a:lnTo>
                      <a:lnTo>
                        <a:pt x="21" y="16"/>
                      </a:lnTo>
                      <a:lnTo>
                        <a:pt x="21" y="16"/>
                      </a:lnTo>
                      <a:lnTo>
                        <a:pt x="18" y="21"/>
                      </a:lnTo>
                      <a:lnTo>
                        <a:pt x="16" y="25"/>
                      </a:lnTo>
                      <a:lnTo>
                        <a:pt x="15" y="31"/>
                      </a:lnTo>
                      <a:lnTo>
                        <a:pt x="14" y="39"/>
                      </a:lnTo>
                      <a:lnTo>
                        <a:pt x="14" y="39"/>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3" name="Freeform 37"/>
                <p:cNvSpPr>
                  <a:spLocks noEditPoints="1"/>
                </p:cNvSpPr>
                <p:nvPr/>
              </p:nvSpPr>
              <p:spPr bwMode="auto">
                <a:xfrm>
                  <a:off x="11278012" y="4713544"/>
                  <a:ext cx="33179" cy="61119"/>
                </a:xfrm>
                <a:custGeom>
                  <a:avLst/>
                  <a:gdLst>
                    <a:gd name="T0" fmla="*/ 17 w 75"/>
                    <a:gd name="T1" fmla="*/ 98 h 139"/>
                    <a:gd name="T2" fmla="*/ 18 w 75"/>
                    <a:gd name="T3" fmla="*/ 104 h 139"/>
                    <a:gd name="T4" fmla="*/ 21 w 75"/>
                    <a:gd name="T5" fmla="*/ 110 h 139"/>
                    <a:gd name="T6" fmla="*/ 37 w 75"/>
                    <a:gd name="T7" fmla="*/ 122 h 139"/>
                    <a:gd name="T8" fmla="*/ 45 w 75"/>
                    <a:gd name="T9" fmla="*/ 125 h 139"/>
                    <a:gd name="T10" fmla="*/ 52 w 75"/>
                    <a:gd name="T11" fmla="*/ 125 h 139"/>
                    <a:gd name="T12" fmla="*/ 54 w 75"/>
                    <a:gd name="T13" fmla="*/ 124 h 139"/>
                    <a:gd name="T14" fmla="*/ 57 w 75"/>
                    <a:gd name="T15" fmla="*/ 120 h 139"/>
                    <a:gd name="T16" fmla="*/ 58 w 75"/>
                    <a:gd name="T17" fmla="*/ 116 h 139"/>
                    <a:gd name="T18" fmla="*/ 59 w 75"/>
                    <a:gd name="T19" fmla="*/ 97 h 139"/>
                    <a:gd name="T20" fmla="*/ 55 w 75"/>
                    <a:gd name="T21" fmla="*/ 100 h 139"/>
                    <a:gd name="T22" fmla="*/ 43 w 75"/>
                    <a:gd name="T23" fmla="*/ 100 h 139"/>
                    <a:gd name="T24" fmla="*/ 37 w 75"/>
                    <a:gd name="T25" fmla="*/ 98 h 139"/>
                    <a:gd name="T26" fmla="*/ 21 w 75"/>
                    <a:gd name="T27" fmla="*/ 87 h 139"/>
                    <a:gd name="T28" fmla="*/ 9 w 75"/>
                    <a:gd name="T29" fmla="*/ 71 h 139"/>
                    <a:gd name="T30" fmla="*/ 5 w 75"/>
                    <a:gd name="T31" fmla="*/ 62 h 139"/>
                    <a:gd name="T32" fmla="*/ 1 w 75"/>
                    <a:gd name="T33" fmla="*/ 44 h 139"/>
                    <a:gd name="T34" fmla="*/ 0 w 75"/>
                    <a:gd name="T35" fmla="*/ 34 h 139"/>
                    <a:gd name="T36" fmla="*/ 2 w 75"/>
                    <a:gd name="T37" fmla="*/ 16 h 139"/>
                    <a:gd name="T38" fmla="*/ 4 w 75"/>
                    <a:gd name="T39" fmla="*/ 12 h 139"/>
                    <a:gd name="T40" fmla="*/ 9 w 75"/>
                    <a:gd name="T41" fmla="*/ 5 h 139"/>
                    <a:gd name="T42" fmla="*/ 17 w 75"/>
                    <a:gd name="T43" fmla="*/ 1 h 139"/>
                    <a:gd name="T44" fmla="*/ 21 w 75"/>
                    <a:gd name="T45" fmla="*/ 0 h 139"/>
                    <a:gd name="T46" fmla="*/ 31 w 75"/>
                    <a:gd name="T47" fmla="*/ 2 h 139"/>
                    <a:gd name="T48" fmla="*/ 37 w 75"/>
                    <a:gd name="T49" fmla="*/ 5 h 139"/>
                    <a:gd name="T50" fmla="*/ 51 w 75"/>
                    <a:gd name="T51" fmla="*/ 14 h 139"/>
                    <a:gd name="T52" fmla="*/ 62 w 75"/>
                    <a:gd name="T53" fmla="*/ 30 h 139"/>
                    <a:gd name="T54" fmla="*/ 75 w 75"/>
                    <a:gd name="T55" fmla="*/ 25 h 139"/>
                    <a:gd name="T56" fmla="*/ 75 w 75"/>
                    <a:gd name="T57" fmla="*/ 103 h 139"/>
                    <a:gd name="T58" fmla="*/ 72 w 75"/>
                    <a:gd name="T59" fmla="*/ 127 h 139"/>
                    <a:gd name="T60" fmla="*/ 70 w 75"/>
                    <a:gd name="T61" fmla="*/ 132 h 139"/>
                    <a:gd name="T62" fmla="*/ 65 w 75"/>
                    <a:gd name="T63" fmla="*/ 137 h 139"/>
                    <a:gd name="T64" fmla="*/ 57 w 75"/>
                    <a:gd name="T65" fmla="*/ 139 h 139"/>
                    <a:gd name="T66" fmla="*/ 53 w 75"/>
                    <a:gd name="T67" fmla="*/ 139 h 139"/>
                    <a:gd name="T68" fmla="*/ 37 w 75"/>
                    <a:gd name="T69" fmla="*/ 134 h 139"/>
                    <a:gd name="T70" fmla="*/ 29 w 75"/>
                    <a:gd name="T71" fmla="*/ 130 h 139"/>
                    <a:gd name="T72" fmla="*/ 17 w 75"/>
                    <a:gd name="T73" fmla="*/ 121 h 139"/>
                    <a:gd name="T74" fmla="*/ 12 w 75"/>
                    <a:gd name="T75" fmla="*/ 115 h 139"/>
                    <a:gd name="T76" fmla="*/ 5 w 75"/>
                    <a:gd name="T77" fmla="*/ 102 h 139"/>
                    <a:gd name="T78" fmla="*/ 3 w 75"/>
                    <a:gd name="T79" fmla="*/ 88 h 139"/>
                    <a:gd name="T80" fmla="*/ 15 w 75"/>
                    <a:gd name="T81" fmla="*/ 39 h 139"/>
                    <a:gd name="T82" fmla="*/ 15 w 75"/>
                    <a:gd name="T83" fmla="*/ 48 h 139"/>
                    <a:gd name="T84" fmla="*/ 18 w 75"/>
                    <a:gd name="T85" fmla="*/ 63 h 139"/>
                    <a:gd name="T86" fmla="*/ 21 w 75"/>
                    <a:gd name="T87" fmla="*/ 69 h 139"/>
                    <a:gd name="T88" fmla="*/ 29 w 75"/>
                    <a:gd name="T89" fmla="*/ 78 h 139"/>
                    <a:gd name="T90" fmla="*/ 38 w 75"/>
                    <a:gd name="T91" fmla="*/ 85 h 139"/>
                    <a:gd name="T92" fmla="*/ 42 w 75"/>
                    <a:gd name="T93" fmla="*/ 87 h 139"/>
                    <a:gd name="T94" fmla="*/ 51 w 75"/>
                    <a:gd name="T95" fmla="*/ 87 h 139"/>
                    <a:gd name="T96" fmla="*/ 54 w 75"/>
                    <a:gd name="T97" fmla="*/ 85 h 139"/>
                    <a:gd name="T98" fmla="*/ 59 w 75"/>
                    <a:gd name="T99" fmla="*/ 77 h 139"/>
                    <a:gd name="T100" fmla="*/ 62 w 75"/>
                    <a:gd name="T101" fmla="*/ 63 h 139"/>
                    <a:gd name="T102" fmla="*/ 60 w 75"/>
                    <a:gd name="T103" fmla="*/ 54 h 139"/>
                    <a:gd name="T104" fmla="*/ 57 w 75"/>
                    <a:gd name="T105" fmla="*/ 40 h 139"/>
                    <a:gd name="T106" fmla="*/ 54 w 75"/>
                    <a:gd name="T107" fmla="*/ 35 h 139"/>
                    <a:gd name="T108" fmla="*/ 46 w 75"/>
                    <a:gd name="T109" fmla="*/ 24 h 139"/>
                    <a:gd name="T110" fmla="*/ 38 w 75"/>
                    <a:gd name="T111" fmla="*/ 18 h 139"/>
                    <a:gd name="T112" fmla="*/ 33 w 75"/>
                    <a:gd name="T113" fmla="*/ 16 h 139"/>
                    <a:gd name="T114" fmla="*/ 25 w 75"/>
                    <a:gd name="T115" fmla="*/ 16 h 139"/>
                    <a:gd name="T116" fmla="*/ 21 w 75"/>
                    <a:gd name="T117" fmla="*/ 19 h 139"/>
                    <a:gd name="T118" fmla="*/ 16 w 75"/>
                    <a:gd name="T119" fmla="*/ 26 h 139"/>
                    <a:gd name="T120" fmla="*/ 15 w 75"/>
                    <a:gd name="T121" fmla="*/ 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 h="139">
                      <a:moveTo>
                        <a:pt x="3" y="88"/>
                      </a:moveTo>
                      <a:lnTo>
                        <a:pt x="17" y="98"/>
                      </a:lnTo>
                      <a:lnTo>
                        <a:pt x="17" y="98"/>
                      </a:lnTo>
                      <a:lnTo>
                        <a:pt x="18" y="104"/>
                      </a:lnTo>
                      <a:lnTo>
                        <a:pt x="21" y="110"/>
                      </a:lnTo>
                      <a:lnTo>
                        <a:pt x="21" y="110"/>
                      </a:lnTo>
                      <a:lnTo>
                        <a:pt x="28" y="116"/>
                      </a:lnTo>
                      <a:lnTo>
                        <a:pt x="37" y="122"/>
                      </a:lnTo>
                      <a:lnTo>
                        <a:pt x="37" y="122"/>
                      </a:lnTo>
                      <a:lnTo>
                        <a:pt x="45" y="125"/>
                      </a:lnTo>
                      <a:lnTo>
                        <a:pt x="48" y="125"/>
                      </a:lnTo>
                      <a:lnTo>
                        <a:pt x="52" y="125"/>
                      </a:lnTo>
                      <a:lnTo>
                        <a:pt x="52" y="125"/>
                      </a:lnTo>
                      <a:lnTo>
                        <a:pt x="54" y="124"/>
                      </a:lnTo>
                      <a:lnTo>
                        <a:pt x="56" y="122"/>
                      </a:lnTo>
                      <a:lnTo>
                        <a:pt x="57" y="120"/>
                      </a:lnTo>
                      <a:lnTo>
                        <a:pt x="58" y="116"/>
                      </a:lnTo>
                      <a:lnTo>
                        <a:pt x="58" y="116"/>
                      </a:lnTo>
                      <a:lnTo>
                        <a:pt x="59" y="110"/>
                      </a:lnTo>
                      <a:lnTo>
                        <a:pt x="59" y="97"/>
                      </a:lnTo>
                      <a:lnTo>
                        <a:pt x="59" y="97"/>
                      </a:lnTo>
                      <a:lnTo>
                        <a:pt x="55" y="100"/>
                      </a:lnTo>
                      <a:lnTo>
                        <a:pt x="50" y="101"/>
                      </a:lnTo>
                      <a:lnTo>
                        <a:pt x="43" y="100"/>
                      </a:lnTo>
                      <a:lnTo>
                        <a:pt x="37" y="98"/>
                      </a:lnTo>
                      <a:lnTo>
                        <a:pt x="37" y="98"/>
                      </a:lnTo>
                      <a:lnTo>
                        <a:pt x="28" y="92"/>
                      </a:lnTo>
                      <a:lnTo>
                        <a:pt x="21" y="87"/>
                      </a:lnTo>
                      <a:lnTo>
                        <a:pt x="15" y="79"/>
                      </a:lnTo>
                      <a:lnTo>
                        <a:pt x="9" y="71"/>
                      </a:lnTo>
                      <a:lnTo>
                        <a:pt x="9" y="71"/>
                      </a:lnTo>
                      <a:lnTo>
                        <a:pt x="5" y="62"/>
                      </a:lnTo>
                      <a:lnTo>
                        <a:pt x="2" y="52"/>
                      </a:lnTo>
                      <a:lnTo>
                        <a:pt x="1" y="44"/>
                      </a:lnTo>
                      <a:lnTo>
                        <a:pt x="0" y="34"/>
                      </a:lnTo>
                      <a:lnTo>
                        <a:pt x="0" y="34"/>
                      </a:lnTo>
                      <a:lnTo>
                        <a:pt x="1" y="22"/>
                      </a:lnTo>
                      <a:lnTo>
                        <a:pt x="2" y="16"/>
                      </a:lnTo>
                      <a:lnTo>
                        <a:pt x="4" y="12"/>
                      </a:lnTo>
                      <a:lnTo>
                        <a:pt x="4" y="12"/>
                      </a:lnTo>
                      <a:lnTo>
                        <a:pt x="6" y="8"/>
                      </a:lnTo>
                      <a:lnTo>
                        <a:pt x="9" y="5"/>
                      </a:lnTo>
                      <a:lnTo>
                        <a:pt x="13" y="2"/>
                      </a:lnTo>
                      <a:lnTo>
                        <a:pt x="17" y="1"/>
                      </a:lnTo>
                      <a:lnTo>
                        <a:pt x="17" y="1"/>
                      </a:lnTo>
                      <a:lnTo>
                        <a:pt x="21" y="0"/>
                      </a:lnTo>
                      <a:lnTo>
                        <a:pt x="26" y="1"/>
                      </a:lnTo>
                      <a:lnTo>
                        <a:pt x="31" y="2"/>
                      </a:lnTo>
                      <a:lnTo>
                        <a:pt x="37" y="5"/>
                      </a:lnTo>
                      <a:lnTo>
                        <a:pt x="37" y="5"/>
                      </a:lnTo>
                      <a:lnTo>
                        <a:pt x="44" y="9"/>
                      </a:lnTo>
                      <a:lnTo>
                        <a:pt x="51" y="14"/>
                      </a:lnTo>
                      <a:lnTo>
                        <a:pt x="56" y="22"/>
                      </a:lnTo>
                      <a:lnTo>
                        <a:pt x="62" y="30"/>
                      </a:lnTo>
                      <a:lnTo>
                        <a:pt x="62" y="19"/>
                      </a:lnTo>
                      <a:lnTo>
                        <a:pt x="75" y="25"/>
                      </a:lnTo>
                      <a:lnTo>
                        <a:pt x="75" y="103"/>
                      </a:lnTo>
                      <a:lnTo>
                        <a:pt x="75" y="103"/>
                      </a:lnTo>
                      <a:lnTo>
                        <a:pt x="73" y="122"/>
                      </a:lnTo>
                      <a:lnTo>
                        <a:pt x="72" y="127"/>
                      </a:lnTo>
                      <a:lnTo>
                        <a:pt x="70" y="132"/>
                      </a:lnTo>
                      <a:lnTo>
                        <a:pt x="70" y="132"/>
                      </a:lnTo>
                      <a:lnTo>
                        <a:pt x="68" y="135"/>
                      </a:lnTo>
                      <a:lnTo>
                        <a:pt x="65" y="137"/>
                      </a:lnTo>
                      <a:lnTo>
                        <a:pt x="62" y="139"/>
                      </a:lnTo>
                      <a:lnTo>
                        <a:pt x="57" y="139"/>
                      </a:lnTo>
                      <a:lnTo>
                        <a:pt x="57" y="139"/>
                      </a:lnTo>
                      <a:lnTo>
                        <a:pt x="53" y="139"/>
                      </a:lnTo>
                      <a:lnTo>
                        <a:pt x="47" y="139"/>
                      </a:lnTo>
                      <a:lnTo>
                        <a:pt x="37" y="134"/>
                      </a:lnTo>
                      <a:lnTo>
                        <a:pt x="37" y="134"/>
                      </a:lnTo>
                      <a:lnTo>
                        <a:pt x="29" y="130"/>
                      </a:lnTo>
                      <a:lnTo>
                        <a:pt x="22" y="126"/>
                      </a:lnTo>
                      <a:lnTo>
                        <a:pt x="17" y="121"/>
                      </a:lnTo>
                      <a:lnTo>
                        <a:pt x="12" y="115"/>
                      </a:lnTo>
                      <a:lnTo>
                        <a:pt x="12" y="115"/>
                      </a:lnTo>
                      <a:lnTo>
                        <a:pt x="7" y="109"/>
                      </a:lnTo>
                      <a:lnTo>
                        <a:pt x="5" y="102"/>
                      </a:lnTo>
                      <a:lnTo>
                        <a:pt x="3" y="96"/>
                      </a:lnTo>
                      <a:lnTo>
                        <a:pt x="3" y="88"/>
                      </a:lnTo>
                      <a:lnTo>
                        <a:pt x="3" y="88"/>
                      </a:lnTo>
                      <a:close/>
                      <a:moveTo>
                        <a:pt x="15" y="39"/>
                      </a:moveTo>
                      <a:lnTo>
                        <a:pt x="15" y="39"/>
                      </a:lnTo>
                      <a:lnTo>
                        <a:pt x="15" y="48"/>
                      </a:lnTo>
                      <a:lnTo>
                        <a:pt x="16" y="56"/>
                      </a:lnTo>
                      <a:lnTo>
                        <a:pt x="18" y="63"/>
                      </a:lnTo>
                      <a:lnTo>
                        <a:pt x="21" y="69"/>
                      </a:lnTo>
                      <a:lnTo>
                        <a:pt x="21" y="69"/>
                      </a:lnTo>
                      <a:lnTo>
                        <a:pt x="25" y="74"/>
                      </a:lnTo>
                      <a:lnTo>
                        <a:pt x="29" y="78"/>
                      </a:lnTo>
                      <a:lnTo>
                        <a:pt x="33" y="83"/>
                      </a:lnTo>
                      <a:lnTo>
                        <a:pt x="38" y="85"/>
                      </a:lnTo>
                      <a:lnTo>
                        <a:pt x="38" y="85"/>
                      </a:lnTo>
                      <a:lnTo>
                        <a:pt x="42" y="87"/>
                      </a:lnTo>
                      <a:lnTo>
                        <a:pt x="46" y="88"/>
                      </a:lnTo>
                      <a:lnTo>
                        <a:pt x="51" y="87"/>
                      </a:lnTo>
                      <a:lnTo>
                        <a:pt x="54" y="85"/>
                      </a:lnTo>
                      <a:lnTo>
                        <a:pt x="54" y="85"/>
                      </a:lnTo>
                      <a:lnTo>
                        <a:pt x="57" y="82"/>
                      </a:lnTo>
                      <a:lnTo>
                        <a:pt x="59" y="77"/>
                      </a:lnTo>
                      <a:lnTo>
                        <a:pt x="60" y="71"/>
                      </a:lnTo>
                      <a:lnTo>
                        <a:pt x="62" y="63"/>
                      </a:lnTo>
                      <a:lnTo>
                        <a:pt x="62" y="63"/>
                      </a:lnTo>
                      <a:lnTo>
                        <a:pt x="60" y="54"/>
                      </a:lnTo>
                      <a:lnTo>
                        <a:pt x="59" y="48"/>
                      </a:lnTo>
                      <a:lnTo>
                        <a:pt x="57" y="40"/>
                      </a:lnTo>
                      <a:lnTo>
                        <a:pt x="54" y="35"/>
                      </a:lnTo>
                      <a:lnTo>
                        <a:pt x="54" y="35"/>
                      </a:lnTo>
                      <a:lnTo>
                        <a:pt x="51" y="30"/>
                      </a:lnTo>
                      <a:lnTo>
                        <a:pt x="46" y="24"/>
                      </a:lnTo>
                      <a:lnTo>
                        <a:pt x="42" y="21"/>
                      </a:lnTo>
                      <a:lnTo>
                        <a:pt x="38" y="18"/>
                      </a:lnTo>
                      <a:lnTo>
                        <a:pt x="38" y="18"/>
                      </a:lnTo>
                      <a:lnTo>
                        <a:pt x="33" y="16"/>
                      </a:lnTo>
                      <a:lnTo>
                        <a:pt x="29" y="15"/>
                      </a:lnTo>
                      <a:lnTo>
                        <a:pt x="25" y="16"/>
                      </a:lnTo>
                      <a:lnTo>
                        <a:pt x="21" y="19"/>
                      </a:lnTo>
                      <a:lnTo>
                        <a:pt x="21" y="19"/>
                      </a:lnTo>
                      <a:lnTo>
                        <a:pt x="18" y="22"/>
                      </a:lnTo>
                      <a:lnTo>
                        <a:pt x="16" y="26"/>
                      </a:lnTo>
                      <a:lnTo>
                        <a:pt x="15" y="33"/>
                      </a:lnTo>
                      <a:lnTo>
                        <a:pt x="15" y="39"/>
                      </a:lnTo>
                      <a:lnTo>
                        <a:pt x="15" y="39"/>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4" name="Freeform 38"/>
                <p:cNvSpPr>
                  <a:spLocks noEditPoints="1"/>
                </p:cNvSpPr>
                <p:nvPr/>
              </p:nvSpPr>
              <p:spPr bwMode="auto">
                <a:xfrm>
                  <a:off x="11340877" y="4724021"/>
                  <a:ext cx="45403" cy="76835"/>
                </a:xfrm>
                <a:custGeom>
                  <a:avLst/>
                  <a:gdLst>
                    <a:gd name="T0" fmla="*/ 0 w 103"/>
                    <a:gd name="T1" fmla="*/ 0 h 176"/>
                    <a:gd name="T2" fmla="*/ 51 w 103"/>
                    <a:gd name="T3" fmla="*/ 26 h 176"/>
                    <a:gd name="T4" fmla="*/ 75 w 103"/>
                    <a:gd name="T5" fmla="*/ 40 h 176"/>
                    <a:gd name="T6" fmla="*/ 83 w 103"/>
                    <a:gd name="T7" fmla="*/ 49 h 176"/>
                    <a:gd name="T8" fmla="*/ 88 w 103"/>
                    <a:gd name="T9" fmla="*/ 59 h 176"/>
                    <a:gd name="T10" fmla="*/ 93 w 103"/>
                    <a:gd name="T11" fmla="*/ 80 h 176"/>
                    <a:gd name="T12" fmla="*/ 92 w 103"/>
                    <a:gd name="T13" fmla="*/ 86 h 176"/>
                    <a:gd name="T14" fmla="*/ 89 w 103"/>
                    <a:gd name="T15" fmla="*/ 96 h 176"/>
                    <a:gd name="T16" fmla="*/ 85 w 103"/>
                    <a:gd name="T17" fmla="*/ 99 h 176"/>
                    <a:gd name="T18" fmla="*/ 75 w 103"/>
                    <a:gd name="T19" fmla="*/ 101 h 176"/>
                    <a:gd name="T20" fmla="*/ 60 w 103"/>
                    <a:gd name="T21" fmla="*/ 98 h 176"/>
                    <a:gd name="T22" fmla="*/ 69 w 103"/>
                    <a:gd name="T23" fmla="*/ 109 h 176"/>
                    <a:gd name="T24" fmla="*/ 76 w 103"/>
                    <a:gd name="T25" fmla="*/ 119 h 176"/>
                    <a:gd name="T26" fmla="*/ 103 w 103"/>
                    <a:gd name="T27" fmla="*/ 176 h 176"/>
                    <a:gd name="T28" fmla="*/ 67 w 103"/>
                    <a:gd name="T29" fmla="*/ 132 h 176"/>
                    <a:gd name="T30" fmla="*/ 56 w 103"/>
                    <a:gd name="T31" fmla="*/ 110 h 176"/>
                    <a:gd name="T32" fmla="*/ 52 w 103"/>
                    <a:gd name="T33" fmla="*/ 103 h 176"/>
                    <a:gd name="T34" fmla="*/ 49 w 103"/>
                    <a:gd name="T35" fmla="*/ 98 h 176"/>
                    <a:gd name="T36" fmla="*/ 41 w 103"/>
                    <a:gd name="T37" fmla="*/ 91 h 176"/>
                    <a:gd name="T38" fmla="*/ 15 w 103"/>
                    <a:gd name="T39" fmla="*/ 77 h 176"/>
                    <a:gd name="T40" fmla="*/ 0 w 103"/>
                    <a:gd name="T41" fmla="*/ 126 h 176"/>
                    <a:gd name="T42" fmla="*/ 48 w 103"/>
                    <a:gd name="T43" fmla="*/ 79 h 176"/>
                    <a:gd name="T44" fmla="*/ 58 w 103"/>
                    <a:gd name="T45" fmla="*/ 84 h 176"/>
                    <a:gd name="T46" fmla="*/ 65 w 103"/>
                    <a:gd name="T47" fmla="*/ 85 h 176"/>
                    <a:gd name="T48" fmla="*/ 74 w 103"/>
                    <a:gd name="T49" fmla="*/ 81 h 176"/>
                    <a:gd name="T50" fmla="*/ 76 w 103"/>
                    <a:gd name="T51" fmla="*/ 78 h 176"/>
                    <a:gd name="T52" fmla="*/ 77 w 103"/>
                    <a:gd name="T53" fmla="*/ 73 h 176"/>
                    <a:gd name="T54" fmla="*/ 76 w 103"/>
                    <a:gd name="T55" fmla="*/ 63 h 176"/>
                    <a:gd name="T56" fmla="*/ 71 w 103"/>
                    <a:gd name="T57" fmla="*/ 54 h 176"/>
                    <a:gd name="T58" fmla="*/ 67 w 103"/>
                    <a:gd name="T59" fmla="*/ 51 h 176"/>
                    <a:gd name="T60" fmla="*/ 59 w 103"/>
                    <a:gd name="T61" fmla="*/ 43 h 176"/>
                    <a:gd name="T62" fmla="*/ 15 w 103"/>
                    <a:gd name="T63" fmla="*/ 2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76">
                      <a:moveTo>
                        <a:pt x="0" y="126"/>
                      </a:moveTo>
                      <a:lnTo>
                        <a:pt x="0" y="0"/>
                      </a:lnTo>
                      <a:lnTo>
                        <a:pt x="51" y="26"/>
                      </a:lnTo>
                      <a:lnTo>
                        <a:pt x="51" y="26"/>
                      </a:lnTo>
                      <a:lnTo>
                        <a:pt x="65" y="33"/>
                      </a:lnTo>
                      <a:lnTo>
                        <a:pt x="75" y="40"/>
                      </a:lnTo>
                      <a:lnTo>
                        <a:pt x="75" y="40"/>
                      </a:lnTo>
                      <a:lnTo>
                        <a:pt x="83" y="49"/>
                      </a:lnTo>
                      <a:lnTo>
                        <a:pt x="88" y="59"/>
                      </a:lnTo>
                      <a:lnTo>
                        <a:pt x="88" y="59"/>
                      </a:lnTo>
                      <a:lnTo>
                        <a:pt x="92" y="70"/>
                      </a:lnTo>
                      <a:lnTo>
                        <a:pt x="93" y="80"/>
                      </a:lnTo>
                      <a:lnTo>
                        <a:pt x="93" y="80"/>
                      </a:lnTo>
                      <a:lnTo>
                        <a:pt x="92" y="86"/>
                      </a:lnTo>
                      <a:lnTo>
                        <a:pt x="91" y="91"/>
                      </a:lnTo>
                      <a:lnTo>
                        <a:pt x="89" y="96"/>
                      </a:lnTo>
                      <a:lnTo>
                        <a:pt x="85" y="99"/>
                      </a:lnTo>
                      <a:lnTo>
                        <a:pt x="85" y="99"/>
                      </a:lnTo>
                      <a:lnTo>
                        <a:pt x="80" y="101"/>
                      </a:lnTo>
                      <a:lnTo>
                        <a:pt x="75" y="101"/>
                      </a:lnTo>
                      <a:lnTo>
                        <a:pt x="68" y="100"/>
                      </a:lnTo>
                      <a:lnTo>
                        <a:pt x="60" y="98"/>
                      </a:lnTo>
                      <a:lnTo>
                        <a:pt x="60" y="98"/>
                      </a:lnTo>
                      <a:lnTo>
                        <a:pt x="69" y="109"/>
                      </a:lnTo>
                      <a:lnTo>
                        <a:pt x="69" y="109"/>
                      </a:lnTo>
                      <a:lnTo>
                        <a:pt x="76" y="119"/>
                      </a:lnTo>
                      <a:lnTo>
                        <a:pt x="83" y="131"/>
                      </a:lnTo>
                      <a:lnTo>
                        <a:pt x="103" y="176"/>
                      </a:lnTo>
                      <a:lnTo>
                        <a:pt x="84" y="166"/>
                      </a:lnTo>
                      <a:lnTo>
                        <a:pt x="67" y="132"/>
                      </a:lnTo>
                      <a:lnTo>
                        <a:pt x="67" y="132"/>
                      </a:lnTo>
                      <a:lnTo>
                        <a:pt x="56" y="110"/>
                      </a:lnTo>
                      <a:lnTo>
                        <a:pt x="56" y="110"/>
                      </a:lnTo>
                      <a:lnTo>
                        <a:pt x="52" y="103"/>
                      </a:lnTo>
                      <a:lnTo>
                        <a:pt x="49" y="98"/>
                      </a:lnTo>
                      <a:lnTo>
                        <a:pt x="49" y="98"/>
                      </a:lnTo>
                      <a:lnTo>
                        <a:pt x="41" y="91"/>
                      </a:lnTo>
                      <a:lnTo>
                        <a:pt x="41" y="91"/>
                      </a:lnTo>
                      <a:lnTo>
                        <a:pt x="33" y="86"/>
                      </a:lnTo>
                      <a:lnTo>
                        <a:pt x="15" y="77"/>
                      </a:lnTo>
                      <a:lnTo>
                        <a:pt x="15" y="134"/>
                      </a:lnTo>
                      <a:lnTo>
                        <a:pt x="0" y="126"/>
                      </a:lnTo>
                      <a:close/>
                      <a:moveTo>
                        <a:pt x="15" y="63"/>
                      </a:moveTo>
                      <a:lnTo>
                        <a:pt x="48" y="79"/>
                      </a:lnTo>
                      <a:lnTo>
                        <a:pt x="48" y="79"/>
                      </a:lnTo>
                      <a:lnTo>
                        <a:pt x="58" y="84"/>
                      </a:lnTo>
                      <a:lnTo>
                        <a:pt x="65" y="85"/>
                      </a:lnTo>
                      <a:lnTo>
                        <a:pt x="65" y="85"/>
                      </a:lnTo>
                      <a:lnTo>
                        <a:pt x="71" y="85"/>
                      </a:lnTo>
                      <a:lnTo>
                        <a:pt x="74" y="81"/>
                      </a:lnTo>
                      <a:lnTo>
                        <a:pt x="74" y="81"/>
                      </a:lnTo>
                      <a:lnTo>
                        <a:pt x="76" y="78"/>
                      </a:lnTo>
                      <a:lnTo>
                        <a:pt x="77" y="73"/>
                      </a:lnTo>
                      <a:lnTo>
                        <a:pt x="77" y="73"/>
                      </a:lnTo>
                      <a:lnTo>
                        <a:pt x="77" y="67"/>
                      </a:lnTo>
                      <a:lnTo>
                        <a:pt x="76" y="63"/>
                      </a:lnTo>
                      <a:lnTo>
                        <a:pt x="74" y="59"/>
                      </a:lnTo>
                      <a:lnTo>
                        <a:pt x="71" y="54"/>
                      </a:lnTo>
                      <a:lnTo>
                        <a:pt x="71" y="54"/>
                      </a:lnTo>
                      <a:lnTo>
                        <a:pt x="67" y="51"/>
                      </a:lnTo>
                      <a:lnTo>
                        <a:pt x="63" y="47"/>
                      </a:lnTo>
                      <a:lnTo>
                        <a:pt x="59" y="43"/>
                      </a:lnTo>
                      <a:lnTo>
                        <a:pt x="52" y="40"/>
                      </a:lnTo>
                      <a:lnTo>
                        <a:pt x="15" y="22"/>
                      </a:lnTo>
                      <a:lnTo>
                        <a:pt x="15" y="63"/>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5" name="Freeform 39"/>
                <p:cNvSpPr>
                  <a:spLocks noEditPoints="1"/>
                </p:cNvSpPr>
                <p:nvPr/>
              </p:nvSpPr>
              <p:spPr bwMode="auto">
                <a:xfrm>
                  <a:off x="11389772" y="4767678"/>
                  <a:ext cx="33179" cy="50642"/>
                </a:xfrm>
                <a:custGeom>
                  <a:avLst/>
                  <a:gdLst>
                    <a:gd name="T0" fmla="*/ 59 w 78"/>
                    <a:gd name="T1" fmla="*/ 97 h 116"/>
                    <a:gd name="T2" fmla="*/ 44 w 78"/>
                    <a:gd name="T3" fmla="*/ 100 h 116"/>
                    <a:gd name="T4" fmla="*/ 37 w 78"/>
                    <a:gd name="T5" fmla="*/ 98 h 116"/>
                    <a:gd name="T6" fmla="*/ 29 w 78"/>
                    <a:gd name="T7" fmla="*/ 94 h 116"/>
                    <a:gd name="T8" fmla="*/ 16 w 78"/>
                    <a:gd name="T9" fmla="*/ 87 h 116"/>
                    <a:gd name="T10" fmla="*/ 7 w 78"/>
                    <a:gd name="T11" fmla="*/ 77 h 116"/>
                    <a:gd name="T12" fmla="*/ 4 w 78"/>
                    <a:gd name="T13" fmla="*/ 72 h 116"/>
                    <a:gd name="T14" fmla="*/ 0 w 78"/>
                    <a:gd name="T15" fmla="*/ 61 h 116"/>
                    <a:gd name="T16" fmla="*/ 0 w 78"/>
                    <a:gd name="T17" fmla="*/ 54 h 116"/>
                    <a:gd name="T18" fmla="*/ 2 w 78"/>
                    <a:gd name="T19" fmla="*/ 43 h 116"/>
                    <a:gd name="T20" fmla="*/ 5 w 78"/>
                    <a:gd name="T21" fmla="*/ 40 h 116"/>
                    <a:gd name="T22" fmla="*/ 10 w 78"/>
                    <a:gd name="T23" fmla="*/ 39 h 116"/>
                    <a:gd name="T24" fmla="*/ 20 w 78"/>
                    <a:gd name="T25" fmla="*/ 39 h 116"/>
                    <a:gd name="T26" fmla="*/ 33 w 78"/>
                    <a:gd name="T27" fmla="*/ 42 h 116"/>
                    <a:gd name="T28" fmla="*/ 48 w 78"/>
                    <a:gd name="T29" fmla="*/ 48 h 116"/>
                    <a:gd name="T30" fmla="*/ 58 w 78"/>
                    <a:gd name="T31" fmla="*/ 50 h 116"/>
                    <a:gd name="T32" fmla="*/ 58 w 78"/>
                    <a:gd name="T33" fmla="*/ 46 h 116"/>
                    <a:gd name="T34" fmla="*/ 54 w 78"/>
                    <a:gd name="T35" fmla="*/ 30 h 116"/>
                    <a:gd name="T36" fmla="*/ 52 w 78"/>
                    <a:gd name="T37" fmla="*/ 27 h 116"/>
                    <a:gd name="T38" fmla="*/ 38 w 78"/>
                    <a:gd name="T39" fmla="*/ 17 h 116"/>
                    <a:gd name="T40" fmla="*/ 29 w 78"/>
                    <a:gd name="T41" fmla="*/ 14 h 116"/>
                    <a:gd name="T42" fmla="*/ 24 w 78"/>
                    <a:gd name="T43" fmla="*/ 14 h 116"/>
                    <a:gd name="T44" fmla="*/ 21 w 78"/>
                    <a:gd name="T45" fmla="*/ 15 h 116"/>
                    <a:gd name="T46" fmla="*/ 16 w 78"/>
                    <a:gd name="T47" fmla="*/ 24 h 116"/>
                    <a:gd name="T48" fmla="*/ 2 w 78"/>
                    <a:gd name="T49" fmla="*/ 15 h 116"/>
                    <a:gd name="T50" fmla="*/ 8 w 78"/>
                    <a:gd name="T51" fmla="*/ 2 h 116"/>
                    <a:gd name="T52" fmla="*/ 11 w 78"/>
                    <a:gd name="T53" fmla="*/ 1 h 116"/>
                    <a:gd name="T54" fmla="*/ 21 w 78"/>
                    <a:gd name="T55" fmla="*/ 0 h 116"/>
                    <a:gd name="T56" fmla="*/ 30 w 78"/>
                    <a:gd name="T57" fmla="*/ 1 h 116"/>
                    <a:gd name="T58" fmla="*/ 40 w 78"/>
                    <a:gd name="T59" fmla="*/ 5 h 116"/>
                    <a:gd name="T60" fmla="*/ 58 w 78"/>
                    <a:gd name="T61" fmla="*/ 17 h 116"/>
                    <a:gd name="T62" fmla="*/ 64 w 78"/>
                    <a:gd name="T63" fmla="*/ 23 h 116"/>
                    <a:gd name="T64" fmla="*/ 68 w 78"/>
                    <a:gd name="T65" fmla="*/ 28 h 116"/>
                    <a:gd name="T66" fmla="*/ 72 w 78"/>
                    <a:gd name="T67" fmla="*/ 41 h 116"/>
                    <a:gd name="T68" fmla="*/ 74 w 78"/>
                    <a:gd name="T69" fmla="*/ 56 h 116"/>
                    <a:gd name="T70" fmla="*/ 74 w 78"/>
                    <a:gd name="T71" fmla="*/ 76 h 116"/>
                    <a:gd name="T72" fmla="*/ 74 w 78"/>
                    <a:gd name="T73" fmla="*/ 104 h 116"/>
                    <a:gd name="T74" fmla="*/ 76 w 78"/>
                    <a:gd name="T75" fmla="*/ 111 h 116"/>
                    <a:gd name="T76" fmla="*/ 63 w 78"/>
                    <a:gd name="T77" fmla="*/ 110 h 116"/>
                    <a:gd name="T78" fmla="*/ 61 w 78"/>
                    <a:gd name="T79" fmla="*/ 103 h 116"/>
                    <a:gd name="T80" fmla="*/ 59 w 78"/>
                    <a:gd name="T81" fmla="*/ 97 h 116"/>
                    <a:gd name="T82" fmla="*/ 58 w 78"/>
                    <a:gd name="T83" fmla="*/ 62 h 116"/>
                    <a:gd name="T84" fmla="*/ 36 w 78"/>
                    <a:gd name="T85" fmla="*/ 56 h 116"/>
                    <a:gd name="T86" fmla="*/ 28 w 78"/>
                    <a:gd name="T87" fmla="*/ 54 h 116"/>
                    <a:gd name="T88" fmla="*/ 23 w 78"/>
                    <a:gd name="T89" fmla="*/ 53 h 116"/>
                    <a:gd name="T90" fmla="*/ 17 w 78"/>
                    <a:gd name="T91" fmla="*/ 55 h 116"/>
                    <a:gd name="T92" fmla="*/ 15 w 78"/>
                    <a:gd name="T93" fmla="*/ 59 h 116"/>
                    <a:gd name="T94" fmla="*/ 15 w 78"/>
                    <a:gd name="T95" fmla="*/ 62 h 116"/>
                    <a:gd name="T96" fmla="*/ 19 w 78"/>
                    <a:gd name="T97" fmla="*/ 74 h 116"/>
                    <a:gd name="T98" fmla="*/ 25 w 78"/>
                    <a:gd name="T99" fmla="*/ 80 h 116"/>
                    <a:gd name="T100" fmla="*/ 32 w 78"/>
                    <a:gd name="T101" fmla="*/ 85 h 116"/>
                    <a:gd name="T102" fmla="*/ 46 w 78"/>
                    <a:gd name="T103" fmla="*/ 88 h 116"/>
                    <a:gd name="T104" fmla="*/ 50 w 78"/>
                    <a:gd name="T105" fmla="*/ 87 h 116"/>
                    <a:gd name="T106" fmla="*/ 54 w 78"/>
                    <a:gd name="T107" fmla="*/ 84 h 116"/>
                    <a:gd name="T108" fmla="*/ 56 w 78"/>
                    <a:gd name="T109" fmla="*/ 81 h 116"/>
                    <a:gd name="T110" fmla="*/ 58 w 78"/>
                    <a:gd name="T111" fmla="*/ 6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 h="116">
                      <a:moveTo>
                        <a:pt x="59" y="97"/>
                      </a:moveTo>
                      <a:lnTo>
                        <a:pt x="59" y="97"/>
                      </a:lnTo>
                      <a:lnTo>
                        <a:pt x="52" y="99"/>
                      </a:lnTo>
                      <a:lnTo>
                        <a:pt x="44" y="100"/>
                      </a:lnTo>
                      <a:lnTo>
                        <a:pt x="44" y="100"/>
                      </a:lnTo>
                      <a:lnTo>
                        <a:pt x="37" y="98"/>
                      </a:lnTo>
                      <a:lnTo>
                        <a:pt x="29" y="94"/>
                      </a:lnTo>
                      <a:lnTo>
                        <a:pt x="29" y="94"/>
                      </a:lnTo>
                      <a:lnTo>
                        <a:pt x="21" y="91"/>
                      </a:lnTo>
                      <a:lnTo>
                        <a:pt x="16" y="87"/>
                      </a:lnTo>
                      <a:lnTo>
                        <a:pt x="12" y="82"/>
                      </a:lnTo>
                      <a:lnTo>
                        <a:pt x="7" y="77"/>
                      </a:lnTo>
                      <a:lnTo>
                        <a:pt x="7" y="77"/>
                      </a:lnTo>
                      <a:lnTo>
                        <a:pt x="4" y="72"/>
                      </a:lnTo>
                      <a:lnTo>
                        <a:pt x="2" y="66"/>
                      </a:lnTo>
                      <a:lnTo>
                        <a:pt x="0" y="61"/>
                      </a:lnTo>
                      <a:lnTo>
                        <a:pt x="0" y="54"/>
                      </a:lnTo>
                      <a:lnTo>
                        <a:pt x="0" y="54"/>
                      </a:lnTo>
                      <a:lnTo>
                        <a:pt x="1" y="49"/>
                      </a:lnTo>
                      <a:lnTo>
                        <a:pt x="2" y="43"/>
                      </a:lnTo>
                      <a:lnTo>
                        <a:pt x="2" y="43"/>
                      </a:lnTo>
                      <a:lnTo>
                        <a:pt x="5" y="40"/>
                      </a:lnTo>
                      <a:lnTo>
                        <a:pt x="10" y="39"/>
                      </a:lnTo>
                      <a:lnTo>
                        <a:pt x="10" y="39"/>
                      </a:lnTo>
                      <a:lnTo>
                        <a:pt x="15" y="38"/>
                      </a:lnTo>
                      <a:lnTo>
                        <a:pt x="20" y="39"/>
                      </a:lnTo>
                      <a:lnTo>
                        <a:pt x="20" y="39"/>
                      </a:lnTo>
                      <a:lnTo>
                        <a:pt x="33" y="42"/>
                      </a:lnTo>
                      <a:lnTo>
                        <a:pt x="33" y="42"/>
                      </a:lnTo>
                      <a:lnTo>
                        <a:pt x="48" y="48"/>
                      </a:lnTo>
                      <a:lnTo>
                        <a:pt x="58" y="50"/>
                      </a:lnTo>
                      <a:lnTo>
                        <a:pt x="58" y="50"/>
                      </a:lnTo>
                      <a:lnTo>
                        <a:pt x="58" y="46"/>
                      </a:lnTo>
                      <a:lnTo>
                        <a:pt x="58" y="46"/>
                      </a:lnTo>
                      <a:lnTo>
                        <a:pt x="57" y="37"/>
                      </a:lnTo>
                      <a:lnTo>
                        <a:pt x="54" y="30"/>
                      </a:lnTo>
                      <a:lnTo>
                        <a:pt x="54" y="30"/>
                      </a:lnTo>
                      <a:lnTo>
                        <a:pt x="52" y="27"/>
                      </a:lnTo>
                      <a:lnTo>
                        <a:pt x="48" y="24"/>
                      </a:lnTo>
                      <a:lnTo>
                        <a:pt x="38" y="17"/>
                      </a:lnTo>
                      <a:lnTo>
                        <a:pt x="38" y="17"/>
                      </a:lnTo>
                      <a:lnTo>
                        <a:pt x="29" y="14"/>
                      </a:lnTo>
                      <a:lnTo>
                        <a:pt x="26" y="14"/>
                      </a:lnTo>
                      <a:lnTo>
                        <a:pt x="24" y="14"/>
                      </a:lnTo>
                      <a:lnTo>
                        <a:pt x="24" y="14"/>
                      </a:lnTo>
                      <a:lnTo>
                        <a:pt x="21" y="15"/>
                      </a:lnTo>
                      <a:lnTo>
                        <a:pt x="19" y="17"/>
                      </a:lnTo>
                      <a:lnTo>
                        <a:pt x="16" y="24"/>
                      </a:lnTo>
                      <a:lnTo>
                        <a:pt x="2" y="15"/>
                      </a:lnTo>
                      <a:lnTo>
                        <a:pt x="2" y="15"/>
                      </a:lnTo>
                      <a:lnTo>
                        <a:pt x="4" y="8"/>
                      </a:lnTo>
                      <a:lnTo>
                        <a:pt x="8" y="2"/>
                      </a:lnTo>
                      <a:lnTo>
                        <a:pt x="8" y="2"/>
                      </a:lnTo>
                      <a:lnTo>
                        <a:pt x="11" y="1"/>
                      </a:lnTo>
                      <a:lnTo>
                        <a:pt x="14" y="0"/>
                      </a:lnTo>
                      <a:lnTo>
                        <a:pt x="21" y="0"/>
                      </a:lnTo>
                      <a:lnTo>
                        <a:pt x="21" y="0"/>
                      </a:lnTo>
                      <a:lnTo>
                        <a:pt x="30" y="1"/>
                      </a:lnTo>
                      <a:lnTo>
                        <a:pt x="40" y="5"/>
                      </a:lnTo>
                      <a:lnTo>
                        <a:pt x="40" y="5"/>
                      </a:lnTo>
                      <a:lnTo>
                        <a:pt x="50" y="11"/>
                      </a:lnTo>
                      <a:lnTo>
                        <a:pt x="58" y="17"/>
                      </a:lnTo>
                      <a:lnTo>
                        <a:pt x="58" y="17"/>
                      </a:lnTo>
                      <a:lnTo>
                        <a:pt x="64" y="23"/>
                      </a:lnTo>
                      <a:lnTo>
                        <a:pt x="68" y="28"/>
                      </a:lnTo>
                      <a:lnTo>
                        <a:pt x="68" y="28"/>
                      </a:lnTo>
                      <a:lnTo>
                        <a:pt x="70" y="35"/>
                      </a:lnTo>
                      <a:lnTo>
                        <a:pt x="72" y="41"/>
                      </a:lnTo>
                      <a:lnTo>
                        <a:pt x="72" y="41"/>
                      </a:lnTo>
                      <a:lnTo>
                        <a:pt x="74" y="56"/>
                      </a:lnTo>
                      <a:lnTo>
                        <a:pt x="74" y="76"/>
                      </a:lnTo>
                      <a:lnTo>
                        <a:pt x="74" y="76"/>
                      </a:lnTo>
                      <a:lnTo>
                        <a:pt x="74" y="94"/>
                      </a:lnTo>
                      <a:lnTo>
                        <a:pt x="74" y="104"/>
                      </a:lnTo>
                      <a:lnTo>
                        <a:pt x="74" y="104"/>
                      </a:lnTo>
                      <a:lnTo>
                        <a:pt x="76" y="111"/>
                      </a:lnTo>
                      <a:lnTo>
                        <a:pt x="78" y="116"/>
                      </a:lnTo>
                      <a:lnTo>
                        <a:pt x="63" y="110"/>
                      </a:lnTo>
                      <a:lnTo>
                        <a:pt x="63" y="110"/>
                      </a:lnTo>
                      <a:lnTo>
                        <a:pt x="61" y="103"/>
                      </a:lnTo>
                      <a:lnTo>
                        <a:pt x="59" y="97"/>
                      </a:lnTo>
                      <a:lnTo>
                        <a:pt x="59" y="97"/>
                      </a:lnTo>
                      <a:close/>
                      <a:moveTo>
                        <a:pt x="58" y="62"/>
                      </a:moveTo>
                      <a:lnTo>
                        <a:pt x="58" y="62"/>
                      </a:lnTo>
                      <a:lnTo>
                        <a:pt x="49" y="60"/>
                      </a:lnTo>
                      <a:lnTo>
                        <a:pt x="36" y="56"/>
                      </a:lnTo>
                      <a:lnTo>
                        <a:pt x="36" y="56"/>
                      </a:lnTo>
                      <a:lnTo>
                        <a:pt x="28" y="54"/>
                      </a:lnTo>
                      <a:lnTo>
                        <a:pt x="23" y="53"/>
                      </a:lnTo>
                      <a:lnTo>
                        <a:pt x="23" y="53"/>
                      </a:lnTo>
                      <a:lnTo>
                        <a:pt x="19" y="53"/>
                      </a:lnTo>
                      <a:lnTo>
                        <a:pt x="17" y="55"/>
                      </a:lnTo>
                      <a:lnTo>
                        <a:pt x="17" y="55"/>
                      </a:lnTo>
                      <a:lnTo>
                        <a:pt x="15" y="59"/>
                      </a:lnTo>
                      <a:lnTo>
                        <a:pt x="15" y="62"/>
                      </a:lnTo>
                      <a:lnTo>
                        <a:pt x="15" y="62"/>
                      </a:lnTo>
                      <a:lnTo>
                        <a:pt x="16" y="68"/>
                      </a:lnTo>
                      <a:lnTo>
                        <a:pt x="19" y="74"/>
                      </a:lnTo>
                      <a:lnTo>
                        <a:pt x="19" y="74"/>
                      </a:lnTo>
                      <a:lnTo>
                        <a:pt x="25" y="80"/>
                      </a:lnTo>
                      <a:lnTo>
                        <a:pt x="32" y="85"/>
                      </a:lnTo>
                      <a:lnTo>
                        <a:pt x="32" y="85"/>
                      </a:lnTo>
                      <a:lnTo>
                        <a:pt x="40" y="87"/>
                      </a:lnTo>
                      <a:lnTo>
                        <a:pt x="46" y="88"/>
                      </a:lnTo>
                      <a:lnTo>
                        <a:pt x="46" y="88"/>
                      </a:lnTo>
                      <a:lnTo>
                        <a:pt x="50" y="87"/>
                      </a:lnTo>
                      <a:lnTo>
                        <a:pt x="52" y="86"/>
                      </a:lnTo>
                      <a:lnTo>
                        <a:pt x="54" y="84"/>
                      </a:lnTo>
                      <a:lnTo>
                        <a:pt x="56" y="81"/>
                      </a:lnTo>
                      <a:lnTo>
                        <a:pt x="56" y="81"/>
                      </a:lnTo>
                      <a:lnTo>
                        <a:pt x="58" y="76"/>
                      </a:lnTo>
                      <a:lnTo>
                        <a:pt x="58" y="67"/>
                      </a:lnTo>
                      <a:lnTo>
                        <a:pt x="58" y="62"/>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6" name="Freeform 40"/>
                <p:cNvSpPr>
                  <a:spLocks noEditPoints="1"/>
                </p:cNvSpPr>
                <p:nvPr/>
              </p:nvSpPr>
              <p:spPr bwMode="auto">
                <a:xfrm>
                  <a:off x="11431682" y="4767678"/>
                  <a:ext cx="5239" cy="57627"/>
                </a:xfrm>
                <a:custGeom>
                  <a:avLst/>
                  <a:gdLst>
                    <a:gd name="T0" fmla="*/ 0 w 14"/>
                    <a:gd name="T1" fmla="*/ 17 h 132"/>
                    <a:gd name="T2" fmla="*/ 0 w 14"/>
                    <a:gd name="T3" fmla="*/ 0 h 132"/>
                    <a:gd name="T4" fmla="*/ 14 w 14"/>
                    <a:gd name="T5" fmla="*/ 7 h 132"/>
                    <a:gd name="T6" fmla="*/ 14 w 14"/>
                    <a:gd name="T7" fmla="*/ 25 h 132"/>
                    <a:gd name="T8" fmla="*/ 0 w 14"/>
                    <a:gd name="T9" fmla="*/ 17 h 132"/>
                    <a:gd name="T10" fmla="*/ 0 w 14"/>
                    <a:gd name="T11" fmla="*/ 125 h 132"/>
                    <a:gd name="T12" fmla="*/ 0 w 14"/>
                    <a:gd name="T13" fmla="*/ 35 h 132"/>
                    <a:gd name="T14" fmla="*/ 14 w 14"/>
                    <a:gd name="T15" fmla="*/ 41 h 132"/>
                    <a:gd name="T16" fmla="*/ 14 w 14"/>
                    <a:gd name="T17" fmla="*/ 132 h 132"/>
                    <a:gd name="T18" fmla="*/ 0 w 14"/>
                    <a:gd name="T19" fmla="*/ 1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32">
                      <a:moveTo>
                        <a:pt x="0" y="17"/>
                      </a:moveTo>
                      <a:lnTo>
                        <a:pt x="0" y="0"/>
                      </a:lnTo>
                      <a:lnTo>
                        <a:pt x="14" y="7"/>
                      </a:lnTo>
                      <a:lnTo>
                        <a:pt x="14" y="25"/>
                      </a:lnTo>
                      <a:lnTo>
                        <a:pt x="0" y="17"/>
                      </a:lnTo>
                      <a:close/>
                      <a:moveTo>
                        <a:pt x="0" y="125"/>
                      </a:moveTo>
                      <a:lnTo>
                        <a:pt x="0" y="35"/>
                      </a:lnTo>
                      <a:lnTo>
                        <a:pt x="14" y="41"/>
                      </a:lnTo>
                      <a:lnTo>
                        <a:pt x="14" y="132"/>
                      </a:lnTo>
                      <a:lnTo>
                        <a:pt x="0" y="125"/>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7" name="Freeform 41"/>
                <p:cNvSpPr>
                  <a:spLocks/>
                </p:cNvSpPr>
                <p:nvPr/>
              </p:nvSpPr>
              <p:spPr bwMode="auto">
                <a:xfrm>
                  <a:off x="11447398" y="4790379"/>
                  <a:ext cx="29687" cy="54134"/>
                </a:xfrm>
                <a:custGeom>
                  <a:avLst/>
                  <a:gdLst>
                    <a:gd name="T0" fmla="*/ 0 w 70"/>
                    <a:gd name="T1" fmla="*/ 91 h 125"/>
                    <a:gd name="T2" fmla="*/ 0 w 70"/>
                    <a:gd name="T3" fmla="*/ 0 h 125"/>
                    <a:gd name="T4" fmla="*/ 13 w 70"/>
                    <a:gd name="T5" fmla="*/ 7 h 125"/>
                    <a:gd name="T6" fmla="*/ 13 w 70"/>
                    <a:gd name="T7" fmla="*/ 20 h 125"/>
                    <a:gd name="T8" fmla="*/ 13 w 70"/>
                    <a:gd name="T9" fmla="*/ 20 h 125"/>
                    <a:gd name="T10" fmla="*/ 19 w 70"/>
                    <a:gd name="T11" fmla="*/ 15 h 125"/>
                    <a:gd name="T12" fmla="*/ 25 w 70"/>
                    <a:gd name="T13" fmla="*/ 14 h 125"/>
                    <a:gd name="T14" fmla="*/ 33 w 70"/>
                    <a:gd name="T15" fmla="*/ 14 h 125"/>
                    <a:gd name="T16" fmla="*/ 40 w 70"/>
                    <a:gd name="T17" fmla="*/ 17 h 125"/>
                    <a:gd name="T18" fmla="*/ 40 w 70"/>
                    <a:gd name="T19" fmla="*/ 17 h 125"/>
                    <a:gd name="T20" fmla="*/ 48 w 70"/>
                    <a:gd name="T21" fmla="*/ 22 h 125"/>
                    <a:gd name="T22" fmla="*/ 54 w 70"/>
                    <a:gd name="T23" fmla="*/ 27 h 125"/>
                    <a:gd name="T24" fmla="*/ 54 w 70"/>
                    <a:gd name="T25" fmla="*/ 27 h 125"/>
                    <a:gd name="T26" fmla="*/ 60 w 70"/>
                    <a:gd name="T27" fmla="*/ 34 h 125"/>
                    <a:gd name="T28" fmla="*/ 64 w 70"/>
                    <a:gd name="T29" fmla="*/ 40 h 125"/>
                    <a:gd name="T30" fmla="*/ 64 w 70"/>
                    <a:gd name="T31" fmla="*/ 40 h 125"/>
                    <a:gd name="T32" fmla="*/ 67 w 70"/>
                    <a:gd name="T33" fmla="*/ 47 h 125"/>
                    <a:gd name="T34" fmla="*/ 68 w 70"/>
                    <a:gd name="T35" fmla="*/ 53 h 125"/>
                    <a:gd name="T36" fmla="*/ 68 w 70"/>
                    <a:gd name="T37" fmla="*/ 53 h 125"/>
                    <a:gd name="T38" fmla="*/ 70 w 70"/>
                    <a:gd name="T39" fmla="*/ 68 h 125"/>
                    <a:gd name="T40" fmla="*/ 70 w 70"/>
                    <a:gd name="T41" fmla="*/ 125 h 125"/>
                    <a:gd name="T42" fmla="*/ 55 w 70"/>
                    <a:gd name="T43" fmla="*/ 117 h 125"/>
                    <a:gd name="T44" fmla="*/ 55 w 70"/>
                    <a:gd name="T45" fmla="*/ 62 h 125"/>
                    <a:gd name="T46" fmla="*/ 55 w 70"/>
                    <a:gd name="T47" fmla="*/ 62 h 125"/>
                    <a:gd name="T48" fmla="*/ 54 w 70"/>
                    <a:gd name="T49" fmla="*/ 54 h 125"/>
                    <a:gd name="T50" fmla="*/ 53 w 70"/>
                    <a:gd name="T51" fmla="*/ 48 h 125"/>
                    <a:gd name="T52" fmla="*/ 53 w 70"/>
                    <a:gd name="T53" fmla="*/ 48 h 125"/>
                    <a:gd name="T54" fmla="*/ 51 w 70"/>
                    <a:gd name="T55" fmla="*/ 42 h 125"/>
                    <a:gd name="T56" fmla="*/ 48 w 70"/>
                    <a:gd name="T57" fmla="*/ 37 h 125"/>
                    <a:gd name="T58" fmla="*/ 48 w 70"/>
                    <a:gd name="T59" fmla="*/ 37 h 125"/>
                    <a:gd name="T60" fmla="*/ 42 w 70"/>
                    <a:gd name="T61" fmla="*/ 33 h 125"/>
                    <a:gd name="T62" fmla="*/ 37 w 70"/>
                    <a:gd name="T63" fmla="*/ 29 h 125"/>
                    <a:gd name="T64" fmla="*/ 37 w 70"/>
                    <a:gd name="T65" fmla="*/ 29 h 125"/>
                    <a:gd name="T66" fmla="*/ 33 w 70"/>
                    <a:gd name="T67" fmla="*/ 27 h 125"/>
                    <a:gd name="T68" fmla="*/ 29 w 70"/>
                    <a:gd name="T69" fmla="*/ 27 h 125"/>
                    <a:gd name="T70" fmla="*/ 25 w 70"/>
                    <a:gd name="T71" fmla="*/ 27 h 125"/>
                    <a:gd name="T72" fmla="*/ 22 w 70"/>
                    <a:gd name="T73" fmla="*/ 28 h 125"/>
                    <a:gd name="T74" fmla="*/ 22 w 70"/>
                    <a:gd name="T75" fmla="*/ 28 h 125"/>
                    <a:gd name="T76" fmla="*/ 19 w 70"/>
                    <a:gd name="T77" fmla="*/ 30 h 125"/>
                    <a:gd name="T78" fmla="*/ 16 w 70"/>
                    <a:gd name="T79" fmla="*/ 35 h 125"/>
                    <a:gd name="T80" fmla="*/ 15 w 70"/>
                    <a:gd name="T81" fmla="*/ 40 h 125"/>
                    <a:gd name="T82" fmla="*/ 15 w 70"/>
                    <a:gd name="T83" fmla="*/ 48 h 125"/>
                    <a:gd name="T84" fmla="*/ 15 w 70"/>
                    <a:gd name="T85" fmla="*/ 98 h 125"/>
                    <a:gd name="T86" fmla="*/ 0 w 70"/>
                    <a:gd name="T87" fmla="*/ 9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 h="125">
                      <a:moveTo>
                        <a:pt x="0" y="91"/>
                      </a:moveTo>
                      <a:lnTo>
                        <a:pt x="0" y="0"/>
                      </a:lnTo>
                      <a:lnTo>
                        <a:pt x="13" y="7"/>
                      </a:lnTo>
                      <a:lnTo>
                        <a:pt x="13" y="20"/>
                      </a:lnTo>
                      <a:lnTo>
                        <a:pt x="13" y="20"/>
                      </a:lnTo>
                      <a:lnTo>
                        <a:pt x="19" y="15"/>
                      </a:lnTo>
                      <a:lnTo>
                        <a:pt x="25" y="14"/>
                      </a:lnTo>
                      <a:lnTo>
                        <a:pt x="33" y="14"/>
                      </a:lnTo>
                      <a:lnTo>
                        <a:pt x="40" y="17"/>
                      </a:lnTo>
                      <a:lnTo>
                        <a:pt x="40" y="17"/>
                      </a:lnTo>
                      <a:lnTo>
                        <a:pt x="48" y="22"/>
                      </a:lnTo>
                      <a:lnTo>
                        <a:pt x="54" y="27"/>
                      </a:lnTo>
                      <a:lnTo>
                        <a:pt x="54" y="27"/>
                      </a:lnTo>
                      <a:lnTo>
                        <a:pt x="60" y="34"/>
                      </a:lnTo>
                      <a:lnTo>
                        <a:pt x="64" y="40"/>
                      </a:lnTo>
                      <a:lnTo>
                        <a:pt x="64" y="40"/>
                      </a:lnTo>
                      <a:lnTo>
                        <a:pt x="67" y="47"/>
                      </a:lnTo>
                      <a:lnTo>
                        <a:pt x="68" y="53"/>
                      </a:lnTo>
                      <a:lnTo>
                        <a:pt x="68" y="53"/>
                      </a:lnTo>
                      <a:lnTo>
                        <a:pt x="70" y="68"/>
                      </a:lnTo>
                      <a:lnTo>
                        <a:pt x="70" y="125"/>
                      </a:lnTo>
                      <a:lnTo>
                        <a:pt x="55" y="117"/>
                      </a:lnTo>
                      <a:lnTo>
                        <a:pt x="55" y="62"/>
                      </a:lnTo>
                      <a:lnTo>
                        <a:pt x="55" y="62"/>
                      </a:lnTo>
                      <a:lnTo>
                        <a:pt x="54" y="54"/>
                      </a:lnTo>
                      <a:lnTo>
                        <a:pt x="53" y="48"/>
                      </a:lnTo>
                      <a:lnTo>
                        <a:pt x="53" y="48"/>
                      </a:lnTo>
                      <a:lnTo>
                        <a:pt x="51" y="42"/>
                      </a:lnTo>
                      <a:lnTo>
                        <a:pt x="48" y="37"/>
                      </a:lnTo>
                      <a:lnTo>
                        <a:pt x="48" y="37"/>
                      </a:lnTo>
                      <a:lnTo>
                        <a:pt x="42" y="33"/>
                      </a:lnTo>
                      <a:lnTo>
                        <a:pt x="37" y="29"/>
                      </a:lnTo>
                      <a:lnTo>
                        <a:pt x="37" y="29"/>
                      </a:lnTo>
                      <a:lnTo>
                        <a:pt x="33" y="27"/>
                      </a:lnTo>
                      <a:lnTo>
                        <a:pt x="29" y="27"/>
                      </a:lnTo>
                      <a:lnTo>
                        <a:pt x="25" y="27"/>
                      </a:lnTo>
                      <a:lnTo>
                        <a:pt x="22" y="28"/>
                      </a:lnTo>
                      <a:lnTo>
                        <a:pt x="22" y="28"/>
                      </a:lnTo>
                      <a:lnTo>
                        <a:pt x="19" y="30"/>
                      </a:lnTo>
                      <a:lnTo>
                        <a:pt x="16" y="35"/>
                      </a:lnTo>
                      <a:lnTo>
                        <a:pt x="15" y="40"/>
                      </a:lnTo>
                      <a:lnTo>
                        <a:pt x="15" y="48"/>
                      </a:lnTo>
                      <a:lnTo>
                        <a:pt x="15" y="98"/>
                      </a:lnTo>
                      <a:lnTo>
                        <a:pt x="0" y="91"/>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8" name="Freeform 42"/>
                <p:cNvSpPr>
                  <a:spLocks/>
                </p:cNvSpPr>
                <p:nvPr/>
              </p:nvSpPr>
              <p:spPr bwMode="auto">
                <a:xfrm>
                  <a:off x="11505025" y="4811334"/>
                  <a:ext cx="45403" cy="62865"/>
                </a:xfrm>
                <a:custGeom>
                  <a:avLst/>
                  <a:gdLst>
                    <a:gd name="T0" fmla="*/ 103 w 103"/>
                    <a:gd name="T1" fmla="*/ 117 h 142"/>
                    <a:gd name="T2" fmla="*/ 100 w 103"/>
                    <a:gd name="T3" fmla="*/ 126 h 142"/>
                    <a:gd name="T4" fmla="*/ 91 w 103"/>
                    <a:gd name="T5" fmla="*/ 137 h 142"/>
                    <a:gd name="T6" fmla="*/ 85 w 103"/>
                    <a:gd name="T7" fmla="*/ 140 h 142"/>
                    <a:gd name="T8" fmla="*/ 71 w 103"/>
                    <a:gd name="T9" fmla="*/ 141 h 142"/>
                    <a:gd name="T10" fmla="*/ 54 w 103"/>
                    <a:gd name="T11" fmla="*/ 136 h 142"/>
                    <a:gd name="T12" fmla="*/ 45 w 103"/>
                    <a:gd name="T13" fmla="*/ 131 h 142"/>
                    <a:gd name="T14" fmla="*/ 30 w 103"/>
                    <a:gd name="T15" fmla="*/ 119 h 142"/>
                    <a:gd name="T16" fmla="*/ 24 w 103"/>
                    <a:gd name="T17" fmla="*/ 113 h 142"/>
                    <a:gd name="T18" fmla="*/ 13 w 103"/>
                    <a:gd name="T19" fmla="*/ 98 h 142"/>
                    <a:gd name="T20" fmla="*/ 5 w 103"/>
                    <a:gd name="T21" fmla="*/ 80 h 142"/>
                    <a:gd name="T22" fmla="*/ 3 w 103"/>
                    <a:gd name="T23" fmla="*/ 70 h 142"/>
                    <a:gd name="T24" fmla="*/ 0 w 103"/>
                    <a:gd name="T25" fmla="*/ 52 h 142"/>
                    <a:gd name="T26" fmla="*/ 0 w 103"/>
                    <a:gd name="T27" fmla="*/ 43 h 142"/>
                    <a:gd name="T28" fmla="*/ 1 w 103"/>
                    <a:gd name="T29" fmla="*/ 26 h 142"/>
                    <a:gd name="T30" fmla="*/ 6 w 103"/>
                    <a:gd name="T31" fmla="*/ 13 h 142"/>
                    <a:gd name="T32" fmla="*/ 11 w 103"/>
                    <a:gd name="T33" fmla="*/ 8 h 142"/>
                    <a:gd name="T34" fmla="*/ 20 w 103"/>
                    <a:gd name="T35" fmla="*/ 1 h 142"/>
                    <a:gd name="T36" fmla="*/ 26 w 103"/>
                    <a:gd name="T37" fmla="*/ 0 h 142"/>
                    <a:gd name="T38" fmla="*/ 40 w 103"/>
                    <a:gd name="T39" fmla="*/ 1 h 142"/>
                    <a:gd name="T40" fmla="*/ 54 w 103"/>
                    <a:gd name="T41" fmla="*/ 6 h 142"/>
                    <a:gd name="T42" fmla="*/ 63 w 103"/>
                    <a:gd name="T43" fmla="*/ 11 h 142"/>
                    <a:gd name="T44" fmla="*/ 78 w 103"/>
                    <a:gd name="T45" fmla="*/ 23 h 142"/>
                    <a:gd name="T46" fmla="*/ 84 w 103"/>
                    <a:gd name="T47" fmla="*/ 30 h 142"/>
                    <a:gd name="T48" fmla="*/ 94 w 103"/>
                    <a:gd name="T49" fmla="*/ 47 h 142"/>
                    <a:gd name="T50" fmla="*/ 101 w 103"/>
                    <a:gd name="T51" fmla="*/ 65 h 142"/>
                    <a:gd name="T52" fmla="*/ 85 w 103"/>
                    <a:gd name="T53" fmla="*/ 62 h 142"/>
                    <a:gd name="T54" fmla="*/ 80 w 103"/>
                    <a:gd name="T55" fmla="*/ 48 h 142"/>
                    <a:gd name="T56" fmla="*/ 74 w 103"/>
                    <a:gd name="T57" fmla="*/ 36 h 142"/>
                    <a:gd name="T58" fmla="*/ 69 w 103"/>
                    <a:gd name="T59" fmla="*/ 31 h 142"/>
                    <a:gd name="T60" fmla="*/ 59 w 103"/>
                    <a:gd name="T61" fmla="*/ 24 h 142"/>
                    <a:gd name="T62" fmla="*/ 54 w 103"/>
                    <a:gd name="T63" fmla="*/ 21 h 142"/>
                    <a:gd name="T64" fmla="*/ 42 w 103"/>
                    <a:gd name="T65" fmla="*/ 16 h 142"/>
                    <a:gd name="T66" fmla="*/ 31 w 103"/>
                    <a:gd name="T67" fmla="*/ 16 h 142"/>
                    <a:gd name="T68" fmla="*/ 27 w 103"/>
                    <a:gd name="T69" fmla="*/ 18 h 142"/>
                    <a:gd name="T70" fmla="*/ 21 w 103"/>
                    <a:gd name="T71" fmla="*/ 24 h 142"/>
                    <a:gd name="T72" fmla="*/ 19 w 103"/>
                    <a:gd name="T73" fmla="*/ 29 h 142"/>
                    <a:gd name="T74" fmla="*/ 15 w 103"/>
                    <a:gd name="T75" fmla="*/ 51 h 142"/>
                    <a:gd name="T76" fmla="*/ 16 w 103"/>
                    <a:gd name="T77" fmla="*/ 66 h 142"/>
                    <a:gd name="T78" fmla="*/ 19 w 103"/>
                    <a:gd name="T79" fmla="*/ 81 h 142"/>
                    <a:gd name="T80" fmla="*/ 25 w 103"/>
                    <a:gd name="T81" fmla="*/ 94 h 142"/>
                    <a:gd name="T82" fmla="*/ 33 w 103"/>
                    <a:gd name="T83" fmla="*/ 105 h 142"/>
                    <a:gd name="T84" fmla="*/ 42 w 103"/>
                    <a:gd name="T85" fmla="*/ 115 h 142"/>
                    <a:gd name="T86" fmla="*/ 53 w 103"/>
                    <a:gd name="T87" fmla="*/ 121 h 142"/>
                    <a:gd name="T88" fmla="*/ 59 w 103"/>
                    <a:gd name="T89" fmla="*/ 124 h 142"/>
                    <a:gd name="T90" fmla="*/ 70 w 103"/>
                    <a:gd name="T91" fmla="*/ 125 h 142"/>
                    <a:gd name="T92" fmla="*/ 75 w 103"/>
                    <a:gd name="T93" fmla="*/ 124 h 142"/>
                    <a:gd name="T94" fmla="*/ 82 w 103"/>
                    <a:gd name="T95" fmla="*/ 117 h 142"/>
                    <a:gd name="T96" fmla="*/ 88 w 103"/>
                    <a:gd name="T97" fmla="*/ 10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 h="142">
                      <a:moveTo>
                        <a:pt x="88" y="106"/>
                      </a:moveTo>
                      <a:lnTo>
                        <a:pt x="103" y="117"/>
                      </a:lnTo>
                      <a:lnTo>
                        <a:pt x="103" y="117"/>
                      </a:lnTo>
                      <a:lnTo>
                        <a:pt x="100" y="126"/>
                      </a:lnTo>
                      <a:lnTo>
                        <a:pt x="95" y="132"/>
                      </a:lnTo>
                      <a:lnTo>
                        <a:pt x="91" y="137"/>
                      </a:lnTo>
                      <a:lnTo>
                        <a:pt x="85" y="140"/>
                      </a:lnTo>
                      <a:lnTo>
                        <a:pt x="85" y="140"/>
                      </a:lnTo>
                      <a:lnTo>
                        <a:pt x="78" y="142"/>
                      </a:lnTo>
                      <a:lnTo>
                        <a:pt x="71" y="141"/>
                      </a:lnTo>
                      <a:lnTo>
                        <a:pt x="63" y="140"/>
                      </a:lnTo>
                      <a:lnTo>
                        <a:pt x="54" y="136"/>
                      </a:lnTo>
                      <a:lnTo>
                        <a:pt x="54" y="136"/>
                      </a:lnTo>
                      <a:lnTo>
                        <a:pt x="45" y="131"/>
                      </a:lnTo>
                      <a:lnTo>
                        <a:pt x="37" y="126"/>
                      </a:lnTo>
                      <a:lnTo>
                        <a:pt x="30" y="119"/>
                      </a:lnTo>
                      <a:lnTo>
                        <a:pt x="24" y="113"/>
                      </a:lnTo>
                      <a:lnTo>
                        <a:pt x="24" y="113"/>
                      </a:lnTo>
                      <a:lnTo>
                        <a:pt x="18" y="105"/>
                      </a:lnTo>
                      <a:lnTo>
                        <a:pt x="13" y="98"/>
                      </a:lnTo>
                      <a:lnTo>
                        <a:pt x="8" y="89"/>
                      </a:lnTo>
                      <a:lnTo>
                        <a:pt x="5" y="80"/>
                      </a:lnTo>
                      <a:lnTo>
                        <a:pt x="5" y="80"/>
                      </a:lnTo>
                      <a:lnTo>
                        <a:pt x="3" y="70"/>
                      </a:lnTo>
                      <a:lnTo>
                        <a:pt x="1" y="62"/>
                      </a:lnTo>
                      <a:lnTo>
                        <a:pt x="0" y="52"/>
                      </a:lnTo>
                      <a:lnTo>
                        <a:pt x="0" y="43"/>
                      </a:lnTo>
                      <a:lnTo>
                        <a:pt x="0" y="43"/>
                      </a:lnTo>
                      <a:lnTo>
                        <a:pt x="0" y="35"/>
                      </a:lnTo>
                      <a:lnTo>
                        <a:pt x="1" y="26"/>
                      </a:lnTo>
                      <a:lnTo>
                        <a:pt x="3" y="18"/>
                      </a:lnTo>
                      <a:lnTo>
                        <a:pt x="6" y="13"/>
                      </a:lnTo>
                      <a:lnTo>
                        <a:pt x="6" y="13"/>
                      </a:lnTo>
                      <a:lnTo>
                        <a:pt x="11" y="8"/>
                      </a:lnTo>
                      <a:lnTo>
                        <a:pt x="15" y="4"/>
                      </a:lnTo>
                      <a:lnTo>
                        <a:pt x="20" y="1"/>
                      </a:lnTo>
                      <a:lnTo>
                        <a:pt x="26" y="0"/>
                      </a:lnTo>
                      <a:lnTo>
                        <a:pt x="26" y="0"/>
                      </a:lnTo>
                      <a:lnTo>
                        <a:pt x="32" y="0"/>
                      </a:lnTo>
                      <a:lnTo>
                        <a:pt x="40" y="1"/>
                      </a:lnTo>
                      <a:lnTo>
                        <a:pt x="46" y="3"/>
                      </a:lnTo>
                      <a:lnTo>
                        <a:pt x="54" y="6"/>
                      </a:lnTo>
                      <a:lnTo>
                        <a:pt x="54" y="6"/>
                      </a:lnTo>
                      <a:lnTo>
                        <a:pt x="63" y="11"/>
                      </a:lnTo>
                      <a:lnTo>
                        <a:pt x="70" y="16"/>
                      </a:lnTo>
                      <a:lnTo>
                        <a:pt x="78" y="23"/>
                      </a:lnTo>
                      <a:lnTo>
                        <a:pt x="84" y="30"/>
                      </a:lnTo>
                      <a:lnTo>
                        <a:pt x="84" y="30"/>
                      </a:lnTo>
                      <a:lnTo>
                        <a:pt x="90" y="38"/>
                      </a:lnTo>
                      <a:lnTo>
                        <a:pt x="94" y="47"/>
                      </a:lnTo>
                      <a:lnTo>
                        <a:pt x="97" y="56"/>
                      </a:lnTo>
                      <a:lnTo>
                        <a:pt x="101" y="65"/>
                      </a:lnTo>
                      <a:lnTo>
                        <a:pt x="85" y="62"/>
                      </a:lnTo>
                      <a:lnTo>
                        <a:pt x="85" y="62"/>
                      </a:lnTo>
                      <a:lnTo>
                        <a:pt x="83" y="54"/>
                      </a:lnTo>
                      <a:lnTo>
                        <a:pt x="80" y="48"/>
                      </a:lnTo>
                      <a:lnTo>
                        <a:pt x="77" y="41"/>
                      </a:lnTo>
                      <a:lnTo>
                        <a:pt x="74" y="36"/>
                      </a:lnTo>
                      <a:lnTo>
                        <a:pt x="74" y="36"/>
                      </a:lnTo>
                      <a:lnTo>
                        <a:pt x="69" y="31"/>
                      </a:lnTo>
                      <a:lnTo>
                        <a:pt x="65" y="27"/>
                      </a:lnTo>
                      <a:lnTo>
                        <a:pt x="59" y="24"/>
                      </a:lnTo>
                      <a:lnTo>
                        <a:pt x="54" y="21"/>
                      </a:lnTo>
                      <a:lnTo>
                        <a:pt x="54" y="21"/>
                      </a:lnTo>
                      <a:lnTo>
                        <a:pt x="47" y="17"/>
                      </a:lnTo>
                      <a:lnTo>
                        <a:pt x="42" y="16"/>
                      </a:lnTo>
                      <a:lnTo>
                        <a:pt x="37" y="16"/>
                      </a:lnTo>
                      <a:lnTo>
                        <a:pt x="31" y="16"/>
                      </a:lnTo>
                      <a:lnTo>
                        <a:pt x="31" y="16"/>
                      </a:lnTo>
                      <a:lnTo>
                        <a:pt x="27" y="18"/>
                      </a:lnTo>
                      <a:lnTo>
                        <a:pt x="24" y="21"/>
                      </a:lnTo>
                      <a:lnTo>
                        <a:pt x="21" y="24"/>
                      </a:lnTo>
                      <a:lnTo>
                        <a:pt x="19" y="29"/>
                      </a:lnTo>
                      <a:lnTo>
                        <a:pt x="19" y="29"/>
                      </a:lnTo>
                      <a:lnTo>
                        <a:pt x="16" y="39"/>
                      </a:lnTo>
                      <a:lnTo>
                        <a:pt x="15" y="51"/>
                      </a:lnTo>
                      <a:lnTo>
                        <a:pt x="15" y="51"/>
                      </a:lnTo>
                      <a:lnTo>
                        <a:pt x="16" y="66"/>
                      </a:lnTo>
                      <a:lnTo>
                        <a:pt x="19" y="81"/>
                      </a:lnTo>
                      <a:lnTo>
                        <a:pt x="19" y="81"/>
                      </a:lnTo>
                      <a:lnTo>
                        <a:pt x="22" y="88"/>
                      </a:lnTo>
                      <a:lnTo>
                        <a:pt x="25" y="94"/>
                      </a:lnTo>
                      <a:lnTo>
                        <a:pt x="29" y="100"/>
                      </a:lnTo>
                      <a:lnTo>
                        <a:pt x="33" y="105"/>
                      </a:lnTo>
                      <a:lnTo>
                        <a:pt x="33" y="105"/>
                      </a:lnTo>
                      <a:lnTo>
                        <a:pt x="42" y="115"/>
                      </a:lnTo>
                      <a:lnTo>
                        <a:pt x="47" y="118"/>
                      </a:lnTo>
                      <a:lnTo>
                        <a:pt x="53" y="121"/>
                      </a:lnTo>
                      <a:lnTo>
                        <a:pt x="53" y="121"/>
                      </a:lnTo>
                      <a:lnTo>
                        <a:pt x="59" y="124"/>
                      </a:lnTo>
                      <a:lnTo>
                        <a:pt x="65" y="125"/>
                      </a:lnTo>
                      <a:lnTo>
                        <a:pt x="70" y="125"/>
                      </a:lnTo>
                      <a:lnTo>
                        <a:pt x="75" y="124"/>
                      </a:lnTo>
                      <a:lnTo>
                        <a:pt x="75" y="124"/>
                      </a:lnTo>
                      <a:lnTo>
                        <a:pt x="79" y="121"/>
                      </a:lnTo>
                      <a:lnTo>
                        <a:pt x="82" y="117"/>
                      </a:lnTo>
                      <a:lnTo>
                        <a:pt x="85" y="113"/>
                      </a:lnTo>
                      <a:lnTo>
                        <a:pt x="88" y="106"/>
                      </a:lnTo>
                      <a:lnTo>
                        <a:pt x="88" y="10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9" name="Freeform 43"/>
                <p:cNvSpPr>
                  <a:spLocks noEditPoints="1"/>
                </p:cNvSpPr>
                <p:nvPr/>
              </p:nvSpPr>
              <p:spPr bwMode="auto">
                <a:xfrm>
                  <a:off x="11555665" y="4848006"/>
                  <a:ext cx="34925" cy="45403"/>
                </a:xfrm>
                <a:custGeom>
                  <a:avLst/>
                  <a:gdLst>
                    <a:gd name="T0" fmla="*/ 0 w 79"/>
                    <a:gd name="T1" fmla="*/ 33 h 104"/>
                    <a:gd name="T2" fmla="*/ 3 w 79"/>
                    <a:gd name="T3" fmla="*/ 13 h 104"/>
                    <a:gd name="T4" fmla="*/ 6 w 79"/>
                    <a:gd name="T5" fmla="*/ 6 h 104"/>
                    <a:gd name="T6" fmla="*/ 13 w 79"/>
                    <a:gd name="T7" fmla="*/ 2 h 104"/>
                    <a:gd name="T8" fmla="*/ 18 w 79"/>
                    <a:gd name="T9" fmla="*/ 0 h 104"/>
                    <a:gd name="T10" fmla="*/ 31 w 79"/>
                    <a:gd name="T11" fmla="*/ 2 h 104"/>
                    <a:gd name="T12" fmla="*/ 39 w 79"/>
                    <a:gd name="T13" fmla="*/ 5 h 104"/>
                    <a:gd name="T14" fmla="*/ 55 w 79"/>
                    <a:gd name="T15" fmla="*/ 16 h 104"/>
                    <a:gd name="T16" fmla="*/ 68 w 79"/>
                    <a:gd name="T17" fmla="*/ 31 h 104"/>
                    <a:gd name="T18" fmla="*/ 73 w 79"/>
                    <a:gd name="T19" fmla="*/ 40 h 104"/>
                    <a:gd name="T20" fmla="*/ 78 w 79"/>
                    <a:gd name="T21" fmla="*/ 59 h 104"/>
                    <a:gd name="T22" fmla="*/ 79 w 79"/>
                    <a:gd name="T23" fmla="*/ 70 h 104"/>
                    <a:gd name="T24" fmla="*/ 78 w 79"/>
                    <a:gd name="T25" fmla="*/ 85 h 104"/>
                    <a:gd name="T26" fmla="*/ 74 w 79"/>
                    <a:gd name="T27" fmla="*/ 95 h 104"/>
                    <a:gd name="T28" fmla="*/ 71 w 79"/>
                    <a:gd name="T29" fmla="*/ 98 h 104"/>
                    <a:gd name="T30" fmla="*/ 64 w 79"/>
                    <a:gd name="T31" fmla="*/ 103 h 104"/>
                    <a:gd name="T32" fmla="*/ 59 w 79"/>
                    <a:gd name="T33" fmla="*/ 104 h 104"/>
                    <a:gd name="T34" fmla="*/ 50 w 79"/>
                    <a:gd name="T35" fmla="*/ 104 h 104"/>
                    <a:gd name="T36" fmla="*/ 39 w 79"/>
                    <a:gd name="T37" fmla="*/ 99 h 104"/>
                    <a:gd name="T38" fmla="*/ 30 w 79"/>
                    <a:gd name="T39" fmla="*/ 95 h 104"/>
                    <a:gd name="T40" fmla="*/ 16 w 79"/>
                    <a:gd name="T41" fmla="*/ 81 h 104"/>
                    <a:gd name="T42" fmla="*/ 11 w 79"/>
                    <a:gd name="T43" fmla="*/ 73 h 104"/>
                    <a:gd name="T44" fmla="*/ 2 w 79"/>
                    <a:gd name="T45" fmla="*/ 54 h 104"/>
                    <a:gd name="T46" fmla="*/ 0 w 79"/>
                    <a:gd name="T47" fmla="*/ 33 h 104"/>
                    <a:gd name="T48" fmla="*/ 14 w 79"/>
                    <a:gd name="T49" fmla="*/ 40 h 104"/>
                    <a:gd name="T50" fmla="*/ 15 w 79"/>
                    <a:gd name="T51" fmla="*/ 48 h 104"/>
                    <a:gd name="T52" fmla="*/ 18 w 79"/>
                    <a:gd name="T53" fmla="*/ 63 h 104"/>
                    <a:gd name="T54" fmla="*/ 21 w 79"/>
                    <a:gd name="T55" fmla="*/ 69 h 104"/>
                    <a:gd name="T56" fmla="*/ 29 w 79"/>
                    <a:gd name="T57" fmla="*/ 80 h 104"/>
                    <a:gd name="T58" fmla="*/ 39 w 79"/>
                    <a:gd name="T59" fmla="*/ 86 h 104"/>
                    <a:gd name="T60" fmla="*/ 44 w 79"/>
                    <a:gd name="T61" fmla="*/ 89 h 104"/>
                    <a:gd name="T62" fmla="*/ 53 w 79"/>
                    <a:gd name="T63" fmla="*/ 89 h 104"/>
                    <a:gd name="T64" fmla="*/ 57 w 79"/>
                    <a:gd name="T65" fmla="*/ 86 h 104"/>
                    <a:gd name="T66" fmla="*/ 63 w 79"/>
                    <a:gd name="T67" fmla="*/ 79 h 104"/>
                    <a:gd name="T68" fmla="*/ 64 w 79"/>
                    <a:gd name="T69" fmla="*/ 64 h 104"/>
                    <a:gd name="T70" fmla="*/ 64 w 79"/>
                    <a:gd name="T71" fmla="*/ 56 h 104"/>
                    <a:gd name="T72" fmla="*/ 61 w 79"/>
                    <a:gd name="T73" fmla="*/ 41 h 104"/>
                    <a:gd name="T74" fmla="*/ 57 w 79"/>
                    <a:gd name="T75" fmla="*/ 34 h 104"/>
                    <a:gd name="T76" fmla="*/ 49 w 79"/>
                    <a:gd name="T77" fmla="*/ 25 h 104"/>
                    <a:gd name="T78" fmla="*/ 39 w 79"/>
                    <a:gd name="T79" fmla="*/ 17 h 104"/>
                    <a:gd name="T80" fmla="*/ 35 w 79"/>
                    <a:gd name="T81" fmla="*/ 16 h 104"/>
                    <a:gd name="T82" fmla="*/ 25 w 79"/>
                    <a:gd name="T83" fmla="*/ 16 h 104"/>
                    <a:gd name="T84" fmla="*/ 21 w 79"/>
                    <a:gd name="T85" fmla="*/ 17 h 104"/>
                    <a:gd name="T86" fmla="*/ 16 w 79"/>
                    <a:gd name="T87" fmla="*/ 26 h 104"/>
                    <a:gd name="T88" fmla="*/ 14 w 79"/>
                    <a:gd name="T89" fmla="*/ 4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 h="104">
                      <a:moveTo>
                        <a:pt x="0" y="33"/>
                      </a:moveTo>
                      <a:lnTo>
                        <a:pt x="0" y="33"/>
                      </a:lnTo>
                      <a:lnTo>
                        <a:pt x="0" y="21"/>
                      </a:lnTo>
                      <a:lnTo>
                        <a:pt x="3" y="13"/>
                      </a:lnTo>
                      <a:lnTo>
                        <a:pt x="4" y="8"/>
                      </a:lnTo>
                      <a:lnTo>
                        <a:pt x="6" y="6"/>
                      </a:lnTo>
                      <a:lnTo>
                        <a:pt x="10" y="4"/>
                      </a:lnTo>
                      <a:lnTo>
                        <a:pt x="13" y="2"/>
                      </a:lnTo>
                      <a:lnTo>
                        <a:pt x="13" y="2"/>
                      </a:lnTo>
                      <a:lnTo>
                        <a:pt x="18" y="0"/>
                      </a:lnTo>
                      <a:lnTo>
                        <a:pt x="25" y="0"/>
                      </a:lnTo>
                      <a:lnTo>
                        <a:pt x="31" y="2"/>
                      </a:lnTo>
                      <a:lnTo>
                        <a:pt x="39" y="5"/>
                      </a:lnTo>
                      <a:lnTo>
                        <a:pt x="39" y="5"/>
                      </a:lnTo>
                      <a:lnTo>
                        <a:pt x="48" y="9"/>
                      </a:lnTo>
                      <a:lnTo>
                        <a:pt x="55" y="16"/>
                      </a:lnTo>
                      <a:lnTo>
                        <a:pt x="62" y="22"/>
                      </a:lnTo>
                      <a:lnTo>
                        <a:pt x="68" y="31"/>
                      </a:lnTo>
                      <a:lnTo>
                        <a:pt x="68" y="31"/>
                      </a:lnTo>
                      <a:lnTo>
                        <a:pt x="73" y="40"/>
                      </a:lnTo>
                      <a:lnTo>
                        <a:pt x="76" y="49"/>
                      </a:lnTo>
                      <a:lnTo>
                        <a:pt x="78" y="59"/>
                      </a:lnTo>
                      <a:lnTo>
                        <a:pt x="79" y="70"/>
                      </a:lnTo>
                      <a:lnTo>
                        <a:pt x="79" y="70"/>
                      </a:lnTo>
                      <a:lnTo>
                        <a:pt x="79" y="78"/>
                      </a:lnTo>
                      <a:lnTo>
                        <a:pt x="78" y="85"/>
                      </a:lnTo>
                      <a:lnTo>
                        <a:pt x="76" y="91"/>
                      </a:lnTo>
                      <a:lnTo>
                        <a:pt x="74" y="95"/>
                      </a:lnTo>
                      <a:lnTo>
                        <a:pt x="74" y="95"/>
                      </a:lnTo>
                      <a:lnTo>
                        <a:pt x="71" y="98"/>
                      </a:lnTo>
                      <a:lnTo>
                        <a:pt x="68" y="102"/>
                      </a:lnTo>
                      <a:lnTo>
                        <a:pt x="64" y="103"/>
                      </a:lnTo>
                      <a:lnTo>
                        <a:pt x="59" y="104"/>
                      </a:lnTo>
                      <a:lnTo>
                        <a:pt x="59" y="104"/>
                      </a:lnTo>
                      <a:lnTo>
                        <a:pt x="55" y="104"/>
                      </a:lnTo>
                      <a:lnTo>
                        <a:pt x="50" y="104"/>
                      </a:lnTo>
                      <a:lnTo>
                        <a:pt x="44" y="102"/>
                      </a:lnTo>
                      <a:lnTo>
                        <a:pt x="39" y="99"/>
                      </a:lnTo>
                      <a:lnTo>
                        <a:pt x="39" y="99"/>
                      </a:lnTo>
                      <a:lnTo>
                        <a:pt x="30" y="95"/>
                      </a:lnTo>
                      <a:lnTo>
                        <a:pt x="23" y="89"/>
                      </a:lnTo>
                      <a:lnTo>
                        <a:pt x="16" y="81"/>
                      </a:lnTo>
                      <a:lnTo>
                        <a:pt x="11" y="73"/>
                      </a:lnTo>
                      <a:lnTo>
                        <a:pt x="11" y="73"/>
                      </a:lnTo>
                      <a:lnTo>
                        <a:pt x="5" y="64"/>
                      </a:lnTo>
                      <a:lnTo>
                        <a:pt x="2" y="54"/>
                      </a:lnTo>
                      <a:lnTo>
                        <a:pt x="0" y="44"/>
                      </a:lnTo>
                      <a:lnTo>
                        <a:pt x="0" y="33"/>
                      </a:lnTo>
                      <a:lnTo>
                        <a:pt x="0" y="33"/>
                      </a:lnTo>
                      <a:close/>
                      <a:moveTo>
                        <a:pt x="14" y="40"/>
                      </a:moveTo>
                      <a:lnTo>
                        <a:pt x="14" y="40"/>
                      </a:lnTo>
                      <a:lnTo>
                        <a:pt x="15" y="48"/>
                      </a:lnTo>
                      <a:lnTo>
                        <a:pt x="16" y="56"/>
                      </a:lnTo>
                      <a:lnTo>
                        <a:pt x="18" y="63"/>
                      </a:lnTo>
                      <a:lnTo>
                        <a:pt x="21" y="69"/>
                      </a:lnTo>
                      <a:lnTo>
                        <a:pt x="21" y="69"/>
                      </a:lnTo>
                      <a:lnTo>
                        <a:pt x="25" y="76"/>
                      </a:lnTo>
                      <a:lnTo>
                        <a:pt x="29" y="80"/>
                      </a:lnTo>
                      <a:lnTo>
                        <a:pt x="35" y="84"/>
                      </a:lnTo>
                      <a:lnTo>
                        <a:pt x="39" y="86"/>
                      </a:lnTo>
                      <a:lnTo>
                        <a:pt x="39" y="86"/>
                      </a:lnTo>
                      <a:lnTo>
                        <a:pt x="44" y="89"/>
                      </a:lnTo>
                      <a:lnTo>
                        <a:pt x="49" y="90"/>
                      </a:lnTo>
                      <a:lnTo>
                        <a:pt x="53" y="89"/>
                      </a:lnTo>
                      <a:lnTo>
                        <a:pt x="57" y="86"/>
                      </a:lnTo>
                      <a:lnTo>
                        <a:pt x="57" y="86"/>
                      </a:lnTo>
                      <a:lnTo>
                        <a:pt x="61" y="83"/>
                      </a:lnTo>
                      <a:lnTo>
                        <a:pt x="63" y="79"/>
                      </a:lnTo>
                      <a:lnTo>
                        <a:pt x="64" y="72"/>
                      </a:lnTo>
                      <a:lnTo>
                        <a:pt x="64" y="64"/>
                      </a:lnTo>
                      <a:lnTo>
                        <a:pt x="64" y="64"/>
                      </a:lnTo>
                      <a:lnTo>
                        <a:pt x="64" y="56"/>
                      </a:lnTo>
                      <a:lnTo>
                        <a:pt x="63" y="48"/>
                      </a:lnTo>
                      <a:lnTo>
                        <a:pt x="61" y="41"/>
                      </a:lnTo>
                      <a:lnTo>
                        <a:pt x="57" y="34"/>
                      </a:lnTo>
                      <a:lnTo>
                        <a:pt x="57" y="34"/>
                      </a:lnTo>
                      <a:lnTo>
                        <a:pt x="53" y="29"/>
                      </a:lnTo>
                      <a:lnTo>
                        <a:pt x="49" y="25"/>
                      </a:lnTo>
                      <a:lnTo>
                        <a:pt x="44" y="20"/>
                      </a:lnTo>
                      <a:lnTo>
                        <a:pt x="39" y="17"/>
                      </a:lnTo>
                      <a:lnTo>
                        <a:pt x="39" y="17"/>
                      </a:lnTo>
                      <a:lnTo>
                        <a:pt x="35" y="16"/>
                      </a:lnTo>
                      <a:lnTo>
                        <a:pt x="29" y="15"/>
                      </a:lnTo>
                      <a:lnTo>
                        <a:pt x="25" y="16"/>
                      </a:lnTo>
                      <a:lnTo>
                        <a:pt x="21" y="17"/>
                      </a:lnTo>
                      <a:lnTo>
                        <a:pt x="21" y="17"/>
                      </a:lnTo>
                      <a:lnTo>
                        <a:pt x="18" y="20"/>
                      </a:lnTo>
                      <a:lnTo>
                        <a:pt x="16" y="26"/>
                      </a:lnTo>
                      <a:lnTo>
                        <a:pt x="15" y="32"/>
                      </a:lnTo>
                      <a:lnTo>
                        <a:pt x="14" y="40"/>
                      </a:lnTo>
                      <a:lnTo>
                        <a:pt x="14" y="40"/>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0" name="Freeform 44"/>
                <p:cNvSpPr>
                  <a:spLocks noEditPoints="1"/>
                </p:cNvSpPr>
                <p:nvPr/>
              </p:nvSpPr>
              <p:spPr bwMode="auto">
                <a:xfrm>
                  <a:off x="11595830" y="4867214"/>
                  <a:ext cx="34925" cy="52388"/>
                </a:xfrm>
                <a:custGeom>
                  <a:avLst/>
                  <a:gdLst>
                    <a:gd name="T0" fmla="*/ 60 w 78"/>
                    <a:gd name="T1" fmla="*/ 98 h 117"/>
                    <a:gd name="T2" fmla="*/ 44 w 78"/>
                    <a:gd name="T3" fmla="*/ 101 h 117"/>
                    <a:gd name="T4" fmla="*/ 37 w 78"/>
                    <a:gd name="T5" fmla="*/ 99 h 117"/>
                    <a:gd name="T6" fmla="*/ 28 w 78"/>
                    <a:gd name="T7" fmla="*/ 95 h 117"/>
                    <a:gd name="T8" fmla="*/ 16 w 78"/>
                    <a:gd name="T9" fmla="*/ 88 h 117"/>
                    <a:gd name="T10" fmla="*/ 8 w 78"/>
                    <a:gd name="T11" fmla="*/ 78 h 117"/>
                    <a:gd name="T12" fmla="*/ 4 w 78"/>
                    <a:gd name="T13" fmla="*/ 73 h 117"/>
                    <a:gd name="T14" fmla="*/ 0 w 78"/>
                    <a:gd name="T15" fmla="*/ 61 h 117"/>
                    <a:gd name="T16" fmla="*/ 0 w 78"/>
                    <a:gd name="T17" fmla="*/ 55 h 117"/>
                    <a:gd name="T18" fmla="*/ 2 w 78"/>
                    <a:gd name="T19" fmla="*/ 44 h 117"/>
                    <a:gd name="T20" fmla="*/ 5 w 78"/>
                    <a:gd name="T21" fmla="*/ 41 h 117"/>
                    <a:gd name="T22" fmla="*/ 10 w 78"/>
                    <a:gd name="T23" fmla="*/ 39 h 117"/>
                    <a:gd name="T24" fmla="*/ 21 w 78"/>
                    <a:gd name="T25" fmla="*/ 39 h 117"/>
                    <a:gd name="T26" fmla="*/ 34 w 78"/>
                    <a:gd name="T27" fmla="*/ 43 h 117"/>
                    <a:gd name="T28" fmla="*/ 48 w 78"/>
                    <a:gd name="T29" fmla="*/ 49 h 117"/>
                    <a:gd name="T30" fmla="*/ 59 w 78"/>
                    <a:gd name="T31" fmla="*/ 51 h 117"/>
                    <a:gd name="T32" fmla="*/ 59 w 78"/>
                    <a:gd name="T33" fmla="*/ 47 h 117"/>
                    <a:gd name="T34" fmla="*/ 54 w 78"/>
                    <a:gd name="T35" fmla="*/ 31 h 117"/>
                    <a:gd name="T36" fmla="*/ 52 w 78"/>
                    <a:gd name="T37" fmla="*/ 27 h 117"/>
                    <a:gd name="T38" fmla="*/ 38 w 78"/>
                    <a:gd name="T39" fmla="*/ 18 h 117"/>
                    <a:gd name="T40" fmla="*/ 29 w 78"/>
                    <a:gd name="T41" fmla="*/ 15 h 117"/>
                    <a:gd name="T42" fmla="*/ 24 w 78"/>
                    <a:gd name="T43" fmla="*/ 15 h 117"/>
                    <a:gd name="T44" fmla="*/ 22 w 78"/>
                    <a:gd name="T45" fmla="*/ 16 h 117"/>
                    <a:gd name="T46" fmla="*/ 16 w 78"/>
                    <a:gd name="T47" fmla="*/ 25 h 117"/>
                    <a:gd name="T48" fmla="*/ 2 w 78"/>
                    <a:gd name="T49" fmla="*/ 16 h 117"/>
                    <a:gd name="T50" fmla="*/ 9 w 78"/>
                    <a:gd name="T51" fmla="*/ 3 h 117"/>
                    <a:gd name="T52" fmla="*/ 11 w 78"/>
                    <a:gd name="T53" fmla="*/ 2 h 117"/>
                    <a:gd name="T54" fmla="*/ 22 w 78"/>
                    <a:gd name="T55" fmla="*/ 0 h 117"/>
                    <a:gd name="T56" fmla="*/ 30 w 78"/>
                    <a:gd name="T57" fmla="*/ 2 h 117"/>
                    <a:gd name="T58" fmla="*/ 40 w 78"/>
                    <a:gd name="T59" fmla="*/ 6 h 117"/>
                    <a:gd name="T60" fmla="*/ 59 w 78"/>
                    <a:gd name="T61" fmla="*/ 17 h 117"/>
                    <a:gd name="T62" fmla="*/ 64 w 78"/>
                    <a:gd name="T63" fmla="*/ 24 h 117"/>
                    <a:gd name="T64" fmla="*/ 68 w 78"/>
                    <a:gd name="T65" fmla="*/ 29 h 117"/>
                    <a:gd name="T66" fmla="*/ 73 w 78"/>
                    <a:gd name="T67" fmla="*/ 42 h 117"/>
                    <a:gd name="T68" fmla="*/ 73 w 78"/>
                    <a:gd name="T69" fmla="*/ 56 h 117"/>
                    <a:gd name="T70" fmla="*/ 73 w 78"/>
                    <a:gd name="T71" fmla="*/ 77 h 117"/>
                    <a:gd name="T72" fmla="*/ 74 w 78"/>
                    <a:gd name="T73" fmla="*/ 105 h 117"/>
                    <a:gd name="T74" fmla="*/ 76 w 78"/>
                    <a:gd name="T75" fmla="*/ 111 h 117"/>
                    <a:gd name="T76" fmla="*/ 63 w 78"/>
                    <a:gd name="T77" fmla="*/ 111 h 117"/>
                    <a:gd name="T78" fmla="*/ 61 w 78"/>
                    <a:gd name="T79" fmla="*/ 104 h 117"/>
                    <a:gd name="T80" fmla="*/ 60 w 78"/>
                    <a:gd name="T81" fmla="*/ 98 h 117"/>
                    <a:gd name="T82" fmla="*/ 59 w 78"/>
                    <a:gd name="T83" fmla="*/ 63 h 117"/>
                    <a:gd name="T84" fmla="*/ 36 w 78"/>
                    <a:gd name="T85" fmla="*/ 57 h 117"/>
                    <a:gd name="T86" fmla="*/ 28 w 78"/>
                    <a:gd name="T87" fmla="*/ 55 h 117"/>
                    <a:gd name="T88" fmla="*/ 23 w 78"/>
                    <a:gd name="T89" fmla="*/ 54 h 117"/>
                    <a:gd name="T90" fmla="*/ 17 w 78"/>
                    <a:gd name="T91" fmla="*/ 56 h 117"/>
                    <a:gd name="T92" fmla="*/ 15 w 78"/>
                    <a:gd name="T93" fmla="*/ 59 h 117"/>
                    <a:gd name="T94" fmla="*/ 15 w 78"/>
                    <a:gd name="T95" fmla="*/ 63 h 117"/>
                    <a:gd name="T96" fmla="*/ 19 w 78"/>
                    <a:gd name="T97" fmla="*/ 75 h 117"/>
                    <a:gd name="T98" fmla="*/ 25 w 78"/>
                    <a:gd name="T99" fmla="*/ 80 h 117"/>
                    <a:gd name="T100" fmla="*/ 33 w 78"/>
                    <a:gd name="T101" fmla="*/ 86 h 117"/>
                    <a:gd name="T102" fmla="*/ 47 w 78"/>
                    <a:gd name="T103" fmla="*/ 89 h 117"/>
                    <a:gd name="T104" fmla="*/ 50 w 78"/>
                    <a:gd name="T105" fmla="*/ 88 h 117"/>
                    <a:gd name="T106" fmla="*/ 54 w 78"/>
                    <a:gd name="T107" fmla="*/ 85 h 117"/>
                    <a:gd name="T108" fmla="*/ 56 w 78"/>
                    <a:gd name="T109" fmla="*/ 82 h 117"/>
                    <a:gd name="T110" fmla="*/ 59 w 78"/>
                    <a:gd name="T111" fmla="*/ 6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 h="117">
                      <a:moveTo>
                        <a:pt x="60" y="98"/>
                      </a:moveTo>
                      <a:lnTo>
                        <a:pt x="60" y="98"/>
                      </a:lnTo>
                      <a:lnTo>
                        <a:pt x="52" y="100"/>
                      </a:lnTo>
                      <a:lnTo>
                        <a:pt x="44" y="101"/>
                      </a:lnTo>
                      <a:lnTo>
                        <a:pt x="44" y="101"/>
                      </a:lnTo>
                      <a:lnTo>
                        <a:pt x="37" y="99"/>
                      </a:lnTo>
                      <a:lnTo>
                        <a:pt x="28" y="95"/>
                      </a:lnTo>
                      <a:lnTo>
                        <a:pt x="28" y="95"/>
                      </a:lnTo>
                      <a:lnTo>
                        <a:pt x="22" y="92"/>
                      </a:lnTo>
                      <a:lnTo>
                        <a:pt x="16" y="88"/>
                      </a:lnTo>
                      <a:lnTo>
                        <a:pt x="12" y="84"/>
                      </a:lnTo>
                      <a:lnTo>
                        <a:pt x="8" y="78"/>
                      </a:lnTo>
                      <a:lnTo>
                        <a:pt x="8" y="78"/>
                      </a:lnTo>
                      <a:lnTo>
                        <a:pt x="4" y="73"/>
                      </a:lnTo>
                      <a:lnTo>
                        <a:pt x="2" y="67"/>
                      </a:lnTo>
                      <a:lnTo>
                        <a:pt x="0" y="61"/>
                      </a:lnTo>
                      <a:lnTo>
                        <a:pt x="0" y="55"/>
                      </a:lnTo>
                      <a:lnTo>
                        <a:pt x="0" y="55"/>
                      </a:lnTo>
                      <a:lnTo>
                        <a:pt x="0" y="50"/>
                      </a:lnTo>
                      <a:lnTo>
                        <a:pt x="2" y="44"/>
                      </a:lnTo>
                      <a:lnTo>
                        <a:pt x="2" y="44"/>
                      </a:lnTo>
                      <a:lnTo>
                        <a:pt x="5" y="41"/>
                      </a:lnTo>
                      <a:lnTo>
                        <a:pt x="10" y="39"/>
                      </a:lnTo>
                      <a:lnTo>
                        <a:pt x="10" y="39"/>
                      </a:lnTo>
                      <a:lnTo>
                        <a:pt x="15" y="39"/>
                      </a:lnTo>
                      <a:lnTo>
                        <a:pt x="21" y="39"/>
                      </a:lnTo>
                      <a:lnTo>
                        <a:pt x="21" y="39"/>
                      </a:lnTo>
                      <a:lnTo>
                        <a:pt x="34" y="43"/>
                      </a:lnTo>
                      <a:lnTo>
                        <a:pt x="34" y="43"/>
                      </a:lnTo>
                      <a:lnTo>
                        <a:pt x="48" y="49"/>
                      </a:lnTo>
                      <a:lnTo>
                        <a:pt x="59" y="51"/>
                      </a:lnTo>
                      <a:lnTo>
                        <a:pt x="59" y="51"/>
                      </a:lnTo>
                      <a:lnTo>
                        <a:pt x="59" y="47"/>
                      </a:lnTo>
                      <a:lnTo>
                        <a:pt x="59" y="47"/>
                      </a:lnTo>
                      <a:lnTo>
                        <a:pt x="57" y="38"/>
                      </a:lnTo>
                      <a:lnTo>
                        <a:pt x="54" y="31"/>
                      </a:lnTo>
                      <a:lnTo>
                        <a:pt x="54" y="31"/>
                      </a:lnTo>
                      <a:lnTo>
                        <a:pt x="52" y="27"/>
                      </a:lnTo>
                      <a:lnTo>
                        <a:pt x="48" y="24"/>
                      </a:lnTo>
                      <a:lnTo>
                        <a:pt x="38" y="18"/>
                      </a:lnTo>
                      <a:lnTo>
                        <a:pt x="38" y="18"/>
                      </a:lnTo>
                      <a:lnTo>
                        <a:pt x="29" y="15"/>
                      </a:lnTo>
                      <a:lnTo>
                        <a:pt x="26" y="14"/>
                      </a:lnTo>
                      <a:lnTo>
                        <a:pt x="24" y="15"/>
                      </a:lnTo>
                      <a:lnTo>
                        <a:pt x="24" y="15"/>
                      </a:lnTo>
                      <a:lnTo>
                        <a:pt x="22" y="16"/>
                      </a:lnTo>
                      <a:lnTo>
                        <a:pt x="19" y="18"/>
                      </a:lnTo>
                      <a:lnTo>
                        <a:pt x="16" y="25"/>
                      </a:lnTo>
                      <a:lnTo>
                        <a:pt x="2" y="16"/>
                      </a:lnTo>
                      <a:lnTo>
                        <a:pt x="2" y="16"/>
                      </a:lnTo>
                      <a:lnTo>
                        <a:pt x="4" y="9"/>
                      </a:lnTo>
                      <a:lnTo>
                        <a:pt x="9" y="3"/>
                      </a:lnTo>
                      <a:lnTo>
                        <a:pt x="9" y="3"/>
                      </a:lnTo>
                      <a:lnTo>
                        <a:pt x="11" y="2"/>
                      </a:lnTo>
                      <a:lnTo>
                        <a:pt x="14" y="1"/>
                      </a:lnTo>
                      <a:lnTo>
                        <a:pt x="22" y="0"/>
                      </a:lnTo>
                      <a:lnTo>
                        <a:pt x="22" y="0"/>
                      </a:lnTo>
                      <a:lnTo>
                        <a:pt x="30" y="2"/>
                      </a:lnTo>
                      <a:lnTo>
                        <a:pt x="40" y="6"/>
                      </a:lnTo>
                      <a:lnTo>
                        <a:pt x="40" y="6"/>
                      </a:lnTo>
                      <a:lnTo>
                        <a:pt x="50" y="12"/>
                      </a:lnTo>
                      <a:lnTo>
                        <a:pt x="59" y="17"/>
                      </a:lnTo>
                      <a:lnTo>
                        <a:pt x="59" y="17"/>
                      </a:lnTo>
                      <a:lnTo>
                        <a:pt x="64" y="24"/>
                      </a:lnTo>
                      <a:lnTo>
                        <a:pt x="68" y="29"/>
                      </a:lnTo>
                      <a:lnTo>
                        <a:pt x="68" y="29"/>
                      </a:lnTo>
                      <a:lnTo>
                        <a:pt x="71" y="36"/>
                      </a:lnTo>
                      <a:lnTo>
                        <a:pt x="73" y="42"/>
                      </a:lnTo>
                      <a:lnTo>
                        <a:pt x="73" y="42"/>
                      </a:lnTo>
                      <a:lnTo>
                        <a:pt x="73" y="56"/>
                      </a:lnTo>
                      <a:lnTo>
                        <a:pt x="73" y="77"/>
                      </a:lnTo>
                      <a:lnTo>
                        <a:pt x="73" y="77"/>
                      </a:lnTo>
                      <a:lnTo>
                        <a:pt x="74" y="94"/>
                      </a:lnTo>
                      <a:lnTo>
                        <a:pt x="74" y="105"/>
                      </a:lnTo>
                      <a:lnTo>
                        <a:pt x="74" y="105"/>
                      </a:lnTo>
                      <a:lnTo>
                        <a:pt x="76" y="111"/>
                      </a:lnTo>
                      <a:lnTo>
                        <a:pt x="78" y="117"/>
                      </a:lnTo>
                      <a:lnTo>
                        <a:pt x="63" y="111"/>
                      </a:lnTo>
                      <a:lnTo>
                        <a:pt x="63" y="111"/>
                      </a:lnTo>
                      <a:lnTo>
                        <a:pt x="61" y="104"/>
                      </a:lnTo>
                      <a:lnTo>
                        <a:pt x="60" y="98"/>
                      </a:lnTo>
                      <a:lnTo>
                        <a:pt x="60" y="98"/>
                      </a:lnTo>
                      <a:close/>
                      <a:moveTo>
                        <a:pt x="59" y="63"/>
                      </a:moveTo>
                      <a:lnTo>
                        <a:pt x="59" y="63"/>
                      </a:lnTo>
                      <a:lnTo>
                        <a:pt x="49" y="61"/>
                      </a:lnTo>
                      <a:lnTo>
                        <a:pt x="36" y="57"/>
                      </a:lnTo>
                      <a:lnTo>
                        <a:pt x="36" y="57"/>
                      </a:lnTo>
                      <a:lnTo>
                        <a:pt x="28" y="55"/>
                      </a:lnTo>
                      <a:lnTo>
                        <a:pt x="23" y="54"/>
                      </a:lnTo>
                      <a:lnTo>
                        <a:pt x="23" y="54"/>
                      </a:lnTo>
                      <a:lnTo>
                        <a:pt x="19" y="54"/>
                      </a:lnTo>
                      <a:lnTo>
                        <a:pt x="17" y="56"/>
                      </a:lnTo>
                      <a:lnTo>
                        <a:pt x="17" y="56"/>
                      </a:lnTo>
                      <a:lnTo>
                        <a:pt x="15" y="59"/>
                      </a:lnTo>
                      <a:lnTo>
                        <a:pt x="15" y="63"/>
                      </a:lnTo>
                      <a:lnTo>
                        <a:pt x="15" y="63"/>
                      </a:lnTo>
                      <a:lnTo>
                        <a:pt x="16" y="68"/>
                      </a:lnTo>
                      <a:lnTo>
                        <a:pt x="19" y="75"/>
                      </a:lnTo>
                      <a:lnTo>
                        <a:pt x="19" y="75"/>
                      </a:lnTo>
                      <a:lnTo>
                        <a:pt x="25" y="80"/>
                      </a:lnTo>
                      <a:lnTo>
                        <a:pt x="33" y="86"/>
                      </a:lnTo>
                      <a:lnTo>
                        <a:pt x="33" y="86"/>
                      </a:lnTo>
                      <a:lnTo>
                        <a:pt x="40" y="88"/>
                      </a:lnTo>
                      <a:lnTo>
                        <a:pt x="47" y="89"/>
                      </a:lnTo>
                      <a:lnTo>
                        <a:pt x="47" y="89"/>
                      </a:lnTo>
                      <a:lnTo>
                        <a:pt x="50" y="88"/>
                      </a:lnTo>
                      <a:lnTo>
                        <a:pt x="52" y="87"/>
                      </a:lnTo>
                      <a:lnTo>
                        <a:pt x="54" y="85"/>
                      </a:lnTo>
                      <a:lnTo>
                        <a:pt x="56" y="82"/>
                      </a:lnTo>
                      <a:lnTo>
                        <a:pt x="56" y="82"/>
                      </a:lnTo>
                      <a:lnTo>
                        <a:pt x="59" y="77"/>
                      </a:lnTo>
                      <a:lnTo>
                        <a:pt x="59" y="68"/>
                      </a:lnTo>
                      <a:lnTo>
                        <a:pt x="59" y="63"/>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1" name="Freeform 45"/>
                <p:cNvSpPr>
                  <a:spLocks/>
                </p:cNvSpPr>
                <p:nvPr/>
              </p:nvSpPr>
              <p:spPr bwMode="auto">
                <a:xfrm>
                  <a:off x="11634247" y="4872453"/>
                  <a:ext cx="17463" cy="57627"/>
                </a:xfrm>
                <a:custGeom>
                  <a:avLst/>
                  <a:gdLst>
                    <a:gd name="T0" fmla="*/ 39 w 41"/>
                    <a:gd name="T1" fmla="*/ 116 h 130"/>
                    <a:gd name="T2" fmla="*/ 41 w 41"/>
                    <a:gd name="T3" fmla="*/ 130 h 130"/>
                    <a:gd name="T4" fmla="*/ 41 w 41"/>
                    <a:gd name="T5" fmla="*/ 130 h 130"/>
                    <a:gd name="T6" fmla="*/ 30 w 41"/>
                    <a:gd name="T7" fmla="*/ 126 h 130"/>
                    <a:gd name="T8" fmla="*/ 30 w 41"/>
                    <a:gd name="T9" fmla="*/ 126 h 130"/>
                    <a:gd name="T10" fmla="*/ 23 w 41"/>
                    <a:gd name="T11" fmla="*/ 123 h 130"/>
                    <a:gd name="T12" fmla="*/ 18 w 41"/>
                    <a:gd name="T13" fmla="*/ 118 h 130"/>
                    <a:gd name="T14" fmla="*/ 18 w 41"/>
                    <a:gd name="T15" fmla="*/ 118 h 130"/>
                    <a:gd name="T16" fmla="*/ 14 w 41"/>
                    <a:gd name="T17" fmla="*/ 113 h 130"/>
                    <a:gd name="T18" fmla="*/ 12 w 41"/>
                    <a:gd name="T19" fmla="*/ 107 h 130"/>
                    <a:gd name="T20" fmla="*/ 12 w 41"/>
                    <a:gd name="T21" fmla="*/ 107 h 130"/>
                    <a:gd name="T22" fmla="*/ 11 w 41"/>
                    <a:gd name="T23" fmla="*/ 101 h 130"/>
                    <a:gd name="T24" fmla="*/ 10 w 41"/>
                    <a:gd name="T25" fmla="*/ 89 h 130"/>
                    <a:gd name="T26" fmla="*/ 10 w 41"/>
                    <a:gd name="T27" fmla="*/ 37 h 130"/>
                    <a:gd name="T28" fmla="*/ 0 w 41"/>
                    <a:gd name="T29" fmla="*/ 31 h 130"/>
                    <a:gd name="T30" fmla="*/ 0 w 41"/>
                    <a:gd name="T31" fmla="*/ 19 h 130"/>
                    <a:gd name="T32" fmla="*/ 10 w 41"/>
                    <a:gd name="T33" fmla="*/ 25 h 130"/>
                    <a:gd name="T34" fmla="*/ 10 w 41"/>
                    <a:gd name="T35" fmla="*/ 2 h 130"/>
                    <a:gd name="T36" fmla="*/ 25 w 41"/>
                    <a:gd name="T37" fmla="*/ 0 h 130"/>
                    <a:gd name="T38" fmla="*/ 25 w 41"/>
                    <a:gd name="T39" fmla="*/ 31 h 130"/>
                    <a:gd name="T40" fmla="*/ 39 w 41"/>
                    <a:gd name="T41" fmla="*/ 39 h 130"/>
                    <a:gd name="T42" fmla="*/ 39 w 41"/>
                    <a:gd name="T43" fmla="*/ 51 h 130"/>
                    <a:gd name="T44" fmla="*/ 25 w 41"/>
                    <a:gd name="T45" fmla="*/ 43 h 130"/>
                    <a:gd name="T46" fmla="*/ 25 w 41"/>
                    <a:gd name="T47" fmla="*/ 97 h 130"/>
                    <a:gd name="T48" fmla="*/ 25 w 41"/>
                    <a:gd name="T49" fmla="*/ 97 h 130"/>
                    <a:gd name="T50" fmla="*/ 25 w 41"/>
                    <a:gd name="T51" fmla="*/ 105 h 130"/>
                    <a:gd name="T52" fmla="*/ 25 w 41"/>
                    <a:gd name="T53" fmla="*/ 105 h 130"/>
                    <a:gd name="T54" fmla="*/ 28 w 41"/>
                    <a:gd name="T55" fmla="*/ 110 h 130"/>
                    <a:gd name="T56" fmla="*/ 28 w 41"/>
                    <a:gd name="T57" fmla="*/ 110 h 130"/>
                    <a:gd name="T58" fmla="*/ 32 w 41"/>
                    <a:gd name="T59" fmla="*/ 113 h 130"/>
                    <a:gd name="T60" fmla="*/ 32 w 41"/>
                    <a:gd name="T61" fmla="*/ 113 h 130"/>
                    <a:gd name="T62" fmla="*/ 39 w 41"/>
                    <a:gd name="T63" fmla="*/ 116 h 130"/>
                    <a:gd name="T64" fmla="*/ 39 w 41"/>
                    <a:gd name="T65" fmla="*/ 11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130">
                      <a:moveTo>
                        <a:pt x="39" y="116"/>
                      </a:moveTo>
                      <a:lnTo>
                        <a:pt x="41" y="130"/>
                      </a:lnTo>
                      <a:lnTo>
                        <a:pt x="41" y="130"/>
                      </a:lnTo>
                      <a:lnTo>
                        <a:pt x="30" y="126"/>
                      </a:lnTo>
                      <a:lnTo>
                        <a:pt x="30" y="126"/>
                      </a:lnTo>
                      <a:lnTo>
                        <a:pt x="23" y="123"/>
                      </a:lnTo>
                      <a:lnTo>
                        <a:pt x="18" y="118"/>
                      </a:lnTo>
                      <a:lnTo>
                        <a:pt x="18" y="118"/>
                      </a:lnTo>
                      <a:lnTo>
                        <a:pt x="14" y="113"/>
                      </a:lnTo>
                      <a:lnTo>
                        <a:pt x="12" y="107"/>
                      </a:lnTo>
                      <a:lnTo>
                        <a:pt x="12" y="107"/>
                      </a:lnTo>
                      <a:lnTo>
                        <a:pt x="11" y="101"/>
                      </a:lnTo>
                      <a:lnTo>
                        <a:pt x="10" y="89"/>
                      </a:lnTo>
                      <a:lnTo>
                        <a:pt x="10" y="37"/>
                      </a:lnTo>
                      <a:lnTo>
                        <a:pt x="0" y="31"/>
                      </a:lnTo>
                      <a:lnTo>
                        <a:pt x="0" y="19"/>
                      </a:lnTo>
                      <a:lnTo>
                        <a:pt x="10" y="25"/>
                      </a:lnTo>
                      <a:lnTo>
                        <a:pt x="10" y="2"/>
                      </a:lnTo>
                      <a:lnTo>
                        <a:pt x="25" y="0"/>
                      </a:lnTo>
                      <a:lnTo>
                        <a:pt x="25" y="31"/>
                      </a:lnTo>
                      <a:lnTo>
                        <a:pt x="39" y="39"/>
                      </a:lnTo>
                      <a:lnTo>
                        <a:pt x="39" y="51"/>
                      </a:lnTo>
                      <a:lnTo>
                        <a:pt x="25" y="43"/>
                      </a:lnTo>
                      <a:lnTo>
                        <a:pt x="25" y="97"/>
                      </a:lnTo>
                      <a:lnTo>
                        <a:pt x="25" y="97"/>
                      </a:lnTo>
                      <a:lnTo>
                        <a:pt x="25" y="105"/>
                      </a:lnTo>
                      <a:lnTo>
                        <a:pt x="25" y="105"/>
                      </a:lnTo>
                      <a:lnTo>
                        <a:pt x="28" y="110"/>
                      </a:lnTo>
                      <a:lnTo>
                        <a:pt x="28" y="110"/>
                      </a:lnTo>
                      <a:lnTo>
                        <a:pt x="32" y="113"/>
                      </a:lnTo>
                      <a:lnTo>
                        <a:pt x="32" y="113"/>
                      </a:lnTo>
                      <a:lnTo>
                        <a:pt x="39" y="116"/>
                      </a:lnTo>
                      <a:lnTo>
                        <a:pt x="39" y="11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2" name="Freeform 46"/>
                <p:cNvSpPr>
                  <a:spLocks noEditPoints="1"/>
                </p:cNvSpPr>
                <p:nvPr/>
              </p:nvSpPr>
              <p:spPr bwMode="auto">
                <a:xfrm>
                  <a:off x="11190700" y="4771171"/>
                  <a:ext cx="45403" cy="89059"/>
                </a:xfrm>
                <a:custGeom>
                  <a:avLst/>
                  <a:gdLst>
                    <a:gd name="T0" fmla="*/ 0 w 104"/>
                    <a:gd name="T1" fmla="*/ 0 h 205"/>
                    <a:gd name="T2" fmla="*/ 52 w 104"/>
                    <a:gd name="T3" fmla="*/ 29 h 205"/>
                    <a:gd name="T4" fmla="*/ 76 w 104"/>
                    <a:gd name="T5" fmla="*/ 46 h 205"/>
                    <a:gd name="T6" fmla="*/ 83 w 104"/>
                    <a:gd name="T7" fmla="*/ 56 h 205"/>
                    <a:gd name="T8" fmla="*/ 89 w 104"/>
                    <a:gd name="T9" fmla="*/ 68 h 205"/>
                    <a:gd name="T10" fmla="*/ 94 w 104"/>
                    <a:gd name="T11" fmla="*/ 93 h 205"/>
                    <a:gd name="T12" fmla="*/ 93 w 104"/>
                    <a:gd name="T13" fmla="*/ 100 h 205"/>
                    <a:gd name="T14" fmla="*/ 90 w 104"/>
                    <a:gd name="T15" fmla="*/ 110 h 205"/>
                    <a:gd name="T16" fmla="*/ 86 w 104"/>
                    <a:gd name="T17" fmla="*/ 115 h 205"/>
                    <a:gd name="T18" fmla="*/ 76 w 104"/>
                    <a:gd name="T19" fmla="*/ 117 h 205"/>
                    <a:gd name="T20" fmla="*/ 61 w 104"/>
                    <a:gd name="T21" fmla="*/ 114 h 205"/>
                    <a:gd name="T22" fmla="*/ 66 w 104"/>
                    <a:gd name="T23" fmla="*/ 120 h 205"/>
                    <a:gd name="T24" fmla="*/ 70 w 104"/>
                    <a:gd name="T25" fmla="*/ 127 h 205"/>
                    <a:gd name="T26" fmla="*/ 83 w 104"/>
                    <a:gd name="T27" fmla="*/ 154 h 205"/>
                    <a:gd name="T28" fmla="*/ 84 w 104"/>
                    <a:gd name="T29" fmla="*/ 194 h 205"/>
                    <a:gd name="T30" fmla="*/ 68 w 104"/>
                    <a:gd name="T31" fmla="*/ 155 h 205"/>
                    <a:gd name="T32" fmla="*/ 57 w 104"/>
                    <a:gd name="T33" fmla="*/ 128 h 205"/>
                    <a:gd name="T34" fmla="*/ 50 w 104"/>
                    <a:gd name="T35" fmla="*/ 114 h 205"/>
                    <a:gd name="T36" fmla="*/ 42 w 104"/>
                    <a:gd name="T37" fmla="*/ 106 h 205"/>
                    <a:gd name="T38" fmla="*/ 33 w 104"/>
                    <a:gd name="T39" fmla="*/ 101 h 205"/>
                    <a:gd name="T40" fmla="*/ 15 w 104"/>
                    <a:gd name="T41" fmla="*/ 155 h 205"/>
                    <a:gd name="T42" fmla="*/ 15 w 104"/>
                    <a:gd name="T43" fmla="*/ 73 h 205"/>
                    <a:gd name="T44" fmla="*/ 49 w 104"/>
                    <a:gd name="T45" fmla="*/ 92 h 205"/>
                    <a:gd name="T46" fmla="*/ 66 w 104"/>
                    <a:gd name="T47" fmla="*/ 98 h 205"/>
                    <a:gd name="T48" fmla="*/ 68 w 104"/>
                    <a:gd name="T49" fmla="*/ 98 h 205"/>
                    <a:gd name="T50" fmla="*/ 74 w 104"/>
                    <a:gd name="T51" fmla="*/ 97 h 205"/>
                    <a:gd name="T52" fmla="*/ 75 w 104"/>
                    <a:gd name="T53" fmla="*/ 95 h 205"/>
                    <a:gd name="T54" fmla="*/ 78 w 104"/>
                    <a:gd name="T55" fmla="*/ 83 h 205"/>
                    <a:gd name="T56" fmla="*/ 78 w 104"/>
                    <a:gd name="T57" fmla="*/ 79 h 205"/>
                    <a:gd name="T58" fmla="*/ 75 w 104"/>
                    <a:gd name="T59" fmla="*/ 68 h 205"/>
                    <a:gd name="T60" fmla="*/ 71 w 104"/>
                    <a:gd name="T61" fmla="*/ 64 h 205"/>
                    <a:gd name="T62" fmla="*/ 64 w 104"/>
                    <a:gd name="T63" fmla="*/ 54 h 205"/>
                    <a:gd name="T64" fmla="*/ 53 w 104"/>
                    <a:gd name="T65" fmla="*/ 45 h 205"/>
                    <a:gd name="T66" fmla="*/ 15 w 104"/>
                    <a:gd name="T67" fmla="*/ 7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4" h="205">
                      <a:moveTo>
                        <a:pt x="0" y="146"/>
                      </a:moveTo>
                      <a:lnTo>
                        <a:pt x="0" y="0"/>
                      </a:lnTo>
                      <a:lnTo>
                        <a:pt x="52" y="29"/>
                      </a:lnTo>
                      <a:lnTo>
                        <a:pt x="52" y="29"/>
                      </a:lnTo>
                      <a:lnTo>
                        <a:pt x="66" y="38"/>
                      </a:lnTo>
                      <a:lnTo>
                        <a:pt x="76" y="46"/>
                      </a:lnTo>
                      <a:lnTo>
                        <a:pt x="76" y="46"/>
                      </a:lnTo>
                      <a:lnTo>
                        <a:pt x="83" y="56"/>
                      </a:lnTo>
                      <a:lnTo>
                        <a:pt x="89" y="68"/>
                      </a:lnTo>
                      <a:lnTo>
                        <a:pt x="89" y="68"/>
                      </a:lnTo>
                      <a:lnTo>
                        <a:pt x="93" y="81"/>
                      </a:lnTo>
                      <a:lnTo>
                        <a:pt x="94" y="93"/>
                      </a:lnTo>
                      <a:lnTo>
                        <a:pt x="94" y="93"/>
                      </a:lnTo>
                      <a:lnTo>
                        <a:pt x="93" y="100"/>
                      </a:lnTo>
                      <a:lnTo>
                        <a:pt x="92" y="106"/>
                      </a:lnTo>
                      <a:lnTo>
                        <a:pt x="90" y="110"/>
                      </a:lnTo>
                      <a:lnTo>
                        <a:pt x="86" y="115"/>
                      </a:lnTo>
                      <a:lnTo>
                        <a:pt x="86" y="115"/>
                      </a:lnTo>
                      <a:lnTo>
                        <a:pt x="81" y="117"/>
                      </a:lnTo>
                      <a:lnTo>
                        <a:pt x="76" y="117"/>
                      </a:lnTo>
                      <a:lnTo>
                        <a:pt x="69" y="117"/>
                      </a:lnTo>
                      <a:lnTo>
                        <a:pt x="61" y="114"/>
                      </a:lnTo>
                      <a:lnTo>
                        <a:pt x="61" y="114"/>
                      </a:lnTo>
                      <a:lnTo>
                        <a:pt x="66" y="120"/>
                      </a:lnTo>
                      <a:lnTo>
                        <a:pt x="70" y="127"/>
                      </a:lnTo>
                      <a:lnTo>
                        <a:pt x="70" y="127"/>
                      </a:lnTo>
                      <a:lnTo>
                        <a:pt x="77" y="139"/>
                      </a:lnTo>
                      <a:lnTo>
                        <a:pt x="83" y="154"/>
                      </a:lnTo>
                      <a:lnTo>
                        <a:pt x="104" y="205"/>
                      </a:lnTo>
                      <a:lnTo>
                        <a:pt x="84" y="194"/>
                      </a:lnTo>
                      <a:lnTo>
                        <a:pt x="68" y="155"/>
                      </a:lnTo>
                      <a:lnTo>
                        <a:pt x="68" y="155"/>
                      </a:lnTo>
                      <a:lnTo>
                        <a:pt x="57" y="128"/>
                      </a:lnTo>
                      <a:lnTo>
                        <a:pt x="57" y="128"/>
                      </a:lnTo>
                      <a:lnTo>
                        <a:pt x="53" y="119"/>
                      </a:lnTo>
                      <a:lnTo>
                        <a:pt x="50" y="114"/>
                      </a:lnTo>
                      <a:lnTo>
                        <a:pt x="50" y="114"/>
                      </a:lnTo>
                      <a:lnTo>
                        <a:pt x="42" y="106"/>
                      </a:lnTo>
                      <a:lnTo>
                        <a:pt x="42" y="106"/>
                      </a:lnTo>
                      <a:lnTo>
                        <a:pt x="33" y="101"/>
                      </a:lnTo>
                      <a:lnTo>
                        <a:pt x="15" y="90"/>
                      </a:lnTo>
                      <a:lnTo>
                        <a:pt x="15" y="155"/>
                      </a:lnTo>
                      <a:lnTo>
                        <a:pt x="0" y="146"/>
                      </a:lnTo>
                      <a:close/>
                      <a:moveTo>
                        <a:pt x="15" y="73"/>
                      </a:moveTo>
                      <a:lnTo>
                        <a:pt x="49" y="92"/>
                      </a:lnTo>
                      <a:lnTo>
                        <a:pt x="49" y="92"/>
                      </a:lnTo>
                      <a:lnTo>
                        <a:pt x="58" y="96"/>
                      </a:lnTo>
                      <a:lnTo>
                        <a:pt x="66" y="98"/>
                      </a:lnTo>
                      <a:lnTo>
                        <a:pt x="66" y="98"/>
                      </a:lnTo>
                      <a:lnTo>
                        <a:pt x="68" y="98"/>
                      </a:lnTo>
                      <a:lnTo>
                        <a:pt x="71" y="98"/>
                      </a:lnTo>
                      <a:lnTo>
                        <a:pt x="74" y="97"/>
                      </a:lnTo>
                      <a:lnTo>
                        <a:pt x="75" y="95"/>
                      </a:lnTo>
                      <a:lnTo>
                        <a:pt x="75" y="95"/>
                      </a:lnTo>
                      <a:lnTo>
                        <a:pt x="77" y="90"/>
                      </a:lnTo>
                      <a:lnTo>
                        <a:pt x="78" y="83"/>
                      </a:lnTo>
                      <a:lnTo>
                        <a:pt x="78" y="83"/>
                      </a:lnTo>
                      <a:lnTo>
                        <a:pt x="78" y="79"/>
                      </a:lnTo>
                      <a:lnTo>
                        <a:pt x="77" y="73"/>
                      </a:lnTo>
                      <a:lnTo>
                        <a:pt x="75" y="68"/>
                      </a:lnTo>
                      <a:lnTo>
                        <a:pt x="71" y="64"/>
                      </a:lnTo>
                      <a:lnTo>
                        <a:pt x="71" y="64"/>
                      </a:lnTo>
                      <a:lnTo>
                        <a:pt x="68" y="58"/>
                      </a:lnTo>
                      <a:lnTo>
                        <a:pt x="64" y="54"/>
                      </a:lnTo>
                      <a:lnTo>
                        <a:pt x="58" y="50"/>
                      </a:lnTo>
                      <a:lnTo>
                        <a:pt x="53" y="45"/>
                      </a:lnTo>
                      <a:lnTo>
                        <a:pt x="15" y="25"/>
                      </a:lnTo>
                      <a:lnTo>
                        <a:pt x="15" y="73"/>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3" name="Freeform 47"/>
                <p:cNvSpPr>
                  <a:spLocks noEditPoints="1"/>
                </p:cNvSpPr>
                <p:nvPr/>
              </p:nvSpPr>
              <p:spPr bwMode="auto">
                <a:xfrm>
                  <a:off x="11239595" y="4821811"/>
                  <a:ext cx="34925" cy="61119"/>
                </a:xfrm>
                <a:custGeom>
                  <a:avLst/>
                  <a:gdLst>
                    <a:gd name="T0" fmla="*/ 60 w 79"/>
                    <a:gd name="T1" fmla="*/ 114 h 137"/>
                    <a:gd name="T2" fmla="*/ 45 w 79"/>
                    <a:gd name="T3" fmla="*/ 117 h 137"/>
                    <a:gd name="T4" fmla="*/ 38 w 79"/>
                    <a:gd name="T5" fmla="*/ 115 h 137"/>
                    <a:gd name="T6" fmla="*/ 29 w 79"/>
                    <a:gd name="T7" fmla="*/ 112 h 137"/>
                    <a:gd name="T8" fmla="*/ 17 w 79"/>
                    <a:gd name="T9" fmla="*/ 102 h 137"/>
                    <a:gd name="T10" fmla="*/ 7 w 79"/>
                    <a:gd name="T11" fmla="*/ 90 h 137"/>
                    <a:gd name="T12" fmla="*/ 4 w 79"/>
                    <a:gd name="T13" fmla="*/ 85 h 137"/>
                    <a:gd name="T14" fmla="*/ 1 w 79"/>
                    <a:gd name="T15" fmla="*/ 70 h 137"/>
                    <a:gd name="T16" fmla="*/ 0 w 79"/>
                    <a:gd name="T17" fmla="*/ 64 h 137"/>
                    <a:gd name="T18" fmla="*/ 3 w 79"/>
                    <a:gd name="T19" fmla="*/ 52 h 137"/>
                    <a:gd name="T20" fmla="*/ 6 w 79"/>
                    <a:gd name="T21" fmla="*/ 48 h 137"/>
                    <a:gd name="T22" fmla="*/ 10 w 79"/>
                    <a:gd name="T23" fmla="*/ 45 h 137"/>
                    <a:gd name="T24" fmla="*/ 20 w 79"/>
                    <a:gd name="T25" fmla="*/ 45 h 137"/>
                    <a:gd name="T26" fmla="*/ 33 w 79"/>
                    <a:gd name="T27" fmla="*/ 50 h 137"/>
                    <a:gd name="T28" fmla="*/ 48 w 79"/>
                    <a:gd name="T29" fmla="*/ 56 h 137"/>
                    <a:gd name="T30" fmla="*/ 59 w 79"/>
                    <a:gd name="T31" fmla="*/ 58 h 137"/>
                    <a:gd name="T32" fmla="*/ 59 w 79"/>
                    <a:gd name="T33" fmla="*/ 54 h 137"/>
                    <a:gd name="T34" fmla="*/ 57 w 79"/>
                    <a:gd name="T35" fmla="*/ 40 h 137"/>
                    <a:gd name="T36" fmla="*/ 56 w 79"/>
                    <a:gd name="T37" fmla="*/ 36 h 137"/>
                    <a:gd name="T38" fmla="*/ 48 w 79"/>
                    <a:gd name="T39" fmla="*/ 28 h 137"/>
                    <a:gd name="T40" fmla="*/ 39 w 79"/>
                    <a:gd name="T41" fmla="*/ 21 h 137"/>
                    <a:gd name="T42" fmla="*/ 30 w 79"/>
                    <a:gd name="T43" fmla="*/ 17 h 137"/>
                    <a:gd name="T44" fmla="*/ 24 w 79"/>
                    <a:gd name="T45" fmla="*/ 16 h 137"/>
                    <a:gd name="T46" fmla="*/ 21 w 79"/>
                    <a:gd name="T47" fmla="*/ 18 h 137"/>
                    <a:gd name="T48" fmla="*/ 18 w 79"/>
                    <a:gd name="T49" fmla="*/ 24 h 137"/>
                    <a:gd name="T50" fmla="*/ 3 w 79"/>
                    <a:gd name="T51" fmla="*/ 18 h 137"/>
                    <a:gd name="T52" fmla="*/ 5 w 79"/>
                    <a:gd name="T53" fmla="*/ 9 h 137"/>
                    <a:gd name="T54" fmla="*/ 8 w 79"/>
                    <a:gd name="T55" fmla="*/ 3 h 137"/>
                    <a:gd name="T56" fmla="*/ 12 w 79"/>
                    <a:gd name="T57" fmla="*/ 1 h 137"/>
                    <a:gd name="T58" fmla="*/ 18 w 79"/>
                    <a:gd name="T59" fmla="*/ 0 h 137"/>
                    <a:gd name="T60" fmla="*/ 21 w 79"/>
                    <a:gd name="T61" fmla="*/ 0 h 137"/>
                    <a:gd name="T62" fmla="*/ 41 w 79"/>
                    <a:gd name="T63" fmla="*/ 7 h 137"/>
                    <a:gd name="T64" fmla="*/ 51 w 79"/>
                    <a:gd name="T65" fmla="*/ 13 h 137"/>
                    <a:gd name="T66" fmla="*/ 59 w 79"/>
                    <a:gd name="T67" fmla="*/ 21 h 137"/>
                    <a:gd name="T68" fmla="*/ 69 w 79"/>
                    <a:gd name="T69" fmla="*/ 34 h 137"/>
                    <a:gd name="T70" fmla="*/ 71 w 79"/>
                    <a:gd name="T71" fmla="*/ 41 h 137"/>
                    <a:gd name="T72" fmla="*/ 73 w 79"/>
                    <a:gd name="T73" fmla="*/ 49 h 137"/>
                    <a:gd name="T74" fmla="*/ 75 w 79"/>
                    <a:gd name="T75" fmla="*/ 90 h 137"/>
                    <a:gd name="T76" fmla="*/ 75 w 79"/>
                    <a:gd name="T77" fmla="*/ 111 h 137"/>
                    <a:gd name="T78" fmla="*/ 76 w 79"/>
                    <a:gd name="T79" fmla="*/ 121 h 137"/>
                    <a:gd name="T80" fmla="*/ 79 w 79"/>
                    <a:gd name="T81" fmla="*/ 137 h 137"/>
                    <a:gd name="T82" fmla="*/ 64 w 79"/>
                    <a:gd name="T83" fmla="*/ 128 h 137"/>
                    <a:gd name="T84" fmla="*/ 60 w 79"/>
                    <a:gd name="T85" fmla="*/ 114 h 137"/>
                    <a:gd name="T86" fmla="*/ 59 w 79"/>
                    <a:gd name="T87" fmla="*/ 73 h 137"/>
                    <a:gd name="T88" fmla="*/ 50 w 79"/>
                    <a:gd name="T89" fmla="*/ 70 h 137"/>
                    <a:gd name="T90" fmla="*/ 35 w 79"/>
                    <a:gd name="T91" fmla="*/ 66 h 137"/>
                    <a:gd name="T92" fmla="*/ 24 w 79"/>
                    <a:gd name="T93" fmla="*/ 63 h 137"/>
                    <a:gd name="T94" fmla="*/ 20 w 79"/>
                    <a:gd name="T95" fmla="*/ 63 h 137"/>
                    <a:gd name="T96" fmla="*/ 17 w 79"/>
                    <a:gd name="T97" fmla="*/ 65 h 137"/>
                    <a:gd name="T98" fmla="*/ 16 w 79"/>
                    <a:gd name="T99" fmla="*/ 73 h 137"/>
                    <a:gd name="T100" fmla="*/ 17 w 79"/>
                    <a:gd name="T101" fmla="*/ 80 h 137"/>
                    <a:gd name="T102" fmla="*/ 20 w 79"/>
                    <a:gd name="T103" fmla="*/ 87 h 137"/>
                    <a:gd name="T104" fmla="*/ 32 w 79"/>
                    <a:gd name="T105" fmla="*/ 99 h 137"/>
                    <a:gd name="T106" fmla="*/ 41 w 79"/>
                    <a:gd name="T107" fmla="*/ 102 h 137"/>
                    <a:gd name="T108" fmla="*/ 47 w 79"/>
                    <a:gd name="T109" fmla="*/ 103 h 137"/>
                    <a:gd name="T110" fmla="*/ 51 w 79"/>
                    <a:gd name="T111" fmla="*/ 102 h 137"/>
                    <a:gd name="T112" fmla="*/ 55 w 79"/>
                    <a:gd name="T113" fmla="*/ 99 h 137"/>
                    <a:gd name="T114" fmla="*/ 57 w 79"/>
                    <a:gd name="T115" fmla="*/ 95 h 137"/>
                    <a:gd name="T116" fmla="*/ 59 w 79"/>
                    <a:gd name="T117" fmla="*/ 7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137">
                      <a:moveTo>
                        <a:pt x="60" y="114"/>
                      </a:moveTo>
                      <a:lnTo>
                        <a:pt x="60" y="114"/>
                      </a:lnTo>
                      <a:lnTo>
                        <a:pt x="53" y="116"/>
                      </a:lnTo>
                      <a:lnTo>
                        <a:pt x="45" y="117"/>
                      </a:lnTo>
                      <a:lnTo>
                        <a:pt x="45" y="117"/>
                      </a:lnTo>
                      <a:lnTo>
                        <a:pt x="38" y="115"/>
                      </a:lnTo>
                      <a:lnTo>
                        <a:pt x="29" y="112"/>
                      </a:lnTo>
                      <a:lnTo>
                        <a:pt x="29" y="112"/>
                      </a:lnTo>
                      <a:lnTo>
                        <a:pt x="22" y="107"/>
                      </a:lnTo>
                      <a:lnTo>
                        <a:pt x="17" y="102"/>
                      </a:lnTo>
                      <a:lnTo>
                        <a:pt x="12" y="96"/>
                      </a:lnTo>
                      <a:lnTo>
                        <a:pt x="7" y="90"/>
                      </a:lnTo>
                      <a:lnTo>
                        <a:pt x="7" y="90"/>
                      </a:lnTo>
                      <a:lnTo>
                        <a:pt x="4" y="85"/>
                      </a:lnTo>
                      <a:lnTo>
                        <a:pt x="2" y="78"/>
                      </a:lnTo>
                      <a:lnTo>
                        <a:pt x="1" y="70"/>
                      </a:lnTo>
                      <a:lnTo>
                        <a:pt x="0" y="64"/>
                      </a:lnTo>
                      <a:lnTo>
                        <a:pt x="0" y="64"/>
                      </a:lnTo>
                      <a:lnTo>
                        <a:pt x="1" y="57"/>
                      </a:lnTo>
                      <a:lnTo>
                        <a:pt x="3" y="52"/>
                      </a:lnTo>
                      <a:lnTo>
                        <a:pt x="3" y="52"/>
                      </a:lnTo>
                      <a:lnTo>
                        <a:pt x="6" y="48"/>
                      </a:lnTo>
                      <a:lnTo>
                        <a:pt x="10" y="45"/>
                      </a:lnTo>
                      <a:lnTo>
                        <a:pt x="10" y="45"/>
                      </a:lnTo>
                      <a:lnTo>
                        <a:pt x="15" y="45"/>
                      </a:lnTo>
                      <a:lnTo>
                        <a:pt x="20" y="45"/>
                      </a:lnTo>
                      <a:lnTo>
                        <a:pt x="20" y="45"/>
                      </a:lnTo>
                      <a:lnTo>
                        <a:pt x="33" y="50"/>
                      </a:lnTo>
                      <a:lnTo>
                        <a:pt x="33" y="50"/>
                      </a:lnTo>
                      <a:lnTo>
                        <a:pt x="48" y="56"/>
                      </a:lnTo>
                      <a:lnTo>
                        <a:pt x="59" y="58"/>
                      </a:lnTo>
                      <a:lnTo>
                        <a:pt x="59" y="58"/>
                      </a:lnTo>
                      <a:lnTo>
                        <a:pt x="59" y="54"/>
                      </a:lnTo>
                      <a:lnTo>
                        <a:pt x="59" y="54"/>
                      </a:lnTo>
                      <a:lnTo>
                        <a:pt x="58" y="44"/>
                      </a:lnTo>
                      <a:lnTo>
                        <a:pt x="57" y="40"/>
                      </a:lnTo>
                      <a:lnTo>
                        <a:pt x="56" y="36"/>
                      </a:lnTo>
                      <a:lnTo>
                        <a:pt x="56" y="36"/>
                      </a:lnTo>
                      <a:lnTo>
                        <a:pt x="53" y="31"/>
                      </a:lnTo>
                      <a:lnTo>
                        <a:pt x="48" y="28"/>
                      </a:lnTo>
                      <a:lnTo>
                        <a:pt x="44" y="24"/>
                      </a:lnTo>
                      <a:lnTo>
                        <a:pt x="39" y="21"/>
                      </a:lnTo>
                      <a:lnTo>
                        <a:pt x="39" y="21"/>
                      </a:lnTo>
                      <a:lnTo>
                        <a:pt x="30" y="17"/>
                      </a:lnTo>
                      <a:lnTo>
                        <a:pt x="27" y="16"/>
                      </a:lnTo>
                      <a:lnTo>
                        <a:pt x="24" y="16"/>
                      </a:lnTo>
                      <a:lnTo>
                        <a:pt x="24" y="16"/>
                      </a:lnTo>
                      <a:lnTo>
                        <a:pt x="21" y="18"/>
                      </a:lnTo>
                      <a:lnTo>
                        <a:pt x="19" y="21"/>
                      </a:lnTo>
                      <a:lnTo>
                        <a:pt x="18" y="24"/>
                      </a:lnTo>
                      <a:lnTo>
                        <a:pt x="17" y="28"/>
                      </a:lnTo>
                      <a:lnTo>
                        <a:pt x="3" y="18"/>
                      </a:lnTo>
                      <a:lnTo>
                        <a:pt x="3" y="18"/>
                      </a:lnTo>
                      <a:lnTo>
                        <a:pt x="5" y="9"/>
                      </a:lnTo>
                      <a:lnTo>
                        <a:pt x="7" y="5"/>
                      </a:lnTo>
                      <a:lnTo>
                        <a:pt x="8" y="3"/>
                      </a:lnTo>
                      <a:lnTo>
                        <a:pt x="8" y="3"/>
                      </a:lnTo>
                      <a:lnTo>
                        <a:pt x="12" y="1"/>
                      </a:lnTo>
                      <a:lnTo>
                        <a:pt x="14" y="0"/>
                      </a:lnTo>
                      <a:lnTo>
                        <a:pt x="18" y="0"/>
                      </a:lnTo>
                      <a:lnTo>
                        <a:pt x="21" y="0"/>
                      </a:lnTo>
                      <a:lnTo>
                        <a:pt x="21" y="0"/>
                      </a:lnTo>
                      <a:lnTo>
                        <a:pt x="31" y="2"/>
                      </a:lnTo>
                      <a:lnTo>
                        <a:pt x="41" y="7"/>
                      </a:lnTo>
                      <a:lnTo>
                        <a:pt x="41" y="7"/>
                      </a:lnTo>
                      <a:lnTo>
                        <a:pt x="51" y="13"/>
                      </a:lnTo>
                      <a:lnTo>
                        <a:pt x="59" y="21"/>
                      </a:lnTo>
                      <a:lnTo>
                        <a:pt x="59" y="21"/>
                      </a:lnTo>
                      <a:lnTo>
                        <a:pt x="65" y="27"/>
                      </a:lnTo>
                      <a:lnTo>
                        <a:pt x="69" y="34"/>
                      </a:lnTo>
                      <a:lnTo>
                        <a:pt x="69" y="34"/>
                      </a:lnTo>
                      <a:lnTo>
                        <a:pt x="71" y="41"/>
                      </a:lnTo>
                      <a:lnTo>
                        <a:pt x="73" y="49"/>
                      </a:lnTo>
                      <a:lnTo>
                        <a:pt x="73" y="49"/>
                      </a:lnTo>
                      <a:lnTo>
                        <a:pt x="75" y="66"/>
                      </a:lnTo>
                      <a:lnTo>
                        <a:pt x="75" y="90"/>
                      </a:lnTo>
                      <a:lnTo>
                        <a:pt x="75" y="90"/>
                      </a:lnTo>
                      <a:lnTo>
                        <a:pt x="75" y="111"/>
                      </a:lnTo>
                      <a:lnTo>
                        <a:pt x="76" y="121"/>
                      </a:lnTo>
                      <a:lnTo>
                        <a:pt x="76" y="121"/>
                      </a:lnTo>
                      <a:lnTo>
                        <a:pt x="77" y="129"/>
                      </a:lnTo>
                      <a:lnTo>
                        <a:pt x="79" y="137"/>
                      </a:lnTo>
                      <a:lnTo>
                        <a:pt x="64" y="128"/>
                      </a:lnTo>
                      <a:lnTo>
                        <a:pt x="64" y="128"/>
                      </a:lnTo>
                      <a:lnTo>
                        <a:pt x="61" y="121"/>
                      </a:lnTo>
                      <a:lnTo>
                        <a:pt x="60" y="114"/>
                      </a:lnTo>
                      <a:lnTo>
                        <a:pt x="60" y="114"/>
                      </a:lnTo>
                      <a:close/>
                      <a:moveTo>
                        <a:pt x="59" y="73"/>
                      </a:moveTo>
                      <a:lnTo>
                        <a:pt x="59" y="73"/>
                      </a:lnTo>
                      <a:lnTo>
                        <a:pt x="50" y="70"/>
                      </a:lnTo>
                      <a:lnTo>
                        <a:pt x="35" y="66"/>
                      </a:lnTo>
                      <a:lnTo>
                        <a:pt x="35" y="66"/>
                      </a:lnTo>
                      <a:lnTo>
                        <a:pt x="28" y="64"/>
                      </a:lnTo>
                      <a:lnTo>
                        <a:pt x="24" y="63"/>
                      </a:lnTo>
                      <a:lnTo>
                        <a:pt x="24" y="63"/>
                      </a:lnTo>
                      <a:lnTo>
                        <a:pt x="20" y="63"/>
                      </a:lnTo>
                      <a:lnTo>
                        <a:pt x="17" y="65"/>
                      </a:lnTo>
                      <a:lnTo>
                        <a:pt x="17" y="65"/>
                      </a:lnTo>
                      <a:lnTo>
                        <a:pt x="16" y="68"/>
                      </a:lnTo>
                      <a:lnTo>
                        <a:pt x="16" y="73"/>
                      </a:lnTo>
                      <a:lnTo>
                        <a:pt x="16" y="73"/>
                      </a:lnTo>
                      <a:lnTo>
                        <a:pt x="17" y="80"/>
                      </a:lnTo>
                      <a:lnTo>
                        <a:pt x="20" y="87"/>
                      </a:lnTo>
                      <a:lnTo>
                        <a:pt x="20" y="87"/>
                      </a:lnTo>
                      <a:lnTo>
                        <a:pt x="26" y="93"/>
                      </a:lnTo>
                      <a:lnTo>
                        <a:pt x="32" y="99"/>
                      </a:lnTo>
                      <a:lnTo>
                        <a:pt x="32" y="99"/>
                      </a:lnTo>
                      <a:lnTo>
                        <a:pt x="41" y="102"/>
                      </a:lnTo>
                      <a:lnTo>
                        <a:pt x="44" y="103"/>
                      </a:lnTo>
                      <a:lnTo>
                        <a:pt x="47" y="103"/>
                      </a:lnTo>
                      <a:lnTo>
                        <a:pt x="47" y="103"/>
                      </a:lnTo>
                      <a:lnTo>
                        <a:pt x="51" y="102"/>
                      </a:lnTo>
                      <a:lnTo>
                        <a:pt x="53" y="101"/>
                      </a:lnTo>
                      <a:lnTo>
                        <a:pt x="55" y="99"/>
                      </a:lnTo>
                      <a:lnTo>
                        <a:pt x="57" y="95"/>
                      </a:lnTo>
                      <a:lnTo>
                        <a:pt x="57" y="95"/>
                      </a:lnTo>
                      <a:lnTo>
                        <a:pt x="59" y="89"/>
                      </a:lnTo>
                      <a:lnTo>
                        <a:pt x="59" y="79"/>
                      </a:lnTo>
                      <a:lnTo>
                        <a:pt x="59" y="73"/>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4" name="Freeform 48"/>
                <p:cNvSpPr>
                  <a:spLocks noEditPoints="1"/>
                </p:cNvSpPr>
                <p:nvPr/>
              </p:nvSpPr>
              <p:spPr bwMode="auto">
                <a:xfrm>
                  <a:off x="11281505" y="4821811"/>
                  <a:ext cx="6985" cy="68104"/>
                </a:xfrm>
                <a:custGeom>
                  <a:avLst/>
                  <a:gdLst>
                    <a:gd name="T0" fmla="*/ 0 w 14"/>
                    <a:gd name="T1" fmla="*/ 21 h 155"/>
                    <a:gd name="T2" fmla="*/ 0 w 14"/>
                    <a:gd name="T3" fmla="*/ 0 h 155"/>
                    <a:gd name="T4" fmla="*/ 14 w 14"/>
                    <a:gd name="T5" fmla="*/ 9 h 155"/>
                    <a:gd name="T6" fmla="*/ 14 w 14"/>
                    <a:gd name="T7" fmla="*/ 29 h 155"/>
                    <a:gd name="T8" fmla="*/ 0 w 14"/>
                    <a:gd name="T9" fmla="*/ 21 h 155"/>
                    <a:gd name="T10" fmla="*/ 0 w 14"/>
                    <a:gd name="T11" fmla="*/ 146 h 155"/>
                    <a:gd name="T12" fmla="*/ 0 w 14"/>
                    <a:gd name="T13" fmla="*/ 41 h 155"/>
                    <a:gd name="T14" fmla="*/ 14 w 14"/>
                    <a:gd name="T15" fmla="*/ 49 h 155"/>
                    <a:gd name="T16" fmla="*/ 14 w 14"/>
                    <a:gd name="T17" fmla="*/ 155 h 155"/>
                    <a:gd name="T18" fmla="*/ 0 w 14"/>
                    <a:gd name="T19" fmla="*/ 14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55">
                      <a:moveTo>
                        <a:pt x="0" y="21"/>
                      </a:moveTo>
                      <a:lnTo>
                        <a:pt x="0" y="0"/>
                      </a:lnTo>
                      <a:lnTo>
                        <a:pt x="14" y="9"/>
                      </a:lnTo>
                      <a:lnTo>
                        <a:pt x="14" y="29"/>
                      </a:lnTo>
                      <a:lnTo>
                        <a:pt x="0" y="21"/>
                      </a:lnTo>
                      <a:close/>
                      <a:moveTo>
                        <a:pt x="0" y="146"/>
                      </a:moveTo>
                      <a:lnTo>
                        <a:pt x="0" y="41"/>
                      </a:lnTo>
                      <a:lnTo>
                        <a:pt x="14" y="49"/>
                      </a:lnTo>
                      <a:lnTo>
                        <a:pt x="14" y="155"/>
                      </a:lnTo>
                      <a:lnTo>
                        <a:pt x="0" y="14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5" name="Freeform 49"/>
                <p:cNvSpPr>
                  <a:spLocks/>
                </p:cNvSpPr>
                <p:nvPr/>
              </p:nvSpPr>
              <p:spPr bwMode="auto">
                <a:xfrm>
                  <a:off x="11297220" y="4849751"/>
                  <a:ext cx="31433" cy="62865"/>
                </a:xfrm>
                <a:custGeom>
                  <a:avLst/>
                  <a:gdLst>
                    <a:gd name="T0" fmla="*/ 0 w 70"/>
                    <a:gd name="T1" fmla="*/ 105 h 145"/>
                    <a:gd name="T2" fmla="*/ 0 w 70"/>
                    <a:gd name="T3" fmla="*/ 0 h 145"/>
                    <a:gd name="T4" fmla="*/ 13 w 70"/>
                    <a:gd name="T5" fmla="*/ 6 h 145"/>
                    <a:gd name="T6" fmla="*/ 13 w 70"/>
                    <a:gd name="T7" fmla="*/ 21 h 145"/>
                    <a:gd name="T8" fmla="*/ 13 w 70"/>
                    <a:gd name="T9" fmla="*/ 21 h 145"/>
                    <a:gd name="T10" fmla="*/ 16 w 70"/>
                    <a:gd name="T11" fmla="*/ 19 h 145"/>
                    <a:gd name="T12" fmla="*/ 19 w 70"/>
                    <a:gd name="T13" fmla="*/ 17 h 145"/>
                    <a:gd name="T14" fmla="*/ 22 w 70"/>
                    <a:gd name="T15" fmla="*/ 16 h 145"/>
                    <a:gd name="T16" fmla="*/ 25 w 70"/>
                    <a:gd name="T17" fmla="*/ 15 h 145"/>
                    <a:gd name="T18" fmla="*/ 28 w 70"/>
                    <a:gd name="T19" fmla="*/ 15 h 145"/>
                    <a:gd name="T20" fmla="*/ 33 w 70"/>
                    <a:gd name="T21" fmla="*/ 16 h 145"/>
                    <a:gd name="T22" fmla="*/ 40 w 70"/>
                    <a:gd name="T23" fmla="*/ 19 h 145"/>
                    <a:gd name="T24" fmla="*/ 40 w 70"/>
                    <a:gd name="T25" fmla="*/ 19 h 145"/>
                    <a:gd name="T26" fmla="*/ 48 w 70"/>
                    <a:gd name="T27" fmla="*/ 25 h 145"/>
                    <a:gd name="T28" fmla="*/ 56 w 70"/>
                    <a:gd name="T29" fmla="*/ 31 h 145"/>
                    <a:gd name="T30" fmla="*/ 56 w 70"/>
                    <a:gd name="T31" fmla="*/ 31 h 145"/>
                    <a:gd name="T32" fmla="*/ 61 w 70"/>
                    <a:gd name="T33" fmla="*/ 39 h 145"/>
                    <a:gd name="T34" fmla="*/ 65 w 70"/>
                    <a:gd name="T35" fmla="*/ 45 h 145"/>
                    <a:gd name="T36" fmla="*/ 65 w 70"/>
                    <a:gd name="T37" fmla="*/ 45 h 145"/>
                    <a:gd name="T38" fmla="*/ 67 w 70"/>
                    <a:gd name="T39" fmla="*/ 53 h 145"/>
                    <a:gd name="T40" fmla="*/ 70 w 70"/>
                    <a:gd name="T41" fmla="*/ 62 h 145"/>
                    <a:gd name="T42" fmla="*/ 70 w 70"/>
                    <a:gd name="T43" fmla="*/ 62 h 145"/>
                    <a:gd name="T44" fmla="*/ 70 w 70"/>
                    <a:gd name="T45" fmla="*/ 79 h 145"/>
                    <a:gd name="T46" fmla="*/ 70 w 70"/>
                    <a:gd name="T47" fmla="*/ 145 h 145"/>
                    <a:gd name="T48" fmla="*/ 56 w 70"/>
                    <a:gd name="T49" fmla="*/ 136 h 145"/>
                    <a:gd name="T50" fmla="*/ 56 w 70"/>
                    <a:gd name="T51" fmla="*/ 72 h 145"/>
                    <a:gd name="T52" fmla="*/ 56 w 70"/>
                    <a:gd name="T53" fmla="*/ 72 h 145"/>
                    <a:gd name="T54" fmla="*/ 56 w 70"/>
                    <a:gd name="T55" fmla="*/ 62 h 145"/>
                    <a:gd name="T56" fmla="*/ 54 w 70"/>
                    <a:gd name="T57" fmla="*/ 54 h 145"/>
                    <a:gd name="T58" fmla="*/ 54 w 70"/>
                    <a:gd name="T59" fmla="*/ 54 h 145"/>
                    <a:gd name="T60" fmla="*/ 51 w 70"/>
                    <a:gd name="T61" fmla="*/ 49 h 145"/>
                    <a:gd name="T62" fmla="*/ 48 w 70"/>
                    <a:gd name="T63" fmla="*/ 42 h 145"/>
                    <a:gd name="T64" fmla="*/ 48 w 70"/>
                    <a:gd name="T65" fmla="*/ 42 h 145"/>
                    <a:gd name="T66" fmla="*/ 44 w 70"/>
                    <a:gd name="T67" fmla="*/ 38 h 145"/>
                    <a:gd name="T68" fmla="*/ 38 w 70"/>
                    <a:gd name="T69" fmla="*/ 33 h 145"/>
                    <a:gd name="T70" fmla="*/ 38 w 70"/>
                    <a:gd name="T71" fmla="*/ 33 h 145"/>
                    <a:gd name="T72" fmla="*/ 34 w 70"/>
                    <a:gd name="T73" fmla="*/ 31 h 145"/>
                    <a:gd name="T74" fmla="*/ 29 w 70"/>
                    <a:gd name="T75" fmla="*/ 30 h 145"/>
                    <a:gd name="T76" fmla="*/ 25 w 70"/>
                    <a:gd name="T77" fmla="*/ 30 h 145"/>
                    <a:gd name="T78" fmla="*/ 22 w 70"/>
                    <a:gd name="T79" fmla="*/ 32 h 145"/>
                    <a:gd name="T80" fmla="*/ 22 w 70"/>
                    <a:gd name="T81" fmla="*/ 32 h 145"/>
                    <a:gd name="T82" fmla="*/ 19 w 70"/>
                    <a:gd name="T83" fmla="*/ 34 h 145"/>
                    <a:gd name="T84" fmla="*/ 16 w 70"/>
                    <a:gd name="T85" fmla="*/ 40 h 145"/>
                    <a:gd name="T86" fmla="*/ 15 w 70"/>
                    <a:gd name="T87" fmla="*/ 46 h 145"/>
                    <a:gd name="T88" fmla="*/ 15 w 70"/>
                    <a:gd name="T89" fmla="*/ 56 h 145"/>
                    <a:gd name="T90" fmla="*/ 15 w 70"/>
                    <a:gd name="T91" fmla="*/ 114 h 145"/>
                    <a:gd name="T92" fmla="*/ 0 w 70"/>
                    <a:gd name="T93" fmla="*/ 10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 h="145">
                      <a:moveTo>
                        <a:pt x="0" y="105"/>
                      </a:moveTo>
                      <a:lnTo>
                        <a:pt x="0" y="0"/>
                      </a:lnTo>
                      <a:lnTo>
                        <a:pt x="13" y="6"/>
                      </a:lnTo>
                      <a:lnTo>
                        <a:pt x="13" y="21"/>
                      </a:lnTo>
                      <a:lnTo>
                        <a:pt x="13" y="21"/>
                      </a:lnTo>
                      <a:lnTo>
                        <a:pt x="16" y="19"/>
                      </a:lnTo>
                      <a:lnTo>
                        <a:pt x="19" y="17"/>
                      </a:lnTo>
                      <a:lnTo>
                        <a:pt x="22" y="16"/>
                      </a:lnTo>
                      <a:lnTo>
                        <a:pt x="25" y="15"/>
                      </a:lnTo>
                      <a:lnTo>
                        <a:pt x="28" y="15"/>
                      </a:lnTo>
                      <a:lnTo>
                        <a:pt x="33" y="16"/>
                      </a:lnTo>
                      <a:lnTo>
                        <a:pt x="40" y="19"/>
                      </a:lnTo>
                      <a:lnTo>
                        <a:pt x="40" y="19"/>
                      </a:lnTo>
                      <a:lnTo>
                        <a:pt x="48" y="25"/>
                      </a:lnTo>
                      <a:lnTo>
                        <a:pt x="56" y="31"/>
                      </a:lnTo>
                      <a:lnTo>
                        <a:pt x="56" y="31"/>
                      </a:lnTo>
                      <a:lnTo>
                        <a:pt x="61" y="39"/>
                      </a:lnTo>
                      <a:lnTo>
                        <a:pt x="65" y="45"/>
                      </a:lnTo>
                      <a:lnTo>
                        <a:pt x="65" y="45"/>
                      </a:lnTo>
                      <a:lnTo>
                        <a:pt x="67" y="53"/>
                      </a:lnTo>
                      <a:lnTo>
                        <a:pt x="70" y="62"/>
                      </a:lnTo>
                      <a:lnTo>
                        <a:pt x="70" y="62"/>
                      </a:lnTo>
                      <a:lnTo>
                        <a:pt x="70" y="79"/>
                      </a:lnTo>
                      <a:lnTo>
                        <a:pt x="70" y="145"/>
                      </a:lnTo>
                      <a:lnTo>
                        <a:pt x="56" y="136"/>
                      </a:lnTo>
                      <a:lnTo>
                        <a:pt x="56" y="72"/>
                      </a:lnTo>
                      <a:lnTo>
                        <a:pt x="56" y="72"/>
                      </a:lnTo>
                      <a:lnTo>
                        <a:pt x="56" y="62"/>
                      </a:lnTo>
                      <a:lnTo>
                        <a:pt x="54" y="54"/>
                      </a:lnTo>
                      <a:lnTo>
                        <a:pt x="54" y="54"/>
                      </a:lnTo>
                      <a:lnTo>
                        <a:pt x="51" y="49"/>
                      </a:lnTo>
                      <a:lnTo>
                        <a:pt x="48" y="42"/>
                      </a:lnTo>
                      <a:lnTo>
                        <a:pt x="48" y="42"/>
                      </a:lnTo>
                      <a:lnTo>
                        <a:pt x="44" y="38"/>
                      </a:lnTo>
                      <a:lnTo>
                        <a:pt x="38" y="33"/>
                      </a:lnTo>
                      <a:lnTo>
                        <a:pt x="38" y="33"/>
                      </a:lnTo>
                      <a:lnTo>
                        <a:pt x="34" y="31"/>
                      </a:lnTo>
                      <a:lnTo>
                        <a:pt x="29" y="30"/>
                      </a:lnTo>
                      <a:lnTo>
                        <a:pt x="25" y="30"/>
                      </a:lnTo>
                      <a:lnTo>
                        <a:pt x="22" y="32"/>
                      </a:lnTo>
                      <a:lnTo>
                        <a:pt x="22" y="32"/>
                      </a:lnTo>
                      <a:lnTo>
                        <a:pt x="19" y="34"/>
                      </a:lnTo>
                      <a:lnTo>
                        <a:pt x="16" y="40"/>
                      </a:lnTo>
                      <a:lnTo>
                        <a:pt x="15" y="46"/>
                      </a:lnTo>
                      <a:lnTo>
                        <a:pt x="15" y="56"/>
                      </a:lnTo>
                      <a:lnTo>
                        <a:pt x="15" y="114"/>
                      </a:lnTo>
                      <a:lnTo>
                        <a:pt x="0" y="105"/>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6" name="Freeform 50"/>
                <p:cNvSpPr>
                  <a:spLocks noEditPoints="1"/>
                </p:cNvSpPr>
                <p:nvPr/>
              </p:nvSpPr>
              <p:spPr bwMode="auto">
                <a:xfrm>
                  <a:off x="11358340" y="4865468"/>
                  <a:ext cx="40164" cy="78582"/>
                </a:xfrm>
                <a:custGeom>
                  <a:avLst/>
                  <a:gdLst>
                    <a:gd name="T0" fmla="*/ 0 w 90"/>
                    <a:gd name="T1" fmla="*/ 0 h 180"/>
                    <a:gd name="T2" fmla="*/ 45 w 90"/>
                    <a:gd name="T3" fmla="*/ 25 h 180"/>
                    <a:gd name="T4" fmla="*/ 66 w 90"/>
                    <a:gd name="T5" fmla="*/ 41 h 180"/>
                    <a:gd name="T6" fmla="*/ 74 w 90"/>
                    <a:gd name="T7" fmla="*/ 51 h 180"/>
                    <a:gd name="T8" fmla="*/ 79 w 90"/>
                    <a:gd name="T9" fmla="*/ 62 h 180"/>
                    <a:gd name="T10" fmla="*/ 84 w 90"/>
                    <a:gd name="T11" fmla="*/ 83 h 180"/>
                    <a:gd name="T12" fmla="*/ 83 w 90"/>
                    <a:gd name="T13" fmla="*/ 92 h 180"/>
                    <a:gd name="T14" fmla="*/ 80 w 90"/>
                    <a:gd name="T15" fmla="*/ 100 h 180"/>
                    <a:gd name="T16" fmla="*/ 75 w 90"/>
                    <a:gd name="T17" fmla="*/ 104 h 180"/>
                    <a:gd name="T18" fmla="*/ 67 w 90"/>
                    <a:gd name="T19" fmla="*/ 105 h 180"/>
                    <a:gd name="T20" fmla="*/ 73 w 90"/>
                    <a:gd name="T21" fmla="*/ 110 h 180"/>
                    <a:gd name="T22" fmla="*/ 80 w 90"/>
                    <a:gd name="T23" fmla="*/ 122 h 180"/>
                    <a:gd name="T24" fmla="*/ 84 w 90"/>
                    <a:gd name="T25" fmla="*/ 128 h 180"/>
                    <a:gd name="T26" fmla="*/ 88 w 90"/>
                    <a:gd name="T27" fmla="*/ 141 h 180"/>
                    <a:gd name="T28" fmla="*/ 90 w 90"/>
                    <a:gd name="T29" fmla="*/ 154 h 180"/>
                    <a:gd name="T30" fmla="*/ 89 w 90"/>
                    <a:gd name="T31" fmla="*/ 163 h 180"/>
                    <a:gd name="T32" fmla="*/ 86 w 90"/>
                    <a:gd name="T33" fmla="*/ 171 h 180"/>
                    <a:gd name="T34" fmla="*/ 77 w 90"/>
                    <a:gd name="T35" fmla="*/ 180 h 180"/>
                    <a:gd name="T36" fmla="*/ 72 w 90"/>
                    <a:gd name="T37" fmla="*/ 180 h 180"/>
                    <a:gd name="T38" fmla="*/ 64 w 90"/>
                    <a:gd name="T39" fmla="*/ 180 h 180"/>
                    <a:gd name="T40" fmla="*/ 46 w 90"/>
                    <a:gd name="T41" fmla="*/ 171 h 180"/>
                    <a:gd name="T42" fmla="*/ 16 w 90"/>
                    <a:gd name="T43" fmla="*/ 69 h 180"/>
                    <a:gd name="T44" fmla="*/ 41 w 90"/>
                    <a:gd name="T45" fmla="*/ 84 h 180"/>
                    <a:gd name="T46" fmla="*/ 57 w 90"/>
                    <a:gd name="T47" fmla="*/ 91 h 180"/>
                    <a:gd name="T48" fmla="*/ 62 w 90"/>
                    <a:gd name="T49" fmla="*/ 91 h 180"/>
                    <a:gd name="T50" fmla="*/ 65 w 90"/>
                    <a:gd name="T51" fmla="*/ 89 h 180"/>
                    <a:gd name="T52" fmla="*/ 67 w 90"/>
                    <a:gd name="T53" fmla="*/ 84 h 180"/>
                    <a:gd name="T54" fmla="*/ 68 w 90"/>
                    <a:gd name="T55" fmla="*/ 78 h 180"/>
                    <a:gd name="T56" fmla="*/ 66 w 90"/>
                    <a:gd name="T57" fmla="*/ 63 h 180"/>
                    <a:gd name="T58" fmla="*/ 62 w 90"/>
                    <a:gd name="T59" fmla="*/ 56 h 180"/>
                    <a:gd name="T60" fmla="*/ 58 w 90"/>
                    <a:gd name="T61" fmla="*/ 51 h 180"/>
                    <a:gd name="T62" fmla="*/ 40 w 90"/>
                    <a:gd name="T63" fmla="*/ 39 h 180"/>
                    <a:gd name="T64" fmla="*/ 16 w 90"/>
                    <a:gd name="T65" fmla="*/ 69 h 180"/>
                    <a:gd name="T66" fmla="*/ 46 w 90"/>
                    <a:gd name="T67" fmla="*/ 154 h 180"/>
                    <a:gd name="T68" fmla="*/ 57 w 90"/>
                    <a:gd name="T69" fmla="*/ 159 h 180"/>
                    <a:gd name="T70" fmla="*/ 61 w 90"/>
                    <a:gd name="T71" fmla="*/ 160 h 180"/>
                    <a:gd name="T72" fmla="*/ 65 w 90"/>
                    <a:gd name="T73" fmla="*/ 160 h 180"/>
                    <a:gd name="T74" fmla="*/ 72 w 90"/>
                    <a:gd name="T75" fmla="*/ 155 h 180"/>
                    <a:gd name="T76" fmla="*/ 73 w 90"/>
                    <a:gd name="T77" fmla="*/ 151 h 180"/>
                    <a:gd name="T78" fmla="*/ 74 w 90"/>
                    <a:gd name="T79" fmla="*/ 144 h 180"/>
                    <a:gd name="T80" fmla="*/ 71 w 90"/>
                    <a:gd name="T81" fmla="*/ 128 h 180"/>
                    <a:gd name="T82" fmla="*/ 66 w 90"/>
                    <a:gd name="T83" fmla="*/ 121 h 180"/>
                    <a:gd name="T84" fmla="*/ 61 w 90"/>
                    <a:gd name="T85" fmla="*/ 115 h 180"/>
                    <a:gd name="T86" fmla="*/ 44 w 90"/>
                    <a:gd name="T87" fmla="*/ 102 h 180"/>
                    <a:gd name="T88" fmla="*/ 16 w 90"/>
                    <a:gd name="T89" fmla="*/ 13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80">
                      <a:moveTo>
                        <a:pt x="0" y="146"/>
                      </a:moveTo>
                      <a:lnTo>
                        <a:pt x="0" y="0"/>
                      </a:lnTo>
                      <a:lnTo>
                        <a:pt x="45" y="25"/>
                      </a:lnTo>
                      <a:lnTo>
                        <a:pt x="45" y="25"/>
                      </a:lnTo>
                      <a:lnTo>
                        <a:pt x="57" y="32"/>
                      </a:lnTo>
                      <a:lnTo>
                        <a:pt x="66" y="41"/>
                      </a:lnTo>
                      <a:lnTo>
                        <a:pt x="66" y="41"/>
                      </a:lnTo>
                      <a:lnTo>
                        <a:pt x="74" y="51"/>
                      </a:lnTo>
                      <a:lnTo>
                        <a:pt x="79" y="62"/>
                      </a:lnTo>
                      <a:lnTo>
                        <a:pt x="79" y="62"/>
                      </a:lnTo>
                      <a:lnTo>
                        <a:pt x="83" y="74"/>
                      </a:lnTo>
                      <a:lnTo>
                        <a:pt x="84" y="83"/>
                      </a:lnTo>
                      <a:lnTo>
                        <a:pt x="84" y="83"/>
                      </a:lnTo>
                      <a:lnTo>
                        <a:pt x="83" y="92"/>
                      </a:lnTo>
                      <a:lnTo>
                        <a:pt x="80" y="100"/>
                      </a:lnTo>
                      <a:lnTo>
                        <a:pt x="80" y="100"/>
                      </a:lnTo>
                      <a:lnTo>
                        <a:pt x="77" y="102"/>
                      </a:lnTo>
                      <a:lnTo>
                        <a:pt x="75" y="104"/>
                      </a:lnTo>
                      <a:lnTo>
                        <a:pt x="72" y="105"/>
                      </a:lnTo>
                      <a:lnTo>
                        <a:pt x="67" y="105"/>
                      </a:lnTo>
                      <a:lnTo>
                        <a:pt x="67" y="105"/>
                      </a:lnTo>
                      <a:lnTo>
                        <a:pt x="73" y="110"/>
                      </a:lnTo>
                      <a:lnTo>
                        <a:pt x="77" y="116"/>
                      </a:lnTo>
                      <a:lnTo>
                        <a:pt x="80" y="122"/>
                      </a:lnTo>
                      <a:lnTo>
                        <a:pt x="84" y="128"/>
                      </a:lnTo>
                      <a:lnTo>
                        <a:pt x="84" y="128"/>
                      </a:lnTo>
                      <a:lnTo>
                        <a:pt x="87" y="134"/>
                      </a:lnTo>
                      <a:lnTo>
                        <a:pt x="88" y="141"/>
                      </a:lnTo>
                      <a:lnTo>
                        <a:pt x="89" y="147"/>
                      </a:lnTo>
                      <a:lnTo>
                        <a:pt x="90" y="154"/>
                      </a:lnTo>
                      <a:lnTo>
                        <a:pt x="90" y="154"/>
                      </a:lnTo>
                      <a:lnTo>
                        <a:pt x="89" y="163"/>
                      </a:lnTo>
                      <a:lnTo>
                        <a:pt x="86" y="171"/>
                      </a:lnTo>
                      <a:lnTo>
                        <a:pt x="86" y="171"/>
                      </a:lnTo>
                      <a:lnTo>
                        <a:pt x="83" y="177"/>
                      </a:lnTo>
                      <a:lnTo>
                        <a:pt x="77" y="180"/>
                      </a:lnTo>
                      <a:lnTo>
                        <a:pt x="77" y="180"/>
                      </a:lnTo>
                      <a:lnTo>
                        <a:pt x="72" y="180"/>
                      </a:lnTo>
                      <a:lnTo>
                        <a:pt x="64" y="180"/>
                      </a:lnTo>
                      <a:lnTo>
                        <a:pt x="64" y="180"/>
                      </a:lnTo>
                      <a:lnTo>
                        <a:pt x="57" y="177"/>
                      </a:lnTo>
                      <a:lnTo>
                        <a:pt x="46" y="171"/>
                      </a:lnTo>
                      <a:lnTo>
                        <a:pt x="0" y="146"/>
                      </a:lnTo>
                      <a:close/>
                      <a:moveTo>
                        <a:pt x="16" y="69"/>
                      </a:moveTo>
                      <a:lnTo>
                        <a:pt x="41" y="84"/>
                      </a:lnTo>
                      <a:lnTo>
                        <a:pt x="41" y="84"/>
                      </a:lnTo>
                      <a:lnTo>
                        <a:pt x="51" y="89"/>
                      </a:lnTo>
                      <a:lnTo>
                        <a:pt x="57" y="91"/>
                      </a:lnTo>
                      <a:lnTo>
                        <a:pt x="57" y="91"/>
                      </a:lnTo>
                      <a:lnTo>
                        <a:pt x="62" y="91"/>
                      </a:lnTo>
                      <a:lnTo>
                        <a:pt x="64" y="90"/>
                      </a:lnTo>
                      <a:lnTo>
                        <a:pt x="65" y="89"/>
                      </a:lnTo>
                      <a:lnTo>
                        <a:pt x="65" y="89"/>
                      </a:lnTo>
                      <a:lnTo>
                        <a:pt x="67" y="84"/>
                      </a:lnTo>
                      <a:lnTo>
                        <a:pt x="68" y="78"/>
                      </a:lnTo>
                      <a:lnTo>
                        <a:pt x="68" y="78"/>
                      </a:lnTo>
                      <a:lnTo>
                        <a:pt x="68" y="70"/>
                      </a:lnTo>
                      <a:lnTo>
                        <a:pt x="66" y="63"/>
                      </a:lnTo>
                      <a:lnTo>
                        <a:pt x="66" y="63"/>
                      </a:lnTo>
                      <a:lnTo>
                        <a:pt x="62" y="56"/>
                      </a:lnTo>
                      <a:lnTo>
                        <a:pt x="58" y="51"/>
                      </a:lnTo>
                      <a:lnTo>
                        <a:pt x="58" y="51"/>
                      </a:lnTo>
                      <a:lnTo>
                        <a:pt x="51" y="45"/>
                      </a:lnTo>
                      <a:lnTo>
                        <a:pt x="40" y="39"/>
                      </a:lnTo>
                      <a:lnTo>
                        <a:pt x="16" y="26"/>
                      </a:lnTo>
                      <a:lnTo>
                        <a:pt x="16" y="69"/>
                      </a:lnTo>
                      <a:close/>
                      <a:moveTo>
                        <a:pt x="16" y="138"/>
                      </a:moveTo>
                      <a:lnTo>
                        <a:pt x="46" y="154"/>
                      </a:lnTo>
                      <a:lnTo>
                        <a:pt x="46" y="154"/>
                      </a:lnTo>
                      <a:lnTo>
                        <a:pt x="57" y="159"/>
                      </a:lnTo>
                      <a:lnTo>
                        <a:pt x="57" y="159"/>
                      </a:lnTo>
                      <a:lnTo>
                        <a:pt x="61" y="160"/>
                      </a:lnTo>
                      <a:lnTo>
                        <a:pt x="65" y="160"/>
                      </a:lnTo>
                      <a:lnTo>
                        <a:pt x="65" y="160"/>
                      </a:lnTo>
                      <a:lnTo>
                        <a:pt x="68" y="158"/>
                      </a:lnTo>
                      <a:lnTo>
                        <a:pt x="72" y="155"/>
                      </a:lnTo>
                      <a:lnTo>
                        <a:pt x="72" y="155"/>
                      </a:lnTo>
                      <a:lnTo>
                        <a:pt x="73" y="151"/>
                      </a:lnTo>
                      <a:lnTo>
                        <a:pt x="74" y="144"/>
                      </a:lnTo>
                      <a:lnTo>
                        <a:pt x="74" y="144"/>
                      </a:lnTo>
                      <a:lnTo>
                        <a:pt x="73" y="136"/>
                      </a:lnTo>
                      <a:lnTo>
                        <a:pt x="71" y="128"/>
                      </a:lnTo>
                      <a:lnTo>
                        <a:pt x="71" y="128"/>
                      </a:lnTo>
                      <a:lnTo>
                        <a:pt x="66" y="121"/>
                      </a:lnTo>
                      <a:lnTo>
                        <a:pt x="61" y="115"/>
                      </a:lnTo>
                      <a:lnTo>
                        <a:pt x="61" y="115"/>
                      </a:lnTo>
                      <a:lnTo>
                        <a:pt x="53" y="108"/>
                      </a:lnTo>
                      <a:lnTo>
                        <a:pt x="44" y="102"/>
                      </a:lnTo>
                      <a:lnTo>
                        <a:pt x="16" y="87"/>
                      </a:lnTo>
                      <a:lnTo>
                        <a:pt x="16" y="138"/>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7" name="Freeform 51"/>
                <p:cNvSpPr>
                  <a:spLocks noEditPoints="1"/>
                </p:cNvSpPr>
                <p:nvPr/>
              </p:nvSpPr>
              <p:spPr bwMode="auto">
                <a:xfrm>
                  <a:off x="11403742" y="4916109"/>
                  <a:ext cx="34925" cy="52388"/>
                </a:xfrm>
                <a:custGeom>
                  <a:avLst/>
                  <a:gdLst>
                    <a:gd name="T0" fmla="*/ 0 w 81"/>
                    <a:gd name="T1" fmla="*/ 38 h 121"/>
                    <a:gd name="T2" fmla="*/ 4 w 81"/>
                    <a:gd name="T3" fmla="*/ 14 h 121"/>
                    <a:gd name="T4" fmla="*/ 8 w 81"/>
                    <a:gd name="T5" fmla="*/ 6 h 121"/>
                    <a:gd name="T6" fmla="*/ 13 w 81"/>
                    <a:gd name="T7" fmla="*/ 2 h 121"/>
                    <a:gd name="T8" fmla="*/ 19 w 81"/>
                    <a:gd name="T9" fmla="*/ 0 h 121"/>
                    <a:gd name="T10" fmla="*/ 33 w 81"/>
                    <a:gd name="T11" fmla="*/ 2 h 121"/>
                    <a:gd name="T12" fmla="*/ 40 w 81"/>
                    <a:gd name="T13" fmla="*/ 5 h 121"/>
                    <a:gd name="T14" fmla="*/ 57 w 81"/>
                    <a:gd name="T15" fmla="*/ 18 h 121"/>
                    <a:gd name="T16" fmla="*/ 69 w 81"/>
                    <a:gd name="T17" fmla="*/ 35 h 121"/>
                    <a:gd name="T18" fmla="*/ 74 w 81"/>
                    <a:gd name="T19" fmla="*/ 46 h 121"/>
                    <a:gd name="T20" fmla="*/ 80 w 81"/>
                    <a:gd name="T21" fmla="*/ 69 h 121"/>
                    <a:gd name="T22" fmla="*/ 81 w 81"/>
                    <a:gd name="T23" fmla="*/ 82 h 121"/>
                    <a:gd name="T24" fmla="*/ 80 w 81"/>
                    <a:gd name="T25" fmla="*/ 99 h 121"/>
                    <a:gd name="T26" fmla="*/ 75 w 81"/>
                    <a:gd name="T27" fmla="*/ 111 h 121"/>
                    <a:gd name="T28" fmla="*/ 73 w 81"/>
                    <a:gd name="T29" fmla="*/ 115 h 121"/>
                    <a:gd name="T30" fmla="*/ 65 w 81"/>
                    <a:gd name="T31" fmla="*/ 120 h 121"/>
                    <a:gd name="T32" fmla="*/ 61 w 81"/>
                    <a:gd name="T33" fmla="*/ 121 h 121"/>
                    <a:gd name="T34" fmla="*/ 51 w 81"/>
                    <a:gd name="T35" fmla="*/ 120 h 121"/>
                    <a:gd name="T36" fmla="*/ 40 w 81"/>
                    <a:gd name="T37" fmla="*/ 116 h 121"/>
                    <a:gd name="T38" fmla="*/ 32 w 81"/>
                    <a:gd name="T39" fmla="*/ 110 h 121"/>
                    <a:gd name="T40" fmla="*/ 18 w 81"/>
                    <a:gd name="T41" fmla="*/ 95 h 121"/>
                    <a:gd name="T42" fmla="*/ 11 w 81"/>
                    <a:gd name="T43" fmla="*/ 85 h 121"/>
                    <a:gd name="T44" fmla="*/ 2 w 81"/>
                    <a:gd name="T45" fmla="*/ 64 h 121"/>
                    <a:gd name="T46" fmla="*/ 0 w 81"/>
                    <a:gd name="T47" fmla="*/ 38 h 121"/>
                    <a:gd name="T48" fmla="*/ 16 w 81"/>
                    <a:gd name="T49" fmla="*/ 46 h 121"/>
                    <a:gd name="T50" fmla="*/ 16 w 81"/>
                    <a:gd name="T51" fmla="*/ 56 h 121"/>
                    <a:gd name="T52" fmla="*/ 19 w 81"/>
                    <a:gd name="T53" fmla="*/ 73 h 121"/>
                    <a:gd name="T54" fmla="*/ 22 w 81"/>
                    <a:gd name="T55" fmla="*/ 81 h 121"/>
                    <a:gd name="T56" fmla="*/ 31 w 81"/>
                    <a:gd name="T57" fmla="*/ 93 h 121"/>
                    <a:gd name="T58" fmla="*/ 40 w 81"/>
                    <a:gd name="T59" fmla="*/ 102 h 121"/>
                    <a:gd name="T60" fmla="*/ 46 w 81"/>
                    <a:gd name="T61" fmla="*/ 104 h 121"/>
                    <a:gd name="T62" fmla="*/ 55 w 81"/>
                    <a:gd name="T63" fmla="*/ 104 h 121"/>
                    <a:gd name="T64" fmla="*/ 58 w 81"/>
                    <a:gd name="T65" fmla="*/ 102 h 121"/>
                    <a:gd name="T66" fmla="*/ 63 w 81"/>
                    <a:gd name="T67" fmla="*/ 92 h 121"/>
                    <a:gd name="T68" fmla="*/ 65 w 81"/>
                    <a:gd name="T69" fmla="*/ 74 h 121"/>
                    <a:gd name="T70" fmla="*/ 65 w 81"/>
                    <a:gd name="T71" fmla="*/ 65 h 121"/>
                    <a:gd name="T72" fmla="*/ 61 w 81"/>
                    <a:gd name="T73" fmla="*/ 47 h 121"/>
                    <a:gd name="T74" fmla="*/ 58 w 81"/>
                    <a:gd name="T75" fmla="*/ 40 h 121"/>
                    <a:gd name="T76" fmla="*/ 50 w 81"/>
                    <a:gd name="T77" fmla="*/ 28 h 121"/>
                    <a:gd name="T78" fmla="*/ 40 w 81"/>
                    <a:gd name="T79" fmla="*/ 20 h 121"/>
                    <a:gd name="T80" fmla="*/ 35 w 81"/>
                    <a:gd name="T81" fmla="*/ 18 h 121"/>
                    <a:gd name="T82" fmla="*/ 26 w 81"/>
                    <a:gd name="T83" fmla="*/ 18 h 121"/>
                    <a:gd name="T84" fmla="*/ 22 w 81"/>
                    <a:gd name="T85" fmla="*/ 20 h 121"/>
                    <a:gd name="T86" fmla="*/ 17 w 81"/>
                    <a:gd name="T87" fmla="*/ 30 h 121"/>
                    <a:gd name="T88" fmla="*/ 16 w 81"/>
                    <a:gd name="T89" fmla="*/ 4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 h="121">
                      <a:moveTo>
                        <a:pt x="0" y="38"/>
                      </a:moveTo>
                      <a:lnTo>
                        <a:pt x="0" y="38"/>
                      </a:lnTo>
                      <a:lnTo>
                        <a:pt x="1" y="25"/>
                      </a:lnTo>
                      <a:lnTo>
                        <a:pt x="4" y="14"/>
                      </a:lnTo>
                      <a:lnTo>
                        <a:pt x="6" y="10"/>
                      </a:lnTo>
                      <a:lnTo>
                        <a:pt x="8" y="6"/>
                      </a:lnTo>
                      <a:lnTo>
                        <a:pt x="10" y="4"/>
                      </a:lnTo>
                      <a:lnTo>
                        <a:pt x="13" y="2"/>
                      </a:lnTo>
                      <a:lnTo>
                        <a:pt x="13" y="2"/>
                      </a:lnTo>
                      <a:lnTo>
                        <a:pt x="19" y="0"/>
                      </a:lnTo>
                      <a:lnTo>
                        <a:pt x="25" y="0"/>
                      </a:lnTo>
                      <a:lnTo>
                        <a:pt x="33" y="2"/>
                      </a:lnTo>
                      <a:lnTo>
                        <a:pt x="40" y="5"/>
                      </a:lnTo>
                      <a:lnTo>
                        <a:pt x="40" y="5"/>
                      </a:lnTo>
                      <a:lnTo>
                        <a:pt x="49" y="10"/>
                      </a:lnTo>
                      <a:lnTo>
                        <a:pt x="57" y="18"/>
                      </a:lnTo>
                      <a:lnTo>
                        <a:pt x="63" y="26"/>
                      </a:lnTo>
                      <a:lnTo>
                        <a:pt x="69" y="35"/>
                      </a:lnTo>
                      <a:lnTo>
                        <a:pt x="69" y="35"/>
                      </a:lnTo>
                      <a:lnTo>
                        <a:pt x="74" y="46"/>
                      </a:lnTo>
                      <a:lnTo>
                        <a:pt x="77" y="57"/>
                      </a:lnTo>
                      <a:lnTo>
                        <a:pt x="80" y="69"/>
                      </a:lnTo>
                      <a:lnTo>
                        <a:pt x="81" y="82"/>
                      </a:lnTo>
                      <a:lnTo>
                        <a:pt x="81" y="82"/>
                      </a:lnTo>
                      <a:lnTo>
                        <a:pt x="80" y="91"/>
                      </a:lnTo>
                      <a:lnTo>
                        <a:pt x="80" y="99"/>
                      </a:lnTo>
                      <a:lnTo>
                        <a:pt x="77" y="106"/>
                      </a:lnTo>
                      <a:lnTo>
                        <a:pt x="75" y="111"/>
                      </a:lnTo>
                      <a:lnTo>
                        <a:pt x="75" y="111"/>
                      </a:lnTo>
                      <a:lnTo>
                        <a:pt x="73" y="115"/>
                      </a:lnTo>
                      <a:lnTo>
                        <a:pt x="70" y="118"/>
                      </a:lnTo>
                      <a:lnTo>
                        <a:pt x="65" y="120"/>
                      </a:lnTo>
                      <a:lnTo>
                        <a:pt x="61" y="121"/>
                      </a:lnTo>
                      <a:lnTo>
                        <a:pt x="61" y="121"/>
                      </a:lnTo>
                      <a:lnTo>
                        <a:pt x="56" y="121"/>
                      </a:lnTo>
                      <a:lnTo>
                        <a:pt x="51" y="120"/>
                      </a:lnTo>
                      <a:lnTo>
                        <a:pt x="46" y="119"/>
                      </a:lnTo>
                      <a:lnTo>
                        <a:pt x="40" y="116"/>
                      </a:lnTo>
                      <a:lnTo>
                        <a:pt x="40" y="116"/>
                      </a:lnTo>
                      <a:lnTo>
                        <a:pt x="32" y="110"/>
                      </a:lnTo>
                      <a:lnTo>
                        <a:pt x="24" y="104"/>
                      </a:lnTo>
                      <a:lnTo>
                        <a:pt x="18" y="95"/>
                      </a:lnTo>
                      <a:lnTo>
                        <a:pt x="11" y="85"/>
                      </a:lnTo>
                      <a:lnTo>
                        <a:pt x="11" y="85"/>
                      </a:lnTo>
                      <a:lnTo>
                        <a:pt x="7" y="74"/>
                      </a:lnTo>
                      <a:lnTo>
                        <a:pt x="2" y="64"/>
                      </a:lnTo>
                      <a:lnTo>
                        <a:pt x="0" y="51"/>
                      </a:lnTo>
                      <a:lnTo>
                        <a:pt x="0" y="38"/>
                      </a:lnTo>
                      <a:lnTo>
                        <a:pt x="0" y="38"/>
                      </a:lnTo>
                      <a:close/>
                      <a:moveTo>
                        <a:pt x="16" y="46"/>
                      </a:moveTo>
                      <a:lnTo>
                        <a:pt x="16" y="46"/>
                      </a:lnTo>
                      <a:lnTo>
                        <a:pt x="16" y="56"/>
                      </a:lnTo>
                      <a:lnTo>
                        <a:pt x="17" y="65"/>
                      </a:lnTo>
                      <a:lnTo>
                        <a:pt x="19" y="73"/>
                      </a:lnTo>
                      <a:lnTo>
                        <a:pt x="22" y="81"/>
                      </a:lnTo>
                      <a:lnTo>
                        <a:pt x="22" y="81"/>
                      </a:lnTo>
                      <a:lnTo>
                        <a:pt x="26" y="87"/>
                      </a:lnTo>
                      <a:lnTo>
                        <a:pt x="31" y="93"/>
                      </a:lnTo>
                      <a:lnTo>
                        <a:pt x="35" y="97"/>
                      </a:lnTo>
                      <a:lnTo>
                        <a:pt x="40" y="102"/>
                      </a:lnTo>
                      <a:lnTo>
                        <a:pt x="40" y="102"/>
                      </a:lnTo>
                      <a:lnTo>
                        <a:pt x="46" y="104"/>
                      </a:lnTo>
                      <a:lnTo>
                        <a:pt x="50" y="104"/>
                      </a:lnTo>
                      <a:lnTo>
                        <a:pt x="55" y="104"/>
                      </a:lnTo>
                      <a:lnTo>
                        <a:pt x="58" y="102"/>
                      </a:lnTo>
                      <a:lnTo>
                        <a:pt x="58" y="102"/>
                      </a:lnTo>
                      <a:lnTo>
                        <a:pt x="61" y="97"/>
                      </a:lnTo>
                      <a:lnTo>
                        <a:pt x="63" y="92"/>
                      </a:lnTo>
                      <a:lnTo>
                        <a:pt x="65" y="83"/>
                      </a:lnTo>
                      <a:lnTo>
                        <a:pt x="65" y="74"/>
                      </a:lnTo>
                      <a:lnTo>
                        <a:pt x="65" y="74"/>
                      </a:lnTo>
                      <a:lnTo>
                        <a:pt x="65" y="65"/>
                      </a:lnTo>
                      <a:lnTo>
                        <a:pt x="63" y="56"/>
                      </a:lnTo>
                      <a:lnTo>
                        <a:pt x="61" y="47"/>
                      </a:lnTo>
                      <a:lnTo>
                        <a:pt x="58" y="40"/>
                      </a:lnTo>
                      <a:lnTo>
                        <a:pt x="58" y="40"/>
                      </a:lnTo>
                      <a:lnTo>
                        <a:pt x="55" y="33"/>
                      </a:lnTo>
                      <a:lnTo>
                        <a:pt x="50" y="28"/>
                      </a:lnTo>
                      <a:lnTo>
                        <a:pt x="46" y="23"/>
                      </a:lnTo>
                      <a:lnTo>
                        <a:pt x="40" y="20"/>
                      </a:lnTo>
                      <a:lnTo>
                        <a:pt x="40" y="20"/>
                      </a:lnTo>
                      <a:lnTo>
                        <a:pt x="35" y="18"/>
                      </a:lnTo>
                      <a:lnTo>
                        <a:pt x="31" y="17"/>
                      </a:lnTo>
                      <a:lnTo>
                        <a:pt x="26" y="18"/>
                      </a:lnTo>
                      <a:lnTo>
                        <a:pt x="22" y="20"/>
                      </a:lnTo>
                      <a:lnTo>
                        <a:pt x="22" y="20"/>
                      </a:lnTo>
                      <a:lnTo>
                        <a:pt x="19" y="23"/>
                      </a:lnTo>
                      <a:lnTo>
                        <a:pt x="17" y="30"/>
                      </a:lnTo>
                      <a:lnTo>
                        <a:pt x="16" y="38"/>
                      </a:lnTo>
                      <a:lnTo>
                        <a:pt x="16" y="46"/>
                      </a:lnTo>
                      <a:lnTo>
                        <a:pt x="16" y="4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8" name="Freeform 52"/>
                <p:cNvSpPr>
                  <a:spLocks noEditPoints="1"/>
                </p:cNvSpPr>
                <p:nvPr/>
              </p:nvSpPr>
              <p:spPr bwMode="auto">
                <a:xfrm>
                  <a:off x="11443905" y="4938811"/>
                  <a:ext cx="34925" cy="52388"/>
                </a:xfrm>
                <a:custGeom>
                  <a:avLst/>
                  <a:gdLst>
                    <a:gd name="T0" fmla="*/ 0 w 81"/>
                    <a:gd name="T1" fmla="*/ 38 h 121"/>
                    <a:gd name="T2" fmla="*/ 4 w 81"/>
                    <a:gd name="T3" fmla="*/ 14 h 121"/>
                    <a:gd name="T4" fmla="*/ 8 w 81"/>
                    <a:gd name="T5" fmla="*/ 6 h 121"/>
                    <a:gd name="T6" fmla="*/ 15 w 81"/>
                    <a:gd name="T7" fmla="*/ 2 h 121"/>
                    <a:gd name="T8" fmla="*/ 20 w 81"/>
                    <a:gd name="T9" fmla="*/ 0 h 121"/>
                    <a:gd name="T10" fmla="*/ 33 w 81"/>
                    <a:gd name="T11" fmla="*/ 1 h 121"/>
                    <a:gd name="T12" fmla="*/ 41 w 81"/>
                    <a:gd name="T13" fmla="*/ 5 h 121"/>
                    <a:gd name="T14" fmla="*/ 57 w 81"/>
                    <a:gd name="T15" fmla="*/ 17 h 121"/>
                    <a:gd name="T16" fmla="*/ 70 w 81"/>
                    <a:gd name="T17" fmla="*/ 35 h 121"/>
                    <a:gd name="T18" fmla="*/ 75 w 81"/>
                    <a:gd name="T19" fmla="*/ 46 h 121"/>
                    <a:gd name="T20" fmla="*/ 81 w 81"/>
                    <a:gd name="T21" fmla="*/ 69 h 121"/>
                    <a:gd name="T22" fmla="*/ 81 w 81"/>
                    <a:gd name="T23" fmla="*/ 81 h 121"/>
                    <a:gd name="T24" fmla="*/ 80 w 81"/>
                    <a:gd name="T25" fmla="*/ 100 h 121"/>
                    <a:gd name="T26" fmla="*/ 76 w 81"/>
                    <a:gd name="T27" fmla="*/ 110 h 121"/>
                    <a:gd name="T28" fmla="*/ 73 w 81"/>
                    <a:gd name="T29" fmla="*/ 115 h 121"/>
                    <a:gd name="T30" fmla="*/ 67 w 81"/>
                    <a:gd name="T31" fmla="*/ 120 h 121"/>
                    <a:gd name="T32" fmla="*/ 62 w 81"/>
                    <a:gd name="T33" fmla="*/ 121 h 121"/>
                    <a:gd name="T34" fmla="*/ 52 w 81"/>
                    <a:gd name="T35" fmla="*/ 120 h 121"/>
                    <a:gd name="T36" fmla="*/ 41 w 81"/>
                    <a:gd name="T37" fmla="*/ 116 h 121"/>
                    <a:gd name="T38" fmla="*/ 33 w 81"/>
                    <a:gd name="T39" fmla="*/ 110 h 121"/>
                    <a:gd name="T40" fmla="*/ 18 w 81"/>
                    <a:gd name="T41" fmla="*/ 95 h 121"/>
                    <a:gd name="T42" fmla="*/ 12 w 81"/>
                    <a:gd name="T43" fmla="*/ 85 h 121"/>
                    <a:gd name="T44" fmla="*/ 4 w 81"/>
                    <a:gd name="T45" fmla="*/ 63 h 121"/>
                    <a:gd name="T46" fmla="*/ 0 w 81"/>
                    <a:gd name="T47" fmla="*/ 38 h 121"/>
                    <a:gd name="T48" fmla="*/ 16 w 81"/>
                    <a:gd name="T49" fmla="*/ 46 h 121"/>
                    <a:gd name="T50" fmla="*/ 17 w 81"/>
                    <a:gd name="T51" fmla="*/ 56 h 121"/>
                    <a:gd name="T52" fmla="*/ 20 w 81"/>
                    <a:gd name="T53" fmla="*/ 73 h 121"/>
                    <a:gd name="T54" fmla="*/ 23 w 81"/>
                    <a:gd name="T55" fmla="*/ 81 h 121"/>
                    <a:gd name="T56" fmla="*/ 31 w 81"/>
                    <a:gd name="T57" fmla="*/ 93 h 121"/>
                    <a:gd name="T58" fmla="*/ 41 w 81"/>
                    <a:gd name="T59" fmla="*/ 101 h 121"/>
                    <a:gd name="T60" fmla="*/ 46 w 81"/>
                    <a:gd name="T61" fmla="*/ 103 h 121"/>
                    <a:gd name="T62" fmla="*/ 56 w 81"/>
                    <a:gd name="T63" fmla="*/ 103 h 121"/>
                    <a:gd name="T64" fmla="*/ 59 w 81"/>
                    <a:gd name="T65" fmla="*/ 101 h 121"/>
                    <a:gd name="T66" fmla="*/ 65 w 81"/>
                    <a:gd name="T67" fmla="*/ 91 h 121"/>
                    <a:gd name="T68" fmla="*/ 67 w 81"/>
                    <a:gd name="T69" fmla="*/ 73 h 121"/>
                    <a:gd name="T70" fmla="*/ 66 w 81"/>
                    <a:gd name="T71" fmla="*/ 65 h 121"/>
                    <a:gd name="T72" fmla="*/ 62 w 81"/>
                    <a:gd name="T73" fmla="*/ 47 h 121"/>
                    <a:gd name="T74" fmla="*/ 59 w 81"/>
                    <a:gd name="T75" fmla="*/ 40 h 121"/>
                    <a:gd name="T76" fmla="*/ 52 w 81"/>
                    <a:gd name="T77" fmla="*/ 28 h 121"/>
                    <a:gd name="T78" fmla="*/ 41 w 81"/>
                    <a:gd name="T79" fmla="*/ 19 h 121"/>
                    <a:gd name="T80" fmla="*/ 36 w 81"/>
                    <a:gd name="T81" fmla="*/ 17 h 121"/>
                    <a:gd name="T82" fmla="*/ 27 w 81"/>
                    <a:gd name="T83" fmla="*/ 17 h 121"/>
                    <a:gd name="T84" fmla="*/ 23 w 81"/>
                    <a:gd name="T85" fmla="*/ 19 h 121"/>
                    <a:gd name="T86" fmla="*/ 18 w 81"/>
                    <a:gd name="T87" fmla="*/ 29 h 121"/>
                    <a:gd name="T88" fmla="*/ 16 w 81"/>
                    <a:gd name="T89" fmla="*/ 4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 h="121">
                      <a:moveTo>
                        <a:pt x="0" y="38"/>
                      </a:moveTo>
                      <a:lnTo>
                        <a:pt x="0" y="38"/>
                      </a:lnTo>
                      <a:lnTo>
                        <a:pt x="2" y="25"/>
                      </a:lnTo>
                      <a:lnTo>
                        <a:pt x="4" y="14"/>
                      </a:lnTo>
                      <a:lnTo>
                        <a:pt x="6" y="9"/>
                      </a:lnTo>
                      <a:lnTo>
                        <a:pt x="8" y="6"/>
                      </a:lnTo>
                      <a:lnTo>
                        <a:pt x="11" y="4"/>
                      </a:lnTo>
                      <a:lnTo>
                        <a:pt x="15" y="2"/>
                      </a:lnTo>
                      <a:lnTo>
                        <a:pt x="15" y="2"/>
                      </a:lnTo>
                      <a:lnTo>
                        <a:pt x="20" y="0"/>
                      </a:lnTo>
                      <a:lnTo>
                        <a:pt x="27" y="0"/>
                      </a:lnTo>
                      <a:lnTo>
                        <a:pt x="33" y="1"/>
                      </a:lnTo>
                      <a:lnTo>
                        <a:pt x="41" y="5"/>
                      </a:lnTo>
                      <a:lnTo>
                        <a:pt x="41" y="5"/>
                      </a:lnTo>
                      <a:lnTo>
                        <a:pt x="49" y="11"/>
                      </a:lnTo>
                      <a:lnTo>
                        <a:pt x="57" y="17"/>
                      </a:lnTo>
                      <a:lnTo>
                        <a:pt x="65" y="26"/>
                      </a:lnTo>
                      <a:lnTo>
                        <a:pt x="70" y="35"/>
                      </a:lnTo>
                      <a:lnTo>
                        <a:pt x="70" y="35"/>
                      </a:lnTo>
                      <a:lnTo>
                        <a:pt x="75" y="46"/>
                      </a:lnTo>
                      <a:lnTo>
                        <a:pt x="79" y="57"/>
                      </a:lnTo>
                      <a:lnTo>
                        <a:pt x="81" y="69"/>
                      </a:lnTo>
                      <a:lnTo>
                        <a:pt x="81" y="81"/>
                      </a:lnTo>
                      <a:lnTo>
                        <a:pt x="81" y="81"/>
                      </a:lnTo>
                      <a:lnTo>
                        <a:pt x="81" y="91"/>
                      </a:lnTo>
                      <a:lnTo>
                        <a:pt x="80" y="100"/>
                      </a:lnTo>
                      <a:lnTo>
                        <a:pt x="79" y="106"/>
                      </a:lnTo>
                      <a:lnTo>
                        <a:pt x="76" y="110"/>
                      </a:lnTo>
                      <a:lnTo>
                        <a:pt x="76" y="110"/>
                      </a:lnTo>
                      <a:lnTo>
                        <a:pt x="73" y="115"/>
                      </a:lnTo>
                      <a:lnTo>
                        <a:pt x="70" y="118"/>
                      </a:lnTo>
                      <a:lnTo>
                        <a:pt x="67" y="120"/>
                      </a:lnTo>
                      <a:lnTo>
                        <a:pt x="62" y="121"/>
                      </a:lnTo>
                      <a:lnTo>
                        <a:pt x="62" y="121"/>
                      </a:lnTo>
                      <a:lnTo>
                        <a:pt x="57" y="121"/>
                      </a:lnTo>
                      <a:lnTo>
                        <a:pt x="52" y="120"/>
                      </a:lnTo>
                      <a:lnTo>
                        <a:pt x="47" y="118"/>
                      </a:lnTo>
                      <a:lnTo>
                        <a:pt x="41" y="116"/>
                      </a:lnTo>
                      <a:lnTo>
                        <a:pt x="41" y="116"/>
                      </a:lnTo>
                      <a:lnTo>
                        <a:pt x="33" y="110"/>
                      </a:lnTo>
                      <a:lnTo>
                        <a:pt x="24" y="103"/>
                      </a:lnTo>
                      <a:lnTo>
                        <a:pt x="18" y="95"/>
                      </a:lnTo>
                      <a:lnTo>
                        <a:pt x="12" y="85"/>
                      </a:lnTo>
                      <a:lnTo>
                        <a:pt x="12" y="85"/>
                      </a:lnTo>
                      <a:lnTo>
                        <a:pt x="7" y="75"/>
                      </a:lnTo>
                      <a:lnTo>
                        <a:pt x="4" y="63"/>
                      </a:lnTo>
                      <a:lnTo>
                        <a:pt x="2" y="51"/>
                      </a:lnTo>
                      <a:lnTo>
                        <a:pt x="0" y="38"/>
                      </a:lnTo>
                      <a:lnTo>
                        <a:pt x="0" y="38"/>
                      </a:lnTo>
                      <a:close/>
                      <a:moveTo>
                        <a:pt x="16" y="46"/>
                      </a:moveTo>
                      <a:lnTo>
                        <a:pt x="16" y="46"/>
                      </a:lnTo>
                      <a:lnTo>
                        <a:pt x="17" y="56"/>
                      </a:lnTo>
                      <a:lnTo>
                        <a:pt x="18" y="65"/>
                      </a:lnTo>
                      <a:lnTo>
                        <a:pt x="20" y="73"/>
                      </a:lnTo>
                      <a:lnTo>
                        <a:pt x="23" y="81"/>
                      </a:lnTo>
                      <a:lnTo>
                        <a:pt x="23" y="81"/>
                      </a:lnTo>
                      <a:lnTo>
                        <a:pt x="27" y="88"/>
                      </a:lnTo>
                      <a:lnTo>
                        <a:pt x="31" y="93"/>
                      </a:lnTo>
                      <a:lnTo>
                        <a:pt x="36" y="97"/>
                      </a:lnTo>
                      <a:lnTo>
                        <a:pt x="41" y="101"/>
                      </a:lnTo>
                      <a:lnTo>
                        <a:pt x="41" y="101"/>
                      </a:lnTo>
                      <a:lnTo>
                        <a:pt x="46" y="103"/>
                      </a:lnTo>
                      <a:lnTo>
                        <a:pt x="52" y="104"/>
                      </a:lnTo>
                      <a:lnTo>
                        <a:pt x="56" y="103"/>
                      </a:lnTo>
                      <a:lnTo>
                        <a:pt x="59" y="101"/>
                      </a:lnTo>
                      <a:lnTo>
                        <a:pt x="59" y="101"/>
                      </a:lnTo>
                      <a:lnTo>
                        <a:pt x="62" y="97"/>
                      </a:lnTo>
                      <a:lnTo>
                        <a:pt x="65" y="91"/>
                      </a:lnTo>
                      <a:lnTo>
                        <a:pt x="66" y="83"/>
                      </a:lnTo>
                      <a:lnTo>
                        <a:pt x="67" y="73"/>
                      </a:lnTo>
                      <a:lnTo>
                        <a:pt x="67" y="73"/>
                      </a:lnTo>
                      <a:lnTo>
                        <a:pt x="66" y="65"/>
                      </a:lnTo>
                      <a:lnTo>
                        <a:pt x="65" y="56"/>
                      </a:lnTo>
                      <a:lnTo>
                        <a:pt x="62" y="47"/>
                      </a:lnTo>
                      <a:lnTo>
                        <a:pt x="59" y="40"/>
                      </a:lnTo>
                      <a:lnTo>
                        <a:pt x="59" y="40"/>
                      </a:lnTo>
                      <a:lnTo>
                        <a:pt x="55" y="33"/>
                      </a:lnTo>
                      <a:lnTo>
                        <a:pt x="52" y="28"/>
                      </a:lnTo>
                      <a:lnTo>
                        <a:pt x="46" y="24"/>
                      </a:lnTo>
                      <a:lnTo>
                        <a:pt x="41" y="19"/>
                      </a:lnTo>
                      <a:lnTo>
                        <a:pt x="41" y="19"/>
                      </a:lnTo>
                      <a:lnTo>
                        <a:pt x="36" y="17"/>
                      </a:lnTo>
                      <a:lnTo>
                        <a:pt x="31" y="17"/>
                      </a:lnTo>
                      <a:lnTo>
                        <a:pt x="27" y="17"/>
                      </a:lnTo>
                      <a:lnTo>
                        <a:pt x="23" y="19"/>
                      </a:lnTo>
                      <a:lnTo>
                        <a:pt x="23" y="19"/>
                      </a:lnTo>
                      <a:lnTo>
                        <a:pt x="20" y="24"/>
                      </a:lnTo>
                      <a:lnTo>
                        <a:pt x="18" y="29"/>
                      </a:lnTo>
                      <a:lnTo>
                        <a:pt x="17" y="37"/>
                      </a:lnTo>
                      <a:lnTo>
                        <a:pt x="16" y="46"/>
                      </a:lnTo>
                      <a:lnTo>
                        <a:pt x="16" y="4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9" name="Freeform 53"/>
                <p:cNvSpPr>
                  <a:spLocks/>
                </p:cNvSpPr>
                <p:nvPr/>
              </p:nvSpPr>
              <p:spPr bwMode="auto">
                <a:xfrm>
                  <a:off x="11482323" y="4944049"/>
                  <a:ext cx="19209" cy="66358"/>
                </a:xfrm>
                <a:custGeom>
                  <a:avLst/>
                  <a:gdLst>
                    <a:gd name="T0" fmla="*/ 39 w 41"/>
                    <a:gd name="T1" fmla="*/ 135 h 153"/>
                    <a:gd name="T2" fmla="*/ 41 w 41"/>
                    <a:gd name="T3" fmla="*/ 153 h 153"/>
                    <a:gd name="T4" fmla="*/ 41 w 41"/>
                    <a:gd name="T5" fmla="*/ 153 h 153"/>
                    <a:gd name="T6" fmla="*/ 35 w 41"/>
                    <a:gd name="T7" fmla="*/ 150 h 153"/>
                    <a:gd name="T8" fmla="*/ 30 w 41"/>
                    <a:gd name="T9" fmla="*/ 148 h 153"/>
                    <a:gd name="T10" fmla="*/ 30 w 41"/>
                    <a:gd name="T11" fmla="*/ 148 h 153"/>
                    <a:gd name="T12" fmla="*/ 23 w 41"/>
                    <a:gd name="T13" fmla="*/ 143 h 153"/>
                    <a:gd name="T14" fmla="*/ 18 w 41"/>
                    <a:gd name="T15" fmla="*/ 137 h 153"/>
                    <a:gd name="T16" fmla="*/ 18 w 41"/>
                    <a:gd name="T17" fmla="*/ 137 h 153"/>
                    <a:gd name="T18" fmla="*/ 14 w 41"/>
                    <a:gd name="T19" fmla="*/ 132 h 153"/>
                    <a:gd name="T20" fmla="*/ 12 w 41"/>
                    <a:gd name="T21" fmla="*/ 127 h 153"/>
                    <a:gd name="T22" fmla="*/ 12 w 41"/>
                    <a:gd name="T23" fmla="*/ 127 h 153"/>
                    <a:gd name="T24" fmla="*/ 10 w 41"/>
                    <a:gd name="T25" fmla="*/ 118 h 153"/>
                    <a:gd name="T26" fmla="*/ 10 w 41"/>
                    <a:gd name="T27" fmla="*/ 104 h 153"/>
                    <a:gd name="T28" fmla="*/ 10 w 41"/>
                    <a:gd name="T29" fmla="*/ 43 h 153"/>
                    <a:gd name="T30" fmla="*/ 0 w 41"/>
                    <a:gd name="T31" fmla="*/ 37 h 153"/>
                    <a:gd name="T32" fmla="*/ 0 w 41"/>
                    <a:gd name="T33" fmla="*/ 22 h 153"/>
                    <a:gd name="T34" fmla="*/ 10 w 41"/>
                    <a:gd name="T35" fmla="*/ 29 h 153"/>
                    <a:gd name="T36" fmla="*/ 10 w 41"/>
                    <a:gd name="T37" fmla="*/ 3 h 153"/>
                    <a:gd name="T38" fmla="*/ 25 w 41"/>
                    <a:gd name="T39" fmla="*/ 0 h 153"/>
                    <a:gd name="T40" fmla="*/ 25 w 41"/>
                    <a:gd name="T41" fmla="*/ 37 h 153"/>
                    <a:gd name="T42" fmla="*/ 39 w 41"/>
                    <a:gd name="T43" fmla="*/ 45 h 153"/>
                    <a:gd name="T44" fmla="*/ 39 w 41"/>
                    <a:gd name="T45" fmla="*/ 59 h 153"/>
                    <a:gd name="T46" fmla="*/ 25 w 41"/>
                    <a:gd name="T47" fmla="*/ 51 h 153"/>
                    <a:gd name="T48" fmla="*/ 25 w 41"/>
                    <a:gd name="T49" fmla="*/ 114 h 153"/>
                    <a:gd name="T50" fmla="*/ 25 w 41"/>
                    <a:gd name="T51" fmla="*/ 114 h 153"/>
                    <a:gd name="T52" fmla="*/ 26 w 41"/>
                    <a:gd name="T53" fmla="*/ 123 h 153"/>
                    <a:gd name="T54" fmla="*/ 26 w 41"/>
                    <a:gd name="T55" fmla="*/ 123 h 153"/>
                    <a:gd name="T56" fmla="*/ 28 w 41"/>
                    <a:gd name="T57" fmla="*/ 129 h 153"/>
                    <a:gd name="T58" fmla="*/ 28 w 41"/>
                    <a:gd name="T59" fmla="*/ 129 h 153"/>
                    <a:gd name="T60" fmla="*/ 30 w 41"/>
                    <a:gd name="T61" fmla="*/ 131 h 153"/>
                    <a:gd name="T62" fmla="*/ 32 w 41"/>
                    <a:gd name="T63" fmla="*/ 132 h 153"/>
                    <a:gd name="T64" fmla="*/ 32 w 41"/>
                    <a:gd name="T65" fmla="*/ 132 h 153"/>
                    <a:gd name="T66" fmla="*/ 39 w 41"/>
                    <a:gd name="T67" fmla="*/ 135 h 153"/>
                    <a:gd name="T68" fmla="*/ 39 w 41"/>
                    <a:gd name="T69" fmla="*/ 13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 h="153">
                      <a:moveTo>
                        <a:pt x="39" y="135"/>
                      </a:moveTo>
                      <a:lnTo>
                        <a:pt x="41" y="153"/>
                      </a:lnTo>
                      <a:lnTo>
                        <a:pt x="41" y="153"/>
                      </a:lnTo>
                      <a:lnTo>
                        <a:pt x="35" y="150"/>
                      </a:lnTo>
                      <a:lnTo>
                        <a:pt x="30" y="148"/>
                      </a:lnTo>
                      <a:lnTo>
                        <a:pt x="30" y="148"/>
                      </a:lnTo>
                      <a:lnTo>
                        <a:pt x="23" y="143"/>
                      </a:lnTo>
                      <a:lnTo>
                        <a:pt x="18" y="137"/>
                      </a:lnTo>
                      <a:lnTo>
                        <a:pt x="18" y="137"/>
                      </a:lnTo>
                      <a:lnTo>
                        <a:pt x="14" y="132"/>
                      </a:lnTo>
                      <a:lnTo>
                        <a:pt x="12" y="127"/>
                      </a:lnTo>
                      <a:lnTo>
                        <a:pt x="12" y="127"/>
                      </a:lnTo>
                      <a:lnTo>
                        <a:pt x="10" y="118"/>
                      </a:lnTo>
                      <a:lnTo>
                        <a:pt x="10" y="104"/>
                      </a:lnTo>
                      <a:lnTo>
                        <a:pt x="10" y="43"/>
                      </a:lnTo>
                      <a:lnTo>
                        <a:pt x="0" y="37"/>
                      </a:lnTo>
                      <a:lnTo>
                        <a:pt x="0" y="22"/>
                      </a:lnTo>
                      <a:lnTo>
                        <a:pt x="10" y="29"/>
                      </a:lnTo>
                      <a:lnTo>
                        <a:pt x="10" y="3"/>
                      </a:lnTo>
                      <a:lnTo>
                        <a:pt x="25" y="0"/>
                      </a:lnTo>
                      <a:lnTo>
                        <a:pt x="25" y="37"/>
                      </a:lnTo>
                      <a:lnTo>
                        <a:pt x="39" y="45"/>
                      </a:lnTo>
                      <a:lnTo>
                        <a:pt x="39" y="59"/>
                      </a:lnTo>
                      <a:lnTo>
                        <a:pt x="25" y="51"/>
                      </a:lnTo>
                      <a:lnTo>
                        <a:pt x="25" y="114"/>
                      </a:lnTo>
                      <a:lnTo>
                        <a:pt x="25" y="114"/>
                      </a:lnTo>
                      <a:lnTo>
                        <a:pt x="26" y="123"/>
                      </a:lnTo>
                      <a:lnTo>
                        <a:pt x="26" y="123"/>
                      </a:lnTo>
                      <a:lnTo>
                        <a:pt x="28" y="129"/>
                      </a:lnTo>
                      <a:lnTo>
                        <a:pt x="28" y="129"/>
                      </a:lnTo>
                      <a:lnTo>
                        <a:pt x="30" y="131"/>
                      </a:lnTo>
                      <a:lnTo>
                        <a:pt x="32" y="132"/>
                      </a:lnTo>
                      <a:lnTo>
                        <a:pt x="32" y="132"/>
                      </a:lnTo>
                      <a:lnTo>
                        <a:pt x="39" y="135"/>
                      </a:lnTo>
                      <a:lnTo>
                        <a:pt x="39" y="135"/>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0" name="Freeform 54"/>
                <p:cNvSpPr>
                  <a:spLocks/>
                </p:cNvSpPr>
                <p:nvPr/>
              </p:nvSpPr>
              <p:spPr bwMode="auto">
                <a:xfrm>
                  <a:off x="11503278" y="4970243"/>
                  <a:ext cx="31433" cy="54134"/>
                </a:xfrm>
                <a:custGeom>
                  <a:avLst/>
                  <a:gdLst>
                    <a:gd name="T0" fmla="*/ 14 w 72"/>
                    <a:gd name="T1" fmla="*/ 69 h 124"/>
                    <a:gd name="T2" fmla="*/ 17 w 72"/>
                    <a:gd name="T3" fmla="*/ 80 h 124"/>
                    <a:gd name="T4" fmla="*/ 21 w 72"/>
                    <a:gd name="T5" fmla="*/ 88 h 124"/>
                    <a:gd name="T6" fmla="*/ 29 w 72"/>
                    <a:gd name="T7" fmla="*/ 97 h 124"/>
                    <a:gd name="T8" fmla="*/ 37 w 72"/>
                    <a:gd name="T9" fmla="*/ 104 h 124"/>
                    <a:gd name="T10" fmla="*/ 42 w 72"/>
                    <a:gd name="T11" fmla="*/ 106 h 124"/>
                    <a:gd name="T12" fmla="*/ 49 w 72"/>
                    <a:gd name="T13" fmla="*/ 107 h 124"/>
                    <a:gd name="T14" fmla="*/ 51 w 72"/>
                    <a:gd name="T15" fmla="*/ 107 h 124"/>
                    <a:gd name="T16" fmla="*/ 56 w 72"/>
                    <a:gd name="T17" fmla="*/ 104 h 124"/>
                    <a:gd name="T18" fmla="*/ 57 w 72"/>
                    <a:gd name="T19" fmla="*/ 97 h 124"/>
                    <a:gd name="T20" fmla="*/ 56 w 72"/>
                    <a:gd name="T21" fmla="*/ 92 h 124"/>
                    <a:gd name="T22" fmla="*/ 52 w 72"/>
                    <a:gd name="T23" fmla="*/ 85 h 124"/>
                    <a:gd name="T24" fmla="*/ 37 w 72"/>
                    <a:gd name="T25" fmla="*/ 71 h 124"/>
                    <a:gd name="T26" fmla="*/ 24 w 72"/>
                    <a:gd name="T27" fmla="*/ 59 h 124"/>
                    <a:gd name="T28" fmla="*/ 16 w 72"/>
                    <a:gd name="T29" fmla="*/ 50 h 124"/>
                    <a:gd name="T30" fmla="*/ 6 w 72"/>
                    <a:gd name="T31" fmla="*/ 34 h 124"/>
                    <a:gd name="T32" fmla="*/ 4 w 72"/>
                    <a:gd name="T33" fmla="*/ 27 h 124"/>
                    <a:gd name="T34" fmla="*/ 3 w 72"/>
                    <a:gd name="T35" fmla="*/ 19 h 124"/>
                    <a:gd name="T36" fmla="*/ 6 w 72"/>
                    <a:gd name="T37" fmla="*/ 7 h 124"/>
                    <a:gd name="T38" fmla="*/ 9 w 72"/>
                    <a:gd name="T39" fmla="*/ 3 h 124"/>
                    <a:gd name="T40" fmla="*/ 12 w 72"/>
                    <a:gd name="T41" fmla="*/ 0 h 124"/>
                    <a:gd name="T42" fmla="*/ 22 w 72"/>
                    <a:gd name="T43" fmla="*/ 0 h 124"/>
                    <a:gd name="T44" fmla="*/ 27 w 72"/>
                    <a:gd name="T45" fmla="*/ 3 h 124"/>
                    <a:gd name="T46" fmla="*/ 34 w 72"/>
                    <a:gd name="T47" fmla="*/ 6 h 124"/>
                    <a:gd name="T48" fmla="*/ 52 w 72"/>
                    <a:gd name="T49" fmla="*/ 19 h 124"/>
                    <a:gd name="T50" fmla="*/ 59 w 72"/>
                    <a:gd name="T51" fmla="*/ 28 h 124"/>
                    <a:gd name="T52" fmla="*/ 63 w 72"/>
                    <a:gd name="T53" fmla="*/ 35 h 124"/>
                    <a:gd name="T54" fmla="*/ 69 w 72"/>
                    <a:gd name="T55" fmla="*/ 55 h 124"/>
                    <a:gd name="T56" fmla="*/ 55 w 72"/>
                    <a:gd name="T57" fmla="*/ 49 h 124"/>
                    <a:gd name="T58" fmla="*/ 48 w 72"/>
                    <a:gd name="T59" fmla="*/ 33 h 124"/>
                    <a:gd name="T60" fmla="*/ 43 w 72"/>
                    <a:gd name="T61" fmla="*/ 27 h 124"/>
                    <a:gd name="T62" fmla="*/ 35 w 72"/>
                    <a:gd name="T63" fmla="*/ 21 h 124"/>
                    <a:gd name="T64" fmla="*/ 23 w 72"/>
                    <a:gd name="T65" fmla="*/ 17 h 124"/>
                    <a:gd name="T66" fmla="*/ 21 w 72"/>
                    <a:gd name="T67" fmla="*/ 17 h 124"/>
                    <a:gd name="T68" fmla="*/ 18 w 72"/>
                    <a:gd name="T69" fmla="*/ 20 h 124"/>
                    <a:gd name="T70" fmla="*/ 17 w 72"/>
                    <a:gd name="T71" fmla="*/ 24 h 124"/>
                    <a:gd name="T72" fmla="*/ 19 w 72"/>
                    <a:gd name="T73" fmla="*/ 32 h 124"/>
                    <a:gd name="T74" fmla="*/ 21 w 72"/>
                    <a:gd name="T75" fmla="*/ 35 h 124"/>
                    <a:gd name="T76" fmla="*/ 24 w 72"/>
                    <a:gd name="T77" fmla="*/ 40 h 124"/>
                    <a:gd name="T78" fmla="*/ 37 w 72"/>
                    <a:gd name="T79" fmla="*/ 51 h 124"/>
                    <a:gd name="T80" fmla="*/ 59 w 72"/>
                    <a:gd name="T81" fmla="*/ 72 h 124"/>
                    <a:gd name="T82" fmla="*/ 68 w 72"/>
                    <a:gd name="T83" fmla="*/ 86 h 124"/>
                    <a:gd name="T84" fmla="*/ 71 w 72"/>
                    <a:gd name="T85" fmla="*/ 95 h 124"/>
                    <a:gd name="T86" fmla="*/ 72 w 72"/>
                    <a:gd name="T87" fmla="*/ 104 h 124"/>
                    <a:gd name="T88" fmla="*/ 69 w 72"/>
                    <a:gd name="T89" fmla="*/ 115 h 124"/>
                    <a:gd name="T90" fmla="*/ 68 w 72"/>
                    <a:gd name="T91" fmla="*/ 119 h 124"/>
                    <a:gd name="T92" fmla="*/ 62 w 72"/>
                    <a:gd name="T93" fmla="*/ 123 h 124"/>
                    <a:gd name="T94" fmla="*/ 55 w 72"/>
                    <a:gd name="T95" fmla="*/ 124 h 124"/>
                    <a:gd name="T96" fmla="*/ 47 w 72"/>
                    <a:gd name="T97" fmla="*/ 122 h 124"/>
                    <a:gd name="T98" fmla="*/ 37 w 72"/>
                    <a:gd name="T99" fmla="*/ 118 h 124"/>
                    <a:gd name="T100" fmla="*/ 22 w 72"/>
                    <a:gd name="T101" fmla="*/ 108 h 124"/>
                    <a:gd name="T102" fmla="*/ 11 w 72"/>
                    <a:gd name="T103" fmla="*/ 95 h 124"/>
                    <a:gd name="T104" fmla="*/ 8 w 72"/>
                    <a:gd name="T105" fmla="*/ 88 h 124"/>
                    <a:gd name="T106" fmla="*/ 3 w 72"/>
                    <a:gd name="T107" fmla="*/ 72 h 124"/>
                    <a:gd name="T108" fmla="*/ 0 w 72"/>
                    <a:gd name="T109" fmla="*/ 6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2" h="124">
                      <a:moveTo>
                        <a:pt x="0" y="63"/>
                      </a:moveTo>
                      <a:lnTo>
                        <a:pt x="14" y="69"/>
                      </a:lnTo>
                      <a:lnTo>
                        <a:pt x="14" y="69"/>
                      </a:lnTo>
                      <a:lnTo>
                        <a:pt x="17" y="80"/>
                      </a:lnTo>
                      <a:lnTo>
                        <a:pt x="21" y="88"/>
                      </a:lnTo>
                      <a:lnTo>
                        <a:pt x="21" y="88"/>
                      </a:lnTo>
                      <a:lnTo>
                        <a:pt x="24" y="93"/>
                      </a:lnTo>
                      <a:lnTo>
                        <a:pt x="29" y="97"/>
                      </a:lnTo>
                      <a:lnTo>
                        <a:pt x="32" y="100"/>
                      </a:lnTo>
                      <a:lnTo>
                        <a:pt x="37" y="104"/>
                      </a:lnTo>
                      <a:lnTo>
                        <a:pt x="37" y="104"/>
                      </a:lnTo>
                      <a:lnTo>
                        <a:pt x="42" y="106"/>
                      </a:lnTo>
                      <a:lnTo>
                        <a:pt x="46" y="107"/>
                      </a:lnTo>
                      <a:lnTo>
                        <a:pt x="49" y="107"/>
                      </a:lnTo>
                      <a:lnTo>
                        <a:pt x="51" y="107"/>
                      </a:lnTo>
                      <a:lnTo>
                        <a:pt x="51" y="107"/>
                      </a:lnTo>
                      <a:lnTo>
                        <a:pt x="54" y="105"/>
                      </a:lnTo>
                      <a:lnTo>
                        <a:pt x="56" y="104"/>
                      </a:lnTo>
                      <a:lnTo>
                        <a:pt x="57" y="100"/>
                      </a:lnTo>
                      <a:lnTo>
                        <a:pt x="57" y="97"/>
                      </a:lnTo>
                      <a:lnTo>
                        <a:pt x="57" y="97"/>
                      </a:lnTo>
                      <a:lnTo>
                        <a:pt x="56" y="92"/>
                      </a:lnTo>
                      <a:lnTo>
                        <a:pt x="52" y="85"/>
                      </a:lnTo>
                      <a:lnTo>
                        <a:pt x="52" y="85"/>
                      </a:lnTo>
                      <a:lnTo>
                        <a:pt x="47" y="80"/>
                      </a:lnTo>
                      <a:lnTo>
                        <a:pt x="37" y="71"/>
                      </a:lnTo>
                      <a:lnTo>
                        <a:pt x="37" y="71"/>
                      </a:lnTo>
                      <a:lnTo>
                        <a:pt x="24" y="59"/>
                      </a:lnTo>
                      <a:lnTo>
                        <a:pt x="16" y="50"/>
                      </a:lnTo>
                      <a:lnTo>
                        <a:pt x="16" y="50"/>
                      </a:lnTo>
                      <a:lnTo>
                        <a:pt x="10" y="43"/>
                      </a:lnTo>
                      <a:lnTo>
                        <a:pt x="6" y="34"/>
                      </a:lnTo>
                      <a:lnTo>
                        <a:pt x="6" y="34"/>
                      </a:lnTo>
                      <a:lnTo>
                        <a:pt x="4" y="27"/>
                      </a:lnTo>
                      <a:lnTo>
                        <a:pt x="3" y="19"/>
                      </a:lnTo>
                      <a:lnTo>
                        <a:pt x="3" y="19"/>
                      </a:lnTo>
                      <a:lnTo>
                        <a:pt x="4" y="12"/>
                      </a:lnTo>
                      <a:lnTo>
                        <a:pt x="6" y="7"/>
                      </a:lnTo>
                      <a:lnTo>
                        <a:pt x="6" y="7"/>
                      </a:lnTo>
                      <a:lnTo>
                        <a:pt x="9" y="3"/>
                      </a:lnTo>
                      <a:lnTo>
                        <a:pt x="12" y="0"/>
                      </a:lnTo>
                      <a:lnTo>
                        <a:pt x="12" y="0"/>
                      </a:lnTo>
                      <a:lnTo>
                        <a:pt x="17" y="0"/>
                      </a:lnTo>
                      <a:lnTo>
                        <a:pt x="22" y="0"/>
                      </a:lnTo>
                      <a:lnTo>
                        <a:pt x="22" y="0"/>
                      </a:lnTo>
                      <a:lnTo>
                        <a:pt x="27" y="3"/>
                      </a:lnTo>
                      <a:lnTo>
                        <a:pt x="34" y="6"/>
                      </a:lnTo>
                      <a:lnTo>
                        <a:pt x="34" y="6"/>
                      </a:lnTo>
                      <a:lnTo>
                        <a:pt x="44" y="12"/>
                      </a:lnTo>
                      <a:lnTo>
                        <a:pt x="52" y="19"/>
                      </a:lnTo>
                      <a:lnTo>
                        <a:pt x="52" y="19"/>
                      </a:lnTo>
                      <a:lnTo>
                        <a:pt x="59" y="28"/>
                      </a:lnTo>
                      <a:lnTo>
                        <a:pt x="63" y="35"/>
                      </a:lnTo>
                      <a:lnTo>
                        <a:pt x="63" y="35"/>
                      </a:lnTo>
                      <a:lnTo>
                        <a:pt x="67" y="44"/>
                      </a:lnTo>
                      <a:lnTo>
                        <a:pt x="69" y="55"/>
                      </a:lnTo>
                      <a:lnTo>
                        <a:pt x="55" y="49"/>
                      </a:lnTo>
                      <a:lnTo>
                        <a:pt x="55" y="49"/>
                      </a:lnTo>
                      <a:lnTo>
                        <a:pt x="52" y="41"/>
                      </a:lnTo>
                      <a:lnTo>
                        <a:pt x="48" y="33"/>
                      </a:lnTo>
                      <a:lnTo>
                        <a:pt x="48" y="33"/>
                      </a:lnTo>
                      <a:lnTo>
                        <a:pt x="43" y="27"/>
                      </a:lnTo>
                      <a:lnTo>
                        <a:pt x="35" y="21"/>
                      </a:lnTo>
                      <a:lnTo>
                        <a:pt x="35" y="21"/>
                      </a:lnTo>
                      <a:lnTo>
                        <a:pt x="26" y="17"/>
                      </a:lnTo>
                      <a:lnTo>
                        <a:pt x="23" y="17"/>
                      </a:lnTo>
                      <a:lnTo>
                        <a:pt x="21" y="17"/>
                      </a:lnTo>
                      <a:lnTo>
                        <a:pt x="21" y="17"/>
                      </a:lnTo>
                      <a:lnTo>
                        <a:pt x="19" y="18"/>
                      </a:lnTo>
                      <a:lnTo>
                        <a:pt x="18" y="20"/>
                      </a:lnTo>
                      <a:lnTo>
                        <a:pt x="17" y="24"/>
                      </a:lnTo>
                      <a:lnTo>
                        <a:pt x="17" y="24"/>
                      </a:lnTo>
                      <a:lnTo>
                        <a:pt x="18" y="28"/>
                      </a:lnTo>
                      <a:lnTo>
                        <a:pt x="19" y="32"/>
                      </a:lnTo>
                      <a:lnTo>
                        <a:pt x="19" y="32"/>
                      </a:lnTo>
                      <a:lnTo>
                        <a:pt x="21" y="35"/>
                      </a:lnTo>
                      <a:lnTo>
                        <a:pt x="24" y="40"/>
                      </a:lnTo>
                      <a:lnTo>
                        <a:pt x="24" y="40"/>
                      </a:lnTo>
                      <a:lnTo>
                        <a:pt x="37" y="51"/>
                      </a:lnTo>
                      <a:lnTo>
                        <a:pt x="37" y="51"/>
                      </a:lnTo>
                      <a:lnTo>
                        <a:pt x="59" y="72"/>
                      </a:lnTo>
                      <a:lnTo>
                        <a:pt x="59" y="72"/>
                      </a:lnTo>
                      <a:lnTo>
                        <a:pt x="64" y="79"/>
                      </a:lnTo>
                      <a:lnTo>
                        <a:pt x="68" y="86"/>
                      </a:lnTo>
                      <a:lnTo>
                        <a:pt x="68" y="86"/>
                      </a:lnTo>
                      <a:lnTo>
                        <a:pt x="71" y="95"/>
                      </a:lnTo>
                      <a:lnTo>
                        <a:pt x="72" y="104"/>
                      </a:lnTo>
                      <a:lnTo>
                        <a:pt x="72" y="104"/>
                      </a:lnTo>
                      <a:lnTo>
                        <a:pt x="71" y="112"/>
                      </a:lnTo>
                      <a:lnTo>
                        <a:pt x="69" y="115"/>
                      </a:lnTo>
                      <a:lnTo>
                        <a:pt x="68" y="119"/>
                      </a:lnTo>
                      <a:lnTo>
                        <a:pt x="68" y="119"/>
                      </a:lnTo>
                      <a:lnTo>
                        <a:pt x="65" y="121"/>
                      </a:lnTo>
                      <a:lnTo>
                        <a:pt x="62" y="123"/>
                      </a:lnTo>
                      <a:lnTo>
                        <a:pt x="59" y="124"/>
                      </a:lnTo>
                      <a:lnTo>
                        <a:pt x="55" y="124"/>
                      </a:lnTo>
                      <a:lnTo>
                        <a:pt x="55" y="124"/>
                      </a:lnTo>
                      <a:lnTo>
                        <a:pt x="47" y="122"/>
                      </a:lnTo>
                      <a:lnTo>
                        <a:pt x="37" y="118"/>
                      </a:lnTo>
                      <a:lnTo>
                        <a:pt x="37" y="118"/>
                      </a:lnTo>
                      <a:lnTo>
                        <a:pt x="30" y="113"/>
                      </a:lnTo>
                      <a:lnTo>
                        <a:pt x="22" y="108"/>
                      </a:lnTo>
                      <a:lnTo>
                        <a:pt x="17" y="101"/>
                      </a:lnTo>
                      <a:lnTo>
                        <a:pt x="11" y="95"/>
                      </a:lnTo>
                      <a:lnTo>
                        <a:pt x="11" y="95"/>
                      </a:lnTo>
                      <a:lnTo>
                        <a:pt x="8" y="88"/>
                      </a:lnTo>
                      <a:lnTo>
                        <a:pt x="5" y="81"/>
                      </a:lnTo>
                      <a:lnTo>
                        <a:pt x="3" y="72"/>
                      </a:lnTo>
                      <a:lnTo>
                        <a:pt x="0" y="63"/>
                      </a:lnTo>
                      <a:lnTo>
                        <a:pt x="0" y="63"/>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1" name="Freeform 55"/>
                <p:cNvSpPr>
                  <a:spLocks/>
                </p:cNvSpPr>
                <p:nvPr/>
              </p:nvSpPr>
              <p:spPr bwMode="auto">
                <a:xfrm>
                  <a:off x="11187207" y="4898646"/>
                  <a:ext cx="40164" cy="76835"/>
                </a:xfrm>
                <a:custGeom>
                  <a:avLst/>
                  <a:gdLst>
                    <a:gd name="T0" fmla="*/ 39 w 94"/>
                    <a:gd name="T1" fmla="*/ 168 h 176"/>
                    <a:gd name="T2" fmla="*/ 39 w 94"/>
                    <a:gd name="T3" fmla="*/ 39 h 176"/>
                    <a:gd name="T4" fmla="*/ 0 w 94"/>
                    <a:gd name="T5" fmla="*/ 16 h 176"/>
                    <a:gd name="T6" fmla="*/ 0 w 94"/>
                    <a:gd name="T7" fmla="*/ 0 h 176"/>
                    <a:gd name="T8" fmla="*/ 94 w 94"/>
                    <a:gd name="T9" fmla="*/ 52 h 176"/>
                    <a:gd name="T10" fmla="*/ 94 w 94"/>
                    <a:gd name="T11" fmla="*/ 69 h 176"/>
                    <a:gd name="T12" fmla="*/ 55 w 94"/>
                    <a:gd name="T13" fmla="*/ 47 h 176"/>
                    <a:gd name="T14" fmla="*/ 55 w 94"/>
                    <a:gd name="T15" fmla="*/ 176 h 176"/>
                    <a:gd name="T16" fmla="*/ 39 w 94"/>
                    <a:gd name="T17"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76">
                      <a:moveTo>
                        <a:pt x="39" y="168"/>
                      </a:moveTo>
                      <a:lnTo>
                        <a:pt x="39" y="39"/>
                      </a:lnTo>
                      <a:lnTo>
                        <a:pt x="0" y="16"/>
                      </a:lnTo>
                      <a:lnTo>
                        <a:pt x="0" y="0"/>
                      </a:lnTo>
                      <a:lnTo>
                        <a:pt x="94" y="52"/>
                      </a:lnTo>
                      <a:lnTo>
                        <a:pt x="94" y="69"/>
                      </a:lnTo>
                      <a:lnTo>
                        <a:pt x="55" y="47"/>
                      </a:lnTo>
                      <a:lnTo>
                        <a:pt x="55" y="176"/>
                      </a:lnTo>
                      <a:lnTo>
                        <a:pt x="39" y="168"/>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2" name="Freeform 56"/>
                <p:cNvSpPr>
                  <a:spLocks noEditPoints="1"/>
                </p:cNvSpPr>
                <p:nvPr/>
              </p:nvSpPr>
              <p:spPr bwMode="auto">
                <a:xfrm>
                  <a:off x="11223878" y="4944049"/>
                  <a:ext cx="34925" cy="52388"/>
                </a:xfrm>
                <a:custGeom>
                  <a:avLst/>
                  <a:gdLst>
                    <a:gd name="T0" fmla="*/ 0 w 80"/>
                    <a:gd name="T1" fmla="*/ 38 h 121"/>
                    <a:gd name="T2" fmla="*/ 3 w 80"/>
                    <a:gd name="T3" fmla="*/ 14 h 121"/>
                    <a:gd name="T4" fmla="*/ 7 w 80"/>
                    <a:gd name="T5" fmla="*/ 6 h 121"/>
                    <a:gd name="T6" fmla="*/ 13 w 80"/>
                    <a:gd name="T7" fmla="*/ 2 h 121"/>
                    <a:gd name="T8" fmla="*/ 19 w 80"/>
                    <a:gd name="T9" fmla="*/ 0 h 121"/>
                    <a:gd name="T10" fmla="*/ 32 w 80"/>
                    <a:gd name="T11" fmla="*/ 2 h 121"/>
                    <a:gd name="T12" fmla="*/ 40 w 80"/>
                    <a:gd name="T13" fmla="*/ 5 h 121"/>
                    <a:gd name="T14" fmla="*/ 56 w 80"/>
                    <a:gd name="T15" fmla="*/ 18 h 121"/>
                    <a:gd name="T16" fmla="*/ 69 w 80"/>
                    <a:gd name="T17" fmla="*/ 35 h 121"/>
                    <a:gd name="T18" fmla="*/ 74 w 80"/>
                    <a:gd name="T19" fmla="*/ 46 h 121"/>
                    <a:gd name="T20" fmla="*/ 79 w 80"/>
                    <a:gd name="T21" fmla="*/ 69 h 121"/>
                    <a:gd name="T22" fmla="*/ 80 w 80"/>
                    <a:gd name="T23" fmla="*/ 82 h 121"/>
                    <a:gd name="T24" fmla="*/ 79 w 80"/>
                    <a:gd name="T25" fmla="*/ 99 h 121"/>
                    <a:gd name="T26" fmla="*/ 75 w 80"/>
                    <a:gd name="T27" fmla="*/ 111 h 121"/>
                    <a:gd name="T28" fmla="*/ 72 w 80"/>
                    <a:gd name="T29" fmla="*/ 115 h 121"/>
                    <a:gd name="T30" fmla="*/ 65 w 80"/>
                    <a:gd name="T31" fmla="*/ 120 h 121"/>
                    <a:gd name="T32" fmla="*/ 61 w 80"/>
                    <a:gd name="T33" fmla="*/ 121 h 121"/>
                    <a:gd name="T34" fmla="*/ 51 w 80"/>
                    <a:gd name="T35" fmla="*/ 120 h 121"/>
                    <a:gd name="T36" fmla="*/ 40 w 80"/>
                    <a:gd name="T37" fmla="*/ 116 h 121"/>
                    <a:gd name="T38" fmla="*/ 31 w 80"/>
                    <a:gd name="T39" fmla="*/ 110 h 121"/>
                    <a:gd name="T40" fmla="*/ 17 w 80"/>
                    <a:gd name="T41" fmla="*/ 95 h 121"/>
                    <a:gd name="T42" fmla="*/ 11 w 80"/>
                    <a:gd name="T43" fmla="*/ 85 h 121"/>
                    <a:gd name="T44" fmla="*/ 3 w 80"/>
                    <a:gd name="T45" fmla="*/ 64 h 121"/>
                    <a:gd name="T46" fmla="*/ 0 w 80"/>
                    <a:gd name="T47" fmla="*/ 38 h 121"/>
                    <a:gd name="T48" fmla="*/ 15 w 80"/>
                    <a:gd name="T49" fmla="*/ 46 h 121"/>
                    <a:gd name="T50" fmla="*/ 15 w 80"/>
                    <a:gd name="T51" fmla="*/ 56 h 121"/>
                    <a:gd name="T52" fmla="*/ 19 w 80"/>
                    <a:gd name="T53" fmla="*/ 73 h 121"/>
                    <a:gd name="T54" fmla="*/ 21 w 80"/>
                    <a:gd name="T55" fmla="*/ 81 h 121"/>
                    <a:gd name="T56" fmla="*/ 30 w 80"/>
                    <a:gd name="T57" fmla="*/ 93 h 121"/>
                    <a:gd name="T58" fmla="*/ 40 w 80"/>
                    <a:gd name="T59" fmla="*/ 102 h 121"/>
                    <a:gd name="T60" fmla="*/ 45 w 80"/>
                    <a:gd name="T61" fmla="*/ 104 h 121"/>
                    <a:gd name="T62" fmla="*/ 54 w 80"/>
                    <a:gd name="T63" fmla="*/ 104 h 121"/>
                    <a:gd name="T64" fmla="*/ 58 w 80"/>
                    <a:gd name="T65" fmla="*/ 102 h 121"/>
                    <a:gd name="T66" fmla="*/ 64 w 80"/>
                    <a:gd name="T67" fmla="*/ 92 h 121"/>
                    <a:gd name="T68" fmla="*/ 65 w 80"/>
                    <a:gd name="T69" fmla="*/ 74 h 121"/>
                    <a:gd name="T70" fmla="*/ 65 w 80"/>
                    <a:gd name="T71" fmla="*/ 65 h 121"/>
                    <a:gd name="T72" fmla="*/ 62 w 80"/>
                    <a:gd name="T73" fmla="*/ 47 h 121"/>
                    <a:gd name="T74" fmla="*/ 58 w 80"/>
                    <a:gd name="T75" fmla="*/ 40 h 121"/>
                    <a:gd name="T76" fmla="*/ 50 w 80"/>
                    <a:gd name="T77" fmla="*/ 28 h 121"/>
                    <a:gd name="T78" fmla="*/ 40 w 80"/>
                    <a:gd name="T79" fmla="*/ 20 h 121"/>
                    <a:gd name="T80" fmla="*/ 34 w 80"/>
                    <a:gd name="T81" fmla="*/ 18 h 121"/>
                    <a:gd name="T82" fmla="*/ 26 w 80"/>
                    <a:gd name="T83" fmla="*/ 18 h 121"/>
                    <a:gd name="T84" fmla="*/ 21 w 80"/>
                    <a:gd name="T85" fmla="*/ 20 h 121"/>
                    <a:gd name="T86" fmla="*/ 16 w 80"/>
                    <a:gd name="T87" fmla="*/ 30 h 121"/>
                    <a:gd name="T88" fmla="*/ 15 w 80"/>
                    <a:gd name="T89" fmla="*/ 4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0" h="121">
                      <a:moveTo>
                        <a:pt x="0" y="38"/>
                      </a:moveTo>
                      <a:lnTo>
                        <a:pt x="0" y="38"/>
                      </a:lnTo>
                      <a:lnTo>
                        <a:pt x="1" y="25"/>
                      </a:lnTo>
                      <a:lnTo>
                        <a:pt x="3" y="14"/>
                      </a:lnTo>
                      <a:lnTo>
                        <a:pt x="5" y="10"/>
                      </a:lnTo>
                      <a:lnTo>
                        <a:pt x="7" y="6"/>
                      </a:lnTo>
                      <a:lnTo>
                        <a:pt x="9" y="4"/>
                      </a:lnTo>
                      <a:lnTo>
                        <a:pt x="13" y="2"/>
                      </a:lnTo>
                      <a:lnTo>
                        <a:pt x="13" y="2"/>
                      </a:lnTo>
                      <a:lnTo>
                        <a:pt x="19" y="0"/>
                      </a:lnTo>
                      <a:lnTo>
                        <a:pt x="26" y="0"/>
                      </a:lnTo>
                      <a:lnTo>
                        <a:pt x="32" y="2"/>
                      </a:lnTo>
                      <a:lnTo>
                        <a:pt x="40" y="5"/>
                      </a:lnTo>
                      <a:lnTo>
                        <a:pt x="40" y="5"/>
                      </a:lnTo>
                      <a:lnTo>
                        <a:pt x="49" y="10"/>
                      </a:lnTo>
                      <a:lnTo>
                        <a:pt x="56" y="18"/>
                      </a:lnTo>
                      <a:lnTo>
                        <a:pt x="63" y="26"/>
                      </a:lnTo>
                      <a:lnTo>
                        <a:pt x="69" y="35"/>
                      </a:lnTo>
                      <a:lnTo>
                        <a:pt x="69" y="35"/>
                      </a:lnTo>
                      <a:lnTo>
                        <a:pt x="74" y="46"/>
                      </a:lnTo>
                      <a:lnTo>
                        <a:pt x="77" y="57"/>
                      </a:lnTo>
                      <a:lnTo>
                        <a:pt x="79" y="69"/>
                      </a:lnTo>
                      <a:lnTo>
                        <a:pt x="80" y="82"/>
                      </a:lnTo>
                      <a:lnTo>
                        <a:pt x="80" y="82"/>
                      </a:lnTo>
                      <a:lnTo>
                        <a:pt x="80" y="91"/>
                      </a:lnTo>
                      <a:lnTo>
                        <a:pt x="79" y="99"/>
                      </a:lnTo>
                      <a:lnTo>
                        <a:pt x="77" y="106"/>
                      </a:lnTo>
                      <a:lnTo>
                        <a:pt x="75" y="111"/>
                      </a:lnTo>
                      <a:lnTo>
                        <a:pt x="75" y="111"/>
                      </a:lnTo>
                      <a:lnTo>
                        <a:pt x="72" y="115"/>
                      </a:lnTo>
                      <a:lnTo>
                        <a:pt x="69" y="118"/>
                      </a:lnTo>
                      <a:lnTo>
                        <a:pt x="65" y="120"/>
                      </a:lnTo>
                      <a:lnTo>
                        <a:pt x="61" y="121"/>
                      </a:lnTo>
                      <a:lnTo>
                        <a:pt x="61" y="121"/>
                      </a:lnTo>
                      <a:lnTo>
                        <a:pt x="56" y="121"/>
                      </a:lnTo>
                      <a:lnTo>
                        <a:pt x="51" y="120"/>
                      </a:lnTo>
                      <a:lnTo>
                        <a:pt x="45" y="119"/>
                      </a:lnTo>
                      <a:lnTo>
                        <a:pt x="40" y="116"/>
                      </a:lnTo>
                      <a:lnTo>
                        <a:pt x="40" y="116"/>
                      </a:lnTo>
                      <a:lnTo>
                        <a:pt x="31" y="110"/>
                      </a:lnTo>
                      <a:lnTo>
                        <a:pt x="24" y="104"/>
                      </a:lnTo>
                      <a:lnTo>
                        <a:pt x="17" y="95"/>
                      </a:lnTo>
                      <a:lnTo>
                        <a:pt x="11" y="85"/>
                      </a:lnTo>
                      <a:lnTo>
                        <a:pt x="11" y="85"/>
                      </a:lnTo>
                      <a:lnTo>
                        <a:pt x="6" y="74"/>
                      </a:lnTo>
                      <a:lnTo>
                        <a:pt x="3" y="64"/>
                      </a:lnTo>
                      <a:lnTo>
                        <a:pt x="1" y="51"/>
                      </a:lnTo>
                      <a:lnTo>
                        <a:pt x="0" y="38"/>
                      </a:lnTo>
                      <a:lnTo>
                        <a:pt x="0" y="38"/>
                      </a:lnTo>
                      <a:close/>
                      <a:moveTo>
                        <a:pt x="15" y="46"/>
                      </a:moveTo>
                      <a:lnTo>
                        <a:pt x="15" y="46"/>
                      </a:lnTo>
                      <a:lnTo>
                        <a:pt x="15" y="56"/>
                      </a:lnTo>
                      <a:lnTo>
                        <a:pt x="16" y="65"/>
                      </a:lnTo>
                      <a:lnTo>
                        <a:pt x="19" y="73"/>
                      </a:lnTo>
                      <a:lnTo>
                        <a:pt x="21" y="81"/>
                      </a:lnTo>
                      <a:lnTo>
                        <a:pt x="21" y="81"/>
                      </a:lnTo>
                      <a:lnTo>
                        <a:pt x="26" y="88"/>
                      </a:lnTo>
                      <a:lnTo>
                        <a:pt x="30" y="93"/>
                      </a:lnTo>
                      <a:lnTo>
                        <a:pt x="34" y="97"/>
                      </a:lnTo>
                      <a:lnTo>
                        <a:pt x="40" y="102"/>
                      </a:lnTo>
                      <a:lnTo>
                        <a:pt x="40" y="102"/>
                      </a:lnTo>
                      <a:lnTo>
                        <a:pt x="45" y="104"/>
                      </a:lnTo>
                      <a:lnTo>
                        <a:pt x="50" y="104"/>
                      </a:lnTo>
                      <a:lnTo>
                        <a:pt x="54" y="104"/>
                      </a:lnTo>
                      <a:lnTo>
                        <a:pt x="58" y="102"/>
                      </a:lnTo>
                      <a:lnTo>
                        <a:pt x="58" y="102"/>
                      </a:lnTo>
                      <a:lnTo>
                        <a:pt x="62" y="97"/>
                      </a:lnTo>
                      <a:lnTo>
                        <a:pt x="64" y="92"/>
                      </a:lnTo>
                      <a:lnTo>
                        <a:pt x="65" y="83"/>
                      </a:lnTo>
                      <a:lnTo>
                        <a:pt x="65" y="74"/>
                      </a:lnTo>
                      <a:lnTo>
                        <a:pt x="65" y="74"/>
                      </a:lnTo>
                      <a:lnTo>
                        <a:pt x="65" y="65"/>
                      </a:lnTo>
                      <a:lnTo>
                        <a:pt x="64" y="56"/>
                      </a:lnTo>
                      <a:lnTo>
                        <a:pt x="62" y="47"/>
                      </a:lnTo>
                      <a:lnTo>
                        <a:pt x="58" y="40"/>
                      </a:lnTo>
                      <a:lnTo>
                        <a:pt x="58" y="40"/>
                      </a:lnTo>
                      <a:lnTo>
                        <a:pt x="54" y="33"/>
                      </a:lnTo>
                      <a:lnTo>
                        <a:pt x="50" y="28"/>
                      </a:lnTo>
                      <a:lnTo>
                        <a:pt x="45" y="23"/>
                      </a:lnTo>
                      <a:lnTo>
                        <a:pt x="40" y="20"/>
                      </a:lnTo>
                      <a:lnTo>
                        <a:pt x="40" y="20"/>
                      </a:lnTo>
                      <a:lnTo>
                        <a:pt x="34" y="18"/>
                      </a:lnTo>
                      <a:lnTo>
                        <a:pt x="30" y="17"/>
                      </a:lnTo>
                      <a:lnTo>
                        <a:pt x="26" y="18"/>
                      </a:lnTo>
                      <a:lnTo>
                        <a:pt x="21" y="20"/>
                      </a:lnTo>
                      <a:lnTo>
                        <a:pt x="21" y="20"/>
                      </a:lnTo>
                      <a:lnTo>
                        <a:pt x="19" y="23"/>
                      </a:lnTo>
                      <a:lnTo>
                        <a:pt x="16" y="30"/>
                      </a:lnTo>
                      <a:lnTo>
                        <a:pt x="15" y="38"/>
                      </a:lnTo>
                      <a:lnTo>
                        <a:pt x="15" y="46"/>
                      </a:lnTo>
                      <a:lnTo>
                        <a:pt x="15" y="4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3" name="Freeform 57"/>
                <p:cNvSpPr>
                  <a:spLocks/>
                </p:cNvSpPr>
                <p:nvPr/>
              </p:nvSpPr>
              <p:spPr bwMode="auto">
                <a:xfrm>
                  <a:off x="11262295" y="4949288"/>
                  <a:ext cx="19209" cy="66358"/>
                </a:xfrm>
                <a:custGeom>
                  <a:avLst/>
                  <a:gdLst>
                    <a:gd name="T0" fmla="*/ 40 w 42"/>
                    <a:gd name="T1" fmla="*/ 134 h 152"/>
                    <a:gd name="T2" fmla="*/ 42 w 42"/>
                    <a:gd name="T3" fmla="*/ 152 h 152"/>
                    <a:gd name="T4" fmla="*/ 42 w 42"/>
                    <a:gd name="T5" fmla="*/ 152 h 152"/>
                    <a:gd name="T6" fmla="*/ 36 w 42"/>
                    <a:gd name="T7" fmla="*/ 149 h 152"/>
                    <a:gd name="T8" fmla="*/ 31 w 42"/>
                    <a:gd name="T9" fmla="*/ 147 h 152"/>
                    <a:gd name="T10" fmla="*/ 31 w 42"/>
                    <a:gd name="T11" fmla="*/ 147 h 152"/>
                    <a:gd name="T12" fmla="*/ 24 w 42"/>
                    <a:gd name="T13" fmla="*/ 142 h 152"/>
                    <a:gd name="T14" fmla="*/ 18 w 42"/>
                    <a:gd name="T15" fmla="*/ 137 h 152"/>
                    <a:gd name="T16" fmla="*/ 18 w 42"/>
                    <a:gd name="T17" fmla="*/ 137 h 152"/>
                    <a:gd name="T18" fmla="*/ 15 w 42"/>
                    <a:gd name="T19" fmla="*/ 131 h 152"/>
                    <a:gd name="T20" fmla="*/ 13 w 42"/>
                    <a:gd name="T21" fmla="*/ 126 h 152"/>
                    <a:gd name="T22" fmla="*/ 13 w 42"/>
                    <a:gd name="T23" fmla="*/ 126 h 152"/>
                    <a:gd name="T24" fmla="*/ 12 w 42"/>
                    <a:gd name="T25" fmla="*/ 117 h 152"/>
                    <a:gd name="T26" fmla="*/ 11 w 42"/>
                    <a:gd name="T27" fmla="*/ 103 h 152"/>
                    <a:gd name="T28" fmla="*/ 11 w 42"/>
                    <a:gd name="T29" fmla="*/ 42 h 152"/>
                    <a:gd name="T30" fmla="*/ 0 w 42"/>
                    <a:gd name="T31" fmla="*/ 37 h 152"/>
                    <a:gd name="T32" fmla="*/ 0 w 42"/>
                    <a:gd name="T33" fmla="*/ 22 h 152"/>
                    <a:gd name="T34" fmla="*/ 11 w 42"/>
                    <a:gd name="T35" fmla="*/ 28 h 152"/>
                    <a:gd name="T36" fmla="*/ 11 w 42"/>
                    <a:gd name="T37" fmla="*/ 2 h 152"/>
                    <a:gd name="T38" fmla="*/ 25 w 42"/>
                    <a:gd name="T39" fmla="*/ 0 h 152"/>
                    <a:gd name="T40" fmla="*/ 25 w 42"/>
                    <a:gd name="T41" fmla="*/ 37 h 152"/>
                    <a:gd name="T42" fmla="*/ 40 w 42"/>
                    <a:gd name="T43" fmla="*/ 44 h 152"/>
                    <a:gd name="T44" fmla="*/ 40 w 42"/>
                    <a:gd name="T45" fmla="*/ 58 h 152"/>
                    <a:gd name="T46" fmla="*/ 25 w 42"/>
                    <a:gd name="T47" fmla="*/ 51 h 152"/>
                    <a:gd name="T48" fmla="*/ 25 w 42"/>
                    <a:gd name="T49" fmla="*/ 112 h 152"/>
                    <a:gd name="T50" fmla="*/ 25 w 42"/>
                    <a:gd name="T51" fmla="*/ 112 h 152"/>
                    <a:gd name="T52" fmla="*/ 26 w 42"/>
                    <a:gd name="T53" fmla="*/ 122 h 152"/>
                    <a:gd name="T54" fmla="*/ 26 w 42"/>
                    <a:gd name="T55" fmla="*/ 122 h 152"/>
                    <a:gd name="T56" fmla="*/ 28 w 42"/>
                    <a:gd name="T57" fmla="*/ 128 h 152"/>
                    <a:gd name="T58" fmla="*/ 28 w 42"/>
                    <a:gd name="T59" fmla="*/ 128 h 152"/>
                    <a:gd name="T60" fmla="*/ 33 w 42"/>
                    <a:gd name="T61" fmla="*/ 132 h 152"/>
                    <a:gd name="T62" fmla="*/ 33 w 42"/>
                    <a:gd name="T63" fmla="*/ 132 h 152"/>
                    <a:gd name="T64" fmla="*/ 40 w 42"/>
                    <a:gd name="T65" fmla="*/ 134 h 152"/>
                    <a:gd name="T66" fmla="*/ 40 w 42"/>
                    <a:gd name="T67" fmla="*/ 13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152">
                      <a:moveTo>
                        <a:pt x="40" y="134"/>
                      </a:moveTo>
                      <a:lnTo>
                        <a:pt x="42" y="152"/>
                      </a:lnTo>
                      <a:lnTo>
                        <a:pt x="42" y="152"/>
                      </a:lnTo>
                      <a:lnTo>
                        <a:pt x="36" y="149"/>
                      </a:lnTo>
                      <a:lnTo>
                        <a:pt x="31" y="147"/>
                      </a:lnTo>
                      <a:lnTo>
                        <a:pt x="31" y="147"/>
                      </a:lnTo>
                      <a:lnTo>
                        <a:pt x="24" y="142"/>
                      </a:lnTo>
                      <a:lnTo>
                        <a:pt x="18" y="137"/>
                      </a:lnTo>
                      <a:lnTo>
                        <a:pt x="18" y="137"/>
                      </a:lnTo>
                      <a:lnTo>
                        <a:pt x="15" y="131"/>
                      </a:lnTo>
                      <a:lnTo>
                        <a:pt x="13" y="126"/>
                      </a:lnTo>
                      <a:lnTo>
                        <a:pt x="13" y="126"/>
                      </a:lnTo>
                      <a:lnTo>
                        <a:pt x="12" y="117"/>
                      </a:lnTo>
                      <a:lnTo>
                        <a:pt x="11" y="103"/>
                      </a:lnTo>
                      <a:lnTo>
                        <a:pt x="11" y="42"/>
                      </a:lnTo>
                      <a:lnTo>
                        <a:pt x="0" y="37"/>
                      </a:lnTo>
                      <a:lnTo>
                        <a:pt x="0" y="22"/>
                      </a:lnTo>
                      <a:lnTo>
                        <a:pt x="11" y="28"/>
                      </a:lnTo>
                      <a:lnTo>
                        <a:pt x="11" y="2"/>
                      </a:lnTo>
                      <a:lnTo>
                        <a:pt x="25" y="0"/>
                      </a:lnTo>
                      <a:lnTo>
                        <a:pt x="25" y="37"/>
                      </a:lnTo>
                      <a:lnTo>
                        <a:pt x="40" y="44"/>
                      </a:lnTo>
                      <a:lnTo>
                        <a:pt x="40" y="58"/>
                      </a:lnTo>
                      <a:lnTo>
                        <a:pt x="25" y="51"/>
                      </a:lnTo>
                      <a:lnTo>
                        <a:pt x="25" y="112"/>
                      </a:lnTo>
                      <a:lnTo>
                        <a:pt x="25" y="112"/>
                      </a:lnTo>
                      <a:lnTo>
                        <a:pt x="26" y="122"/>
                      </a:lnTo>
                      <a:lnTo>
                        <a:pt x="26" y="122"/>
                      </a:lnTo>
                      <a:lnTo>
                        <a:pt x="28" y="128"/>
                      </a:lnTo>
                      <a:lnTo>
                        <a:pt x="28" y="128"/>
                      </a:lnTo>
                      <a:lnTo>
                        <a:pt x="33" y="132"/>
                      </a:lnTo>
                      <a:lnTo>
                        <a:pt x="33" y="132"/>
                      </a:lnTo>
                      <a:lnTo>
                        <a:pt x="40" y="134"/>
                      </a:lnTo>
                      <a:lnTo>
                        <a:pt x="40" y="134"/>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4" name="Freeform 58"/>
                <p:cNvSpPr>
                  <a:spLocks noEditPoints="1"/>
                </p:cNvSpPr>
                <p:nvPr/>
              </p:nvSpPr>
              <p:spPr bwMode="auto">
                <a:xfrm>
                  <a:off x="11283250" y="4977228"/>
                  <a:ext cx="34925" cy="59373"/>
                </a:xfrm>
                <a:custGeom>
                  <a:avLst/>
                  <a:gdLst>
                    <a:gd name="T0" fmla="*/ 60 w 79"/>
                    <a:gd name="T1" fmla="*/ 113 h 136"/>
                    <a:gd name="T2" fmla="*/ 45 w 79"/>
                    <a:gd name="T3" fmla="*/ 116 h 136"/>
                    <a:gd name="T4" fmla="*/ 38 w 79"/>
                    <a:gd name="T5" fmla="*/ 115 h 136"/>
                    <a:gd name="T6" fmla="*/ 29 w 79"/>
                    <a:gd name="T7" fmla="*/ 110 h 136"/>
                    <a:gd name="T8" fmla="*/ 17 w 79"/>
                    <a:gd name="T9" fmla="*/ 102 h 136"/>
                    <a:gd name="T10" fmla="*/ 7 w 79"/>
                    <a:gd name="T11" fmla="*/ 90 h 136"/>
                    <a:gd name="T12" fmla="*/ 4 w 79"/>
                    <a:gd name="T13" fmla="*/ 83 h 136"/>
                    <a:gd name="T14" fmla="*/ 1 w 79"/>
                    <a:gd name="T15" fmla="*/ 70 h 136"/>
                    <a:gd name="T16" fmla="*/ 0 w 79"/>
                    <a:gd name="T17" fmla="*/ 64 h 136"/>
                    <a:gd name="T18" fmla="*/ 3 w 79"/>
                    <a:gd name="T19" fmla="*/ 52 h 136"/>
                    <a:gd name="T20" fmla="*/ 6 w 79"/>
                    <a:gd name="T21" fmla="*/ 47 h 136"/>
                    <a:gd name="T22" fmla="*/ 10 w 79"/>
                    <a:gd name="T23" fmla="*/ 45 h 136"/>
                    <a:gd name="T24" fmla="*/ 21 w 79"/>
                    <a:gd name="T25" fmla="*/ 45 h 136"/>
                    <a:gd name="T26" fmla="*/ 34 w 79"/>
                    <a:gd name="T27" fmla="*/ 50 h 136"/>
                    <a:gd name="T28" fmla="*/ 50 w 79"/>
                    <a:gd name="T29" fmla="*/ 55 h 136"/>
                    <a:gd name="T30" fmla="*/ 59 w 79"/>
                    <a:gd name="T31" fmla="*/ 58 h 136"/>
                    <a:gd name="T32" fmla="*/ 59 w 79"/>
                    <a:gd name="T33" fmla="*/ 54 h 136"/>
                    <a:gd name="T34" fmla="*/ 57 w 79"/>
                    <a:gd name="T35" fmla="*/ 40 h 136"/>
                    <a:gd name="T36" fmla="*/ 56 w 79"/>
                    <a:gd name="T37" fmla="*/ 35 h 136"/>
                    <a:gd name="T38" fmla="*/ 48 w 79"/>
                    <a:gd name="T39" fmla="*/ 27 h 136"/>
                    <a:gd name="T40" fmla="*/ 39 w 79"/>
                    <a:gd name="T41" fmla="*/ 20 h 136"/>
                    <a:gd name="T42" fmla="*/ 30 w 79"/>
                    <a:gd name="T43" fmla="*/ 16 h 136"/>
                    <a:gd name="T44" fmla="*/ 23 w 79"/>
                    <a:gd name="T45" fmla="*/ 16 h 136"/>
                    <a:gd name="T46" fmla="*/ 21 w 79"/>
                    <a:gd name="T47" fmla="*/ 17 h 136"/>
                    <a:gd name="T48" fmla="*/ 18 w 79"/>
                    <a:gd name="T49" fmla="*/ 24 h 136"/>
                    <a:gd name="T50" fmla="*/ 3 w 79"/>
                    <a:gd name="T51" fmla="*/ 17 h 136"/>
                    <a:gd name="T52" fmla="*/ 5 w 79"/>
                    <a:gd name="T53" fmla="*/ 8 h 136"/>
                    <a:gd name="T54" fmla="*/ 9 w 79"/>
                    <a:gd name="T55" fmla="*/ 3 h 136"/>
                    <a:gd name="T56" fmla="*/ 12 w 79"/>
                    <a:gd name="T57" fmla="*/ 1 h 136"/>
                    <a:gd name="T58" fmla="*/ 18 w 79"/>
                    <a:gd name="T59" fmla="*/ 0 h 136"/>
                    <a:gd name="T60" fmla="*/ 21 w 79"/>
                    <a:gd name="T61" fmla="*/ 0 h 136"/>
                    <a:gd name="T62" fmla="*/ 41 w 79"/>
                    <a:gd name="T63" fmla="*/ 6 h 136"/>
                    <a:gd name="T64" fmla="*/ 51 w 79"/>
                    <a:gd name="T65" fmla="*/ 13 h 136"/>
                    <a:gd name="T66" fmla="*/ 59 w 79"/>
                    <a:gd name="T67" fmla="*/ 20 h 136"/>
                    <a:gd name="T68" fmla="*/ 69 w 79"/>
                    <a:gd name="T69" fmla="*/ 33 h 136"/>
                    <a:gd name="T70" fmla="*/ 72 w 79"/>
                    <a:gd name="T71" fmla="*/ 41 h 136"/>
                    <a:gd name="T72" fmla="*/ 73 w 79"/>
                    <a:gd name="T73" fmla="*/ 48 h 136"/>
                    <a:gd name="T74" fmla="*/ 74 w 79"/>
                    <a:gd name="T75" fmla="*/ 90 h 136"/>
                    <a:gd name="T76" fmla="*/ 74 w 79"/>
                    <a:gd name="T77" fmla="*/ 110 h 136"/>
                    <a:gd name="T78" fmla="*/ 76 w 79"/>
                    <a:gd name="T79" fmla="*/ 121 h 136"/>
                    <a:gd name="T80" fmla="*/ 79 w 79"/>
                    <a:gd name="T81" fmla="*/ 136 h 136"/>
                    <a:gd name="T82" fmla="*/ 64 w 79"/>
                    <a:gd name="T83" fmla="*/ 128 h 136"/>
                    <a:gd name="T84" fmla="*/ 60 w 79"/>
                    <a:gd name="T85" fmla="*/ 113 h 136"/>
                    <a:gd name="T86" fmla="*/ 59 w 79"/>
                    <a:gd name="T87" fmla="*/ 72 h 136"/>
                    <a:gd name="T88" fmla="*/ 50 w 79"/>
                    <a:gd name="T89" fmla="*/ 70 h 136"/>
                    <a:gd name="T90" fmla="*/ 36 w 79"/>
                    <a:gd name="T91" fmla="*/ 66 h 136"/>
                    <a:gd name="T92" fmla="*/ 23 w 79"/>
                    <a:gd name="T93" fmla="*/ 63 h 136"/>
                    <a:gd name="T94" fmla="*/ 20 w 79"/>
                    <a:gd name="T95" fmla="*/ 63 h 136"/>
                    <a:gd name="T96" fmla="*/ 18 w 79"/>
                    <a:gd name="T97" fmla="*/ 65 h 136"/>
                    <a:gd name="T98" fmla="*/ 16 w 79"/>
                    <a:gd name="T99" fmla="*/ 72 h 136"/>
                    <a:gd name="T100" fmla="*/ 17 w 79"/>
                    <a:gd name="T101" fmla="*/ 79 h 136"/>
                    <a:gd name="T102" fmla="*/ 20 w 79"/>
                    <a:gd name="T103" fmla="*/ 86 h 136"/>
                    <a:gd name="T104" fmla="*/ 33 w 79"/>
                    <a:gd name="T105" fmla="*/ 98 h 136"/>
                    <a:gd name="T106" fmla="*/ 41 w 79"/>
                    <a:gd name="T107" fmla="*/ 102 h 136"/>
                    <a:gd name="T108" fmla="*/ 47 w 79"/>
                    <a:gd name="T109" fmla="*/ 103 h 136"/>
                    <a:gd name="T110" fmla="*/ 51 w 79"/>
                    <a:gd name="T111" fmla="*/ 102 h 136"/>
                    <a:gd name="T112" fmla="*/ 56 w 79"/>
                    <a:gd name="T113" fmla="*/ 98 h 136"/>
                    <a:gd name="T114" fmla="*/ 57 w 79"/>
                    <a:gd name="T115" fmla="*/ 95 h 136"/>
                    <a:gd name="T116" fmla="*/ 59 w 79"/>
                    <a:gd name="T117"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136">
                      <a:moveTo>
                        <a:pt x="60" y="113"/>
                      </a:moveTo>
                      <a:lnTo>
                        <a:pt x="60" y="113"/>
                      </a:lnTo>
                      <a:lnTo>
                        <a:pt x="53" y="116"/>
                      </a:lnTo>
                      <a:lnTo>
                        <a:pt x="45" y="116"/>
                      </a:lnTo>
                      <a:lnTo>
                        <a:pt x="45" y="116"/>
                      </a:lnTo>
                      <a:lnTo>
                        <a:pt x="38" y="115"/>
                      </a:lnTo>
                      <a:lnTo>
                        <a:pt x="29" y="110"/>
                      </a:lnTo>
                      <a:lnTo>
                        <a:pt x="29" y="110"/>
                      </a:lnTo>
                      <a:lnTo>
                        <a:pt x="22" y="106"/>
                      </a:lnTo>
                      <a:lnTo>
                        <a:pt x="17" y="102"/>
                      </a:lnTo>
                      <a:lnTo>
                        <a:pt x="12" y="96"/>
                      </a:lnTo>
                      <a:lnTo>
                        <a:pt x="7" y="90"/>
                      </a:lnTo>
                      <a:lnTo>
                        <a:pt x="7" y="90"/>
                      </a:lnTo>
                      <a:lnTo>
                        <a:pt x="4" y="83"/>
                      </a:lnTo>
                      <a:lnTo>
                        <a:pt x="2" y="77"/>
                      </a:lnTo>
                      <a:lnTo>
                        <a:pt x="1" y="70"/>
                      </a:lnTo>
                      <a:lnTo>
                        <a:pt x="0" y="64"/>
                      </a:lnTo>
                      <a:lnTo>
                        <a:pt x="0" y="64"/>
                      </a:lnTo>
                      <a:lnTo>
                        <a:pt x="1" y="57"/>
                      </a:lnTo>
                      <a:lnTo>
                        <a:pt x="3" y="52"/>
                      </a:lnTo>
                      <a:lnTo>
                        <a:pt x="3" y="52"/>
                      </a:lnTo>
                      <a:lnTo>
                        <a:pt x="6" y="47"/>
                      </a:lnTo>
                      <a:lnTo>
                        <a:pt x="10" y="45"/>
                      </a:lnTo>
                      <a:lnTo>
                        <a:pt x="10" y="45"/>
                      </a:lnTo>
                      <a:lnTo>
                        <a:pt x="16" y="44"/>
                      </a:lnTo>
                      <a:lnTo>
                        <a:pt x="21" y="45"/>
                      </a:lnTo>
                      <a:lnTo>
                        <a:pt x="21" y="45"/>
                      </a:lnTo>
                      <a:lnTo>
                        <a:pt x="34" y="50"/>
                      </a:lnTo>
                      <a:lnTo>
                        <a:pt x="34" y="50"/>
                      </a:lnTo>
                      <a:lnTo>
                        <a:pt x="50" y="55"/>
                      </a:lnTo>
                      <a:lnTo>
                        <a:pt x="59" y="58"/>
                      </a:lnTo>
                      <a:lnTo>
                        <a:pt x="59" y="58"/>
                      </a:lnTo>
                      <a:lnTo>
                        <a:pt x="59" y="54"/>
                      </a:lnTo>
                      <a:lnTo>
                        <a:pt x="59" y="54"/>
                      </a:lnTo>
                      <a:lnTo>
                        <a:pt x="58" y="43"/>
                      </a:lnTo>
                      <a:lnTo>
                        <a:pt x="57" y="40"/>
                      </a:lnTo>
                      <a:lnTo>
                        <a:pt x="56" y="35"/>
                      </a:lnTo>
                      <a:lnTo>
                        <a:pt x="56" y="35"/>
                      </a:lnTo>
                      <a:lnTo>
                        <a:pt x="53" y="31"/>
                      </a:lnTo>
                      <a:lnTo>
                        <a:pt x="48" y="27"/>
                      </a:lnTo>
                      <a:lnTo>
                        <a:pt x="44" y="24"/>
                      </a:lnTo>
                      <a:lnTo>
                        <a:pt x="39" y="20"/>
                      </a:lnTo>
                      <a:lnTo>
                        <a:pt x="39" y="20"/>
                      </a:lnTo>
                      <a:lnTo>
                        <a:pt x="30" y="16"/>
                      </a:lnTo>
                      <a:lnTo>
                        <a:pt x="27" y="16"/>
                      </a:lnTo>
                      <a:lnTo>
                        <a:pt x="23" y="16"/>
                      </a:lnTo>
                      <a:lnTo>
                        <a:pt x="23" y="16"/>
                      </a:lnTo>
                      <a:lnTo>
                        <a:pt x="21" y="17"/>
                      </a:lnTo>
                      <a:lnTo>
                        <a:pt x="20" y="20"/>
                      </a:lnTo>
                      <a:lnTo>
                        <a:pt x="18" y="24"/>
                      </a:lnTo>
                      <a:lnTo>
                        <a:pt x="17" y="28"/>
                      </a:lnTo>
                      <a:lnTo>
                        <a:pt x="3" y="17"/>
                      </a:lnTo>
                      <a:lnTo>
                        <a:pt x="3" y="17"/>
                      </a:lnTo>
                      <a:lnTo>
                        <a:pt x="5" y="8"/>
                      </a:lnTo>
                      <a:lnTo>
                        <a:pt x="7" y="5"/>
                      </a:lnTo>
                      <a:lnTo>
                        <a:pt x="9" y="3"/>
                      </a:lnTo>
                      <a:lnTo>
                        <a:pt x="9" y="3"/>
                      </a:lnTo>
                      <a:lnTo>
                        <a:pt x="12" y="1"/>
                      </a:lnTo>
                      <a:lnTo>
                        <a:pt x="15" y="0"/>
                      </a:lnTo>
                      <a:lnTo>
                        <a:pt x="18" y="0"/>
                      </a:lnTo>
                      <a:lnTo>
                        <a:pt x="21" y="0"/>
                      </a:lnTo>
                      <a:lnTo>
                        <a:pt x="21" y="0"/>
                      </a:lnTo>
                      <a:lnTo>
                        <a:pt x="31" y="2"/>
                      </a:lnTo>
                      <a:lnTo>
                        <a:pt x="41" y="6"/>
                      </a:lnTo>
                      <a:lnTo>
                        <a:pt x="41" y="6"/>
                      </a:lnTo>
                      <a:lnTo>
                        <a:pt x="51" y="13"/>
                      </a:lnTo>
                      <a:lnTo>
                        <a:pt x="59" y="20"/>
                      </a:lnTo>
                      <a:lnTo>
                        <a:pt x="59" y="20"/>
                      </a:lnTo>
                      <a:lnTo>
                        <a:pt x="65" y="27"/>
                      </a:lnTo>
                      <a:lnTo>
                        <a:pt x="69" y="33"/>
                      </a:lnTo>
                      <a:lnTo>
                        <a:pt x="69" y="33"/>
                      </a:lnTo>
                      <a:lnTo>
                        <a:pt x="72" y="41"/>
                      </a:lnTo>
                      <a:lnTo>
                        <a:pt x="73" y="48"/>
                      </a:lnTo>
                      <a:lnTo>
                        <a:pt x="73" y="48"/>
                      </a:lnTo>
                      <a:lnTo>
                        <a:pt x="74" y="65"/>
                      </a:lnTo>
                      <a:lnTo>
                        <a:pt x="74" y="90"/>
                      </a:lnTo>
                      <a:lnTo>
                        <a:pt x="74" y="90"/>
                      </a:lnTo>
                      <a:lnTo>
                        <a:pt x="74" y="110"/>
                      </a:lnTo>
                      <a:lnTo>
                        <a:pt x="76" y="121"/>
                      </a:lnTo>
                      <a:lnTo>
                        <a:pt x="76" y="121"/>
                      </a:lnTo>
                      <a:lnTo>
                        <a:pt x="77" y="129"/>
                      </a:lnTo>
                      <a:lnTo>
                        <a:pt x="79" y="136"/>
                      </a:lnTo>
                      <a:lnTo>
                        <a:pt x="64" y="128"/>
                      </a:lnTo>
                      <a:lnTo>
                        <a:pt x="64" y="128"/>
                      </a:lnTo>
                      <a:lnTo>
                        <a:pt x="61" y="120"/>
                      </a:lnTo>
                      <a:lnTo>
                        <a:pt x="60" y="113"/>
                      </a:lnTo>
                      <a:lnTo>
                        <a:pt x="60" y="113"/>
                      </a:lnTo>
                      <a:close/>
                      <a:moveTo>
                        <a:pt x="59" y="72"/>
                      </a:moveTo>
                      <a:lnTo>
                        <a:pt x="59" y="72"/>
                      </a:lnTo>
                      <a:lnTo>
                        <a:pt x="50" y="70"/>
                      </a:lnTo>
                      <a:lnTo>
                        <a:pt x="36" y="66"/>
                      </a:lnTo>
                      <a:lnTo>
                        <a:pt x="36" y="66"/>
                      </a:lnTo>
                      <a:lnTo>
                        <a:pt x="28" y="63"/>
                      </a:lnTo>
                      <a:lnTo>
                        <a:pt x="23" y="63"/>
                      </a:lnTo>
                      <a:lnTo>
                        <a:pt x="23" y="63"/>
                      </a:lnTo>
                      <a:lnTo>
                        <a:pt x="20" y="63"/>
                      </a:lnTo>
                      <a:lnTo>
                        <a:pt x="18" y="65"/>
                      </a:lnTo>
                      <a:lnTo>
                        <a:pt x="18" y="65"/>
                      </a:lnTo>
                      <a:lnTo>
                        <a:pt x="16" y="68"/>
                      </a:lnTo>
                      <a:lnTo>
                        <a:pt x="16" y="72"/>
                      </a:lnTo>
                      <a:lnTo>
                        <a:pt x="16" y="72"/>
                      </a:lnTo>
                      <a:lnTo>
                        <a:pt x="17" y="79"/>
                      </a:lnTo>
                      <a:lnTo>
                        <a:pt x="20" y="86"/>
                      </a:lnTo>
                      <a:lnTo>
                        <a:pt x="20" y="86"/>
                      </a:lnTo>
                      <a:lnTo>
                        <a:pt x="26" y="93"/>
                      </a:lnTo>
                      <a:lnTo>
                        <a:pt x="33" y="98"/>
                      </a:lnTo>
                      <a:lnTo>
                        <a:pt x="33" y="98"/>
                      </a:lnTo>
                      <a:lnTo>
                        <a:pt x="41" y="102"/>
                      </a:lnTo>
                      <a:lnTo>
                        <a:pt x="44" y="103"/>
                      </a:lnTo>
                      <a:lnTo>
                        <a:pt x="47" y="103"/>
                      </a:lnTo>
                      <a:lnTo>
                        <a:pt x="47" y="103"/>
                      </a:lnTo>
                      <a:lnTo>
                        <a:pt x="51" y="102"/>
                      </a:lnTo>
                      <a:lnTo>
                        <a:pt x="54" y="101"/>
                      </a:lnTo>
                      <a:lnTo>
                        <a:pt x="56" y="98"/>
                      </a:lnTo>
                      <a:lnTo>
                        <a:pt x="57" y="95"/>
                      </a:lnTo>
                      <a:lnTo>
                        <a:pt x="57" y="95"/>
                      </a:lnTo>
                      <a:lnTo>
                        <a:pt x="59" y="89"/>
                      </a:lnTo>
                      <a:lnTo>
                        <a:pt x="59" y="79"/>
                      </a:lnTo>
                      <a:lnTo>
                        <a:pt x="59" y="72"/>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5" name="Freeform 59"/>
                <p:cNvSpPr>
                  <a:spLocks/>
                </p:cNvSpPr>
                <p:nvPr/>
              </p:nvSpPr>
              <p:spPr bwMode="auto">
                <a:xfrm>
                  <a:off x="11325160" y="4977228"/>
                  <a:ext cx="6985" cy="68104"/>
                </a:xfrm>
                <a:custGeom>
                  <a:avLst/>
                  <a:gdLst>
                    <a:gd name="T0" fmla="*/ 0 w 15"/>
                    <a:gd name="T1" fmla="*/ 146 h 155"/>
                    <a:gd name="T2" fmla="*/ 0 w 15"/>
                    <a:gd name="T3" fmla="*/ 0 h 155"/>
                    <a:gd name="T4" fmla="*/ 15 w 15"/>
                    <a:gd name="T5" fmla="*/ 8 h 155"/>
                    <a:gd name="T6" fmla="*/ 15 w 15"/>
                    <a:gd name="T7" fmla="*/ 155 h 155"/>
                    <a:gd name="T8" fmla="*/ 0 w 15"/>
                    <a:gd name="T9" fmla="*/ 146 h 155"/>
                  </a:gdLst>
                  <a:ahLst/>
                  <a:cxnLst>
                    <a:cxn ang="0">
                      <a:pos x="T0" y="T1"/>
                    </a:cxn>
                    <a:cxn ang="0">
                      <a:pos x="T2" y="T3"/>
                    </a:cxn>
                    <a:cxn ang="0">
                      <a:pos x="T4" y="T5"/>
                    </a:cxn>
                    <a:cxn ang="0">
                      <a:pos x="T6" y="T7"/>
                    </a:cxn>
                    <a:cxn ang="0">
                      <a:pos x="T8" y="T9"/>
                    </a:cxn>
                  </a:cxnLst>
                  <a:rect l="0" t="0" r="r" b="b"/>
                  <a:pathLst>
                    <a:path w="15" h="155">
                      <a:moveTo>
                        <a:pt x="0" y="146"/>
                      </a:moveTo>
                      <a:lnTo>
                        <a:pt x="0" y="0"/>
                      </a:lnTo>
                      <a:lnTo>
                        <a:pt x="15" y="8"/>
                      </a:lnTo>
                      <a:lnTo>
                        <a:pt x="15" y="155"/>
                      </a:lnTo>
                      <a:lnTo>
                        <a:pt x="0" y="146"/>
                      </a:lnTo>
                      <a:close/>
                    </a:path>
                  </a:pathLst>
                </a:custGeom>
                <a:solidFill>
                  <a:srgbClr val="1C3C4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0" name="Freeform 1189"/>
                <p:cNvSpPr>
                  <a:spLocks noChangeAspect="1" noEditPoints="1"/>
                </p:cNvSpPr>
                <p:nvPr/>
              </p:nvSpPr>
              <p:spPr bwMode="auto">
                <a:xfrm>
                  <a:off x="11705489" y="4735832"/>
                  <a:ext cx="96416" cy="130414"/>
                </a:xfrm>
                <a:custGeom>
                  <a:avLst/>
                  <a:gdLst/>
                  <a:ahLst/>
                  <a:cxnLst>
                    <a:cxn ang="0">
                      <a:pos x="116" y="0"/>
                    </a:cxn>
                    <a:cxn ang="0">
                      <a:pos x="144" y="0"/>
                    </a:cxn>
                    <a:cxn ang="0">
                      <a:pos x="144" y="32"/>
                    </a:cxn>
                    <a:cxn ang="0">
                      <a:pos x="170" y="32"/>
                    </a:cxn>
                    <a:cxn ang="0">
                      <a:pos x="170" y="0"/>
                    </a:cxn>
                    <a:cxn ang="0">
                      <a:pos x="199" y="0"/>
                    </a:cxn>
                    <a:cxn ang="0">
                      <a:pos x="199" y="38"/>
                    </a:cxn>
                    <a:cxn ang="0">
                      <a:pos x="271" y="68"/>
                    </a:cxn>
                    <a:cxn ang="0">
                      <a:pos x="303" y="140"/>
                    </a:cxn>
                    <a:cxn ang="0">
                      <a:pos x="249" y="140"/>
                    </a:cxn>
                    <a:cxn ang="0">
                      <a:pos x="231" y="100"/>
                    </a:cxn>
                    <a:cxn ang="0">
                      <a:pos x="199" y="84"/>
                    </a:cxn>
                    <a:cxn ang="0">
                      <a:pos x="199" y="188"/>
                    </a:cxn>
                    <a:cxn ang="0">
                      <a:pos x="223" y="194"/>
                    </a:cxn>
                    <a:cxn ang="0">
                      <a:pos x="271" y="212"/>
                    </a:cxn>
                    <a:cxn ang="0">
                      <a:pos x="309" y="286"/>
                    </a:cxn>
                    <a:cxn ang="0">
                      <a:pos x="285" y="350"/>
                    </a:cxn>
                    <a:cxn ang="0">
                      <a:pos x="199" y="382"/>
                    </a:cxn>
                    <a:cxn ang="0">
                      <a:pos x="199" y="418"/>
                    </a:cxn>
                    <a:cxn ang="0">
                      <a:pos x="170" y="418"/>
                    </a:cxn>
                    <a:cxn ang="0">
                      <a:pos x="170" y="386"/>
                    </a:cxn>
                    <a:cxn ang="0">
                      <a:pos x="144" y="386"/>
                    </a:cxn>
                    <a:cxn ang="0">
                      <a:pos x="144" y="418"/>
                    </a:cxn>
                    <a:cxn ang="0">
                      <a:pos x="116" y="418"/>
                    </a:cxn>
                    <a:cxn ang="0">
                      <a:pos x="116" y="384"/>
                    </a:cxn>
                    <a:cxn ang="0">
                      <a:pos x="36" y="346"/>
                    </a:cxn>
                    <a:cxn ang="0">
                      <a:pos x="0" y="266"/>
                    </a:cxn>
                    <a:cxn ang="0">
                      <a:pos x="54" y="266"/>
                    </a:cxn>
                    <a:cxn ang="0">
                      <a:pos x="76" y="316"/>
                    </a:cxn>
                    <a:cxn ang="0">
                      <a:pos x="116" y="340"/>
                    </a:cxn>
                    <a:cxn ang="0">
                      <a:pos x="116" y="226"/>
                    </a:cxn>
                    <a:cxn ang="0">
                      <a:pos x="40" y="188"/>
                    </a:cxn>
                    <a:cxn ang="0">
                      <a:pos x="14" y="130"/>
                    </a:cxn>
                    <a:cxn ang="0">
                      <a:pos x="42" y="66"/>
                    </a:cxn>
                    <a:cxn ang="0">
                      <a:pos x="116" y="34"/>
                    </a:cxn>
                    <a:cxn ang="0">
                      <a:pos x="116" y="0"/>
                    </a:cxn>
                    <a:cxn ang="0">
                      <a:pos x="116" y="78"/>
                    </a:cxn>
                    <a:cxn ang="0">
                      <a:pos x="82" y="94"/>
                    </a:cxn>
                    <a:cxn ang="0">
                      <a:pos x="68" y="128"/>
                    </a:cxn>
                    <a:cxn ang="0">
                      <a:pos x="82" y="158"/>
                    </a:cxn>
                    <a:cxn ang="0">
                      <a:pos x="116" y="176"/>
                    </a:cxn>
                    <a:cxn ang="0">
                      <a:pos x="116" y="78"/>
                    </a:cxn>
                    <a:cxn ang="0">
                      <a:pos x="144" y="180"/>
                    </a:cxn>
                    <a:cxn ang="0">
                      <a:pos x="170" y="186"/>
                    </a:cxn>
                    <a:cxn ang="0">
                      <a:pos x="170" y="80"/>
                    </a:cxn>
                    <a:cxn ang="0">
                      <a:pos x="144" y="78"/>
                    </a:cxn>
                    <a:cxn ang="0">
                      <a:pos x="144" y="180"/>
                    </a:cxn>
                    <a:cxn ang="0">
                      <a:pos x="144" y="344"/>
                    </a:cxn>
                    <a:cxn ang="0">
                      <a:pos x="170" y="344"/>
                    </a:cxn>
                    <a:cxn ang="0">
                      <a:pos x="170" y="234"/>
                    </a:cxn>
                    <a:cxn ang="0">
                      <a:pos x="144" y="230"/>
                    </a:cxn>
                    <a:cxn ang="0">
                      <a:pos x="144" y="344"/>
                    </a:cxn>
                    <a:cxn ang="0">
                      <a:pos x="199" y="340"/>
                    </a:cxn>
                    <a:cxn ang="0">
                      <a:pos x="247" y="320"/>
                    </a:cxn>
                    <a:cxn ang="0">
                      <a:pos x="261" y="288"/>
                    </a:cxn>
                    <a:cxn ang="0">
                      <a:pos x="235" y="248"/>
                    </a:cxn>
                    <a:cxn ang="0">
                      <a:pos x="199" y="238"/>
                    </a:cxn>
                    <a:cxn ang="0">
                      <a:pos x="199" y="340"/>
                    </a:cxn>
                  </a:cxnLst>
                  <a:rect l="0" t="0" r="r" b="b"/>
                  <a:pathLst>
                    <a:path w="309" h="418">
                      <a:moveTo>
                        <a:pt x="116" y="0"/>
                      </a:moveTo>
                      <a:cubicBezTo>
                        <a:pt x="144" y="0"/>
                        <a:pt x="144" y="0"/>
                        <a:pt x="144" y="0"/>
                      </a:cubicBezTo>
                      <a:cubicBezTo>
                        <a:pt x="144" y="32"/>
                        <a:pt x="144" y="32"/>
                        <a:pt x="144" y="32"/>
                      </a:cubicBezTo>
                      <a:cubicBezTo>
                        <a:pt x="154" y="30"/>
                        <a:pt x="162" y="30"/>
                        <a:pt x="170" y="32"/>
                      </a:cubicBezTo>
                      <a:cubicBezTo>
                        <a:pt x="170" y="0"/>
                        <a:pt x="170" y="0"/>
                        <a:pt x="170" y="0"/>
                      </a:cubicBezTo>
                      <a:cubicBezTo>
                        <a:pt x="199" y="0"/>
                        <a:pt x="199" y="0"/>
                        <a:pt x="199" y="0"/>
                      </a:cubicBezTo>
                      <a:cubicBezTo>
                        <a:pt x="199" y="38"/>
                        <a:pt x="199" y="38"/>
                        <a:pt x="199" y="38"/>
                      </a:cubicBezTo>
                      <a:cubicBezTo>
                        <a:pt x="233" y="44"/>
                        <a:pt x="257" y="54"/>
                        <a:pt x="271" y="68"/>
                      </a:cubicBezTo>
                      <a:cubicBezTo>
                        <a:pt x="288" y="85"/>
                        <a:pt x="299" y="109"/>
                        <a:pt x="303" y="140"/>
                      </a:cubicBezTo>
                      <a:cubicBezTo>
                        <a:pt x="249" y="140"/>
                        <a:pt x="249" y="140"/>
                        <a:pt x="249" y="140"/>
                      </a:cubicBezTo>
                      <a:cubicBezTo>
                        <a:pt x="247" y="124"/>
                        <a:pt x="241" y="110"/>
                        <a:pt x="231" y="100"/>
                      </a:cubicBezTo>
                      <a:cubicBezTo>
                        <a:pt x="224" y="93"/>
                        <a:pt x="213" y="88"/>
                        <a:pt x="199" y="84"/>
                      </a:cubicBezTo>
                      <a:cubicBezTo>
                        <a:pt x="199" y="188"/>
                        <a:pt x="199" y="188"/>
                        <a:pt x="199" y="188"/>
                      </a:cubicBezTo>
                      <a:cubicBezTo>
                        <a:pt x="223" y="194"/>
                        <a:pt x="223" y="194"/>
                        <a:pt x="223" y="194"/>
                      </a:cubicBezTo>
                      <a:cubicBezTo>
                        <a:pt x="244" y="199"/>
                        <a:pt x="260" y="205"/>
                        <a:pt x="271" y="212"/>
                      </a:cubicBezTo>
                      <a:cubicBezTo>
                        <a:pt x="296" y="228"/>
                        <a:pt x="309" y="252"/>
                        <a:pt x="309" y="286"/>
                      </a:cubicBezTo>
                      <a:cubicBezTo>
                        <a:pt x="309" y="312"/>
                        <a:pt x="301" y="334"/>
                        <a:pt x="285" y="350"/>
                      </a:cubicBezTo>
                      <a:cubicBezTo>
                        <a:pt x="266" y="369"/>
                        <a:pt x="237" y="379"/>
                        <a:pt x="199" y="382"/>
                      </a:cubicBezTo>
                      <a:cubicBezTo>
                        <a:pt x="199" y="418"/>
                        <a:pt x="199" y="418"/>
                        <a:pt x="199" y="418"/>
                      </a:cubicBezTo>
                      <a:cubicBezTo>
                        <a:pt x="170" y="418"/>
                        <a:pt x="170" y="418"/>
                        <a:pt x="170" y="418"/>
                      </a:cubicBezTo>
                      <a:cubicBezTo>
                        <a:pt x="170" y="386"/>
                        <a:pt x="170" y="386"/>
                        <a:pt x="170" y="386"/>
                      </a:cubicBezTo>
                      <a:cubicBezTo>
                        <a:pt x="162" y="387"/>
                        <a:pt x="154" y="387"/>
                        <a:pt x="144" y="386"/>
                      </a:cubicBezTo>
                      <a:cubicBezTo>
                        <a:pt x="144" y="418"/>
                        <a:pt x="144" y="418"/>
                        <a:pt x="144" y="418"/>
                      </a:cubicBezTo>
                      <a:cubicBezTo>
                        <a:pt x="116" y="418"/>
                        <a:pt x="116" y="418"/>
                        <a:pt x="116" y="418"/>
                      </a:cubicBezTo>
                      <a:cubicBezTo>
                        <a:pt x="116" y="384"/>
                        <a:pt x="116" y="384"/>
                        <a:pt x="116" y="384"/>
                      </a:cubicBezTo>
                      <a:cubicBezTo>
                        <a:pt x="86" y="381"/>
                        <a:pt x="59" y="369"/>
                        <a:pt x="36" y="346"/>
                      </a:cubicBezTo>
                      <a:cubicBezTo>
                        <a:pt x="18" y="327"/>
                        <a:pt x="6" y="300"/>
                        <a:pt x="0" y="266"/>
                      </a:cubicBezTo>
                      <a:cubicBezTo>
                        <a:pt x="54" y="266"/>
                        <a:pt x="54" y="266"/>
                        <a:pt x="54" y="266"/>
                      </a:cubicBezTo>
                      <a:cubicBezTo>
                        <a:pt x="58" y="288"/>
                        <a:pt x="66" y="305"/>
                        <a:pt x="76" y="316"/>
                      </a:cubicBezTo>
                      <a:cubicBezTo>
                        <a:pt x="91" y="330"/>
                        <a:pt x="104" y="339"/>
                        <a:pt x="116" y="340"/>
                      </a:cubicBezTo>
                      <a:cubicBezTo>
                        <a:pt x="116" y="226"/>
                        <a:pt x="116" y="226"/>
                        <a:pt x="116" y="226"/>
                      </a:cubicBezTo>
                      <a:cubicBezTo>
                        <a:pt x="83" y="218"/>
                        <a:pt x="58" y="205"/>
                        <a:pt x="40" y="188"/>
                      </a:cubicBezTo>
                      <a:cubicBezTo>
                        <a:pt x="23" y="170"/>
                        <a:pt x="14" y="151"/>
                        <a:pt x="14" y="130"/>
                      </a:cubicBezTo>
                      <a:cubicBezTo>
                        <a:pt x="14" y="106"/>
                        <a:pt x="24" y="84"/>
                        <a:pt x="42" y="66"/>
                      </a:cubicBezTo>
                      <a:cubicBezTo>
                        <a:pt x="62" y="46"/>
                        <a:pt x="87" y="35"/>
                        <a:pt x="116" y="34"/>
                      </a:cubicBezTo>
                      <a:lnTo>
                        <a:pt x="116" y="0"/>
                      </a:lnTo>
                      <a:close/>
                      <a:moveTo>
                        <a:pt x="116" y="78"/>
                      </a:moveTo>
                      <a:cubicBezTo>
                        <a:pt x="103" y="79"/>
                        <a:pt x="92" y="84"/>
                        <a:pt x="82" y="94"/>
                      </a:cubicBezTo>
                      <a:cubicBezTo>
                        <a:pt x="73" y="103"/>
                        <a:pt x="68" y="114"/>
                        <a:pt x="68" y="128"/>
                      </a:cubicBezTo>
                      <a:cubicBezTo>
                        <a:pt x="68" y="138"/>
                        <a:pt x="73" y="148"/>
                        <a:pt x="82" y="158"/>
                      </a:cubicBezTo>
                      <a:cubicBezTo>
                        <a:pt x="90" y="166"/>
                        <a:pt x="102" y="172"/>
                        <a:pt x="116" y="176"/>
                      </a:cubicBezTo>
                      <a:lnTo>
                        <a:pt x="116" y="78"/>
                      </a:lnTo>
                      <a:close/>
                      <a:moveTo>
                        <a:pt x="144" y="180"/>
                      </a:moveTo>
                      <a:cubicBezTo>
                        <a:pt x="159" y="182"/>
                        <a:pt x="168" y="184"/>
                        <a:pt x="170" y="186"/>
                      </a:cubicBezTo>
                      <a:cubicBezTo>
                        <a:pt x="170" y="80"/>
                        <a:pt x="170" y="80"/>
                        <a:pt x="170" y="80"/>
                      </a:cubicBezTo>
                      <a:cubicBezTo>
                        <a:pt x="162" y="78"/>
                        <a:pt x="154" y="78"/>
                        <a:pt x="144" y="78"/>
                      </a:cubicBezTo>
                      <a:lnTo>
                        <a:pt x="144" y="180"/>
                      </a:lnTo>
                      <a:close/>
                      <a:moveTo>
                        <a:pt x="144" y="344"/>
                      </a:moveTo>
                      <a:cubicBezTo>
                        <a:pt x="156" y="345"/>
                        <a:pt x="165" y="345"/>
                        <a:pt x="170" y="344"/>
                      </a:cubicBezTo>
                      <a:cubicBezTo>
                        <a:pt x="170" y="234"/>
                        <a:pt x="170" y="234"/>
                        <a:pt x="170" y="234"/>
                      </a:cubicBezTo>
                      <a:cubicBezTo>
                        <a:pt x="164" y="232"/>
                        <a:pt x="155" y="231"/>
                        <a:pt x="144" y="230"/>
                      </a:cubicBezTo>
                      <a:lnTo>
                        <a:pt x="144" y="344"/>
                      </a:lnTo>
                      <a:close/>
                      <a:moveTo>
                        <a:pt x="199" y="340"/>
                      </a:moveTo>
                      <a:cubicBezTo>
                        <a:pt x="221" y="336"/>
                        <a:pt x="237" y="329"/>
                        <a:pt x="247" y="320"/>
                      </a:cubicBezTo>
                      <a:cubicBezTo>
                        <a:pt x="256" y="310"/>
                        <a:pt x="261" y="300"/>
                        <a:pt x="261" y="288"/>
                      </a:cubicBezTo>
                      <a:cubicBezTo>
                        <a:pt x="261" y="270"/>
                        <a:pt x="252" y="257"/>
                        <a:pt x="235" y="248"/>
                      </a:cubicBezTo>
                      <a:cubicBezTo>
                        <a:pt x="229" y="245"/>
                        <a:pt x="217" y="242"/>
                        <a:pt x="199" y="238"/>
                      </a:cubicBezTo>
                      <a:lnTo>
                        <a:pt x="199" y="340"/>
                      </a:lnTo>
                      <a:close/>
                    </a:path>
                  </a:pathLst>
                </a:custGeom>
                <a:solidFill>
                  <a:srgbClr val="1C3C43"/>
                </a:solidFill>
                <a:ln w="9525">
                  <a:noFill/>
                  <a:round/>
                  <a:headEnd/>
                  <a:tailEnd/>
                </a:ln>
                <a:scene3d>
                  <a:camera prst="isometricOffAxis1Left"/>
                  <a:lightRig rig="threePt" dir="t"/>
                </a:scene3d>
              </p:spPr>
              <p:txBody>
                <a:bodyPr vert="horz" wrap="square" lIns="91440" tIns="45720" rIns="91440" bIns="45720" numCol="1" anchor="t" anchorCtr="0" compatLnSpc="1">
                  <a:prstTxWarp prst="textNoShape">
                    <a:avLst/>
                  </a:prstTxWarp>
                  <a:scene3d>
                    <a:camera prst="isometricOffAxis2Top"/>
                    <a:lightRig rig="threePt" dir="t"/>
                  </a:scene3d>
                </a:bodyPr>
                <a:lst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1B3B41"/>
                    </a:solidFill>
                    <a:effectLst/>
                    <a:uLnTx/>
                    <a:uFillTx/>
                    <a:latin typeface="+mn-lt"/>
                    <a:ea typeface="+mn-ea"/>
                    <a:cs typeface="+mn-cs"/>
                  </a:endParaRPr>
                </a:p>
              </p:txBody>
            </p:sp>
            <p:sp>
              <p:nvSpPr>
                <p:cNvPr id="1193" name="Freeform 1192"/>
                <p:cNvSpPr>
                  <a:spLocks noChangeAspect="1" noEditPoints="1"/>
                </p:cNvSpPr>
                <p:nvPr/>
              </p:nvSpPr>
              <p:spPr bwMode="auto">
                <a:xfrm>
                  <a:off x="11705489" y="4896987"/>
                  <a:ext cx="96416" cy="130414"/>
                </a:xfrm>
                <a:custGeom>
                  <a:avLst/>
                  <a:gdLst/>
                  <a:ahLst/>
                  <a:cxnLst>
                    <a:cxn ang="0">
                      <a:pos x="116" y="0"/>
                    </a:cxn>
                    <a:cxn ang="0">
                      <a:pos x="144" y="0"/>
                    </a:cxn>
                    <a:cxn ang="0">
                      <a:pos x="144" y="32"/>
                    </a:cxn>
                    <a:cxn ang="0">
                      <a:pos x="170" y="32"/>
                    </a:cxn>
                    <a:cxn ang="0">
                      <a:pos x="170" y="0"/>
                    </a:cxn>
                    <a:cxn ang="0">
                      <a:pos x="199" y="0"/>
                    </a:cxn>
                    <a:cxn ang="0">
                      <a:pos x="199" y="38"/>
                    </a:cxn>
                    <a:cxn ang="0">
                      <a:pos x="271" y="68"/>
                    </a:cxn>
                    <a:cxn ang="0">
                      <a:pos x="303" y="140"/>
                    </a:cxn>
                    <a:cxn ang="0">
                      <a:pos x="249" y="140"/>
                    </a:cxn>
                    <a:cxn ang="0">
                      <a:pos x="231" y="100"/>
                    </a:cxn>
                    <a:cxn ang="0">
                      <a:pos x="199" y="84"/>
                    </a:cxn>
                    <a:cxn ang="0">
                      <a:pos x="199" y="188"/>
                    </a:cxn>
                    <a:cxn ang="0">
                      <a:pos x="223" y="194"/>
                    </a:cxn>
                    <a:cxn ang="0">
                      <a:pos x="271" y="212"/>
                    </a:cxn>
                    <a:cxn ang="0">
                      <a:pos x="309" y="286"/>
                    </a:cxn>
                    <a:cxn ang="0">
                      <a:pos x="285" y="350"/>
                    </a:cxn>
                    <a:cxn ang="0">
                      <a:pos x="199" y="382"/>
                    </a:cxn>
                    <a:cxn ang="0">
                      <a:pos x="199" y="418"/>
                    </a:cxn>
                    <a:cxn ang="0">
                      <a:pos x="170" y="418"/>
                    </a:cxn>
                    <a:cxn ang="0">
                      <a:pos x="170" y="386"/>
                    </a:cxn>
                    <a:cxn ang="0">
                      <a:pos x="144" y="386"/>
                    </a:cxn>
                    <a:cxn ang="0">
                      <a:pos x="144" y="418"/>
                    </a:cxn>
                    <a:cxn ang="0">
                      <a:pos x="116" y="418"/>
                    </a:cxn>
                    <a:cxn ang="0">
                      <a:pos x="116" y="384"/>
                    </a:cxn>
                    <a:cxn ang="0">
                      <a:pos x="36" y="346"/>
                    </a:cxn>
                    <a:cxn ang="0">
                      <a:pos x="0" y="266"/>
                    </a:cxn>
                    <a:cxn ang="0">
                      <a:pos x="54" y="266"/>
                    </a:cxn>
                    <a:cxn ang="0">
                      <a:pos x="76" y="316"/>
                    </a:cxn>
                    <a:cxn ang="0">
                      <a:pos x="116" y="340"/>
                    </a:cxn>
                    <a:cxn ang="0">
                      <a:pos x="116" y="226"/>
                    </a:cxn>
                    <a:cxn ang="0">
                      <a:pos x="40" y="188"/>
                    </a:cxn>
                    <a:cxn ang="0">
                      <a:pos x="14" y="130"/>
                    </a:cxn>
                    <a:cxn ang="0">
                      <a:pos x="42" y="66"/>
                    </a:cxn>
                    <a:cxn ang="0">
                      <a:pos x="116" y="34"/>
                    </a:cxn>
                    <a:cxn ang="0">
                      <a:pos x="116" y="0"/>
                    </a:cxn>
                    <a:cxn ang="0">
                      <a:pos x="116" y="78"/>
                    </a:cxn>
                    <a:cxn ang="0">
                      <a:pos x="82" y="94"/>
                    </a:cxn>
                    <a:cxn ang="0">
                      <a:pos x="68" y="128"/>
                    </a:cxn>
                    <a:cxn ang="0">
                      <a:pos x="82" y="158"/>
                    </a:cxn>
                    <a:cxn ang="0">
                      <a:pos x="116" y="176"/>
                    </a:cxn>
                    <a:cxn ang="0">
                      <a:pos x="116" y="78"/>
                    </a:cxn>
                    <a:cxn ang="0">
                      <a:pos x="144" y="180"/>
                    </a:cxn>
                    <a:cxn ang="0">
                      <a:pos x="170" y="186"/>
                    </a:cxn>
                    <a:cxn ang="0">
                      <a:pos x="170" y="80"/>
                    </a:cxn>
                    <a:cxn ang="0">
                      <a:pos x="144" y="78"/>
                    </a:cxn>
                    <a:cxn ang="0">
                      <a:pos x="144" y="180"/>
                    </a:cxn>
                    <a:cxn ang="0">
                      <a:pos x="144" y="344"/>
                    </a:cxn>
                    <a:cxn ang="0">
                      <a:pos x="170" y="344"/>
                    </a:cxn>
                    <a:cxn ang="0">
                      <a:pos x="170" y="234"/>
                    </a:cxn>
                    <a:cxn ang="0">
                      <a:pos x="144" y="230"/>
                    </a:cxn>
                    <a:cxn ang="0">
                      <a:pos x="144" y="344"/>
                    </a:cxn>
                    <a:cxn ang="0">
                      <a:pos x="199" y="340"/>
                    </a:cxn>
                    <a:cxn ang="0">
                      <a:pos x="247" y="320"/>
                    </a:cxn>
                    <a:cxn ang="0">
                      <a:pos x="261" y="288"/>
                    </a:cxn>
                    <a:cxn ang="0">
                      <a:pos x="235" y="248"/>
                    </a:cxn>
                    <a:cxn ang="0">
                      <a:pos x="199" y="238"/>
                    </a:cxn>
                    <a:cxn ang="0">
                      <a:pos x="199" y="340"/>
                    </a:cxn>
                  </a:cxnLst>
                  <a:rect l="0" t="0" r="r" b="b"/>
                  <a:pathLst>
                    <a:path w="309" h="418">
                      <a:moveTo>
                        <a:pt x="116" y="0"/>
                      </a:moveTo>
                      <a:cubicBezTo>
                        <a:pt x="144" y="0"/>
                        <a:pt x="144" y="0"/>
                        <a:pt x="144" y="0"/>
                      </a:cubicBezTo>
                      <a:cubicBezTo>
                        <a:pt x="144" y="32"/>
                        <a:pt x="144" y="32"/>
                        <a:pt x="144" y="32"/>
                      </a:cubicBezTo>
                      <a:cubicBezTo>
                        <a:pt x="154" y="30"/>
                        <a:pt x="162" y="30"/>
                        <a:pt x="170" y="32"/>
                      </a:cubicBezTo>
                      <a:cubicBezTo>
                        <a:pt x="170" y="0"/>
                        <a:pt x="170" y="0"/>
                        <a:pt x="170" y="0"/>
                      </a:cubicBezTo>
                      <a:cubicBezTo>
                        <a:pt x="199" y="0"/>
                        <a:pt x="199" y="0"/>
                        <a:pt x="199" y="0"/>
                      </a:cubicBezTo>
                      <a:cubicBezTo>
                        <a:pt x="199" y="38"/>
                        <a:pt x="199" y="38"/>
                        <a:pt x="199" y="38"/>
                      </a:cubicBezTo>
                      <a:cubicBezTo>
                        <a:pt x="233" y="44"/>
                        <a:pt x="257" y="54"/>
                        <a:pt x="271" y="68"/>
                      </a:cubicBezTo>
                      <a:cubicBezTo>
                        <a:pt x="288" y="85"/>
                        <a:pt x="299" y="109"/>
                        <a:pt x="303" y="140"/>
                      </a:cubicBezTo>
                      <a:cubicBezTo>
                        <a:pt x="249" y="140"/>
                        <a:pt x="249" y="140"/>
                        <a:pt x="249" y="140"/>
                      </a:cubicBezTo>
                      <a:cubicBezTo>
                        <a:pt x="247" y="124"/>
                        <a:pt x="241" y="110"/>
                        <a:pt x="231" y="100"/>
                      </a:cubicBezTo>
                      <a:cubicBezTo>
                        <a:pt x="224" y="93"/>
                        <a:pt x="213" y="88"/>
                        <a:pt x="199" y="84"/>
                      </a:cubicBezTo>
                      <a:cubicBezTo>
                        <a:pt x="199" y="188"/>
                        <a:pt x="199" y="188"/>
                        <a:pt x="199" y="188"/>
                      </a:cubicBezTo>
                      <a:cubicBezTo>
                        <a:pt x="223" y="194"/>
                        <a:pt x="223" y="194"/>
                        <a:pt x="223" y="194"/>
                      </a:cubicBezTo>
                      <a:cubicBezTo>
                        <a:pt x="244" y="199"/>
                        <a:pt x="260" y="205"/>
                        <a:pt x="271" y="212"/>
                      </a:cubicBezTo>
                      <a:cubicBezTo>
                        <a:pt x="296" y="228"/>
                        <a:pt x="309" y="252"/>
                        <a:pt x="309" y="286"/>
                      </a:cubicBezTo>
                      <a:cubicBezTo>
                        <a:pt x="309" y="312"/>
                        <a:pt x="301" y="334"/>
                        <a:pt x="285" y="350"/>
                      </a:cubicBezTo>
                      <a:cubicBezTo>
                        <a:pt x="266" y="369"/>
                        <a:pt x="237" y="379"/>
                        <a:pt x="199" y="382"/>
                      </a:cubicBezTo>
                      <a:cubicBezTo>
                        <a:pt x="199" y="418"/>
                        <a:pt x="199" y="418"/>
                        <a:pt x="199" y="418"/>
                      </a:cubicBezTo>
                      <a:cubicBezTo>
                        <a:pt x="170" y="418"/>
                        <a:pt x="170" y="418"/>
                        <a:pt x="170" y="418"/>
                      </a:cubicBezTo>
                      <a:cubicBezTo>
                        <a:pt x="170" y="386"/>
                        <a:pt x="170" y="386"/>
                        <a:pt x="170" y="386"/>
                      </a:cubicBezTo>
                      <a:cubicBezTo>
                        <a:pt x="162" y="387"/>
                        <a:pt x="154" y="387"/>
                        <a:pt x="144" y="386"/>
                      </a:cubicBezTo>
                      <a:cubicBezTo>
                        <a:pt x="144" y="418"/>
                        <a:pt x="144" y="418"/>
                        <a:pt x="144" y="418"/>
                      </a:cubicBezTo>
                      <a:cubicBezTo>
                        <a:pt x="116" y="418"/>
                        <a:pt x="116" y="418"/>
                        <a:pt x="116" y="418"/>
                      </a:cubicBezTo>
                      <a:cubicBezTo>
                        <a:pt x="116" y="384"/>
                        <a:pt x="116" y="384"/>
                        <a:pt x="116" y="384"/>
                      </a:cubicBezTo>
                      <a:cubicBezTo>
                        <a:pt x="86" y="381"/>
                        <a:pt x="59" y="369"/>
                        <a:pt x="36" y="346"/>
                      </a:cubicBezTo>
                      <a:cubicBezTo>
                        <a:pt x="18" y="327"/>
                        <a:pt x="6" y="300"/>
                        <a:pt x="0" y="266"/>
                      </a:cubicBezTo>
                      <a:cubicBezTo>
                        <a:pt x="54" y="266"/>
                        <a:pt x="54" y="266"/>
                        <a:pt x="54" y="266"/>
                      </a:cubicBezTo>
                      <a:cubicBezTo>
                        <a:pt x="58" y="288"/>
                        <a:pt x="66" y="305"/>
                        <a:pt x="76" y="316"/>
                      </a:cubicBezTo>
                      <a:cubicBezTo>
                        <a:pt x="91" y="330"/>
                        <a:pt x="104" y="339"/>
                        <a:pt x="116" y="340"/>
                      </a:cubicBezTo>
                      <a:cubicBezTo>
                        <a:pt x="116" y="226"/>
                        <a:pt x="116" y="226"/>
                        <a:pt x="116" y="226"/>
                      </a:cubicBezTo>
                      <a:cubicBezTo>
                        <a:pt x="83" y="218"/>
                        <a:pt x="58" y="205"/>
                        <a:pt x="40" y="188"/>
                      </a:cubicBezTo>
                      <a:cubicBezTo>
                        <a:pt x="23" y="170"/>
                        <a:pt x="14" y="151"/>
                        <a:pt x="14" y="130"/>
                      </a:cubicBezTo>
                      <a:cubicBezTo>
                        <a:pt x="14" y="106"/>
                        <a:pt x="24" y="84"/>
                        <a:pt x="42" y="66"/>
                      </a:cubicBezTo>
                      <a:cubicBezTo>
                        <a:pt x="62" y="46"/>
                        <a:pt x="87" y="35"/>
                        <a:pt x="116" y="34"/>
                      </a:cubicBezTo>
                      <a:lnTo>
                        <a:pt x="116" y="0"/>
                      </a:lnTo>
                      <a:close/>
                      <a:moveTo>
                        <a:pt x="116" y="78"/>
                      </a:moveTo>
                      <a:cubicBezTo>
                        <a:pt x="103" y="79"/>
                        <a:pt x="92" y="84"/>
                        <a:pt x="82" y="94"/>
                      </a:cubicBezTo>
                      <a:cubicBezTo>
                        <a:pt x="73" y="103"/>
                        <a:pt x="68" y="114"/>
                        <a:pt x="68" y="128"/>
                      </a:cubicBezTo>
                      <a:cubicBezTo>
                        <a:pt x="68" y="138"/>
                        <a:pt x="73" y="148"/>
                        <a:pt x="82" y="158"/>
                      </a:cubicBezTo>
                      <a:cubicBezTo>
                        <a:pt x="90" y="166"/>
                        <a:pt x="102" y="172"/>
                        <a:pt x="116" y="176"/>
                      </a:cubicBezTo>
                      <a:lnTo>
                        <a:pt x="116" y="78"/>
                      </a:lnTo>
                      <a:close/>
                      <a:moveTo>
                        <a:pt x="144" y="180"/>
                      </a:moveTo>
                      <a:cubicBezTo>
                        <a:pt x="159" y="182"/>
                        <a:pt x="168" y="184"/>
                        <a:pt x="170" y="186"/>
                      </a:cubicBezTo>
                      <a:cubicBezTo>
                        <a:pt x="170" y="80"/>
                        <a:pt x="170" y="80"/>
                        <a:pt x="170" y="80"/>
                      </a:cubicBezTo>
                      <a:cubicBezTo>
                        <a:pt x="162" y="78"/>
                        <a:pt x="154" y="78"/>
                        <a:pt x="144" y="78"/>
                      </a:cubicBezTo>
                      <a:lnTo>
                        <a:pt x="144" y="180"/>
                      </a:lnTo>
                      <a:close/>
                      <a:moveTo>
                        <a:pt x="144" y="344"/>
                      </a:moveTo>
                      <a:cubicBezTo>
                        <a:pt x="156" y="345"/>
                        <a:pt x="165" y="345"/>
                        <a:pt x="170" y="344"/>
                      </a:cubicBezTo>
                      <a:cubicBezTo>
                        <a:pt x="170" y="234"/>
                        <a:pt x="170" y="234"/>
                        <a:pt x="170" y="234"/>
                      </a:cubicBezTo>
                      <a:cubicBezTo>
                        <a:pt x="164" y="232"/>
                        <a:pt x="155" y="231"/>
                        <a:pt x="144" y="230"/>
                      </a:cubicBezTo>
                      <a:lnTo>
                        <a:pt x="144" y="344"/>
                      </a:lnTo>
                      <a:close/>
                      <a:moveTo>
                        <a:pt x="199" y="340"/>
                      </a:moveTo>
                      <a:cubicBezTo>
                        <a:pt x="221" y="336"/>
                        <a:pt x="237" y="329"/>
                        <a:pt x="247" y="320"/>
                      </a:cubicBezTo>
                      <a:cubicBezTo>
                        <a:pt x="256" y="310"/>
                        <a:pt x="261" y="300"/>
                        <a:pt x="261" y="288"/>
                      </a:cubicBezTo>
                      <a:cubicBezTo>
                        <a:pt x="261" y="270"/>
                        <a:pt x="252" y="257"/>
                        <a:pt x="235" y="248"/>
                      </a:cubicBezTo>
                      <a:cubicBezTo>
                        <a:pt x="229" y="245"/>
                        <a:pt x="217" y="242"/>
                        <a:pt x="199" y="238"/>
                      </a:cubicBezTo>
                      <a:lnTo>
                        <a:pt x="199" y="340"/>
                      </a:lnTo>
                      <a:close/>
                    </a:path>
                  </a:pathLst>
                </a:custGeom>
                <a:solidFill>
                  <a:srgbClr val="1C3C43"/>
                </a:solidFill>
                <a:ln w="9525">
                  <a:noFill/>
                  <a:round/>
                  <a:headEnd/>
                  <a:tailEnd/>
                </a:ln>
                <a:scene3d>
                  <a:camera prst="isometricOffAxis1Left"/>
                  <a:lightRig rig="threePt" dir="t"/>
                </a:scene3d>
              </p:spPr>
              <p:txBody>
                <a:bodyPr vert="horz" wrap="square" lIns="91440" tIns="45720" rIns="91440" bIns="45720" numCol="1" anchor="t" anchorCtr="0" compatLnSpc="1">
                  <a:prstTxWarp prst="textNoShape">
                    <a:avLst/>
                  </a:prstTxWarp>
                  <a:scene3d>
                    <a:camera prst="isometricOffAxis2Top"/>
                    <a:lightRig rig="threePt" dir="t"/>
                  </a:scene3d>
                </a:bodyPr>
                <a:lst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1B3B41"/>
                    </a:solidFill>
                    <a:effectLst/>
                    <a:uLnTx/>
                    <a:uFillTx/>
                    <a:latin typeface="+mn-lt"/>
                    <a:ea typeface="+mn-ea"/>
                    <a:cs typeface="+mn-cs"/>
                  </a:endParaRPr>
                </a:p>
              </p:txBody>
            </p:sp>
            <p:sp>
              <p:nvSpPr>
                <p:cNvPr id="1194" name="Freeform 1193"/>
                <p:cNvSpPr>
                  <a:spLocks noChangeAspect="1" noEditPoints="1"/>
                </p:cNvSpPr>
                <p:nvPr/>
              </p:nvSpPr>
              <p:spPr bwMode="auto">
                <a:xfrm>
                  <a:off x="11705489" y="5055931"/>
                  <a:ext cx="96416" cy="130414"/>
                </a:xfrm>
                <a:custGeom>
                  <a:avLst/>
                  <a:gdLst/>
                  <a:ahLst/>
                  <a:cxnLst>
                    <a:cxn ang="0">
                      <a:pos x="116" y="0"/>
                    </a:cxn>
                    <a:cxn ang="0">
                      <a:pos x="144" y="0"/>
                    </a:cxn>
                    <a:cxn ang="0">
                      <a:pos x="144" y="32"/>
                    </a:cxn>
                    <a:cxn ang="0">
                      <a:pos x="170" y="32"/>
                    </a:cxn>
                    <a:cxn ang="0">
                      <a:pos x="170" y="0"/>
                    </a:cxn>
                    <a:cxn ang="0">
                      <a:pos x="199" y="0"/>
                    </a:cxn>
                    <a:cxn ang="0">
                      <a:pos x="199" y="38"/>
                    </a:cxn>
                    <a:cxn ang="0">
                      <a:pos x="271" y="68"/>
                    </a:cxn>
                    <a:cxn ang="0">
                      <a:pos x="303" y="140"/>
                    </a:cxn>
                    <a:cxn ang="0">
                      <a:pos x="249" y="140"/>
                    </a:cxn>
                    <a:cxn ang="0">
                      <a:pos x="231" y="100"/>
                    </a:cxn>
                    <a:cxn ang="0">
                      <a:pos x="199" y="84"/>
                    </a:cxn>
                    <a:cxn ang="0">
                      <a:pos x="199" y="188"/>
                    </a:cxn>
                    <a:cxn ang="0">
                      <a:pos x="223" y="194"/>
                    </a:cxn>
                    <a:cxn ang="0">
                      <a:pos x="271" y="212"/>
                    </a:cxn>
                    <a:cxn ang="0">
                      <a:pos x="309" y="286"/>
                    </a:cxn>
                    <a:cxn ang="0">
                      <a:pos x="285" y="350"/>
                    </a:cxn>
                    <a:cxn ang="0">
                      <a:pos x="199" y="382"/>
                    </a:cxn>
                    <a:cxn ang="0">
                      <a:pos x="199" y="418"/>
                    </a:cxn>
                    <a:cxn ang="0">
                      <a:pos x="170" y="418"/>
                    </a:cxn>
                    <a:cxn ang="0">
                      <a:pos x="170" y="386"/>
                    </a:cxn>
                    <a:cxn ang="0">
                      <a:pos x="144" y="386"/>
                    </a:cxn>
                    <a:cxn ang="0">
                      <a:pos x="144" y="418"/>
                    </a:cxn>
                    <a:cxn ang="0">
                      <a:pos x="116" y="418"/>
                    </a:cxn>
                    <a:cxn ang="0">
                      <a:pos x="116" y="384"/>
                    </a:cxn>
                    <a:cxn ang="0">
                      <a:pos x="36" y="346"/>
                    </a:cxn>
                    <a:cxn ang="0">
                      <a:pos x="0" y="266"/>
                    </a:cxn>
                    <a:cxn ang="0">
                      <a:pos x="54" y="266"/>
                    </a:cxn>
                    <a:cxn ang="0">
                      <a:pos x="76" y="316"/>
                    </a:cxn>
                    <a:cxn ang="0">
                      <a:pos x="116" y="340"/>
                    </a:cxn>
                    <a:cxn ang="0">
                      <a:pos x="116" y="226"/>
                    </a:cxn>
                    <a:cxn ang="0">
                      <a:pos x="40" y="188"/>
                    </a:cxn>
                    <a:cxn ang="0">
                      <a:pos x="14" y="130"/>
                    </a:cxn>
                    <a:cxn ang="0">
                      <a:pos x="42" y="66"/>
                    </a:cxn>
                    <a:cxn ang="0">
                      <a:pos x="116" y="34"/>
                    </a:cxn>
                    <a:cxn ang="0">
                      <a:pos x="116" y="0"/>
                    </a:cxn>
                    <a:cxn ang="0">
                      <a:pos x="116" y="78"/>
                    </a:cxn>
                    <a:cxn ang="0">
                      <a:pos x="82" y="94"/>
                    </a:cxn>
                    <a:cxn ang="0">
                      <a:pos x="68" y="128"/>
                    </a:cxn>
                    <a:cxn ang="0">
                      <a:pos x="82" y="158"/>
                    </a:cxn>
                    <a:cxn ang="0">
                      <a:pos x="116" y="176"/>
                    </a:cxn>
                    <a:cxn ang="0">
                      <a:pos x="116" y="78"/>
                    </a:cxn>
                    <a:cxn ang="0">
                      <a:pos x="144" y="180"/>
                    </a:cxn>
                    <a:cxn ang="0">
                      <a:pos x="170" y="186"/>
                    </a:cxn>
                    <a:cxn ang="0">
                      <a:pos x="170" y="80"/>
                    </a:cxn>
                    <a:cxn ang="0">
                      <a:pos x="144" y="78"/>
                    </a:cxn>
                    <a:cxn ang="0">
                      <a:pos x="144" y="180"/>
                    </a:cxn>
                    <a:cxn ang="0">
                      <a:pos x="144" y="344"/>
                    </a:cxn>
                    <a:cxn ang="0">
                      <a:pos x="170" y="344"/>
                    </a:cxn>
                    <a:cxn ang="0">
                      <a:pos x="170" y="234"/>
                    </a:cxn>
                    <a:cxn ang="0">
                      <a:pos x="144" y="230"/>
                    </a:cxn>
                    <a:cxn ang="0">
                      <a:pos x="144" y="344"/>
                    </a:cxn>
                    <a:cxn ang="0">
                      <a:pos x="199" y="340"/>
                    </a:cxn>
                    <a:cxn ang="0">
                      <a:pos x="247" y="320"/>
                    </a:cxn>
                    <a:cxn ang="0">
                      <a:pos x="261" y="288"/>
                    </a:cxn>
                    <a:cxn ang="0">
                      <a:pos x="235" y="248"/>
                    </a:cxn>
                    <a:cxn ang="0">
                      <a:pos x="199" y="238"/>
                    </a:cxn>
                    <a:cxn ang="0">
                      <a:pos x="199" y="340"/>
                    </a:cxn>
                  </a:cxnLst>
                  <a:rect l="0" t="0" r="r" b="b"/>
                  <a:pathLst>
                    <a:path w="309" h="418">
                      <a:moveTo>
                        <a:pt x="116" y="0"/>
                      </a:moveTo>
                      <a:cubicBezTo>
                        <a:pt x="144" y="0"/>
                        <a:pt x="144" y="0"/>
                        <a:pt x="144" y="0"/>
                      </a:cubicBezTo>
                      <a:cubicBezTo>
                        <a:pt x="144" y="32"/>
                        <a:pt x="144" y="32"/>
                        <a:pt x="144" y="32"/>
                      </a:cubicBezTo>
                      <a:cubicBezTo>
                        <a:pt x="154" y="30"/>
                        <a:pt x="162" y="30"/>
                        <a:pt x="170" y="32"/>
                      </a:cubicBezTo>
                      <a:cubicBezTo>
                        <a:pt x="170" y="0"/>
                        <a:pt x="170" y="0"/>
                        <a:pt x="170" y="0"/>
                      </a:cubicBezTo>
                      <a:cubicBezTo>
                        <a:pt x="199" y="0"/>
                        <a:pt x="199" y="0"/>
                        <a:pt x="199" y="0"/>
                      </a:cubicBezTo>
                      <a:cubicBezTo>
                        <a:pt x="199" y="38"/>
                        <a:pt x="199" y="38"/>
                        <a:pt x="199" y="38"/>
                      </a:cubicBezTo>
                      <a:cubicBezTo>
                        <a:pt x="233" y="44"/>
                        <a:pt x="257" y="54"/>
                        <a:pt x="271" y="68"/>
                      </a:cubicBezTo>
                      <a:cubicBezTo>
                        <a:pt x="288" y="85"/>
                        <a:pt x="299" y="109"/>
                        <a:pt x="303" y="140"/>
                      </a:cubicBezTo>
                      <a:cubicBezTo>
                        <a:pt x="249" y="140"/>
                        <a:pt x="249" y="140"/>
                        <a:pt x="249" y="140"/>
                      </a:cubicBezTo>
                      <a:cubicBezTo>
                        <a:pt x="247" y="124"/>
                        <a:pt x="241" y="110"/>
                        <a:pt x="231" y="100"/>
                      </a:cubicBezTo>
                      <a:cubicBezTo>
                        <a:pt x="224" y="93"/>
                        <a:pt x="213" y="88"/>
                        <a:pt x="199" y="84"/>
                      </a:cubicBezTo>
                      <a:cubicBezTo>
                        <a:pt x="199" y="188"/>
                        <a:pt x="199" y="188"/>
                        <a:pt x="199" y="188"/>
                      </a:cubicBezTo>
                      <a:cubicBezTo>
                        <a:pt x="223" y="194"/>
                        <a:pt x="223" y="194"/>
                        <a:pt x="223" y="194"/>
                      </a:cubicBezTo>
                      <a:cubicBezTo>
                        <a:pt x="244" y="199"/>
                        <a:pt x="260" y="205"/>
                        <a:pt x="271" y="212"/>
                      </a:cubicBezTo>
                      <a:cubicBezTo>
                        <a:pt x="296" y="228"/>
                        <a:pt x="309" y="252"/>
                        <a:pt x="309" y="286"/>
                      </a:cubicBezTo>
                      <a:cubicBezTo>
                        <a:pt x="309" y="312"/>
                        <a:pt x="301" y="334"/>
                        <a:pt x="285" y="350"/>
                      </a:cubicBezTo>
                      <a:cubicBezTo>
                        <a:pt x="266" y="369"/>
                        <a:pt x="237" y="379"/>
                        <a:pt x="199" y="382"/>
                      </a:cubicBezTo>
                      <a:cubicBezTo>
                        <a:pt x="199" y="418"/>
                        <a:pt x="199" y="418"/>
                        <a:pt x="199" y="418"/>
                      </a:cubicBezTo>
                      <a:cubicBezTo>
                        <a:pt x="170" y="418"/>
                        <a:pt x="170" y="418"/>
                        <a:pt x="170" y="418"/>
                      </a:cubicBezTo>
                      <a:cubicBezTo>
                        <a:pt x="170" y="386"/>
                        <a:pt x="170" y="386"/>
                        <a:pt x="170" y="386"/>
                      </a:cubicBezTo>
                      <a:cubicBezTo>
                        <a:pt x="162" y="387"/>
                        <a:pt x="154" y="387"/>
                        <a:pt x="144" y="386"/>
                      </a:cubicBezTo>
                      <a:cubicBezTo>
                        <a:pt x="144" y="418"/>
                        <a:pt x="144" y="418"/>
                        <a:pt x="144" y="418"/>
                      </a:cubicBezTo>
                      <a:cubicBezTo>
                        <a:pt x="116" y="418"/>
                        <a:pt x="116" y="418"/>
                        <a:pt x="116" y="418"/>
                      </a:cubicBezTo>
                      <a:cubicBezTo>
                        <a:pt x="116" y="384"/>
                        <a:pt x="116" y="384"/>
                        <a:pt x="116" y="384"/>
                      </a:cubicBezTo>
                      <a:cubicBezTo>
                        <a:pt x="86" y="381"/>
                        <a:pt x="59" y="369"/>
                        <a:pt x="36" y="346"/>
                      </a:cubicBezTo>
                      <a:cubicBezTo>
                        <a:pt x="18" y="327"/>
                        <a:pt x="6" y="300"/>
                        <a:pt x="0" y="266"/>
                      </a:cubicBezTo>
                      <a:cubicBezTo>
                        <a:pt x="54" y="266"/>
                        <a:pt x="54" y="266"/>
                        <a:pt x="54" y="266"/>
                      </a:cubicBezTo>
                      <a:cubicBezTo>
                        <a:pt x="58" y="288"/>
                        <a:pt x="66" y="305"/>
                        <a:pt x="76" y="316"/>
                      </a:cubicBezTo>
                      <a:cubicBezTo>
                        <a:pt x="91" y="330"/>
                        <a:pt x="104" y="339"/>
                        <a:pt x="116" y="340"/>
                      </a:cubicBezTo>
                      <a:cubicBezTo>
                        <a:pt x="116" y="226"/>
                        <a:pt x="116" y="226"/>
                        <a:pt x="116" y="226"/>
                      </a:cubicBezTo>
                      <a:cubicBezTo>
                        <a:pt x="83" y="218"/>
                        <a:pt x="58" y="205"/>
                        <a:pt x="40" y="188"/>
                      </a:cubicBezTo>
                      <a:cubicBezTo>
                        <a:pt x="23" y="170"/>
                        <a:pt x="14" y="151"/>
                        <a:pt x="14" y="130"/>
                      </a:cubicBezTo>
                      <a:cubicBezTo>
                        <a:pt x="14" y="106"/>
                        <a:pt x="24" y="84"/>
                        <a:pt x="42" y="66"/>
                      </a:cubicBezTo>
                      <a:cubicBezTo>
                        <a:pt x="62" y="46"/>
                        <a:pt x="87" y="35"/>
                        <a:pt x="116" y="34"/>
                      </a:cubicBezTo>
                      <a:lnTo>
                        <a:pt x="116" y="0"/>
                      </a:lnTo>
                      <a:close/>
                      <a:moveTo>
                        <a:pt x="116" y="78"/>
                      </a:moveTo>
                      <a:cubicBezTo>
                        <a:pt x="103" y="79"/>
                        <a:pt x="92" y="84"/>
                        <a:pt x="82" y="94"/>
                      </a:cubicBezTo>
                      <a:cubicBezTo>
                        <a:pt x="73" y="103"/>
                        <a:pt x="68" y="114"/>
                        <a:pt x="68" y="128"/>
                      </a:cubicBezTo>
                      <a:cubicBezTo>
                        <a:pt x="68" y="138"/>
                        <a:pt x="73" y="148"/>
                        <a:pt x="82" y="158"/>
                      </a:cubicBezTo>
                      <a:cubicBezTo>
                        <a:pt x="90" y="166"/>
                        <a:pt x="102" y="172"/>
                        <a:pt x="116" y="176"/>
                      </a:cubicBezTo>
                      <a:lnTo>
                        <a:pt x="116" y="78"/>
                      </a:lnTo>
                      <a:close/>
                      <a:moveTo>
                        <a:pt x="144" y="180"/>
                      </a:moveTo>
                      <a:cubicBezTo>
                        <a:pt x="159" y="182"/>
                        <a:pt x="168" y="184"/>
                        <a:pt x="170" y="186"/>
                      </a:cubicBezTo>
                      <a:cubicBezTo>
                        <a:pt x="170" y="80"/>
                        <a:pt x="170" y="80"/>
                        <a:pt x="170" y="80"/>
                      </a:cubicBezTo>
                      <a:cubicBezTo>
                        <a:pt x="162" y="78"/>
                        <a:pt x="154" y="78"/>
                        <a:pt x="144" y="78"/>
                      </a:cubicBezTo>
                      <a:lnTo>
                        <a:pt x="144" y="180"/>
                      </a:lnTo>
                      <a:close/>
                      <a:moveTo>
                        <a:pt x="144" y="344"/>
                      </a:moveTo>
                      <a:cubicBezTo>
                        <a:pt x="156" y="345"/>
                        <a:pt x="165" y="345"/>
                        <a:pt x="170" y="344"/>
                      </a:cubicBezTo>
                      <a:cubicBezTo>
                        <a:pt x="170" y="234"/>
                        <a:pt x="170" y="234"/>
                        <a:pt x="170" y="234"/>
                      </a:cubicBezTo>
                      <a:cubicBezTo>
                        <a:pt x="164" y="232"/>
                        <a:pt x="155" y="231"/>
                        <a:pt x="144" y="230"/>
                      </a:cubicBezTo>
                      <a:lnTo>
                        <a:pt x="144" y="344"/>
                      </a:lnTo>
                      <a:close/>
                      <a:moveTo>
                        <a:pt x="199" y="340"/>
                      </a:moveTo>
                      <a:cubicBezTo>
                        <a:pt x="221" y="336"/>
                        <a:pt x="237" y="329"/>
                        <a:pt x="247" y="320"/>
                      </a:cubicBezTo>
                      <a:cubicBezTo>
                        <a:pt x="256" y="310"/>
                        <a:pt x="261" y="300"/>
                        <a:pt x="261" y="288"/>
                      </a:cubicBezTo>
                      <a:cubicBezTo>
                        <a:pt x="261" y="270"/>
                        <a:pt x="252" y="257"/>
                        <a:pt x="235" y="248"/>
                      </a:cubicBezTo>
                      <a:cubicBezTo>
                        <a:pt x="229" y="245"/>
                        <a:pt x="217" y="242"/>
                        <a:pt x="199" y="238"/>
                      </a:cubicBezTo>
                      <a:lnTo>
                        <a:pt x="199" y="340"/>
                      </a:lnTo>
                      <a:close/>
                    </a:path>
                  </a:pathLst>
                </a:custGeom>
                <a:solidFill>
                  <a:srgbClr val="1C3C43"/>
                </a:solidFill>
                <a:ln w="9525">
                  <a:noFill/>
                  <a:round/>
                  <a:headEnd/>
                  <a:tailEnd/>
                </a:ln>
                <a:scene3d>
                  <a:camera prst="isometricOffAxis1Left"/>
                  <a:lightRig rig="threePt" dir="t"/>
                </a:scene3d>
              </p:spPr>
              <p:txBody>
                <a:bodyPr vert="horz" wrap="square" lIns="91440" tIns="45720" rIns="91440" bIns="45720" numCol="1" anchor="t" anchorCtr="0" compatLnSpc="1">
                  <a:prstTxWarp prst="textNoShape">
                    <a:avLst/>
                  </a:prstTxWarp>
                  <a:scene3d>
                    <a:camera prst="isometricOffAxis2Top"/>
                    <a:lightRig rig="threePt" dir="t"/>
                  </a:scene3d>
                </a:bodyPr>
                <a:lst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1B3B41"/>
                    </a:solidFill>
                    <a:effectLst/>
                    <a:uLnTx/>
                    <a:uFillTx/>
                    <a:latin typeface="+mn-lt"/>
                    <a:ea typeface="+mn-ea"/>
                    <a:cs typeface="+mn-cs"/>
                  </a:endParaRPr>
                </a:p>
              </p:txBody>
            </p:sp>
            <p:sp>
              <p:nvSpPr>
                <p:cNvPr id="1195" name="Freeform 1194"/>
                <p:cNvSpPr>
                  <a:spLocks noChangeAspect="1" noEditPoints="1"/>
                </p:cNvSpPr>
                <p:nvPr/>
              </p:nvSpPr>
              <p:spPr bwMode="auto">
                <a:xfrm>
                  <a:off x="11705489" y="5214967"/>
                  <a:ext cx="96416" cy="130414"/>
                </a:xfrm>
                <a:custGeom>
                  <a:avLst/>
                  <a:gdLst/>
                  <a:ahLst/>
                  <a:cxnLst>
                    <a:cxn ang="0">
                      <a:pos x="116" y="0"/>
                    </a:cxn>
                    <a:cxn ang="0">
                      <a:pos x="144" y="0"/>
                    </a:cxn>
                    <a:cxn ang="0">
                      <a:pos x="144" y="32"/>
                    </a:cxn>
                    <a:cxn ang="0">
                      <a:pos x="170" y="32"/>
                    </a:cxn>
                    <a:cxn ang="0">
                      <a:pos x="170" y="0"/>
                    </a:cxn>
                    <a:cxn ang="0">
                      <a:pos x="199" y="0"/>
                    </a:cxn>
                    <a:cxn ang="0">
                      <a:pos x="199" y="38"/>
                    </a:cxn>
                    <a:cxn ang="0">
                      <a:pos x="271" y="68"/>
                    </a:cxn>
                    <a:cxn ang="0">
                      <a:pos x="303" y="140"/>
                    </a:cxn>
                    <a:cxn ang="0">
                      <a:pos x="249" y="140"/>
                    </a:cxn>
                    <a:cxn ang="0">
                      <a:pos x="231" y="100"/>
                    </a:cxn>
                    <a:cxn ang="0">
                      <a:pos x="199" y="84"/>
                    </a:cxn>
                    <a:cxn ang="0">
                      <a:pos x="199" y="188"/>
                    </a:cxn>
                    <a:cxn ang="0">
                      <a:pos x="223" y="194"/>
                    </a:cxn>
                    <a:cxn ang="0">
                      <a:pos x="271" y="212"/>
                    </a:cxn>
                    <a:cxn ang="0">
                      <a:pos x="309" y="286"/>
                    </a:cxn>
                    <a:cxn ang="0">
                      <a:pos x="285" y="350"/>
                    </a:cxn>
                    <a:cxn ang="0">
                      <a:pos x="199" y="382"/>
                    </a:cxn>
                    <a:cxn ang="0">
                      <a:pos x="199" y="418"/>
                    </a:cxn>
                    <a:cxn ang="0">
                      <a:pos x="170" y="418"/>
                    </a:cxn>
                    <a:cxn ang="0">
                      <a:pos x="170" y="386"/>
                    </a:cxn>
                    <a:cxn ang="0">
                      <a:pos x="144" y="386"/>
                    </a:cxn>
                    <a:cxn ang="0">
                      <a:pos x="144" y="418"/>
                    </a:cxn>
                    <a:cxn ang="0">
                      <a:pos x="116" y="418"/>
                    </a:cxn>
                    <a:cxn ang="0">
                      <a:pos x="116" y="384"/>
                    </a:cxn>
                    <a:cxn ang="0">
                      <a:pos x="36" y="346"/>
                    </a:cxn>
                    <a:cxn ang="0">
                      <a:pos x="0" y="266"/>
                    </a:cxn>
                    <a:cxn ang="0">
                      <a:pos x="54" y="266"/>
                    </a:cxn>
                    <a:cxn ang="0">
                      <a:pos x="76" y="316"/>
                    </a:cxn>
                    <a:cxn ang="0">
                      <a:pos x="116" y="340"/>
                    </a:cxn>
                    <a:cxn ang="0">
                      <a:pos x="116" y="226"/>
                    </a:cxn>
                    <a:cxn ang="0">
                      <a:pos x="40" y="188"/>
                    </a:cxn>
                    <a:cxn ang="0">
                      <a:pos x="14" y="130"/>
                    </a:cxn>
                    <a:cxn ang="0">
                      <a:pos x="42" y="66"/>
                    </a:cxn>
                    <a:cxn ang="0">
                      <a:pos x="116" y="34"/>
                    </a:cxn>
                    <a:cxn ang="0">
                      <a:pos x="116" y="0"/>
                    </a:cxn>
                    <a:cxn ang="0">
                      <a:pos x="116" y="78"/>
                    </a:cxn>
                    <a:cxn ang="0">
                      <a:pos x="82" y="94"/>
                    </a:cxn>
                    <a:cxn ang="0">
                      <a:pos x="68" y="128"/>
                    </a:cxn>
                    <a:cxn ang="0">
                      <a:pos x="82" y="158"/>
                    </a:cxn>
                    <a:cxn ang="0">
                      <a:pos x="116" y="176"/>
                    </a:cxn>
                    <a:cxn ang="0">
                      <a:pos x="116" y="78"/>
                    </a:cxn>
                    <a:cxn ang="0">
                      <a:pos x="144" y="180"/>
                    </a:cxn>
                    <a:cxn ang="0">
                      <a:pos x="170" y="186"/>
                    </a:cxn>
                    <a:cxn ang="0">
                      <a:pos x="170" y="80"/>
                    </a:cxn>
                    <a:cxn ang="0">
                      <a:pos x="144" y="78"/>
                    </a:cxn>
                    <a:cxn ang="0">
                      <a:pos x="144" y="180"/>
                    </a:cxn>
                    <a:cxn ang="0">
                      <a:pos x="144" y="344"/>
                    </a:cxn>
                    <a:cxn ang="0">
                      <a:pos x="170" y="344"/>
                    </a:cxn>
                    <a:cxn ang="0">
                      <a:pos x="170" y="234"/>
                    </a:cxn>
                    <a:cxn ang="0">
                      <a:pos x="144" y="230"/>
                    </a:cxn>
                    <a:cxn ang="0">
                      <a:pos x="144" y="344"/>
                    </a:cxn>
                    <a:cxn ang="0">
                      <a:pos x="199" y="340"/>
                    </a:cxn>
                    <a:cxn ang="0">
                      <a:pos x="247" y="320"/>
                    </a:cxn>
                    <a:cxn ang="0">
                      <a:pos x="261" y="288"/>
                    </a:cxn>
                    <a:cxn ang="0">
                      <a:pos x="235" y="248"/>
                    </a:cxn>
                    <a:cxn ang="0">
                      <a:pos x="199" y="238"/>
                    </a:cxn>
                    <a:cxn ang="0">
                      <a:pos x="199" y="340"/>
                    </a:cxn>
                  </a:cxnLst>
                  <a:rect l="0" t="0" r="r" b="b"/>
                  <a:pathLst>
                    <a:path w="309" h="418">
                      <a:moveTo>
                        <a:pt x="116" y="0"/>
                      </a:moveTo>
                      <a:cubicBezTo>
                        <a:pt x="144" y="0"/>
                        <a:pt x="144" y="0"/>
                        <a:pt x="144" y="0"/>
                      </a:cubicBezTo>
                      <a:cubicBezTo>
                        <a:pt x="144" y="32"/>
                        <a:pt x="144" y="32"/>
                        <a:pt x="144" y="32"/>
                      </a:cubicBezTo>
                      <a:cubicBezTo>
                        <a:pt x="154" y="30"/>
                        <a:pt x="162" y="30"/>
                        <a:pt x="170" y="32"/>
                      </a:cubicBezTo>
                      <a:cubicBezTo>
                        <a:pt x="170" y="0"/>
                        <a:pt x="170" y="0"/>
                        <a:pt x="170" y="0"/>
                      </a:cubicBezTo>
                      <a:cubicBezTo>
                        <a:pt x="199" y="0"/>
                        <a:pt x="199" y="0"/>
                        <a:pt x="199" y="0"/>
                      </a:cubicBezTo>
                      <a:cubicBezTo>
                        <a:pt x="199" y="38"/>
                        <a:pt x="199" y="38"/>
                        <a:pt x="199" y="38"/>
                      </a:cubicBezTo>
                      <a:cubicBezTo>
                        <a:pt x="233" y="44"/>
                        <a:pt x="257" y="54"/>
                        <a:pt x="271" y="68"/>
                      </a:cubicBezTo>
                      <a:cubicBezTo>
                        <a:pt x="288" y="85"/>
                        <a:pt x="299" y="109"/>
                        <a:pt x="303" y="140"/>
                      </a:cubicBezTo>
                      <a:cubicBezTo>
                        <a:pt x="249" y="140"/>
                        <a:pt x="249" y="140"/>
                        <a:pt x="249" y="140"/>
                      </a:cubicBezTo>
                      <a:cubicBezTo>
                        <a:pt x="247" y="124"/>
                        <a:pt x="241" y="110"/>
                        <a:pt x="231" y="100"/>
                      </a:cubicBezTo>
                      <a:cubicBezTo>
                        <a:pt x="224" y="93"/>
                        <a:pt x="213" y="88"/>
                        <a:pt x="199" y="84"/>
                      </a:cubicBezTo>
                      <a:cubicBezTo>
                        <a:pt x="199" y="188"/>
                        <a:pt x="199" y="188"/>
                        <a:pt x="199" y="188"/>
                      </a:cubicBezTo>
                      <a:cubicBezTo>
                        <a:pt x="223" y="194"/>
                        <a:pt x="223" y="194"/>
                        <a:pt x="223" y="194"/>
                      </a:cubicBezTo>
                      <a:cubicBezTo>
                        <a:pt x="244" y="199"/>
                        <a:pt x="260" y="205"/>
                        <a:pt x="271" y="212"/>
                      </a:cubicBezTo>
                      <a:cubicBezTo>
                        <a:pt x="296" y="228"/>
                        <a:pt x="309" y="252"/>
                        <a:pt x="309" y="286"/>
                      </a:cubicBezTo>
                      <a:cubicBezTo>
                        <a:pt x="309" y="312"/>
                        <a:pt x="301" y="334"/>
                        <a:pt x="285" y="350"/>
                      </a:cubicBezTo>
                      <a:cubicBezTo>
                        <a:pt x="266" y="369"/>
                        <a:pt x="237" y="379"/>
                        <a:pt x="199" y="382"/>
                      </a:cubicBezTo>
                      <a:cubicBezTo>
                        <a:pt x="199" y="418"/>
                        <a:pt x="199" y="418"/>
                        <a:pt x="199" y="418"/>
                      </a:cubicBezTo>
                      <a:cubicBezTo>
                        <a:pt x="170" y="418"/>
                        <a:pt x="170" y="418"/>
                        <a:pt x="170" y="418"/>
                      </a:cubicBezTo>
                      <a:cubicBezTo>
                        <a:pt x="170" y="386"/>
                        <a:pt x="170" y="386"/>
                        <a:pt x="170" y="386"/>
                      </a:cubicBezTo>
                      <a:cubicBezTo>
                        <a:pt x="162" y="387"/>
                        <a:pt x="154" y="387"/>
                        <a:pt x="144" y="386"/>
                      </a:cubicBezTo>
                      <a:cubicBezTo>
                        <a:pt x="144" y="418"/>
                        <a:pt x="144" y="418"/>
                        <a:pt x="144" y="418"/>
                      </a:cubicBezTo>
                      <a:cubicBezTo>
                        <a:pt x="116" y="418"/>
                        <a:pt x="116" y="418"/>
                        <a:pt x="116" y="418"/>
                      </a:cubicBezTo>
                      <a:cubicBezTo>
                        <a:pt x="116" y="384"/>
                        <a:pt x="116" y="384"/>
                        <a:pt x="116" y="384"/>
                      </a:cubicBezTo>
                      <a:cubicBezTo>
                        <a:pt x="86" y="381"/>
                        <a:pt x="59" y="369"/>
                        <a:pt x="36" y="346"/>
                      </a:cubicBezTo>
                      <a:cubicBezTo>
                        <a:pt x="18" y="327"/>
                        <a:pt x="6" y="300"/>
                        <a:pt x="0" y="266"/>
                      </a:cubicBezTo>
                      <a:cubicBezTo>
                        <a:pt x="54" y="266"/>
                        <a:pt x="54" y="266"/>
                        <a:pt x="54" y="266"/>
                      </a:cubicBezTo>
                      <a:cubicBezTo>
                        <a:pt x="58" y="288"/>
                        <a:pt x="66" y="305"/>
                        <a:pt x="76" y="316"/>
                      </a:cubicBezTo>
                      <a:cubicBezTo>
                        <a:pt x="91" y="330"/>
                        <a:pt x="104" y="339"/>
                        <a:pt x="116" y="340"/>
                      </a:cubicBezTo>
                      <a:cubicBezTo>
                        <a:pt x="116" y="226"/>
                        <a:pt x="116" y="226"/>
                        <a:pt x="116" y="226"/>
                      </a:cubicBezTo>
                      <a:cubicBezTo>
                        <a:pt x="83" y="218"/>
                        <a:pt x="58" y="205"/>
                        <a:pt x="40" y="188"/>
                      </a:cubicBezTo>
                      <a:cubicBezTo>
                        <a:pt x="23" y="170"/>
                        <a:pt x="14" y="151"/>
                        <a:pt x="14" y="130"/>
                      </a:cubicBezTo>
                      <a:cubicBezTo>
                        <a:pt x="14" y="106"/>
                        <a:pt x="24" y="84"/>
                        <a:pt x="42" y="66"/>
                      </a:cubicBezTo>
                      <a:cubicBezTo>
                        <a:pt x="62" y="46"/>
                        <a:pt x="87" y="35"/>
                        <a:pt x="116" y="34"/>
                      </a:cubicBezTo>
                      <a:lnTo>
                        <a:pt x="116" y="0"/>
                      </a:lnTo>
                      <a:close/>
                      <a:moveTo>
                        <a:pt x="116" y="78"/>
                      </a:moveTo>
                      <a:cubicBezTo>
                        <a:pt x="103" y="79"/>
                        <a:pt x="92" y="84"/>
                        <a:pt x="82" y="94"/>
                      </a:cubicBezTo>
                      <a:cubicBezTo>
                        <a:pt x="73" y="103"/>
                        <a:pt x="68" y="114"/>
                        <a:pt x="68" y="128"/>
                      </a:cubicBezTo>
                      <a:cubicBezTo>
                        <a:pt x="68" y="138"/>
                        <a:pt x="73" y="148"/>
                        <a:pt x="82" y="158"/>
                      </a:cubicBezTo>
                      <a:cubicBezTo>
                        <a:pt x="90" y="166"/>
                        <a:pt x="102" y="172"/>
                        <a:pt x="116" y="176"/>
                      </a:cubicBezTo>
                      <a:lnTo>
                        <a:pt x="116" y="78"/>
                      </a:lnTo>
                      <a:close/>
                      <a:moveTo>
                        <a:pt x="144" y="180"/>
                      </a:moveTo>
                      <a:cubicBezTo>
                        <a:pt x="159" y="182"/>
                        <a:pt x="168" y="184"/>
                        <a:pt x="170" y="186"/>
                      </a:cubicBezTo>
                      <a:cubicBezTo>
                        <a:pt x="170" y="80"/>
                        <a:pt x="170" y="80"/>
                        <a:pt x="170" y="80"/>
                      </a:cubicBezTo>
                      <a:cubicBezTo>
                        <a:pt x="162" y="78"/>
                        <a:pt x="154" y="78"/>
                        <a:pt x="144" y="78"/>
                      </a:cubicBezTo>
                      <a:lnTo>
                        <a:pt x="144" y="180"/>
                      </a:lnTo>
                      <a:close/>
                      <a:moveTo>
                        <a:pt x="144" y="344"/>
                      </a:moveTo>
                      <a:cubicBezTo>
                        <a:pt x="156" y="345"/>
                        <a:pt x="165" y="345"/>
                        <a:pt x="170" y="344"/>
                      </a:cubicBezTo>
                      <a:cubicBezTo>
                        <a:pt x="170" y="234"/>
                        <a:pt x="170" y="234"/>
                        <a:pt x="170" y="234"/>
                      </a:cubicBezTo>
                      <a:cubicBezTo>
                        <a:pt x="164" y="232"/>
                        <a:pt x="155" y="231"/>
                        <a:pt x="144" y="230"/>
                      </a:cubicBezTo>
                      <a:lnTo>
                        <a:pt x="144" y="344"/>
                      </a:lnTo>
                      <a:close/>
                      <a:moveTo>
                        <a:pt x="199" y="340"/>
                      </a:moveTo>
                      <a:cubicBezTo>
                        <a:pt x="221" y="336"/>
                        <a:pt x="237" y="329"/>
                        <a:pt x="247" y="320"/>
                      </a:cubicBezTo>
                      <a:cubicBezTo>
                        <a:pt x="256" y="310"/>
                        <a:pt x="261" y="300"/>
                        <a:pt x="261" y="288"/>
                      </a:cubicBezTo>
                      <a:cubicBezTo>
                        <a:pt x="261" y="270"/>
                        <a:pt x="252" y="257"/>
                        <a:pt x="235" y="248"/>
                      </a:cubicBezTo>
                      <a:cubicBezTo>
                        <a:pt x="229" y="245"/>
                        <a:pt x="217" y="242"/>
                        <a:pt x="199" y="238"/>
                      </a:cubicBezTo>
                      <a:lnTo>
                        <a:pt x="199" y="340"/>
                      </a:lnTo>
                      <a:close/>
                    </a:path>
                  </a:pathLst>
                </a:custGeom>
                <a:solidFill>
                  <a:srgbClr val="1C3C43"/>
                </a:solidFill>
                <a:ln w="9525">
                  <a:noFill/>
                  <a:round/>
                  <a:headEnd/>
                  <a:tailEnd/>
                </a:ln>
                <a:scene3d>
                  <a:camera prst="isometricOffAxis1Left"/>
                  <a:lightRig rig="threePt" dir="t"/>
                </a:scene3d>
              </p:spPr>
              <p:txBody>
                <a:bodyPr vert="horz" wrap="square" lIns="91440" tIns="45720" rIns="91440" bIns="45720" numCol="1" anchor="t" anchorCtr="0" compatLnSpc="1">
                  <a:prstTxWarp prst="textNoShape">
                    <a:avLst/>
                  </a:prstTxWarp>
                  <a:scene3d>
                    <a:camera prst="isometricOffAxis2Top"/>
                    <a:lightRig rig="threePt" dir="t"/>
                  </a:scene3d>
                </a:bodyPr>
                <a:lst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1B3B41"/>
                    </a:solidFill>
                    <a:effectLst/>
                    <a:uLnTx/>
                    <a:uFillTx/>
                    <a:latin typeface="+mn-lt"/>
                    <a:ea typeface="+mn-ea"/>
                    <a:cs typeface="+mn-cs"/>
                  </a:endParaRPr>
                </a:p>
              </p:txBody>
            </p:sp>
            <p:sp>
              <p:nvSpPr>
                <p:cNvPr id="1196" name="Freeform 1195"/>
                <p:cNvSpPr>
                  <a:spLocks noChangeAspect="1" noEditPoints="1"/>
                </p:cNvSpPr>
                <p:nvPr/>
              </p:nvSpPr>
              <p:spPr bwMode="auto">
                <a:xfrm>
                  <a:off x="11633187" y="5165437"/>
                  <a:ext cx="96416" cy="130414"/>
                </a:xfrm>
                <a:custGeom>
                  <a:avLst/>
                  <a:gdLst/>
                  <a:ahLst/>
                  <a:cxnLst>
                    <a:cxn ang="0">
                      <a:pos x="116" y="0"/>
                    </a:cxn>
                    <a:cxn ang="0">
                      <a:pos x="144" y="0"/>
                    </a:cxn>
                    <a:cxn ang="0">
                      <a:pos x="144" y="32"/>
                    </a:cxn>
                    <a:cxn ang="0">
                      <a:pos x="170" y="32"/>
                    </a:cxn>
                    <a:cxn ang="0">
                      <a:pos x="170" y="0"/>
                    </a:cxn>
                    <a:cxn ang="0">
                      <a:pos x="199" y="0"/>
                    </a:cxn>
                    <a:cxn ang="0">
                      <a:pos x="199" y="38"/>
                    </a:cxn>
                    <a:cxn ang="0">
                      <a:pos x="271" y="68"/>
                    </a:cxn>
                    <a:cxn ang="0">
                      <a:pos x="303" y="140"/>
                    </a:cxn>
                    <a:cxn ang="0">
                      <a:pos x="249" y="140"/>
                    </a:cxn>
                    <a:cxn ang="0">
                      <a:pos x="231" y="100"/>
                    </a:cxn>
                    <a:cxn ang="0">
                      <a:pos x="199" y="84"/>
                    </a:cxn>
                    <a:cxn ang="0">
                      <a:pos x="199" y="188"/>
                    </a:cxn>
                    <a:cxn ang="0">
                      <a:pos x="223" y="194"/>
                    </a:cxn>
                    <a:cxn ang="0">
                      <a:pos x="271" y="212"/>
                    </a:cxn>
                    <a:cxn ang="0">
                      <a:pos x="309" y="286"/>
                    </a:cxn>
                    <a:cxn ang="0">
                      <a:pos x="285" y="350"/>
                    </a:cxn>
                    <a:cxn ang="0">
                      <a:pos x="199" y="382"/>
                    </a:cxn>
                    <a:cxn ang="0">
                      <a:pos x="199" y="418"/>
                    </a:cxn>
                    <a:cxn ang="0">
                      <a:pos x="170" y="418"/>
                    </a:cxn>
                    <a:cxn ang="0">
                      <a:pos x="170" y="386"/>
                    </a:cxn>
                    <a:cxn ang="0">
                      <a:pos x="144" y="386"/>
                    </a:cxn>
                    <a:cxn ang="0">
                      <a:pos x="144" y="418"/>
                    </a:cxn>
                    <a:cxn ang="0">
                      <a:pos x="116" y="418"/>
                    </a:cxn>
                    <a:cxn ang="0">
                      <a:pos x="116" y="384"/>
                    </a:cxn>
                    <a:cxn ang="0">
                      <a:pos x="36" y="346"/>
                    </a:cxn>
                    <a:cxn ang="0">
                      <a:pos x="0" y="266"/>
                    </a:cxn>
                    <a:cxn ang="0">
                      <a:pos x="54" y="266"/>
                    </a:cxn>
                    <a:cxn ang="0">
                      <a:pos x="76" y="316"/>
                    </a:cxn>
                    <a:cxn ang="0">
                      <a:pos x="116" y="340"/>
                    </a:cxn>
                    <a:cxn ang="0">
                      <a:pos x="116" y="226"/>
                    </a:cxn>
                    <a:cxn ang="0">
                      <a:pos x="40" y="188"/>
                    </a:cxn>
                    <a:cxn ang="0">
                      <a:pos x="14" y="130"/>
                    </a:cxn>
                    <a:cxn ang="0">
                      <a:pos x="42" y="66"/>
                    </a:cxn>
                    <a:cxn ang="0">
                      <a:pos x="116" y="34"/>
                    </a:cxn>
                    <a:cxn ang="0">
                      <a:pos x="116" y="0"/>
                    </a:cxn>
                    <a:cxn ang="0">
                      <a:pos x="116" y="78"/>
                    </a:cxn>
                    <a:cxn ang="0">
                      <a:pos x="82" y="94"/>
                    </a:cxn>
                    <a:cxn ang="0">
                      <a:pos x="68" y="128"/>
                    </a:cxn>
                    <a:cxn ang="0">
                      <a:pos x="82" y="158"/>
                    </a:cxn>
                    <a:cxn ang="0">
                      <a:pos x="116" y="176"/>
                    </a:cxn>
                    <a:cxn ang="0">
                      <a:pos x="116" y="78"/>
                    </a:cxn>
                    <a:cxn ang="0">
                      <a:pos x="144" y="180"/>
                    </a:cxn>
                    <a:cxn ang="0">
                      <a:pos x="170" y="186"/>
                    </a:cxn>
                    <a:cxn ang="0">
                      <a:pos x="170" y="80"/>
                    </a:cxn>
                    <a:cxn ang="0">
                      <a:pos x="144" y="78"/>
                    </a:cxn>
                    <a:cxn ang="0">
                      <a:pos x="144" y="180"/>
                    </a:cxn>
                    <a:cxn ang="0">
                      <a:pos x="144" y="344"/>
                    </a:cxn>
                    <a:cxn ang="0">
                      <a:pos x="170" y="344"/>
                    </a:cxn>
                    <a:cxn ang="0">
                      <a:pos x="170" y="234"/>
                    </a:cxn>
                    <a:cxn ang="0">
                      <a:pos x="144" y="230"/>
                    </a:cxn>
                    <a:cxn ang="0">
                      <a:pos x="144" y="344"/>
                    </a:cxn>
                    <a:cxn ang="0">
                      <a:pos x="199" y="340"/>
                    </a:cxn>
                    <a:cxn ang="0">
                      <a:pos x="247" y="320"/>
                    </a:cxn>
                    <a:cxn ang="0">
                      <a:pos x="261" y="288"/>
                    </a:cxn>
                    <a:cxn ang="0">
                      <a:pos x="235" y="248"/>
                    </a:cxn>
                    <a:cxn ang="0">
                      <a:pos x="199" y="238"/>
                    </a:cxn>
                    <a:cxn ang="0">
                      <a:pos x="199" y="340"/>
                    </a:cxn>
                  </a:cxnLst>
                  <a:rect l="0" t="0" r="r" b="b"/>
                  <a:pathLst>
                    <a:path w="309" h="418">
                      <a:moveTo>
                        <a:pt x="116" y="0"/>
                      </a:moveTo>
                      <a:cubicBezTo>
                        <a:pt x="144" y="0"/>
                        <a:pt x="144" y="0"/>
                        <a:pt x="144" y="0"/>
                      </a:cubicBezTo>
                      <a:cubicBezTo>
                        <a:pt x="144" y="32"/>
                        <a:pt x="144" y="32"/>
                        <a:pt x="144" y="32"/>
                      </a:cubicBezTo>
                      <a:cubicBezTo>
                        <a:pt x="154" y="30"/>
                        <a:pt x="162" y="30"/>
                        <a:pt x="170" y="32"/>
                      </a:cubicBezTo>
                      <a:cubicBezTo>
                        <a:pt x="170" y="0"/>
                        <a:pt x="170" y="0"/>
                        <a:pt x="170" y="0"/>
                      </a:cubicBezTo>
                      <a:cubicBezTo>
                        <a:pt x="199" y="0"/>
                        <a:pt x="199" y="0"/>
                        <a:pt x="199" y="0"/>
                      </a:cubicBezTo>
                      <a:cubicBezTo>
                        <a:pt x="199" y="38"/>
                        <a:pt x="199" y="38"/>
                        <a:pt x="199" y="38"/>
                      </a:cubicBezTo>
                      <a:cubicBezTo>
                        <a:pt x="233" y="44"/>
                        <a:pt x="257" y="54"/>
                        <a:pt x="271" y="68"/>
                      </a:cubicBezTo>
                      <a:cubicBezTo>
                        <a:pt x="288" y="85"/>
                        <a:pt x="299" y="109"/>
                        <a:pt x="303" y="140"/>
                      </a:cubicBezTo>
                      <a:cubicBezTo>
                        <a:pt x="249" y="140"/>
                        <a:pt x="249" y="140"/>
                        <a:pt x="249" y="140"/>
                      </a:cubicBezTo>
                      <a:cubicBezTo>
                        <a:pt x="247" y="124"/>
                        <a:pt x="241" y="110"/>
                        <a:pt x="231" y="100"/>
                      </a:cubicBezTo>
                      <a:cubicBezTo>
                        <a:pt x="224" y="93"/>
                        <a:pt x="213" y="88"/>
                        <a:pt x="199" y="84"/>
                      </a:cubicBezTo>
                      <a:cubicBezTo>
                        <a:pt x="199" y="188"/>
                        <a:pt x="199" y="188"/>
                        <a:pt x="199" y="188"/>
                      </a:cubicBezTo>
                      <a:cubicBezTo>
                        <a:pt x="223" y="194"/>
                        <a:pt x="223" y="194"/>
                        <a:pt x="223" y="194"/>
                      </a:cubicBezTo>
                      <a:cubicBezTo>
                        <a:pt x="244" y="199"/>
                        <a:pt x="260" y="205"/>
                        <a:pt x="271" y="212"/>
                      </a:cubicBezTo>
                      <a:cubicBezTo>
                        <a:pt x="296" y="228"/>
                        <a:pt x="309" y="252"/>
                        <a:pt x="309" y="286"/>
                      </a:cubicBezTo>
                      <a:cubicBezTo>
                        <a:pt x="309" y="312"/>
                        <a:pt x="301" y="334"/>
                        <a:pt x="285" y="350"/>
                      </a:cubicBezTo>
                      <a:cubicBezTo>
                        <a:pt x="266" y="369"/>
                        <a:pt x="237" y="379"/>
                        <a:pt x="199" y="382"/>
                      </a:cubicBezTo>
                      <a:cubicBezTo>
                        <a:pt x="199" y="418"/>
                        <a:pt x="199" y="418"/>
                        <a:pt x="199" y="418"/>
                      </a:cubicBezTo>
                      <a:cubicBezTo>
                        <a:pt x="170" y="418"/>
                        <a:pt x="170" y="418"/>
                        <a:pt x="170" y="418"/>
                      </a:cubicBezTo>
                      <a:cubicBezTo>
                        <a:pt x="170" y="386"/>
                        <a:pt x="170" y="386"/>
                        <a:pt x="170" y="386"/>
                      </a:cubicBezTo>
                      <a:cubicBezTo>
                        <a:pt x="162" y="387"/>
                        <a:pt x="154" y="387"/>
                        <a:pt x="144" y="386"/>
                      </a:cubicBezTo>
                      <a:cubicBezTo>
                        <a:pt x="144" y="418"/>
                        <a:pt x="144" y="418"/>
                        <a:pt x="144" y="418"/>
                      </a:cubicBezTo>
                      <a:cubicBezTo>
                        <a:pt x="116" y="418"/>
                        <a:pt x="116" y="418"/>
                        <a:pt x="116" y="418"/>
                      </a:cubicBezTo>
                      <a:cubicBezTo>
                        <a:pt x="116" y="384"/>
                        <a:pt x="116" y="384"/>
                        <a:pt x="116" y="384"/>
                      </a:cubicBezTo>
                      <a:cubicBezTo>
                        <a:pt x="86" y="381"/>
                        <a:pt x="59" y="369"/>
                        <a:pt x="36" y="346"/>
                      </a:cubicBezTo>
                      <a:cubicBezTo>
                        <a:pt x="18" y="327"/>
                        <a:pt x="6" y="300"/>
                        <a:pt x="0" y="266"/>
                      </a:cubicBezTo>
                      <a:cubicBezTo>
                        <a:pt x="54" y="266"/>
                        <a:pt x="54" y="266"/>
                        <a:pt x="54" y="266"/>
                      </a:cubicBezTo>
                      <a:cubicBezTo>
                        <a:pt x="58" y="288"/>
                        <a:pt x="66" y="305"/>
                        <a:pt x="76" y="316"/>
                      </a:cubicBezTo>
                      <a:cubicBezTo>
                        <a:pt x="91" y="330"/>
                        <a:pt x="104" y="339"/>
                        <a:pt x="116" y="340"/>
                      </a:cubicBezTo>
                      <a:cubicBezTo>
                        <a:pt x="116" y="226"/>
                        <a:pt x="116" y="226"/>
                        <a:pt x="116" y="226"/>
                      </a:cubicBezTo>
                      <a:cubicBezTo>
                        <a:pt x="83" y="218"/>
                        <a:pt x="58" y="205"/>
                        <a:pt x="40" y="188"/>
                      </a:cubicBezTo>
                      <a:cubicBezTo>
                        <a:pt x="23" y="170"/>
                        <a:pt x="14" y="151"/>
                        <a:pt x="14" y="130"/>
                      </a:cubicBezTo>
                      <a:cubicBezTo>
                        <a:pt x="14" y="106"/>
                        <a:pt x="24" y="84"/>
                        <a:pt x="42" y="66"/>
                      </a:cubicBezTo>
                      <a:cubicBezTo>
                        <a:pt x="62" y="46"/>
                        <a:pt x="87" y="35"/>
                        <a:pt x="116" y="34"/>
                      </a:cubicBezTo>
                      <a:lnTo>
                        <a:pt x="116" y="0"/>
                      </a:lnTo>
                      <a:close/>
                      <a:moveTo>
                        <a:pt x="116" y="78"/>
                      </a:moveTo>
                      <a:cubicBezTo>
                        <a:pt x="103" y="79"/>
                        <a:pt x="92" y="84"/>
                        <a:pt x="82" y="94"/>
                      </a:cubicBezTo>
                      <a:cubicBezTo>
                        <a:pt x="73" y="103"/>
                        <a:pt x="68" y="114"/>
                        <a:pt x="68" y="128"/>
                      </a:cubicBezTo>
                      <a:cubicBezTo>
                        <a:pt x="68" y="138"/>
                        <a:pt x="73" y="148"/>
                        <a:pt x="82" y="158"/>
                      </a:cubicBezTo>
                      <a:cubicBezTo>
                        <a:pt x="90" y="166"/>
                        <a:pt x="102" y="172"/>
                        <a:pt x="116" y="176"/>
                      </a:cubicBezTo>
                      <a:lnTo>
                        <a:pt x="116" y="78"/>
                      </a:lnTo>
                      <a:close/>
                      <a:moveTo>
                        <a:pt x="144" y="180"/>
                      </a:moveTo>
                      <a:cubicBezTo>
                        <a:pt x="159" y="182"/>
                        <a:pt x="168" y="184"/>
                        <a:pt x="170" y="186"/>
                      </a:cubicBezTo>
                      <a:cubicBezTo>
                        <a:pt x="170" y="80"/>
                        <a:pt x="170" y="80"/>
                        <a:pt x="170" y="80"/>
                      </a:cubicBezTo>
                      <a:cubicBezTo>
                        <a:pt x="162" y="78"/>
                        <a:pt x="154" y="78"/>
                        <a:pt x="144" y="78"/>
                      </a:cubicBezTo>
                      <a:lnTo>
                        <a:pt x="144" y="180"/>
                      </a:lnTo>
                      <a:close/>
                      <a:moveTo>
                        <a:pt x="144" y="344"/>
                      </a:moveTo>
                      <a:cubicBezTo>
                        <a:pt x="156" y="345"/>
                        <a:pt x="165" y="345"/>
                        <a:pt x="170" y="344"/>
                      </a:cubicBezTo>
                      <a:cubicBezTo>
                        <a:pt x="170" y="234"/>
                        <a:pt x="170" y="234"/>
                        <a:pt x="170" y="234"/>
                      </a:cubicBezTo>
                      <a:cubicBezTo>
                        <a:pt x="164" y="232"/>
                        <a:pt x="155" y="231"/>
                        <a:pt x="144" y="230"/>
                      </a:cubicBezTo>
                      <a:lnTo>
                        <a:pt x="144" y="344"/>
                      </a:lnTo>
                      <a:close/>
                      <a:moveTo>
                        <a:pt x="199" y="340"/>
                      </a:moveTo>
                      <a:cubicBezTo>
                        <a:pt x="221" y="336"/>
                        <a:pt x="237" y="329"/>
                        <a:pt x="247" y="320"/>
                      </a:cubicBezTo>
                      <a:cubicBezTo>
                        <a:pt x="256" y="310"/>
                        <a:pt x="261" y="300"/>
                        <a:pt x="261" y="288"/>
                      </a:cubicBezTo>
                      <a:cubicBezTo>
                        <a:pt x="261" y="270"/>
                        <a:pt x="252" y="257"/>
                        <a:pt x="235" y="248"/>
                      </a:cubicBezTo>
                      <a:cubicBezTo>
                        <a:pt x="229" y="245"/>
                        <a:pt x="217" y="242"/>
                        <a:pt x="199" y="238"/>
                      </a:cubicBezTo>
                      <a:lnTo>
                        <a:pt x="199" y="340"/>
                      </a:lnTo>
                      <a:close/>
                    </a:path>
                  </a:pathLst>
                </a:custGeom>
                <a:solidFill>
                  <a:srgbClr val="1C3C43"/>
                </a:solidFill>
                <a:ln w="9525">
                  <a:noFill/>
                  <a:round/>
                  <a:headEnd/>
                  <a:tailEnd/>
                </a:ln>
                <a:scene3d>
                  <a:camera prst="isometricOffAxis1Left"/>
                  <a:lightRig rig="threePt" dir="t"/>
                </a:scene3d>
              </p:spPr>
              <p:txBody>
                <a:bodyPr vert="horz" wrap="square" lIns="91440" tIns="45720" rIns="91440" bIns="45720" numCol="1" anchor="t" anchorCtr="0" compatLnSpc="1">
                  <a:prstTxWarp prst="textNoShape">
                    <a:avLst/>
                  </a:prstTxWarp>
                  <a:scene3d>
                    <a:camera prst="isometricOffAxis2Top"/>
                    <a:lightRig rig="threePt" dir="t"/>
                  </a:scene3d>
                </a:bodyPr>
                <a:lst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1B3B41"/>
                    </a:solidFill>
                    <a:effectLst/>
                    <a:uLnTx/>
                    <a:uFillTx/>
                    <a:latin typeface="+mn-lt"/>
                    <a:ea typeface="+mn-ea"/>
                    <a:cs typeface="+mn-cs"/>
                  </a:endParaRPr>
                </a:p>
              </p:txBody>
            </p:sp>
            <p:pic>
              <p:nvPicPr>
                <p:cNvPr id="8" name="Picture 7"/>
                <p:cNvPicPr>
                  <a:picLocks noChangeAspect="1"/>
                </p:cNvPicPr>
                <p:nvPr/>
              </p:nvPicPr>
              <p:blipFill rotWithShape="1">
                <a:blip r:embed="rId7" cstate="print">
                  <a:extLst>
                    <a:ext uri="{28A0092B-C50C-407E-A947-70E740481C1C}">
                      <a14:useLocalDpi xmlns:a14="http://schemas.microsoft.com/office/drawing/2010/main" val="0"/>
                    </a:ext>
                  </a:extLst>
                </a:blip>
                <a:srcRect t="84095"/>
                <a:stretch/>
              </p:blipFill>
              <p:spPr>
                <a:xfrm>
                  <a:off x="10811353" y="5234350"/>
                  <a:ext cx="1280160" cy="152416"/>
                </a:xfrm>
                <a:prstGeom prst="rect">
                  <a:avLst/>
                </a:prstGeom>
                <a:scene3d>
                  <a:camera prst="isometricOffAxis1Left"/>
                  <a:lightRig rig="threePt" dir="t"/>
                </a:scene3d>
              </p:spPr>
            </p:pic>
          </p:grpSp>
        </p:grpSp>
        <p:sp>
          <p:nvSpPr>
            <p:cNvPr id="1287" name="Rectangle 406"/>
            <p:cNvSpPr/>
            <p:nvPr/>
          </p:nvSpPr>
          <p:spPr bwMode="auto">
            <a:xfrm rot="10800000">
              <a:off x="11314865" y="4308280"/>
              <a:ext cx="643299" cy="1741838"/>
            </a:xfrm>
            <a:custGeom>
              <a:avLst/>
              <a:gdLst>
                <a:gd name="connsiteX0" fmla="*/ 544896 w 551335"/>
                <a:gd name="connsiteY0" fmla="*/ 1817471 h 1817471"/>
                <a:gd name="connsiteX1" fmla="*/ 0 w 551335"/>
                <a:gd name="connsiteY1" fmla="*/ 1604671 h 1817471"/>
                <a:gd name="connsiteX2" fmla="*/ 8316 w 551335"/>
                <a:gd name="connsiteY2" fmla="*/ 1197398 h 1817471"/>
                <a:gd name="connsiteX3" fmla="*/ 6439 w 551335"/>
                <a:gd name="connsiteY3" fmla="*/ 1197398 h 1817471"/>
                <a:gd name="connsiteX4" fmla="*/ 6439 w 551335"/>
                <a:gd name="connsiteY4" fmla="*/ 0 h 1817471"/>
                <a:gd name="connsiteX5" fmla="*/ 551335 w 551335"/>
                <a:gd name="connsiteY5" fmla="*/ 283633 h 1817471"/>
                <a:gd name="connsiteX6" fmla="*/ 543019 w 551335"/>
                <a:gd name="connsiteY6" fmla="*/ 690906 h 1817471"/>
                <a:gd name="connsiteX7" fmla="*/ 544896 w 551335"/>
                <a:gd name="connsiteY7" fmla="*/ 690906 h 1817471"/>
                <a:gd name="connsiteX8" fmla="*/ 544896 w 551335"/>
                <a:gd name="connsiteY8" fmla="*/ 1817471 h 1817471"/>
                <a:gd name="connsiteX0" fmla="*/ 544896 w 551335"/>
                <a:gd name="connsiteY0" fmla="*/ 1817471 h 1817471"/>
                <a:gd name="connsiteX1" fmla="*/ 0 w 551335"/>
                <a:gd name="connsiteY1" fmla="*/ 1604671 h 1817471"/>
                <a:gd name="connsiteX2" fmla="*/ 8316 w 551335"/>
                <a:gd name="connsiteY2" fmla="*/ 1197398 h 1817471"/>
                <a:gd name="connsiteX3" fmla="*/ 6439 w 551335"/>
                <a:gd name="connsiteY3" fmla="*/ 1197398 h 1817471"/>
                <a:gd name="connsiteX4" fmla="*/ 6439 w 551335"/>
                <a:gd name="connsiteY4" fmla="*/ 0 h 1817471"/>
                <a:gd name="connsiteX5" fmla="*/ 551335 w 551335"/>
                <a:gd name="connsiteY5" fmla="*/ 283633 h 1817471"/>
                <a:gd name="connsiteX6" fmla="*/ 543019 w 551335"/>
                <a:gd name="connsiteY6" fmla="*/ 690906 h 1817471"/>
                <a:gd name="connsiteX7" fmla="*/ 544896 w 551335"/>
                <a:gd name="connsiteY7" fmla="*/ 1817471 h 1817471"/>
                <a:gd name="connsiteX0" fmla="*/ 544896 w 551335"/>
                <a:gd name="connsiteY0" fmla="*/ 1817471 h 1817471"/>
                <a:gd name="connsiteX1" fmla="*/ 0 w 551335"/>
                <a:gd name="connsiteY1" fmla="*/ 1604671 h 1817471"/>
                <a:gd name="connsiteX2" fmla="*/ 8316 w 551335"/>
                <a:gd name="connsiteY2" fmla="*/ 1197398 h 1817471"/>
                <a:gd name="connsiteX3" fmla="*/ 6439 w 551335"/>
                <a:gd name="connsiteY3" fmla="*/ 1197398 h 1817471"/>
                <a:gd name="connsiteX4" fmla="*/ 6439 w 551335"/>
                <a:gd name="connsiteY4" fmla="*/ 0 h 1817471"/>
                <a:gd name="connsiteX5" fmla="*/ 551335 w 551335"/>
                <a:gd name="connsiteY5" fmla="*/ 283633 h 1817471"/>
                <a:gd name="connsiteX6" fmla="*/ 544896 w 551335"/>
                <a:gd name="connsiteY6" fmla="*/ 1817471 h 1817471"/>
                <a:gd name="connsiteX0" fmla="*/ 544896 w 551335"/>
                <a:gd name="connsiteY0" fmla="*/ 1817471 h 1817471"/>
                <a:gd name="connsiteX1" fmla="*/ 0 w 551335"/>
                <a:gd name="connsiteY1" fmla="*/ 1604671 h 1817471"/>
                <a:gd name="connsiteX2" fmla="*/ 8316 w 551335"/>
                <a:gd name="connsiteY2" fmla="*/ 1197398 h 1817471"/>
                <a:gd name="connsiteX3" fmla="*/ 6439 w 551335"/>
                <a:gd name="connsiteY3" fmla="*/ 0 h 1817471"/>
                <a:gd name="connsiteX4" fmla="*/ 551335 w 551335"/>
                <a:gd name="connsiteY4" fmla="*/ 283633 h 1817471"/>
                <a:gd name="connsiteX5" fmla="*/ 544896 w 551335"/>
                <a:gd name="connsiteY5" fmla="*/ 1817471 h 1817471"/>
                <a:gd name="connsiteX0" fmla="*/ 544896 w 551335"/>
                <a:gd name="connsiteY0" fmla="*/ 1817471 h 1817471"/>
                <a:gd name="connsiteX1" fmla="*/ 0 w 551335"/>
                <a:gd name="connsiteY1" fmla="*/ 1604671 h 1817471"/>
                <a:gd name="connsiteX2" fmla="*/ 6439 w 551335"/>
                <a:gd name="connsiteY2" fmla="*/ 0 h 1817471"/>
                <a:gd name="connsiteX3" fmla="*/ 551335 w 551335"/>
                <a:gd name="connsiteY3" fmla="*/ 283633 h 1817471"/>
                <a:gd name="connsiteX4" fmla="*/ 544896 w 551335"/>
                <a:gd name="connsiteY4" fmla="*/ 1817471 h 1817471"/>
                <a:gd name="connsiteX0" fmla="*/ 549366 w 555805"/>
                <a:gd name="connsiteY0" fmla="*/ 1817471 h 1817471"/>
                <a:gd name="connsiteX1" fmla="*/ 0 w 555805"/>
                <a:gd name="connsiteY1" fmla="*/ 1484254 h 1817471"/>
                <a:gd name="connsiteX2" fmla="*/ 10909 w 555805"/>
                <a:gd name="connsiteY2" fmla="*/ 0 h 1817471"/>
                <a:gd name="connsiteX3" fmla="*/ 555805 w 555805"/>
                <a:gd name="connsiteY3" fmla="*/ 283633 h 1817471"/>
                <a:gd name="connsiteX4" fmla="*/ 549366 w 555805"/>
                <a:gd name="connsiteY4" fmla="*/ 1817471 h 1817471"/>
                <a:gd name="connsiteX0" fmla="*/ 549366 w 555805"/>
                <a:gd name="connsiteY0" fmla="*/ 2150390 h 2150390"/>
                <a:gd name="connsiteX1" fmla="*/ 0 w 555805"/>
                <a:gd name="connsiteY1" fmla="*/ 1817173 h 2150390"/>
                <a:gd name="connsiteX2" fmla="*/ 10909 w 555805"/>
                <a:gd name="connsiteY2" fmla="*/ 0 h 2150390"/>
                <a:gd name="connsiteX3" fmla="*/ 555805 w 555805"/>
                <a:gd name="connsiteY3" fmla="*/ 616552 h 2150390"/>
                <a:gd name="connsiteX4" fmla="*/ 549366 w 555805"/>
                <a:gd name="connsiteY4" fmla="*/ 2150390 h 2150390"/>
                <a:gd name="connsiteX0" fmla="*/ 549366 w 551335"/>
                <a:gd name="connsiteY0" fmla="*/ 2150390 h 2150390"/>
                <a:gd name="connsiteX1" fmla="*/ 0 w 551335"/>
                <a:gd name="connsiteY1" fmla="*/ 1817173 h 2150390"/>
                <a:gd name="connsiteX2" fmla="*/ 10909 w 551335"/>
                <a:gd name="connsiteY2" fmla="*/ 0 h 2150390"/>
                <a:gd name="connsiteX3" fmla="*/ 551335 w 551335"/>
                <a:gd name="connsiteY3" fmla="*/ 517385 h 2150390"/>
                <a:gd name="connsiteX4" fmla="*/ 549366 w 551335"/>
                <a:gd name="connsiteY4" fmla="*/ 2150390 h 2150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335" h="2150390">
                  <a:moveTo>
                    <a:pt x="549366" y="2150390"/>
                  </a:moveTo>
                  <a:lnTo>
                    <a:pt x="0" y="1817173"/>
                  </a:lnTo>
                  <a:cubicBezTo>
                    <a:pt x="2146" y="1282283"/>
                    <a:pt x="8763" y="534890"/>
                    <a:pt x="10909" y="0"/>
                  </a:cubicBezTo>
                  <a:lnTo>
                    <a:pt x="551335" y="517385"/>
                  </a:lnTo>
                  <a:cubicBezTo>
                    <a:pt x="549189" y="1028664"/>
                    <a:pt x="551512" y="1639111"/>
                    <a:pt x="549366" y="2150390"/>
                  </a:cubicBezTo>
                  <a:close/>
                </a:path>
              </a:pathLst>
            </a:custGeom>
            <a:noFill/>
            <a:ln w="28575">
              <a:solidFill>
                <a:schemeClr val="accent3">
                  <a:lumMod val="50000"/>
                </a:schemeClr>
              </a:solid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289" name="Rectangle 1288"/>
          <p:cNvSpPr/>
          <p:nvPr/>
        </p:nvSpPr>
        <p:spPr bwMode="auto">
          <a:xfrm>
            <a:off x="10092321" y="4348111"/>
            <a:ext cx="1086014" cy="193336"/>
          </a:xfrm>
          <a:prstGeom prst="rect">
            <a:avLst/>
          </a:prstGeom>
          <a:solidFill>
            <a:schemeClr val="tx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CHECKOUT</a:t>
            </a:r>
          </a:p>
        </p:txBody>
      </p:sp>
      <p:grpSp>
        <p:nvGrpSpPr>
          <p:cNvPr id="193" name="Group 192"/>
          <p:cNvGrpSpPr/>
          <p:nvPr/>
        </p:nvGrpSpPr>
        <p:grpSpPr>
          <a:xfrm>
            <a:off x="864155" y="2713753"/>
            <a:ext cx="277570" cy="335020"/>
            <a:chOff x="-1278804" y="2084340"/>
            <a:chExt cx="217157" cy="248510"/>
          </a:xfrm>
          <a:gradFill>
            <a:gsLst>
              <a:gs pos="0">
                <a:schemeClr val="accent3"/>
              </a:gs>
              <a:gs pos="100000">
                <a:schemeClr val="accent3">
                  <a:alpha val="15000"/>
                </a:schemeClr>
              </a:gs>
            </a:gsLst>
            <a:lin ang="16200000" scaled="1"/>
          </a:gradFill>
        </p:grpSpPr>
        <p:sp>
          <p:nvSpPr>
            <p:cNvPr id="129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93"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94"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98"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99"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01"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02"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03"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04" name="Group 1303"/>
          <p:cNvGrpSpPr/>
          <p:nvPr/>
        </p:nvGrpSpPr>
        <p:grpSpPr>
          <a:xfrm>
            <a:off x="2000004" y="2621164"/>
            <a:ext cx="208542" cy="251705"/>
            <a:chOff x="-1278804" y="2084340"/>
            <a:chExt cx="217157" cy="248510"/>
          </a:xfrm>
          <a:gradFill>
            <a:gsLst>
              <a:gs pos="0">
                <a:schemeClr val="accent3"/>
              </a:gs>
              <a:gs pos="100000">
                <a:schemeClr val="accent3">
                  <a:alpha val="15000"/>
                </a:schemeClr>
              </a:gs>
            </a:gsLst>
            <a:lin ang="16200000" scaled="1"/>
          </a:gradFill>
        </p:grpSpPr>
        <p:sp>
          <p:nvSpPr>
            <p:cNvPr id="1305"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06"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07"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08"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09"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0"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1"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2"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13" name="Group 1312"/>
          <p:cNvGrpSpPr/>
          <p:nvPr/>
        </p:nvGrpSpPr>
        <p:grpSpPr>
          <a:xfrm>
            <a:off x="2826462" y="2648007"/>
            <a:ext cx="229396" cy="276876"/>
            <a:chOff x="-1278804" y="2084340"/>
            <a:chExt cx="217157" cy="248510"/>
          </a:xfrm>
          <a:gradFill>
            <a:gsLst>
              <a:gs pos="0">
                <a:schemeClr val="accent3"/>
              </a:gs>
              <a:gs pos="100000">
                <a:schemeClr val="accent3">
                  <a:alpha val="15000"/>
                </a:schemeClr>
              </a:gs>
            </a:gsLst>
            <a:lin ang="16200000" scaled="1"/>
          </a:gradFill>
        </p:grpSpPr>
        <p:sp>
          <p:nvSpPr>
            <p:cNvPr id="1314"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5"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6"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7"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8"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9"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0"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1"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22" name="Group 1321"/>
          <p:cNvGrpSpPr/>
          <p:nvPr/>
        </p:nvGrpSpPr>
        <p:grpSpPr>
          <a:xfrm rot="1844621">
            <a:off x="2488757" y="3400016"/>
            <a:ext cx="229396" cy="276876"/>
            <a:chOff x="-1278804" y="2084340"/>
            <a:chExt cx="217157" cy="248510"/>
          </a:xfrm>
          <a:gradFill>
            <a:gsLst>
              <a:gs pos="0">
                <a:schemeClr val="accent3"/>
              </a:gs>
              <a:gs pos="100000">
                <a:schemeClr val="accent3">
                  <a:alpha val="15000"/>
                </a:schemeClr>
              </a:gs>
            </a:gsLst>
            <a:lin ang="16200000" scaled="1"/>
          </a:gradFill>
        </p:grpSpPr>
        <p:sp>
          <p:nvSpPr>
            <p:cNvPr id="132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5"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6"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7"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8"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9"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0"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31" name="Group 1330"/>
          <p:cNvGrpSpPr/>
          <p:nvPr/>
        </p:nvGrpSpPr>
        <p:grpSpPr>
          <a:xfrm rot="18936783">
            <a:off x="400516" y="3526185"/>
            <a:ext cx="277570" cy="335020"/>
            <a:chOff x="-1278804" y="2084340"/>
            <a:chExt cx="217157" cy="248510"/>
          </a:xfrm>
          <a:gradFill>
            <a:gsLst>
              <a:gs pos="0">
                <a:schemeClr val="accent3"/>
              </a:gs>
              <a:gs pos="100000">
                <a:schemeClr val="accent3">
                  <a:alpha val="15000"/>
                </a:schemeClr>
              </a:gs>
            </a:gsLst>
            <a:lin ang="16200000" scaled="1"/>
          </a:gradFill>
        </p:grpSpPr>
        <p:sp>
          <p:nvSpPr>
            <p:cNvPr id="1332"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3"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4"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5"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6"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7"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8"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9"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40" name="Group 1339"/>
          <p:cNvGrpSpPr/>
          <p:nvPr/>
        </p:nvGrpSpPr>
        <p:grpSpPr>
          <a:xfrm>
            <a:off x="3302692" y="4555157"/>
            <a:ext cx="277570" cy="335020"/>
            <a:chOff x="-1278804" y="2084340"/>
            <a:chExt cx="217157" cy="248510"/>
          </a:xfrm>
          <a:gradFill>
            <a:gsLst>
              <a:gs pos="0">
                <a:schemeClr val="accent3"/>
              </a:gs>
              <a:gs pos="100000">
                <a:schemeClr val="accent3">
                  <a:alpha val="15000"/>
                </a:schemeClr>
              </a:gs>
            </a:gsLst>
            <a:lin ang="16200000" scaled="1"/>
          </a:gradFill>
        </p:grpSpPr>
        <p:sp>
          <p:nvSpPr>
            <p:cNvPr id="134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42"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43"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44"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45"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4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4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48"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49" name="Group 1348"/>
          <p:cNvGrpSpPr/>
          <p:nvPr/>
        </p:nvGrpSpPr>
        <p:grpSpPr>
          <a:xfrm rot="1312139">
            <a:off x="11720013" y="3702938"/>
            <a:ext cx="309137" cy="373121"/>
            <a:chOff x="-1278804" y="2084340"/>
            <a:chExt cx="217157" cy="248510"/>
          </a:xfrm>
          <a:gradFill>
            <a:gsLst>
              <a:gs pos="0">
                <a:schemeClr val="accent3"/>
              </a:gs>
              <a:gs pos="100000">
                <a:schemeClr val="accent3">
                  <a:alpha val="15000"/>
                </a:schemeClr>
              </a:gs>
            </a:gsLst>
            <a:lin ang="16200000" scaled="1"/>
          </a:gradFill>
        </p:grpSpPr>
        <p:sp>
          <p:nvSpPr>
            <p:cNvPr id="1350"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51"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52"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53"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54"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55"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56"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57"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58" name="Group 1357"/>
          <p:cNvGrpSpPr/>
          <p:nvPr/>
        </p:nvGrpSpPr>
        <p:grpSpPr>
          <a:xfrm>
            <a:off x="9551904" y="5346323"/>
            <a:ext cx="277570" cy="335020"/>
            <a:chOff x="-1278804" y="2084340"/>
            <a:chExt cx="217157" cy="248510"/>
          </a:xfrm>
          <a:gradFill>
            <a:gsLst>
              <a:gs pos="0">
                <a:schemeClr val="accent3"/>
              </a:gs>
              <a:gs pos="100000">
                <a:schemeClr val="accent3">
                  <a:alpha val="15000"/>
                </a:schemeClr>
              </a:gs>
            </a:gsLst>
            <a:lin ang="16200000" scaled="1"/>
          </a:gradFill>
        </p:grpSpPr>
        <p:sp>
          <p:nvSpPr>
            <p:cNvPr id="1359"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0"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1"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2"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3"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4"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5"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6"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67" name="Group 1366"/>
          <p:cNvGrpSpPr/>
          <p:nvPr/>
        </p:nvGrpSpPr>
        <p:grpSpPr>
          <a:xfrm rot="20419590">
            <a:off x="10719312" y="1626000"/>
            <a:ext cx="272246" cy="361451"/>
            <a:chOff x="-1278804" y="2084340"/>
            <a:chExt cx="217157" cy="248510"/>
          </a:xfrm>
          <a:gradFill>
            <a:gsLst>
              <a:gs pos="0">
                <a:schemeClr val="accent3"/>
              </a:gs>
              <a:gs pos="100000">
                <a:schemeClr val="accent3">
                  <a:alpha val="15000"/>
                </a:schemeClr>
              </a:gs>
            </a:gsLst>
            <a:lin ang="16200000" scaled="1"/>
          </a:gradFill>
        </p:grpSpPr>
        <p:sp>
          <p:nvSpPr>
            <p:cNvPr id="1368"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9"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0"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1"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2"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3"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4"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5"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440" name="Group 1439"/>
          <p:cNvGrpSpPr/>
          <p:nvPr/>
        </p:nvGrpSpPr>
        <p:grpSpPr>
          <a:xfrm>
            <a:off x="1544823" y="1053805"/>
            <a:ext cx="229396" cy="276876"/>
            <a:chOff x="-1278804" y="2084340"/>
            <a:chExt cx="217157" cy="248510"/>
          </a:xfrm>
          <a:gradFill>
            <a:gsLst>
              <a:gs pos="0">
                <a:schemeClr val="accent3"/>
              </a:gs>
              <a:gs pos="100000">
                <a:schemeClr val="accent3">
                  <a:alpha val="15000"/>
                </a:schemeClr>
              </a:gs>
            </a:gsLst>
            <a:lin ang="16200000" scaled="1"/>
          </a:gradFill>
        </p:grpSpPr>
        <p:sp>
          <p:nvSpPr>
            <p:cNvPr id="144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42"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43"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44"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45"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4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4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48"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449" name="Group 1448"/>
          <p:cNvGrpSpPr/>
          <p:nvPr/>
        </p:nvGrpSpPr>
        <p:grpSpPr>
          <a:xfrm>
            <a:off x="1653639" y="1882446"/>
            <a:ext cx="208542" cy="251705"/>
            <a:chOff x="-1278804" y="2084340"/>
            <a:chExt cx="217157" cy="248510"/>
          </a:xfrm>
          <a:gradFill>
            <a:gsLst>
              <a:gs pos="0">
                <a:schemeClr val="accent3"/>
              </a:gs>
              <a:gs pos="100000">
                <a:schemeClr val="accent3">
                  <a:alpha val="15000"/>
                </a:schemeClr>
              </a:gs>
            </a:gsLst>
            <a:lin ang="16200000" scaled="1"/>
          </a:gradFill>
        </p:grpSpPr>
        <p:sp>
          <p:nvSpPr>
            <p:cNvPr id="1450"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51"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52"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53"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54"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55"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56"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57"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0" name="Group 9"/>
          <p:cNvGrpSpPr/>
          <p:nvPr/>
        </p:nvGrpSpPr>
        <p:grpSpPr>
          <a:xfrm>
            <a:off x="212868" y="179809"/>
            <a:ext cx="528555" cy="752153"/>
            <a:chOff x="212868" y="179809"/>
            <a:chExt cx="528555" cy="752153"/>
          </a:xfrm>
        </p:grpSpPr>
        <p:sp>
          <p:nvSpPr>
            <p:cNvPr id="679"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458" name="Group 1457"/>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459"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60"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61"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62"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63"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64"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65"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66"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grpSp>
        <p:nvGrpSpPr>
          <p:cNvPr id="1467" name="Group 1466"/>
          <p:cNvGrpSpPr/>
          <p:nvPr/>
        </p:nvGrpSpPr>
        <p:grpSpPr>
          <a:xfrm>
            <a:off x="5380908" y="4010309"/>
            <a:ext cx="252341" cy="304560"/>
            <a:chOff x="-1278804" y="2084340"/>
            <a:chExt cx="217161" cy="248506"/>
          </a:xfrm>
          <a:gradFill>
            <a:gsLst>
              <a:gs pos="0">
                <a:schemeClr val="accent3"/>
              </a:gs>
              <a:gs pos="100000">
                <a:schemeClr val="accent3">
                  <a:alpha val="15000"/>
                </a:schemeClr>
              </a:gs>
            </a:gsLst>
            <a:lin ang="16200000" scaled="1"/>
          </a:gradFill>
        </p:grpSpPr>
        <p:sp>
          <p:nvSpPr>
            <p:cNvPr id="1468"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69"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70"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71"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72"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73"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74"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75" name="Freeform 1118"/>
            <p:cNvSpPr>
              <a:spLocks/>
            </p:cNvSpPr>
            <p:nvPr/>
          </p:nvSpPr>
          <p:spPr bwMode="auto">
            <a:xfrm flipH="1">
              <a:off x="-1146856" y="2305284"/>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485" name="Group 1484"/>
          <p:cNvGrpSpPr/>
          <p:nvPr/>
        </p:nvGrpSpPr>
        <p:grpSpPr>
          <a:xfrm rot="1844621">
            <a:off x="6421341" y="4905895"/>
            <a:ext cx="252336" cy="304564"/>
            <a:chOff x="-1278804" y="2084340"/>
            <a:chExt cx="217157" cy="248510"/>
          </a:xfrm>
          <a:gradFill>
            <a:gsLst>
              <a:gs pos="0">
                <a:schemeClr val="accent3"/>
              </a:gs>
              <a:gs pos="100000">
                <a:schemeClr val="accent3">
                  <a:alpha val="15000"/>
                </a:schemeClr>
              </a:gs>
            </a:gsLst>
            <a:lin ang="16200000" scaled="1"/>
          </a:gradFill>
        </p:grpSpPr>
        <p:sp>
          <p:nvSpPr>
            <p:cNvPr id="1486"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87"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88"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89"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0"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1"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2"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3"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494" name="Group 1493"/>
          <p:cNvGrpSpPr/>
          <p:nvPr/>
        </p:nvGrpSpPr>
        <p:grpSpPr>
          <a:xfrm>
            <a:off x="6681225" y="5276719"/>
            <a:ext cx="208542" cy="251705"/>
            <a:chOff x="-1278804" y="2084340"/>
            <a:chExt cx="217157" cy="248510"/>
          </a:xfrm>
          <a:gradFill>
            <a:gsLst>
              <a:gs pos="0">
                <a:schemeClr val="accent3"/>
              </a:gs>
              <a:gs pos="100000">
                <a:schemeClr val="accent3">
                  <a:alpha val="15000"/>
                </a:schemeClr>
              </a:gs>
            </a:gsLst>
            <a:lin ang="16200000" scaled="1"/>
          </a:gradFill>
        </p:grpSpPr>
        <p:sp>
          <p:nvSpPr>
            <p:cNvPr id="1495"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6"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7"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8"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9"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0"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1"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2"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03" name="Group 1502"/>
          <p:cNvGrpSpPr/>
          <p:nvPr/>
        </p:nvGrpSpPr>
        <p:grpSpPr>
          <a:xfrm>
            <a:off x="8243229" y="4833808"/>
            <a:ext cx="208542" cy="251705"/>
            <a:chOff x="-1278804" y="2084340"/>
            <a:chExt cx="217157" cy="248510"/>
          </a:xfrm>
          <a:gradFill>
            <a:gsLst>
              <a:gs pos="0">
                <a:schemeClr val="accent3"/>
              </a:gs>
              <a:gs pos="100000">
                <a:schemeClr val="accent3">
                  <a:alpha val="15000"/>
                </a:schemeClr>
              </a:gs>
            </a:gsLst>
            <a:lin ang="16200000" scaled="1"/>
          </a:gradFill>
        </p:grpSpPr>
        <p:sp>
          <p:nvSpPr>
            <p:cNvPr id="1504"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5"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6"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7"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8"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9"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0"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1"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12" name="Group 1511"/>
          <p:cNvGrpSpPr/>
          <p:nvPr/>
        </p:nvGrpSpPr>
        <p:grpSpPr>
          <a:xfrm>
            <a:off x="7719080" y="3442438"/>
            <a:ext cx="208542" cy="251705"/>
            <a:chOff x="-1278804" y="2084340"/>
            <a:chExt cx="217157" cy="248510"/>
          </a:xfrm>
          <a:gradFill>
            <a:gsLst>
              <a:gs pos="0">
                <a:schemeClr val="accent3"/>
              </a:gs>
              <a:gs pos="100000">
                <a:schemeClr val="accent3">
                  <a:alpha val="15000"/>
                </a:schemeClr>
              </a:gs>
            </a:gsLst>
            <a:lin ang="16200000" scaled="1"/>
          </a:gradFill>
        </p:grpSpPr>
        <p:sp>
          <p:nvSpPr>
            <p:cNvPr id="151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5"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6"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7"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8"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9"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0"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22" name="Group 1521"/>
          <p:cNvGrpSpPr/>
          <p:nvPr/>
        </p:nvGrpSpPr>
        <p:grpSpPr>
          <a:xfrm>
            <a:off x="8167605" y="3368080"/>
            <a:ext cx="208542" cy="251705"/>
            <a:chOff x="-1278804" y="2084340"/>
            <a:chExt cx="217157" cy="248510"/>
          </a:xfrm>
          <a:gradFill>
            <a:gsLst>
              <a:gs pos="0">
                <a:schemeClr val="accent3"/>
              </a:gs>
              <a:gs pos="100000">
                <a:schemeClr val="accent3">
                  <a:alpha val="15000"/>
                </a:schemeClr>
              </a:gs>
            </a:gsLst>
            <a:lin ang="16200000" scaled="1"/>
          </a:gradFill>
        </p:grpSpPr>
        <p:sp>
          <p:nvSpPr>
            <p:cNvPr id="152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5"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6"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7"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8"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9"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0"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31" name="Group 1530"/>
          <p:cNvGrpSpPr/>
          <p:nvPr/>
        </p:nvGrpSpPr>
        <p:grpSpPr>
          <a:xfrm rot="18936783">
            <a:off x="8348277" y="2996933"/>
            <a:ext cx="208542" cy="251705"/>
            <a:chOff x="-1278804" y="2084340"/>
            <a:chExt cx="217157" cy="248510"/>
          </a:xfrm>
          <a:gradFill>
            <a:gsLst>
              <a:gs pos="0">
                <a:schemeClr val="accent3"/>
              </a:gs>
              <a:gs pos="100000">
                <a:schemeClr val="accent3">
                  <a:alpha val="15000"/>
                </a:schemeClr>
              </a:gs>
            </a:gsLst>
            <a:lin ang="16200000" scaled="1"/>
          </a:gradFill>
        </p:grpSpPr>
        <p:sp>
          <p:nvSpPr>
            <p:cNvPr id="1532"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3"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4"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5"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6"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7"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8"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9"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40" name="Group 1539"/>
          <p:cNvGrpSpPr/>
          <p:nvPr/>
        </p:nvGrpSpPr>
        <p:grpSpPr>
          <a:xfrm rot="18936783">
            <a:off x="6322047" y="3096274"/>
            <a:ext cx="208542" cy="251705"/>
            <a:chOff x="-1278804" y="2084340"/>
            <a:chExt cx="217157" cy="248510"/>
          </a:xfrm>
          <a:gradFill>
            <a:gsLst>
              <a:gs pos="0">
                <a:schemeClr val="accent3"/>
              </a:gs>
              <a:gs pos="100000">
                <a:schemeClr val="accent3">
                  <a:alpha val="15000"/>
                </a:schemeClr>
              </a:gs>
            </a:gsLst>
            <a:lin ang="16200000" scaled="1"/>
          </a:gradFill>
        </p:grpSpPr>
        <p:sp>
          <p:nvSpPr>
            <p:cNvPr id="154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2"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3"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4"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5"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8"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49" name="Group 1548"/>
          <p:cNvGrpSpPr/>
          <p:nvPr/>
        </p:nvGrpSpPr>
        <p:grpSpPr>
          <a:xfrm>
            <a:off x="10569595" y="6071006"/>
            <a:ext cx="277570" cy="335020"/>
            <a:chOff x="-1278804" y="2084340"/>
            <a:chExt cx="217157" cy="248510"/>
          </a:xfrm>
          <a:gradFill>
            <a:gsLst>
              <a:gs pos="0">
                <a:schemeClr val="accent3"/>
              </a:gs>
              <a:gs pos="100000">
                <a:schemeClr val="accent3">
                  <a:alpha val="15000"/>
                </a:schemeClr>
              </a:gs>
            </a:gsLst>
            <a:lin ang="16200000" scaled="1"/>
          </a:gradFill>
        </p:grpSpPr>
        <p:sp>
          <p:nvSpPr>
            <p:cNvPr id="1550"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1"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2"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3"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4"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5"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6"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7"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248" name="Freeform 220"/>
          <p:cNvSpPr>
            <a:spLocks noEditPoints="1"/>
          </p:cNvSpPr>
          <p:nvPr/>
        </p:nvSpPr>
        <p:spPr bwMode="auto">
          <a:xfrm>
            <a:off x="3616180" y="4850246"/>
            <a:ext cx="925245" cy="1473871"/>
          </a:xfrm>
          <a:prstGeom prst="roundRect">
            <a:avLst>
              <a:gd name="adj" fmla="val 6177"/>
            </a:avLst>
          </a:prstGeom>
          <a:solidFill>
            <a:schemeClr val="accent3">
              <a:lumMod val="75000"/>
            </a:schemeClr>
          </a:solidFill>
          <a:ln w="28575">
            <a:solidFill>
              <a:schemeClr val="accent3"/>
            </a:solidFill>
          </a:ln>
          <a:ex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50" name="Rectangle 221"/>
          <p:cNvSpPr>
            <a:spLocks noChangeArrowheads="1"/>
          </p:cNvSpPr>
          <p:nvPr/>
        </p:nvSpPr>
        <p:spPr bwMode="auto">
          <a:xfrm>
            <a:off x="3727208" y="4964059"/>
            <a:ext cx="703186" cy="1199289"/>
          </a:xfrm>
          <a:prstGeom prst="rect">
            <a:avLst/>
          </a:prstGeom>
          <a:solidFill>
            <a:schemeClr val="tx2">
              <a:lumMod val="75000"/>
            </a:schemeClr>
          </a:solidFill>
          <a:ln w="38100">
            <a:solidFill>
              <a:schemeClr val="accent3">
                <a:lumMod val="50000"/>
              </a:schemeClr>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nvGrpSpPr>
          <p:cNvPr id="947" name="Group 946"/>
          <p:cNvGrpSpPr/>
          <p:nvPr/>
        </p:nvGrpSpPr>
        <p:grpSpPr>
          <a:xfrm>
            <a:off x="3792954" y="5107148"/>
            <a:ext cx="667629" cy="922918"/>
            <a:chOff x="2533864" y="-2662238"/>
            <a:chExt cx="742951" cy="1651000"/>
          </a:xfrm>
          <a:solidFill>
            <a:schemeClr val="tx2"/>
          </a:solidFill>
        </p:grpSpPr>
        <p:sp>
          <p:nvSpPr>
            <p:cNvPr id="949" name="Freeform 8"/>
            <p:cNvSpPr>
              <a:spLocks/>
            </p:cNvSpPr>
            <p:nvPr/>
          </p:nvSpPr>
          <p:spPr bwMode="auto">
            <a:xfrm>
              <a:off x="2533864" y="-2662238"/>
              <a:ext cx="631825" cy="593725"/>
            </a:xfrm>
            <a:custGeom>
              <a:avLst/>
              <a:gdLst>
                <a:gd name="T0" fmla="*/ 0 w 796"/>
                <a:gd name="T1" fmla="*/ 0 h 747"/>
                <a:gd name="T2" fmla="*/ 0 w 796"/>
                <a:gd name="T3" fmla="*/ 0 h 747"/>
                <a:gd name="T4" fmla="*/ 197 w 796"/>
                <a:gd name="T5" fmla="*/ 74 h 747"/>
                <a:gd name="T6" fmla="*/ 393 w 796"/>
                <a:gd name="T7" fmla="*/ 148 h 747"/>
                <a:gd name="T8" fmla="*/ 492 w 796"/>
                <a:gd name="T9" fmla="*/ 184 h 747"/>
                <a:gd name="T10" fmla="*/ 593 w 796"/>
                <a:gd name="T11" fmla="*/ 219 h 747"/>
                <a:gd name="T12" fmla="*/ 693 w 796"/>
                <a:gd name="T13" fmla="*/ 254 h 747"/>
                <a:gd name="T14" fmla="*/ 796 w 796"/>
                <a:gd name="T15" fmla="*/ 287 h 747"/>
                <a:gd name="T16" fmla="*/ 796 w 796"/>
                <a:gd name="T17" fmla="*/ 287 h 747"/>
                <a:gd name="T18" fmla="*/ 796 w 796"/>
                <a:gd name="T19" fmla="*/ 747 h 747"/>
                <a:gd name="T20" fmla="*/ 796 w 796"/>
                <a:gd name="T21" fmla="*/ 747 h 747"/>
                <a:gd name="T22" fmla="*/ 595 w 796"/>
                <a:gd name="T23" fmla="*/ 714 h 747"/>
                <a:gd name="T24" fmla="*/ 397 w 796"/>
                <a:gd name="T25" fmla="*/ 680 h 747"/>
                <a:gd name="T26" fmla="*/ 198 w 796"/>
                <a:gd name="T27" fmla="*/ 645 h 747"/>
                <a:gd name="T28" fmla="*/ 0 w 796"/>
                <a:gd name="T29" fmla="*/ 610 h 747"/>
                <a:gd name="T30" fmla="*/ 0 w 796"/>
                <a:gd name="T31" fmla="*/ 610 h 747"/>
                <a:gd name="T32" fmla="*/ 0 w 796"/>
                <a:gd name="T33" fmla="*/ 0 h 747"/>
                <a:gd name="T34" fmla="*/ 0 w 796"/>
                <a:gd name="T35"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6" h="747">
                  <a:moveTo>
                    <a:pt x="0" y="0"/>
                  </a:moveTo>
                  <a:lnTo>
                    <a:pt x="0" y="0"/>
                  </a:lnTo>
                  <a:lnTo>
                    <a:pt x="197" y="74"/>
                  </a:lnTo>
                  <a:lnTo>
                    <a:pt x="393" y="148"/>
                  </a:lnTo>
                  <a:lnTo>
                    <a:pt x="492" y="184"/>
                  </a:lnTo>
                  <a:lnTo>
                    <a:pt x="593" y="219"/>
                  </a:lnTo>
                  <a:lnTo>
                    <a:pt x="693" y="254"/>
                  </a:lnTo>
                  <a:lnTo>
                    <a:pt x="796" y="287"/>
                  </a:lnTo>
                  <a:lnTo>
                    <a:pt x="796" y="287"/>
                  </a:lnTo>
                  <a:lnTo>
                    <a:pt x="796" y="747"/>
                  </a:lnTo>
                  <a:lnTo>
                    <a:pt x="796" y="747"/>
                  </a:lnTo>
                  <a:lnTo>
                    <a:pt x="595" y="714"/>
                  </a:lnTo>
                  <a:lnTo>
                    <a:pt x="397" y="680"/>
                  </a:lnTo>
                  <a:lnTo>
                    <a:pt x="198" y="645"/>
                  </a:lnTo>
                  <a:lnTo>
                    <a:pt x="0" y="610"/>
                  </a:lnTo>
                  <a:lnTo>
                    <a:pt x="0" y="61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endParaRPr>
            </a:p>
          </p:txBody>
        </p:sp>
        <p:sp>
          <p:nvSpPr>
            <p:cNvPr id="1041" name="Freeform 10"/>
            <p:cNvSpPr>
              <a:spLocks/>
            </p:cNvSpPr>
            <p:nvPr/>
          </p:nvSpPr>
          <p:spPr bwMode="auto">
            <a:xfrm>
              <a:off x="3275227" y="-1890713"/>
              <a:ext cx="1588" cy="3175"/>
            </a:xfrm>
            <a:custGeom>
              <a:avLst/>
              <a:gdLst>
                <a:gd name="T0" fmla="*/ 0 w 3"/>
                <a:gd name="T1" fmla="*/ 5 h 5"/>
                <a:gd name="T2" fmla="*/ 3 w 3"/>
                <a:gd name="T3" fmla="*/ 4 h 5"/>
                <a:gd name="T4" fmla="*/ 3 w 3"/>
                <a:gd name="T5" fmla="*/ 4 h 5"/>
                <a:gd name="T6" fmla="*/ 3 w 3"/>
                <a:gd name="T7" fmla="*/ 0 h 5"/>
                <a:gd name="T8" fmla="*/ 0 w 3"/>
                <a:gd name="T9" fmla="*/ 5 h 5"/>
                <a:gd name="T10" fmla="*/ 0 w 3"/>
                <a:gd name="T11" fmla="*/ 5 h 5"/>
              </a:gdLst>
              <a:ahLst/>
              <a:cxnLst>
                <a:cxn ang="0">
                  <a:pos x="T0" y="T1"/>
                </a:cxn>
                <a:cxn ang="0">
                  <a:pos x="T2" y="T3"/>
                </a:cxn>
                <a:cxn ang="0">
                  <a:pos x="T4" y="T5"/>
                </a:cxn>
                <a:cxn ang="0">
                  <a:pos x="T6" y="T7"/>
                </a:cxn>
                <a:cxn ang="0">
                  <a:pos x="T8" y="T9"/>
                </a:cxn>
                <a:cxn ang="0">
                  <a:pos x="T10" y="T11"/>
                </a:cxn>
              </a:cxnLst>
              <a:rect l="0" t="0" r="r" b="b"/>
              <a:pathLst>
                <a:path w="3" h="5">
                  <a:moveTo>
                    <a:pt x="0" y="5"/>
                  </a:moveTo>
                  <a:lnTo>
                    <a:pt x="3" y="4"/>
                  </a:lnTo>
                  <a:lnTo>
                    <a:pt x="3" y="4"/>
                  </a:lnTo>
                  <a:lnTo>
                    <a:pt x="3" y="0"/>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endParaRPr>
            </a:p>
          </p:txBody>
        </p:sp>
        <p:sp>
          <p:nvSpPr>
            <p:cNvPr id="1199" name="Freeform 13"/>
            <p:cNvSpPr>
              <a:spLocks/>
            </p:cNvSpPr>
            <p:nvPr/>
          </p:nvSpPr>
          <p:spPr bwMode="auto">
            <a:xfrm>
              <a:off x="2533864" y="-2035250"/>
              <a:ext cx="631825" cy="198438"/>
            </a:xfrm>
            <a:custGeom>
              <a:avLst/>
              <a:gdLst>
                <a:gd name="T0" fmla="*/ 0 w 796"/>
                <a:gd name="T1" fmla="*/ 0 h 250"/>
                <a:gd name="T2" fmla="*/ 0 w 796"/>
                <a:gd name="T3" fmla="*/ 0 h 250"/>
                <a:gd name="T4" fmla="*/ 99 w 796"/>
                <a:gd name="T5" fmla="*/ 16 h 250"/>
                <a:gd name="T6" fmla="*/ 197 w 796"/>
                <a:gd name="T7" fmla="*/ 34 h 250"/>
                <a:gd name="T8" fmla="*/ 392 w 796"/>
                <a:gd name="T9" fmla="*/ 69 h 250"/>
                <a:gd name="T10" fmla="*/ 490 w 796"/>
                <a:gd name="T11" fmla="*/ 86 h 250"/>
                <a:gd name="T12" fmla="*/ 590 w 796"/>
                <a:gd name="T13" fmla="*/ 101 h 250"/>
                <a:gd name="T14" fmla="*/ 692 w 796"/>
                <a:gd name="T15" fmla="*/ 114 h 250"/>
                <a:gd name="T16" fmla="*/ 744 w 796"/>
                <a:gd name="T17" fmla="*/ 120 h 250"/>
                <a:gd name="T18" fmla="*/ 796 w 796"/>
                <a:gd name="T19" fmla="*/ 125 h 250"/>
                <a:gd name="T20" fmla="*/ 796 w 796"/>
                <a:gd name="T21" fmla="*/ 125 h 250"/>
                <a:gd name="T22" fmla="*/ 796 w 796"/>
                <a:gd name="T23" fmla="*/ 250 h 250"/>
                <a:gd name="T24" fmla="*/ 796 w 796"/>
                <a:gd name="T25" fmla="*/ 250 h 250"/>
                <a:gd name="T26" fmla="*/ 698 w 796"/>
                <a:gd name="T27" fmla="*/ 230 h 250"/>
                <a:gd name="T28" fmla="*/ 601 w 796"/>
                <a:gd name="T29" fmla="*/ 211 h 250"/>
                <a:gd name="T30" fmla="*/ 505 w 796"/>
                <a:gd name="T31" fmla="*/ 192 h 250"/>
                <a:gd name="T32" fmla="*/ 406 w 796"/>
                <a:gd name="T33" fmla="*/ 172 h 250"/>
                <a:gd name="T34" fmla="*/ 308 w 796"/>
                <a:gd name="T35" fmla="*/ 154 h 250"/>
                <a:gd name="T36" fmla="*/ 208 w 796"/>
                <a:gd name="T37" fmla="*/ 137 h 250"/>
                <a:gd name="T38" fmla="*/ 157 w 796"/>
                <a:gd name="T39" fmla="*/ 130 h 250"/>
                <a:gd name="T40" fmla="*/ 105 w 796"/>
                <a:gd name="T41" fmla="*/ 124 h 250"/>
                <a:gd name="T42" fmla="*/ 53 w 796"/>
                <a:gd name="T43" fmla="*/ 118 h 250"/>
                <a:gd name="T44" fmla="*/ 0 w 796"/>
                <a:gd name="T45" fmla="*/ 113 h 250"/>
                <a:gd name="T46" fmla="*/ 0 w 796"/>
                <a:gd name="T47" fmla="*/ 113 h 250"/>
                <a:gd name="T48" fmla="*/ 0 w 796"/>
                <a:gd name="T49" fmla="*/ 0 h 250"/>
                <a:gd name="T50" fmla="*/ 0 w 796"/>
                <a:gd name="T51"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6" h="250">
                  <a:moveTo>
                    <a:pt x="0" y="0"/>
                  </a:moveTo>
                  <a:lnTo>
                    <a:pt x="0" y="0"/>
                  </a:lnTo>
                  <a:lnTo>
                    <a:pt x="99" y="16"/>
                  </a:lnTo>
                  <a:lnTo>
                    <a:pt x="197" y="34"/>
                  </a:lnTo>
                  <a:lnTo>
                    <a:pt x="392" y="69"/>
                  </a:lnTo>
                  <a:lnTo>
                    <a:pt x="490" y="86"/>
                  </a:lnTo>
                  <a:lnTo>
                    <a:pt x="590" y="101"/>
                  </a:lnTo>
                  <a:lnTo>
                    <a:pt x="692" y="114"/>
                  </a:lnTo>
                  <a:lnTo>
                    <a:pt x="744" y="120"/>
                  </a:lnTo>
                  <a:lnTo>
                    <a:pt x="796" y="125"/>
                  </a:lnTo>
                  <a:lnTo>
                    <a:pt x="796" y="125"/>
                  </a:lnTo>
                  <a:lnTo>
                    <a:pt x="796" y="250"/>
                  </a:lnTo>
                  <a:lnTo>
                    <a:pt x="796" y="250"/>
                  </a:lnTo>
                  <a:lnTo>
                    <a:pt x="698" y="230"/>
                  </a:lnTo>
                  <a:lnTo>
                    <a:pt x="601" y="211"/>
                  </a:lnTo>
                  <a:lnTo>
                    <a:pt x="505" y="192"/>
                  </a:lnTo>
                  <a:lnTo>
                    <a:pt x="406" y="172"/>
                  </a:lnTo>
                  <a:lnTo>
                    <a:pt x="308" y="154"/>
                  </a:lnTo>
                  <a:lnTo>
                    <a:pt x="208" y="137"/>
                  </a:lnTo>
                  <a:lnTo>
                    <a:pt x="157" y="130"/>
                  </a:lnTo>
                  <a:lnTo>
                    <a:pt x="105" y="124"/>
                  </a:lnTo>
                  <a:lnTo>
                    <a:pt x="53" y="118"/>
                  </a:lnTo>
                  <a:lnTo>
                    <a:pt x="0" y="113"/>
                  </a:lnTo>
                  <a:lnTo>
                    <a:pt x="0" y="11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endParaRPr>
            </a:p>
          </p:txBody>
        </p:sp>
        <p:sp>
          <p:nvSpPr>
            <p:cNvPr id="1240" name="Freeform 16"/>
            <p:cNvSpPr>
              <a:spLocks/>
            </p:cNvSpPr>
            <p:nvPr/>
          </p:nvSpPr>
          <p:spPr bwMode="auto">
            <a:xfrm>
              <a:off x="2533864" y="-1822451"/>
              <a:ext cx="376238" cy="444500"/>
            </a:xfrm>
            <a:custGeom>
              <a:avLst/>
              <a:gdLst>
                <a:gd name="T0" fmla="*/ 0 w 473"/>
                <a:gd name="T1" fmla="*/ 0 h 561"/>
                <a:gd name="T2" fmla="*/ 0 w 473"/>
                <a:gd name="T3" fmla="*/ 0 h 561"/>
                <a:gd name="T4" fmla="*/ 122 w 473"/>
                <a:gd name="T5" fmla="*/ 15 h 561"/>
                <a:gd name="T6" fmla="*/ 182 w 473"/>
                <a:gd name="T7" fmla="*/ 23 h 561"/>
                <a:gd name="T8" fmla="*/ 242 w 473"/>
                <a:gd name="T9" fmla="*/ 32 h 561"/>
                <a:gd name="T10" fmla="*/ 301 w 473"/>
                <a:gd name="T11" fmla="*/ 41 h 561"/>
                <a:gd name="T12" fmla="*/ 359 w 473"/>
                <a:gd name="T13" fmla="*/ 52 h 561"/>
                <a:gd name="T14" fmla="*/ 416 w 473"/>
                <a:gd name="T15" fmla="*/ 63 h 561"/>
                <a:gd name="T16" fmla="*/ 473 w 473"/>
                <a:gd name="T17" fmla="*/ 75 h 561"/>
                <a:gd name="T18" fmla="*/ 473 w 473"/>
                <a:gd name="T19" fmla="*/ 75 h 561"/>
                <a:gd name="T20" fmla="*/ 473 w 473"/>
                <a:gd name="T21" fmla="*/ 561 h 561"/>
                <a:gd name="T22" fmla="*/ 473 w 473"/>
                <a:gd name="T23" fmla="*/ 561 h 561"/>
                <a:gd name="T24" fmla="*/ 357 w 473"/>
                <a:gd name="T25" fmla="*/ 528 h 561"/>
                <a:gd name="T26" fmla="*/ 239 w 473"/>
                <a:gd name="T27" fmla="*/ 495 h 561"/>
                <a:gd name="T28" fmla="*/ 120 w 473"/>
                <a:gd name="T29" fmla="*/ 465 h 561"/>
                <a:gd name="T30" fmla="*/ 0 w 473"/>
                <a:gd name="T31" fmla="*/ 436 h 561"/>
                <a:gd name="T32" fmla="*/ 0 w 473"/>
                <a:gd name="T33" fmla="*/ 436 h 561"/>
                <a:gd name="T34" fmla="*/ 0 w 473"/>
                <a:gd name="T35" fmla="*/ 0 h 561"/>
                <a:gd name="T36" fmla="*/ 0 w 473"/>
                <a:gd name="T37"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3" h="561">
                  <a:moveTo>
                    <a:pt x="0" y="0"/>
                  </a:moveTo>
                  <a:lnTo>
                    <a:pt x="0" y="0"/>
                  </a:lnTo>
                  <a:lnTo>
                    <a:pt x="122" y="15"/>
                  </a:lnTo>
                  <a:lnTo>
                    <a:pt x="182" y="23"/>
                  </a:lnTo>
                  <a:lnTo>
                    <a:pt x="242" y="32"/>
                  </a:lnTo>
                  <a:lnTo>
                    <a:pt x="301" y="41"/>
                  </a:lnTo>
                  <a:lnTo>
                    <a:pt x="359" y="52"/>
                  </a:lnTo>
                  <a:lnTo>
                    <a:pt x="416" y="63"/>
                  </a:lnTo>
                  <a:lnTo>
                    <a:pt x="473" y="75"/>
                  </a:lnTo>
                  <a:lnTo>
                    <a:pt x="473" y="75"/>
                  </a:lnTo>
                  <a:lnTo>
                    <a:pt x="473" y="561"/>
                  </a:lnTo>
                  <a:lnTo>
                    <a:pt x="473" y="561"/>
                  </a:lnTo>
                  <a:lnTo>
                    <a:pt x="357" y="528"/>
                  </a:lnTo>
                  <a:lnTo>
                    <a:pt x="239" y="495"/>
                  </a:lnTo>
                  <a:lnTo>
                    <a:pt x="120" y="465"/>
                  </a:lnTo>
                  <a:lnTo>
                    <a:pt x="0" y="436"/>
                  </a:lnTo>
                  <a:lnTo>
                    <a:pt x="0" y="43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endParaRPr>
            </a:p>
          </p:txBody>
        </p:sp>
        <p:sp>
          <p:nvSpPr>
            <p:cNvPr id="1242" name="Freeform 18"/>
            <p:cNvSpPr>
              <a:spLocks/>
            </p:cNvSpPr>
            <p:nvPr/>
          </p:nvSpPr>
          <p:spPr bwMode="auto">
            <a:xfrm>
              <a:off x="2997414" y="-1743076"/>
              <a:ext cx="168275" cy="434975"/>
            </a:xfrm>
            <a:custGeom>
              <a:avLst/>
              <a:gdLst>
                <a:gd name="T0" fmla="*/ 0 w 212"/>
                <a:gd name="T1" fmla="*/ 0 h 547"/>
                <a:gd name="T2" fmla="*/ 0 w 212"/>
                <a:gd name="T3" fmla="*/ 0 h 547"/>
                <a:gd name="T4" fmla="*/ 26 w 212"/>
                <a:gd name="T5" fmla="*/ 6 h 547"/>
                <a:gd name="T6" fmla="*/ 53 w 212"/>
                <a:gd name="T7" fmla="*/ 9 h 547"/>
                <a:gd name="T8" fmla="*/ 80 w 212"/>
                <a:gd name="T9" fmla="*/ 13 h 547"/>
                <a:gd name="T10" fmla="*/ 108 w 212"/>
                <a:gd name="T11" fmla="*/ 15 h 547"/>
                <a:gd name="T12" fmla="*/ 137 w 212"/>
                <a:gd name="T13" fmla="*/ 19 h 547"/>
                <a:gd name="T14" fmla="*/ 164 w 212"/>
                <a:gd name="T15" fmla="*/ 23 h 547"/>
                <a:gd name="T16" fmla="*/ 189 w 212"/>
                <a:gd name="T17" fmla="*/ 29 h 547"/>
                <a:gd name="T18" fmla="*/ 201 w 212"/>
                <a:gd name="T19" fmla="*/ 32 h 547"/>
                <a:gd name="T20" fmla="*/ 212 w 212"/>
                <a:gd name="T21" fmla="*/ 37 h 547"/>
                <a:gd name="T22" fmla="*/ 212 w 212"/>
                <a:gd name="T23" fmla="*/ 37 h 547"/>
                <a:gd name="T24" fmla="*/ 212 w 212"/>
                <a:gd name="T25" fmla="*/ 547 h 547"/>
                <a:gd name="T26" fmla="*/ 212 w 212"/>
                <a:gd name="T27" fmla="*/ 547 h 547"/>
                <a:gd name="T28" fmla="*/ 188 w 212"/>
                <a:gd name="T29" fmla="*/ 538 h 547"/>
                <a:gd name="T30" fmla="*/ 163 w 212"/>
                <a:gd name="T31" fmla="*/ 531 h 547"/>
                <a:gd name="T32" fmla="*/ 137 w 212"/>
                <a:gd name="T33" fmla="*/ 524 h 547"/>
                <a:gd name="T34" fmla="*/ 111 w 212"/>
                <a:gd name="T35" fmla="*/ 518 h 547"/>
                <a:gd name="T36" fmla="*/ 56 w 212"/>
                <a:gd name="T37" fmla="*/ 507 h 547"/>
                <a:gd name="T38" fmla="*/ 0 w 212"/>
                <a:gd name="T39" fmla="*/ 497 h 547"/>
                <a:gd name="T40" fmla="*/ 0 w 212"/>
                <a:gd name="T41" fmla="*/ 497 h 547"/>
                <a:gd name="T42" fmla="*/ 0 w 212"/>
                <a:gd name="T43" fmla="*/ 0 h 547"/>
                <a:gd name="T44" fmla="*/ 0 w 212"/>
                <a:gd name="T4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547">
                  <a:moveTo>
                    <a:pt x="0" y="0"/>
                  </a:moveTo>
                  <a:lnTo>
                    <a:pt x="0" y="0"/>
                  </a:lnTo>
                  <a:lnTo>
                    <a:pt x="26" y="6"/>
                  </a:lnTo>
                  <a:lnTo>
                    <a:pt x="53" y="9"/>
                  </a:lnTo>
                  <a:lnTo>
                    <a:pt x="80" y="13"/>
                  </a:lnTo>
                  <a:lnTo>
                    <a:pt x="108" y="15"/>
                  </a:lnTo>
                  <a:lnTo>
                    <a:pt x="137" y="19"/>
                  </a:lnTo>
                  <a:lnTo>
                    <a:pt x="164" y="23"/>
                  </a:lnTo>
                  <a:lnTo>
                    <a:pt x="189" y="29"/>
                  </a:lnTo>
                  <a:lnTo>
                    <a:pt x="201" y="32"/>
                  </a:lnTo>
                  <a:lnTo>
                    <a:pt x="212" y="37"/>
                  </a:lnTo>
                  <a:lnTo>
                    <a:pt x="212" y="37"/>
                  </a:lnTo>
                  <a:lnTo>
                    <a:pt x="212" y="547"/>
                  </a:lnTo>
                  <a:lnTo>
                    <a:pt x="212" y="547"/>
                  </a:lnTo>
                  <a:lnTo>
                    <a:pt x="188" y="538"/>
                  </a:lnTo>
                  <a:lnTo>
                    <a:pt x="163" y="531"/>
                  </a:lnTo>
                  <a:lnTo>
                    <a:pt x="137" y="524"/>
                  </a:lnTo>
                  <a:lnTo>
                    <a:pt x="111" y="518"/>
                  </a:lnTo>
                  <a:lnTo>
                    <a:pt x="56" y="507"/>
                  </a:lnTo>
                  <a:lnTo>
                    <a:pt x="0" y="497"/>
                  </a:lnTo>
                  <a:lnTo>
                    <a:pt x="0" y="49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endParaRPr>
            </a:p>
          </p:txBody>
        </p:sp>
        <p:sp>
          <p:nvSpPr>
            <p:cNvPr id="1244" name="Freeform 20"/>
            <p:cNvSpPr>
              <a:spLocks/>
            </p:cNvSpPr>
            <p:nvPr/>
          </p:nvSpPr>
          <p:spPr bwMode="auto">
            <a:xfrm>
              <a:off x="2533864" y="-1377951"/>
              <a:ext cx="376238" cy="268288"/>
            </a:xfrm>
            <a:custGeom>
              <a:avLst/>
              <a:gdLst>
                <a:gd name="T0" fmla="*/ 0 w 473"/>
                <a:gd name="T1" fmla="*/ 0 h 336"/>
                <a:gd name="T2" fmla="*/ 0 w 473"/>
                <a:gd name="T3" fmla="*/ 0 h 336"/>
                <a:gd name="T4" fmla="*/ 31 w 473"/>
                <a:gd name="T5" fmla="*/ 5 h 336"/>
                <a:gd name="T6" fmla="*/ 63 w 473"/>
                <a:gd name="T7" fmla="*/ 11 h 336"/>
                <a:gd name="T8" fmla="*/ 92 w 473"/>
                <a:gd name="T9" fmla="*/ 17 h 336"/>
                <a:gd name="T10" fmla="*/ 122 w 473"/>
                <a:gd name="T11" fmla="*/ 24 h 336"/>
                <a:gd name="T12" fmla="*/ 180 w 473"/>
                <a:gd name="T13" fmla="*/ 40 h 336"/>
                <a:gd name="T14" fmla="*/ 237 w 473"/>
                <a:gd name="T15" fmla="*/ 55 h 336"/>
                <a:gd name="T16" fmla="*/ 293 w 473"/>
                <a:gd name="T17" fmla="*/ 72 h 336"/>
                <a:gd name="T18" fmla="*/ 351 w 473"/>
                <a:gd name="T19" fmla="*/ 88 h 336"/>
                <a:gd name="T20" fmla="*/ 380 w 473"/>
                <a:gd name="T21" fmla="*/ 94 h 336"/>
                <a:gd name="T22" fmla="*/ 410 w 473"/>
                <a:gd name="T23" fmla="*/ 101 h 336"/>
                <a:gd name="T24" fmla="*/ 442 w 473"/>
                <a:gd name="T25" fmla="*/ 107 h 336"/>
                <a:gd name="T26" fmla="*/ 473 w 473"/>
                <a:gd name="T27" fmla="*/ 112 h 336"/>
                <a:gd name="T28" fmla="*/ 473 w 473"/>
                <a:gd name="T29" fmla="*/ 112 h 336"/>
                <a:gd name="T30" fmla="*/ 473 w 473"/>
                <a:gd name="T31" fmla="*/ 336 h 336"/>
                <a:gd name="T32" fmla="*/ 473 w 473"/>
                <a:gd name="T33" fmla="*/ 336 h 336"/>
                <a:gd name="T34" fmla="*/ 411 w 473"/>
                <a:gd name="T35" fmla="*/ 316 h 336"/>
                <a:gd name="T36" fmla="*/ 352 w 473"/>
                <a:gd name="T37" fmla="*/ 295 h 336"/>
                <a:gd name="T38" fmla="*/ 291 w 473"/>
                <a:gd name="T39" fmla="*/ 273 h 336"/>
                <a:gd name="T40" fmla="*/ 233 w 473"/>
                <a:gd name="T41" fmla="*/ 252 h 336"/>
                <a:gd name="T42" fmla="*/ 116 w 473"/>
                <a:gd name="T43" fmla="*/ 207 h 336"/>
                <a:gd name="T44" fmla="*/ 0 w 473"/>
                <a:gd name="T45" fmla="*/ 162 h 336"/>
                <a:gd name="T46" fmla="*/ 0 w 473"/>
                <a:gd name="T47" fmla="*/ 162 h 336"/>
                <a:gd name="T48" fmla="*/ 0 w 473"/>
                <a:gd name="T49" fmla="*/ 0 h 336"/>
                <a:gd name="T50" fmla="*/ 0 w 473"/>
                <a:gd name="T5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3" h="336">
                  <a:moveTo>
                    <a:pt x="0" y="0"/>
                  </a:moveTo>
                  <a:lnTo>
                    <a:pt x="0" y="0"/>
                  </a:lnTo>
                  <a:lnTo>
                    <a:pt x="31" y="5"/>
                  </a:lnTo>
                  <a:lnTo>
                    <a:pt x="63" y="11"/>
                  </a:lnTo>
                  <a:lnTo>
                    <a:pt x="92" y="17"/>
                  </a:lnTo>
                  <a:lnTo>
                    <a:pt x="122" y="24"/>
                  </a:lnTo>
                  <a:lnTo>
                    <a:pt x="180" y="40"/>
                  </a:lnTo>
                  <a:lnTo>
                    <a:pt x="237" y="55"/>
                  </a:lnTo>
                  <a:lnTo>
                    <a:pt x="293" y="72"/>
                  </a:lnTo>
                  <a:lnTo>
                    <a:pt x="351" y="88"/>
                  </a:lnTo>
                  <a:lnTo>
                    <a:pt x="380" y="94"/>
                  </a:lnTo>
                  <a:lnTo>
                    <a:pt x="410" y="101"/>
                  </a:lnTo>
                  <a:lnTo>
                    <a:pt x="442" y="107"/>
                  </a:lnTo>
                  <a:lnTo>
                    <a:pt x="473" y="112"/>
                  </a:lnTo>
                  <a:lnTo>
                    <a:pt x="473" y="112"/>
                  </a:lnTo>
                  <a:lnTo>
                    <a:pt x="473" y="336"/>
                  </a:lnTo>
                  <a:lnTo>
                    <a:pt x="473" y="336"/>
                  </a:lnTo>
                  <a:lnTo>
                    <a:pt x="411" y="316"/>
                  </a:lnTo>
                  <a:lnTo>
                    <a:pt x="352" y="295"/>
                  </a:lnTo>
                  <a:lnTo>
                    <a:pt x="291" y="273"/>
                  </a:lnTo>
                  <a:lnTo>
                    <a:pt x="233" y="252"/>
                  </a:lnTo>
                  <a:lnTo>
                    <a:pt x="116" y="207"/>
                  </a:lnTo>
                  <a:lnTo>
                    <a:pt x="0" y="162"/>
                  </a:lnTo>
                  <a:lnTo>
                    <a:pt x="0" y="16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endParaRPr>
            </a:p>
          </p:txBody>
        </p:sp>
        <p:sp>
          <p:nvSpPr>
            <p:cNvPr id="1247" name="Freeform 23"/>
            <p:cNvSpPr>
              <a:spLocks/>
            </p:cNvSpPr>
            <p:nvPr/>
          </p:nvSpPr>
          <p:spPr bwMode="auto">
            <a:xfrm>
              <a:off x="2997414" y="-1258888"/>
              <a:ext cx="168275" cy="247650"/>
            </a:xfrm>
            <a:custGeom>
              <a:avLst/>
              <a:gdLst>
                <a:gd name="T0" fmla="*/ 0 w 212"/>
                <a:gd name="T1" fmla="*/ 0 h 311"/>
                <a:gd name="T2" fmla="*/ 0 w 212"/>
                <a:gd name="T3" fmla="*/ 0 h 311"/>
                <a:gd name="T4" fmla="*/ 51 w 212"/>
                <a:gd name="T5" fmla="*/ 14 h 311"/>
                <a:gd name="T6" fmla="*/ 102 w 212"/>
                <a:gd name="T7" fmla="*/ 29 h 311"/>
                <a:gd name="T8" fmla="*/ 128 w 212"/>
                <a:gd name="T9" fmla="*/ 35 h 311"/>
                <a:gd name="T10" fmla="*/ 155 w 212"/>
                <a:gd name="T11" fmla="*/ 41 h 311"/>
                <a:gd name="T12" fmla="*/ 183 w 212"/>
                <a:gd name="T13" fmla="*/ 46 h 311"/>
                <a:gd name="T14" fmla="*/ 212 w 212"/>
                <a:gd name="T15" fmla="*/ 50 h 311"/>
                <a:gd name="T16" fmla="*/ 212 w 212"/>
                <a:gd name="T17" fmla="*/ 50 h 311"/>
                <a:gd name="T18" fmla="*/ 212 w 212"/>
                <a:gd name="T19" fmla="*/ 311 h 311"/>
                <a:gd name="T20" fmla="*/ 212 w 212"/>
                <a:gd name="T21" fmla="*/ 311 h 311"/>
                <a:gd name="T22" fmla="*/ 163 w 212"/>
                <a:gd name="T23" fmla="*/ 292 h 311"/>
                <a:gd name="T24" fmla="*/ 112 w 212"/>
                <a:gd name="T25" fmla="*/ 275 h 311"/>
                <a:gd name="T26" fmla="*/ 85 w 212"/>
                <a:gd name="T27" fmla="*/ 266 h 311"/>
                <a:gd name="T28" fmla="*/ 59 w 212"/>
                <a:gd name="T29" fmla="*/ 259 h 311"/>
                <a:gd name="T30" fmla="*/ 30 w 212"/>
                <a:gd name="T31" fmla="*/ 253 h 311"/>
                <a:gd name="T32" fmla="*/ 0 w 212"/>
                <a:gd name="T33" fmla="*/ 248 h 311"/>
                <a:gd name="T34" fmla="*/ 0 w 212"/>
                <a:gd name="T35" fmla="*/ 248 h 311"/>
                <a:gd name="T36" fmla="*/ 0 w 212"/>
                <a:gd name="T37" fmla="*/ 0 h 311"/>
                <a:gd name="T38" fmla="*/ 0 w 212"/>
                <a:gd name="T3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2" h="311">
                  <a:moveTo>
                    <a:pt x="0" y="0"/>
                  </a:moveTo>
                  <a:lnTo>
                    <a:pt x="0" y="0"/>
                  </a:lnTo>
                  <a:lnTo>
                    <a:pt x="51" y="14"/>
                  </a:lnTo>
                  <a:lnTo>
                    <a:pt x="102" y="29"/>
                  </a:lnTo>
                  <a:lnTo>
                    <a:pt x="128" y="35"/>
                  </a:lnTo>
                  <a:lnTo>
                    <a:pt x="155" y="41"/>
                  </a:lnTo>
                  <a:lnTo>
                    <a:pt x="183" y="46"/>
                  </a:lnTo>
                  <a:lnTo>
                    <a:pt x="212" y="50"/>
                  </a:lnTo>
                  <a:lnTo>
                    <a:pt x="212" y="50"/>
                  </a:lnTo>
                  <a:lnTo>
                    <a:pt x="212" y="311"/>
                  </a:lnTo>
                  <a:lnTo>
                    <a:pt x="212" y="311"/>
                  </a:lnTo>
                  <a:lnTo>
                    <a:pt x="163" y="292"/>
                  </a:lnTo>
                  <a:lnTo>
                    <a:pt x="112" y="275"/>
                  </a:lnTo>
                  <a:lnTo>
                    <a:pt x="85" y="266"/>
                  </a:lnTo>
                  <a:lnTo>
                    <a:pt x="59" y="259"/>
                  </a:lnTo>
                  <a:lnTo>
                    <a:pt x="30" y="253"/>
                  </a:lnTo>
                  <a:lnTo>
                    <a:pt x="0" y="248"/>
                  </a:lnTo>
                  <a:lnTo>
                    <a:pt x="0" y="24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endParaRPr>
            </a:p>
          </p:txBody>
        </p:sp>
      </p:grpSp>
      <p:grpSp>
        <p:nvGrpSpPr>
          <p:cNvPr id="2" name="Group 1"/>
          <p:cNvGrpSpPr/>
          <p:nvPr/>
        </p:nvGrpSpPr>
        <p:grpSpPr>
          <a:xfrm>
            <a:off x="3765626" y="4999747"/>
            <a:ext cx="624546" cy="103194"/>
            <a:chOff x="3938783" y="4951230"/>
            <a:chExt cx="624546" cy="103194"/>
          </a:xfrm>
        </p:grpSpPr>
        <p:sp>
          <p:nvSpPr>
            <p:cNvPr id="1255" name="Rectangle 1254"/>
            <p:cNvSpPr/>
            <p:nvPr/>
          </p:nvSpPr>
          <p:spPr bwMode="auto">
            <a:xfrm>
              <a:off x="3938783" y="4951230"/>
              <a:ext cx="624546" cy="103194"/>
            </a:xfrm>
            <a:prstGeom prst="rect">
              <a:avLst/>
            </a:prstGeom>
            <a:solidFill>
              <a:schemeClr val="bg1"/>
            </a:solidFill>
            <a:ln>
              <a:noFill/>
            </a:ln>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solidFill>
                    <a:srgbClr val="1B3B41"/>
                  </a:solidFill>
                  <a:effectLst/>
                  <a:uLnTx/>
                  <a:uFillTx/>
                </a:rPr>
                <a:t>Retail</a:t>
              </a:r>
            </a:p>
          </p:txBody>
        </p:sp>
        <p:sp>
          <p:nvSpPr>
            <p:cNvPr id="1256" name="Freeform 128"/>
            <p:cNvSpPr>
              <a:spLocks noEditPoints="1"/>
            </p:cNvSpPr>
            <p:nvPr/>
          </p:nvSpPr>
          <p:spPr bwMode="auto">
            <a:xfrm>
              <a:off x="3959841" y="4964677"/>
              <a:ext cx="83128" cy="82862"/>
            </a:xfrm>
            <a:custGeom>
              <a:avLst/>
              <a:gdLst>
                <a:gd name="T0" fmla="*/ 380 w 626"/>
                <a:gd name="T1" fmla="*/ 72 h 623"/>
                <a:gd name="T2" fmla="*/ 340 w 626"/>
                <a:gd name="T3" fmla="*/ 81 h 623"/>
                <a:gd name="T4" fmla="*/ 304 w 626"/>
                <a:gd name="T5" fmla="*/ 98 h 623"/>
                <a:gd name="T6" fmla="*/ 274 w 626"/>
                <a:gd name="T7" fmla="*/ 124 h 623"/>
                <a:gd name="T8" fmla="*/ 251 w 626"/>
                <a:gd name="T9" fmla="*/ 156 h 623"/>
                <a:gd name="T10" fmla="*/ 237 w 626"/>
                <a:gd name="T11" fmla="*/ 194 h 623"/>
                <a:gd name="T12" fmla="*/ 232 w 626"/>
                <a:gd name="T13" fmla="*/ 226 h 623"/>
                <a:gd name="T14" fmla="*/ 237 w 626"/>
                <a:gd name="T15" fmla="*/ 274 h 623"/>
                <a:gd name="T16" fmla="*/ 255 w 626"/>
                <a:gd name="T17" fmla="*/ 316 h 623"/>
                <a:gd name="T18" fmla="*/ 285 w 626"/>
                <a:gd name="T19" fmla="*/ 352 h 623"/>
                <a:gd name="T20" fmla="*/ 324 w 626"/>
                <a:gd name="T21" fmla="*/ 378 h 623"/>
                <a:gd name="T22" fmla="*/ 355 w 626"/>
                <a:gd name="T23" fmla="*/ 389 h 623"/>
                <a:gd name="T24" fmla="*/ 393 w 626"/>
                <a:gd name="T25" fmla="*/ 394 h 623"/>
                <a:gd name="T26" fmla="*/ 421 w 626"/>
                <a:gd name="T27" fmla="*/ 392 h 623"/>
                <a:gd name="T28" fmla="*/ 459 w 626"/>
                <a:gd name="T29" fmla="*/ 380 h 623"/>
                <a:gd name="T30" fmla="*/ 493 w 626"/>
                <a:gd name="T31" fmla="*/ 360 h 623"/>
                <a:gd name="T32" fmla="*/ 520 w 626"/>
                <a:gd name="T33" fmla="*/ 332 h 623"/>
                <a:gd name="T34" fmla="*/ 541 w 626"/>
                <a:gd name="T35" fmla="*/ 298 h 623"/>
                <a:gd name="T36" fmla="*/ 550 w 626"/>
                <a:gd name="T37" fmla="*/ 272 h 623"/>
                <a:gd name="T38" fmla="*/ 555 w 626"/>
                <a:gd name="T39" fmla="*/ 224 h 623"/>
                <a:gd name="T40" fmla="*/ 545 w 626"/>
                <a:gd name="T41" fmla="*/ 178 h 623"/>
                <a:gd name="T42" fmla="*/ 531 w 626"/>
                <a:gd name="T43" fmla="*/ 149 h 623"/>
                <a:gd name="T44" fmla="*/ 501 w 626"/>
                <a:gd name="T45" fmla="*/ 113 h 623"/>
                <a:gd name="T46" fmla="*/ 462 w 626"/>
                <a:gd name="T47" fmla="*/ 87 h 623"/>
                <a:gd name="T48" fmla="*/ 432 w 626"/>
                <a:gd name="T49" fmla="*/ 76 h 623"/>
                <a:gd name="T50" fmla="*/ 393 w 626"/>
                <a:gd name="T51" fmla="*/ 465 h 623"/>
                <a:gd name="T52" fmla="*/ 366 w 626"/>
                <a:gd name="T53" fmla="*/ 463 h 623"/>
                <a:gd name="T54" fmla="*/ 338 w 626"/>
                <a:gd name="T55" fmla="*/ 458 h 623"/>
                <a:gd name="T56" fmla="*/ 288 w 626"/>
                <a:gd name="T57" fmla="*/ 440 h 623"/>
                <a:gd name="T58" fmla="*/ 98 w 626"/>
                <a:gd name="T59" fmla="*/ 611 h 623"/>
                <a:gd name="T60" fmla="*/ 84 w 626"/>
                <a:gd name="T61" fmla="*/ 618 h 623"/>
                <a:gd name="T62" fmla="*/ 63 w 626"/>
                <a:gd name="T63" fmla="*/ 623 h 623"/>
                <a:gd name="T64" fmla="*/ 46 w 626"/>
                <a:gd name="T65" fmla="*/ 622 h 623"/>
                <a:gd name="T66" fmla="*/ 18 w 626"/>
                <a:gd name="T67" fmla="*/ 607 h 623"/>
                <a:gd name="T68" fmla="*/ 2 w 626"/>
                <a:gd name="T69" fmla="*/ 580 h 623"/>
                <a:gd name="T70" fmla="*/ 2 w 626"/>
                <a:gd name="T71" fmla="*/ 548 h 623"/>
                <a:gd name="T72" fmla="*/ 16 w 626"/>
                <a:gd name="T73" fmla="*/ 525 h 623"/>
                <a:gd name="T74" fmla="*/ 112 w 626"/>
                <a:gd name="T75" fmla="*/ 427 h 623"/>
                <a:gd name="T76" fmla="*/ 191 w 626"/>
                <a:gd name="T77" fmla="*/ 347 h 623"/>
                <a:gd name="T78" fmla="*/ 168 w 626"/>
                <a:gd name="T79" fmla="*/ 287 h 623"/>
                <a:gd name="T80" fmla="*/ 161 w 626"/>
                <a:gd name="T81" fmla="*/ 221 h 623"/>
                <a:gd name="T82" fmla="*/ 168 w 626"/>
                <a:gd name="T83" fmla="*/ 177 h 623"/>
                <a:gd name="T84" fmla="*/ 189 w 626"/>
                <a:gd name="T85" fmla="*/ 122 h 623"/>
                <a:gd name="T86" fmla="*/ 222 w 626"/>
                <a:gd name="T87" fmla="*/ 76 h 623"/>
                <a:gd name="T88" fmla="*/ 265 w 626"/>
                <a:gd name="T89" fmla="*/ 38 h 623"/>
                <a:gd name="T90" fmla="*/ 316 w 626"/>
                <a:gd name="T91" fmla="*/ 13 h 623"/>
                <a:gd name="T92" fmla="*/ 374 w 626"/>
                <a:gd name="T93" fmla="*/ 0 h 623"/>
                <a:gd name="T94" fmla="*/ 407 w 626"/>
                <a:gd name="T95" fmla="*/ 0 h 623"/>
                <a:gd name="T96" fmla="*/ 449 w 626"/>
                <a:gd name="T97" fmla="*/ 6 h 623"/>
                <a:gd name="T98" fmla="*/ 492 w 626"/>
                <a:gd name="T99" fmla="*/ 22 h 623"/>
                <a:gd name="T100" fmla="*/ 549 w 626"/>
                <a:gd name="T101" fmla="*/ 60 h 623"/>
                <a:gd name="T102" fmla="*/ 593 w 626"/>
                <a:gd name="T103" fmla="*/ 112 h 623"/>
                <a:gd name="T104" fmla="*/ 612 w 626"/>
                <a:gd name="T105" fmla="*/ 154 h 623"/>
                <a:gd name="T106" fmla="*/ 626 w 626"/>
                <a:gd name="T107" fmla="*/ 220 h 623"/>
                <a:gd name="T108" fmla="*/ 619 w 626"/>
                <a:gd name="T109" fmla="*/ 289 h 623"/>
                <a:gd name="T110" fmla="*/ 607 w 626"/>
                <a:gd name="T111" fmla="*/ 326 h 623"/>
                <a:gd name="T112" fmla="*/ 577 w 626"/>
                <a:gd name="T113" fmla="*/ 375 h 623"/>
                <a:gd name="T114" fmla="*/ 536 w 626"/>
                <a:gd name="T115" fmla="*/ 416 h 623"/>
                <a:gd name="T116" fmla="*/ 488 w 626"/>
                <a:gd name="T117" fmla="*/ 445 h 623"/>
                <a:gd name="T118" fmla="*/ 433 w 626"/>
                <a:gd name="T119" fmla="*/ 46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6" h="623">
                  <a:moveTo>
                    <a:pt x="393" y="72"/>
                  </a:moveTo>
                  <a:lnTo>
                    <a:pt x="393" y="72"/>
                  </a:lnTo>
                  <a:lnTo>
                    <a:pt x="380" y="72"/>
                  </a:lnTo>
                  <a:lnTo>
                    <a:pt x="366" y="74"/>
                  </a:lnTo>
                  <a:lnTo>
                    <a:pt x="353" y="77"/>
                  </a:lnTo>
                  <a:lnTo>
                    <a:pt x="340" y="81"/>
                  </a:lnTo>
                  <a:lnTo>
                    <a:pt x="327" y="85"/>
                  </a:lnTo>
                  <a:lnTo>
                    <a:pt x="315" y="91"/>
                  </a:lnTo>
                  <a:lnTo>
                    <a:pt x="304" y="98"/>
                  </a:lnTo>
                  <a:lnTo>
                    <a:pt x="293" y="106"/>
                  </a:lnTo>
                  <a:lnTo>
                    <a:pt x="283" y="114"/>
                  </a:lnTo>
                  <a:lnTo>
                    <a:pt x="274" y="124"/>
                  </a:lnTo>
                  <a:lnTo>
                    <a:pt x="266" y="134"/>
                  </a:lnTo>
                  <a:lnTo>
                    <a:pt x="258" y="144"/>
                  </a:lnTo>
                  <a:lnTo>
                    <a:pt x="251" y="156"/>
                  </a:lnTo>
                  <a:lnTo>
                    <a:pt x="245" y="168"/>
                  </a:lnTo>
                  <a:lnTo>
                    <a:pt x="240" y="181"/>
                  </a:lnTo>
                  <a:lnTo>
                    <a:pt x="237" y="194"/>
                  </a:lnTo>
                  <a:lnTo>
                    <a:pt x="237" y="194"/>
                  </a:lnTo>
                  <a:lnTo>
                    <a:pt x="233" y="210"/>
                  </a:lnTo>
                  <a:lnTo>
                    <a:pt x="232" y="226"/>
                  </a:lnTo>
                  <a:lnTo>
                    <a:pt x="232" y="242"/>
                  </a:lnTo>
                  <a:lnTo>
                    <a:pt x="234" y="257"/>
                  </a:lnTo>
                  <a:lnTo>
                    <a:pt x="237" y="274"/>
                  </a:lnTo>
                  <a:lnTo>
                    <a:pt x="242" y="289"/>
                  </a:lnTo>
                  <a:lnTo>
                    <a:pt x="248" y="303"/>
                  </a:lnTo>
                  <a:lnTo>
                    <a:pt x="255" y="316"/>
                  </a:lnTo>
                  <a:lnTo>
                    <a:pt x="264" y="329"/>
                  </a:lnTo>
                  <a:lnTo>
                    <a:pt x="274" y="341"/>
                  </a:lnTo>
                  <a:lnTo>
                    <a:pt x="285" y="352"/>
                  </a:lnTo>
                  <a:lnTo>
                    <a:pt x="297" y="362"/>
                  </a:lnTo>
                  <a:lnTo>
                    <a:pt x="310" y="371"/>
                  </a:lnTo>
                  <a:lnTo>
                    <a:pt x="324" y="378"/>
                  </a:lnTo>
                  <a:lnTo>
                    <a:pt x="339" y="385"/>
                  </a:lnTo>
                  <a:lnTo>
                    <a:pt x="355" y="389"/>
                  </a:lnTo>
                  <a:lnTo>
                    <a:pt x="355" y="389"/>
                  </a:lnTo>
                  <a:lnTo>
                    <a:pt x="365" y="391"/>
                  </a:lnTo>
                  <a:lnTo>
                    <a:pt x="374" y="393"/>
                  </a:lnTo>
                  <a:lnTo>
                    <a:pt x="393" y="394"/>
                  </a:lnTo>
                  <a:lnTo>
                    <a:pt x="393" y="394"/>
                  </a:lnTo>
                  <a:lnTo>
                    <a:pt x="407" y="393"/>
                  </a:lnTo>
                  <a:lnTo>
                    <a:pt x="421" y="392"/>
                  </a:lnTo>
                  <a:lnTo>
                    <a:pt x="434" y="389"/>
                  </a:lnTo>
                  <a:lnTo>
                    <a:pt x="447" y="385"/>
                  </a:lnTo>
                  <a:lnTo>
                    <a:pt x="459" y="380"/>
                  </a:lnTo>
                  <a:lnTo>
                    <a:pt x="471" y="374"/>
                  </a:lnTo>
                  <a:lnTo>
                    <a:pt x="482" y="367"/>
                  </a:lnTo>
                  <a:lnTo>
                    <a:pt x="493" y="360"/>
                  </a:lnTo>
                  <a:lnTo>
                    <a:pt x="503" y="351"/>
                  </a:lnTo>
                  <a:lnTo>
                    <a:pt x="512" y="342"/>
                  </a:lnTo>
                  <a:lnTo>
                    <a:pt x="520" y="332"/>
                  </a:lnTo>
                  <a:lnTo>
                    <a:pt x="528" y="321"/>
                  </a:lnTo>
                  <a:lnTo>
                    <a:pt x="535" y="310"/>
                  </a:lnTo>
                  <a:lnTo>
                    <a:pt x="541" y="298"/>
                  </a:lnTo>
                  <a:lnTo>
                    <a:pt x="547" y="285"/>
                  </a:lnTo>
                  <a:lnTo>
                    <a:pt x="550" y="272"/>
                  </a:lnTo>
                  <a:lnTo>
                    <a:pt x="550" y="272"/>
                  </a:lnTo>
                  <a:lnTo>
                    <a:pt x="554" y="255"/>
                  </a:lnTo>
                  <a:lnTo>
                    <a:pt x="555" y="239"/>
                  </a:lnTo>
                  <a:lnTo>
                    <a:pt x="555" y="224"/>
                  </a:lnTo>
                  <a:lnTo>
                    <a:pt x="553" y="208"/>
                  </a:lnTo>
                  <a:lnTo>
                    <a:pt x="550" y="193"/>
                  </a:lnTo>
                  <a:lnTo>
                    <a:pt x="545" y="178"/>
                  </a:lnTo>
                  <a:lnTo>
                    <a:pt x="539" y="163"/>
                  </a:lnTo>
                  <a:lnTo>
                    <a:pt x="531" y="149"/>
                  </a:lnTo>
                  <a:lnTo>
                    <a:pt x="531" y="149"/>
                  </a:lnTo>
                  <a:lnTo>
                    <a:pt x="522" y="136"/>
                  </a:lnTo>
                  <a:lnTo>
                    <a:pt x="512" y="124"/>
                  </a:lnTo>
                  <a:lnTo>
                    <a:pt x="501" y="113"/>
                  </a:lnTo>
                  <a:lnTo>
                    <a:pt x="489" y="103"/>
                  </a:lnTo>
                  <a:lnTo>
                    <a:pt x="476" y="94"/>
                  </a:lnTo>
                  <a:lnTo>
                    <a:pt x="462" y="87"/>
                  </a:lnTo>
                  <a:lnTo>
                    <a:pt x="447" y="81"/>
                  </a:lnTo>
                  <a:lnTo>
                    <a:pt x="432" y="76"/>
                  </a:lnTo>
                  <a:lnTo>
                    <a:pt x="432" y="76"/>
                  </a:lnTo>
                  <a:lnTo>
                    <a:pt x="413" y="73"/>
                  </a:lnTo>
                  <a:lnTo>
                    <a:pt x="393" y="72"/>
                  </a:lnTo>
                  <a:close/>
                  <a:moveTo>
                    <a:pt x="393" y="465"/>
                  </a:moveTo>
                  <a:lnTo>
                    <a:pt x="393" y="465"/>
                  </a:lnTo>
                  <a:lnTo>
                    <a:pt x="380" y="464"/>
                  </a:lnTo>
                  <a:lnTo>
                    <a:pt x="366" y="463"/>
                  </a:lnTo>
                  <a:lnTo>
                    <a:pt x="352" y="461"/>
                  </a:lnTo>
                  <a:lnTo>
                    <a:pt x="338" y="458"/>
                  </a:lnTo>
                  <a:lnTo>
                    <a:pt x="338" y="458"/>
                  </a:lnTo>
                  <a:lnTo>
                    <a:pt x="320" y="453"/>
                  </a:lnTo>
                  <a:lnTo>
                    <a:pt x="304" y="447"/>
                  </a:lnTo>
                  <a:lnTo>
                    <a:pt x="288" y="440"/>
                  </a:lnTo>
                  <a:lnTo>
                    <a:pt x="273" y="431"/>
                  </a:lnTo>
                  <a:lnTo>
                    <a:pt x="273" y="431"/>
                  </a:lnTo>
                  <a:lnTo>
                    <a:pt x="98" y="611"/>
                  </a:lnTo>
                  <a:lnTo>
                    <a:pt x="98" y="611"/>
                  </a:lnTo>
                  <a:lnTo>
                    <a:pt x="91" y="615"/>
                  </a:lnTo>
                  <a:lnTo>
                    <a:pt x="84" y="618"/>
                  </a:lnTo>
                  <a:lnTo>
                    <a:pt x="77" y="620"/>
                  </a:lnTo>
                  <a:lnTo>
                    <a:pt x="70" y="622"/>
                  </a:lnTo>
                  <a:lnTo>
                    <a:pt x="63" y="623"/>
                  </a:lnTo>
                  <a:lnTo>
                    <a:pt x="57" y="623"/>
                  </a:lnTo>
                  <a:lnTo>
                    <a:pt x="51" y="623"/>
                  </a:lnTo>
                  <a:lnTo>
                    <a:pt x="46" y="622"/>
                  </a:lnTo>
                  <a:lnTo>
                    <a:pt x="35" y="619"/>
                  </a:lnTo>
                  <a:lnTo>
                    <a:pt x="26" y="614"/>
                  </a:lnTo>
                  <a:lnTo>
                    <a:pt x="18" y="607"/>
                  </a:lnTo>
                  <a:lnTo>
                    <a:pt x="11" y="599"/>
                  </a:lnTo>
                  <a:lnTo>
                    <a:pt x="6" y="590"/>
                  </a:lnTo>
                  <a:lnTo>
                    <a:pt x="2" y="580"/>
                  </a:lnTo>
                  <a:lnTo>
                    <a:pt x="0" y="569"/>
                  </a:lnTo>
                  <a:lnTo>
                    <a:pt x="0" y="559"/>
                  </a:lnTo>
                  <a:lnTo>
                    <a:pt x="2" y="548"/>
                  </a:lnTo>
                  <a:lnTo>
                    <a:pt x="6" y="539"/>
                  </a:lnTo>
                  <a:lnTo>
                    <a:pt x="12" y="529"/>
                  </a:lnTo>
                  <a:lnTo>
                    <a:pt x="16" y="525"/>
                  </a:lnTo>
                  <a:lnTo>
                    <a:pt x="20" y="521"/>
                  </a:lnTo>
                  <a:lnTo>
                    <a:pt x="20" y="521"/>
                  </a:lnTo>
                  <a:lnTo>
                    <a:pt x="112" y="427"/>
                  </a:lnTo>
                  <a:lnTo>
                    <a:pt x="167" y="372"/>
                  </a:lnTo>
                  <a:lnTo>
                    <a:pt x="191" y="347"/>
                  </a:lnTo>
                  <a:lnTo>
                    <a:pt x="191" y="347"/>
                  </a:lnTo>
                  <a:lnTo>
                    <a:pt x="182" y="328"/>
                  </a:lnTo>
                  <a:lnTo>
                    <a:pt x="174" y="308"/>
                  </a:lnTo>
                  <a:lnTo>
                    <a:pt x="168" y="287"/>
                  </a:lnTo>
                  <a:lnTo>
                    <a:pt x="164" y="266"/>
                  </a:lnTo>
                  <a:lnTo>
                    <a:pt x="162" y="243"/>
                  </a:lnTo>
                  <a:lnTo>
                    <a:pt x="161" y="221"/>
                  </a:lnTo>
                  <a:lnTo>
                    <a:pt x="163" y="199"/>
                  </a:lnTo>
                  <a:lnTo>
                    <a:pt x="168" y="177"/>
                  </a:lnTo>
                  <a:lnTo>
                    <a:pt x="168" y="177"/>
                  </a:lnTo>
                  <a:lnTo>
                    <a:pt x="173" y="158"/>
                  </a:lnTo>
                  <a:lnTo>
                    <a:pt x="180" y="140"/>
                  </a:lnTo>
                  <a:lnTo>
                    <a:pt x="189" y="122"/>
                  </a:lnTo>
                  <a:lnTo>
                    <a:pt x="199" y="106"/>
                  </a:lnTo>
                  <a:lnTo>
                    <a:pt x="210" y="90"/>
                  </a:lnTo>
                  <a:lnTo>
                    <a:pt x="222" y="76"/>
                  </a:lnTo>
                  <a:lnTo>
                    <a:pt x="235" y="62"/>
                  </a:lnTo>
                  <a:lnTo>
                    <a:pt x="250" y="49"/>
                  </a:lnTo>
                  <a:lnTo>
                    <a:pt x="265" y="38"/>
                  </a:lnTo>
                  <a:lnTo>
                    <a:pt x="281" y="28"/>
                  </a:lnTo>
                  <a:lnTo>
                    <a:pt x="298" y="20"/>
                  </a:lnTo>
                  <a:lnTo>
                    <a:pt x="316" y="13"/>
                  </a:lnTo>
                  <a:lnTo>
                    <a:pt x="335" y="7"/>
                  </a:lnTo>
                  <a:lnTo>
                    <a:pt x="354" y="3"/>
                  </a:lnTo>
                  <a:lnTo>
                    <a:pt x="374" y="0"/>
                  </a:lnTo>
                  <a:lnTo>
                    <a:pt x="393" y="0"/>
                  </a:lnTo>
                  <a:lnTo>
                    <a:pt x="393" y="0"/>
                  </a:lnTo>
                  <a:lnTo>
                    <a:pt x="407" y="0"/>
                  </a:lnTo>
                  <a:lnTo>
                    <a:pt x="421" y="1"/>
                  </a:lnTo>
                  <a:lnTo>
                    <a:pt x="435" y="3"/>
                  </a:lnTo>
                  <a:lnTo>
                    <a:pt x="449" y="6"/>
                  </a:lnTo>
                  <a:lnTo>
                    <a:pt x="449" y="6"/>
                  </a:lnTo>
                  <a:lnTo>
                    <a:pt x="471" y="13"/>
                  </a:lnTo>
                  <a:lnTo>
                    <a:pt x="492" y="22"/>
                  </a:lnTo>
                  <a:lnTo>
                    <a:pt x="512" y="32"/>
                  </a:lnTo>
                  <a:lnTo>
                    <a:pt x="531" y="45"/>
                  </a:lnTo>
                  <a:lnTo>
                    <a:pt x="549" y="60"/>
                  </a:lnTo>
                  <a:lnTo>
                    <a:pt x="565" y="76"/>
                  </a:lnTo>
                  <a:lnTo>
                    <a:pt x="580" y="93"/>
                  </a:lnTo>
                  <a:lnTo>
                    <a:pt x="593" y="112"/>
                  </a:lnTo>
                  <a:lnTo>
                    <a:pt x="593" y="112"/>
                  </a:lnTo>
                  <a:lnTo>
                    <a:pt x="604" y="133"/>
                  </a:lnTo>
                  <a:lnTo>
                    <a:pt x="612" y="154"/>
                  </a:lnTo>
                  <a:lnTo>
                    <a:pt x="619" y="175"/>
                  </a:lnTo>
                  <a:lnTo>
                    <a:pt x="624" y="197"/>
                  </a:lnTo>
                  <a:lnTo>
                    <a:pt x="626" y="220"/>
                  </a:lnTo>
                  <a:lnTo>
                    <a:pt x="626" y="242"/>
                  </a:lnTo>
                  <a:lnTo>
                    <a:pt x="624" y="266"/>
                  </a:lnTo>
                  <a:lnTo>
                    <a:pt x="619" y="289"/>
                  </a:lnTo>
                  <a:lnTo>
                    <a:pt x="619" y="289"/>
                  </a:lnTo>
                  <a:lnTo>
                    <a:pt x="614" y="308"/>
                  </a:lnTo>
                  <a:lnTo>
                    <a:pt x="607" y="326"/>
                  </a:lnTo>
                  <a:lnTo>
                    <a:pt x="598" y="343"/>
                  </a:lnTo>
                  <a:lnTo>
                    <a:pt x="588" y="360"/>
                  </a:lnTo>
                  <a:lnTo>
                    <a:pt x="577" y="375"/>
                  </a:lnTo>
                  <a:lnTo>
                    <a:pt x="565" y="390"/>
                  </a:lnTo>
                  <a:lnTo>
                    <a:pt x="552" y="403"/>
                  </a:lnTo>
                  <a:lnTo>
                    <a:pt x="536" y="416"/>
                  </a:lnTo>
                  <a:lnTo>
                    <a:pt x="521" y="427"/>
                  </a:lnTo>
                  <a:lnTo>
                    <a:pt x="505" y="436"/>
                  </a:lnTo>
                  <a:lnTo>
                    <a:pt x="488" y="445"/>
                  </a:lnTo>
                  <a:lnTo>
                    <a:pt x="470" y="452"/>
                  </a:lnTo>
                  <a:lnTo>
                    <a:pt x="452" y="457"/>
                  </a:lnTo>
                  <a:lnTo>
                    <a:pt x="433" y="462"/>
                  </a:lnTo>
                  <a:lnTo>
                    <a:pt x="413" y="464"/>
                  </a:lnTo>
                  <a:lnTo>
                    <a:pt x="393" y="46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sp>
        <p:nvSpPr>
          <p:cNvPr id="1257" name="Freeform 224"/>
          <p:cNvSpPr>
            <a:spLocks/>
          </p:cNvSpPr>
          <p:nvPr/>
        </p:nvSpPr>
        <p:spPr bwMode="auto">
          <a:xfrm>
            <a:off x="4062299" y="5489024"/>
            <a:ext cx="86760" cy="143471"/>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258" name="Rectangle 1257"/>
          <p:cNvSpPr/>
          <p:nvPr/>
        </p:nvSpPr>
        <p:spPr bwMode="auto">
          <a:xfrm>
            <a:off x="3764564" y="6002549"/>
            <a:ext cx="624546" cy="103194"/>
          </a:xfrm>
          <a:prstGeom prst="rect">
            <a:avLst/>
          </a:prstGeom>
          <a:solidFill>
            <a:schemeClr val="bg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solidFill>
                  <a:srgbClr val="1B3B41"/>
                </a:solidFill>
                <a:effectLst/>
                <a:uLnTx/>
                <a:uFillTx/>
              </a:rPr>
              <a:t>200ft</a:t>
            </a:r>
          </a:p>
        </p:txBody>
      </p:sp>
      <p:sp>
        <p:nvSpPr>
          <p:cNvPr id="1252" name="Freeform 144"/>
          <p:cNvSpPr>
            <a:spLocks noEditPoints="1"/>
          </p:cNvSpPr>
          <p:nvPr/>
        </p:nvSpPr>
        <p:spPr bwMode="black">
          <a:xfrm>
            <a:off x="4302667" y="6016783"/>
            <a:ext cx="45719" cy="80714"/>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cxnSp>
        <p:nvCxnSpPr>
          <p:cNvPr id="198" name="Straight Connector 197"/>
          <p:cNvCxnSpPr/>
          <p:nvPr/>
        </p:nvCxnSpPr>
        <p:spPr>
          <a:xfrm flipV="1">
            <a:off x="4076789" y="5633204"/>
            <a:ext cx="26186" cy="127885"/>
          </a:xfrm>
          <a:prstGeom prst="line">
            <a:avLst/>
          </a:prstGeom>
          <a:ln>
            <a:solidFill>
              <a:schemeClr val="accent3"/>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3" name="Oval 2"/>
          <p:cNvSpPr/>
          <p:nvPr/>
        </p:nvSpPr>
        <p:spPr bwMode="auto">
          <a:xfrm>
            <a:off x="4041767" y="6216766"/>
            <a:ext cx="100942" cy="68945"/>
          </a:xfrm>
          <a:prstGeom prst="ellipse">
            <a:avLst/>
          </a:prstGeom>
          <a:solidFill>
            <a:schemeClr val="accent3"/>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439" name="Group 1438"/>
          <p:cNvGrpSpPr/>
          <p:nvPr/>
        </p:nvGrpSpPr>
        <p:grpSpPr>
          <a:xfrm>
            <a:off x="5865570" y="3563300"/>
            <a:ext cx="764665" cy="1218075"/>
            <a:chOff x="5823062" y="3407727"/>
            <a:chExt cx="764665" cy="1218075"/>
          </a:xfrm>
        </p:grpSpPr>
        <p:grpSp>
          <p:nvGrpSpPr>
            <p:cNvPr id="9" name="Group 8"/>
            <p:cNvGrpSpPr/>
            <p:nvPr/>
          </p:nvGrpSpPr>
          <p:grpSpPr>
            <a:xfrm>
              <a:off x="5823062" y="3407727"/>
              <a:ext cx="764665" cy="1218075"/>
              <a:chOff x="5473183" y="4642978"/>
              <a:chExt cx="925245" cy="1473871"/>
            </a:xfrm>
          </p:grpSpPr>
          <p:sp>
            <p:nvSpPr>
              <p:cNvPr id="1083" name="Freeform 220"/>
              <p:cNvSpPr>
                <a:spLocks noEditPoints="1"/>
              </p:cNvSpPr>
              <p:nvPr/>
            </p:nvSpPr>
            <p:spPr bwMode="auto">
              <a:xfrm>
                <a:off x="5473183" y="4642978"/>
                <a:ext cx="925245" cy="1473871"/>
              </a:xfrm>
              <a:prstGeom prst="roundRect">
                <a:avLst>
                  <a:gd name="adj" fmla="val 6177"/>
                </a:avLst>
              </a:prstGeom>
              <a:solidFill>
                <a:schemeClr val="accent3">
                  <a:lumMod val="75000"/>
                </a:schemeClr>
              </a:solidFill>
              <a:ln w="28575">
                <a:solidFill>
                  <a:schemeClr val="accent3"/>
                </a:solidFill>
              </a:ln>
              <a:ex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0" name="Rectangle 221"/>
              <p:cNvSpPr>
                <a:spLocks noChangeArrowheads="1"/>
              </p:cNvSpPr>
              <p:nvPr/>
            </p:nvSpPr>
            <p:spPr bwMode="auto">
              <a:xfrm>
                <a:off x="5583467" y="4756791"/>
                <a:ext cx="703186" cy="1199289"/>
              </a:xfrm>
              <a:prstGeom prst="rect">
                <a:avLst/>
              </a:prstGeom>
              <a:solidFill>
                <a:schemeClr val="tx2">
                  <a:lumMod val="75000"/>
                </a:schemeClr>
              </a:solidFill>
              <a:ln w="38100">
                <a:solidFill>
                  <a:schemeClr val="accent3">
                    <a:lumMod val="50000"/>
                  </a:schemeClr>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141" name="Oval 1140"/>
              <p:cNvSpPr/>
              <p:nvPr/>
            </p:nvSpPr>
            <p:spPr bwMode="auto">
              <a:xfrm>
                <a:off x="5889885" y="6009498"/>
                <a:ext cx="100942" cy="68945"/>
              </a:xfrm>
              <a:prstGeom prst="ellipse">
                <a:avLst/>
              </a:prstGeom>
              <a:solidFill>
                <a:schemeClr val="accent3"/>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432" name="Group 1431"/>
            <p:cNvGrpSpPr/>
            <p:nvPr/>
          </p:nvGrpSpPr>
          <p:grpSpPr>
            <a:xfrm>
              <a:off x="5864594" y="3576187"/>
              <a:ext cx="654346" cy="877043"/>
              <a:chOff x="3836650" y="5455369"/>
              <a:chExt cx="870936" cy="1167343"/>
            </a:xfrm>
          </p:grpSpPr>
          <p:grpSp>
            <p:nvGrpSpPr>
              <p:cNvPr id="477" name="Group 476"/>
              <p:cNvGrpSpPr>
                <a:grpSpLocks noChangeAspect="1"/>
              </p:cNvGrpSpPr>
              <p:nvPr/>
            </p:nvGrpSpPr>
            <p:grpSpPr>
              <a:xfrm>
                <a:off x="4120352" y="6061964"/>
                <a:ext cx="380653" cy="503421"/>
                <a:chOff x="22634575" y="-784225"/>
                <a:chExt cx="4724401" cy="5680075"/>
              </a:xfrm>
              <a:solidFill>
                <a:schemeClr val="accent1"/>
              </a:solidFill>
            </p:grpSpPr>
            <p:sp>
              <p:nvSpPr>
                <p:cNvPr id="478" name="Freeform 164"/>
                <p:cNvSpPr>
                  <a:spLocks/>
                </p:cNvSpPr>
                <p:nvPr/>
              </p:nvSpPr>
              <p:spPr bwMode="auto">
                <a:xfrm>
                  <a:off x="22720300" y="4505325"/>
                  <a:ext cx="2135188" cy="390525"/>
                </a:xfrm>
                <a:custGeom>
                  <a:avLst/>
                  <a:gdLst>
                    <a:gd name="T0" fmla="*/ 1386 w 2689"/>
                    <a:gd name="T1" fmla="*/ 472 h 492"/>
                    <a:gd name="T2" fmla="*/ 1838 w 2689"/>
                    <a:gd name="T3" fmla="*/ 470 h 492"/>
                    <a:gd name="T4" fmla="*/ 2150 w 2689"/>
                    <a:gd name="T5" fmla="*/ 464 h 492"/>
                    <a:gd name="T6" fmla="*/ 2293 w 2689"/>
                    <a:gd name="T7" fmla="*/ 458 h 492"/>
                    <a:gd name="T8" fmla="*/ 2422 w 2689"/>
                    <a:gd name="T9" fmla="*/ 449 h 492"/>
                    <a:gd name="T10" fmla="*/ 2533 w 2689"/>
                    <a:gd name="T11" fmla="*/ 436 h 492"/>
                    <a:gd name="T12" fmla="*/ 2543 w 2689"/>
                    <a:gd name="T13" fmla="*/ 433 h 492"/>
                    <a:gd name="T14" fmla="*/ 2565 w 2689"/>
                    <a:gd name="T15" fmla="*/ 426 h 492"/>
                    <a:gd name="T16" fmla="*/ 2584 w 2689"/>
                    <a:gd name="T17" fmla="*/ 417 h 492"/>
                    <a:gd name="T18" fmla="*/ 2600 w 2689"/>
                    <a:gd name="T19" fmla="*/ 405 h 492"/>
                    <a:gd name="T20" fmla="*/ 2623 w 2689"/>
                    <a:gd name="T21" fmla="*/ 380 h 492"/>
                    <a:gd name="T22" fmla="*/ 2646 w 2689"/>
                    <a:gd name="T23" fmla="*/ 339 h 492"/>
                    <a:gd name="T24" fmla="*/ 2665 w 2689"/>
                    <a:gd name="T25" fmla="*/ 288 h 492"/>
                    <a:gd name="T26" fmla="*/ 2677 w 2689"/>
                    <a:gd name="T27" fmla="*/ 228 h 492"/>
                    <a:gd name="T28" fmla="*/ 2685 w 2689"/>
                    <a:gd name="T29" fmla="*/ 161 h 492"/>
                    <a:gd name="T30" fmla="*/ 2689 w 2689"/>
                    <a:gd name="T31" fmla="*/ 89 h 492"/>
                    <a:gd name="T32" fmla="*/ 2689 w 2689"/>
                    <a:gd name="T33" fmla="*/ 51 h 492"/>
                    <a:gd name="T34" fmla="*/ 2187 w 2689"/>
                    <a:gd name="T35" fmla="*/ 60 h 492"/>
                    <a:gd name="T36" fmla="*/ 1368 w 2689"/>
                    <a:gd name="T37" fmla="*/ 79 h 492"/>
                    <a:gd name="T38" fmla="*/ 987 w 2689"/>
                    <a:gd name="T39" fmla="*/ 83 h 492"/>
                    <a:gd name="T40" fmla="*/ 759 w 2689"/>
                    <a:gd name="T41" fmla="*/ 81 h 492"/>
                    <a:gd name="T42" fmla="*/ 657 w 2689"/>
                    <a:gd name="T43" fmla="*/ 78 h 492"/>
                    <a:gd name="T44" fmla="*/ 438 w 2689"/>
                    <a:gd name="T45" fmla="*/ 67 h 492"/>
                    <a:gd name="T46" fmla="*/ 259 w 2689"/>
                    <a:gd name="T47" fmla="*/ 50 h 492"/>
                    <a:gd name="T48" fmla="*/ 114 w 2689"/>
                    <a:gd name="T49" fmla="*/ 27 h 492"/>
                    <a:gd name="T50" fmla="*/ 0 w 2689"/>
                    <a:gd name="T51" fmla="*/ 0 h 492"/>
                    <a:gd name="T52" fmla="*/ 0 w 2689"/>
                    <a:gd name="T53" fmla="*/ 35 h 492"/>
                    <a:gd name="T54" fmla="*/ 4 w 2689"/>
                    <a:gd name="T55" fmla="*/ 107 h 492"/>
                    <a:gd name="T56" fmla="*/ 16 w 2689"/>
                    <a:gd name="T57" fmla="*/ 181 h 492"/>
                    <a:gd name="T58" fmla="*/ 39 w 2689"/>
                    <a:gd name="T59" fmla="*/ 257 h 492"/>
                    <a:gd name="T60" fmla="*/ 53 w 2689"/>
                    <a:gd name="T61" fmla="*/ 297 h 492"/>
                    <a:gd name="T62" fmla="*/ 66 w 2689"/>
                    <a:gd name="T63" fmla="*/ 323 h 492"/>
                    <a:gd name="T64" fmla="*/ 82 w 2689"/>
                    <a:gd name="T65" fmla="*/ 345 h 492"/>
                    <a:gd name="T66" fmla="*/ 102 w 2689"/>
                    <a:gd name="T67" fmla="*/ 367 h 492"/>
                    <a:gd name="T68" fmla="*/ 125 w 2689"/>
                    <a:gd name="T69" fmla="*/ 386 h 492"/>
                    <a:gd name="T70" fmla="*/ 150 w 2689"/>
                    <a:gd name="T71" fmla="*/ 403 h 492"/>
                    <a:gd name="T72" fmla="*/ 211 w 2689"/>
                    <a:gd name="T73" fmla="*/ 431 h 492"/>
                    <a:gd name="T74" fmla="*/ 282 w 2689"/>
                    <a:gd name="T75" fmla="*/ 454 h 492"/>
                    <a:gd name="T76" fmla="*/ 361 w 2689"/>
                    <a:gd name="T77" fmla="*/ 470 h 492"/>
                    <a:gd name="T78" fmla="*/ 449 w 2689"/>
                    <a:gd name="T79" fmla="*/ 481 h 492"/>
                    <a:gd name="T80" fmla="*/ 541 w 2689"/>
                    <a:gd name="T81" fmla="*/ 488 h 492"/>
                    <a:gd name="T82" fmla="*/ 691 w 2689"/>
                    <a:gd name="T83" fmla="*/ 492 h 492"/>
                    <a:gd name="T84" fmla="*/ 896 w 2689"/>
                    <a:gd name="T85" fmla="*/ 488 h 492"/>
                    <a:gd name="T86" fmla="*/ 1202 w 2689"/>
                    <a:gd name="T87" fmla="*/ 476 h 492"/>
                    <a:gd name="T88" fmla="*/ 1386 w 2689"/>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89" h="492">
                      <a:moveTo>
                        <a:pt x="1386" y="472"/>
                      </a:moveTo>
                      <a:lnTo>
                        <a:pt x="1386" y="472"/>
                      </a:lnTo>
                      <a:lnTo>
                        <a:pt x="1680" y="472"/>
                      </a:lnTo>
                      <a:lnTo>
                        <a:pt x="1838" y="470"/>
                      </a:lnTo>
                      <a:lnTo>
                        <a:pt x="1996" y="468"/>
                      </a:lnTo>
                      <a:lnTo>
                        <a:pt x="2150" y="464"/>
                      </a:lnTo>
                      <a:lnTo>
                        <a:pt x="2223" y="461"/>
                      </a:lnTo>
                      <a:lnTo>
                        <a:pt x="2293" y="458"/>
                      </a:lnTo>
                      <a:lnTo>
                        <a:pt x="2361" y="453"/>
                      </a:lnTo>
                      <a:lnTo>
                        <a:pt x="2422" y="449"/>
                      </a:lnTo>
                      <a:lnTo>
                        <a:pt x="2480" y="442"/>
                      </a:lnTo>
                      <a:lnTo>
                        <a:pt x="2533" y="436"/>
                      </a:lnTo>
                      <a:lnTo>
                        <a:pt x="2533" y="436"/>
                      </a:lnTo>
                      <a:lnTo>
                        <a:pt x="2543" y="433"/>
                      </a:lnTo>
                      <a:lnTo>
                        <a:pt x="2554" y="430"/>
                      </a:lnTo>
                      <a:lnTo>
                        <a:pt x="2565" y="426"/>
                      </a:lnTo>
                      <a:lnTo>
                        <a:pt x="2574" y="422"/>
                      </a:lnTo>
                      <a:lnTo>
                        <a:pt x="2584" y="417"/>
                      </a:lnTo>
                      <a:lnTo>
                        <a:pt x="2592" y="411"/>
                      </a:lnTo>
                      <a:lnTo>
                        <a:pt x="2600" y="405"/>
                      </a:lnTo>
                      <a:lnTo>
                        <a:pt x="2608" y="397"/>
                      </a:lnTo>
                      <a:lnTo>
                        <a:pt x="2623" y="380"/>
                      </a:lnTo>
                      <a:lnTo>
                        <a:pt x="2635" y="360"/>
                      </a:lnTo>
                      <a:lnTo>
                        <a:pt x="2646" y="339"/>
                      </a:lnTo>
                      <a:lnTo>
                        <a:pt x="2656" y="314"/>
                      </a:lnTo>
                      <a:lnTo>
                        <a:pt x="2665" y="288"/>
                      </a:lnTo>
                      <a:lnTo>
                        <a:pt x="2671" y="259"/>
                      </a:lnTo>
                      <a:lnTo>
                        <a:pt x="2677" y="228"/>
                      </a:lnTo>
                      <a:lnTo>
                        <a:pt x="2681" y="196"/>
                      </a:lnTo>
                      <a:lnTo>
                        <a:pt x="2685" y="161"/>
                      </a:lnTo>
                      <a:lnTo>
                        <a:pt x="2687" y="126"/>
                      </a:lnTo>
                      <a:lnTo>
                        <a:pt x="2689" y="89"/>
                      </a:lnTo>
                      <a:lnTo>
                        <a:pt x="2689" y="51"/>
                      </a:lnTo>
                      <a:lnTo>
                        <a:pt x="2689" y="51"/>
                      </a:lnTo>
                      <a:lnTo>
                        <a:pt x="2448" y="55"/>
                      </a:lnTo>
                      <a:lnTo>
                        <a:pt x="2187" y="60"/>
                      </a:lnTo>
                      <a:lnTo>
                        <a:pt x="1640" y="74"/>
                      </a:lnTo>
                      <a:lnTo>
                        <a:pt x="1368" y="79"/>
                      </a:lnTo>
                      <a:lnTo>
                        <a:pt x="1109" y="82"/>
                      </a:lnTo>
                      <a:lnTo>
                        <a:pt x="987" y="83"/>
                      </a:lnTo>
                      <a:lnTo>
                        <a:pt x="870" y="82"/>
                      </a:lnTo>
                      <a:lnTo>
                        <a:pt x="759" y="81"/>
                      </a:lnTo>
                      <a:lnTo>
                        <a:pt x="657" y="78"/>
                      </a:lnTo>
                      <a:lnTo>
                        <a:pt x="657" y="78"/>
                      </a:lnTo>
                      <a:lnTo>
                        <a:pt x="543" y="74"/>
                      </a:lnTo>
                      <a:lnTo>
                        <a:pt x="438" y="67"/>
                      </a:lnTo>
                      <a:lnTo>
                        <a:pt x="344" y="59"/>
                      </a:lnTo>
                      <a:lnTo>
                        <a:pt x="259" y="50"/>
                      </a:lnTo>
                      <a:lnTo>
                        <a:pt x="182" y="39"/>
                      </a:lnTo>
                      <a:lnTo>
                        <a:pt x="114" y="27"/>
                      </a:lnTo>
                      <a:lnTo>
                        <a:pt x="52" y="13"/>
                      </a:lnTo>
                      <a:lnTo>
                        <a:pt x="0" y="0"/>
                      </a:lnTo>
                      <a:lnTo>
                        <a:pt x="0" y="0"/>
                      </a:lnTo>
                      <a:lnTo>
                        <a:pt x="0" y="35"/>
                      </a:lnTo>
                      <a:lnTo>
                        <a:pt x="1" y="71"/>
                      </a:lnTo>
                      <a:lnTo>
                        <a:pt x="4" y="107"/>
                      </a:lnTo>
                      <a:lnTo>
                        <a:pt x="9" y="144"/>
                      </a:lnTo>
                      <a:lnTo>
                        <a:pt x="16" y="181"/>
                      </a:lnTo>
                      <a:lnTo>
                        <a:pt x="27" y="219"/>
                      </a:lnTo>
                      <a:lnTo>
                        <a:pt x="39" y="257"/>
                      </a:lnTo>
                      <a:lnTo>
                        <a:pt x="53" y="297"/>
                      </a:lnTo>
                      <a:lnTo>
                        <a:pt x="53" y="297"/>
                      </a:lnTo>
                      <a:lnTo>
                        <a:pt x="59" y="310"/>
                      </a:lnTo>
                      <a:lnTo>
                        <a:pt x="66" y="323"/>
                      </a:lnTo>
                      <a:lnTo>
                        <a:pt x="74" y="335"/>
                      </a:lnTo>
                      <a:lnTo>
                        <a:pt x="82" y="345"/>
                      </a:lnTo>
                      <a:lnTo>
                        <a:pt x="91" y="356"/>
                      </a:lnTo>
                      <a:lnTo>
                        <a:pt x="102" y="367"/>
                      </a:lnTo>
                      <a:lnTo>
                        <a:pt x="113" y="376"/>
                      </a:lnTo>
                      <a:lnTo>
                        <a:pt x="125" y="386"/>
                      </a:lnTo>
                      <a:lnTo>
                        <a:pt x="137" y="395"/>
                      </a:lnTo>
                      <a:lnTo>
                        <a:pt x="150" y="403"/>
                      </a:lnTo>
                      <a:lnTo>
                        <a:pt x="180" y="418"/>
                      </a:lnTo>
                      <a:lnTo>
                        <a:pt x="211" y="431"/>
                      </a:lnTo>
                      <a:lnTo>
                        <a:pt x="246" y="444"/>
                      </a:lnTo>
                      <a:lnTo>
                        <a:pt x="282" y="454"/>
                      </a:lnTo>
                      <a:lnTo>
                        <a:pt x="321" y="464"/>
                      </a:lnTo>
                      <a:lnTo>
                        <a:pt x="361" y="470"/>
                      </a:lnTo>
                      <a:lnTo>
                        <a:pt x="404" y="477"/>
                      </a:lnTo>
                      <a:lnTo>
                        <a:pt x="449" y="481"/>
                      </a:lnTo>
                      <a:lnTo>
                        <a:pt x="494" y="485"/>
                      </a:lnTo>
                      <a:lnTo>
                        <a:pt x="541" y="488"/>
                      </a:lnTo>
                      <a:lnTo>
                        <a:pt x="590" y="491"/>
                      </a:lnTo>
                      <a:lnTo>
                        <a:pt x="691" y="492"/>
                      </a:lnTo>
                      <a:lnTo>
                        <a:pt x="793" y="491"/>
                      </a:lnTo>
                      <a:lnTo>
                        <a:pt x="896" y="488"/>
                      </a:lnTo>
                      <a:lnTo>
                        <a:pt x="1000" y="484"/>
                      </a:lnTo>
                      <a:lnTo>
                        <a:pt x="1202" y="476"/>
                      </a:lnTo>
                      <a:lnTo>
                        <a:pt x="1296" y="472"/>
                      </a:lnTo>
                      <a:lnTo>
                        <a:pt x="1386" y="472"/>
                      </a:lnTo>
                      <a:lnTo>
                        <a:pt x="1386"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79" name="Freeform 165"/>
                <p:cNvSpPr>
                  <a:spLocks/>
                </p:cNvSpPr>
                <p:nvPr/>
              </p:nvSpPr>
              <p:spPr bwMode="auto">
                <a:xfrm>
                  <a:off x="25130125" y="4505325"/>
                  <a:ext cx="2136775" cy="390525"/>
                </a:xfrm>
                <a:custGeom>
                  <a:avLst/>
                  <a:gdLst>
                    <a:gd name="T0" fmla="*/ 1302 w 2690"/>
                    <a:gd name="T1" fmla="*/ 472 h 492"/>
                    <a:gd name="T2" fmla="*/ 851 w 2690"/>
                    <a:gd name="T3" fmla="*/ 470 h 492"/>
                    <a:gd name="T4" fmla="*/ 539 w 2690"/>
                    <a:gd name="T5" fmla="*/ 464 h 492"/>
                    <a:gd name="T6" fmla="*/ 395 w 2690"/>
                    <a:gd name="T7" fmla="*/ 458 h 492"/>
                    <a:gd name="T8" fmla="*/ 266 w 2690"/>
                    <a:gd name="T9" fmla="*/ 449 h 492"/>
                    <a:gd name="T10" fmla="*/ 156 w 2690"/>
                    <a:gd name="T11" fmla="*/ 436 h 492"/>
                    <a:gd name="T12" fmla="*/ 145 w 2690"/>
                    <a:gd name="T13" fmla="*/ 433 h 492"/>
                    <a:gd name="T14" fmla="*/ 123 w 2690"/>
                    <a:gd name="T15" fmla="*/ 426 h 492"/>
                    <a:gd name="T16" fmla="*/ 106 w 2690"/>
                    <a:gd name="T17" fmla="*/ 417 h 492"/>
                    <a:gd name="T18" fmla="*/ 88 w 2690"/>
                    <a:gd name="T19" fmla="*/ 405 h 492"/>
                    <a:gd name="T20" fmla="*/ 65 w 2690"/>
                    <a:gd name="T21" fmla="*/ 380 h 492"/>
                    <a:gd name="T22" fmla="*/ 43 w 2690"/>
                    <a:gd name="T23" fmla="*/ 339 h 492"/>
                    <a:gd name="T24" fmla="*/ 24 w 2690"/>
                    <a:gd name="T25" fmla="*/ 288 h 492"/>
                    <a:gd name="T26" fmla="*/ 12 w 2690"/>
                    <a:gd name="T27" fmla="*/ 228 h 492"/>
                    <a:gd name="T28" fmla="*/ 4 w 2690"/>
                    <a:gd name="T29" fmla="*/ 161 h 492"/>
                    <a:gd name="T30" fmla="*/ 1 w 2690"/>
                    <a:gd name="T31" fmla="*/ 89 h 492"/>
                    <a:gd name="T32" fmla="*/ 0 w 2690"/>
                    <a:gd name="T33" fmla="*/ 51 h 492"/>
                    <a:gd name="T34" fmla="*/ 501 w 2690"/>
                    <a:gd name="T35" fmla="*/ 60 h 492"/>
                    <a:gd name="T36" fmla="*/ 1320 w 2690"/>
                    <a:gd name="T37" fmla="*/ 79 h 492"/>
                    <a:gd name="T38" fmla="*/ 1702 w 2690"/>
                    <a:gd name="T39" fmla="*/ 83 h 492"/>
                    <a:gd name="T40" fmla="*/ 1929 w 2690"/>
                    <a:gd name="T41" fmla="*/ 81 h 492"/>
                    <a:gd name="T42" fmla="*/ 2031 w 2690"/>
                    <a:gd name="T43" fmla="*/ 78 h 492"/>
                    <a:gd name="T44" fmla="*/ 2250 w 2690"/>
                    <a:gd name="T45" fmla="*/ 67 h 492"/>
                    <a:gd name="T46" fmla="*/ 2431 w 2690"/>
                    <a:gd name="T47" fmla="*/ 50 h 492"/>
                    <a:gd name="T48" fmla="*/ 2576 w 2690"/>
                    <a:gd name="T49" fmla="*/ 27 h 492"/>
                    <a:gd name="T50" fmla="*/ 2690 w 2690"/>
                    <a:gd name="T51" fmla="*/ 0 h 492"/>
                    <a:gd name="T52" fmla="*/ 2689 w 2690"/>
                    <a:gd name="T53" fmla="*/ 35 h 492"/>
                    <a:gd name="T54" fmla="*/ 2685 w 2690"/>
                    <a:gd name="T55" fmla="*/ 107 h 492"/>
                    <a:gd name="T56" fmla="*/ 2673 w 2690"/>
                    <a:gd name="T57" fmla="*/ 181 h 492"/>
                    <a:gd name="T58" fmla="*/ 2651 w 2690"/>
                    <a:gd name="T59" fmla="*/ 257 h 492"/>
                    <a:gd name="T60" fmla="*/ 2635 w 2690"/>
                    <a:gd name="T61" fmla="*/ 297 h 492"/>
                    <a:gd name="T62" fmla="*/ 2623 w 2690"/>
                    <a:gd name="T63" fmla="*/ 323 h 492"/>
                    <a:gd name="T64" fmla="*/ 2607 w 2690"/>
                    <a:gd name="T65" fmla="*/ 345 h 492"/>
                    <a:gd name="T66" fmla="*/ 2586 w 2690"/>
                    <a:gd name="T67" fmla="*/ 367 h 492"/>
                    <a:gd name="T68" fmla="*/ 2564 w 2690"/>
                    <a:gd name="T69" fmla="*/ 386 h 492"/>
                    <a:gd name="T70" fmla="*/ 2538 w 2690"/>
                    <a:gd name="T71" fmla="*/ 403 h 492"/>
                    <a:gd name="T72" fmla="*/ 2478 w 2690"/>
                    <a:gd name="T73" fmla="*/ 431 h 492"/>
                    <a:gd name="T74" fmla="*/ 2406 w 2690"/>
                    <a:gd name="T75" fmla="*/ 454 h 492"/>
                    <a:gd name="T76" fmla="*/ 2327 w 2690"/>
                    <a:gd name="T77" fmla="*/ 470 h 492"/>
                    <a:gd name="T78" fmla="*/ 2240 w 2690"/>
                    <a:gd name="T79" fmla="*/ 481 h 492"/>
                    <a:gd name="T80" fmla="*/ 2147 w 2690"/>
                    <a:gd name="T81" fmla="*/ 488 h 492"/>
                    <a:gd name="T82" fmla="*/ 1999 w 2690"/>
                    <a:gd name="T83" fmla="*/ 492 h 492"/>
                    <a:gd name="T84" fmla="*/ 1792 w 2690"/>
                    <a:gd name="T85" fmla="*/ 488 h 492"/>
                    <a:gd name="T86" fmla="*/ 1487 w 2690"/>
                    <a:gd name="T87" fmla="*/ 476 h 492"/>
                    <a:gd name="T88" fmla="*/ 1302 w 2690"/>
                    <a:gd name="T89" fmla="*/ 47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90" h="492">
                      <a:moveTo>
                        <a:pt x="1302" y="472"/>
                      </a:moveTo>
                      <a:lnTo>
                        <a:pt x="1302" y="472"/>
                      </a:lnTo>
                      <a:lnTo>
                        <a:pt x="1008" y="472"/>
                      </a:lnTo>
                      <a:lnTo>
                        <a:pt x="851" y="470"/>
                      </a:lnTo>
                      <a:lnTo>
                        <a:pt x="692" y="468"/>
                      </a:lnTo>
                      <a:lnTo>
                        <a:pt x="539" y="464"/>
                      </a:lnTo>
                      <a:lnTo>
                        <a:pt x="466" y="461"/>
                      </a:lnTo>
                      <a:lnTo>
                        <a:pt x="395" y="458"/>
                      </a:lnTo>
                      <a:lnTo>
                        <a:pt x="328" y="453"/>
                      </a:lnTo>
                      <a:lnTo>
                        <a:pt x="266" y="449"/>
                      </a:lnTo>
                      <a:lnTo>
                        <a:pt x="208" y="442"/>
                      </a:lnTo>
                      <a:lnTo>
                        <a:pt x="156" y="436"/>
                      </a:lnTo>
                      <a:lnTo>
                        <a:pt x="156" y="436"/>
                      </a:lnTo>
                      <a:lnTo>
                        <a:pt x="145" y="433"/>
                      </a:lnTo>
                      <a:lnTo>
                        <a:pt x="134" y="430"/>
                      </a:lnTo>
                      <a:lnTo>
                        <a:pt x="123" y="426"/>
                      </a:lnTo>
                      <a:lnTo>
                        <a:pt x="114" y="422"/>
                      </a:lnTo>
                      <a:lnTo>
                        <a:pt x="106" y="417"/>
                      </a:lnTo>
                      <a:lnTo>
                        <a:pt x="96" y="411"/>
                      </a:lnTo>
                      <a:lnTo>
                        <a:pt x="88" y="405"/>
                      </a:lnTo>
                      <a:lnTo>
                        <a:pt x="80" y="397"/>
                      </a:lnTo>
                      <a:lnTo>
                        <a:pt x="65" y="380"/>
                      </a:lnTo>
                      <a:lnTo>
                        <a:pt x="53" y="360"/>
                      </a:lnTo>
                      <a:lnTo>
                        <a:pt x="43" y="339"/>
                      </a:lnTo>
                      <a:lnTo>
                        <a:pt x="33" y="314"/>
                      </a:lnTo>
                      <a:lnTo>
                        <a:pt x="24" y="288"/>
                      </a:lnTo>
                      <a:lnTo>
                        <a:pt x="17" y="259"/>
                      </a:lnTo>
                      <a:lnTo>
                        <a:pt x="12" y="228"/>
                      </a:lnTo>
                      <a:lnTo>
                        <a:pt x="8" y="196"/>
                      </a:lnTo>
                      <a:lnTo>
                        <a:pt x="4" y="161"/>
                      </a:lnTo>
                      <a:lnTo>
                        <a:pt x="2" y="126"/>
                      </a:lnTo>
                      <a:lnTo>
                        <a:pt x="1" y="89"/>
                      </a:lnTo>
                      <a:lnTo>
                        <a:pt x="0" y="51"/>
                      </a:lnTo>
                      <a:lnTo>
                        <a:pt x="0" y="51"/>
                      </a:lnTo>
                      <a:lnTo>
                        <a:pt x="240" y="55"/>
                      </a:lnTo>
                      <a:lnTo>
                        <a:pt x="501" y="60"/>
                      </a:lnTo>
                      <a:lnTo>
                        <a:pt x="1048" y="74"/>
                      </a:lnTo>
                      <a:lnTo>
                        <a:pt x="1320" y="79"/>
                      </a:lnTo>
                      <a:lnTo>
                        <a:pt x="1579" y="82"/>
                      </a:lnTo>
                      <a:lnTo>
                        <a:pt x="1702" y="83"/>
                      </a:lnTo>
                      <a:lnTo>
                        <a:pt x="1819" y="82"/>
                      </a:lnTo>
                      <a:lnTo>
                        <a:pt x="1929" y="81"/>
                      </a:lnTo>
                      <a:lnTo>
                        <a:pt x="2031" y="78"/>
                      </a:lnTo>
                      <a:lnTo>
                        <a:pt x="2031" y="78"/>
                      </a:lnTo>
                      <a:lnTo>
                        <a:pt x="2145" y="74"/>
                      </a:lnTo>
                      <a:lnTo>
                        <a:pt x="2250" y="67"/>
                      </a:lnTo>
                      <a:lnTo>
                        <a:pt x="2344" y="59"/>
                      </a:lnTo>
                      <a:lnTo>
                        <a:pt x="2431" y="50"/>
                      </a:lnTo>
                      <a:lnTo>
                        <a:pt x="2507" y="39"/>
                      </a:lnTo>
                      <a:lnTo>
                        <a:pt x="2576" y="27"/>
                      </a:lnTo>
                      <a:lnTo>
                        <a:pt x="2636" y="13"/>
                      </a:lnTo>
                      <a:lnTo>
                        <a:pt x="2690" y="0"/>
                      </a:lnTo>
                      <a:lnTo>
                        <a:pt x="2690" y="0"/>
                      </a:lnTo>
                      <a:lnTo>
                        <a:pt x="2689" y="35"/>
                      </a:lnTo>
                      <a:lnTo>
                        <a:pt x="2687" y="71"/>
                      </a:lnTo>
                      <a:lnTo>
                        <a:pt x="2685" y="107"/>
                      </a:lnTo>
                      <a:lnTo>
                        <a:pt x="2679" y="144"/>
                      </a:lnTo>
                      <a:lnTo>
                        <a:pt x="2673" y="181"/>
                      </a:lnTo>
                      <a:lnTo>
                        <a:pt x="2663" y="219"/>
                      </a:lnTo>
                      <a:lnTo>
                        <a:pt x="2651" y="257"/>
                      </a:lnTo>
                      <a:lnTo>
                        <a:pt x="2635" y="297"/>
                      </a:lnTo>
                      <a:lnTo>
                        <a:pt x="2635" y="297"/>
                      </a:lnTo>
                      <a:lnTo>
                        <a:pt x="2630" y="310"/>
                      </a:lnTo>
                      <a:lnTo>
                        <a:pt x="2623" y="323"/>
                      </a:lnTo>
                      <a:lnTo>
                        <a:pt x="2615" y="335"/>
                      </a:lnTo>
                      <a:lnTo>
                        <a:pt x="2607" y="345"/>
                      </a:lnTo>
                      <a:lnTo>
                        <a:pt x="2597" y="356"/>
                      </a:lnTo>
                      <a:lnTo>
                        <a:pt x="2586" y="367"/>
                      </a:lnTo>
                      <a:lnTo>
                        <a:pt x="2576" y="376"/>
                      </a:lnTo>
                      <a:lnTo>
                        <a:pt x="2564" y="386"/>
                      </a:lnTo>
                      <a:lnTo>
                        <a:pt x="2552" y="395"/>
                      </a:lnTo>
                      <a:lnTo>
                        <a:pt x="2538" y="403"/>
                      </a:lnTo>
                      <a:lnTo>
                        <a:pt x="2509" y="418"/>
                      </a:lnTo>
                      <a:lnTo>
                        <a:pt x="2478" y="431"/>
                      </a:lnTo>
                      <a:lnTo>
                        <a:pt x="2443" y="444"/>
                      </a:lnTo>
                      <a:lnTo>
                        <a:pt x="2406" y="454"/>
                      </a:lnTo>
                      <a:lnTo>
                        <a:pt x="2367" y="464"/>
                      </a:lnTo>
                      <a:lnTo>
                        <a:pt x="2327" y="470"/>
                      </a:lnTo>
                      <a:lnTo>
                        <a:pt x="2284" y="477"/>
                      </a:lnTo>
                      <a:lnTo>
                        <a:pt x="2240" y="481"/>
                      </a:lnTo>
                      <a:lnTo>
                        <a:pt x="2194" y="485"/>
                      </a:lnTo>
                      <a:lnTo>
                        <a:pt x="2147" y="488"/>
                      </a:lnTo>
                      <a:lnTo>
                        <a:pt x="2098" y="491"/>
                      </a:lnTo>
                      <a:lnTo>
                        <a:pt x="1999" y="492"/>
                      </a:lnTo>
                      <a:lnTo>
                        <a:pt x="1895" y="491"/>
                      </a:lnTo>
                      <a:lnTo>
                        <a:pt x="1792" y="488"/>
                      </a:lnTo>
                      <a:lnTo>
                        <a:pt x="1688" y="484"/>
                      </a:lnTo>
                      <a:lnTo>
                        <a:pt x="1487" y="476"/>
                      </a:lnTo>
                      <a:lnTo>
                        <a:pt x="1393" y="472"/>
                      </a:lnTo>
                      <a:lnTo>
                        <a:pt x="1302" y="472"/>
                      </a:lnTo>
                      <a:lnTo>
                        <a:pt x="1302"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80" name="Freeform 166"/>
                <p:cNvSpPr>
                  <a:spLocks/>
                </p:cNvSpPr>
                <p:nvPr/>
              </p:nvSpPr>
              <p:spPr bwMode="auto">
                <a:xfrm>
                  <a:off x="22634575" y="117475"/>
                  <a:ext cx="2265363" cy="4313238"/>
                </a:xfrm>
                <a:custGeom>
                  <a:avLst/>
                  <a:gdLst>
                    <a:gd name="T0" fmla="*/ 2402 w 2854"/>
                    <a:gd name="T1" fmla="*/ 3733 h 5434"/>
                    <a:gd name="T2" fmla="*/ 2240 w 2854"/>
                    <a:gd name="T3" fmla="*/ 3629 h 5434"/>
                    <a:gd name="T4" fmla="*/ 2058 w 2854"/>
                    <a:gd name="T5" fmla="*/ 3566 h 5434"/>
                    <a:gd name="T6" fmla="*/ 1854 w 2854"/>
                    <a:gd name="T7" fmla="*/ 3535 h 5434"/>
                    <a:gd name="T8" fmla="*/ 1584 w 2854"/>
                    <a:gd name="T9" fmla="*/ 3531 h 5434"/>
                    <a:gd name="T10" fmla="*/ 1180 w 2854"/>
                    <a:gd name="T11" fmla="*/ 3563 h 5434"/>
                    <a:gd name="T12" fmla="*/ 1144 w 2854"/>
                    <a:gd name="T13" fmla="*/ 3574 h 5434"/>
                    <a:gd name="T14" fmla="*/ 914 w 2854"/>
                    <a:gd name="T15" fmla="*/ 3595 h 5434"/>
                    <a:gd name="T16" fmla="*/ 797 w 2854"/>
                    <a:gd name="T17" fmla="*/ 3587 h 5434"/>
                    <a:gd name="T18" fmla="*/ 771 w 2854"/>
                    <a:gd name="T19" fmla="*/ 3567 h 5434"/>
                    <a:gd name="T20" fmla="*/ 798 w 2854"/>
                    <a:gd name="T21" fmla="*/ 3534 h 5434"/>
                    <a:gd name="T22" fmla="*/ 890 w 2854"/>
                    <a:gd name="T23" fmla="*/ 3487 h 5434"/>
                    <a:gd name="T24" fmla="*/ 1234 w 2854"/>
                    <a:gd name="T25" fmla="*/ 3433 h 5434"/>
                    <a:gd name="T26" fmla="*/ 1602 w 2854"/>
                    <a:gd name="T27" fmla="*/ 3394 h 5434"/>
                    <a:gd name="T28" fmla="*/ 1996 w 2854"/>
                    <a:gd name="T29" fmla="*/ 3405 h 5434"/>
                    <a:gd name="T30" fmla="*/ 2177 w 2854"/>
                    <a:gd name="T31" fmla="*/ 3435 h 5434"/>
                    <a:gd name="T32" fmla="*/ 2343 w 2854"/>
                    <a:gd name="T33" fmla="*/ 3492 h 5434"/>
                    <a:gd name="T34" fmla="*/ 2495 w 2854"/>
                    <a:gd name="T35" fmla="*/ 3579 h 5434"/>
                    <a:gd name="T36" fmla="*/ 2632 w 2854"/>
                    <a:gd name="T37" fmla="*/ 3704 h 5434"/>
                    <a:gd name="T38" fmla="*/ 2654 w 2854"/>
                    <a:gd name="T39" fmla="*/ 3489 h 5434"/>
                    <a:gd name="T40" fmla="*/ 2635 w 2854"/>
                    <a:gd name="T41" fmla="*/ 2875 h 5434"/>
                    <a:gd name="T42" fmla="*/ 2666 w 2854"/>
                    <a:gd name="T43" fmla="*/ 2282 h 5434"/>
                    <a:gd name="T44" fmla="*/ 2724 w 2854"/>
                    <a:gd name="T45" fmla="*/ 1452 h 5434"/>
                    <a:gd name="T46" fmla="*/ 2729 w 2854"/>
                    <a:gd name="T47" fmla="*/ 408 h 5434"/>
                    <a:gd name="T48" fmla="*/ 2197 w 2854"/>
                    <a:gd name="T49" fmla="*/ 4 h 5434"/>
                    <a:gd name="T50" fmla="*/ 1385 w 2854"/>
                    <a:gd name="T51" fmla="*/ 8 h 5434"/>
                    <a:gd name="T52" fmla="*/ 668 w 2854"/>
                    <a:gd name="T53" fmla="*/ 55 h 5434"/>
                    <a:gd name="T54" fmla="*/ 286 w 2854"/>
                    <a:gd name="T55" fmla="*/ 262 h 5434"/>
                    <a:gd name="T56" fmla="*/ 282 w 2854"/>
                    <a:gd name="T57" fmla="*/ 1214 h 5434"/>
                    <a:gd name="T58" fmla="*/ 287 w 2854"/>
                    <a:gd name="T59" fmla="*/ 1234 h 5434"/>
                    <a:gd name="T60" fmla="*/ 308 w 2854"/>
                    <a:gd name="T61" fmla="*/ 1600 h 5434"/>
                    <a:gd name="T62" fmla="*/ 382 w 2854"/>
                    <a:gd name="T63" fmla="*/ 2181 h 5434"/>
                    <a:gd name="T64" fmla="*/ 404 w 2854"/>
                    <a:gd name="T65" fmla="*/ 2473 h 5434"/>
                    <a:gd name="T66" fmla="*/ 407 w 2854"/>
                    <a:gd name="T67" fmla="*/ 2834 h 5434"/>
                    <a:gd name="T68" fmla="*/ 364 w 2854"/>
                    <a:gd name="T69" fmla="*/ 3414 h 5434"/>
                    <a:gd name="T70" fmla="*/ 306 w 2854"/>
                    <a:gd name="T71" fmla="*/ 3864 h 5434"/>
                    <a:gd name="T72" fmla="*/ 205 w 2854"/>
                    <a:gd name="T73" fmla="*/ 4451 h 5434"/>
                    <a:gd name="T74" fmla="*/ 141 w 2854"/>
                    <a:gd name="T75" fmla="*/ 4690 h 5434"/>
                    <a:gd name="T76" fmla="*/ 15 w 2854"/>
                    <a:gd name="T77" fmla="*/ 4807 h 5434"/>
                    <a:gd name="T78" fmla="*/ 0 w 2854"/>
                    <a:gd name="T79" fmla="*/ 5085 h 5434"/>
                    <a:gd name="T80" fmla="*/ 20 w 2854"/>
                    <a:gd name="T81" fmla="*/ 5162 h 5434"/>
                    <a:gd name="T82" fmla="*/ 95 w 2854"/>
                    <a:gd name="T83" fmla="*/ 5276 h 5434"/>
                    <a:gd name="T84" fmla="*/ 119 w 2854"/>
                    <a:gd name="T85" fmla="*/ 5353 h 5434"/>
                    <a:gd name="T86" fmla="*/ 376 w 2854"/>
                    <a:gd name="T87" fmla="*/ 5401 h 5434"/>
                    <a:gd name="T88" fmla="*/ 766 w 2854"/>
                    <a:gd name="T89" fmla="*/ 5430 h 5434"/>
                    <a:gd name="T90" fmla="*/ 1475 w 2854"/>
                    <a:gd name="T91" fmla="*/ 5430 h 5434"/>
                    <a:gd name="T92" fmla="*/ 2792 w 2854"/>
                    <a:gd name="T93" fmla="*/ 5401 h 5434"/>
                    <a:gd name="T94" fmla="*/ 2779 w 2854"/>
                    <a:gd name="T95" fmla="*/ 5302 h 5434"/>
                    <a:gd name="T96" fmla="*/ 2779 w 2854"/>
                    <a:gd name="T97" fmla="*/ 5302 h 5434"/>
                    <a:gd name="T98" fmla="*/ 2808 w 2854"/>
                    <a:gd name="T99" fmla="*/ 5299 h 5434"/>
                    <a:gd name="T100" fmla="*/ 2835 w 2854"/>
                    <a:gd name="T101" fmla="*/ 5272 h 5434"/>
                    <a:gd name="T102" fmla="*/ 2846 w 2854"/>
                    <a:gd name="T103" fmla="*/ 5224 h 5434"/>
                    <a:gd name="T104" fmla="*/ 2854 w 2854"/>
                    <a:gd name="T105" fmla="*/ 4722 h 5434"/>
                    <a:gd name="T106" fmla="*/ 2831 w 2854"/>
                    <a:gd name="T107" fmla="*/ 4383 h 5434"/>
                    <a:gd name="T108" fmla="*/ 2784 w 2854"/>
                    <a:gd name="T109" fmla="*/ 4170 h 5434"/>
                    <a:gd name="T110" fmla="*/ 2716 w 2854"/>
                    <a:gd name="T111" fmla="*/ 4038 h 5434"/>
                    <a:gd name="T112" fmla="*/ 2611 w 2854"/>
                    <a:gd name="T113" fmla="*/ 3932 h 5434"/>
                    <a:gd name="T114" fmla="*/ 2488 w 2854"/>
                    <a:gd name="T115" fmla="*/ 3816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4" h="5434">
                      <a:moveTo>
                        <a:pt x="2488" y="3816"/>
                      </a:moveTo>
                      <a:lnTo>
                        <a:pt x="2488" y="3816"/>
                      </a:lnTo>
                      <a:lnTo>
                        <a:pt x="2460" y="3786"/>
                      </a:lnTo>
                      <a:lnTo>
                        <a:pt x="2432" y="3758"/>
                      </a:lnTo>
                      <a:lnTo>
                        <a:pt x="2402" y="3733"/>
                      </a:lnTo>
                      <a:lnTo>
                        <a:pt x="2371" y="3708"/>
                      </a:lnTo>
                      <a:lnTo>
                        <a:pt x="2339" y="3686"/>
                      </a:lnTo>
                      <a:lnTo>
                        <a:pt x="2307" y="3665"/>
                      </a:lnTo>
                      <a:lnTo>
                        <a:pt x="2275" y="3647"/>
                      </a:lnTo>
                      <a:lnTo>
                        <a:pt x="2240" y="3629"/>
                      </a:lnTo>
                      <a:lnTo>
                        <a:pt x="2206" y="3614"/>
                      </a:lnTo>
                      <a:lnTo>
                        <a:pt x="2170" y="3600"/>
                      </a:lnTo>
                      <a:lnTo>
                        <a:pt x="2134" y="3587"/>
                      </a:lnTo>
                      <a:lnTo>
                        <a:pt x="2096" y="3575"/>
                      </a:lnTo>
                      <a:lnTo>
                        <a:pt x="2058" y="3566"/>
                      </a:lnTo>
                      <a:lnTo>
                        <a:pt x="2018" y="3558"/>
                      </a:lnTo>
                      <a:lnTo>
                        <a:pt x="1979" y="3550"/>
                      </a:lnTo>
                      <a:lnTo>
                        <a:pt x="1937" y="3544"/>
                      </a:lnTo>
                      <a:lnTo>
                        <a:pt x="1897" y="3539"/>
                      </a:lnTo>
                      <a:lnTo>
                        <a:pt x="1854" y="3535"/>
                      </a:lnTo>
                      <a:lnTo>
                        <a:pt x="1811" y="3532"/>
                      </a:lnTo>
                      <a:lnTo>
                        <a:pt x="1766" y="3531"/>
                      </a:lnTo>
                      <a:lnTo>
                        <a:pt x="1722" y="3530"/>
                      </a:lnTo>
                      <a:lnTo>
                        <a:pt x="1676" y="3530"/>
                      </a:lnTo>
                      <a:lnTo>
                        <a:pt x="1584" y="3531"/>
                      </a:lnTo>
                      <a:lnTo>
                        <a:pt x="1487" y="3536"/>
                      </a:lnTo>
                      <a:lnTo>
                        <a:pt x="1387" y="3543"/>
                      </a:lnTo>
                      <a:lnTo>
                        <a:pt x="1285" y="3552"/>
                      </a:lnTo>
                      <a:lnTo>
                        <a:pt x="1180" y="3563"/>
                      </a:lnTo>
                      <a:lnTo>
                        <a:pt x="1180" y="3563"/>
                      </a:lnTo>
                      <a:lnTo>
                        <a:pt x="1184" y="3565"/>
                      </a:lnTo>
                      <a:lnTo>
                        <a:pt x="1184" y="3565"/>
                      </a:lnTo>
                      <a:lnTo>
                        <a:pt x="1183" y="3566"/>
                      </a:lnTo>
                      <a:lnTo>
                        <a:pt x="1169" y="3570"/>
                      </a:lnTo>
                      <a:lnTo>
                        <a:pt x="1144" y="3574"/>
                      </a:lnTo>
                      <a:lnTo>
                        <a:pt x="1108" y="3579"/>
                      </a:lnTo>
                      <a:lnTo>
                        <a:pt x="1063" y="3585"/>
                      </a:lnTo>
                      <a:lnTo>
                        <a:pt x="1015" y="3590"/>
                      </a:lnTo>
                      <a:lnTo>
                        <a:pt x="964" y="3594"/>
                      </a:lnTo>
                      <a:lnTo>
                        <a:pt x="914" y="3595"/>
                      </a:lnTo>
                      <a:lnTo>
                        <a:pt x="868" y="3595"/>
                      </a:lnTo>
                      <a:lnTo>
                        <a:pt x="847" y="3594"/>
                      </a:lnTo>
                      <a:lnTo>
                        <a:pt x="828" y="3593"/>
                      </a:lnTo>
                      <a:lnTo>
                        <a:pt x="810" y="3590"/>
                      </a:lnTo>
                      <a:lnTo>
                        <a:pt x="797" y="3587"/>
                      </a:lnTo>
                      <a:lnTo>
                        <a:pt x="785" y="3582"/>
                      </a:lnTo>
                      <a:lnTo>
                        <a:pt x="777" y="3578"/>
                      </a:lnTo>
                      <a:lnTo>
                        <a:pt x="774" y="3574"/>
                      </a:lnTo>
                      <a:lnTo>
                        <a:pt x="773" y="3571"/>
                      </a:lnTo>
                      <a:lnTo>
                        <a:pt x="771" y="3567"/>
                      </a:lnTo>
                      <a:lnTo>
                        <a:pt x="773" y="3563"/>
                      </a:lnTo>
                      <a:lnTo>
                        <a:pt x="774" y="3559"/>
                      </a:lnTo>
                      <a:lnTo>
                        <a:pt x="776" y="3555"/>
                      </a:lnTo>
                      <a:lnTo>
                        <a:pt x="785" y="3546"/>
                      </a:lnTo>
                      <a:lnTo>
                        <a:pt x="798" y="3534"/>
                      </a:lnTo>
                      <a:lnTo>
                        <a:pt x="817" y="3522"/>
                      </a:lnTo>
                      <a:lnTo>
                        <a:pt x="841" y="3508"/>
                      </a:lnTo>
                      <a:lnTo>
                        <a:pt x="871" y="3492"/>
                      </a:lnTo>
                      <a:lnTo>
                        <a:pt x="871" y="3492"/>
                      </a:lnTo>
                      <a:lnTo>
                        <a:pt x="890" y="3487"/>
                      </a:lnTo>
                      <a:lnTo>
                        <a:pt x="918" y="3480"/>
                      </a:lnTo>
                      <a:lnTo>
                        <a:pt x="956" y="3472"/>
                      </a:lnTo>
                      <a:lnTo>
                        <a:pt x="1003" y="3465"/>
                      </a:lnTo>
                      <a:lnTo>
                        <a:pt x="1112" y="3449"/>
                      </a:lnTo>
                      <a:lnTo>
                        <a:pt x="1234" y="3433"/>
                      </a:lnTo>
                      <a:lnTo>
                        <a:pt x="1356" y="3418"/>
                      </a:lnTo>
                      <a:lnTo>
                        <a:pt x="1467" y="3406"/>
                      </a:lnTo>
                      <a:lnTo>
                        <a:pt x="1553" y="3398"/>
                      </a:lnTo>
                      <a:lnTo>
                        <a:pt x="1602" y="3394"/>
                      </a:lnTo>
                      <a:lnTo>
                        <a:pt x="1602" y="3394"/>
                      </a:lnTo>
                      <a:lnTo>
                        <a:pt x="1684" y="3392"/>
                      </a:lnTo>
                      <a:lnTo>
                        <a:pt x="1765" y="3392"/>
                      </a:lnTo>
                      <a:lnTo>
                        <a:pt x="1843" y="3394"/>
                      </a:lnTo>
                      <a:lnTo>
                        <a:pt x="1921" y="3398"/>
                      </a:lnTo>
                      <a:lnTo>
                        <a:pt x="1996" y="3405"/>
                      </a:lnTo>
                      <a:lnTo>
                        <a:pt x="2033" y="3409"/>
                      </a:lnTo>
                      <a:lnTo>
                        <a:pt x="2069" y="3414"/>
                      </a:lnTo>
                      <a:lnTo>
                        <a:pt x="2105" y="3421"/>
                      </a:lnTo>
                      <a:lnTo>
                        <a:pt x="2142" y="3427"/>
                      </a:lnTo>
                      <a:lnTo>
                        <a:pt x="2177" y="3435"/>
                      </a:lnTo>
                      <a:lnTo>
                        <a:pt x="2210" y="3445"/>
                      </a:lnTo>
                      <a:lnTo>
                        <a:pt x="2244" y="3456"/>
                      </a:lnTo>
                      <a:lnTo>
                        <a:pt x="2277" y="3466"/>
                      </a:lnTo>
                      <a:lnTo>
                        <a:pt x="2311" y="3478"/>
                      </a:lnTo>
                      <a:lnTo>
                        <a:pt x="2343" y="3492"/>
                      </a:lnTo>
                      <a:lnTo>
                        <a:pt x="2374" y="3507"/>
                      </a:lnTo>
                      <a:lnTo>
                        <a:pt x="2405" y="3523"/>
                      </a:lnTo>
                      <a:lnTo>
                        <a:pt x="2436" y="3540"/>
                      </a:lnTo>
                      <a:lnTo>
                        <a:pt x="2466" y="3559"/>
                      </a:lnTo>
                      <a:lnTo>
                        <a:pt x="2495" y="3579"/>
                      </a:lnTo>
                      <a:lnTo>
                        <a:pt x="2523" y="3602"/>
                      </a:lnTo>
                      <a:lnTo>
                        <a:pt x="2552" y="3625"/>
                      </a:lnTo>
                      <a:lnTo>
                        <a:pt x="2579" y="3649"/>
                      </a:lnTo>
                      <a:lnTo>
                        <a:pt x="2605" y="3676"/>
                      </a:lnTo>
                      <a:lnTo>
                        <a:pt x="2632" y="3704"/>
                      </a:lnTo>
                      <a:lnTo>
                        <a:pt x="2657" y="3734"/>
                      </a:lnTo>
                      <a:lnTo>
                        <a:pt x="2682" y="3765"/>
                      </a:lnTo>
                      <a:lnTo>
                        <a:pt x="2682" y="3765"/>
                      </a:lnTo>
                      <a:lnTo>
                        <a:pt x="2666" y="3624"/>
                      </a:lnTo>
                      <a:lnTo>
                        <a:pt x="2654" y="3489"/>
                      </a:lnTo>
                      <a:lnTo>
                        <a:pt x="2644" y="3360"/>
                      </a:lnTo>
                      <a:lnTo>
                        <a:pt x="2639" y="3234"/>
                      </a:lnTo>
                      <a:lnTo>
                        <a:pt x="2635" y="3113"/>
                      </a:lnTo>
                      <a:lnTo>
                        <a:pt x="2634" y="2993"/>
                      </a:lnTo>
                      <a:lnTo>
                        <a:pt x="2635" y="2875"/>
                      </a:lnTo>
                      <a:lnTo>
                        <a:pt x="2638" y="2758"/>
                      </a:lnTo>
                      <a:lnTo>
                        <a:pt x="2643" y="2641"/>
                      </a:lnTo>
                      <a:lnTo>
                        <a:pt x="2648" y="2524"/>
                      </a:lnTo>
                      <a:lnTo>
                        <a:pt x="2657" y="2404"/>
                      </a:lnTo>
                      <a:lnTo>
                        <a:pt x="2666" y="2282"/>
                      </a:lnTo>
                      <a:lnTo>
                        <a:pt x="2686" y="2028"/>
                      </a:lnTo>
                      <a:lnTo>
                        <a:pt x="2708" y="1752"/>
                      </a:lnTo>
                      <a:lnTo>
                        <a:pt x="2708" y="1752"/>
                      </a:lnTo>
                      <a:lnTo>
                        <a:pt x="2717" y="1601"/>
                      </a:lnTo>
                      <a:lnTo>
                        <a:pt x="2724" y="1452"/>
                      </a:lnTo>
                      <a:lnTo>
                        <a:pt x="2728" y="1301"/>
                      </a:lnTo>
                      <a:lnTo>
                        <a:pt x="2729" y="1151"/>
                      </a:lnTo>
                      <a:lnTo>
                        <a:pt x="2729" y="1151"/>
                      </a:lnTo>
                      <a:lnTo>
                        <a:pt x="2729" y="408"/>
                      </a:lnTo>
                      <a:lnTo>
                        <a:pt x="2729" y="408"/>
                      </a:lnTo>
                      <a:lnTo>
                        <a:pt x="2730" y="21"/>
                      </a:lnTo>
                      <a:lnTo>
                        <a:pt x="2730" y="21"/>
                      </a:lnTo>
                      <a:lnTo>
                        <a:pt x="2549" y="13"/>
                      </a:lnTo>
                      <a:lnTo>
                        <a:pt x="2371" y="8"/>
                      </a:lnTo>
                      <a:lnTo>
                        <a:pt x="2197" y="4"/>
                      </a:lnTo>
                      <a:lnTo>
                        <a:pt x="2027" y="1"/>
                      </a:lnTo>
                      <a:lnTo>
                        <a:pt x="1861" y="0"/>
                      </a:lnTo>
                      <a:lnTo>
                        <a:pt x="1698" y="1"/>
                      </a:lnTo>
                      <a:lnTo>
                        <a:pt x="1539" y="4"/>
                      </a:lnTo>
                      <a:lnTo>
                        <a:pt x="1385" y="8"/>
                      </a:lnTo>
                      <a:lnTo>
                        <a:pt x="1234" y="14"/>
                      </a:lnTo>
                      <a:lnTo>
                        <a:pt x="1086" y="21"/>
                      </a:lnTo>
                      <a:lnTo>
                        <a:pt x="944" y="31"/>
                      </a:lnTo>
                      <a:lnTo>
                        <a:pt x="804" y="43"/>
                      </a:lnTo>
                      <a:lnTo>
                        <a:pt x="668" y="55"/>
                      </a:lnTo>
                      <a:lnTo>
                        <a:pt x="538" y="70"/>
                      </a:lnTo>
                      <a:lnTo>
                        <a:pt x="410" y="86"/>
                      </a:lnTo>
                      <a:lnTo>
                        <a:pt x="286" y="103"/>
                      </a:lnTo>
                      <a:lnTo>
                        <a:pt x="286" y="103"/>
                      </a:lnTo>
                      <a:lnTo>
                        <a:pt x="286" y="262"/>
                      </a:lnTo>
                      <a:lnTo>
                        <a:pt x="286" y="421"/>
                      </a:lnTo>
                      <a:lnTo>
                        <a:pt x="282" y="738"/>
                      </a:lnTo>
                      <a:lnTo>
                        <a:pt x="281" y="897"/>
                      </a:lnTo>
                      <a:lnTo>
                        <a:pt x="281" y="1055"/>
                      </a:lnTo>
                      <a:lnTo>
                        <a:pt x="282" y="1214"/>
                      </a:lnTo>
                      <a:lnTo>
                        <a:pt x="286" y="1373"/>
                      </a:lnTo>
                      <a:lnTo>
                        <a:pt x="286" y="1373"/>
                      </a:lnTo>
                      <a:lnTo>
                        <a:pt x="287" y="1304"/>
                      </a:lnTo>
                      <a:lnTo>
                        <a:pt x="287" y="1234"/>
                      </a:lnTo>
                      <a:lnTo>
                        <a:pt x="287" y="1234"/>
                      </a:lnTo>
                      <a:lnTo>
                        <a:pt x="287" y="1308"/>
                      </a:lnTo>
                      <a:lnTo>
                        <a:pt x="290" y="1381"/>
                      </a:lnTo>
                      <a:lnTo>
                        <a:pt x="296" y="1455"/>
                      </a:lnTo>
                      <a:lnTo>
                        <a:pt x="301" y="1527"/>
                      </a:lnTo>
                      <a:lnTo>
                        <a:pt x="308" y="1600"/>
                      </a:lnTo>
                      <a:lnTo>
                        <a:pt x="316" y="1673"/>
                      </a:lnTo>
                      <a:lnTo>
                        <a:pt x="335" y="1818"/>
                      </a:lnTo>
                      <a:lnTo>
                        <a:pt x="353" y="1963"/>
                      </a:lnTo>
                      <a:lnTo>
                        <a:pt x="372" y="2108"/>
                      </a:lnTo>
                      <a:lnTo>
                        <a:pt x="382" y="2181"/>
                      </a:lnTo>
                      <a:lnTo>
                        <a:pt x="388" y="2253"/>
                      </a:lnTo>
                      <a:lnTo>
                        <a:pt x="395" y="2327"/>
                      </a:lnTo>
                      <a:lnTo>
                        <a:pt x="400" y="2400"/>
                      </a:lnTo>
                      <a:lnTo>
                        <a:pt x="400" y="2400"/>
                      </a:lnTo>
                      <a:lnTo>
                        <a:pt x="404" y="2473"/>
                      </a:lnTo>
                      <a:lnTo>
                        <a:pt x="407" y="2545"/>
                      </a:lnTo>
                      <a:lnTo>
                        <a:pt x="408" y="2618"/>
                      </a:lnTo>
                      <a:lnTo>
                        <a:pt x="410" y="2690"/>
                      </a:lnTo>
                      <a:lnTo>
                        <a:pt x="408" y="2762"/>
                      </a:lnTo>
                      <a:lnTo>
                        <a:pt x="407" y="2834"/>
                      </a:lnTo>
                      <a:lnTo>
                        <a:pt x="404" y="2907"/>
                      </a:lnTo>
                      <a:lnTo>
                        <a:pt x="400" y="2980"/>
                      </a:lnTo>
                      <a:lnTo>
                        <a:pt x="391" y="3125"/>
                      </a:lnTo>
                      <a:lnTo>
                        <a:pt x="379" y="3270"/>
                      </a:lnTo>
                      <a:lnTo>
                        <a:pt x="364" y="3414"/>
                      </a:lnTo>
                      <a:lnTo>
                        <a:pt x="348" y="3558"/>
                      </a:lnTo>
                      <a:lnTo>
                        <a:pt x="348" y="3558"/>
                      </a:lnTo>
                      <a:lnTo>
                        <a:pt x="335" y="3660"/>
                      </a:lnTo>
                      <a:lnTo>
                        <a:pt x="321" y="3762"/>
                      </a:lnTo>
                      <a:lnTo>
                        <a:pt x="306" y="3864"/>
                      </a:lnTo>
                      <a:lnTo>
                        <a:pt x="291" y="3965"/>
                      </a:lnTo>
                      <a:lnTo>
                        <a:pt x="259" y="4168"/>
                      </a:lnTo>
                      <a:lnTo>
                        <a:pt x="223" y="4371"/>
                      </a:lnTo>
                      <a:lnTo>
                        <a:pt x="223" y="4371"/>
                      </a:lnTo>
                      <a:lnTo>
                        <a:pt x="205" y="4451"/>
                      </a:lnTo>
                      <a:lnTo>
                        <a:pt x="189" y="4530"/>
                      </a:lnTo>
                      <a:lnTo>
                        <a:pt x="175" y="4608"/>
                      </a:lnTo>
                      <a:lnTo>
                        <a:pt x="162" y="4686"/>
                      </a:lnTo>
                      <a:lnTo>
                        <a:pt x="162" y="4686"/>
                      </a:lnTo>
                      <a:lnTo>
                        <a:pt x="141" y="4690"/>
                      </a:lnTo>
                      <a:lnTo>
                        <a:pt x="95" y="4698"/>
                      </a:lnTo>
                      <a:lnTo>
                        <a:pt x="48" y="4705"/>
                      </a:lnTo>
                      <a:lnTo>
                        <a:pt x="27" y="4709"/>
                      </a:lnTo>
                      <a:lnTo>
                        <a:pt x="27" y="4709"/>
                      </a:lnTo>
                      <a:lnTo>
                        <a:pt x="15" y="4807"/>
                      </a:lnTo>
                      <a:lnTo>
                        <a:pt x="6" y="4903"/>
                      </a:lnTo>
                      <a:lnTo>
                        <a:pt x="4" y="4950"/>
                      </a:lnTo>
                      <a:lnTo>
                        <a:pt x="1" y="4995"/>
                      </a:lnTo>
                      <a:lnTo>
                        <a:pt x="0" y="5041"/>
                      </a:lnTo>
                      <a:lnTo>
                        <a:pt x="0" y="5085"/>
                      </a:lnTo>
                      <a:lnTo>
                        <a:pt x="0" y="5085"/>
                      </a:lnTo>
                      <a:lnTo>
                        <a:pt x="1" y="5106"/>
                      </a:lnTo>
                      <a:lnTo>
                        <a:pt x="5" y="5124"/>
                      </a:lnTo>
                      <a:lnTo>
                        <a:pt x="12" y="5143"/>
                      </a:lnTo>
                      <a:lnTo>
                        <a:pt x="20" y="5162"/>
                      </a:lnTo>
                      <a:lnTo>
                        <a:pt x="29" y="5180"/>
                      </a:lnTo>
                      <a:lnTo>
                        <a:pt x="40" y="5197"/>
                      </a:lnTo>
                      <a:lnTo>
                        <a:pt x="62" y="5229"/>
                      </a:lnTo>
                      <a:lnTo>
                        <a:pt x="84" y="5260"/>
                      </a:lnTo>
                      <a:lnTo>
                        <a:pt x="95" y="5276"/>
                      </a:lnTo>
                      <a:lnTo>
                        <a:pt x="103" y="5291"/>
                      </a:lnTo>
                      <a:lnTo>
                        <a:pt x="111" y="5307"/>
                      </a:lnTo>
                      <a:lnTo>
                        <a:pt x="117" y="5322"/>
                      </a:lnTo>
                      <a:lnTo>
                        <a:pt x="119" y="5338"/>
                      </a:lnTo>
                      <a:lnTo>
                        <a:pt x="119" y="5353"/>
                      </a:lnTo>
                      <a:lnTo>
                        <a:pt x="119" y="5353"/>
                      </a:lnTo>
                      <a:lnTo>
                        <a:pt x="173" y="5366"/>
                      </a:lnTo>
                      <a:lnTo>
                        <a:pt x="234" y="5379"/>
                      </a:lnTo>
                      <a:lnTo>
                        <a:pt x="301" y="5391"/>
                      </a:lnTo>
                      <a:lnTo>
                        <a:pt x="376" y="5401"/>
                      </a:lnTo>
                      <a:lnTo>
                        <a:pt x="461" y="5411"/>
                      </a:lnTo>
                      <a:lnTo>
                        <a:pt x="554" y="5419"/>
                      </a:lnTo>
                      <a:lnTo>
                        <a:pt x="655" y="5424"/>
                      </a:lnTo>
                      <a:lnTo>
                        <a:pt x="766" y="5430"/>
                      </a:lnTo>
                      <a:lnTo>
                        <a:pt x="766" y="5430"/>
                      </a:lnTo>
                      <a:lnTo>
                        <a:pt x="868" y="5432"/>
                      </a:lnTo>
                      <a:lnTo>
                        <a:pt x="977" y="5434"/>
                      </a:lnTo>
                      <a:lnTo>
                        <a:pt x="1094" y="5434"/>
                      </a:lnTo>
                      <a:lnTo>
                        <a:pt x="1217" y="5434"/>
                      </a:lnTo>
                      <a:lnTo>
                        <a:pt x="1475" y="5430"/>
                      </a:lnTo>
                      <a:lnTo>
                        <a:pt x="1745" y="5424"/>
                      </a:lnTo>
                      <a:lnTo>
                        <a:pt x="2291" y="5412"/>
                      </a:lnTo>
                      <a:lnTo>
                        <a:pt x="2552" y="5405"/>
                      </a:lnTo>
                      <a:lnTo>
                        <a:pt x="2792" y="5401"/>
                      </a:lnTo>
                      <a:lnTo>
                        <a:pt x="2792" y="5401"/>
                      </a:lnTo>
                      <a:lnTo>
                        <a:pt x="2788" y="5361"/>
                      </a:lnTo>
                      <a:lnTo>
                        <a:pt x="2786" y="5332"/>
                      </a:lnTo>
                      <a:lnTo>
                        <a:pt x="2782" y="5313"/>
                      </a:lnTo>
                      <a:lnTo>
                        <a:pt x="2779" y="5302"/>
                      </a:lnTo>
                      <a:lnTo>
                        <a:pt x="2779" y="5302"/>
                      </a:lnTo>
                      <a:lnTo>
                        <a:pt x="2776" y="5299"/>
                      </a:lnTo>
                      <a:lnTo>
                        <a:pt x="2775" y="5298"/>
                      </a:lnTo>
                      <a:lnTo>
                        <a:pt x="2776" y="5297"/>
                      </a:lnTo>
                      <a:lnTo>
                        <a:pt x="2776" y="5298"/>
                      </a:lnTo>
                      <a:lnTo>
                        <a:pt x="2779" y="5302"/>
                      </a:lnTo>
                      <a:lnTo>
                        <a:pt x="2779" y="5302"/>
                      </a:lnTo>
                      <a:lnTo>
                        <a:pt x="2783" y="5303"/>
                      </a:lnTo>
                      <a:lnTo>
                        <a:pt x="2792" y="5303"/>
                      </a:lnTo>
                      <a:lnTo>
                        <a:pt x="2802" y="5301"/>
                      </a:lnTo>
                      <a:lnTo>
                        <a:pt x="2808" y="5299"/>
                      </a:lnTo>
                      <a:lnTo>
                        <a:pt x="2814" y="5297"/>
                      </a:lnTo>
                      <a:lnTo>
                        <a:pt x="2819" y="5293"/>
                      </a:lnTo>
                      <a:lnTo>
                        <a:pt x="2825" y="5287"/>
                      </a:lnTo>
                      <a:lnTo>
                        <a:pt x="2830" y="5280"/>
                      </a:lnTo>
                      <a:lnTo>
                        <a:pt x="2835" y="5272"/>
                      </a:lnTo>
                      <a:lnTo>
                        <a:pt x="2839" y="5263"/>
                      </a:lnTo>
                      <a:lnTo>
                        <a:pt x="2842" y="5252"/>
                      </a:lnTo>
                      <a:lnTo>
                        <a:pt x="2845" y="5239"/>
                      </a:lnTo>
                      <a:lnTo>
                        <a:pt x="2846" y="5224"/>
                      </a:lnTo>
                      <a:lnTo>
                        <a:pt x="2846" y="5224"/>
                      </a:lnTo>
                      <a:lnTo>
                        <a:pt x="2850" y="5108"/>
                      </a:lnTo>
                      <a:lnTo>
                        <a:pt x="2853" y="5001"/>
                      </a:lnTo>
                      <a:lnTo>
                        <a:pt x="2854" y="4901"/>
                      </a:lnTo>
                      <a:lnTo>
                        <a:pt x="2854" y="4808"/>
                      </a:lnTo>
                      <a:lnTo>
                        <a:pt x="2854" y="4722"/>
                      </a:lnTo>
                      <a:lnTo>
                        <a:pt x="2851" y="4642"/>
                      </a:lnTo>
                      <a:lnTo>
                        <a:pt x="2849" y="4569"/>
                      </a:lnTo>
                      <a:lnTo>
                        <a:pt x="2843" y="4502"/>
                      </a:lnTo>
                      <a:lnTo>
                        <a:pt x="2838" y="4440"/>
                      </a:lnTo>
                      <a:lnTo>
                        <a:pt x="2831" y="4383"/>
                      </a:lnTo>
                      <a:lnTo>
                        <a:pt x="2825" y="4332"/>
                      </a:lnTo>
                      <a:lnTo>
                        <a:pt x="2815" y="4285"/>
                      </a:lnTo>
                      <a:lnTo>
                        <a:pt x="2806" y="4242"/>
                      </a:lnTo>
                      <a:lnTo>
                        <a:pt x="2796" y="4205"/>
                      </a:lnTo>
                      <a:lnTo>
                        <a:pt x="2784" y="4170"/>
                      </a:lnTo>
                      <a:lnTo>
                        <a:pt x="2772" y="4137"/>
                      </a:lnTo>
                      <a:lnTo>
                        <a:pt x="2759" y="4109"/>
                      </a:lnTo>
                      <a:lnTo>
                        <a:pt x="2745" y="4082"/>
                      </a:lnTo>
                      <a:lnTo>
                        <a:pt x="2730" y="4059"/>
                      </a:lnTo>
                      <a:lnTo>
                        <a:pt x="2716" y="4038"/>
                      </a:lnTo>
                      <a:lnTo>
                        <a:pt x="2700" y="4018"/>
                      </a:lnTo>
                      <a:lnTo>
                        <a:pt x="2683" y="3999"/>
                      </a:lnTo>
                      <a:lnTo>
                        <a:pt x="2666" y="3981"/>
                      </a:lnTo>
                      <a:lnTo>
                        <a:pt x="2647" y="3964"/>
                      </a:lnTo>
                      <a:lnTo>
                        <a:pt x="2611" y="3932"/>
                      </a:lnTo>
                      <a:lnTo>
                        <a:pt x="2572" y="3898"/>
                      </a:lnTo>
                      <a:lnTo>
                        <a:pt x="2530" y="3859"/>
                      </a:lnTo>
                      <a:lnTo>
                        <a:pt x="2509" y="3839"/>
                      </a:lnTo>
                      <a:lnTo>
                        <a:pt x="2488" y="3816"/>
                      </a:lnTo>
                      <a:lnTo>
                        <a:pt x="2488" y="38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81" name="Freeform 167"/>
                <p:cNvSpPr>
                  <a:spLocks/>
                </p:cNvSpPr>
                <p:nvPr/>
              </p:nvSpPr>
              <p:spPr bwMode="auto">
                <a:xfrm>
                  <a:off x="22850475" y="-774700"/>
                  <a:ext cx="1957388" cy="835025"/>
                </a:xfrm>
                <a:custGeom>
                  <a:avLst/>
                  <a:gdLst>
                    <a:gd name="T0" fmla="*/ 15 w 2468"/>
                    <a:gd name="T1" fmla="*/ 1053 h 1053"/>
                    <a:gd name="T2" fmla="*/ 268 w 2468"/>
                    <a:gd name="T3" fmla="*/ 1020 h 1053"/>
                    <a:gd name="T4" fmla="*/ 535 w 2468"/>
                    <a:gd name="T5" fmla="*/ 993 h 1053"/>
                    <a:gd name="T6" fmla="*/ 819 w 2468"/>
                    <a:gd name="T7" fmla="*/ 973 h 1053"/>
                    <a:gd name="T8" fmla="*/ 1118 w 2468"/>
                    <a:gd name="T9" fmla="*/ 959 h 1053"/>
                    <a:gd name="T10" fmla="*/ 1431 w 2468"/>
                    <a:gd name="T11" fmla="*/ 953 h 1053"/>
                    <a:gd name="T12" fmla="*/ 1759 w 2468"/>
                    <a:gd name="T13" fmla="*/ 953 h 1053"/>
                    <a:gd name="T14" fmla="*/ 2102 w 2468"/>
                    <a:gd name="T15" fmla="*/ 959 h 1053"/>
                    <a:gd name="T16" fmla="*/ 2459 w 2468"/>
                    <a:gd name="T17" fmla="*/ 973 h 1053"/>
                    <a:gd name="T18" fmla="*/ 2461 w 2468"/>
                    <a:gd name="T19" fmla="*/ 365 h 1053"/>
                    <a:gd name="T20" fmla="*/ 2464 w 2468"/>
                    <a:gd name="T21" fmla="*/ 334 h 1053"/>
                    <a:gd name="T22" fmla="*/ 2468 w 2468"/>
                    <a:gd name="T23" fmla="*/ 278 h 1053"/>
                    <a:gd name="T24" fmla="*/ 2466 w 2468"/>
                    <a:gd name="T25" fmla="*/ 244 h 1053"/>
                    <a:gd name="T26" fmla="*/ 2462 w 2468"/>
                    <a:gd name="T27" fmla="*/ 230 h 1053"/>
                    <a:gd name="T28" fmla="*/ 2455 w 2468"/>
                    <a:gd name="T29" fmla="*/ 221 h 1053"/>
                    <a:gd name="T30" fmla="*/ 2438 w 2468"/>
                    <a:gd name="T31" fmla="*/ 202 h 1053"/>
                    <a:gd name="T32" fmla="*/ 2395 w 2468"/>
                    <a:gd name="T33" fmla="*/ 165 h 1053"/>
                    <a:gd name="T34" fmla="*/ 2343 w 2468"/>
                    <a:gd name="T35" fmla="*/ 130 h 1053"/>
                    <a:gd name="T36" fmla="*/ 2283 w 2468"/>
                    <a:gd name="T37" fmla="*/ 97 h 1053"/>
                    <a:gd name="T38" fmla="*/ 2220 w 2468"/>
                    <a:gd name="T39" fmla="*/ 70 h 1053"/>
                    <a:gd name="T40" fmla="*/ 2158 w 2468"/>
                    <a:gd name="T41" fmla="*/ 50 h 1053"/>
                    <a:gd name="T42" fmla="*/ 2099 w 2468"/>
                    <a:gd name="T43" fmla="*/ 37 h 1053"/>
                    <a:gd name="T44" fmla="*/ 2047 w 2468"/>
                    <a:gd name="T45" fmla="*/ 31 h 1053"/>
                    <a:gd name="T46" fmla="*/ 2025 w 2468"/>
                    <a:gd name="T47" fmla="*/ 33 h 1053"/>
                    <a:gd name="T48" fmla="*/ 1961 w 2468"/>
                    <a:gd name="T49" fmla="*/ 37 h 1053"/>
                    <a:gd name="T50" fmla="*/ 1895 w 2468"/>
                    <a:gd name="T51" fmla="*/ 35 h 1053"/>
                    <a:gd name="T52" fmla="*/ 1830 w 2468"/>
                    <a:gd name="T53" fmla="*/ 30 h 1053"/>
                    <a:gd name="T54" fmla="*/ 1700 w 2468"/>
                    <a:gd name="T55" fmla="*/ 14 h 1053"/>
                    <a:gd name="T56" fmla="*/ 1603 w 2468"/>
                    <a:gd name="T57" fmla="*/ 3 h 1053"/>
                    <a:gd name="T58" fmla="*/ 1537 w 2468"/>
                    <a:gd name="T59" fmla="*/ 0 h 1053"/>
                    <a:gd name="T60" fmla="*/ 1505 w 2468"/>
                    <a:gd name="T61" fmla="*/ 0 h 1053"/>
                    <a:gd name="T62" fmla="*/ 990 w 2468"/>
                    <a:gd name="T63" fmla="*/ 14 h 1053"/>
                    <a:gd name="T64" fmla="*/ 812 w 2468"/>
                    <a:gd name="T65" fmla="*/ 14 h 1053"/>
                    <a:gd name="T66" fmla="*/ 769 w 2468"/>
                    <a:gd name="T67" fmla="*/ 14 h 1053"/>
                    <a:gd name="T68" fmla="*/ 686 w 2468"/>
                    <a:gd name="T69" fmla="*/ 23 h 1053"/>
                    <a:gd name="T70" fmla="*/ 601 w 2468"/>
                    <a:gd name="T71" fmla="*/ 39 h 1053"/>
                    <a:gd name="T72" fmla="*/ 515 w 2468"/>
                    <a:gd name="T73" fmla="*/ 61 h 1053"/>
                    <a:gd name="T74" fmla="*/ 388 w 2468"/>
                    <a:gd name="T75" fmla="*/ 100 h 1053"/>
                    <a:gd name="T76" fmla="*/ 219 w 2468"/>
                    <a:gd name="T77" fmla="*/ 154 h 1053"/>
                    <a:gd name="T78" fmla="*/ 136 w 2468"/>
                    <a:gd name="T79" fmla="*/ 177 h 1053"/>
                    <a:gd name="T80" fmla="*/ 119 w 2468"/>
                    <a:gd name="T81" fmla="*/ 182 h 1053"/>
                    <a:gd name="T82" fmla="*/ 86 w 2468"/>
                    <a:gd name="T83" fmla="*/ 197 h 1053"/>
                    <a:gd name="T84" fmla="*/ 61 w 2468"/>
                    <a:gd name="T85" fmla="*/ 214 h 1053"/>
                    <a:gd name="T86" fmla="*/ 41 w 2468"/>
                    <a:gd name="T87" fmla="*/ 234 h 1053"/>
                    <a:gd name="T88" fmla="*/ 25 w 2468"/>
                    <a:gd name="T89" fmla="*/ 259 h 1053"/>
                    <a:gd name="T90" fmla="*/ 14 w 2468"/>
                    <a:gd name="T91" fmla="*/ 286 h 1053"/>
                    <a:gd name="T92" fmla="*/ 6 w 2468"/>
                    <a:gd name="T93" fmla="*/ 314 h 1053"/>
                    <a:gd name="T94" fmla="*/ 0 w 2468"/>
                    <a:gd name="T95" fmla="*/ 360 h 1053"/>
                    <a:gd name="T96" fmla="*/ 2 w 2468"/>
                    <a:gd name="T97" fmla="*/ 425 h 1053"/>
                    <a:gd name="T98" fmla="*/ 7 w 2468"/>
                    <a:gd name="T99" fmla="*/ 491 h 1053"/>
                    <a:gd name="T100" fmla="*/ 18 w 2468"/>
                    <a:gd name="T101" fmla="*/ 585 h 1053"/>
                    <a:gd name="T102" fmla="*/ 20 w 2468"/>
                    <a:gd name="T103" fmla="*/ 615 h 1053"/>
                    <a:gd name="T104" fmla="*/ 22 w 2468"/>
                    <a:gd name="T105" fmla="*/ 724 h 1053"/>
                    <a:gd name="T106" fmla="*/ 18 w 2468"/>
                    <a:gd name="T107" fmla="*/ 943 h 1053"/>
                    <a:gd name="T108" fmla="*/ 15 w 2468"/>
                    <a:gd name="T109" fmla="*/ 1053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53">
                      <a:moveTo>
                        <a:pt x="15" y="1053"/>
                      </a:moveTo>
                      <a:lnTo>
                        <a:pt x="15" y="1053"/>
                      </a:lnTo>
                      <a:lnTo>
                        <a:pt x="140" y="1036"/>
                      </a:lnTo>
                      <a:lnTo>
                        <a:pt x="268" y="1020"/>
                      </a:lnTo>
                      <a:lnTo>
                        <a:pt x="400" y="1006"/>
                      </a:lnTo>
                      <a:lnTo>
                        <a:pt x="535" y="993"/>
                      </a:lnTo>
                      <a:lnTo>
                        <a:pt x="675" y="982"/>
                      </a:lnTo>
                      <a:lnTo>
                        <a:pt x="819" y="973"/>
                      </a:lnTo>
                      <a:lnTo>
                        <a:pt x="967" y="966"/>
                      </a:lnTo>
                      <a:lnTo>
                        <a:pt x="1118" y="959"/>
                      </a:lnTo>
                      <a:lnTo>
                        <a:pt x="1272" y="955"/>
                      </a:lnTo>
                      <a:lnTo>
                        <a:pt x="1431" y="953"/>
                      </a:lnTo>
                      <a:lnTo>
                        <a:pt x="1594" y="951"/>
                      </a:lnTo>
                      <a:lnTo>
                        <a:pt x="1759" y="953"/>
                      </a:lnTo>
                      <a:lnTo>
                        <a:pt x="1928" y="955"/>
                      </a:lnTo>
                      <a:lnTo>
                        <a:pt x="2102" y="959"/>
                      </a:lnTo>
                      <a:lnTo>
                        <a:pt x="2279" y="965"/>
                      </a:lnTo>
                      <a:lnTo>
                        <a:pt x="2459" y="973"/>
                      </a:lnTo>
                      <a:lnTo>
                        <a:pt x="2459" y="973"/>
                      </a:lnTo>
                      <a:lnTo>
                        <a:pt x="2461" y="365"/>
                      </a:lnTo>
                      <a:lnTo>
                        <a:pt x="2461" y="365"/>
                      </a:lnTo>
                      <a:lnTo>
                        <a:pt x="2464" y="334"/>
                      </a:lnTo>
                      <a:lnTo>
                        <a:pt x="2466" y="296"/>
                      </a:lnTo>
                      <a:lnTo>
                        <a:pt x="2468" y="278"/>
                      </a:lnTo>
                      <a:lnTo>
                        <a:pt x="2468" y="259"/>
                      </a:lnTo>
                      <a:lnTo>
                        <a:pt x="2466" y="244"/>
                      </a:lnTo>
                      <a:lnTo>
                        <a:pt x="2464" y="237"/>
                      </a:lnTo>
                      <a:lnTo>
                        <a:pt x="2462" y="230"/>
                      </a:lnTo>
                      <a:lnTo>
                        <a:pt x="2462" y="230"/>
                      </a:lnTo>
                      <a:lnTo>
                        <a:pt x="2455" y="221"/>
                      </a:lnTo>
                      <a:lnTo>
                        <a:pt x="2455" y="221"/>
                      </a:lnTo>
                      <a:lnTo>
                        <a:pt x="2438" y="202"/>
                      </a:lnTo>
                      <a:lnTo>
                        <a:pt x="2419" y="183"/>
                      </a:lnTo>
                      <a:lnTo>
                        <a:pt x="2395" y="165"/>
                      </a:lnTo>
                      <a:lnTo>
                        <a:pt x="2371" y="147"/>
                      </a:lnTo>
                      <a:lnTo>
                        <a:pt x="2343" y="130"/>
                      </a:lnTo>
                      <a:lnTo>
                        <a:pt x="2313" y="113"/>
                      </a:lnTo>
                      <a:lnTo>
                        <a:pt x="2283" y="97"/>
                      </a:lnTo>
                      <a:lnTo>
                        <a:pt x="2252" y="84"/>
                      </a:lnTo>
                      <a:lnTo>
                        <a:pt x="2220" y="70"/>
                      </a:lnTo>
                      <a:lnTo>
                        <a:pt x="2189" y="60"/>
                      </a:lnTo>
                      <a:lnTo>
                        <a:pt x="2158" y="50"/>
                      </a:lnTo>
                      <a:lnTo>
                        <a:pt x="2127" y="42"/>
                      </a:lnTo>
                      <a:lnTo>
                        <a:pt x="2099" y="37"/>
                      </a:lnTo>
                      <a:lnTo>
                        <a:pt x="2072" y="33"/>
                      </a:lnTo>
                      <a:lnTo>
                        <a:pt x="2047" y="31"/>
                      </a:lnTo>
                      <a:lnTo>
                        <a:pt x="2025" y="33"/>
                      </a:lnTo>
                      <a:lnTo>
                        <a:pt x="2025" y="33"/>
                      </a:lnTo>
                      <a:lnTo>
                        <a:pt x="1993" y="35"/>
                      </a:lnTo>
                      <a:lnTo>
                        <a:pt x="1961" y="37"/>
                      </a:lnTo>
                      <a:lnTo>
                        <a:pt x="1928" y="37"/>
                      </a:lnTo>
                      <a:lnTo>
                        <a:pt x="1895" y="35"/>
                      </a:lnTo>
                      <a:lnTo>
                        <a:pt x="1863" y="33"/>
                      </a:lnTo>
                      <a:lnTo>
                        <a:pt x="1830" y="30"/>
                      </a:lnTo>
                      <a:lnTo>
                        <a:pt x="1766" y="22"/>
                      </a:lnTo>
                      <a:lnTo>
                        <a:pt x="1700" y="14"/>
                      </a:lnTo>
                      <a:lnTo>
                        <a:pt x="1635" y="6"/>
                      </a:lnTo>
                      <a:lnTo>
                        <a:pt x="1603" y="3"/>
                      </a:lnTo>
                      <a:lnTo>
                        <a:pt x="1571" y="2"/>
                      </a:lnTo>
                      <a:lnTo>
                        <a:pt x="1537" y="0"/>
                      </a:lnTo>
                      <a:lnTo>
                        <a:pt x="1505" y="0"/>
                      </a:lnTo>
                      <a:lnTo>
                        <a:pt x="1505" y="0"/>
                      </a:lnTo>
                      <a:lnTo>
                        <a:pt x="1158" y="10"/>
                      </a:lnTo>
                      <a:lnTo>
                        <a:pt x="990" y="14"/>
                      </a:lnTo>
                      <a:lnTo>
                        <a:pt x="903" y="14"/>
                      </a:lnTo>
                      <a:lnTo>
                        <a:pt x="812" y="14"/>
                      </a:lnTo>
                      <a:lnTo>
                        <a:pt x="812" y="14"/>
                      </a:lnTo>
                      <a:lnTo>
                        <a:pt x="769" y="14"/>
                      </a:lnTo>
                      <a:lnTo>
                        <a:pt x="728" y="18"/>
                      </a:lnTo>
                      <a:lnTo>
                        <a:pt x="686" y="23"/>
                      </a:lnTo>
                      <a:lnTo>
                        <a:pt x="643" y="30"/>
                      </a:lnTo>
                      <a:lnTo>
                        <a:pt x="601" y="39"/>
                      </a:lnTo>
                      <a:lnTo>
                        <a:pt x="558" y="50"/>
                      </a:lnTo>
                      <a:lnTo>
                        <a:pt x="515" y="61"/>
                      </a:lnTo>
                      <a:lnTo>
                        <a:pt x="474" y="73"/>
                      </a:lnTo>
                      <a:lnTo>
                        <a:pt x="388" y="100"/>
                      </a:lnTo>
                      <a:lnTo>
                        <a:pt x="303" y="128"/>
                      </a:lnTo>
                      <a:lnTo>
                        <a:pt x="219" y="154"/>
                      </a:lnTo>
                      <a:lnTo>
                        <a:pt x="178" y="166"/>
                      </a:lnTo>
                      <a:lnTo>
                        <a:pt x="136" y="177"/>
                      </a:lnTo>
                      <a:lnTo>
                        <a:pt x="136" y="177"/>
                      </a:lnTo>
                      <a:lnTo>
                        <a:pt x="119" y="182"/>
                      </a:lnTo>
                      <a:lnTo>
                        <a:pt x="101" y="189"/>
                      </a:lnTo>
                      <a:lnTo>
                        <a:pt x="86" y="197"/>
                      </a:lnTo>
                      <a:lnTo>
                        <a:pt x="73" y="205"/>
                      </a:lnTo>
                      <a:lnTo>
                        <a:pt x="61" y="214"/>
                      </a:lnTo>
                      <a:lnTo>
                        <a:pt x="50" y="224"/>
                      </a:lnTo>
                      <a:lnTo>
                        <a:pt x="41" y="234"/>
                      </a:lnTo>
                      <a:lnTo>
                        <a:pt x="33" y="247"/>
                      </a:lnTo>
                      <a:lnTo>
                        <a:pt x="25" y="259"/>
                      </a:lnTo>
                      <a:lnTo>
                        <a:pt x="19" y="272"/>
                      </a:lnTo>
                      <a:lnTo>
                        <a:pt x="14" y="286"/>
                      </a:lnTo>
                      <a:lnTo>
                        <a:pt x="10" y="299"/>
                      </a:lnTo>
                      <a:lnTo>
                        <a:pt x="6" y="314"/>
                      </a:lnTo>
                      <a:lnTo>
                        <a:pt x="3" y="329"/>
                      </a:lnTo>
                      <a:lnTo>
                        <a:pt x="0" y="360"/>
                      </a:lnTo>
                      <a:lnTo>
                        <a:pt x="0" y="392"/>
                      </a:lnTo>
                      <a:lnTo>
                        <a:pt x="2" y="425"/>
                      </a:lnTo>
                      <a:lnTo>
                        <a:pt x="4" y="458"/>
                      </a:lnTo>
                      <a:lnTo>
                        <a:pt x="7" y="491"/>
                      </a:lnTo>
                      <a:lnTo>
                        <a:pt x="15" y="556"/>
                      </a:lnTo>
                      <a:lnTo>
                        <a:pt x="18" y="585"/>
                      </a:lnTo>
                      <a:lnTo>
                        <a:pt x="20" y="615"/>
                      </a:lnTo>
                      <a:lnTo>
                        <a:pt x="20" y="615"/>
                      </a:lnTo>
                      <a:lnTo>
                        <a:pt x="22" y="669"/>
                      </a:lnTo>
                      <a:lnTo>
                        <a:pt x="22" y="724"/>
                      </a:lnTo>
                      <a:lnTo>
                        <a:pt x="20" y="834"/>
                      </a:lnTo>
                      <a:lnTo>
                        <a:pt x="18" y="943"/>
                      </a:lnTo>
                      <a:lnTo>
                        <a:pt x="15" y="1053"/>
                      </a:lnTo>
                      <a:lnTo>
                        <a:pt x="15" y="10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82" name="Freeform 168"/>
                <p:cNvSpPr>
                  <a:spLocks/>
                </p:cNvSpPr>
                <p:nvPr/>
              </p:nvSpPr>
              <p:spPr bwMode="auto">
                <a:xfrm>
                  <a:off x="25177750" y="-784225"/>
                  <a:ext cx="1958975" cy="857250"/>
                </a:xfrm>
                <a:custGeom>
                  <a:avLst/>
                  <a:gdLst>
                    <a:gd name="T0" fmla="*/ 8 w 2468"/>
                    <a:gd name="T1" fmla="*/ 981 h 1082"/>
                    <a:gd name="T2" fmla="*/ 368 w 2468"/>
                    <a:gd name="T3" fmla="*/ 969 h 1082"/>
                    <a:gd name="T4" fmla="*/ 712 w 2468"/>
                    <a:gd name="T5" fmla="*/ 965 h 1082"/>
                    <a:gd name="T6" fmla="*/ 1040 w 2468"/>
                    <a:gd name="T7" fmla="*/ 966 h 1082"/>
                    <a:gd name="T8" fmla="*/ 1355 w 2468"/>
                    <a:gd name="T9" fmla="*/ 975 h 1082"/>
                    <a:gd name="T10" fmla="*/ 1654 w 2468"/>
                    <a:gd name="T11" fmla="*/ 991 h 1082"/>
                    <a:gd name="T12" fmla="*/ 1936 w 2468"/>
                    <a:gd name="T13" fmla="*/ 1014 h 1082"/>
                    <a:gd name="T14" fmla="*/ 2202 w 2468"/>
                    <a:gd name="T15" fmla="*/ 1044 h 1082"/>
                    <a:gd name="T16" fmla="*/ 2452 w 2468"/>
                    <a:gd name="T17" fmla="*/ 1082 h 1082"/>
                    <a:gd name="T18" fmla="*/ 2450 w 2468"/>
                    <a:gd name="T19" fmla="*/ 967 h 1082"/>
                    <a:gd name="T20" fmla="*/ 2445 w 2468"/>
                    <a:gd name="T21" fmla="*/ 740 h 1082"/>
                    <a:gd name="T22" fmla="*/ 2447 w 2468"/>
                    <a:gd name="T23" fmla="*/ 627 h 1082"/>
                    <a:gd name="T24" fmla="*/ 2450 w 2468"/>
                    <a:gd name="T25" fmla="*/ 597 h 1082"/>
                    <a:gd name="T26" fmla="*/ 2460 w 2468"/>
                    <a:gd name="T27" fmla="*/ 503 h 1082"/>
                    <a:gd name="T28" fmla="*/ 2467 w 2468"/>
                    <a:gd name="T29" fmla="*/ 437 h 1082"/>
                    <a:gd name="T30" fmla="*/ 2467 w 2468"/>
                    <a:gd name="T31" fmla="*/ 372 h 1082"/>
                    <a:gd name="T32" fmla="*/ 2462 w 2468"/>
                    <a:gd name="T33" fmla="*/ 326 h 1082"/>
                    <a:gd name="T34" fmla="*/ 2454 w 2468"/>
                    <a:gd name="T35" fmla="*/ 298 h 1082"/>
                    <a:gd name="T36" fmla="*/ 2443 w 2468"/>
                    <a:gd name="T37" fmla="*/ 271 h 1082"/>
                    <a:gd name="T38" fmla="*/ 2427 w 2468"/>
                    <a:gd name="T39" fmla="*/ 246 h 1082"/>
                    <a:gd name="T40" fmla="*/ 2406 w 2468"/>
                    <a:gd name="T41" fmla="*/ 226 h 1082"/>
                    <a:gd name="T42" fmla="*/ 2381 w 2468"/>
                    <a:gd name="T43" fmla="*/ 209 h 1082"/>
                    <a:gd name="T44" fmla="*/ 2350 w 2468"/>
                    <a:gd name="T45" fmla="*/ 194 h 1082"/>
                    <a:gd name="T46" fmla="*/ 2331 w 2468"/>
                    <a:gd name="T47" fmla="*/ 189 h 1082"/>
                    <a:gd name="T48" fmla="*/ 2248 w 2468"/>
                    <a:gd name="T49" fmla="*/ 166 h 1082"/>
                    <a:gd name="T50" fmla="*/ 2080 w 2468"/>
                    <a:gd name="T51" fmla="*/ 108 h 1082"/>
                    <a:gd name="T52" fmla="*/ 1952 w 2468"/>
                    <a:gd name="T53" fmla="*/ 66 h 1082"/>
                    <a:gd name="T54" fmla="*/ 1866 w 2468"/>
                    <a:gd name="T55" fmla="*/ 42 h 1082"/>
                    <a:gd name="T56" fmla="*/ 1781 w 2468"/>
                    <a:gd name="T57" fmla="*/ 25 h 1082"/>
                    <a:gd name="T58" fmla="*/ 1698 w 2468"/>
                    <a:gd name="T59" fmla="*/ 15 h 1082"/>
                    <a:gd name="T60" fmla="*/ 1656 w 2468"/>
                    <a:gd name="T61" fmla="*/ 14 h 1082"/>
                    <a:gd name="T62" fmla="*/ 1468 w 2468"/>
                    <a:gd name="T63" fmla="*/ 14 h 1082"/>
                    <a:gd name="T64" fmla="*/ 1093 w 2468"/>
                    <a:gd name="T65" fmla="*/ 6 h 1082"/>
                    <a:gd name="T66" fmla="*/ 905 w 2468"/>
                    <a:gd name="T67" fmla="*/ 0 h 1082"/>
                    <a:gd name="T68" fmla="*/ 840 w 2468"/>
                    <a:gd name="T69" fmla="*/ 2 h 1082"/>
                    <a:gd name="T70" fmla="*/ 774 w 2468"/>
                    <a:gd name="T71" fmla="*/ 7 h 1082"/>
                    <a:gd name="T72" fmla="*/ 644 w 2468"/>
                    <a:gd name="T73" fmla="*/ 22 h 1082"/>
                    <a:gd name="T74" fmla="*/ 547 w 2468"/>
                    <a:gd name="T75" fmla="*/ 33 h 1082"/>
                    <a:gd name="T76" fmla="*/ 482 w 2468"/>
                    <a:gd name="T77" fmla="*/ 37 h 1082"/>
                    <a:gd name="T78" fmla="*/ 417 w 2468"/>
                    <a:gd name="T79" fmla="*/ 35 h 1082"/>
                    <a:gd name="T80" fmla="*/ 384 w 2468"/>
                    <a:gd name="T81" fmla="*/ 33 h 1082"/>
                    <a:gd name="T82" fmla="*/ 340 w 2468"/>
                    <a:gd name="T83" fmla="*/ 34 h 1082"/>
                    <a:gd name="T84" fmla="*/ 292 w 2468"/>
                    <a:gd name="T85" fmla="*/ 45 h 1082"/>
                    <a:gd name="T86" fmla="*/ 239 w 2468"/>
                    <a:gd name="T87" fmla="*/ 64 h 1082"/>
                    <a:gd name="T88" fmla="*/ 187 w 2468"/>
                    <a:gd name="T89" fmla="*/ 90 h 1082"/>
                    <a:gd name="T90" fmla="*/ 136 w 2468"/>
                    <a:gd name="T91" fmla="*/ 121 h 1082"/>
                    <a:gd name="T92" fmla="*/ 88 w 2468"/>
                    <a:gd name="T93" fmla="*/ 156 h 1082"/>
                    <a:gd name="T94" fmla="*/ 47 w 2468"/>
                    <a:gd name="T95" fmla="*/ 194 h 1082"/>
                    <a:gd name="T96" fmla="*/ 12 w 2468"/>
                    <a:gd name="T97" fmla="*/ 233 h 1082"/>
                    <a:gd name="T98" fmla="*/ 6 w 2468"/>
                    <a:gd name="T99" fmla="*/ 242 h 1082"/>
                    <a:gd name="T100" fmla="*/ 4 w 2468"/>
                    <a:gd name="T101" fmla="*/ 249 h 1082"/>
                    <a:gd name="T102" fmla="*/ 0 w 2468"/>
                    <a:gd name="T103" fmla="*/ 271 h 1082"/>
                    <a:gd name="T104" fmla="*/ 1 w 2468"/>
                    <a:gd name="T105" fmla="*/ 308 h 1082"/>
                    <a:gd name="T106" fmla="*/ 6 w 2468"/>
                    <a:gd name="T107" fmla="*/ 377 h 1082"/>
                    <a:gd name="T108" fmla="*/ 8 w 2468"/>
                    <a:gd name="T109" fmla="*/ 981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68" h="1082">
                      <a:moveTo>
                        <a:pt x="8" y="981"/>
                      </a:moveTo>
                      <a:lnTo>
                        <a:pt x="8" y="981"/>
                      </a:lnTo>
                      <a:lnTo>
                        <a:pt x="189" y="974"/>
                      </a:lnTo>
                      <a:lnTo>
                        <a:pt x="368" y="969"/>
                      </a:lnTo>
                      <a:lnTo>
                        <a:pt x="542" y="966"/>
                      </a:lnTo>
                      <a:lnTo>
                        <a:pt x="712" y="965"/>
                      </a:lnTo>
                      <a:lnTo>
                        <a:pt x="878" y="965"/>
                      </a:lnTo>
                      <a:lnTo>
                        <a:pt x="1040" y="966"/>
                      </a:lnTo>
                      <a:lnTo>
                        <a:pt x="1200" y="970"/>
                      </a:lnTo>
                      <a:lnTo>
                        <a:pt x="1355" y="975"/>
                      </a:lnTo>
                      <a:lnTo>
                        <a:pt x="1506" y="982"/>
                      </a:lnTo>
                      <a:lnTo>
                        <a:pt x="1654" y="991"/>
                      </a:lnTo>
                      <a:lnTo>
                        <a:pt x="1796" y="1002"/>
                      </a:lnTo>
                      <a:lnTo>
                        <a:pt x="1936" y="1014"/>
                      </a:lnTo>
                      <a:lnTo>
                        <a:pt x="2070" y="1029"/>
                      </a:lnTo>
                      <a:lnTo>
                        <a:pt x="2202" y="1044"/>
                      </a:lnTo>
                      <a:lnTo>
                        <a:pt x="2330" y="1061"/>
                      </a:lnTo>
                      <a:lnTo>
                        <a:pt x="2452" y="1082"/>
                      </a:lnTo>
                      <a:lnTo>
                        <a:pt x="2452" y="1082"/>
                      </a:lnTo>
                      <a:lnTo>
                        <a:pt x="2450" y="967"/>
                      </a:lnTo>
                      <a:lnTo>
                        <a:pt x="2447" y="854"/>
                      </a:lnTo>
                      <a:lnTo>
                        <a:pt x="2445" y="740"/>
                      </a:lnTo>
                      <a:lnTo>
                        <a:pt x="2445" y="684"/>
                      </a:lnTo>
                      <a:lnTo>
                        <a:pt x="2447" y="627"/>
                      </a:lnTo>
                      <a:lnTo>
                        <a:pt x="2447" y="627"/>
                      </a:lnTo>
                      <a:lnTo>
                        <a:pt x="2450" y="597"/>
                      </a:lnTo>
                      <a:lnTo>
                        <a:pt x="2452" y="568"/>
                      </a:lnTo>
                      <a:lnTo>
                        <a:pt x="2460" y="503"/>
                      </a:lnTo>
                      <a:lnTo>
                        <a:pt x="2464" y="470"/>
                      </a:lnTo>
                      <a:lnTo>
                        <a:pt x="2467" y="437"/>
                      </a:lnTo>
                      <a:lnTo>
                        <a:pt x="2468" y="404"/>
                      </a:lnTo>
                      <a:lnTo>
                        <a:pt x="2467" y="372"/>
                      </a:lnTo>
                      <a:lnTo>
                        <a:pt x="2464" y="341"/>
                      </a:lnTo>
                      <a:lnTo>
                        <a:pt x="2462" y="326"/>
                      </a:lnTo>
                      <a:lnTo>
                        <a:pt x="2459" y="311"/>
                      </a:lnTo>
                      <a:lnTo>
                        <a:pt x="2454" y="298"/>
                      </a:lnTo>
                      <a:lnTo>
                        <a:pt x="2450" y="284"/>
                      </a:lnTo>
                      <a:lnTo>
                        <a:pt x="2443" y="271"/>
                      </a:lnTo>
                      <a:lnTo>
                        <a:pt x="2436" y="259"/>
                      </a:lnTo>
                      <a:lnTo>
                        <a:pt x="2427" y="246"/>
                      </a:lnTo>
                      <a:lnTo>
                        <a:pt x="2417" y="236"/>
                      </a:lnTo>
                      <a:lnTo>
                        <a:pt x="2406" y="226"/>
                      </a:lnTo>
                      <a:lnTo>
                        <a:pt x="2394" y="217"/>
                      </a:lnTo>
                      <a:lnTo>
                        <a:pt x="2381" y="209"/>
                      </a:lnTo>
                      <a:lnTo>
                        <a:pt x="2366" y="201"/>
                      </a:lnTo>
                      <a:lnTo>
                        <a:pt x="2350" y="194"/>
                      </a:lnTo>
                      <a:lnTo>
                        <a:pt x="2331" y="189"/>
                      </a:lnTo>
                      <a:lnTo>
                        <a:pt x="2331" y="189"/>
                      </a:lnTo>
                      <a:lnTo>
                        <a:pt x="2290" y="178"/>
                      </a:lnTo>
                      <a:lnTo>
                        <a:pt x="2248" y="166"/>
                      </a:lnTo>
                      <a:lnTo>
                        <a:pt x="2164" y="138"/>
                      </a:lnTo>
                      <a:lnTo>
                        <a:pt x="2080" y="108"/>
                      </a:lnTo>
                      <a:lnTo>
                        <a:pt x="1995" y="80"/>
                      </a:lnTo>
                      <a:lnTo>
                        <a:pt x="1952" y="66"/>
                      </a:lnTo>
                      <a:lnTo>
                        <a:pt x="1909" y="54"/>
                      </a:lnTo>
                      <a:lnTo>
                        <a:pt x="1866" y="42"/>
                      </a:lnTo>
                      <a:lnTo>
                        <a:pt x="1824" y="33"/>
                      </a:lnTo>
                      <a:lnTo>
                        <a:pt x="1781" y="25"/>
                      </a:lnTo>
                      <a:lnTo>
                        <a:pt x="1740" y="19"/>
                      </a:lnTo>
                      <a:lnTo>
                        <a:pt x="1698" y="15"/>
                      </a:lnTo>
                      <a:lnTo>
                        <a:pt x="1656" y="14"/>
                      </a:lnTo>
                      <a:lnTo>
                        <a:pt x="1656" y="14"/>
                      </a:lnTo>
                      <a:lnTo>
                        <a:pt x="1562" y="14"/>
                      </a:lnTo>
                      <a:lnTo>
                        <a:pt x="1468" y="14"/>
                      </a:lnTo>
                      <a:lnTo>
                        <a:pt x="1280" y="11"/>
                      </a:lnTo>
                      <a:lnTo>
                        <a:pt x="1093" y="6"/>
                      </a:lnTo>
                      <a:lnTo>
                        <a:pt x="905" y="0"/>
                      </a:lnTo>
                      <a:lnTo>
                        <a:pt x="905" y="0"/>
                      </a:lnTo>
                      <a:lnTo>
                        <a:pt x="872" y="0"/>
                      </a:lnTo>
                      <a:lnTo>
                        <a:pt x="840" y="2"/>
                      </a:lnTo>
                      <a:lnTo>
                        <a:pt x="806" y="3"/>
                      </a:lnTo>
                      <a:lnTo>
                        <a:pt x="774" y="7"/>
                      </a:lnTo>
                      <a:lnTo>
                        <a:pt x="710" y="14"/>
                      </a:lnTo>
                      <a:lnTo>
                        <a:pt x="644" y="22"/>
                      </a:lnTo>
                      <a:lnTo>
                        <a:pt x="579" y="30"/>
                      </a:lnTo>
                      <a:lnTo>
                        <a:pt x="547" y="33"/>
                      </a:lnTo>
                      <a:lnTo>
                        <a:pt x="515" y="35"/>
                      </a:lnTo>
                      <a:lnTo>
                        <a:pt x="482" y="37"/>
                      </a:lnTo>
                      <a:lnTo>
                        <a:pt x="450" y="37"/>
                      </a:lnTo>
                      <a:lnTo>
                        <a:pt x="417" y="35"/>
                      </a:lnTo>
                      <a:lnTo>
                        <a:pt x="384" y="33"/>
                      </a:lnTo>
                      <a:lnTo>
                        <a:pt x="384" y="33"/>
                      </a:lnTo>
                      <a:lnTo>
                        <a:pt x="363" y="33"/>
                      </a:lnTo>
                      <a:lnTo>
                        <a:pt x="340" y="34"/>
                      </a:lnTo>
                      <a:lnTo>
                        <a:pt x="316" y="38"/>
                      </a:lnTo>
                      <a:lnTo>
                        <a:pt x="292" y="45"/>
                      </a:lnTo>
                      <a:lnTo>
                        <a:pt x="266" y="53"/>
                      </a:lnTo>
                      <a:lnTo>
                        <a:pt x="239" y="64"/>
                      </a:lnTo>
                      <a:lnTo>
                        <a:pt x="214" y="76"/>
                      </a:lnTo>
                      <a:lnTo>
                        <a:pt x="187" y="90"/>
                      </a:lnTo>
                      <a:lnTo>
                        <a:pt x="161" y="105"/>
                      </a:lnTo>
                      <a:lnTo>
                        <a:pt x="136" y="121"/>
                      </a:lnTo>
                      <a:lnTo>
                        <a:pt x="111" y="139"/>
                      </a:lnTo>
                      <a:lnTo>
                        <a:pt x="88" y="156"/>
                      </a:lnTo>
                      <a:lnTo>
                        <a:pt x="67" y="175"/>
                      </a:lnTo>
                      <a:lnTo>
                        <a:pt x="47" y="194"/>
                      </a:lnTo>
                      <a:lnTo>
                        <a:pt x="28" y="214"/>
                      </a:lnTo>
                      <a:lnTo>
                        <a:pt x="12" y="233"/>
                      </a:lnTo>
                      <a:lnTo>
                        <a:pt x="12" y="233"/>
                      </a:lnTo>
                      <a:lnTo>
                        <a:pt x="6" y="242"/>
                      </a:lnTo>
                      <a:lnTo>
                        <a:pt x="6" y="242"/>
                      </a:lnTo>
                      <a:lnTo>
                        <a:pt x="4" y="249"/>
                      </a:lnTo>
                      <a:lnTo>
                        <a:pt x="1" y="256"/>
                      </a:lnTo>
                      <a:lnTo>
                        <a:pt x="0" y="271"/>
                      </a:lnTo>
                      <a:lnTo>
                        <a:pt x="0" y="290"/>
                      </a:lnTo>
                      <a:lnTo>
                        <a:pt x="1" y="308"/>
                      </a:lnTo>
                      <a:lnTo>
                        <a:pt x="4" y="346"/>
                      </a:lnTo>
                      <a:lnTo>
                        <a:pt x="6" y="377"/>
                      </a:lnTo>
                      <a:lnTo>
                        <a:pt x="6" y="377"/>
                      </a:lnTo>
                      <a:lnTo>
                        <a:pt x="8" y="981"/>
                      </a:lnTo>
                      <a:lnTo>
                        <a:pt x="8" y="9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83" name="Freeform 169"/>
                <p:cNvSpPr>
                  <a:spLocks/>
                </p:cNvSpPr>
                <p:nvPr/>
              </p:nvSpPr>
              <p:spPr bwMode="auto">
                <a:xfrm>
                  <a:off x="25071388" y="117475"/>
                  <a:ext cx="2287588" cy="4313238"/>
                </a:xfrm>
                <a:custGeom>
                  <a:avLst/>
                  <a:gdLst>
                    <a:gd name="T0" fmla="*/ 2732 w 2881"/>
                    <a:gd name="T1" fmla="*/ 4699 h 5434"/>
                    <a:gd name="T2" fmla="*/ 2667 w 2881"/>
                    <a:gd name="T3" fmla="*/ 4451 h 5434"/>
                    <a:gd name="T4" fmla="*/ 2565 w 2881"/>
                    <a:gd name="T5" fmla="*/ 3864 h 5434"/>
                    <a:gd name="T6" fmla="*/ 2517 w 2881"/>
                    <a:gd name="T7" fmla="*/ 3487 h 5434"/>
                    <a:gd name="T8" fmla="*/ 2514 w 2881"/>
                    <a:gd name="T9" fmla="*/ 3144 h 5434"/>
                    <a:gd name="T10" fmla="*/ 2564 w 2881"/>
                    <a:gd name="T11" fmla="*/ 2600 h 5434"/>
                    <a:gd name="T12" fmla="*/ 2583 w 2881"/>
                    <a:gd name="T13" fmla="*/ 2318 h 5434"/>
                    <a:gd name="T14" fmla="*/ 2588 w 2881"/>
                    <a:gd name="T15" fmla="*/ 1593 h 5434"/>
                    <a:gd name="T16" fmla="*/ 2589 w 2881"/>
                    <a:gd name="T17" fmla="*/ 1215 h 5434"/>
                    <a:gd name="T18" fmla="*/ 2585 w 2881"/>
                    <a:gd name="T19" fmla="*/ 277 h 5434"/>
                    <a:gd name="T20" fmla="*/ 2206 w 2881"/>
                    <a:gd name="T21" fmla="*/ 66 h 5434"/>
                    <a:gd name="T22" fmla="*/ 1492 w 2881"/>
                    <a:gd name="T23" fmla="*/ 12 h 5434"/>
                    <a:gd name="T24" fmla="*/ 677 w 2881"/>
                    <a:gd name="T25" fmla="*/ 1 h 5434"/>
                    <a:gd name="T26" fmla="*/ 142 w 2881"/>
                    <a:gd name="T27" fmla="*/ 408 h 5434"/>
                    <a:gd name="T28" fmla="*/ 148 w 2881"/>
                    <a:gd name="T29" fmla="*/ 1452 h 5434"/>
                    <a:gd name="T30" fmla="*/ 205 w 2881"/>
                    <a:gd name="T31" fmla="*/ 2306 h 5434"/>
                    <a:gd name="T32" fmla="*/ 236 w 2881"/>
                    <a:gd name="T33" fmla="*/ 2963 h 5434"/>
                    <a:gd name="T34" fmla="*/ 217 w 2881"/>
                    <a:gd name="T35" fmla="*/ 3633 h 5434"/>
                    <a:gd name="T36" fmla="*/ 240 w 2881"/>
                    <a:gd name="T37" fmla="*/ 3854 h 5434"/>
                    <a:gd name="T38" fmla="*/ 376 w 2881"/>
                    <a:gd name="T39" fmla="*/ 3726 h 5434"/>
                    <a:gd name="T40" fmla="*/ 529 w 2881"/>
                    <a:gd name="T41" fmla="*/ 3632 h 5434"/>
                    <a:gd name="T42" fmla="*/ 696 w 2881"/>
                    <a:gd name="T43" fmla="*/ 3567 h 5434"/>
                    <a:gd name="T44" fmla="*/ 875 w 2881"/>
                    <a:gd name="T45" fmla="*/ 3528 h 5434"/>
                    <a:gd name="T46" fmla="*/ 1187 w 2881"/>
                    <a:gd name="T47" fmla="*/ 3508 h 5434"/>
                    <a:gd name="T48" fmla="*/ 1403 w 2881"/>
                    <a:gd name="T49" fmla="*/ 3520 h 5434"/>
                    <a:gd name="T50" fmla="*/ 1637 w 2881"/>
                    <a:gd name="T51" fmla="*/ 3556 h 5434"/>
                    <a:gd name="T52" fmla="*/ 1842 w 2881"/>
                    <a:gd name="T53" fmla="*/ 3641 h 5434"/>
                    <a:gd name="T54" fmla="*/ 2078 w 2881"/>
                    <a:gd name="T55" fmla="*/ 3769 h 5434"/>
                    <a:gd name="T56" fmla="*/ 2228 w 2881"/>
                    <a:gd name="T57" fmla="*/ 3887 h 5434"/>
                    <a:gd name="T58" fmla="*/ 2312 w 2881"/>
                    <a:gd name="T59" fmla="*/ 3991 h 5434"/>
                    <a:gd name="T60" fmla="*/ 2355 w 2881"/>
                    <a:gd name="T61" fmla="*/ 4089 h 5434"/>
                    <a:gd name="T62" fmla="*/ 2371 w 2881"/>
                    <a:gd name="T63" fmla="*/ 4164 h 5434"/>
                    <a:gd name="T64" fmla="*/ 2373 w 2881"/>
                    <a:gd name="T65" fmla="*/ 4168 h 5434"/>
                    <a:gd name="T66" fmla="*/ 2268 w 2881"/>
                    <a:gd name="T67" fmla="*/ 4084 h 5434"/>
                    <a:gd name="T68" fmla="*/ 2089 w 2881"/>
                    <a:gd name="T69" fmla="*/ 3968 h 5434"/>
                    <a:gd name="T70" fmla="*/ 1905 w 2881"/>
                    <a:gd name="T71" fmla="*/ 3874 h 5434"/>
                    <a:gd name="T72" fmla="*/ 1567 w 2881"/>
                    <a:gd name="T73" fmla="*/ 3755 h 5434"/>
                    <a:gd name="T74" fmla="*/ 1200 w 2881"/>
                    <a:gd name="T75" fmla="*/ 3696 h 5434"/>
                    <a:gd name="T76" fmla="*/ 866 w 2881"/>
                    <a:gd name="T77" fmla="*/ 3706 h 5434"/>
                    <a:gd name="T78" fmla="*/ 585 w 2881"/>
                    <a:gd name="T79" fmla="*/ 3776 h 5434"/>
                    <a:gd name="T80" fmla="*/ 451 w 2881"/>
                    <a:gd name="T81" fmla="*/ 3842 h 5434"/>
                    <a:gd name="T82" fmla="*/ 367 w 2881"/>
                    <a:gd name="T83" fmla="*/ 3910 h 5434"/>
                    <a:gd name="T84" fmla="*/ 293 w 2881"/>
                    <a:gd name="T85" fmla="*/ 4000 h 5434"/>
                    <a:gd name="T86" fmla="*/ 209 w 2881"/>
                    <a:gd name="T87" fmla="*/ 4132 h 5434"/>
                    <a:gd name="T88" fmla="*/ 95 w 2881"/>
                    <a:gd name="T89" fmla="*/ 4418 h 5434"/>
                    <a:gd name="T90" fmla="*/ 27 w 2881"/>
                    <a:gd name="T91" fmla="*/ 4716 h 5434"/>
                    <a:gd name="T92" fmla="*/ 0 w 2881"/>
                    <a:gd name="T93" fmla="*/ 4908 h 5434"/>
                    <a:gd name="T94" fmla="*/ 25 w 2881"/>
                    <a:gd name="T95" fmla="*/ 5079 h 5434"/>
                    <a:gd name="T96" fmla="*/ 75 w 2881"/>
                    <a:gd name="T97" fmla="*/ 5286 h 5434"/>
                    <a:gd name="T98" fmla="*/ 321 w 2881"/>
                    <a:gd name="T99" fmla="*/ 5405 h 5434"/>
                    <a:gd name="T100" fmla="*/ 1777 w 2881"/>
                    <a:gd name="T101" fmla="*/ 5434 h 5434"/>
                    <a:gd name="T102" fmla="*/ 2217 w 2881"/>
                    <a:gd name="T103" fmla="*/ 5424 h 5434"/>
                    <a:gd name="T104" fmla="*/ 2639 w 2881"/>
                    <a:gd name="T105" fmla="*/ 5379 h 5434"/>
                    <a:gd name="T106" fmla="*/ 2752 w 2881"/>
                    <a:gd name="T107" fmla="*/ 5338 h 5434"/>
                    <a:gd name="T108" fmla="*/ 2790 w 2881"/>
                    <a:gd name="T109" fmla="*/ 5279 h 5434"/>
                    <a:gd name="T110" fmla="*/ 2869 w 2881"/>
                    <a:gd name="T111" fmla="*/ 5196 h 5434"/>
                    <a:gd name="T112" fmla="*/ 2881 w 2881"/>
                    <a:gd name="T113" fmla="*/ 5099 h 5434"/>
                    <a:gd name="T114" fmla="*/ 2854 w 2881"/>
                    <a:gd name="T115" fmla="*/ 4767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1" h="5434">
                      <a:moveTo>
                        <a:pt x="2854" y="4767"/>
                      </a:moveTo>
                      <a:lnTo>
                        <a:pt x="2854" y="4767"/>
                      </a:lnTo>
                      <a:lnTo>
                        <a:pt x="2831" y="4755"/>
                      </a:lnTo>
                      <a:lnTo>
                        <a:pt x="2782" y="4726"/>
                      </a:lnTo>
                      <a:lnTo>
                        <a:pt x="2732" y="4699"/>
                      </a:lnTo>
                      <a:lnTo>
                        <a:pt x="2709" y="4686"/>
                      </a:lnTo>
                      <a:lnTo>
                        <a:pt x="2709" y="4686"/>
                      </a:lnTo>
                      <a:lnTo>
                        <a:pt x="2697" y="4608"/>
                      </a:lnTo>
                      <a:lnTo>
                        <a:pt x="2683" y="4530"/>
                      </a:lnTo>
                      <a:lnTo>
                        <a:pt x="2667" y="4451"/>
                      </a:lnTo>
                      <a:lnTo>
                        <a:pt x="2648" y="4371"/>
                      </a:lnTo>
                      <a:lnTo>
                        <a:pt x="2648" y="4371"/>
                      </a:lnTo>
                      <a:lnTo>
                        <a:pt x="2612" y="4168"/>
                      </a:lnTo>
                      <a:lnTo>
                        <a:pt x="2580" y="3965"/>
                      </a:lnTo>
                      <a:lnTo>
                        <a:pt x="2565" y="3864"/>
                      </a:lnTo>
                      <a:lnTo>
                        <a:pt x="2550" y="3762"/>
                      </a:lnTo>
                      <a:lnTo>
                        <a:pt x="2537" y="3660"/>
                      </a:lnTo>
                      <a:lnTo>
                        <a:pt x="2523" y="3558"/>
                      </a:lnTo>
                      <a:lnTo>
                        <a:pt x="2523" y="3558"/>
                      </a:lnTo>
                      <a:lnTo>
                        <a:pt x="2517" y="3487"/>
                      </a:lnTo>
                      <a:lnTo>
                        <a:pt x="2513" y="3417"/>
                      </a:lnTo>
                      <a:lnTo>
                        <a:pt x="2510" y="3347"/>
                      </a:lnTo>
                      <a:lnTo>
                        <a:pt x="2509" y="3278"/>
                      </a:lnTo>
                      <a:lnTo>
                        <a:pt x="2510" y="3211"/>
                      </a:lnTo>
                      <a:lnTo>
                        <a:pt x="2514" y="3144"/>
                      </a:lnTo>
                      <a:lnTo>
                        <a:pt x="2518" y="3076"/>
                      </a:lnTo>
                      <a:lnTo>
                        <a:pt x="2523" y="3009"/>
                      </a:lnTo>
                      <a:lnTo>
                        <a:pt x="2535" y="2875"/>
                      </a:lnTo>
                      <a:lnTo>
                        <a:pt x="2550" y="2739"/>
                      </a:lnTo>
                      <a:lnTo>
                        <a:pt x="2564" y="2600"/>
                      </a:lnTo>
                      <a:lnTo>
                        <a:pt x="2569" y="2529"/>
                      </a:lnTo>
                      <a:lnTo>
                        <a:pt x="2574" y="2458"/>
                      </a:lnTo>
                      <a:lnTo>
                        <a:pt x="2574" y="2458"/>
                      </a:lnTo>
                      <a:lnTo>
                        <a:pt x="2578" y="2388"/>
                      </a:lnTo>
                      <a:lnTo>
                        <a:pt x="2583" y="2318"/>
                      </a:lnTo>
                      <a:lnTo>
                        <a:pt x="2587" y="2177"/>
                      </a:lnTo>
                      <a:lnTo>
                        <a:pt x="2589" y="2032"/>
                      </a:lnTo>
                      <a:lnTo>
                        <a:pt x="2589" y="1885"/>
                      </a:lnTo>
                      <a:lnTo>
                        <a:pt x="2589" y="1740"/>
                      </a:lnTo>
                      <a:lnTo>
                        <a:pt x="2588" y="1593"/>
                      </a:lnTo>
                      <a:lnTo>
                        <a:pt x="2585" y="1308"/>
                      </a:lnTo>
                      <a:lnTo>
                        <a:pt x="2585" y="1308"/>
                      </a:lnTo>
                      <a:lnTo>
                        <a:pt x="2585" y="1373"/>
                      </a:lnTo>
                      <a:lnTo>
                        <a:pt x="2585" y="1373"/>
                      </a:lnTo>
                      <a:lnTo>
                        <a:pt x="2589" y="1215"/>
                      </a:lnTo>
                      <a:lnTo>
                        <a:pt x="2591" y="1059"/>
                      </a:lnTo>
                      <a:lnTo>
                        <a:pt x="2591" y="903"/>
                      </a:lnTo>
                      <a:lnTo>
                        <a:pt x="2589" y="746"/>
                      </a:lnTo>
                      <a:lnTo>
                        <a:pt x="2587" y="433"/>
                      </a:lnTo>
                      <a:lnTo>
                        <a:pt x="2585" y="277"/>
                      </a:lnTo>
                      <a:lnTo>
                        <a:pt x="2585" y="119"/>
                      </a:lnTo>
                      <a:lnTo>
                        <a:pt x="2585" y="119"/>
                      </a:lnTo>
                      <a:lnTo>
                        <a:pt x="2463" y="101"/>
                      </a:lnTo>
                      <a:lnTo>
                        <a:pt x="2336" y="82"/>
                      </a:lnTo>
                      <a:lnTo>
                        <a:pt x="2206" y="66"/>
                      </a:lnTo>
                      <a:lnTo>
                        <a:pt x="2072" y="52"/>
                      </a:lnTo>
                      <a:lnTo>
                        <a:pt x="1933" y="39"/>
                      </a:lnTo>
                      <a:lnTo>
                        <a:pt x="1791" y="28"/>
                      </a:lnTo>
                      <a:lnTo>
                        <a:pt x="1643" y="19"/>
                      </a:lnTo>
                      <a:lnTo>
                        <a:pt x="1492" y="12"/>
                      </a:lnTo>
                      <a:lnTo>
                        <a:pt x="1337" y="6"/>
                      </a:lnTo>
                      <a:lnTo>
                        <a:pt x="1177" y="2"/>
                      </a:lnTo>
                      <a:lnTo>
                        <a:pt x="1015" y="1"/>
                      </a:lnTo>
                      <a:lnTo>
                        <a:pt x="848" y="0"/>
                      </a:lnTo>
                      <a:lnTo>
                        <a:pt x="677" y="1"/>
                      </a:lnTo>
                      <a:lnTo>
                        <a:pt x="503" y="5"/>
                      </a:lnTo>
                      <a:lnTo>
                        <a:pt x="324" y="10"/>
                      </a:lnTo>
                      <a:lnTo>
                        <a:pt x="142" y="17"/>
                      </a:lnTo>
                      <a:lnTo>
                        <a:pt x="142" y="17"/>
                      </a:lnTo>
                      <a:lnTo>
                        <a:pt x="142" y="408"/>
                      </a:lnTo>
                      <a:lnTo>
                        <a:pt x="142" y="408"/>
                      </a:lnTo>
                      <a:lnTo>
                        <a:pt x="142" y="1151"/>
                      </a:lnTo>
                      <a:lnTo>
                        <a:pt x="142" y="1151"/>
                      </a:lnTo>
                      <a:lnTo>
                        <a:pt x="144" y="1301"/>
                      </a:lnTo>
                      <a:lnTo>
                        <a:pt x="148" y="1452"/>
                      </a:lnTo>
                      <a:lnTo>
                        <a:pt x="154" y="1601"/>
                      </a:lnTo>
                      <a:lnTo>
                        <a:pt x="165" y="1752"/>
                      </a:lnTo>
                      <a:lnTo>
                        <a:pt x="165" y="1752"/>
                      </a:lnTo>
                      <a:lnTo>
                        <a:pt x="187" y="2033"/>
                      </a:lnTo>
                      <a:lnTo>
                        <a:pt x="205" y="2306"/>
                      </a:lnTo>
                      <a:lnTo>
                        <a:pt x="215" y="2439"/>
                      </a:lnTo>
                      <a:lnTo>
                        <a:pt x="223" y="2571"/>
                      </a:lnTo>
                      <a:lnTo>
                        <a:pt x="228" y="2703"/>
                      </a:lnTo>
                      <a:lnTo>
                        <a:pt x="234" y="2833"/>
                      </a:lnTo>
                      <a:lnTo>
                        <a:pt x="236" y="2963"/>
                      </a:lnTo>
                      <a:lnTo>
                        <a:pt x="238" y="3095"/>
                      </a:lnTo>
                      <a:lnTo>
                        <a:pt x="236" y="3227"/>
                      </a:lnTo>
                      <a:lnTo>
                        <a:pt x="234" y="3361"/>
                      </a:lnTo>
                      <a:lnTo>
                        <a:pt x="227" y="3496"/>
                      </a:lnTo>
                      <a:lnTo>
                        <a:pt x="217" y="3633"/>
                      </a:lnTo>
                      <a:lnTo>
                        <a:pt x="205" y="3773"/>
                      </a:lnTo>
                      <a:lnTo>
                        <a:pt x="189" y="3916"/>
                      </a:lnTo>
                      <a:lnTo>
                        <a:pt x="189" y="3916"/>
                      </a:lnTo>
                      <a:lnTo>
                        <a:pt x="215" y="3883"/>
                      </a:lnTo>
                      <a:lnTo>
                        <a:pt x="240" y="3854"/>
                      </a:lnTo>
                      <a:lnTo>
                        <a:pt x="266" y="3825"/>
                      </a:lnTo>
                      <a:lnTo>
                        <a:pt x="293" y="3799"/>
                      </a:lnTo>
                      <a:lnTo>
                        <a:pt x="320" y="3773"/>
                      </a:lnTo>
                      <a:lnTo>
                        <a:pt x="348" y="3749"/>
                      </a:lnTo>
                      <a:lnTo>
                        <a:pt x="376" y="3726"/>
                      </a:lnTo>
                      <a:lnTo>
                        <a:pt x="406" y="3704"/>
                      </a:lnTo>
                      <a:lnTo>
                        <a:pt x="435" y="3684"/>
                      </a:lnTo>
                      <a:lnTo>
                        <a:pt x="466" y="3665"/>
                      </a:lnTo>
                      <a:lnTo>
                        <a:pt x="497" y="3648"/>
                      </a:lnTo>
                      <a:lnTo>
                        <a:pt x="529" y="3632"/>
                      </a:lnTo>
                      <a:lnTo>
                        <a:pt x="562" y="3617"/>
                      </a:lnTo>
                      <a:lnTo>
                        <a:pt x="594" y="3602"/>
                      </a:lnTo>
                      <a:lnTo>
                        <a:pt x="628" y="3590"/>
                      </a:lnTo>
                      <a:lnTo>
                        <a:pt x="661" y="3578"/>
                      </a:lnTo>
                      <a:lnTo>
                        <a:pt x="696" y="3567"/>
                      </a:lnTo>
                      <a:lnTo>
                        <a:pt x="731" y="3558"/>
                      </a:lnTo>
                      <a:lnTo>
                        <a:pt x="766" y="3548"/>
                      </a:lnTo>
                      <a:lnTo>
                        <a:pt x="802" y="3540"/>
                      </a:lnTo>
                      <a:lnTo>
                        <a:pt x="839" y="3534"/>
                      </a:lnTo>
                      <a:lnTo>
                        <a:pt x="875" y="3528"/>
                      </a:lnTo>
                      <a:lnTo>
                        <a:pt x="913" y="3523"/>
                      </a:lnTo>
                      <a:lnTo>
                        <a:pt x="952" y="3519"/>
                      </a:lnTo>
                      <a:lnTo>
                        <a:pt x="1028" y="3512"/>
                      </a:lnTo>
                      <a:lnTo>
                        <a:pt x="1108" y="3509"/>
                      </a:lnTo>
                      <a:lnTo>
                        <a:pt x="1187" y="3508"/>
                      </a:lnTo>
                      <a:lnTo>
                        <a:pt x="1270" y="3509"/>
                      </a:lnTo>
                      <a:lnTo>
                        <a:pt x="1270" y="3509"/>
                      </a:lnTo>
                      <a:lnTo>
                        <a:pt x="1304" y="3512"/>
                      </a:lnTo>
                      <a:lnTo>
                        <a:pt x="1350" y="3515"/>
                      </a:lnTo>
                      <a:lnTo>
                        <a:pt x="1403" y="3520"/>
                      </a:lnTo>
                      <a:lnTo>
                        <a:pt x="1463" y="3527"/>
                      </a:lnTo>
                      <a:lnTo>
                        <a:pt x="1520" y="3535"/>
                      </a:lnTo>
                      <a:lnTo>
                        <a:pt x="1574" y="3543"/>
                      </a:lnTo>
                      <a:lnTo>
                        <a:pt x="1618" y="3552"/>
                      </a:lnTo>
                      <a:lnTo>
                        <a:pt x="1637" y="3556"/>
                      </a:lnTo>
                      <a:lnTo>
                        <a:pt x="1651" y="3562"/>
                      </a:lnTo>
                      <a:lnTo>
                        <a:pt x="1651" y="3562"/>
                      </a:lnTo>
                      <a:lnTo>
                        <a:pt x="1719" y="3589"/>
                      </a:lnTo>
                      <a:lnTo>
                        <a:pt x="1783" y="3616"/>
                      </a:lnTo>
                      <a:lnTo>
                        <a:pt x="1842" y="3641"/>
                      </a:lnTo>
                      <a:lnTo>
                        <a:pt x="1897" y="3668"/>
                      </a:lnTo>
                      <a:lnTo>
                        <a:pt x="1948" y="3694"/>
                      </a:lnTo>
                      <a:lnTo>
                        <a:pt x="1995" y="3719"/>
                      </a:lnTo>
                      <a:lnTo>
                        <a:pt x="2038" y="3745"/>
                      </a:lnTo>
                      <a:lnTo>
                        <a:pt x="2078" y="3769"/>
                      </a:lnTo>
                      <a:lnTo>
                        <a:pt x="2115" y="3793"/>
                      </a:lnTo>
                      <a:lnTo>
                        <a:pt x="2147" y="3817"/>
                      </a:lnTo>
                      <a:lnTo>
                        <a:pt x="2176" y="3842"/>
                      </a:lnTo>
                      <a:lnTo>
                        <a:pt x="2203" y="3864"/>
                      </a:lnTo>
                      <a:lnTo>
                        <a:pt x="2228" y="3887"/>
                      </a:lnTo>
                      <a:lnTo>
                        <a:pt x="2249" y="3909"/>
                      </a:lnTo>
                      <a:lnTo>
                        <a:pt x="2268" y="3930"/>
                      </a:lnTo>
                      <a:lnTo>
                        <a:pt x="2285" y="3950"/>
                      </a:lnTo>
                      <a:lnTo>
                        <a:pt x="2300" y="3971"/>
                      </a:lnTo>
                      <a:lnTo>
                        <a:pt x="2312" y="3991"/>
                      </a:lnTo>
                      <a:lnTo>
                        <a:pt x="2323" y="4008"/>
                      </a:lnTo>
                      <a:lnTo>
                        <a:pt x="2332" y="4027"/>
                      </a:lnTo>
                      <a:lnTo>
                        <a:pt x="2340" y="4043"/>
                      </a:lnTo>
                      <a:lnTo>
                        <a:pt x="2346" y="4059"/>
                      </a:lnTo>
                      <a:lnTo>
                        <a:pt x="2355" y="4089"/>
                      </a:lnTo>
                      <a:lnTo>
                        <a:pt x="2362" y="4115"/>
                      </a:lnTo>
                      <a:lnTo>
                        <a:pt x="2365" y="4136"/>
                      </a:lnTo>
                      <a:lnTo>
                        <a:pt x="2367" y="4152"/>
                      </a:lnTo>
                      <a:lnTo>
                        <a:pt x="2371" y="4164"/>
                      </a:lnTo>
                      <a:lnTo>
                        <a:pt x="2371" y="4164"/>
                      </a:lnTo>
                      <a:lnTo>
                        <a:pt x="2385" y="4174"/>
                      </a:lnTo>
                      <a:lnTo>
                        <a:pt x="2385" y="4174"/>
                      </a:lnTo>
                      <a:lnTo>
                        <a:pt x="2379" y="4174"/>
                      </a:lnTo>
                      <a:lnTo>
                        <a:pt x="2377" y="4172"/>
                      </a:lnTo>
                      <a:lnTo>
                        <a:pt x="2373" y="4168"/>
                      </a:lnTo>
                      <a:lnTo>
                        <a:pt x="2371" y="4164"/>
                      </a:lnTo>
                      <a:lnTo>
                        <a:pt x="2371" y="4164"/>
                      </a:lnTo>
                      <a:lnTo>
                        <a:pt x="2336" y="4137"/>
                      </a:lnTo>
                      <a:lnTo>
                        <a:pt x="2303" y="4110"/>
                      </a:lnTo>
                      <a:lnTo>
                        <a:pt x="2268" y="4084"/>
                      </a:lnTo>
                      <a:lnTo>
                        <a:pt x="2233" y="4059"/>
                      </a:lnTo>
                      <a:lnTo>
                        <a:pt x="2198" y="4035"/>
                      </a:lnTo>
                      <a:lnTo>
                        <a:pt x="2162" y="4011"/>
                      </a:lnTo>
                      <a:lnTo>
                        <a:pt x="2125" y="3989"/>
                      </a:lnTo>
                      <a:lnTo>
                        <a:pt x="2089" y="3968"/>
                      </a:lnTo>
                      <a:lnTo>
                        <a:pt x="2053" y="3948"/>
                      </a:lnTo>
                      <a:lnTo>
                        <a:pt x="2016" y="3928"/>
                      </a:lnTo>
                      <a:lnTo>
                        <a:pt x="1979" y="3909"/>
                      </a:lnTo>
                      <a:lnTo>
                        <a:pt x="1943" y="3891"/>
                      </a:lnTo>
                      <a:lnTo>
                        <a:pt x="1905" y="3874"/>
                      </a:lnTo>
                      <a:lnTo>
                        <a:pt x="1867" y="3858"/>
                      </a:lnTo>
                      <a:lnTo>
                        <a:pt x="1793" y="3827"/>
                      </a:lnTo>
                      <a:lnTo>
                        <a:pt x="1718" y="3800"/>
                      </a:lnTo>
                      <a:lnTo>
                        <a:pt x="1643" y="3777"/>
                      </a:lnTo>
                      <a:lnTo>
                        <a:pt x="1567" y="3755"/>
                      </a:lnTo>
                      <a:lnTo>
                        <a:pt x="1492" y="3738"/>
                      </a:lnTo>
                      <a:lnTo>
                        <a:pt x="1418" y="3723"/>
                      </a:lnTo>
                      <a:lnTo>
                        <a:pt x="1344" y="3712"/>
                      </a:lnTo>
                      <a:lnTo>
                        <a:pt x="1272" y="3703"/>
                      </a:lnTo>
                      <a:lnTo>
                        <a:pt x="1200" y="3696"/>
                      </a:lnTo>
                      <a:lnTo>
                        <a:pt x="1130" y="3694"/>
                      </a:lnTo>
                      <a:lnTo>
                        <a:pt x="1062" y="3692"/>
                      </a:lnTo>
                      <a:lnTo>
                        <a:pt x="995" y="3695"/>
                      </a:lnTo>
                      <a:lnTo>
                        <a:pt x="929" y="3699"/>
                      </a:lnTo>
                      <a:lnTo>
                        <a:pt x="866" y="3706"/>
                      </a:lnTo>
                      <a:lnTo>
                        <a:pt x="804" y="3715"/>
                      </a:lnTo>
                      <a:lnTo>
                        <a:pt x="746" y="3727"/>
                      </a:lnTo>
                      <a:lnTo>
                        <a:pt x="689" y="3741"/>
                      </a:lnTo>
                      <a:lnTo>
                        <a:pt x="636" y="3757"/>
                      </a:lnTo>
                      <a:lnTo>
                        <a:pt x="585" y="3776"/>
                      </a:lnTo>
                      <a:lnTo>
                        <a:pt x="537" y="3796"/>
                      </a:lnTo>
                      <a:lnTo>
                        <a:pt x="515" y="3807"/>
                      </a:lnTo>
                      <a:lnTo>
                        <a:pt x="493" y="3817"/>
                      </a:lnTo>
                      <a:lnTo>
                        <a:pt x="472" y="3829"/>
                      </a:lnTo>
                      <a:lnTo>
                        <a:pt x="451" y="3842"/>
                      </a:lnTo>
                      <a:lnTo>
                        <a:pt x="433" y="3855"/>
                      </a:lnTo>
                      <a:lnTo>
                        <a:pt x="415" y="3868"/>
                      </a:lnTo>
                      <a:lnTo>
                        <a:pt x="398" y="3882"/>
                      </a:lnTo>
                      <a:lnTo>
                        <a:pt x="381" y="3897"/>
                      </a:lnTo>
                      <a:lnTo>
                        <a:pt x="367" y="3910"/>
                      </a:lnTo>
                      <a:lnTo>
                        <a:pt x="352" y="3926"/>
                      </a:lnTo>
                      <a:lnTo>
                        <a:pt x="352" y="3926"/>
                      </a:lnTo>
                      <a:lnTo>
                        <a:pt x="332" y="3950"/>
                      </a:lnTo>
                      <a:lnTo>
                        <a:pt x="312" y="3975"/>
                      </a:lnTo>
                      <a:lnTo>
                        <a:pt x="293" y="4000"/>
                      </a:lnTo>
                      <a:lnTo>
                        <a:pt x="274" y="4026"/>
                      </a:lnTo>
                      <a:lnTo>
                        <a:pt x="256" y="4051"/>
                      </a:lnTo>
                      <a:lnTo>
                        <a:pt x="240" y="4078"/>
                      </a:lnTo>
                      <a:lnTo>
                        <a:pt x="224" y="4105"/>
                      </a:lnTo>
                      <a:lnTo>
                        <a:pt x="209" y="4132"/>
                      </a:lnTo>
                      <a:lnTo>
                        <a:pt x="181" y="4188"/>
                      </a:lnTo>
                      <a:lnTo>
                        <a:pt x="156" y="4245"/>
                      </a:lnTo>
                      <a:lnTo>
                        <a:pt x="134" y="4301"/>
                      </a:lnTo>
                      <a:lnTo>
                        <a:pt x="114" y="4361"/>
                      </a:lnTo>
                      <a:lnTo>
                        <a:pt x="95" y="4418"/>
                      </a:lnTo>
                      <a:lnTo>
                        <a:pt x="79" y="4478"/>
                      </a:lnTo>
                      <a:lnTo>
                        <a:pt x="64" y="4538"/>
                      </a:lnTo>
                      <a:lnTo>
                        <a:pt x="51" y="4597"/>
                      </a:lnTo>
                      <a:lnTo>
                        <a:pt x="39" y="4656"/>
                      </a:lnTo>
                      <a:lnTo>
                        <a:pt x="27" y="4716"/>
                      </a:lnTo>
                      <a:lnTo>
                        <a:pt x="6" y="4833"/>
                      </a:lnTo>
                      <a:lnTo>
                        <a:pt x="6" y="4833"/>
                      </a:lnTo>
                      <a:lnTo>
                        <a:pt x="2" y="4851"/>
                      </a:lnTo>
                      <a:lnTo>
                        <a:pt x="1" y="4870"/>
                      </a:lnTo>
                      <a:lnTo>
                        <a:pt x="0" y="4908"/>
                      </a:lnTo>
                      <a:lnTo>
                        <a:pt x="1" y="4943"/>
                      </a:lnTo>
                      <a:lnTo>
                        <a:pt x="4" y="4978"/>
                      </a:lnTo>
                      <a:lnTo>
                        <a:pt x="10" y="5011"/>
                      </a:lnTo>
                      <a:lnTo>
                        <a:pt x="17" y="5045"/>
                      </a:lnTo>
                      <a:lnTo>
                        <a:pt x="25" y="5079"/>
                      </a:lnTo>
                      <a:lnTo>
                        <a:pt x="35" y="5112"/>
                      </a:lnTo>
                      <a:lnTo>
                        <a:pt x="53" y="5180"/>
                      </a:lnTo>
                      <a:lnTo>
                        <a:pt x="61" y="5215"/>
                      </a:lnTo>
                      <a:lnTo>
                        <a:pt x="68" y="5249"/>
                      </a:lnTo>
                      <a:lnTo>
                        <a:pt x="75" y="5286"/>
                      </a:lnTo>
                      <a:lnTo>
                        <a:pt x="79" y="5322"/>
                      </a:lnTo>
                      <a:lnTo>
                        <a:pt x="80" y="5361"/>
                      </a:lnTo>
                      <a:lnTo>
                        <a:pt x="80" y="5401"/>
                      </a:lnTo>
                      <a:lnTo>
                        <a:pt x="80" y="5401"/>
                      </a:lnTo>
                      <a:lnTo>
                        <a:pt x="321" y="5405"/>
                      </a:lnTo>
                      <a:lnTo>
                        <a:pt x="580" y="5412"/>
                      </a:lnTo>
                      <a:lnTo>
                        <a:pt x="1126" y="5424"/>
                      </a:lnTo>
                      <a:lnTo>
                        <a:pt x="1397" y="5430"/>
                      </a:lnTo>
                      <a:lnTo>
                        <a:pt x="1655" y="5434"/>
                      </a:lnTo>
                      <a:lnTo>
                        <a:pt x="1777" y="5434"/>
                      </a:lnTo>
                      <a:lnTo>
                        <a:pt x="1894" y="5434"/>
                      </a:lnTo>
                      <a:lnTo>
                        <a:pt x="2004" y="5432"/>
                      </a:lnTo>
                      <a:lnTo>
                        <a:pt x="2105" y="5430"/>
                      </a:lnTo>
                      <a:lnTo>
                        <a:pt x="2105" y="5430"/>
                      </a:lnTo>
                      <a:lnTo>
                        <a:pt x="2217" y="5424"/>
                      </a:lnTo>
                      <a:lnTo>
                        <a:pt x="2319" y="5419"/>
                      </a:lnTo>
                      <a:lnTo>
                        <a:pt x="2412" y="5411"/>
                      </a:lnTo>
                      <a:lnTo>
                        <a:pt x="2495" y="5401"/>
                      </a:lnTo>
                      <a:lnTo>
                        <a:pt x="2570" y="5391"/>
                      </a:lnTo>
                      <a:lnTo>
                        <a:pt x="2639" y="5379"/>
                      </a:lnTo>
                      <a:lnTo>
                        <a:pt x="2699" y="5366"/>
                      </a:lnTo>
                      <a:lnTo>
                        <a:pt x="2752" y="5353"/>
                      </a:lnTo>
                      <a:lnTo>
                        <a:pt x="2752" y="5353"/>
                      </a:lnTo>
                      <a:lnTo>
                        <a:pt x="2752" y="5345"/>
                      </a:lnTo>
                      <a:lnTo>
                        <a:pt x="2752" y="5338"/>
                      </a:lnTo>
                      <a:lnTo>
                        <a:pt x="2756" y="5325"/>
                      </a:lnTo>
                      <a:lnTo>
                        <a:pt x="2761" y="5313"/>
                      </a:lnTo>
                      <a:lnTo>
                        <a:pt x="2769" y="5301"/>
                      </a:lnTo>
                      <a:lnTo>
                        <a:pt x="2779" y="5290"/>
                      </a:lnTo>
                      <a:lnTo>
                        <a:pt x="2790" y="5279"/>
                      </a:lnTo>
                      <a:lnTo>
                        <a:pt x="2814" y="5259"/>
                      </a:lnTo>
                      <a:lnTo>
                        <a:pt x="2838" y="5236"/>
                      </a:lnTo>
                      <a:lnTo>
                        <a:pt x="2850" y="5224"/>
                      </a:lnTo>
                      <a:lnTo>
                        <a:pt x="2859" y="5210"/>
                      </a:lnTo>
                      <a:lnTo>
                        <a:pt x="2869" y="5196"/>
                      </a:lnTo>
                      <a:lnTo>
                        <a:pt x="2876" y="5181"/>
                      </a:lnTo>
                      <a:lnTo>
                        <a:pt x="2880" y="5162"/>
                      </a:lnTo>
                      <a:lnTo>
                        <a:pt x="2881" y="5143"/>
                      </a:lnTo>
                      <a:lnTo>
                        <a:pt x="2881" y="5143"/>
                      </a:lnTo>
                      <a:lnTo>
                        <a:pt x="2881" y="5099"/>
                      </a:lnTo>
                      <a:lnTo>
                        <a:pt x="2880" y="5053"/>
                      </a:lnTo>
                      <a:lnTo>
                        <a:pt x="2877" y="5007"/>
                      </a:lnTo>
                      <a:lnTo>
                        <a:pt x="2874" y="4960"/>
                      </a:lnTo>
                      <a:lnTo>
                        <a:pt x="2866" y="4865"/>
                      </a:lnTo>
                      <a:lnTo>
                        <a:pt x="2854" y="4767"/>
                      </a:lnTo>
                      <a:lnTo>
                        <a:pt x="2854" y="4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487" name="Rectangle 486"/>
              <p:cNvSpPr/>
              <p:nvPr/>
            </p:nvSpPr>
            <p:spPr bwMode="auto">
              <a:xfrm>
                <a:off x="3950034" y="6031204"/>
                <a:ext cx="680020" cy="591508"/>
              </a:xfrm>
              <a:prstGeom prst="rect">
                <a:avLst/>
              </a:prstGeom>
              <a:solidFill>
                <a:srgbClr val="2550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89" name="Rectangle 488"/>
              <p:cNvSpPr/>
              <p:nvPr/>
            </p:nvSpPr>
            <p:spPr bwMode="auto">
              <a:xfrm>
                <a:off x="4157672" y="5551621"/>
                <a:ext cx="297726" cy="23461"/>
              </a:xfrm>
              <a:prstGeom prst="rect">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90" name="Rectangle 489"/>
              <p:cNvSpPr/>
              <p:nvPr/>
            </p:nvSpPr>
            <p:spPr>
              <a:xfrm>
                <a:off x="3836650" y="5677591"/>
                <a:ext cx="870936" cy="40965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FFFF"/>
                    </a:solidFill>
                    <a:effectLst/>
                    <a:uLnTx/>
                    <a:uFillTx/>
                    <a:cs typeface="Arial" charset="0"/>
                  </a:rPr>
                  <a:t>Have you</a:t>
                </a:r>
                <a:br>
                  <a:rPr kumimoji="0" lang="en-US" sz="700" b="0" i="0" u="none" strike="noStrike" kern="0" cap="none" spc="0" normalizeH="0" baseline="0" noProof="0" dirty="0">
                    <a:ln w="3175">
                      <a:noFill/>
                    </a:ln>
                    <a:solidFill>
                      <a:srgbClr val="FFFFFF"/>
                    </a:solidFill>
                    <a:effectLst/>
                    <a:uLnTx/>
                    <a:uFillTx/>
                    <a:cs typeface="Arial" charset="0"/>
                  </a:rPr>
                </a:br>
                <a:r>
                  <a:rPr kumimoji="0" lang="en-US" sz="700" b="0" i="0" u="none" strike="noStrike" kern="0" cap="none" spc="0" normalizeH="0" baseline="0" noProof="0" dirty="0">
                    <a:ln w="3175">
                      <a:noFill/>
                    </a:ln>
                    <a:solidFill>
                      <a:srgbClr val="FFFFFF"/>
                    </a:solidFill>
                    <a:effectLst/>
                    <a:uLnTx/>
                    <a:uFillTx/>
                    <a:cs typeface="Arial" charset="0"/>
                  </a:rPr>
                  <a:t>seen these!</a:t>
                </a:r>
                <a:endParaRPr kumimoji="0" lang="en-US" sz="700" b="0" i="0" u="none" strike="noStrike" kern="0" cap="none" spc="0" normalizeH="0" baseline="0" noProof="0" dirty="0">
                  <a:ln>
                    <a:noFill/>
                  </a:ln>
                  <a:solidFill>
                    <a:srgbClr val="FFFFFF"/>
                  </a:solidFill>
                  <a:effectLst/>
                  <a:uLnTx/>
                  <a:uFillTx/>
                </a:endParaRPr>
              </a:p>
            </p:txBody>
          </p:sp>
          <p:sp>
            <p:nvSpPr>
              <p:cNvPr id="500" name="Rectangle 499"/>
              <p:cNvSpPr/>
              <p:nvPr/>
            </p:nvSpPr>
            <p:spPr bwMode="auto">
              <a:xfrm>
                <a:off x="4157672" y="5603888"/>
                <a:ext cx="249819" cy="23461"/>
              </a:xfrm>
              <a:prstGeom prst="rect">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01" name="Freeform 95"/>
              <p:cNvSpPr>
                <a:spLocks/>
              </p:cNvSpPr>
              <p:nvPr/>
            </p:nvSpPr>
            <p:spPr bwMode="auto">
              <a:xfrm>
                <a:off x="4495272" y="5455369"/>
                <a:ext cx="119501" cy="258920"/>
              </a:xfrm>
              <a:custGeom>
                <a:avLst/>
                <a:gdLst>
                  <a:gd name="T0" fmla="*/ 83 w 390"/>
                  <a:gd name="T1" fmla="*/ 842 h 842"/>
                  <a:gd name="T2" fmla="*/ 257 w 390"/>
                  <a:gd name="T3" fmla="*/ 842 h 842"/>
                  <a:gd name="T4" fmla="*/ 257 w 390"/>
                  <a:gd name="T5" fmla="*/ 422 h 842"/>
                  <a:gd name="T6" fmla="*/ 374 w 390"/>
                  <a:gd name="T7" fmla="*/ 422 h 842"/>
                  <a:gd name="T8" fmla="*/ 390 w 390"/>
                  <a:gd name="T9" fmla="*/ 273 h 842"/>
                  <a:gd name="T10" fmla="*/ 257 w 390"/>
                  <a:gd name="T11" fmla="*/ 273 h 842"/>
                  <a:gd name="T12" fmla="*/ 257 w 390"/>
                  <a:gd name="T13" fmla="*/ 186 h 842"/>
                  <a:gd name="T14" fmla="*/ 257 w 390"/>
                  <a:gd name="T15" fmla="*/ 186 h 842"/>
                  <a:gd name="T16" fmla="*/ 258 w 390"/>
                  <a:gd name="T17" fmla="*/ 175 h 842"/>
                  <a:gd name="T18" fmla="*/ 261 w 390"/>
                  <a:gd name="T19" fmla="*/ 165 h 842"/>
                  <a:gd name="T20" fmla="*/ 265 w 390"/>
                  <a:gd name="T21" fmla="*/ 158 h 842"/>
                  <a:gd name="T22" fmla="*/ 269 w 390"/>
                  <a:gd name="T23" fmla="*/ 153 h 842"/>
                  <a:gd name="T24" fmla="*/ 276 w 390"/>
                  <a:gd name="T25" fmla="*/ 150 h 842"/>
                  <a:gd name="T26" fmla="*/ 282 w 390"/>
                  <a:gd name="T27" fmla="*/ 147 h 842"/>
                  <a:gd name="T28" fmla="*/ 288 w 390"/>
                  <a:gd name="T29" fmla="*/ 145 h 842"/>
                  <a:gd name="T30" fmla="*/ 294 w 390"/>
                  <a:gd name="T31" fmla="*/ 145 h 842"/>
                  <a:gd name="T32" fmla="*/ 388 w 390"/>
                  <a:gd name="T33" fmla="*/ 145 h 842"/>
                  <a:gd name="T34" fmla="*/ 388 w 390"/>
                  <a:gd name="T35" fmla="*/ 1 h 842"/>
                  <a:gd name="T36" fmla="*/ 258 w 390"/>
                  <a:gd name="T37" fmla="*/ 0 h 842"/>
                  <a:gd name="T38" fmla="*/ 258 w 390"/>
                  <a:gd name="T39" fmla="*/ 0 h 842"/>
                  <a:gd name="T40" fmla="*/ 233 w 390"/>
                  <a:gd name="T41" fmla="*/ 1 h 842"/>
                  <a:gd name="T42" fmla="*/ 210 w 390"/>
                  <a:gd name="T43" fmla="*/ 6 h 842"/>
                  <a:gd name="T44" fmla="*/ 189 w 390"/>
                  <a:gd name="T45" fmla="*/ 11 h 842"/>
                  <a:gd name="T46" fmla="*/ 171 w 390"/>
                  <a:gd name="T47" fmla="*/ 19 h 842"/>
                  <a:gd name="T48" fmla="*/ 154 w 390"/>
                  <a:gd name="T49" fmla="*/ 28 h 842"/>
                  <a:gd name="T50" fmla="*/ 140 w 390"/>
                  <a:gd name="T51" fmla="*/ 38 h 842"/>
                  <a:gd name="T52" fmla="*/ 128 w 390"/>
                  <a:gd name="T53" fmla="*/ 50 h 842"/>
                  <a:gd name="T54" fmla="*/ 117 w 390"/>
                  <a:gd name="T55" fmla="*/ 63 h 842"/>
                  <a:gd name="T56" fmla="*/ 108 w 390"/>
                  <a:gd name="T57" fmla="*/ 77 h 842"/>
                  <a:gd name="T58" fmla="*/ 100 w 390"/>
                  <a:gd name="T59" fmla="*/ 91 h 842"/>
                  <a:gd name="T60" fmla="*/ 95 w 390"/>
                  <a:gd name="T61" fmla="*/ 105 h 842"/>
                  <a:gd name="T62" fmla="*/ 90 w 390"/>
                  <a:gd name="T63" fmla="*/ 121 h 842"/>
                  <a:gd name="T64" fmla="*/ 87 w 390"/>
                  <a:gd name="T65" fmla="*/ 135 h 842"/>
                  <a:gd name="T66" fmla="*/ 84 w 390"/>
                  <a:gd name="T67" fmla="*/ 150 h 842"/>
                  <a:gd name="T68" fmla="*/ 83 w 390"/>
                  <a:gd name="T69" fmla="*/ 164 h 842"/>
                  <a:gd name="T70" fmla="*/ 83 w 390"/>
                  <a:gd name="T71" fmla="*/ 177 h 842"/>
                  <a:gd name="T72" fmla="*/ 83 w 390"/>
                  <a:gd name="T73" fmla="*/ 273 h 842"/>
                  <a:gd name="T74" fmla="*/ 0 w 390"/>
                  <a:gd name="T75" fmla="*/ 273 h 842"/>
                  <a:gd name="T76" fmla="*/ 0 w 390"/>
                  <a:gd name="T77" fmla="*/ 422 h 842"/>
                  <a:gd name="T78" fmla="*/ 83 w 390"/>
                  <a:gd name="T79" fmla="*/ 422 h 842"/>
                  <a:gd name="T80" fmla="*/ 83 w 390"/>
                  <a:gd name="T81" fmla="*/ 842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0" h="842">
                    <a:moveTo>
                      <a:pt x="83" y="842"/>
                    </a:moveTo>
                    <a:lnTo>
                      <a:pt x="257" y="842"/>
                    </a:lnTo>
                    <a:lnTo>
                      <a:pt x="257" y="422"/>
                    </a:lnTo>
                    <a:lnTo>
                      <a:pt x="374" y="422"/>
                    </a:lnTo>
                    <a:lnTo>
                      <a:pt x="390" y="273"/>
                    </a:lnTo>
                    <a:lnTo>
                      <a:pt x="257" y="273"/>
                    </a:lnTo>
                    <a:lnTo>
                      <a:pt x="257" y="186"/>
                    </a:lnTo>
                    <a:lnTo>
                      <a:pt x="257" y="186"/>
                    </a:lnTo>
                    <a:lnTo>
                      <a:pt x="258" y="175"/>
                    </a:lnTo>
                    <a:lnTo>
                      <a:pt x="261" y="165"/>
                    </a:lnTo>
                    <a:lnTo>
                      <a:pt x="265" y="158"/>
                    </a:lnTo>
                    <a:lnTo>
                      <a:pt x="269" y="153"/>
                    </a:lnTo>
                    <a:lnTo>
                      <a:pt x="276" y="150"/>
                    </a:lnTo>
                    <a:lnTo>
                      <a:pt x="282" y="147"/>
                    </a:lnTo>
                    <a:lnTo>
                      <a:pt x="288" y="145"/>
                    </a:lnTo>
                    <a:lnTo>
                      <a:pt x="294" y="145"/>
                    </a:lnTo>
                    <a:lnTo>
                      <a:pt x="388" y="145"/>
                    </a:lnTo>
                    <a:lnTo>
                      <a:pt x="388" y="1"/>
                    </a:lnTo>
                    <a:lnTo>
                      <a:pt x="258" y="0"/>
                    </a:lnTo>
                    <a:lnTo>
                      <a:pt x="258" y="0"/>
                    </a:lnTo>
                    <a:lnTo>
                      <a:pt x="233" y="1"/>
                    </a:lnTo>
                    <a:lnTo>
                      <a:pt x="210" y="6"/>
                    </a:lnTo>
                    <a:lnTo>
                      <a:pt x="189" y="11"/>
                    </a:lnTo>
                    <a:lnTo>
                      <a:pt x="171" y="19"/>
                    </a:lnTo>
                    <a:lnTo>
                      <a:pt x="154" y="28"/>
                    </a:lnTo>
                    <a:lnTo>
                      <a:pt x="140" y="38"/>
                    </a:lnTo>
                    <a:lnTo>
                      <a:pt x="128" y="50"/>
                    </a:lnTo>
                    <a:lnTo>
                      <a:pt x="117" y="63"/>
                    </a:lnTo>
                    <a:lnTo>
                      <a:pt x="108" y="77"/>
                    </a:lnTo>
                    <a:lnTo>
                      <a:pt x="100" y="91"/>
                    </a:lnTo>
                    <a:lnTo>
                      <a:pt x="95" y="105"/>
                    </a:lnTo>
                    <a:lnTo>
                      <a:pt x="90" y="121"/>
                    </a:lnTo>
                    <a:lnTo>
                      <a:pt x="87" y="135"/>
                    </a:lnTo>
                    <a:lnTo>
                      <a:pt x="84" y="150"/>
                    </a:lnTo>
                    <a:lnTo>
                      <a:pt x="83" y="164"/>
                    </a:lnTo>
                    <a:lnTo>
                      <a:pt x="83" y="177"/>
                    </a:lnTo>
                    <a:lnTo>
                      <a:pt x="83" y="273"/>
                    </a:lnTo>
                    <a:lnTo>
                      <a:pt x="0" y="273"/>
                    </a:lnTo>
                    <a:lnTo>
                      <a:pt x="0" y="422"/>
                    </a:lnTo>
                    <a:lnTo>
                      <a:pt x="83" y="422"/>
                    </a:lnTo>
                    <a:lnTo>
                      <a:pt x="83" y="8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429" name="Group 1428"/>
              <p:cNvGrpSpPr/>
              <p:nvPr/>
            </p:nvGrpSpPr>
            <p:grpSpPr>
              <a:xfrm>
                <a:off x="3953530" y="5497663"/>
                <a:ext cx="174605" cy="190299"/>
                <a:chOff x="3968681" y="5658315"/>
                <a:chExt cx="144302" cy="157272"/>
              </a:xfrm>
            </p:grpSpPr>
            <p:sp>
              <p:nvSpPr>
                <p:cNvPr id="498" name="Freeform 98"/>
                <p:cNvSpPr>
                  <a:spLocks/>
                </p:cNvSpPr>
                <p:nvPr/>
              </p:nvSpPr>
              <p:spPr bwMode="auto">
                <a:xfrm>
                  <a:off x="4005773" y="5737628"/>
                  <a:ext cx="70813" cy="61371"/>
                </a:xfrm>
                <a:custGeom>
                  <a:avLst/>
                  <a:gdLst>
                    <a:gd name="T0" fmla="*/ 0 w 211"/>
                    <a:gd name="T1" fmla="*/ 182 h 182"/>
                    <a:gd name="T2" fmla="*/ 0 w 211"/>
                    <a:gd name="T3" fmla="*/ 182 h 182"/>
                    <a:gd name="T4" fmla="*/ 1 w 211"/>
                    <a:gd name="T5" fmla="*/ 145 h 182"/>
                    <a:gd name="T6" fmla="*/ 2 w 211"/>
                    <a:gd name="T7" fmla="*/ 128 h 182"/>
                    <a:gd name="T8" fmla="*/ 4 w 211"/>
                    <a:gd name="T9" fmla="*/ 111 h 182"/>
                    <a:gd name="T10" fmla="*/ 6 w 211"/>
                    <a:gd name="T11" fmla="*/ 95 h 182"/>
                    <a:gd name="T12" fmla="*/ 10 w 211"/>
                    <a:gd name="T13" fmla="*/ 80 h 182"/>
                    <a:gd name="T14" fmla="*/ 14 w 211"/>
                    <a:gd name="T15" fmla="*/ 66 h 182"/>
                    <a:gd name="T16" fmla="*/ 19 w 211"/>
                    <a:gd name="T17" fmla="*/ 53 h 182"/>
                    <a:gd name="T18" fmla="*/ 25 w 211"/>
                    <a:gd name="T19" fmla="*/ 41 h 182"/>
                    <a:gd name="T20" fmla="*/ 33 w 211"/>
                    <a:gd name="T21" fmla="*/ 31 h 182"/>
                    <a:gd name="T22" fmla="*/ 41 w 211"/>
                    <a:gd name="T23" fmla="*/ 22 h 182"/>
                    <a:gd name="T24" fmla="*/ 51 w 211"/>
                    <a:gd name="T25" fmla="*/ 14 h 182"/>
                    <a:gd name="T26" fmla="*/ 63 w 211"/>
                    <a:gd name="T27" fmla="*/ 8 h 182"/>
                    <a:gd name="T28" fmla="*/ 76 w 211"/>
                    <a:gd name="T29" fmla="*/ 3 h 182"/>
                    <a:gd name="T30" fmla="*/ 91 w 211"/>
                    <a:gd name="T31" fmla="*/ 1 h 182"/>
                    <a:gd name="T32" fmla="*/ 107 w 211"/>
                    <a:gd name="T33" fmla="*/ 0 h 182"/>
                    <a:gd name="T34" fmla="*/ 107 w 211"/>
                    <a:gd name="T35" fmla="*/ 0 h 182"/>
                    <a:gd name="T36" fmla="*/ 123 w 211"/>
                    <a:gd name="T37" fmla="*/ 1 h 182"/>
                    <a:gd name="T38" fmla="*/ 137 w 211"/>
                    <a:gd name="T39" fmla="*/ 3 h 182"/>
                    <a:gd name="T40" fmla="*/ 150 w 211"/>
                    <a:gd name="T41" fmla="*/ 8 h 182"/>
                    <a:gd name="T42" fmla="*/ 161 w 211"/>
                    <a:gd name="T43" fmla="*/ 14 h 182"/>
                    <a:gd name="T44" fmla="*/ 171 w 211"/>
                    <a:gd name="T45" fmla="*/ 22 h 182"/>
                    <a:gd name="T46" fmla="*/ 179 w 211"/>
                    <a:gd name="T47" fmla="*/ 31 h 182"/>
                    <a:gd name="T48" fmla="*/ 186 w 211"/>
                    <a:gd name="T49" fmla="*/ 41 h 182"/>
                    <a:gd name="T50" fmla="*/ 193 w 211"/>
                    <a:gd name="T51" fmla="*/ 53 h 182"/>
                    <a:gd name="T52" fmla="*/ 198 w 211"/>
                    <a:gd name="T53" fmla="*/ 66 h 182"/>
                    <a:gd name="T54" fmla="*/ 202 w 211"/>
                    <a:gd name="T55" fmla="*/ 80 h 182"/>
                    <a:gd name="T56" fmla="*/ 205 w 211"/>
                    <a:gd name="T57" fmla="*/ 95 h 182"/>
                    <a:gd name="T58" fmla="*/ 208 w 211"/>
                    <a:gd name="T59" fmla="*/ 111 h 182"/>
                    <a:gd name="T60" fmla="*/ 209 w 211"/>
                    <a:gd name="T61" fmla="*/ 128 h 182"/>
                    <a:gd name="T62" fmla="*/ 211 w 211"/>
                    <a:gd name="T63" fmla="*/ 145 h 182"/>
                    <a:gd name="T64" fmla="*/ 211 w 211"/>
                    <a:gd name="T65" fmla="*/ 182 h 182"/>
                    <a:gd name="T66" fmla="*/ 0 w 211"/>
                    <a:gd name="T6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1" h="182">
                      <a:moveTo>
                        <a:pt x="0" y="182"/>
                      </a:moveTo>
                      <a:lnTo>
                        <a:pt x="0" y="182"/>
                      </a:lnTo>
                      <a:lnTo>
                        <a:pt x="1" y="145"/>
                      </a:lnTo>
                      <a:lnTo>
                        <a:pt x="2" y="128"/>
                      </a:lnTo>
                      <a:lnTo>
                        <a:pt x="4" y="111"/>
                      </a:lnTo>
                      <a:lnTo>
                        <a:pt x="6" y="95"/>
                      </a:lnTo>
                      <a:lnTo>
                        <a:pt x="10" y="80"/>
                      </a:lnTo>
                      <a:lnTo>
                        <a:pt x="14" y="66"/>
                      </a:lnTo>
                      <a:lnTo>
                        <a:pt x="19" y="53"/>
                      </a:lnTo>
                      <a:lnTo>
                        <a:pt x="25" y="41"/>
                      </a:lnTo>
                      <a:lnTo>
                        <a:pt x="33" y="31"/>
                      </a:lnTo>
                      <a:lnTo>
                        <a:pt x="41" y="22"/>
                      </a:lnTo>
                      <a:lnTo>
                        <a:pt x="51" y="14"/>
                      </a:lnTo>
                      <a:lnTo>
                        <a:pt x="63" y="8"/>
                      </a:lnTo>
                      <a:lnTo>
                        <a:pt x="76" y="3"/>
                      </a:lnTo>
                      <a:lnTo>
                        <a:pt x="91" y="1"/>
                      </a:lnTo>
                      <a:lnTo>
                        <a:pt x="107" y="0"/>
                      </a:lnTo>
                      <a:lnTo>
                        <a:pt x="107" y="0"/>
                      </a:lnTo>
                      <a:lnTo>
                        <a:pt x="123" y="1"/>
                      </a:lnTo>
                      <a:lnTo>
                        <a:pt x="137" y="3"/>
                      </a:lnTo>
                      <a:lnTo>
                        <a:pt x="150" y="8"/>
                      </a:lnTo>
                      <a:lnTo>
                        <a:pt x="161" y="14"/>
                      </a:lnTo>
                      <a:lnTo>
                        <a:pt x="171" y="22"/>
                      </a:lnTo>
                      <a:lnTo>
                        <a:pt x="179" y="31"/>
                      </a:lnTo>
                      <a:lnTo>
                        <a:pt x="186" y="41"/>
                      </a:lnTo>
                      <a:lnTo>
                        <a:pt x="193" y="53"/>
                      </a:lnTo>
                      <a:lnTo>
                        <a:pt x="198" y="66"/>
                      </a:lnTo>
                      <a:lnTo>
                        <a:pt x="202" y="80"/>
                      </a:lnTo>
                      <a:lnTo>
                        <a:pt x="205" y="95"/>
                      </a:lnTo>
                      <a:lnTo>
                        <a:pt x="208" y="111"/>
                      </a:lnTo>
                      <a:lnTo>
                        <a:pt x="209" y="128"/>
                      </a:lnTo>
                      <a:lnTo>
                        <a:pt x="211" y="145"/>
                      </a:lnTo>
                      <a:lnTo>
                        <a:pt x="211" y="182"/>
                      </a:lnTo>
                      <a:lnTo>
                        <a:pt x="0" y="182"/>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99" name="Freeform 102"/>
                <p:cNvSpPr>
                  <a:spLocks/>
                </p:cNvSpPr>
                <p:nvPr/>
              </p:nvSpPr>
              <p:spPr bwMode="auto">
                <a:xfrm>
                  <a:off x="4019936" y="5689406"/>
                  <a:ext cx="42488" cy="43162"/>
                </a:xfrm>
                <a:custGeom>
                  <a:avLst/>
                  <a:gdLst>
                    <a:gd name="T0" fmla="*/ 0 w 127"/>
                    <a:gd name="T1" fmla="*/ 65 h 130"/>
                    <a:gd name="T2" fmla="*/ 0 w 127"/>
                    <a:gd name="T3" fmla="*/ 65 h 130"/>
                    <a:gd name="T4" fmla="*/ 0 w 127"/>
                    <a:gd name="T5" fmla="*/ 58 h 130"/>
                    <a:gd name="T6" fmla="*/ 1 w 127"/>
                    <a:gd name="T7" fmla="*/ 52 h 130"/>
                    <a:gd name="T8" fmla="*/ 3 w 127"/>
                    <a:gd name="T9" fmla="*/ 46 h 130"/>
                    <a:gd name="T10" fmla="*/ 5 w 127"/>
                    <a:gd name="T11" fmla="*/ 40 h 130"/>
                    <a:gd name="T12" fmla="*/ 11 w 127"/>
                    <a:gd name="T13" fmla="*/ 29 h 130"/>
                    <a:gd name="T14" fmla="*/ 19 w 127"/>
                    <a:gd name="T15" fmla="*/ 19 h 130"/>
                    <a:gd name="T16" fmla="*/ 28 w 127"/>
                    <a:gd name="T17" fmla="*/ 11 h 130"/>
                    <a:gd name="T18" fmla="*/ 33 w 127"/>
                    <a:gd name="T19" fmla="*/ 8 h 130"/>
                    <a:gd name="T20" fmla="*/ 39 w 127"/>
                    <a:gd name="T21" fmla="*/ 5 h 130"/>
                    <a:gd name="T22" fmla="*/ 44 w 127"/>
                    <a:gd name="T23" fmla="*/ 3 h 130"/>
                    <a:gd name="T24" fmla="*/ 51 w 127"/>
                    <a:gd name="T25" fmla="*/ 1 h 130"/>
                    <a:gd name="T26" fmla="*/ 58 w 127"/>
                    <a:gd name="T27" fmla="*/ 0 h 130"/>
                    <a:gd name="T28" fmla="*/ 64 w 127"/>
                    <a:gd name="T29" fmla="*/ 0 h 130"/>
                    <a:gd name="T30" fmla="*/ 64 w 127"/>
                    <a:gd name="T31" fmla="*/ 0 h 130"/>
                    <a:gd name="T32" fmla="*/ 70 w 127"/>
                    <a:gd name="T33" fmla="*/ 0 h 130"/>
                    <a:gd name="T34" fmla="*/ 77 w 127"/>
                    <a:gd name="T35" fmla="*/ 1 h 130"/>
                    <a:gd name="T36" fmla="*/ 83 w 127"/>
                    <a:gd name="T37" fmla="*/ 3 h 130"/>
                    <a:gd name="T38" fmla="*/ 88 w 127"/>
                    <a:gd name="T39" fmla="*/ 5 h 130"/>
                    <a:gd name="T40" fmla="*/ 94 w 127"/>
                    <a:gd name="T41" fmla="*/ 8 h 130"/>
                    <a:gd name="T42" fmla="*/ 99 w 127"/>
                    <a:gd name="T43" fmla="*/ 11 h 130"/>
                    <a:gd name="T44" fmla="*/ 108 w 127"/>
                    <a:gd name="T45" fmla="*/ 19 h 130"/>
                    <a:gd name="T46" fmla="*/ 116 w 127"/>
                    <a:gd name="T47" fmla="*/ 29 h 130"/>
                    <a:gd name="T48" fmla="*/ 122 w 127"/>
                    <a:gd name="T49" fmla="*/ 40 h 130"/>
                    <a:gd name="T50" fmla="*/ 124 w 127"/>
                    <a:gd name="T51" fmla="*/ 46 h 130"/>
                    <a:gd name="T52" fmla="*/ 126 w 127"/>
                    <a:gd name="T53" fmla="*/ 52 h 130"/>
                    <a:gd name="T54" fmla="*/ 127 w 127"/>
                    <a:gd name="T55" fmla="*/ 58 h 130"/>
                    <a:gd name="T56" fmla="*/ 127 w 127"/>
                    <a:gd name="T57" fmla="*/ 65 h 130"/>
                    <a:gd name="T58" fmla="*/ 127 w 127"/>
                    <a:gd name="T59" fmla="*/ 65 h 130"/>
                    <a:gd name="T60" fmla="*/ 127 w 127"/>
                    <a:gd name="T61" fmla="*/ 71 h 130"/>
                    <a:gd name="T62" fmla="*/ 126 w 127"/>
                    <a:gd name="T63" fmla="*/ 78 h 130"/>
                    <a:gd name="T64" fmla="*/ 124 w 127"/>
                    <a:gd name="T65" fmla="*/ 84 h 130"/>
                    <a:gd name="T66" fmla="*/ 122 w 127"/>
                    <a:gd name="T67" fmla="*/ 90 h 130"/>
                    <a:gd name="T68" fmla="*/ 116 w 127"/>
                    <a:gd name="T69" fmla="*/ 101 h 130"/>
                    <a:gd name="T70" fmla="*/ 108 w 127"/>
                    <a:gd name="T71" fmla="*/ 111 h 130"/>
                    <a:gd name="T72" fmla="*/ 99 w 127"/>
                    <a:gd name="T73" fmla="*/ 119 h 130"/>
                    <a:gd name="T74" fmla="*/ 94 w 127"/>
                    <a:gd name="T75" fmla="*/ 123 h 130"/>
                    <a:gd name="T76" fmla="*/ 88 w 127"/>
                    <a:gd name="T77" fmla="*/ 125 h 130"/>
                    <a:gd name="T78" fmla="*/ 83 w 127"/>
                    <a:gd name="T79" fmla="*/ 128 h 130"/>
                    <a:gd name="T80" fmla="*/ 77 w 127"/>
                    <a:gd name="T81" fmla="*/ 129 h 130"/>
                    <a:gd name="T82" fmla="*/ 70 w 127"/>
                    <a:gd name="T83" fmla="*/ 130 h 130"/>
                    <a:gd name="T84" fmla="*/ 64 w 127"/>
                    <a:gd name="T85" fmla="*/ 130 h 130"/>
                    <a:gd name="T86" fmla="*/ 64 w 127"/>
                    <a:gd name="T87" fmla="*/ 130 h 130"/>
                    <a:gd name="T88" fmla="*/ 58 w 127"/>
                    <a:gd name="T89" fmla="*/ 130 h 130"/>
                    <a:gd name="T90" fmla="*/ 51 w 127"/>
                    <a:gd name="T91" fmla="*/ 129 h 130"/>
                    <a:gd name="T92" fmla="*/ 44 w 127"/>
                    <a:gd name="T93" fmla="*/ 128 h 130"/>
                    <a:gd name="T94" fmla="*/ 39 w 127"/>
                    <a:gd name="T95" fmla="*/ 125 h 130"/>
                    <a:gd name="T96" fmla="*/ 33 w 127"/>
                    <a:gd name="T97" fmla="*/ 123 h 130"/>
                    <a:gd name="T98" fmla="*/ 28 w 127"/>
                    <a:gd name="T99" fmla="*/ 119 h 130"/>
                    <a:gd name="T100" fmla="*/ 19 w 127"/>
                    <a:gd name="T101" fmla="*/ 111 h 130"/>
                    <a:gd name="T102" fmla="*/ 11 w 127"/>
                    <a:gd name="T103" fmla="*/ 101 h 130"/>
                    <a:gd name="T104" fmla="*/ 5 w 127"/>
                    <a:gd name="T105" fmla="*/ 90 h 130"/>
                    <a:gd name="T106" fmla="*/ 3 w 127"/>
                    <a:gd name="T107" fmla="*/ 84 h 130"/>
                    <a:gd name="T108" fmla="*/ 1 w 127"/>
                    <a:gd name="T109" fmla="*/ 78 h 130"/>
                    <a:gd name="T110" fmla="*/ 0 w 127"/>
                    <a:gd name="T111" fmla="*/ 71 h 130"/>
                    <a:gd name="T112" fmla="*/ 0 w 127"/>
                    <a:gd name="T113" fmla="*/ 6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 h="130">
                      <a:moveTo>
                        <a:pt x="0" y="65"/>
                      </a:moveTo>
                      <a:lnTo>
                        <a:pt x="0" y="65"/>
                      </a:lnTo>
                      <a:lnTo>
                        <a:pt x="0" y="58"/>
                      </a:lnTo>
                      <a:lnTo>
                        <a:pt x="1" y="52"/>
                      </a:lnTo>
                      <a:lnTo>
                        <a:pt x="3" y="46"/>
                      </a:lnTo>
                      <a:lnTo>
                        <a:pt x="5" y="40"/>
                      </a:lnTo>
                      <a:lnTo>
                        <a:pt x="11" y="29"/>
                      </a:lnTo>
                      <a:lnTo>
                        <a:pt x="19" y="19"/>
                      </a:lnTo>
                      <a:lnTo>
                        <a:pt x="28" y="11"/>
                      </a:lnTo>
                      <a:lnTo>
                        <a:pt x="33" y="8"/>
                      </a:lnTo>
                      <a:lnTo>
                        <a:pt x="39" y="5"/>
                      </a:lnTo>
                      <a:lnTo>
                        <a:pt x="44" y="3"/>
                      </a:lnTo>
                      <a:lnTo>
                        <a:pt x="51" y="1"/>
                      </a:lnTo>
                      <a:lnTo>
                        <a:pt x="58" y="0"/>
                      </a:lnTo>
                      <a:lnTo>
                        <a:pt x="64" y="0"/>
                      </a:lnTo>
                      <a:lnTo>
                        <a:pt x="64" y="0"/>
                      </a:lnTo>
                      <a:lnTo>
                        <a:pt x="70" y="0"/>
                      </a:lnTo>
                      <a:lnTo>
                        <a:pt x="77" y="1"/>
                      </a:lnTo>
                      <a:lnTo>
                        <a:pt x="83" y="3"/>
                      </a:lnTo>
                      <a:lnTo>
                        <a:pt x="88" y="5"/>
                      </a:lnTo>
                      <a:lnTo>
                        <a:pt x="94" y="8"/>
                      </a:lnTo>
                      <a:lnTo>
                        <a:pt x="99" y="11"/>
                      </a:lnTo>
                      <a:lnTo>
                        <a:pt x="108" y="19"/>
                      </a:lnTo>
                      <a:lnTo>
                        <a:pt x="116" y="29"/>
                      </a:lnTo>
                      <a:lnTo>
                        <a:pt x="122" y="40"/>
                      </a:lnTo>
                      <a:lnTo>
                        <a:pt x="124" y="46"/>
                      </a:lnTo>
                      <a:lnTo>
                        <a:pt x="126" y="52"/>
                      </a:lnTo>
                      <a:lnTo>
                        <a:pt x="127" y="58"/>
                      </a:lnTo>
                      <a:lnTo>
                        <a:pt x="127" y="65"/>
                      </a:lnTo>
                      <a:lnTo>
                        <a:pt x="127" y="65"/>
                      </a:lnTo>
                      <a:lnTo>
                        <a:pt x="127" y="71"/>
                      </a:lnTo>
                      <a:lnTo>
                        <a:pt x="126" y="78"/>
                      </a:lnTo>
                      <a:lnTo>
                        <a:pt x="124" y="84"/>
                      </a:lnTo>
                      <a:lnTo>
                        <a:pt x="122" y="90"/>
                      </a:lnTo>
                      <a:lnTo>
                        <a:pt x="116" y="101"/>
                      </a:lnTo>
                      <a:lnTo>
                        <a:pt x="108" y="111"/>
                      </a:lnTo>
                      <a:lnTo>
                        <a:pt x="99" y="119"/>
                      </a:lnTo>
                      <a:lnTo>
                        <a:pt x="94" y="123"/>
                      </a:lnTo>
                      <a:lnTo>
                        <a:pt x="88" y="125"/>
                      </a:lnTo>
                      <a:lnTo>
                        <a:pt x="83" y="128"/>
                      </a:lnTo>
                      <a:lnTo>
                        <a:pt x="77" y="129"/>
                      </a:lnTo>
                      <a:lnTo>
                        <a:pt x="70" y="130"/>
                      </a:lnTo>
                      <a:lnTo>
                        <a:pt x="64" y="130"/>
                      </a:lnTo>
                      <a:lnTo>
                        <a:pt x="64" y="130"/>
                      </a:lnTo>
                      <a:lnTo>
                        <a:pt x="58" y="130"/>
                      </a:lnTo>
                      <a:lnTo>
                        <a:pt x="51" y="129"/>
                      </a:lnTo>
                      <a:lnTo>
                        <a:pt x="44" y="128"/>
                      </a:lnTo>
                      <a:lnTo>
                        <a:pt x="39" y="125"/>
                      </a:lnTo>
                      <a:lnTo>
                        <a:pt x="33" y="123"/>
                      </a:lnTo>
                      <a:lnTo>
                        <a:pt x="28" y="119"/>
                      </a:lnTo>
                      <a:lnTo>
                        <a:pt x="19" y="111"/>
                      </a:lnTo>
                      <a:lnTo>
                        <a:pt x="11" y="101"/>
                      </a:lnTo>
                      <a:lnTo>
                        <a:pt x="5" y="90"/>
                      </a:lnTo>
                      <a:lnTo>
                        <a:pt x="3" y="84"/>
                      </a:lnTo>
                      <a:lnTo>
                        <a:pt x="1" y="78"/>
                      </a:lnTo>
                      <a:lnTo>
                        <a:pt x="0" y="71"/>
                      </a:lnTo>
                      <a:lnTo>
                        <a:pt x="0" y="65"/>
                      </a:lnTo>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97" name="Freeform 97"/>
                <p:cNvSpPr>
                  <a:spLocks noEditPoints="1"/>
                </p:cNvSpPr>
                <p:nvPr/>
              </p:nvSpPr>
              <p:spPr bwMode="auto">
                <a:xfrm>
                  <a:off x="3968681" y="5658315"/>
                  <a:ext cx="144302" cy="157272"/>
                </a:xfrm>
                <a:custGeom>
                  <a:avLst/>
                  <a:gdLst>
                    <a:gd name="T0" fmla="*/ 0 w 582"/>
                    <a:gd name="T1" fmla="*/ 424 h 424"/>
                    <a:gd name="T2" fmla="*/ 582 w 582"/>
                    <a:gd name="T3" fmla="*/ 424 h 424"/>
                    <a:gd name="T4" fmla="*/ 582 w 582"/>
                    <a:gd name="T5" fmla="*/ 0 h 424"/>
                    <a:gd name="T6" fmla="*/ 0 w 582"/>
                    <a:gd name="T7" fmla="*/ 0 h 424"/>
                    <a:gd name="T8" fmla="*/ 0 w 582"/>
                    <a:gd name="T9" fmla="*/ 424 h 424"/>
                    <a:gd name="T10" fmla="*/ 523 w 582"/>
                    <a:gd name="T11" fmla="*/ 362 h 424"/>
                    <a:gd name="T12" fmla="*/ 59 w 582"/>
                    <a:gd name="T13" fmla="*/ 362 h 424"/>
                    <a:gd name="T14" fmla="*/ 59 w 582"/>
                    <a:gd name="T15" fmla="*/ 62 h 424"/>
                    <a:gd name="T16" fmla="*/ 523 w 582"/>
                    <a:gd name="T17" fmla="*/ 62 h 424"/>
                    <a:gd name="T18" fmla="*/ 523 w 582"/>
                    <a:gd name="T19" fmla="*/ 362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24">
                      <a:moveTo>
                        <a:pt x="0" y="424"/>
                      </a:moveTo>
                      <a:lnTo>
                        <a:pt x="582" y="424"/>
                      </a:lnTo>
                      <a:lnTo>
                        <a:pt x="582" y="0"/>
                      </a:lnTo>
                      <a:lnTo>
                        <a:pt x="0" y="0"/>
                      </a:lnTo>
                      <a:lnTo>
                        <a:pt x="0" y="424"/>
                      </a:lnTo>
                      <a:close/>
                      <a:moveTo>
                        <a:pt x="523" y="362"/>
                      </a:moveTo>
                      <a:lnTo>
                        <a:pt x="59" y="362"/>
                      </a:lnTo>
                      <a:lnTo>
                        <a:pt x="59" y="62"/>
                      </a:lnTo>
                      <a:lnTo>
                        <a:pt x="523" y="62"/>
                      </a:lnTo>
                      <a:lnTo>
                        <a:pt x="523" y="36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184" name="Group 1183"/>
            <p:cNvGrpSpPr/>
            <p:nvPr/>
          </p:nvGrpSpPr>
          <p:grpSpPr>
            <a:xfrm>
              <a:off x="5997685" y="4053482"/>
              <a:ext cx="417058" cy="375332"/>
              <a:chOff x="5570989" y="5418077"/>
              <a:chExt cx="983407" cy="885011"/>
            </a:xfrm>
          </p:grpSpPr>
          <p:grpSp>
            <p:nvGrpSpPr>
              <p:cNvPr id="1185" name="Group 1184"/>
              <p:cNvGrpSpPr/>
              <p:nvPr/>
            </p:nvGrpSpPr>
            <p:grpSpPr>
              <a:xfrm>
                <a:off x="5570989" y="5428447"/>
                <a:ext cx="983407" cy="874641"/>
                <a:chOff x="6146016" y="7045324"/>
                <a:chExt cx="3416300" cy="3038475"/>
              </a:xfrm>
            </p:grpSpPr>
            <p:sp>
              <p:nvSpPr>
                <p:cNvPr id="1187" name="Freeform 1174"/>
                <p:cNvSpPr>
                  <a:spLocks/>
                </p:cNvSpPr>
                <p:nvPr/>
              </p:nvSpPr>
              <p:spPr bwMode="auto">
                <a:xfrm>
                  <a:off x="6146016" y="7045324"/>
                  <a:ext cx="3416300" cy="3038475"/>
                </a:xfrm>
                <a:custGeom>
                  <a:avLst/>
                  <a:gdLst>
                    <a:gd name="T0" fmla="*/ 2502 w 4304"/>
                    <a:gd name="T1" fmla="*/ 1154 h 3828"/>
                    <a:gd name="T2" fmla="*/ 2554 w 4304"/>
                    <a:gd name="T3" fmla="*/ 710 h 3828"/>
                    <a:gd name="T4" fmla="*/ 2627 w 4304"/>
                    <a:gd name="T5" fmla="*/ 443 h 3828"/>
                    <a:gd name="T6" fmla="*/ 2706 w 4304"/>
                    <a:gd name="T7" fmla="*/ 326 h 3828"/>
                    <a:gd name="T8" fmla="*/ 2825 w 4304"/>
                    <a:gd name="T9" fmla="*/ 281 h 3828"/>
                    <a:gd name="T10" fmla="*/ 2884 w 4304"/>
                    <a:gd name="T11" fmla="*/ 238 h 3828"/>
                    <a:gd name="T12" fmla="*/ 3010 w 4304"/>
                    <a:gd name="T13" fmla="*/ 117 h 3828"/>
                    <a:gd name="T14" fmla="*/ 3238 w 4304"/>
                    <a:gd name="T15" fmla="*/ 3 h 3828"/>
                    <a:gd name="T16" fmla="*/ 3343 w 4304"/>
                    <a:gd name="T17" fmla="*/ 14 h 3828"/>
                    <a:gd name="T18" fmla="*/ 3367 w 4304"/>
                    <a:gd name="T19" fmla="*/ 94 h 3828"/>
                    <a:gd name="T20" fmla="*/ 3330 w 4304"/>
                    <a:gd name="T21" fmla="*/ 237 h 3828"/>
                    <a:gd name="T22" fmla="*/ 3508 w 4304"/>
                    <a:gd name="T23" fmla="*/ 288 h 3828"/>
                    <a:gd name="T24" fmla="*/ 3612 w 4304"/>
                    <a:gd name="T25" fmla="*/ 353 h 3828"/>
                    <a:gd name="T26" fmla="*/ 3712 w 4304"/>
                    <a:gd name="T27" fmla="*/ 484 h 3828"/>
                    <a:gd name="T28" fmla="*/ 3790 w 4304"/>
                    <a:gd name="T29" fmla="*/ 652 h 3828"/>
                    <a:gd name="T30" fmla="*/ 4061 w 4304"/>
                    <a:gd name="T31" fmla="*/ 711 h 3828"/>
                    <a:gd name="T32" fmla="*/ 4209 w 4304"/>
                    <a:gd name="T33" fmla="*/ 725 h 3828"/>
                    <a:gd name="T34" fmla="*/ 4278 w 4304"/>
                    <a:gd name="T35" fmla="*/ 835 h 3828"/>
                    <a:gd name="T36" fmla="*/ 4300 w 4304"/>
                    <a:gd name="T37" fmla="*/ 999 h 3828"/>
                    <a:gd name="T38" fmla="*/ 4243 w 4304"/>
                    <a:gd name="T39" fmla="*/ 1119 h 3828"/>
                    <a:gd name="T40" fmla="*/ 4139 w 4304"/>
                    <a:gd name="T41" fmla="*/ 1209 h 3828"/>
                    <a:gd name="T42" fmla="*/ 3935 w 4304"/>
                    <a:gd name="T43" fmla="*/ 1304 h 3828"/>
                    <a:gd name="T44" fmla="*/ 3283 w 4304"/>
                    <a:gd name="T45" fmla="*/ 1776 h 3828"/>
                    <a:gd name="T46" fmla="*/ 3285 w 4304"/>
                    <a:gd name="T47" fmla="*/ 3410 h 3828"/>
                    <a:gd name="T48" fmla="*/ 3247 w 4304"/>
                    <a:gd name="T49" fmla="*/ 3660 h 3828"/>
                    <a:gd name="T50" fmla="*/ 3185 w 4304"/>
                    <a:gd name="T51" fmla="*/ 3762 h 3828"/>
                    <a:gd name="T52" fmla="*/ 3083 w 4304"/>
                    <a:gd name="T53" fmla="*/ 3818 h 3828"/>
                    <a:gd name="T54" fmla="*/ 2958 w 4304"/>
                    <a:gd name="T55" fmla="*/ 3824 h 3828"/>
                    <a:gd name="T56" fmla="*/ 2845 w 4304"/>
                    <a:gd name="T57" fmla="*/ 3786 h 3828"/>
                    <a:gd name="T58" fmla="*/ 2771 w 4304"/>
                    <a:gd name="T59" fmla="*/ 3705 h 3828"/>
                    <a:gd name="T60" fmla="*/ 2713 w 4304"/>
                    <a:gd name="T61" fmla="*/ 3496 h 3828"/>
                    <a:gd name="T62" fmla="*/ 2718 w 4304"/>
                    <a:gd name="T63" fmla="*/ 2670 h 3828"/>
                    <a:gd name="T64" fmla="*/ 1956 w 4304"/>
                    <a:gd name="T65" fmla="*/ 3083 h 3828"/>
                    <a:gd name="T66" fmla="*/ 2124 w 4304"/>
                    <a:gd name="T67" fmla="*/ 3358 h 3828"/>
                    <a:gd name="T68" fmla="*/ 2176 w 4304"/>
                    <a:gd name="T69" fmla="*/ 3551 h 3828"/>
                    <a:gd name="T70" fmla="*/ 2142 w 4304"/>
                    <a:gd name="T71" fmla="*/ 3690 h 3828"/>
                    <a:gd name="T72" fmla="*/ 2012 w 4304"/>
                    <a:gd name="T73" fmla="*/ 3804 h 3828"/>
                    <a:gd name="T74" fmla="*/ 1848 w 4304"/>
                    <a:gd name="T75" fmla="*/ 3821 h 3828"/>
                    <a:gd name="T76" fmla="*/ 1711 w 4304"/>
                    <a:gd name="T77" fmla="*/ 3748 h 3828"/>
                    <a:gd name="T78" fmla="*/ 1552 w 4304"/>
                    <a:gd name="T79" fmla="*/ 3549 h 3828"/>
                    <a:gd name="T80" fmla="*/ 1129 w 4304"/>
                    <a:gd name="T81" fmla="*/ 2844 h 3828"/>
                    <a:gd name="T82" fmla="*/ 1113 w 4304"/>
                    <a:gd name="T83" fmla="*/ 3520 h 3828"/>
                    <a:gd name="T84" fmla="*/ 1075 w 4304"/>
                    <a:gd name="T85" fmla="*/ 3717 h 3828"/>
                    <a:gd name="T86" fmla="*/ 980 w 4304"/>
                    <a:gd name="T87" fmla="*/ 3801 h 3828"/>
                    <a:gd name="T88" fmla="*/ 821 w 4304"/>
                    <a:gd name="T89" fmla="*/ 3827 h 3828"/>
                    <a:gd name="T90" fmla="*/ 670 w 4304"/>
                    <a:gd name="T91" fmla="*/ 3780 h 3828"/>
                    <a:gd name="T92" fmla="*/ 594 w 4304"/>
                    <a:gd name="T93" fmla="*/ 3669 h 3828"/>
                    <a:gd name="T94" fmla="*/ 554 w 4304"/>
                    <a:gd name="T95" fmla="*/ 3419 h 3828"/>
                    <a:gd name="T96" fmla="*/ 561 w 4304"/>
                    <a:gd name="T97" fmla="*/ 2885 h 3828"/>
                    <a:gd name="T98" fmla="*/ 502 w 4304"/>
                    <a:gd name="T99" fmla="*/ 1741 h 3828"/>
                    <a:gd name="T100" fmla="*/ 297 w 4304"/>
                    <a:gd name="T101" fmla="*/ 1638 h 3828"/>
                    <a:gd name="T102" fmla="*/ 156 w 4304"/>
                    <a:gd name="T103" fmla="*/ 1486 h 3828"/>
                    <a:gd name="T104" fmla="*/ 60 w 4304"/>
                    <a:gd name="T105" fmla="*/ 1284 h 3828"/>
                    <a:gd name="T106" fmla="*/ 1 w 4304"/>
                    <a:gd name="T107" fmla="*/ 852 h 3828"/>
                    <a:gd name="T108" fmla="*/ 73 w 4304"/>
                    <a:gd name="T109" fmla="*/ 557 h 3828"/>
                    <a:gd name="T110" fmla="*/ 203 w 4304"/>
                    <a:gd name="T111" fmla="*/ 388 h 3828"/>
                    <a:gd name="T112" fmla="*/ 310 w 4304"/>
                    <a:gd name="T113" fmla="*/ 337 h 3828"/>
                    <a:gd name="T114" fmla="*/ 341 w 4304"/>
                    <a:gd name="T115" fmla="*/ 444 h 3828"/>
                    <a:gd name="T116" fmla="*/ 412 w 4304"/>
                    <a:gd name="T117" fmla="*/ 755 h 3828"/>
                    <a:gd name="T118" fmla="*/ 614 w 4304"/>
                    <a:gd name="T119" fmla="*/ 1239 h 3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04" h="3828">
                      <a:moveTo>
                        <a:pt x="2500" y="1247"/>
                      </a:moveTo>
                      <a:lnTo>
                        <a:pt x="2500" y="1247"/>
                      </a:lnTo>
                      <a:lnTo>
                        <a:pt x="2499" y="1244"/>
                      </a:lnTo>
                      <a:lnTo>
                        <a:pt x="2497" y="1239"/>
                      </a:lnTo>
                      <a:lnTo>
                        <a:pt x="2497" y="1218"/>
                      </a:lnTo>
                      <a:lnTo>
                        <a:pt x="2499" y="1188"/>
                      </a:lnTo>
                      <a:lnTo>
                        <a:pt x="2502" y="1154"/>
                      </a:lnTo>
                      <a:lnTo>
                        <a:pt x="2513" y="1048"/>
                      </a:lnTo>
                      <a:lnTo>
                        <a:pt x="2513" y="1048"/>
                      </a:lnTo>
                      <a:lnTo>
                        <a:pt x="2523" y="947"/>
                      </a:lnTo>
                      <a:lnTo>
                        <a:pt x="2534" y="846"/>
                      </a:lnTo>
                      <a:lnTo>
                        <a:pt x="2534" y="846"/>
                      </a:lnTo>
                      <a:lnTo>
                        <a:pt x="2547" y="755"/>
                      </a:lnTo>
                      <a:lnTo>
                        <a:pt x="2554" y="710"/>
                      </a:lnTo>
                      <a:lnTo>
                        <a:pt x="2562" y="664"/>
                      </a:lnTo>
                      <a:lnTo>
                        <a:pt x="2571" y="619"/>
                      </a:lnTo>
                      <a:lnTo>
                        <a:pt x="2582" y="575"/>
                      </a:lnTo>
                      <a:lnTo>
                        <a:pt x="2595" y="532"/>
                      </a:lnTo>
                      <a:lnTo>
                        <a:pt x="2610" y="488"/>
                      </a:lnTo>
                      <a:lnTo>
                        <a:pt x="2610" y="488"/>
                      </a:lnTo>
                      <a:lnTo>
                        <a:pt x="2627" y="443"/>
                      </a:lnTo>
                      <a:lnTo>
                        <a:pt x="2637" y="422"/>
                      </a:lnTo>
                      <a:lnTo>
                        <a:pt x="2647" y="399"/>
                      </a:lnTo>
                      <a:lnTo>
                        <a:pt x="2660" y="379"/>
                      </a:lnTo>
                      <a:lnTo>
                        <a:pt x="2672" y="360"/>
                      </a:lnTo>
                      <a:lnTo>
                        <a:pt x="2688" y="341"/>
                      </a:lnTo>
                      <a:lnTo>
                        <a:pt x="2706" y="326"/>
                      </a:lnTo>
                      <a:lnTo>
                        <a:pt x="2706" y="326"/>
                      </a:lnTo>
                      <a:lnTo>
                        <a:pt x="2716" y="319"/>
                      </a:lnTo>
                      <a:lnTo>
                        <a:pt x="2727" y="313"/>
                      </a:lnTo>
                      <a:lnTo>
                        <a:pt x="2739" y="307"/>
                      </a:lnTo>
                      <a:lnTo>
                        <a:pt x="2751" y="303"/>
                      </a:lnTo>
                      <a:lnTo>
                        <a:pt x="2775" y="296"/>
                      </a:lnTo>
                      <a:lnTo>
                        <a:pt x="2801" y="289"/>
                      </a:lnTo>
                      <a:lnTo>
                        <a:pt x="2825" y="281"/>
                      </a:lnTo>
                      <a:lnTo>
                        <a:pt x="2836" y="276"/>
                      </a:lnTo>
                      <a:lnTo>
                        <a:pt x="2847" y="271"/>
                      </a:lnTo>
                      <a:lnTo>
                        <a:pt x="2857" y="265"/>
                      </a:lnTo>
                      <a:lnTo>
                        <a:pt x="2867" y="258"/>
                      </a:lnTo>
                      <a:lnTo>
                        <a:pt x="2877" y="248"/>
                      </a:lnTo>
                      <a:lnTo>
                        <a:pt x="2884" y="238"/>
                      </a:lnTo>
                      <a:lnTo>
                        <a:pt x="2884" y="238"/>
                      </a:lnTo>
                      <a:lnTo>
                        <a:pt x="2901" y="216"/>
                      </a:lnTo>
                      <a:lnTo>
                        <a:pt x="2918" y="194"/>
                      </a:lnTo>
                      <a:lnTo>
                        <a:pt x="2935" y="176"/>
                      </a:lnTo>
                      <a:lnTo>
                        <a:pt x="2953" y="159"/>
                      </a:lnTo>
                      <a:lnTo>
                        <a:pt x="2972" y="144"/>
                      </a:lnTo>
                      <a:lnTo>
                        <a:pt x="2990" y="130"/>
                      </a:lnTo>
                      <a:lnTo>
                        <a:pt x="3010" y="117"/>
                      </a:lnTo>
                      <a:lnTo>
                        <a:pt x="3031" y="106"/>
                      </a:lnTo>
                      <a:lnTo>
                        <a:pt x="3075" y="82"/>
                      </a:lnTo>
                      <a:lnTo>
                        <a:pt x="3123" y="59"/>
                      </a:lnTo>
                      <a:lnTo>
                        <a:pt x="3176" y="34"/>
                      </a:lnTo>
                      <a:lnTo>
                        <a:pt x="3233" y="4"/>
                      </a:lnTo>
                      <a:lnTo>
                        <a:pt x="3233" y="4"/>
                      </a:lnTo>
                      <a:lnTo>
                        <a:pt x="3238" y="3"/>
                      </a:lnTo>
                      <a:lnTo>
                        <a:pt x="3244" y="1"/>
                      </a:lnTo>
                      <a:lnTo>
                        <a:pt x="3260" y="0"/>
                      </a:lnTo>
                      <a:lnTo>
                        <a:pt x="3278" y="0"/>
                      </a:lnTo>
                      <a:lnTo>
                        <a:pt x="3296" y="1"/>
                      </a:lnTo>
                      <a:lnTo>
                        <a:pt x="3315" y="5"/>
                      </a:lnTo>
                      <a:lnTo>
                        <a:pt x="3331" y="8"/>
                      </a:lnTo>
                      <a:lnTo>
                        <a:pt x="3343" y="14"/>
                      </a:lnTo>
                      <a:lnTo>
                        <a:pt x="3347" y="15"/>
                      </a:lnTo>
                      <a:lnTo>
                        <a:pt x="3350" y="18"/>
                      </a:lnTo>
                      <a:lnTo>
                        <a:pt x="3350" y="18"/>
                      </a:lnTo>
                      <a:lnTo>
                        <a:pt x="3357" y="36"/>
                      </a:lnTo>
                      <a:lnTo>
                        <a:pt x="3363" y="56"/>
                      </a:lnTo>
                      <a:lnTo>
                        <a:pt x="3365" y="75"/>
                      </a:lnTo>
                      <a:lnTo>
                        <a:pt x="3367" y="94"/>
                      </a:lnTo>
                      <a:lnTo>
                        <a:pt x="3367" y="113"/>
                      </a:lnTo>
                      <a:lnTo>
                        <a:pt x="3364" y="131"/>
                      </a:lnTo>
                      <a:lnTo>
                        <a:pt x="3361" y="148"/>
                      </a:lnTo>
                      <a:lnTo>
                        <a:pt x="3358" y="165"/>
                      </a:lnTo>
                      <a:lnTo>
                        <a:pt x="3348" y="193"/>
                      </a:lnTo>
                      <a:lnTo>
                        <a:pt x="3340" y="216"/>
                      </a:lnTo>
                      <a:lnTo>
                        <a:pt x="3330" y="237"/>
                      </a:lnTo>
                      <a:lnTo>
                        <a:pt x="3330" y="237"/>
                      </a:lnTo>
                      <a:lnTo>
                        <a:pt x="3351" y="240"/>
                      </a:lnTo>
                      <a:lnTo>
                        <a:pt x="3374" y="245"/>
                      </a:lnTo>
                      <a:lnTo>
                        <a:pt x="3403" y="252"/>
                      </a:lnTo>
                      <a:lnTo>
                        <a:pt x="3436" y="261"/>
                      </a:lnTo>
                      <a:lnTo>
                        <a:pt x="3471" y="274"/>
                      </a:lnTo>
                      <a:lnTo>
                        <a:pt x="3508" y="288"/>
                      </a:lnTo>
                      <a:lnTo>
                        <a:pt x="3525" y="296"/>
                      </a:lnTo>
                      <a:lnTo>
                        <a:pt x="3542" y="305"/>
                      </a:lnTo>
                      <a:lnTo>
                        <a:pt x="3542" y="305"/>
                      </a:lnTo>
                      <a:lnTo>
                        <a:pt x="3561" y="316"/>
                      </a:lnTo>
                      <a:lnTo>
                        <a:pt x="3580" y="327"/>
                      </a:lnTo>
                      <a:lnTo>
                        <a:pt x="3597" y="340"/>
                      </a:lnTo>
                      <a:lnTo>
                        <a:pt x="3612" y="353"/>
                      </a:lnTo>
                      <a:lnTo>
                        <a:pt x="3626" y="364"/>
                      </a:lnTo>
                      <a:lnTo>
                        <a:pt x="3639" y="378"/>
                      </a:lnTo>
                      <a:lnTo>
                        <a:pt x="3652" y="391"/>
                      </a:lnTo>
                      <a:lnTo>
                        <a:pt x="3662" y="403"/>
                      </a:lnTo>
                      <a:lnTo>
                        <a:pt x="3681" y="430"/>
                      </a:lnTo>
                      <a:lnTo>
                        <a:pt x="3698" y="457"/>
                      </a:lnTo>
                      <a:lnTo>
                        <a:pt x="3712" y="484"/>
                      </a:lnTo>
                      <a:lnTo>
                        <a:pt x="3724" y="509"/>
                      </a:lnTo>
                      <a:lnTo>
                        <a:pt x="3744" y="560"/>
                      </a:lnTo>
                      <a:lnTo>
                        <a:pt x="3753" y="584"/>
                      </a:lnTo>
                      <a:lnTo>
                        <a:pt x="3762" y="605"/>
                      </a:lnTo>
                      <a:lnTo>
                        <a:pt x="3772" y="625"/>
                      </a:lnTo>
                      <a:lnTo>
                        <a:pt x="3784" y="643"/>
                      </a:lnTo>
                      <a:lnTo>
                        <a:pt x="3790" y="652"/>
                      </a:lnTo>
                      <a:lnTo>
                        <a:pt x="3797" y="659"/>
                      </a:lnTo>
                      <a:lnTo>
                        <a:pt x="3806" y="666"/>
                      </a:lnTo>
                      <a:lnTo>
                        <a:pt x="3813" y="671"/>
                      </a:lnTo>
                      <a:lnTo>
                        <a:pt x="3900" y="711"/>
                      </a:lnTo>
                      <a:lnTo>
                        <a:pt x="3900" y="711"/>
                      </a:lnTo>
                      <a:lnTo>
                        <a:pt x="3958" y="711"/>
                      </a:lnTo>
                      <a:lnTo>
                        <a:pt x="4061" y="711"/>
                      </a:lnTo>
                      <a:lnTo>
                        <a:pt x="4115" y="712"/>
                      </a:lnTo>
                      <a:lnTo>
                        <a:pt x="4161" y="714"/>
                      </a:lnTo>
                      <a:lnTo>
                        <a:pt x="4180" y="717"/>
                      </a:lnTo>
                      <a:lnTo>
                        <a:pt x="4195" y="718"/>
                      </a:lnTo>
                      <a:lnTo>
                        <a:pt x="4205" y="721"/>
                      </a:lnTo>
                      <a:lnTo>
                        <a:pt x="4208" y="722"/>
                      </a:lnTo>
                      <a:lnTo>
                        <a:pt x="4209" y="725"/>
                      </a:lnTo>
                      <a:lnTo>
                        <a:pt x="4209" y="725"/>
                      </a:lnTo>
                      <a:lnTo>
                        <a:pt x="4213" y="729"/>
                      </a:lnTo>
                      <a:lnTo>
                        <a:pt x="4225" y="745"/>
                      </a:lnTo>
                      <a:lnTo>
                        <a:pt x="4242" y="767"/>
                      </a:lnTo>
                      <a:lnTo>
                        <a:pt x="4260" y="798"/>
                      </a:lnTo>
                      <a:lnTo>
                        <a:pt x="4269" y="815"/>
                      </a:lnTo>
                      <a:lnTo>
                        <a:pt x="4278" y="835"/>
                      </a:lnTo>
                      <a:lnTo>
                        <a:pt x="4285" y="855"/>
                      </a:lnTo>
                      <a:lnTo>
                        <a:pt x="4292" y="877"/>
                      </a:lnTo>
                      <a:lnTo>
                        <a:pt x="4298" y="900"/>
                      </a:lnTo>
                      <a:lnTo>
                        <a:pt x="4302" y="924"/>
                      </a:lnTo>
                      <a:lnTo>
                        <a:pt x="4304" y="948"/>
                      </a:lnTo>
                      <a:lnTo>
                        <a:pt x="4304" y="973"/>
                      </a:lnTo>
                      <a:lnTo>
                        <a:pt x="4300" y="999"/>
                      </a:lnTo>
                      <a:lnTo>
                        <a:pt x="4294" y="1026"/>
                      </a:lnTo>
                      <a:lnTo>
                        <a:pt x="4284" y="1052"/>
                      </a:lnTo>
                      <a:lnTo>
                        <a:pt x="4278" y="1065"/>
                      </a:lnTo>
                      <a:lnTo>
                        <a:pt x="4271" y="1078"/>
                      </a:lnTo>
                      <a:lnTo>
                        <a:pt x="4263" y="1092"/>
                      </a:lnTo>
                      <a:lnTo>
                        <a:pt x="4254" y="1105"/>
                      </a:lnTo>
                      <a:lnTo>
                        <a:pt x="4243" y="1119"/>
                      </a:lnTo>
                      <a:lnTo>
                        <a:pt x="4232" y="1131"/>
                      </a:lnTo>
                      <a:lnTo>
                        <a:pt x="4221" y="1144"/>
                      </a:lnTo>
                      <a:lnTo>
                        <a:pt x="4206" y="1158"/>
                      </a:lnTo>
                      <a:lnTo>
                        <a:pt x="4191" y="1171"/>
                      </a:lnTo>
                      <a:lnTo>
                        <a:pt x="4175" y="1184"/>
                      </a:lnTo>
                      <a:lnTo>
                        <a:pt x="4158" y="1196"/>
                      </a:lnTo>
                      <a:lnTo>
                        <a:pt x="4139" y="1209"/>
                      </a:lnTo>
                      <a:lnTo>
                        <a:pt x="4119" y="1222"/>
                      </a:lnTo>
                      <a:lnTo>
                        <a:pt x="4098" y="1234"/>
                      </a:lnTo>
                      <a:lnTo>
                        <a:pt x="4074" y="1247"/>
                      </a:lnTo>
                      <a:lnTo>
                        <a:pt x="4050" y="1258"/>
                      </a:lnTo>
                      <a:lnTo>
                        <a:pt x="4023" y="1270"/>
                      </a:lnTo>
                      <a:lnTo>
                        <a:pt x="3996" y="1281"/>
                      </a:lnTo>
                      <a:lnTo>
                        <a:pt x="3935" y="1304"/>
                      </a:lnTo>
                      <a:lnTo>
                        <a:pt x="3868" y="1325"/>
                      </a:lnTo>
                      <a:lnTo>
                        <a:pt x="3794" y="1345"/>
                      </a:lnTo>
                      <a:lnTo>
                        <a:pt x="3712" y="1363"/>
                      </a:lnTo>
                      <a:lnTo>
                        <a:pt x="3557" y="1400"/>
                      </a:lnTo>
                      <a:lnTo>
                        <a:pt x="3350" y="1582"/>
                      </a:lnTo>
                      <a:lnTo>
                        <a:pt x="3283" y="1776"/>
                      </a:lnTo>
                      <a:lnTo>
                        <a:pt x="3283" y="1776"/>
                      </a:lnTo>
                      <a:lnTo>
                        <a:pt x="3285" y="1991"/>
                      </a:lnTo>
                      <a:lnTo>
                        <a:pt x="3288" y="2485"/>
                      </a:lnTo>
                      <a:lnTo>
                        <a:pt x="3289" y="2767"/>
                      </a:lnTo>
                      <a:lnTo>
                        <a:pt x="3289" y="3032"/>
                      </a:lnTo>
                      <a:lnTo>
                        <a:pt x="3288" y="3257"/>
                      </a:lnTo>
                      <a:lnTo>
                        <a:pt x="3286" y="3344"/>
                      </a:lnTo>
                      <a:lnTo>
                        <a:pt x="3285" y="3410"/>
                      </a:lnTo>
                      <a:lnTo>
                        <a:pt x="3285" y="3410"/>
                      </a:lnTo>
                      <a:lnTo>
                        <a:pt x="3283" y="3457"/>
                      </a:lnTo>
                      <a:lnTo>
                        <a:pt x="3279" y="3502"/>
                      </a:lnTo>
                      <a:lnTo>
                        <a:pt x="3274" y="3544"/>
                      </a:lnTo>
                      <a:lnTo>
                        <a:pt x="3267" y="3585"/>
                      </a:lnTo>
                      <a:lnTo>
                        <a:pt x="3258" y="3623"/>
                      </a:lnTo>
                      <a:lnTo>
                        <a:pt x="3247" y="3660"/>
                      </a:lnTo>
                      <a:lnTo>
                        <a:pt x="3240" y="3677"/>
                      </a:lnTo>
                      <a:lnTo>
                        <a:pt x="3233" y="3693"/>
                      </a:lnTo>
                      <a:lnTo>
                        <a:pt x="3224" y="3708"/>
                      </a:lnTo>
                      <a:lnTo>
                        <a:pt x="3216" y="3722"/>
                      </a:lnTo>
                      <a:lnTo>
                        <a:pt x="3206" y="3736"/>
                      </a:lnTo>
                      <a:lnTo>
                        <a:pt x="3196" y="3749"/>
                      </a:lnTo>
                      <a:lnTo>
                        <a:pt x="3185" y="3762"/>
                      </a:lnTo>
                      <a:lnTo>
                        <a:pt x="3173" y="3773"/>
                      </a:lnTo>
                      <a:lnTo>
                        <a:pt x="3161" y="3783"/>
                      </a:lnTo>
                      <a:lnTo>
                        <a:pt x="3147" y="3791"/>
                      </a:lnTo>
                      <a:lnTo>
                        <a:pt x="3133" y="3800"/>
                      </a:lnTo>
                      <a:lnTo>
                        <a:pt x="3117" y="3807"/>
                      </a:lnTo>
                      <a:lnTo>
                        <a:pt x="3101" y="3814"/>
                      </a:lnTo>
                      <a:lnTo>
                        <a:pt x="3083" y="3818"/>
                      </a:lnTo>
                      <a:lnTo>
                        <a:pt x="3065" y="3822"/>
                      </a:lnTo>
                      <a:lnTo>
                        <a:pt x="3046" y="3825"/>
                      </a:lnTo>
                      <a:lnTo>
                        <a:pt x="3025" y="3827"/>
                      </a:lnTo>
                      <a:lnTo>
                        <a:pt x="3004" y="3827"/>
                      </a:lnTo>
                      <a:lnTo>
                        <a:pt x="2982" y="3825"/>
                      </a:lnTo>
                      <a:lnTo>
                        <a:pt x="2958" y="3824"/>
                      </a:lnTo>
                      <a:lnTo>
                        <a:pt x="2958" y="3824"/>
                      </a:lnTo>
                      <a:lnTo>
                        <a:pt x="2938" y="3821"/>
                      </a:lnTo>
                      <a:lnTo>
                        <a:pt x="2921" y="3817"/>
                      </a:lnTo>
                      <a:lnTo>
                        <a:pt x="2904" y="3812"/>
                      </a:lnTo>
                      <a:lnTo>
                        <a:pt x="2887" y="3807"/>
                      </a:lnTo>
                      <a:lnTo>
                        <a:pt x="2871" y="3801"/>
                      </a:lnTo>
                      <a:lnTo>
                        <a:pt x="2857" y="3794"/>
                      </a:lnTo>
                      <a:lnTo>
                        <a:pt x="2845" y="3786"/>
                      </a:lnTo>
                      <a:lnTo>
                        <a:pt x="2832" y="3776"/>
                      </a:lnTo>
                      <a:lnTo>
                        <a:pt x="2819" y="3766"/>
                      </a:lnTo>
                      <a:lnTo>
                        <a:pt x="2808" y="3756"/>
                      </a:lnTo>
                      <a:lnTo>
                        <a:pt x="2798" y="3745"/>
                      </a:lnTo>
                      <a:lnTo>
                        <a:pt x="2788" y="3732"/>
                      </a:lnTo>
                      <a:lnTo>
                        <a:pt x="2778" y="3719"/>
                      </a:lnTo>
                      <a:lnTo>
                        <a:pt x="2771" y="3705"/>
                      </a:lnTo>
                      <a:lnTo>
                        <a:pt x="2763" y="3691"/>
                      </a:lnTo>
                      <a:lnTo>
                        <a:pt x="2756" y="3677"/>
                      </a:lnTo>
                      <a:lnTo>
                        <a:pt x="2743" y="3645"/>
                      </a:lnTo>
                      <a:lnTo>
                        <a:pt x="2733" y="3611"/>
                      </a:lnTo>
                      <a:lnTo>
                        <a:pt x="2725" y="3574"/>
                      </a:lnTo>
                      <a:lnTo>
                        <a:pt x="2719" y="3536"/>
                      </a:lnTo>
                      <a:lnTo>
                        <a:pt x="2713" y="3496"/>
                      </a:lnTo>
                      <a:lnTo>
                        <a:pt x="2711" y="3454"/>
                      </a:lnTo>
                      <a:lnTo>
                        <a:pt x="2709" y="3410"/>
                      </a:lnTo>
                      <a:lnTo>
                        <a:pt x="2708" y="3367"/>
                      </a:lnTo>
                      <a:lnTo>
                        <a:pt x="2708" y="3367"/>
                      </a:lnTo>
                      <a:lnTo>
                        <a:pt x="2709" y="3163"/>
                      </a:lnTo>
                      <a:lnTo>
                        <a:pt x="2713" y="2935"/>
                      </a:lnTo>
                      <a:lnTo>
                        <a:pt x="2718" y="2670"/>
                      </a:lnTo>
                      <a:lnTo>
                        <a:pt x="1716" y="2648"/>
                      </a:lnTo>
                      <a:lnTo>
                        <a:pt x="1716" y="2648"/>
                      </a:lnTo>
                      <a:lnTo>
                        <a:pt x="1738" y="2691"/>
                      </a:lnTo>
                      <a:lnTo>
                        <a:pt x="1796" y="2799"/>
                      </a:lnTo>
                      <a:lnTo>
                        <a:pt x="1874" y="2940"/>
                      </a:lnTo>
                      <a:lnTo>
                        <a:pt x="1915" y="3014"/>
                      </a:lnTo>
                      <a:lnTo>
                        <a:pt x="1956" y="3083"/>
                      </a:lnTo>
                      <a:lnTo>
                        <a:pt x="1956" y="3083"/>
                      </a:lnTo>
                      <a:lnTo>
                        <a:pt x="1992" y="3142"/>
                      </a:lnTo>
                      <a:lnTo>
                        <a:pt x="2032" y="3203"/>
                      </a:lnTo>
                      <a:lnTo>
                        <a:pt x="2070" y="3264"/>
                      </a:lnTo>
                      <a:lnTo>
                        <a:pt x="2090" y="3295"/>
                      </a:lnTo>
                      <a:lnTo>
                        <a:pt x="2107" y="3327"/>
                      </a:lnTo>
                      <a:lnTo>
                        <a:pt x="2124" y="3358"/>
                      </a:lnTo>
                      <a:lnTo>
                        <a:pt x="2138" y="3389"/>
                      </a:lnTo>
                      <a:lnTo>
                        <a:pt x="2150" y="3422"/>
                      </a:lnTo>
                      <a:lnTo>
                        <a:pt x="2162" y="3454"/>
                      </a:lnTo>
                      <a:lnTo>
                        <a:pt x="2169" y="3487"/>
                      </a:lnTo>
                      <a:lnTo>
                        <a:pt x="2174" y="3519"/>
                      </a:lnTo>
                      <a:lnTo>
                        <a:pt x="2174" y="3534"/>
                      </a:lnTo>
                      <a:lnTo>
                        <a:pt x="2176" y="3551"/>
                      </a:lnTo>
                      <a:lnTo>
                        <a:pt x="2174" y="3568"/>
                      </a:lnTo>
                      <a:lnTo>
                        <a:pt x="2173" y="3584"/>
                      </a:lnTo>
                      <a:lnTo>
                        <a:pt x="2173" y="3584"/>
                      </a:lnTo>
                      <a:lnTo>
                        <a:pt x="2169" y="3614"/>
                      </a:lnTo>
                      <a:lnTo>
                        <a:pt x="2162" y="3640"/>
                      </a:lnTo>
                      <a:lnTo>
                        <a:pt x="2153" y="3666"/>
                      </a:lnTo>
                      <a:lnTo>
                        <a:pt x="2142" y="3690"/>
                      </a:lnTo>
                      <a:lnTo>
                        <a:pt x="2129" y="3711"/>
                      </a:lnTo>
                      <a:lnTo>
                        <a:pt x="2114" y="3731"/>
                      </a:lnTo>
                      <a:lnTo>
                        <a:pt x="2097" y="3749"/>
                      </a:lnTo>
                      <a:lnTo>
                        <a:pt x="2078" y="3766"/>
                      </a:lnTo>
                      <a:lnTo>
                        <a:pt x="2059" y="3781"/>
                      </a:lnTo>
                      <a:lnTo>
                        <a:pt x="2036" y="3793"/>
                      </a:lnTo>
                      <a:lnTo>
                        <a:pt x="2012" y="3804"/>
                      </a:lnTo>
                      <a:lnTo>
                        <a:pt x="1987" y="3812"/>
                      </a:lnTo>
                      <a:lnTo>
                        <a:pt x="1960" y="3818"/>
                      </a:lnTo>
                      <a:lnTo>
                        <a:pt x="1930" y="3822"/>
                      </a:lnTo>
                      <a:lnTo>
                        <a:pt x="1901" y="3824"/>
                      </a:lnTo>
                      <a:lnTo>
                        <a:pt x="1868" y="3824"/>
                      </a:lnTo>
                      <a:lnTo>
                        <a:pt x="1868" y="3824"/>
                      </a:lnTo>
                      <a:lnTo>
                        <a:pt x="1848" y="3821"/>
                      </a:lnTo>
                      <a:lnTo>
                        <a:pt x="1827" y="3817"/>
                      </a:lnTo>
                      <a:lnTo>
                        <a:pt x="1807" y="3810"/>
                      </a:lnTo>
                      <a:lnTo>
                        <a:pt x="1788" y="3801"/>
                      </a:lnTo>
                      <a:lnTo>
                        <a:pt x="1768" y="3790"/>
                      </a:lnTo>
                      <a:lnTo>
                        <a:pt x="1748" y="3777"/>
                      </a:lnTo>
                      <a:lnTo>
                        <a:pt x="1730" y="3763"/>
                      </a:lnTo>
                      <a:lnTo>
                        <a:pt x="1711" y="3748"/>
                      </a:lnTo>
                      <a:lnTo>
                        <a:pt x="1693" y="3731"/>
                      </a:lnTo>
                      <a:lnTo>
                        <a:pt x="1675" y="3712"/>
                      </a:lnTo>
                      <a:lnTo>
                        <a:pt x="1658" y="3694"/>
                      </a:lnTo>
                      <a:lnTo>
                        <a:pt x="1641" y="3674"/>
                      </a:lnTo>
                      <a:lnTo>
                        <a:pt x="1608" y="3633"/>
                      </a:lnTo>
                      <a:lnTo>
                        <a:pt x="1579" y="3591"/>
                      </a:lnTo>
                      <a:lnTo>
                        <a:pt x="1552" y="3549"/>
                      </a:lnTo>
                      <a:lnTo>
                        <a:pt x="1528" y="3508"/>
                      </a:lnTo>
                      <a:lnTo>
                        <a:pt x="1507" y="3470"/>
                      </a:lnTo>
                      <a:lnTo>
                        <a:pt x="1488" y="3436"/>
                      </a:lnTo>
                      <a:lnTo>
                        <a:pt x="1463" y="3386"/>
                      </a:lnTo>
                      <a:lnTo>
                        <a:pt x="1455" y="3367"/>
                      </a:lnTo>
                      <a:lnTo>
                        <a:pt x="1129" y="2844"/>
                      </a:lnTo>
                      <a:lnTo>
                        <a:pt x="1129" y="2844"/>
                      </a:lnTo>
                      <a:lnTo>
                        <a:pt x="1120" y="3055"/>
                      </a:lnTo>
                      <a:lnTo>
                        <a:pt x="1116" y="3238"/>
                      </a:lnTo>
                      <a:lnTo>
                        <a:pt x="1115" y="3327"/>
                      </a:lnTo>
                      <a:lnTo>
                        <a:pt x="1115" y="3403"/>
                      </a:lnTo>
                      <a:lnTo>
                        <a:pt x="1115" y="3403"/>
                      </a:lnTo>
                      <a:lnTo>
                        <a:pt x="1115" y="3463"/>
                      </a:lnTo>
                      <a:lnTo>
                        <a:pt x="1113" y="3520"/>
                      </a:lnTo>
                      <a:lnTo>
                        <a:pt x="1110" y="3575"/>
                      </a:lnTo>
                      <a:lnTo>
                        <a:pt x="1107" y="3602"/>
                      </a:lnTo>
                      <a:lnTo>
                        <a:pt x="1103" y="3628"/>
                      </a:lnTo>
                      <a:lnTo>
                        <a:pt x="1099" y="3652"/>
                      </a:lnTo>
                      <a:lnTo>
                        <a:pt x="1092" y="3674"/>
                      </a:lnTo>
                      <a:lnTo>
                        <a:pt x="1085" y="3697"/>
                      </a:lnTo>
                      <a:lnTo>
                        <a:pt x="1075" y="3717"/>
                      </a:lnTo>
                      <a:lnTo>
                        <a:pt x="1064" y="3735"/>
                      </a:lnTo>
                      <a:lnTo>
                        <a:pt x="1051" y="3752"/>
                      </a:lnTo>
                      <a:lnTo>
                        <a:pt x="1035" y="3767"/>
                      </a:lnTo>
                      <a:lnTo>
                        <a:pt x="1019" y="3780"/>
                      </a:lnTo>
                      <a:lnTo>
                        <a:pt x="1019" y="3780"/>
                      </a:lnTo>
                      <a:lnTo>
                        <a:pt x="1000" y="3791"/>
                      </a:lnTo>
                      <a:lnTo>
                        <a:pt x="980" y="3801"/>
                      </a:lnTo>
                      <a:lnTo>
                        <a:pt x="959" y="3810"/>
                      </a:lnTo>
                      <a:lnTo>
                        <a:pt x="938" y="3815"/>
                      </a:lnTo>
                      <a:lnTo>
                        <a:pt x="914" y="3821"/>
                      </a:lnTo>
                      <a:lnTo>
                        <a:pt x="892" y="3824"/>
                      </a:lnTo>
                      <a:lnTo>
                        <a:pt x="868" y="3827"/>
                      </a:lnTo>
                      <a:lnTo>
                        <a:pt x="844" y="3828"/>
                      </a:lnTo>
                      <a:lnTo>
                        <a:pt x="821" y="3827"/>
                      </a:lnTo>
                      <a:lnTo>
                        <a:pt x="797" y="3824"/>
                      </a:lnTo>
                      <a:lnTo>
                        <a:pt x="774" y="3821"/>
                      </a:lnTo>
                      <a:lnTo>
                        <a:pt x="752" y="3815"/>
                      </a:lnTo>
                      <a:lnTo>
                        <a:pt x="729" y="3808"/>
                      </a:lnTo>
                      <a:lnTo>
                        <a:pt x="708" y="3801"/>
                      </a:lnTo>
                      <a:lnTo>
                        <a:pt x="688" y="3791"/>
                      </a:lnTo>
                      <a:lnTo>
                        <a:pt x="670" y="3780"/>
                      </a:lnTo>
                      <a:lnTo>
                        <a:pt x="670" y="3780"/>
                      </a:lnTo>
                      <a:lnTo>
                        <a:pt x="654" y="3767"/>
                      </a:lnTo>
                      <a:lnTo>
                        <a:pt x="639" y="3752"/>
                      </a:lnTo>
                      <a:lnTo>
                        <a:pt x="626" y="3735"/>
                      </a:lnTo>
                      <a:lnTo>
                        <a:pt x="614" y="3715"/>
                      </a:lnTo>
                      <a:lnTo>
                        <a:pt x="604" y="3693"/>
                      </a:lnTo>
                      <a:lnTo>
                        <a:pt x="594" y="3669"/>
                      </a:lnTo>
                      <a:lnTo>
                        <a:pt x="585" y="3643"/>
                      </a:lnTo>
                      <a:lnTo>
                        <a:pt x="578" y="3615"/>
                      </a:lnTo>
                      <a:lnTo>
                        <a:pt x="571" y="3587"/>
                      </a:lnTo>
                      <a:lnTo>
                        <a:pt x="567" y="3556"/>
                      </a:lnTo>
                      <a:lnTo>
                        <a:pt x="563" y="3523"/>
                      </a:lnTo>
                      <a:lnTo>
                        <a:pt x="559" y="3489"/>
                      </a:lnTo>
                      <a:lnTo>
                        <a:pt x="554" y="3419"/>
                      </a:lnTo>
                      <a:lnTo>
                        <a:pt x="551" y="3344"/>
                      </a:lnTo>
                      <a:lnTo>
                        <a:pt x="551" y="3344"/>
                      </a:lnTo>
                      <a:lnTo>
                        <a:pt x="551" y="3281"/>
                      </a:lnTo>
                      <a:lnTo>
                        <a:pt x="553" y="3216"/>
                      </a:lnTo>
                      <a:lnTo>
                        <a:pt x="556" y="3083"/>
                      </a:lnTo>
                      <a:lnTo>
                        <a:pt x="560" y="2950"/>
                      </a:lnTo>
                      <a:lnTo>
                        <a:pt x="561" y="2885"/>
                      </a:lnTo>
                      <a:lnTo>
                        <a:pt x="561" y="2822"/>
                      </a:lnTo>
                      <a:lnTo>
                        <a:pt x="561" y="2822"/>
                      </a:lnTo>
                      <a:lnTo>
                        <a:pt x="561" y="1755"/>
                      </a:lnTo>
                      <a:lnTo>
                        <a:pt x="561" y="1755"/>
                      </a:lnTo>
                      <a:lnTo>
                        <a:pt x="546" y="1752"/>
                      </a:lnTo>
                      <a:lnTo>
                        <a:pt x="527" y="1748"/>
                      </a:lnTo>
                      <a:lnTo>
                        <a:pt x="502" y="1741"/>
                      </a:lnTo>
                      <a:lnTo>
                        <a:pt x="472" y="1733"/>
                      </a:lnTo>
                      <a:lnTo>
                        <a:pt x="437" y="1718"/>
                      </a:lnTo>
                      <a:lnTo>
                        <a:pt x="400" y="1702"/>
                      </a:lnTo>
                      <a:lnTo>
                        <a:pt x="361" y="1680"/>
                      </a:lnTo>
                      <a:lnTo>
                        <a:pt x="340" y="1668"/>
                      </a:lnTo>
                      <a:lnTo>
                        <a:pt x="319" y="1654"/>
                      </a:lnTo>
                      <a:lnTo>
                        <a:pt x="297" y="1638"/>
                      </a:lnTo>
                      <a:lnTo>
                        <a:pt x="276" y="1621"/>
                      </a:lnTo>
                      <a:lnTo>
                        <a:pt x="257" y="1603"/>
                      </a:lnTo>
                      <a:lnTo>
                        <a:pt x="235" y="1583"/>
                      </a:lnTo>
                      <a:lnTo>
                        <a:pt x="214" y="1560"/>
                      </a:lnTo>
                      <a:lnTo>
                        <a:pt x="194" y="1538"/>
                      </a:lnTo>
                      <a:lnTo>
                        <a:pt x="175" y="1512"/>
                      </a:lnTo>
                      <a:lnTo>
                        <a:pt x="156" y="1486"/>
                      </a:lnTo>
                      <a:lnTo>
                        <a:pt x="138" y="1457"/>
                      </a:lnTo>
                      <a:lnTo>
                        <a:pt x="120" y="1426"/>
                      </a:lnTo>
                      <a:lnTo>
                        <a:pt x="104" y="1394"/>
                      </a:lnTo>
                      <a:lnTo>
                        <a:pt x="89" y="1359"/>
                      </a:lnTo>
                      <a:lnTo>
                        <a:pt x="74" y="1322"/>
                      </a:lnTo>
                      <a:lnTo>
                        <a:pt x="60" y="1284"/>
                      </a:lnTo>
                      <a:lnTo>
                        <a:pt x="60" y="1284"/>
                      </a:lnTo>
                      <a:lnTo>
                        <a:pt x="41" y="1213"/>
                      </a:lnTo>
                      <a:lnTo>
                        <a:pt x="25" y="1146"/>
                      </a:lnTo>
                      <a:lnTo>
                        <a:pt x="14" y="1082"/>
                      </a:lnTo>
                      <a:lnTo>
                        <a:pt x="5" y="1020"/>
                      </a:lnTo>
                      <a:lnTo>
                        <a:pt x="1" y="962"/>
                      </a:lnTo>
                      <a:lnTo>
                        <a:pt x="0" y="906"/>
                      </a:lnTo>
                      <a:lnTo>
                        <a:pt x="1" y="852"/>
                      </a:lnTo>
                      <a:lnTo>
                        <a:pt x="4" y="803"/>
                      </a:lnTo>
                      <a:lnTo>
                        <a:pt x="11" y="755"/>
                      </a:lnTo>
                      <a:lnTo>
                        <a:pt x="19" y="710"/>
                      </a:lnTo>
                      <a:lnTo>
                        <a:pt x="31" y="667"/>
                      </a:lnTo>
                      <a:lnTo>
                        <a:pt x="43" y="628"/>
                      </a:lnTo>
                      <a:lnTo>
                        <a:pt x="58" y="591"/>
                      </a:lnTo>
                      <a:lnTo>
                        <a:pt x="73" y="557"/>
                      </a:lnTo>
                      <a:lnTo>
                        <a:pt x="90" y="525"/>
                      </a:lnTo>
                      <a:lnTo>
                        <a:pt x="108" y="496"/>
                      </a:lnTo>
                      <a:lnTo>
                        <a:pt x="127" y="470"/>
                      </a:lnTo>
                      <a:lnTo>
                        <a:pt x="145" y="446"/>
                      </a:lnTo>
                      <a:lnTo>
                        <a:pt x="165" y="423"/>
                      </a:lnTo>
                      <a:lnTo>
                        <a:pt x="183" y="405"/>
                      </a:lnTo>
                      <a:lnTo>
                        <a:pt x="203" y="388"/>
                      </a:lnTo>
                      <a:lnTo>
                        <a:pt x="221" y="374"/>
                      </a:lnTo>
                      <a:lnTo>
                        <a:pt x="238" y="361"/>
                      </a:lnTo>
                      <a:lnTo>
                        <a:pt x="257" y="351"/>
                      </a:lnTo>
                      <a:lnTo>
                        <a:pt x="272" y="344"/>
                      </a:lnTo>
                      <a:lnTo>
                        <a:pt x="286" y="340"/>
                      </a:lnTo>
                      <a:lnTo>
                        <a:pt x="299" y="337"/>
                      </a:lnTo>
                      <a:lnTo>
                        <a:pt x="310" y="337"/>
                      </a:lnTo>
                      <a:lnTo>
                        <a:pt x="320" y="338"/>
                      </a:lnTo>
                      <a:lnTo>
                        <a:pt x="327" y="343"/>
                      </a:lnTo>
                      <a:lnTo>
                        <a:pt x="331" y="348"/>
                      </a:lnTo>
                      <a:lnTo>
                        <a:pt x="333" y="357"/>
                      </a:lnTo>
                      <a:lnTo>
                        <a:pt x="333" y="357"/>
                      </a:lnTo>
                      <a:lnTo>
                        <a:pt x="336" y="401"/>
                      </a:lnTo>
                      <a:lnTo>
                        <a:pt x="341" y="444"/>
                      </a:lnTo>
                      <a:lnTo>
                        <a:pt x="347" y="488"/>
                      </a:lnTo>
                      <a:lnTo>
                        <a:pt x="355" y="532"/>
                      </a:lnTo>
                      <a:lnTo>
                        <a:pt x="364" y="577"/>
                      </a:lnTo>
                      <a:lnTo>
                        <a:pt x="375" y="622"/>
                      </a:lnTo>
                      <a:lnTo>
                        <a:pt x="386" y="666"/>
                      </a:lnTo>
                      <a:lnTo>
                        <a:pt x="399" y="711"/>
                      </a:lnTo>
                      <a:lnTo>
                        <a:pt x="412" y="755"/>
                      </a:lnTo>
                      <a:lnTo>
                        <a:pt x="426" y="798"/>
                      </a:lnTo>
                      <a:lnTo>
                        <a:pt x="457" y="883"/>
                      </a:lnTo>
                      <a:lnTo>
                        <a:pt x="488" y="965"/>
                      </a:lnTo>
                      <a:lnTo>
                        <a:pt x="520" y="1043"/>
                      </a:lnTo>
                      <a:lnTo>
                        <a:pt x="553" y="1115"/>
                      </a:lnTo>
                      <a:lnTo>
                        <a:pt x="584" y="1181"/>
                      </a:lnTo>
                      <a:lnTo>
                        <a:pt x="614" y="1239"/>
                      </a:lnTo>
                      <a:lnTo>
                        <a:pt x="639" y="1288"/>
                      </a:lnTo>
                      <a:lnTo>
                        <a:pt x="678" y="1360"/>
                      </a:lnTo>
                      <a:lnTo>
                        <a:pt x="693" y="1385"/>
                      </a:lnTo>
                      <a:lnTo>
                        <a:pt x="2392" y="1385"/>
                      </a:lnTo>
                      <a:lnTo>
                        <a:pt x="2500" y="1247"/>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88" name="Freeform 1182"/>
                <p:cNvSpPr>
                  <a:spLocks/>
                </p:cNvSpPr>
                <p:nvPr/>
              </p:nvSpPr>
              <p:spPr bwMode="auto">
                <a:xfrm>
                  <a:off x="6671479" y="7935912"/>
                  <a:ext cx="2201863" cy="1154113"/>
                </a:xfrm>
                <a:custGeom>
                  <a:avLst/>
                  <a:gdLst>
                    <a:gd name="T0" fmla="*/ 559 w 2773"/>
                    <a:gd name="T1" fmla="*/ 1454 h 1454"/>
                    <a:gd name="T2" fmla="*/ 559 w 2773"/>
                    <a:gd name="T3" fmla="*/ 1454 h 1454"/>
                    <a:gd name="T4" fmla="*/ 533 w 2773"/>
                    <a:gd name="T5" fmla="*/ 1436 h 1454"/>
                    <a:gd name="T6" fmla="*/ 509 w 2773"/>
                    <a:gd name="T7" fmla="*/ 1416 h 1454"/>
                    <a:gd name="T8" fmla="*/ 485 w 2773"/>
                    <a:gd name="T9" fmla="*/ 1395 h 1454"/>
                    <a:gd name="T10" fmla="*/ 463 w 2773"/>
                    <a:gd name="T11" fmla="*/ 1370 h 1454"/>
                    <a:gd name="T12" fmla="*/ 442 w 2773"/>
                    <a:gd name="T13" fmla="*/ 1343 h 1454"/>
                    <a:gd name="T14" fmla="*/ 420 w 2773"/>
                    <a:gd name="T15" fmla="*/ 1315 h 1454"/>
                    <a:gd name="T16" fmla="*/ 399 w 2773"/>
                    <a:gd name="T17" fmla="*/ 1285 h 1454"/>
                    <a:gd name="T18" fmla="*/ 380 w 2773"/>
                    <a:gd name="T19" fmla="*/ 1253 h 1454"/>
                    <a:gd name="T20" fmla="*/ 361 w 2773"/>
                    <a:gd name="T21" fmla="*/ 1220 h 1454"/>
                    <a:gd name="T22" fmla="*/ 343 w 2773"/>
                    <a:gd name="T23" fmla="*/ 1185 h 1454"/>
                    <a:gd name="T24" fmla="*/ 325 w 2773"/>
                    <a:gd name="T25" fmla="*/ 1150 h 1454"/>
                    <a:gd name="T26" fmla="*/ 308 w 2773"/>
                    <a:gd name="T27" fmla="*/ 1111 h 1454"/>
                    <a:gd name="T28" fmla="*/ 291 w 2773"/>
                    <a:gd name="T29" fmla="*/ 1073 h 1454"/>
                    <a:gd name="T30" fmla="*/ 274 w 2773"/>
                    <a:gd name="T31" fmla="*/ 1034 h 1454"/>
                    <a:gd name="T32" fmla="*/ 243 w 2773"/>
                    <a:gd name="T33" fmla="*/ 952 h 1454"/>
                    <a:gd name="T34" fmla="*/ 213 w 2773"/>
                    <a:gd name="T35" fmla="*/ 869 h 1454"/>
                    <a:gd name="T36" fmla="*/ 186 w 2773"/>
                    <a:gd name="T37" fmla="*/ 784 h 1454"/>
                    <a:gd name="T38" fmla="*/ 159 w 2773"/>
                    <a:gd name="T39" fmla="*/ 698 h 1454"/>
                    <a:gd name="T40" fmla="*/ 134 w 2773"/>
                    <a:gd name="T41" fmla="*/ 613 h 1454"/>
                    <a:gd name="T42" fmla="*/ 87 w 2773"/>
                    <a:gd name="T43" fmla="*/ 447 h 1454"/>
                    <a:gd name="T44" fmla="*/ 65 w 2773"/>
                    <a:gd name="T45" fmla="*/ 369 h 1454"/>
                    <a:gd name="T46" fmla="*/ 42 w 2773"/>
                    <a:gd name="T47" fmla="*/ 294 h 1454"/>
                    <a:gd name="T48" fmla="*/ 0 w 2773"/>
                    <a:gd name="T49" fmla="*/ 155 h 1454"/>
                    <a:gd name="T50" fmla="*/ 1675 w 2773"/>
                    <a:gd name="T51" fmla="*/ 155 h 1454"/>
                    <a:gd name="T52" fmla="*/ 1726 w 2773"/>
                    <a:gd name="T53" fmla="*/ 90 h 1454"/>
                    <a:gd name="T54" fmla="*/ 1726 w 2773"/>
                    <a:gd name="T55" fmla="*/ 90 h 1454"/>
                    <a:gd name="T56" fmla="*/ 1729 w 2773"/>
                    <a:gd name="T57" fmla="*/ 52 h 1454"/>
                    <a:gd name="T58" fmla="*/ 1808 w 2773"/>
                    <a:gd name="T59" fmla="*/ 0 h 1454"/>
                    <a:gd name="T60" fmla="*/ 2773 w 2773"/>
                    <a:gd name="T61" fmla="*/ 543 h 1454"/>
                    <a:gd name="T62" fmla="*/ 2729 w 2773"/>
                    <a:gd name="T63" fmla="*/ 673 h 1454"/>
                    <a:gd name="T64" fmla="*/ 2729 w 2773"/>
                    <a:gd name="T65" fmla="*/ 673 h 1454"/>
                    <a:gd name="T66" fmla="*/ 2728 w 2773"/>
                    <a:gd name="T67" fmla="*/ 708 h 1454"/>
                    <a:gd name="T68" fmla="*/ 2724 w 2773"/>
                    <a:gd name="T69" fmla="*/ 757 h 1454"/>
                    <a:gd name="T70" fmla="*/ 2709 w 2773"/>
                    <a:gd name="T71" fmla="*/ 894 h 1454"/>
                    <a:gd name="T72" fmla="*/ 2702 w 2773"/>
                    <a:gd name="T73" fmla="*/ 982 h 1454"/>
                    <a:gd name="T74" fmla="*/ 2697 w 2773"/>
                    <a:gd name="T75" fmla="*/ 1078 h 1454"/>
                    <a:gd name="T76" fmla="*/ 2691 w 2773"/>
                    <a:gd name="T77" fmla="*/ 1183 h 1454"/>
                    <a:gd name="T78" fmla="*/ 2691 w 2773"/>
                    <a:gd name="T79" fmla="*/ 1238 h 1454"/>
                    <a:gd name="T80" fmla="*/ 2691 w 2773"/>
                    <a:gd name="T81" fmla="*/ 1296 h 1454"/>
                    <a:gd name="T82" fmla="*/ 2691 w 2773"/>
                    <a:gd name="T83" fmla="*/ 1450 h 1454"/>
                    <a:gd name="T84" fmla="*/ 2015 w 2773"/>
                    <a:gd name="T85" fmla="*/ 1450 h 1454"/>
                    <a:gd name="T86" fmla="*/ 697 w 2773"/>
                    <a:gd name="T87" fmla="*/ 1452 h 1454"/>
                    <a:gd name="T88" fmla="*/ 559 w 2773"/>
                    <a:gd name="T89" fmla="*/ 1454 h 1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3" h="1454">
                      <a:moveTo>
                        <a:pt x="559" y="1454"/>
                      </a:moveTo>
                      <a:lnTo>
                        <a:pt x="559" y="1454"/>
                      </a:lnTo>
                      <a:lnTo>
                        <a:pt x="533" y="1436"/>
                      </a:lnTo>
                      <a:lnTo>
                        <a:pt x="509" y="1416"/>
                      </a:lnTo>
                      <a:lnTo>
                        <a:pt x="485" y="1395"/>
                      </a:lnTo>
                      <a:lnTo>
                        <a:pt x="463" y="1370"/>
                      </a:lnTo>
                      <a:lnTo>
                        <a:pt x="442" y="1343"/>
                      </a:lnTo>
                      <a:lnTo>
                        <a:pt x="420" y="1315"/>
                      </a:lnTo>
                      <a:lnTo>
                        <a:pt x="399" y="1285"/>
                      </a:lnTo>
                      <a:lnTo>
                        <a:pt x="380" y="1253"/>
                      </a:lnTo>
                      <a:lnTo>
                        <a:pt x="361" y="1220"/>
                      </a:lnTo>
                      <a:lnTo>
                        <a:pt x="343" y="1185"/>
                      </a:lnTo>
                      <a:lnTo>
                        <a:pt x="325" y="1150"/>
                      </a:lnTo>
                      <a:lnTo>
                        <a:pt x="308" y="1111"/>
                      </a:lnTo>
                      <a:lnTo>
                        <a:pt x="291" y="1073"/>
                      </a:lnTo>
                      <a:lnTo>
                        <a:pt x="274" y="1034"/>
                      </a:lnTo>
                      <a:lnTo>
                        <a:pt x="243" y="952"/>
                      </a:lnTo>
                      <a:lnTo>
                        <a:pt x="213" y="869"/>
                      </a:lnTo>
                      <a:lnTo>
                        <a:pt x="186" y="784"/>
                      </a:lnTo>
                      <a:lnTo>
                        <a:pt x="159" y="698"/>
                      </a:lnTo>
                      <a:lnTo>
                        <a:pt x="134" y="613"/>
                      </a:lnTo>
                      <a:lnTo>
                        <a:pt x="87" y="447"/>
                      </a:lnTo>
                      <a:lnTo>
                        <a:pt x="65" y="369"/>
                      </a:lnTo>
                      <a:lnTo>
                        <a:pt x="42" y="294"/>
                      </a:lnTo>
                      <a:lnTo>
                        <a:pt x="0" y="155"/>
                      </a:lnTo>
                      <a:lnTo>
                        <a:pt x="1675" y="155"/>
                      </a:lnTo>
                      <a:lnTo>
                        <a:pt x="1726" y="90"/>
                      </a:lnTo>
                      <a:lnTo>
                        <a:pt x="1726" y="90"/>
                      </a:lnTo>
                      <a:lnTo>
                        <a:pt x="1729" y="52"/>
                      </a:lnTo>
                      <a:lnTo>
                        <a:pt x="1808" y="0"/>
                      </a:lnTo>
                      <a:lnTo>
                        <a:pt x="2773" y="543"/>
                      </a:lnTo>
                      <a:lnTo>
                        <a:pt x="2729" y="673"/>
                      </a:lnTo>
                      <a:lnTo>
                        <a:pt x="2729" y="673"/>
                      </a:lnTo>
                      <a:lnTo>
                        <a:pt x="2728" y="708"/>
                      </a:lnTo>
                      <a:lnTo>
                        <a:pt x="2724" y="757"/>
                      </a:lnTo>
                      <a:lnTo>
                        <a:pt x="2709" y="894"/>
                      </a:lnTo>
                      <a:lnTo>
                        <a:pt x="2702" y="982"/>
                      </a:lnTo>
                      <a:lnTo>
                        <a:pt x="2697" y="1078"/>
                      </a:lnTo>
                      <a:lnTo>
                        <a:pt x="2691" y="1183"/>
                      </a:lnTo>
                      <a:lnTo>
                        <a:pt x="2691" y="1238"/>
                      </a:lnTo>
                      <a:lnTo>
                        <a:pt x="2691" y="1296"/>
                      </a:lnTo>
                      <a:lnTo>
                        <a:pt x="2691" y="1450"/>
                      </a:lnTo>
                      <a:lnTo>
                        <a:pt x="2015" y="1450"/>
                      </a:lnTo>
                      <a:lnTo>
                        <a:pt x="697" y="1452"/>
                      </a:lnTo>
                      <a:lnTo>
                        <a:pt x="559" y="145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86" name="Freeform 1185"/>
              <p:cNvSpPr/>
              <p:nvPr/>
            </p:nvSpPr>
            <p:spPr bwMode="auto">
              <a:xfrm>
                <a:off x="6061618" y="5418077"/>
                <a:ext cx="234456" cy="339879"/>
              </a:xfrm>
              <a:custGeom>
                <a:avLst/>
                <a:gdLst>
                  <a:gd name="connsiteX0" fmla="*/ 151456 w 176150"/>
                  <a:gd name="connsiteY0" fmla="*/ 254849 h 255356"/>
                  <a:gd name="connsiteX1" fmla="*/ 118118 w 176150"/>
                  <a:gd name="connsiteY1" fmla="*/ 152455 h 255356"/>
                  <a:gd name="connsiteX2" fmla="*/ 175268 w 176150"/>
                  <a:gd name="connsiteY2" fmla="*/ 16724 h 255356"/>
                  <a:gd name="connsiteX3" fmla="*/ 141931 w 176150"/>
                  <a:gd name="connsiteY3" fmla="*/ 9580 h 255356"/>
                  <a:gd name="connsiteX4" fmla="*/ 6199 w 176150"/>
                  <a:gd name="connsiteY4" fmla="*/ 14343 h 255356"/>
                  <a:gd name="connsiteX5" fmla="*/ 34774 w 176150"/>
                  <a:gd name="connsiteY5" fmla="*/ 183411 h 255356"/>
                  <a:gd name="connsiteX6" fmla="*/ 151456 w 176150"/>
                  <a:gd name="connsiteY6" fmla="*/ 254849 h 25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150" h="255356">
                    <a:moveTo>
                      <a:pt x="151456" y="254849"/>
                    </a:moveTo>
                    <a:cubicBezTo>
                      <a:pt x="165347" y="249690"/>
                      <a:pt x="114149" y="192142"/>
                      <a:pt x="118118" y="152455"/>
                    </a:cubicBezTo>
                    <a:cubicBezTo>
                      <a:pt x="122087" y="112767"/>
                      <a:pt x="171299" y="40536"/>
                      <a:pt x="175268" y="16724"/>
                    </a:cubicBezTo>
                    <a:cubicBezTo>
                      <a:pt x="179237" y="-7089"/>
                      <a:pt x="170109" y="9977"/>
                      <a:pt x="141931" y="9580"/>
                    </a:cubicBezTo>
                    <a:cubicBezTo>
                      <a:pt x="113753" y="9183"/>
                      <a:pt x="24058" y="-14629"/>
                      <a:pt x="6199" y="14343"/>
                    </a:cubicBezTo>
                    <a:cubicBezTo>
                      <a:pt x="-11661" y="43315"/>
                      <a:pt x="12549" y="141739"/>
                      <a:pt x="34774" y="183411"/>
                    </a:cubicBezTo>
                    <a:cubicBezTo>
                      <a:pt x="56999" y="225083"/>
                      <a:pt x="137565" y="260008"/>
                      <a:pt x="151456" y="254849"/>
                    </a:cubicBezTo>
                    <a:close/>
                  </a:path>
                </a:pathLst>
              </a:cu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142" name="Group 1141"/>
          <p:cNvGrpSpPr/>
          <p:nvPr/>
        </p:nvGrpSpPr>
        <p:grpSpPr>
          <a:xfrm>
            <a:off x="9101096" y="1476376"/>
            <a:ext cx="1017770" cy="1621258"/>
            <a:chOff x="5823062" y="3407727"/>
            <a:chExt cx="764665" cy="1218075"/>
          </a:xfrm>
        </p:grpSpPr>
        <p:grpSp>
          <p:nvGrpSpPr>
            <p:cNvPr id="1143" name="Group 1142"/>
            <p:cNvGrpSpPr/>
            <p:nvPr/>
          </p:nvGrpSpPr>
          <p:grpSpPr>
            <a:xfrm>
              <a:off x="5823062" y="3407727"/>
              <a:ext cx="764665" cy="1218075"/>
              <a:chOff x="5473183" y="4642978"/>
              <a:chExt cx="925245" cy="1473871"/>
            </a:xfrm>
          </p:grpSpPr>
          <p:sp>
            <p:nvSpPr>
              <p:cNvPr id="1231" name="Freeform 220"/>
              <p:cNvSpPr>
                <a:spLocks noEditPoints="1"/>
              </p:cNvSpPr>
              <p:nvPr/>
            </p:nvSpPr>
            <p:spPr bwMode="auto">
              <a:xfrm>
                <a:off x="5473183" y="4642978"/>
                <a:ext cx="925245" cy="1473871"/>
              </a:xfrm>
              <a:prstGeom prst="roundRect">
                <a:avLst>
                  <a:gd name="adj" fmla="val 6177"/>
                </a:avLst>
              </a:prstGeom>
              <a:solidFill>
                <a:schemeClr val="accent3">
                  <a:lumMod val="75000"/>
                </a:schemeClr>
              </a:solidFill>
              <a:ln w="28575">
                <a:solidFill>
                  <a:schemeClr val="accent3"/>
                </a:solidFill>
              </a:ln>
              <a:ex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2" name="Rectangle 221"/>
              <p:cNvSpPr>
                <a:spLocks noChangeArrowheads="1"/>
              </p:cNvSpPr>
              <p:nvPr/>
            </p:nvSpPr>
            <p:spPr bwMode="auto">
              <a:xfrm>
                <a:off x="5583467" y="4756791"/>
                <a:ext cx="703186" cy="1199289"/>
              </a:xfrm>
              <a:prstGeom prst="rect">
                <a:avLst/>
              </a:prstGeom>
              <a:solidFill>
                <a:schemeClr val="tx2">
                  <a:lumMod val="75000"/>
                </a:schemeClr>
              </a:solidFill>
              <a:ln w="38100">
                <a:solidFill>
                  <a:schemeClr val="accent3">
                    <a:lumMod val="50000"/>
                  </a:schemeClr>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233" name="Oval 1232"/>
              <p:cNvSpPr/>
              <p:nvPr/>
            </p:nvSpPr>
            <p:spPr bwMode="auto">
              <a:xfrm>
                <a:off x="5889885" y="6009498"/>
                <a:ext cx="100942" cy="68945"/>
              </a:xfrm>
              <a:prstGeom prst="ellipse">
                <a:avLst/>
              </a:prstGeom>
              <a:solidFill>
                <a:schemeClr val="accent3"/>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144" name="Group 1143"/>
            <p:cNvGrpSpPr/>
            <p:nvPr/>
          </p:nvGrpSpPr>
          <p:grpSpPr>
            <a:xfrm>
              <a:off x="5890662" y="3552652"/>
              <a:ext cx="635695" cy="518769"/>
              <a:chOff x="3871344" y="5424038"/>
              <a:chExt cx="846111" cy="690480"/>
            </a:xfrm>
          </p:grpSpPr>
          <p:sp>
            <p:nvSpPr>
              <p:cNvPr id="1177" name="Rectangle 1176"/>
              <p:cNvSpPr/>
              <p:nvPr/>
            </p:nvSpPr>
            <p:spPr bwMode="auto">
              <a:xfrm>
                <a:off x="4147106" y="5477996"/>
                <a:ext cx="223686" cy="23461"/>
              </a:xfrm>
              <a:prstGeom prst="rect">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78" name="Rectangle 1177"/>
              <p:cNvSpPr/>
              <p:nvPr/>
            </p:nvSpPr>
            <p:spPr>
              <a:xfrm>
                <a:off x="3871344" y="5593079"/>
                <a:ext cx="846111" cy="52143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FFFFFF"/>
                    </a:solidFill>
                    <a:effectLst/>
                    <a:uLnTx/>
                    <a:uFillTx/>
                    <a:cs typeface="Arial" charset="0"/>
                  </a:rPr>
                  <a:t>We’re ready for the rain! </a:t>
                </a:r>
                <a:r>
                  <a:rPr kumimoji="0" lang="en-US" sz="700" b="0" i="0" u="none" strike="noStrike" kern="0" cap="none" spc="-38" normalizeH="0" baseline="0" noProof="0" dirty="0">
                    <a:ln>
                      <a:noFill/>
                    </a:ln>
                    <a:solidFill>
                      <a:srgbClr val="00BCF2"/>
                    </a:solidFill>
                    <a:effectLst/>
                    <a:uLnTx/>
                    <a:uFillTx/>
                    <a:ea typeface="Segoe UI" pitchFamily="34" charset="0"/>
                    <a:cs typeface="Segoe UI" pitchFamily="34" charset="0"/>
                  </a:rPr>
                  <a:t>#ShoppingSucces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FFFFFF"/>
                  </a:solidFill>
                  <a:effectLst/>
                  <a:uLnTx/>
                  <a:uFillTx/>
                </a:endParaRPr>
              </a:p>
            </p:txBody>
          </p:sp>
          <p:sp>
            <p:nvSpPr>
              <p:cNvPr id="1179" name="Rectangle 1178"/>
              <p:cNvSpPr/>
              <p:nvPr/>
            </p:nvSpPr>
            <p:spPr bwMode="auto">
              <a:xfrm>
                <a:off x="4147106" y="5530263"/>
                <a:ext cx="187693" cy="23461"/>
              </a:xfrm>
              <a:prstGeom prst="rect">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181" name="Group 1180"/>
              <p:cNvGrpSpPr/>
              <p:nvPr/>
            </p:nvGrpSpPr>
            <p:grpSpPr>
              <a:xfrm>
                <a:off x="3953530" y="5424038"/>
                <a:ext cx="174605" cy="190299"/>
                <a:chOff x="3968681" y="5597468"/>
                <a:chExt cx="144302" cy="157272"/>
              </a:xfrm>
            </p:grpSpPr>
            <p:sp>
              <p:nvSpPr>
                <p:cNvPr id="1182" name="Freeform 98"/>
                <p:cNvSpPr>
                  <a:spLocks/>
                </p:cNvSpPr>
                <p:nvPr/>
              </p:nvSpPr>
              <p:spPr bwMode="auto">
                <a:xfrm>
                  <a:off x="4005131" y="5676781"/>
                  <a:ext cx="70813" cy="61371"/>
                </a:xfrm>
                <a:custGeom>
                  <a:avLst/>
                  <a:gdLst>
                    <a:gd name="T0" fmla="*/ 0 w 211"/>
                    <a:gd name="T1" fmla="*/ 182 h 182"/>
                    <a:gd name="T2" fmla="*/ 0 w 211"/>
                    <a:gd name="T3" fmla="*/ 182 h 182"/>
                    <a:gd name="T4" fmla="*/ 1 w 211"/>
                    <a:gd name="T5" fmla="*/ 145 h 182"/>
                    <a:gd name="T6" fmla="*/ 2 w 211"/>
                    <a:gd name="T7" fmla="*/ 128 h 182"/>
                    <a:gd name="T8" fmla="*/ 4 w 211"/>
                    <a:gd name="T9" fmla="*/ 111 h 182"/>
                    <a:gd name="T10" fmla="*/ 6 w 211"/>
                    <a:gd name="T11" fmla="*/ 95 h 182"/>
                    <a:gd name="T12" fmla="*/ 10 w 211"/>
                    <a:gd name="T13" fmla="*/ 80 h 182"/>
                    <a:gd name="T14" fmla="*/ 14 w 211"/>
                    <a:gd name="T15" fmla="*/ 66 h 182"/>
                    <a:gd name="T16" fmla="*/ 19 w 211"/>
                    <a:gd name="T17" fmla="*/ 53 h 182"/>
                    <a:gd name="T18" fmla="*/ 25 w 211"/>
                    <a:gd name="T19" fmla="*/ 41 h 182"/>
                    <a:gd name="T20" fmla="*/ 33 w 211"/>
                    <a:gd name="T21" fmla="*/ 31 h 182"/>
                    <a:gd name="T22" fmla="*/ 41 w 211"/>
                    <a:gd name="T23" fmla="*/ 22 h 182"/>
                    <a:gd name="T24" fmla="*/ 51 w 211"/>
                    <a:gd name="T25" fmla="*/ 14 h 182"/>
                    <a:gd name="T26" fmla="*/ 63 w 211"/>
                    <a:gd name="T27" fmla="*/ 8 h 182"/>
                    <a:gd name="T28" fmla="*/ 76 w 211"/>
                    <a:gd name="T29" fmla="*/ 3 h 182"/>
                    <a:gd name="T30" fmla="*/ 91 w 211"/>
                    <a:gd name="T31" fmla="*/ 1 h 182"/>
                    <a:gd name="T32" fmla="*/ 107 w 211"/>
                    <a:gd name="T33" fmla="*/ 0 h 182"/>
                    <a:gd name="T34" fmla="*/ 107 w 211"/>
                    <a:gd name="T35" fmla="*/ 0 h 182"/>
                    <a:gd name="T36" fmla="*/ 123 w 211"/>
                    <a:gd name="T37" fmla="*/ 1 h 182"/>
                    <a:gd name="T38" fmla="*/ 137 w 211"/>
                    <a:gd name="T39" fmla="*/ 3 h 182"/>
                    <a:gd name="T40" fmla="*/ 150 w 211"/>
                    <a:gd name="T41" fmla="*/ 8 h 182"/>
                    <a:gd name="T42" fmla="*/ 161 w 211"/>
                    <a:gd name="T43" fmla="*/ 14 h 182"/>
                    <a:gd name="T44" fmla="*/ 171 w 211"/>
                    <a:gd name="T45" fmla="*/ 22 h 182"/>
                    <a:gd name="T46" fmla="*/ 179 w 211"/>
                    <a:gd name="T47" fmla="*/ 31 h 182"/>
                    <a:gd name="T48" fmla="*/ 186 w 211"/>
                    <a:gd name="T49" fmla="*/ 41 h 182"/>
                    <a:gd name="T50" fmla="*/ 193 w 211"/>
                    <a:gd name="T51" fmla="*/ 53 h 182"/>
                    <a:gd name="T52" fmla="*/ 198 w 211"/>
                    <a:gd name="T53" fmla="*/ 66 h 182"/>
                    <a:gd name="T54" fmla="*/ 202 w 211"/>
                    <a:gd name="T55" fmla="*/ 80 h 182"/>
                    <a:gd name="T56" fmla="*/ 205 w 211"/>
                    <a:gd name="T57" fmla="*/ 95 h 182"/>
                    <a:gd name="T58" fmla="*/ 208 w 211"/>
                    <a:gd name="T59" fmla="*/ 111 h 182"/>
                    <a:gd name="T60" fmla="*/ 209 w 211"/>
                    <a:gd name="T61" fmla="*/ 128 h 182"/>
                    <a:gd name="T62" fmla="*/ 211 w 211"/>
                    <a:gd name="T63" fmla="*/ 145 h 182"/>
                    <a:gd name="T64" fmla="*/ 211 w 211"/>
                    <a:gd name="T65" fmla="*/ 182 h 182"/>
                    <a:gd name="T66" fmla="*/ 0 w 211"/>
                    <a:gd name="T6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1" h="182">
                      <a:moveTo>
                        <a:pt x="0" y="182"/>
                      </a:moveTo>
                      <a:lnTo>
                        <a:pt x="0" y="182"/>
                      </a:lnTo>
                      <a:lnTo>
                        <a:pt x="1" y="145"/>
                      </a:lnTo>
                      <a:lnTo>
                        <a:pt x="2" y="128"/>
                      </a:lnTo>
                      <a:lnTo>
                        <a:pt x="4" y="111"/>
                      </a:lnTo>
                      <a:lnTo>
                        <a:pt x="6" y="95"/>
                      </a:lnTo>
                      <a:lnTo>
                        <a:pt x="10" y="80"/>
                      </a:lnTo>
                      <a:lnTo>
                        <a:pt x="14" y="66"/>
                      </a:lnTo>
                      <a:lnTo>
                        <a:pt x="19" y="53"/>
                      </a:lnTo>
                      <a:lnTo>
                        <a:pt x="25" y="41"/>
                      </a:lnTo>
                      <a:lnTo>
                        <a:pt x="33" y="31"/>
                      </a:lnTo>
                      <a:lnTo>
                        <a:pt x="41" y="22"/>
                      </a:lnTo>
                      <a:lnTo>
                        <a:pt x="51" y="14"/>
                      </a:lnTo>
                      <a:lnTo>
                        <a:pt x="63" y="8"/>
                      </a:lnTo>
                      <a:lnTo>
                        <a:pt x="76" y="3"/>
                      </a:lnTo>
                      <a:lnTo>
                        <a:pt x="91" y="1"/>
                      </a:lnTo>
                      <a:lnTo>
                        <a:pt x="107" y="0"/>
                      </a:lnTo>
                      <a:lnTo>
                        <a:pt x="107" y="0"/>
                      </a:lnTo>
                      <a:lnTo>
                        <a:pt x="123" y="1"/>
                      </a:lnTo>
                      <a:lnTo>
                        <a:pt x="137" y="3"/>
                      </a:lnTo>
                      <a:lnTo>
                        <a:pt x="150" y="8"/>
                      </a:lnTo>
                      <a:lnTo>
                        <a:pt x="161" y="14"/>
                      </a:lnTo>
                      <a:lnTo>
                        <a:pt x="171" y="22"/>
                      </a:lnTo>
                      <a:lnTo>
                        <a:pt x="179" y="31"/>
                      </a:lnTo>
                      <a:lnTo>
                        <a:pt x="186" y="41"/>
                      </a:lnTo>
                      <a:lnTo>
                        <a:pt x="193" y="53"/>
                      </a:lnTo>
                      <a:lnTo>
                        <a:pt x="198" y="66"/>
                      </a:lnTo>
                      <a:lnTo>
                        <a:pt x="202" y="80"/>
                      </a:lnTo>
                      <a:lnTo>
                        <a:pt x="205" y="95"/>
                      </a:lnTo>
                      <a:lnTo>
                        <a:pt x="208" y="111"/>
                      </a:lnTo>
                      <a:lnTo>
                        <a:pt x="209" y="128"/>
                      </a:lnTo>
                      <a:lnTo>
                        <a:pt x="211" y="145"/>
                      </a:lnTo>
                      <a:lnTo>
                        <a:pt x="211" y="182"/>
                      </a:lnTo>
                      <a:lnTo>
                        <a:pt x="0" y="18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89" name="Freeform 102"/>
                <p:cNvSpPr>
                  <a:spLocks/>
                </p:cNvSpPr>
                <p:nvPr/>
              </p:nvSpPr>
              <p:spPr bwMode="auto">
                <a:xfrm>
                  <a:off x="4019294" y="5628559"/>
                  <a:ext cx="42488" cy="43162"/>
                </a:xfrm>
                <a:custGeom>
                  <a:avLst/>
                  <a:gdLst>
                    <a:gd name="T0" fmla="*/ 0 w 127"/>
                    <a:gd name="T1" fmla="*/ 65 h 130"/>
                    <a:gd name="T2" fmla="*/ 0 w 127"/>
                    <a:gd name="T3" fmla="*/ 65 h 130"/>
                    <a:gd name="T4" fmla="*/ 0 w 127"/>
                    <a:gd name="T5" fmla="*/ 58 h 130"/>
                    <a:gd name="T6" fmla="*/ 1 w 127"/>
                    <a:gd name="T7" fmla="*/ 52 h 130"/>
                    <a:gd name="T8" fmla="*/ 3 w 127"/>
                    <a:gd name="T9" fmla="*/ 46 h 130"/>
                    <a:gd name="T10" fmla="*/ 5 w 127"/>
                    <a:gd name="T11" fmla="*/ 40 h 130"/>
                    <a:gd name="T12" fmla="*/ 11 w 127"/>
                    <a:gd name="T13" fmla="*/ 29 h 130"/>
                    <a:gd name="T14" fmla="*/ 19 w 127"/>
                    <a:gd name="T15" fmla="*/ 19 h 130"/>
                    <a:gd name="T16" fmla="*/ 28 w 127"/>
                    <a:gd name="T17" fmla="*/ 11 h 130"/>
                    <a:gd name="T18" fmla="*/ 33 w 127"/>
                    <a:gd name="T19" fmla="*/ 8 h 130"/>
                    <a:gd name="T20" fmla="*/ 39 w 127"/>
                    <a:gd name="T21" fmla="*/ 5 h 130"/>
                    <a:gd name="T22" fmla="*/ 44 w 127"/>
                    <a:gd name="T23" fmla="*/ 3 h 130"/>
                    <a:gd name="T24" fmla="*/ 51 w 127"/>
                    <a:gd name="T25" fmla="*/ 1 h 130"/>
                    <a:gd name="T26" fmla="*/ 58 w 127"/>
                    <a:gd name="T27" fmla="*/ 0 h 130"/>
                    <a:gd name="T28" fmla="*/ 64 w 127"/>
                    <a:gd name="T29" fmla="*/ 0 h 130"/>
                    <a:gd name="T30" fmla="*/ 64 w 127"/>
                    <a:gd name="T31" fmla="*/ 0 h 130"/>
                    <a:gd name="T32" fmla="*/ 70 w 127"/>
                    <a:gd name="T33" fmla="*/ 0 h 130"/>
                    <a:gd name="T34" fmla="*/ 77 w 127"/>
                    <a:gd name="T35" fmla="*/ 1 h 130"/>
                    <a:gd name="T36" fmla="*/ 83 w 127"/>
                    <a:gd name="T37" fmla="*/ 3 h 130"/>
                    <a:gd name="T38" fmla="*/ 88 w 127"/>
                    <a:gd name="T39" fmla="*/ 5 h 130"/>
                    <a:gd name="T40" fmla="*/ 94 w 127"/>
                    <a:gd name="T41" fmla="*/ 8 h 130"/>
                    <a:gd name="T42" fmla="*/ 99 w 127"/>
                    <a:gd name="T43" fmla="*/ 11 h 130"/>
                    <a:gd name="T44" fmla="*/ 108 w 127"/>
                    <a:gd name="T45" fmla="*/ 19 h 130"/>
                    <a:gd name="T46" fmla="*/ 116 w 127"/>
                    <a:gd name="T47" fmla="*/ 29 h 130"/>
                    <a:gd name="T48" fmla="*/ 122 w 127"/>
                    <a:gd name="T49" fmla="*/ 40 h 130"/>
                    <a:gd name="T50" fmla="*/ 124 w 127"/>
                    <a:gd name="T51" fmla="*/ 46 h 130"/>
                    <a:gd name="T52" fmla="*/ 126 w 127"/>
                    <a:gd name="T53" fmla="*/ 52 h 130"/>
                    <a:gd name="T54" fmla="*/ 127 w 127"/>
                    <a:gd name="T55" fmla="*/ 58 h 130"/>
                    <a:gd name="T56" fmla="*/ 127 w 127"/>
                    <a:gd name="T57" fmla="*/ 65 h 130"/>
                    <a:gd name="T58" fmla="*/ 127 w 127"/>
                    <a:gd name="T59" fmla="*/ 65 h 130"/>
                    <a:gd name="T60" fmla="*/ 127 w 127"/>
                    <a:gd name="T61" fmla="*/ 71 h 130"/>
                    <a:gd name="T62" fmla="*/ 126 w 127"/>
                    <a:gd name="T63" fmla="*/ 78 h 130"/>
                    <a:gd name="T64" fmla="*/ 124 w 127"/>
                    <a:gd name="T65" fmla="*/ 84 h 130"/>
                    <a:gd name="T66" fmla="*/ 122 w 127"/>
                    <a:gd name="T67" fmla="*/ 90 h 130"/>
                    <a:gd name="T68" fmla="*/ 116 w 127"/>
                    <a:gd name="T69" fmla="*/ 101 h 130"/>
                    <a:gd name="T70" fmla="*/ 108 w 127"/>
                    <a:gd name="T71" fmla="*/ 111 h 130"/>
                    <a:gd name="T72" fmla="*/ 99 w 127"/>
                    <a:gd name="T73" fmla="*/ 119 h 130"/>
                    <a:gd name="T74" fmla="*/ 94 w 127"/>
                    <a:gd name="T75" fmla="*/ 123 h 130"/>
                    <a:gd name="T76" fmla="*/ 88 w 127"/>
                    <a:gd name="T77" fmla="*/ 125 h 130"/>
                    <a:gd name="T78" fmla="*/ 83 w 127"/>
                    <a:gd name="T79" fmla="*/ 128 h 130"/>
                    <a:gd name="T80" fmla="*/ 77 w 127"/>
                    <a:gd name="T81" fmla="*/ 129 h 130"/>
                    <a:gd name="T82" fmla="*/ 70 w 127"/>
                    <a:gd name="T83" fmla="*/ 130 h 130"/>
                    <a:gd name="T84" fmla="*/ 64 w 127"/>
                    <a:gd name="T85" fmla="*/ 130 h 130"/>
                    <a:gd name="T86" fmla="*/ 64 w 127"/>
                    <a:gd name="T87" fmla="*/ 130 h 130"/>
                    <a:gd name="T88" fmla="*/ 58 w 127"/>
                    <a:gd name="T89" fmla="*/ 130 h 130"/>
                    <a:gd name="T90" fmla="*/ 51 w 127"/>
                    <a:gd name="T91" fmla="*/ 129 h 130"/>
                    <a:gd name="T92" fmla="*/ 44 w 127"/>
                    <a:gd name="T93" fmla="*/ 128 h 130"/>
                    <a:gd name="T94" fmla="*/ 39 w 127"/>
                    <a:gd name="T95" fmla="*/ 125 h 130"/>
                    <a:gd name="T96" fmla="*/ 33 w 127"/>
                    <a:gd name="T97" fmla="*/ 123 h 130"/>
                    <a:gd name="T98" fmla="*/ 28 w 127"/>
                    <a:gd name="T99" fmla="*/ 119 h 130"/>
                    <a:gd name="T100" fmla="*/ 19 w 127"/>
                    <a:gd name="T101" fmla="*/ 111 h 130"/>
                    <a:gd name="T102" fmla="*/ 11 w 127"/>
                    <a:gd name="T103" fmla="*/ 101 h 130"/>
                    <a:gd name="T104" fmla="*/ 5 w 127"/>
                    <a:gd name="T105" fmla="*/ 90 h 130"/>
                    <a:gd name="T106" fmla="*/ 3 w 127"/>
                    <a:gd name="T107" fmla="*/ 84 h 130"/>
                    <a:gd name="T108" fmla="*/ 1 w 127"/>
                    <a:gd name="T109" fmla="*/ 78 h 130"/>
                    <a:gd name="T110" fmla="*/ 0 w 127"/>
                    <a:gd name="T111" fmla="*/ 71 h 130"/>
                    <a:gd name="T112" fmla="*/ 0 w 127"/>
                    <a:gd name="T113" fmla="*/ 6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 h="130">
                      <a:moveTo>
                        <a:pt x="0" y="65"/>
                      </a:moveTo>
                      <a:lnTo>
                        <a:pt x="0" y="65"/>
                      </a:lnTo>
                      <a:lnTo>
                        <a:pt x="0" y="58"/>
                      </a:lnTo>
                      <a:lnTo>
                        <a:pt x="1" y="52"/>
                      </a:lnTo>
                      <a:lnTo>
                        <a:pt x="3" y="46"/>
                      </a:lnTo>
                      <a:lnTo>
                        <a:pt x="5" y="40"/>
                      </a:lnTo>
                      <a:lnTo>
                        <a:pt x="11" y="29"/>
                      </a:lnTo>
                      <a:lnTo>
                        <a:pt x="19" y="19"/>
                      </a:lnTo>
                      <a:lnTo>
                        <a:pt x="28" y="11"/>
                      </a:lnTo>
                      <a:lnTo>
                        <a:pt x="33" y="8"/>
                      </a:lnTo>
                      <a:lnTo>
                        <a:pt x="39" y="5"/>
                      </a:lnTo>
                      <a:lnTo>
                        <a:pt x="44" y="3"/>
                      </a:lnTo>
                      <a:lnTo>
                        <a:pt x="51" y="1"/>
                      </a:lnTo>
                      <a:lnTo>
                        <a:pt x="58" y="0"/>
                      </a:lnTo>
                      <a:lnTo>
                        <a:pt x="64" y="0"/>
                      </a:lnTo>
                      <a:lnTo>
                        <a:pt x="64" y="0"/>
                      </a:lnTo>
                      <a:lnTo>
                        <a:pt x="70" y="0"/>
                      </a:lnTo>
                      <a:lnTo>
                        <a:pt x="77" y="1"/>
                      </a:lnTo>
                      <a:lnTo>
                        <a:pt x="83" y="3"/>
                      </a:lnTo>
                      <a:lnTo>
                        <a:pt x="88" y="5"/>
                      </a:lnTo>
                      <a:lnTo>
                        <a:pt x="94" y="8"/>
                      </a:lnTo>
                      <a:lnTo>
                        <a:pt x="99" y="11"/>
                      </a:lnTo>
                      <a:lnTo>
                        <a:pt x="108" y="19"/>
                      </a:lnTo>
                      <a:lnTo>
                        <a:pt x="116" y="29"/>
                      </a:lnTo>
                      <a:lnTo>
                        <a:pt x="122" y="40"/>
                      </a:lnTo>
                      <a:lnTo>
                        <a:pt x="124" y="46"/>
                      </a:lnTo>
                      <a:lnTo>
                        <a:pt x="126" y="52"/>
                      </a:lnTo>
                      <a:lnTo>
                        <a:pt x="127" y="58"/>
                      </a:lnTo>
                      <a:lnTo>
                        <a:pt x="127" y="65"/>
                      </a:lnTo>
                      <a:lnTo>
                        <a:pt x="127" y="65"/>
                      </a:lnTo>
                      <a:lnTo>
                        <a:pt x="127" y="71"/>
                      </a:lnTo>
                      <a:lnTo>
                        <a:pt x="126" y="78"/>
                      </a:lnTo>
                      <a:lnTo>
                        <a:pt x="124" y="84"/>
                      </a:lnTo>
                      <a:lnTo>
                        <a:pt x="122" y="90"/>
                      </a:lnTo>
                      <a:lnTo>
                        <a:pt x="116" y="101"/>
                      </a:lnTo>
                      <a:lnTo>
                        <a:pt x="108" y="111"/>
                      </a:lnTo>
                      <a:lnTo>
                        <a:pt x="99" y="119"/>
                      </a:lnTo>
                      <a:lnTo>
                        <a:pt x="94" y="123"/>
                      </a:lnTo>
                      <a:lnTo>
                        <a:pt x="88" y="125"/>
                      </a:lnTo>
                      <a:lnTo>
                        <a:pt x="83" y="128"/>
                      </a:lnTo>
                      <a:lnTo>
                        <a:pt x="77" y="129"/>
                      </a:lnTo>
                      <a:lnTo>
                        <a:pt x="70" y="130"/>
                      </a:lnTo>
                      <a:lnTo>
                        <a:pt x="64" y="130"/>
                      </a:lnTo>
                      <a:lnTo>
                        <a:pt x="64" y="130"/>
                      </a:lnTo>
                      <a:lnTo>
                        <a:pt x="58" y="130"/>
                      </a:lnTo>
                      <a:lnTo>
                        <a:pt x="51" y="129"/>
                      </a:lnTo>
                      <a:lnTo>
                        <a:pt x="44" y="128"/>
                      </a:lnTo>
                      <a:lnTo>
                        <a:pt x="39" y="125"/>
                      </a:lnTo>
                      <a:lnTo>
                        <a:pt x="33" y="123"/>
                      </a:lnTo>
                      <a:lnTo>
                        <a:pt x="28" y="119"/>
                      </a:lnTo>
                      <a:lnTo>
                        <a:pt x="19" y="111"/>
                      </a:lnTo>
                      <a:lnTo>
                        <a:pt x="11" y="101"/>
                      </a:lnTo>
                      <a:lnTo>
                        <a:pt x="5" y="90"/>
                      </a:lnTo>
                      <a:lnTo>
                        <a:pt x="3" y="84"/>
                      </a:lnTo>
                      <a:lnTo>
                        <a:pt x="1" y="78"/>
                      </a:lnTo>
                      <a:lnTo>
                        <a:pt x="0" y="71"/>
                      </a:lnTo>
                      <a:lnTo>
                        <a:pt x="0" y="65"/>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8" name="Freeform 97"/>
                <p:cNvSpPr>
                  <a:spLocks noEditPoints="1"/>
                </p:cNvSpPr>
                <p:nvPr/>
              </p:nvSpPr>
              <p:spPr bwMode="auto">
                <a:xfrm>
                  <a:off x="3968681" y="5597468"/>
                  <a:ext cx="144302" cy="157272"/>
                </a:xfrm>
                <a:custGeom>
                  <a:avLst/>
                  <a:gdLst>
                    <a:gd name="T0" fmla="*/ 0 w 582"/>
                    <a:gd name="T1" fmla="*/ 424 h 424"/>
                    <a:gd name="T2" fmla="*/ 582 w 582"/>
                    <a:gd name="T3" fmla="*/ 424 h 424"/>
                    <a:gd name="T4" fmla="*/ 582 w 582"/>
                    <a:gd name="T5" fmla="*/ 0 h 424"/>
                    <a:gd name="T6" fmla="*/ 0 w 582"/>
                    <a:gd name="T7" fmla="*/ 0 h 424"/>
                    <a:gd name="T8" fmla="*/ 0 w 582"/>
                    <a:gd name="T9" fmla="*/ 424 h 424"/>
                    <a:gd name="T10" fmla="*/ 523 w 582"/>
                    <a:gd name="T11" fmla="*/ 362 h 424"/>
                    <a:gd name="T12" fmla="*/ 59 w 582"/>
                    <a:gd name="T13" fmla="*/ 362 h 424"/>
                    <a:gd name="T14" fmla="*/ 59 w 582"/>
                    <a:gd name="T15" fmla="*/ 62 h 424"/>
                    <a:gd name="T16" fmla="*/ 523 w 582"/>
                    <a:gd name="T17" fmla="*/ 62 h 424"/>
                    <a:gd name="T18" fmla="*/ 523 w 582"/>
                    <a:gd name="T19" fmla="*/ 362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24">
                      <a:moveTo>
                        <a:pt x="0" y="424"/>
                      </a:moveTo>
                      <a:lnTo>
                        <a:pt x="582" y="424"/>
                      </a:lnTo>
                      <a:lnTo>
                        <a:pt x="582" y="0"/>
                      </a:lnTo>
                      <a:lnTo>
                        <a:pt x="0" y="0"/>
                      </a:lnTo>
                      <a:lnTo>
                        <a:pt x="0" y="424"/>
                      </a:lnTo>
                      <a:close/>
                      <a:moveTo>
                        <a:pt x="523" y="362"/>
                      </a:moveTo>
                      <a:lnTo>
                        <a:pt x="59" y="362"/>
                      </a:lnTo>
                      <a:lnTo>
                        <a:pt x="59" y="62"/>
                      </a:lnTo>
                      <a:lnTo>
                        <a:pt x="523" y="62"/>
                      </a:lnTo>
                      <a:lnTo>
                        <a:pt x="523" y="36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sp>
        <p:nvSpPr>
          <p:cNvPr id="1235" name="Freeform 91"/>
          <p:cNvSpPr>
            <a:spLocks/>
          </p:cNvSpPr>
          <p:nvPr/>
        </p:nvSpPr>
        <p:spPr bwMode="auto">
          <a:xfrm>
            <a:off x="9725933" y="1672274"/>
            <a:ext cx="221256" cy="179361"/>
          </a:xfrm>
          <a:custGeom>
            <a:avLst/>
            <a:gdLst>
              <a:gd name="T0" fmla="*/ 766 w 842"/>
              <a:gd name="T1" fmla="*/ 37 h 682"/>
              <a:gd name="T2" fmla="*/ 696 w 842"/>
              <a:gd name="T3" fmla="*/ 42 h 682"/>
              <a:gd name="T4" fmla="*/ 636 w 842"/>
              <a:gd name="T5" fmla="*/ 8 h 682"/>
              <a:gd name="T6" fmla="*/ 583 w 842"/>
              <a:gd name="T7" fmla="*/ 0 h 682"/>
              <a:gd name="T8" fmla="*/ 516 w 842"/>
              <a:gd name="T9" fmla="*/ 13 h 682"/>
              <a:gd name="T10" fmla="*/ 462 w 842"/>
              <a:gd name="T11" fmla="*/ 50 h 682"/>
              <a:gd name="T12" fmla="*/ 424 w 842"/>
              <a:gd name="T13" fmla="*/ 105 h 682"/>
              <a:gd name="T14" fmla="*/ 411 w 842"/>
              <a:gd name="T15" fmla="*/ 172 h 682"/>
              <a:gd name="T16" fmla="*/ 415 w 842"/>
              <a:gd name="T17" fmla="*/ 211 h 682"/>
              <a:gd name="T18" fmla="*/ 311 w 842"/>
              <a:gd name="T19" fmla="*/ 195 h 682"/>
              <a:gd name="T20" fmla="*/ 215 w 842"/>
              <a:gd name="T21" fmla="*/ 158 h 682"/>
              <a:gd name="T22" fmla="*/ 131 w 842"/>
              <a:gd name="T23" fmla="*/ 102 h 682"/>
              <a:gd name="T24" fmla="*/ 59 w 842"/>
              <a:gd name="T25" fmla="*/ 31 h 682"/>
              <a:gd name="T26" fmla="*/ 46 w 842"/>
              <a:gd name="T27" fmla="*/ 61 h 682"/>
              <a:gd name="T28" fmla="*/ 37 w 842"/>
              <a:gd name="T29" fmla="*/ 106 h 682"/>
              <a:gd name="T30" fmla="*/ 37 w 842"/>
              <a:gd name="T31" fmla="*/ 139 h 682"/>
              <a:gd name="T32" fmla="*/ 48 w 842"/>
              <a:gd name="T33" fmla="*/ 181 h 682"/>
              <a:gd name="T34" fmla="*/ 97 w 842"/>
              <a:gd name="T35" fmla="*/ 249 h 682"/>
              <a:gd name="T36" fmla="*/ 72 w 842"/>
              <a:gd name="T37" fmla="*/ 255 h 682"/>
              <a:gd name="T38" fmla="*/ 35 w 842"/>
              <a:gd name="T39" fmla="*/ 242 h 682"/>
              <a:gd name="T40" fmla="*/ 46 w 842"/>
              <a:gd name="T41" fmla="*/ 302 h 682"/>
              <a:gd name="T42" fmla="*/ 75 w 842"/>
              <a:gd name="T43" fmla="*/ 352 h 682"/>
              <a:gd name="T44" fmla="*/ 118 w 842"/>
              <a:gd name="T45" fmla="*/ 389 h 682"/>
              <a:gd name="T46" fmla="*/ 173 w 842"/>
              <a:gd name="T47" fmla="*/ 411 h 682"/>
              <a:gd name="T48" fmla="*/ 140 w 842"/>
              <a:gd name="T49" fmla="*/ 417 h 682"/>
              <a:gd name="T50" fmla="*/ 96 w 842"/>
              <a:gd name="T51" fmla="*/ 414 h 682"/>
              <a:gd name="T52" fmla="*/ 112 w 842"/>
              <a:gd name="T53" fmla="*/ 450 h 682"/>
              <a:gd name="T54" fmla="*/ 145 w 842"/>
              <a:gd name="T55" fmla="*/ 491 h 682"/>
              <a:gd name="T56" fmla="*/ 190 w 842"/>
              <a:gd name="T57" fmla="*/ 519 h 682"/>
              <a:gd name="T58" fmla="*/ 243 w 842"/>
              <a:gd name="T59" fmla="*/ 533 h 682"/>
              <a:gd name="T60" fmla="*/ 209 w 842"/>
              <a:gd name="T61" fmla="*/ 565 h 682"/>
              <a:gd name="T62" fmla="*/ 101 w 842"/>
              <a:gd name="T63" fmla="*/ 603 h 682"/>
              <a:gd name="T64" fmla="*/ 21 w 842"/>
              <a:gd name="T65" fmla="*/ 607 h 682"/>
              <a:gd name="T66" fmla="*/ 61 w 842"/>
              <a:gd name="T67" fmla="*/ 638 h 682"/>
              <a:gd name="T68" fmla="*/ 194 w 842"/>
              <a:gd name="T69" fmla="*/ 678 h 682"/>
              <a:gd name="T70" fmla="*/ 266 w 842"/>
              <a:gd name="T71" fmla="*/ 682 h 682"/>
              <a:gd name="T72" fmla="*/ 378 w 842"/>
              <a:gd name="T73" fmla="*/ 671 h 682"/>
              <a:gd name="T74" fmla="*/ 476 w 842"/>
              <a:gd name="T75" fmla="*/ 638 h 682"/>
              <a:gd name="T76" fmla="*/ 560 w 842"/>
              <a:gd name="T77" fmla="*/ 587 h 682"/>
              <a:gd name="T78" fmla="*/ 630 w 842"/>
              <a:gd name="T79" fmla="*/ 523 h 682"/>
              <a:gd name="T80" fmla="*/ 685 w 842"/>
              <a:gd name="T81" fmla="*/ 448 h 682"/>
              <a:gd name="T82" fmla="*/ 724 w 842"/>
              <a:gd name="T83" fmla="*/ 365 h 682"/>
              <a:gd name="T84" fmla="*/ 748 w 842"/>
              <a:gd name="T85" fmla="*/ 279 h 682"/>
              <a:gd name="T86" fmla="*/ 756 w 842"/>
              <a:gd name="T87" fmla="*/ 192 h 682"/>
              <a:gd name="T88" fmla="*/ 768 w 842"/>
              <a:gd name="T89" fmla="*/ 160 h 682"/>
              <a:gd name="T90" fmla="*/ 813 w 842"/>
              <a:gd name="T91" fmla="*/ 117 h 682"/>
              <a:gd name="T92" fmla="*/ 842 w 842"/>
              <a:gd name="T93" fmla="*/ 81 h 682"/>
              <a:gd name="T94" fmla="*/ 742 w 842"/>
              <a:gd name="T95" fmla="*/ 107 h 682"/>
              <a:gd name="T96" fmla="*/ 779 w 842"/>
              <a:gd name="T97" fmla="*/ 78 h 682"/>
              <a:gd name="T98" fmla="*/ 813 w 842"/>
              <a:gd name="T99" fmla="*/ 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42" h="682">
                <a:moveTo>
                  <a:pt x="819" y="12"/>
                </a:moveTo>
                <a:lnTo>
                  <a:pt x="819" y="12"/>
                </a:lnTo>
                <a:lnTo>
                  <a:pt x="793" y="25"/>
                </a:lnTo>
                <a:lnTo>
                  <a:pt x="766" y="37"/>
                </a:lnTo>
                <a:lnTo>
                  <a:pt x="738" y="46"/>
                </a:lnTo>
                <a:lnTo>
                  <a:pt x="709" y="54"/>
                </a:lnTo>
                <a:lnTo>
                  <a:pt x="709" y="54"/>
                </a:lnTo>
                <a:lnTo>
                  <a:pt x="696" y="42"/>
                </a:lnTo>
                <a:lnTo>
                  <a:pt x="683" y="31"/>
                </a:lnTo>
                <a:lnTo>
                  <a:pt x="668" y="22"/>
                </a:lnTo>
                <a:lnTo>
                  <a:pt x="653" y="14"/>
                </a:lnTo>
                <a:lnTo>
                  <a:pt x="636" y="8"/>
                </a:lnTo>
                <a:lnTo>
                  <a:pt x="620" y="3"/>
                </a:lnTo>
                <a:lnTo>
                  <a:pt x="601" y="0"/>
                </a:lnTo>
                <a:lnTo>
                  <a:pt x="583" y="0"/>
                </a:lnTo>
                <a:lnTo>
                  <a:pt x="583" y="0"/>
                </a:lnTo>
                <a:lnTo>
                  <a:pt x="565" y="0"/>
                </a:lnTo>
                <a:lnTo>
                  <a:pt x="548" y="3"/>
                </a:lnTo>
                <a:lnTo>
                  <a:pt x="531" y="8"/>
                </a:lnTo>
                <a:lnTo>
                  <a:pt x="516" y="13"/>
                </a:lnTo>
                <a:lnTo>
                  <a:pt x="500" y="20"/>
                </a:lnTo>
                <a:lnTo>
                  <a:pt x="487" y="29"/>
                </a:lnTo>
                <a:lnTo>
                  <a:pt x="474" y="39"/>
                </a:lnTo>
                <a:lnTo>
                  <a:pt x="462" y="50"/>
                </a:lnTo>
                <a:lnTo>
                  <a:pt x="449" y="62"/>
                </a:lnTo>
                <a:lnTo>
                  <a:pt x="439" y="75"/>
                </a:lnTo>
                <a:lnTo>
                  <a:pt x="432" y="89"/>
                </a:lnTo>
                <a:lnTo>
                  <a:pt x="424" y="105"/>
                </a:lnTo>
                <a:lnTo>
                  <a:pt x="418" y="120"/>
                </a:lnTo>
                <a:lnTo>
                  <a:pt x="414" y="137"/>
                </a:lnTo>
                <a:lnTo>
                  <a:pt x="412" y="155"/>
                </a:lnTo>
                <a:lnTo>
                  <a:pt x="411" y="172"/>
                </a:lnTo>
                <a:lnTo>
                  <a:pt x="411" y="172"/>
                </a:lnTo>
                <a:lnTo>
                  <a:pt x="412" y="192"/>
                </a:lnTo>
                <a:lnTo>
                  <a:pt x="415" y="211"/>
                </a:lnTo>
                <a:lnTo>
                  <a:pt x="415" y="211"/>
                </a:lnTo>
                <a:lnTo>
                  <a:pt x="389" y="209"/>
                </a:lnTo>
                <a:lnTo>
                  <a:pt x="362" y="206"/>
                </a:lnTo>
                <a:lnTo>
                  <a:pt x="337" y="201"/>
                </a:lnTo>
                <a:lnTo>
                  <a:pt x="311" y="195"/>
                </a:lnTo>
                <a:lnTo>
                  <a:pt x="286" y="187"/>
                </a:lnTo>
                <a:lnTo>
                  <a:pt x="261" y="179"/>
                </a:lnTo>
                <a:lnTo>
                  <a:pt x="238" y="169"/>
                </a:lnTo>
                <a:lnTo>
                  <a:pt x="215" y="158"/>
                </a:lnTo>
                <a:lnTo>
                  <a:pt x="193" y="145"/>
                </a:lnTo>
                <a:lnTo>
                  <a:pt x="172" y="132"/>
                </a:lnTo>
                <a:lnTo>
                  <a:pt x="151" y="117"/>
                </a:lnTo>
                <a:lnTo>
                  <a:pt x="131" y="102"/>
                </a:lnTo>
                <a:lnTo>
                  <a:pt x="111" y="86"/>
                </a:lnTo>
                <a:lnTo>
                  <a:pt x="93" y="68"/>
                </a:lnTo>
                <a:lnTo>
                  <a:pt x="76" y="50"/>
                </a:lnTo>
                <a:lnTo>
                  <a:pt x="59" y="31"/>
                </a:lnTo>
                <a:lnTo>
                  <a:pt x="59" y="31"/>
                </a:lnTo>
                <a:lnTo>
                  <a:pt x="55" y="41"/>
                </a:lnTo>
                <a:lnTo>
                  <a:pt x="49" y="51"/>
                </a:lnTo>
                <a:lnTo>
                  <a:pt x="46" y="61"/>
                </a:lnTo>
                <a:lnTo>
                  <a:pt x="42" y="72"/>
                </a:lnTo>
                <a:lnTo>
                  <a:pt x="39" y="83"/>
                </a:lnTo>
                <a:lnTo>
                  <a:pt x="38" y="94"/>
                </a:lnTo>
                <a:lnTo>
                  <a:pt x="37" y="106"/>
                </a:lnTo>
                <a:lnTo>
                  <a:pt x="36" y="118"/>
                </a:lnTo>
                <a:lnTo>
                  <a:pt x="36" y="118"/>
                </a:lnTo>
                <a:lnTo>
                  <a:pt x="37" y="129"/>
                </a:lnTo>
                <a:lnTo>
                  <a:pt x="37" y="139"/>
                </a:lnTo>
                <a:lnTo>
                  <a:pt x="39" y="150"/>
                </a:lnTo>
                <a:lnTo>
                  <a:pt x="41" y="161"/>
                </a:lnTo>
                <a:lnTo>
                  <a:pt x="45" y="171"/>
                </a:lnTo>
                <a:lnTo>
                  <a:pt x="48" y="181"/>
                </a:lnTo>
                <a:lnTo>
                  <a:pt x="57" y="200"/>
                </a:lnTo>
                <a:lnTo>
                  <a:pt x="68" y="218"/>
                </a:lnTo>
                <a:lnTo>
                  <a:pt x="81" y="234"/>
                </a:lnTo>
                <a:lnTo>
                  <a:pt x="97" y="249"/>
                </a:lnTo>
                <a:lnTo>
                  <a:pt x="113" y="261"/>
                </a:lnTo>
                <a:lnTo>
                  <a:pt x="113" y="261"/>
                </a:lnTo>
                <a:lnTo>
                  <a:pt x="92" y="260"/>
                </a:lnTo>
                <a:lnTo>
                  <a:pt x="72" y="255"/>
                </a:lnTo>
                <a:lnTo>
                  <a:pt x="52" y="249"/>
                </a:lnTo>
                <a:lnTo>
                  <a:pt x="35" y="240"/>
                </a:lnTo>
                <a:lnTo>
                  <a:pt x="35" y="242"/>
                </a:lnTo>
                <a:lnTo>
                  <a:pt x="35" y="242"/>
                </a:lnTo>
                <a:lnTo>
                  <a:pt x="36" y="258"/>
                </a:lnTo>
                <a:lnTo>
                  <a:pt x="37" y="272"/>
                </a:lnTo>
                <a:lnTo>
                  <a:pt x="40" y="287"/>
                </a:lnTo>
                <a:lnTo>
                  <a:pt x="46" y="302"/>
                </a:lnTo>
                <a:lnTo>
                  <a:pt x="51" y="315"/>
                </a:lnTo>
                <a:lnTo>
                  <a:pt x="58" y="328"/>
                </a:lnTo>
                <a:lnTo>
                  <a:pt x="66" y="341"/>
                </a:lnTo>
                <a:lnTo>
                  <a:pt x="75" y="352"/>
                </a:lnTo>
                <a:lnTo>
                  <a:pt x="85" y="363"/>
                </a:lnTo>
                <a:lnTo>
                  <a:pt x="94" y="373"/>
                </a:lnTo>
                <a:lnTo>
                  <a:pt x="106" y="382"/>
                </a:lnTo>
                <a:lnTo>
                  <a:pt x="118" y="389"/>
                </a:lnTo>
                <a:lnTo>
                  <a:pt x="131" y="397"/>
                </a:lnTo>
                <a:lnTo>
                  <a:pt x="144" y="403"/>
                </a:lnTo>
                <a:lnTo>
                  <a:pt x="159" y="407"/>
                </a:lnTo>
                <a:lnTo>
                  <a:pt x="173" y="411"/>
                </a:lnTo>
                <a:lnTo>
                  <a:pt x="173" y="411"/>
                </a:lnTo>
                <a:lnTo>
                  <a:pt x="162" y="414"/>
                </a:lnTo>
                <a:lnTo>
                  <a:pt x="151" y="416"/>
                </a:lnTo>
                <a:lnTo>
                  <a:pt x="140" y="417"/>
                </a:lnTo>
                <a:lnTo>
                  <a:pt x="128" y="417"/>
                </a:lnTo>
                <a:lnTo>
                  <a:pt x="128" y="417"/>
                </a:lnTo>
                <a:lnTo>
                  <a:pt x="111" y="416"/>
                </a:lnTo>
                <a:lnTo>
                  <a:pt x="96" y="414"/>
                </a:lnTo>
                <a:lnTo>
                  <a:pt x="96" y="414"/>
                </a:lnTo>
                <a:lnTo>
                  <a:pt x="100" y="427"/>
                </a:lnTo>
                <a:lnTo>
                  <a:pt x="106" y="439"/>
                </a:lnTo>
                <a:lnTo>
                  <a:pt x="112" y="450"/>
                </a:lnTo>
                <a:lnTo>
                  <a:pt x="119" y="461"/>
                </a:lnTo>
                <a:lnTo>
                  <a:pt x="128" y="472"/>
                </a:lnTo>
                <a:lnTo>
                  <a:pt x="136" y="482"/>
                </a:lnTo>
                <a:lnTo>
                  <a:pt x="145" y="491"/>
                </a:lnTo>
                <a:lnTo>
                  <a:pt x="155" y="499"/>
                </a:lnTo>
                <a:lnTo>
                  <a:pt x="166" y="507"/>
                </a:lnTo>
                <a:lnTo>
                  <a:pt x="178" y="513"/>
                </a:lnTo>
                <a:lnTo>
                  <a:pt x="190" y="519"/>
                </a:lnTo>
                <a:lnTo>
                  <a:pt x="203" y="524"/>
                </a:lnTo>
                <a:lnTo>
                  <a:pt x="215" y="529"/>
                </a:lnTo>
                <a:lnTo>
                  <a:pt x="228" y="531"/>
                </a:lnTo>
                <a:lnTo>
                  <a:pt x="243" y="533"/>
                </a:lnTo>
                <a:lnTo>
                  <a:pt x="256" y="534"/>
                </a:lnTo>
                <a:lnTo>
                  <a:pt x="256" y="534"/>
                </a:lnTo>
                <a:lnTo>
                  <a:pt x="234" y="551"/>
                </a:lnTo>
                <a:lnTo>
                  <a:pt x="209" y="565"/>
                </a:lnTo>
                <a:lnTo>
                  <a:pt x="184" y="577"/>
                </a:lnTo>
                <a:lnTo>
                  <a:pt x="157" y="588"/>
                </a:lnTo>
                <a:lnTo>
                  <a:pt x="130" y="596"/>
                </a:lnTo>
                <a:lnTo>
                  <a:pt x="101" y="603"/>
                </a:lnTo>
                <a:lnTo>
                  <a:pt x="72" y="606"/>
                </a:lnTo>
                <a:lnTo>
                  <a:pt x="42" y="607"/>
                </a:lnTo>
                <a:lnTo>
                  <a:pt x="42" y="607"/>
                </a:lnTo>
                <a:lnTo>
                  <a:pt x="21" y="607"/>
                </a:lnTo>
                <a:lnTo>
                  <a:pt x="0" y="605"/>
                </a:lnTo>
                <a:lnTo>
                  <a:pt x="0" y="605"/>
                </a:lnTo>
                <a:lnTo>
                  <a:pt x="30" y="623"/>
                </a:lnTo>
                <a:lnTo>
                  <a:pt x="61" y="638"/>
                </a:lnTo>
                <a:lnTo>
                  <a:pt x="92" y="651"/>
                </a:lnTo>
                <a:lnTo>
                  <a:pt x="125" y="663"/>
                </a:lnTo>
                <a:lnTo>
                  <a:pt x="159" y="671"/>
                </a:lnTo>
                <a:lnTo>
                  <a:pt x="194" y="678"/>
                </a:lnTo>
                <a:lnTo>
                  <a:pt x="229" y="681"/>
                </a:lnTo>
                <a:lnTo>
                  <a:pt x="247" y="682"/>
                </a:lnTo>
                <a:lnTo>
                  <a:pt x="266" y="682"/>
                </a:lnTo>
                <a:lnTo>
                  <a:pt x="266" y="682"/>
                </a:lnTo>
                <a:lnTo>
                  <a:pt x="295" y="682"/>
                </a:lnTo>
                <a:lnTo>
                  <a:pt x="323" y="680"/>
                </a:lnTo>
                <a:lnTo>
                  <a:pt x="351" y="676"/>
                </a:lnTo>
                <a:lnTo>
                  <a:pt x="378" y="671"/>
                </a:lnTo>
                <a:lnTo>
                  <a:pt x="403" y="665"/>
                </a:lnTo>
                <a:lnTo>
                  <a:pt x="428" y="657"/>
                </a:lnTo>
                <a:lnTo>
                  <a:pt x="453" y="648"/>
                </a:lnTo>
                <a:lnTo>
                  <a:pt x="476" y="638"/>
                </a:lnTo>
                <a:lnTo>
                  <a:pt x="498" y="627"/>
                </a:lnTo>
                <a:lnTo>
                  <a:pt x="520" y="615"/>
                </a:lnTo>
                <a:lnTo>
                  <a:pt x="540" y="602"/>
                </a:lnTo>
                <a:lnTo>
                  <a:pt x="560" y="587"/>
                </a:lnTo>
                <a:lnTo>
                  <a:pt x="579" y="573"/>
                </a:lnTo>
                <a:lnTo>
                  <a:pt x="596" y="556"/>
                </a:lnTo>
                <a:lnTo>
                  <a:pt x="613" y="540"/>
                </a:lnTo>
                <a:lnTo>
                  <a:pt x="630" y="523"/>
                </a:lnTo>
                <a:lnTo>
                  <a:pt x="645" y="505"/>
                </a:lnTo>
                <a:lnTo>
                  <a:pt x="658" y="487"/>
                </a:lnTo>
                <a:lnTo>
                  <a:pt x="672" y="467"/>
                </a:lnTo>
                <a:lnTo>
                  <a:pt x="685" y="448"/>
                </a:lnTo>
                <a:lnTo>
                  <a:pt x="696" y="427"/>
                </a:lnTo>
                <a:lnTo>
                  <a:pt x="706" y="407"/>
                </a:lnTo>
                <a:lnTo>
                  <a:pt x="716" y="386"/>
                </a:lnTo>
                <a:lnTo>
                  <a:pt x="724" y="365"/>
                </a:lnTo>
                <a:lnTo>
                  <a:pt x="731" y="344"/>
                </a:lnTo>
                <a:lnTo>
                  <a:pt x="738" y="322"/>
                </a:lnTo>
                <a:lnTo>
                  <a:pt x="743" y="301"/>
                </a:lnTo>
                <a:lnTo>
                  <a:pt x="748" y="279"/>
                </a:lnTo>
                <a:lnTo>
                  <a:pt x="751" y="257"/>
                </a:lnTo>
                <a:lnTo>
                  <a:pt x="753" y="236"/>
                </a:lnTo>
                <a:lnTo>
                  <a:pt x="756" y="213"/>
                </a:lnTo>
                <a:lnTo>
                  <a:pt x="756" y="192"/>
                </a:lnTo>
                <a:lnTo>
                  <a:pt x="756" y="192"/>
                </a:lnTo>
                <a:lnTo>
                  <a:pt x="756" y="169"/>
                </a:lnTo>
                <a:lnTo>
                  <a:pt x="756" y="169"/>
                </a:lnTo>
                <a:lnTo>
                  <a:pt x="768" y="160"/>
                </a:lnTo>
                <a:lnTo>
                  <a:pt x="780" y="150"/>
                </a:lnTo>
                <a:lnTo>
                  <a:pt x="791" y="139"/>
                </a:lnTo>
                <a:lnTo>
                  <a:pt x="802" y="129"/>
                </a:lnTo>
                <a:lnTo>
                  <a:pt x="813" y="117"/>
                </a:lnTo>
                <a:lnTo>
                  <a:pt x="823" y="105"/>
                </a:lnTo>
                <a:lnTo>
                  <a:pt x="833" y="93"/>
                </a:lnTo>
                <a:lnTo>
                  <a:pt x="842" y="81"/>
                </a:lnTo>
                <a:lnTo>
                  <a:pt x="842" y="81"/>
                </a:lnTo>
                <a:lnTo>
                  <a:pt x="818" y="89"/>
                </a:lnTo>
                <a:lnTo>
                  <a:pt x="793" y="97"/>
                </a:lnTo>
                <a:lnTo>
                  <a:pt x="768" y="104"/>
                </a:lnTo>
                <a:lnTo>
                  <a:pt x="742" y="107"/>
                </a:lnTo>
                <a:lnTo>
                  <a:pt x="742" y="107"/>
                </a:lnTo>
                <a:lnTo>
                  <a:pt x="756" y="98"/>
                </a:lnTo>
                <a:lnTo>
                  <a:pt x="768" y="89"/>
                </a:lnTo>
                <a:lnTo>
                  <a:pt x="779" y="78"/>
                </a:lnTo>
                <a:lnTo>
                  <a:pt x="789" y="67"/>
                </a:lnTo>
                <a:lnTo>
                  <a:pt x="798" y="54"/>
                </a:lnTo>
                <a:lnTo>
                  <a:pt x="807" y="41"/>
                </a:lnTo>
                <a:lnTo>
                  <a:pt x="813" y="26"/>
                </a:lnTo>
                <a:lnTo>
                  <a:pt x="819"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478" name="Group 1477"/>
          <p:cNvGrpSpPr/>
          <p:nvPr/>
        </p:nvGrpSpPr>
        <p:grpSpPr>
          <a:xfrm>
            <a:off x="9263562" y="2254273"/>
            <a:ext cx="680019" cy="439834"/>
            <a:chOff x="9261973" y="2334944"/>
            <a:chExt cx="680019" cy="439834"/>
          </a:xfrm>
        </p:grpSpPr>
        <p:sp>
          <p:nvSpPr>
            <p:cNvPr id="1268" name="Rectangle 1267"/>
            <p:cNvSpPr/>
            <p:nvPr/>
          </p:nvSpPr>
          <p:spPr bwMode="auto">
            <a:xfrm>
              <a:off x="9261973" y="2334944"/>
              <a:ext cx="680019" cy="439834"/>
            </a:xfrm>
            <a:prstGeom prst="rect">
              <a:avLst/>
            </a:prstGeom>
            <a:solidFill>
              <a:srgbClr val="2550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36" name="Group 1235"/>
            <p:cNvGrpSpPr/>
            <p:nvPr/>
          </p:nvGrpSpPr>
          <p:grpSpPr>
            <a:xfrm>
              <a:off x="9271410" y="2338811"/>
              <a:ext cx="661604" cy="408124"/>
              <a:chOff x="9105839" y="2191534"/>
              <a:chExt cx="968653" cy="597534"/>
            </a:xfrm>
          </p:grpSpPr>
          <p:sp>
            <p:nvSpPr>
              <p:cNvPr id="1237" name="Freeform 2008"/>
              <p:cNvSpPr>
                <a:spLocks/>
              </p:cNvSpPr>
              <p:nvPr/>
            </p:nvSpPr>
            <p:spPr bwMode="auto">
              <a:xfrm rot="16200000">
                <a:off x="9150466" y="2399110"/>
                <a:ext cx="185989" cy="69710"/>
              </a:xfrm>
              <a:custGeom>
                <a:avLst/>
                <a:gdLst>
                  <a:gd name="T0" fmla="*/ 810 w 810"/>
                  <a:gd name="T1" fmla="*/ 137 h 273"/>
                  <a:gd name="T2" fmla="*/ 807 w 810"/>
                  <a:gd name="T3" fmla="*/ 110 h 273"/>
                  <a:gd name="T4" fmla="*/ 799 w 810"/>
                  <a:gd name="T5" fmla="*/ 83 h 273"/>
                  <a:gd name="T6" fmla="*/ 787 w 810"/>
                  <a:gd name="T7" fmla="*/ 61 h 273"/>
                  <a:gd name="T8" fmla="*/ 770 w 810"/>
                  <a:gd name="T9" fmla="*/ 40 h 273"/>
                  <a:gd name="T10" fmla="*/ 750 w 810"/>
                  <a:gd name="T11" fmla="*/ 24 h 273"/>
                  <a:gd name="T12" fmla="*/ 727 w 810"/>
                  <a:gd name="T13" fmla="*/ 11 h 273"/>
                  <a:gd name="T14" fmla="*/ 701 w 810"/>
                  <a:gd name="T15" fmla="*/ 3 h 273"/>
                  <a:gd name="T16" fmla="*/ 673 w 810"/>
                  <a:gd name="T17" fmla="*/ 0 h 273"/>
                  <a:gd name="T18" fmla="*/ 136 w 810"/>
                  <a:gd name="T19" fmla="*/ 0 h 273"/>
                  <a:gd name="T20" fmla="*/ 108 w 810"/>
                  <a:gd name="T21" fmla="*/ 3 h 273"/>
                  <a:gd name="T22" fmla="*/ 83 w 810"/>
                  <a:gd name="T23" fmla="*/ 11 h 273"/>
                  <a:gd name="T24" fmla="*/ 60 w 810"/>
                  <a:gd name="T25" fmla="*/ 24 h 273"/>
                  <a:gd name="T26" fmla="*/ 40 w 810"/>
                  <a:gd name="T27" fmla="*/ 40 h 273"/>
                  <a:gd name="T28" fmla="*/ 24 w 810"/>
                  <a:gd name="T29" fmla="*/ 61 h 273"/>
                  <a:gd name="T30" fmla="*/ 10 w 810"/>
                  <a:gd name="T31" fmla="*/ 83 h 273"/>
                  <a:gd name="T32" fmla="*/ 2 w 810"/>
                  <a:gd name="T33" fmla="*/ 110 h 273"/>
                  <a:gd name="T34" fmla="*/ 0 w 810"/>
                  <a:gd name="T35" fmla="*/ 137 h 273"/>
                  <a:gd name="T36" fmla="*/ 0 w 810"/>
                  <a:gd name="T37" fmla="*/ 137 h 273"/>
                  <a:gd name="T38" fmla="*/ 2 w 810"/>
                  <a:gd name="T39" fmla="*/ 164 h 273"/>
                  <a:gd name="T40" fmla="*/ 10 w 810"/>
                  <a:gd name="T41" fmla="*/ 190 h 273"/>
                  <a:gd name="T42" fmla="*/ 24 w 810"/>
                  <a:gd name="T43" fmla="*/ 213 h 273"/>
                  <a:gd name="T44" fmla="*/ 40 w 810"/>
                  <a:gd name="T45" fmla="*/ 233 h 273"/>
                  <a:gd name="T46" fmla="*/ 60 w 810"/>
                  <a:gd name="T47" fmla="*/ 250 h 273"/>
                  <a:gd name="T48" fmla="*/ 83 w 810"/>
                  <a:gd name="T49" fmla="*/ 263 h 273"/>
                  <a:gd name="T50" fmla="*/ 108 w 810"/>
                  <a:gd name="T51" fmla="*/ 271 h 273"/>
                  <a:gd name="T52" fmla="*/ 136 w 810"/>
                  <a:gd name="T53" fmla="*/ 273 h 273"/>
                  <a:gd name="T54" fmla="*/ 673 w 810"/>
                  <a:gd name="T55" fmla="*/ 273 h 273"/>
                  <a:gd name="T56" fmla="*/ 701 w 810"/>
                  <a:gd name="T57" fmla="*/ 271 h 273"/>
                  <a:gd name="T58" fmla="*/ 727 w 810"/>
                  <a:gd name="T59" fmla="*/ 263 h 273"/>
                  <a:gd name="T60" fmla="*/ 750 w 810"/>
                  <a:gd name="T61" fmla="*/ 250 h 273"/>
                  <a:gd name="T62" fmla="*/ 770 w 810"/>
                  <a:gd name="T63" fmla="*/ 233 h 273"/>
                  <a:gd name="T64" fmla="*/ 787 w 810"/>
                  <a:gd name="T65" fmla="*/ 213 h 273"/>
                  <a:gd name="T66" fmla="*/ 799 w 810"/>
                  <a:gd name="T67" fmla="*/ 190 h 273"/>
                  <a:gd name="T68" fmla="*/ 807 w 810"/>
                  <a:gd name="T69" fmla="*/ 164 h 273"/>
                  <a:gd name="T70" fmla="*/ 810 w 810"/>
                  <a:gd name="T71" fmla="*/ 13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0" h="273">
                    <a:moveTo>
                      <a:pt x="810" y="137"/>
                    </a:moveTo>
                    <a:lnTo>
                      <a:pt x="810" y="137"/>
                    </a:lnTo>
                    <a:lnTo>
                      <a:pt x="809" y="123"/>
                    </a:lnTo>
                    <a:lnTo>
                      <a:pt x="807" y="110"/>
                    </a:lnTo>
                    <a:lnTo>
                      <a:pt x="804" y="96"/>
                    </a:lnTo>
                    <a:lnTo>
                      <a:pt x="799" y="83"/>
                    </a:lnTo>
                    <a:lnTo>
                      <a:pt x="793" y="72"/>
                    </a:lnTo>
                    <a:lnTo>
                      <a:pt x="787" y="61"/>
                    </a:lnTo>
                    <a:lnTo>
                      <a:pt x="779" y="49"/>
                    </a:lnTo>
                    <a:lnTo>
                      <a:pt x="770" y="40"/>
                    </a:lnTo>
                    <a:lnTo>
                      <a:pt x="760" y="31"/>
                    </a:lnTo>
                    <a:lnTo>
                      <a:pt x="750" y="24"/>
                    </a:lnTo>
                    <a:lnTo>
                      <a:pt x="739" y="17"/>
                    </a:lnTo>
                    <a:lnTo>
                      <a:pt x="727" y="11"/>
                    </a:lnTo>
                    <a:lnTo>
                      <a:pt x="714" y="6"/>
                    </a:lnTo>
                    <a:lnTo>
                      <a:pt x="701" y="3"/>
                    </a:lnTo>
                    <a:lnTo>
                      <a:pt x="688" y="0"/>
                    </a:lnTo>
                    <a:lnTo>
                      <a:pt x="673" y="0"/>
                    </a:lnTo>
                    <a:lnTo>
                      <a:pt x="136" y="0"/>
                    </a:lnTo>
                    <a:lnTo>
                      <a:pt x="136" y="0"/>
                    </a:lnTo>
                    <a:lnTo>
                      <a:pt x="123" y="0"/>
                    </a:lnTo>
                    <a:lnTo>
                      <a:pt x="108" y="3"/>
                    </a:lnTo>
                    <a:lnTo>
                      <a:pt x="96" y="6"/>
                    </a:lnTo>
                    <a:lnTo>
                      <a:pt x="83" y="11"/>
                    </a:lnTo>
                    <a:lnTo>
                      <a:pt x="72" y="17"/>
                    </a:lnTo>
                    <a:lnTo>
                      <a:pt x="60" y="24"/>
                    </a:lnTo>
                    <a:lnTo>
                      <a:pt x="49" y="31"/>
                    </a:lnTo>
                    <a:lnTo>
                      <a:pt x="40" y="40"/>
                    </a:lnTo>
                    <a:lnTo>
                      <a:pt x="31" y="49"/>
                    </a:lnTo>
                    <a:lnTo>
                      <a:pt x="24" y="61"/>
                    </a:lnTo>
                    <a:lnTo>
                      <a:pt x="16" y="72"/>
                    </a:lnTo>
                    <a:lnTo>
                      <a:pt x="10" y="83"/>
                    </a:lnTo>
                    <a:lnTo>
                      <a:pt x="6" y="96"/>
                    </a:lnTo>
                    <a:lnTo>
                      <a:pt x="2" y="110"/>
                    </a:lnTo>
                    <a:lnTo>
                      <a:pt x="0" y="123"/>
                    </a:lnTo>
                    <a:lnTo>
                      <a:pt x="0" y="137"/>
                    </a:lnTo>
                    <a:lnTo>
                      <a:pt x="0" y="137"/>
                    </a:lnTo>
                    <a:lnTo>
                      <a:pt x="0" y="137"/>
                    </a:lnTo>
                    <a:lnTo>
                      <a:pt x="0" y="151"/>
                    </a:lnTo>
                    <a:lnTo>
                      <a:pt x="2" y="164"/>
                    </a:lnTo>
                    <a:lnTo>
                      <a:pt x="6" y="177"/>
                    </a:lnTo>
                    <a:lnTo>
                      <a:pt x="10" y="190"/>
                    </a:lnTo>
                    <a:lnTo>
                      <a:pt x="16" y="202"/>
                    </a:lnTo>
                    <a:lnTo>
                      <a:pt x="24" y="213"/>
                    </a:lnTo>
                    <a:lnTo>
                      <a:pt x="31" y="224"/>
                    </a:lnTo>
                    <a:lnTo>
                      <a:pt x="40" y="233"/>
                    </a:lnTo>
                    <a:lnTo>
                      <a:pt x="49" y="243"/>
                    </a:lnTo>
                    <a:lnTo>
                      <a:pt x="60" y="250"/>
                    </a:lnTo>
                    <a:lnTo>
                      <a:pt x="72" y="257"/>
                    </a:lnTo>
                    <a:lnTo>
                      <a:pt x="83" y="263"/>
                    </a:lnTo>
                    <a:lnTo>
                      <a:pt x="96" y="267"/>
                    </a:lnTo>
                    <a:lnTo>
                      <a:pt x="108" y="271"/>
                    </a:lnTo>
                    <a:lnTo>
                      <a:pt x="123" y="273"/>
                    </a:lnTo>
                    <a:lnTo>
                      <a:pt x="136" y="273"/>
                    </a:lnTo>
                    <a:lnTo>
                      <a:pt x="673" y="273"/>
                    </a:lnTo>
                    <a:lnTo>
                      <a:pt x="673" y="273"/>
                    </a:lnTo>
                    <a:lnTo>
                      <a:pt x="688" y="273"/>
                    </a:lnTo>
                    <a:lnTo>
                      <a:pt x="701" y="271"/>
                    </a:lnTo>
                    <a:lnTo>
                      <a:pt x="714" y="267"/>
                    </a:lnTo>
                    <a:lnTo>
                      <a:pt x="727" y="263"/>
                    </a:lnTo>
                    <a:lnTo>
                      <a:pt x="739" y="257"/>
                    </a:lnTo>
                    <a:lnTo>
                      <a:pt x="750" y="250"/>
                    </a:lnTo>
                    <a:lnTo>
                      <a:pt x="760" y="243"/>
                    </a:lnTo>
                    <a:lnTo>
                      <a:pt x="770" y="233"/>
                    </a:lnTo>
                    <a:lnTo>
                      <a:pt x="779" y="224"/>
                    </a:lnTo>
                    <a:lnTo>
                      <a:pt x="787" y="213"/>
                    </a:lnTo>
                    <a:lnTo>
                      <a:pt x="793" y="202"/>
                    </a:lnTo>
                    <a:lnTo>
                      <a:pt x="799" y="190"/>
                    </a:lnTo>
                    <a:lnTo>
                      <a:pt x="804" y="177"/>
                    </a:lnTo>
                    <a:lnTo>
                      <a:pt x="807" y="164"/>
                    </a:lnTo>
                    <a:lnTo>
                      <a:pt x="809" y="151"/>
                    </a:lnTo>
                    <a:lnTo>
                      <a:pt x="810" y="137"/>
                    </a:lnTo>
                    <a:lnTo>
                      <a:pt x="810" y="1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8" name="Freeform 2008"/>
              <p:cNvSpPr>
                <a:spLocks/>
              </p:cNvSpPr>
              <p:nvPr/>
            </p:nvSpPr>
            <p:spPr bwMode="auto">
              <a:xfrm rot="16200000">
                <a:off x="9286564" y="2392628"/>
                <a:ext cx="185989" cy="69710"/>
              </a:xfrm>
              <a:custGeom>
                <a:avLst/>
                <a:gdLst>
                  <a:gd name="T0" fmla="*/ 810 w 810"/>
                  <a:gd name="T1" fmla="*/ 137 h 273"/>
                  <a:gd name="T2" fmla="*/ 807 w 810"/>
                  <a:gd name="T3" fmla="*/ 110 h 273"/>
                  <a:gd name="T4" fmla="*/ 799 w 810"/>
                  <a:gd name="T5" fmla="*/ 83 h 273"/>
                  <a:gd name="T6" fmla="*/ 787 w 810"/>
                  <a:gd name="T7" fmla="*/ 61 h 273"/>
                  <a:gd name="T8" fmla="*/ 770 w 810"/>
                  <a:gd name="T9" fmla="*/ 40 h 273"/>
                  <a:gd name="T10" fmla="*/ 750 w 810"/>
                  <a:gd name="T11" fmla="*/ 24 h 273"/>
                  <a:gd name="T12" fmla="*/ 727 w 810"/>
                  <a:gd name="T13" fmla="*/ 11 h 273"/>
                  <a:gd name="T14" fmla="*/ 701 w 810"/>
                  <a:gd name="T15" fmla="*/ 3 h 273"/>
                  <a:gd name="T16" fmla="*/ 673 w 810"/>
                  <a:gd name="T17" fmla="*/ 0 h 273"/>
                  <a:gd name="T18" fmla="*/ 136 w 810"/>
                  <a:gd name="T19" fmla="*/ 0 h 273"/>
                  <a:gd name="T20" fmla="*/ 108 w 810"/>
                  <a:gd name="T21" fmla="*/ 3 h 273"/>
                  <a:gd name="T22" fmla="*/ 83 w 810"/>
                  <a:gd name="T23" fmla="*/ 11 h 273"/>
                  <a:gd name="T24" fmla="*/ 60 w 810"/>
                  <a:gd name="T25" fmla="*/ 24 h 273"/>
                  <a:gd name="T26" fmla="*/ 40 w 810"/>
                  <a:gd name="T27" fmla="*/ 40 h 273"/>
                  <a:gd name="T28" fmla="*/ 24 w 810"/>
                  <a:gd name="T29" fmla="*/ 61 h 273"/>
                  <a:gd name="T30" fmla="*/ 10 w 810"/>
                  <a:gd name="T31" fmla="*/ 83 h 273"/>
                  <a:gd name="T32" fmla="*/ 2 w 810"/>
                  <a:gd name="T33" fmla="*/ 110 h 273"/>
                  <a:gd name="T34" fmla="*/ 0 w 810"/>
                  <a:gd name="T35" fmla="*/ 137 h 273"/>
                  <a:gd name="T36" fmla="*/ 0 w 810"/>
                  <a:gd name="T37" fmla="*/ 137 h 273"/>
                  <a:gd name="T38" fmla="*/ 2 w 810"/>
                  <a:gd name="T39" fmla="*/ 164 h 273"/>
                  <a:gd name="T40" fmla="*/ 10 w 810"/>
                  <a:gd name="T41" fmla="*/ 190 h 273"/>
                  <a:gd name="T42" fmla="*/ 24 w 810"/>
                  <a:gd name="T43" fmla="*/ 213 h 273"/>
                  <a:gd name="T44" fmla="*/ 40 w 810"/>
                  <a:gd name="T45" fmla="*/ 233 h 273"/>
                  <a:gd name="T46" fmla="*/ 60 w 810"/>
                  <a:gd name="T47" fmla="*/ 250 h 273"/>
                  <a:gd name="T48" fmla="*/ 83 w 810"/>
                  <a:gd name="T49" fmla="*/ 263 h 273"/>
                  <a:gd name="T50" fmla="*/ 108 w 810"/>
                  <a:gd name="T51" fmla="*/ 271 h 273"/>
                  <a:gd name="T52" fmla="*/ 136 w 810"/>
                  <a:gd name="T53" fmla="*/ 273 h 273"/>
                  <a:gd name="T54" fmla="*/ 673 w 810"/>
                  <a:gd name="T55" fmla="*/ 273 h 273"/>
                  <a:gd name="T56" fmla="*/ 701 w 810"/>
                  <a:gd name="T57" fmla="*/ 271 h 273"/>
                  <a:gd name="T58" fmla="*/ 727 w 810"/>
                  <a:gd name="T59" fmla="*/ 263 h 273"/>
                  <a:gd name="T60" fmla="*/ 750 w 810"/>
                  <a:gd name="T61" fmla="*/ 250 h 273"/>
                  <a:gd name="T62" fmla="*/ 770 w 810"/>
                  <a:gd name="T63" fmla="*/ 233 h 273"/>
                  <a:gd name="T64" fmla="*/ 787 w 810"/>
                  <a:gd name="T65" fmla="*/ 213 h 273"/>
                  <a:gd name="T66" fmla="*/ 799 w 810"/>
                  <a:gd name="T67" fmla="*/ 190 h 273"/>
                  <a:gd name="T68" fmla="*/ 807 w 810"/>
                  <a:gd name="T69" fmla="*/ 164 h 273"/>
                  <a:gd name="T70" fmla="*/ 810 w 810"/>
                  <a:gd name="T71" fmla="*/ 13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0" h="273">
                    <a:moveTo>
                      <a:pt x="810" y="137"/>
                    </a:moveTo>
                    <a:lnTo>
                      <a:pt x="810" y="137"/>
                    </a:lnTo>
                    <a:lnTo>
                      <a:pt x="809" y="123"/>
                    </a:lnTo>
                    <a:lnTo>
                      <a:pt x="807" y="110"/>
                    </a:lnTo>
                    <a:lnTo>
                      <a:pt x="804" y="96"/>
                    </a:lnTo>
                    <a:lnTo>
                      <a:pt x="799" y="83"/>
                    </a:lnTo>
                    <a:lnTo>
                      <a:pt x="793" y="72"/>
                    </a:lnTo>
                    <a:lnTo>
                      <a:pt x="787" y="61"/>
                    </a:lnTo>
                    <a:lnTo>
                      <a:pt x="779" y="49"/>
                    </a:lnTo>
                    <a:lnTo>
                      <a:pt x="770" y="40"/>
                    </a:lnTo>
                    <a:lnTo>
                      <a:pt x="760" y="31"/>
                    </a:lnTo>
                    <a:lnTo>
                      <a:pt x="750" y="24"/>
                    </a:lnTo>
                    <a:lnTo>
                      <a:pt x="739" y="17"/>
                    </a:lnTo>
                    <a:lnTo>
                      <a:pt x="727" y="11"/>
                    </a:lnTo>
                    <a:lnTo>
                      <a:pt x="714" y="6"/>
                    </a:lnTo>
                    <a:lnTo>
                      <a:pt x="701" y="3"/>
                    </a:lnTo>
                    <a:lnTo>
                      <a:pt x="688" y="0"/>
                    </a:lnTo>
                    <a:lnTo>
                      <a:pt x="673" y="0"/>
                    </a:lnTo>
                    <a:lnTo>
                      <a:pt x="136" y="0"/>
                    </a:lnTo>
                    <a:lnTo>
                      <a:pt x="136" y="0"/>
                    </a:lnTo>
                    <a:lnTo>
                      <a:pt x="123" y="0"/>
                    </a:lnTo>
                    <a:lnTo>
                      <a:pt x="108" y="3"/>
                    </a:lnTo>
                    <a:lnTo>
                      <a:pt x="96" y="6"/>
                    </a:lnTo>
                    <a:lnTo>
                      <a:pt x="83" y="11"/>
                    </a:lnTo>
                    <a:lnTo>
                      <a:pt x="72" y="17"/>
                    </a:lnTo>
                    <a:lnTo>
                      <a:pt x="60" y="24"/>
                    </a:lnTo>
                    <a:lnTo>
                      <a:pt x="49" y="31"/>
                    </a:lnTo>
                    <a:lnTo>
                      <a:pt x="40" y="40"/>
                    </a:lnTo>
                    <a:lnTo>
                      <a:pt x="31" y="49"/>
                    </a:lnTo>
                    <a:lnTo>
                      <a:pt x="24" y="61"/>
                    </a:lnTo>
                    <a:lnTo>
                      <a:pt x="16" y="72"/>
                    </a:lnTo>
                    <a:lnTo>
                      <a:pt x="10" y="83"/>
                    </a:lnTo>
                    <a:lnTo>
                      <a:pt x="6" y="96"/>
                    </a:lnTo>
                    <a:lnTo>
                      <a:pt x="2" y="110"/>
                    </a:lnTo>
                    <a:lnTo>
                      <a:pt x="0" y="123"/>
                    </a:lnTo>
                    <a:lnTo>
                      <a:pt x="0" y="137"/>
                    </a:lnTo>
                    <a:lnTo>
                      <a:pt x="0" y="137"/>
                    </a:lnTo>
                    <a:lnTo>
                      <a:pt x="0" y="137"/>
                    </a:lnTo>
                    <a:lnTo>
                      <a:pt x="0" y="151"/>
                    </a:lnTo>
                    <a:lnTo>
                      <a:pt x="2" y="164"/>
                    </a:lnTo>
                    <a:lnTo>
                      <a:pt x="6" y="177"/>
                    </a:lnTo>
                    <a:lnTo>
                      <a:pt x="10" y="190"/>
                    </a:lnTo>
                    <a:lnTo>
                      <a:pt x="16" y="202"/>
                    </a:lnTo>
                    <a:lnTo>
                      <a:pt x="24" y="213"/>
                    </a:lnTo>
                    <a:lnTo>
                      <a:pt x="31" y="224"/>
                    </a:lnTo>
                    <a:lnTo>
                      <a:pt x="40" y="233"/>
                    </a:lnTo>
                    <a:lnTo>
                      <a:pt x="49" y="243"/>
                    </a:lnTo>
                    <a:lnTo>
                      <a:pt x="60" y="250"/>
                    </a:lnTo>
                    <a:lnTo>
                      <a:pt x="72" y="257"/>
                    </a:lnTo>
                    <a:lnTo>
                      <a:pt x="83" y="263"/>
                    </a:lnTo>
                    <a:lnTo>
                      <a:pt x="96" y="267"/>
                    </a:lnTo>
                    <a:lnTo>
                      <a:pt x="108" y="271"/>
                    </a:lnTo>
                    <a:lnTo>
                      <a:pt x="123" y="273"/>
                    </a:lnTo>
                    <a:lnTo>
                      <a:pt x="136" y="273"/>
                    </a:lnTo>
                    <a:lnTo>
                      <a:pt x="673" y="273"/>
                    </a:lnTo>
                    <a:lnTo>
                      <a:pt x="673" y="273"/>
                    </a:lnTo>
                    <a:lnTo>
                      <a:pt x="688" y="273"/>
                    </a:lnTo>
                    <a:lnTo>
                      <a:pt x="701" y="271"/>
                    </a:lnTo>
                    <a:lnTo>
                      <a:pt x="714" y="267"/>
                    </a:lnTo>
                    <a:lnTo>
                      <a:pt x="727" y="263"/>
                    </a:lnTo>
                    <a:lnTo>
                      <a:pt x="739" y="257"/>
                    </a:lnTo>
                    <a:lnTo>
                      <a:pt x="750" y="250"/>
                    </a:lnTo>
                    <a:lnTo>
                      <a:pt x="760" y="243"/>
                    </a:lnTo>
                    <a:lnTo>
                      <a:pt x="770" y="233"/>
                    </a:lnTo>
                    <a:lnTo>
                      <a:pt x="779" y="224"/>
                    </a:lnTo>
                    <a:lnTo>
                      <a:pt x="787" y="213"/>
                    </a:lnTo>
                    <a:lnTo>
                      <a:pt x="793" y="202"/>
                    </a:lnTo>
                    <a:lnTo>
                      <a:pt x="799" y="190"/>
                    </a:lnTo>
                    <a:lnTo>
                      <a:pt x="804" y="177"/>
                    </a:lnTo>
                    <a:lnTo>
                      <a:pt x="807" y="164"/>
                    </a:lnTo>
                    <a:lnTo>
                      <a:pt x="809" y="151"/>
                    </a:lnTo>
                    <a:lnTo>
                      <a:pt x="810" y="137"/>
                    </a:lnTo>
                    <a:lnTo>
                      <a:pt x="810" y="1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9" name="Freeform 166"/>
              <p:cNvSpPr>
                <a:spLocks/>
              </p:cNvSpPr>
              <p:nvPr/>
            </p:nvSpPr>
            <p:spPr bwMode="auto">
              <a:xfrm>
                <a:off x="9175383" y="2495108"/>
                <a:ext cx="126746" cy="265460"/>
              </a:xfrm>
              <a:custGeom>
                <a:avLst/>
                <a:gdLst>
                  <a:gd name="T0" fmla="*/ 2402 w 2854"/>
                  <a:gd name="T1" fmla="*/ 3733 h 5434"/>
                  <a:gd name="T2" fmla="*/ 2240 w 2854"/>
                  <a:gd name="T3" fmla="*/ 3629 h 5434"/>
                  <a:gd name="T4" fmla="*/ 2058 w 2854"/>
                  <a:gd name="T5" fmla="*/ 3566 h 5434"/>
                  <a:gd name="T6" fmla="*/ 1854 w 2854"/>
                  <a:gd name="T7" fmla="*/ 3535 h 5434"/>
                  <a:gd name="T8" fmla="*/ 1584 w 2854"/>
                  <a:gd name="T9" fmla="*/ 3531 h 5434"/>
                  <a:gd name="T10" fmla="*/ 1180 w 2854"/>
                  <a:gd name="T11" fmla="*/ 3563 h 5434"/>
                  <a:gd name="T12" fmla="*/ 1144 w 2854"/>
                  <a:gd name="T13" fmla="*/ 3574 h 5434"/>
                  <a:gd name="T14" fmla="*/ 914 w 2854"/>
                  <a:gd name="T15" fmla="*/ 3595 h 5434"/>
                  <a:gd name="T16" fmla="*/ 797 w 2854"/>
                  <a:gd name="T17" fmla="*/ 3587 h 5434"/>
                  <a:gd name="T18" fmla="*/ 771 w 2854"/>
                  <a:gd name="T19" fmla="*/ 3567 h 5434"/>
                  <a:gd name="T20" fmla="*/ 798 w 2854"/>
                  <a:gd name="T21" fmla="*/ 3534 h 5434"/>
                  <a:gd name="T22" fmla="*/ 890 w 2854"/>
                  <a:gd name="T23" fmla="*/ 3487 h 5434"/>
                  <a:gd name="T24" fmla="*/ 1234 w 2854"/>
                  <a:gd name="T25" fmla="*/ 3433 h 5434"/>
                  <a:gd name="T26" fmla="*/ 1602 w 2854"/>
                  <a:gd name="T27" fmla="*/ 3394 h 5434"/>
                  <a:gd name="T28" fmla="*/ 1996 w 2854"/>
                  <a:gd name="T29" fmla="*/ 3405 h 5434"/>
                  <a:gd name="T30" fmla="*/ 2177 w 2854"/>
                  <a:gd name="T31" fmla="*/ 3435 h 5434"/>
                  <a:gd name="T32" fmla="*/ 2343 w 2854"/>
                  <a:gd name="T33" fmla="*/ 3492 h 5434"/>
                  <a:gd name="T34" fmla="*/ 2495 w 2854"/>
                  <a:gd name="T35" fmla="*/ 3579 h 5434"/>
                  <a:gd name="T36" fmla="*/ 2632 w 2854"/>
                  <a:gd name="T37" fmla="*/ 3704 h 5434"/>
                  <a:gd name="T38" fmla="*/ 2654 w 2854"/>
                  <a:gd name="T39" fmla="*/ 3489 h 5434"/>
                  <a:gd name="T40" fmla="*/ 2635 w 2854"/>
                  <a:gd name="T41" fmla="*/ 2875 h 5434"/>
                  <a:gd name="T42" fmla="*/ 2666 w 2854"/>
                  <a:gd name="T43" fmla="*/ 2282 h 5434"/>
                  <a:gd name="T44" fmla="*/ 2724 w 2854"/>
                  <a:gd name="T45" fmla="*/ 1452 h 5434"/>
                  <a:gd name="T46" fmla="*/ 2729 w 2854"/>
                  <a:gd name="T47" fmla="*/ 408 h 5434"/>
                  <a:gd name="T48" fmla="*/ 2197 w 2854"/>
                  <a:gd name="T49" fmla="*/ 4 h 5434"/>
                  <a:gd name="T50" fmla="*/ 1385 w 2854"/>
                  <a:gd name="T51" fmla="*/ 8 h 5434"/>
                  <a:gd name="T52" fmla="*/ 668 w 2854"/>
                  <a:gd name="T53" fmla="*/ 55 h 5434"/>
                  <a:gd name="T54" fmla="*/ 286 w 2854"/>
                  <a:gd name="T55" fmla="*/ 262 h 5434"/>
                  <a:gd name="T56" fmla="*/ 282 w 2854"/>
                  <a:gd name="T57" fmla="*/ 1214 h 5434"/>
                  <a:gd name="T58" fmla="*/ 287 w 2854"/>
                  <a:gd name="T59" fmla="*/ 1234 h 5434"/>
                  <a:gd name="T60" fmla="*/ 308 w 2854"/>
                  <a:gd name="T61" fmla="*/ 1600 h 5434"/>
                  <a:gd name="T62" fmla="*/ 382 w 2854"/>
                  <a:gd name="T63" fmla="*/ 2181 h 5434"/>
                  <a:gd name="T64" fmla="*/ 404 w 2854"/>
                  <a:gd name="T65" fmla="*/ 2473 h 5434"/>
                  <a:gd name="T66" fmla="*/ 407 w 2854"/>
                  <a:gd name="T67" fmla="*/ 2834 h 5434"/>
                  <a:gd name="T68" fmla="*/ 364 w 2854"/>
                  <a:gd name="T69" fmla="*/ 3414 h 5434"/>
                  <a:gd name="T70" fmla="*/ 306 w 2854"/>
                  <a:gd name="T71" fmla="*/ 3864 h 5434"/>
                  <a:gd name="T72" fmla="*/ 205 w 2854"/>
                  <a:gd name="T73" fmla="*/ 4451 h 5434"/>
                  <a:gd name="T74" fmla="*/ 141 w 2854"/>
                  <a:gd name="T75" fmla="*/ 4690 h 5434"/>
                  <a:gd name="T76" fmla="*/ 15 w 2854"/>
                  <a:gd name="T77" fmla="*/ 4807 h 5434"/>
                  <a:gd name="T78" fmla="*/ 0 w 2854"/>
                  <a:gd name="T79" fmla="*/ 5085 h 5434"/>
                  <a:gd name="T80" fmla="*/ 20 w 2854"/>
                  <a:gd name="T81" fmla="*/ 5162 h 5434"/>
                  <a:gd name="T82" fmla="*/ 95 w 2854"/>
                  <a:gd name="T83" fmla="*/ 5276 h 5434"/>
                  <a:gd name="T84" fmla="*/ 119 w 2854"/>
                  <a:gd name="T85" fmla="*/ 5353 h 5434"/>
                  <a:gd name="T86" fmla="*/ 376 w 2854"/>
                  <a:gd name="T87" fmla="*/ 5401 h 5434"/>
                  <a:gd name="T88" fmla="*/ 766 w 2854"/>
                  <a:gd name="T89" fmla="*/ 5430 h 5434"/>
                  <a:gd name="T90" fmla="*/ 1475 w 2854"/>
                  <a:gd name="T91" fmla="*/ 5430 h 5434"/>
                  <a:gd name="T92" fmla="*/ 2792 w 2854"/>
                  <a:gd name="T93" fmla="*/ 5401 h 5434"/>
                  <a:gd name="T94" fmla="*/ 2779 w 2854"/>
                  <a:gd name="T95" fmla="*/ 5302 h 5434"/>
                  <a:gd name="T96" fmla="*/ 2779 w 2854"/>
                  <a:gd name="T97" fmla="*/ 5302 h 5434"/>
                  <a:gd name="T98" fmla="*/ 2808 w 2854"/>
                  <a:gd name="T99" fmla="*/ 5299 h 5434"/>
                  <a:gd name="T100" fmla="*/ 2835 w 2854"/>
                  <a:gd name="T101" fmla="*/ 5272 h 5434"/>
                  <a:gd name="T102" fmla="*/ 2846 w 2854"/>
                  <a:gd name="T103" fmla="*/ 5224 h 5434"/>
                  <a:gd name="T104" fmla="*/ 2854 w 2854"/>
                  <a:gd name="T105" fmla="*/ 4722 h 5434"/>
                  <a:gd name="T106" fmla="*/ 2831 w 2854"/>
                  <a:gd name="T107" fmla="*/ 4383 h 5434"/>
                  <a:gd name="T108" fmla="*/ 2784 w 2854"/>
                  <a:gd name="T109" fmla="*/ 4170 h 5434"/>
                  <a:gd name="T110" fmla="*/ 2716 w 2854"/>
                  <a:gd name="T111" fmla="*/ 4038 h 5434"/>
                  <a:gd name="T112" fmla="*/ 2611 w 2854"/>
                  <a:gd name="T113" fmla="*/ 3932 h 5434"/>
                  <a:gd name="T114" fmla="*/ 2488 w 2854"/>
                  <a:gd name="T115" fmla="*/ 3816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4" h="5434">
                    <a:moveTo>
                      <a:pt x="2488" y="3816"/>
                    </a:moveTo>
                    <a:lnTo>
                      <a:pt x="2488" y="3816"/>
                    </a:lnTo>
                    <a:lnTo>
                      <a:pt x="2460" y="3786"/>
                    </a:lnTo>
                    <a:lnTo>
                      <a:pt x="2432" y="3758"/>
                    </a:lnTo>
                    <a:lnTo>
                      <a:pt x="2402" y="3733"/>
                    </a:lnTo>
                    <a:lnTo>
                      <a:pt x="2371" y="3708"/>
                    </a:lnTo>
                    <a:lnTo>
                      <a:pt x="2339" y="3686"/>
                    </a:lnTo>
                    <a:lnTo>
                      <a:pt x="2307" y="3665"/>
                    </a:lnTo>
                    <a:lnTo>
                      <a:pt x="2275" y="3647"/>
                    </a:lnTo>
                    <a:lnTo>
                      <a:pt x="2240" y="3629"/>
                    </a:lnTo>
                    <a:lnTo>
                      <a:pt x="2206" y="3614"/>
                    </a:lnTo>
                    <a:lnTo>
                      <a:pt x="2170" y="3600"/>
                    </a:lnTo>
                    <a:lnTo>
                      <a:pt x="2134" y="3587"/>
                    </a:lnTo>
                    <a:lnTo>
                      <a:pt x="2096" y="3575"/>
                    </a:lnTo>
                    <a:lnTo>
                      <a:pt x="2058" y="3566"/>
                    </a:lnTo>
                    <a:lnTo>
                      <a:pt x="2018" y="3558"/>
                    </a:lnTo>
                    <a:lnTo>
                      <a:pt x="1979" y="3550"/>
                    </a:lnTo>
                    <a:lnTo>
                      <a:pt x="1937" y="3544"/>
                    </a:lnTo>
                    <a:lnTo>
                      <a:pt x="1897" y="3539"/>
                    </a:lnTo>
                    <a:lnTo>
                      <a:pt x="1854" y="3535"/>
                    </a:lnTo>
                    <a:lnTo>
                      <a:pt x="1811" y="3532"/>
                    </a:lnTo>
                    <a:lnTo>
                      <a:pt x="1766" y="3531"/>
                    </a:lnTo>
                    <a:lnTo>
                      <a:pt x="1722" y="3530"/>
                    </a:lnTo>
                    <a:lnTo>
                      <a:pt x="1676" y="3530"/>
                    </a:lnTo>
                    <a:lnTo>
                      <a:pt x="1584" y="3531"/>
                    </a:lnTo>
                    <a:lnTo>
                      <a:pt x="1487" y="3536"/>
                    </a:lnTo>
                    <a:lnTo>
                      <a:pt x="1387" y="3543"/>
                    </a:lnTo>
                    <a:lnTo>
                      <a:pt x="1285" y="3552"/>
                    </a:lnTo>
                    <a:lnTo>
                      <a:pt x="1180" y="3563"/>
                    </a:lnTo>
                    <a:lnTo>
                      <a:pt x="1180" y="3563"/>
                    </a:lnTo>
                    <a:lnTo>
                      <a:pt x="1184" y="3565"/>
                    </a:lnTo>
                    <a:lnTo>
                      <a:pt x="1184" y="3565"/>
                    </a:lnTo>
                    <a:lnTo>
                      <a:pt x="1183" y="3566"/>
                    </a:lnTo>
                    <a:lnTo>
                      <a:pt x="1169" y="3570"/>
                    </a:lnTo>
                    <a:lnTo>
                      <a:pt x="1144" y="3574"/>
                    </a:lnTo>
                    <a:lnTo>
                      <a:pt x="1108" y="3579"/>
                    </a:lnTo>
                    <a:lnTo>
                      <a:pt x="1063" y="3585"/>
                    </a:lnTo>
                    <a:lnTo>
                      <a:pt x="1015" y="3590"/>
                    </a:lnTo>
                    <a:lnTo>
                      <a:pt x="964" y="3594"/>
                    </a:lnTo>
                    <a:lnTo>
                      <a:pt x="914" y="3595"/>
                    </a:lnTo>
                    <a:lnTo>
                      <a:pt x="868" y="3595"/>
                    </a:lnTo>
                    <a:lnTo>
                      <a:pt x="847" y="3594"/>
                    </a:lnTo>
                    <a:lnTo>
                      <a:pt x="828" y="3593"/>
                    </a:lnTo>
                    <a:lnTo>
                      <a:pt x="810" y="3590"/>
                    </a:lnTo>
                    <a:lnTo>
                      <a:pt x="797" y="3587"/>
                    </a:lnTo>
                    <a:lnTo>
                      <a:pt x="785" y="3582"/>
                    </a:lnTo>
                    <a:lnTo>
                      <a:pt x="777" y="3578"/>
                    </a:lnTo>
                    <a:lnTo>
                      <a:pt x="774" y="3574"/>
                    </a:lnTo>
                    <a:lnTo>
                      <a:pt x="773" y="3571"/>
                    </a:lnTo>
                    <a:lnTo>
                      <a:pt x="771" y="3567"/>
                    </a:lnTo>
                    <a:lnTo>
                      <a:pt x="773" y="3563"/>
                    </a:lnTo>
                    <a:lnTo>
                      <a:pt x="774" y="3559"/>
                    </a:lnTo>
                    <a:lnTo>
                      <a:pt x="776" y="3555"/>
                    </a:lnTo>
                    <a:lnTo>
                      <a:pt x="785" y="3546"/>
                    </a:lnTo>
                    <a:lnTo>
                      <a:pt x="798" y="3534"/>
                    </a:lnTo>
                    <a:lnTo>
                      <a:pt x="817" y="3522"/>
                    </a:lnTo>
                    <a:lnTo>
                      <a:pt x="841" y="3508"/>
                    </a:lnTo>
                    <a:lnTo>
                      <a:pt x="871" y="3492"/>
                    </a:lnTo>
                    <a:lnTo>
                      <a:pt x="871" y="3492"/>
                    </a:lnTo>
                    <a:lnTo>
                      <a:pt x="890" y="3487"/>
                    </a:lnTo>
                    <a:lnTo>
                      <a:pt x="918" y="3480"/>
                    </a:lnTo>
                    <a:lnTo>
                      <a:pt x="956" y="3472"/>
                    </a:lnTo>
                    <a:lnTo>
                      <a:pt x="1003" y="3465"/>
                    </a:lnTo>
                    <a:lnTo>
                      <a:pt x="1112" y="3449"/>
                    </a:lnTo>
                    <a:lnTo>
                      <a:pt x="1234" y="3433"/>
                    </a:lnTo>
                    <a:lnTo>
                      <a:pt x="1356" y="3418"/>
                    </a:lnTo>
                    <a:lnTo>
                      <a:pt x="1467" y="3406"/>
                    </a:lnTo>
                    <a:lnTo>
                      <a:pt x="1553" y="3398"/>
                    </a:lnTo>
                    <a:lnTo>
                      <a:pt x="1602" y="3394"/>
                    </a:lnTo>
                    <a:lnTo>
                      <a:pt x="1602" y="3394"/>
                    </a:lnTo>
                    <a:lnTo>
                      <a:pt x="1684" y="3392"/>
                    </a:lnTo>
                    <a:lnTo>
                      <a:pt x="1765" y="3392"/>
                    </a:lnTo>
                    <a:lnTo>
                      <a:pt x="1843" y="3394"/>
                    </a:lnTo>
                    <a:lnTo>
                      <a:pt x="1921" y="3398"/>
                    </a:lnTo>
                    <a:lnTo>
                      <a:pt x="1996" y="3405"/>
                    </a:lnTo>
                    <a:lnTo>
                      <a:pt x="2033" y="3409"/>
                    </a:lnTo>
                    <a:lnTo>
                      <a:pt x="2069" y="3414"/>
                    </a:lnTo>
                    <a:lnTo>
                      <a:pt x="2105" y="3421"/>
                    </a:lnTo>
                    <a:lnTo>
                      <a:pt x="2142" y="3427"/>
                    </a:lnTo>
                    <a:lnTo>
                      <a:pt x="2177" y="3435"/>
                    </a:lnTo>
                    <a:lnTo>
                      <a:pt x="2210" y="3445"/>
                    </a:lnTo>
                    <a:lnTo>
                      <a:pt x="2244" y="3456"/>
                    </a:lnTo>
                    <a:lnTo>
                      <a:pt x="2277" y="3466"/>
                    </a:lnTo>
                    <a:lnTo>
                      <a:pt x="2311" y="3478"/>
                    </a:lnTo>
                    <a:lnTo>
                      <a:pt x="2343" y="3492"/>
                    </a:lnTo>
                    <a:lnTo>
                      <a:pt x="2374" y="3507"/>
                    </a:lnTo>
                    <a:lnTo>
                      <a:pt x="2405" y="3523"/>
                    </a:lnTo>
                    <a:lnTo>
                      <a:pt x="2436" y="3540"/>
                    </a:lnTo>
                    <a:lnTo>
                      <a:pt x="2466" y="3559"/>
                    </a:lnTo>
                    <a:lnTo>
                      <a:pt x="2495" y="3579"/>
                    </a:lnTo>
                    <a:lnTo>
                      <a:pt x="2523" y="3602"/>
                    </a:lnTo>
                    <a:lnTo>
                      <a:pt x="2552" y="3625"/>
                    </a:lnTo>
                    <a:lnTo>
                      <a:pt x="2579" y="3649"/>
                    </a:lnTo>
                    <a:lnTo>
                      <a:pt x="2605" y="3676"/>
                    </a:lnTo>
                    <a:lnTo>
                      <a:pt x="2632" y="3704"/>
                    </a:lnTo>
                    <a:lnTo>
                      <a:pt x="2657" y="3734"/>
                    </a:lnTo>
                    <a:lnTo>
                      <a:pt x="2682" y="3765"/>
                    </a:lnTo>
                    <a:lnTo>
                      <a:pt x="2682" y="3765"/>
                    </a:lnTo>
                    <a:lnTo>
                      <a:pt x="2666" y="3624"/>
                    </a:lnTo>
                    <a:lnTo>
                      <a:pt x="2654" y="3489"/>
                    </a:lnTo>
                    <a:lnTo>
                      <a:pt x="2644" y="3360"/>
                    </a:lnTo>
                    <a:lnTo>
                      <a:pt x="2639" y="3234"/>
                    </a:lnTo>
                    <a:lnTo>
                      <a:pt x="2635" y="3113"/>
                    </a:lnTo>
                    <a:lnTo>
                      <a:pt x="2634" y="2993"/>
                    </a:lnTo>
                    <a:lnTo>
                      <a:pt x="2635" y="2875"/>
                    </a:lnTo>
                    <a:lnTo>
                      <a:pt x="2638" y="2758"/>
                    </a:lnTo>
                    <a:lnTo>
                      <a:pt x="2643" y="2641"/>
                    </a:lnTo>
                    <a:lnTo>
                      <a:pt x="2648" y="2524"/>
                    </a:lnTo>
                    <a:lnTo>
                      <a:pt x="2657" y="2404"/>
                    </a:lnTo>
                    <a:lnTo>
                      <a:pt x="2666" y="2282"/>
                    </a:lnTo>
                    <a:lnTo>
                      <a:pt x="2686" y="2028"/>
                    </a:lnTo>
                    <a:lnTo>
                      <a:pt x="2708" y="1752"/>
                    </a:lnTo>
                    <a:lnTo>
                      <a:pt x="2708" y="1752"/>
                    </a:lnTo>
                    <a:lnTo>
                      <a:pt x="2717" y="1601"/>
                    </a:lnTo>
                    <a:lnTo>
                      <a:pt x="2724" y="1452"/>
                    </a:lnTo>
                    <a:lnTo>
                      <a:pt x="2728" y="1301"/>
                    </a:lnTo>
                    <a:lnTo>
                      <a:pt x="2729" y="1151"/>
                    </a:lnTo>
                    <a:lnTo>
                      <a:pt x="2729" y="1151"/>
                    </a:lnTo>
                    <a:lnTo>
                      <a:pt x="2729" y="408"/>
                    </a:lnTo>
                    <a:lnTo>
                      <a:pt x="2729" y="408"/>
                    </a:lnTo>
                    <a:lnTo>
                      <a:pt x="2730" y="21"/>
                    </a:lnTo>
                    <a:lnTo>
                      <a:pt x="2730" y="21"/>
                    </a:lnTo>
                    <a:lnTo>
                      <a:pt x="2549" y="13"/>
                    </a:lnTo>
                    <a:lnTo>
                      <a:pt x="2371" y="8"/>
                    </a:lnTo>
                    <a:lnTo>
                      <a:pt x="2197" y="4"/>
                    </a:lnTo>
                    <a:lnTo>
                      <a:pt x="2027" y="1"/>
                    </a:lnTo>
                    <a:lnTo>
                      <a:pt x="1861" y="0"/>
                    </a:lnTo>
                    <a:lnTo>
                      <a:pt x="1698" y="1"/>
                    </a:lnTo>
                    <a:lnTo>
                      <a:pt x="1539" y="4"/>
                    </a:lnTo>
                    <a:lnTo>
                      <a:pt x="1385" y="8"/>
                    </a:lnTo>
                    <a:lnTo>
                      <a:pt x="1234" y="14"/>
                    </a:lnTo>
                    <a:lnTo>
                      <a:pt x="1086" y="21"/>
                    </a:lnTo>
                    <a:lnTo>
                      <a:pt x="944" y="31"/>
                    </a:lnTo>
                    <a:lnTo>
                      <a:pt x="804" y="43"/>
                    </a:lnTo>
                    <a:lnTo>
                      <a:pt x="668" y="55"/>
                    </a:lnTo>
                    <a:lnTo>
                      <a:pt x="538" y="70"/>
                    </a:lnTo>
                    <a:lnTo>
                      <a:pt x="410" y="86"/>
                    </a:lnTo>
                    <a:lnTo>
                      <a:pt x="286" y="103"/>
                    </a:lnTo>
                    <a:lnTo>
                      <a:pt x="286" y="103"/>
                    </a:lnTo>
                    <a:lnTo>
                      <a:pt x="286" y="262"/>
                    </a:lnTo>
                    <a:lnTo>
                      <a:pt x="286" y="421"/>
                    </a:lnTo>
                    <a:lnTo>
                      <a:pt x="282" y="738"/>
                    </a:lnTo>
                    <a:lnTo>
                      <a:pt x="281" y="897"/>
                    </a:lnTo>
                    <a:lnTo>
                      <a:pt x="281" y="1055"/>
                    </a:lnTo>
                    <a:lnTo>
                      <a:pt x="282" y="1214"/>
                    </a:lnTo>
                    <a:lnTo>
                      <a:pt x="286" y="1373"/>
                    </a:lnTo>
                    <a:lnTo>
                      <a:pt x="286" y="1373"/>
                    </a:lnTo>
                    <a:lnTo>
                      <a:pt x="287" y="1304"/>
                    </a:lnTo>
                    <a:lnTo>
                      <a:pt x="287" y="1234"/>
                    </a:lnTo>
                    <a:lnTo>
                      <a:pt x="287" y="1234"/>
                    </a:lnTo>
                    <a:lnTo>
                      <a:pt x="287" y="1308"/>
                    </a:lnTo>
                    <a:lnTo>
                      <a:pt x="290" y="1381"/>
                    </a:lnTo>
                    <a:lnTo>
                      <a:pt x="296" y="1455"/>
                    </a:lnTo>
                    <a:lnTo>
                      <a:pt x="301" y="1527"/>
                    </a:lnTo>
                    <a:lnTo>
                      <a:pt x="308" y="1600"/>
                    </a:lnTo>
                    <a:lnTo>
                      <a:pt x="316" y="1673"/>
                    </a:lnTo>
                    <a:lnTo>
                      <a:pt x="335" y="1818"/>
                    </a:lnTo>
                    <a:lnTo>
                      <a:pt x="353" y="1963"/>
                    </a:lnTo>
                    <a:lnTo>
                      <a:pt x="372" y="2108"/>
                    </a:lnTo>
                    <a:lnTo>
                      <a:pt x="382" y="2181"/>
                    </a:lnTo>
                    <a:lnTo>
                      <a:pt x="388" y="2253"/>
                    </a:lnTo>
                    <a:lnTo>
                      <a:pt x="395" y="2327"/>
                    </a:lnTo>
                    <a:lnTo>
                      <a:pt x="400" y="2400"/>
                    </a:lnTo>
                    <a:lnTo>
                      <a:pt x="400" y="2400"/>
                    </a:lnTo>
                    <a:lnTo>
                      <a:pt x="404" y="2473"/>
                    </a:lnTo>
                    <a:lnTo>
                      <a:pt x="407" y="2545"/>
                    </a:lnTo>
                    <a:lnTo>
                      <a:pt x="408" y="2618"/>
                    </a:lnTo>
                    <a:lnTo>
                      <a:pt x="410" y="2690"/>
                    </a:lnTo>
                    <a:lnTo>
                      <a:pt x="408" y="2762"/>
                    </a:lnTo>
                    <a:lnTo>
                      <a:pt x="407" y="2834"/>
                    </a:lnTo>
                    <a:lnTo>
                      <a:pt x="404" y="2907"/>
                    </a:lnTo>
                    <a:lnTo>
                      <a:pt x="400" y="2980"/>
                    </a:lnTo>
                    <a:lnTo>
                      <a:pt x="391" y="3125"/>
                    </a:lnTo>
                    <a:lnTo>
                      <a:pt x="379" y="3270"/>
                    </a:lnTo>
                    <a:lnTo>
                      <a:pt x="364" y="3414"/>
                    </a:lnTo>
                    <a:lnTo>
                      <a:pt x="348" y="3558"/>
                    </a:lnTo>
                    <a:lnTo>
                      <a:pt x="348" y="3558"/>
                    </a:lnTo>
                    <a:lnTo>
                      <a:pt x="335" y="3660"/>
                    </a:lnTo>
                    <a:lnTo>
                      <a:pt x="321" y="3762"/>
                    </a:lnTo>
                    <a:lnTo>
                      <a:pt x="306" y="3864"/>
                    </a:lnTo>
                    <a:lnTo>
                      <a:pt x="291" y="3965"/>
                    </a:lnTo>
                    <a:lnTo>
                      <a:pt x="259" y="4168"/>
                    </a:lnTo>
                    <a:lnTo>
                      <a:pt x="223" y="4371"/>
                    </a:lnTo>
                    <a:lnTo>
                      <a:pt x="223" y="4371"/>
                    </a:lnTo>
                    <a:lnTo>
                      <a:pt x="205" y="4451"/>
                    </a:lnTo>
                    <a:lnTo>
                      <a:pt x="189" y="4530"/>
                    </a:lnTo>
                    <a:lnTo>
                      <a:pt x="175" y="4608"/>
                    </a:lnTo>
                    <a:lnTo>
                      <a:pt x="162" y="4686"/>
                    </a:lnTo>
                    <a:lnTo>
                      <a:pt x="162" y="4686"/>
                    </a:lnTo>
                    <a:lnTo>
                      <a:pt x="141" y="4690"/>
                    </a:lnTo>
                    <a:lnTo>
                      <a:pt x="95" y="4698"/>
                    </a:lnTo>
                    <a:lnTo>
                      <a:pt x="48" y="4705"/>
                    </a:lnTo>
                    <a:lnTo>
                      <a:pt x="27" y="4709"/>
                    </a:lnTo>
                    <a:lnTo>
                      <a:pt x="27" y="4709"/>
                    </a:lnTo>
                    <a:lnTo>
                      <a:pt x="15" y="4807"/>
                    </a:lnTo>
                    <a:lnTo>
                      <a:pt x="6" y="4903"/>
                    </a:lnTo>
                    <a:lnTo>
                      <a:pt x="4" y="4950"/>
                    </a:lnTo>
                    <a:lnTo>
                      <a:pt x="1" y="4995"/>
                    </a:lnTo>
                    <a:lnTo>
                      <a:pt x="0" y="5041"/>
                    </a:lnTo>
                    <a:lnTo>
                      <a:pt x="0" y="5085"/>
                    </a:lnTo>
                    <a:lnTo>
                      <a:pt x="0" y="5085"/>
                    </a:lnTo>
                    <a:lnTo>
                      <a:pt x="1" y="5106"/>
                    </a:lnTo>
                    <a:lnTo>
                      <a:pt x="5" y="5124"/>
                    </a:lnTo>
                    <a:lnTo>
                      <a:pt x="12" y="5143"/>
                    </a:lnTo>
                    <a:lnTo>
                      <a:pt x="20" y="5162"/>
                    </a:lnTo>
                    <a:lnTo>
                      <a:pt x="29" y="5180"/>
                    </a:lnTo>
                    <a:lnTo>
                      <a:pt x="40" y="5197"/>
                    </a:lnTo>
                    <a:lnTo>
                      <a:pt x="62" y="5229"/>
                    </a:lnTo>
                    <a:lnTo>
                      <a:pt x="84" y="5260"/>
                    </a:lnTo>
                    <a:lnTo>
                      <a:pt x="95" y="5276"/>
                    </a:lnTo>
                    <a:lnTo>
                      <a:pt x="103" y="5291"/>
                    </a:lnTo>
                    <a:lnTo>
                      <a:pt x="111" y="5307"/>
                    </a:lnTo>
                    <a:lnTo>
                      <a:pt x="117" y="5322"/>
                    </a:lnTo>
                    <a:lnTo>
                      <a:pt x="119" y="5338"/>
                    </a:lnTo>
                    <a:lnTo>
                      <a:pt x="119" y="5353"/>
                    </a:lnTo>
                    <a:lnTo>
                      <a:pt x="119" y="5353"/>
                    </a:lnTo>
                    <a:lnTo>
                      <a:pt x="173" y="5366"/>
                    </a:lnTo>
                    <a:lnTo>
                      <a:pt x="234" y="5379"/>
                    </a:lnTo>
                    <a:lnTo>
                      <a:pt x="301" y="5391"/>
                    </a:lnTo>
                    <a:lnTo>
                      <a:pt x="376" y="5401"/>
                    </a:lnTo>
                    <a:lnTo>
                      <a:pt x="461" y="5411"/>
                    </a:lnTo>
                    <a:lnTo>
                      <a:pt x="554" y="5419"/>
                    </a:lnTo>
                    <a:lnTo>
                      <a:pt x="655" y="5424"/>
                    </a:lnTo>
                    <a:lnTo>
                      <a:pt x="766" y="5430"/>
                    </a:lnTo>
                    <a:lnTo>
                      <a:pt x="766" y="5430"/>
                    </a:lnTo>
                    <a:lnTo>
                      <a:pt x="868" y="5432"/>
                    </a:lnTo>
                    <a:lnTo>
                      <a:pt x="977" y="5434"/>
                    </a:lnTo>
                    <a:lnTo>
                      <a:pt x="1094" y="5434"/>
                    </a:lnTo>
                    <a:lnTo>
                      <a:pt x="1217" y="5434"/>
                    </a:lnTo>
                    <a:lnTo>
                      <a:pt x="1475" y="5430"/>
                    </a:lnTo>
                    <a:lnTo>
                      <a:pt x="1745" y="5424"/>
                    </a:lnTo>
                    <a:lnTo>
                      <a:pt x="2291" y="5412"/>
                    </a:lnTo>
                    <a:lnTo>
                      <a:pt x="2552" y="5405"/>
                    </a:lnTo>
                    <a:lnTo>
                      <a:pt x="2792" y="5401"/>
                    </a:lnTo>
                    <a:lnTo>
                      <a:pt x="2792" y="5401"/>
                    </a:lnTo>
                    <a:lnTo>
                      <a:pt x="2788" y="5361"/>
                    </a:lnTo>
                    <a:lnTo>
                      <a:pt x="2786" y="5332"/>
                    </a:lnTo>
                    <a:lnTo>
                      <a:pt x="2782" y="5313"/>
                    </a:lnTo>
                    <a:lnTo>
                      <a:pt x="2779" y="5302"/>
                    </a:lnTo>
                    <a:lnTo>
                      <a:pt x="2779" y="5302"/>
                    </a:lnTo>
                    <a:lnTo>
                      <a:pt x="2776" y="5299"/>
                    </a:lnTo>
                    <a:lnTo>
                      <a:pt x="2775" y="5298"/>
                    </a:lnTo>
                    <a:lnTo>
                      <a:pt x="2776" y="5297"/>
                    </a:lnTo>
                    <a:lnTo>
                      <a:pt x="2776" y="5298"/>
                    </a:lnTo>
                    <a:lnTo>
                      <a:pt x="2779" y="5302"/>
                    </a:lnTo>
                    <a:lnTo>
                      <a:pt x="2779" y="5302"/>
                    </a:lnTo>
                    <a:lnTo>
                      <a:pt x="2783" y="5303"/>
                    </a:lnTo>
                    <a:lnTo>
                      <a:pt x="2792" y="5303"/>
                    </a:lnTo>
                    <a:lnTo>
                      <a:pt x="2802" y="5301"/>
                    </a:lnTo>
                    <a:lnTo>
                      <a:pt x="2808" y="5299"/>
                    </a:lnTo>
                    <a:lnTo>
                      <a:pt x="2814" y="5297"/>
                    </a:lnTo>
                    <a:lnTo>
                      <a:pt x="2819" y="5293"/>
                    </a:lnTo>
                    <a:lnTo>
                      <a:pt x="2825" y="5287"/>
                    </a:lnTo>
                    <a:lnTo>
                      <a:pt x="2830" y="5280"/>
                    </a:lnTo>
                    <a:lnTo>
                      <a:pt x="2835" y="5272"/>
                    </a:lnTo>
                    <a:lnTo>
                      <a:pt x="2839" y="5263"/>
                    </a:lnTo>
                    <a:lnTo>
                      <a:pt x="2842" y="5252"/>
                    </a:lnTo>
                    <a:lnTo>
                      <a:pt x="2845" y="5239"/>
                    </a:lnTo>
                    <a:lnTo>
                      <a:pt x="2846" y="5224"/>
                    </a:lnTo>
                    <a:lnTo>
                      <a:pt x="2846" y="5224"/>
                    </a:lnTo>
                    <a:lnTo>
                      <a:pt x="2850" y="5108"/>
                    </a:lnTo>
                    <a:lnTo>
                      <a:pt x="2853" y="5001"/>
                    </a:lnTo>
                    <a:lnTo>
                      <a:pt x="2854" y="4901"/>
                    </a:lnTo>
                    <a:lnTo>
                      <a:pt x="2854" y="4808"/>
                    </a:lnTo>
                    <a:lnTo>
                      <a:pt x="2854" y="4722"/>
                    </a:lnTo>
                    <a:lnTo>
                      <a:pt x="2851" y="4642"/>
                    </a:lnTo>
                    <a:lnTo>
                      <a:pt x="2849" y="4569"/>
                    </a:lnTo>
                    <a:lnTo>
                      <a:pt x="2843" y="4502"/>
                    </a:lnTo>
                    <a:lnTo>
                      <a:pt x="2838" y="4440"/>
                    </a:lnTo>
                    <a:lnTo>
                      <a:pt x="2831" y="4383"/>
                    </a:lnTo>
                    <a:lnTo>
                      <a:pt x="2825" y="4332"/>
                    </a:lnTo>
                    <a:lnTo>
                      <a:pt x="2815" y="4285"/>
                    </a:lnTo>
                    <a:lnTo>
                      <a:pt x="2806" y="4242"/>
                    </a:lnTo>
                    <a:lnTo>
                      <a:pt x="2796" y="4205"/>
                    </a:lnTo>
                    <a:lnTo>
                      <a:pt x="2784" y="4170"/>
                    </a:lnTo>
                    <a:lnTo>
                      <a:pt x="2772" y="4137"/>
                    </a:lnTo>
                    <a:lnTo>
                      <a:pt x="2759" y="4109"/>
                    </a:lnTo>
                    <a:lnTo>
                      <a:pt x="2745" y="4082"/>
                    </a:lnTo>
                    <a:lnTo>
                      <a:pt x="2730" y="4059"/>
                    </a:lnTo>
                    <a:lnTo>
                      <a:pt x="2716" y="4038"/>
                    </a:lnTo>
                    <a:lnTo>
                      <a:pt x="2700" y="4018"/>
                    </a:lnTo>
                    <a:lnTo>
                      <a:pt x="2683" y="3999"/>
                    </a:lnTo>
                    <a:lnTo>
                      <a:pt x="2666" y="3981"/>
                    </a:lnTo>
                    <a:lnTo>
                      <a:pt x="2647" y="3964"/>
                    </a:lnTo>
                    <a:lnTo>
                      <a:pt x="2611" y="3932"/>
                    </a:lnTo>
                    <a:lnTo>
                      <a:pt x="2572" y="3898"/>
                    </a:lnTo>
                    <a:lnTo>
                      <a:pt x="2530" y="3859"/>
                    </a:lnTo>
                    <a:lnTo>
                      <a:pt x="2509" y="3839"/>
                    </a:lnTo>
                    <a:lnTo>
                      <a:pt x="2488" y="3816"/>
                    </a:lnTo>
                    <a:lnTo>
                      <a:pt x="2488" y="3816"/>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43" name="Freeform 169"/>
              <p:cNvSpPr>
                <a:spLocks/>
              </p:cNvSpPr>
              <p:nvPr/>
            </p:nvSpPr>
            <p:spPr bwMode="auto">
              <a:xfrm>
                <a:off x="9311722" y="2495108"/>
                <a:ext cx="127990" cy="265460"/>
              </a:xfrm>
              <a:custGeom>
                <a:avLst/>
                <a:gdLst>
                  <a:gd name="T0" fmla="*/ 2732 w 2881"/>
                  <a:gd name="T1" fmla="*/ 4699 h 5434"/>
                  <a:gd name="T2" fmla="*/ 2667 w 2881"/>
                  <a:gd name="T3" fmla="*/ 4451 h 5434"/>
                  <a:gd name="T4" fmla="*/ 2565 w 2881"/>
                  <a:gd name="T5" fmla="*/ 3864 h 5434"/>
                  <a:gd name="T6" fmla="*/ 2517 w 2881"/>
                  <a:gd name="T7" fmla="*/ 3487 h 5434"/>
                  <a:gd name="T8" fmla="*/ 2514 w 2881"/>
                  <a:gd name="T9" fmla="*/ 3144 h 5434"/>
                  <a:gd name="T10" fmla="*/ 2564 w 2881"/>
                  <a:gd name="T11" fmla="*/ 2600 h 5434"/>
                  <a:gd name="T12" fmla="*/ 2583 w 2881"/>
                  <a:gd name="T13" fmla="*/ 2318 h 5434"/>
                  <a:gd name="T14" fmla="*/ 2588 w 2881"/>
                  <a:gd name="T15" fmla="*/ 1593 h 5434"/>
                  <a:gd name="T16" fmla="*/ 2589 w 2881"/>
                  <a:gd name="T17" fmla="*/ 1215 h 5434"/>
                  <a:gd name="T18" fmla="*/ 2585 w 2881"/>
                  <a:gd name="T19" fmla="*/ 277 h 5434"/>
                  <a:gd name="T20" fmla="*/ 2206 w 2881"/>
                  <a:gd name="T21" fmla="*/ 66 h 5434"/>
                  <a:gd name="T22" fmla="*/ 1492 w 2881"/>
                  <a:gd name="T23" fmla="*/ 12 h 5434"/>
                  <a:gd name="T24" fmla="*/ 677 w 2881"/>
                  <a:gd name="T25" fmla="*/ 1 h 5434"/>
                  <a:gd name="T26" fmla="*/ 142 w 2881"/>
                  <a:gd name="T27" fmla="*/ 408 h 5434"/>
                  <a:gd name="T28" fmla="*/ 148 w 2881"/>
                  <a:gd name="T29" fmla="*/ 1452 h 5434"/>
                  <a:gd name="T30" fmla="*/ 205 w 2881"/>
                  <a:gd name="T31" fmla="*/ 2306 h 5434"/>
                  <a:gd name="T32" fmla="*/ 236 w 2881"/>
                  <a:gd name="T33" fmla="*/ 2963 h 5434"/>
                  <a:gd name="T34" fmla="*/ 217 w 2881"/>
                  <a:gd name="T35" fmla="*/ 3633 h 5434"/>
                  <a:gd name="T36" fmla="*/ 240 w 2881"/>
                  <a:gd name="T37" fmla="*/ 3854 h 5434"/>
                  <a:gd name="T38" fmla="*/ 376 w 2881"/>
                  <a:gd name="T39" fmla="*/ 3726 h 5434"/>
                  <a:gd name="T40" fmla="*/ 529 w 2881"/>
                  <a:gd name="T41" fmla="*/ 3632 h 5434"/>
                  <a:gd name="T42" fmla="*/ 696 w 2881"/>
                  <a:gd name="T43" fmla="*/ 3567 h 5434"/>
                  <a:gd name="T44" fmla="*/ 875 w 2881"/>
                  <a:gd name="T45" fmla="*/ 3528 h 5434"/>
                  <a:gd name="T46" fmla="*/ 1187 w 2881"/>
                  <a:gd name="T47" fmla="*/ 3508 h 5434"/>
                  <a:gd name="T48" fmla="*/ 1403 w 2881"/>
                  <a:gd name="T49" fmla="*/ 3520 h 5434"/>
                  <a:gd name="T50" fmla="*/ 1637 w 2881"/>
                  <a:gd name="T51" fmla="*/ 3556 h 5434"/>
                  <a:gd name="T52" fmla="*/ 1842 w 2881"/>
                  <a:gd name="T53" fmla="*/ 3641 h 5434"/>
                  <a:gd name="T54" fmla="*/ 2078 w 2881"/>
                  <a:gd name="T55" fmla="*/ 3769 h 5434"/>
                  <a:gd name="T56" fmla="*/ 2228 w 2881"/>
                  <a:gd name="T57" fmla="*/ 3887 h 5434"/>
                  <a:gd name="T58" fmla="*/ 2312 w 2881"/>
                  <a:gd name="T59" fmla="*/ 3991 h 5434"/>
                  <a:gd name="T60" fmla="*/ 2355 w 2881"/>
                  <a:gd name="T61" fmla="*/ 4089 h 5434"/>
                  <a:gd name="T62" fmla="*/ 2371 w 2881"/>
                  <a:gd name="T63" fmla="*/ 4164 h 5434"/>
                  <a:gd name="T64" fmla="*/ 2373 w 2881"/>
                  <a:gd name="T65" fmla="*/ 4168 h 5434"/>
                  <a:gd name="T66" fmla="*/ 2268 w 2881"/>
                  <a:gd name="T67" fmla="*/ 4084 h 5434"/>
                  <a:gd name="T68" fmla="*/ 2089 w 2881"/>
                  <a:gd name="T69" fmla="*/ 3968 h 5434"/>
                  <a:gd name="T70" fmla="*/ 1905 w 2881"/>
                  <a:gd name="T71" fmla="*/ 3874 h 5434"/>
                  <a:gd name="T72" fmla="*/ 1567 w 2881"/>
                  <a:gd name="T73" fmla="*/ 3755 h 5434"/>
                  <a:gd name="T74" fmla="*/ 1200 w 2881"/>
                  <a:gd name="T75" fmla="*/ 3696 h 5434"/>
                  <a:gd name="T76" fmla="*/ 866 w 2881"/>
                  <a:gd name="T77" fmla="*/ 3706 h 5434"/>
                  <a:gd name="T78" fmla="*/ 585 w 2881"/>
                  <a:gd name="T79" fmla="*/ 3776 h 5434"/>
                  <a:gd name="T80" fmla="*/ 451 w 2881"/>
                  <a:gd name="T81" fmla="*/ 3842 h 5434"/>
                  <a:gd name="T82" fmla="*/ 367 w 2881"/>
                  <a:gd name="T83" fmla="*/ 3910 h 5434"/>
                  <a:gd name="T84" fmla="*/ 293 w 2881"/>
                  <a:gd name="T85" fmla="*/ 4000 h 5434"/>
                  <a:gd name="T86" fmla="*/ 209 w 2881"/>
                  <a:gd name="T87" fmla="*/ 4132 h 5434"/>
                  <a:gd name="T88" fmla="*/ 95 w 2881"/>
                  <a:gd name="T89" fmla="*/ 4418 h 5434"/>
                  <a:gd name="T90" fmla="*/ 27 w 2881"/>
                  <a:gd name="T91" fmla="*/ 4716 h 5434"/>
                  <a:gd name="T92" fmla="*/ 0 w 2881"/>
                  <a:gd name="T93" fmla="*/ 4908 h 5434"/>
                  <a:gd name="T94" fmla="*/ 25 w 2881"/>
                  <a:gd name="T95" fmla="*/ 5079 h 5434"/>
                  <a:gd name="T96" fmla="*/ 75 w 2881"/>
                  <a:gd name="T97" fmla="*/ 5286 h 5434"/>
                  <a:gd name="T98" fmla="*/ 321 w 2881"/>
                  <a:gd name="T99" fmla="*/ 5405 h 5434"/>
                  <a:gd name="T100" fmla="*/ 1777 w 2881"/>
                  <a:gd name="T101" fmla="*/ 5434 h 5434"/>
                  <a:gd name="T102" fmla="*/ 2217 w 2881"/>
                  <a:gd name="T103" fmla="*/ 5424 h 5434"/>
                  <a:gd name="T104" fmla="*/ 2639 w 2881"/>
                  <a:gd name="T105" fmla="*/ 5379 h 5434"/>
                  <a:gd name="T106" fmla="*/ 2752 w 2881"/>
                  <a:gd name="T107" fmla="*/ 5338 h 5434"/>
                  <a:gd name="T108" fmla="*/ 2790 w 2881"/>
                  <a:gd name="T109" fmla="*/ 5279 h 5434"/>
                  <a:gd name="T110" fmla="*/ 2869 w 2881"/>
                  <a:gd name="T111" fmla="*/ 5196 h 5434"/>
                  <a:gd name="T112" fmla="*/ 2881 w 2881"/>
                  <a:gd name="T113" fmla="*/ 5099 h 5434"/>
                  <a:gd name="T114" fmla="*/ 2854 w 2881"/>
                  <a:gd name="T115" fmla="*/ 4767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1" h="5434">
                    <a:moveTo>
                      <a:pt x="2854" y="4767"/>
                    </a:moveTo>
                    <a:lnTo>
                      <a:pt x="2854" y="4767"/>
                    </a:lnTo>
                    <a:lnTo>
                      <a:pt x="2831" y="4755"/>
                    </a:lnTo>
                    <a:lnTo>
                      <a:pt x="2782" y="4726"/>
                    </a:lnTo>
                    <a:lnTo>
                      <a:pt x="2732" y="4699"/>
                    </a:lnTo>
                    <a:lnTo>
                      <a:pt x="2709" y="4686"/>
                    </a:lnTo>
                    <a:lnTo>
                      <a:pt x="2709" y="4686"/>
                    </a:lnTo>
                    <a:lnTo>
                      <a:pt x="2697" y="4608"/>
                    </a:lnTo>
                    <a:lnTo>
                      <a:pt x="2683" y="4530"/>
                    </a:lnTo>
                    <a:lnTo>
                      <a:pt x="2667" y="4451"/>
                    </a:lnTo>
                    <a:lnTo>
                      <a:pt x="2648" y="4371"/>
                    </a:lnTo>
                    <a:lnTo>
                      <a:pt x="2648" y="4371"/>
                    </a:lnTo>
                    <a:lnTo>
                      <a:pt x="2612" y="4168"/>
                    </a:lnTo>
                    <a:lnTo>
                      <a:pt x="2580" y="3965"/>
                    </a:lnTo>
                    <a:lnTo>
                      <a:pt x="2565" y="3864"/>
                    </a:lnTo>
                    <a:lnTo>
                      <a:pt x="2550" y="3762"/>
                    </a:lnTo>
                    <a:lnTo>
                      <a:pt x="2537" y="3660"/>
                    </a:lnTo>
                    <a:lnTo>
                      <a:pt x="2523" y="3558"/>
                    </a:lnTo>
                    <a:lnTo>
                      <a:pt x="2523" y="3558"/>
                    </a:lnTo>
                    <a:lnTo>
                      <a:pt x="2517" y="3487"/>
                    </a:lnTo>
                    <a:lnTo>
                      <a:pt x="2513" y="3417"/>
                    </a:lnTo>
                    <a:lnTo>
                      <a:pt x="2510" y="3347"/>
                    </a:lnTo>
                    <a:lnTo>
                      <a:pt x="2509" y="3278"/>
                    </a:lnTo>
                    <a:lnTo>
                      <a:pt x="2510" y="3211"/>
                    </a:lnTo>
                    <a:lnTo>
                      <a:pt x="2514" y="3144"/>
                    </a:lnTo>
                    <a:lnTo>
                      <a:pt x="2518" y="3076"/>
                    </a:lnTo>
                    <a:lnTo>
                      <a:pt x="2523" y="3009"/>
                    </a:lnTo>
                    <a:lnTo>
                      <a:pt x="2535" y="2875"/>
                    </a:lnTo>
                    <a:lnTo>
                      <a:pt x="2550" y="2739"/>
                    </a:lnTo>
                    <a:lnTo>
                      <a:pt x="2564" y="2600"/>
                    </a:lnTo>
                    <a:lnTo>
                      <a:pt x="2569" y="2529"/>
                    </a:lnTo>
                    <a:lnTo>
                      <a:pt x="2574" y="2458"/>
                    </a:lnTo>
                    <a:lnTo>
                      <a:pt x="2574" y="2458"/>
                    </a:lnTo>
                    <a:lnTo>
                      <a:pt x="2578" y="2388"/>
                    </a:lnTo>
                    <a:lnTo>
                      <a:pt x="2583" y="2318"/>
                    </a:lnTo>
                    <a:lnTo>
                      <a:pt x="2587" y="2177"/>
                    </a:lnTo>
                    <a:lnTo>
                      <a:pt x="2589" y="2032"/>
                    </a:lnTo>
                    <a:lnTo>
                      <a:pt x="2589" y="1885"/>
                    </a:lnTo>
                    <a:lnTo>
                      <a:pt x="2589" y="1740"/>
                    </a:lnTo>
                    <a:lnTo>
                      <a:pt x="2588" y="1593"/>
                    </a:lnTo>
                    <a:lnTo>
                      <a:pt x="2585" y="1308"/>
                    </a:lnTo>
                    <a:lnTo>
                      <a:pt x="2585" y="1308"/>
                    </a:lnTo>
                    <a:lnTo>
                      <a:pt x="2585" y="1373"/>
                    </a:lnTo>
                    <a:lnTo>
                      <a:pt x="2585" y="1373"/>
                    </a:lnTo>
                    <a:lnTo>
                      <a:pt x="2589" y="1215"/>
                    </a:lnTo>
                    <a:lnTo>
                      <a:pt x="2591" y="1059"/>
                    </a:lnTo>
                    <a:lnTo>
                      <a:pt x="2591" y="903"/>
                    </a:lnTo>
                    <a:lnTo>
                      <a:pt x="2589" y="746"/>
                    </a:lnTo>
                    <a:lnTo>
                      <a:pt x="2587" y="433"/>
                    </a:lnTo>
                    <a:lnTo>
                      <a:pt x="2585" y="277"/>
                    </a:lnTo>
                    <a:lnTo>
                      <a:pt x="2585" y="119"/>
                    </a:lnTo>
                    <a:lnTo>
                      <a:pt x="2585" y="119"/>
                    </a:lnTo>
                    <a:lnTo>
                      <a:pt x="2463" y="101"/>
                    </a:lnTo>
                    <a:lnTo>
                      <a:pt x="2336" y="82"/>
                    </a:lnTo>
                    <a:lnTo>
                      <a:pt x="2206" y="66"/>
                    </a:lnTo>
                    <a:lnTo>
                      <a:pt x="2072" y="52"/>
                    </a:lnTo>
                    <a:lnTo>
                      <a:pt x="1933" y="39"/>
                    </a:lnTo>
                    <a:lnTo>
                      <a:pt x="1791" y="28"/>
                    </a:lnTo>
                    <a:lnTo>
                      <a:pt x="1643" y="19"/>
                    </a:lnTo>
                    <a:lnTo>
                      <a:pt x="1492" y="12"/>
                    </a:lnTo>
                    <a:lnTo>
                      <a:pt x="1337" y="6"/>
                    </a:lnTo>
                    <a:lnTo>
                      <a:pt x="1177" y="2"/>
                    </a:lnTo>
                    <a:lnTo>
                      <a:pt x="1015" y="1"/>
                    </a:lnTo>
                    <a:lnTo>
                      <a:pt x="848" y="0"/>
                    </a:lnTo>
                    <a:lnTo>
                      <a:pt x="677" y="1"/>
                    </a:lnTo>
                    <a:lnTo>
                      <a:pt x="503" y="5"/>
                    </a:lnTo>
                    <a:lnTo>
                      <a:pt x="324" y="10"/>
                    </a:lnTo>
                    <a:lnTo>
                      <a:pt x="142" y="17"/>
                    </a:lnTo>
                    <a:lnTo>
                      <a:pt x="142" y="17"/>
                    </a:lnTo>
                    <a:lnTo>
                      <a:pt x="142" y="408"/>
                    </a:lnTo>
                    <a:lnTo>
                      <a:pt x="142" y="408"/>
                    </a:lnTo>
                    <a:lnTo>
                      <a:pt x="142" y="1151"/>
                    </a:lnTo>
                    <a:lnTo>
                      <a:pt x="142" y="1151"/>
                    </a:lnTo>
                    <a:lnTo>
                      <a:pt x="144" y="1301"/>
                    </a:lnTo>
                    <a:lnTo>
                      <a:pt x="148" y="1452"/>
                    </a:lnTo>
                    <a:lnTo>
                      <a:pt x="154" y="1601"/>
                    </a:lnTo>
                    <a:lnTo>
                      <a:pt x="165" y="1752"/>
                    </a:lnTo>
                    <a:lnTo>
                      <a:pt x="165" y="1752"/>
                    </a:lnTo>
                    <a:lnTo>
                      <a:pt x="187" y="2033"/>
                    </a:lnTo>
                    <a:lnTo>
                      <a:pt x="205" y="2306"/>
                    </a:lnTo>
                    <a:lnTo>
                      <a:pt x="215" y="2439"/>
                    </a:lnTo>
                    <a:lnTo>
                      <a:pt x="223" y="2571"/>
                    </a:lnTo>
                    <a:lnTo>
                      <a:pt x="228" y="2703"/>
                    </a:lnTo>
                    <a:lnTo>
                      <a:pt x="234" y="2833"/>
                    </a:lnTo>
                    <a:lnTo>
                      <a:pt x="236" y="2963"/>
                    </a:lnTo>
                    <a:lnTo>
                      <a:pt x="238" y="3095"/>
                    </a:lnTo>
                    <a:lnTo>
                      <a:pt x="236" y="3227"/>
                    </a:lnTo>
                    <a:lnTo>
                      <a:pt x="234" y="3361"/>
                    </a:lnTo>
                    <a:lnTo>
                      <a:pt x="227" y="3496"/>
                    </a:lnTo>
                    <a:lnTo>
                      <a:pt x="217" y="3633"/>
                    </a:lnTo>
                    <a:lnTo>
                      <a:pt x="205" y="3773"/>
                    </a:lnTo>
                    <a:lnTo>
                      <a:pt x="189" y="3916"/>
                    </a:lnTo>
                    <a:lnTo>
                      <a:pt x="189" y="3916"/>
                    </a:lnTo>
                    <a:lnTo>
                      <a:pt x="215" y="3883"/>
                    </a:lnTo>
                    <a:lnTo>
                      <a:pt x="240" y="3854"/>
                    </a:lnTo>
                    <a:lnTo>
                      <a:pt x="266" y="3825"/>
                    </a:lnTo>
                    <a:lnTo>
                      <a:pt x="293" y="3799"/>
                    </a:lnTo>
                    <a:lnTo>
                      <a:pt x="320" y="3773"/>
                    </a:lnTo>
                    <a:lnTo>
                      <a:pt x="348" y="3749"/>
                    </a:lnTo>
                    <a:lnTo>
                      <a:pt x="376" y="3726"/>
                    </a:lnTo>
                    <a:lnTo>
                      <a:pt x="406" y="3704"/>
                    </a:lnTo>
                    <a:lnTo>
                      <a:pt x="435" y="3684"/>
                    </a:lnTo>
                    <a:lnTo>
                      <a:pt x="466" y="3665"/>
                    </a:lnTo>
                    <a:lnTo>
                      <a:pt x="497" y="3648"/>
                    </a:lnTo>
                    <a:lnTo>
                      <a:pt x="529" y="3632"/>
                    </a:lnTo>
                    <a:lnTo>
                      <a:pt x="562" y="3617"/>
                    </a:lnTo>
                    <a:lnTo>
                      <a:pt x="594" y="3602"/>
                    </a:lnTo>
                    <a:lnTo>
                      <a:pt x="628" y="3590"/>
                    </a:lnTo>
                    <a:lnTo>
                      <a:pt x="661" y="3578"/>
                    </a:lnTo>
                    <a:lnTo>
                      <a:pt x="696" y="3567"/>
                    </a:lnTo>
                    <a:lnTo>
                      <a:pt x="731" y="3558"/>
                    </a:lnTo>
                    <a:lnTo>
                      <a:pt x="766" y="3548"/>
                    </a:lnTo>
                    <a:lnTo>
                      <a:pt x="802" y="3540"/>
                    </a:lnTo>
                    <a:lnTo>
                      <a:pt x="839" y="3534"/>
                    </a:lnTo>
                    <a:lnTo>
                      <a:pt x="875" y="3528"/>
                    </a:lnTo>
                    <a:lnTo>
                      <a:pt x="913" y="3523"/>
                    </a:lnTo>
                    <a:lnTo>
                      <a:pt x="952" y="3519"/>
                    </a:lnTo>
                    <a:lnTo>
                      <a:pt x="1028" y="3512"/>
                    </a:lnTo>
                    <a:lnTo>
                      <a:pt x="1108" y="3509"/>
                    </a:lnTo>
                    <a:lnTo>
                      <a:pt x="1187" y="3508"/>
                    </a:lnTo>
                    <a:lnTo>
                      <a:pt x="1270" y="3509"/>
                    </a:lnTo>
                    <a:lnTo>
                      <a:pt x="1270" y="3509"/>
                    </a:lnTo>
                    <a:lnTo>
                      <a:pt x="1304" y="3512"/>
                    </a:lnTo>
                    <a:lnTo>
                      <a:pt x="1350" y="3515"/>
                    </a:lnTo>
                    <a:lnTo>
                      <a:pt x="1403" y="3520"/>
                    </a:lnTo>
                    <a:lnTo>
                      <a:pt x="1463" y="3527"/>
                    </a:lnTo>
                    <a:lnTo>
                      <a:pt x="1520" y="3535"/>
                    </a:lnTo>
                    <a:lnTo>
                      <a:pt x="1574" y="3543"/>
                    </a:lnTo>
                    <a:lnTo>
                      <a:pt x="1618" y="3552"/>
                    </a:lnTo>
                    <a:lnTo>
                      <a:pt x="1637" y="3556"/>
                    </a:lnTo>
                    <a:lnTo>
                      <a:pt x="1651" y="3562"/>
                    </a:lnTo>
                    <a:lnTo>
                      <a:pt x="1651" y="3562"/>
                    </a:lnTo>
                    <a:lnTo>
                      <a:pt x="1719" y="3589"/>
                    </a:lnTo>
                    <a:lnTo>
                      <a:pt x="1783" y="3616"/>
                    </a:lnTo>
                    <a:lnTo>
                      <a:pt x="1842" y="3641"/>
                    </a:lnTo>
                    <a:lnTo>
                      <a:pt x="1897" y="3668"/>
                    </a:lnTo>
                    <a:lnTo>
                      <a:pt x="1948" y="3694"/>
                    </a:lnTo>
                    <a:lnTo>
                      <a:pt x="1995" y="3719"/>
                    </a:lnTo>
                    <a:lnTo>
                      <a:pt x="2038" y="3745"/>
                    </a:lnTo>
                    <a:lnTo>
                      <a:pt x="2078" y="3769"/>
                    </a:lnTo>
                    <a:lnTo>
                      <a:pt x="2115" y="3793"/>
                    </a:lnTo>
                    <a:lnTo>
                      <a:pt x="2147" y="3817"/>
                    </a:lnTo>
                    <a:lnTo>
                      <a:pt x="2176" y="3842"/>
                    </a:lnTo>
                    <a:lnTo>
                      <a:pt x="2203" y="3864"/>
                    </a:lnTo>
                    <a:lnTo>
                      <a:pt x="2228" y="3887"/>
                    </a:lnTo>
                    <a:lnTo>
                      <a:pt x="2249" y="3909"/>
                    </a:lnTo>
                    <a:lnTo>
                      <a:pt x="2268" y="3930"/>
                    </a:lnTo>
                    <a:lnTo>
                      <a:pt x="2285" y="3950"/>
                    </a:lnTo>
                    <a:lnTo>
                      <a:pt x="2300" y="3971"/>
                    </a:lnTo>
                    <a:lnTo>
                      <a:pt x="2312" y="3991"/>
                    </a:lnTo>
                    <a:lnTo>
                      <a:pt x="2323" y="4008"/>
                    </a:lnTo>
                    <a:lnTo>
                      <a:pt x="2332" y="4027"/>
                    </a:lnTo>
                    <a:lnTo>
                      <a:pt x="2340" y="4043"/>
                    </a:lnTo>
                    <a:lnTo>
                      <a:pt x="2346" y="4059"/>
                    </a:lnTo>
                    <a:lnTo>
                      <a:pt x="2355" y="4089"/>
                    </a:lnTo>
                    <a:lnTo>
                      <a:pt x="2362" y="4115"/>
                    </a:lnTo>
                    <a:lnTo>
                      <a:pt x="2365" y="4136"/>
                    </a:lnTo>
                    <a:lnTo>
                      <a:pt x="2367" y="4152"/>
                    </a:lnTo>
                    <a:lnTo>
                      <a:pt x="2371" y="4164"/>
                    </a:lnTo>
                    <a:lnTo>
                      <a:pt x="2371" y="4164"/>
                    </a:lnTo>
                    <a:lnTo>
                      <a:pt x="2385" y="4174"/>
                    </a:lnTo>
                    <a:lnTo>
                      <a:pt x="2385" y="4174"/>
                    </a:lnTo>
                    <a:lnTo>
                      <a:pt x="2379" y="4174"/>
                    </a:lnTo>
                    <a:lnTo>
                      <a:pt x="2377" y="4172"/>
                    </a:lnTo>
                    <a:lnTo>
                      <a:pt x="2373" y="4168"/>
                    </a:lnTo>
                    <a:lnTo>
                      <a:pt x="2371" y="4164"/>
                    </a:lnTo>
                    <a:lnTo>
                      <a:pt x="2371" y="4164"/>
                    </a:lnTo>
                    <a:lnTo>
                      <a:pt x="2336" y="4137"/>
                    </a:lnTo>
                    <a:lnTo>
                      <a:pt x="2303" y="4110"/>
                    </a:lnTo>
                    <a:lnTo>
                      <a:pt x="2268" y="4084"/>
                    </a:lnTo>
                    <a:lnTo>
                      <a:pt x="2233" y="4059"/>
                    </a:lnTo>
                    <a:lnTo>
                      <a:pt x="2198" y="4035"/>
                    </a:lnTo>
                    <a:lnTo>
                      <a:pt x="2162" y="4011"/>
                    </a:lnTo>
                    <a:lnTo>
                      <a:pt x="2125" y="3989"/>
                    </a:lnTo>
                    <a:lnTo>
                      <a:pt x="2089" y="3968"/>
                    </a:lnTo>
                    <a:lnTo>
                      <a:pt x="2053" y="3948"/>
                    </a:lnTo>
                    <a:lnTo>
                      <a:pt x="2016" y="3928"/>
                    </a:lnTo>
                    <a:lnTo>
                      <a:pt x="1979" y="3909"/>
                    </a:lnTo>
                    <a:lnTo>
                      <a:pt x="1943" y="3891"/>
                    </a:lnTo>
                    <a:lnTo>
                      <a:pt x="1905" y="3874"/>
                    </a:lnTo>
                    <a:lnTo>
                      <a:pt x="1867" y="3858"/>
                    </a:lnTo>
                    <a:lnTo>
                      <a:pt x="1793" y="3827"/>
                    </a:lnTo>
                    <a:lnTo>
                      <a:pt x="1718" y="3800"/>
                    </a:lnTo>
                    <a:lnTo>
                      <a:pt x="1643" y="3777"/>
                    </a:lnTo>
                    <a:lnTo>
                      <a:pt x="1567" y="3755"/>
                    </a:lnTo>
                    <a:lnTo>
                      <a:pt x="1492" y="3738"/>
                    </a:lnTo>
                    <a:lnTo>
                      <a:pt x="1418" y="3723"/>
                    </a:lnTo>
                    <a:lnTo>
                      <a:pt x="1344" y="3712"/>
                    </a:lnTo>
                    <a:lnTo>
                      <a:pt x="1272" y="3703"/>
                    </a:lnTo>
                    <a:lnTo>
                      <a:pt x="1200" y="3696"/>
                    </a:lnTo>
                    <a:lnTo>
                      <a:pt x="1130" y="3694"/>
                    </a:lnTo>
                    <a:lnTo>
                      <a:pt x="1062" y="3692"/>
                    </a:lnTo>
                    <a:lnTo>
                      <a:pt x="995" y="3695"/>
                    </a:lnTo>
                    <a:lnTo>
                      <a:pt x="929" y="3699"/>
                    </a:lnTo>
                    <a:lnTo>
                      <a:pt x="866" y="3706"/>
                    </a:lnTo>
                    <a:lnTo>
                      <a:pt x="804" y="3715"/>
                    </a:lnTo>
                    <a:lnTo>
                      <a:pt x="746" y="3727"/>
                    </a:lnTo>
                    <a:lnTo>
                      <a:pt x="689" y="3741"/>
                    </a:lnTo>
                    <a:lnTo>
                      <a:pt x="636" y="3757"/>
                    </a:lnTo>
                    <a:lnTo>
                      <a:pt x="585" y="3776"/>
                    </a:lnTo>
                    <a:lnTo>
                      <a:pt x="537" y="3796"/>
                    </a:lnTo>
                    <a:lnTo>
                      <a:pt x="515" y="3807"/>
                    </a:lnTo>
                    <a:lnTo>
                      <a:pt x="493" y="3817"/>
                    </a:lnTo>
                    <a:lnTo>
                      <a:pt x="472" y="3829"/>
                    </a:lnTo>
                    <a:lnTo>
                      <a:pt x="451" y="3842"/>
                    </a:lnTo>
                    <a:lnTo>
                      <a:pt x="433" y="3855"/>
                    </a:lnTo>
                    <a:lnTo>
                      <a:pt x="415" y="3868"/>
                    </a:lnTo>
                    <a:lnTo>
                      <a:pt x="398" y="3882"/>
                    </a:lnTo>
                    <a:lnTo>
                      <a:pt x="381" y="3897"/>
                    </a:lnTo>
                    <a:lnTo>
                      <a:pt x="367" y="3910"/>
                    </a:lnTo>
                    <a:lnTo>
                      <a:pt x="352" y="3926"/>
                    </a:lnTo>
                    <a:lnTo>
                      <a:pt x="352" y="3926"/>
                    </a:lnTo>
                    <a:lnTo>
                      <a:pt x="332" y="3950"/>
                    </a:lnTo>
                    <a:lnTo>
                      <a:pt x="312" y="3975"/>
                    </a:lnTo>
                    <a:lnTo>
                      <a:pt x="293" y="4000"/>
                    </a:lnTo>
                    <a:lnTo>
                      <a:pt x="274" y="4026"/>
                    </a:lnTo>
                    <a:lnTo>
                      <a:pt x="256" y="4051"/>
                    </a:lnTo>
                    <a:lnTo>
                      <a:pt x="240" y="4078"/>
                    </a:lnTo>
                    <a:lnTo>
                      <a:pt x="224" y="4105"/>
                    </a:lnTo>
                    <a:lnTo>
                      <a:pt x="209" y="4132"/>
                    </a:lnTo>
                    <a:lnTo>
                      <a:pt x="181" y="4188"/>
                    </a:lnTo>
                    <a:lnTo>
                      <a:pt x="156" y="4245"/>
                    </a:lnTo>
                    <a:lnTo>
                      <a:pt x="134" y="4301"/>
                    </a:lnTo>
                    <a:lnTo>
                      <a:pt x="114" y="4361"/>
                    </a:lnTo>
                    <a:lnTo>
                      <a:pt x="95" y="4418"/>
                    </a:lnTo>
                    <a:lnTo>
                      <a:pt x="79" y="4478"/>
                    </a:lnTo>
                    <a:lnTo>
                      <a:pt x="64" y="4538"/>
                    </a:lnTo>
                    <a:lnTo>
                      <a:pt x="51" y="4597"/>
                    </a:lnTo>
                    <a:lnTo>
                      <a:pt x="39" y="4656"/>
                    </a:lnTo>
                    <a:lnTo>
                      <a:pt x="27" y="4716"/>
                    </a:lnTo>
                    <a:lnTo>
                      <a:pt x="6" y="4833"/>
                    </a:lnTo>
                    <a:lnTo>
                      <a:pt x="6" y="4833"/>
                    </a:lnTo>
                    <a:lnTo>
                      <a:pt x="2" y="4851"/>
                    </a:lnTo>
                    <a:lnTo>
                      <a:pt x="1" y="4870"/>
                    </a:lnTo>
                    <a:lnTo>
                      <a:pt x="0" y="4908"/>
                    </a:lnTo>
                    <a:lnTo>
                      <a:pt x="1" y="4943"/>
                    </a:lnTo>
                    <a:lnTo>
                      <a:pt x="4" y="4978"/>
                    </a:lnTo>
                    <a:lnTo>
                      <a:pt x="10" y="5011"/>
                    </a:lnTo>
                    <a:lnTo>
                      <a:pt x="17" y="5045"/>
                    </a:lnTo>
                    <a:lnTo>
                      <a:pt x="25" y="5079"/>
                    </a:lnTo>
                    <a:lnTo>
                      <a:pt x="35" y="5112"/>
                    </a:lnTo>
                    <a:lnTo>
                      <a:pt x="53" y="5180"/>
                    </a:lnTo>
                    <a:lnTo>
                      <a:pt x="61" y="5215"/>
                    </a:lnTo>
                    <a:lnTo>
                      <a:pt x="68" y="5249"/>
                    </a:lnTo>
                    <a:lnTo>
                      <a:pt x="75" y="5286"/>
                    </a:lnTo>
                    <a:lnTo>
                      <a:pt x="79" y="5322"/>
                    </a:lnTo>
                    <a:lnTo>
                      <a:pt x="80" y="5361"/>
                    </a:lnTo>
                    <a:lnTo>
                      <a:pt x="80" y="5401"/>
                    </a:lnTo>
                    <a:lnTo>
                      <a:pt x="80" y="5401"/>
                    </a:lnTo>
                    <a:lnTo>
                      <a:pt x="321" y="5405"/>
                    </a:lnTo>
                    <a:lnTo>
                      <a:pt x="580" y="5412"/>
                    </a:lnTo>
                    <a:lnTo>
                      <a:pt x="1126" y="5424"/>
                    </a:lnTo>
                    <a:lnTo>
                      <a:pt x="1397" y="5430"/>
                    </a:lnTo>
                    <a:lnTo>
                      <a:pt x="1655" y="5434"/>
                    </a:lnTo>
                    <a:lnTo>
                      <a:pt x="1777" y="5434"/>
                    </a:lnTo>
                    <a:lnTo>
                      <a:pt x="1894" y="5434"/>
                    </a:lnTo>
                    <a:lnTo>
                      <a:pt x="2004" y="5432"/>
                    </a:lnTo>
                    <a:lnTo>
                      <a:pt x="2105" y="5430"/>
                    </a:lnTo>
                    <a:lnTo>
                      <a:pt x="2105" y="5430"/>
                    </a:lnTo>
                    <a:lnTo>
                      <a:pt x="2217" y="5424"/>
                    </a:lnTo>
                    <a:lnTo>
                      <a:pt x="2319" y="5419"/>
                    </a:lnTo>
                    <a:lnTo>
                      <a:pt x="2412" y="5411"/>
                    </a:lnTo>
                    <a:lnTo>
                      <a:pt x="2495" y="5401"/>
                    </a:lnTo>
                    <a:lnTo>
                      <a:pt x="2570" y="5391"/>
                    </a:lnTo>
                    <a:lnTo>
                      <a:pt x="2639" y="5379"/>
                    </a:lnTo>
                    <a:lnTo>
                      <a:pt x="2699" y="5366"/>
                    </a:lnTo>
                    <a:lnTo>
                      <a:pt x="2752" y="5353"/>
                    </a:lnTo>
                    <a:lnTo>
                      <a:pt x="2752" y="5353"/>
                    </a:lnTo>
                    <a:lnTo>
                      <a:pt x="2752" y="5345"/>
                    </a:lnTo>
                    <a:lnTo>
                      <a:pt x="2752" y="5338"/>
                    </a:lnTo>
                    <a:lnTo>
                      <a:pt x="2756" y="5325"/>
                    </a:lnTo>
                    <a:lnTo>
                      <a:pt x="2761" y="5313"/>
                    </a:lnTo>
                    <a:lnTo>
                      <a:pt x="2769" y="5301"/>
                    </a:lnTo>
                    <a:lnTo>
                      <a:pt x="2779" y="5290"/>
                    </a:lnTo>
                    <a:lnTo>
                      <a:pt x="2790" y="5279"/>
                    </a:lnTo>
                    <a:lnTo>
                      <a:pt x="2814" y="5259"/>
                    </a:lnTo>
                    <a:lnTo>
                      <a:pt x="2838" y="5236"/>
                    </a:lnTo>
                    <a:lnTo>
                      <a:pt x="2850" y="5224"/>
                    </a:lnTo>
                    <a:lnTo>
                      <a:pt x="2859" y="5210"/>
                    </a:lnTo>
                    <a:lnTo>
                      <a:pt x="2869" y="5196"/>
                    </a:lnTo>
                    <a:lnTo>
                      <a:pt x="2876" y="5181"/>
                    </a:lnTo>
                    <a:lnTo>
                      <a:pt x="2880" y="5162"/>
                    </a:lnTo>
                    <a:lnTo>
                      <a:pt x="2881" y="5143"/>
                    </a:lnTo>
                    <a:lnTo>
                      <a:pt x="2881" y="5143"/>
                    </a:lnTo>
                    <a:lnTo>
                      <a:pt x="2881" y="5099"/>
                    </a:lnTo>
                    <a:lnTo>
                      <a:pt x="2880" y="5053"/>
                    </a:lnTo>
                    <a:lnTo>
                      <a:pt x="2877" y="5007"/>
                    </a:lnTo>
                    <a:lnTo>
                      <a:pt x="2874" y="4960"/>
                    </a:lnTo>
                    <a:lnTo>
                      <a:pt x="2866" y="4865"/>
                    </a:lnTo>
                    <a:lnTo>
                      <a:pt x="2854" y="4767"/>
                    </a:lnTo>
                    <a:lnTo>
                      <a:pt x="2854" y="4767"/>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45" name="Trapezoid 1588"/>
              <p:cNvSpPr/>
              <p:nvPr/>
            </p:nvSpPr>
            <p:spPr bwMode="auto">
              <a:xfrm>
                <a:off x="9105839" y="2191534"/>
                <a:ext cx="409738" cy="169704"/>
              </a:xfrm>
              <a:custGeom>
                <a:avLst/>
                <a:gdLst>
                  <a:gd name="connsiteX0" fmla="*/ 0 w 424005"/>
                  <a:gd name="connsiteY0" fmla="*/ 154276 h 154276"/>
                  <a:gd name="connsiteX1" fmla="*/ 38569 w 424005"/>
                  <a:gd name="connsiteY1" fmla="*/ 0 h 154276"/>
                  <a:gd name="connsiteX2" fmla="*/ 385436 w 424005"/>
                  <a:gd name="connsiteY2" fmla="*/ 0 h 154276"/>
                  <a:gd name="connsiteX3" fmla="*/ 424005 w 424005"/>
                  <a:gd name="connsiteY3" fmla="*/ 154276 h 154276"/>
                  <a:gd name="connsiteX4" fmla="*/ 0 w 424005"/>
                  <a:gd name="connsiteY4" fmla="*/ 154276 h 154276"/>
                  <a:gd name="connsiteX0" fmla="*/ 0 w 398247"/>
                  <a:gd name="connsiteY0" fmla="*/ 154276 h 154276"/>
                  <a:gd name="connsiteX1" fmla="*/ 12811 w 398247"/>
                  <a:gd name="connsiteY1" fmla="*/ 0 h 154276"/>
                  <a:gd name="connsiteX2" fmla="*/ 359678 w 398247"/>
                  <a:gd name="connsiteY2" fmla="*/ 0 h 154276"/>
                  <a:gd name="connsiteX3" fmla="*/ 398247 w 398247"/>
                  <a:gd name="connsiteY3" fmla="*/ 154276 h 154276"/>
                  <a:gd name="connsiteX4" fmla="*/ 0 w 398247"/>
                  <a:gd name="connsiteY4" fmla="*/ 154276 h 154276"/>
                  <a:gd name="connsiteX0" fmla="*/ 0 w 372489"/>
                  <a:gd name="connsiteY0" fmla="*/ 154276 h 154276"/>
                  <a:gd name="connsiteX1" fmla="*/ 12811 w 372489"/>
                  <a:gd name="connsiteY1" fmla="*/ 0 h 154276"/>
                  <a:gd name="connsiteX2" fmla="*/ 359678 w 372489"/>
                  <a:gd name="connsiteY2" fmla="*/ 0 h 154276"/>
                  <a:gd name="connsiteX3" fmla="*/ 372489 w 372489"/>
                  <a:gd name="connsiteY3" fmla="*/ 154276 h 154276"/>
                  <a:gd name="connsiteX4" fmla="*/ 0 w 372489"/>
                  <a:gd name="connsiteY4" fmla="*/ 154276 h 15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489" h="154276">
                    <a:moveTo>
                      <a:pt x="0" y="154276"/>
                    </a:moveTo>
                    <a:lnTo>
                      <a:pt x="12811" y="0"/>
                    </a:lnTo>
                    <a:lnTo>
                      <a:pt x="359678" y="0"/>
                    </a:lnTo>
                    <a:lnTo>
                      <a:pt x="372489" y="154276"/>
                    </a:lnTo>
                    <a:lnTo>
                      <a:pt x="0" y="154276"/>
                    </a:lnTo>
                    <a:close/>
                  </a:path>
                </a:pathLst>
              </a:cu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46" name="Group 1245"/>
              <p:cNvGrpSpPr/>
              <p:nvPr/>
            </p:nvGrpSpPr>
            <p:grpSpPr>
              <a:xfrm flipH="1">
                <a:off x="9519385" y="2289501"/>
                <a:ext cx="555107" cy="499567"/>
                <a:chOff x="5570989" y="5418077"/>
                <a:chExt cx="983407" cy="885011"/>
              </a:xfrm>
            </p:grpSpPr>
            <p:grpSp>
              <p:nvGrpSpPr>
                <p:cNvPr id="1249" name="Group 1248"/>
                <p:cNvGrpSpPr/>
                <p:nvPr/>
              </p:nvGrpSpPr>
              <p:grpSpPr>
                <a:xfrm>
                  <a:off x="5570989" y="5428447"/>
                  <a:ext cx="983407" cy="874641"/>
                  <a:chOff x="6146016" y="7045324"/>
                  <a:chExt cx="3416300" cy="3038475"/>
                </a:xfrm>
              </p:grpSpPr>
              <p:sp>
                <p:nvSpPr>
                  <p:cNvPr id="1253" name="Freeform 1174"/>
                  <p:cNvSpPr>
                    <a:spLocks/>
                  </p:cNvSpPr>
                  <p:nvPr/>
                </p:nvSpPr>
                <p:spPr bwMode="auto">
                  <a:xfrm>
                    <a:off x="6146016" y="7045324"/>
                    <a:ext cx="3416300" cy="3038475"/>
                  </a:xfrm>
                  <a:custGeom>
                    <a:avLst/>
                    <a:gdLst>
                      <a:gd name="T0" fmla="*/ 2502 w 4304"/>
                      <a:gd name="T1" fmla="*/ 1154 h 3828"/>
                      <a:gd name="T2" fmla="*/ 2554 w 4304"/>
                      <a:gd name="T3" fmla="*/ 710 h 3828"/>
                      <a:gd name="T4" fmla="*/ 2627 w 4304"/>
                      <a:gd name="T5" fmla="*/ 443 h 3828"/>
                      <a:gd name="T6" fmla="*/ 2706 w 4304"/>
                      <a:gd name="T7" fmla="*/ 326 h 3828"/>
                      <a:gd name="T8" fmla="*/ 2825 w 4304"/>
                      <a:gd name="T9" fmla="*/ 281 h 3828"/>
                      <a:gd name="T10" fmla="*/ 2884 w 4304"/>
                      <a:gd name="T11" fmla="*/ 238 h 3828"/>
                      <a:gd name="T12" fmla="*/ 3010 w 4304"/>
                      <a:gd name="T13" fmla="*/ 117 h 3828"/>
                      <a:gd name="T14" fmla="*/ 3238 w 4304"/>
                      <a:gd name="T15" fmla="*/ 3 h 3828"/>
                      <a:gd name="T16" fmla="*/ 3343 w 4304"/>
                      <a:gd name="T17" fmla="*/ 14 h 3828"/>
                      <a:gd name="T18" fmla="*/ 3367 w 4304"/>
                      <a:gd name="T19" fmla="*/ 94 h 3828"/>
                      <a:gd name="T20" fmla="*/ 3330 w 4304"/>
                      <a:gd name="T21" fmla="*/ 237 h 3828"/>
                      <a:gd name="T22" fmla="*/ 3508 w 4304"/>
                      <a:gd name="T23" fmla="*/ 288 h 3828"/>
                      <a:gd name="T24" fmla="*/ 3612 w 4304"/>
                      <a:gd name="T25" fmla="*/ 353 h 3828"/>
                      <a:gd name="T26" fmla="*/ 3712 w 4304"/>
                      <a:gd name="T27" fmla="*/ 484 h 3828"/>
                      <a:gd name="T28" fmla="*/ 3790 w 4304"/>
                      <a:gd name="T29" fmla="*/ 652 h 3828"/>
                      <a:gd name="T30" fmla="*/ 4061 w 4304"/>
                      <a:gd name="T31" fmla="*/ 711 h 3828"/>
                      <a:gd name="T32" fmla="*/ 4209 w 4304"/>
                      <a:gd name="T33" fmla="*/ 725 h 3828"/>
                      <a:gd name="T34" fmla="*/ 4278 w 4304"/>
                      <a:gd name="T35" fmla="*/ 835 h 3828"/>
                      <a:gd name="T36" fmla="*/ 4300 w 4304"/>
                      <a:gd name="T37" fmla="*/ 999 h 3828"/>
                      <a:gd name="T38" fmla="*/ 4243 w 4304"/>
                      <a:gd name="T39" fmla="*/ 1119 h 3828"/>
                      <a:gd name="T40" fmla="*/ 4139 w 4304"/>
                      <a:gd name="T41" fmla="*/ 1209 h 3828"/>
                      <a:gd name="T42" fmla="*/ 3935 w 4304"/>
                      <a:gd name="T43" fmla="*/ 1304 h 3828"/>
                      <a:gd name="T44" fmla="*/ 3283 w 4304"/>
                      <a:gd name="T45" fmla="*/ 1776 h 3828"/>
                      <a:gd name="T46" fmla="*/ 3285 w 4304"/>
                      <a:gd name="T47" fmla="*/ 3410 h 3828"/>
                      <a:gd name="T48" fmla="*/ 3247 w 4304"/>
                      <a:gd name="T49" fmla="*/ 3660 h 3828"/>
                      <a:gd name="T50" fmla="*/ 3185 w 4304"/>
                      <a:gd name="T51" fmla="*/ 3762 h 3828"/>
                      <a:gd name="T52" fmla="*/ 3083 w 4304"/>
                      <a:gd name="T53" fmla="*/ 3818 h 3828"/>
                      <a:gd name="T54" fmla="*/ 2958 w 4304"/>
                      <a:gd name="T55" fmla="*/ 3824 h 3828"/>
                      <a:gd name="T56" fmla="*/ 2845 w 4304"/>
                      <a:gd name="T57" fmla="*/ 3786 h 3828"/>
                      <a:gd name="T58" fmla="*/ 2771 w 4304"/>
                      <a:gd name="T59" fmla="*/ 3705 h 3828"/>
                      <a:gd name="T60" fmla="*/ 2713 w 4304"/>
                      <a:gd name="T61" fmla="*/ 3496 h 3828"/>
                      <a:gd name="T62" fmla="*/ 2718 w 4304"/>
                      <a:gd name="T63" fmla="*/ 2670 h 3828"/>
                      <a:gd name="T64" fmla="*/ 1956 w 4304"/>
                      <a:gd name="T65" fmla="*/ 3083 h 3828"/>
                      <a:gd name="T66" fmla="*/ 2124 w 4304"/>
                      <a:gd name="T67" fmla="*/ 3358 h 3828"/>
                      <a:gd name="T68" fmla="*/ 2176 w 4304"/>
                      <a:gd name="T69" fmla="*/ 3551 h 3828"/>
                      <a:gd name="T70" fmla="*/ 2142 w 4304"/>
                      <a:gd name="T71" fmla="*/ 3690 h 3828"/>
                      <a:gd name="T72" fmla="*/ 2012 w 4304"/>
                      <a:gd name="T73" fmla="*/ 3804 h 3828"/>
                      <a:gd name="T74" fmla="*/ 1848 w 4304"/>
                      <a:gd name="T75" fmla="*/ 3821 h 3828"/>
                      <a:gd name="T76" fmla="*/ 1711 w 4304"/>
                      <a:gd name="T77" fmla="*/ 3748 h 3828"/>
                      <a:gd name="T78" fmla="*/ 1552 w 4304"/>
                      <a:gd name="T79" fmla="*/ 3549 h 3828"/>
                      <a:gd name="T80" fmla="*/ 1129 w 4304"/>
                      <a:gd name="T81" fmla="*/ 2844 h 3828"/>
                      <a:gd name="T82" fmla="*/ 1113 w 4304"/>
                      <a:gd name="T83" fmla="*/ 3520 h 3828"/>
                      <a:gd name="T84" fmla="*/ 1075 w 4304"/>
                      <a:gd name="T85" fmla="*/ 3717 h 3828"/>
                      <a:gd name="T86" fmla="*/ 980 w 4304"/>
                      <a:gd name="T87" fmla="*/ 3801 h 3828"/>
                      <a:gd name="T88" fmla="*/ 821 w 4304"/>
                      <a:gd name="T89" fmla="*/ 3827 h 3828"/>
                      <a:gd name="T90" fmla="*/ 670 w 4304"/>
                      <a:gd name="T91" fmla="*/ 3780 h 3828"/>
                      <a:gd name="T92" fmla="*/ 594 w 4304"/>
                      <a:gd name="T93" fmla="*/ 3669 h 3828"/>
                      <a:gd name="T94" fmla="*/ 554 w 4304"/>
                      <a:gd name="T95" fmla="*/ 3419 h 3828"/>
                      <a:gd name="T96" fmla="*/ 561 w 4304"/>
                      <a:gd name="T97" fmla="*/ 2885 h 3828"/>
                      <a:gd name="T98" fmla="*/ 502 w 4304"/>
                      <a:gd name="T99" fmla="*/ 1741 h 3828"/>
                      <a:gd name="T100" fmla="*/ 297 w 4304"/>
                      <a:gd name="T101" fmla="*/ 1638 h 3828"/>
                      <a:gd name="T102" fmla="*/ 156 w 4304"/>
                      <a:gd name="T103" fmla="*/ 1486 h 3828"/>
                      <a:gd name="T104" fmla="*/ 60 w 4304"/>
                      <a:gd name="T105" fmla="*/ 1284 h 3828"/>
                      <a:gd name="T106" fmla="*/ 1 w 4304"/>
                      <a:gd name="T107" fmla="*/ 852 h 3828"/>
                      <a:gd name="T108" fmla="*/ 73 w 4304"/>
                      <a:gd name="T109" fmla="*/ 557 h 3828"/>
                      <a:gd name="T110" fmla="*/ 203 w 4304"/>
                      <a:gd name="T111" fmla="*/ 388 h 3828"/>
                      <a:gd name="T112" fmla="*/ 310 w 4304"/>
                      <a:gd name="T113" fmla="*/ 337 h 3828"/>
                      <a:gd name="T114" fmla="*/ 341 w 4304"/>
                      <a:gd name="T115" fmla="*/ 444 h 3828"/>
                      <a:gd name="T116" fmla="*/ 412 w 4304"/>
                      <a:gd name="T117" fmla="*/ 755 h 3828"/>
                      <a:gd name="T118" fmla="*/ 614 w 4304"/>
                      <a:gd name="T119" fmla="*/ 1239 h 3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04" h="3828">
                        <a:moveTo>
                          <a:pt x="2500" y="1247"/>
                        </a:moveTo>
                        <a:lnTo>
                          <a:pt x="2500" y="1247"/>
                        </a:lnTo>
                        <a:lnTo>
                          <a:pt x="2499" y="1244"/>
                        </a:lnTo>
                        <a:lnTo>
                          <a:pt x="2497" y="1239"/>
                        </a:lnTo>
                        <a:lnTo>
                          <a:pt x="2497" y="1218"/>
                        </a:lnTo>
                        <a:lnTo>
                          <a:pt x="2499" y="1188"/>
                        </a:lnTo>
                        <a:lnTo>
                          <a:pt x="2502" y="1154"/>
                        </a:lnTo>
                        <a:lnTo>
                          <a:pt x="2513" y="1048"/>
                        </a:lnTo>
                        <a:lnTo>
                          <a:pt x="2513" y="1048"/>
                        </a:lnTo>
                        <a:lnTo>
                          <a:pt x="2523" y="947"/>
                        </a:lnTo>
                        <a:lnTo>
                          <a:pt x="2534" y="846"/>
                        </a:lnTo>
                        <a:lnTo>
                          <a:pt x="2534" y="846"/>
                        </a:lnTo>
                        <a:lnTo>
                          <a:pt x="2547" y="755"/>
                        </a:lnTo>
                        <a:lnTo>
                          <a:pt x="2554" y="710"/>
                        </a:lnTo>
                        <a:lnTo>
                          <a:pt x="2562" y="664"/>
                        </a:lnTo>
                        <a:lnTo>
                          <a:pt x="2571" y="619"/>
                        </a:lnTo>
                        <a:lnTo>
                          <a:pt x="2582" y="575"/>
                        </a:lnTo>
                        <a:lnTo>
                          <a:pt x="2595" y="532"/>
                        </a:lnTo>
                        <a:lnTo>
                          <a:pt x="2610" y="488"/>
                        </a:lnTo>
                        <a:lnTo>
                          <a:pt x="2610" y="488"/>
                        </a:lnTo>
                        <a:lnTo>
                          <a:pt x="2627" y="443"/>
                        </a:lnTo>
                        <a:lnTo>
                          <a:pt x="2637" y="422"/>
                        </a:lnTo>
                        <a:lnTo>
                          <a:pt x="2647" y="399"/>
                        </a:lnTo>
                        <a:lnTo>
                          <a:pt x="2660" y="379"/>
                        </a:lnTo>
                        <a:lnTo>
                          <a:pt x="2672" y="360"/>
                        </a:lnTo>
                        <a:lnTo>
                          <a:pt x="2688" y="341"/>
                        </a:lnTo>
                        <a:lnTo>
                          <a:pt x="2706" y="326"/>
                        </a:lnTo>
                        <a:lnTo>
                          <a:pt x="2706" y="326"/>
                        </a:lnTo>
                        <a:lnTo>
                          <a:pt x="2716" y="319"/>
                        </a:lnTo>
                        <a:lnTo>
                          <a:pt x="2727" y="313"/>
                        </a:lnTo>
                        <a:lnTo>
                          <a:pt x="2739" y="307"/>
                        </a:lnTo>
                        <a:lnTo>
                          <a:pt x="2751" y="303"/>
                        </a:lnTo>
                        <a:lnTo>
                          <a:pt x="2775" y="296"/>
                        </a:lnTo>
                        <a:lnTo>
                          <a:pt x="2801" y="289"/>
                        </a:lnTo>
                        <a:lnTo>
                          <a:pt x="2825" y="281"/>
                        </a:lnTo>
                        <a:lnTo>
                          <a:pt x="2836" y="276"/>
                        </a:lnTo>
                        <a:lnTo>
                          <a:pt x="2847" y="271"/>
                        </a:lnTo>
                        <a:lnTo>
                          <a:pt x="2857" y="265"/>
                        </a:lnTo>
                        <a:lnTo>
                          <a:pt x="2867" y="258"/>
                        </a:lnTo>
                        <a:lnTo>
                          <a:pt x="2877" y="248"/>
                        </a:lnTo>
                        <a:lnTo>
                          <a:pt x="2884" y="238"/>
                        </a:lnTo>
                        <a:lnTo>
                          <a:pt x="2884" y="238"/>
                        </a:lnTo>
                        <a:lnTo>
                          <a:pt x="2901" y="216"/>
                        </a:lnTo>
                        <a:lnTo>
                          <a:pt x="2918" y="194"/>
                        </a:lnTo>
                        <a:lnTo>
                          <a:pt x="2935" y="176"/>
                        </a:lnTo>
                        <a:lnTo>
                          <a:pt x="2953" y="159"/>
                        </a:lnTo>
                        <a:lnTo>
                          <a:pt x="2972" y="144"/>
                        </a:lnTo>
                        <a:lnTo>
                          <a:pt x="2990" y="130"/>
                        </a:lnTo>
                        <a:lnTo>
                          <a:pt x="3010" y="117"/>
                        </a:lnTo>
                        <a:lnTo>
                          <a:pt x="3031" y="106"/>
                        </a:lnTo>
                        <a:lnTo>
                          <a:pt x="3075" y="82"/>
                        </a:lnTo>
                        <a:lnTo>
                          <a:pt x="3123" y="59"/>
                        </a:lnTo>
                        <a:lnTo>
                          <a:pt x="3176" y="34"/>
                        </a:lnTo>
                        <a:lnTo>
                          <a:pt x="3233" y="4"/>
                        </a:lnTo>
                        <a:lnTo>
                          <a:pt x="3233" y="4"/>
                        </a:lnTo>
                        <a:lnTo>
                          <a:pt x="3238" y="3"/>
                        </a:lnTo>
                        <a:lnTo>
                          <a:pt x="3244" y="1"/>
                        </a:lnTo>
                        <a:lnTo>
                          <a:pt x="3260" y="0"/>
                        </a:lnTo>
                        <a:lnTo>
                          <a:pt x="3278" y="0"/>
                        </a:lnTo>
                        <a:lnTo>
                          <a:pt x="3296" y="1"/>
                        </a:lnTo>
                        <a:lnTo>
                          <a:pt x="3315" y="5"/>
                        </a:lnTo>
                        <a:lnTo>
                          <a:pt x="3331" y="8"/>
                        </a:lnTo>
                        <a:lnTo>
                          <a:pt x="3343" y="14"/>
                        </a:lnTo>
                        <a:lnTo>
                          <a:pt x="3347" y="15"/>
                        </a:lnTo>
                        <a:lnTo>
                          <a:pt x="3350" y="18"/>
                        </a:lnTo>
                        <a:lnTo>
                          <a:pt x="3350" y="18"/>
                        </a:lnTo>
                        <a:lnTo>
                          <a:pt x="3357" y="36"/>
                        </a:lnTo>
                        <a:lnTo>
                          <a:pt x="3363" y="56"/>
                        </a:lnTo>
                        <a:lnTo>
                          <a:pt x="3365" y="75"/>
                        </a:lnTo>
                        <a:lnTo>
                          <a:pt x="3367" y="94"/>
                        </a:lnTo>
                        <a:lnTo>
                          <a:pt x="3367" y="113"/>
                        </a:lnTo>
                        <a:lnTo>
                          <a:pt x="3364" y="131"/>
                        </a:lnTo>
                        <a:lnTo>
                          <a:pt x="3361" y="148"/>
                        </a:lnTo>
                        <a:lnTo>
                          <a:pt x="3358" y="165"/>
                        </a:lnTo>
                        <a:lnTo>
                          <a:pt x="3348" y="193"/>
                        </a:lnTo>
                        <a:lnTo>
                          <a:pt x="3340" y="216"/>
                        </a:lnTo>
                        <a:lnTo>
                          <a:pt x="3330" y="237"/>
                        </a:lnTo>
                        <a:lnTo>
                          <a:pt x="3330" y="237"/>
                        </a:lnTo>
                        <a:lnTo>
                          <a:pt x="3351" y="240"/>
                        </a:lnTo>
                        <a:lnTo>
                          <a:pt x="3374" y="245"/>
                        </a:lnTo>
                        <a:lnTo>
                          <a:pt x="3403" y="252"/>
                        </a:lnTo>
                        <a:lnTo>
                          <a:pt x="3436" y="261"/>
                        </a:lnTo>
                        <a:lnTo>
                          <a:pt x="3471" y="274"/>
                        </a:lnTo>
                        <a:lnTo>
                          <a:pt x="3508" y="288"/>
                        </a:lnTo>
                        <a:lnTo>
                          <a:pt x="3525" y="296"/>
                        </a:lnTo>
                        <a:lnTo>
                          <a:pt x="3542" y="305"/>
                        </a:lnTo>
                        <a:lnTo>
                          <a:pt x="3542" y="305"/>
                        </a:lnTo>
                        <a:lnTo>
                          <a:pt x="3561" y="316"/>
                        </a:lnTo>
                        <a:lnTo>
                          <a:pt x="3580" y="327"/>
                        </a:lnTo>
                        <a:lnTo>
                          <a:pt x="3597" y="340"/>
                        </a:lnTo>
                        <a:lnTo>
                          <a:pt x="3612" y="353"/>
                        </a:lnTo>
                        <a:lnTo>
                          <a:pt x="3626" y="364"/>
                        </a:lnTo>
                        <a:lnTo>
                          <a:pt x="3639" y="378"/>
                        </a:lnTo>
                        <a:lnTo>
                          <a:pt x="3652" y="391"/>
                        </a:lnTo>
                        <a:lnTo>
                          <a:pt x="3662" y="403"/>
                        </a:lnTo>
                        <a:lnTo>
                          <a:pt x="3681" y="430"/>
                        </a:lnTo>
                        <a:lnTo>
                          <a:pt x="3698" y="457"/>
                        </a:lnTo>
                        <a:lnTo>
                          <a:pt x="3712" y="484"/>
                        </a:lnTo>
                        <a:lnTo>
                          <a:pt x="3724" y="509"/>
                        </a:lnTo>
                        <a:lnTo>
                          <a:pt x="3744" y="560"/>
                        </a:lnTo>
                        <a:lnTo>
                          <a:pt x="3753" y="584"/>
                        </a:lnTo>
                        <a:lnTo>
                          <a:pt x="3762" y="605"/>
                        </a:lnTo>
                        <a:lnTo>
                          <a:pt x="3772" y="625"/>
                        </a:lnTo>
                        <a:lnTo>
                          <a:pt x="3784" y="643"/>
                        </a:lnTo>
                        <a:lnTo>
                          <a:pt x="3790" y="652"/>
                        </a:lnTo>
                        <a:lnTo>
                          <a:pt x="3797" y="659"/>
                        </a:lnTo>
                        <a:lnTo>
                          <a:pt x="3806" y="666"/>
                        </a:lnTo>
                        <a:lnTo>
                          <a:pt x="3813" y="671"/>
                        </a:lnTo>
                        <a:lnTo>
                          <a:pt x="3900" y="711"/>
                        </a:lnTo>
                        <a:lnTo>
                          <a:pt x="3900" y="711"/>
                        </a:lnTo>
                        <a:lnTo>
                          <a:pt x="3958" y="711"/>
                        </a:lnTo>
                        <a:lnTo>
                          <a:pt x="4061" y="711"/>
                        </a:lnTo>
                        <a:lnTo>
                          <a:pt x="4115" y="712"/>
                        </a:lnTo>
                        <a:lnTo>
                          <a:pt x="4161" y="714"/>
                        </a:lnTo>
                        <a:lnTo>
                          <a:pt x="4180" y="717"/>
                        </a:lnTo>
                        <a:lnTo>
                          <a:pt x="4195" y="718"/>
                        </a:lnTo>
                        <a:lnTo>
                          <a:pt x="4205" y="721"/>
                        </a:lnTo>
                        <a:lnTo>
                          <a:pt x="4208" y="722"/>
                        </a:lnTo>
                        <a:lnTo>
                          <a:pt x="4209" y="725"/>
                        </a:lnTo>
                        <a:lnTo>
                          <a:pt x="4209" y="725"/>
                        </a:lnTo>
                        <a:lnTo>
                          <a:pt x="4213" y="729"/>
                        </a:lnTo>
                        <a:lnTo>
                          <a:pt x="4225" y="745"/>
                        </a:lnTo>
                        <a:lnTo>
                          <a:pt x="4242" y="767"/>
                        </a:lnTo>
                        <a:lnTo>
                          <a:pt x="4260" y="798"/>
                        </a:lnTo>
                        <a:lnTo>
                          <a:pt x="4269" y="815"/>
                        </a:lnTo>
                        <a:lnTo>
                          <a:pt x="4278" y="835"/>
                        </a:lnTo>
                        <a:lnTo>
                          <a:pt x="4285" y="855"/>
                        </a:lnTo>
                        <a:lnTo>
                          <a:pt x="4292" y="877"/>
                        </a:lnTo>
                        <a:lnTo>
                          <a:pt x="4298" y="900"/>
                        </a:lnTo>
                        <a:lnTo>
                          <a:pt x="4302" y="924"/>
                        </a:lnTo>
                        <a:lnTo>
                          <a:pt x="4304" y="948"/>
                        </a:lnTo>
                        <a:lnTo>
                          <a:pt x="4304" y="973"/>
                        </a:lnTo>
                        <a:lnTo>
                          <a:pt x="4300" y="999"/>
                        </a:lnTo>
                        <a:lnTo>
                          <a:pt x="4294" y="1026"/>
                        </a:lnTo>
                        <a:lnTo>
                          <a:pt x="4284" y="1052"/>
                        </a:lnTo>
                        <a:lnTo>
                          <a:pt x="4278" y="1065"/>
                        </a:lnTo>
                        <a:lnTo>
                          <a:pt x="4271" y="1078"/>
                        </a:lnTo>
                        <a:lnTo>
                          <a:pt x="4263" y="1092"/>
                        </a:lnTo>
                        <a:lnTo>
                          <a:pt x="4254" y="1105"/>
                        </a:lnTo>
                        <a:lnTo>
                          <a:pt x="4243" y="1119"/>
                        </a:lnTo>
                        <a:lnTo>
                          <a:pt x="4232" y="1131"/>
                        </a:lnTo>
                        <a:lnTo>
                          <a:pt x="4221" y="1144"/>
                        </a:lnTo>
                        <a:lnTo>
                          <a:pt x="4206" y="1158"/>
                        </a:lnTo>
                        <a:lnTo>
                          <a:pt x="4191" y="1171"/>
                        </a:lnTo>
                        <a:lnTo>
                          <a:pt x="4175" y="1184"/>
                        </a:lnTo>
                        <a:lnTo>
                          <a:pt x="4158" y="1196"/>
                        </a:lnTo>
                        <a:lnTo>
                          <a:pt x="4139" y="1209"/>
                        </a:lnTo>
                        <a:lnTo>
                          <a:pt x="4119" y="1222"/>
                        </a:lnTo>
                        <a:lnTo>
                          <a:pt x="4098" y="1234"/>
                        </a:lnTo>
                        <a:lnTo>
                          <a:pt x="4074" y="1247"/>
                        </a:lnTo>
                        <a:lnTo>
                          <a:pt x="4050" y="1258"/>
                        </a:lnTo>
                        <a:lnTo>
                          <a:pt x="4023" y="1270"/>
                        </a:lnTo>
                        <a:lnTo>
                          <a:pt x="3996" y="1281"/>
                        </a:lnTo>
                        <a:lnTo>
                          <a:pt x="3935" y="1304"/>
                        </a:lnTo>
                        <a:lnTo>
                          <a:pt x="3868" y="1325"/>
                        </a:lnTo>
                        <a:lnTo>
                          <a:pt x="3794" y="1345"/>
                        </a:lnTo>
                        <a:lnTo>
                          <a:pt x="3712" y="1363"/>
                        </a:lnTo>
                        <a:lnTo>
                          <a:pt x="3557" y="1400"/>
                        </a:lnTo>
                        <a:lnTo>
                          <a:pt x="3350" y="1582"/>
                        </a:lnTo>
                        <a:lnTo>
                          <a:pt x="3283" y="1776"/>
                        </a:lnTo>
                        <a:lnTo>
                          <a:pt x="3283" y="1776"/>
                        </a:lnTo>
                        <a:lnTo>
                          <a:pt x="3285" y="1991"/>
                        </a:lnTo>
                        <a:lnTo>
                          <a:pt x="3288" y="2485"/>
                        </a:lnTo>
                        <a:lnTo>
                          <a:pt x="3289" y="2767"/>
                        </a:lnTo>
                        <a:lnTo>
                          <a:pt x="3289" y="3032"/>
                        </a:lnTo>
                        <a:lnTo>
                          <a:pt x="3288" y="3257"/>
                        </a:lnTo>
                        <a:lnTo>
                          <a:pt x="3286" y="3344"/>
                        </a:lnTo>
                        <a:lnTo>
                          <a:pt x="3285" y="3410"/>
                        </a:lnTo>
                        <a:lnTo>
                          <a:pt x="3285" y="3410"/>
                        </a:lnTo>
                        <a:lnTo>
                          <a:pt x="3283" y="3457"/>
                        </a:lnTo>
                        <a:lnTo>
                          <a:pt x="3279" y="3502"/>
                        </a:lnTo>
                        <a:lnTo>
                          <a:pt x="3274" y="3544"/>
                        </a:lnTo>
                        <a:lnTo>
                          <a:pt x="3267" y="3585"/>
                        </a:lnTo>
                        <a:lnTo>
                          <a:pt x="3258" y="3623"/>
                        </a:lnTo>
                        <a:lnTo>
                          <a:pt x="3247" y="3660"/>
                        </a:lnTo>
                        <a:lnTo>
                          <a:pt x="3240" y="3677"/>
                        </a:lnTo>
                        <a:lnTo>
                          <a:pt x="3233" y="3693"/>
                        </a:lnTo>
                        <a:lnTo>
                          <a:pt x="3224" y="3708"/>
                        </a:lnTo>
                        <a:lnTo>
                          <a:pt x="3216" y="3722"/>
                        </a:lnTo>
                        <a:lnTo>
                          <a:pt x="3206" y="3736"/>
                        </a:lnTo>
                        <a:lnTo>
                          <a:pt x="3196" y="3749"/>
                        </a:lnTo>
                        <a:lnTo>
                          <a:pt x="3185" y="3762"/>
                        </a:lnTo>
                        <a:lnTo>
                          <a:pt x="3173" y="3773"/>
                        </a:lnTo>
                        <a:lnTo>
                          <a:pt x="3161" y="3783"/>
                        </a:lnTo>
                        <a:lnTo>
                          <a:pt x="3147" y="3791"/>
                        </a:lnTo>
                        <a:lnTo>
                          <a:pt x="3133" y="3800"/>
                        </a:lnTo>
                        <a:lnTo>
                          <a:pt x="3117" y="3807"/>
                        </a:lnTo>
                        <a:lnTo>
                          <a:pt x="3101" y="3814"/>
                        </a:lnTo>
                        <a:lnTo>
                          <a:pt x="3083" y="3818"/>
                        </a:lnTo>
                        <a:lnTo>
                          <a:pt x="3065" y="3822"/>
                        </a:lnTo>
                        <a:lnTo>
                          <a:pt x="3046" y="3825"/>
                        </a:lnTo>
                        <a:lnTo>
                          <a:pt x="3025" y="3827"/>
                        </a:lnTo>
                        <a:lnTo>
                          <a:pt x="3004" y="3827"/>
                        </a:lnTo>
                        <a:lnTo>
                          <a:pt x="2982" y="3825"/>
                        </a:lnTo>
                        <a:lnTo>
                          <a:pt x="2958" y="3824"/>
                        </a:lnTo>
                        <a:lnTo>
                          <a:pt x="2958" y="3824"/>
                        </a:lnTo>
                        <a:lnTo>
                          <a:pt x="2938" y="3821"/>
                        </a:lnTo>
                        <a:lnTo>
                          <a:pt x="2921" y="3817"/>
                        </a:lnTo>
                        <a:lnTo>
                          <a:pt x="2904" y="3812"/>
                        </a:lnTo>
                        <a:lnTo>
                          <a:pt x="2887" y="3807"/>
                        </a:lnTo>
                        <a:lnTo>
                          <a:pt x="2871" y="3801"/>
                        </a:lnTo>
                        <a:lnTo>
                          <a:pt x="2857" y="3794"/>
                        </a:lnTo>
                        <a:lnTo>
                          <a:pt x="2845" y="3786"/>
                        </a:lnTo>
                        <a:lnTo>
                          <a:pt x="2832" y="3776"/>
                        </a:lnTo>
                        <a:lnTo>
                          <a:pt x="2819" y="3766"/>
                        </a:lnTo>
                        <a:lnTo>
                          <a:pt x="2808" y="3756"/>
                        </a:lnTo>
                        <a:lnTo>
                          <a:pt x="2798" y="3745"/>
                        </a:lnTo>
                        <a:lnTo>
                          <a:pt x="2788" y="3732"/>
                        </a:lnTo>
                        <a:lnTo>
                          <a:pt x="2778" y="3719"/>
                        </a:lnTo>
                        <a:lnTo>
                          <a:pt x="2771" y="3705"/>
                        </a:lnTo>
                        <a:lnTo>
                          <a:pt x="2763" y="3691"/>
                        </a:lnTo>
                        <a:lnTo>
                          <a:pt x="2756" y="3677"/>
                        </a:lnTo>
                        <a:lnTo>
                          <a:pt x="2743" y="3645"/>
                        </a:lnTo>
                        <a:lnTo>
                          <a:pt x="2733" y="3611"/>
                        </a:lnTo>
                        <a:lnTo>
                          <a:pt x="2725" y="3574"/>
                        </a:lnTo>
                        <a:lnTo>
                          <a:pt x="2719" y="3536"/>
                        </a:lnTo>
                        <a:lnTo>
                          <a:pt x="2713" y="3496"/>
                        </a:lnTo>
                        <a:lnTo>
                          <a:pt x="2711" y="3454"/>
                        </a:lnTo>
                        <a:lnTo>
                          <a:pt x="2709" y="3410"/>
                        </a:lnTo>
                        <a:lnTo>
                          <a:pt x="2708" y="3367"/>
                        </a:lnTo>
                        <a:lnTo>
                          <a:pt x="2708" y="3367"/>
                        </a:lnTo>
                        <a:lnTo>
                          <a:pt x="2709" y="3163"/>
                        </a:lnTo>
                        <a:lnTo>
                          <a:pt x="2713" y="2935"/>
                        </a:lnTo>
                        <a:lnTo>
                          <a:pt x="2718" y="2670"/>
                        </a:lnTo>
                        <a:lnTo>
                          <a:pt x="1716" y="2648"/>
                        </a:lnTo>
                        <a:lnTo>
                          <a:pt x="1716" y="2648"/>
                        </a:lnTo>
                        <a:lnTo>
                          <a:pt x="1738" y="2691"/>
                        </a:lnTo>
                        <a:lnTo>
                          <a:pt x="1796" y="2799"/>
                        </a:lnTo>
                        <a:lnTo>
                          <a:pt x="1874" y="2940"/>
                        </a:lnTo>
                        <a:lnTo>
                          <a:pt x="1915" y="3014"/>
                        </a:lnTo>
                        <a:lnTo>
                          <a:pt x="1956" y="3083"/>
                        </a:lnTo>
                        <a:lnTo>
                          <a:pt x="1956" y="3083"/>
                        </a:lnTo>
                        <a:lnTo>
                          <a:pt x="1992" y="3142"/>
                        </a:lnTo>
                        <a:lnTo>
                          <a:pt x="2032" y="3203"/>
                        </a:lnTo>
                        <a:lnTo>
                          <a:pt x="2070" y="3264"/>
                        </a:lnTo>
                        <a:lnTo>
                          <a:pt x="2090" y="3295"/>
                        </a:lnTo>
                        <a:lnTo>
                          <a:pt x="2107" y="3327"/>
                        </a:lnTo>
                        <a:lnTo>
                          <a:pt x="2124" y="3358"/>
                        </a:lnTo>
                        <a:lnTo>
                          <a:pt x="2138" y="3389"/>
                        </a:lnTo>
                        <a:lnTo>
                          <a:pt x="2150" y="3422"/>
                        </a:lnTo>
                        <a:lnTo>
                          <a:pt x="2162" y="3454"/>
                        </a:lnTo>
                        <a:lnTo>
                          <a:pt x="2169" y="3487"/>
                        </a:lnTo>
                        <a:lnTo>
                          <a:pt x="2174" y="3519"/>
                        </a:lnTo>
                        <a:lnTo>
                          <a:pt x="2174" y="3534"/>
                        </a:lnTo>
                        <a:lnTo>
                          <a:pt x="2176" y="3551"/>
                        </a:lnTo>
                        <a:lnTo>
                          <a:pt x="2174" y="3568"/>
                        </a:lnTo>
                        <a:lnTo>
                          <a:pt x="2173" y="3584"/>
                        </a:lnTo>
                        <a:lnTo>
                          <a:pt x="2173" y="3584"/>
                        </a:lnTo>
                        <a:lnTo>
                          <a:pt x="2169" y="3614"/>
                        </a:lnTo>
                        <a:lnTo>
                          <a:pt x="2162" y="3640"/>
                        </a:lnTo>
                        <a:lnTo>
                          <a:pt x="2153" y="3666"/>
                        </a:lnTo>
                        <a:lnTo>
                          <a:pt x="2142" y="3690"/>
                        </a:lnTo>
                        <a:lnTo>
                          <a:pt x="2129" y="3711"/>
                        </a:lnTo>
                        <a:lnTo>
                          <a:pt x="2114" y="3731"/>
                        </a:lnTo>
                        <a:lnTo>
                          <a:pt x="2097" y="3749"/>
                        </a:lnTo>
                        <a:lnTo>
                          <a:pt x="2078" y="3766"/>
                        </a:lnTo>
                        <a:lnTo>
                          <a:pt x="2059" y="3781"/>
                        </a:lnTo>
                        <a:lnTo>
                          <a:pt x="2036" y="3793"/>
                        </a:lnTo>
                        <a:lnTo>
                          <a:pt x="2012" y="3804"/>
                        </a:lnTo>
                        <a:lnTo>
                          <a:pt x="1987" y="3812"/>
                        </a:lnTo>
                        <a:lnTo>
                          <a:pt x="1960" y="3818"/>
                        </a:lnTo>
                        <a:lnTo>
                          <a:pt x="1930" y="3822"/>
                        </a:lnTo>
                        <a:lnTo>
                          <a:pt x="1901" y="3824"/>
                        </a:lnTo>
                        <a:lnTo>
                          <a:pt x="1868" y="3824"/>
                        </a:lnTo>
                        <a:lnTo>
                          <a:pt x="1868" y="3824"/>
                        </a:lnTo>
                        <a:lnTo>
                          <a:pt x="1848" y="3821"/>
                        </a:lnTo>
                        <a:lnTo>
                          <a:pt x="1827" y="3817"/>
                        </a:lnTo>
                        <a:lnTo>
                          <a:pt x="1807" y="3810"/>
                        </a:lnTo>
                        <a:lnTo>
                          <a:pt x="1788" y="3801"/>
                        </a:lnTo>
                        <a:lnTo>
                          <a:pt x="1768" y="3790"/>
                        </a:lnTo>
                        <a:lnTo>
                          <a:pt x="1748" y="3777"/>
                        </a:lnTo>
                        <a:lnTo>
                          <a:pt x="1730" y="3763"/>
                        </a:lnTo>
                        <a:lnTo>
                          <a:pt x="1711" y="3748"/>
                        </a:lnTo>
                        <a:lnTo>
                          <a:pt x="1693" y="3731"/>
                        </a:lnTo>
                        <a:lnTo>
                          <a:pt x="1675" y="3712"/>
                        </a:lnTo>
                        <a:lnTo>
                          <a:pt x="1658" y="3694"/>
                        </a:lnTo>
                        <a:lnTo>
                          <a:pt x="1641" y="3674"/>
                        </a:lnTo>
                        <a:lnTo>
                          <a:pt x="1608" y="3633"/>
                        </a:lnTo>
                        <a:lnTo>
                          <a:pt x="1579" y="3591"/>
                        </a:lnTo>
                        <a:lnTo>
                          <a:pt x="1552" y="3549"/>
                        </a:lnTo>
                        <a:lnTo>
                          <a:pt x="1528" y="3508"/>
                        </a:lnTo>
                        <a:lnTo>
                          <a:pt x="1507" y="3470"/>
                        </a:lnTo>
                        <a:lnTo>
                          <a:pt x="1488" y="3436"/>
                        </a:lnTo>
                        <a:lnTo>
                          <a:pt x="1463" y="3386"/>
                        </a:lnTo>
                        <a:lnTo>
                          <a:pt x="1455" y="3367"/>
                        </a:lnTo>
                        <a:lnTo>
                          <a:pt x="1129" y="2844"/>
                        </a:lnTo>
                        <a:lnTo>
                          <a:pt x="1129" y="2844"/>
                        </a:lnTo>
                        <a:lnTo>
                          <a:pt x="1120" y="3055"/>
                        </a:lnTo>
                        <a:lnTo>
                          <a:pt x="1116" y="3238"/>
                        </a:lnTo>
                        <a:lnTo>
                          <a:pt x="1115" y="3327"/>
                        </a:lnTo>
                        <a:lnTo>
                          <a:pt x="1115" y="3403"/>
                        </a:lnTo>
                        <a:lnTo>
                          <a:pt x="1115" y="3403"/>
                        </a:lnTo>
                        <a:lnTo>
                          <a:pt x="1115" y="3463"/>
                        </a:lnTo>
                        <a:lnTo>
                          <a:pt x="1113" y="3520"/>
                        </a:lnTo>
                        <a:lnTo>
                          <a:pt x="1110" y="3575"/>
                        </a:lnTo>
                        <a:lnTo>
                          <a:pt x="1107" y="3602"/>
                        </a:lnTo>
                        <a:lnTo>
                          <a:pt x="1103" y="3628"/>
                        </a:lnTo>
                        <a:lnTo>
                          <a:pt x="1099" y="3652"/>
                        </a:lnTo>
                        <a:lnTo>
                          <a:pt x="1092" y="3674"/>
                        </a:lnTo>
                        <a:lnTo>
                          <a:pt x="1085" y="3697"/>
                        </a:lnTo>
                        <a:lnTo>
                          <a:pt x="1075" y="3717"/>
                        </a:lnTo>
                        <a:lnTo>
                          <a:pt x="1064" y="3735"/>
                        </a:lnTo>
                        <a:lnTo>
                          <a:pt x="1051" y="3752"/>
                        </a:lnTo>
                        <a:lnTo>
                          <a:pt x="1035" y="3767"/>
                        </a:lnTo>
                        <a:lnTo>
                          <a:pt x="1019" y="3780"/>
                        </a:lnTo>
                        <a:lnTo>
                          <a:pt x="1019" y="3780"/>
                        </a:lnTo>
                        <a:lnTo>
                          <a:pt x="1000" y="3791"/>
                        </a:lnTo>
                        <a:lnTo>
                          <a:pt x="980" y="3801"/>
                        </a:lnTo>
                        <a:lnTo>
                          <a:pt x="959" y="3810"/>
                        </a:lnTo>
                        <a:lnTo>
                          <a:pt x="938" y="3815"/>
                        </a:lnTo>
                        <a:lnTo>
                          <a:pt x="914" y="3821"/>
                        </a:lnTo>
                        <a:lnTo>
                          <a:pt x="892" y="3824"/>
                        </a:lnTo>
                        <a:lnTo>
                          <a:pt x="868" y="3827"/>
                        </a:lnTo>
                        <a:lnTo>
                          <a:pt x="844" y="3828"/>
                        </a:lnTo>
                        <a:lnTo>
                          <a:pt x="821" y="3827"/>
                        </a:lnTo>
                        <a:lnTo>
                          <a:pt x="797" y="3824"/>
                        </a:lnTo>
                        <a:lnTo>
                          <a:pt x="774" y="3821"/>
                        </a:lnTo>
                        <a:lnTo>
                          <a:pt x="752" y="3815"/>
                        </a:lnTo>
                        <a:lnTo>
                          <a:pt x="729" y="3808"/>
                        </a:lnTo>
                        <a:lnTo>
                          <a:pt x="708" y="3801"/>
                        </a:lnTo>
                        <a:lnTo>
                          <a:pt x="688" y="3791"/>
                        </a:lnTo>
                        <a:lnTo>
                          <a:pt x="670" y="3780"/>
                        </a:lnTo>
                        <a:lnTo>
                          <a:pt x="670" y="3780"/>
                        </a:lnTo>
                        <a:lnTo>
                          <a:pt x="654" y="3767"/>
                        </a:lnTo>
                        <a:lnTo>
                          <a:pt x="639" y="3752"/>
                        </a:lnTo>
                        <a:lnTo>
                          <a:pt x="626" y="3735"/>
                        </a:lnTo>
                        <a:lnTo>
                          <a:pt x="614" y="3715"/>
                        </a:lnTo>
                        <a:lnTo>
                          <a:pt x="604" y="3693"/>
                        </a:lnTo>
                        <a:lnTo>
                          <a:pt x="594" y="3669"/>
                        </a:lnTo>
                        <a:lnTo>
                          <a:pt x="585" y="3643"/>
                        </a:lnTo>
                        <a:lnTo>
                          <a:pt x="578" y="3615"/>
                        </a:lnTo>
                        <a:lnTo>
                          <a:pt x="571" y="3587"/>
                        </a:lnTo>
                        <a:lnTo>
                          <a:pt x="567" y="3556"/>
                        </a:lnTo>
                        <a:lnTo>
                          <a:pt x="563" y="3523"/>
                        </a:lnTo>
                        <a:lnTo>
                          <a:pt x="559" y="3489"/>
                        </a:lnTo>
                        <a:lnTo>
                          <a:pt x="554" y="3419"/>
                        </a:lnTo>
                        <a:lnTo>
                          <a:pt x="551" y="3344"/>
                        </a:lnTo>
                        <a:lnTo>
                          <a:pt x="551" y="3344"/>
                        </a:lnTo>
                        <a:lnTo>
                          <a:pt x="551" y="3281"/>
                        </a:lnTo>
                        <a:lnTo>
                          <a:pt x="553" y="3216"/>
                        </a:lnTo>
                        <a:lnTo>
                          <a:pt x="556" y="3083"/>
                        </a:lnTo>
                        <a:lnTo>
                          <a:pt x="560" y="2950"/>
                        </a:lnTo>
                        <a:lnTo>
                          <a:pt x="561" y="2885"/>
                        </a:lnTo>
                        <a:lnTo>
                          <a:pt x="561" y="2822"/>
                        </a:lnTo>
                        <a:lnTo>
                          <a:pt x="561" y="2822"/>
                        </a:lnTo>
                        <a:lnTo>
                          <a:pt x="561" y="1755"/>
                        </a:lnTo>
                        <a:lnTo>
                          <a:pt x="561" y="1755"/>
                        </a:lnTo>
                        <a:lnTo>
                          <a:pt x="546" y="1752"/>
                        </a:lnTo>
                        <a:lnTo>
                          <a:pt x="527" y="1748"/>
                        </a:lnTo>
                        <a:lnTo>
                          <a:pt x="502" y="1741"/>
                        </a:lnTo>
                        <a:lnTo>
                          <a:pt x="472" y="1733"/>
                        </a:lnTo>
                        <a:lnTo>
                          <a:pt x="437" y="1718"/>
                        </a:lnTo>
                        <a:lnTo>
                          <a:pt x="400" y="1702"/>
                        </a:lnTo>
                        <a:lnTo>
                          <a:pt x="361" y="1680"/>
                        </a:lnTo>
                        <a:lnTo>
                          <a:pt x="340" y="1668"/>
                        </a:lnTo>
                        <a:lnTo>
                          <a:pt x="319" y="1654"/>
                        </a:lnTo>
                        <a:lnTo>
                          <a:pt x="297" y="1638"/>
                        </a:lnTo>
                        <a:lnTo>
                          <a:pt x="276" y="1621"/>
                        </a:lnTo>
                        <a:lnTo>
                          <a:pt x="257" y="1603"/>
                        </a:lnTo>
                        <a:lnTo>
                          <a:pt x="235" y="1583"/>
                        </a:lnTo>
                        <a:lnTo>
                          <a:pt x="214" y="1560"/>
                        </a:lnTo>
                        <a:lnTo>
                          <a:pt x="194" y="1538"/>
                        </a:lnTo>
                        <a:lnTo>
                          <a:pt x="175" y="1512"/>
                        </a:lnTo>
                        <a:lnTo>
                          <a:pt x="156" y="1486"/>
                        </a:lnTo>
                        <a:lnTo>
                          <a:pt x="138" y="1457"/>
                        </a:lnTo>
                        <a:lnTo>
                          <a:pt x="120" y="1426"/>
                        </a:lnTo>
                        <a:lnTo>
                          <a:pt x="104" y="1394"/>
                        </a:lnTo>
                        <a:lnTo>
                          <a:pt x="89" y="1359"/>
                        </a:lnTo>
                        <a:lnTo>
                          <a:pt x="74" y="1322"/>
                        </a:lnTo>
                        <a:lnTo>
                          <a:pt x="60" y="1284"/>
                        </a:lnTo>
                        <a:lnTo>
                          <a:pt x="60" y="1284"/>
                        </a:lnTo>
                        <a:lnTo>
                          <a:pt x="41" y="1213"/>
                        </a:lnTo>
                        <a:lnTo>
                          <a:pt x="25" y="1146"/>
                        </a:lnTo>
                        <a:lnTo>
                          <a:pt x="14" y="1082"/>
                        </a:lnTo>
                        <a:lnTo>
                          <a:pt x="5" y="1020"/>
                        </a:lnTo>
                        <a:lnTo>
                          <a:pt x="1" y="962"/>
                        </a:lnTo>
                        <a:lnTo>
                          <a:pt x="0" y="906"/>
                        </a:lnTo>
                        <a:lnTo>
                          <a:pt x="1" y="852"/>
                        </a:lnTo>
                        <a:lnTo>
                          <a:pt x="4" y="803"/>
                        </a:lnTo>
                        <a:lnTo>
                          <a:pt x="11" y="755"/>
                        </a:lnTo>
                        <a:lnTo>
                          <a:pt x="19" y="710"/>
                        </a:lnTo>
                        <a:lnTo>
                          <a:pt x="31" y="667"/>
                        </a:lnTo>
                        <a:lnTo>
                          <a:pt x="43" y="628"/>
                        </a:lnTo>
                        <a:lnTo>
                          <a:pt x="58" y="591"/>
                        </a:lnTo>
                        <a:lnTo>
                          <a:pt x="73" y="557"/>
                        </a:lnTo>
                        <a:lnTo>
                          <a:pt x="90" y="525"/>
                        </a:lnTo>
                        <a:lnTo>
                          <a:pt x="108" y="496"/>
                        </a:lnTo>
                        <a:lnTo>
                          <a:pt x="127" y="470"/>
                        </a:lnTo>
                        <a:lnTo>
                          <a:pt x="145" y="446"/>
                        </a:lnTo>
                        <a:lnTo>
                          <a:pt x="165" y="423"/>
                        </a:lnTo>
                        <a:lnTo>
                          <a:pt x="183" y="405"/>
                        </a:lnTo>
                        <a:lnTo>
                          <a:pt x="203" y="388"/>
                        </a:lnTo>
                        <a:lnTo>
                          <a:pt x="221" y="374"/>
                        </a:lnTo>
                        <a:lnTo>
                          <a:pt x="238" y="361"/>
                        </a:lnTo>
                        <a:lnTo>
                          <a:pt x="257" y="351"/>
                        </a:lnTo>
                        <a:lnTo>
                          <a:pt x="272" y="344"/>
                        </a:lnTo>
                        <a:lnTo>
                          <a:pt x="286" y="340"/>
                        </a:lnTo>
                        <a:lnTo>
                          <a:pt x="299" y="337"/>
                        </a:lnTo>
                        <a:lnTo>
                          <a:pt x="310" y="337"/>
                        </a:lnTo>
                        <a:lnTo>
                          <a:pt x="320" y="338"/>
                        </a:lnTo>
                        <a:lnTo>
                          <a:pt x="327" y="343"/>
                        </a:lnTo>
                        <a:lnTo>
                          <a:pt x="331" y="348"/>
                        </a:lnTo>
                        <a:lnTo>
                          <a:pt x="333" y="357"/>
                        </a:lnTo>
                        <a:lnTo>
                          <a:pt x="333" y="357"/>
                        </a:lnTo>
                        <a:lnTo>
                          <a:pt x="336" y="401"/>
                        </a:lnTo>
                        <a:lnTo>
                          <a:pt x="341" y="444"/>
                        </a:lnTo>
                        <a:lnTo>
                          <a:pt x="347" y="488"/>
                        </a:lnTo>
                        <a:lnTo>
                          <a:pt x="355" y="532"/>
                        </a:lnTo>
                        <a:lnTo>
                          <a:pt x="364" y="577"/>
                        </a:lnTo>
                        <a:lnTo>
                          <a:pt x="375" y="622"/>
                        </a:lnTo>
                        <a:lnTo>
                          <a:pt x="386" y="666"/>
                        </a:lnTo>
                        <a:lnTo>
                          <a:pt x="399" y="711"/>
                        </a:lnTo>
                        <a:lnTo>
                          <a:pt x="412" y="755"/>
                        </a:lnTo>
                        <a:lnTo>
                          <a:pt x="426" y="798"/>
                        </a:lnTo>
                        <a:lnTo>
                          <a:pt x="457" y="883"/>
                        </a:lnTo>
                        <a:lnTo>
                          <a:pt x="488" y="965"/>
                        </a:lnTo>
                        <a:lnTo>
                          <a:pt x="520" y="1043"/>
                        </a:lnTo>
                        <a:lnTo>
                          <a:pt x="553" y="1115"/>
                        </a:lnTo>
                        <a:lnTo>
                          <a:pt x="584" y="1181"/>
                        </a:lnTo>
                        <a:lnTo>
                          <a:pt x="614" y="1239"/>
                        </a:lnTo>
                        <a:lnTo>
                          <a:pt x="639" y="1288"/>
                        </a:lnTo>
                        <a:lnTo>
                          <a:pt x="678" y="1360"/>
                        </a:lnTo>
                        <a:lnTo>
                          <a:pt x="693" y="1385"/>
                        </a:lnTo>
                        <a:lnTo>
                          <a:pt x="2392" y="1385"/>
                        </a:lnTo>
                        <a:lnTo>
                          <a:pt x="2500" y="124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54" name="Freeform 1182"/>
                  <p:cNvSpPr>
                    <a:spLocks/>
                  </p:cNvSpPr>
                  <p:nvPr/>
                </p:nvSpPr>
                <p:spPr bwMode="auto">
                  <a:xfrm>
                    <a:off x="6671479" y="7935912"/>
                    <a:ext cx="2201863" cy="1154113"/>
                  </a:xfrm>
                  <a:custGeom>
                    <a:avLst/>
                    <a:gdLst>
                      <a:gd name="T0" fmla="*/ 559 w 2773"/>
                      <a:gd name="T1" fmla="*/ 1454 h 1454"/>
                      <a:gd name="T2" fmla="*/ 559 w 2773"/>
                      <a:gd name="T3" fmla="*/ 1454 h 1454"/>
                      <a:gd name="T4" fmla="*/ 533 w 2773"/>
                      <a:gd name="T5" fmla="*/ 1436 h 1454"/>
                      <a:gd name="T6" fmla="*/ 509 w 2773"/>
                      <a:gd name="T7" fmla="*/ 1416 h 1454"/>
                      <a:gd name="T8" fmla="*/ 485 w 2773"/>
                      <a:gd name="T9" fmla="*/ 1395 h 1454"/>
                      <a:gd name="T10" fmla="*/ 463 w 2773"/>
                      <a:gd name="T11" fmla="*/ 1370 h 1454"/>
                      <a:gd name="T12" fmla="*/ 442 w 2773"/>
                      <a:gd name="T13" fmla="*/ 1343 h 1454"/>
                      <a:gd name="T14" fmla="*/ 420 w 2773"/>
                      <a:gd name="T15" fmla="*/ 1315 h 1454"/>
                      <a:gd name="T16" fmla="*/ 399 w 2773"/>
                      <a:gd name="T17" fmla="*/ 1285 h 1454"/>
                      <a:gd name="T18" fmla="*/ 380 w 2773"/>
                      <a:gd name="T19" fmla="*/ 1253 h 1454"/>
                      <a:gd name="T20" fmla="*/ 361 w 2773"/>
                      <a:gd name="T21" fmla="*/ 1220 h 1454"/>
                      <a:gd name="T22" fmla="*/ 343 w 2773"/>
                      <a:gd name="T23" fmla="*/ 1185 h 1454"/>
                      <a:gd name="T24" fmla="*/ 325 w 2773"/>
                      <a:gd name="T25" fmla="*/ 1150 h 1454"/>
                      <a:gd name="T26" fmla="*/ 308 w 2773"/>
                      <a:gd name="T27" fmla="*/ 1111 h 1454"/>
                      <a:gd name="T28" fmla="*/ 291 w 2773"/>
                      <a:gd name="T29" fmla="*/ 1073 h 1454"/>
                      <a:gd name="T30" fmla="*/ 274 w 2773"/>
                      <a:gd name="T31" fmla="*/ 1034 h 1454"/>
                      <a:gd name="T32" fmla="*/ 243 w 2773"/>
                      <a:gd name="T33" fmla="*/ 952 h 1454"/>
                      <a:gd name="T34" fmla="*/ 213 w 2773"/>
                      <a:gd name="T35" fmla="*/ 869 h 1454"/>
                      <a:gd name="T36" fmla="*/ 186 w 2773"/>
                      <a:gd name="T37" fmla="*/ 784 h 1454"/>
                      <a:gd name="T38" fmla="*/ 159 w 2773"/>
                      <a:gd name="T39" fmla="*/ 698 h 1454"/>
                      <a:gd name="T40" fmla="*/ 134 w 2773"/>
                      <a:gd name="T41" fmla="*/ 613 h 1454"/>
                      <a:gd name="T42" fmla="*/ 87 w 2773"/>
                      <a:gd name="T43" fmla="*/ 447 h 1454"/>
                      <a:gd name="T44" fmla="*/ 65 w 2773"/>
                      <a:gd name="T45" fmla="*/ 369 h 1454"/>
                      <a:gd name="T46" fmla="*/ 42 w 2773"/>
                      <a:gd name="T47" fmla="*/ 294 h 1454"/>
                      <a:gd name="T48" fmla="*/ 0 w 2773"/>
                      <a:gd name="T49" fmla="*/ 155 h 1454"/>
                      <a:gd name="T50" fmla="*/ 1675 w 2773"/>
                      <a:gd name="T51" fmla="*/ 155 h 1454"/>
                      <a:gd name="T52" fmla="*/ 1726 w 2773"/>
                      <a:gd name="T53" fmla="*/ 90 h 1454"/>
                      <a:gd name="T54" fmla="*/ 1726 w 2773"/>
                      <a:gd name="T55" fmla="*/ 90 h 1454"/>
                      <a:gd name="T56" fmla="*/ 1729 w 2773"/>
                      <a:gd name="T57" fmla="*/ 52 h 1454"/>
                      <a:gd name="T58" fmla="*/ 1808 w 2773"/>
                      <a:gd name="T59" fmla="*/ 0 h 1454"/>
                      <a:gd name="T60" fmla="*/ 2773 w 2773"/>
                      <a:gd name="T61" fmla="*/ 543 h 1454"/>
                      <a:gd name="T62" fmla="*/ 2729 w 2773"/>
                      <a:gd name="T63" fmla="*/ 673 h 1454"/>
                      <a:gd name="T64" fmla="*/ 2729 w 2773"/>
                      <a:gd name="T65" fmla="*/ 673 h 1454"/>
                      <a:gd name="T66" fmla="*/ 2728 w 2773"/>
                      <a:gd name="T67" fmla="*/ 708 h 1454"/>
                      <a:gd name="T68" fmla="*/ 2724 w 2773"/>
                      <a:gd name="T69" fmla="*/ 757 h 1454"/>
                      <a:gd name="T70" fmla="*/ 2709 w 2773"/>
                      <a:gd name="T71" fmla="*/ 894 h 1454"/>
                      <a:gd name="T72" fmla="*/ 2702 w 2773"/>
                      <a:gd name="T73" fmla="*/ 982 h 1454"/>
                      <a:gd name="T74" fmla="*/ 2697 w 2773"/>
                      <a:gd name="T75" fmla="*/ 1078 h 1454"/>
                      <a:gd name="T76" fmla="*/ 2691 w 2773"/>
                      <a:gd name="T77" fmla="*/ 1183 h 1454"/>
                      <a:gd name="T78" fmla="*/ 2691 w 2773"/>
                      <a:gd name="T79" fmla="*/ 1238 h 1454"/>
                      <a:gd name="T80" fmla="*/ 2691 w 2773"/>
                      <a:gd name="T81" fmla="*/ 1296 h 1454"/>
                      <a:gd name="T82" fmla="*/ 2691 w 2773"/>
                      <a:gd name="T83" fmla="*/ 1450 h 1454"/>
                      <a:gd name="T84" fmla="*/ 2015 w 2773"/>
                      <a:gd name="T85" fmla="*/ 1450 h 1454"/>
                      <a:gd name="T86" fmla="*/ 697 w 2773"/>
                      <a:gd name="T87" fmla="*/ 1452 h 1454"/>
                      <a:gd name="T88" fmla="*/ 559 w 2773"/>
                      <a:gd name="T89" fmla="*/ 1454 h 1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3" h="1454">
                        <a:moveTo>
                          <a:pt x="559" y="1454"/>
                        </a:moveTo>
                        <a:lnTo>
                          <a:pt x="559" y="1454"/>
                        </a:lnTo>
                        <a:lnTo>
                          <a:pt x="533" y="1436"/>
                        </a:lnTo>
                        <a:lnTo>
                          <a:pt x="509" y="1416"/>
                        </a:lnTo>
                        <a:lnTo>
                          <a:pt x="485" y="1395"/>
                        </a:lnTo>
                        <a:lnTo>
                          <a:pt x="463" y="1370"/>
                        </a:lnTo>
                        <a:lnTo>
                          <a:pt x="442" y="1343"/>
                        </a:lnTo>
                        <a:lnTo>
                          <a:pt x="420" y="1315"/>
                        </a:lnTo>
                        <a:lnTo>
                          <a:pt x="399" y="1285"/>
                        </a:lnTo>
                        <a:lnTo>
                          <a:pt x="380" y="1253"/>
                        </a:lnTo>
                        <a:lnTo>
                          <a:pt x="361" y="1220"/>
                        </a:lnTo>
                        <a:lnTo>
                          <a:pt x="343" y="1185"/>
                        </a:lnTo>
                        <a:lnTo>
                          <a:pt x="325" y="1150"/>
                        </a:lnTo>
                        <a:lnTo>
                          <a:pt x="308" y="1111"/>
                        </a:lnTo>
                        <a:lnTo>
                          <a:pt x="291" y="1073"/>
                        </a:lnTo>
                        <a:lnTo>
                          <a:pt x="274" y="1034"/>
                        </a:lnTo>
                        <a:lnTo>
                          <a:pt x="243" y="952"/>
                        </a:lnTo>
                        <a:lnTo>
                          <a:pt x="213" y="869"/>
                        </a:lnTo>
                        <a:lnTo>
                          <a:pt x="186" y="784"/>
                        </a:lnTo>
                        <a:lnTo>
                          <a:pt x="159" y="698"/>
                        </a:lnTo>
                        <a:lnTo>
                          <a:pt x="134" y="613"/>
                        </a:lnTo>
                        <a:lnTo>
                          <a:pt x="87" y="447"/>
                        </a:lnTo>
                        <a:lnTo>
                          <a:pt x="65" y="369"/>
                        </a:lnTo>
                        <a:lnTo>
                          <a:pt x="42" y="294"/>
                        </a:lnTo>
                        <a:lnTo>
                          <a:pt x="0" y="155"/>
                        </a:lnTo>
                        <a:lnTo>
                          <a:pt x="1675" y="155"/>
                        </a:lnTo>
                        <a:lnTo>
                          <a:pt x="1726" y="90"/>
                        </a:lnTo>
                        <a:lnTo>
                          <a:pt x="1726" y="90"/>
                        </a:lnTo>
                        <a:lnTo>
                          <a:pt x="1729" y="52"/>
                        </a:lnTo>
                        <a:lnTo>
                          <a:pt x="1808" y="0"/>
                        </a:lnTo>
                        <a:lnTo>
                          <a:pt x="2773" y="543"/>
                        </a:lnTo>
                        <a:lnTo>
                          <a:pt x="2729" y="673"/>
                        </a:lnTo>
                        <a:lnTo>
                          <a:pt x="2729" y="673"/>
                        </a:lnTo>
                        <a:lnTo>
                          <a:pt x="2728" y="708"/>
                        </a:lnTo>
                        <a:lnTo>
                          <a:pt x="2724" y="757"/>
                        </a:lnTo>
                        <a:lnTo>
                          <a:pt x="2709" y="894"/>
                        </a:lnTo>
                        <a:lnTo>
                          <a:pt x="2702" y="982"/>
                        </a:lnTo>
                        <a:lnTo>
                          <a:pt x="2697" y="1078"/>
                        </a:lnTo>
                        <a:lnTo>
                          <a:pt x="2691" y="1183"/>
                        </a:lnTo>
                        <a:lnTo>
                          <a:pt x="2691" y="1238"/>
                        </a:lnTo>
                        <a:lnTo>
                          <a:pt x="2691" y="1296"/>
                        </a:lnTo>
                        <a:lnTo>
                          <a:pt x="2691" y="1450"/>
                        </a:lnTo>
                        <a:lnTo>
                          <a:pt x="2015" y="1450"/>
                        </a:lnTo>
                        <a:lnTo>
                          <a:pt x="697" y="1452"/>
                        </a:lnTo>
                        <a:lnTo>
                          <a:pt x="559" y="145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251" name="Freeform 1250"/>
                <p:cNvSpPr/>
                <p:nvPr/>
              </p:nvSpPr>
              <p:spPr bwMode="auto">
                <a:xfrm>
                  <a:off x="6061618" y="5418077"/>
                  <a:ext cx="234456" cy="339879"/>
                </a:xfrm>
                <a:custGeom>
                  <a:avLst/>
                  <a:gdLst>
                    <a:gd name="connsiteX0" fmla="*/ 151456 w 176150"/>
                    <a:gd name="connsiteY0" fmla="*/ 254849 h 255356"/>
                    <a:gd name="connsiteX1" fmla="*/ 118118 w 176150"/>
                    <a:gd name="connsiteY1" fmla="*/ 152455 h 255356"/>
                    <a:gd name="connsiteX2" fmla="*/ 175268 w 176150"/>
                    <a:gd name="connsiteY2" fmla="*/ 16724 h 255356"/>
                    <a:gd name="connsiteX3" fmla="*/ 141931 w 176150"/>
                    <a:gd name="connsiteY3" fmla="*/ 9580 h 255356"/>
                    <a:gd name="connsiteX4" fmla="*/ 6199 w 176150"/>
                    <a:gd name="connsiteY4" fmla="*/ 14343 h 255356"/>
                    <a:gd name="connsiteX5" fmla="*/ 34774 w 176150"/>
                    <a:gd name="connsiteY5" fmla="*/ 183411 h 255356"/>
                    <a:gd name="connsiteX6" fmla="*/ 151456 w 176150"/>
                    <a:gd name="connsiteY6" fmla="*/ 254849 h 25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150" h="255356">
                      <a:moveTo>
                        <a:pt x="151456" y="254849"/>
                      </a:moveTo>
                      <a:cubicBezTo>
                        <a:pt x="165347" y="249690"/>
                        <a:pt x="114149" y="192142"/>
                        <a:pt x="118118" y="152455"/>
                      </a:cubicBezTo>
                      <a:cubicBezTo>
                        <a:pt x="122087" y="112767"/>
                        <a:pt x="171299" y="40536"/>
                        <a:pt x="175268" y="16724"/>
                      </a:cubicBezTo>
                      <a:cubicBezTo>
                        <a:pt x="179237" y="-7089"/>
                        <a:pt x="170109" y="9977"/>
                        <a:pt x="141931" y="9580"/>
                      </a:cubicBezTo>
                      <a:cubicBezTo>
                        <a:pt x="113753" y="9183"/>
                        <a:pt x="24058" y="-14629"/>
                        <a:pt x="6199" y="14343"/>
                      </a:cubicBezTo>
                      <a:cubicBezTo>
                        <a:pt x="-11661" y="43315"/>
                        <a:pt x="12549" y="141739"/>
                        <a:pt x="34774" y="183411"/>
                      </a:cubicBezTo>
                      <a:cubicBezTo>
                        <a:pt x="56999" y="225083"/>
                        <a:pt x="137565" y="260008"/>
                        <a:pt x="151456" y="254849"/>
                      </a:cubicBezTo>
                      <a:close/>
                    </a:path>
                  </a:pathLst>
                </a:cu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sp>
        <p:nvSpPr>
          <p:cNvPr id="1262" name="5-Point Star 1261"/>
          <p:cNvSpPr/>
          <p:nvPr/>
        </p:nvSpPr>
        <p:spPr bwMode="auto">
          <a:xfrm>
            <a:off x="9276465" y="2715289"/>
            <a:ext cx="161648" cy="148425"/>
          </a:xfrm>
          <a:prstGeom prst="star5">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0" name="Rectangle 1259"/>
          <p:cNvSpPr/>
          <p:nvPr/>
        </p:nvSpPr>
        <p:spPr>
          <a:xfrm>
            <a:off x="9473173" y="2741813"/>
            <a:ext cx="429146" cy="107722"/>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3175">
                  <a:noFill/>
                </a:ln>
                <a:solidFill>
                  <a:srgbClr val="00BCF2"/>
                </a:solidFill>
                <a:effectLst/>
                <a:uLnTx/>
                <a:uFillTx/>
                <a:cs typeface="Arial" charset="0"/>
              </a:rPr>
              <a:t>42</a:t>
            </a:r>
            <a:endParaRPr kumimoji="0" lang="en-US" sz="700" b="0" i="0" u="none" strike="noStrike" kern="0" cap="none" spc="0" normalizeH="0" baseline="0" noProof="0" dirty="0">
              <a:ln>
                <a:noFill/>
              </a:ln>
              <a:solidFill>
                <a:srgbClr val="00BCF2"/>
              </a:solidFill>
              <a:effectLst/>
              <a:uLnTx/>
              <a:uFillTx/>
            </a:endParaRPr>
          </a:p>
        </p:txBody>
      </p:sp>
    </p:spTree>
    <p:extLst>
      <p:ext uri="{BB962C8B-B14F-4D97-AF65-F5344CB8AC3E}">
        <p14:creationId xmlns:p14="http://schemas.microsoft.com/office/powerpoint/2010/main" val="190248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139838" y="1399182"/>
            <a:ext cx="1607171" cy="27926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ML Statement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ELECT</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FROM</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WHERE</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GROUP BY</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HAVING</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CASE</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JOIN</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UNION</a:t>
            </a:r>
          </a:p>
        </p:txBody>
      </p:sp>
      <p:sp>
        <p:nvSpPr>
          <p:cNvPr id="4" name="TextBox 3"/>
          <p:cNvSpPr txBox="1"/>
          <p:nvPr/>
        </p:nvSpPr>
        <p:spPr>
          <a:xfrm>
            <a:off x="4421078" y="4545840"/>
            <a:ext cx="2170466" cy="158569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Windowing Extension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Tumbling Window</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Hopping Window</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liding Window</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uration</a:t>
            </a:r>
          </a:p>
        </p:txBody>
      </p:sp>
      <p:sp>
        <p:nvSpPr>
          <p:cNvPr id="5" name="TextBox 4"/>
          <p:cNvSpPr txBox="1"/>
          <p:nvPr/>
        </p:nvSpPr>
        <p:spPr>
          <a:xfrm>
            <a:off x="8654383" y="1399182"/>
            <a:ext cx="2010872" cy="188744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Aggregate Function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UM</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COUNT</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AVG</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MIN</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MAX</a:t>
            </a:r>
          </a:p>
        </p:txBody>
      </p:sp>
      <p:sp>
        <p:nvSpPr>
          <p:cNvPr id="6" name="TextBox 5"/>
          <p:cNvSpPr txBox="1"/>
          <p:nvPr/>
        </p:nvSpPr>
        <p:spPr>
          <a:xfrm>
            <a:off x="4421078" y="1399182"/>
            <a:ext cx="2520818" cy="27926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 and Time Function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NAME</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PART</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Y</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MONTH</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YEAR</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TIMEFROMPART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DIFF</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ADD</a:t>
            </a:r>
          </a:p>
        </p:txBody>
      </p:sp>
      <p:sp>
        <p:nvSpPr>
          <p:cNvPr id="7" name="TextBox 6"/>
          <p:cNvSpPr txBox="1"/>
          <p:nvPr/>
        </p:nvSpPr>
        <p:spPr>
          <a:xfrm>
            <a:off x="8654383" y="4545840"/>
            <a:ext cx="1589218" cy="192199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tring Functions</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LEN</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CONCAT</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CHARINDEX</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UBSTRING</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PATINDEX</a:t>
            </a:r>
          </a:p>
        </p:txBody>
      </p:sp>
      <p:sp>
        <p:nvSpPr>
          <p:cNvPr id="8" name="TextBox 7"/>
          <p:cNvSpPr txBox="1"/>
          <p:nvPr/>
        </p:nvSpPr>
        <p:spPr>
          <a:xfrm>
            <a:off x="1139837" y="4545840"/>
            <a:ext cx="1655581" cy="105913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caling Functions</a:t>
            </a:r>
          </a:p>
          <a:p>
            <a:pPr marL="0" marR="0" lvl="0" indent="-28569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WITH</a:t>
            </a:r>
          </a:p>
          <a:p>
            <a:pPr marL="0" marR="0" lvl="0" indent="-28569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PARTITION BY</a:t>
            </a:r>
          </a:p>
        </p:txBody>
      </p:sp>
      <p:grpSp>
        <p:nvGrpSpPr>
          <p:cNvPr id="10" name="Group 9"/>
          <p:cNvGrpSpPr/>
          <p:nvPr/>
        </p:nvGrpSpPr>
        <p:grpSpPr>
          <a:xfrm>
            <a:off x="1588" y="-44971"/>
            <a:ext cx="12195175" cy="945292"/>
            <a:chOff x="1588" y="0"/>
            <a:chExt cx="12195175" cy="945292"/>
          </a:xfrm>
        </p:grpSpPr>
        <p:sp>
          <p:nvSpPr>
            <p:cNvPr id="11"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Azure Stream Analytics:</a:t>
              </a:r>
              <a:r>
                <a:rPr kumimoji="0" lang="en-GB" sz="3400" b="0" i="0" u="none" strike="noStrike" kern="1200" cap="none" spc="-100" normalizeH="0" noProof="0" dirty="0" smtClean="0">
                  <a:ln w="3175">
                    <a:noFill/>
                  </a:ln>
                  <a:solidFill>
                    <a:srgbClr val="FFFFFF"/>
                  </a:solidFill>
                  <a:effectLst/>
                  <a:uLnTx/>
                  <a:uFillTx/>
                  <a:latin typeface="Segoe UI Light" pitchFamily="34" charset="0"/>
                  <a:ea typeface="+mn-ea"/>
                  <a:cs typeface="Arial" charset="0"/>
                </a:rPr>
                <a:t> Query Language</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12" name="Rectangle 11"/>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4" name="Group 13"/>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5"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6"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9"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0"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1"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2"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12660951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Storm on Azure</a:t>
            </a:r>
            <a:br>
              <a:rPr lang="en-GB" sz="7200" dirty="0" smtClean="0">
                <a:solidFill>
                  <a:schemeClr val="bg1"/>
                </a:solidFill>
                <a:latin typeface="Segoe UI Light" panose="020B0502040204020203" pitchFamily="34" charset="0"/>
                <a:cs typeface="Segoe UI Light" panose="020B0502040204020203" pitchFamily="34" charset="0"/>
              </a:rPr>
            </a:b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1842412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000457"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004932" y="3297452"/>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grpSp>
        <p:nvGrpSpPr>
          <p:cNvPr id="13" name="Group 12"/>
          <p:cNvGrpSpPr/>
          <p:nvPr/>
        </p:nvGrpSpPr>
        <p:grpSpPr>
          <a:xfrm>
            <a:off x="634851" y="4307682"/>
            <a:ext cx="2405714" cy="2122038"/>
            <a:chOff x="634851" y="4307682"/>
            <a:chExt cx="2405714" cy="2122038"/>
          </a:xfrm>
        </p:grpSpPr>
        <p:grpSp>
          <p:nvGrpSpPr>
            <p:cNvPr id="14" name="Group 13"/>
            <p:cNvGrpSpPr/>
            <p:nvPr/>
          </p:nvGrpSpPr>
          <p:grpSpPr>
            <a:xfrm>
              <a:off x="634851" y="4307682"/>
              <a:ext cx="960199" cy="970385"/>
              <a:chOff x="699313" y="2289942"/>
              <a:chExt cx="979453" cy="989843"/>
            </a:xfrm>
            <a:solidFill>
              <a:srgbClr val="A6A6A6"/>
            </a:solidFill>
          </p:grpSpPr>
          <p:sp>
            <p:nvSpPr>
              <p:cNvPr id="33"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lumMod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4" name="TextBox 33"/>
              <p:cNvSpPr txBox="1"/>
              <p:nvPr/>
            </p:nvSpPr>
            <p:spPr>
              <a:xfrm>
                <a:off x="699313" y="3085922"/>
                <a:ext cx="979453" cy="193863"/>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pplications</a:t>
                </a:r>
              </a:p>
            </p:txBody>
          </p:sp>
        </p:grpSp>
        <p:grpSp>
          <p:nvGrpSpPr>
            <p:cNvPr id="16" name="Group 15"/>
            <p:cNvGrpSpPr/>
            <p:nvPr/>
          </p:nvGrpSpPr>
          <p:grpSpPr>
            <a:xfrm>
              <a:off x="1885685" y="4421484"/>
              <a:ext cx="1154880" cy="914165"/>
              <a:chOff x="702726" y="4244294"/>
              <a:chExt cx="862790" cy="666531"/>
            </a:xfrm>
          </p:grpSpPr>
          <p:sp>
            <p:nvSpPr>
              <p:cNvPr id="27" name="TextBox 26"/>
              <p:cNvSpPr txBox="1"/>
              <p:nvPr/>
            </p:nvSpPr>
            <p:spPr>
              <a:xfrm>
                <a:off x="776632" y="4720773"/>
                <a:ext cx="618987" cy="19005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nsors</a:t>
                </a:r>
              </a:p>
            </p:txBody>
          </p:sp>
          <p:grpSp>
            <p:nvGrpSpPr>
              <p:cNvPr id="28" name="Group 27"/>
              <p:cNvGrpSpPr/>
              <p:nvPr/>
            </p:nvGrpSpPr>
            <p:grpSpPr>
              <a:xfrm>
                <a:off x="702726" y="4244294"/>
                <a:ext cx="862790" cy="429878"/>
                <a:chOff x="5416547" y="3144838"/>
                <a:chExt cx="1352553" cy="565150"/>
              </a:xfrm>
              <a:solidFill>
                <a:srgbClr val="A5A5A5"/>
              </a:solidFill>
            </p:grpSpPr>
            <p:sp>
              <p:nvSpPr>
                <p:cNvPr id="29"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p:cNvGrpSpPr/>
            <p:nvPr/>
          </p:nvGrpSpPr>
          <p:grpSpPr>
            <a:xfrm>
              <a:off x="1360059" y="5472084"/>
              <a:ext cx="1051375" cy="957636"/>
              <a:chOff x="682780" y="3078042"/>
              <a:chExt cx="1051375" cy="957636"/>
            </a:xfrm>
            <a:solidFill>
              <a:schemeClr val="tx1">
                <a:lumMod val="50000"/>
              </a:schemeClr>
            </a:solidFill>
          </p:grpSpPr>
          <p:grpSp>
            <p:nvGrpSpPr>
              <p:cNvPr id="21" name="Group 20"/>
              <p:cNvGrpSpPr/>
              <p:nvPr/>
            </p:nvGrpSpPr>
            <p:grpSpPr>
              <a:xfrm>
                <a:off x="682780" y="3078042"/>
                <a:ext cx="1051375" cy="661144"/>
                <a:chOff x="681416" y="4028239"/>
                <a:chExt cx="634251" cy="379977"/>
              </a:xfrm>
              <a:grpFill/>
            </p:grpSpPr>
            <p:sp>
              <p:nvSpPr>
                <p:cNvPr id="23"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sp>
            <p:nvSpPr>
              <p:cNvPr id="22" name="TextBox 21"/>
              <p:cNvSpPr txBox="1"/>
              <p:nvPr/>
            </p:nvSpPr>
            <p:spPr>
              <a:xfrm>
                <a:off x="845731" y="3845626"/>
                <a:ext cx="591509" cy="190052"/>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Devices</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grpSp>
      </p:grpSp>
      <p:pic>
        <p:nvPicPr>
          <p:cNvPr id="5" name="Picture 4"/>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6146374" y="2701326"/>
            <a:ext cx="1011600" cy="1011600"/>
          </a:xfrm>
          <a:prstGeom prst="rect">
            <a:avLst/>
          </a:prstGeom>
        </p:spPr>
      </p:pic>
      <p:pic>
        <p:nvPicPr>
          <p:cNvPr id="6" name="Picture 5"/>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7297211" y="2701326"/>
            <a:ext cx="1011600" cy="1011600"/>
          </a:xfrm>
          <a:prstGeom prst="rect">
            <a:avLst/>
          </a:prstGeom>
        </p:spPr>
      </p:pic>
      <p:pic>
        <p:nvPicPr>
          <p:cNvPr id="9" name="Picture 8"/>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9229640" y="1586040"/>
            <a:ext cx="1011600" cy="1011600"/>
          </a:xfrm>
          <a:prstGeom prst="rect">
            <a:avLst/>
          </a:prstGeom>
        </p:spPr>
      </p:pic>
      <p:pic>
        <p:nvPicPr>
          <p:cNvPr id="11" name="Picture 10"/>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10457591" y="1586040"/>
            <a:ext cx="1011600" cy="1011600"/>
          </a:xfrm>
          <a:prstGeom prst="rect">
            <a:avLst/>
          </a:prstGeom>
        </p:spPr>
      </p:pic>
      <p:sp>
        <p:nvSpPr>
          <p:cNvPr id="35" name="Freeform 34"/>
          <p:cNvSpPr/>
          <p:nvPr/>
        </p:nvSpPr>
        <p:spPr>
          <a:xfrm>
            <a:off x="7251766" y="1899765"/>
            <a:ext cx="1761524" cy="73883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36" name="Freeform 35"/>
          <p:cNvSpPr/>
          <p:nvPr/>
        </p:nvSpPr>
        <p:spPr>
          <a:xfrm>
            <a:off x="5137675" y="3140234"/>
            <a:ext cx="869462" cy="45719"/>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grpSp>
        <p:nvGrpSpPr>
          <p:cNvPr id="37" name="Group 36"/>
          <p:cNvGrpSpPr/>
          <p:nvPr/>
        </p:nvGrpSpPr>
        <p:grpSpPr>
          <a:xfrm>
            <a:off x="1588" y="-44971"/>
            <a:ext cx="12195175" cy="945292"/>
            <a:chOff x="1588" y="0"/>
            <a:chExt cx="12195175" cy="945292"/>
          </a:xfrm>
        </p:grpSpPr>
        <p:sp>
          <p:nvSpPr>
            <p:cNvPr id="38"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lang="en-GB" sz="3400" dirty="0" smtClean="0">
                  <a:solidFill>
                    <a:srgbClr val="FFFFFF"/>
                  </a:solidFill>
                </a:rPr>
                <a:t>Storm on Azure Architecture</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39" name="Rectangle 38"/>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0"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1" name="Group 40"/>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42"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3"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4"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5"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6"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7"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8"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49"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893184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35" grpId="0" animBg="1"/>
      <p:bldP spid="36" grpId="0" animBg="1"/>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181792" y="1447800"/>
            <a:ext cx="9826828" cy="4572000"/>
          </a:xfrm>
          <a:prstGeom prst="rect">
            <a:avLst/>
          </a:prstGeom>
        </p:spPr>
      </p:pic>
      <p:grpSp>
        <p:nvGrpSpPr>
          <p:cNvPr id="5" name="Group 4"/>
          <p:cNvGrpSpPr/>
          <p:nvPr/>
        </p:nvGrpSpPr>
        <p:grpSpPr>
          <a:xfrm>
            <a:off x="1588" y="-44971"/>
            <a:ext cx="12195175" cy="945292"/>
            <a:chOff x="1588" y="0"/>
            <a:chExt cx="12195175" cy="945292"/>
          </a:xfrm>
        </p:grpSpPr>
        <p:sp>
          <p:nvSpPr>
            <p:cNvPr id="6"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Hadoop Ecosystem</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7" name="Rectangle 6"/>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9" name="Group 8"/>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0"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1"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2"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3"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5"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6"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80714804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Tuple</a:t>
            </a:r>
          </a:p>
        </p:txBody>
      </p:sp>
      <p:sp>
        <p:nvSpPr>
          <p:cNvPr id="4" name="TextBox 3"/>
          <p:cNvSpPr txBox="1"/>
          <p:nvPr/>
        </p:nvSpPr>
        <p:spPr>
          <a:xfrm>
            <a:off x="1295400" y="3200400"/>
            <a:ext cx="9448800" cy="627864"/>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90000"/>
              </a:lnSpc>
              <a:spcBef>
                <a:spcPct val="20000"/>
              </a:spcBef>
              <a:spcAft>
                <a:spcPts val="0"/>
              </a:spcAft>
              <a:buClrTx/>
              <a:buSzPct val="90000"/>
              <a:buFontTx/>
              <a:buNone/>
              <a:tabLst/>
              <a:defRPr/>
            </a:pPr>
            <a:r>
              <a:rPr kumimoji="0" lang="en-GB" sz="3200" b="0" i="0" u="none" strike="noStrike" kern="1200" cap="none" spc="0" normalizeH="0" baseline="0" noProof="0" dirty="0">
                <a:ln>
                  <a:noFill/>
                </a:ln>
                <a:solidFill>
                  <a:srgbClr val="FFFF00">
                    <a:alpha val="99000"/>
                  </a:srgbClr>
                </a:solidFill>
                <a:effectLst/>
                <a:uLnTx/>
                <a:uFillTx/>
                <a:latin typeface="Calibri" panose="020F0502020204030204"/>
                <a:ea typeface="+mn-ea"/>
                <a:cs typeface="+mn-cs"/>
              </a:rPr>
              <a:t>(“Allan Mitchell”, “Storm Concepts”, “2014-11-22”)</a:t>
            </a:r>
          </a:p>
        </p:txBody>
      </p:sp>
      <p:grpSp>
        <p:nvGrpSpPr>
          <p:cNvPr id="6" name="Group 5"/>
          <p:cNvGrpSpPr/>
          <p:nvPr/>
        </p:nvGrpSpPr>
        <p:grpSpPr>
          <a:xfrm>
            <a:off x="1588" y="-52466"/>
            <a:ext cx="12195175" cy="945292"/>
            <a:chOff x="1588" y="0"/>
            <a:chExt cx="12195175" cy="945292"/>
          </a:xfrm>
        </p:grpSpPr>
        <p:sp>
          <p:nvSpPr>
            <p:cNvPr id="7"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Storm Concept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8" name="Rectangle 7"/>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0" name="Group 9"/>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2"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3"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5"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194987914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Stream</a:t>
            </a:r>
          </a:p>
        </p:txBody>
      </p:sp>
      <p:sp>
        <p:nvSpPr>
          <p:cNvPr id="7" name="Flowchart: Alternate Process 6"/>
          <p:cNvSpPr/>
          <p:nvPr/>
        </p:nvSpPr>
        <p:spPr bwMode="auto">
          <a:xfrm>
            <a:off x="1752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8" name="Flowchart: Alternate Process 7"/>
          <p:cNvSpPr/>
          <p:nvPr/>
        </p:nvSpPr>
        <p:spPr bwMode="auto">
          <a:xfrm>
            <a:off x="-60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9" name="Flowchart: Alternate Process 8"/>
          <p:cNvSpPr/>
          <p:nvPr/>
        </p:nvSpPr>
        <p:spPr bwMode="auto">
          <a:xfrm>
            <a:off x="10385424"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0" name="Flowchart: Alternate Process 9"/>
          <p:cNvSpPr/>
          <p:nvPr/>
        </p:nvSpPr>
        <p:spPr bwMode="auto">
          <a:xfrm>
            <a:off x="3900776" y="3573318"/>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1" name="Flowchart: Alternate Process 10"/>
          <p:cNvSpPr/>
          <p:nvPr/>
        </p:nvSpPr>
        <p:spPr bwMode="auto">
          <a:xfrm>
            <a:off x="6100545"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2" name="Flowchart: Alternate Process 11"/>
          <p:cNvSpPr/>
          <p:nvPr/>
        </p:nvSpPr>
        <p:spPr bwMode="auto">
          <a:xfrm>
            <a:off x="822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5" name="Right Arrow 14"/>
          <p:cNvSpPr/>
          <p:nvPr/>
        </p:nvSpPr>
        <p:spPr bwMode="auto">
          <a:xfrm>
            <a:off x="520700" y="4469299"/>
            <a:ext cx="11149013" cy="304800"/>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grpSp>
        <p:nvGrpSpPr>
          <p:cNvPr id="13" name="Group 12"/>
          <p:cNvGrpSpPr/>
          <p:nvPr/>
        </p:nvGrpSpPr>
        <p:grpSpPr>
          <a:xfrm>
            <a:off x="1588" y="-52466"/>
            <a:ext cx="12195175" cy="945292"/>
            <a:chOff x="1588" y="0"/>
            <a:chExt cx="12195175" cy="945292"/>
          </a:xfrm>
        </p:grpSpPr>
        <p:sp>
          <p:nvSpPr>
            <p:cNvPr id="14"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Storm Concept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16" name="Rectangle 15"/>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8" name="Group 17"/>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9"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0"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1"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2"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3"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4"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5"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6"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180118100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Spout</a:t>
            </a:r>
          </a:p>
        </p:txBody>
      </p:sp>
      <p:sp>
        <p:nvSpPr>
          <p:cNvPr id="7" name="Flowchart: Alternate Process 6"/>
          <p:cNvSpPr/>
          <p:nvPr/>
        </p:nvSpPr>
        <p:spPr bwMode="auto">
          <a:xfrm>
            <a:off x="1752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9" name="Flowchart: Alternate Process 8"/>
          <p:cNvSpPr/>
          <p:nvPr/>
        </p:nvSpPr>
        <p:spPr bwMode="auto">
          <a:xfrm>
            <a:off x="10385424"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0" name="Flowchart: Alternate Process 9"/>
          <p:cNvSpPr/>
          <p:nvPr/>
        </p:nvSpPr>
        <p:spPr bwMode="auto">
          <a:xfrm>
            <a:off x="3900776" y="3573318"/>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1" name="Flowchart: Alternate Process 10"/>
          <p:cNvSpPr/>
          <p:nvPr/>
        </p:nvSpPr>
        <p:spPr bwMode="auto">
          <a:xfrm>
            <a:off x="6100545"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2" name="Flowchart: Alternate Process 11"/>
          <p:cNvSpPr/>
          <p:nvPr/>
        </p:nvSpPr>
        <p:spPr bwMode="auto">
          <a:xfrm>
            <a:off x="822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5" name="Right Arrow 14"/>
          <p:cNvSpPr/>
          <p:nvPr/>
        </p:nvSpPr>
        <p:spPr bwMode="auto">
          <a:xfrm>
            <a:off x="520700" y="4469299"/>
            <a:ext cx="11149013" cy="304800"/>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pic>
        <p:nvPicPr>
          <p:cNvPr id="13" name="Picture 2" descr="http://www.hpwarehouse.co.uk/media/catalog/product/cache/1/image/9df78eab33525d08d6e5fb8d27136e95/p/r/profile-mono-basin-mixer-tap.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8379" y="3124201"/>
            <a:ext cx="1290637" cy="1290637"/>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p:cNvGrpSpPr/>
          <p:nvPr/>
        </p:nvGrpSpPr>
        <p:grpSpPr>
          <a:xfrm>
            <a:off x="1588" y="-52466"/>
            <a:ext cx="12195175" cy="945292"/>
            <a:chOff x="1588" y="0"/>
            <a:chExt cx="12195175" cy="945292"/>
          </a:xfrm>
        </p:grpSpPr>
        <p:sp>
          <p:nvSpPr>
            <p:cNvPr id="16"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Storm Concept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17" name="Rectangle 16"/>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9" name="Group 18"/>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20"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1"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2"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3"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4"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5"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6"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7"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423744587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0701" y="1447799"/>
            <a:ext cx="11149013" cy="2339102"/>
          </a:xfrm>
        </p:spPr>
        <p:txBody>
          <a:bodyPr/>
          <a:lstStyle/>
          <a:p>
            <a:r>
              <a:rPr lang="en-GB" dirty="0" smtClean="0"/>
              <a:t>Producers of Data</a:t>
            </a:r>
          </a:p>
          <a:p>
            <a:pPr lvl="1"/>
            <a:r>
              <a:rPr lang="en-GB" dirty="0" smtClean="0"/>
              <a:t>Logs</a:t>
            </a:r>
          </a:p>
          <a:p>
            <a:pPr lvl="1"/>
            <a:r>
              <a:rPr lang="en-GB" dirty="0" smtClean="0"/>
              <a:t>API</a:t>
            </a:r>
          </a:p>
          <a:p>
            <a:pPr lvl="1"/>
            <a:r>
              <a:rPr lang="en-GB" dirty="0" smtClean="0"/>
              <a:t>Queues</a:t>
            </a:r>
          </a:p>
          <a:p>
            <a:pPr lvl="1"/>
            <a:r>
              <a:rPr lang="en-GB" dirty="0" smtClean="0"/>
              <a:t>Event Data</a:t>
            </a:r>
            <a:endParaRPr lang="en-GB" dirty="0"/>
          </a:p>
        </p:txBody>
      </p:sp>
      <p:grpSp>
        <p:nvGrpSpPr>
          <p:cNvPr id="5" name="Group 4"/>
          <p:cNvGrpSpPr/>
          <p:nvPr/>
        </p:nvGrpSpPr>
        <p:grpSpPr>
          <a:xfrm>
            <a:off x="1588" y="-52466"/>
            <a:ext cx="12195175" cy="945292"/>
            <a:chOff x="1588" y="0"/>
            <a:chExt cx="12195175" cy="945292"/>
          </a:xfrm>
        </p:grpSpPr>
        <p:sp>
          <p:nvSpPr>
            <p:cNvPr id="6"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Storm Concepts: Spout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7" name="Rectangle 6"/>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9" name="Group 8"/>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0"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1"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2"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3"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5"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6"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70452941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Bolts</a:t>
            </a:r>
          </a:p>
        </p:txBody>
      </p:sp>
      <p:sp>
        <p:nvSpPr>
          <p:cNvPr id="7" name="Flowchart: Alternate Process 6"/>
          <p:cNvSpPr/>
          <p:nvPr/>
        </p:nvSpPr>
        <p:spPr bwMode="auto">
          <a:xfrm>
            <a:off x="1752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9" name="Flowchart: Alternate Process 8"/>
          <p:cNvSpPr/>
          <p:nvPr/>
        </p:nvSpPr>
        <p:spPr bwMode="auto">
          <a:xfrm>
            <a:off x="8223394" y="2284627"/>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0" name="Flowchart: Alternate Process 9"/>
          <p:cNvSpPr/>
          <p:nvPr/>
        </p:nvSpPr>
        <p:spPr bwMode="auto">
          <a:xfrm>
            <a:off x="6139006" y="2261701"/>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1" name="Flowchart: Alternate Process 10"/>
          <p:cNvSpPr/>
          <p:nvPr/>
        </p:nvSpPr>
        <p:spPr bwMode="auto">
          <a:xfrm>
            <a:off x="6100545"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2" name="Flowchart: Alternate Process 11"/>
          <p:cNvSpPr/>
          <p:nvPr/>
        </p:nvSpPr>
        <p:spPr bwMode="auto">
          <a:xfrm>
            <a:off x="822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5" name="Right Arrow 14"/>
          <p:cNvSpPr/>
          <p:nvPr/>
        </p:nvSpPr>
        <p:spPr bwMode="auto">
          <a:xfrm rot="1433643">
            <a:off x="5120007" y="4586151"/>
            <a:ext cx="877760" cy="262760"/>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pic>
        <p:nvPicPr>
          <p:cNvPr id="6146" name="Picture 2" descr="http://www.hpwarehouse.co.uk/media/catalog/product/cache/1/image/9df78eab33525d08d6e5fb8d27136e95/p/r/profile-mono-basin-mixer-tap.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8379" y="3124201"/>
            <a:ext cx="1290637" cy="1290637"/>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http://cdn-www.xda-developers.com/wp-content/uploads/2012/01/bolt.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1286" y="3291540"/>
            <a:ext cx="1430622" cy="1113121"/>
          </a:xfrm>
          <a:prstGeom prst="rect">
            <a:avLst/>
          </a:prstGeom>
          <a:noFill/>
          <a:extLst>
            <a:ext uri="{909E8E84-426E-40DD-AFC4-6F175D3DCCD1}">
              <a14:hiddenFill xmlns:a14="http://schemas.microsoft.com/office/drawing/2010/main">
                <a:solidFill>
                  <a:srgbClr val="FFFFFF"/>
                </a:solidFill>
              </a14:hiddenFill>
            </a:ext>
          </a:extLst>
        </p:spPr>
      </p:pic>
      <p:sp>
        <p:nvSpPr>
          <p:cNvPr id="13" name="Flowchart: Alternate Process 12"/>
          <p:cNvSpPr/>
          <p:nvPr/>
        </p:nvSpPr>
        <p:spPr bwMode="auto">
          <a:xfrm>
            <a:off x="10273867" y="2284627"/>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4" name="Flowchart: Alternate Process 13"/>
          <p:cNvSpPr/>
          <p:nvPr/>
        </p:nvSpPr>
        <p:spPr bwMode="auto">
          <a:xfrm>
            <a:off x="10210800" y="4992403"/>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6" name="Flowchart: Alternate Process 15"/>
          <p:cNvSpPr/>
          <p:nvPr/>
        </p:nvSpPr>
        <p:spPr bwMode="auto">
          <a:xfrm>
            <a:off x="8229600" y="4992403"/>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7" name="Flowchart: Alternate Process 16"/>
          <p:cNvSpPr/>
          <p:nvPr/>
        </p:nvSpPr>
        <p:spPr bwMode="auto">
          <a:xfrm>
            <a:off x="6172200" y="4992403"/>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8" name="Right Arrow 17"/>
          <p:cNvSpPr/>
          <p:nvPr/>
        </p:nvSpPr>
        <p:spPr bwMode="auto">
          <a:xfrm>
            <a:off x="6318250" y="4214199"/>
            <a:ext cx="3213101" cy="255101"/>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19" name="Right Arrow 18"/>
          <p:cNvSpPr/>
          <p:nvPr/>
        </p:nvSpPr>
        <p:spPr bwMode="auto">
          <a:xfrm>
            <a:off x="6172200" y="5652253"/>
            <a:ext cx="5715000" cy="318051"/>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0" name="Right Arrow 19"/>
          <p:cNvSpPr/>
          <p:nvPr/>
        </p:nvSpPr>
        <p:spPr bwMode="auto">
          <a:xfrm>
            <a:off x="6172200" y="2846008"/>
            <a:ext cx="5791200" cy="278192"/>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1" name="Right Arrow 20"/>
          <p:cNvSpPr/>
          <p:nvPr/>
        </p:nvSpPr>
        <p:spPr bwMode="auto">
          <a:xfrm>
            <a:off x="5241908" y="3720244"/>
            <a:ext cx="1002015" cy="291898"/>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2" name="Right Arrow 21"/>
          <p:cNvSpPr/>
          <p:nvPr/>
        </p:nvSpPr>
        <p:spPr bwMode="auto">
          <a:xfrm rot="20132307">
            <a:off x="5276508" y="2672129"/>
            <a:ext cx="766438" cy="333261"/>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3" name="Right Arrow 22"/>
          <p:cNvSpPr/>
          <p:nvPr/>
        </p:nvSpPr>
        <p:spPr bwMode="auto">
          <a:xfrm>
            <a:off x="1744086" y="4245635"/>
            <a:ext cx="1761115" cy="223665"/>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grpSp>
        <p:nvGrpSpPr>
          <p:cNvPr id="24" name="Group 23"/>
          <p:cNvGrpSpPr/>
          <p:nvPr/>
        </p:nvGrpSpPr>
        <p:grpSpPr>
          <a:xfrm>
            <a:off x="1588" y="-52466"/>
            <a:ext cx="12195175" cy="945292"/>
            <a:chOff x="1588" y="0"/>
            <a:chExt cx="12195175" cy="945292"/>
          </a:xfrm>
        </p:grpSpPr>
        <p:sp>
          <p:nvSpPr>
            <p:cNvPr id="25"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Storm Concept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26" name="Rectangle 25"/>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7"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8" name="Group 27"/>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29"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0"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1"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2"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3"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4"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5"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36"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358507736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0701" y="1447800"/>
            <a:ext cx="11149013" cy="3693319"/>
          </a:xfrm>
        </p:spPr>
        <p:txBody>
          <a:bodyPr/>
          <a:lstStyle/>
          <a:p>
            <a:r>
              <a:rPr lang="en-GB" dirty="0" smtClean="0"/>
              <a:t>Operate on the streams</a:t>
            </a:r>
          </a:p>
          <a:p>
            <a:r>
              <a:rPr lang="en-GB" dirty="0" smtClean="0"/>
              <a:t>Aggregation</a:t>
            </a:r>
          </a:p>
          <a:p>
            <a:r>
              <a:rPr lang="en-GB" dirty="0" smtClean="0"/>
              <a:t>Filter</a:t>
            </a:r>
          </a:p>
          <a:p>
            <a:r>
              <a:rPr lang="en-GB" dirty="0" smtClean="0"/>
              <a:t>Project</a:t>
            </a:r>
          </a:p>
          <a:p>
            <a:r>
              <a:rPr lang="en-GB" dirty="0" smtClean="0"/>
              <a:t>Analytics</a:t>
            </a:r>
          </a:p>
          <a:p>
            <a:r>
              <a:rPr lang="en-GB" dirty="0" smtClean="0"/>
              <a:t>Windowing</a:t>
            </a:r>
          </a:p>
          <a:p>
            <a:r>
              <a:rPr lang="en-GB" dirty="0" smtClean="0"/>
              <a:t>…</a:t>
            </a:r>
            <a:endParaRPr lang="en-GB" dirty="0"/>
          </a:p>
        </p:txBody>
      </p:sp>
      <p:grpSp>
        <p:nvGrpSpPr>
          <p:cNvPr id="5" name="Group 4"/>
          <p:cNvGrpSpPr/>
          <p:nvPr/>
        </p:nvGrpSpPr>
        <p:grpSpPr>
          <a:xfrm>
            <a:off x="1588" y="-52466"/>
            <a:ext cx="12195175" cy="945292"/>
            <a:chOff x="1588" y="0"/>
            <a:chExt cx="12195175" cy="945292"/>
          </a:xfrm>
        </p:grpSpPr>
        <p:sp>
          <p:nvSpPr>
            <p:cNvPr id="6"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Storm Concepts: Bolt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7" name="Rectangle 6"/>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9" name="Group 8"/>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0"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1"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2"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3"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5"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6"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310747449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88" y="0"/>
            <a:ext cx="12188825" cy="945292"/>
          </a:xfrm>
          <a:solidFill>
            <a:srgbClr val="4E195C"/>
          </a:solidFill>
        </p:spPr>
        <p:txBody>
          <a:bodyPr vert="horz" wrap="square" lIns="1188720" tIns="0" rIns="0" bIns="0" rtlCol="0" anchor="ctr" anchorCtr="0">
            <a:noAutofit/>
          </a:bodyPr>
          <a:lstStyle/>
          <a:p>
            <a:r>
              <a:rPr lang="en-US" sz="3600" dirty="0"/>
              <a:t>The Internet of Things – Manufacturing</a:t>
            </a:r>
          </a:p>
        </p:txBody>
      </p:sp>
      <p:sp>
        <p:nvSpPr>
          <p:cNvPr id="521" name="Rectangle 520"/>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72" name="Rectangle 371"/>
          <p:cNvSpPr/>
          <p:nvPr/>
        </p:nvSpPr>
        <p:spPr bwMode="auto">
          <a:xfrm>
            <a:off x="10017076" y="1871199"/>
            <a:ext cx="1928863" cy="4605482"/>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166" name="Group 1165"/>
          <p:cNvGrpSpPr/>
          <p:nvPr/>
        </p:nvGrpSpPr>
        <p:grpSpPr>
          <a:xfrm>
            <a:off x="10017075" y="3342937"/>
            <a:ext cx="1923541" cy="1626721"/>
            <a:chOff x="161401" y="1932654"/>
            <a:chExt cx="1761072" cy="1626721"/>
          </a:xfrm>
        </p:grpSpPr>
        <p:grpSp>
          <p:nvGrpSpPr>
            <p:cNvPr id="1167" name="Group 1166"/>
            <p:cNvGrpSpPr/>
            <p:nvPr/>
          </p:nvGrpSpPr>
          <p:grpSpPr>
            <a:xfrm>
              <a:off x="161401" y="3250919"/>
              <a:ext cx="1761072" cy="308456"/>
              <a:chOff x="3900492" y="3987329"/>
              <a:chExt cx="4849648" cy="308456"/>
            </a:xfrm>
          </p:grpSpPr>
          <p:sp>
            <p:nvSpPr>
              <p:cNvPr id="1172" name="Rectangle 1171"/>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73" name="Trapezoid 1172"/>
              <p:cNvSpPr/>
              <p:nvPr/>
            </p:nvSpPr>
            <p:spPr bwMode="auto">
              <a:xfrm>
                <a:off x="4016909" y="3987329"/>
                <a:ext cx="4634337" cy="262428"/>
              </a:xfrm>
              <a:prstGeom prst="trapezoid">
                <a:avLst>
                  <a:gd name="adj" fmla="val 96157"/>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168" name="Group 1167"/>
            <p:cNvGrpSpPr/>
            <p:nvPr/>
          </p:nvGrpSpPr>
          <p:grpSpPr>
            <a:xfrm>
              <a:off x="199444" y="1932654"/>
              <a:ext cx="1691879" cy="1585516"/>
              <a:chOff x="114794" y="583668"/>
              <a:chExt cx="3534424" cy="3543633"/>
            </a:xfrm>
          </p:grpSpPr>
          <p:sp>
            <p:nvSpPr>
              <p:cNvPr id="1169" name="Rectangle 1168"/>
              <p:cNvSpPr/>
              <p:nvPr/>
            </p:nvSpPr>
            <p:spPr bwMode="auto">
              <a:xfrm>
                <a:off x="607549"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70"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71"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549" name="Rectangle 548"/>
          <p:cNvSpPr/>
          <p:nvPr/>
        </p:nvSpPr>
        <p:spPr>
          <a:xfrm>
            <a:off x="10679858" y="1318992"/>
            <a:ext cx="1025171" cy="43088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GLOBAL </a:t>
            </a:r>
            <a:br>
              <a:rPr kumimoji="0" lang="en-US" sz="1100" b="0" i="0" u="none" strike="noStrike" kern="0" cap="none" spc="0" normalizeH="0" baseline="0" noProof="0" dirty="0">
                <a:ln>
                  <a:noFill/>
                </a:ln>
                <a:solidFill>
                  <a:srgbClr val="FFFFFF"/>
                </a:solidFill>
                <a:effectLst/>
                <a:uLnTx/>
                <a:uFillTx/>
              </a:rPr>
            </a:br>
            <a:r>
              <a:rPr kumimoji="0" lang="en-US" sz="1100" b="0" i="0" u="none" strike="noStrike" kern="0" cap="none" spc="0" normalizeH="0" baseline="0" noProof="0" dirty="0">
                <a:ln>
                  <a:noFill/>
                </a:ln>
                <a:solidFill>
                  <a:srgbClr val="FFFFFF"/>
                </a:solidFill>
                <a:effectLst/>
                <a:uLnTx/>
                <a:uFillTx/>
              </a:rPr>
              <a:t>OPERATIONS</a:t>
            </a:r>
          </a:p>
        </p:txBody>
      </p:sp>
      <p:cxnSp>
        <p:nvCxnSpPr>
          <p:cNvPr id="663" name="Straight Connector 662"/>
          <p:cNvCxnSpPr/>
          <p:nvPr/>
        </p:nvCxnSpPr>
        <p:spPr>
          <a:xfrm flipV="1">
            <a:off x="10435776" y="1723459"/>
            <a:ext cx="0" cy="134104"/>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72" name="Rectangle 671"/>
          <p:cNvSpPr/>
          <p:nvPr/>
        </p:nvSpPr>
        <p:spPr bwMode="auto">
          <a:xfrm>
            <a:off x="10080011" y="1425402"/>
            <a:ext cx="142786" cy="184151"/>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73" name="Rectangle 672"/>
          <p:cNvSpPr/>
          <p:nvPr/>
        </p:nvSpPr>
        <p:spPr bwMode="auto">
          <a:xfrm>
            <a:off x="10288402" y="1451643"/>
            <a:ext cx="142786" cy="149585"/>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74" name="Rectangle 673"/>
          <p:cNvSpPr/>
          <p:nvPr/>
        </p:nvSpPr>
        <p:spPr bwMode="auto">
          <a:xfrm>
            <a:off x="10491133" y="1319427"/>
            <a:ext cx="142786" cy="291961"/>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75" name="Rectangle 73"/>
          <p:cNvSpPr/>
          <p:nvPr/>
        </p:nvSpPr>
        <p:spPr bwMode="auto">
          <a:xfrm rot="5400000">
            <a:off x="10137831" y="1199568"/>
            <a:ext cx="443930" cy="599530"/>
          </a:xfrm>
          <a:custGeom>
            <a:avLst/>
            <a:gdLst/>
            <a:ahLst/>
            <a:cxnLst/>
            <a:rect l="l" t="t" r="r" b="b"/>
            <a:pathLst>
              <a:path w="1906013" h="2081213">
                <a:moveTo>
                  <a:pt x="1447225" y="473849"/>
                </a:moveTo>
                <a:lnTo>
                  <a:pt x="1906012" y="473849"/>
                </a:lnTo>
                <a:lnTo>
                  <a:pt x="1906012" y="225142"/>
                </a:lnTo>
                <a:lnTo>
                  <a:pt x="1447225" y="225142"/>
                </a:lnTo>
                <a:close/>
                <a:moveTo>
                  <a:pt x="1256359" y="1719312"/>
                </a:moveTo>
                <a:lnTo>
                  <a:pt x="1375231" y="1719312"/>
                </a:lnTo>
                <a:lnTo>
                  <a:pt x="1375231" y="1534257"/>
                </a:lnTo>
                <a:lnTo>
                  <a:pt x="1256359" y="1534257"/>
                </a:lnTo>
                <a:close/>
                <a:moveTo>
                  <a:pt x="1256359" y="1956654"/>
                </a:moveTo>
                <a:lnTo>
                  <a:pt x="1375231" y="1956654"/>
                </a:lnTo>
                <a:lnTo>
                  <a:pt x="1375231" y="1771599"/>
                </a:lnTo>
                <a:lnTo>
                  <a:pt x="1256359" y="1771599"/>
                </a:lnTo>
                <a:close/>
                <a:moveTo>
                  <a:pt x="1250439" y="315966"/>
                </a:moveTo>
                <a:lnTo>
                  <a:pt x="1369311" y="315966"/>
                </a:lnTo>
                <a:lnTo>
                  <a:pt x="1369311" y="130911"/>
                </a:lnTo>
                <a:lnTo>
                  <a:pt x="1250439" y="130911"/>
                </a:lnTo>
                <a:close/>
                <a:moveTo>
                  <a:pt x="1250439" y="553308"/>
                </a:moveTo>
                <a:lnTo>
                  <a:pt x="1369311" y="553308"/>
                </a:lnTo>
                <a:lnTo>
                  <a:pt x="1369311" y="368253"/>
                </a:lnTo>
                <a:lnTo>
                  <a:pt x="1250439" y="368253"/>
                </a:lnTo>
                <a:close/>
                <a:moveTo>
                  <a:pt x="1242568" y="1014462"/>
                </a:moveTo>
                <a:lnTo>
                  <a:pt x="1361440" y="1014462"/>
                </a:lnTo>
                <a:lnTo>
                  <a:pt x="1361440" y="829407"/>
                </a:lnTo>
                <a:lnTo>
                  <a:pt x="1242568" y="829407"/>
                </a:lnTo>
                <a:close/>
                <a:moveTo>
                  <a:pt x="1242568" y="1251804"/>
                </a:moveTo>
                <a:lnTo>
                  <a:pt x="1361440" y="1251804"/>
                </a:lnTo>
                <a:lnTo>
                  <a:pt x="1361440" y="1066749"/>
                </a:lnTo>
                <a:lnTo>
                  <a:pt x="1242568" y="1066749"/>
                </a:lnTo>
                <a:close/>
                <a:moveTo>
                  <a:pt x="1052142" y="1719312"/>
                </a:moveTo>
                <a:lnTo>
                  <a:pt x="1171014" y="1719312"/>
                </a:lnTo>
                <a:lnTo>
                  <a:pt x="1171014" y="1534257"/>
                </a:lnTo>
                <a:lnTo>
                  <a:pt x="1052142" y="1534257"/>
                </a:lnTo>
                <a:close/>
                <a:moveTo>
                  <a:pt x="1052142" y="1956654"/>
                </a:moveTo>
                <a:lnTo>
                  <a:pt x="1171014" y="1956654"/>
                </a:lnTo>
                <a:lnTo>
                  <a:pt x="1171014" y="1771599"/>
                </a:lnTo>
                <a:lnTo>
                  <a:pt x="1052142" y="1771599"/>
                </a:lnTo>
                <a:close/>
                <a:moveTo>
                  <a:pt x="1040908" y="315966"/>
                </a:moveTo>
                <a:lnTo>
                  <a:pt x="1159780" y="315966"/>
                </a:lnTo>
                <a:lnTo>
                  <a:pt x="1159780" y="130911"/>
                </a:lnTo>
                <a:lnTo>
                  <a:pt x="1040908" y="130911"/>
                </a:lnTo>
                <a:close/>
                <a:moveTo>
                  <a:pt x="1040908" y="553308"/>
                </a:moveTo>
                <a:lnTo>
                  <a:pt x="1159780" y="553308"/>
                </a:lnTo>
                <a:lnTo>
                  <a:pt x="1159780" y="368253"/>
                </a:lnTo>
                <a:lnTo>
                  <a:pt x="1040908" y="368253"/>
                </a:lnTo>
                <a:close/>
                <a:moveTo>
                  <a:pt x="1038352" y="1014462"/>
                </a:moveTo>
                <a:lnTo>
                  <a:pt x="1157224" y="1014462"/>
                </a:lnTo>
                <a:lnTo>
                  <a:pt x="1157224" y="829407"/>
                </a:lnTo>
                <a:lnTo>
                  <a:pt x="1038352" y="829407"/>
                </a:lnTo>
                <a:close/>
                <a:moveTo>
                  <a:pt x="1038352" y="1251804"/>
                </a:moveTo>
                <a:lnTo>
                  <a:pt x="1157224" y="1251804"/>
                </a:lnTo>
                <a:lnTo>
                  <a:pt x="1157224" y="1066749"/>
                </a:lnTo>
                <a:lnTo>
                  <a:pt x="1038352" y="1066749"/>
                </a:lnTo>
                <a:close/>
                <a:moveTo>
                  <a:pt x="847926" y="1719312"/>
                </a:moveTo>
                <a:lnTo>
                  <a:pt x="966798" y="1719312"/>
                </a:lnTo>
                <a:lnTo>
                  <a:pt x="966798" y="1534257"/>
                </a:lnTo>
                <a:lnTo>
                  <a:pt x="847926" y="1534257"/>
                </a:lnTo>
                <a:close/>
                <a:moveTo>
                  <a:pt x="847926" y="1956654"/>
                </a:moveTo>
                <a:lnTo>
                  <a:pt x="966798" y="1956654"/>
                </a:lnTo>
                <a:lnTo>
                  <a:pt x="966798" y="1771599"/>
                </a:lnTo>
                <a:lnTo>
                  <a:pt x="847926" y="1771599"/>
                </a:lnTo>
                <a:close/>
                <a:moveTo>
                  <a:pt x="834136" y="1014462"/>
                </a:moveTo>
                <a:lnTo>
                  <a:pt x="953008" y="1014462"/>
                </a:lnTo>
                <a:lnTo>
                  <a:pt x="953008" y="829407"/>
                </a:lnTo>
                <a:lnTo>
                  <a:pt x="834136" y="829407"/>
                </a:lnTo>
                <a:close/>
                <a:moveTo>
                  <a:pt x="834136" y="1251804"/>
                </a:moveTo>
                <a:lnTo>
                  <a:pt x="953008" y="1251804"/>
                </a:lnTo>
                <a:lnTo>
                  <a:pt x="953008" y="1066749"/>
                </a:lnTo>
                <a:lnTo>
                  <a:pt x="834136" y="1066749"/>
                </a:lnTo>
                <a:close/>
                <a:moveTo>
                  <a:pt x="831377" y="315966"/>
                </a:moveTo>
                <a:lnTo>
                  <a:pt x="950249" y="315966"/>
                </a:lnTo>
                <a:lnTo>
                  <a:pt x="950249" y="130911"/>
                </a:lnTo>
                <a:lnTo>
                  <a:pt x="831377" y="130911"/>
                </a:lnTo>
                <a:close/>
                <a:moveTo>
                  <a:pt x="831377" y="553308"/>
                </a:moveTo>
                <a:lnTo>
                  <a:pt x="950249" y="553308"/>
                </a:lnTo>
                <a:lnTo>
                  <a:pt x="950249" y="368253"/>
                </a:lnTo>
                <a:lnTo>
                  <a:pt x="831377" y="368253"/>
                </a:lnTo>
                <a:close/>
                <a:moveTo>
                  <a:pt x="737560" y="1376363"/>
                </a:moveTo>
                <a:lnTo>
                  <a:pt x="737560" y="704850"/>
                </a:lnTo>
                <a:lnTo>
                  <a:pt x="1906013" y="704850"/>
                </a:lnTo>
                <a:lnTo>
                  <a:pt x="1906013" y="916252"/>
                </a:lnTo>
                <a:lnTo>
                  <a:pt x="1447226" y="916252"/>
                </a:lnTo>
                <a:lnTo>
                  <a:pt x="1447226" y="1164960"/>
                </a:lnTo>
                <a:lnTo>
                  <a:pt x="1906013" y="1164960"/>
                </a:lnTo>
                <a:lnTo>
                  <a:pt x="1906013" y="1376363"/>
                </a:lnTo>
                <a:close/>
                <a:moveTo>
                  <a:pt x="643710" y="1719312"/>
                </a:moveTo>
                <a:lnTo>
                  <a:pt x="762582" y="1719312"/>
                </a:lnTo>
                <a:lnTo>
                  <a:pt x="762582" y="1534257"/>
                </a:lnTo>
                <a:lnTo>
                  <a:pt x="643710" y="1534257"/>
                </a:lnTo>
                <a:close/>
                <a:moveTo>
                  <a:pt x="643710" y="1956654"/>
                </a:moveTo>
                <a:lnTo>
                  <a:pt x="762582" y="1956654"/>
                </a:lnTo>
                <a:lnTo>
                  <a:pt x="762582" y="1771599"/>
                </a:lnTo>
                <a:lnTo>
                  <a:pt x="643710" y="1771599"/>
                </a:lnTo>
                <a:close/>
                <a:moveTo>
                  <a:pt x="621846" y="315966"/>
                </a:moveTo>
                <a:lnTo>
                  <a:pt x="740718" y="315966"/>
                </a:lnTo>
                <a:lnTo>
                  <a:pt x="740718" y="130911"/>
                </a:lnTo>
                <a:lnTo>
                  <a:pt x="621846" y="130911"/>
                </a:lnTo>
                <a:close/>
                <a:moveTo>
                  <a:pt x="621846" y="553308"/>
                </a:moveTo>
                <a:lnTo>
                  <a:pt x="740718" y="553308"/>
                </a:lnTo>
                <a:lnTo>
                  <a:pt x="740718" y="368253"/>
                </a:lnTo>
                <a:lnTo>
                  <a:pt x="621846" y="368253"/>
                </a:lnTo>
                <a:close/>
                <a:moveTo>
                  <a:pt x="467686" y="2081213"/>
                </a:moveTo>
                <a:lnTo>
                  <a:pt x="467686" y="1409701"/>
                </a:lnTo>
                <a:lnTo>
                  <a:pt x="1906013" y="1409701"/>
                </a:lnTo>
                <a:lnTo>
                  <a:pt x="1906013" y="1621103"/>
                </a:lnTo>
                <a:lnTo>
                  <a:pt x="1447226" y="1621103"/>
                </a:lnTo>
                <a:lnTo>
                  <a:pt x="1447226" y="1869810"/>
                </a:lnTo>
                <a:lnTo>
                  <a:pt x="1906013" y="1869810"/>
                </a:lnTo>
                <a:lnTo>
                  <a:pt x="1906013" y="2081213"/>
                </a:lnTo>
                <a:close/>
                <a:moveTo>
                  <a:pt x="412315" y="315966"/>
                </a:moveTo>
                <a:lnTo>
                  <a:pt x="531187" y="315966"/>
                </a:lnTo>
                <a:lnTo>
                  <a:pt x="531187" y="130911"/>
                </a:lnTo>
                <a:lnTo>
                  <a:pt x="412315" y="130911"/>
                </a:lnTo>
                <a:close/>
                <a:moveTo>
                  <a:pt x="412315" y="553308"/>
                </a:moveTo>
                <a:lnTo>
                  <a:pt x="531187" y="553308"/>
                </a:lnTo>
                <a:lnTo>
                  <a:pt x="531187" y="368253"/>
                </a:lnTo>
                <a:lnTo>
                  <a:pt x="412315" y="368253"/>
                </a:lnTo>
                <a:close/>
                <a:moveTo>
                  <a:pt x="202784" y="315966"/>
                </a:moveTo>
                <a:lnTo>
                  <a:pt x="321656" y="315966"/>
                </a:lnTo>
                <a:lnTo>
                  <a:pt x="321656" y="130911"/>
                </a:lnTo>
                <a:lnTo>
                  <a:pt x="202784" y="130911"/>
                </a:lnTo>
                <a:close/>
                <a:moveTo>
                  <a:pt x="202784" y="553308"/>
                </a:moveTo>
                <a:lnTo>
                  <a:pt x="321656" y="553308"/>
                </a:lnTo>
                <a:lnTo>
                  <a:pt x="321656" y="368253"/>
                </a:lnTo>
                <a:lnTo>
                  <a:pt x="202784" y="368253"/>
                </a:lnTo>
                <a:close/>
                <a:moveTo>
                  <a:pt x="0" y="671512"/>
                </a:moveTo>
                <a:lnTo>
                  <a:pt x="0" y="0"/>
                </a:lnTo>
                <a:lnTo>
                  <a:pt x="1906013" y="0"/>
                </a:lnTo>
                <a:lnTo>
                  <a:pt x="1906013" y="67151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212" tIns="45606" rIns="45606" bIns="91212" numCol="1" spcCol="0" rtlCol="0" fromWordArt="0" anchor="b" anchorCtr="0" forceAA="0" compatLnSpc="1">
            <a:prstTxWarp prst="textNoShape">
              <a:avLst/>
            </a:prstTxWarp>
            <a:noAutofit/>
          </a:bodyPr>
          <a:lstStyle/>
          <a:p>
            <a:pPr marL="0" marR="0" lvl="0" indent="0" algn="ctr" defTabSz="911820" eaLnBrk="1" fontAlgn="base" latinLnBrk="0" hangingPunct="1">
              <a:lnSpc>
                <a:spcPct val="100000"/>
              </a:lnSpc>
              <a:spcBef>
                <a:spcPct val="0"/>
              </a:spcBef>
              <a:spcAft>
                <a:spcPct val="0"/>
              </a:spcAft>
              <a:buClrTx/>
              <a:buSzTx/>
              <a:buFontTx/>
              <a:buNone/>
              <a:tabLst/>
              <a:defRPr/>
            </a:pPr>
            <a:endParaRPr kumimoji="0" lang="en-US" sz="14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 name="Group 6"/>
          <p:cNvGrpSpPr/>
          <p:nvPr/>
        </p:nvGrpSpPr>
        <p:grpSpPr>
          <a:xfrm>
            <a:off x="10012313" y="1806644"/>
            <a:ext cx="1933625" cy="1626721"/>
            <a:chOff x="161401" y="1932654"/>
            <a:chExt cx="1761072" cy="1626721"/>
          </a:xfrm>
        </p:grpSpPr>
        <p:grpSp>
          <p:nvGrpSpPr>
            <p:cNvPr id="3" name="Group 2"/>
            <p:cNvGrpSpPr/>
            <p:nvPr/>
          </p:nvGrpSpPr>
          <p:grpSpPr>
            <a:xfrm>
              <a:off x="161401" y="3250919"/>
              <a:ext cx="1761072" cy="308456"/>
              <a:chOff x="3900492" y="3987329"/>
              <a:chExt cx="4849648" cy="308456"/>
            </a:xfrm>
          </p:grpSpPr>
          <p:sp>
            <p:nvSpPr>
              <p:cNvPr id="1160" name="Rectangle 1159"/>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61" name="Trapezoid 1160"/>
              <p:cNvSpPr/>
              <p:nvPr/>
            </p:nvSpPr>
            <p:spPr bwMode="auto">
              <a:xfrm>
                <a:off x="4016909" y="3987329"/>
                <a:ext cx="4634336" cy="262428"/>
              </a:xfrm>
              <a:prstGeom prst="trapezoid">
                <a:avLst>
                  <a:gd name="adj" fmla="val 100094"/>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1162" name="Group 1161"/>
            <p:cNvGrpSpPr/>
            <p:nvPr/>
          </p:nvGrpSpPr>
          <p:grpSpPr>
            <a:xfrm>
              <a:off x="199444" y="1932654"/>
              <a:ext cx="1691879" cy="1585516"/>
              <a:chOff x="114794" y="583668"/>
              <a:chExt cx="3534424" cy="3543633"/>
            </a:xfrm>
          </p:grpSpPr>
          <p:sp>
            <p:nvSpPr>
              <p:cNvPr id="1163" name="Rectangle 1162"/>
              <p:cNvSpPr/>
              <p:nvPr/>
            </p:nvSpPr>
            <p:spPr bwMode="auto">
              <a:xfrm>
                <a:off x="607548"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64"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65"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1174" name="Group 1173"/>
          <p:cNvGrpSpPr/>
          <p:nvPr/>
        </p:nvGrpSpPr>
        <p:grpSpPr>
          <a:xfrm>
            <a:off x="10055118" y="4879231"/>
            <a:ext cx="1890821" cy="1577833"/>
            <a:chOff x="199443" y="1940338"/>
            <a:chExt cx="1691880" cy="1577833"/>
          </a:xfrm>
        </p:grpSpPr>
        <p:sp>
          <p:nvSpPr>
            <p:cNvPr id="1181" name="Trapezoid 1180"/>
            <p:cNvSpPr/>
            <p:nvPr/>
          </p:nvSpPr>
          <p:spPr bwMode="auto">
            <a:xfrm>
              <a:off x="203676" y="3250919"/>
              <a:ext cx="1682885" cy="262428"/>
            </a:xfrm>
            <a:prstGeom prst="trapezoid">
              <a:avLst>
                <a:gd name="adj" fmla="val 98125"/>
              </a:avLst>
            </a:prstGeom>
            <a:solidFill>
              <a:srgbClr val="004B6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176" name="Group 1175"/>
            <p:cNvGrpSpPr/>
            <p:nvPr/>
          </p:nvGrpSpPr>
          <p:grpSpPr>
            <a:xfrm>
              <a:off x="199443" y="1940338"/>
              <a:ext cx="1691880" cy="1577833"/>
              <a:chOff x="114793" y="600842"/>
              <a:chExt cx="3534425" cy="3526460"/>
            </a:xfrm>
          </p:grpSpPr>
          <p:sp>
            <p:nvSpPr>
              <p:cNvPr id="1177" name="Rectangle 1176"/>
              <p:cNvSpPr/>
              <p:nvPr/>
            </p:nvSpPr>
            <p:spPr bwMode="auto">
              <a:xfrm>
                <a:off x="607549" y="600842"/>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78"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79" name="Trapezoid 302"/>
              <p:cNvSpPr/>
              <p:nvPr/>
            </p:nvSpPr>
            <p:spPr bwMode="auto">
              <a:xfrm rot="5400000" flipH="1">
                <a:off x="-758896" y="2766596"/>
                <a:ext cx="2234395" cy="487017"/>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16" name="Group 15"/>
          <p:cNvGrpSpPr/>
          <p:nvPr/>
        </p:nvGrpSpPr>
        <p:grpSpPr>
          <a:xfrm>
            <a:off x="10655475" y="1987733"/>
            <a:ext cx="1235843" cy="1300108"/>
            <a:chOff x="831806" y="2009918"/>
            <a:chExt cx="1002800" cy="1261872"/>
          </a:xfrm>
        </p:grpSpPr>
        <p:sp>
          <p:nvSpPr>
            <p:cNvPr id="661" name="Rectangle 660"/>
            <p:cNvSpPr/>
            <p:nvPr/>
          </p:nvSpPr>
          <p:spPr bwMode="auto">
            <a:xfrm>
              <a:off x="831806" y="2009918"/>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I can see my production line status and recommend adjustments to  better manage operational cost.</a:t>
              </a:r>
            </a:p>
          </p:txBody>
        </p:sp>
        <p:cxnSp>
          <p:nvCxnSpPr>
            <p:cNvPr id="662" name="Straight Connector 661"/>
            <p:cNvCxnSpPr/>
            <p:nvPr/>
          </p:nvCxnSpPr>
          <p:spPr>
            <a:xfrm flipV="1">
              <a:off x="831806" y="2009918"/>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8" name="Group 17"/>
          <p:cNvGrpSpPr/>
          <p:nvPr/>
        </p:nvGrpSpPr>
        <p:grpSpPr>
          <a:xfrm>
            <a:off x="10655475" y="5056119"/>
            <a:ext cx="1235843" cy="1300108"/>
            <a:chOff x="831806" y="5064344"/>
            <a:chExt cx="1002800" cy="1261872"/>
          </a:xfrm>
        </p:grpSpPr>
        <p:sp>
          <p:nvSpPr>
            <p:cNvPr id="788" name="Rectangle 787"/>
            <p:cNvSpPr/>
            <p:nvPr/>
          </p:nvSpPr>
          <p:spPr bwMode="auto">
            <a:xfrm>
              <a:off x="831806" y="5064344"/>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I know when to deploy the right resources for predictive maintenance to minimize equipment failures and reduce service cost.</a:t>
              </a:r>
              <a:endParaRPr kumimoji="0" lang="en-US" sz="900" b="0" i="0" u="none" strike="noStrike" kern="0" cap="none" spc="0" normalizeH="0" baseline="0" noProof="0" dirty="0">
                <a:ln w="3175">
                  <a:noFill/>
                </a:ln>
                <a:solidFill>
                  <a:srgbClr val="FFFFFF"/>
                </a:solidFill>
                <a:effectLst/>
                <a:uLnTx/>
                <a:uFillTx/>
                <a:cs typeface="Arial" charset="0"/>
              </a:endParaRPr>
            </a:p>
          </p:txBody>
        </p:sp>
        <p:cxnSp>
          <p:nvCxnSpPr>
            <p:cNvPr id="789" name="Straight Connector 788"/>
            <p:cNvCxnSpPr/>
            <p:nvPr/>
          </p:nvCxnSpPr>
          <p:spPr>
            <a:xfrm flipV="1">
              <a:off x="831806" y="5064344"/>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 name="Group 16"/>
          <p:cNvGrpSpPr/>
          <p:nvPr/>
        </p:nvGrpSpPr>
        <p:grpSpPr>
          <a:xfrm>
            <a:off x="10655475" y="3526716"/>
            <a:ext cx="1235843" cy="1300108"/>
            <a:chOff x="831806" y="3541921"/>
            <a:chExt cx="1002800" cy="1261872"/>
          </a:xfrm>
        </p:grpSpPr>
        <p:sp>
          <p:nvSpPr>
            <p:cNvPr id="677" name="Rectangle 676"/>
            <p:cNvSpPr/>
            <p:nvPr/>
          </p:nvSpPr>
          <p:spPr bwMode="auto">
            <a:xfrm>
              <a:off x="831806" y="3541921"/>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I gain insight into usage patterns from multiple customers and track equipment deterioration, enabling me to reengineer products for better performance.</a:t>
              </a:r>
              <a:endParaRPr kumimoji="0" lang="en-US" sz="900" b="0" i="0" u="none" strike="noStrike" kern="0" cap="none" spc="0" normalizeH="0" baseline="0" noProof="0" dirty="0">
                <a:ln w="3175">
                  <a:noFill/>
                </a:ln>
                <a:solidFill>
                  <a:srgbClr val="FFFFFF"/>
                </a:solidFill>
                <a:effectLst/>
                <a:uLnTx/>
                <a:uFillTx/>
                <a:latin typeface="Segoe UI Light"/>
                <a:cs typeface="Arial" charset="0"/>
              </a:endParaRPr>
            </a:p>
          </p:txBody>
        </p:sp>
        <p:cxnSp>
          <p:nvCxnSpPr>
            <p:cNvPr id="678" name="Straight Connector 677"/>
            <p:cNvCxnSpPr/>
            <p:nvPr/>
          </p:nvCxnSpPr>
          <p:spPr>
            <a:xfrm flipV="1">
              <a:off x="831806" y="3541921"/>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3" name="Group 12"/>
          <p:cNvGrpSpPr/>
          <p:nvPr/>
        </p:nvGrpSpPr>
        <p:grpSpPr>
          <a:xfrm>
            <a:off x="10208196" y="2573943"/>
            <a:ext cx="407647" cy="707372"/>
            <a:chOff x="10207721" y="2573943"/>
            <a:chExt cx="407647" cy="707372"/>
          </a:xfrm>
        </p:grpSpPr>
        <p:grpSp>
          <p:nvGrpSpPr>
            <p:cNvPr id="6" name="Group 5"/>
            <p:cNvGrpSpPr/>
            <p:nvPr/>
          </p:nvGrpSpPr>
          <p:grpSpPr>
            <a:xfrm>
              <a:off x="10207721" y="2573943"/>
              <a:ext cx="311545" cy="707372"/>
              <a:chOff x="309086" y="5345226"/>
              <a:chExt cx="311545" cy="707372"/>
            </a:xfrm>
          </p:grpSpPr>
          <p:sp>
            <p:nvSpPr>
              <p:cNvPr id="988" name="Freeform 6"/>
              <p:cNvSpPr>
                <a:spLocks/>
              </p:cNvSpPr>
              <p:nvPr/>
            </p:nvSpPr>
            <p:spPr bwMode="auto">
              <a:xfrm>
                <a:off x="309086" y="5489141"/>
                <a:ext cx="255618" cy="563457"/>
              </a:xfrm>
              <a:custGeom>
                <a:avLst/>
                <a:gdLst>
                  <a:gd name="T0" fmla="*/ 1366 w 1586"/>
                  <a:gd name="T1" fmla="*/ 120 h 3496"/>
                  <a:gd name="T2" fmla="*/ 1247 w 1586"/>
                  <a:gd name="T3" fmla="*/ 64 h 3496"/>
                  <a:gd name="T4" fmla="*/ 1023 w 1586"/>
                  <a:gd name="T5" fmla="*/ 0 h 3496"/>
                  <a:gd name="T6" fmla="*/ 489 w 1586"/>
                  <a:gd name="T7" fmla="*/ 30 h 3496"/>
                  <a:gd name="T8" fmla="*/ 249 w 1586"/>
                  <a:gd name="T9" fmla="*/ 136 h 3496"/>
                  <a:gd name="T10" fmla="*/ 126 w 1586"/>
                  <a:gd name="T11" fmla="*/ 222 h 3496"/>
                  <a:gd name="T12" fmla="*/ 106 w 1586"/>
                  <a:gd name="T13" fmla="*/ 261 h 3496"/>
                  <a:gd name="T14" fmla="*/ 62 w 1586"/>
                  <a:gd name="T15" fmla="*/ 441 h 3496"/>
                  <a:gd name="T16" fmla="*/ 54 w 1586"/>
                  <a:gd name="T17" fmla="*/ 605 h 3496"/>
                  <a:gd name="T18" fmla="*/ 18 w 1586"/>
                  <a:gd name="T19" fmla="*/ 1139 h 3496"/>
                  <a:gd name="T20" fmla="*/ 2 w 1586"/>
                  <a:gd name="T21" fmla="*/ 1549 h 3496"/>
                  <a:gd name="T22" fmla="*/ 4 w 1586"/>
                  <a:gd name="T23" fmla="*/ 1632 h 3496"/>
                  <a:gd name="T24" fmla="*/ 32 w 1586"/>
                  <a:gd name="T25" fmla="*/ 1698 h 3496"/>
                  <a:gd name="T26" fmla="*/ 78 w 1586"/>
                  <a:gd name="T27" fmla="*/ 1732 h 3496"/>
                  <a:gd name="T28" fmla="*/ 124 w 1586"/>
                  <a:gd name="T29" fmla="*/ 1738 h 3496"/>
                  <a:gd name="T30" fmla="*/ 178 w 1586"/>
                  <a:gd name="T31" fmla="*/ 1724 h 3496"/>
                  <a:gd name="T32" fmla="*/ 217 w 1586"/>
                  <a:gd name="T33" fmla="*/ 1690 h 3496"/>
                  <a:gd name="T34" fmla="*/ 239 w 1586"/>
                  <a:gd name="T35" fmla="*/ 1634 h 3496"/>
                  <a:gd name="T36" fmla="*/ 245 w 1586"/>
                  <a:gd name="T37" fmla="*/ 1473 h 3496"/>
                  <a:gd name="T38" fmla="*/ 291 w 1586"/>
                  <a:gd name="T39" fmla="*/ 856 h 3496"/>
                  <a:gd name="T40" fmla="*/ 323 w 1586"/>
                  <a:gd name="T41" fmla="*/ 635 h 3496"/>
                  <a:gd name="T42" fmla="*/ 331 w 1586"/>
                  <a:gd name="T43" fmla="*/ 1193 h 3496"/>
                  <a:gd name="T44" fmla="*/ 321 w 1586"/>
                  <a:gd name="T45" fmla="*/ 1355 h 3496"/>
                  <a:gd name="T46" fmla="*/ 297 w 1586"/>
                  <a:gd name="T47" fmla="*/ 1616 h 3496"/>
                  <a:gd name="T48" fmla="*/ 311 w 1586"/>
                  <a:gd name="T49" fmla="*/ 1808 h 3496"/>
                  <a:gd name="T50" fmla="*/ 343 w 1586"/>
                  <a:gd name="T51" fmla="*/ 2039 h 3496"/>
                  <a:gd name="T52" fmla="*/ 359 w 1586"/>
                  <a:gd name="T53" fmla="*/ 2399 h 3496"/>
                  <a:gd name="T54" fmla="*/ 341 w 1586"/>
                  <a:gd name="T55" fmla="*/ 2953 h 3496"/>
                  <a:gd name="T56" fmla="*/ 333 w 1586"/>
                  <a:gd name="T57" fmla="*/ 3312 h 3496"/>
                  <a:gd name="T58" fmla="*/ 341 w 1586"/>
                  <a:gd name="T59" fmla="*/ 3374 h 3496"/>
                  <a:gd name="T60" fmla="*/ 367 w 1586"/>
                  <a:gd name="T61" fmla="*/ 3424 h 3496"/>
                  <a:gd name="T62" fmla="*/ 457 w 1586"/>
                  <a:gd name="T63" fmla="*/ 3484 h 3496"/>
                  <a:gd name="T64" fmla="*/ 573 w 1586"/>
                  <a:gd name="T65" fmla="*/ 3492 h 3496"/>
                  <a:gd name="T66" fmla="*/ 678 w 1586"/>
                  <a:gd name="T67" fmla="*/ 3444 h 3496"/>
                  <a:gd name="T68" fmla="*/ 710 w 1586"/>
                  <a:gd name="T69" fmla="*/ 3334 h 3496"/>
                  <a:gd name="T70" fmla="*/ 726 w 1586"/>
                  <a:gd name="T71" fmla="*/ 3143 h 3496"/>
                  <a:gd name="T72" fmla="*/ 724 w 1586"/>
                  <a:gd name="T73" fmla="*/ 1736 h 3496"/>
                  <a:gd name="T74" fmla="*/ 812 w 1586"/>
                  <a:gd name="T75" fmla="*/ 2542 h 3496"/>
                  <a:gd name="T76" fmla="*/ 816 w 1586"/>
                  <a:gd name="T77" fmla="*/ 3350 h 3496"/>
                  <a:gd name="T78" fmla="*/ 838 w 1586"/>
                  <a:gd name="T79" fmla="*/ 3420 h 3496"/>
                  <a:gd name="T80" fmla="*/ 884 w 1586"/>
                  <a:gd name="T81" fmla="*/ 3466 h 3496"/>
                  <a:gd name="T82" fmla="*/ 948 w 1586"/>
                  <a:gd name="T83" fmla="*/ 3490 h 3496"/>
                  <a:gd name="T84" fmla="*/ 1017 w 1586"/>
                  <a:gd name="T85" fmla="*/ 3492 h 3496"/>
                  <a:gd name="T86" fmla="*/ 1083 w 1586"/>
                  <a:gd name="T87" fmla="*/ 3474 h 3496"/>
                  <a:gd name="T88" fmla="*/ 1141 w 1586"/>
                  <a:gd name="T89" fmla="*/ 3436 h 3496"/>
                  <a:gd name="T90" fmla="*/ 1179 w 1586"/>
                  <a:gd name="T91" fmla="*/ 3380 h 3496"/>
                  <a:gd name="T92" fmla="*/ 1187 w 1586"/>
                  <a:gd name="T93" fmla="*/ 3308 h 3496"/>
                  <a:gd name="T94" fmla="*/ 1179 w 1586"/>
                  <a:gd name="T95" fmla="*/ 2935 h 3496"/>
                  <a:gd name="T96" fmla="*/ 1163 w 1586"/>
                  <a:gd name="T97" fmla="*/ 2369 h 3496"/>
                  <a:gd name="T98" fmla="*/ 1185 w 1586"/>
                  <a:gd name="T99" fmla="*/ 1997 h 3496"/>
                  <a:gd name="T100" fmla="*/ 1225 w 1586"/>
                  <a:gd name="T101" fmla="*/ 1764 h 3496"/>
                  <a:gd name="T102" fmla="*/ 1235 w 1586"/>
                  <a:gd name="T103" fmla="*/ 1584 h 3496"/>
                  <a:gd name="T104" fmla="*/ 1201 w 1586"/>
                  <a:gd name="T105" fmla="*/ 1327 h 3496"/>
                  <a:gd name="T106" fmla="*/ 1189 w 1586"/>
                  <a:gd name="T107" fmla="*/ 1173 h 3496"/>
                  <a:gd name="T108" fmla="*/ 1189 w 1586"/>
                  <a:gd name="T109" fmla="*/ 623 h 3496"/>
                  <a:gd name="T110" fmla="*/ 1299 w 1586"/>
                  <a:gd name="T111" fmla="*/ 1042 h 3496"/>
                  <a:gd name="T112" fmla="*/ 1351 w 1586"/>
                  <a:gd name="T113" fmla="*/ 1004 h 3496"/>
                  <a:gd name="T114" fmla="*/ 1476 w 1586"/>
                  <a:gd name="T115" fmla="*/ 844 h 3496"/>
                  <a:gd name="T116" fmla="*/ 1550 w 1586"/>
                  <a:gd name="T117" fmla="*/ 772 h 3496"/>
                  <a:gd name="T118" fmla="*/ 1586 w 1586"/>
                  <a:gd name="T119" fmla="*/ 760 h 3496"/>
                  <a:gd name="T120" fmla="*/ 1438 w 1586"/>
                  <a:gd name="T121" fmla="*/ 557 h 3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86" h="3496">
                    <a:moveTo>
                      <a:pt x="1438" y="557"/>
                    </a:moveTo>
                    <a:lnTo>
                      <a:pt x="1378" y="132"/>
                    </a:lnTo>
                    <a:lnTo>
                      <a:pt x="1378" y="132"/>
                    </a:lnTo>
                    <a:lnTo>
                      <a:pt x="1366" y="120"/>
                    </a:lnTo>
                    <a:lnTo>
                      <a:pt x="1351" y="110"/>
                    </a:lnTo>
                    <a:lnTo>
                      <a:pt x="1329" y="98"/>
                    </a:lnTo>
                    <a:lnTo>
                      <a:pt x="1305" y="86"/>
                    </a:lnTo>
                    <a:lnTo>
                      <a:pt x="1247" y="64"/>
                    </a:lnTo>
                    <a:lnTo>
                      <a:pt x="1185" y="44"/>
                    </a:lnTo>
                    <a:lnTo>
                      <a:pt x="1125" y="26"/>
                    </a:lnTo>
                    <a:lnTo>
                      <a:pt x="1073" y="12"/>
                    </a:lnTo>
                    <a:lnTo>
                      <a:pt x="1023" y="0"/>
                    </a:lnTo>
                    <a:lnTo>
                      <a:pt x="782" y="1046"/>
                    </a:lnTo>
                    <a:lnTo>
                      <a:pt x="561" y="4"/>
                    </a:lnTo>
                    <a:lnTo>
                      <a:pt x="561" y="4"/>
                    </a:lnTo>
                    <a:lnTo>
                      <a:pt x="489" y="30"/>
                    </a:lnTo>
                    <a:lnTo>
                      <a:pt x="417" y="60"/>
                    </a:lnTo>
                    <a:lnTo>
                      <a:pt x="333" y="96"/>
                    </a:lnTo>
                    <a:lnTo>
                      <a:pt x="291" y="116"/>
                    </a:lnTo>
                    <a:lnTo>
                      <a:pt x="249" y="136"/>
                    </a:lnTo>
                    <a:lnTo>
                      <a:pt x="211" y="158"/>
                    </a:lnTo>
                    <a:lnTo>
                      <a:pt x="178" y="180"/>
                    </a:lnTo>
                    <a:lnTo>
                      <a:pt x="148" y="202"/>
                    </a:lnTo>
                    <a:lnTo>
                      <a:pt x="126" y="222"/>
                    </a:lnTo>
                    <a:lnTo>
                      <a:pt x="118" y="232"/>
                    </a:lnTo>
                    <a:lnTo>
                      <a:pt x="112" y="242"/>
                    </a:lnTo>
                    <a:lnTo>
                      <a:pt x="108" y="252"/>
                    </a:lnTo>
                    <a:lnTo>
                      <a:pt x="106" y="261"/>
                    </a:lnTo>
                    <a:lnTo>
                      <a:pt x="80" y="333"/>
                    </a:lnTo>
                    <a:lnTo>
                      <a:pt x="80" y="333"/>
                    </a:lnTo>
                    <a:lnTo>
                      <a:pt x="68" y="399"/>
                    </a:lnTo>
                    <a:lnTo>
                      <a:pt x="62" y="441"/>
                    </a:lnTo>
                    <a:lnTo>
                      <a:pt x="58" y="467"/>
                    </a:lnTo>
                    <a:lnTo>
                      <a:pt x="58" y="467"/>
                    </a:lnTo>
                    <a:lnTo>
                      <a:pt x="58" y="537"/>
                    </a:lnTo>
                    <a:lnTo>
                      <a:pt x="54" y="605"/>
                    </a:lnTo>
                    <a:lnTo>
                      <a:pt x="48" y="742"/>
                    </a:lnTo>
                    <a:lnTo>
                      <a:pt x="38" y="876"/>
                    </a:lnTo>
                    <a:lnTo>
                      <a:pt x="28" y="1008"/>
                    </a:lnTo>
                    <a:lnTo>
                      <a:pt x="18" y="1139"/>
                    </a:lnTo>
                    <a:lnTo>
                      <a:pt x="8" y="1273"/>
                    </a:lnTo>
                    <a:lnTo>
                      <a:pt x="2" y="1409"/>
                    </a:lnTo>
                    <a:lnTo>
                      <a:pt x="2" y="1479"/>
                    </a:lnTo>
                    <a:lnTo>
                      <a:pt x="2" y="1549"/>
                    </a:lnTo>
                    <a:lnTo>
                      <a:pt x="2" y="1549"/>
                    </a:lnTo>
                    <a:lnTo>
                      <a:pt x="0" y="1574"/>
                    </a:lnTo>
                    <a:lnTo>
                      <a:pt x="0" y="1602"/>
                    </a:lnTo>
                    <a:lnTo>
                      <a:pt x="4" y="1632"/>
                    </a:lnTo>
                    <a:lnTo>
                      <a:pt x="12" y="1660"/>
                    </a:lnTo>
                    <a:lnTo>
                      <a:pt x="18" y="1674"/>
                    </a:lnTo>
                    <a:lnTo>
                      <a:pt x="24" y="1686"/>
                    </a:lnTo>
                    <a:lnTo>
                      <a:pt x="32" y="1698"/>
                    </a:lnTo>
                    <a:lnTo>
                      <a:pt x="42" y="1710"/>
                    </a:lnTo>
                    <a:lnTo>
                      <a:pt x="52" y="1718"/>
                    </a:lnTo>
                    <a:lnTo>
                      <a:pt x="64" y="1726"/>
                    </a:lnTo>
                    <a:lnTo>
                      <a:pt x="78" y="1732"/>
                    </a:lnTo>
                    <a:lnTo>
                      <a:pt x="94" y="1736"/>
                    </a:lnTo>
                    <a:lnTo>
                      <a:pt x="94" y="1736"/>
                    </a:lnTo>
                    <a:lnTo>
                      <a:pt x="110" y="1738"/>
                    </a:lnTo>
                    <a:lnTo>
                      <a:pt x="124" y="1738"/>
                    </a:lnTo>
                    <a:lnTo>
                      <a:pt x="138" y="1736"/>
                    </a:lnTo>
                    <a:lnTo>
                      <a:pt x="152" y="1734"/>
                    </a:lnTo>
                    <a:lnTo>
                      <a:pt x="166" y="1730"/>
                    </a:lnTo>
                    <a:lnTo>
                      <a:pt x="178" y="1724"/>
                    </a:lnTo>
                    <a:lnTo>
                      <a:pt x="190" y="1718"/>
                    </a:lnTo>
                    <a:lnTo>
                      <a:pt x="199" y="1710"/>
                    </a:lnTo>
                    <a:lnTo>
                      <a:pt x="207" y="1700"/>
                    </a:lnTo>
                    <a:lnTo>
                      <a:pt x="217" y="1690"/>
                    </a:lnTo>
                    <a:lnTo>
                      <a:pt x="223" y="1678"/>
                    </a:lnTo>
                    <a:lnTo>
                      <a:pt x="229" y="1664"/>
                    </a:lnTo>
                    <a:lnTo>
                      <a:pt x="235" y="1650"/>
                    </a:lnTo>
                    <a:lnTo>
                      <a:pt x="239" y="1634"/>
                    </a:lnTo>
                    <a:lnTo>
                      <a:pt x="241" y="1618"/>
                    </a:lnTo>
                    <a:lnTo>
                      <a:pt x="241" y="1600"/>
                    </a:lnTo>
                    <a:lnTo>
                      <a:pt x="241" y="1600"/>
                    </a:lnTo>
                    <a:lnTo>
                      <a:pt x="245" y="1473"/>
                    </a:lnTo>
                    <a:lnTo>
                      <a:pt x="253" y="1323"/>
                    </a:lnTo>
                    <a:lnTo>
                      <a:pt x="265" y="1161"/>
                    </a:lnTo>
                    <a:lnTo>
                      <a:pt x="277" y="1002"/>
                    </a:lnTo>
                    <a:lnTo>
                      <a:pt x="291" y="856"/>
                    </a:lnTo>
                    <a:lnTo>
                      <a:pt x="305" y="738"/>
                    </a:lnTo>
                    <a:lnTo>
                      <a:pt x="313" y="692"/>
                    </a:lnTo>
                    <a:lnTo>
                      <a:pt x="319" y="657"/>
                    </a:lnTo>
                    <a:lnTo>
                      <a:pt x="323" y="635"/>
                    </a:lnTo>
                    <a:lnTo>
                      <a:pt x="327" y="629"/>
                    </a:lnTo>
                    <a:lnTo>
                      <a:pt x="329" y="627"/>
                    </a:lnTo>
                    <a:lnTo>
                      <a:pt x="329" y="627"/>
                    </a:lnTo>
                    <a:lnTo>
                      <a:pt x="331" y="1193"/>
                    </a:lnTo>
                    <a:lnTo>
                      <a:pt x="331" y="1193"/>
                    </a:lnTo>
                    <a:lnTo>
                      <a:pt x="329" y="1237"/>
                    </a:lnTo>
                    <a:lnTo>
                      <a:pt x="327" y="1277"/>
                    </a:lnTo>
                    <a:lnTo>
                      <a:pt x="321" y="1355"/>
                    </a:lnTo>
                    <a:lnTo>
                      <a:pt x="311" y="1427"/>
                    </a:lnTo>
                    <a:lnTo>
                      <a:pt x="303" y="1499"/>
                    </a:lnTo>
                    <a:lnTo>
                      <a:pt x="297" y="1574"/>
                    </a:lnTo>
                    <a:lnTo>
                      <a:pt x="297" y="1616"/>
                    </a:lnTo>
                    <a:lnTo>
                      <a:pt x="297" y="1658"/>
                    </a:lnTo>
                    <a:lnTo>
                      <a:pt x="299" y="1704"/>
                    </a:lnTo>
                    <a:lnTo>
                      <a:pt x="303" y="1754"/>
                    </a:lnTo>
                    <a:lnTo>
                      <a:pt x="311" y="1808"/>
                    </a:lnTo>
                    <a:lnTo>
                      <a:pt x="319" y="1866"/>
                    </a:lnTo>
                    <a:lnTo>
                      <a:pt x="319" y="1866"/>
                    </a:lnTo>
                    <a:lnTo>
                      <a:pt x="333" y="1952"/>
                    </a:lnTo>
                    <a:lnTo>
                      <a:pt x="343" y="2039"/>
                    </a:lnTo>
                    <a:lnTo>
                      <a:pt x="351" y="2127"/>
                    </a:lnTo>
                    <a:lnTo>
                      <a:pt x="355" y="2217"/>
                    </a:lnTo>
                    <a:lnTo>
                      <a:pt x="357" y="2307"/>
                    </a:lnTo>
                    <a:lnTo>
                      <a:pt x="359" y="2399"/>
                    </a:lnTo>
                    <a:lnTo>
                      <a:pt x="357" y="2490"/>
                    </a:lnTo>
                    <a:lnTo>
                      <a:pt x="355" y="2584"/>
                    </a:lnTo>
                    <a:lnTo>
                      <a:pt x="349" y="2768"/>
                    </a:lnTo>
                    <a:lnTo>
                      <a:pt x="341" y="2953"/>
                    </a:lnTo>
                    <a:lnTo>
                      <a:pt x="335" y="3135"/>
                    </a:lnTo>
                    <a:lnTo>
                      <a:pt x="333" y="3225"/>
                    </a:lnTo>
                    <a:lnTo>
                      <a:pt x="333" y="3312"/>
                    </a:lnTo>
                    <a:lnTo>
                      <a:pt x="333" y="3312"/>
                    </a:lnTo>
                    <a:lnTo>
                      <a:pt x="333" y="3328"/>
                    </a:lnTo>
                    <a:lnTo>
                      <a:pt x="333" y="3344"/>
                    </a:lnTo>
                    <a:lnTo>
                      <a:pt x="337" y="3360"/>
                    </a:lnTo>
                    <a:lnTo>
                      <a:pt x="341" y="3374"/>
                    </a:lnTo>
                    <a:lnTo>
                      <a:pt x="345" y="3388"/>
                    </a:lnTo>
                    <a:lnTo>
                      <a:pt x="351" y="3400"/>
                    </a:lnTo>
                    <a:lnTo>
                      <a:pt x="359" y="3412"/>
                    </a:lnTo>
                    <a:lnTo>
                      <a:pt x="367" y="3424"/>
                    </a:lnTo>
                    <a:lnTo>
                      <a:pt x="385" y="3444"/>
                    </a:lnTo>
                    <a:lnTo>
                      <a:pt x="407" y="3460"/>
                    </a:lnTo>
                    <a:lnTo>
                      <a:pt x="431" y="3474"/>
                    </a:lnTo>
                    <a:lnTo>
                      <a:pt x="457" y="3484"/>
                    </a:lnTo>
                    <a:lnTo>
                      <a:pt x="485" y="3492"/>
                    </a:lnTo>
                    <a:lnTo>
                      <a:pt x="515" y="3494"/>
                    </a:lnTo>
                    <a:lnTo>
                      <a:pt x="543" y="3496"/>
                    </a:lnTo>
                    <a:lnTo>
                      <a:pt x="573" y="3492"/>
                    </a:lnTo>
                    <a:lnTo>
                      <a:pt x="600" y="3486"/>
                    </a:lnTo>
                    <a:lnTo>
                      <a:pt x="628" y="3476"/>
                    </a:lnTo>
                    <a:lnTo>
                      <a:pt x="654" y="3462"/>
                    </a:lnTo>
                    <a:lnTo>
                      <a:pt x="678" y="3444"/>
                    </a:lnTo>
                    <a:lnTo>
                      <a:pt x="678" y="3444"/>
                    </a:lnTo>
                    <a:lnTo>
                      <a:pt x="692" y="3408"/>
                    </a:lnTo>
                    <a:lnTo>
                      <a:pt x="702" y="3372"/>
                    </a:lnTo>
                    <a:lnTo>
                      <a:pt x="710" y="3334"/>
                    </a:lnTo>
                    <a:lnTo>
                      <a:pt x="716" y="3296"/>
                    </a:lnTo>
                    <a:lnTo>
                      <a:pt x="722" y="3259"/>
                    </a:lnTo>
                    <a:lnTo>
                      <a:pt x="724" y="3219"/>
                    </a:lnTo>
                    <a:lnTo>
                      <a:pt x="726" y="3143"/>
                    </a:lnTo>
                    <a:lnTo>
                      <a:pt x="726" y="3143"/>
                    </a:lnTo>
                    <a:lnTo>
                      <a:pt x="724" y="2440"/>
                    </a:lnTo>
                    <a:lnTo>
                      <a:pt x="724" y="1736"/>
                    </a:lnTo>
                    <a:lnTo>
                      <a:pt x="724" y="1736"/>
                    </a:lnTo>
                    <a:lnTo>
                      <a:pt x="812" y="1736"/>
                    </a:lnTo>
                    <a:lnTo>
                      <a:pt x="812" y="1736"/>
                    </a:lnTo>
                    <a:lnTo>
                      <a:pt x="814" y="2139"/>
                    </a:lnTo>
                    <a:lnTo>
                      <a:pt x="812" y="2542"/>
                    </a:lnTo>
                    <a:lnTo>
                      <a:pt x="812" y="2947"/>
                    </a:lnTo>
                    <a:lnTo>
                      <a:pt x="814" y="3149"/>
                    </a:lnTo>
                    <a:lnTo>
                      <a:pt x="816" y="3350"/>
                    </a:lnTo>
                    <a:lnTo>
                      <a:pt x="816" y="3350"/>
                    </a:lnTo>
                    <a:lnTo>
                      <a:pt x="818" y="3370"/>
                    </a:lnTo>
                    <a:lnTo>
                      <a:pt x="824" y="3388"/>
                    </a:lnTo>
                    <a:lnTo>
                      <a:pt x="830" y="3404"/>
                    </a:lnTo>
                    <a:lnTo>
                      <a:pt x="838" y="3420"/>
                    </a:lnTo>
                    <a:lnTo>
                      <a:pt x="848" y="3434"/>
                    </a:lnTo>
                    <a:lnTo>
                      <a:pt x="858" y="3446"/>
                    </a:lnTo>
                    <a:lnTo>
                      <a:pt x="872" y="3458"/>
                    </a:lnTo>
                    <a:lnTo>
                      <a:pt x="884" y="3466"/>
                    </a:lnTo>
                    <a:lnTo>
                      <a:pt x="900" y="3474"/>
                    </a:lnTo>
                    <a:lnTo>
                      <a:pt x="914" y="3482"/>
                    </a:lnTo>
                    <a:lnTo>
                      <a:pt x="930" y="3486"/>
                    </a:lnTo>
                    <a:lnTo>
                      <a:pt x="948" y="3490"/>
                    </a:lnTo>
                    <a:lnTo>
                      <a:pt x="964" y="3492"/>
                    </a:lnTo>
                    <a:lnTo>
                      <a:pt x="981" y="3494"/>
                    </a:lnTo>
                    <a:lnTo>
                      <a:pt x="999" y="3494"/>
                    </a:lnTo>
                    <a:lnTo>
                      <a:pt x="1017" y="3492"/>
                    </a:lnTo>
                    <a:lnTo>
                      <a:pt x="1033" y="3490"/>
                    </a:lnTo>
                    <a:lnTo>
                      <a:pt x="1051" y="3486"/>
                    </a:lnTo>
                    <a:lnTo>
                      <a:pt x="1067" y="3480"/>
                    </a:lnTo>
                    <a:lnTo>
                      <a:pt x="1083" y="3474"/>
                    </a:lnTo>
                    <a:lnTo>
                      <a:pt x="1099" y="3466"/>
                    </a:lnTo>
                    <a:lnTo>
                      <a:pt x="1115" y="3456"/>
                    </a:lnTo>
                    <a:lnTo>
                      <a:pt x="1129" y="3446"/>
                    </a:lnTo>
                    <a:lnTo>
                      <a:pt x="1141" y="3436"/>
                    </a:lnTo>
                    <a:lnTo>
                      <a:pt x="1153" y="3424"/>
                    </a:lnTo>
                    <a:lnTo>
                      <a:pt x="1163" y="3410"/>
                    </a:lnTo>
                    <a:lnTo>
                      <a:pt x="1171" y="3396"/>
                    </a:lnTo>
                    <a:lnTo>
                      <a:pt x="1179" y="3380"/>
                    </a:lnTo>
                    <a:lnTo>
                      <a:pt x="1183" y="3364"/>
                    </a:lnTo>
                    <a:lnTo>
                      <a:pt x="1187" y="3346"/>
                    </a:lnTo>
                    <a:lnTo>
                      <a:pt x="1187" y="3326"/>
                    </a:lnTo>
                    <a:lnTo>
                      <a:pt x="1187" y="3308"/>
                    </a:lnTo>
                    <a:lnTo>
                      <a:pt x="1187" y="3308"/>
                    </a:lnTo>
                    <a:lnTo>
                      <a:pt x="1187" y="3215"/>
                    </a:lnTo>
                    <a:lnTo>
                      <a:pt x="1185" y="3123"/>
                    </a:lnTo>
                    <a:lnTo>
                      <a:pt x="1179" y="2935"/>
                    </a:lnTo>
                    <a:lnTo>
                      <a:pt x="1171" y="2746"/>
                    </a:lnTo>
                    <a:lnTo>
                      <a:pt x="1165" y="2558"/>
                    </a:lnTo>
                    <a:lnTo>
                      <a:pt x="1163" y="2464"/>
                    </a:lnTo>
                    <a:lnTo>
                      <a:pt x="1163" y="2369"/>
                    </a:lnTo>
                    <a:lnTo>
                      <a:pt x="1165" y="2275"/>
                    </a:lnTo>
                    <a:lnTo>
                      <a:pt x="1169" y="2183"/>
                    </a:lnTo>
                    <a:lnTo>
                      <a:pt x="1177" y="2089"/>
                    </a:lnTo>
                    <a:lnTo>
                      <a:pt x="1185" y="1997"/>
                    </a:lnTo>
                    <a:lnTo>
                      <a:pt x="1199" y="1906"/>
                    </a:lnTo>
                    <a:lnTo>
                      <a:pt x="1215" y="1816"/>
                    </a:lnTo>
                    <a:lnTo>
                      <a:pt x="1215" y="1816"/>
                    </a:lnTo>
                    <a:lnTo>
                      <a:pt x="1225" y="1764"/>
                    </a:lnTo>
                    <a:lnTo>
                      <a:pt x="1231" y="1716"/>
                    </a:lnTo>
                    <a:lnTo>
                      <a:pt x="1235" y="1670"/>
                    </a:lnTo>
                    <a:lnTo>
                      <a:pt x="1235" y="1626"/>
                    </a:lnTo>
                    <a:lnTo>
                      <a:pt x="1235" y="1584"/>
                    </a:lnTo>
                    <a:lnTo>
                      <a:pt x="1233" y="1547"/>
                    </a:lnTo>
                    <a:lnTo>
                      <a:pt x="1229" y="1509"/>
                    </a:lnTo>
                    <a:lnTo>
                      <a:pt x="1223" y="1471"/>
                    </a:lnTo>
                    <a:lnTo>
                      <a:pt x="1201" y="1327"/>
                    </a:lnTo>
                    <a:lnTo>
                      <a:pt x="1197" y="1291"/>
                    </a:lnTo>
                    <a:lnTo>
                      <a:pt x="1193" y="1253"/>
                    </a:lnTo>
                    <a:lnTo>
                      <a:pt x="1189" y="1213"/>
                    </a:lnTo>
                    <a:lnTo>
                      <a:pt x="1189" y="1173"/>
                    </a:lnTo>
                    <a:lnTo>
                      <a:pt x="1189" y="1173"/>
                    </a:lnTo>
                    <a:lnTo>
                      <a:pt x="1191" y="623"/>
                    </a:lnTo>
                    <a:lnTo>
                      <a:pt x="1191" y="623"/>
                    </a:lnTo>
                    <a:lnTo>
                      <a:pt x="1189" y="623"/>
                    </a:lnTo>
                    <a:lnTo>
                      <a:pt x="1189" y="625"/>
                    </a:lnTo>
                    <a:lnTo>
                      <a:pt x="1191" y="639"/>
                    </a:lnTo>
                    <a:lnTo>
                      <a:pt x="1207" y="708"/>
                    </a:lnTo>
                    <a:lnTo>
                      <a:pt x="1299" y="1042"/>
                    </a:lnTo>
                    <a:lnTo>
                      <a:pt x="1299" y="1042"/>
                    </a:lnTo>
                    <a:lnTo>
                      <a:pt x="1317" y="1034"/>
                    </a:lnTo>
                    <a:lnTo>
                      <a:pt x="1333" y="1020"/>
                    </a:lnTo>
                    <a:lnTo>
                      <a:pt x="1351" y="1004"/>
                    </a:lnTo>
                    <a:lnTo>
                      <a:pt x="1368" y="984"/>
                    </a:lnTo>
                    <a:lnTo>
                      <a:pt x="1404" y="940"/>
                    </a:lnTo>
                    <a:lnTo>
                      <a:pt x="1440" y="892"/>
                    </a:lnTo>
                    <a:lnTo>
                      <a:pt x="1476" y="844"/>
                    </a:lnTo>
                    <a:lnTo>
                      <a:pt x="1494" y="822"/>
                    </a:lnTo>
                    <a:lnTo>
                      <a:pt x="1512" y="802"/>
                    </a:lnTo>
                    <a:lnTo>
                      <a:pt x="1532" y="786"/>
                    </a:lnTo>
                    <a:lnTo>
                      <a:pt x="1550" y="772"/>
                    </a:lnTo>
                    <a:lnTo>
                      <a:pt x="1568" y="764"/>
                    </a:lnTo>
                    <a:lnTo>
                      <a:pt x="1576" y="762"/>
                    </a:lnTo>
                    <a:lnTo>
                      <a:pt x="1586" y="760"/>
                    </a:lnTo>
                    <a:lnTo>
                      <a:pt x="1586" y="760"/>
                    </a:lnTo>
                    <a:lnTo>
                      <a:pt x="1586" y="756"/>
                    </a:lnTo>
                    <a:lnTo>
                      <a:pt x="1586" y="750"/>
                    </a:lnTo>
                    <a:lnTo>
                      <a:pt x="1422" y="718"/>
                    </a:lnTo>
                    <a:lnTo>
                      <a:pt x="1438" y="5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9" name="Freeform 7"/>
              <p:cNvSpPr>
                <a:spLocks/>
              </p:cNvSpPr>
              <p:nvPr/>
            </p:nvSpPr>
            <p:spPr bwMode="auto">
              <a:xfrm>
                <a:off x="559225" y="5493976"/>
                <a:ext cx="61406" cy="60117"/>
              </a:xfrm>
              <a:custGeom>
                <a:avLst/>
                <a:gdLst>
                  <a:gd name="T0" fmla="*/ 16 w 381"/>
                  <a:gd name="T1" fmla="*/ 357 h 373"/>
                  <a:gd name="T2" fmla="*/ 16 w 381"/>
                  <a:gd name="T3" fmla="*/ 357 h 373"/>
                  <a:gd name="T4" fmla="*/ 34 w 381"/>
                  <a:gd name="T5" fmla="*/ 333 h 373"/>
                  <a:gd name="T6" fmla="*/ 56 w 381"/>
                  <a:gd name="T7" fmla="*/ 303 h 373"/>
                  <a:gd name="T8" fmla="*/ 56 w 381"/>
                  <a:gd name="T9" fmla="*/ 303 h 373"/>
                  <a:gd name="T10" fmla="*/ 66 w 381"/>
                  <a:gd name="T11" fmla="*/ 295 h 373"/>
                  <a:gd name="T12" fmla="*/ 76 w 381"/>
                  <a:gd name="T13" fmla="*/ 285 h 373"/>
                  <a:gd name="T14" fmla="*/ 92 w 381"/>
                  <a:gd name="T15" fmla="*/ 273 h 373"/>
                  <a:gd name="T16" fmla="*/ 110 w 381"/>
                  <a:gd name="T17" fmla="*/ 261 h 373"/>
                  <a:gd name="T18" fmla="*/ 130 w 381"/>
                  <a:gd name="T19" fmla="*/ 251 h 373"/>
                  <a:gd name="T20" fmla="*/ 154 w 381"/>
                  <a:gd name="T21" fmla="*/ 245 h 373"/>
                  <a:gd name="T22" fmla="*/ 168 w 381"/>
                  <a:gd name="T23" fmla="*/ 243 h 373"/>
                  <a:gd name="T24" fmla="*/ 182 w 381"/>
                  <a:gd name="T25" fmla="*/ 243 h 373"/>
                  <a:gd name="T26" fmla="*/ 182 w 381"/>
                  <a:gd name="T27" fmla="*/ 243 h 373"/>
                  <a:gd name="T28" fmla="*/ 201 w 381"/>
                  <a:gd name="T29" fmla="*/ 243 h 373"/>
                  <a:gd name="T30" fmla="*/ 219 w 381"/>
                  <a:gd name="T31" fmla="*/ 247 h 373"/>
                  <a:gd name="T32" fmla="*/ 235 w 381"/>
                  <a:gd name="T33" fmla="*/ 253 h 373"/>
                  <a:gd name="T34" fmla="*/ 235 w 381"/>
                  <a:gd name="T35" fmla="*/ 253 h 373"/>
                  <a:gd name="T36" fmla="*/ 289 w 381"/>
                  <a:gd name="T37" fmla="*/ 279 h 373"/>
                  <a:gd name="T38" fmla="*/ 289 w 381"/>
                  <a:gd name="T39" fmla="*/ 279 h 373"/>
                  <a:gd name="T40" fmla="*/ 299 w 381"/>
                  <a:gd name="T41" fmla="*/ 281 h 373"/>
                  <a:gd name="T42" fmla="*/ 313 w 381"/>
                  <a:gd name="T43" fmla="*/ 279 h 373"/>
                  <a:gd name="T44" fmla="*/ 319 w 381"/>
                  <a:gd name="T45" fmla="*/ 277 h 373"/>
                  <a:gd name="T46" fmla="*/ 325 w 381"/>
                  <a:gd name="T47" fmla="*/ 273 h 373"/>
                  <a:gd name="T48" fmla="*/ 329 w 381"/>
                  <a:gd name="T49" fmla="*/ 267 h 373"/>
                  <a:gd name="T50" fmla="*/ 333 w 381"/>
                  <a:gd name="T51" fmla="*/ 259 h 373"/>
                  <a:gd name="T52" fmla="*/ 379 w 381"/>
                  <a:gd name="T53" fmla="*/ 114 h 373"/>
                  <a:gd name="T54" fmla="*/ 379 w 381"/>
                  <a:gd name="T55" fmla="*/ 114 h 373"/>
                  <a:gd name="T56" fmla="*/ 381 w 381"/>
                  <a:gd name="T57" fmla="*/ 106 h 373"/>
                  <a:gd name="T58" fmla="*/ 381 w 381"/>
                  <a:gd name="T59" fmla="*/ 96 h 373"/>
                  <a:gd name="T60" fmla="*/ 379 w 381"/>
                  <a:gd name="T61" fmla="*/ 90 h 373"/>
                  <a:gd name="T62" fmla="*/ 377 w 381"/>
                  <a:gd name="T63" fmla="*/ 82 h 373"/>
                  <a:gd name="T64" fmla="*/ 373 w 381"/>
                  <a:gd name="T65" fmla="*/ 76 h 373"/>
                  <a:gd name="T66" fmla="*/ 367 w 381"/>
                  <a:gd name="T67" fmla="*/ 70 h 373"/>
                  <a:gd name="T68" fmla="*/ 359 w 381"/>
                  <a:gd name="T69" fmla="*/ 66 h 373"/>
                  <a:gd name="T70" fmla="*/ 353 w 381"/>
                  <a:gd name="T71" fmla="*/ 62 h 373"/>
                  <a:gd name="T72" fmla="*/ 158 w 381"/>
                  <a:gd name="T73" fmla="*/ 0 h 373"/>
                  <a:gd name="T74" fmla="*/ 158 w 381"/>
                  <a:gd name="T75" fmla="*/ 0 h 373"/>
                  <a:gd name="T76" fmla="*/ 150 w 381"/>
                  <a:gd name="T77" fmla="*/ 0 h 373"/>
                  <a:gd name="T78" fmla="*/ 142 w 381"/>
                  <a:gd name="T79" fmla="*/ 0 h 373"/>
                  <a:gd name="T80" fmla="*/ 134 w 381"/>
                  <a:gd name="T81" fmla="*/ 0 h 373"/>
                  <a:gd name="T82" fmla="*/ 126 w 381"/>
                  <a:gd name="T83" fmla="*/ 4 h 373"/>
                  <a:gd name="T84" fmla="*/ 120 w 381"/>
                  <a:gd name="T85" fmla="*/ 8 h 373"/>
                  <a:gd name="T86" fmla="*/ 114 w 381"/>
                  <a:gd name="T87" fmla="*/ 14 h 373"/>
                  <a:gd name="T88" fmla="*/ 110 w 381"/>
                  <a:gd name="T89" fmla="*/ 20 h 373"/>
                  <a:gd name="T90" fmla="*/ 106 w 381"/>
                  <a:gd name="T91" fmla="*/ 28 h 373"/>
                  <a:gd name="T92" fmla="*/ 2 w 381"/>
                  <a:gd name="T93" fmla="*/ 361 h 373"/>
                  <a:gd name="T94" fmla="*/ 2 w 381"/>
                  <a:gd name="T95" fmla="*/ 361 h 373"/>
                  <a:gd name="T96" fmla="*/ 0 w 381"/>
                  <a:gd name="T97" fmla="*/ 367 h 373"/>
                  <a:gd name="T98" fmla="*/ 0 w 381"/>
                  <a:gd name="T99" fmla="*/ 371 h 373"/>
                  <a:gd name="T100" fmla="*/ 2 w 381"/>
                  <a:gd name="T101" fmla="*/ 373 h 373"/>
                  <a:gd name="T102" fmla="*/ 4 w 381"/>
                  <a:gd name="T103" fmla="*/ 371 h 373"/>
                  <a:gd name="T104" fmla="*/ 10 w 381"/>
                  <a:gd name="T105" fmla="*/ 365 h 373"/>
                  <a:gd name="T106" fmla="*/ 16 w 381"/>
                  <a:gd name="T107" fmla="*/ 357 h 373"/>
                  <a:gd name="T108" fmla="*/ 16 w 381"/>
                  <a:gd name="T109" fmla="*/ 3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1" h="373">
                    <a:moveTo>
                      <a:pt x="16" y="357"/>
                    </a:moveTo>
                    <a:lnTo>
                      <a:pt x="16" y="357"/>
                    </a:lnTo>
                    <a:lnTo>
                      <a:pt x="34" y="333"/>
                    </a:lnTo>
                    <a:lnTo>
                      <a:pt x="56" y="303"/>
                    </a:lnTo>
                    <a:lnTo>
                      <a:pt x="56" y="303"/>
                    </a:lnTo>
                    <a:lnTo>
                      <a:pt x="66" y="295"/>
                    </a:lnTo>
                    <a:lnTo>
                      <a:pt x="76" y="285"/>
                    </a:lnTo>
                    <a:lnTo>
                      <a:pt x="92" y="273"/>
                    </a:lnTo>
                    <a:lnTo>
                      <a:pt x="110" y="261"/>
                    </a:lnTo>
                    <a:lnTo>
                      <a:pt x="130" y="251"/>
                    </a:lnTo>
                    <a:lnTo>
                      <a:pt x="154" y="245"/>
                    </a:lnTo>
                    <a:lnTo>
                      <a:pt x="168" y="243"/>
                    </a:lnTo>
                    <a:lnTo>
                      <a:pt x="182" y="243"/>
                    </a:lnTo>
                    <a:lnTo>
                      <a:pt x="182" y="243"/>
                    </a:lnTo>
                    <a:lnTo>
                      <a:pt x="201" y="243"/>
                    </a:lnTo>
                    <a:lnTo>
                      <a:pt x="219" y="247"/>
                    </a:lnTo>
                    <a:lnTo>
                      <a:pt x="235" y="253"/>
                    </a:lnTo>
                    <a:lnTo>
                      <a:pt x="235" y="253"/>
                    </a:lnTo>
                    <a:lnTo>
                      <a:pt x="289" y="279"/>
                    </a:lnTo>
                    <a:lnTo>
                      <a:pt x="289" y="279"/>
                    </a:lnTo>
                    <a:lnTo>
                      <a:pt x="299" y="281"/>
                    </a:lnTo>
                    <a:lnTo>
                      <a:pt x="313" y="279"/>
                    </a:lnTo>
                    <a:lnTo>
                      <a:pt x="319" y="277"/>
                    </a:lnTo>
                    <a:lnTo>
                      <a:pt x="325" y="273"/>
                    </a:lnTo>
                    <a:lnTo>
                      <a:pt x="329" y="267"/>
                    </a:lnTo>
                    <a:lnTo>
                      <a:pt x="333" y="259"/>
                    </a:lnTo>
                    <a:lnTo>
                      <a:pt x="379" y="114"/>
                    </a:lnTo>
                    <a:lnTo>
                      <a:pt x="379" y="114"/>
                    </a:lnTo>
                    <a:lnTo>
                      <a:pt x="381" y="106"/>
                    </a:lnTo>
                    <a:lnTo>
                      <a:pt x="381" y="96"/>
                    </a:lnTo>
                    <a:lnTo>
                      <a:pt x="379" y="90"/>
                    </a:lnTo>
                    <a:lnTo>
                      <a:pt x="377" y="82"/>
                    </a:lnTo>
                    <a:lnTo>
                      <a:pt x="373" y="76"/>
                    </a:lnTo>
                    <a:lnTo>
                      <a:pt x="367" y="70"/>
                    </a:lnTo>
                    <a:lnTo>
                      <a:pt x="359" y="66"/>
                    </a:lnTo>
                    <a:lnTo>
                      <a:pt x="353" y="62"/>
                    </a:lnTo>
                    <a:lnTo>
                      <a:pt x="158" y="0"/>
                    </a:lnTo>
                    <a:lnTo>
                      <a:pt x="158" y="0"/>
                    </a:lnTo>
                    <a:lnTo>
                      <a:pt x="150" y="0"/>
                    </a:lnTo>
                    <a:lnTo>
                      <a:pt x="142" y="0"/>
                    </a:lnTo>
                    <a:lnTo>
                      <a:pt x="134" y="0"/>
                    </a:lnTo>
                    <a:lnTo>
                      <a:pt x="126" y="4"/>
                    </a:lnTo>
                    <a:lnTo>
                      <a:pt x="120" y="8"/>
                    </a:lnTo>
                    <a:lnTo>
                      <a:pt x="114" y="14"/>
                    </a:lnTo>
                    <a:lnTo>
                      <a:pt x="110" y="20"/>
                    </a:lnTo>
                    <a:lnTo>
                      <a:pt x="106" y="28"/>
                    </a:lnTo>
                    <a:lnTo>
                      <a:pt x="2" y="361"/>
                    </a:lnTo>
                    <a:lnTo>
                      <a:pt x="2" y="361"/>
                    </a:lnTo>
                    <a:lnTo>
                      <a:pt x="0" y="367"/>
                    </a:lnTo>
                    <a:lnTo>
                      <a:pt x="0" y="371"/>
                    </a:lnTo>
                    <a:lnTo>
                      <a:pt x="2" y="373"/>
                    </a:lnTo>
                    <a:lnTo>
                      <a:pt x="4" y="371"/>
                    </a:lnTo>
                    <a:lnTo>
                      <a:pt x="10" y="365"/>
                    </a:lnTo>
                    <a:lnTo>
                      <a:pt x="16" y="357"/>
                    </a:lnTo>
                    <a:lnTo>
                      <a:pt x="16" y="357"/>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0" name="Freeform 8"/>
              <p:cNvSpPr>
                <a:spLocks/>
              </p:cNvSpPr>
              <p:nvPr/>
            </p:nvSpPr>
            <p:spPr bwMode="auto">
              <a:xfrm>
                <a:off x="527313" y="5542812"/>
                <a:ext cx="81392" cy="118139"/>
              </a:xfrm>
              <a:custGeom>
                <a:avLst/>
                <a:gdLst>
                  <a:gd name="T0" fmla="*/ 208 w 505"/>
                  <a:gd name="T1" fmla="*/ 733 h 733"/>
                  <a:gd name="T2" fmla="*/ 208 w 505"/>
                  <a:gd name="T3" fmla="*/ 733 h 733"/>
                  <a:gd name="T4" fmla="*/ 242 w 505"/>
                  <a:gd name="T5" fmla="*/ 675 h 733"/>
                  <a:gd name="T6" fmla="*/ 274 w 505"/>
                  <a:gd name="T7" fmla="*/ 615 h 733"/>
                  <a:gd name="T8" fmla="*/ 340 w 505"/>
                  <a:gd name="T9" fmla="*/ 489 h 733"/>
                  <a:gd name="T10" fmla="*/ 403 w 505"/>
                  <a:gd name="T11" fmla="*/ 361 h 733"/>
                  <a:gd name="T12" fmla="*/ 435 w 505"/>
                  <a:gd name="T13" fmla="*/ 302 h 733"/>
                  <a:gd name="T14" fmla="*/ 469 w 505"/>
                  <a:gd name="T15" fmla="*/ 244 h 733"/>
                  <a:gd name="T16" fmla="*/ 469 w 505"/>
                  <a:gd name="T17" fmla="*/ 244 h 733"/>
                  <a:gd name="T18" fmla="*/ 481 w 505"/>
                  <a:gd name="T19" fmla="*/ 222 h 733"/>
                  <a:gd name="T20" fmla="*/ 493 w 505"/>
                  <a:gd name="T21" fmla="*/ 194 h 733"/>
                  <a:gd name="T22" fmla="*/ 501 w 505"/>
                  <a:gd name="T23" fmla="*/ 162 h 733"/>
                  <a:gd name="T24" fmla="*/ 505 w 505"/>
                  <a:gd name="T25" fmla="*/ 146 h 733"/>
                  <a:gd name="T26" fmla="*/ 505 w 505"/>
                  <a:gd name="T27" fmla="*/ 128 h 733"/>
                  <a:gd name="T28" fmla="*/ 505 w 505"/>
                  <a:gd name="T29" fmla="*/ 112 h 733"/>
                  <a:gd name="T30" fmla="*/ 503 w 505"/>
                  <a:gd name="T31" fmla="*/ 96 h 733"/>
                  <a:gd name="T32" fmla="*/ 499 w 505"/>
                  <a:gd name="T33" fmla="*/ 80 h 733"/>
                  <a:gd name="T34" fmla="*/ 493 w 505"/>
                  <a:gd name="T35" fmla="*/ 66 h 733"/>
                  <a:gd name="T36" fmla="*/ 485 w 505"/>
                  <a:gd name="T37" fmla="*/ 52 h 733"/>
                  <a:gd name="T38" fmla="*/ 473 w 505"/>
                  <a:gd name="T39" fmla="*/ 40 h 733"/>
                  <a:gd name="T40" fmla="*/ 459 w 505"/>
                  <a:gd name="T41" fmla="*/ 28 h 733"/>
                  <a:gd name="T42" fmla="*/ 441 w 505"/>
                  <a:gd name="T43" fmla="*/ 20 h 733"/>
                  <a:gd name="T44" fmla="*/ 441 w 505"/>
                  <a:gd name="T45" fmla="*/ 20 h 733"/>
                  <a:gd name="T46" fmla="*/ 427 w 505"/>
                  <a:gd name="T47" fmla="*/ 12 h 733"/>
                  <a:gd name="T48" fmla="*/ 415 w 505"/>
                  <a:gd name="T49" fmla="*/ 6 h 733"/>
                  <a:gd name="T50" fmla="*/ 401 w 505"/>
                  <a:gd name="T51" fmla="*/ 2 h 733"/>
                  <a:gd name="T52" fmla="*/ 387 w 505"/>
                  <a:gd name="T53" fmla="*/ 0 h 733"/>
                  <a:gd name="T54" fmla="*/ 376 w 505"/>
                  <a:gd name="T55" fmla="*/ 0 h 733"/>
                  <a:gd name="T56" fmla="*/ 364 w 505"/>
                  <a:gd name="T57" fmla="*/ 0 h 733"/>
                  <a:gd name="T58" fmla="*/ 352 w 505"/>
                  <a:gd name="T59" fmla="*/ 4 h 733"/>
                  <a:gd name="T60" fmla="*/ 342 w 505"/>
                  <a:gd name="T61" fmla="*/ 8 h 733"/>
                  <a:gd name="T62" fmla="*/ 322 w 505"/>
                  <a:gd name="T63" fmla="*/ 18 h 733"/>
                  <a:gd name="T64" fmla="*/ 306 w 505"/>
                  <a:gd name="T65" fmla="*/ 32 h 733"/>
                  <a:gd name="T66" fmla="*/ 292 w 505"/>
                  <a:gd name="T67" fmla="*/ 46 h 733"/>
                  <a:gd name="T68" fmla="*/ 280 w 505"/>
                  <a:gd name="T69" fmla="*/ 62 h 733"/>
                  <a:gd name="T70" fmla="*/ 280 w 505"/>
                  <a:gd name="T71" fmla="*/ 62 h 733"/>
                  <a:gd name="T72" fmla="*/ 210 w 505"/>
                  <a:gd name="T73" fmla="*/ 176 h 733"/>
                  <a:gd name="T74" fmla="*/ 140 w 505"/>
                  <a:gd name="T75" fmla="*/ 290 h 733"/>
                  <a:gd name="T76" fmla="*/ 2 w 505"/>
                  <a:gd name="T77" fmla="*/ 517 h 733"/>
                  <a:gd name="T78" fmla="*/ 2 w 505"/>
                  <a:gd name="T79" fmla="*/ 517 h 733"/>
                  <a:gd name="T80" fmla="*/ 0 w 505"/>
                  <a:gd name="T81" fmla="*/ 517 h 733"/>
                  <a:gd name="T82" fmla="*/ 0 w 505"/>
                  <a:gd name="T83" fmla="*/ 517 h 733"/>
                  <a:gd name="T84" fmla="*/ 16 w 505"/>
                  <a:gd name="T85" fmla="*/ 527 h 733"/>
                  <a:gd name="T86" fmla="*/ 30 w 505"/>
                  <a:gd name="T87" fmla="*/ 539 h 733"/>
                  <a:gd name="T88" fmla="*/ 42 w 505"/>
                  <a:gd name="T89" fmla="*/ 551 h 733"/>
                  <a:gd name="T90" fmla="*/ 56 w 505"/>
                  <a:gd name="T91" fmla="*/ 567 h 733"/>
                  <a:gd name="T92" fmla="*/ 80 w 505"/>
                  <a:gd name="T93" fmla="*/ 599 h 733"/>
                  <a:gd name="T94" fmla="*/ 102 w 505"/>
                  <a:gd name="T95" fmla="*/ 631 h 733"/>
                  <a:gd name="T96" fmla="*/ 126 w 505"/>
                  <a:gd name="T97" fmla="*/ 665 h 733"/>
                  <a:gd name="T98" fmla="*/ 138 w 505"/>
                  <a:gd name="T99" fmla="*/ 679 h 733"/>
                  <a:gd name="T100" fmla="*/ 150 w 505"/>
                  <a:gd name="T101" fmla="*/ 693 h 733"/>
                  <a:gd name="T102" fmla="*/ 164 w 505"/>
                  <a:gd name="T103" fmla="*/ 707 h 733"/>
                  <a:gd name="T104" fmla="*/ 178 w 505"/>
                  <a:gd name="T105" fmla="*/ 717 h 733"/>
                  <a:gd name="T106" fmla="*/ 192 w 505"/>
                  <a:gd name="T107" fmla="*/ 727 h 733"/>
                  <a:gd name="T108" fmla="*/ 208 w 505"/>
                  <a:gd name="T109" fmla="*/ 733 h 733"/>
                  <a:gd name="T110" fmla="*/ 208 w 505"/>
                  <a:gd name="T111" fmla="*/ 733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5" h="733">
                    <a:moveTo>
                      <a:pt x="208" y="733"/>
                    </a:moveTo>
                    <a:lnTo>
                      <a:pt x="208" y="733"/>
                    </a:lnTo>
                    <a:lnTo>
                      <a:pt x="242" y="675"/>
                    </a:lnTo>
                    <a:lnTo>
                      <a:pt x="274" y="615"/>
                    </a:lnTo>
                    <a:lnTo>
                      <a:pt x="340" y="489"/>
                    </a:lnTo>
                    <a:lnTo>
                      <a:pt x="403" y="361"/>
                    </a:lnTo>
                    <a:lnTo>
                      <a:pt x="435" y="302"/>
                    </a:lnTo>
                    <a:lnTo>
                      <a:pt x="469" y="244"/>
                    </a:lnTo>
                    <a:lnTo>
                      <a:pt x="469" y="244"/>
                    </a:lnTo>
                    <a:lnTo>
                      <a:pt x="481" y="222"/>
                    </a:lnTo>
                    <a:lnTo>
                      <a:pt x="493" y="194"/>
                    </a:lnTo>
                    <a:lnTo>
                      <a:pt x="501" y="162"/>
                    </a:lnTo>
                    <a:lnTo>
                      <a:pt x="505" y="146"/>
                    </a:lnTo>
                    <a:lnTo>
                      <a:pt x="505" y="128"/>
                    </a:lnTo>
                    <a:lnTo>
                      <a:pt x="505" y="112"/>
                    </a:lnTo>
                    <a:lnTo>
                      <a:pt x="503" y="96"/>
                    </a:lnTo>
                    <a:lnTo>
                      <a:pt x="499" y="80"/>
                    </a:lnTo>
                    <a:lnTo>
                      <a:pt x="493" y="66"/>
                    </a:lnTo>
                    <a:lnTo>
                      <a:pt x="485" y="52"/>
                    </a:lnTo>
                    <a:lnTo>
                      <a:pt x="473" y="40"/>
                    </a:lnTo>
                    <a:lnTo>
                      <a:pt x="459" y="28"/>
                    </a:lnTo>
                    <a:lnTo>
                      <a:pt x="441" y="20"/>
                    </a:lnTo>
                    <a:lnTo>
                      <a:pt x="441" y="20"/>
                    </a:lnTo>
                    <a:lnTo>
                      <a:pt x="427" y="12"/>
                    </a:lnTo>
                    <a:lnTo>
                      <a:pt x="415" y="6"/>
                    </a:lnTo>
                    <a:lnTo>
                      <a:pt x="401" y="2"/>
                    </a:lnTo>
                    <a:lnTo>
                      <a:pt x="387" y="0"/>
                    </a:lnTo>
                    <a:lnTo>
                      <a:pt x="376" y="0"/>
                    </a:lnTo>
                    <a:lnTo>
                      <a:pt x="364" y="0"/>
                    </a:lnTo>
                    <a:lnTo>
                      <a:pt x="352" y="4"/>
                    </a:lnTo>
                    <a:lnTo>
                      <a:pt x="342" y="8"/>
                    </a:lnTo>
                    <a:lnTo>
                      <a:pt x="322" y="18"/>
                    </a:lnTo>
                    <a:lnTo>
                      <a:pt x="306" y="32"/>
                    </a:lnTo>
                    <a:lnTo>
                      <a:pt x="292" y="46"/>
                    </a:lnTo>
                    <a:lnTo>
                      <a:pt x="280" y="62"/>
                    </a:lnTo>
                    <a:lnTo>
                      <a:pt x="280" y="62"/>
                    </a:lnTo>
                    <a:lnTo>
                      <a:pt x="210" y="176"/>
                    </a:lnTo>
                    <a:lnTo>
                      <a:pt x="140" y="290"/>
                    </a:lnTo>
                    <a:lnTo>
                      <a:pt x="2" y="517"/>
                    </a:lnTo>
                    <a:lnTo>
                      <a:pt x="2" y="517"/>
                    </a:lnTo>
                    <a:lnTo>
                      <a:pt x="0" y="517"/>
                    </a:lnTo>
                    <a:lnTo>
                      <a:pt x="0" y="517"/>
                    </a:lnTo>
                    <a:lnTo>
                      <a:pt x="16" y="527"/>
                    </a:lnTo>
                    <a:lnTo>
                      <a:pt x="30" y="539"/>
                    </a:lnTo>
                    <a:lnTo>
                      <a:pt x="42" y="551"/>
                    </a:lnTo>
                    <a:lnTo>
                      <a:pt x="56" y="567"/>
                    </a:lnTo>
                    <a:lnTo>
                      <a:pt x="80" y="599"/>
                    </a:lnTo>
                    <a:lnTo>
                      <a:pt x="102" y="631"/>
                    </a:lnTo>
                    <a:lnTo>
                      <a:pt x="126" y="665"/>
                    </a:lnTo>
                    <a:lnTo>
                      <a:pt x="138" y="679"/>
                    </a:lnTo>
                    <a:lnTo>
                      <a:pt x="150" y="693"/>
                    </a:lnTo>
                    <a:lnTo>
                      <a:pt x="164" y="707"/>
                    </a:lnTo>
                    <a:lnTo>
                      <a:pt x="178" y="717"/>
                    </a:lnTo>
                    <a:lnTo>
                      <a:pt x="192" y="727"/>
                    </a:lnTo>
                    <a:lnTo>
                      <a:pt x="208" y="733"/>
                    </a:lnTo>
                    <a:lnTo>
                      <a:pt x="208" y="73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1" name="Freeform 9"/>
              <p:cNvSpPr>
                <a:spLocks/>
              </p:cNvSpPr>
              <p:nvPr/>
            </p:nvSpPr>
            <p:spPr bwMode="auto">
              <a:xfrm>
                <a:off x="517159" y="5569244"/>
                <a:ext cx="77362" cy="105406"/>
              </a:xfrm>
              <a:custGeom>
                <a:avLst/>
                <a:gdLst>
                  <a:gd name="T0" fmla="*/ 287 w 480"/>
                  <a:gd name="T1" fmla="*/ 0 h 654"/>
                  <a:gd name="T2" fmla="*/ 287 w 480"/>
                  <a:gd name="T3" fmla="*/ 0 h 654"/>
                  <a:gd name="T4" fmla="*/ 151 w 480"/>
                  <a:gd name="T5" fmla="*/ 219 h 654"/>
                  <a:gd name="T6" fmla="*/ 16 w 480"/>
                  <a:gd name="T7" fmla="*/ 441 h 654"/>
                  <a:gd name="T8" fmla="*/ 16 w 480"/>
                  <a:gd name="T9" fmla="*/ 441 h 654"/>
                  <a:gd name="T10" fmla="*/ 10 w 480"/>
                  <a:gd name="T11" fmla="*/ 451 h 654"/>
                  <a:gd name="T12" fmla="*/ 6 w 480"/>
                  <a:gd name="T13" fmla="*/ 463 h 654"/>
                  <a:gd name="T14" fmla="*/ 4 w 480"/>
                  <a:gd name="T15" fmla="*/ 475 h 654"/>
                  <a:gd name="T16" fmla="*/ 2 w 480"/>
                  <a:gd name="T17" fmla="*/ 487 h 654"/>
                  <a:gd name="T18" fmla="*/ 0 w 480"/>
                  <a:gd name="T19" fmla="*/ 501 h 654"/>
                  <a:gd name="T20" fmla="*/ 2 w 480"/>
                  <a:gd name="T21" fmla="*/ 513 h 654"/>
                  <a:gd name="T22" fmla="*/ 4 w 480"/>
                  <a:gd name="T23" fmla="*/ 527 h 654"/>
                  <a:gd name="T24" fmla="*/ 8 w 480"/>
                  <a:gd name="T25" fmla="*/ 541 h 654"/>
                  <a:gd name="T26" fmla="*/ 14 w 480"/>
                  <a:gd name="T27" fmla="*/ 555 h 654"/>
                  <a:gd name="T28" fmla="*/ 22 w 480"/>
                  <a:gd name="T29" fmla="*/ 569 h 654"/>
                  <a:gd name="T30" fmla="*/ 30 w 480"/>
                  <a:gd name="T31" fmla="*/ 581 h 654"/>
                  <a:gd name="T32" fmla="*/ 42 w 480"/>
                  <a:gd name="T33" fmla="*/ 593 h 654"/>
                  <a:gd name="T34" fmla="*/ 54 w 480"/>
                  <a:gd name="T35" fmla="*/ 605 h 654"/>
                  <a:gd name="T36" fmla="*/ 67 w 480"/>
                  <a:gd name="T37" fmla="*/ 615 h 654"/>
                  <a:gd name="T38" fmla="*/ 83 w 480"/>
                  <a:gd name="T39" fmla="*/ 624 h 654"/>
                  <a:gd name="T40" fmla="*/ 101 w 480"/>
                  <a:gd name="T41" fmla="*/ 632 h 654"/>
                  <a:gd name="T42" fmla="*/ 101 w 480"/>
                  <a:gd name="T43" fmla="*/ 632 h 654"/>
                  <a:gd name="T44" fmla="*/ 115 w 480"/>
                  <a:gd name="T45" fmla="*/ 640 h 654"/>
                  <a:gd name="T46" fmla="*/ 127 w 480"/>
                  <a:gd name="T47" fmla="*/ 646 h 654"/>
                  <a:gd name="T48" fmla="*/ 141 w 480"/>
                  <a:gd name="T49" fmla="*/ 650 h 654"/>
                  <a:gd name="T50" fmla="*/ 155 w 480"/>
                  <a:gd name="T51" fmla="*/ 652 h 654"/>
                  <a:gd name="T52" fmla="*/ 167 w 480"/>
                  <a:gd name="T53" fmla="*/ 654 h 654"/>
                  <a:gd name="T54" fmla="*/ 179 w 480"/>
                  <a:gd name="T55" fmla="*/ 652 h 654"/>
                  <a:gd name="T56" fmla="*/ 189 w 480"/>
                  <a:gd name="T57" fmla="*/ 650 h 654"/>
                  <a:gd name="T58" fmla="*/ 201 w 480"/>
                  <a:gd name="T59" fmla="*/ 646 h 654"/>
                  <a:gd name="T60" fmla="*/ 221 w 480"/>
                  <a:gd name="T61" fmla="*/ 636 h 654"/>
                  <a:gd name="T62" fmla="*/ 237 w 480"/>
                  <a:gd name="T63" fmla="*/ 623 h 654"/>
                  <a:gd name="T64" fmla="*/ 251 w 480"/>
                  <a:gd name="T65" fmla="*/ 607 h 654"/>
                  <a:gd name="T66" fmla="*/ 263 w 480"/>
                  <a:gd name="T67" fmla="*/ 591 h 654"/>
                  <a:gd name="T68" fmla="*/ 263 w 480"/>
                  <a:gd name="T69" fmla="*/ 591 h 654"/>
                  <a:gd name="T70" fmla="*/ 279 w 480"/>
                  <a:gd name="T71" fmla="*/ 563 h 654"/>
                  <a:gd name="T72" fmla="*/ 293 w 480"/>
                  <a:gd name="T73" fmla="*/ 535 h 654"/>
                  <a:gd name="T74" fmla="*/ 307 w 480"/>
                  <a:gd name="T75" fmla="*/ 507 h 654"/>
                  <a:gd name="T76" fmla="*/ 317 w 480"/>
                  <a:gd name="T77" fmla="*/ 479 h 654"/>
                  <a:gd name="T78" fmla="*/ 339 w 480"/>
                  <a:gd name="T79" fmla="*/ 421 h 654"/>
                  <a:gd name="T80" fmla="*/ 357 w 480"/>
                  <a:gd name="T81" fmla="*/ 363 h 654"/>
                  <a:gd name="T82" fmla="*/ 377 w 480"/>
                  <a:gd name="T83" fmla="*/ 305 h 654"/>
                  <a:gd name="T84" fmla="*/ 397 w 480"/>
                  <a:gd name="T85" fmla="*/ 247 h 654"/>
                  <a:gd name="T86" fmla="*/ 409 w 480"/>
                  <a:gd name="T87" fmla="*/ 217 h 654"/>
                  <a:gd name="T88" fmla="*/ 423 w 480"/>
                  <a:gd name="T89" fmla="*/ 188 h 654"/>
                  <a:gd name="T90" fmla="*/ 439 w 480"/>
                  <a:gd name="T91" fmla="*/ 160 h 654"/>
                  <a:gd name="T92" fmla="*/ 454 w 480"/>
                  <a:gd name="T93" fmla="*/ 130 h 654"/>
                  <a:gd name="T94" fmla="*/ 454 w 480"/>
                  <a:gd name="T95" fmla="*/ 130 h 654"/>
                  <a:gd name="T96" fmla="*/ 480 w 480"/>
                  <a:gd name="T97" fmla="*/ 136 h 654"/>
                  <a:gd name="T98" fmla="*/ 480 w 480"/>
                  <a:gd name="T99" fmla="*/ 136 h 654"/>
                  <a:gd name="T100" fmla="*/ 450 w 480"/>
                  <a:gd name="T101" fmla="*/ 118 h 654"/>
                  <a:gd name="T102" fmla="*/ 427 w 480"/>
                  <a:gd name="T103" fmla="*/ 100 h 654"/>
                  <a:gd name="T104" fmla="*/ 405 w 480"/>
                  <a:gd name="T105" fmla="*/ 80 h 654"/>
                  <a:gd name="T106" fmla="*/ 385 w 480"/>
                  <a:gd name="T107" fmla="*/ 62 h 654"/>
                  <a:gd name="T108" fmla="*/ 365 w 480"/>
                  <a:gd name="T109" fmla="*/ 44 h 654"/>
                  <a:gd name="T110" fmla="*/ 343 w 480"/>
                  <a:gd name="T111" fmla="*/ 26 h 654"/>
                  <a:gd name="T112" fmla="*/ 317 w 480"/>
                  <a:gd name="T113" fmla="*/ 12 h 654"/>
                  <a:gd name="T114" fmla="*/ 301 w 480"/>
                  <a:gd name="T115" fmla="*/ 4 h 654"/>
                  <a:gd name="T116" fmla="*/ 287 w 480"/>
                  <a:gd name="T117" fmla="*/ 0 h 654"/>
                  <a:gd name="T118" fmla="*/ 287 w 480"/>
                  <a:gd name="T119" fmla="*/ 0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0" h="654">
                    <a:moveTo>
                      <a:pt x="287" y="0"/>
                    </a:moveTo>
                    <a:lnTo>
                      <a:pt x="287" y="0"/>
                    </a:lnTo>
                    <a:lnTo>
                      <a:pt x="151" y="219"/>
                    </a:lnTo>
                    <a:lnTo>
                      <a:pt x="16" y="441"/>
                    </a:lnTo>
                    <a:lnTo>
                      <a:pt x="16" y="441"/>
                    </a:lnTo>
                    <a:lnTo>
                      <a:pt x="10" y="451"/>
                    </a:lnTo>
                    <a:lnTo>
                      <a:pt x="6" y="463"/>
                    </a:lnTo>
                    <a:lnTo>
                      <a:pt x="4" y="475"/>
                    </a:lnTo>
                    <a:lnTo>
                      <a:pt x="2" y="487"/>
                    </a:lnTo>
                    <a:lnTo>
                      <a:pt x="0" y="501"/>
                    </a:lnTo>
                    <a:lnTo>
                      <a:pt x="2" y="513"/>
                    </a:lnTo>
                    <a:lnTo>
                      <a:pt x="4" y="527"/>
                    </a:lnTo>
                    <a:lnTo>
                      <a:pt x="8" y="541"/>
                    </a:lnTo>
                    <a:lnTo>
                      <a:pt x="14" y="555"/>
                    </a:lnTo>
                    <a:lnTo>
                      <a:pt x="22" y="569"/>
                    </a:lnTo>
                    <a:lnTo>
                      <a:pt x="30" y="581"/>
                    </a:lnTo>
                    <a:lnTo>
                      <a:pt x="42" y="593"/>
                    </a:lnTo>
                    <a:lnTo>
                      <a:pt x="54" y="605"/>
                    </a:lnTo>
                    <a:lnTo>
                      <a:pt x="67" y="615"/>
                    </a:lnTo>
                    <a:lnTo>
                      <a:pt x="83" y="624"/>
                    </a:lnTo>
                    <a:lnTo>
                      <a:pt x="101" y="632"/>
                    </a:lnTo>
                    <a:lnTo>
                      <a:pt x="101" y="632"/>
                    </a:lnTo>
                    <a:lnTo>
                      <a:pt x="115" y="640"/>
                    </a:lnTo>
                    <a:lnTo>
                      <a:pt x="127" y="646"/>
                    </a:lnTo>
                    <a:lnTo>
                      <a:pt x="141" y="650"/>
                    </a:lnTo>
                    <a:lnTo>
                      <a:pt x="155" y="652"/>
                    </a:lnTo>
                    <a:lnTo>
                      <a:pt x="167" y="654"/>
                    </a:lnTo>
                    <a:lnTo>
                      <a:pt x="179" y="652"/>
                    </a:lnTo>
                    <a:lnTo>
                      <a:pt x="189" y="650"/>
                    </a:lnTo>
                    <a:lnTo>
                      <a:pt x="201" y="646"/>
                    </a:lnTo>
                    <a:lnTo>
                      <a:pt x="221" y="636"/>
                    </a:lnTo>
                    <a:lnTo>
                      <a:pt x="237" y="623"/>
                    </a:lnTo>
                    <a:lnTo>
                      <a:pt x="251" y="607"/>
                    </a:lnTo>
                    <a:lnTo>
                      <a:pt x="263" y="591"/>
                    </a:lnTo>
                    <a:lnTo>
                      <a:pt x="263" y="591"/>
                    </a:lnTo>
                    <a:lnTo>
                      <a:pt x="279" y="563"/>
                    </a:lnTo>
                    <a:lnTo>
                      <a:pt x="293" y="535"/>
                    </a:lnTo>
                    <a:lnTo>
                      <a:pt x="307" y="507"/>
                    </a:lnTo>
                    <a:lnTo>
                      <a:pt x="317" y="479"/>
                    </a:lnTo>
                    <a:lnTo>
                      <a:pt x="339" y="421"/>
                    </a:lnTo>
                    <a:lnTo>
                      <a:pt x="357" y="363"/>
                    </a:lnTo>
                    <a:lnTo>
                      <a:pt x="377" y="305"/>
                    </a:lnTo>
                    <a:lnTo>
                      <a:pt x="397" y="247"/>
                    </a:lnTo>
                    <a:lnTo>
                      <a:pt x="409" y="217"/>
                    </a:lnTo>
                    <a:lnTo>
                      <a:pt x="423" y="188"/>
                    </a:lnTo>
                    <a:lnTo>
                      <a:pt x="439" y="160"/>
                    </a:lnTo>
                    <a:lnTo>
                      <a:pt x="454" y="130"/>
                    </a:lnTo>
                    <a:lnTo>
                      <a:pt x="454" y="130"/>
                    </a:lnTo>
                    <a:lnTo>
                      <a:pt x="480" y="136"/>
                    </a:lnTo>
                    <a:lnTo>
                      <a:pt x="480" y="136"/>
                    </a:lnTo>
                    <a:lnTo>
                      <a:pt x="450" y="118"/>
                    </a:lnTo>
                    <a:lnTo>
                      <a:pt x="427" y="100"/>
                    </a:lnTo>
                    <a:lnTo>
                      <a:pt x="405" y="80"/>
                    </a:lnTo>
                    <a:lnTo>
                      <a:pt x="385" y="62"/>
                    </a:lnTo>
                    <a:lnTo>
                      <a:pt x="365" y="44"/>
                    </a:lnTo>
                    <a:lnTo>
                      <a:pt x="343" y="26"/>
                    </a:lnTo>
                    <a:lnTo>
                      <a:pt x="317" y="12"/>
                    </a:lnTo>
                    <a:lnTo>
                      <a:pt x="301" y="4"/>
                    </a:lnTo>
                    <a:lnTo>
                      <a:pt x="287" y="0"/>
                    </a:lnTo>
                    <a:lnTo>
                      <a:pt x="287"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2" name="Freeform 10"/>
              <p:cNvSpPr>
                <a:spLocks/>
              </p:cNvSpPr>
              <p:nvPr/>
            </p:nvSpPr>
            <p:spPr bwMode="auto">
              <a:xfrm>
                <a:off x="517481" y="5512350"/>
                <a:ext cx="60117" cy="153436"/>
              </a:xfrm>
              <a:custGeom>
                <a:avLst/>
                <a:gdLst>
                  <a:gd name="T0" fmla="*/ 209 w 373"/>
                  <a:gd name="T1" fmla="*/ 491 h 952"/>
                  <a:gd name="T2" fmla="*/ 85 w 373"/>
                  <a:gd name="T3" fmla="*/ 0 h 952"/>
                  <a:gd name="T4" fmla="*/ 75 w 373"/>
                  <a:gd name="T5" fmla="*/ 4 h 952"/>
                  <a:gd name="T6" fmla="*/ 65 w 373"/>
                  <a:gd name="T7" fmla="*/ 12 h 952"/>
                  <a:gd name="T8" fmla="*/ 54 w 373"/>
                  <a:gd name="T9" fmla="*/ 46 h 952"/>
                  <a:gd name="T10" fmla="*/ 46 w 373"/>
                  <a:gd name="T11" fmla="*/ 96 h 952"/>
                  <a:gd name="T12" fmla="*/ 36 w 373"/>
                  <a:gd name="T13" fmla="*/ 207 h 952"/>
                  <a:gd name="T14" fmla="*/ 28 w 373"/>
                  <a:gd name="T15" fmla="*/ 257 h 952"/>
                  <a:gd name="T16" fmla="*/ 18 w 373"/>
                  <a:gd name="T17" fmla="*/ 293 h 952"/>
                  <a:gd name="T18" fmla="*/ 4 w 373"/>
                  <a:gd name="T19" fmla="*/ 309 h 952"/>
                  <a:gd name="T20" fmla="*/ 0 w 373"/>
                  <a:gd name="T21" fmla="*/ 311 h 952"/>
                  <a:gd name="T22" fmla="*/ 0 w 373"/>
                  <a:gd name="T23" fmla="*/ 828 h 952"/>
                  <a:gd name="T24" fmla="*/ 0 w 373"/>
                  <a:gd name="T25" fmla="*/ 840 h 952"/>
                  <a:gd name="T26" fmla="*/ 6 w 373"/>
                  <a:gd name="T27" fmla="*/ 864 h 952"/>
                  <a:gd name="T28" fmla="*/ 16 w 373"/>
                  <a:gd name="T29" fmla="*/ 888 h 952"/>
                  <a:gd name="T30" fmla="*/ 34 w 373"/>
                  <a:gd name="T31" fmla="*/ 910 h 952"/>
                  <a:gd name="T32" fmla="*/ 58 w 373"/>
                  <a:gd name="T33" fmla="*/ 928 h 952"/>
                  <a:gd name="T34" fmla="*/ 83 w 373"/>
                  <a:gd name="T35" fmla="*/ 942 h 952"/>
                  <a:gd name="T36" fmla="*/ 115 w 373"/>
                  <a:gd name="T37" fmla="*/ 950 h 952"/>
                  <a:gd name="T38" fmla="*/ 151 w 373"/>
                  <a:gd name="T39" fmla="*/ 952 h 952"/>
                  <a:gd name="T40" fmla="*/ 171 w 373"/>
                  <a:gd name="T41" fmla="*/ 950 h 952"/>
                  <a:gd name="T42" fmla="*/ 203 w 373"/>
                  <a:gd name="T43" fmla="*/ 946 h 952"/>
                  <a:gd name="T44" fmla="*/ 227 w 373"/>
                  <a:gd name="T45" fmla="*/ 938 h 952"/>
                  <a:gd name="T46" fmla="*/ 249 w 373"/>
                  <a:gd name="T47" fmla="*/ 926 h 952"/>
                  <a:gd name="T48" fmla="*/ 265 w 373"/>
                  <a:gd name="T49" fmla="*/ 908 h 952"/>
                  <a:gd name="T50" fmla="*/ 283 w 373"/>
                  <a:gd name="T51" fmla="*/ 868 h 952"/>
                  <a:gd name="T52" fmla="*/ 287 w 373"/>
                  <a:gd name="T53" fmla="*/ 828 h 952"/>
                  <a:gd name="T54" fmla="*/ 289 w 373"/>
                  <a:gd name="T55" fmla="*/ 804 h 952"/>
                  <a:gd name="T56" fmla="*/ 301 w 373"/>
                  <a:gd name="T57" fmla="*/ 700 h 952"/>
                  <a:gd name="T58" fmla="*/ 331 w 373"/>
                  <a:gd name="T59" fmla="*/ 531 h 952"/>
                  <a:gd name="T60" fmla="*/ 359 w 373"/>
                  <a:gd name="T61" fmla="*/ 359 h 952"/>
                  <a:gd name="T62" fmla="*/ 373 w 373"/>
                  <a:gd name="T63" fmla="*/ 257 h 952"/>
                  <a:gd name="T64" fmla="*/ 373 w 373"/>
                  <a:gd name="T65" fmla="*/ 231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3" h="952">
                    <a:moveTo>
                      <a:pt x="373" y="231"/>
                    </a:moveTo>
                    <a:lnTo>
                      <a:pt x="209" y="491"/>
                    </a:lnTo>
                    <a:lnTo>
                      <a:pt x="85" y="0"/>
                    </a:lnTo>
                    <a:lnTo>
                      <a:pt x="85" y="0"/>
                    </a:lnTo>
                    <a:lnTo>
                      <a:pt x="79" y="0"/>
                    </a:lnTo>
                    <a:lnTo>
                      <a:pt x="75" y="4"/>
                    </a:lnTo>
                    <a:lnTo>
                      <a:pt x="69" y="8"/>
                    </a:lnTo>
                    <a:lnTo>
                      <a:pt x="65" y="12"/>
                    </a:lnTo>
                    <a:lnTo>
                      <a:pt x="60" y="28"/>
                    </a:lnTo>
                    <a:lnTo>
                      <a:pt x="54" y="46"/>
                    </a:lnTo>
                    <a:lnTo>
                      <a:pt x="50" y="70"/>
                    </a:lnTo>
                    <a:lnTo>
                      <a:pt x="46" y="96"/>
                    </a:lnTo>
                    <a:lnTo>
                      <a:pt x="40" y="149"/>
                    </a:lnTo>
                    <a:lnTo>
                      <a:pt x="36" y="207"/>
                    </a:lnTo>
                    <a:lnTo>
                      <a:pt x="32" y="233"/>
                    </a:lnTo>
                    <a:lnTo>
                      <a:pt x="28" y="257"/>
                    </a:lnTo>
                    <a:lnTo>
                      <a:pt x="24" y="277"/>
                    </a:lnTo>
                    <a:lnTo>
                      <a:pt x="18" y="293"/>
                    </a:lnTo>
                    <a:lnTo>
                      <a:pt x="10" y="305"/>
                    </a:lnTo>
                    <a:lnTo>
                      <a:pt x="4" y="309"/>
                    </a:lnTo>
                    <a:lnTo>
                      <a:pt x="0" y="311"/>
                    </a:lnTo>
                    <a:lnTo>
                      <a:pt x="0" y="311"/>
                    </a:lnTo>
                    <a:lnTo>
                      <a:pt x="0" y="570"/>
                    </a:lnTo>
                    <a:lnTo>
                      <a:pt x="0" y="828"/>
                    </a:lnTo>
                    <a:lnTo>
                      <a:pt x="0" y="828"/>
                    </a:lnTo>
                    <a:lnTo>
                      <a:pt x="0" y="840"/>
                    </a:lnTo>
                    <a:lnTo>
                      <a:pt x="2" y="852"/>
                    </a:lnTo>
                    <a:lnTo>
                      <a:pt x="6" y="864"/>
                    </a:lnTo>
                    <a:lnTo>
                      <a:pt x="10" y="876"/>
                    </a:lnTo>
                    <a:lnTo>
                      <a:pt x="16" y="888"/>
                    </a:lnTo>
                    <a:lnTo>
                      <a:pt x="24" y="898"/>
                    </a:lnTo>
                    <a:lnTo>
                      <a:pt x="34" y="910"/>
                    </a:lnTo>
                    <a:lnTo>
                      <a:pt x="46" y="918"/>
                    </a:lnTo>
                    <a:lnTo>
                      <a:pt x="58" y="928"/>
                    </a:lnTo>
                    <a:lnTo>
                      <a:pt x="69" y="936"/>
                    </a:lnTo>
                    <a:lnTo>
                      <a:pt x="83" y="942"/>
                    </a:lnTo>
                    <a:lnTo>
                      <a:pt x="99" y="946"/>
                    </a:lnTo>
                    <a:lnTo>
                      <a:pt x="115" y="950"/>
                    </a:lnTo>
                    <a:lnTo>
                      <a:pt x="133" y="952"/>
                    </a:lnTo>
                    <a:lnTo>
                      <a:pt x="151" y="952"/>
                    </a:lnTo>
                    <a:lnTo>
                      <a:pt x="171" y="950"/>
                    </a:lnTo>
                    <a:lnTo>
                      <a:pt x="171" y="950"/>
                    </a:lnTo>
                    <a:lnTo>
                      <a:pt x="187" y="950"/>
                    </a:lnTo>
                    <a:lnTo>
                      <a:pt x="203" y="946"/>
                    </a:lnTo>
                    <a:lnTo>
                      <a:pt x="215" y="944"/>
                    </a:lnTo>
                    <a:lnTo>
                      <a:pt x="227" y="938"/>
                    </a:lnTo>
                    <a:lnTo>
                      <a:pt x="239" y="932"/>
                    </a:lnTo>
                    <a:lnTo>
                      <a:pt x="249" y="926"/>
                    </a:lnTo>
                    <a:lnTo>
                      <a:pt x="257" y="918"/>
                    </a:lnTo>
                    <a:lnTo>
                      <a:pt x="265" y="908"/>
                    </a:lnTo>
                    <a:lnTo>
                      <a:pt x="275" y="890"/>
                    </a:lnTo>
                    <a:lnTo>
                      <a:pt x="283" y="868"/>
                    </a:lnTo>
                    <a:lnTo>
                      <a:pt x="287" y="848"/>
                    </a:lnTo>
                    <a:lnTo>
                      <a:pt x="287" y="828"/>
                    </a:lnTo>
                    <a:lnTo>
                      <a:pt x="287" y="828"/>
                    </a:lnTo>
                    <a:lnTo>
                      <a:pt x="289" y="804"/>
                    </a:lnTo>
                    <a:lnTo>
                      <a:pt x="291" y="772"/>
                    </a:lnTo>
                    <a:lnTo>
                      <a:pt x="301" y="700"/>
                    </a:lnTo>
                    <a:lnTo>
                      <a:pt x="315" y="618"/>
                    </a:lnTo>
                    <a:lnTo>
                      <a:pt x="331" y="531"/>
                    </a:lnTo>
                    <a:lnTo>
                      <a:pt x="347" y="443"/>
                    </a:lnTo>
                    <a:lnTo>
                      <a:pt x="359" y="359"/>
                    </a:lnTo>
                    <a:lnTo>
                      <a:pt x="369" y="287"/>
                    </a:lnTo>
                    <a:lnTo>
                      <a:pt x="373" y="257"/>
                    </a:lnTo>
                    <a:lnTo>
                      <a:pt x="373" y="231"/>
                    </a:lnTo>
                    <a:lnTo>
                      <a:pt x="373" y="231"/>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3" name="Freeform 13"/>
              <p:cNvSpPr>
                <a:spLocks/>
              </p:cNvSpPr>
              <p:nvPr/>
            </p:nvSpPr>
            <p:spPr bwMode="auto">
              <a:xfrm>
                <a:off x="341482" y="5345226"/>
                <a:ext cx="183413" cy="190344"/>
              </a:xfrm>
              <a:custGeom>
                <a:avLst/>
                <a:gdLst/>
                <a:ahLst/>
                <a:cxnLst/>
                <a:rect l="l" t="t" r="r" b="b"/>
                <a:pathLst>
                  <a:path w="183413" h="190344">
                    <a:moveTo>
                      <a:pt x="89127" y="0"/>
                    </a:moveTo>
                    <a:lnTo>
                      <a:pt x="92673" y="0"/>
                    </a:lnTo>
                    <a:lnTo>
                      <a:pt x="96218" y="0"/>
                    </a:lnTo>
                    <a:lnTo>
                      <a:pt x="99764" y="323"/>
                    </a:lnTo>
                    <a:lnTo>
                      <a:pt x="102988" y="967"/>
                    </a:lnTo>
                    <a:lnTo>
                      <a:pt x="106533" y="1934"/>
                    </a:lnTo>
                    <a:lnTo>
                      <a:pt x="109757" y="3224"/>
                    </a:lnTo>
                    <a:lnTo>
                      <a:pt x="112980" y="4513"/>
                    </a:lnTo>
                    <a:lnTo>
                      <a:pt x="116204" y="5802"/>
                    </a:lnTo>
                    <a:lnTo>
                      <a:pt x="119105" y="7736"/>
                    </a:lnTo>
                    <a:lnTo>
                      <a:pt x="122328" y="9671"/>
                    </a:lnTo>
                    <a:lnTo>
                      <a:pt x="124746" y="11605"/>
                    </a:lnTo>
                    <a:lnTo>
                      <a:pt x="127647" y="13861"/>
                    </a:lnTo>
                    <a:lnTo>
                      <a:pt x="130226" y="16440"/>
                    </a:lnTo>
                    <a:lnTo>
                      <a:pt x="132804" y="18696"/>
                    </a:lnTo>
                    <a:lnTo>
                      <a:pt x="135061" y="21597"/>
                    </a:lnTo>
                    <a:lnTo>
                      <a:pt x="136995" y="24176"/>
                    </a:lnTo>
                    <a:lnTo>
                      <a:pt x="139251" y="27077"/>
                    </a:lnTo>
                    <a:lnTo>
                      <a:pt x="140863" y="30301"/>
                    </a:lnTo>
                    <a:lnTo>
                      <a:pt x="142475" y="33202"/>
                    </a:lnTo>
                    <a:lnTo>
                      <a:pt x="143764" y="36264"/>
                    </a:lnTo>
                    <a:lnTo>
                      <a:pt x="145053" y="39487"/>
                    </a:lnTo>
                    <a:lnTo>
                      <a:pt x="146020" y="42711"/>
                    </a:lnTo>
                    <a:lnTo>
                      <a:pt x="146665" y="46256"/>
                    </a:lnTo>
                    <a:lnTo>
                      <a:pt x="147310" y="49480"/>
                    </a:lnTo>
                    <a:lnTo>
                      <a:pt x="147632" y="53026"/>
                    </a:lnTo>
                    <a:lnTo>
                      <a:pt x="147618" y="53185"/>
                    </a:lnTo>
                    <a:lnTo>
                      <a:pt x="150212" y="61729"/>
                    </a:lnTo>
                    <a:lnTo>
                      <a:pt x="153757" y="72689"/>
                    </a:lnTo>
                    <a:lnTo>
                      <a:pt x="155369" y="76880"/>
                    </a:lnTo>
                    <a:lnTo>
                      <a:pt x="156336" y="79458"/>
                    </a:lnTo>
                    <a:lnTo>
                      <a:pt x="159560" y="84938"/>
                    </a:lnTo>
                    <a:lnTo>
                      <a:pt x="162783" y="90096"/>
                    </a:lnTo>
                    <a:lnTo>
                      <a:pt x="166329" y="95253"/>
                    </a:lnTo>
                    <a:lnTo>
                      <a:pt x="170519" y="100088"/>
                    </a:lnTo>
                    <a:lnTo>
                      <a:pt x="172776" y="102345"/>
                    </a:lnTo>
                    <a:lnTo>
                      <a:pt x="175032" y="104440"/>
                    </a:lnTo>
                    <a:lnTo>
                      <a:pt x="176321" y="106052"/>
                    </a:lnTo>
                    <a:lnTo>
                      <a:pt x="177933" y="107663"/>
                    </a:lnTo>
                    <a:lnTo>
                      <a:pt x="179545" y="108630"/>
                    </a:lnTo>
                    <a:lnTo>
                      <a:pt x="181157" y="109920"/>
                    </a:lnTo>
                    <a:lnTo>
                      <a:pt x="182124" y="110564"/>
                    </a:lnTo>
                    <a:lnTo>
                      <a:pt x="183091" y="111209"/>
                    </a:lnTo>
                    <a:lnTo>
                      <a:pt x="183413" y="111209"/>
                    </a:lnTo>
                    <a:lnTo>
                      <a:pt x="183413" y="111531"/>
                    </a:lnTo>
                    <a:lnTo>
                      <a:pt x="182124" y="112498"/>
                    </a:lnTo>
                    <a:lnTo>
                      <a:pt x="177288" y="114110"/>
                    </a:lnTo>
                    <a:lnTo>
                      <a:pt x="167941" y="116689"/>
                    </a:lnTo>
                    <a:lnTo>
                      <a:pt x="156014" y="121846"/>
                    </a:lnTo>
                    <a:lnTo>
                      <a:pt x="148922" y="124103"/>
                    </a:lnTo>
                    <a:lnTo>
                      <a:pt x="141831" y="126359"/>
                    </a:lnTo>
                    <a:lnTo>
                      <a:pt x="137963" y="127004"/>
                    </a:lnTo>
                    <a:lnTo>
                      <a:pt x="134417" y="127326"/>
                    </a:lnTo>
                    <a:lnTo>
                      <a:pt x="130871" y="127326"/>
                    </a:lnTo>
                    <a:lnTo>
                      <a:pt x="127648" y="127004"/>
                    </a:lnTo>
                    <a:lnTo>
                      <a:pt x="125504" y="126575"/>
                    </a:lnTo>
                    <a:lnTo>
                      <a:pt x="125391" y="126624"/>
                    </a:lnTo>
                    <a:lnTo>
                      <a:pt x="123296" y="127591"/>
                    </a:lnTo>
                    <a:lnTo>
                      <a:pt x="120395" y="128236"/>
                    </a:lnTo>
                    <a:lnTo>
                      <a:pt x="118977" y="128460"/>
                    </a:lnTo>
                    <a:lnTo>
                      <a:pt x="93318" y="190344"/>
                    </a:lnTo>
                    <a:lnTo>
                      <a:pt x="67392" y="129211"/>
                    </a:lnTo>
                    <a:lnTo>
                      <a:pt x="67208" y="129203"/>
                    </a:lnTo>
                    <a:lnTo>
                      <a:pt x="61083" y="128236"/>
                    </a:lnTo>
                    <a:lnTo>
                      <a:pt x="58343" y="127591"/>
                    </a:lnTo>
                    <a:lnTo>
                      <a:pt x="56590" y="126839"/>
                    </a:lnTo>
                    <a:lnTo>
                      <a:pt x="55766" y="127004"/>
                    </a:lnTo>
                    <a:lnTo>
                      <a:pt x="52542" y="127326"/>
                    </a:lnTo>
                    <a:lnTo>
                      <a:pt x="48996" y="127326"/>
                    </a:lnTo>
                    <a:lnTo>
                      <a:pt x="45451" y="127004"/>
                    </a:lnTo>
                    <a:lnTo>
                      <a:pt x="41582" y="126359"/>
                    </a:lnTo>
                    <a:lnTo>
                      <a:pt x="34491" y="124103"/>
                    </a:lnTo>
                    <a:lnTo>
                      <a:pt x="27399" y="121846"/>
                    </a:lnTo>
                    <a:lnTo>
                      <a:pt x="15150" y="116689"/>
                    </a:lnTo>
                    <a:lnTo>
                      <a:pt x="6125" y="114110"/>
                    </a:lnTo>
                    <a:lnTo>
                      <a:pt x="1289" y="112498"/>
                    </a:lnTo>
                    <a:lnTo>
                      <a:pt x="0" y="111531"/>
                    </a:lnTo>
                    <a:lnTo>
                      <a:pt x="0" y="111209"/>
                    </a:lnTo>
                    <a:lnTo>
                      <a:pt x="322" y="111209"/>
                    </a:lnTo>
                    <a:lnTo>
                      <a:pt x="1289" y="110564"/>
                    </a:lnTo>
                    <a:lnTo>
                      <a:pt x="1934" y="109920"/>
                    </a:lnTo>
                    <a:lnTo>
                      <a:pt x="3546" y="108630"/>
                    </a:lnTo>
                    <a:lnTo>
                      <a:pt x="5480" y="107663"/>
                    </a:lnTo>
                    <a:lnTo>
                      <a:pt x="7092" y="106052"/>
                    </a:lnTo>
                    <a:lnTo>
                      <a:pt x="8381" y="104440"/>
                    </a:lnTo>
                    <a:lnTo>
                      <a:pt x="10637" y="102345"/>
                    </a:lnTo>
                    <a:lnTo>
                      <a:pt x="12894" y="100088"/>
                    </a:lnTo>
                    <a:lnTo>
                      <a:pt x="17084" y="95253"/>
                    </a:lnTo>
                    <a:lnTo>
                      <a:pt x="20630" y="90096"/>
                    </a:lnTo>
                    <a:lnTo>
                      <a:pt x="23853" y="84938"/>
                    </a:lnTo>
                    <a:lnTo>
                      <a:pt x="27077" y="79458"/>
                    </a:lnTo>
                    <a:lnTo>
                      <a:pt x="28366" y="76235"/>
                    </a:lnTo>
                    <a:lnTo>
                      <a:pt x="30300" y="70755"/>
                    </a:lnTo>
                    <a:lnTo>
                      <a:pt x="35458" y="55927"/>
                    </a:lnTo>
                    <a:lnTo>
                      <a:pt x="39969" y="42395"/>
                    </a:lnTo>
                    <a:lnTo>
                      <a:pt x="39970" y="42388"/>
                    </a:lnTo>
                    <a:lnTo>
                      <a:pt x="41581" y="35942"/>
                    </a:lnTo>
                    <a:lnTo>
                      <a:pt x="44160" y="29978"/>
                    </a:lnTo>
                    <a:lnTo>
                      <a:pt x="47384" y="24498"/>
                    </a:lnTo>
                    <a:lnTo>
                      <a:pt x="49318" y="21597"/>
                    </a:lnTo>
                    <a:lnTo>
                      <a:pt x="51252" y="19018"/>
                    </a:lnTo>
                    <a:lnTo>
                      <a:pt x="53186" y="16440"/>
                    </a:lnTo>
                    <a:lnTo>
                      <a:pt x="55442" y="14183"/>
                    </a:lnTo>
                    <a:lnTo>
                      <a:pt x="58021" y="11927"/>
                    </a:lnTo>
                    <a:lnTo>
                      <a:pt x="60600" y="9993"/>
                    </a:lnTo>
                    <a:lnTo>
                      <a:pt x="63017" y="8059"/>
                    </a:lnTo>
                    <a:lnTo>
                      <a:pt x="65918" y="6447"/>
                    </a:lnTo>
                    <a:lnTo>
                      <a:pt x="69142" y="5158"/>
                    </a:lnTo>
                    <a:lnTo>
                      <a:pt x="72043" y="3868"/>
                    </a:lnTo>
                    <a:lnTo>
                      <a:pt x="75266" y="2579"/>
                    </a:lnTo>
                    <a:lnTo>
                      <a:pt x="78812" y="1934"/>
                    </a:lnTo>
                    <a:lnTo>
                      <a:pt x="82035" y="967"/>
                    </a:lnTo>
                    <a:lnTo>
                      <a:pt x="85581" y="32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559" name="Group 558"/>
            <p:cNvGrpSpPr/>
            <p:nvPr/>
          </p:nvGrpSpPr>
          <p:grpSpPr>
            <a:xfrm rot="9000000" flipH="1">
              <a:off x="10525756" y="2618046"/>
              <a:ext cx="89612" cy="132564"/>
              <a:chOff x="2687372" y="3149601"/>
              <a:chExt cx="81465" cy="132564"/>
            </a:xfrm>
            <a:solidFill>
              <a:schemeClr val="accent1"/>
            </a:solidFill>
          </p:grpSpPr>
          <p:sp>
            <p:nvSpPr>
              <p:cNvPr id="56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14" name="Group 13"/>
          <p:cNvGrpSpPr/>
          <p:nvPr/>
        </p:nvGrpSpPr>
        <p:grpSpPr>
          <a:xfrm>
            <a:off x="10104087" y="4213026"/>
            <a:ext cx="484351" cy="601909"/>
            <a:chOff x="10126585" y="4213025"/>
            <a:chExt cx="484351" cy="601909"/>
          </a:xfrm>
        </p:grpSpPr>
        <p:grpSp>
          <p:nvGrpSpPr>
            <p:cNvPr id="5" name="Group 4"/>
            <p:cNvGrpSpPr>
              <a:grpSpLocks noChangeAspect="1"/>
            </p:cNvGrpSpPr>
            <p:nvPr/>
          </p:nvGrpSpPr>
          <p:grpSpPr>
            <a:xfrm>
              <a:off x="10126585" y="4284481"/>
              <a:ext cx="484351" cy="530453"/>
              <a:chOff x="223280" y="2346312"/>
              <a:chExt cx="448473" cy="530453"/>
            </a:xfrm>
          </p:grpSpPr>
          <p:sp>
            <p:nvSpPr>
              <p:cNvPr id="701" name="Freeform 11"/>
              <p:cNvSpPr>
                <a:spLocks/>
              </p:cNvSpPr>
              <p:nvPr/>
            </p:nvSpPr>
            <p:spPr bwMode="auto">
              <a:xfrm>
                <a:off x="223280" y="2437815"/>
                <a:ext cx="314654" cy="438950"/>
              </a:xfrm>
              <a:custGeom>
                <a:avLst/>
                <a:gdLst>
                  <a:gd name="T0" fmla="*/ 134 w 522"/>
                  <a:gd name="T1" fmla="*/ 350 h 662"/>
                  <a:gd name="T2" fmla="*/ 134 w 522"/>
                  <a:gd name="T3" fmla="*/ 352 h 662"/>
                  <a:gd name="T4" fmla="*/ 134 w 522"/>
                  <a:gd name="T5" fmla="*/ 338 h 662"/>
                  <a:gd name="T6" fmla="*/ 146 w 522"/>
                  <a:gd name="T7" fmla="*/ 288 h 662"/>
                  <a:gd name="T8" fmla="*/ 166 w 522"/>
                  <a:gd name="T9" fmla="*/ 236 h 662"/>
                  <a:gd name="T10" fmla="*/ 188 w 522"/>
                  <a:gd name="T11" fmla="*/ 198 h 662"/>
                  <a:gd name="T12" fmla="*/ 216 w 522"/>
                  <a:gd name="T13" fmla="*/ 160 h 662"/>
                  <a:gd name="T14" fmla="*/ 260 w 522"/>
                  <a:gd name="T15" fmla="*/ 216 h 662"/>
                  <a:gd name="T16" fmla="*/ 264 w 522"/>
                  <a:gd name="T17" fmla="*/ 224 h 662"/>
                  <a:gd name="T18" fmla="*/ 278 w 522"/>
                  <a:gd name="T19" fmla="*/ 232 h 662"/>
                  <a:gd name="T20" fmla="*/ 494 w 522"/>
                  <a:gd name="T21" fmla="*/ 234 h 662"/>
                  <a:gd name="T22" fmla="*/ 504 w 522"/>
                  <a:gd name="T23" fmla="*/ 232 h 662"/>
                  <a:gd name="T24" fmla="*/ 520 w 522"/>
                  <a:gd name="T25" fmla="*/ 218 h 662"/>
                  <a:gd name="T26" fmla="*/ 522 w 522"/>
                  <a:gd name="T27" fmla="*/ 206 h 662"/>
                  <a:gd name="T28" fmla="*/ 514 w 522"/>
                  <a:gd name="T29" fmla="*/ 186 h 662"/>
                  <a:gd name="T30" fmla="*/ 494 w 522"/>
                  <a:gd name="T31" fmla="*/ 178 h 662"/>
                  <a:gd name="T32" fmla="*/ 252 w 522"/>
                  <a:gd name="T33" fmla="*/ 24 h 662"/>
                  <a:gd name="T34" fmla="*/ 248 w 522"/>
                  <a:gd name="T35" fmla="*/ 20 h 662"/>
                  <a:gd name="T36" fmla="*/ 244 w 522"/>
                  <a:gd name="T37" fmla="*/ 12 h 662"/>
                  <a:gd name="T38" fmla="*/ 240 w 522"/>
                  <a:gd name="T39" fmla="*/ 6 h 662"/>
                  <a:gd name="T40" fmla="*/ 226 w 522"/>
                  <a:gd name="T41" fmla="*/ 0 h 662"/>
                  <a:gd name="T42" fmla="*/ 212 w 522"/>
                  <a:gd name="T43" fmla="*/ 0 h 662"/>
                  <a:gd name="T44" fmla="*/ 198 w 522"/>
                  <a:gd name="T45" fmla="*/ 4 h 662"/>
                  <a:gd name="T46" fmla="*/ 192 w 522"/>
                  <a:gd name="T47" fmla="*/ 8 h 662"/>
                  <a:gd name="T48" fmla="*/ 130 w 522"/>
                  <a:gd name="T49" fmla="*/ 68 h 662"/>
                  <a:gd name="T50" fmla="*/ 84 w 522"/>
                  <a:gd name="T51" fmla="*/ 132 h 662"/>
                  <a:gd name="T52" fmla="*/ 50 w 522"/>
                  <a:gd name="T53" fmla="*/ 194 h 662"/>
                  <a:gd name="T54" fmla="*/ 26 w 522"/>
                  <a:gd name="T55" fmla="*/ 252 h 662"/>
                  <a:gd name="T56" fmla="*/ 12 w 522"/>
                  <a:gd name="T57" fmla="*/ 304 h 662"/>
                  <a:gd name="T58" fmla="*/ 0 w 522"/>
                  <a:gd name="T59" fmla="*/ 374 h 662"/>
                  <a:gd name="T60" fmla="*/ 0 w 522"/>
                  <a:gd name="T61" fmla="*/ 386 h 662"/>
                  <a:gd name="T62" fmla="*/ 2 w 522"/>
                  <a:gd name="T63" fmla="*/ 402 h 662"/>
                  <a:gd name="T64" fmla="*/ 10 w 522"/>
                  <a:gd name="T65" fmla="*/ 414 h 662"/>
                  <a:gd name="T66" fmla="*/ 16 w 522"/>
                  <a:gd name="T67" fmla="*/ 418 h 662"/>
                  <a:gd name="T68" fmla="*/ 30 w 522"/>
                  <a:gd name="T69" fmla="*/ 424 h 662"/>
                  <a:gd name="T70" fmla="*/ 250 w 522"/>
                  <a:gd name="T71" fmla="*/ 424 h 662"/>
                  <a:gd name="T72" fmla="*/ 250 w 522"/>
                  <a:gd name="T73" fmla="*/ 624 h 662"/>
                  <a:gd name="T74" fmla="*/ 252 w 522"/>
                  <a:gd name="T75" fmla="*/ 640 h 662"/>
                  <a:gd name="T76" fmla="*/ 260 w 522"/>
                  <a:gd name="T77" fmla="*/ 650 h 662"/>
                  <a:gd name="T78" fmla="*/ 272 w 522"/>
                  <a:gd name="T79" fmla="*/ 658 h 662"/>
                  <a:gd name="T80" fmla="*/ 286 w 522"/>
                  <a:gd name="T81" fmla="*/ 662 h 662"/>
                  <a:gd name="T82" fmla="*/ 294 w 522"/>
                  <a:gd name="T83" fmla="*/ 660 h 662"/>
                  <a:gd name="T84" fmla="*/ 308 w 522"/>
                  <a:gd name="T85" fmla="*/ 656 h 662"/>
                  <a:gd name="T86" fmla="*/ 318 w 522"/>
                  <a:gd name="T87" fmla="*/ 646 h 662"/>
                  <a:gd name="T88" fmla="*/ 324 w 522"/>
                  <a:gd name="T89" fmla="*/ 632 h 662"/>
                  <a:gd name="T90" fmla="*/ 324 w 522"/>
                  <a:gd name="T91" fmla="*/ 388 h 662"/>
                  <a:gd name="T92" fmla="*/ 324 w 522"/>
                  <a:gd name="T93" fmla="*/ 380 h 662"/>
                  <a:gd name="T94" fmla="*/ 318 w 522"/>
                  <a:gd name="T95" fmla="*/ 366 h 662"/>
                  <a:gd name="T96" fmla="*/ 308 w 522"/>
                  <a:gd name="T97" fmla="*/ 356 h 662"/>
                  <a:gd name="T98" fmla="*/ 294 w 522"/>
                  <a:gd name="T99" fmla="*/ 352 h 662"/>
                  <a:gd name="T100" fmla="*/ 288 w 522"/>
                  <a:gd name="T101" fmla="*/ 35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62">
                    <a:moveTo>
                      <a:pt x="288" y="350"/>
                    </a:moveTo>
                    <a:lnTo>
                      <a:pt x="134" y="350"/>
                    </a:lnTo>
                    <a:lnTo>
                      <a:pt x="134" y="350"/>
                    </a:lnTo>
                    <a:lnTo>
                      <a:pt x="134" y="352"/>
                    </a:lnTo>
                    <a:lnTo>
                      <a:pt x="132" y="350"/>
                    </a:lnTo>
                    <a:lnTo>
                      <a:pt x="134" y="338"/>
                    </a:lnTo>
                    <a:lnTo>
                      <a:pt x="138" y="316"/>
                    </a:lnTo>
                    <a:lnTo>
                      <a:pt x="146" y="288"/>
                    </a:lnTo>
                    <a:lnTo>
                      <a:pt x="158" y="254"/>
                    </a:lnTo>
                    <a:lnTo>
                      <a:pt x="166" y="236"/>
                    </a:lnTo>
                    <a:lnTo>
                      <a:pt x="176" y="216"/>
                    </a:lnTo>
                    <a:lnTo>
                      <a:pt x="188" y="198"/>
                    </a:lnTo>
                    <a:lnTo>
                      <a:pt x="202" y="178"/>
                    </a:lnTo>
                    <a:lnTo>
                      <a:pt x="216" y="160"/>
                    </a:lnTo>
                    <a:lnTo>
                      <a:pt x="234" y="142"/>
                    </a:lnTo>
                    <a:lnTo>
                      <a:pt x="260" y="216"/>
                    </a:lnTo>
                    <a:lnTo>
                      <a:pt x="260" y="216"/>
                    </a:lnTo>
                    <a:lnTo>
                      <a:pt x="264" y="224"/>
                    </a:lnTo>
                    <a:lnTo>
                      <a:pt x="272" y="230"/>
                    </a:lnTo>
                    <a:lnTo>
                      <a:pt x="278" y="232"/>
                    </a:lnTo>
                    <a:lnTo>
                      <a:pt x="288" y="234"/>
                    </a:lnTo>
                    <a:lnTo>
                      <a:pt x="494" y="234"/>
                    </a:lnTo>
                    <a:lnTo>
                      <a:pt x="494" y="234"/>
                    </a:lnTo>
                    <a:lnTo>
                      <a:pt x="504" y="232"/>
                    </a:lnTo>
                    <a:lnTo>
                      <a:pt x="514" y="226"/>
                    </a:lnTo>
                    <a:lnTo>
                      <a:pt x="520" y="218"/>
                    </a:lnTo>
                    <a:lnTo>
                      <a:pt x="522" y="206"/>
                    </a:lnTo>
                    <a:lnTo>
                      <a:pt x="522" y="206"/>
                    </a:lnTo>
                    <a:lnTo>
                      <a:pt x="520" y="196"/>
                    </a:lnTo>
                    <a:lnTo>
                      <a:pt x="514" y="186"/>
                    </a:lnTo>
                    <a:lnTo>
                      <a:pt x="504" y="180"/>
                    </a:lnTo>
                    <a:lnTo>
                      <a:pt x="494" y="178"/>
                    </a:lnTo>
                    <a:lnTo>
                      <a:pt x="306" y="178"/>
                    </a:lnTo>
                    <a:lnTo>
                      <a:pt x="252" y="24"/>
                    </a:lnTo>
                    <a:lnTo>
                      <a:pt x="252" y="24"/>
                    </a:lnTo>
                    <a:lnTo>
                      <a:pt x="248" y="20"/>
                    </a:lnTo>
                    <a:lnTo>
                      <a:pt x="248" y="20"/>
                    </a:lnTo>
                    <a:lnTo>
                      <a:pt x="244" y="12"/>
                    </a:lnTo>
                    <a:lnTo>
                      <a:pt x="244" y="12"/>
                    </a:lnTo>
                    <a:lnTo>
                      <a:pt x="240" y="6"/>
                    </a:lnTo>
                    <a:lnTo>
                      <a:pt x="232" y="2"/>
                    </a:lnTo>
                    <a:lnTo>
                      <a:pt x="226" y="0"/>
                    </a:lnTo>
                    <a:lnTo>
                      <a:pt x="220" y="0"/>
                    </a:lnTo>
                    <a:lnTo>
                      <a:pt x="212" y="0"/>
                    </a:lnTo>
                    <a:lnTo>
                      <a:pt x="206" y="0"/>
                    </a:lnTo>
                    <a:lnTo>
                      <a:pt x="198" y="4"/>
                    </a:lnTo>
                    <a:lnTo>
                      <a:pt x="192" y="8"/>
                    </a:lnTo>
                    <a:lnTo>
                      <a:pt x="192" y="8"/>
                    </a:lnTo>
                    <a:lnTo>
                      <a:pt x="160" y="38"/>
                    </a:lnTo>
                    <a:lnTo>
                      <a:pt x="130" y="68"/>
                    </a:lnTo>
                    <a:lnTo>
                      <a:pt x="106" y="100"/>
                    </a:lnTo>
                    <a:lnTo>
                      <a:pt x="84" y="132"/>
                    </a:lnTo>
                    <a:lnTo>
                      <a:pt x="66" y="164"/>
                    </a:lnTo>
                    <a:lnTo>
                      <a:pt x="50" y="194"/>
                    </a:lnTo>
                    <a:lnTo>
                      <a:pt x="36" y="224"/>
                    </a:lnTo>
                    <a:lnTo>
                      <a:pt x="26" y="252"/>
                    </a:lnTo>
                    <a:lnTo>
                      <a:pt x="18" y="280"/>
                    </a:lnTo>
                    <a:lnTo>
                      <a:pt x="12" y="304"/>
                    </a:lnTo>
                    <a:lnTo>
                      <a:pt x="4" y="346"/>
                    </a:lnTo>
                    <a:lnTo>
                      <a:pt x="0" y="374"/>
                    </a:lnTo>
                    <a:lnTo>
                      <a:pt x="0" y="386"/>
                    </a:lnTo>
                    <a:lnTo>
                      <a:pt x="0" y="386"/>
                    </a:lnTo>
                    <a:lnTo>
                      <a:pt x="0" y="394"/>
                    </a:lnTo>
                    <a:lnTo>
                      <a:pt x="2" y="402"/>
                    </a:lnTo>
                    <a:lnTo>
                      <a:pt x="6" y="408"/>
                    </a:lnTo>
                    <a:lnTo>
                      <a:pt x="10" y="414"/>
                    </a:lnTo>
                    <a:lnTo>
                      <a:pt x="10" y="414"/>
                    </a:lnTo>
                    <a:lnTo>
                      <a:pt x="16" y="418"/>
                    </a:lnTo>
                    <a:lnTo>
                      <a:pt x="22" y="422"/>
                    </a:lnTo>
                    <a:lnTo>
                      <a:pt x="30" y="424"/>
                    </a:lnTo>
                    <a:lnTo>
                      <a:pt x="38" y="424"/>
                    </a:lnTo>
                    <a:lnTo>
                      <a:pt x="250" y="424"/>
                    </a:lnTo>
                    <a:lnTo>
                      <a:pt x="250" y="624"/>
                    </a:lnTo>
                    <a:lnTo>
                      <a:pt x="250" y="624"/>
                    </a:lnTo>
                    <a:lnTo>
                      <a:pt x="250" y="632"/>
                    </a:lnTo>
                    <a:lnTo>
                      <a:pt x="252" y="640"/>
                    </a:lnTo>
                    <a:lnTo>
                      <a:pt x="256" y="646"/>
                    </a:lnTo>
                    <a:lnTo>
                      <a:pt x="260" y="650"/>
                    </a:lnTo>
                    <a:lnTo>
                      <a:pt x="266" y="656"/>
                    </a:lnTo>
                    <a:lnTo>
                      <a:pt x="272" y="658"/>
                    </a:lnTo>
                    <a:lnTo>
                      <a:pt x="280" y="660"/>
                    </a:lnTo>
                    <a:lnTo>
                      <a:pt x="286" y="662"/>
                    </a:lnTo>
                    <a:lnTo>
                      <a:pt x="286" y="662"/>
                    </a:lnTo>
                    <a:lnTo>
                      <a:pt x="294" y="660"/>
                    </a:lnTo>
                    <a:lnTo>
                      <a:pt x="302" y="658"/>
                    </a:lnTo>
                    <a:lnTo>
                      <a:pt x="308" y="656"/>
                    </a:lnTo>
                    <a:lnTo>
                      <a:pt x="314" y="650"/>
                    </a:lnTo>
                    <a:lnTo>
                      <a:pt x="318" y="646"/>
                    </a:lnTo>
                    <a:lnTo>
                      <a:pt x="322" y="640"/>
                    </a:lnTo>
                    <a:lnTo>
                      <a:pt x="324" y="632"/>
                    </a:lnTo>
                    <a:lnTo>
                      <a:pt x="324" y="624"/>
                    </a:lnTo>
                    <a:lnTo>
                      <a:pt x="324" y="388"/>
                    </a:lnTo>
                    <a:lnTo>
                      <a:pt x="324" y="388"/>
                    </a:lnTo>
                    <a:lnTo>
                      <a:pt x="324" y="380"/>
                    </a:lnTo>
                    <a:lnTo>
                      <a:pt x="322" y="372"/>
                    </a:lnTo>
                    <a:lnTo>
                      <a:pt x="318" y="366"/>
                    </a:lnTo>
                    <a:lnTo>
                      <a:pt x="314" y="362"/>
                    </a:lnTo>
                    <a:lnTo>
                      <a:pt x="308" y="356"/>
                    </a:lnTo>
                    <a:lnTo>
                      <a:pt x="302" y="354"/>
                    </a:lnTo>
                    <a:lnTo>
                      <a:pt x="294" y="352"/>
                    </a:lnTo>
                    <a:lnTo>
                      <a:pt x="288" y="350"/>
                    </a:lnTo>
                    <a:lnTo>
                      <a:pt x="288" y="35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2" name="Freeform 12"/>
              <p:cNvSpPr>
                <a:spLocks/>
              </p:cNvSpPr>
              <p:nvPr/>
            </p:nvSpPr>
            <p:spPr bwMode="auto">
              <a:xfrm>
                <a:off x="370360" y="2346312"/>
                <a:ext cx="96446" cy="107417"/>
              </a:xfrm>
              <a:custGeom>
                <a:avLst/>
                <a:gdLst>
                  <a:gd name="T0" fmla="*/ 80 w 160"/>
                  <a:gd name="T1" fmla="*/ 0 h 162"/>
                  <a:gd name="T2" fmla="*/ 80 w 160"/>
                  <a:gd name="T3" fmla="*/ 0 h 162"/>
                  <a:gd name="T4" fmla="*/ 96 w 160"/>
                  <a:gd name="T5" fmla="*/ 2 h 162"/>
                  <a:gd name="T6" fmla="*/ 112 w 160"/>
                  <a:gd name="T7" fmla="*/ 6 h 162"/>
                  <a:gd name="T8" fmla="*/ 126 w 160"/>
                  <a:gd name="T9" fmla="*/ 14 h 162"/>
                  <a:gd name="T10" fmla="*/ 138 w 160"/>
                  <a:gd name="T11" fmla="*/ 24 h 162"/>
                  <a:gd name="T12" fmla="*/ 148 w 160"/>
                  <a:gd name="T13" fmla="*/ 36 h 162"/>
                  <a:gd name="T14" fmla="*/ 154 w 160"/>
                  <a:gd name="T15" fmla="*/ 50 h 162"/>
                  <a:gd name="T16" fmla="*/ 160 w 160"/>
                  <a:gd name="T17" fmla="*/ 64 h 162"/>
                  <a:gd name="T18" fmla="*/ 160 w 160"/>
                  <a:gd name="T19" fmla="*/ 80 h 162"/>
                  <a:gd name="T20" fmla="*/ 160 w 160"/>
                  <a:gd name="T21" fmla="*/ 80 h 162"/>
                  <a:gd name="T22" fmla="*/ 160 w 160"/>
                  <a:gd name="T23" fmla="*/ 96 h 162"/>
                  <a:gd name="T24" fmla="*/ 154 w 160"/>
                  <a:gd name="T25" fmla="*/ 112 h 162"/>
                  <a:gd name="T26" fmla="*/ 148 w 160"/>
                  <a:gd name="T27" fmla="*/ 126 h 162"/>
                  <a:gd name="T28" fmla="*/ 138 w 160"/>
                  <a:gd name="T29" fmla="*/ 138 h 162"/>
                  <a:gd name="T30" fmla="*/ 126 w 160"/>
                  <a:gd name="T31" fmla="*/ 148 h 162"/>
                  <a:gd name="T32" fmla="*/ 112 w 160"/>
                  <a:gd name="T33" fmla="*/ 156 h 162"/>
                  <a:gd name="T34" fmla="*/ 96 w 160"/>
                  <a:gd name="T35" fmla="*/ 160 h 162"/>
                  <a:gd name="T36" fmla="*/ 80 w 160"/>
                  <a:gd name="T37" fmla="*/ 162 h 162"/>
                  <a:gd name="T38" fmla="*/ 80 w 160"/>
                  <a:gd name="T39" fmla="*/ 162 h 162"/>
                  <a:gd name="T40" fmla="*/ 64 w 160"/>
                  <a:gd name="T41" fmla="*/ 160 h 162"/>
                  <a:gd name="T42" fmla="*/ 48 w 160"/>
                  <a:gd name="T43" fmla="*/ 156 h 162"/>
                  <a:gd name="T44" fmla="*/ 34 w 160"/>
                  <a:gd name="T45" fmla="*/ 148 h 162"/>
                  <a:gd name="T46" fmla="*/ 22 w 160"/>
                  <a:gd name="T47" fmla="*/ 138 h 162"/>
                  <a:gd name="T48" fmla="*/ 12 w 160"/>
                  <a:gd name="T49" fmla="*/ 126 h 162"/>
                  <a:gd name="T50" fmla="*/ 6 w 160"/>
                  <a:gd name="T51" fmla="*/ 112 h 162"/>
                  <a:gd name="T52" fmla="*/ 0 w 160"/>
                  <a:gd name="T53" fmla="*/ 96 h 162"/>
                  <a:gd name="T54" fmla="*/ 0 w 160"/>
                  <a:gd name="T55" fmla="*/ 80 h 162"/>
                  <a:gd name="T56" fmla="*/ 0 w 160"/>
                  <a:gd name="T57" fmla="*/ 80 h 162"/>
                  <a:gd name="T58" fmla="*/ 0 w 160"/>
                  <a:gd name="T59" fmla="*/ 64 h 162"/>
                  <a:gd name="T60" fmla="*/ 6 w 160"/>
                  <a:gd name="T61" fmla="*/ 50 h 162"/>
                  <a:gd name="T62" fmla="*/ 12 w 160"/>
                  <a:gd name="T63" fmla="*/ 36 h 162"/>
                  <a:gd name="T64" fmla="*/ 22 w 160"/>
                  <a:gd name="T65" fmla="*/ 24 h 162"/>
                  <a:gd name="T66" fmla="*/ 34 w 160"/>
                  <a:gd name="T67" fmla="*/ 14 h 162"/>
                  <a:gd name="T68" fmla="*/ 48 w 160"/>
                  <a:gd name="T69" fmla="*/ 6 h 162"/>
                  <a:gd name="T70" fmla="*/ 64 w 160"/>
                  <a:gd name="T71" fmla="*/ 2 h 162"/>
                  <a:gd name="T72" fmla="*/ 80 w 160"/>
                  <a:gd name="T73" fmla="*/ 0 h 162"/>
                  <a:gd name="T74" fmla="*/ 80 w 160"/>
                  <a:gd name="T7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2">
                    <a:moveTo>
                      <a:pt x="80" y="0"/>
                    </a:moveTo>
                    <a:lnTo>
                      <a:pt x="80" y="0"/>
                    </a:lnTo>
                    <a:lnTo>
                      <a:pt x="96" y="2"/>
                    </a:lnTo>
                    <a:lnTo>
                      <a:pt x="112" y="6"/>
                    </a:lnTo>
                    <a:lnTo>
                      <a:pt x="126" y="14"/>
                    </a:lnTo>
                    <a:lnTo>
                      <a:pt x="138" y="24"/>
                    </a:lnTo>
                    <a:lnTo>
                      <a:pt x="148" y="36"/>
                    </a:lnTo>
                    <a:lnTo>
                      <a:pt x="154" y="50"/>
                    </a:lnTo>
                    <a:lnTo>
                      <a:pt x="160" y="64"/>
                    </a:lnTo>
                    <a:lnTo>
                      <a:pt x="160" y="80"/>
                    </a:lnTo>
                    <a:lnTo>
                      <a:pt x="160" y="80"/>
                    </a:lnTo>
                    <a:lnTo>
                      <a:pt x="160" y="96"/>
                    </a:lnTo>
                    <a:lnTo>
                      <a:pt x="154" y="112"/>
                    </a:lnTo>
                    <a:lnTo>
                      <a:pt x="148" y="126"/>
                    </a:lnTo>
                    <a:lnTo>
                      <a:pt x="138" y="138"/>
                    </a:lnTo>
                    <a:lnTo>
                      <a:pt x="126" y="148"/>
                    </a:lnTo>
                    <a:lnTo>
                      <a:pt x="112" y="156"/>
                    </a:lnTo>
                    <a:lnTo>
                      <a:pt x="96" y="160"/>
                    </a:lnTo>
                    <a:lnTo>
                      <a:pt x="80" y="162"/>
                    </a:lnTo>
                    <a:lnTo>
                      <a:pt x="80" y="162"/>
                    </a:lnTo>
                    <a:lnTo>
                      <a:pt x="64" y="160"/>
                    </a:lnTo>
                    <a:lnTo>
                      <a:pt x="48" y="156"/>
                    </a:lnTo>
                    <a:lnTo>
                      <a:pt x="34" y="148"/>
                    </a:lnTo>
                    <a:lnTo>
                      <a:pt x="22" y="138"/>
                    </a:lnTo>
                    <a:lnTo>
                      <a:pt x="12" y="126"/>
                    </a:lnTo>
                    <a:lnTo>
                      <a:pt x="6" y="112"/>
                    </a:lnTo>
                    <a:lnTo>
                      <a:pt x="0" y="96"/>
                    </a:lnTo>
                    <a:lnTo>
                      <a:pt x="0" y="80"/>
                    </a:lnTo>
                    <a:lnTo>
                      <a:pt x="0" y="80"/>
                    </a:lnTo>
                    <a:lnTo>
                      <a:pt x="0" y="64"/>
                    </a:lnTo>
                    <a:lnTo>
                      <a:pt x="6" y="50"/>
                    </a:lnTo>
                    <a:lnTo>
                      <a:pt x="12" y="36"/>
                    </a:lnTo>
                    <a:lnTo>
                      <a:pt x="22" y="24"/>
                    </a:lnTo>
                    <a:lnTo>
                      <a:pt x="34" y="14"/>
                    </a:lnTo>
                    <a:lnTo>
                      <a:pt x="48" y="6"/>
                    </a:lnTo>
                    <a:lnTo>
                      <a:pt x="64" y="2"/>
                    </a:lnTo>
                    <a:lnTo>
                      <a:pt x="80" y="0"/>
                    </a:lnTo>
                    <a:lnTo>
                      <a:pt x="8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3" name="Freeform 13"/>
              <p:cNvSpPr>
                <a:spLocks/>
              </p:cNvSpPr>
              <p:nvPr/>
            </p:nvSpPr>
            <p:spPr bwMode="auto">
              <a:xfrm>
                <a:off x="481273" y="2616843"/>
                <a:ext cx="85596" cy="25197"/>
              </a:xfrm>
              <a:custGeom>
                <a:avLst/>
                <a:gdLst>
                  <a:gd name="T0" fmla="*/ 124 w 142"/>
                  <a:gd name="T1" fmla="*/ 0 h 38"/>
                  <a:gd name="T2" fmla="*/ 18 w 142"/>
                  <a:gd name="T3" fmla="*/ 0 h 38"/>
                  <a:gd name="T4" fmla="*/ 18 w 142"/>
                  <a:gd name="T5" fmla="*/ 0 h 38"/>
                  <a:gd name="T6" fmla="*/ 10 w 142"/>
                  <a:gd name="T7" fmla="*/ 2 h 38"/>
                  <a:gd name="T8" fmla="*/ 4 w 142"/>
                  <a:gd name="T9" fmla="*/ 6 h 38"/>
                  <a:gd name="T10" fmla="*/ 0 w 142"/>
                  <a:gd name="T11" fmla="*/ 12 h 38"/>
                  <a:gd name="T12" fmla="*/ 0 w 142"/>
                  <a:gd name="T13" fmla="*/ 20 h 38"/>
                  <a:gd name="T14" fmla="*/ 0 w 142"/>
                  <a:gd name="T15" fmla="*/ 20 h 38"/>
                  <a:gd name="T16" fmla="*/ 0 w 142"/>
                  <a:gd name="T17" fmla="*/ 26 h 38"/>
                  <a:gd name="T18" fmla="*/ 4 w 142"/>
                  <a:gd name="T19" fmla="*/ 32 h 38"/>
                  <a:gd name="T20" fmla="*/ 10 w 142"/>
                  <a:gd name="T21" fmla="*/ 36 h 38"/>
                  <a:gd name="T22" fmla="*/ 18 w 142"/>
                  <a:gd name="T23" fmla="*/ 38 h 38"/>
                  <a:gd name="T24" fmla="*/ 124 w 142"/>
                  <a:gd name="T25" fmla="*/ 38 h 38"/>
                  <a:gd name="T26" fmla="*/ 124 w 142"/>
                  <a:gd name="T27" fmla="*/ 38 h 38"/>
                  <a:gd name="T28" fmla="*/ 132 w 142"/>
                  <a:gd name="T29" fmla="*/ 36 h 38"/>
                  <a:gd name="T30" fmla="*/ 138 w 142"/>
                  <a:gd name="T31" fmla="*/ 32 h 38"/>
                  <a:gd name="T32" fmla="*/ 142 w 142"/>
                  <a:gd name="T33" fmla="*/ 26 h 38"/>
                  <a:gd name="T34" fmla="*/ 142 w 142"/>
                  <a:gd name="T35" fmla="*/ 20 h 38"/>
                  <a:gd name="T36" fmla="*/ 142 w 142"/>
                  <a:gd name="T37" fmla="*/ 20 h 38"/>
                  <a:gd name="T38" fmla="*/ 142 w 142"/>
                  <a:gd name="T39" fmla="*/ 12 h 38"/>
                  <a:gd name="T40" fmla="*/ 138 w 142"/>
                  <a:gd name="T41" fmla="*/ 6 h 38"/>
                  <a:gd name="T42" fmla="*/ 132 w 142"/>
                  <a:gd name="T43" fmla="*/ 2 h 38"/>
                  <a:gd name="T44" fmla="*/ 124 w 142"/>
                  <a:gd name="T45" fmla="*/ 0 h 38"/>
                  <a:gd name="T46" fmla="*/ 124 w 142"/>
                  <a:gd name="T4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38">
                    <a:moveTo>
                      <a:pt x="124" y="0"/>
                    </a:moveTo>
                    <a:lnTo>
                      <a:pt x="18" y="0"/>
                    </a:lnTo>
                    <a:lnTo>
                      <a:pt x="18" y="0"/>
                    </a:lnTo>
                    <a:lnTo>
                      <a:pt x="10" y="2"/>
                    </a:lnTo>
                    <a:lnTo>
                      <a:pt x="4" y="6"/>
                    </a:lnTo>
                    <a:lnTo>
                      <a:pt x="0" y="12"/>
                    </a:lnTo>
                    <a:lnTo>
                      <a:pt x="0" y="20"/>
                    </a:lnTo>
                    <a:lnTo>
                      <a:pt x="0" y="20"/>
                    </a:lnTo>
                    <a:lnTo>
                      <a:pt x="0" y="26"/>
                    </a:lnTo>
                    <a:lnTo>
                      <a:pt x="4" y="32"/>
                    </a:lnTo>
                    <a:lnTo>
                      <a:pt x="10" y="36"/>
                    </a:lnTo>
                    <a:lnTo>
                      <a:pt x="18" y="38"/>
                    </a:lnTo>
                    <a:lnTo>
                      <a:pt x="124" y="38"/>
                    </a:lnTo>
                    <a:lnTo>
                      <a:pt x="124" y="38"/>
                    </a:lnTo>
                    <a:lnTo>
                      <a:pt x="132" y="36"/>
                    </a:lnTo>
                    <a:lnTo>
                      <a:pt x="138" y="32"/>
                    </a:lnTo>
                    <a:lnTo>
                      <a:pt x="142" y="26"/>
                    </a:lnTo>
                    <a:lnTo>
                      <a:pt x="142" y="20"/>
                    </a:lnTo>
                    <a:lnTo>
                      <a:pt x="142" y="20"/>
                    </a:lnTo>
                    <a:lnTo>
                      <a:pt x="142" y="12"/>
                    </a:lnTo>
                    <a:lnTo>
                      <a:pt x="138" y="6"/>
                    </a:lnTo>
                    <a:lnTo>
                      <a:pt x="132" y="2"/>
                    </a:lnTo>
                    <a:lnTo>
                      <a:pt x="124" y="0"/>
                    </a:lnTo>
                    <a:lnTo>
                      <a:pt x="124"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4" name="Freeform 14"/>
              <p:cNvSpPr>
                <a:spLocks/>
              </p:cNvSpPr>
              <p:nvPr/>
            </p:nvSpPr>
            <p:spPr bwMode="auto">
              <a:xfrm>
                <a:off x="568074" y="2392727"/>
                <a:ext cx="103679" cy="249313"/>
              </a:xfrm>
              <a:custGeom>
                <a:avLst/>
                <a:gdLst>
                  <a:gd name="T0" fmla="*/ 96 w 172"/>
                  <a:gd name="T1" fmla="*/ 224 h 376"/>
                  <a:gd name="T2" fmla="*/ 96 w 172"/>
                  <a:gd name="T3" fmla="*/ 224 h 376"/>
                  <a:gd name="T4" fmla="*/ 94 w 172"/>
                  <a:gd name="T5" fmla="*/ 220 h 376"/>
                  <a:gd name="T6" fmla="*/ 88 w 172"/>
                  <a:gd name="T7" fmla="*/ 218 h 376"/>
                  <a:gd name="T8" fmla="*/ 172 w 172"/>
                  <a:gd name="T9" fmla="*/ 22 h 376"/>
                  <a:gd name="T10" fmla="*/ 122 w 172"/>
                  <a:gd name="T11" fmla="*/ 0 h 376"/>
                  <a:gd name="T12" fmla="*/ 0 w 172"/>
                  <a:gd name="T13" fmla="*/ 282 h 376"/>
                  <a:gd name="T14" fmla="*/ 52 w 172"/>
                  <a:gd name="T15" fmla="*/ 304 h 376"/>
                  <a:gd name="T16" fmla="*/ 72 w 172"/>
                  <a:gd name="T17" fmla="*/ 258 h 376"/>
                  <a:gd name="T18" fmla="*/ 110 w 172"/>
                  <a:gd name="T19" fmla="*/ 338 h 376"/>
                  <a:gd name="T20" fmla="*/ 54 w 172"/>
                  <a:gd name="T21" fmla="*/ 338 h 376"/>
                  <a:gd name="T22" fmla="*/ 54 w 172"/>
                  <a:gd name="T23" fmla="*/ 338 h 376"/>
                  <a:gd name="T24" fmla="*/ 46 w 172"/>
                  <a:gd name="T25" fmla="*/ 340 h 376"/>
                  <a:gd name="T26" fmla="*/ 40 w 172"/>
                  <a:gd name="T27" fmla="*/ 344 h 376"/>
                  <a:gd name="T28" fmla="*/ 38 w 172"/>
                  <a:gd name="T29" fmla="*/ 350 h 376"/>
                  <a:gd name="T30" fmla="*/ 36 w 172"/>
                  <a:gd name="T31" fmla="*/ 358 h 376"/>
                  <a:gd name="T32" fmla="*/ 36 w 172"/>
                  <a:gd name="T33" fmla="*/ 358 h 376"/>
                  <a:gd name="T34" fmla="*/ 38 w 172"/>
                  <a:gd name="T35" fmla="*/ 364 h 376"/>
                  <a:gd name="T36" fmla="*/ 40 w 172"/>
                  <a:gd name="T37" fmla="*/ 370 h 376"/>
                  <a:gd name="T38" fmla="*/ 46 w 172"/>
                  <a:gd name="T39" fmla="*/ 374 h 376"/>
                  <a:gd name="T40" fmla="*/ 54 w 172"/>
                  <a:gd name="T41" fmla="*/ 376 h 376"/>
                  <a:gd name="T42" fmla="*/ 140 w 172"/>
                  <a:gd name="T43" fmla="*/ 376 h 376"/>
                  <a:gd name="T44" fmla="*/ 140 w 172"/>
                  <a:gd name="T45" fmla="*/ 376 h 376"/>
                  <a:gd name="T46" fmla="*/ 148 w 172"/>
                  <a:gd name="T47" fmla="*/ 374 h 376"/>
                  <a:gd name="T48" fmla="*/ 156 w 172"/>
                  <a:gd name="T49" fmla="*/ 368 h 376"/>
                  <a:gd name="T50" fmla="*/ 156 w 172"/>
                  <a:gd name="T51" fmla="*/ 368 h 376"/>
                  <a:gd name="T52" fmla="*/ 158 w 172"/>
                  <a:gd name="T53" fmla="*/ 358 h 376"/>
                  <a:gd name="T54" fmla="*/ 156 w 172"/>
                  <a:gd name="T55" fmla="*/ 350 h 376"/>
                  <a:gd name="T56" fmla="*/ 96 w 172"/>
                  <a:gd name="T57" fmla="*/ 22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2" h="376">
                    <a:moveTo>
                      <a:pt x="96" y="224"/>
                    </a:moveTo>
                    <a:lnTo>
                      <a:pt x="96" y="224"/>
                    </a:lnTo>
                    <a:lnTo>
                      <a:pt x="94" y="220"/>
                    </a:lnTo>
                    <a:lnTo>
                      <a:pt x="88" y="218"/>
                    </a:lnTo>
                    <a:lnTo>
                      <a:pt x="172" y="22"/>
                    </a:lnTo>
                    <a:lnTo>
                      <a:pt x="122" y="0"/>
                    </a:lnTo>
                    <a:lnTo>
                      <a:pt x="0" y="282"/>
                    </a:lnTo>
                    <a:lnTo>
                      <a:pt x="52" y="304"/>
                    </a:lnTo>
                    <a:lnTo>
                      <a:pt x="72" y="258"/>
                    </a:lnTo>
                    <a:lnTo>
                      <a:pt x="110" y="338"/>
                    </a:lnTo>
                    <a:lnTo>
                      <a:pt x="54" y="338"/>
                    </a:lnTo>
                    <a:lnTo>
                      <a:pt x="54" y="338"/>
                    </a:lnTo>
                    <a:lnTo>
                      <a:pt x="46" y="340"/>
                    </a:lnTo>
                    <a:lnTo>
                      <a:pt x="40" y="344"/>
                    </a:lnTo>
                    <a:lnTo>
                      <a:pt x="38" y="350"/>
                    </a:lnTo>
                    <a:lnTo>
                      <a:pt x="36" y="358"/>
                    </a:lnTo>
                    <a:lnTo>
                      <a:pt x="36" y="358"/>
                    </a:lnTo>
                    <a:lnTo>
                      <a:pt x="38" y="364"/>
                    </a:lnTo>
                    <a:lnTo>
                      <a:pt x="40" y="370"/>
                    </a:lnTo>
                    <a:lnTo>
                      <a:pt x="46" y="374"/>
                    </a:lnTo>
                    <a:lnTo>
                      <a:pt x="54" y="376"/>
                    </a:lnTo>
                    <a:lnTo>
                      <a:pt x="140" y="376"/>
                    </a:lnTo>
                    <a:lnTo>
                      <a:pt x="140" y="376"/>
                    </a:lnTo>
                    <a:lnTo>
                      <a:pt x="148" y="374"/>
                    </a:lnTo>
                    <a:lnTo>
                      <a:pt x="156" y="368"/>
                    </a:lnTo>
                    <a:lnTo>
                      <a:pt x="156" y="368"/>
                    </a:lnTo>
                    <a:lnTo>
                      <a:pt x="158" y="358"/>
                    </a:lnTo>
                    <a:lnTo>
                      <a:pt x="156" y="350"/>
                    </a:lnTo>
                    <a:lnTo>
                      <a:pt x="96" y="22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5" name="Rectangle 704"/>
              <p:cNvSpPr/>
              <p:nvPr/>
            </p:nvSpPr>
            <p:spPr bwMode="auto">
              <a:xfrm>
                <a:off x="446928" y="2662225"/>
                <a:ext cx="221285" cy="17071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566" name="Group 565"/>
            <p:cNvGrpSpPr/>
            <p:nvPr/>
          </p:nvGrpSpPr>
          <p:grpSpPr>
            <a:xfrm rot="13971796">
              <a:off x="10451149" y="4189402"/>
              <a:ext cx="98573" cy="145820"/>
              <a:chOff x="2687372" y="3149601"/>
              <a:chExt cx="81465" cy="132564"/>
            </a:xfrm>
            <a:solidFill>
              <a:schemeClr val="accent1"/>
            </a:solidFill>
          </p:grpSpPr>
          <p:sp>
            <p:nvSpPr>
              <p:cNvPr id="567"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8"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6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0"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1"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nvGrpSpPr>
          <p:cNvPr id="15" name="Group 14"/>
          <p:cNvGrpSpPr/>
          <p:nvPr/>
        </p:nvGrpSpPr>
        <p:grpSpPr>
          <a:xfrm>
            <a:off x="10093918" y="5589819"/>
            <a:ext cx="452098" cy="692072"/>
            <a:chOff x="10091765" y="5589819"/>
            <a:chExt cx="452098" cy="692072"/>
          </a:xfrm>
        </p:grpSpPr>
        <p:grpSp>
          <p:nvGrpSpPr>
            <p:cNvPr id="773" name="Group 772"/>
            <p:cNvGrpSpPr/>
            <p:nvPr/>
          </p:nvGrpSpPr>
          <p:grpSpPr>
            <a:xfrm>
              <a:off x="10167849" y="5589819"/>
              <a:ext cx="376014" cy="692072"/>
              <a:chOff x="226212" y="3840074"/>
              <a:chExt cx="376014" cy="692072"/>
            </a:xfrm>
            <a:solidFill>
              <a:schemeClr val="bg1"/>
            </a:solidFill>
          </p:grpSpPr>
          <p:sp>
            <p:nvSpPr>
              <p:cNvPr id="774" name="Freeform 39"/>
              <p:cNvSpPr>
                <a:spLocks/>
              </p:cNvSpPr>
              <p:nvPr/>
            </p:nvSpPr>
            <p:spPr bwMode="auto">
              <a:xfrm>
                <a:off x="401567" y="3840074"/>
                <a:ext cx="140058" cy="80264"/>
              </a:xfrm>
              <a:custGeom>
                <a:avLst/>
                <a:gdLst>
                  <a:gd name="T0" fmla="*/ 837 w 869"/>
                  <a:gd name="T1" fmla="*/ 357 h 498"/>
                  <a:gd name="T2" fmla="*/ 830 w 869"/>
                  <a:gd name="T3" fmla="*/ 285 h 498"/>
                  <a:gd name="T4" fmla="*/ 807 w 869"/>
                  <a:gd name="T5" fmla="*/ 218 h 498"/>
                  <a:gd name="T6" fmla="*/ 774 w 869"/>
                  <a:gd name="T7" fmla="*/ 158 h 498"/>
                  <a:gd name="T8" fmla="*/ 729 w 869"/>
                  <a:gd name="T9" fmla="*/ 103 h 498"/>
                  <a:gd name="T10" fmla="*/ 676 w 869"/>
                  <a:gd name="T11" fmla="*/ 60 h 498"/>
                  <a:gd name="T12" fmla="*/ 614 w 869"/>
                  <a:gd name="T13" fmla="*/ 28 h 498"/>
                  <a:gd name="T14" fmla="*/ 546 w 869"/>
                  <a:gd name="T15" fmla="*/ 8 h 498"/>
                  <a:gd name="T16" fmla="*/ 473 w 869"/>
                  <a:gd name="T17" fmla="*/ 0 h 498"/>
                  <a:gd name="T18" fmla="*/ 437 w 869"/>
                  <a:gd name="T19" fmla="*/ 2 h 498"/>
                  <a:gd name="T20" fmla="*/ 370 w 869"/>
                  <a:gd name="T21" fmla="*/ 15 h 498"/>
                  <a:gd name="T22" fmla="*/ 306 w 869"/>
                  <a:gd name="T23" fmla="*/ 39 h 498"/>
                  <a:gd name="T24" fmla="*/ 250 w 869"/>
                  <a:gd name="T25" fmla="*/ 77 h 498"/>
                  <a:gd name="T26" fmla="*/ 201 w 869"/>
                  <a:gd name="T27" fmla="*/ 122 h 498"/>
                  <a:gd name="T28" fmla="*/ 161 w 869"/>
                  <a:gd name="T29" fmla="*/ 177 h 498"/>
                  <a:gd name="T30" fmla="*/ 131 w 869"/>
                  <a:gd name="T31" fmla="*/ 239 h 498"/>
                  <a:gd name="T32" fmla="*/ 113 w 869"/>
                  <a:gd name="T33" fmla="*/ 304 h 498"/>
                  <a:gd name="T34" fmla="*/ 79 w 869"/>
                  <a:gd name="T35" fmla="*/ 340 h 498"/>
                  <a:gd name="T36" fmla="*/ 64 w 869"/>
                  <a:gd name="T37" fmla="*/ 342 h 498"/>
                  <a:gd name="T38" fmla="*/ 36 w 869"/>
                  <a:gd name="T39" fmla="*/ 353 h 498"/>
                  <a:gd name="T40" fmla="*/ 13 w 869"/>
                  <a:gd name="T41" fmla="*/ 376 h 498"/>
                  <a:gd name="T42" fmla="*/ 2 w 869"/>
                  <a:gd name="T43" fmla="*/ 404 h 498"/>
                  <a:gd name="T44" fmla="*/ 0 w 869"/>
                  <a:gd name="T45" fmla="*/ 419 h 498"/>
                  <a:gd name="T46" fmla="*/ 5 w 869"/>
                  <a:gd name="T47" fmla="*/ 449 h 498"/>
                  <a:gd name="T48" fmla="*/ 22 w 869"/>
                  <a:gd name="T49" fmla="*/ 475 h 498"/>
                  <a:gd name="T50" fmla="*/ 49 w 869"/>
                  <a:gd name="T51" fmla="*/ 492 h 498"/>
                  <a:gd name="T52" fmla="*/ 79 w 869"/>
                  <a:gd name="T53" fmla="*/ 498 h 498"/>
                  <a:gd name="T54" fmla="*/ 791 w 869"/>
                  <a:gd name="T55" fmla="*/ 498 h 498"/>
                  <a:gd name="T56" fmla="*/ 821 w 869"/>
                  <a:gd name="T57" fmla="*/ 492 h 498"/>
                  <a:gd name="T58" fmla="*/ 845 w 869"/>
                  <a:gd name="T59" fmla="*/ 475 h 498"/>
                  <a:gd name="T60" fmla="*/ 862 w 869"/>
                  <a:gd name="T61" fmla="*/ 449 h 498"/>
                  <a:gd name="T62" fmla="*/ 869 w 869"/>
                  <a:gd name="T63" fmla="*/ 419 h 498"/>
                  <a:gd name="T64" fmla="*/ 868 w 869"/>
                  <a:gd name="T65" fmla="*/ 400 h 498"/>
                  <a:gd name="T66" fmla="*/ 851 w 869"/>
                  <a:gd name="T67" fmla="*/ 370 h 498"/>
                  <a:gd name="T68" fmla="*/ 837 w 869"/>
                  <a:gd name="T69" fmla="*/ 35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9" h="498">
                    <a:moveTo>
                      <a:pt x="837" y="357"/>
                    </a:moveTo>
                    <a:lnTo>
                      <a:pt x="837" y="357"/>
                    </a:lnTo>
                    <a:lnTo>
                      <a:pt x="836" y="321"/>
                    </a:lnTo>
                    <a:lnTo>
                      <a:pt x="830" y="285"/>
                    </a:lnTo>
                    <a:lnTo>
                      <a:pt x="821" y="250"/>
                    </a:lnTo>
                    <a:lnTo>
                      <a:pt x="807" y="218"/>
                    </a:lnTo>
                    <a:lnTo>
                      <a:pt x="792" y="186"/>
                    </a:lnTo>
                    <a:lnTo>
                      <a:pt x="774" y="158"/>
                    </a:lnTo>
                    <a:lnTo>
                      <a:pt x="753" y="130"/>
                    </a:lnTo>
                    <a:lnTo>
                      <a:pt x="729" y="103"/>
                    </a:lnTo>
                    <a:lnTo>
                      <a:pt x="702" y="81"/>
                    </a:lnTo>
                    <a:lnTo>
                      <a:pt x="676" y="60"/>
                    </a:lnTo>
                    <a:lnTo>
                      <a:pt x="646" y="43"/>
                    </a:lnTo>
                    <a:lnTo>
                      <a:pt x="614" y="28"/>
                    </a:lnTo>
                    <a:lnTo>
                      <a:pt x="580" y="15"/>
                    </a:lnTo>
                    <a:lnTo>
                      <a:pt x="546" y="8"/>
                    </a:lnTo>
                    <a:lnTo>
                      <a:pt x="511" y="2"/>
                    </a:lnTo>
                    <a:lnTo>
                      <a:pt x="473" y="0"/>
                    </a:lnTo>
                    <a:lnTo>
                      <a:pt x="473" y="0"/>
                    </a:lnTo>
                    <a:lnTo>
                      <a:pt x="437" y="2"/>
                    </a:lnTo>
                    <a:lnTo>
                      <a:pt x="404" y="6"/>
                    </a:lnTo>
                    <a:lnTo>
                      <a:pt x="370" y="15"/>
                    </a:lnTo>
                    <a:lnTo>
                      <a:pt x="336" y="26"/>
                    </a:lnTo>
                    <a:lnTo>
                      <a:pt x="306" y="39"/>
                    </a:lnTo>
                    <a:lnTo>
                      <a:pt x="276" y="56"/>
                    </a:lnTo>
                    <a:lnTo>
                      <a:pt x="250" y="77"/>
                    </a:lnTo>
                    <a:lnTo>
                      <a:pt x="223" y="98"/>
                    </a:lnTo>
                    <a:lnTo>
                      <a:pt x="201" y="122"/>
                    </a:lnTo>
                    <a:lnTo>
                      <a:pt x="178" y="148"/>
                    </a:lnTo>
                    <a:lnTo>
                      <a:pt x="161" y="177"/>
                    </a:lnTo>
                    <a:lnTo>
                      <a:pt x="144" y="207"/>
                    </a:lnTo>
                    <a:lnTo>
                      <a:pt x="131" y="239"/>
                    </a:lnTo>
                    <a:lnTo>
                      <a:pt x="120" y="270"/>
                    </a:lnTo>
                    <a:lnTo>
                      <a:pt x="113" y="304"/>
                    </a:lnTo>
                    <a:lnTo>
                      <a:pt x="109" y="340"/>
                    </a:lnTo>
                    <a:lnTo>
                      <a:pt x="79" y="340"/>
                    </a:lnTo>
                    <a:lnTo>
                      <a:pt x="79" y="340"/>
                    </a:lnTo>
                    <a:lnTo>
                      <a:pt x="64" y="342"/>
                    </a:lnTo>
                    <a:lnTo>
                      <a:pt x="49" y="346"/>
                    </a:lnTo>
                    <a:lnTo>
                      <a:pt x="36" y="353"/>
                    </a:lnTo>
                    <a:lnTo>
                      <a:pt x="22" y="363"/>
                    </a:lnTo>
                    <a:lnTo>
                      <a:pt x="13" y="376"/>
                    </a:lnTo>
                    <a:lnTo>
                      <a:pt x="5" y="389"/>
                    </a:lnTo>
                    <a:lnTo>
                      <a:pt x="2" y="404"/>
                    </a:lnTo>
                    <a:lnTo>
                      <a:pt x="0" y="419"/>
                    </a:lnTo>
                    <a:lnTo>
                      <a:pt x="0" y="419"/>
                    </a:lnTo>
                    <a:lnTo>
                      <a:pt x="2" y="436"/>
                    </a:lnTo>
                    <a:lnTo>
                      <a:pt x="5" y="449"/>
                    </a:lnTo>
                    <a:lnTo>
                      <a:pt x="13" y="464"/>
                    </a:lnTo>
                    <a:lnTo>
                      <a:pt x="22" y="475"/>
                    </a:lnTo>
                    <a:lnTo>
                      <a:pt x="36" y="485"/>
                    </a:lnTo>
                    <a:lnTo>
                      <a:pt x="49" y="492"/>
                    </a:lnTo>
                    <a:lnTo>
                      <a:pt x="64" y="496"/>
                    </a:lnTo>
                    <a:lnTo>
                      <a:pt x="79" y="498"/>
                    </a:lnTo>
                    <a:lnTo>
                      <a:pt x="791" y="498"/>
                    </a:lnTo>
                    <a:lnTo>
                      <a:pt x="791" y="498"/>
                    </a:lnTo>
                    <a:lnTo>
                      <a:pt x="806" y="496"/>
                    </a:lnTo>
                    <a:lnTo>
                      <a:pt x="821" y="492"/>
                    </a:lnTo>
                    <a:lnTo>
                      <a:pt x="834" y="485"/>
                    </a:lnTo>
                    <a:lnTo>
                      <a:pt x="845" y="475"/>
                    </a:lnTo>
                    <a:lnTo>
                      <a:pt x="856" y="464"/>
                    </a:lnTo>
                    <a:lnTo>
                      <a:pt x="862" y="449"/>
                    </a:lnTo>
                    <a:lnTo>
                      <a:pt x="868" y="436"/>
                    </a:lnTo>
                    <a:lnTo>
                      <a:pt x="869" y="419"/>
                    </a:lnTo>
                    <a:lnTo>
                      <a:pt x="869" y="419"/>
                    </a:lnTo>
                    <a:lnTo>
                      <a:pt x="868" y="400"/>
                    </a:lnTo>
                    <a:lnTo>
                      <a:pt x="860" y="383"/>
                    </a:lnTo>
                    <a:lnTo>
                      <a:pt x="851" y="370"/>
                    </a:lnTo>
                    <a:lnTo>
                      <a:pt x="837" y="357"/>
                    </a:lnTo>
                    <a:lnTo>
                      <a:pt x="837" y="35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5" name="Freeform 40"/>
              <p:cNvSpPr>
                <a:spLocks/>
              </p:cNvSpPr>
              <p:nvPr/>
            </p:nvSpPr>
            <p:spPr bwMode="auto">
              <a:xfrm>
                <a:off x="427838" y="3931136"/>
                <a:ext cx="102989" cy="63018"/>
              </a:xfrm>
              <a:custGeom>
                <a:avLst/>
                <a:gdLst>
                  <a:gd name="T0" fmla="*/ 8 w 639"/>
                  <a:gd name="T1" fmla="*/ 0 h 391"/>
                  <a:gd name="T2" fmla="*/ 8 w 639"/>
                  <a:gd name="T3" fmla="*/ 0 h 391"/>
                  <a:gd name="T4" fmla="*/ 4 w 639"/>
                  <a:gd name="T5" fmla="*/ 23 h 391"/>
                  <a:gd name="T6" fmla="*/ 0 w 639"/>
                  <a:gd name="T7" fmla="*/ 44 h 391"/>
                  <a:gd name="T8" fmla="*/ 0 w 639"/>
                  <a:gd name="T9" fmla="*/ 66 h 391"/>
                  <a:gd name="T10" fmla="*/ 0 w 639"/>
                  <a:gd name="T11" fmla="*/ 89 h 391"/>
                  <a:gd name="T12" fmla="*/ 0 w 639"/>
                  <a:gd name="T13" fmla="*/ 109 h 391"/>
                  <a:gd name="T14" fmla="*/ 4 w 639"/>
                  <a:gd name="T15" fmla="*/ 132 h 391"/>
                  <a:gd name="T16" fmla="*/ 8 w 639"/>
                  <a:gd name="T17" fmla="*/ 152 h 391"/>
                  <a:gd name="T18" fmla="*/ 13 w 639"/>
                  <a:gd name="T19" fmla="*/ 173 h 391"/>
                  <a:gd name="T20" fmla="*/ 19 w 639"/>
                  <a:gd name="T21" fmla="*/ 194 h 391"/>
                  <a:gd name="T22" fmla="*/ 27 w 639"/>
                  <a:gd name="T23" fmla="*/ 214 h 391"/>
                  <a:gd name="T24" fmla="*/ 38 w 639"/>
                  <a:gd name="T25" fmla="*/ 233 h 391"/>
                  <a:gd name="T26" fmla="*/ 47 w 639"/>
                  <a:gd name="T27" fmla="*/ 252 h 391"/>
                  <a:gd name="T28" fmla="*/ 60 w 639"/>
                  <a:gd name="T29" fmla="*/ 271 h 391"/>
                  <a:gd name="T30" fmla="*/ 73 w 639"/>
                  <a:gd name="T31" fmla="*/ 288 h 391"/>
                  <a:gd name="T32" fmla="*/ 90 w 639"/>
                  <a:gd name="T33" fmla="*/ 303 h 391"/>
                  <a:gd name="T34" fmla="*/ 107 w 639"/>
                  <a:gd name="T35" fmla="*/ 318 h 391"/>
                  <a:gd name="T36" fmla="*/ 107 w 639"/>
                  <a:gd name="T37" fmla="*/ 318 h 391"/>
                  <a:gd name="T38" fmla="*/ 122 w 639"/>
                  <a:gd name="T39" fmla="*/ 333 h 391"/>
                  <a:gd name="T40" fmla="*/ 141 w 639"/>
                  <a:gd name="T41" fmla="*/ 344 h 391"/>
                  <a:gd name="T42" fmla="*/ 160 w 639"/>
                  <a:gd name="T43" fmla="*/ 355 h 391"/>
                  <a:gd name="T44" fmla="*/ 179 w 639"/>
                  <a:gd name="T45" fmla="*/ 365 h 391"/>
                  <a:gd name="T46" fmla="*/ 197 w 639"/>
                  <a:gd name="T47" fmla="*/ 372 h 391"/>
                  <a:gd name="T48" fmla="*/ 216 w 639"/>
                  <a:gd name="T49" fmla="*/ 380 h 391"/>
                  <a:gd name="T50" fmla="*/ 237 w 639"/>
                  <a:gd name="T51" fmla="*/ 384 h 391"/>
                  <a:gd name="T52" fmla="*/ 258 w 639"/>
                  <a:gd name="T53" fmla="*/ 387 h 391"/>
                  <a:gd name="T54" fmla="*/ 278 w 639"/>
                  <a:gd name="T55" fmla="*/ 391 h 391"/>
                  <a:gd name="T56" fmla="*/ 299 w 639"/>
                  <a:gd name="T57" fmla="*/ 391 h 391"/>
                  <a:gd name="T58" fmla="*/ 321 w 639"/>
                  <a:gd name="T59" fmla="*/ 391 h 391"/>
                  <a:gd name="T60" fmla="*/ 342 w 639"/>
                  <a:gd name="T61" fmla="*/ 389 h 391"/>
                  <a:gd name="T62" fmla="*/ 363 w 639"/>
                  <a:gd name="T63" fmla="*/ 387 h 391"/>
                  <a:gd name="T64" fmla="*/ 383 w 639"/>
                  <a:gd name="T65" fmla="*/ 384 h 391"/>
                  <a:gd name="T66" fmla="*/ 404 w 639"/>
                  <a:gd name="T67" fmla="*/ 378 h 391"/>
                  <a:gd name="T68" fmla="*/ 423 w 639"/>
                  <a:gd name="T69" fmla="*/ 370 h 391"/>
                  <a:gd name="T70" fmla="*/ 443 w 639"/>
                  <a:gd name="T71" fmla="*/ 363 h 391"/>
                  <a:gd name="T72" fmla="*/ 462 w 639"/>
                  <a:gd name="T73" fmla="*/ 355 h 391"/>
                  <a:gd name="T74" fmla="*/ 481 w 639"/>
                  <a:gd name="T75" fmla="*/ 344 h 391"/>
                  <a:gd name="T76" fmla="*/ 498 w 639"/>
                  <a:gd name="T77" fmla="*/ 335 h 391"/>
                  <a:gd name="T78" fmla="*/ 515 w 639"/>
                  <a:gd name="T79" fmla="*/ 322 h 391"/>
                  <a:gd name="T80" fmla="*/ 532 w 639"/>
                  <a:gd name="T81" fmla="*/ 308 h 391"/>
                  <a:gd name="T82" fmla="*/ 547 w 639"/>
                  <a:gd name="T83" fmla="*/ 295 h 391"/>
                  <a:gd name="T84" fmla="*/ 562 w 639"/>
                  <a:gd name="T85" fmla="*/ 280 h 391"/>
                  <a:gd name="T86" fmla="*/ 575 w 639"/>
                  <a:gd name="T87" fmla="*/ 263 h 391"/>
                  <a:gd name="T88" fmla="*/ 586 w 639"/>
                  <a:gd name="T89" fmla="*/ 248 h 391"/>
                  <a:gd name="T90" fmla="*/ 597 w 639"/>
                  <a:gd name="T91" fmla="*/ 230 h 391"/>
                  <a:gd name="T92" fmla="*/ 607 w 639"/>
                  <a:gd name="T93" fmla="*/ 211 h 391"/>
                  <a:gd name="T94" fmla="*/ 616 w 639"/>
                  <a:gd name="T95" fmla="*/ 192 h 391"/>
                  <a:gd name="T96" fmla="*/ 622 w 639"/>
                  <a:gd name="T97" fmla="*/ 171 h 391"/>
                  <a:gd name="T98" fmla="*/ 628 w 639"/>
                  <a:gd name="T99" fmla="*/ 151 h 391"/>
                  <a:gd name="T100" fmla="*/ 631 w 639"/>
                  <a:gd name="T101" fmla="*/ 128 h 391"/>
                  <a:gd name="T102" fmla="*/ 631 w 639"/>
                  <a:gd name="T103" fmla="*/ 128 h 391"/>
                  <a:gd name="T104" fmla="*/ 637 w 639"/>
                  <a:gd name="T105" fmla="*/ 96 h 391"/>
                  <a:gd name="T106" fmla="*/ 639 w 639"/>
                  <a:gd name="T107" fmla="*/ 64 h 391"/>
                  <a:gd name="T108" fmla="*/ 635 w 639"/>
                  <a:gd name="T109" fmla="*/ 32 h 391"/>
                  <a:gd name="T110" fmla="*/ 629 w 639"/>
                  <a:gd name="T111" fmla="*/ 0 h 391"/>
                  <a:gd name="T112" fmla="*/ 8 w 639"/>
                  <a:gd name="T11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9" h="391">
                    <a:moveTo>
                      <a:pt x="8" y="0"/>
                    </a:moveTo>
                    <a:lnTo>
                      <a:pt x="8" y="0"/>
                    </a:lnTo>
                    <a:lnTo>
                      <a:pt x="4" y="23"/>
                    </a:lnTo>
                    <a:lnTo>
                      <a:pt x="0" y="44"/>
                    </a:lnTo>
                    <a:lnTo>
                      <a:pt x="0" y="66"/>
                    </a:lnTo>
                    <a:lnTo>
                      <a:pt x="0" y="89"/>
                    </a:lnTo>
                    <a:lnTo>
                      <a:pt x="0" y="109"/>
                    </a:lnTo>
                    <a:lnTo>
                      <a:pt x="4" y="132"/>
                    </a:lnTo>
                    <a:lnTo>
                      <a:pt x="8" y="152"/>
                    </a:lnTo>
                    <a:lnTo>
                      <a:pt x="13" y="173"/>
                    </a:lnTo>
                    <a:lnTo>
                      <a:pt x="19" y="194"/>
                    </a:lnTo>
                    <a:lnTo>
                      <a:pt x="27" y="214"/>
                    </a:lnTo>
                    <a:lnTo>
                      <a:pt x="38" y="233"/>
                    </a:lnTo>
                    <a:lnTo>
                      <a:pt x="47" y="252"/>
                    </a:lnTo>
                    <a:lnTo>
                      <a:pt x="60" y="271"/>
                    </a:lnTo>
                    <a:lnTo>
                      <a:pt x="73" y="288"/>
                    </a:lnTo>
                    <a:lnTo>
                      <a:pt x="90" y="303"/>
                    </a:lnTo>
                    <a:lnTo>
                      <a:pt x="107" y="318"/>
                    </a:lnTo>
                    <a:lnTo>
                      <a:pt x="107" y="318"/>
                    </a:lnTo>
                    <a:lnTo>
                      <a:pt x="122" y="333"/>
                    </a:lnTo>
                    <a:lnTo>
                      <a:pt x="141" y="344"/>
                    </a:lnTo>
                    <a:lnTo>
                      <a:pt x="160" y="355"/>
                    </a:lnTo>
                    <a:lnTo>
                      <a:pt x="179" y="365"/>
                    </a:lnTo>
                    <a:lnTo>
                      <a:pt x="197" y="372"/>
                    </a:lnTo>
                    <a:lnTo>
                      <a:pt x="216" y="380"/>
                    </a:lnTo>
                    <a:lnTo>
                      <a:pt x="237" y="384"/>
                    </a:lnTo>
                    <a:lnTo>
                      <a:pt x="258" y="387"/>
                    </a:lnTo>
                    <a:lnTo>
                      <a:pt x="278" y="391"/>
                    </a:lnTo>
                    <a:lnTo>
                      <a:pt x="299" y="391"/>
                    </a:lnTo>
                    <a:lnTo>
                      <a:pt x="321" y="391"/>
                    </a:lnTo>
                    <a:lnTo>
                      <a:pt x="342" y="389"/>
                    </a:lnTo>
                    <a:lnTo>
                      <a:pt x="363" y="387"/>
                    </a:lnTo>
                    <a:lnTo>
                      <a:pt x="383" y="384"/>
                    </a:lnTo>
                    <a:lnTo>
                      <a:pt x="404" y="378"/>
                    </a:lnTo>
                    <a:lnTo>
                      <a:pt x="423" y="370"/>
                    </a:lnTo>
                    <a:lnTo>
                      <a:pt x="443" y="363"/>
                    </a:lnTo>
                    <a:lnTo>
                      <a:pt x="462" y="355"/>
                    </a:lnTo>
                    <a:lnTo>
                      <a:pt x="481" y="344"/>
                    </a:lnTo>
                    <a:lnTo>
                      <a:pt x="498" y="335"/>
                    </a:lnTo>
                    <a:lnTo>
                      <a:pt x="515" y="322"/>
                    </a:lnTo>
                    <a:lnTo>
                      <a:pt x="532" y="308"/>
                    </a:lnTo>
                    <a:lnTo>
                      <a:pt x="547" y="295"/>
                    </a:lnTo>
                    <a:lnTo>
                      <a:pt x="562" y="280"/>
                    </a:lnTo>
                    <a:lnTo>
                      <a:pt x="575" y="263"/>
                    </a:lnTo>
                    <a:lnTo>
                      <a:pt x="586" y="248"/>
                    </a:lnTo>
                    <a:lnTo>
                      <a:pt x="597" y="230"/>
                    </a:lnTo>
                    <a:lnTo>
                      <a:pt x="607" y="211"/>
                    </a:lnTo>
                    <a:lnTo>
                      <a:pt x="616" y="192"/>
                    </a:lnTo>
                    <a:lnTo>
                      <a:pt x="622" y="171"/>
                    </a:lnTo>
                    <a:lnTo>
                      <a:pt x="628" y="151"/>
                    </a:lnTo>
                    <a:lnTo>
                      <a:pt x="631" y="128"/>
                    </a:lnTo>
                    <a:lnTo>
                      <a:pt x="631" y="128"/>
                    </a:lnTo>
                    <a:lnTo>
                      <a:pt x="637" y="96"/>
                    </a:lnTo>
                    <a:lnTo>
                      <a:pt x="639" y="64"/>
                    </a:lnTo>
                    <a:lnTo>
                      <a:pt x="635" y="32"/>
                    </a:lnTo>
                    <a:lnTo>
                      <a:pt x="629" y="0"/>
                    </a:lnTo>
                    <a:lnTo>
                      <a:pt x="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0" name="Freeform 41"/>
              <p:cNvSpPr>
                <a:spLocks/>
              </p:cNvSpPr>
              <p:nvPr/>
            </p:nvSpPr>
            <p:spPr bwMode="auto">
              <a:xfrm>
                <a:off x="226212" y="4011722"/>
                <a:ext cx="376014" cy="520424"/>
              </a:xfrm>
              <a:custGeom>
                <a:avLst/>
                <a:gdLst>
                  <a:gd name="T0" fmla="*/ 2329 w 2333"/>
                  <a:gd name="T1" fmla="*/ 391 h 3229"/>
                  <a:gd name="T2" fmla="*/ 2299 w 2333"/>
                  <a:gd name="T3" fmla="*/ 254 h 3229"/>
                  <a:gd name="T4" fmla="*/ 2239 w 2333"/>
                  <a:gd name="T5" fmla="*/ 131 h 3229"/>
                  <a:gd name="T6" fmla="*/ 2153 w 2333"/>
                  <a:gd name="T7" fmla="*/ 54 h 3229"/>
                  <a:gd name="T8" fmla="*/ 2087 w 2333"/>
                  <a:gd name="T9" fmla="*/ 30 h 3229"/>
                  <a:gd name="T10" fmla="*/ 1974 w 2333"/>
                  <a:gd name="T11" fmla="*/ 11 h 3229"/>
                  <a:gd name="T12" fmla="*/ 1685 w 2333"/>
                  <a:gd name="T13" fmla="*/ 0 h 3229"/>
                  <a:gd name="T14" fmla="*/ 1300 w 2333"/>
                  <a:gd name="T15" fmla="*/ 4 h 3229"/>
                  <a:gd name="T16" fmla="*/ 1193 w 2333"/>
                  <a:gd name="T17" fmla="*/ 36 h 3229"/>
                  <a:gd name="T18" fmla="*/ 1101 w 2333"/>
                  <a:gd name="T19" fmla="*/ 88 h 3229"/>
                  <a:gd name="T20" fmla="*/ 986 w 2333"/>
                  <a:gd name="T21" fmla="*/ 201 h 3229"/>
                  <a:gd name="T22" fmla="*/ 829 w 2333"/>
                  <a:gd name="T23" fmla="*/ 430 h 3229"/>
                  <a:gd name="T24" fmla="*/ 705 w 2333"/>
                  <a:gd name="T25" fmla="*/ 609 h 3229"/>
                  <a:gd name="T26" fmla="*/ 564 w 2333"/>
                  <a:gd name="T27" fmla="*/ 624 h 3229"/>
                  <a:gd name="T28" fmla="*/ 147 w 2333"/>
                  <a:gd name="T29" fmla="*/ 637 h 3229"/>
                  <a:gd name="T30" fmla="*/ 100 w 2333"/>
                  <a:gd name="T31" fmla="*/ 639 h 3229"/>
                  <a:gd name="T32" fmla="*/ 53 w 2333"/>
                  <a:gd name="T33" fmla="*/ 665 h 3229"/>
                  <a:gd name="T34" fmla="*/ 15 w 2333"/>
                  <a:gd name="T35" fmla="*/ 716 h 3229"/>
                  <a:gd name="T36" fmla="*/ 2 w 2333"/>
                  <a:gd name="T37" fmla="*/ 778 h 3229"/>
                  <a:gd name="T38" fmla="*/ 10 w 2333"/>
                  <a:gd name="T39" fmla="*/ 847 h 3229"/>
                  <a:gd name="T40" fmla="*/ 44 w 2333"/>
                  <a:gd name="T41" fmla="*/ 896 h 3229"/>
                  <a:gd name="T42" fmla="*/ 107 w 2333"/>
                  <a:gd name="T43" fmla="*/ 924 h 3229"/>
                  <a:gd name="T44" fmla="*/ 333 w 2333"/>
                  <a:gd name="T45" fmla="*/ 928 h 3229"/>
                  <a:gd name="T46" fmla="*/ 840 w 2333"/>
                  <a:gd name="T47" fmla="*/ 911 h 3229"/>
                  <a:gd name="T48" fmla="*/ 932 w 2333"/>
                  <a:gd name="T49" fmla="*/ 821 h 3229"/>
                  <a:gd name="T50" fmla="*/ 1039 w 2333"/>
                  <a:gd name="T51" fmla="*/ 659 h 3229"/>
                  <a:gd name="T52" fmla="*/ 1152 w 2333"/>
                  <a:gd name="T53" fmla="*/ 501 h 3229"/>
                  <a:gd name="T54" fmla="*/ 1152 w 2333"/>
                  <a:gd name="T55" fmla="*/ 3018 h 3229"/>
                  <a:gd name="T56" fmla="*/ 1152 w 2333"/>
                  <a:gd name="T57" fmla="*/ 3075 h 3229"/>
                  <a:gd name="T58" fmla="*/ 1172 w 2333"/>
                  <a:gd name="T59" fmla="*/ 3146 h 3229"/>
                  <a:gd name="T60" fmla="*/ 1216 w 2333"/>
                  <a:gd name="T61" fmla="*/ 3202 h 3229"/>
                  <a:gd name="T62" fmla="*/ 1283 w 2333"/>
                  <a:gd name="T63" fmla="*/ 3227 h 3229"/>
                  <a:gd name="T64" fmla="*/ 1343 w 2333"/>
                  <a:gd name="T65" fmla="*/ 3229 h 3229"/>
                  <a:gd name="T66" fmla="*/ 1415 w 2333"/>
                  <a:gd name="T67" fmla="*/ 3208 h 3229"/>
                  <a:gd name="T68" fmla="*/ 1471 w 2333"/>
                  <a:gd name="T69" fmla="*/ 3161 h 3229"/>
                  <a:gd name="T70" fmla="*/ 1503 w 2333"/>
                  <a:gd name="T71" fmla="*/ 3095 h 3229"/>
                  <a:gd name="T72" fmla="*/ 1507 w 2333"/>
                  <a:gd name="T73" fmla="*/ 2314 h 3229"/>
                  <a:gd name="T74" fmla="*/ 1604 w 2333"/>
                  <a:gd name="T75" fmla="*/ 1572 h 3229"/>
                  <a:gd name="T76" fmla="*/ 1606 w 2333"/>
                  <a:gd name="T77" fmla="*/ 2712 h 3229"/>
                  <a:gd name="T78" fmla="*/ 1610 w 2333"/>
                  <a:gd name="T79" fmla="*/ 3110 h 3229"/>
                  <a:gd name="T80" fmla="*/ 1631 w 2333"/>
                  <a:gd name="T81" fmla="*/ 3170 h 3229"/>
                  <a:gd name="T82" fmla="*/ 1678 w 2333"/>
                  <a:gd name="T83" fmla="*/ 3210 h 3229"/>
                  <a:gd name="T84" fmla="*/ 1741 w 2333"/>
                  <a:gd name="T85" fmla="*/ 3227 h 3229"/>
                  <a:gd name="T86" fmla="*/ 1790 w 2333"/>
                  <a:gd name="T87" fmla="*/ 3227 h 3229"/>
                  <a:gd name="T88" fmla="*/ 1862 w 2333"/>
                  <a:gd name="T89" fmla="*/ 3208 h 3229"/>
                  <a:gd name="T90" fmla="*/ 1916 w 2333"/>
                  <a:gd name="T91" fmla="*/ 3159 h 3229"/>
                  <a:gd name="T92" fmla="*/ 1948 w 2333"/>
                  <a:gd name="T93" fmla="*/ 3093 h 3229"/>
                  <a:gd name="T94" fmla="*/ 1961 w 2333"/>
                  <a:gd name="T95" fmla="*/ 3022 h 3229"/>
                  <a:gd name="T96" fmla="*/ 1961 w 2333"/>
                  <a:gd name="T97" fmla="*/ 524 h 3229"/>
                  <a:gd name="T98" fmla="*/ 2061 w 2333"/>
                  <a:gd name="T99" fmla="*/ 982 h 3229"/>
                  <a:gd name="T100" fmla="*/ 2063 w 2333"/>
                  <a:gd name="T101" fmla="*/ 1439 h 3229"/>
                  <a:gd name="T102" fmla="*/ 2083 w 2333"/>
                  <a:gd name="T103" fmla="*/ 1521 h 3229"/>
                  <a:gd name="T104" fmla="*/ 2113 w 2333"/>
                  <a:gd name="T105" fmla="*/ 1553 h 3229"/>
                  <a:gd name="T106" fmla="*/ 2158 w 2333"/>
                  <a:gd name="T107" fmla="*/ 1572 h 3229"/>
                  <a:gd name="T108" fmla="*/ 2207 w 2333"/>
                  <a:gd name="T109" fmla="*/ 1578 h 3229"/>
                  <a:gd name="T110" fmla="*/ 2267 w 2333"/>
                  <a:gd name="T111" fmla="*/ 1555 h 3229"/>
                  <a:gd name="T112" fmla="*/ 2309 w 2333"/>
                  <a:gd name="T113" fmla="*/ 1503 h 3229"/>
                  <a:gd name="T114" fmla="*/ 2329 w 2333"/>
                  <a:gd name="T115" fmla="*/ 1437 h 3229"/>
                  <a:gd name="T116" fmla="*/ 2333 w 2333"/>
                  <a:gd name="T117" fmla="*/ 932 h 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3" h="3229">
                    <a:moveTo>
                      <a:pt x="2333" y="456"/>
                    </a:moveTo>
                    <a:lnTo>
                      <a:pt x="2333" y="456"/>
                    </a:lnTo>
                    <a:lnTo>
                      <a:pt x="2331" y="424"/>
                    </a:lnTo>
                    <a:lnTo>
                      <a:pt x="2329" y="391"/>
                    </a:lnTo>
                    <a:lnTo>
                      <a:pt x="2324" y="355"/>
                    </a:lnTo>
                    <a:lnTo>
                      <a:pt x="2318" y="321"/>
                    </a:lnTo>
                    <a:lnTo>
                      <a:pt x="2310" y="287"/>
                    </a:lnTo>
                    <a:lnTo>
                      <a:pt x="2299" y="254"/>
                    </a:lnTo>
                    <a:lnTo>
                      <a:pt x="2288" y="222"/>
                    </a:lnTo>
                    <a:lnTo>
                      <a:pt x="2275" y="190"/>
                    </a:lnTo>
                    <a:lnTo>
                      <a:pt x="2258" y="160"/>
                    </a:lnTo>
                    <a:lnTo>
                      <a:pt x="2239" y="131"/>
                    </a:lnTo>
                    <a:lnTo>
                      <a:pt x="2218" y="107"/>
                    </a:lnTo>
                    <a:lnTo>
                      <a:pt x="2194" y="84"/>
                    </a:lnTo>
                    <a:lnTo>
                      <a:pt x="2168" y="64"/>
                    </a:lnTo>
                    <a:lnTo>
                      <a:pt x="2153" y="54"/>
                    </a:lnTo>
                    <a:lnTo>
                      <a:pt x="2138" y="47"/>
                    </a:lnTo>
                    <a:lnTo>
                      <a:pt x="2121" y="39"/>
                    </a:lnTo>
                    <a:lnTo>
                      <a:pt x="2104" y="34"/>
                    </a:lnTo>
                    <a:lnTo>
                      <a:pt x="2087" y="30"/>
                    </a:lnTo>
                    <a:lnTo>
                      <a:pt x="2068" y="24"/>
                    </a:lnTo>
                    <a:lnTo>
                      <a:pt x="2068" y="24"/>
                    </a:lnTo>
                    <a:lnTo>
                      <a:pt x="2021" y="17"/>
                    </a:lnTo>
                    <a:lnTo>
                      <a:pt x="1974" y="11"/>
                    </a:lnTo>
                    <a:lnTo>
                      <a:pt x="1925" y="6"/>
                    </a:lnTo>
                    <a:lnTo>
                      <a:pt x="1879" y="4"/>
                    </a:lnTo>
                    <a:lnTo>
                      <a:pt x="1783" y="0"/>
                    </a:lnTo>
                    <a:lnTo>
                      <a:pt x="1685" y="0"/>
                    </a:lnTo>
                    <a:lnTo>
                      <a:pt x="1493" y="4"/>
                    </a:lnTo>
                    <a:lnTo>
                      <a:pt x="1396" y="6"/>
                    </a:lnTo>
                    <a:lnTo>
                      <a:pt x="1300" y="4"/>
                    </a:lnTo>
                    <a:lnTo>
                      <a:pt x="1300" y="4"/>
                    </a:lnTo>
                    <a:lnTo>
                      <a:pt x="1272" y="9"/>
                    </a:lnTo>
                    <a:lnTo>
                      <a:pt x="1244" y="17"/>
                    </a:lnTo>
                    <a:lnTo>
                      <a:pt x="1217" y="24"/>
                    </a:lnTo>
                    <a:lnTo>
                      <a:pt x="1193" y="36"/>
                    </a:lnTo>
                    <a:lnTo>
                      <a:pt x="1169" y="47"/>
                    </a:lnTo>
                    <a:lnTo>
                      <a:pt x="1144" y="60"/>
                    </a:lnTo>
                    <a:lnTo>
                      <a:pt x="1122" y="73"/>
                    </a:lnTo>
                    <a:lnTo>
                      <a:pt x="1101" y="88"/>
                    </a:lnTo>
                    <a:lnTo>
                      <a:pt x="1080" y="105"/>
                    </a:lnTo>
                    <a:lnTo>
                      <a:pt x="1060" y="122"/>
                    </a:lnTo>
                    <a:lnTo>
                      <a:pt x="1022" y="160"/>
                    </a:lnTo>
                    <a:lnTo>
                      <a:pt x="986" y="201"/>
                    </a:lnTo>
                    <a:lnTo>
                      <a:pt x="953" y="242"/>
                    </a:lnTo>
                    <a:lnTo>
                      <a:pt x="919" y="289"/>
                    </a:lnTo>
                    <a:lnTo>
                      <a:pt x="889" y="334"/>
                    </a:lnTo>
                    <a:lnTo>
                      <a:pt x="829" y="430"/>
                    </a:lnTo>
                    <a:lnTo>
                      <a:pt x="799" y="475"/>
                    </a:lnTo>
                    <a:lnTo>
                      <a:pt x="769" y="522"/>
                    </a:lnTo>
                    <a:lnTo>
                      <a:pt x="737" y="565"/>
                    </a:lnTo>
                    <a:lnTo>
                      <a:pt x="705" y="609"/>
                    </a:lnTo>
                    <a:lnTo>
                      <a:pt x="705" y="609"/>
                    </a:lnTo>
                    <a:lnTo>
                      <a:pt x="658" y="616"/>
                    </a:lnTo>
                    <a:lnTo>
                      <a:pt x="611" y="622"/>
                    </a:lnTo>
                    <a:lnTo>
                      <a:pt x="564" y="624"/>
                    </a:lnTo>
                    <a:lnTo>
                      <a:pt x="515" y="624"/>
                    </a:lnTo>
                    <a:lnTo>
                      <a:pt x="566" y="764"/>
                    </a:lnTo>
                    <a:lnTo>
                      <a:pt x="250" y="883"/>
                    </a:lnTo>
                    <a:lnTo>
                      <a:pt x="147" y="637"/>
                    </a:lnTo>
                    <a:lnTo>
                      <a:pt x="147" y="637"/>
                    </a:lnTo>
                    <a:lnTo>
                      <a:pt x="134" y="635"/>
                    </a:lnTo>
                    <a:lnTo>
                      <a:pt x="119" y="635"/>
                    </a:lnTo>
                    <a:lnTo>
                      <a:pt x="100" y="639"/>
                    </a:lnTo>
                    <a:lnTo>
                      <a:pt x="81" y="644"/>
                    </a:lnTo>
                    <a:lnTo>
                      <a:pt x="72" y="650"/>
                    </a:lnTo>
                    <a:lnTo>
                      <a:pt x="62" y="655"/>
                    </a:lnTo>
                    <a:lnTo>
                      <a:pt x="53" y="665"/>
                    </a:lnTo>
                    <a:lnTo>
                      <a:pt x="42" y="674"/>
                    </a:lnTo>
                    <a:lnTo>
                      <a:pt x="32" y="686"/>
                    </a:lnTo>
                    <a:lnTo>
                      <a:pt x="23" y="701"/>
                    </a:lnTo>
                    <a:lnTo>
                      <a:pt x="15" y="716"/>
                    </a:lnTo>
                    <a:lnTo>
                      <a:pt x="6" y="734"/>
                    </a:lnTo>
                    <a:lnTo>
                      <a:pt x="6" y="734"/>
                    </a:lnTo>
                    <a:lnTo>
                      <a:pt x="2" y="757"/>
                    </a:lnTo>
                    <a:lnTo>
                      <a:pt x="2" y="778"/>
                    </a:lnTo>
                    <a:lnTo>
                      <a:pt x="0" y="798"/>
                    </a:lnTo>
                    <a:lnTo>
                      <a:pt x="2" y="815"/>
                    </a:lnTo>
                    <a:lnTo>
                      <a:pt x="6" y="832"/>
                    </a:lnTo>
                    <a:lnTo>
                      <a:pt x="10" y="847"/>
                    </a:lnTo>
                    <a:lnTo>
                      <a:pt x="15" y="862"/>
                    </a:lnTo>
                    <a:lnTo>
                      <a:pt x="23" y="875"/>
                    </a:lnTo>
                    <a:lnTo>
                      <a:pt x="32" y="887"/>
                    </a:lnTo>
                    <a:lnTo>
                      <a:pt x="44" y="896"/>
                    </a:lnTo>
                    <a:lnTo>
                      <a:pt x="57" y="905"/>
                    </a:lnTo>
                    <a:lnTo>
                      <a:pt x="72" y="913"/>
                    </a:lnTo>
                    <a:lnTo>
                      <a:pt x="89" y="918"/>
                    </a:lnTo>
                    <a:lnTo>
                      <a:pt x="107" y="924"/>
                    </a:lnTo>
                    <a:lnTo>
                      <a:pt x="128" y="928"/>
                    </a:lnTo>
                    <a:lnTo>
                      <a:pt x="153" y="930"/>
                    </a:lnTo>
                    <a:lnTo>
                      <a:pt x="153" y="930"/>
                    </a:lnTo>
                    <a:lnTo>
                      <a:pt x="333" y="928"/>
                    </a:lnTo>
                    <a:lnTo>
                      <a:pt x="500" y="924"/>
                    </a:lnTo>
                    <a:lnTo>
                      <a:pt x="665" y="918"/>
                    </a:lnTo>
                    <a:lnTo>
                      <a:pt x="840" y="911"/>
                    </a:lnTo>
                    <a:lnTo>
                      <a:pt x="840" y="911"/>
                    </a:lnTo>
                    <a:lnTo>
                      <a:pt x="864" y="890"/>
                    </a:lnTo>
                    <a:lnTo>
                      <a:pt x="889" y="868"/>
                    </a:lnTo>
                    <a:lnTo>
                      <a:pt x="909" y="845"/>
                    </a:lnTo>
                    <a:lnTo>
                      <a:pt x="932" y="821"/>
                    </a:lnTo>
                    <a:lnTo>
                      <a:pt x="951" y="794"/>
                    </a:lnTo>
                    <a:lnTo>
                      <a:pt x="970" y="768"/>
                    </a:lnTo>
                    <a:lnTo>
                      <a:pt x="1005" y="716"/>
                    </a:lnTo>
                    <a:lnTo>
                      <a:pt x="1039" y="659"/>
                    </a:lnTo>
                    <a:lnTo>
                      <a:pt x="1075" y="605"/>
                    </a:lnTo>
                    <a:lnTo>
                      <a:pt x="1112" y="550"/>
                    </a:lnTo>
                    <a:lnTo>
                      <a:pt x="1131" y="526"/>
                    </a:lnTo>
                    <a:lnTo>
                      <a:pt x="1152" y="501"/>
                    </a:lnTo>
                    <a:lnTo>
                      <a:pt x="1152" y="501"/>
                    </a:lnTo>
                    <a:lnTo>
                      <a:pt x="1152" y="1131"/>
                    </a:lnTo>
                    <a:lnTo>
                      <a:pt x="1152" y="1760"/>
                    </a:lnTo>
                    <a:lnTo>
                      <a:pt x="1152" y="3018"/>
                    </a:lnTo>
                    <a:lnTo>
                      <a:pt x="1152" y="3018"/>
                    </a:lnTo>
                    <a:lnTo>
                      <a:pt x="1150" y="3037"/>
                    </a:lnTo>
                    <a:lnTo>
                      <a:pt x="1150" y="3056"/>
                    </a:lnTo>
                    <a:lnTo>
                      <a:pt x="1152" y="3075"/>
                    </a:lnTo>
                    <a:lnTo>
                      <a:pt x="1155" y="3093"/>
                    </a:lnTo>
                    <a:lnTo>
                      <a:pt x="1159" y="3110"/>
                    </a:lnTo>
                    <a:lnTo>
                      <a:pt x="1165" y="3129"/>
                    </a:lnTo>
                    <a:lnTo>
                      <a:pt x="1172" y="3146"/>
                    </a:lnTo>
                    <a:lnTo>
                      <a:pt x="1182" y="3163"/>
                    </a:lnTo>
                    <a:lnTo>
                      <a:pt x="1191" y="3178"/>
                    </a:lnTo>
                    <a:lnTo>
                      <a:pt x="1202" y="3191"/>
                    </a:lnTo>
                    <a:lnTo>
                      <a:pt x="1216" y="3202"/>
                    </a:lnTo>
                    <a:lnTo>
                      <a:pt x="1231" y="3212"/>
                    </a:lnTo>
                    <a:lnTo>
                      <a:pt x="1247" y="3219"/>
                    </a:lnTo>
                    <a:lnTo>
                      <a:pt x="1264" y="3225"/>
                    </a:lnTo>
                    <a:lnTo>
                      <a:pt x="1283" y="3227"/>
                    </a:lnTo>
                    <a:lnTo>
                      <a:pt x="1304" y="3227"/>
                    </a:lnTo>
                    <a:lnTo>
                      <a:pt x="1304" y="3227"/>
                    </a:lnTo>
                    <a:lnTo>
                      <a:pt x="1323" y="3229"/>
                    </a:lnTo>
                    <a:lnTo>
                      <a:pt x="1343" y="3229"/>
                    </a:lnTo>
                    <a:lnTo>
                      <a:pt x="1362" y="3227"/>
                    </a:lnTo>
                    <a:lnTo>
                      <a:pt x="1379" y="3223"/>
                    </a:lnTo>
                    <a:lnTo>
                      <a:pt x="1398" y="3216"/>
                    </a:lnTo>
                    <a:lnTo>
                      <a:pt x="1415" y="3208"/>
                    </a:lnTo>
                    <a:lnTo>
                      <a:pt x="1430" y="3199"/>
                    </a:lnTo>
                    <a:lnTo>
                      <a:pt x="1445" y="3187"/>
                    </a:lnTo>
                    <a:lnTo>
                      <a:pt x="1458" y="3176"/>
                    </a:lnTo>
                    <a:lnTo>
                      <a:pt x="1471" y="3161"/>
                    </a:lnTo>
                    <a:lnTo>
                      <a:pt x="1480" y="3146"/>
                    </a:lnTo>
                    <a:lnTo>
                      <a:pt x="1490" y="3131"/>
                    </a:lnTo>
                    <a:lnTo>
                      <a:pt x="1497" y="3114"/>
                    </a:lnTo>
                    <a:lnTo>
                      <a:pt x="1503" y="3095"/>
                    </a:lnTo>
                    <a:lnTo>
                      <a:pt x="1505" y="3077"/>
                    </a:lnTo>
                    <a:lnTo>
                      <a:pt x="1507" y="3056"/>
                    </a:lnTo>
                    <a:lnTo>
                      <a:pt x="1507" y="3056"/>
                    </a:lnTo>
                    <a:lnTo>
                      <a:pt x="1507" y="2314"/>
                    </a:lnTo>
                    <a:lnTo>
                      <a:pt x="1507" y="1572"/>
                    </a:lnTo>
                    <a:lnTo>
                      <a:pt x="1507" y="1572"/>
                    </a:lnTo>
                    <a:lnTo>
                      <a:pt x="1604" y="1572"/>
                    </a:lnTo>
                    <a:lnTo>
                      <a:pt x="1604" y="1572"/>
                    </a:lnTo>
                    <a:lnTo>
                      <a:pt x="1606" y="1762"/>
                    </a:lnTo>
                    <a:lnTo>
                      <a:pt x="1606" y="1953"/>
                    </a:lnTo>
                    <a:lnTo>
                      <a:pt x="1606" y="2333"/>
                    </a:lnTo>
                    <a:lnTo>
                      <a:pt x="1606" y="2712"/>
                    </a:lnTo>
                    <a:lnTo>
                      <a:pt x="1606" y="2902"/>
                    </a:lnTo>
                    <a:lnTo>
                      <a:pt x="1610" y="3092"/>
                    </a:lnTo>
                    <a:lnTo>
                      <a:pt x="1610" y="3092"/>
                    </a:lnTo>
                    <a:lnTo>
                      <a:pt x="1610" y="3110"/>
                    </a:lnTo>
                    <a:lnTo>
                      <a:pt x="1612" y="3127"/>
                    </a:lnTo>
                    <a:lnTo>
                      <a:pt x="1616" y="3142"/>
                    </a:lnTo>
                    <a:lnTo>
                      <a:pt x="1621" y="3157"/>
                    </a:lnTo>
                    <a:lnTo>
                      <a:pt x="1631" y="3170"/>
                    </a:lnTo>
                    <a:lnTo>
                      <a:pt x="1640" y="3182"/>
                    </a:lnTo>
                    <a:lnTo>
                      <a:pt x="1651" y="3193"/>
                    </a:lnTo>
                    <a:lnTo>
                      <a:pt x="1664" y="3201"/>
                    </a:lnTo>
                    <a:lnTo>
                      <a:pt x="1678" y="3210"/>
                    </a:lnTo>
                    <a:lnTo>
                      <a:pt x="1693" y="3216"/>
                    </a:lnTo>
                    <a:lnTo>
                      <a:pt x="1708" y="3221"/>
                    </a:lnTo>
                    <a:lnTo>
                      <a:pt x="1724" y="3225"/>
                    </a:lnTo>
                    <a:lnTo>
                      <a:pt x="1741" y="3227"/>
                    </a:lnTo>
                    <a:lnTo>
                      <a:pt x="1758" y="3229"/>
                    </a:lnTo>
                    <a:lnTo>
                      <a:pt x="1775" y="3229"/>
                    </a:lnTo>
                    <a:lnTo>
                      <a:pt x="1790" y="3227"/>
                    </a:lnTo>
                    <a:lnTo>
                      <a:pt x="1790" y="3227"/>
                    </a:lnTo>
                    <a:lnTo>
                      <a:pt x="1811" y="3225"/>
                    </a:lnTo>
                    <a:lnTo>
                      <a:pt x="1828" y="3221"/>
                    </a:lnTo>
                    <a:lnTo>
                      <a:pt x="1847" y="3216"/>
                    </a:lnTo>
                    <a:lnTo>
                      <a:pt x="1862" y="3208"/>
                    </a:lnTo>
                    <a:lnTo>
                      <a:pt x="1877" y="3199"/>
                    </a:lnTo>
                    <a:lnTo>
                      <a:pt x="1892" y="3187"/>
                    </a:lnTo>
                    <a:lnTo>
                      <a:pt x="1903" y="3174"/>
                    </a:lnTo>
                    <a:lnTo>
                      <a:pt x="1916" y="3159"/>
                    </a:lnTo>
                    <a:lnTo>
                      <a:pt x="1925" y="3144"/>
                    </a:lnTo>
                    <a:lnTo>
                      <a:pt x="1935" y="3129"/>
                    </a:lnTo>
                    <a:lnTo>
                      <a:pt x="1942" y="3112"/>
                    </a:lnTo>
                    <a:lnTo>
                      <a:pt x="1948" y="3093"/>
                    </a:lnTo>
                    <a:lnTo>
                      <a:pt x="1954" y="3077"/>
                    </a:lnTo>
                    <a:lnTo>
                      <a:pt x="1957" y="3058"/>
                    </a:lnTo>
                    <a:lnTo>
                      <a:pt x="1959" y="3039"/>
                    </a:lnTo>
                    <a:lnTo>
                      <a:pt x="1961" y="3022"/>
                    </a:lnTo>
                    <a:lnTo>
                      <a:pt x="1961" y="3022"/>
                    </a:lnTo>
                    <a:lnTo>
                      <a:pt x="1961" y="1773"/>
                    </a:lnTo>
                    <a:lnTo>
                      <a:pt x="1961" y="524"/>
                    </a:lnTo>
                    <a:lnTo>
                      <a:pt x="1961" y="524"/>
                    </a:lnTo>
                    <a:lnTo>
                      <a:pt x="2059" y="526"/>
                    </a:lnTo>
                    <a:lnTo>
                      <a:pt x="2059" y="526"/>
                    </a:lnTo>
                    <a:lnTo>
                      <a:pt x="2061" y="755"/>
                    </a:lnTo>
                    <a:lnTo>
                      <a:pt x="2061" y="982"/>
                    </a:lnTo>
                    <a:lnTo>
                      <a:pt x="2061" y="1211"/>
                    </a:lnTo>
                    <a:lnTo>
                      <a:pt x="2061" y="1326"/>
                    </a:lnTo>
                    <a:lnTo>
                      <a:pt x="2063" y="1439"/>
                    </a:lnTo>
                    <a:lnTo>
                      <a:pt x="2063" y="1439"/>
                    </a:lnTo>
                    <a:lnTo>
                      <a:pt x="2064" y="1465"/>
                    </a:lnTo>
                    <a:lnTo>
                      <a:pt x="2068" y="1488"/>
                    </a:lnTo>
                    <a:lnTo>
                      <a:pt x="2078" y="1510"/>
                    </a:lnTo>
                    <a:lnTo>
                      <a:pt x="2083" y="1521"/>
                    </a:lnTo>
                    <a:lnTo>
                      <a:pt x="2089" y="1531"/>
                    </a:lnTo>
                    <a:lnTo>
                      <a:pt x="2096" y="1538"/>
                    </a:lnTo>
                    <a:lnTo>
                      <a:pt x="2104" y="1548"/>
                    </a:lnTo>
                    <a:lnTo>
                      <a:pt x="2113" y="1553"/>
                    </a:lnTo>
                    <a:lnTo>
                      <a:pt x="2125" y="1561"/>
                    </a:lnTo>
                    <a:lnTo>
                      <a:pt x="2134" y="1565"/>
                    </a:lnTo>
                    <a:lnTo>
                      <a:pt x="2147" y="1568"/>
                    </a:lnTo>
                    <a:lnTo>
                      <a:pt x="2158" y="1572"/>
                    </a:lnTo>
                    <a:lnTo>
                      <a:pt x="2171" y="1572"/>
                    </a:lnTo>
                    <a:lnTo>
                      <a:pt x="2171" y="1572"/>
                    </a:lnTo>
                    <a:lnTo>
                      <a:pt x="2190" y="1576"/>
                    </a:lnTo>
                    <a:lnTo>
                      <a:pt x="2207" y="1578"/>
                    </a:lnTo>
                    <a:lnTo>
                      <a:pt x="2224" y="1576"/>
                    </a:lnTo>
                    <a:lnTo>
                      <a:pt x="2239" y="1572"/>
                    </a:lnTo>
                    <a:lnTo>
                      <a:pt x="2254" y="1565"/>
                    </a:lnTo>
                    <a:lnTo>
                      <a:pt x="2267" y="1555"/>
                    </a:lnTo>
                    <a:lnTo>
                      <a:pt x="2279" y="1546"/>
                    </a:lnTo>
                    <a:lnTo>
                      <a:pt x="2290" y="1533"/>
                    </a:lnTo>
                    <a:lnTo>
                      <a:pt x="2299" y="1518"/>
                    </a:lnTo>
                    <a:lnTo>
                      <a:pt x="2309" y="1503"/>
                    </a:lnTo>
                    <a:lnTo>
                      <a:pt x="2316" y="1488"/>
                    </a:lnTo>
                    <a:lnTo>
                      <a:pt x="2322" y="1471"/>
                    </a:lnTo>
                    <a:lnTo>
                      <a:pt x="2325" y="1454"/>
                    </a:lnTo>
                    <a:lnTo>
                      <a:pt x="2329" y="1437"/>
                    </a:lnTo>
                    <a:lnTo>
                      <a:pt x="2331" y="1422"/>
                    </a:lnTo>
                    <a:lnTo>
                      <a:pt x="2331" y="1405"/>
                    </a:lnTo>
                    <a:lnTo>
                      <a:pt x="2331" y="1405"/>
                    </a:lnTo>
                    <a:lnTo>
                      <a:pt x="2333" y="932"/>
                    </a:lnTo>
                    <a:lnTo>
                      <a:pt x="2333" y="456"/>
                    </a:lnTo>
                    <a:lnTo>
                      <a:pt x="2333" y="45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5" name="Freeform 42"/>
              <p:cNvSpPr>
                <a:spLocks/>
              </p:cNvSpPr>
              <p:nvPr/>
            </p:nvSpPr>
            <p:spPr bwMode="auto">
              <a:xfrm>
                <a:off x="241685" y="4057495"/>
                <a:ext cx="68982" cy="89612"/>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6" name="Freeform 43"/>
              <p:cNvSpPr>
                <a:spLocks/>
              </p:cNvSpPr>
              <p:nvPr/>
            </p:nvSpPr>
            <p:spPr bwMode="auto">
              <a:xfrm>
                <a:off x="254095" y="4069905"/>
                <a:ext cx="44000" cy="64791"/>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rgbClr val="2550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573" name="Group 572"/>
            <p:cNvGrpSpPr/>
            <p:nvPr/>
          </p:nvGrpSpPr>
          <p:grpSpPr>
            <a:xfrm rot="13290159">
              <a:off x="10091765" y="5672530"/>
              <a:ext cx="89612" cy="132564"/>
              <a:chOff x="2687372" y="3149601"/>
              <a:chExt cx="81465" cy="132564"/>
            </a:xfrm>
            <a:solidFill>
              <a:schemeClr val="accent1"/>
            </a:solidFill>
          </p:grpSpPr>
          <p:sp>
            <p:nvSpPr>
              <p:cNvPr id="57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7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8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371" name="Rectangle 370"/>
          <p:cNvSpPr/>
          <p:nvPr/>
        </p:nvSpPr>
        <p:spPr bwMode="auto">
          <a:xfrm>
            <a:off x="7247454" y="1876901"/>
            <a:ext cx="2614536" cy="2656133"/>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182" name="Group 1181"/>
          <p:cNvGrpSpPr/>
          <p:nvPr/>
        </p:nvGrpSpPr>
        <p:grpSpPr>
          <a:xfrm>
            <a:off x="7286327" y="1921476"/>
            <a:ext cx="2544755" cy="2588250"/>
            <a:chOff x="199444" y="1932654"/>
            <a:chExt cx="1691879" cy="1585517"/>
          </a:xfrm>
        </p:grpSpPr>
        <p:sp>
          <p:nvSpPr>
            <p:cNvPr id="1189" name="Trapezoid 1188"/>
            <p:cNvSpPr/>
            <p:nvPr/>
          </p:nvSpPr>
          <p:spPr bwMode="auto">
            <a:xfrm>
              <a:off x="203676" y="3200073"/>
              <a:ext cx="1682885" cy="313274"/>
            </a:xfrm>
            <a:prstGeom prst="trapezoid">
              <a:avLst>
                <a:gd name="adj" fmla="val 67797"/>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1184" name="Group 1183"/>
            <p:cNvGrpSpPr/>
            <p:nvPr/>
          </p:nvGrpSpPr>
          <p:grpSpPr>
            <a:xfrm>
              <a:off x="199444" y="1932654"/>
              <a:ext cx="1691879" cy="1585517"/>
              <a:chOff x="114794" y="583668"/>
              <a:chExt cx="3534424" cy="3543635"/>
            </a:xfrm>
          </p:grpSpPr>
          <p:sp>
            <p:nvSpPr>
              <p:cNvPr id="1185" name="Rectangle 1184"/>
              <p:cNvSpPr/>
              <p:nvPr/>
            </p:nvSpPr>
            <p:spPr bwMode="auto">
              <a:xfrm>
                <a:off x="607548" y="583668"/>
                <a:ext cx="2543904" cy="2819442"/>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86" name="Trapezoid 302"/>
              <p:cNvSpPr/>
              <p:nvPr/>
            </p:nvSpPr>
            <p:spPr bwMode="auto">
              <a:xfrm rot="16200000">
                <a:off x="2292621" y="2770705"/>
                <a:ext cx="2234396" cy="478799"/>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 name="connsiteX0" fmla="*/ 0 w 2234395"/>
                  <a:gd name="connsiteY0" fmla="*/ 297477 h 297477"/>
                  <a:gd name="connsiteX1" fmla="*/ 716023 w 2234395"/>
                  <a:gd name="connsiteY1" fmla="*/ 0 h 297477"/>
                  <a:gd name="connsiteX2" fmla="*/ 2234395 w 2234395"/>
                  <a:gd name="connsiteY2" fmla="*/ 1500 h 297477"/>
                  <a:gd name="connsiteX3" fmla="*/ 2232737 w 2234395"/>
                  <a:gd name="connsiteY3" fmla="*/ 297477 h 297477"/>
                  <a:gd name="connsiteX4" fmla="*/ 0 w 2234395"/>
                  <a:gd name="connsiteY4" fmla="*/ 297477 h 297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297477">
                    <a:moveTo>
                      <a:pt x="0" y="297477"/>
                    </a:moveTo>
                    <a:lnTo>
                      <a:pt x="716023" y="0"/>
                    </a:lnTo>
                    <a:lnTo>
                      <a:pt x="2234395" y="1500"/>
                    </a:lnTo>
                    <a:cubicBezTo>
                      <a:pt x="2233842" y="100159"/>
                      <a:pt x="2233290" y="198818"/>
                      <a:pt x="2232737" y="297477"/>
                    </a:cubicBezTo>
                    <a:lnTo>
                      <a:pt x="0" y="297477"/>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87"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sp>
        <p:nvSpPr>
          <p:cNvPr id="10" name="Trapezoid 9"/>
          <p:cNvSpPr/>
          <p:nvPr/>
        </p:nvSpPr>
        <p:spPr bwMode="auto">
          <a:xfrm>
            <a:off x="7467727" y="4214386"/>
            <a:ext cx="1167418" cy="212158"/>
          </a:xfrm>
          <a:prstGeom prst="trapezoid">
            <a:avLst>
              <a:gd name="adj" fmla="val 80666"/>
            </a:avLst>
          </a:prstGeom>
          <a:solidFill>
            <a:srgbClr val="00AFED">
              <a:alpha val="50000"/>
            </a:srgbClr>
          </a:solidFill>
          <a:ln w="19050">
            <a:solidFill>
              <a:srgbClr val="00AFE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373" name="Group 372"/>
          <p:cNvGrpSpPr/>
          <p:nvPr/>
        </p:nvGrpSpPr>
        <p:grpSpPr>
          <a:xfrm>
            <a:off x="5496914" y="1318293"/>
            <a:ext cx="1476375" cy="1476375"/>
            <a:chOff x="12938991" y="3310221"/>
            <a:chExt cx="1476375" cy="1476375"/>
          </a:xfrm>
        </p:grpSpPr>
        <p:sp>
          <p:nvSpPr>
            <p:cNvPr id="374" name="Freeform 25"/>
            <p:cNvSpPr>
              <a:spLocks/>
            </p:cNvSpPr>
            <p:nvPr/>
          </p:nvSpPr>
          <p:spPr bwMode="auto">
            <a:xfrm>
              <a:off x="12938991" y="3310221"/>
              <a:ext cx="1476375" cy="1476375"/>
            </a:xfrm>
            <a:custGeom>
              <a:avLst/>
              <a:gdLst>
                <a:gd name="T0" fmla="*/ 0 w 930"/>
                <a:gd name="T1" fmla="*/ 466 h 930"/>
                <a:gd name="T2" fmla="*/ 2 w 930"/>
                <a:gd name="T3" fmla="*/ 418 h 930"/>
                <a:gd name="T4" fmla="*/ 20 w 930"/>
                <a:gd name="T5" fmla="*/ 328 h 930"/>
                <a:gd name="T6" fmla="*/ 56 w 930"/>
                <a:gd name="T7" fmla="*/ 244 h 930"/>
                <a:gd name="T8" fmla="*/ 106 w 930"/>
                <a:gd name="T9" fmla="*/ 170 h 930"/>
                <a:gd name="T10" fmla="*/ 170 w 930"/>
                <a:gd name="T11" fmla="*/ 106 h 930"/>
                <a:gd name="T12" fmla="*/ 244 w 930"/>
                <a:gd name="T13" fmla="*/ 56 h 930"/>
                <a:gd name="T14" fmla="*/ 326 w 930"/>
                <a:gd name="T15" fmla="*/ 22 h 930"/>
                <a:gd name="T16" fmla="*/ 418 w 930"/>
                <a:gd name="T17" fmla="*/ 4 h 930"/>
                <a:gd name="T18" fmla="*/ 464 w 930"/>
                <a:gd name="T19" fmla="*/ 0 h 930"/>
                <a:gd name="T20" fmla="*/ 488 w 930"/>
                <a:gd name="T21" fmla="*/ 2 h 930"/>
                <a:gd name="T22" fmla="*/ 558 w 930"/>
                <a:gd name="T23" fmla="*/ 10 h 930"/>
                <a:gd name="T24" fmla="*/ 646 w 930"/>
                <a:gd name="T25" fmla="*/ 38 h 930"/>
                <a:gd name="T26" fmla="*/ 724 w 930"/>
                <a:gd name="T27" fmla="*/ 80 h 930"/>
                <a:gd name="T28" fmla="*/ 794 w 930"/>
                <a:gd name="T29" fmla="*/ 136 h 930"/>
                <a:gd name="T30" fmla="*/ 850 w 930"/>
                <a:gd name="T31" fmla="*/ 206 h 930"/>
                <a:gd name="T32" fmla="*/ 894 w 930"/>
                <a:gd name="T33" fmla="*/ 284 h 930"/>
                <a:gd name="T34" fmla="*/ 920 w 930"/>
                <a:gd name="T35" fmla="*/ 372 h 930"/>
                <a:gd name="T36" fmla="*/ 930 w 930"/>
                <a:gd name="T37" fmla="*/ 442 h 930"/>
                <a:gd name="T38" fmla="*/ 930 w 930"/>
                <a:gd name="T39" fmla="*/ 466 h 930"/>
                <a:gd name="T40" fmla="*/ 930 w 930"/>
                <a:gd name="T41" fmla="*/ 490 h 930"/>
                <a:gd name="T42" fmla="*/ 920 w 930"/>
                <a:gd name="T43" fmla="*/ 560 h 930"/>
                <a:gd name="T44" fmla="*/ 894 w 930"/>
                <a:gd name="T45" fmla="*/ 646 h 930"/>
                <a:gd name="T46" fmla="*/ 850 w 930"/>
                <a:gd name="T47" fmla="*/ 726 h 930"/>
                <a:gd name="T48" fmla="*/ 794 w 930"/>
                <a:gd name="T49" fmla="*/ 794 h 930"/>
                <a:gd name="T50" fmla="*/ 724 w 930"/>
                <a:gd name="T51" fmla="*/ 852 h 930"/>
                <a:gd name="T52" fmla="*/ 646 w 930"/>
                <a:gd name="T53" fmla="*/ 894 h 930"/>
                <a:gd name="T54" fmla="*/ 558 w 930"/>
                <a:gd name="T55" fmla="*/ 920 h 930"/>
                <a:gd name="T56" fmla="*/ 488 w 930"/>
                <a:gd name="T57" fmla="*/ 930 h 930"/>
                <a:gd name="T58" fmla="*/ 464 w 930"/>
                <a:gd name="T59" fmla="*/ 930 h 930"/>
                <a:gd name="T60" fmla="*/ 418 w 930"/>
                <a:gd name="T61" fmla="*/ 928 h 930"/>
                <a:gd name="T62" fmla="*/ 326 w 930"/>
                <a:gd name="T63" fmla="*/ 910 h 930"/>
                <a:gd name="T64" fmla="*/ 244 w 930"/>
                <a:gd name="T65" fmla="*/ 874 h 930"/>
                <a:gd name="T66" fmla="*/ 170 w 930"/>
                <a:gd name="T67" fmla="*/ 824 h 930"/>
                <a:gd name="T68" fmla="*/ 106 w 930"/>
                <a:gd name="T69" fmla="*/ 762 h 930"/>
                <a:gd name="T70" fmla="*/ 56 w 930"/>
                <a:gd name="T71" fmla="*/ 688 h 930"/>
                <a:gd name="T72" fmla="*/ 20 w 930"/>
                <a:gd name="T73" fmla="*/ 604 h 930"/>
                <a:gd name="T74" fmla="*/ 2 w 930"/>
                <a:gd name="T75" fmla="*/ 514 h 930"/>
                <a:gd name="T76" fmla="*/ 0 w 930"/>
                <a:gd name="T77" fmla="*/ 466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0" h="930">
                  <a:moveTo>
                    <a:pt x="0" y="466"/>
                  </a:moveTo>
                  <a:lnTo>
                    <a:pt x="0" y="466"/>
                  </a:lnTo>
                  <a:lnTo>
                    <a:pt x="0" y="442"/>
                  </a:lnTo>
                  <a:lnTo>
                    <a:pt x="2" y="418"/>
                  </a:lnTo>
                  <a:lnTo>
                    <a:pt x="10" y="372"/>
                  </a:lnTo>
                  <a:lnTo>
                    <a:pt x="20" y="328"/>
                  </a:lnTo>
                  <a:lnTo>
                    <a:pt x="36" y="284"/>
                  </a:lnTo>
                  <a:lnTo>
                    <a:pt x="56" y="244"/>
                  </a:lnTo>
                  <a:lnTo>
                    <a:pt x="80" y="206"/>
                  </a:lnTo>
                  <a:lnTo>
                    <a:pt x="106" y="170"/>
                  </a:lnTo>
                  <a:lnTo>
                    <a:pt x="136" y="136"/>
                  </a:lnTo>
                  <a:lnTo>
                    <a:pt x="170" y="106"/>
                  </a:lnTo>
                  <a:lnTo>
                    <a:pt x="204" y="80"/>
                  </a:lnTo>
                  <a:lnTo>
                    <a:pt x="244" y="56"/>
                  </a:lnTo>
                  <a:lnTo>
                    <a:pt x="284" y="38"/>
                  </a:lnTo>
                  <a:lnTo>
                    <a:pt x="326" y="22"/>
                  </a:lnTo>
                  <a:lnTo>
                    <a:pt x="372" y="10"/>
                  </a:lnTo>
                  <a:lnTo>
                    <a:pt x="418" y="4"/>
                  </a:lnTo>
                  <a:lnTo>
                    <a:pt x="440" y="2"/>
                  </a:lnTo>
                  <a:lnTo>
                    <a:pt x="464" y="0"/>
                  </a:lnTo>
                  <a:lnTo>
                    <a:pt x="464" y="0"/>
                  </a:lnTo>
                  <a:lnTo>
                    <a:pt x="488" y="2"/>
                  </a:lnTo>
                  <a:lnTo>
                    <a:pt x="512" y="4"/>
                  </a:lnTo>
                  <a:lnTo>
                    <a:pt x="558" y="10"/>
                  </a:lnTo>
                  <a:lnTo>
                    <a:pt x="604" y="22"/>
                  </a:lnTo>
                  <a:lnTo>
                    <a:pt x="646" y="38"/>
                  </a:lnTo>
                  <a:lnTo>
                    <a:pt x="686" y="56"/>
                  </a:lnTo>
                  <a:lnTo>
                    <a:pt x="724" y="80"/>
                  </a:lnTo>
                  <a:lnTo>
                    <a:pt x="760" y="106"/>
                  </a:lnTo>
                  <a:lnTo>
                    <a:pt x="794" y="136"/>
                  </a:lnTo>
                  <a:lnTo>
                    <a:pt x="824" y="170"/>
                  </a:lnTo>
                  <a:lnTo>
                    <a:pt x="850" y="206"/>
                  </a:lnTo>
                  <a:lnTo>
                    <a:pt x="874" y="244"/>
                  </a:lnTo>
                  <a:lnTo>
                    <a:pt x="894" y="284"/>
                  </a:lnTo>
                  <a:lnTo>
                    <a:pt x="908" y="328"/>
                  </a:lnTo>
                  <a:lnTo>
                    <a:pt x="920" y="372"/>
                  </a:lnTo>
                  <a:lnTo>
                    <a:pt x="928" y="418"/>
                  </a:lnTo>
                  <a:lnTo>
                    <a:pt x="930" y="442"/>
                  </a:lnTo>
                  <a:lnTo>
                    <a:pt x="930" y="466"/>
                  </a:lnTo>
                  <a:lnTo>
                    <a:pt x="930" y="466"/>
                  </a:lnTo>
                  <a:lnTo>
                    <a:pt x="930" y="466"/>
                  </a:lnTo>
                  <a:lnTo>
                    <a:pt x="930" y="490"/>
                  </a:lnTo>
                  <a:lnTo>
                    <a:pt x="928" y="514"/>
                  </a:lnTo>
                  <a:lnTo>
                    <a:pt x="920" y="560"/>
                  </a:lnTo>
                  <a:lnTo>
                    <a:pt x="908" y="604"/>
                  </a:lnTo>
                  <a:lnTo>
                    <a:pt x="894" y="646"/>
                  </a:lnTo>
                  <a:lnTo>
                    <a:pt x="874" y="688"/>
                  </a:lnTo>
                  <a:lnTo>
                    <a:pt x="850" y="726"/>
                  </a:lnTo>
                  <a:lnTo>
                    <a:pt x="824" y="762"/>
                  </a:lnTo>
                  <a:lnTo>
                    <a:pt x="794" y="794"/>
                  </a:lnTo>
                  <a:lnTo>
                    <a:pt x="760" y="824"/>
                  </a:lnTo>
                  <a:lnTo>
                    <a:pt x="724" y="852"/>
                  </a:lnTo>
                  <a:lnTo>
                    <a:pt x="686" y="874"/>
                  </a:lnTo>
                  <a:lnTo>
                    <a:pt x="646" y="894"/>
                  </a:lnTo>
                  <a:lnTo>
                    <a:pt x="604" y="910"/>
                  </a:lnTo>
                  <a:lnTo>
                    <a:pt x="558" y="920"/>
                  </a:lnTo>
                  <a:lnTo>
                    <a:pt x="512" y="928"/>
                  </a:lnTo>
                  <a:lnTo>
                    <a:pt x="488" y="930"/>
                  </a:lnTo>
                  <a:lnTo>
                    <a:pt x="464" y="930"/>
                  </a:lnTo>
                  <a:lnTo>
                    <a:pt x="464" y="930"/>
                  </a:lnTo>
                  <a:lnTo>
                    <a:pt x="442" y="930"/>
                  </a:lnTo>
                  <a:lnTo>
                    <a:pt x="418" y="928"/>
                  </a:lnTo>
                  <a:lnTo>
                    <a:pt x="372" y="920"/>
                  </a:lnTo>
                  <a:lnTo>
                    <a:pt x="326" y="910"/>
                  </a:lnTo>
                  <a:lnTo>
                    <a:pt x="284" y="894"/>
                  </a:lnTo>
                  <a:lnTo>
                    <a:pt x="244" y="874"/>
                  </a:lnTo>
                  <a:lnTo>
                    <a:pt x="206" y="852"/>
                  </a:lnTo>
                  <a:lnTo>
                    <a:pt x="170" y="824"/>
                  </a:lnTo>
                  <a:lnTo>
                    <a:pt x="136" y="794"/>
                  </a:lnTo>
                  <a:lnTo>
                    <a:pt x="106" y="762"/>
                  </a:lnTo>
                  <a:lnTo>
                    <a:pt x="80" y="726"/>
                  </a:lnTo>
                  <a:lnTo>
                    <a:pt x="56" y="688"/>
                  </a:lnTo>
                  <a:lnTo>
                    <a:pt x="36" y="646"/>
                  </a:lnTo>
                  <a:lnTo>
                    <a:pt x="20" y="604"/>
                  </a:lnTo>
                  <a:lnTo>
                    <a:pt x="10" y="560"/>
                  </a:lnTo>
                  <a:lnTo>
                    <a:pt x="2" y="514"/>
                  </a:lnTo>
                  <a:lnTo>
                    <a:pt x="0" y="490"/>
                  </a:lnTo>
                  <a:lnTo>
                    <a:pt x="0" y="466"/>
                  </a:lnTo>
                  <a:lnTo>
                    <a:pt x="0" y="466"/>
                  </a:lnTo>
                  <a:close/>
                </a:path>
              </a:pathLst>
            </a:custGeom>
            <a:solidFill>
              <a:srgbClr val="0060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5" name="Freeform 26"/>
            <p:cNvSpPr>
              <a:spLocks/>
            </p:cNvSpPr>
            <p:nvPr/>
          </p:nvSpPr>
          <p:spPr bwMode="auto">
            <a:xfrm>
              <a:off x="12938991" y="3310221"/>
              <a:ext cx="1476375" cy="1476375"/>
            </a:xfrm>
            <a:custGeom>
              <a:avLst/>
              <a:gdLst>
                <a:gd name="T0" fmla="*/ 0 w 930"/>
                <a:gd name="T1" fmla="*/ 466 h 930"/>
                <a:gd name="T2" fmla="*/ 2 w 930"/>
                <a:gd name="T3" fmla="*/ 418 h 930"/>
                <a:gd name="T4" fmla="*/ 20 w 930"/>
                <a:gd name="T5" fmla="*/ 328 h 930"/>
                <a:gd name="T6" fmla="*/ 56 w 930"/>
                <a:gd name="T7" fmla="*/ 244 h 930"/>
                <a:gd name="T8" fmla="*/ 106 w 930"/>
                <a:gd name="T9" fmla="*/ 170 h 930"/>
                <a:gd name="T10" fmla="*/ 170 w 930"/>
                <a:gd name="T11" fmla="*/ 106 h 930"/>
                <a:gd name="T12" fmla="*/ 244 w 930"/>
                <a:gd name="T13" fmla="*/ 56 h 930"/>
                <a:gd name="T14" fmla="*/ 326 w 930"/>
                <a:gd name="T15" fmla="*/ 22 h 930"/>
                <a:gd name="T16" fmla="*/ 418 w 930"/>
                <a:gd name="T17" fmla="*/ 4 h 930"/>
                <a:gd name="T18" fmla="*/ 464 w 930"/>
                <a:gd name="T19" fmla="*/ 0 h 930"/>
                <a:gd name="T20" fmla="*/ 488 w 930"/>
                <a:gd name="T21" fmla="*/ 2 h 930"/>
                <a:gd name="T22" fmla="*/ 558 w 930"/>
                <a:gd name="T23" fmla="*/ 10 h 930"/>
                <a:gd name="T24" fmla="*/ 646 w 930"/>
                <a:gd name="T25" fmla="*/ 38 h 930"/>
                <a:gd name="T26" fmla="*/ 724 w 930"/>
                <a:gd name="T27" fmla="*/ 80 h 930"/>
                <a:gd name="T28" fmla="*/ 794 w 930"/>
                <a:gd name="T29" fmla="*/ 136 h 930"/>
                <a:gd name="T30" fmla="*/ 850 w 930"/>
                <a:gd name="T31" fmla="*/ 206 h 930"/>
                <a:gd name="T32" fmla="*/ 894 w 930"/>
                <a:gd name="T33" fmla="*/ 284 h 930"/>
                <a:gd name="T34" fmla="*/ 920 w 930"/>
                <a:gd name="T35" fmla="*/ 372 h 930"/>
                <a:gd name="T36" fmla="*/ 930 w 930"/>
                <a:gd name="T37" fmla="*/ 442 h 930"/>
                <a:gd name="T38" fmla="*/ 930 w 930"/>
                <a:gd name="T39" fmla="*/ 466 h 930"/>
                <a:gd name="T40" fmla="*/ 930 w 930"/>
                <a:gd name="T41" fmla="*/ 490 h 930"/>
                <a:gd name="T42" fmla="*/ 920 w 930"/>
                <a:gd name="T43" fmla="*/ 560 h 930"/>
                <a:gd name="T44" fmla="*/ 894 w 930"/>
                <a:gd name="T45" fmla="*/ 646 h 930"/>
                <a:gd name="T46" fmla="*/ 850 w 930"/>
                <a:gd name="T47" fmla="*/ 726 h 930"/>
                <a:gd name="T48" fmla="*/ 794 w 930"/>
                <a:gd name="T49" fmla="*/ 794 h 930"/>
                <a:gd name="T50" fmla="*/ 724 w 930"/>
                <a:gd name="T51" fmla="*/ 852 h 930"/>
                <a:gd name="T52" fmla="*/ 646 w 930"/>
                <a:gd name="T53" fmla="*/ 894 h 930"/>
                <a:gd name="T54" fmla="*/ 558 w 930"/>
                <a:gd name="T55" fmla="*/ 920 h 930"/>
                <a:gd name="T56" fmla="*/ 488 w 930"/>
                <a:gd name="T57" fmla="*/ 930 h 930"/>
                <a:gd name="T58" fmla="*/ 464 w 930"/>
                <a:gd name="T59" fmla="*/ 930 h 930"/>
                <a:gd name="T60" fmla="*/ 418 w 930"/>
                <a:gd name="T61" fmla="*/ 928 h 930"/>
                <a:gd name="T62" fmla="*/ 326 w 930"/>
                <a:gd name="T63" fmla="*/ 910 h 930"/>
                <a:gd name="T64" fmla="*/ 244 w 930"/>
                <a:gd name="T65" fmla="*/ 874 h 930"/>
                <a:gd name="T66" fmla="*/ 170 w 930"/>
                <a:gd name="T67" fmla="*/ 824 h 930"/>
                <a:gd name="T68" fmla="*/ 106 w 930"/>
                <a:gd name="T69" fmla="*/ 762 h 930"/>
                <a:gd name="T70" fmla="*/ 56 w 930"/>
                <a:gd name="T71" fmla="*/ 688 h 930"/>
                <a:gd name="T72" fmla="*/ 20 w 930"/>
                <a:gd name="T73" fmla="*/ 604 h 930"/>
                <a:gd name="T74" fmla="*/ 2 w 930"/>
                <a:gd name="T75" fmla="*/ 514 h 930"/>
                <a:gd name="T76" fmla="*/ 0 w 930"/>
                <a:gd name="T77" fmla="*/ 466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0" h="930">
                  <a:moveTo>
                    <a:pt x="0" y="466"/>
                  </a:moveTo>
                  <a:lnTo>
                    <a:pt x="0" y="466"/>
                  </a:lnTo>
                  <a:lnTo>
                    <a:pt x="0" y="442"/>
                  </a:lnTo>
                  <a:lnTo>
                    <a:pt x="2" y="418"/>
                  </a:lnTo>
                  <a:lnTo>
                    <a:pt x="10" y="372"/>
                  </a:lnTo>
                  <a:lnTo>
                    <a:pt x="20" y="328"/>
                  </a:lnTo>
                  <a:lnTo>
                    <a:pt x="36" y="284"/>
                  </a:lnTo>
                  <a:lnTo>
                    <a:pt x="56" y="244"/>
                  </a:lnTo>
                  <a:lnTo>
                    <a:pt x="80" y="206"/>
                  </a:lnTo>
                  <a:lnTo>
                    <a:pt x="106" y="170"/>
                  </a:lnTo>
                  <a:lnTo>
                    <a:pt x="136" y="136"/>
                  </a:lnTo>
                  <a:lnTo>
                    <a:pt x="170" y="106"/>
                  </a:lnTo>
                  <a:lnTo>
                    <a:pt x="204" y="80"/>
                  </a:lnTo>
                  <a:lnTo>
                    <a:pt x="244" y="56"/>
                  </a:lnTo>
                  <a:lnTo>
                    <a:pt x="284" y="38"/>
                  </a:lnTo>
                  <a:lnTo>
                    <a:pt x="326" y="22"/>
                  </a:lnTo>
                  <a:lnTo>
                    <a:pt x="372" y="10"/>
                  </a:lnTo>
                  <a:lnTo>
                    <a:pt x="418" y="4"/>
                  </a:lnTo>
                  <a:lnTo>
                    <a:pt x="440" y="2"/>
                  </a:lnTo>
                  <a:lnTo>
                    <a:pt x="464" y="0"/>
                  </a:lnTo>
                  <a:lnTo>
                    <a:pt x="464" y="0"/>
                  </a:lnTo>
                  <a:lnTo>
                    <a:pt x="488" y="2"/>
                  </a:lnTo>
                  <a:lnTo>
                    <a:pt x="512" y="4"/>
                  </a:lnTo>
                  <a:lnTo>
                    <a:pt x="558" y="10"/>
                  </a:lnTo>
                  <a:lnTo>
                    <a:pt x="604" y="22"/>
                  </a:lnTo>
                  <a:lnTo>
                    <a:pt x="646" y="38"/>
                  </a:lnTo>
                  <a:lnTo>
                    <a:pt x="686" y="56"/>
                  </a:lnTo>
                  <a:lnTo>
                    <a:pt x="724" y="80"/>
                  </a:lnTo>
                  <a:lnTo>
                    <a:pt x="760" y="106"/>
                  </a:lnTo>
                  <a:lnTo>
                    <a:pt x="794" y="136"/>
                  </a:lnTo>
                  <a:lnTo>
                    <a:pt x="824" y="170"/>
                  </a:lnTo>
                  <a:lnTo>
                    <a:pt x="850" y="206"/>
                  </a:lnTo>
                  <a:lnTo>
                    <a:pt x="874" y="244"/>
                  </a:lnTo>
                  <a:lnTo>
                    <a:pt x="894" y="284"/>
                  </a:lnTo>
                  <a:lnTo>
                    <a:pt x="908" y="328"/>
                  </a:lnTo>
                  <a:lnTo>
                    <a:pt x="920" y="372"/>
                  </a:lnTo>
                  <a:lnTo>
                    <a:pt x="928" y="418"/>
                  </a:lnTo>
                  <a:lnTo>
                    <a:pt x="930" y="442"/>
                  </a:lnTo>
                  <a:lnTo>
                    <a:pt x="930" y="466"/>
                  </a:lnTo>
                  <a:lnTo>
                    <a:pt x="930" y="466"/>
                  </a:lnTo>
                  <a:lnTo>
                    <a:pt x="930" y="466"/>
                  </a:lnTo>
                  <a:lnTo>
                    <a:pt x="930" y="490"/>
                  </a:lnTo>
                  <a:lnTo>
                    <a:pt x="928" y="514"/>
                  </a:lnTo>
                  <a:lnTo>
                    <a:pt x="920" y="560"/>
                  </a:lnTo>
                  <a:lnTo>
                    <a:pt x="908" y="604"/>
                  </a:lnTo>
                  <a:lnTo>
                    <a:pt x="894" y="646"/>
                  </a:lnTo>
                  <a:lnTo>
                    <a:pt x="874" y="688"/>
                  </a:lnTo>
                  <a:lnTo>
                    <a:pt x="850" y="726"/>
                  </a:lnTo>
                  <a:lnTo>
                    <a:pt x="824" y="762"/>
                  </a:lnTo>
                  <a:lnTo>
                    <a:pt x="794" y="794"/>
                  </a:lnTo>
                  <a:lnTo>
                    <a:pt x="760" y="824"/>
                  </a:lnTo>
                  <a:lnTo>
                    <a:pt x="724" y="852"/>
                  </a:lnTo>
                  <a:lnTo>
                    <a:pt x="686" y="874"/>
                  </a:lnTo>
                  <a:lnTo>
                    <a:pt x="646" y="894"/>
                  </a:lnTo>
                  <a:lnTo>
                    <a:pt x="604" y="910"/>
                  </a:lnTo>
                  <a:lnTo>
                    <a:pt x="558" y="920"/>
                  </a:lnTo>
                  <a:lnTo>
                    <a:pt x="512" y="928"/>
                  </a:lnTo>
                  <a:lnTo>
                    <a:pt x="488" y="930"/>
                  </a:lnTo>
                  <a:lnTo>
                    <a:pt x="464" y="930"/>
                  </a:lnTo>
                  <a:lnTo>
                    <a:pt x="464" y="930"/>
                  </a:lnTo>
                  <a:lnTo>
                    <a:pt x="442" y="930"/>
                  </a:lnTo>
                  <a:lnTo>
                    <a:pt x="418" y="928"/>
                  </a:lnTo>
                  <a:lnTo>
                    <a:pt x="372" y="920"/>
                  </a:lnTo>
                  <a:lnTo>
                    <a:pt x="326" y="910"/>
                  </a:lnTo>
                  <a:lnTo>
                    <a:pt x="284" y="894"/>
                  </a:lnTo>
                  <a:lnTo>
                    <a:pt x="244" y="874"/>
                  </a:lnTo>
                  <a:lnTo>
                    <a:pt x="206" y="852"/>
                  </a:lnTo>
                  <a:lnTo>
                    <a:pt x="170" y="824"/>
                  </a:lnTo>
                  <a:lnTo>
                    <a:pt x="136" y="794"/>
                  </a:lnTo>
                  <a:lnTo>
                    <a:pt x="106" y="762"/>
                  </a:lnTo>
                  <a:lnTo>
                    <a:pt x="80" y="726"/>
                  </a:lnTo>
                  <a:lnTo>
                    <a:pt x="56" y="688"/>
                  </a:lnTo>
                  <a:lnTo>
                    <a:pt x="36" y="646"/>
                  </a:lnTo>
                  <a:lnTo>
                    <a:pt x="20" y="604"/>
                  </a:lnTo>
                  <a:lnTo>
                    <a:pt x="10" y="560"/>
                  </a:lnTo>
                  <a:lnTo>
                    <a:pt x="2" y="514"/>
                  </a:lnTo>
                  <a:lnTo>
                    <a:pt x="0" y="490"/>
                  </a:lnTo>
                  <a:lnTo>
                    <a:pt x="0" y="466"/>
                  </a:lnTo>
                  <a:lnTo>
                    <a:pt x="0" y="466"/>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6" name="Freeform 27"/>
            <p:cNvSpPr>
              <a:spLocks noEditPoints="1"/>
            </p:cNvSpPr>
            <p:nvPr/>
          </p:nvSpPr>
          <p:spPr bwMode="auto">
            <a:xfrm>
              <a:off x="12999316" y="3395946"/>
              <a:ext cx="1355725" cy="1352550"/>
            </a:xfrm>
            <a:custGeom>
              <a:avLst/>
              <a:gdLst>
                <a:gd name="T0" fmla="*/ 196 w 854"/>
                <a:gd name="T1" fmla="*/ 746 h 852"/>
                <a:gd name="T2" fmla="*/ 202 w 854"/>
                <a:gd name="T3" fmla="*/ 782 h 852"/>
                <a:gd name="T4" fmla="*/ 288 w 854"/>
                <a:gd name="T5" fmla="*/ 818 h 852"/>
                <a:gd name="T6" fmla="*/ 422 w 854"/>
                <a:gd name="T7" fmla="*/ 852 h 852"/>
                <a:gd name="T8" fmla="*/ 490 w 854"/>
                <a:gd name="T9" fmla="*/ 838 h 852"/>
                <a:gd name="T10" fmla="*/ 450 w 854"/>
                <a:gd name="T11" fmla="*/ 790 h 852"/>
                <a:gd name="T12" fmla="*/ 332 w 854"/>
                <a:gd name="T13" fmla="*/ 738 h 852"/>
                <a:gd name="T14" fmla="*/ 638 w 854"/>
                <a:gd name="T15" fmla="*/ 738 h 852"/>
                <a:gd name="T16" fmla="*/ 650 w 854"/>
                <a:gd name="T17" fmla="*/ 758 h 852"/>
                <a:gd name="T18" fmla="*/ 666 w 854"/>
                <a:gd name="T19" fmla="*/ 732 h 852"/>
                <a:gd name="T20" fmla="*/ 696 w 854"/>
                <a:gd name="T21" fmla="*/ 540 h 852"/>
                <a:gd name="T22" fmla="*/ 664 w 854"/>
                <a:gd name="T23" fmla="*/ 582 h 852"/>
                <a:gd name="T24" fmla="*/ 622 w 854"/>
                <a:gd name="T25" fmla="*/ 594 h 852"/>
                <a:gd name="T26" fmla="*/ 600 w 854"/>
                <a:gd name="T27" fmla="*/ 560 h 852"/>
                <a:gd name="T28" fmla="*/ 582 w 854"/>
                <a:gd name="T29" fmla="*/ 542 h 852"/>
                <a:gd name="T30" fmla="*/ 530 w 854"/>
                <a:gd name="T31" fmla="*/ 584 h 852"/>
                <a:gd name="T32" fmla="*/ 498 w 854"/>
                <a:gd name="T33" fmla="*/ 584 h 852"/>
                <a:gd name="T34" fmla="*/ 464 w 854"/>
                <a:gd name="T35" fmla="*/ 632 h 852"/>
                <a:gd name="T36" fmla="*/ 480 w 854"/>
                <a:gd name="T37" fmla="*/ 688 h 852"/>
                <a:gd name="T38" fmla="*/ 546 w 854"/>
                <a:gd name="T39" fmla="*/ 684 h 852"/>
                <a:gd name="T40" fmla="*/ 598 w 854"/>
                <a:gd name="T41" fmla="*/ 676 h 852"/>
                <a:gd name="T42" fmla="*/ 640 w 854"/>
                <a:gd name="T43" fmla="*/ 700 h 852"/>
                <a:gd name="T44" fmla="*/ 692 w 854"/>
                <a:gd name="T45" fmla="*/ 682 h 852"/>
                <a:gd name="T46" fmla="*/ 712 w 854"/>
                <a:gd name="T47" fmla="*/ 602 h 852"/>
                <a:gd name="T48" fmla="*/ 704 w 854"/>
                <a:gd name="T49" fmla="*/ 538 h 852"/>
                <a:gd name="T50" fmla="*/ 718 w 854"/>
                <a:gd name="T51" fmla="*/ 220 h 852"/>
                <a:gd name="T52" fmla="*/ 714 w 854"/>
                <a:gd name="T53" fmla="*/ 246 h 852"/>
                <a:gd name="T54" fmla="*/ 758 w 854"/>
                <a:gd name="T55" fmla="*/ 266 h 852"/>
                <a:gd name="T56" fmla="*/ 780 w 854"/>
                <a:gd name="T57" fmla="*/ 346 h 852"/>
                <a:gd name="T58" fmla="*/ 792 w 854"/>
                <a:gd name="T59" fmla="*/ 404 h 852"/>
                <a:gd name="T60" fmla="*/ 836 w 854"/>
                <a:gd name="T61" fmla="*/ 398 h 852"/>
                <a:gd name="T62" fmla="*/ 854 w 854"/>
                <a:gd name="T63" fmla="*/ 342 h 852"/>
                <a:gd name="T64" fmla="*/ 792 w 854"/>
                <a:gd name="T65" fmla="*/ 238 h 852"/>
                <a:gd name="T66" fmla="*/ 740 w 854"/>
                <a:gd name="T67" fmla="*/ 212 h 852"/>
                <a:gd name="T68" fmla="*/ 66 w 854"/>
                <a:gd name="T69" fmla="*/ 174 h 852"/>
                <a:gd name="T70" fmla="*/ 16 w 854"/>
                <a:gd name="T71" fmla="*/ 260 h 852"/>
                <a:gd name="T72" fmla="*/ 2 w 854"/>
                <a:gd name="T73" fmla="*/ 452 h 852"/>
                <a:gd name="T74" fmla="*/ 18 w 854"/>
                <a:gd name="T75" fmla="*/ 510 h 852"/>
                <a:gd name="T76" fmla="*/ 78 w 854"/>
                <a:gd name="T77" fmla="*/ 514 h 852"/>
                <a:gd name="T78" fmla="*/ 114 w 854"/>
                <a:gd name="T79" fmla="*/ 466 h 852"/>
                <a:gd name="T80" fmla="*/ 96 w 854"/>
                <a:gd name="T81" fmla="*/ 370 h 852"/>
                <a:gd name="T82" fmla="*/ 130 w 854"/>
                <a:gd name="T83" fmla="*/ 228 h 852"/>
                <a:gd name="T84" fmla="*/ 146 w 854"/>
                <a:gd name="T85" fmla="*/ 148 h 852"/>
                <a:gd name="T86" fmla="*/ 432 w 854"/>
                <a:gd name="T87" fmla="*/ 2 h 852"/>
                <a:gd name="T88" fmla="*/ 290 w 854"/>
                <a:gd name="T89" fmla="*/ 36 h 852"/>
                <a:gd name="T90" fmla="*/ 236 w 854"/>
                <a:gd name="T91" fmla="*/ 120 h 852"/>
                <a:gd name="T92" fmla="*/ 272 w 854"/>
                <a:gd name="T93" fmla="*/ 162 h 852"/>
                <a:gd name="T94" fmla="*/ 330 w 854"/>
                <a:gd name="T95" fmla="*/ 208 h 852"/>
                <a:gd name="T96" fmla="*/ 322 w 854"/>
                <a:gd name="T97" fmla="*/ 262 h 852"/>
                <a:gd name="T98" fmla="*/ 286 w 854"/>
                <a:gd name="T99" fmla="*/ 322 h 852"/>
                <a:gd name="T100" fmla="*/ 302 w 854"/>
                <a:gd name="T101" fmla="*/ 404 h 852"/>
                <a:gd name="T102" fmla="*/ 396 w 854"/>
                <a:gd name="T103" fmla="*/ 492 h 852"/>
                <a:gd name="T104" fmla="*/ 468 w 854"/>
                <a:gd name="T105" fmla="*/ 508 h 852"/>
                <a:gd name="T106" fmla="*/ 478 w 854"/>
                <a:gd name="T107" fmla="*/ 474 h 852"/>
                <a:gd name="T108" fmla="*/ 398 w 854"/>
                <a:gd name="T109" fmla="*/ 452 h 852"/>
                <a:gd name="T110" fmla="*/ 400 w 854"/>
                <a:gd name="T111" fmla="*/ 358 h 852"/>
                <a:gd name="T112" fmla="*/ 442 w 854"/>
                <a:gd name="T113" fmla="*/ 292 h 852"/>
                <a:gd name="T114" fmla="*/ 488 w 854"/>
                <a:gd name="T115" fmla="*/ 224 h 852"/>
                <a:gd name="T116" fmla="*/ 526 w 854"/>
                <a:gd name="T117" fmla="*/ 142 h 852"/>
                <a:gd name="T118" fmla="*/ 572 w 854"/>
                <a:gd name="T119" fmla="*/ 130 h 852"/>
                <a:gd name="T120" fmla="*/ 680 w 854"/>
                <a:gd name="T121" fmla="*/ 138 h 852"/>
                <a:gd name="T122" fmla="*/ 702 w 854"/>
                <a:gd name="T123" fmla="*/ 110 h 852"/>
                <a:gd name="T124" fmla="*/ 582 w 854"/>
                <a:gd name="T125" fmla="*/ 28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4" h="852">
                  <a:moveTo>
                    <a:pt x="332" y="738"/>
                  </a:moveTo>
                  <a:lnTo>
                    <a:pt x="332" y="738"/>
                  </a:lnTo>
                  <a:lnTo>
                    <a:pt x="298" y="738"/>
                  </a:lnTo>
                  <a:lnTo>
                    <a:pt x="264" y="742"/>
                  </a:lnTo>
                  <a:lnTo>
                    <a:pt x="230" y="744"/>
                  </a:lnTo>
                  <a:lnTo>
                    <a:pt x="196" y="746"/>
                  </a:lnTo>
                  <a:lnTo>
                    <a:pt x="196" y="746"/>
                  </a:lnTo>
                  <a:lnTo>
                    <a:pt x="194" y="752"/>
                  </a:lnTo>
                  <a:lnTo>
                    <a:pt x="194" y="760"/>
                  </a:lnTo>
                  <a:lnTo>
                    <a:pt x="198" y="774"/>
                  </a:lnTo>
                  <a:lnTo>
                    <a:pt x="198" y="774"/>
                  </a:lnTo>
                  <a:lnTo>
                    <a:pt x="202" y="782"/>
                  </a:lnTo>
                  <a:lnTo>
                    <a:pt x="208" y="790"/>
                  </a:lnTo>
                  <a:lnTo>
                    <a:pt x="214" y="796"/>
                  </a:lnTo>
                  <a:lnTo>
                    <a:pt x="220" y="800"/>
                  </a:lnTo>
                  <a:lnTo>
                    <a:pt x="236" y="808"/>
                  </a:lnTo>
                  <a:lnTo>
                    <a:pt x="252" y="812"/>
                  </a:lnTo>
                  <a:lnTo>
                    <a:pt x="288" y="818"/>
                  </a:lnTo>
                  <a:lnTo>
                    <a:pt x="304" y="822"/>
                  </a:lnTo>
                  <a:lnTo>
                    <a:pt x="322" y="826"/>
                  </a:lnTo>
                  <a:lnTo>
                    <a:pt x="322" y="826"/>
                  </a:lnTo>
                  <a:lnTo>
                    <a:pt x="378" y="842"/>
                  </a:lnTo>
                  <a:lnTo>
                    <a:pt x="408" y="850"/>
                  </a:lnTo>
                  <a:lnTo>
                    <a:pt x="422" y="852"/>
                  </a:lnTo>
                  <a:lnTo>
                    <a:pt x="438" y="852"/>
                  </a:lnTo>
                  <a:lnTo>
                    <a:pt x="438" y="852"/>
                  </a:lnTo>
                  <a:lnTo>
                    <a:pt x="452" y="852"/>
                  </a:lnTo>
                  <a:lnTo>
                    <a:pt x="464" y="850"/>
                  </a:lnTo>
                  <a:lnTo>
                    <a:pt x="478" y="844"/>
                  </a:lnTo>
                  <a:lnTo>
                    <a:pt x="490" y="838"/>
                  </a:lnTo>
                  <a:lnTo>
                    <a:pt x="490" y="838"/>
                  </a:lnTo>
                  <a:lnTo>
                    <a:pt x="490" y="830"/>
                  </a:lnTo>
                  <a:lnTo>
                    <a:pt x="486" y="824"/>
                  </a:lnTo>
                  <a:lnTo>
                    <a:pt x="478" y="812"/>
                  </a:lnTo>
                  <a:lnTo>
                    <a:pt x="466" y="800"/>
                  </a:lnTo>
                  <a:lnTo>
                    <a:pt x="450" y="790"/>
                  </a:lnTo>
                  <a:lnTo>
                    <a:pt x="418" y="768"/>
                  </a:lnTo>
                  <a:lnTo>
                    <a:pt x="404" y="756"/>
                  </a:lnTo>
                  <a:lnTo>
                    <a:pt x="392" y="744"/>
                  </a:lnTo>
                  <a:lnTo>
                    <a:pt x="392" y="744"/>
                  </a:lnTo>
                  <a:lnTo>
                    <a:pt x="362" y="738"/>
                  </a:lnTo>
                  <a:lnTo>
                    <a:pt x="332" y="738"/>
                  </a:lnTo>
                  <a:close/>
                  <a:moveTo>
                    <a:pt x="656" y="724"/>
                  </a:moveTo>
                  <a:lnTo>
                    <a:pt x="656" y="724"/>
                  </a:lnTo>
                  <a:lnTo>
                    <a:pt x="650" y="724"/>
                  </a:lnTo>
                  <a:lnTo>
                    <a:pt x="644" y="728"/>
                  </a:lnTo>
                  <a:lnTo>
                    <a:pt x="640" y="732"/>
                  </a:lnTo>
                  <a:lnTo>
                    <a:pt x="638" y="738"/>
                  </a:lnTo>
                  <a:lnTo>
                    <a:pt x="638" y="738"/>
                  </a:lnTo>
                  <a:lnTo>
                    <a:pt x="640" y="746"/>
                  </a:lnTo>
                  <a:lnTo>
                    <a:pt x="642" y="752"/>
                  </a:lnTo>
                  <a:lnTo>
                    <a:pt x="646" y="756"/>
                  </a:lnTo>
                  <a:lnTo>
                    <a:pt x="650" y="758"/>
                  </a:lnTo>
                  <a:lnTo>
                    <a:pt x="650" y="758"/>
                  </a:lnTo>
                  <a:lnTo>
                    <a:pt x="654" y="756"/>
                  </a:lnTo>
                  <a:lnTo>
                    <a:pt x="658" y="752"/>
                  </a:lnTo>
                  <a:lnTo>
                    <a:pt x="660" y="748"/>
                  </a:lnTo>
                  <a:lnTo>
                    <a:pt x="664" y="740"/>
                  </a:lnTo>
                  <a:lnTo>
                    <a:pt x="664" y="740"/>
                  </a:lnTo>
                  <a:lnTo>
                    <a:pt x="666" y="732"/>
                  </a:lnTo>
                  <a:lnTo>
                    <a:pt x="664" y="728"/>
                  </a:lnTo>
                  <a:lnTo>
                    <a:pt x="660" y="724"/>
                  </a:lnTo>
                  <a:lnTo>
                    <a:pt x="656" y="724"/>
                  </a:lnTo>
                  <a:close/>
                  <a:moveTo>
                    <a:pt x="700" y="536"/>
                  </a:moveTo>
                  <a:lnTo>
                    <a:pt x="700" y="536"/>
                  </a:lnTo>
                  <a:lnTo>
                    <a:pt x="696" y="540"/>
                  </a:lnTo>
                  <a:lnTo>
                    <a:pt x="690" y="548"/>
                  </a:lnTo>
                  <a:lnTo>
                    <a:pt x="690" y="548"/>
                  </a:lnTo>
                  <a:lnTo>
                    <a:pt x="686" y="558"/>
                  </a:lnTo>
                  <a:lnTo>
                    <a:pt x="680" y="568"/>
                  </a:lnTo>
                  <a:lnTo>
                    <a:pt x="672" y="576"/>
                  </a:lnTo>
                  <a:lnTo>
                    <a:pt x="664" y="582"/>
                  </a:lnTo>
                  <a:lnTo>
                    <a:pt x="656" y="588"/>
                  </a:lnTo>
                  <a:lnTo>
                    <a:pt x="646" y="592"/>
                  </a:lnTo>
                  <a:lnTo>
                    <a:pt x="638" y="594"/>
                  </a:lnTo>
                  <a:lnTo>
                    <a:pt x="628" y="594"/>
                  </a:lnTo>
                  <a:lnTo>
                    <a:pt x="628" y="594"/>
                  </a:lnTo>
                  <a:lnTo>
                    <a:pt x="622" y="594"/>
                  </a:lnTo>
                  <a:lnTo>
                    <a:pt x="616" y="592"/>
                  </a:lnTo>
                  <a:lnTo>
                    <a:pt x="610" y="588"/>
                  </a:lnTo>
                  <a:lnTo>
                    <a:pt x="604" y="584"/>
                  </a:lnTo>
                  <a:lnTo>
                    <a:pt x="602" y="578"/>
                  </a:lnTo>
                  <a:lnTo>
                    <a:pt x="600" y="570"/>
                  </a:lnTo>
                  <a:lnTo>
                    <a:pt x="600" y="560"/>
                  </a:lnTo>
                  <a:lnTo>
                    <a:pt x="602" y="548"/>
                  </a:lnTo>
                  <a:lnTo>
                    <a:pt x="602" y="548"/>
                  </a:lnTo>
                  <a:lnTo>
                    <a:pt x="596" y="542"/>
                  </a:lnTo>
                  <a:lnTo>
                    <a:pt x="590" y="540"/>
                  </a:lnTo>
                  <a:lnTo>
                    <a:pt x="590" y="540"/>
                  </a:lnTo>
                  <a:lnTo>
                    <a:pt x="582" y="542"/>
                  </a:lnTo>
                  <a:lnTo>
                    <a:pt x="576" y="546"/>
                  </a:lnTo>
                  <a:lnTo>
                    <a:pt x="558" y="562"/>
                  </a:lnTo>
                  <a:lnTo>
                    <a:pt x="558" y="562"/>
                  </a:lnTo>
                  <a:lnTo>
                    <a:pt x="550" y="570"/>
                  </a:lnTo>
                  <a:lnTo>
                    <a:pt x="540" y="578"/>
                  </a:lnTo>
                  <a:lnTo>
                    <a:pt x="530" y="584"/>
                  </a:lnTo>
                  <a:lnTo>
                    <a:pt x="520" y="584"/>
                  </a:lnTo>
                  <a:lnTo>
                    <a:pt x="520" y="584"/>
                  </a:lnTo>
                  <a:lnTo>
                    <a:pt x="514" y="584"/>
                  </a:lnTo>
                  <a:lnTo>
                    <a:pt x="508" y="582"/>
                  </a:lnTo>
                  <a:lnTo>
                    <a:pt x="508" y="582"/>
                  </a:lnTo>
                  <a:lnTo>
                    <a:pt x="498" y="584"/>
                  </a:lnTo>
                  <a:lnTo>
                    <a:pt x="488" y="588"/>
                  </a:lnTo>
                  <a:lnTo>
                    <a:pt x="480" y="596"/>
                  </a:lnTo>
                  <a:lnTo>
                    <a:pt x="474" y="602"/>
                  </a:lnTo>
                  <a:lnTo>
                    <a:pt x="468" y="612"/>
                  </a:lnTo>
                  <a:lnTo>
                    <a:pt x="466" y="622"/>
                  </a:lnTo>
                  <a:lnTo>
                    <a:pt x="464" y="632"/>
                  </a:lnTo>
                  <a:lnTo>
                    <a:pt x="462" y="642"/>
                  </a:lnTo>
                  <a:lnTo>
                    <a:pt x="464" y="652"/>
                  </a:lnTo>
                  <a:lnTo>
                    <a:pt x="466" y="662"/>
                  </a:lnTo>
                  <a:lnTo>
                    <a:pt x="470" y="672"/>
                  </a:lnTo>
                  <a:lnTo>
                    <a:pt x="474" y="680"/>
                  </a:lnTo>
                  <a:lnTo>
                    <a:pt x="480" y="688"/>
                  </a:lnTo>
                  <a:lnTo>
                    <a:pt x="488" y="694"/>
                  </a:lnTo>
                  <a:lnTo>
                    <a:pt x="498" y="698"/>
                  </a:lnTo>
                  <a:lnTo>
                    <a:pt x="508" y="700"/>
                  </a:lnTo>
                  <a:lnTo>
                    <a:pt x="508" y="700"/>
                  </a:lnTo>
                  <a:lnTo>
                    <a:pt x="528" y="694"/>
                  </a:lnTo>
                  <a:lnTo>
                    <a:pt x="546" y="684"/>
                  </a:lnTo>
                  <a:lnTo>
                    <a:pt x="564" y="676"/>
                  </a:lnTo>
                  <a:lnTo>
                    <a:pt x="572" y="674"/>
                  </a:lnTo>
                  <a:lnTo>
                    <a:pt x="582" y="674"/>
                  </a:lnTo>
                  <a:lnTo>
                    <a:pt x="582" y="674"/>
                  </a:lnTo>
                  <a:lnTo>
                    <a:pt x="590" y="674"/>
                  </a:lnTo>
                  <a:lnTo>
                    <a:pt x="598" y="676"/>
                  </a:lnTo>
                  <a:lnTo>
                    <a:pt x="606" y="682"/>
                  </a:lnTo>
                  <a:lnTo>
                    <a:pt x="614" y="688"/>
                  </a:lnTo>
                  <a:lnTo>
                    <a:pt x="614" y="688"/>
                  </a:lnTo>
                  <a:lnTo>
                    <a:pt x="622" y="694"/>
                  </a:lnTo>
                  <a:lnTo>
                    <a:pt x="630" y="698"/>
                  </a:lnTo>
                  <a:lnTo>
                    <a:pt x="640" y="700"/>
                  </a:lnTo>
                  <a:lnTo>
                    <a:pt x="648" y="702"/>
                  </a:lnTo>
                  <a:lnTo>
                    <a:pt x="648" y="702"/>
                  </a:lnTo>
                  <a:lnTo>
                    <a:pt x="656" y="700"/>
                  </a:lnTo>
                  <a:lnTo>
                    <a:pt x="664" y="700"/>
                  </a:lnTo>
                  <a:lnTo>
                    <a:pt x="678" y="692"/>
                  </a:lnTo>
                  <a:lnTo>
                    <a:pt x="692" y="682"/>
                  </a:lnTo>
                  <a:lnTo>
                    <a:pt x="702" y="668"/>
                  </a:lnTo>
                  <a:lnTo>
                    <a:pt x="710" y="652"/>
                  </a:lnTo>
                  <a:lnTo>
                    <a:pt x="714" y="636"/>
                  </a:lnTo>
                  <a:lnTo>
                    <a:pt x="716" y="620"/>
                  </a:lnTo>
                  <a:lnTo>
                    <a:pt x="714" y="610"/>
                  </a:lnTo>
                  <a:lnTo>
                    <a:pt x="712" y="602"/>
                  </a:lnTo>
                  <a:lnTo>
                    <a:pt x="712" y="602"/>
                  </a:lnTo>
                  <a:lnTo>
                    <a:pt x="710" y="596"/>
                  </a:lnTo>
                  <a:lnTo>
                    <a:pt x="708" y="586"/>
                  </a:lnTo>
                  <a:lnTo>
                    <a:pt x="706" y="564"/>
                  </a:lnTo>
                  <a:lnTo>
                    <a:pt x="706" y="544"/>
                  </a:lnTo>
                  <a:lnTo>
                    <a:pt x="704" y="538"/>
                  </a:lnTo>
                  <a:lnTo>
                    <a:pt x="700" y="536"/>
                  </a:lnTo>
                  <a:close/>
                  <a:moveTo>
                    <a:pt x="740" y="212"/>
                  </a:moveTo>
                  <a:lnTo>
                    <a:pt x="740" y="212"/>
                  </a:lnTo>
                  <a:lnTo>
                    <a:pt x="728" y="214"/>
                  </a:lnTo>
                  <a:lnTo>
                    <a:pt x="722" y="218"/>
                  </a:lnTo>
                  <a:lnTo>
                    <a:pt x="718" y="220"/>
                  </a:lnTo>
                  <a:lnTo>
                    <a:pt x="714" y="226"/>
                  </a:lnTo>
                  <a:lnTo>
                    <a:pt x="712" y="230"/>
                  </a:lnTo>
                  <a:lnTo>
                    <a:pt x="710" y="238"/>
                  </a:lnTo>
                  <a:lnTo>
                    <a:pt x="710" y="246"/>
                  </a:lnTo>
                  <a:lnTo>
                    <a:pt x="710" y="246"/>
                  </a:lnTo>
                  <a:lnTo>
                    <a:pt x="714" y="246"/>
                  </a:lnTo>
                  <a:lnTo>
                    <a:pt x="714" y="246"/>
                  </a:lnTo>
                  <a:lnTo>
                    <a:pt x="724" y="246"/>
                  </a:lnTo>
                  <a:lnTo>
                    <a:pt x="732" y="248"/>
                  </a:lnTo>
                  <a:lnTo>
                    <a:pt x="740" y="252"/>
                  </a:lnTo>
                  <a:lnTo>
                    <a:pt x="746" y="256"/>
                  </a:lnTo>
                  <a:lnTo>
                    <a:pt x="758" y="266"/>
                  </a:lnTo>
                  <a:lnTo>
                    <a:pt x="768" y="280"/>
                  </a:lnTo>
                  <a:lnTo>
                    <a:pt x="774" y="296"/>
                  </a:lnTo>
                  <a:lnTo>
                    <a:pt x="778" y="312"/>
                  </a:lnTo>
                  <a:lnTo>
                    <a:pt x="780" y="330"/>
                  </a:lnTo>
                  <a:lnTo>
                    <a:pt x="780" y="346"/>
                  </a:lnTo>
                  <a:lnTo>
                    <a:pt x="780" y="346"/>
                  </a:lnTo>
                  <a:lnTo>
                    <a:pt x="774" y="358"/>
                  </a:lnTo>
                  <a:lnTo>
                    <a:pt x="772" y="370"/>
                  </a:lnTo>
                  <a:lnTo>
                    <a:pt x="774" y="380"/>
                  </a:lnTo>
                  <a:lnTo>
                    <a:pt x="778" y="390"/>
                  </a:lnTo>
                  <a:lnTo>
                    <a:pt x="784" y="398"/>
                  </a:lnTo>
                  <a:lnTo>
                    <a:pt x="792" y="404"/>
                  </a:lnTo>
                  <a:lnTo>
                    <a:pt x="800" y="408"/>
                  </a:lnTo>
                  <a:lnTo>
                    <a:pt x="810" y="410"/>
                  </a:lnTo>
                  <a:lnTo>
                    <a:pt x="810" y="410"/>
                  </a:lnTo>
                  <a:lnTo>
                    <a:pt x="820" y="408"/>
                  </a:lnTo>
                  <a:lnTo>
                    <a:pt x="828" y="404"/>
                  </a:lnTo>
                  <a:lnTo>
                    <a:pt x="836" y="398"/>
                  </a:lnTo>
                  <a:lnTo>
                    <a:pt x="844" y="388"/>
                  </a:lnTo>
                  <a:lnTo>
                    <a:pt x="844" y="388"/>
                  </a:lnTo>
                  <a:lnTo>
                    <a:pt x="850" y="378"/>
                  </a:lnTo>
                  <a:lnTo>
                    <a:pt x="852" y="366"/>
                  </a:lnTo>
                  <a:lnTo>
                    <a:pt x="854" y="354"/>
                  </a:lnTo>
                  <a:lnTo>
                    <a:pt x="854" y="342"/>
                  </a:lnTo>
                  <a:lnTo>
                    <a:pt x="852" y="330"/>
                  </a:lnTo>
                  <a:lnTo>
                    <a:pt x="850" y="320"/>
                  </a:lnTo>
                  <a:lnTo>
                    <a:pt x="840" y="296"/>
                  </a:lnTo>
                  <a:lnTo>
                    <a:pt x="826" y="274"/>
                  </a:lnTo>
                  <a:lnTo>
                    <a:pt x="810" y="256"/>
                  </a:lnTo>
                  <a:lnTo>
                    <a:pt x="792" y="238"/>
                  </a:lnTo>
                  <a:lnTo>
                    <a:pt x="772" y="224"/>
                  </a:lnTo>
                  <a:lnTo>
                    <a:pt x="772" y="224"/>
                  </a:lnTo>
                  <a:lnTo>
                    <a:pt x="766" y="220"/>
                  </a:lnTo>
                  <a:lnTo>
                    <a:pt x="758" y="216"/>
                  </a:lnTo>
                  <a:lnTo>
                    <a:pt x="748" y="214"/>
                  </a:lnTo>
                  <a:lnTo>
                    <a:pt x="740" y="212"/>
                  </a:lnTo>
                  <a:close/>
                  <a:moveTo>
                    <a:pt x="128" y="146"/>
                  </a:moveTo>
                  <a:lnTo>
                    <a:pt x="128" y="146"/>
                  </a:lnTo>
                  <a:lnTo>
                    <a:pt x="110" y="148"/>
                  </a:lnTo>
                  <a:lnTo>
                    <a:pt x="94" y="154"/>
                  </a:lnTo>
                  <a:lnTo>
                    <a:pt x="80" y="164"/>
                  </a:lnTo>
                  <a:lnTo>
                    <a:pt x="66" y="174"/>
                  </a:lnTo>
                  <a:lnTo>
                    <a:pt x="54" y="188"/>
                  </a:lnTo>
                  <a:lnTo>
                    <a:pt x="44" y="204"/>
                  </a:lnTo>
                  <a:lnTo>
                    <a:pt x="36" y="220"/>
                  </a:lnTo>
                  <a:lnTo>
                    <a:pt x="28" y="234"/>
                  </a:lnTo>
                  <a:lnTo>
                    <a:pt x="28" y="234"/>
                  </a:lnTo>
                  <a:lnTo>
                    <a:pt x="16" y="260"/>
                  </a:lnTo>
                  <a:lnTo>
                    <a:pt x="8" y="286"/>
                  </a:lnTo>
                  <a:lnTo>
                    <a:pt x="4" y="314"/>
                  </a:lnTo>
                  <a:lnTo>
                    <a:pt x="2" y="340"/>
                  </a:lnTo>
                  <a:lnTo>
                    <a:pt x="0" y="368"/>
                  </a:lnTo>
                  <a:lnTo>
                    <a:pt x="2" y="396"/>
                  </a:lnTo>
                  <a:lnTo>
                    <a:pt x="2" y="452"/>
                  </a:lnTo>
                  <a:lnTo>
                    <a:pt x="2" y="452"/>
                  </a:lnTo>
                  <a:lnTo>
                    <a:pt x="0" y="466"/>
                  </a:lnTo>
                  <a:lnTo>
                    <a:pt x="0" y="480"/>
                  </a:lnTo>
                  <a:lnTo>
                    <a:pt x="4" y="490"/>
                  </a:lnTo>
                  <a:lnTo>
                    <a:pt x="10" y="502"/>
                  </a:lnTo>
                  <a:lnTo>
                    <a:pt x="18" y="510"/>
                  </a:lnTo>
                  <a:lnTo>
                    <a:pt x="30" y="516"/>
                  </a:lnTo>
                  <a:lnTo>
                    <a:pt x="40" y="520"/>
                  </a:lnTo>
                  <a:lnTo>
                    <a:pt x="52" y="520"/>
                  </a:lnTo>
                  <a:lnTo>
                    <a:pt x="52" y="520"/>
                  </a:lnTo>
                  <a:lnTo>
                    <a:pt x="66" y="520"/>
                  </a:lnTo>
                  <a:lnTo>
                    <a:pt x="78" y="514"/>
                  </a:lnTo>
                  <a:lnTo>
                    <a:pt x="88" y="504"/>
                  </a:lnTo>
                  <a:lnTo>
                    <a:pt x="98" y="490"/>
                  </a:lnTo>
                  <a:lnTo>
                    <a:pt x="98" y="490"/>
                  </a:lnTo>
                  <a:lnTo>
                    <a:pt x="104" y="482"/>
                  </a:lnTo>
                  <a:lnTo>
                    <a:pt x="110" y="474"/>
                  </a:lnTo>
                  <a:lnTo>
                    <a:pt x="114" y="466"/>
                  </a:lnTo>
                  <a:lnTo>
                    <a:pt x="116" y="458"/>
                  </a:lnTo>
                  <a:lnTo>
                    <a:pt x="118" y="440"/>
                  </a:lnTo>
                  <a:lnTo>
                    <a:pt x="116" y="424"/>
                  </a:lnTo>
                  <a:lnTo>
                    <a:pt x="110" y="406"/>
                  </a:lnTo>
                  <a:lnTo>
                    <a:pt x="104" y="388"/>
                  </a:lnTo>
                  <a:lnTo>
                    <a:pt x="96" y="370"/>
                  </a:lnTo>
                  <a:lnTo>
                    <a:pt x="90" y="352"/>
                  </a:lnTo>
                  <a:lnTo>
                    <a:pt x="90" y="352"/>
                  </a:lnTo>
                  <a:lnTo>
                    <a:pt x="104" y="302"/>
                  </a:lnTo>
                  <a:lnTo>
                    <a:pt x="110" y="276"/>
                  </a:lnTo>
                  <a:lnTo>
                    <a:pt x="120" y="252"/>
                  </a:lnTo>
                  <a:lnTo>
                    <a:pt x="130" y="228"/>
                  </a:lnTo>
                  <a:lnTo>
                    <a:pt x="142" y="206"/>
                  </a:lnTo>
                  <a:lnTo>
                    <a:pt x="156" y="184"/>
                  </a:lnTo>
                  <a:lnTo>
                    <a:pt x="174" y="164"/>
                  </a:lnTo>
                  <a:lnTo>
                    <a:pt x="174" y="164"/>
                  </a:lnTo>
                  <a:lnTo>
                    <a:pt x="156" y="154"/>
                  </a:lnTo>
                  <a:lnTo>
                    <a:pt x="146" y="148"/>
                  </a:lnTo>
                  <a:lnTo>
                    <a:pt x="136" y="146"/>
                  </a:lnTo>
                  <a:lnTo>
                    <a:pt x="136" y="146"/>
                  </a:lnTo>
                  <a:lnTo>
                    <a:pt x="128" y="146"/>
                  </a:lnTo>
                  <a:close/>
                  <a:moveTo>
                    <a:pt x="460" y="0"/>
                  </a:moveTo>
                  <a:lnTo>
                    <a:pt x="460" y="0"/>
                  </a:lnTo>
                  <a:lnTo>
                    <a:pt x="432" y="2"/>
                  </a:lnTo>
                  <a:lnTo>
                    <a:pt x="406" y="6"/>
                  </a:lnTo>
                  <a:lnTo>
                    <a:pt x="356" y="14"/>
                  </a:lnTo>
                  <a:lnTo>
                    <a:pt x="356" y="14"/>
                  </a:lnTo>
                  <a:lnTo>
                    <a:pt x="328" y="20"/>
                  </a:lnTo>
                  <a:lnTo>
                    <a:pt x="306" y="28"/>
                  </a:lnTo>
                  <a:lnTo>
                    <a:pt x="290" y="36"/>
                  </a:lnTo>
                  <a:lnTo>
                    <a:pt x="280" y="46"/>
                  </a:lnTo>
                  <a:lnTo>
                    <a:pt x="270" y="60"/>
                  </a:lnTo>
                  <a:lnTo>
                    <a:pt x="262" y="74"/>
                  </a:lnTo>
                  <a:lnTo>
                    <a:pt x="242" y="108"/>
                  </a:lnTo>
                  <a:lnTo>
                    <a:pt x="242" y="108"/>
                  </a:lnTo>
                  <a:lnTo>
                    <a:pt x="236" y="120"/>
                  </a:lnTo>
                  <a:lnTo>
                    <a:pt x="234" y="130"/>
                  </a:lnTo>
                  <a:lnTo>
                    <a:pt x="236" y="138"/>
                  </a:lnTo>
                  <a:lnTo>
                    <a:pt x="240" y="146"/>
                  </a:lnTo>
                  <a:lnTo>
                    <a:pt x="246" y="150"/>
                  </a:lnTo>
                  <a:lnTo>
                    <a:pt x="254" y="156"/>
                  </a:lnTo>
                  <a:lnTo>
                    <a:pt x="272" y="162"/>
                  </a:lnTo>
                  <a:lnTo>
                    <a:pt x="292" y="170"/>
                  </a:lnTo>
                  <a:lnTo>
                    <a:pt x="310" y="178"/>
                  </a:lnTo>
                  <a:lnTo>
                    <a:pt x="318" y="184"/>
                  </a:lnTo>
                  <a:lnTo>
                    <a:pt x="324" y="190"/>
                  </a:lnTo>
                  <a:lnTo>
                    <a:pt x="330" y="198"/>
                  </a:lnTo>
                  <a:lnTo>
                    <a:pt x="330" y="208"/>
                  </a:lnTo>
                  <a:lnTo>
                    <a:pt x="330" y="208"/>
                  </a:lnTo>
                  <a:lnTo>
                    <a:pt x="332" y="220"/>
                  </a:lnTo>
                  <a:lnTo>
                    <a:pt x="332" y="232"/>
                  </a:lnTo>
                  <a:lnTo>
                    <a:pt x="332" y="240"/>
                  </a:lnTo>
                  <a:lnTo>
                    <a:pt x="330" y="248"/>
                  </a:lnTo>
                  <a:lnTo>
                    <a:pt x="322" y="262"/>
                  </a:lnTo>
                  <a:lnTo>
                    <a:pt x="312" y="274"/>
                  </a:lnTo>
                  <a:lnTo>
                    <a:pt x="302" y="286"/>
                  </a:lnTo>
                  <a:lnTo>
                    <a:pt x="292" y="298"/>
                  </a:lnTo>
                  <a:lnTo>
                    <a:pt x="290" y="304"/>
                  </a:lnTo>
                  <a:lnTo>
                    <a:pt x="286" y="312"/>
                  </a:lnTo>
                  <a:lnTo>
                    <a:pt x="286" y="322"/>
                  </a:lnTo>
                  <a:lnTo>
                    <a:pt x="286" y="332"/>
                  </a:lnTo>
                  <a:lnTo>
                    <a:pt x="286" y="332"/>
                  </a:lnTo>
                  <a:lnTo>
                    <a:pt x="290" y="366"/>
                  </a:lnTo>
                  <a:lnTo>
                    <a:pt x="292" y="382"/>
                  </a:lnTo>
                  <a:lnTo>
                    <a:pt x="298" y="394"/>
                  </a:lnTo>
                  <a:lnTo>
                    <a:pt x="302" y="404"/>
                  </a:lnTo>
                  <a:lnTo>
                    <a:pt x="308" y="412"/>
                  </a:lnTo>
                  <a:lnTo>
                    <a:pt x="322" y="430"/>
                  </a:lnTo>
                  <a:lnTo>
                    <a:pt x="322" y="430"/>
                  </a:lnTo>
                  <a:lnTo>
                    <a:pt x="352" y="454"/>
                  </a:lnTo>
                  <a:lnTo>
                    <a:pt x="380" y="480"/>
                  </a:lnTo>
                  <a:lnTo>
                    <a:pt x="396" y="492"/>
                  </a:lnTo>
                  <a:lnTo>
                    <a:pt x="412" y="502"/>
                  </a:lnTo>
                  <a:lnTo>
                    <a:pt x="430" y="508"/>
                  </a:lnTo>
                  <a:lnTo>
                    <a:pt x="448" y="510"/>
                  </a:lnTo>
                  <a:lnTo>
                    <a:pt x="448" y="510"/>
                  </a:lnTo>
                  <a:lnTo>
                    <a:pt x="458" y="510"/>
                  </a:lnTo>
                  <a:lnTo>
                    <a:pt x="468" y="508"/>
                  </a:lnTo>
                  <a:lnTo>
                    <a:pt x="468" y="508"/>
                  </a:lnTo>
                  <a:lnTo>
                    <a:pt x="476" y="498"/>
                  </a:lnTo>
                  <a:lnTo>
                    <a:pt x="482" y="490"/>
                  </a:lnTo>
                  <a:lnTo>
                    <a:pt x="484" y="484"/>
                  </a:lnTo>
                  <a:lnTo>
                    <a:pt x="482" y="478"/>
                  </a:lnTo>
                  <a:lnTo>
                    <a:pt x="478" y="474"/>
                  </a:lnTo>
                  <a:lnTo>
                    <a:pt x="472" y="472"/>
                  </a:lnTo>
                  <a:lnTo>
                    <a:pt x="454" y="468"/>
                  </a:lnTo>
                  <a:lnTo>
                    <a:pt x="434" y="464"/>
                  </a:lnTo>
                  <a:lnTo>
                    <a:pt x="414" y="460"/>
                  </a:lnTo>
                  <a:lnTo>
                    <a:pt x="406" y="456"/>
                  </a:lnTo>
                  <a:lnTo>
                    <a:pt x="398" y="452"/>
                  </a:lnTo>
                  <a:lnTo>
                    <a:pt x="392" y="446"/>
                  </a:lnTo>
                  <a:lnTo>
                    <a:pt x="390" y="438"/>
                  </a:lnTo>
                  <a:lnTo>
                    <a:pt x="390" y="438"/>
                  </a:lnTo>
                  <a:lnTo>
                    <a:pt x="394" y="398"/>
                  </a:lnTo>
                  <a:lnTo>
                    <a:pt x="396" y="378"/>
                  </a:lnTo>
                  <a:lnTo>
                    <a:pt x="400" y="358"/>
                  </a:lnTo>
                  <a:lnTo>
                    <a:pt x="406" y="338"/>
                  </a:lnTo>
                  <a:lnTo>
                    <a:pt x="414" y="320"/>
                  </a:lnTo>
                  <a:lnTo>
                    <a:pt x="426" y="304"/>
                  </a:lnTo>
                  <a:lnTo>
                    <a:pt x="434" y="298"/>
                  </a:lnTo>
                  <a:lnTo>
                    <a:pt x="442" y="292"/>
                  </a:lnTo>
                  <a:lnTo>
                    <a:pt x="442" y="292"/>
                  </a:lnTo>
                  <a:lnTo>
                    <a:pt x="452" y="286"/>
                  </a:lnTo>
                  <a:lnTo>
                    <a:pt x="460" y="282"/>
                  </a:lnTo>
                  <a:lnTo>
                    <a:pt x="468" y="274"/>
                  </a:lnTo>
                  <a:lnTo>
                    <a:pt x="472" y="266"/>
                  </a:lnTo>
                  <a:lnTo>
                    <a:pt x="482" y="246"/>
                  </a:lnTo>
                  <a:lnTo>
                    <a:pt x="488" y="224"/>
                  </a:lnTo>
                  <a:lnTo>
                    <a:pt x="494" y="202"/>
                  </a:lnTo>
                  <a:lnTo>
                    <a:pt x="500" y="180"/>
                  </a:lnTo>
                  <a:lnTo>
                    <a:pt x="506" y="170"/>
                  </a:lnTo>
                  <a:lnTo>
                    <a:pt x="510" y="160"/>
                  </a:lnTo>
                  <a:lnTo>
                    <a:pt x="518" y="150"/>
                  </a:lnTo>
                  <a:lnTo>
                    <a:pt x="526" y="142"/>
                  </a:lnTo>
                  <a:lnTo>
                    <a:pt x="526" y="142"/>
                  </a:lnTo>
                  <a:lnTo>
                    <a:pt x="532" y="136"/>
                  </a:lnTo>
                  <a:lnTo>
                    <a:pt x="544" y="134"/>
                  </a:lnTo>
                  <a:lnTo>
                    <a:pt x="556" y="132"/>
                  </a:lnTo>
                  <a:lnTo>
                    <a:pt x="572" y="130"/>
                  </a:lnTo>
                  <a:lnTo>
                    <a:pt x="572" y="130"/>
                  </a:lnTo>
                  <a:lnTo>
                    <a:pt x="598" y="132"/>
                  </a:lnTo>
                  <a:lnTo>
                    <a:pt x="628" y="134"/>
                  </a:lnTo>
                  <a:lnTo>
                    <a:pt x="628" y="134"/>
                  </a:lnTo>
                  <a:lnTo>
                    <a:pt x="656" y="136"/>
                  </a:lnTo>
                  <a:lnTo>
                    <a:pt x="680" y="138"/>
                  </a:lnTo>
                  <a:lnTo>
                    <a:pt x="680" y="138"/>
                  </a:lnTo>
                  <a:lnTo>
                    <a:pt x="692" y="136"/>
                  </a:lnTo>
                  <a:lnTo>
                    <a:pt x="702" y="134"/>
                  </a:lnTo>
                  <a:lnTo>
                    <a:pt x="710" y="132"/>
                  </a:lnTo>
                  <a:lnTo>
                    <a:pt x="712" y="126"/>
                  </a:lnTo>
                  <a:lnTo>
                    <a:pt x="710" y="120"/>
                  </a:lnTo>
                  <a:lnTo>
                    <a:pt x="702" y="110"/>
                  </a:lnTo>
                  <a:lnTo>
                    <a:pt x="690" y="98"/>
                  </a:lnTo>
                  <a:lnTo>
                    <a:pt x="672" y="82"/>
                  </a:lnTo>
                  <a:lnTo>
                    <a:pt x="672" y="82"/>
                  </a:lnTo>
                  <a:lnTo>
                    <a:pt x="640" y="60"/>
                  </a:lnTo>
                  <a:lnTo>
                    <a:pt x="610" y="42"/>
                  </a:lnTo>
                  <a:lnTo>
                    <a:pt x="582" y="28"/>
                  </a:lnTo>
                  <a:lnTo>
                    <a:pt x="554" y="18"/>
                  </a:lnTo>
                  <a:lnTo>
                    <a:pt x="530" y="10"/>
                  </a:lnTo>
                  <a:lnTo>
                    <a:pt x="506" y="4"/>
                  </a:lnTo>
                  <a:lnTo>
                    <a:pt x="482" y="2"/>
                  </a:lnTo>
                  <a:lnTo>
                    <a:pt x="460" y="0"/>
                  </a:lnTo>
                  <a:close/>
                </a:path>
              </a:pathLst>
            </a:custGeom>
            <a:solidFill>
              <a:srgbClr val="2B8948"/>
            </a:solid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7" name="Freeform 28"/>
            <p:cNvSpPr>
              <a:spLocks/>
            </p:cNvSpPr>
            <p:nvPr/>
          </p:nvSpPr>
          <p:spPr bwMode="auto">
            <a:xfrm>
              <a:off x="13307291" y="4567521"/>
              <a:ext cx="469900" cy="180975"/>
            </a:xfrm>
            <a:custGeom>
              <a:avLst/>
              <a:gdLst>
                <a:gd name="T0" fmla="*/ 138 w 296"/>
                <a:gd name="T1" fmla="*/ 0 h 114"/>
                <a:gd name="T2" fmla="*/ 138 w 296"/>
                <a:gd name="T3" fmla="*/ 0 h 114"/>
                <a:gd name="T4" fmla="*/ 104 w 296"/>
                <a:gd name="T5" fmla="*/ 0 h 114"/>
                <a:gd name="T6" fmla="*/ 70 w 296"/>
                <a:gd name="T7" fmla="*/ 4 h 114"/>
                <a:gd name="T8" fmla="*/ 36 w 296"/>
                <a:gd name="T9" fmla="*/ 6 h 114"/>
                <a:gd name="T10" fmla="*/ 2 w 296"/>
                <a:gd name="T11" fmla="*/ 8 h 114"/>
                <a:gd name="T12" fmla="*/ 2 w 296"/>
                <a:gd name="T13" fmla="*/ 8 h 114"/>
                <a:gd name="T14" fmla="*/ 0 w 296"/>
                <a:gd name="T15" fmla="*/ 14 h 114"/>
                <a:gd name="T16" fmla="*/ 0 w 296"/>
                <a:gd name="T17" fmla="*/ 22 h 114"/>
                <a:gd name="T18" fmla="*/ 4 w 296"/>
                <a:gd name="T19" fmla="*/ 36 h 114"/>
                <a:gd name="T20" fmla="*/ 4 w 296"/>
                <a:gd name="T21" fmla="*/ 36 h 114"/>
                <a:gd name="T22" fmla="*/ 8 w 296"/>
                <a:gd name="T23" fmla="*/ 44 h 114"/>
                <a:gd name="T24" fmla="*/ 14 w 296"/>
                <a:gd name="T25" fmla="*/ 52 h 114"/>
                <a:gd name="T26" fmla="*/ 20 w 296"/>
                <a:gd name="T27" fmla="*/ 58 h 114"/>
                <a:gd name="T28" fmla="*/ 26 w 296"/>
                <a:gd name="T29" fmla="*/ 62 h 114"/>
                <a:gd name="T30" fmla="*/ 42 w 296"/>
                <a:gd name="T31" fmla="*/ 70 h 114"/>
                <a:gd name="T32" fmla="*/ 58 w 296"/>
                <a:gd name="T33" fmla="*/ 74 h 114"/>
                <a:gd name="T34" fmla="*/ 94 w 296"/>
                <a:gd name="T35" fmla="*/ 80 h 114"/>
                <a:gd name="T36" fmla="*/ 110 w 296"/>
                <a:gd name="T37" fmla="*/ 84 h 114"/>
                <a:gd name="T38" fmla="*/ 128 w 296"/>
                <a:gd name="T39" fmla="*/ 88 h 114"/>
                <a:gd name="T40" fmla="*/ 128 w 296"/>
                <a:gd name="T41" fmla="*/ 88 h 114"/>
                <a:gd name="T42" fmla="*/ 184 w 296"/>
                <a:gd name="T43" fmla="*/ 104 h 114"/>
                <a:gd name="T44" fmla="*/ 214 w 296"/>
                <a:gd name="T45" fmla="*/ 112 h 114"/>
                <a:gd name="T46" fmla="*/ 228 w 296"/>
                <a:gd name="T47" fmla="*/ 114 h 114"/>
                <a:gd name="T48" fmla="*/ 244 w 296"/>
                <a:gd name="T49" fmla="*/ 114 h 114"/>
                <a:gd name="T50" fmla="*/ 244 w 296"/>
                <a:gd name="T51" fmla="*/ 114 h 114"/>
                <a:gd name="T52" fmla="*/ 258 w 296"/>
                <a:gd name="T53" fmla="*/ 114 h 114"/>
                <a:gd name="T54" fmla="*/ 270 w 296"/>
                <a:gd name="T55" fmla="*/ 112 h 114"/>
                <a:gd name="T56" fmla="*/ 284 w 296"/>
                <a:gd name="T57" fmla="*/ 106 h 114"/>
                <a:gd name="T58" fmla="*/ 296 w 296"/>
                <a:gd name="T59" fmla="*/ 100 h 114"/>
                <a:gd name="T60" fmla="*/ 296 w 296"/>
                <a:gd name="T61" fmla="*/ 100 h 114"/>
                <a:gd name="T62" fmla="*/ 296 w 296"/>
                <a:gd name="T63" fmla="*/ 92 h 114"/>
                <a:gd name="T64" fmla="*/ 292 w 296"/>
                <a:gd name="T65" fmla="*/ 86 h 114"/>
                <a:gd name="T66" fmla="*/ 284 w 296"/>
                <a:gd name="T67" fmla="*/ 74 h 114"/>
                <a:gd name="T68" fmla="*/ 272 w 296"/>
                <a:gd name="T69" fmla="*/ 62 h 114"/>
                <a:gd name="T70" fmla="*/ 256 w 296"/>
                <a:gd name="T71" fmla="*/ 52 h 114"/>
                <a:gd name="T72" fmla="*/ 224 w 296"/>
                <a:gd name="T73" fmla="*/ 30 h 114"/>
                <a:gd name="T74" fmla="*/ 210 w 296"/>
                <a:gd name="T75" fmla="*/ 18 h 114"/>
                <a:gd name="T76" fmla="*/ 198 w 296"/>
                <a:gd name="T77" fmla="*/ 6 h 114"/>
                <a:gd name="T78" fmla="*/ 198 w 296"/>
                <a:gd name="T79" fmla="*/ 6 h 114"/>
                <a:gd name="T80" fmla="*/ 168 w 296"/>
                <a:gd name="T81" fmla="*/ 0 h 114"/>
                <a:gd name="T82" fmla="*/ 138 w 296"/>
                <a:gd name="T8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114">
                  <a:moveTo>
                    <a:pt x="138" y="0"/>
                  </a:moveTo>
                  <a:lnTo>
                    <a:pt x="138" y="0"/>
                  </a:lnTo>
                  <a:lnTo>
                    <a:pt x="104" y="0"/>
                  </a:lnTo>
                  <a:lnTo>
                    <a:pt x="70" y="4"/>
                  </a:lnTo>
                  <a:lnTo>
                    <a:pt x="36" y="6"/>
                  </a:lnTo>
                  <a:lnTo>
                    <a:pt x="2" y="8"/>
                  </a:lnTo>
                  <a:lnTo>
                    <a:pt x="2" y="8"/>
                  </a:lnTo>
                  <a:lnTo>
                    <a:pt x="0" y="14"/>
                  </a:lnTo>
                  <a:lnTo>
                    <a:pt x="0" y="22"/>
                  </a:lnTo>
                  <a:lnTo>
                    <a:pt x="4" y="36"/>
                  </a:lnTo>
                  <a:lnTo>
                    <a:pt x="4" y="36"/>
                  </a:lnTo>
                  <a:lnTo>
                    <a:pt x="8" y="44"/>
                  </a:lnTo>
                  <a:lnTo>
                    <a:pt x="14" y="52"/>
                  </a:lnTo>
                  <a:lnTo>
                    <a:pt x="20" y="58"/>
                  </a:lnTo>
                  <a:lnTo>
                    <a:pt x="26" y="62"/>
                  </a:lnTo>
                  <a:lnTo>
                    <a:pt x="42" y="70"/>
                  </a:lnTo>
                  <a:lnTo>
                    <a:pt x="58" y="74"/>
                  </a:lnTo>
                  <a:lnTo>
                    <a:pt x="94" y="80"/>
                  </a:lnTo>
                  <a:lnTo>
                    <a:pt x="110" y="84"/>
                  </a:lnTo>
                  <a:lnTo>
                    <a:pt x="128" y="88"/>
                  </a:lnTo>
                  <a:lnTo>
                    <a:pt x="128" y="88"/>
                  </a:lnTo>
                  <a:lnTo>
                    <a:pt x="184" y="104"/>
                  </a:lnTo>
                  <a:lnTo>
                    <a:pt x="214" y="112"/>
                  </a:lnTo>
                  <a:lnTo>
                    <a:pt x="228" y="114"/>
                  </a:lnTo>
                  <a:lnTo>
                    <a:pt x="244" y="114"/>
                  </a:lnTo>
                  <a:lnTo>
                    <a:pt x="244" y="114"/>
                  </a:lnTo>
                  <a:lnTo>
                    <a:pt x="258" y="114"/>
                  </a:lnTo>
                  <a:lnTo>
                    <a:pt x="270" y="112"/>
                  </a:lnTo>
                  <a:lnTo>
                    <a:pt x="284" y="106"/>
                  </a:lnTo>
                  <a:lnTo>
                    <a:pt x="296" y="100"/>
                  </a:lnTo>
                  <a:lnTo>
                    <a:pt x="296" y="100"/>
                  </a:lnTo>
                  <a:lnTo>
                    <a:pt x="296" y="92"/>
                  </a:lnTo>
                  <a:lnTo>
                    <a:pt x="292" y="86"/>
                  </a:lnTo>
                  <a:lnTo>
                    <a:pt x="284" y="74"/>
                  </a:lnTo>
                  <a:lnTo>
                    <a:pt x="272" y="62"/>
                  </a:lnTo>
                  <a:lnTo>
                    <a:pt x="256" y="52"/>
                  </a:lnTo>
                  <a:lnTo>
                    <a:pt x="224" y="30"/>
                  </a:lnTo>
                  <a:lnTo>
                    <a:pt x="210" y="18"/>
                  </a:lnTo>
                  <a:lnTo>
                    <a:pt x="198" y="6"/>
                  </a:lnTo>
                  <a:lnTo>
                    <a:pt x="198" y="6"/>
                  </a:lnTo>
                  <a:lnTo>
                    <a:pt x="168" y="0"/>
                  </a:lnTo>
                  <a:lnTo>
                    <a:pt x="13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8" name="Freeform 29"/>
            <p:cNvSpPr>
              <a:spLocks/>
            </p:cNvSpPr>
            <p:nvPr/>
          </p:nvSpPr>
          <p:spPr bwMode="auto">
            <a:xfrm>
              <a:off x="14012141" y="4545296"/>
              <a:ext cx="44450" cy="53975"/>
            </a:xfrm>
            <a:custGeom>
              <a:avLst/>
              <a:gdLst>
                <a:gd name="T0" fmla="*/ 18 w 28"/>
                <a:gd name="T1" fmla="*/ 0 h 34"/>
                <a:gd name="T2" fmla="*/ 18 w 28"/>
                <a:gd name="T3" fmla="*/ 0 h 34"/>
                <a:gd name="T4" fmla="*/ 12 w 28"/>
                <a:gd name="T5" fmla="*/ 0 h 34"/>
                <a:gd name="T6" fmla="*/ 6 w 28"/>
                <a:gd name="T7" fmla="*/ 4 h 34"/>
                <a:gd name="T8" fmla="*/ 2 w 28"/>
                <a:gd name="T9" fmla="*/ 8 h 34"/>
                <a:gd name="T10" fmla="*/ 0 w 28"/>
                <a:gd name="T11" fmla="*/ 14 h 34"/>
                <a:gd name="T12" fmla="*/ 0 w 28"/>
                <a:gd name="T13" fmla="*/ 14 h 34"/>
                <a:gd name="T14" fmla="*/ 2 w 28"/>
                <a:gd name="T15" fmla="*/ 22 h 34"/>
                <a:gd name="T16" fmla="*/ 4 w 28"/>
                <a:gd name="T17" fmla="*/ 28 h 34"/>
                <a:gd name="T18" fmla="*/ 8 w 28"/>
                <a:gd name="T19" fmla="*/ 32 h 34"/>
                <a:gd name="T20" fmla="*/ 12 w 28"/>
                <a:gd name="T21" fmla="*/ 34 h 34"/>
                <a:gd name="T22" fmla="*/ 12 w 28"/>
                <a:gd name="T23" fmla="*/ 34 h 34"/>
                <a:gd name="T24" fmla="*/ 16 w 28"/>
                <a:gd name="T25" fmla="*/ 32 h 34"/>
                <a:gd name="T26" fmla="*/ 20 w 28"/>
                <a:gd name="T27" fmla="*/ 28 h 34"/>
                <a:gd name="T28" fmla="*/ 22 w 28"/>
                <a:gd name="T29" fmla="*/ 24 h 34"/>
                <a:gd name="T30" fmla="*/ 26 w 28"/>
                <a:gd name="T31" fmla="*/ 16 h 34"/>
                <a:gd name="T32" fmla="*/ 26 w 28"/>
                <a:gd name="T33" fmla="*/ 16 h 34"/>
                <a:gd name="T34" fmla="*/ 28 w 28"/>
                <a:gd name="T35" fmla="*/ 8 h 34"/>
                <a:gd name="T36" fmla="*/ 26 w 28"/>
                <a:gd name="T37" fmla="*/ 4 h 34"/>
                <a:gd name="T38" fmla="*/ 22 w 28"/>
                <a:gd name="T39" fmla="*/ 0 h 34"/>
                <a:gd name="T40" fmla="*/ 18 w 28"/>
                <a:gd name="T4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34">
                  <a:moveTo>
                    <a:pt x="18" y="0"/>
                  </a:moveTo>
                  <a:lnTo>
                    <a:pt x="18" y="0"/>
                  </a:lnTo>
                  <a:lnTo>
                    <a:pt x="12" y="0"/>
                  </a:lnTo>
                  <a:lnTo>
                    <a:pt x="6" y="4"/>
                  </a:lnTo>
                  <a:lnTo>
                    <a:pt x="2" y="8"/>
                  </a:lnTo>
                  <a:lnTo>
                    <a:pt x="0" y="14"/>
                  </a:lnTo>
                  <a:lnTo>
                    <a:pt x="0" y="14"/>
                  </a:lnTo>
                  <a:lnTo>
                    <a:pt x="2" y="22"/>
                  </a:lnTo>
                  <a:lnTo>
                    <a:pt x="4" y="28"/>
                  </a:lnTo>
                  <a:lnTo>
                    <a:pt x="8" y="32"/>
                  </a:lnTo>
                  <a:lnTo>
                    <a:pt x="12" y="34"/>
                  </a:lnTo>
                  <a:lnTo>
                    <a:pt x="12" y="34"/>
                  </a:lnTo>
                  <a:lnTo>
                    <a:pt x="16" y="32"/>
                  </a:lnTo>
                  <a:lnTo>
                    <a:pt x="20" y="28"/>
                  </a:lnTo>
                  <a:lnTo>
                    <a:pt x="22" y="24"/>
                  </a:lnTo>
                  <a:lnTo>
                    <a:pt x="26" y="16"/>
                  </a:lnTo>
                  <a:lnTo>
                    <a:pt x="26" y="16"/>
                  </a:lnTo>
                  <a:lnTo>
                    <a:pt x="28" y="8"/>
                  </a:lnTo>
                  <a:lnTo>
                    <a:pt x="26" y="4"/>
                  </a:lnTo>
                  <a:lnTo>
                    <a:pt x="22" y="0"/>
                  </a:lnTo>
                  <a:lnTo>
                    <a:pt x="1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6" name="Freeform 30"/>
            <p:cNvSpPr>
              <a:spLocks/>
            </p:cNvSpPr>
            <p:nvPr/>
          </p:nvSpPr>
          <p:spPr bwMode="auto">
            <a:xfrm>
              <a:off x="13732741" y="4246846"/>
              <a:ext cx="403225" cy="263525"/>
            </a:xfrm>
            <a:custGeom>
              <a:avLst/>
              <a:gdLst>
                <a:gd name="T0" fmla="*/ 238 w 254"/>
                <a:gd name="T1" fmla="*/ 0 h 166"/>
                <a:gd name="T2" fmla="*/ 228 w 254"/>
                <a:gd name="T3" fmla="*/ 12 h 166"/>
                <a:gd name="T4" fmla="*/ 224 w 254"/>
                <a:gd name="T5" fmla="*/ 22 h 166"/>
                <a:gd name="T6" fmla="*/ 210 w 254"/>
                <a:gd name="T7" fmla="*/ 40 h 166"/>
                <a:gd name="T8" fmla="*/ 194 w 254"/>
                <a:gd name="T9" fmla="*/ 52 h 166"/>
                <a:gd name="T10" fmla="*/ 176 w 254"/>
                <a:gd name="T11" fmla="*/ 58 h 166"/>
                <a:gd name="T12" fmla="*/ 166 w 254"/>
                <a:gd name="T13" fmla="*/ 58 h 166"/>
                <a:gd name="T14" fmla="*/ 154 w 254"/>
                <a:gd name="T15" fmla="*/ 56 h 166"/>
                <a:gd name="T16" fmla="*/ 142 w 254"/>
                <a:gd name="T17" fmla="*/ 48 h 166"/>
                <a:gd name="T18" fmla="*/ 138 w 254"/>
                <a:gd name="T19" fmla="*/ 34 h 166"/>
                <a:gd name="T20" fmla="*/ 140 w 254"/>
                <a:gd name="T21" fmla="*/ 12 h 166"/>
                <a:gd name="T22" fmla="*/ 134 w 254"/>
                <a:gd name="T23" fmla="*/ 6 h 166"/>
                <a:gd name="T24" fmla="*/ 128 w 254"/>
                <a:gd name="T25" fmla="*/ 4 h 166"/>
                <a:gd name="T26" fmla="*/ 114 w 254"/>
                <a:gd name="T27" fmla="*/ 10 h 166"/>
                <a:gd name="T28" fmla="*/ 96 w 254"/>
                <a:gd name="T29" fmla="*/ 26 h 166"/>
                <a:gd name="T30" fmla="*/ 78 w 254"/>
                <a:gd name="T31" fmla="*/ 42 h 166"/>
                <a:gd name="T32" fmla="*/ 58 w 254"/>
                <a:gd name="T33" fmla="*/ 48 h 166"/>
                <a:gd name="T34" fmla="*/ 52 w 254"/>
                <a:gd name="T35" fmla="*/ 48 h 166"/>
                <a:gd name="T36" fmla="*/ 46 w 254"/>
                <a:gd name="T37" fmla="*/ 46 h 166"/>
                <a:gd name="T38" fmla="*/ 26 w 254"/>
                <a:gd name="T39" fmla="*/ 52 h 166"/>
                <a:gd name="T40" fmla="*/ 12 w 254"/>
                <a:gd name="T41" fmla="*/ 66 h 166"/>
                <a:gd name="T42" fmla="*/ 4 w 254"/>
                <a:gd name="T43" fmla="*/ 86 h 166"/>
                <a:gd name="T44" fmla="*/ 0 w 254"/>
                <a:gd name="T45" fmla="*/ 106 h 166"/>
                <a:gd name="T46" fmla="*/ 4 w 254"/>
                <a:gd name="T47" fmla="*/ 126 h 166"/>
                <a:gd name="T48" fmla="*/ 12 w 254"/>
                <a:gd name="T49" fmla="*/ 144 h 166"/>
                <a:gd name="T50" fmla="*/ 26 w 254"/>
                <a:gd name="T51" fmla="*/ 158 h 166"/>
                <a:gd name="T52" fmla="*/ 46 w 254"/>
                <a:gd name="T53" fmla="*/ 164 h 166"/>
                <a:gd name="T54" fmla="*/ 66 w 254"/>
                <a:gd name="T55" fmla="*/ 158 h 166"/>
                <a:gd name="T56" fmla="*/ 102 w 254"/>
                <a:gd name="T57" fmla="*/ 140 h 166"/>
                <a:gd name="T58" fmla="*/ 120 w 254"/>
                <a:gd name="T59" fmla="*/ 138 h 166"/>
                <a:gd name="T60" fmla="*/ 128 w 254"/>
                <a:gd name="T61" fmla="*/ 138 h 166"/>
                <a:gd name="T62" fmla="*/ 144 w 254"/>
                <a:gd name="T63" fmla="*/ 146 h 166"/>
                <a:gd name="T64" fmla="*/ 152 w 254"/>
                <a:gd name="T65" fmla="*/ 152 h 166"/>
                <a:gd name="T66" fmla="*/ 168 w 254"/>
                <a:gd name="T67" fmla="*/ 162 h 166"/>
                <a:gd name="T68" fmla="*/ 186 w 254"/>
                <a:gd name="T69" fmla="*/ 166 h 166"/>
                <a:gd name="T70" fmla="*/ 194 w 254"/>
                <a:gd name="T71" fmla="*/ 164 h 166"/>
                <a:gd name="T72" fmla="*/ 216 w 254"/>
                <a:gd name="T73" fmla="*/ 156 h 166"/>
                <a:gd name="T74" fmla="*/ 240 w 254"/>
                <a:gd name="T75" fmla="*/ 132 h 166"/>
                <a:gd name="T76" fmla="*/ 252 w 254"/>
                <a:gd name="T77" fmla="*/ 100 h 166"/>
                <a:gd name="T78" fmla="*/ 252 w 254"/>
                <a:gd name="T79" fmla="*/ 74 h 166"/>
                <a:gd name="T80" fmla="*/ 250 w 254"/>
                <a:gd name="T81" fmla="*/ 66 h 166"/>
                <a:gd name="T82" fmla="*/ 246 w 254"/>
                <a:gd name="T83" fmla="*/ 50 h 166"/>
                <a:gd name="T84" fmla="*/ 244 w 254"/>
                <a:gd name="T85" fmla="*/ 8 h 166"/>
                <a:gd name="T86" fmla="*/ 238 w 254"/>
                <a:gd name="T8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4" h="166">
                  <a:moveTo>
                    <a:pt x="238" y="0"/>
                  </a:moveTo>
                  <a:lnTo>
                    <a:pt x="238" y="0"/>
                  </a:lnTo>
                  <a:lnTo>
                    <a:pt x="234" y="4"/>
                  </a:lnTo>
                  <a:lnTo>
                    <a:pt x="228" y="12"/>
                  </a:lnTo>
                  <a:lnTo>
                    <a:pt x="228" y="12"/>
                  </a:lnTo>
                  <a:lnTo>
                    <a:pt x="224" y="22"/>
                  </a:lnTo>
                  <a:lnTo>
                    <a:pt x="218" y="32"/>
                  </a:lnTo>
                  <a:lnTo>
                    <a:pt x="210" y="40"/>
                  </a:lnTo>
                  <a:lnTo>
                    <a:pt x="202" y="46"/>
                  </a:lnTo>
                  <a:lnTo>
                    <a:pt x="194" y="52"/>
                  </a:lnTo>
                  <a:lnTo>
                    <a:pt x="184" y="56"/>
                  </a:lnTo>
                  <a:lnTo>
                    <a:pt x="176" y="58"/>
                  </a:lnTo>
                  <a:lnTo>
                    <a:pt x="166" y="58"/>
                  </a:lnTo>
                  <a:lnTo>
                    <a:pt x="166" y="58"/>
                  </a:lnTo>
                  <a:lnTo>
                    <a:pt x="160" y="58"/>
                  </a:lnTo>
                  <a:lnTo>
                    <a:pt x="154" y="56"/>
                  </a:lnTo>
                  <a:lnTo>
                    <a:pt x="148" y="52"/>
                  </a:lnTo>
                  <a:lnTo>
                    <a:pt x="142" y="48"/>
                  </a:lnTo>
                  <a:lnTo>
                    <a:pt x="140" y="42"/>
                  </a:lnTo>
                  <a:lnTo>
                    <a:pt x="138" y="34"/>
                  </a:lnTo>
                  <a:lnTo>
                    <a:pt x="138" y="24"/>
                  </a:lnTo>
                  <a:lnTo>
                    <a:pt x="140" y="12"/>
                  </a:lnTo>
                  <a:lnTo>
                    <a:pt x="140" y="12"/>
                  </a:lnTo>
                  <a:lnTo>
                    <a:pt x="134" y="6"/>
                  </a:lnTo>
                  <a:lnTo>
                    <a:pt x="128" y="4"/>
                  </a:lnTo>
                  <a:lnTo>
                    <a:pt x="128" y="4"/>
                  </a:lnTo>
                  <a:lnTo>
                    <a:pt x="120" y="6"/>
                  </a:lnTo>
                  <a:lnTo>
                    <a:pt x="114" y="10"/>
                  </a:lnTo>
                  <a:lnTo>
                    <a:pt x="96" y="26"/>
                  </a:lnTo>
                  <a:lnTo>
                    <a:pt x="96" y="26"/>
                  </a:lnTo>
                  <a:lnTo>
                    <a:pt x="88" y="34"/>
                  </a:lnTo>
                  <a:lnTo>
                    <a:pt x="78" y="42"/>
                  </a:lnTo>
                  <a:lnTo>
                    <a:pt x="68" y="48"/>
                  </a:lnTo>
                  <a:lnTo>
                    <a:pt x="58" y="48"/>
                  </a:lnTo>
                  <a:lnTo>
                    <a:pt x="58" y="48"/>
                  </a:lnTo>
                  <a:lnTo>
                    <a:pt x="52" y="48"/>
                  </a:lnTo>
                  <a:lnTo>
                    <a:pt x="46" y="46"/>
                  </a:lnTo>
                  <a:lnTo>
                    <a:pt x="46" y="46"/>
                  </a:lnTo>
                  <a:lnTo>
                    <a:pt x="36" y="48"/>
                  </a:lnTo>
                  <a:lnTo>
                    <a:pt x="26" y="52"/>
                  </a:lnTo>
                  <a:lnTo>
                    <a:pt x="18" y="60"/>
                  </a:lnTo>
                  <a:lnTo>
                    <a:pt x="12" y="66"/>
                  </a:lnTo>
                  <a:lnTo>
                    <a:pt x="6" y="76"/>
                  </a:lnTo>
                  <a:lnTo>
                    <a:pt x="4" y="86"/>
                  </a:lnTo>
                  <a:lnTo>
                    <a:pt x="2" y="96"/>
                  </a:lnTo>
                  <a:lnTo>
                    <a:pt x="0" y="106"/>
                  </a:lnTo>
                  <a:lnTo>
                    <a:pt x="2" y="116"/>
                  </a:lnTo>
                  <a:lnTo>
                    <a:pt x="4" y="126"/>
                  </a:lnTo>
                  <a:lnTo>
                    <a:pt x="8" y="136"/>
                  </a:lnTo>
                  <a:lnTo>
                    <a:pt x="12" y="144"/>
                  </a:lnTo>
                  <a:lnTo>
                    <a:pt x="18" y="152"/>
                  </a:lnTo>
                  <a:lnTo>
                    <a:pt x="26" y="158"/>
                  </a:lnTo>
                  <a:lnTo>
                    <a:pt x="36" y="162"/>
                  </a:lnTo>
                  <a:lnTo>
                    <a:pt x="46" y="164"/>
                  </a:lnTo>
                  <a:lnTo>
                    <a:pt x="46" y="164"/>
                  </a:lnTo>
                  <a:lnTo>
                    <a:pt x="66" y="158"/>
                  </a:lnTo>
                  <a:lnTo>
                    <a:pt x="84" y="148"/>
                  </a:lnTo>
                  <a:lnTo>
                    <a:pt x="102" y="140"/>
                  </a:lnTo>
                  <a:lnTo>
                    <a:pt x="110" y="138"/>
                  </a:lnTo>
                  <a:lnTo>
                    <a:pt x="120" y="138"/>
                  </a:lnTo>
                  <a:lnTo>
                    <a:pt x="120" y="138"/>
                  </a:lnTo>
                  <a:lnTo>
                    <a:pt x="128" y="138"/>
                  </a:lnTo>
                  <a:lnTo>
                    <a:pt x="136" y="140"/>
                  </a:lnTo>
                  <a:lnTo>
                    <a:pt x="144" y="146"/>
                  </a:lnTo>
                  <a:lnTo>
                    <a:pt x="152" y="152"/>
                  </a:lnTo>
                  <a:lnTo>
                    <a:pt x="152" y="152"/>
                  </a:lnTo>
                  <a:lnTo>
                    <a:pt x="160" y="158"/>
                  </a:lnTo>
                  <a:lnTo>
                    <a:pt x="168" y="162"/>
                  </a:lnTo>
                  <a:lnTo>
                    <a:pt x="178" y="164"/>
                  </a:lnTo>
                  <a:lnTo>
                    <a:pt x="186" y="166"/>
                  </a:lnTo>
                  <a:lnTo>
                    <a:pt x="186" y="166"/>
                  </a:lnTo>
                  <a:lnTo>
                    <a:pt x="194" y="164"/>
                  </a:lnTo>
                  <a:lnTo>
                    <a:pt x="202" y="164"/>
                  </a:lnTo>
                  <a:lnTo>
                    <a:pt x="216" y="156"/>
                  </a:lnTo>
                  <a:lnTo>
                    <a:pt x="230" y="146"/>
                  </a:lnTo>
                  <a:lnTo>
                    <a:pt x="240" y="132"/>
                  </a:lnTo>
                  <a:lnTo>
                    <a:pt x="248" y="116"/>
                  </a:lnTo>
                  <a:lnTo>
                    <a:pt x="252" y="100"/>
                  </a:lnTo>
                  <a:lnTo>
                    <a:pt x="254" y="84"/>
                  </a:lnTo>
                  <a:lnTo>
                    <a:pt x="252" y="74"/>
                  </a:lnTo>
                  <a:lnTo>
                    <a:pt x="250" y="66"/>
                  </a:lnTo>
                  <a:lnTo>
                    <a:pt x="250" y="66"/>
                  </a:lnTo>
                  <a:lnTo>
                    <a:pt x="248" y="60"/>
                  </a:lnTo>
                  <a:lnTo>
                    <a:pt x="246" y="50"/>
                  </a:lnTo>
                  <a:lnTo>
                    <a:pt x="244" y="28"/>
                  </a:lnTo>
                  <a:lnTo>
                    <a:pt x="244" y="8"/>
                  </a:lnTo>
                  <a:lnTo>
                    <a:pt x="242" y="2"/>
                  </a:lnTo>
                  <a:lnTo>
                    <a:pt x="23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7" name="Freeform 31"/>
            <p:cNvSpPr>
              <a:spLocks/>
            </p:cNvSpPr>
            <p:nvPr/>
          </p:nvSpPr>
          <p:spPr bwMode="auto">
            <a:xfrm>
              <a:off x="14126441" y="3732496"/>
              <a:ext cx="228600" cy="314325"/>
            </a:xfrm>
            <a:custGeom>
              <a:avLst/>
              <a:gdLst>
                <a:gd name="T0" fmla="*/ 30 w 144"/>
                <a:gd name="T1" fmla="*/ 0 h 198"/>
                <a:gd name="T2" fmla="*/ 30 w 144"/>
                <a:gd name="T3" fmla="*/ 0 h 198"/>
                <a:gd name="T4" fmla="*/ 18 w 144"/>
                <a:gd name="T5" fmla="*/ 2 h 198"/>
                <a:gd name="T6" fmla="*/ 12 w 144"/>
                <a:gd name="T7" fmla="*/ 6 h 198"/>
                <a:gd name="T8" fmla="*/ 8 w 144"/>
                <a:gd name="T9" fmla="*/ 8 h 198"/>
                <a:gd name="T10" fmla="*/ 4 w 144"/>
                <a:gd name="T11" fmla="*/ 14 h 198"/>
                <a:gd name="T12" fmla="*/ 2 w 144"/>
                <a:gd name="T13" fmla="*/ 18 h 198"/>
                <a:gd name="T14" fmla="*/ 0 w 144"/>
                <a:gd name="T15" fmla="*/ 26 h 198"/>
                <a:gd name="T16" fmla="*/ 0 w 144"/>
                <a:gd name="T17" fmla="*/ 34 h 198"/>
                <a:gd name="T18" fmla="*/ 0 w 144"/>
                <a:gd name="T19" fmla="*/ 34 h 198"/>
                <a:gd name="T20" fmla="*/ 4 w 144"/>
                <a:gd name="T21" fmla="*/ 34 h 198"/>
                <a:gd name="T22" fmla="*/ 4 w 144"/>
                <a:gd name="T23" fmla="*/ 34 h 198"/>
                <a:gd name="T24" fmla="*/ 14 w 144"/>
                <a:gd name="T25" fmla="*/ 34 h 198"/>
                <a:gd name="T26" fmla="*/ 22 w 144"/>
                <a:gd name="T27" fmla="*/ 36 h 198"/>
                <a:gd name="T28" fmla="*/ 30 w 144"/>
                <a:gd name="T29" fmla="*/ 40 h 198"/>
                <a:gd name="T30" fmla="*/ 36 w 144"/>
                <a:gd name="T31" fmla="*/ 44 h 198"/>
                <a:gd name="T32" fmla="*/ 48 w 144"/>
                <a:gd name="T33" fmla="*/ 54 h 198"/>
                <a:gd name="T34" fmla="*/ 58 w 144"/>
                <a:gd name="T35" fmla="*/ 68 h 198"/>
                <a:gd name="T36" fmla="*/ 64 w 144"/>
                <a:gd name="T37" fmla="*/ 84 h 198"/>
                <a:gd name="T38" fmla="*/ 68 w 144"/>
                <a:gd name="T39" fmla="*/ 100 h 198"/>
                <a:gd name="T40" fmla="*/ 70 w 144"/>
                <a:gd name="T41" fmla="*/ 118 h 198"/>
                <a:gd name="T42" fmla="*/ 70 w 144"/>
                <a:gd name="T43" fmla="*/ 134 h 198"/>
                <a:gd name="T44" fmla="*/ 70 w 144"/>
                <a:gd name="T45" fmla="*/ 134 h 198"/>
                <a:gd name="T46" fmla="*/ 64 w 144"/>
                <a:gd name="T47" fmla="*/ 146 h 198"/>
                <a:gd name="T48" fmla="*/ 62 w 144"/>
                <a:gd name="T49" fmla="*/ 158 h 198"/>
                <a:gd name="T50" fmla="*/ 64 w 144"/>
                <a:gd name="T51" fmla="*/ 168 h 198"/>
                <a:gd name="T52" fmla="*/ 68 w 144"/>
                <a:gd name="T53" fmla="*/ 178 h 198"/>
                <a:gd name="T54" fmla="*/ 74 w 144"/>
                <a:gd name="T55" fmla="*/ 186 h 198"/>
                <a:gd name="T56" fmla="*/ 82 w 144"/>
                <a:gd name="T57" fmla="*/ 192 h 198"/>
                <a:gd name="T58" fmla="*/ 90 w 144"/>
                <a:gd name="T59" fmla="*/ 196 h 198"/>
                <a:gd name="T60" fmla="*/ 100 w 144"/>
                <a:gd name="T61" fmla="*/ 198 h 198"/>
                <a:gd name="T62" fmla="*/ 100 w 144"/>
                <a:gd name="T63" fmla="*/ 198 h 198"/>
                <a:gd name="T64" fmla="*/ 110 w 144"/>
                <a:gd name="T65" fmla="*/ 196 h 198"/>
                <a:gd name="T66" fmla="*/ 118 w 144"/>
                <a:gd name="T67" fmla="*/ 192 h 198"/>
                <a:gd name="T68" fmla="*/ 126 w 144"/>
                <a:gd name="T69" fmla="*/ 186 h 198"/>
                <a:gd name="T70" fmla="*/ 134 w 144"/>
                <a:gd name="T71" fmla="*/ 176 h 198"/>
                <a:gd name="T72" fmla="*/ 134 w 144"/>
                <a:gd name="T73" fmla="*/ 176 h 198"/>
                <a:gd name="T74" fmla="*/ 140 w 144"/>
                <a:gd name="T75" fmla="*/ 166 h 198"/>
                <a:gd name="T76" fmla="*/ 142 w 144"/>
                <a:gd name="T77" fmla="*/ 154 h 198"/>
                <a:gd name="T78" fmla="*/ 144 w 144"/>
                <a:gd name="T79" fmla="*/ 142 h 198"/>
                <a:gd name="T80" fmla="*/ 144 w 144"/>
                <a:gd name="T81" fmla="*/ 130 h 198"/>
                <a:gd name="T82" fmla="*/ 142 w 144"/>
                <a:gd name="T83" fmla="*/ 118 h 198"/>
                <a:gd name="T84" fmla="*/ 140 w 144"/>
                <a:gd name="T85" fmla="*/ 108 h 198"/>
                <a:gd name="T86" fmla="*/ 130 w 144"/>
                <a:gd name="T87" fmla="*/ 84 h 198"/>
                <a:gd name="T88" fmla="*/ 116 w 144"/>
                <a:gd name="T89" fmla="*/ 62 h 198"/>
                <a:gd name="T90" fmla="*/ 100 w 144"/>
                <a:gd name="T91" fmla="*/ 44 h 198"/>
                <a:gd name="T92" fmla="*/ 82 w 144"/>
                <a:gd name="T93" fmla="*/ 26 h 198"/>
                <a:gd name="T94" fmla="*/ 62 w 144"/>
                <a:gd name="T95" fmla="*/ 12 h 198"/>
                <a:gd name="T96" fmla="*/ 62 w 144"/>
                <a:gd name="T97" fmla="*/ 12 h 198"/>
                <a:gd name="T98" fmla="*/ 56 w 144"/>
                <a:gd name="T99" fmla="*/ 8 h 198"/>
                <a:gd name="T100" fmla="*/ 48 w 144"/>
                <a:gd name="T101" fmla="*/ 4 h 198"/>
                <a:gd name="T102" fmla="*/ 38 w 144"/>
                <a:gd name="T103" fmla="*/ 2 h 198"/>
                <a:gd name="T104" fmla="*/ 30 w 144"/>
                <a:gd name="T10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 h="198">
                  <a:moveTo>
                    <a:pt x="30" y="0"/>
                  </a:moveTo>
                  <a:lnTo>
                    <a:pt x="30" y="0"/>
                  </a:lnTo>
                  <a:lnTo>
                    <a:pt x="18" y="2"/>
                  </a:lnTo>
                  <a:lnTo>
                    <a:pt x="12" y="6"/>
                  </a:lnTo>
                  <a:lnTo>
                    <a:pt x="8" y="8"/>
                  </a:lnTo>
                  <a:lnTo>
                    <a:pt x="4" y="14"/>
                  </a:lnTo>
                  <a:lnTo>
                    <a:pt x="2" y="18"/>
                  </a:lnTo>
                  <a:lnTo>
                    <a:pt x="0" y="26"/>
                  </a:lnTo>
                  <a:lnTo>
                    <a:pt x="0" y="34"/>
                  </a:lnTo>
                  <a:lnTo>
                    <a:pt x="0" y="34"/>
                  </a:lnTo>
                  <a:lnTo>
                    <a:pt x="4" y="34"/>
                  </a:lnTo>
                  <a:lnTo>
                    <a:pt x="4" y="34"/>
                  </a:lnTo>
                  <a:lnTo>
                    <a:pt x="14" y="34"/>
                  </a:lnTo>
                  <a:lnTo>
                    <a:pt x="22" y="36"/>
                  </a:lnTo>
                  <a:lnTo>
                    <a:pt x="30" y="40"/>
                  </a:lnTo>
                  <a:lnTo>
                    <a:pt x="36" y="44"/>
                  </a:lnTo>
                  <a:lnTo>
                    <a:pt x="48" y="54"/>
                  </a:lnTo>
                  <a:lnTo>
                    <a:pt x="58" y="68"/>
                  </a:lnTo>
                  <a:lnTo>
                    <a:pt x="64" y="84"/>
                  </a:lnTo>
                  <a:lnTo>
                    <a:pt x="68" y="100"/>
                  </a:lnTo>
                  <a:lnTo>
                    <a:pt x="70" y="118"/>
                  </a:lnTo>
                  <a:lnTo>
                    <a:pt x="70" y="134"/>
                  </a:lnTo>
                  <a:lnTo>
                    <a:pt x="70" y="134"/>
                  </a:lnTo>
                  <a:lnTo>
                    <a:pt x="64" y="146"/>
                  </a:lnTo>
                  <a:lnTo>
                    <a:pt x="62" y="158"/>
                  </a:lnTo>
                  <a:lnTo>
                    <a:pt x="64" y="168"/>
                  </a:lnTo>
                  <a:lnTo>
                    <a:pt x="68" y="178"/>
                  </a:lnTo>
                  <a:lnTo>
                    <a:pt x="74" y="186"/>
                  </a:lnTo>
                  <a:lnTo>
                    <a:pt x="82" y="192"/>
                  </a:lnTo>
                  <a:lnTo>
                    <a:pt x="90" y="196"/>
                  </a:lnTo>
                  <a:lnTo>
                    <a:pt x="100" y="198"/>
                  </a:lnTo>
                  <a:lnTo>
                    <a:pt x="100" y="198"/>
                  </a:lnTo>
                  <a:lnTo>
                    <a:pt x="110" y="196"/>
                  </a:lnTo>
                  <a:lnTo>
                    <a:pt x="118" y="192"/>
                  </a:lnTo>
                  <a:lnTo>
                    <a:pt x="126" y="186"/>
                  </a:lnTo>
                  <a:lnTo>
                    <a:pt x="134" y="176"/>
                  </a:lnTo>
                  <a:lnTo>
                    <a:pt x="134" y="176"/>
                  </a:lnTo>
                  <a:lnTo>
                    <a:pt x="140" y="166"/>
                  </a:lnTo>
                  <a:lnTo>
                    <a:pt x="142" y="154"/>
                  </a:lnTo>
                  <a:lnTo>
                    <a:pt x="144" y="142"/>
                  </a:lnTo>
                  <a:lnTo>
                    <a:pt x="144" y="130"/>
                  </a:lnTo>
                  <a:lnTo>
                    <a:pt x="142" y="118"/>
                  </a:lnTo>
                  <a:lnTo>
                    <a:pt x="140" y="108"/>
                  </a:lnTo>
                  <a:lnTo>
                    <a:pt x="130" y="84"/>
                  </a:lnTo>
                  <a:lnTo>
                    <a:pt x="116" y="62"/>
                  </a:lnTo>
                  <a:lnTo>
                    <a:pt x="100" y="44"/>
                  </a:lnTo>
                  <a:lnTo>
                    <a:pt x="82" y="26"/>
                  </a:lnTo>
                  <a:lnTo>
                    <a:pt x="62" y="12"/>
                  </a:lnTo>
                  <a:lnTo>
                    <a:pt x="62" y="12"/>
                  </a:lnTo>
                  <a:lnTo>
                    <a:pt x="56" y="8"/>
                  </a:lnTo>
                  <a:lnTo>
                    <a:pt x="48" y="4"/>
                  </a:lnTo>
                  <a:lnTo>
                    <a:pt x="38" y="2"/>
                  </a:lnTo>
                  <a:lnTo>
                    <a:pt x="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8" name="Freeform 32"/>
            <p:cNvSpPr>
              <a:spLocks/>
            </p:cNvSpPr>
            <p:nvPr/>
          </p:nvSpPr>
          <p:spPr bwMode="auto">
            <a:xfrm>
              <a:off x="12999316" y="3627721"/>
              <a:ext cx="276225" cy="593725"/>
            </a:xfrm>
            <a:custGeom>
              <a:avLst/>
              <a:gdLst>
                <a:gd name="T0" fmla="*/ 128 w 174"/>
                <a:gd name="T1" fmla="*/ 0 h 374"/>
                <a:gd name="T2" fmla="*/ 128 w 174"/>
                <a:gd name="T3" fmla="*/ 0 h 374"/>
                <a:gd name="T4" fmla="*/ 110 w 174"/>
                <a:gd name="T5" fmla="*/ 2 h 374"/>
                <a:gd name="T6" fmla="*/ 94 w 174"/>
                <a:gd name="T7" fmla="*/ 8 h 374"/>
                <a:gd name="T8" fmla="*/ 80 w 174"/>
                <a:gd name="T9" fmla="*/ 18 h 374"/>
                <a:gd name="T10" fmla="*/ 66 w 174"/>
                <a:gd name="T11" fmla="*/ 28 h 374"/>
                <a:gd name="T12" fmla="*/ 54 w 174"/>
                <a:gd name="T13" fmla="*/ 42 h 374"/>
                <a:gd name="T14" fmla="*/ 44 w 174"/>
                <a:gd name="T15" fmla="*/ 58 h 374"/>
                <a:gd name="T16" fmla="*/ 36 w 174"/>
                <a:gd name="T17" fmla="*/ 74 h 374"/>
                <a:gd name="T18" fmla="*/ 28 w 174"/>
                <a:gd name="T19" fmla="*/ 88 h 374"/>
                <a:gd name="T20" fmla="*/ 28 w 174"/>
                <a:gd name="T21" fmla="*/ 88 h 374"/>
                <a:gd name="T22" fmla="*/ 16 w 174"/>
                <a:gd name="T23" fmla="*/ 114 h 374"/>
                <a:gd name="T24" fmla="*/ 8 w 174"/>
                <a:gd name="T25" fmla="*/ 140 h 374"/>
                <a:gd name="T26" fmla="*/ 4 w 174"/>
                <a:gd name="T27" fmla="*/ 168 h 374"/>
                <a:gd name="T28" fmla="*/ 2 w 174"/>
                <a:gd name="T29" fmla="*/ 194 h 374"/>
                <a:gd name="T30" fmla="*/ 0 w 174"/>
                <a:gd name="T31" fmla="*/ 222 h 374"/>
                <a:gd name="T32" fmla="*/ 2 w 174"/>
                <a:gd name="T33" fmla="*/ 250 h 374"/>
                <a:gd name="T34" fmla="*/ 2 w 174"/>
                <a:gd name="T35" fmla="*/ 306 h 374"/>
                <a:gd name="T36" fmla="*/ 2 w 174"/>
                <a:gd name="T37" fmla="*/ 306 h 374"/>
                <a:gd name="T38" fmla="*/ 0 w 174"/>
                <a:gd name="T39" fmla="*/ 320 h 374"/>
                <a:gd name="T40" fmla="*/ 0 w 174"/>
                <a:gd name="T41" fmla="*/ 334 h 374"/>
                <a:gd name="T42" fmla="*/ 4 w 174"/>
                <a:gd name="T43" fmla="*/ 344 h 374"/>
                <a:gd name="T44" fmla="*/ 10 w 174"/>
                <a:gd name="T45" fmla="*/ 356 h 374"/>
                <a:gd name="T46" fmla="*/ 18 w 174"/>
                <a:gd name="T47" fmla="*/ 364 h 374"/>
                <a:gd name="T48" fmla="*/ 30 w 174"/>
                <a:gd name="T49" fmla="*/ 370 h 374"/>
                <a:gd name="T50" fmla="*/ 40 w 174"/>
                <a:gd name="T51" fmla="*/ 374 h 374"/>
                <a:gd name="T52" fmla="*/ 52 w 174"/>
                <a:gd name="T53" fmla="*/ 374 h 374"/>
                <a:gd name="T54" fmla="*/ 52 w 174"/>
                <a:gd name="T55" fmla="*/ 374 h 374"/>
                <a:gd name="T56" fmla="*/ 66 w 174"/>
                <a:gd name="T57" fmla="*/ 374 h 374"/>
                <a:gd name="T58" fmla="*/ 78 w 174"/>
                <a:gd name="T59" fmla="*/ 368 h 374"/>
                <a:gd name="T60" fmla="*/ 88 w 174"/>
                <a:gd name="T61" fmla="*/ 358 h 374"/>
                <a:gd name="T62" fmla="*/ 98 w 174"/>
                <a:gd name="T63" fmla="*/ 344 h 374"/>
                <a:gd name="T64" fmla="*/ 98 w 174"/>
                <a:gd name="T65" fmla="*/ 344 h 374"/>
                <a:gd name="T66" fmla="*/ 104 w 174"/>
                <a:gd name="T67" fmla="*/ 336 h 374"/>
                <a:gd name="T68" fmla="*/ 110 w 174"/>
                <a:gd name="T69" fmla="*/ 328 h 374"/>
                <a:gd name="T70" fmla="*/ 114 w 174"/>
                <a:gd name="T71" fmla="*/ 320 h 374"/>
                <a:gd name="T72" fmla="*/ 116 w 174"/>
                <a:gd name="T73" fmla="*/ 312 h 374"/>
                <a:gd name="T74" fmla="*/ 118 w 174"/>
                <a:gd name="T75" fmla="*/ 294 h 374"/>
                <a:gd name="T76" fmla="*/ 116 w 174"/>
                <a:gd name="T77" fmla="*/ 278 h 374"/>
                <a:gd name="T78" fmla="*/ 110 w 174"/>
                <a:gd name="T79" fmla="*/ 260 h 374"/>
                <a:gd name="T80" fmla="*/ 104 w 174"/>
                <a:gd name="T81" fmla="*/ 242 h 374"/>
                <a:gd name="T82" fmla="*/ 96 w 174"/>
                <a:gd name="T83" fmla="*/ 224 h 374"/>
                <a:gd name="T84" fmla="*/ 90 w 174"/>
                <a:gd name="T85" fmla="*/ 206 h 374"/>
                <a:gd name="T86" fmla="*/ 90 w 174"/>
                <a:gd name="T87" fmla="*/ 206 h 374"/>
                <a:gd name="T88" fmla="*/ 104 w 174"/>
                <a:gd name="T89" fmla="*/ 156 h 374"/>
                <a:gd name="T90" fmla="*/ 110 w 174"/>
                <a:gd name="T91" fmla="*/ 130 h 374"/>
                <a:gd name="T92" fmla="*/ 120 w 174"/>
                <a:gd name="T93" fmla="*/ 106 h 374"/>
                <a:gd name="T94" fmla="*/ 130 w 174"/>
                <a:gd name="T95" fmla="*/ 82 h 374"/>
                <a:gd name="T96" fmla="*/ 142 w 174"/>
                <a:gd name="T97" fmla="*/ 60 h 374"/>
                <a:gd name="T98" fmla="*/ 156 w 174"/>
                <a:gd name="T99" fmla="*/ 38 h 374"/>
                <a:gd name="T100" fmla="*/ 174 w 174"/>
                <a:gd name="T101" fmla="*/ 18 h 374"/>
                <a:gd name="T102" fmla="*/ 174 w 174"/>
                <a:gd name="T103" fmla="*/ 18 h 374"/>
                <a:gd name="T104" fmla="*/ 156 w 174"/>
                <a:gd name="T105" fmla="*/ 8 h 374"/>
                <a:gd name="T106" fmla="*/ 146 w 174"/>
                <a:gd name="T107" fmla="*/ 2 h 374"/>
                <a:gd name="T108" fmla="*/ 136 w 174"/>
                <a:gd name="T109" fmla="*/ 0 h 374"/>
                <a:gd name="T110" fmla="*/ 136 w 174"/>
                <a:gd name="T111" fmla="*/ 0 h 374"/>
                <a:gd name="T112" fmla="*/ 128 w 174"/>
                <a:gd name="T11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 h="374">
                  <a:moveTo>
                    <a:pt x="128" y="0"/>
                  </a:moveTo>
                  <a:lnTo>
                    <a:pt x="128" y="0"/>
                  </a:lnTo>
                  <a:lnTo>
                    <a:pt x="110" y="2"/>
                  </a:lnTo>
                  <a:lnTo>
                    <a:pt x="94" y="8"/>
                  </a:lnTo>
                  <a:lnTo>
                    <a:pt x="80" y="18"/>
                  </a:lnTo>
                  <a:lnTo>
                    <a:pt x="66" y="28"/>
                  </a:lnTo>
                  <a:lnTo>
                    <a:pt x="54" y="42"/>
                  </a:lnTo>
                  <a:lnTo>
                    <a:pt x="44" y="58"/>
                  </a:lnTo>
                  <a:lnTo>
                    <a:pt x="36" y="74"/>
                  </a:lnTo>
                  <a:lnTo>
                    <a:pt x="28" y="88"/>
                  </a:lnTo>
                  <a:lnTo>
                    <a:pt x="28" y="88"/>
                  </a:lnTo>
                  <a:lnTo>
                    <a:pt x="16" y="114"/>
                  </a:lnTo>
                  <a:lnTo>
                    <a:pt x="8" y="140"/>
                  </a:lnTo>
                  <a:lnTo>
                    <a:pt x="4" y="168"/>
                  </a:lnTo>
                  <a:lnTo>
                    <a:pt x="2" y="194"/>
                  </a:lnTo>
                  <a:lnTo>
                    <a:pt x="0" y="222"/>
                  </a:lnTo>
                  <a:lnTo>
                    <a:pt x="2" y="250"/>
                  </a:lnTo>
                  <a:lnTo>
                    <a:pt x="2" y="306"/>
                  </a:lnTo>
                  <a:lnTo>
                    <a:pt x="2" y="306"/>
                  </a:lnTo>
                  <a:lnTo>
                    <a:pt x="0" y="320"/>
                  </a:lnTo>
                  <a:lnTo>
                    <a:pt x="0" y="334"/>
                  </a:lnTo>
                  <a:lnTo>
                    <a:pt x="4" y="344"/>
                  </a:lnTo>
                  <a:lnTo>
                    <a:pt x="10" y="356"/>
                  </a:lnTo>
                  <a:lnTo>
                    <a:pt x="18" y="364"/>
                  </a:lnTo>
                  <a:lnTo>
                    <a:pt x="30" y="370"/>
                  </a:lnTo>
                  <a:lnTo>
                    <a:pt x="40" y="374"/>
                  </a:lnTo>
                  <a:lnTo>
                    <a:pt x="52" y="374"/>
                  </a:lnTo>
                  <a:lnTo>
                    <a:pt x="52" y="374"/>
                  </a:lnTo>
                  <a:lnTo>
                    <a:pt x="66" y="374"/>
                  </a:lnTo>
                  <a:lnTo>
                    <a:pt x="78" y="368"/>
                  </a:lnTo>
                  <a:lnTo>
                    <a:pt x="88" y="358"/>
                  </a:lnTo>
                  <a:lnTo>
                    <a:pt x="98" y="344"/>
                  </a:lnTo>
                  <a:lnTo>
                    <a:pt x="98" y="344"/>
                  </a:lnTo>
                  <a:lnTo>
                    <a:pt x="104" y="336"/>
                  </a:lnTo>
                  <a:lnTo>
                    <a:pt x="110" y="328"/>
                  </a:lnTo>
                  <a:lnTo>
                    <a:pt x="114" y="320"/>
                  </a:lnTo>
                  <a:lnTo>
                    <a:pt x="116" y="312"/>
                  </a:lnTo>
                  <a:lnTo>
                    <a:pt x="118" y="294"/>
                  </a:lnTo>
                  <a:lnTo>
                    <a:pt x="116" y="278"/>
                  </a:lnTo>
                  <a:lnTo>
                    <a:pt x="110" y="260"/>
                  </a:lnTo>
                  <a:lnTo>
                    <a:pt x="104" y="242"/>
                  </a:lnTo>
                  <a:lnTo>
                    <a:pt x="96" y="224"/>
                  </a:lnTo>
                  <a:lnTo>
                    <a:pt x="90" y="206"/>
                  </a:lnTo>
                  <a:lnTo>
                    <a:pt x="90" y="206"/>
                  </a:lnTo>
                  <a:lnTo>
                    <a:pt x="104" y="156"/>
                  </a:lnTo>
                  <a:lnTo>
                    <a:pt x="110" y="130"/>
                  </a:lnTo>
                  <a:lnTo>
                    <a:pt x="120" y="106"/>
                  </a:lnTo>
                  <a:lnTo>
                    <a:pt x="130" y="82"/>
                  </a:lnTo>
                  <a:lnTo>
                    <a:pt x="142" y="60"/>
                  </a:lnTo>
                  <a:lnTo>
                    <a:pt x="156" y="38"/>
                  </a:lnTo>
                  <a:lnTo>
                    <a:pt x="174" y="18"/>
                  </a:lnTo>
                  <a:lnTo>
                    <a:pt x="174" y="18"/>
                  </a:lnTo>
                  <a:lnTo>
                    <a:pt x="156" y="8"/>
                  </a:lnTo>
                  <a:lnTo>
                    <a:pt x="146" y="2"/>
                  </a:lnTo>
                  <a:lnTo>
                    <a:pt x="136" y="0"/>
                  </a:lnTo>
                  <a:lnTo>
                    <a:pt x="136" y="0"/>
                  </a:lnTo>
                  <a:lnTo>
                    <a:pt x="12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3" name="Freeform 33"/>
            <p:cNvSpPr>
              <a:spLocks/>
            </p:cNvSpPr>
            <p:nvPr/>
          </p:nvSpPr>
          <p:spPr bwMode="auto">
            <a:xfrm>
              <a:off x="13370791" y="3395946"/>
              <a:ext cx="758825" cy="809625"/>
            </a:xfrm>
            <a:custGeom>
              <a:avLst/>
              <a:gdLst>
                <a:gd name="T0" fmla="*/ 226 w 478"/>
                <a:gd name="T1" fmla="*/ 0 h 510"/>
                <a:gd name="T2" fmla="*/ 172 w 478"/>
                <a:gd name="T3" fmla="*/ 6 h 510"/>
                <a:gd name="T4" fmla="*/ 122 w 478"/>
                <a:gd name="T5" fmla="*/ 14 h 510"/>
                <a:gd name="T6" fmla="*/ 72 w 478"/>
                <a:gd name="T7" fmla="*/ 28 h 510"/>
                <a:gd name="T8" fmla="*/ 46 w 478"/>
                <a:gd name="T9" fmla="*/ 46 h 510"/>
                <a:gd name="T10" fmla="*/ 28 w 478"/>
                <a:gd name="T11" fmla="*/ 74 h 510"/>
                <a:gd name="T12" fmla="*/ 8 w 478"/>
                <a:gd name="T13" fmla="*/ 108 h 510"/>
                <a:gd name="T14" fmla="*/ 0 w 478"/>
                <a:gd name="T15" fmla="*/ 130 h 510"/>
                <a:gd name="T16" fmla="*/ 6 w 478"/>
                <a:gd name="T17" fmla="*/ 146 h 510"/>
                <a:gd name="T18" fmla="*/ 20 w 478"/>
                <a:gd name="T19" fmla="*/ 156 h 510"/>
                <a:gd name="T20" fmla="*/ 58 w 478"/>
                <a:gd name="T21" fmla="*/ 170 h 510"/>
                <a:gd name="T22" fmla="*/ 84 w 478"/>
                <a:gd name="T23" fmla="*/ 184 h 510"/>
                <a:gd name="T24" fmla="*/ 96 w 478"/>
                <a:gd name="T25" fmla="*/ 198 h 510"/>
                <a:gd name="T26" fmla="*/ 96 w 478"/>
                <a:gd name="T27" fmla="*/ 208 h 510"/>
                <a:gd name="T28" fmla="*/ 98 w 478"/>
                <a:gd name="T29" fmla="*/ 232 h 510"/>
                <a:gd name="T30" fmla="*/ 96 w 478"/>
                <a:gd name="T31" fmla="*/ 248 h 510"/>
                <a:gd name="T32" fmla="*/ 78 w 478"/>
                <a:gd name="T33" fmla="*/ 274 h 510"/>
                <a:gd name="T34" fmla="*/ 58 w 478"/>
                <a:gd name="T35" fmla="*/ 298 h 510"/>
                <a:gd name="T36" fmla="*/ 52 w 478"/>
                <a:gd name="T37" fmla="*/ 312 h 510"/>
                <a:gd name="T38" fmla="*/ 52 w 478"/>
                <a:gd name="T39" fmla="*/ 332 h 510"/>
                <a:gd name="T40" fmla="*/ 56 w 478"/>
                <a:gd name="T41" fmla="*/ 366 h 510"/>
                <a:gd name="T42" fmla="*/ 64 w 478"/>
                <a:gd name="T43" fmla="*/ 394 h 510"/>
                <a:gd name="T44" fmla="*/ 74 w 478"/>
                <a:gd name="T45" fmla="*/ 412 h 510"/>
                <a:gd name="T46" fmla="*/ 88 w 478"/>
                <a:gd name="T47" fmla="*/ 430 h 510"/>
                <a:gd name="T48" fmla="*/ 146 w 478"/>
                <a:gd name="T49" fmla="*/ 480 h 510"/>
                <a:gd name="T50" fmla="*/ 178 w 478"/>
                <a:gd name="T51" fmla="*/ 502 h 510"/>
                <a:gd name="T52" fmla="*/ 214 w 478"/>
                <a:gd name="T53" fmla="*/ 510 h 510"/>
                <a:gd name="T54" fmla="*/ 224 w 478"/>
                <a:gd name="T55" fmla="*/ 510 h 510"/>
                <a:gd name="T56" fmla="*/ 234 w 478"/>
                <a:gd name="T57" fmla="*/ 508 h 510"/>
                <a:gd name="T58" fmla="*/ 248 w 478"/>
                <a:gd name="T59" fmla="*/ 490 h 510"/>
                <a:gd name="T60" fmla="*/ 248 w 478"/>
                <a:gd name="T61" fmla="*/ 478 h 510"/>
                <a:gd name="T62" fmla="*/ 238 w 478"/>
                <a:gd name="T63" fmla="*/ 472 h 510"/>
                <a:gd name="T64" fmla="*/ 200 w 478"/>
                <a:gd name="T65" fmla="*/ 464 h 510"/>
                <a:gd name="T66" fmla="*/ 172 w 478"/>
                <a:gd name="T67" fmla="*/ 456 h 510"/>
                <a:gd name="T68" fmla="*/ 158 w 478"/>
                <a:gd name="T69" fmla="*/ 446 h 510"/>
                <a:gd name="T70" fmla="*/ 156 w 478"/>
                <a:gd name="T71" fmla="*/ 438 h 510"/>
                <a:gd name="T72" fmla="*/ 162 w 478"/>
                <a:gd name="T73" fmla="*/ 378 h 510"/>
                <a:gd name="T74" fmla="*/ 172 w 478"/>
                <a:gd name="T75" fmla="*/ 338 h 510"/>
                <a:gd name="T76" fmla="*/ 192 w 478"/>
                <a:gd name="T77" fmla="*/ 304 h 510"/>
                <a:gd name="T78" fmla="*/ 208 w 478"/>
                <a:gd name="T79" fmla="*/ 292 h 510"/>
                <a:gd name="T80" fmla="*/ 218 w 478"/>
                <a:gd name="T81" fmla="*/ 286 h 510"/>
                <a:gd name="T82" fmla="*/ 234 w 478"/>
                <a:gd name="T83" fmla="*/ 274 h 510"/>
                <a:gd name="T84" fmla="*/ 248 w 478"/>
                <a:gd name="T85" fmla="*/ 246 h 510"/>
                <a:gd name="T86" fmla="*/ 260 w 478"/>
                <a:gd name="T87" fmla="*/ 202 h 510"/>
                <a:gd name="T88" fmla="*/ 272 w 478"/>
                <a:gd name="T89" fmla="*/ 170 h 510"/>
                <a:gd name="T90" fmla="*/ 284 w 478"/>
                <a:gd name="T91" fmla="*/ 150 h 510"/>
                <a:gd name="T92" fmla="*/ 292 w 478"/>
                <a:gd name="T93" fmla="*/ 142 h 510"/>
                <a:gd name="T94" fmla="*/ 310 w 478"/>
                <a:gd name="T95" fmla="*/ 134 h 510"/>
                <a:gd name="T96" fmla="*/ 338 w 478"/>
                <a:gd name="T97" fmla="*/ 130 h 510"/>
                <a:gd name="T98" fmla="*/ 364 w 478"/>
                <a:gd name="T99" fmla="*/ 132 h 510"/>
                <a:gd name="T100" fmla="*/ 394 w 478"/>
                <a:gd name="T101" fmla="*/ 134 h 510"/>
                <a:gd name="T102" fmla="*/ 446 w 478"/>
                <a:gd name="T103" fmla="*/ 138 h 510"/>
                <a:gd name="T104" fmla="*/ 458 w 478"/>
                <a:gd name="T105" fmla="*/ 136 h 510"/>
                <a:gd name="T106" fmla="*/ 476 w 478"/>
                <a:gd name="T107" fmla="*/ 132 h 510"/>
                <a:gd name="T108" fmla="*/ 476 w 478"/>
                <a:gd name="T109" fmla="*/ 120 h 510"/>
                <a:gd name="T110" fmla="*/ 456 w 478"/>
                <a:gd name="T111" fmla="*/ 98 h 510"/>
                <a:gd name="T112" fmla="*/ 438 w 478"/>
                <a:gd name="T113" fmla="*/ 82 h 510"/>
                <a:gd name="T114" fmla="*/ 376 w 478"/>
                <a:gd name="T115" fmla="*/ 42 h 510"/>
                <a:gd name="T116" fmla="*/ 320 w 478"/>
                <a:gd name="T117" fmla="*/ 18 h 510"/>
                <a:gd name="T118" fmla="*/ 272 w 478"/>
                <a:gd name="T119" fmla="*/ 4 h 510"/>
                <a:gd name="T120" fmla="*/ 226 w 478"/>
                <a:gd name="T121" fmla="*/ 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8" h="510">
                  <a:moveTo>
                    <a:pt x="226" y="0"/>
                  </a:moveTo>
                  <a:lnTo>
                    <a:pt x="226" y="0"/>
                  </a:lnTo>
                  <a:lnTo>
                    <a:pt x="198" y="2"/>
                  </a:lnTo>
                  <a:lnTo>
                    <a:pt x="172" y="6"/>
                  </a:lnTo>
                  <a:lnTo>
                    <a:pt x="122" y="14"/>
                  </a:lnTo>
                  <a:lnTo>
                    <a:pt x="122" y="14"/>
                  </a:lnTo>
                  <a:lnTo>
                    <a:pt x="94" y="20"/>
                  </a:lnTo>
                  <a:lnTo>
                    <a:pt x="72" y="28"/>
                  </a:lnTo>
                  <a:lnTo>
                    <a:pt x="56" y="36"/>
                  </a:lnTo>
                  <a:lnTo>
                    <a:pt x="46" y="46"/>
                  </a:lnTo>
                  <a:lnTo>
                    <a:pt x="36" y="60"/>
                  </a:lnTo>
                  <a:lnTo>
                    <a:pt x="28" y="74"/>
                  </a:lnTo>
                  <a:lnTo>
                    <a:pt x="8" y="108"/>
                  </a:lnTo>
                  <a:lnTo>
                    <a:pt x="8" y="108"/>
                  </a:lnTo>
                  <a:lnTo>
                    <a:pt x="2" y="120"/>
                  </a:lnTo>
                  <a:lnTo>
                    <a:pt x="0" y="130"/>
                  </a:lnTo>
                  <a:lnTo>
                    <a:pt x="2" y="138"/>
                  </a:lnTo>
                  <a:lnTo>
                    <a:pt x="6" y="146"/>
                  </a:lnTo>
                  <a:lnTo>
                    <a:pt x="12" y="150"/>
                  </a:lnTo>
                  <a:lnTo>
                    <a:pt x="20" y="156"/>
                  </a:lnTo>
                  <a:lnTo>
                    <a:pt x="38" y="162"/>
                  </a:lnTo>
                  <a:lnTo>
                    <a:pt x="58" y="170"/>
                  </a:lnTo>
                  <a:lnTo>
                    <a:pt x="76" y="178"/>
                  </a:lnTo>
                  <a:lnTo>
                    <a:pt x="84" y="184"/>
                  </a:lnTo>
                  <a:lnTo>
                    <a:pt x="90" y="190"/>
                  </a:lnTo>
                  <a:lnTo>
                    <a:pt x="96" y="198"/>
                  </a:lnTo>
                  <a:lnTo>
                    <a:pt x="96" y="208"/>
                  </a:lnTo>
                  <a:lnTo>
                    <a:pt x="96" y="208"/>
                  </a:lnTo>
                  <a:lnTo>
                    <a:pt x="98" y="220"/>
                  </a:lnTo>
                  <a:lnTo>
                    <a:pt x="98" y="232"/>
                  </a:lnTo>
                  <a:lnTo>
                    <a:pt x="98" y="240"/>
                  </a:lnTo>
                  <a:lnTo>
                    <a:pt x="96" y="248"/>
                  </a:lnTo>
                  <a:lnTo>
                    <a:pt x="88" y="262"/>
                  </a:lnTo>
                  <a:lnTo>
                    <a:pt x="78" y="274"/>
                  </a:lnTo>
                  <a:lnTo>
                    <a:pt x="68" y="286"/>
                  </a:lnTo>
                  <a:lnTo>
                    <a:pt x="58" y="298"/>
                  </a:lnTo>
                  <a:lnTo>
                    <a:pt x="56" y="304"/>
                  </a:lnTo>
                  <a:lnTo>
                    <a:pt x="52" y="312"/>
                  </a:lnTo>
                  <a:lnTo>
                    <a:pt x="52" y="322"/>
                  </a:lnTo>
                  <a:lnTo>
                    <a:pt x="52" y="332"/>
                  </a:lnTo>
                  <a:lnTo>
                    <a:pt x="52" y="332"/>
                  </a:lnTo>
                  <a:lnTo>
                    <a:pt x="56" y="366"/>
                  </a:lnTo>
                  <a:lnTo>
                    <a:pt x="58" y="382"/>
                  </a:lnTo>
                  <a:lnTo>
                    <a:pt x="64" y="394"/>
                  </a:lnTo>
                  <a:lnTo>
                    <a:pt x="68" y="404"/>
                  </a:lnTo>
                  <a:lnTo>
                    <a:pt x="74" y="412"/>
                  </a:lnTo>
                  <a:lnTo>
                    <a:pt x="88" y="430"/>
                  </a:lnTo>
                  <a:lnTo>
                    <a:pt x="88" y="430"/>
                  </a:lnTo>
                  <a:lnTo>
                    <a:pt x="118" y="454"/>
                  </a:lnTo>
                  <a:lnTo>
                    <a:pt x="146" y="480"/>
                  </a:lnTo>
                  <a:lnTo>
                    <a:pt x="162" y="492"/>
                  </a:lnTo>
                  <a:lnTo>
                    <a:pt x="178" y="502"/>
                  </a:lnTo>
                  <a:lnTo>
                    <a:pt x="196" y="508"/>
                  </a:lnTo>
                  <a:lnTo>
                    <a:pt x="214" y="510"/>
                  </a:lnTo>
                  <a:lnTo>
                    <a:pt x="214" y="510"/>
                  </a:lnTo>
                  <a:lnTo>
                    <a:pt x="224" y="510"/>
                  </a:lnTo>
                  <a:lnTo>
                    <a:pt x="234" y="508"/>
                  </a:lnTo>
                  <a:lnTo>
                    <a:pt x="234" y="508"/>
                  </a:lnTo>
                  <a:lnTo>
                    <a:pt x="242" y="498"/>
                  </a:lnTo>
                  <a:lnTo>
                    <a:pt x="248" y="490"/>
                  </a:lnTo>
                  <a:lnTo>
                    <a:pt x="250" y="484"/>
                  </a:lnTo>
                  <a:lnTo>
                    <a:pt x="248" y="478"/>
                  </a:lnTo>
                  <a:lnTo>
                    <a:pt x="244" y="474"/>
                  </a:lnTo>
                  <a:lnTo>
                    <a:pt x="238" y="472"/>
                  </a:lnTo>
                  <a:lnTo>
                    <a:pt x="220" y="468"/>
                  </a:lnTo>
                  <a:lnTo>
                    <a:pt x="200" y="464"/>
                  </a:lnTo>
                  <a:lnTo>
                    <a:pt x="180" y="460"/>
                  </a:lnTo>
                  <a:lnTo>
                    <a:pt x="172" y="456"/>
                  </a:lnTo>
                  <a:lnTo>
                    <a:pt x="164" y="452"/>
                  </a:lnTo>
                  <a:lnTo>
                    <a:pt x="158" y="446"/>
                  </a:lnTo>
                  <a:lnTo>
                    <a:pt x="156" y="438"/>
                  </a:lnTo>
                  <a:lnTo>
                    <a:pt x="156" y="438"/>
                  </a:lnTo>
                  <a:lnTo>
                    <a:pt x="160" y="398"/>
                  </a:lnTo>
                  <a:lnTo>
                    <a:pt x="162" y="378"/>
                  </a:lnTo>
                  <a:lnTo>
                    <a:pt x="166" y="358"/>
                  </a:lnTo>
                  <a:lnTo>
                    <a:pt x="172" y="338"/>
                  </a:lnTo>
                  <a:lnTo>
                    <a:pt x="180" y="320"/>
                  </a:lnTo>
                  <a:lnTo>
                    <a:pt x="192" y="304"/>
                  </a:lnTo>
                  <a:lnTo>
                    <a:pt x="200" y="298"/>
                  </a:lnTo>
                  <a:lnTo>
                    <a:pt x="208" y="292"/>
                  </a:lnTo>
                  <a:lnTo>
                    <a:pt x="208" y="292"/>
                  </a:lnTo>
                  <a:lnTo>
                    <a:pt x="218" y="286"/>
                  </a:lnTo>
                  <a:lnTo>
                    <a:pt x="226" y="282"/>
                  </a:lnTo>
                  <a:lnTo>
                    <a:pt x="234" y="274"/>
                  </a:lnTo>
                  <a:lnTo>
                    <a:pt x="238" y="266"/>
                  </a:lnTo>
                  <a:lnTo>
                    <a:pt x="248" y="246"/>
                  </a:lnTo>
                  <a:lnTo>
                    <a:pt x="254" y="224"/>
                  </a:lnTo>
                  <a:lnTo>
                    <a:pt x="260" y="202"/>
                  </a:lnTo>
                  <a:lnTo>
                    <a:pt x="266" y="180"/>
                  </a:lnTo>
                  <a:lnTo>
                    <a:pt x="272" y="170"/>
                  </a:lnTo>
                  <a:lnTo>
                    <a:pt x="276" y="160"/>
                  </a:lnTo>
                  <a:lnTo>
                    <a:pt x="284" y="150"/>
                  </a:lnTo>
                  <a:lnTo>
                    <a:pt x="292" y="142"/>
                  </a:lnTo>
                  <a:lnTo>
                    <a:pt x="292" y="142"/>
                  </a:lnTo>
                  <a:lnTo>
                    <a:pt x="298" y="136"/>
                  </a:lnTo>
                  <a:lnTo>
                    <a:pt x="310" y="134"/>
                  </a:lnTo>
                  <a:lnTo>
                    <a:pt x="322" y="132"/>
                  </a:lnTo>
                  <a:lnTo>
                    <a:pt x="338" y="130"/>
                  </a:lnTo>
                  <a:lnTo>
                    <a:pt x="338" y="130"/>
                  </a:lnTo>
                  <a:lnTo>
                    <a:pt x="364" y="132"/>
                  </a:lnTo>
                  <a:lnTo>
                    <a:pt x="394" y="134"/>
                  </a:lnTo>
                  <a:lnTo>
                    <a:pt x="394" y="134"/>
                  </a:lnTo>
                  <a:lnTo>
                    <a:pt x="422" y="136"/>
                  </a:lnTo>
                  <a:lnTo>
                    <a:pt x="446" y="138"/>
                  </a:lnTo>
                  <a:lnTo>
                    <a:pt x="446" y="138"/>
                  </a:lnTo>
                  <a:lnTo>
                    <a:pt x="458" y="136"/>
                  </a:lnTo>
                  <a:lnTo>
                    <a:pt x="468" y="134"/>
                  </a:lnTo>
                  <a:lnTo>
                    <a:pt x="476" y="132"/>
                  </a:lnTo>
                  <a:lnTo>
                    <a:pt x="478" y="126"/>
                  </a:lnTo>
                  <a:lnTo>
                    <a:pt x="476" y="120"/>
                  </a:lnTo>
                  <a:lnTo>
                    <a:pt x="468" y="110"/>
                  </a:lnTo>
                  <a:lnTo>
                    <a:pt x="456" y="98"/>
                  </a:lnTo>
                  <a:lnTo>
                    <a:pt x="438" y="82"/>
                  </a:lnTo>
                  <a:lnTo>
                    <a:pt x="438" y="82"/>
                  </a:lnTo>
                  <a:lnTo>
                    <a:pt x="406" y="60"/>
                  </a:lnTo>
                  <a:lnTo>
                    <a:pt x="376" y="42"/>
                  </a:lnTo>
                  <a:lnTo>
                    <a:pt x="348" y="28"/>
                  </a:lnTo>
                  <a:lnTo>
                    <a:pt x="320" y="18"/>
                  </a:lnTo>
                  <a:lnTo>
                    <a:pt x="296" y="10"/>
                  </a:lnTo>
                  <a:lnTo>
                    <a:pt x="272" y="4"/>
                  </a:lnTo>
                  <a:lnTo>
                    <a:pt x="248" y="2"/>
                  </a:lnTo>
                  <a:lnTo>
                    <a:pt x="22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395" name="Rectangle 394"/>
          <p:cNvSpPr/>
          <p:nvPr/>
        </p:nvSpPr>
        <p:spPr bwMode="auto">
          <a:xfrm>
            <a:off x="191564" y="1874266"/>
            <a:ext cx="6907766" cy="4605482"/>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396" name="Group 395"/>
          <p:cNvGrpSpPr/>
          <p:nvPr/>
        </p:nvGrpSpPr>
        <p:grpSpPr>
          <a:xfrm>
            <a:off x="222562" y="1976142"/>
            <a:ext cx="6853307" cy="2058904"/>
            <a:chOff x="2096035" y="1976142"/>
            <a:chExt cx="7656758" cy="2058904"/>
          </a:xfrm>
        </p:grpSpPr>
        <p:grpSp>
          <p:nvGrpSpPr>
            <p:cNvPr id="397" name="Group 396"/>
            <p:cNvGrpSpPr/>
            <p:nvPr/>
          </p:nvGrpSpPr>
          <p:grpSpPr>
            <a:xfrm>
              <a:off x="3067555" y="1976142"/>
              <a:ext cx="6685238" cy="1688475"/>
              <a:chOff x="1659120" y="1103085"/>
              <a:chExt cx="7199767" cy="1688475"/>
            </a:xfrm>
          </p:grpSpPr>
          <p:sp>
            <p:nvSpPr>
              <p:cNvPr id="400" name="Rectangle 399"/>
              <p:cNvSpPr/>
              <p:nvPr/>
            </p:nvSpPr>
            <p:spPr bwMode="auto">
              <a:xfrm>
                <a:off x="1659120" y="1103085"/>
                <a:ext cx="6142003" cy="1232911"/>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01" name="Rectangle 590"/>
              <p:cNvSpPr/>
              <p:nvPr/>
            </p:nvSpPr>
            <p:spPr bwMode="auto">
              <a:xfrm>
                <a:off x="7827122" y="1103086"/>
                <a:ext cx="1031765" cy="1688474"/>
              </a:xfrm>
              <a:custGeom>
                <a:avLst/>
                <a:gdLst>
                  <a:gd name="connsiteX0" fmla="*/ 0 w 960706"/>
                  <a:gd name="connsiteY0" fmla="*/ 0 h 1232911"/>
                  <a:gd name="connsiteX1" fmla="*/ 960706 w 960706"/>
                  <a:gd name="connsiteY1" fmla="*/ 0 h 1232911"/>
                  <a:gd name="connsiteX2" fmla="*/ 960706 w 960706"/>
                  <a:gd name="connsiteY2" fmla="*/ 1232911 h 1232911"/>
                  <a:gd name="connsiteX3" fmla="*/ 0 w 960706"/>
                  <a:gd name="connsiteY3" fmla="*/ 1232911 h 1232911"/>
                  <a:gd name="connsiteX4" fmla="*/ 0 w 960706"/>
                  <a:gd name="connsiteY4" fmla="*/ 0 h 1232911"/>
                  <a:gd name="connsiteX0" fmla="*/ 0 w 970231"/>
                  <a:gd name="connsiteY0" fmla="*/ 0 h 1699636"/>
                  <a:gd name="connsiteX1" fmla="*/ 960706 w 970231"/>
                  <a:gd name="connsiteY1" fmla="*/ 0 h 1699636"/>
                  <a:gd name="connsiteX2" fmla="*/ 970231 w 970231"/>
                  <a:gd name="connsiteY2" fmla="*/ 1699636 h 1699636"/>
                  <a:gd name="connsiteX3" fmla="*/ 0 w 970231"/>
                  <a:gd name="connsiteY3" fmla="*/ 1232911 h 1699636"/>
                  <a:gd name="connsiteX4" fmla="*/ 0 w 970231"/>
                  <a:gd name="connsiteY4" fmla="*/ 0 h 1699636"/>
                  <a:gd name="connsiteX0" fmla="*/ 0 w 970231"/>
                  <a:gd name="connsiteY0" fmla="*/ 0 h 1652011"/>
                  <a:gd name="connsiteX1" fmla="*/ 960706 w 970231"/>
                  <a:gd name="connsiteY1" fmla="*/ 0 h 1652011"/>
                  <a:gd name="connsiteX2" fmla="*/ 970231 w 970231"/>
                  <a:gd name="connsiteY2" fmla="*/ 1652011 h 1652011"/>
                  <a:gd name="connsiteX3" fmla="*/ 0 w 970231"/>
                  <a:gd name="connsiteY3" fmla="*/ 1232911 h 1652011"/>
                  <a:gd name="connsiteX4" fmla="*/ 0 w 970231"/>
                  <a:gd name="connsiteY4" fmla="*/ 0 h 1652011"/>
                  <a:gd name="connsiteX0" fmla="*/ 0 w 975455"/>
                  <a:gd name="connsiteY0" fmla="*/ 0 h 1688474"/>
                  <a:gd name="connsiteX1" fmla="*/ 960706 w 975455"/>
                  <a:gd name="connsiteY1" fmla="*/ 0 h 1688474"/>
                  <a:gd name="connsiteX2" fmla="*/ 975455 w 975455"/>
                  <a:gd name="connsiteY2" fmla="*/ 1688474 h 1688474"/>
                  <a:gd name="connsiteX3" fmla="*/ 0 w 975455"/>
                  <a:gd name="connsiteY3" fmla="*/ 1232911 h 1688474"/>
                  <a:gd name="connsiteX4" fmla="*/ 0 w 975455"/>
                  <a:gd name="connsiteY4" fmla="*/ 0 h 1688474"/>
                  <a:gd name="connsiteX0" fmla="*/ 0 w 975455"/>
                  <a:gd name="connsiteY0" fmla="*/ 0 h 1688474"/>
                  <a:gd name="connsiteX1" fmla="*/ 968542 w 975455"/>
                  <a:gd name="connsiteY1" fmla="*/ 2805 h 1688474"/>
                  <a:gd name="connsiteX2" fmla="*/ 975455 w 975455"/>
                  <a:gd name="connsiteY2" fmla="*/ 1688474 h 1688474"/>
                  <a:gd name="connsiteX3" fmla="*/ 0 w 975455"/>
                  <a:gd name="connsiteY3" fmla="*/ 1232911 h 1688474"/>
                  <a:gd name="connsiteX4" fmla="*/ 0 w 975455"/>
                  <a:gd name="connsiteY4" fmla="*/ 0 h 168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55" h="1688474">
                    <a:moveTo>
                      <a:pt x="0" y="0"/>
                    </a:moveTo>
                    <a:lnTo>
                      <a:pt x="968542" y="2805"/>
                    </a:lnTo>
                    <a:cubicBezTo>
                      <a:pt x="970846" y="564695"/>
                      <a:pt x="973151" y="1126584"/>
                      <a:pt x="975455" y="1688474"/>
                    </a:cubicBezTo>
                    <a:lnTo>
                      <a:pt x="0" y="1232911"/>
                    </a:lnTo>
                    <a:lnTo>
                      <a:pt x="0" y="0"/>
                    </a:ln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399" name="Rectangle 590"/>
            <p:cNvSpPr/>
            <p:nvPr/>
          </p:nvSpPr>
          <p:spPr bwMode="auto">
            <a:xfrm flipH="1">
              <a:off x="2096035" y="1976142"/>
              <a:ext cx="942333" cy="2058904"/>
            </a:xfrm>
            <a:custGeom>
              <a:avLst/>
              <a:gdLst>
                <a:gd name="connsiteX0" fmla="*/ 0 w 960706"/>
                <a:gd name="connsiteY0" fmla="*/ 0 h 1232911"/>
                <a:gd name="connsiteX1" fmla="*/ 960706 w 960706"/>
                <a:gd name="connsiteY1" fmla="*/ 0 h 1232911"/>
                <a:gd name="connsiteX2" fmla="*/ 960706 w 960706"/>
                <a:gd name="connsiteY2" fmla="*/ 1232911 h 1232911"/>
                <a:gd name="connsiteX3" fmla="*/ 0 w 960706"/>
                <a:gd name="connsiteY3" fmla="*/ 1232911 h 1232911"/>
                <a:gd name="connsiteX4" fmla="*/ 0 w 960706"/>
                <a:gd name="connsiteY4" fmla="*/ 0 h 1232911"/>
                <a:gd name="connsiteX0" fmla="*/ 0 w 970231"/>
                <a:gd name="connsiteY0" fmla="*/ 0 h 1699636"/>
                <a:gd name="connsiteX1" fmla="*/ 960706 w 970231"/>
                <a:gd name="connsiteY1" fmla="*/ 0 h 1699636"/>
                <a:gd name="connsiteX2" fmla="*/ 970231 w 970231"/>
                <a:gd name="connsiteY2" fmla="*/ 1699636 h 1699636"/>
                <a:gd name="connsiteX3" fmla="*/ 0 w 970231"/>
                <a:gd name="connsiteY3" fmla="*/ 1232911 h 1699636"/>
                <a:gd name="connsiteX4" fmla="*/ 0 w 970231"/>
                <a:gd name="connsiteY4" fmla="*/ 0 h 1699636"/>
                <a:gd name="connsiteX0" fmla="*/ 0 w 970231"/>
                <a:gd name="connsiteY0" fmla="*/ 0 h 1652011"/>
                <a:gd name="connsiteX1" fmla="*/ 960706 w 970231"/>
                <a:gd name="connsiteY1" fmla="*/ 0 h 1652011"/>
                <a:gd name="connsiteX2" fmla="*/ 970231 w 970231"/>
                <a:gd name="connsiteY2" fmla="*/ 1652011 h 1652011"/>
                <a:gd name="connsiteX3" fmla="*/ 0 w 970231"/>
                <a:gd name="connsiteY3" fmla="*/ 1232911 h 1652011"/>
                <a:gd name="connsiteX4" fmla="*/ 0 w 970231"/>
                <a:gd name="connsiteY4" fmla="*/ 0 h 1652011"/>
                <a:gd name="connsiteX0" fmla="*/ 0 w 975455"/>
                <a:gd name="connsiteY0" fmla="*/ 0 h 1688474"/>
                <a:gd name="connsiteX1" fmla="*/ 960706 w 975455"/>
                <a:gd name="connsiteY1" fmla="*/ 0 h 1688474"/>
                <a:gd name="connsiteX2" fmla="*/ 975455 w 975455"/>
                <a:gd name="connsiteY2" fmla="*/ 1688474 h 1688474"/>
                <a:gd name="connsiteX3" fmla="*/ 0 w 975455"/>
                <a:gd name="connsiteY3" fmla="*/ 1232911 h 1688474"/>
                <a:gd name="connsiteX4" fmla="*/ 0 w 975455"/>
                <a:gd name="connsiteY4" fmla="*/ 0 h 1688474"/>
                <a:gd name="connsiteX0" fmla="*/ 0 w 975455"/>
                <a:gd name="connsiteY0" fmla="*/ 0 h 1688474"/>
                <a:gd name="connsiteX1" fmla="*/ 968542 w 975455"/>
                <a:gd name="connsiteY1" fmla="*/ 2805 h 1688474"/>
                <a:gd name="connsiteX2" fmla="*/ 975455 w 975455"/>
                <a:gd name="connsiteY2" fmla="*/ 1688474 h 1688474"/>
                <a:gd name="connsiteX3" fmla="*/ 0 w 975455"/>
                <a:gd name="connsiteY3" fmla="*/ 1232911 h 1688474"/>
                <a:gd name="connsiteX4" fmla="*/ 0 w 975455"/>
                <a:gd name="connsiteY4" fmla="*/ 0 h 1688474"/>
                <a:gd name="connsiteX0" fmla="*/ 0 w 975455"/>
                <a:gd name="connsiteY0" fmla="*/ 0 h 1688474"/>
                <a:gd name="connsiteX1" fmla="*/ 968542 w 975455"/>
                <a:gd name="connsiteY1" fmla="*/ 2805 h 1688474"/>
                <a:gd name="connsiteX2" fmla="*/ 975455 w 975455"/>
                <a:gd name="connsiteY2" fmla="*/ 1688474 h 1688474"/>
                <a:gd name="connsiteX3" fmla="*/ 11474 w 975455"/>
                <a:gd name="connsiteY3" fmla="*/ 1087479 h 1688474"/>
                <a:gd name="connsiteX4" fmla="*/ 0 w 975455"/>
                <a:gd name="connsiteY4" fmla="*/ 0 h 168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55" h="1688474">
                  <a:moveTo>
                    <a:pt x="0" y="0"/>
                  </a:moveTo>
                  <a:lnTo>
                    <a:pt x="968542" y="2805"/>
                  </a:lnTo>
                  <a:cubicBezTo>
                    <a:pt x="970846" y="564695"/>
                    <a:pt x="973151" y="1126584"/>
                    <a:pt x="975455" y="1688474"/>
                  </a:cubicBezTo>
                  <a:lnTo>
                    <a:pt x="11474" y="1087479"/>
                  </a:lnTo>
                  <a:lnTo>
                    <a:pt x="0" y="0"/>
                  </a:ln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cxnSp>
        <p:nvCxnSpPr>
          <p:cNvPr id="402" name="Elbow Connector 401"/>
          <p:cNvCxnSpPr>
            <a:stCxn id="502" idx="1"/>
            <a:endCxn id="634" idx="1"/>
          </p:cNvCxnSpPr>
          <p:nvPr/>
        </p:nvCxnSpPr>
        <p:spPr>
          <a:xfrm rot="10800000">
            <a:off x="2833729" y="2288784"/>
            <a:ext cx="291387" cy="594116"/>
          </a:xfrm>
          <a:prstGeom prst="bentConnector3">
            <a:avLst>
              <a:gd name="adj1" fmla="val 50000"/>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17" name="Group 416"/>
          <p:cNvGrpSpPr/>
          <p:nvPr/>
        </p:nvGrpSpPr>
        <p:grpSpPr>
          <a:xfrm>
            <a:off x="7620706" y="3224093"/>
            <a:ext cx="663050" cy="1083312"/>
            <a:chOff x="9350678" y="2935671"/>
            <a:chExt cx="802290" cy="1310807"/>
          </a:xfrm>
        </p:grpSpPr>
        <p:sp>
          <p:nvSpPr>
            <p:cNvPr id="422" name="Rectangle 421"/>
            <p:cNvSpPr/>
            <p:nvPr/>
          </p:nvSpPr>
          <p:spPr bwMode="auto">
            <a:xfrm>
              <a:off x="9358876" y="3527663"/>
              <a:ext cx="794092" cy="643345"/>
            </a:xfrm>
            <a:prstGeom prst="rect">
              <a:avLst/>
            </a:prstGeom>
            <a:solidFill>
              <a:srgbClr val="0081A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24" name="Oval 423"/>
            <p:cNvSpPr/>
            <p:nvPr/>
          </p:nvSpPr>
          <p:spPr bwMode="auto">
            <a:xfrm>
              <a:off x="9365786" y="3445990"/>
              <a:ext cx="785459" cy="18171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26" name="Rounded Rectangle 425"/>
            <p:cNvSpPr/>
            <p:nvPr/>
          </p:nvSpPr>
          <p:spPr bwMode="auto">
            <a:xfrm>
              <a:off x="9713918" y="3079881"/>
              <a:ext cx="79493" cy="467307"/>
            </a:xfrm>
            <a:prstGeom prst="roundRect">
              <a:avLst>
                <a:gd name="adj" fmla="val 31237"/>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28" name="Oval 766"/>
            <p:cNvSpPr/>
            <p:nvPr/>
          </p:nvSpPr>
          <p:spPr bwMode="auto">
            <a:xfrm>
              <a:off x="9355904" y="3026528"/>
              <a:ext cx="786599" cy="1219950"/>
            </a:xfrm>
            <a:custGeom>
              <a:avLst/>
              <a:gdLst/>
              <a:ahLst/>
              <a:cxnLst/>
              <a:rect l="l" t="t" r="r" b="b"/>
              <a:pathLst>
                <a:path w="908384" h="1395535">
                  <a:moveTo>
                    <a:pt x="0" y="0"/>
                  </a:moveTo>
                  <a:lnTo>
                    <a:pt x="908384" y="0"/>
                  </a:lnTo>
                  <a:lnTo>
                    <a:pt x="908384" y="1296173"/>
                  </a:lnTo>
                  <a:lnTo>
                    <a:pt x="901456" y="1296173"/>
                  </a:lnTo>
                  <a:cubicBezTo>
                    <a:pt x="891964" y="1351613"/>
                    <a:pt x="695250" y="1395535"/>
                    <a:pt x="454193" y="1395535"/>
                  </a:cubicBezTo>
                  <a:cubicBezTo>
                    <a:pt x="213136" y="1395535"/>
                    <a:pt x="16422" y="1351613"/>
                    <a:pt x="6930" y="1296173"/>
                  </a:cubicBezTo>
                  <a:lnTo>
                    <a:pt x="0" y="1296173"/>
                  </a:lnTo>
                  <a:close/>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29" name="Rectangle 428"/>
            <p:cNvSpPr/>
            <p:nvPr/>
          </p:nvSpPr>
          <p:spPr bwMode="auto">
            <a:xfrm>
              <a:off x="9713796" y="3636322"/>
              <a:ext cx="84639" cy="239805"/>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30" name="Oval 429"/>
            <p:cNvSpPr/>
            <p:nvPr/>
          </p:nvSpPr>
          <p:spPr bwMode="auto">
            <a:xfrm>
              <a:off x="9371157" y="4056260"/>
              <a:ext cx="758503" cy="181713"/>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31" name="Oval 430"/>
            <p:cNvSpPr/>
            <p:nvPr/>
          </p:nvSpPr>
          <p:spPr bwMode="auto">
            <a:xfrm>
              <a:off x="9350678" y="2935671"/>
              <a:ext cx="795544" cy="181713"/>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432" name="Rectangle 431"/>
          <p:cNvSpPr/>
          <p:nvPr/>
        </p:nvSpPr>
        <p:spPr bwMode="auto">
          <a:xfrm>
            <a:off x="6478388" y="2927992"/>
            <a:ext cx="294262" cy="514072"/>
          </a:xfrm>
          <a:prstGeom prst="rect">
            <a:avLst/>
          </a:prstGeom>
          <a:solidFill>
            <a:srgbClr val="1B3B41"/>
          </a:solidFill>
          <a:ln>
            <a:noFill/>
            <a:headEnd type="none" w="med" len="med"/>
            <a:tailEnd type="none" w="med" len="med"/>
          </a:ln>
          <a:effectLst/>
          <a:scene3d>
            <a:camera prst="isometricOffAxis1Lef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33" name="Flowchart: Data 687"/>
          <p:cNvSpPr/>
          <p:nvPr/>
        </p:nvSpPr>
        <p:spPr bwMode="auto">
          <a:xfrm flipH="1">
            <a:off x="3102459" y="3992322"/>
            <a:ext cx="1051834" cy="17816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1725"/>
              <a:gd name="connsiteX1" fmla="*/ 2000 w 10000"/>
              <a:gd name="connsiteY1" fmla="*/ 0 h 11725"/>
              <a:gd name="connsiteX2" fmla="*/ 10000 w 10000"/>
              <a:gd name="connsiteY2" fmla="*/ 0 h 11725"/>
              <a:gd name="connsiteX3" fmla="*/ 9771 w 10000"/>
              <a:gd name="connsiteY3" fmla="*/ 11725 h 11725"/>
              <a:gd name="connsiteX4" fmla="*/ 0 w 10000"/>
              <a:gd name="connsiteY4" fmla="*/ 10000 h 11725"/>
              <a:gd name="connsiteX0" fmla="*/ 0 w 10000"/>
              <a:gd name="connsiteY0" fmla="*/ 10000 h 10000"/>
              <a:gd name="connsiteX1" fmla="*/ 2000 w 10000"/>
              <a:gd name="connsiteY1" fmla="*/ 0 h 10000"/>
              <a:gd name="connsiteX2" fmla="*/ 10000 w 10000"/>
              <a:gd name="connsiteY2" fmla="*/ 0 h 10000"/>
              <a:gd name="connsiteX3" fmla="*/ 9860 w 10000"/>
              <a:gd name="connsiteY3" fmla="*/ 10000 h 10000"/>
              <a:gd name="connsiteX4" fmla="*/ 0 w 10000"/>
              <a:gd name="connsiteY4" fmla="*/ 10000 h 10000"/>
              <a:gd name="connsiteX0" fmla="*/ 0 w 10000"/>
              <a:gd name="connsiteY0" fmla="*/ 10000 h 10000"/>
              <a:gd name="connsiteX1" fmla="*/ 672 w 10000"/>
              <a:gd name="connsiteY1" fmla="*/ 0 h 10000"/>
              <a:gd name="connsiteX2" fmla="*/ 10000 w 10000"/>
              <a:gd name="connsiteY2" fmla="*/ 0 h 10000"/>
              <a:gd name="connsiteX3" fmla="*/ 9860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672" y="0"/>
                </a:lnTo>
                <a:lnTo>
                  <a:pt x="10000" y="0"/>
                </a:lnTo>
                <a:cubicBezTo>
                  <a:pt x="9924" y="3908"/>
                  <a:pt x="9936" y="6092"/>
                  <a:pt x="9860" y="10000"/>
                </a:cubicBezTo>
                <a:lnTo>
                  <a:pt x="0" y="10000"/>
                </a:lnTo>
                <a:close/>
              </a:path>
            </a:pathLst>
          </a:cu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34" name="Rectangle 433"/>
          <p:cNvSpPr/>
          <p:nvPr/>
        </p:nvSpPr>
        <p:spPr bwMode="auto">
          <a:xfrm>
            <a:off x="1156299" y="3122699"/>
            <a:ext cx="75633" cy="759013"/>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35" name="Flowchart: Data 775"/>
          <p:cNvSpPr/>
          <p:nvPr/>
        </p:nvSpPr>
        <p:spPr bwMode="auto">
          <a:xfrm flipH="1">
            <a:off x="4186541" y="5646041"/>
            <a:ext cx="1953306" cy="620643"/>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254"/>
              <a:gd name="connsiteX1" fmla="*/ 2000 w 10000"/>
              <a:gd name="connsiteY1" fmla="*/ 0 h 10254"/>
              <a:gd name="connsiteX2" fmla="*/ 10000 w 10000"/>
              <a:gd name="connsiteY2" fmla="*/ 0 h 10254"/>
              <a:gd name="connsiteX3" fmla="*/ 9274 w 10000"/>
              <a:gd name="connsiteY3" fmla="*/ 10254 h 10254"/>
              <a:gd name="connsiteX4" fmla="*/ 0 w 10000"/>
              <a:gd name="connsiteY4" fmla="*/ 10000 h 10254"/>
              <a:gd name="connsiteX0" fmla="*/ 0 w 10033"/>
              <a:gd name="connsiteY0" fmla="*/ 10127 h 10254"/>
              <a:gd name="connsiteX1" fmla="*/ 2033 w 10033"/>
              <a:gd name="connsiteY1" fmla="*/ 0 h 10254"/>
              <a:gd name="connsiteX2" fmla="*/ 10033 w 10033"/>
              <a:gd name="connsiteY2" fmla="*/ 0 h 10254"/>
              <a:gd name="connsiteX3" fmla="*/ 9307 w 10033"/>
              <a:gd name="connsiteY3" fmla="*/ 10254 h 10254"/>
              <a:gd name="connsiteX4" fmla="*/ 0 w 10033"/>
              <a:gd name="connsiteY4" fmla="*/ 10127 h 10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3" h="10254">
                <a:moveTo>
                  <a:pt x="0" y="10127"/>
                </a:moveTo>
                <a:lnTo>
                  <a:pt x="2033" y="0"/>
                </a:lnTo>
                <a:lnTo>
                  <a:pt x="10033" y="0"/>
                </a:lnTo>
                <a:lnTo>
                  <a:pt x="9307" y="10254"/>
                </a:lnTo>
                <a:lnTo>
                  <a:pt x="0" y="10127"/>
                </a:lnTo>
                <a:close/>
              </a:path>
            </a:pathLst>
          </a:cu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436" name="Group 435"/>
          <p:cNvGrpSpPr/>
          <p:nvPr/>
        </p:nvGrpSpPr>
        <p:grpSpPr>
          <a:xfrm>
            <a:off x="209887" y="2258507"/>
            <a:ext cx="432424" cy="558569"/>
            <a:chOff x="6178987" y="1083053"/>
            <a:chExt cx="2106470" cy="2151434"/>
          </a:xfrm>
          <a:solidFill>
            <a:schemeClr val="bg1">
              <a:alpha val="20000"/>
            </a:schemeClr>
          </a:solidFill>
          <a:scene3d>
            <a:camera prst="isometricOffAxis2Right"/>
            <a:lightRig rig="threePt" dir="t"/>
          </a:scene3d>
        </p:grpSpPr>
        <p:sp>
          <p:nvSpPr>
            <p:cNvPr id="437" name="Rectangle 436"/>
            <p:cNvSpPr/>
            <p:nvPr/>
          </p:nvSpPr>
          <p:spPr bwMode="auto">
            <a:xfrm>
              <a:off x="6178987"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38" name="Rectangle 437"/>
            <p:cNvSpPr/>
            <p:nvPr/>
          </p:nvSpPr>
          <p:spPr bwMode="auto">
            <a:xfrm>
              <a:off x="7297638"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39" name="Rectangle 438"/>
            <p:cNvSpPr/>
            <p:nvPr/>
          </p:nvSpPr>
          <p:spPr bwMode="auto">
            <a:xfrm>
              <a:off x="6179355" y="2245277"/>
              <a:ext cx="986406" cy="989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40" name="Rectangle 439"/>
            <p:cNvSpPr/>
            <p:nvPr/>
          </p:nvSpPr>
          <p:spPr bwMode="auto">
            <a:xfrm>
              <a:off x="7299054" y="2244788"/>
              <a:ext cx="986403"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441" name="Rectangle 440"/>
          <p:cNvSpPr/>
          <p:nvPr/>
        </p:nvSpPr>
        <p:spPr bwMode="auto">
          <a:xfrm>
            <a:off x="805959" y="3711689"/>
            <a:ext cx="3488460" cy="200180"/>
          </a:xfrm>
          <a:prstGeom prst="rect">
            <a:avLst/>
          </a:pr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42" name="Rounded Rectangle 441"/>
          <p:cNvSpPr/>
          <p:nvPr/>
        </p:nvSpPr>
        <p:spPr bwMode="auto">
          <a:xfrm>
            <a:off x="728259" y="3654867"/>
            <a:ext cx="3566160" cy="86371"/>
          </a:xfrm>
          <a:prstGeom prst="roundRect">
            <a:avLst>
              <a:gd name="adj" fmla="val 50000"/>
            </a:avLst>
          </a:prstGeom>
          <a:solidFill>
            <a:srgbClr val="0048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43" name="Oval 5"/>
          <p:cNvSpPr/>
          <p:nvPr/>
        </p:nvSpPr>
        <p:spPr bwMode="auto">
          <a:xfrm>
            <a:off x="3102155" y="4443558"/>
            <a:ext cx="311817" cy="277692"/>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5" name="Oval 5"/>
          <p:cNvSpPr/>
          <p:nvPr/>
        </p:nvSpPr>
        <p:spPr bwMode="auto">
          <a:xfrm>
            <a:off x="5024269" y="3104623"/>
            <a:ext cx="193223" cy="17207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7" name="Rectangle 446"/>
          <p:cNvSpPr/>
          <p:nvPr/>
        </p:nvSpPr>
        <p:spPr>
          <a:xfrm>
            <a:off x="1190616" y="1491335"/>
            <a:ext cx="1798890"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MANUFACTURING PLANT</a:t>
            </a:r>
          </a:p>
        </p:txBody>
      </p:sp>
      <p:sp>
        <p:nvSpPr>
          <p:cNvPr id="448" name="Trapezoid 447"/>
          <p:cNvSpPr/>
          <p:nvPr/>
        </p:nvSpPr>
        <p:spPr bwMode="auto">
          <a:xfrm>
            <a:off x="755938" y="3519863"/>
            <a:ext cx="3801559" cy="131286"/>
          </a:xfrm>
          <a:prstGeom prst="trapezoid">
            <a:avLst>
              <a:gd name="adj" fmla="val 165124"/>
            </a:avLst>
          </a:pr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49" name="Oval 5"/>
          <p:cNvSpPr/>
          <p:nvPr/>
        </p:nvSpPr>
        <p:spPr bwMode="auto">
          <a:xfrm>
            <a:off x="3502609" y="4440865"/>
            <a:ext cx="288971" cy="28308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50" name="Group 449"/>
          <p:cNvGrpSpPr/>
          <p:nvPr/>
        </p:nvGrpSpPr>
        <p:grpSpPr>
          <a:xfrm>
            <a:off x="742542" y="3661922"/>
            <a:ext cx="3443046" cy="67574"/>
            <a:chOff x="2542423" y="3659019"/>
            <a:chExt cx="3443046" cy="67574"/>
          </a:xfrm>
        </p:grpSpPr>
        <p:sp>
          <p:nvSpPr>
            <p:cNvPr id="451" name="Oval 450"/>
            <p:cNvSpPr/>
            <p:nvPr/>
          </p:nvSpPr>
          <p:spPr bwMode="auto">
            <a:xfrm>
              <a:off x="254242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2" name="Oval 451"/>
            <p:cNvSpPr/>
            <p:nvPr/>
          </p:nvSpPr>
          <p:spPr bwMode="auto">
            <a:xfrm>
              <a:off x="276773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3" name="Oval 452"/>
            <p:cNvSpPr/>
            <p:nvPr/>
          </p:nvSpPr>
          <p:spPr bwMode="auto">
            <a:xfrm>
              <a:off x="299303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4" name="Oval 453"/>
            <p:cNvSpPr/>
            <p:nvPr/>
          </p:nvSpPr>
          <p:spPr bwMode="auto">
            <a:xfrm>
              <a:off x="321834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6" name="Oval 455"/>
            <p:cNvSpPr/>
            <p:nvPr/>
          </p:nvSpPr>
          <p:spPr bwMode="auto">
            <a:xfrm>
              <a:off x="344365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8" name="Oval 457"/>
            <p:cNvSpPr/>
            <p:nvPr/>
          </p:nvSpPr>
          <p:spPr bwMode="auto">
            <a:xfrm>
              <a:off x="366896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59" name="Oval 458"/>
            <p:cNvSpPr/>
            <p:nvPr/>
          </p:nvSpPr>
          <p:spPr bwMode="auto">
            <a:xfrm>
              <a:off x="389427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0" name="Oval 459"/>
            <p:cNvSpPr/>
            <p:nvPr/>
          </p:nvSpPr>
          <p:spPr bwMode="auto">
            <a:xfrm>
              <a:off x="411957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1" name="Oval 460"/>
            <p:cNvSpPr/>
            <p:nvPr/>
          </p:nvSpPr>
          <p:spPr bwMode="auto">
            <a:xfrm>
              <a:off x="434488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2" name="Oval 461"/>
            <p:cNvSpPr/>
            <p:nvPr/>
          </p:nvSpPr>
          <p:spPr bwMode="auto">
            <a:xfrm>
              <a:off x="457019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3" name="Oval 462"/>
            <p:cNvSpPr/>
            <p:nvPr/>
          </p:nvSpPr>
          <p:spPr bwMode="auto">
            <a:xfrm>
              <a:off x="479550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4" name="Oval 463"/>
            <p:cNvSpPr/>
            <p:nvPr/>
          </p:nvSpPr>
          <p:spPr bwMode="auto">
            <a:xfrm>
              <a:off x="502081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5" name="Oval 464"/>
            <p:cNvSpPr/>
            <p:nvPr/>
          </p:nvSpPr>
          <p:spPr bwMode="auto">
            <a:xfrm>
              <a:off x="524611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66" name="Oval 465"/>
            <p:cNvSpPr/>
            <p:nvPr/>
          </p:nvSpPr>
          <p:spPr bwMode="auto">
            <a:xfrm>
              <a:off x="547142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0" name="Oval 469"/>
            <p:cNvSpPr/>
            <p:nvPr/>
          </p:nvSpPr>
          <p:spPr bwMode="auto">
            <a:xfrm>
              <a:off x="569673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1" name="Oval 470"/>
            <p:cNvSpPr/>
            <p:nvPr/>
          </p:nvSpPr>
          <p:spPr bwMode="auto">
            <a:xfrm>
              <a:off x="5922052"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2" name="Oval 471"/>
            <p:cNvSpPr/>
            <p:nvPr/>
          </p:nvSpPr>
          <p:spPr bwMode="auto">
            <a:xfrm>
              <a:off x="265507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4" name="Oval 473"/>
            <p:cNvSpPr/>
            <p:nvPr/>
          </p:nvSpPr>
          <p:spPr bwMode="auto">
            <a:xfrm>
              <a:off x="288038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6" name="Oval 475"/>
            <p:cNvSpPr/>
            <p:nvPr/>
          </p:nvSpPr>
          <p:spPr bwMode="auto">
            <a:xfrm>
              <a:off x="310569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7" name="Oval 476"/>
            <p:cNvSpPr/>
            <p:nvPr/>
          </p:nvSpPr>
          <p:spPr bwMode="auto">
            <a:xfrm>
              <a:off x="333100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8" name="Oval 477"/>
            <p:cNvSpPr/>
            <p:nvPr/>
          </p:nvSpPr>
          <p:spPr bwMode="auto">
            <a:xfrm>
              <a:off x="355630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79" name="Oval 478"/>
            <p:cNvSpPr/>
            <p:nvPr/>
          </p:nvSpPr>
          <p:spPr bwMode="auto">
            <a:xfrm>
              <a:off x="378161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80" name="Oval 479"/>
            <p:cNvSpPr/>
            <p:nvPr/>
          </p:nvSpPr>
          <p:spPr bwMode="auto">
            <a:xfrm>
              <a:off x="400692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89" name="Oval 488"/>
            <p:cNvSpPr/>
            <p:nvPr/>
          </p:nvSpPr>
          <p:spPr bwMode="auto">
            <a:xfrm>
              <a:off x="423223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94" name="Oval 493"/>
            <p:cNvSpPr/>
            <p:nvPr/>
          </p:nvSpPr>
          <p:spPr bwMode="auto">
            <a:xfrm>
              <a:off x="445754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96" name="Oval 495"/>
            <p:cNvSpPr/>
            <p:nvPr/>
          </p:nvSpPr>
          <p:spPr bwMode="auto">
            <a:xfrm>
              <a:off x="468284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97" name="Oval 496"/>
            <p:cNvSpPr/>
            <p:nvPr/>
          </p:nvSpPr>
          <p:spPr bwMode="auto">
            <a:xfrm>
              <a:off x="490815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98" name="Oval 497"/>
            <p:cNvSpPr/>
            <p:nvPr/>
          </p:nvSpPr>
          <p:spPr bwMode="auto">
            <a:xfrm>
              <a:off x="513346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499" name="Oval 498"/>
            <p:cNvSpPr/>
            <p:nvPr/>
          </p:nvSpPr>
          <p:spPr bwMode="auto">
            <a:xfrm>
              <a:off x="535877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00" name="Oval 499"/>
            <p:cNvSpPr/>
            <p:nvPr/>
          </p:nvSpPr>
          <p:spPr bwMode="auto">
            <a:xfrm>
              <a:off x="558408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01" name="Oval 500"/>
            <p:cNvSpPr/>
            <p:nvPr/>
          </p:nvSpPr>
          <p:spPr bwMode="auto">
            <a:xfrm>
              <a:off x="580938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502" name="Rectangle 501"/>
          <p:cNvSpPr/>
          <p:nvPr/>
        </p:nvSpPr>
        <p:spPr bwMode="auto">
          <a:xfrm>
            <a:off x="3125115" y="2682076"/>
            <a:ext cx="349337" cy="401648"/>
          </a:xfrm>
          <a:prstGeom prst="rect">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503" name="Group 502"/>
          <p:cNvGrpSpPr/>
          <p:nvPr/>
        </p:nvGrpSpPr>
        <p:grpSpPr>
          <a:xfrm>
            <a:off x="3460343" y="3571943"/>
            <a:ext cx="272918" cy="516156"/>
            <a:chOff x="2431514" y="2279062"/>
            <a:chExt cx="531840" cy="1005842"/>
          </a:xfrm>
        </p:grpSpPr>
        <p:sp>
          <p:nvSpPr>
            <p:cNvPr id="504" name="Rectangle 503"/>
            <p:cNvSpPr/>
            <p:nvPr/>
          </p:nvSpPr>
          <p:spPr bwMode="auto">
            <a:xfrm>
              <a:off x="2514941" y="2335996"/>
              <a:ext cx="361323" cy="422149"/>
            </a:xfrm>
            <a:prstGeom prst="rect">
              <a:avLst/>
            </a:prstGeom>
            <a:solidFill>
              <a:srgbClr val="29411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08" name="Rounded Rectangle 4"/>
            <p:cNvSpPr>
              <a:spLocks noChangeAspect="1"/>
            </p:cNvSpPr>
            <p:nvPr/>
          </p:nvSpPr>
          <p:spPr bwMode="auto">
            <a:xfrm>
              <a:off x="2431514" y="2279062"/>
              <a:ext cx="531840" cy="1005842"/>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rgbClr val="78AA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09" name="Group 508"/>
          <p:cNvGrpSpPr/>
          <p:nvPr/>
        </p:nvGrpSpPr>
        <p:grpSpPr>
          <a:xfrm>
            <a:off x="3554682" y="3640726"/>
            <a:ext cx="88262" cy="88240"/>
            <a:chOff x="10188397" y="2479330"/>
            <a:chExt cx="302040" cy="301962"/>
          </a:xfrm>
          <a:solidFill>
            <a:srgbClr val="8DC548"/>
          </a:solidFill>
        </p:grpSpPr>
        <p:sp>
          <p:nvSpPr>
            <p:cNvPr id="510" name="Freeform 101"/>
            <p:cNvSpPr>
              <a:spLocks noEditPoints="1"/>
            </p:cNvSpPr>
            <p:nvPr/>
          </p:nvSpPr>
          <p:spPr bwMode="black">
            <a:xfrm>
              <a:off x="10188397" y="2479330"/>
              <a:ext cx="302040" cy="301962"/>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511" name="Freeform 102"/>
            <p:cNvSpPr>
              <a:spLocks/>
            </p:cNvSpPr>
            <p:nvPr/>
          </p:nvSpPr>
          <p:spPr bwMode="black">
            <a:xfrm>
              <a:off x="10327738" y="2561646"/>
              <a:ext cx="33648" cy="94586"/>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512" name="Rectangle 103"/>
            <p:cNvSpPr>
              <a:spLocks noChangeArrowheads="1"/>
            </p:cNvSpPr>
            <p:nvPr/>
          </p:nvSpPr>
          <p:spPr bwMode="black">
            <a:xfrm>
              <a:off x="10325759" y="2666521"/>
              <a:ext cx="37607" cy="36409"/>
            </a:xfrm>
            <a:prstGeom prst="rect">
              <a:avLst/>
            </a:prstGeom>
            <a:grp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cxnSp>
        <p:nvCxnSpPr>
          <p:cNvPr id="514" name="Elbow Connector 513"/>
          <p:cNvCxnSpPr>
            <a:endCxn id="502" idx="3"/>
          </p:cNvCxnSpPr>
          <p:nvPr/>
        </p:nvCxnSpPr>
        <p:spPr>
          <a:xfrm rot="16200000" flipV="1">
            <a:off x="3192864" y="3164490"/>
            <a:ext cx="689043" cy="125865"/>
          </a:xfrm>
          <a:prstGeom prst="bentConnector2">
            <a:avLst/>
          </a:pr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17" name="Group 516"/>
          <p:cNvGrpSpPr/>
          <p:nvPr/>
        </p:nvGrpSpPr>
        <p:grpSpPr>
          <a:xfrm>
            <a:off x="3161415" y="2733749"/>
            <a:ext cx="267478" cy="346658"/>
            <a:chOff x="3552856" y="1167295"/>
            <a:chExt cx="521240" cy="675539"/>
          </a:xfrm>
        </p:grpSpPr>
        <p:sp>
          <p:nvSpPr>
            <p:cNvPr id="518" name="Rectangle 517"/>
            <p:cNvSpPr/>
            <p:nvPr/>
          </p:nvSpPr>
          <p:spPr bwMode="auto">
            <a:xfrm>
              <a:off x="3682167" y="1256658"/>
              <a:ext cx="281359" cy="293535"/>
            </a:xfrm>
            <a:prstGeom prst="rect">
              <a:avLst/>
            </a:prstGeom>
            <a:solidFill>
              <a:srgbClr val="29411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519" name="Group 518"/>
            <p:cNvGrpSpPr/>
            <p:nvPr/>
          </p:nvGrpSpPr>
          <p:grpSpPr>
            <a:xfrm>
              <a:off x="3552856" y="1167295"/>
              <a:ext cx="521240" cy="675539"/>
              <a:chOff x="3581886" y="1135362"/>
              <a:chExt cx="521240" cy="675539"/>
            </a:xfrm>
          </p:grpSpPr>
          <p:sp>
            <p:nvSpPr>
              <p:cNvPr id="524" name="Rectangle 59"/>
              <p:cNvSpPr/>
              <p:nvPr/>
            </p:nvSpPr>
            <p:spPr bwMode="auto">
              <a:xfrm>
                <a:off x="3581886" y="1135362"/>
                <a:ext cx="521240" cy="675539"/>
              </a:xfrm>
              <a:custGeom>
                <a:avLst/>
                <a:gdLst/>
                <a:ahLst/>
                <a:cxnLst/>
                <a:rect l="l" t="t" r="r" b="b"/>
                <a:pathLst>
                  <a:path w="1330900" h="1724876">
                    <a:moveTo>
                      <a:pt x="0" y="1370500"/>
                    </a:moveTo>
                    <a:lnTo>
                      <a:pt x="749813" y="1457869"/>
                    </a:lnTo>
                    <a:cubicBezTo>
                      <a:pt x="750362" y="1484968"/>
                      <a:pt x="751746" y="1531228"/>
                      <a:pt x="752295" y="1558327"/>
                    </a:cubicBezTo>
                    <a:lnTo>
                      <a:pt x="10134" y="1453480"/>
                    </a:lnTo>
                    <a:close/>
                    <a:moveTo>
                      <a:pt x="974149" y="1337212"/>
                    </a:moveTo>
                    <a:cubicBezTo>
                      <a:pt x="974302" y="1371103"/>
                      <a:pt x="974455" y="1404993"/>
                      <a:pt x="974608" y="1438884"/>
                    </a:cubicBezTo>
                    <a:lnTo>
                      <a:pt x="761535" y="1554426"/>
                    </a:lnTo>
                    <a:cubicBezTo>
                      <a:pt x="762084" y="1527327"/>
                      <a:pt x="759538" y="1484949"/>
                      <a:pt x="760087" y="1457849"/>
                    </a:cubicBezTo>
                    <a:close/>
                    <a:moveTo>
                      <a:pt x="232082" y="1272747"/>
                    </a:moveTo>
                    <a:lnTo>
                      <a:pt x="965544" y="1334571"/>
                    </a:lnTo>
                    <a:lnTo>
                      <a:pt x="755406" y="1451661"/>
                    </a:lnTo>
                    <a:lnTo>
                      <a:pt x="7410" y="1362490"/>
                    </a:lnTo>
                    <a:close/>
                    <a:moveTo>
                      <a:pt x="1051563" y="289402"/>
                    </a:moveTo>
                    <a:lnTo>
                      <a:pt x="438156" y="341569"/>
                    </a:lnTo>
                    <a:lnTo>
                      <a:pt x="354664" y="900264"/>
                    </a:lnTo>
                    <a:lnTo>
                      <a:pt x="968072" y="888484"/>
                    </a:lnTo>
                    <a:close/>
                    <a:moveTo>
                      <a:pt x="1249536" y="71477"/>
                    </a:moveTo>
                    <a:lnTo>
                      <a:pt x="1330900" y="134646"/>
                    </a:lnTo>
                    <a:lnTo>
                      <a:pt x="1161901" y="1724876"/>
                    </a:lnTo>
                    <a:lnTo>
                      <a:pt x="1025375" y="1724876"/>
                    </a:lnTo>
                    <a:cubicBezTo>
                      <a:pt x="1076551" y="1182290"/>
                      <a:pt x="1156816" y="636961"/>
                      <a:pt x="1249536" y="71477"/>
                    </a:cubicBezTo>
                    <a:close/>
                    <a:moveTo>
                      <a:pt x="1270517" y="0"/>
                    </a:moveTo>
                    <a:cubicBezTo>
                      <a:pt x="1237712" y="66785"/>
                      <a:pt x="1239219" y="63859"/>
                      <a:pt x="1236639" y="79612"/>
                    </a:cubicBezTo>
                    <a:cubicBezTo>
                      <a:pt x="1177780" y="376370"/>
                      <a:pt x="1074422" y="1035863"/>
                      <a:pt x="1006324" y="1724876"/>
                    </a:cubicBezTo>
                    <a:lnTo>
                      <a:pt x="129779" y="1724876"/>
                    </a:lnTo>
                    <a:cubicBezTo>
                      <a:pt x="134810" y="1642838"/>
                      <a:pt x="143489" y="1561634"/>
                      <a:pt x="152869" y="1480487"/>
                    </a:cubicBezTo>
                    <a:lnTo>
                      <a:pt x="759172" y="1563461"/>
                    </a:lnTo>
                    <a:lnTo>
                      <a:pt x="987167" y="1434545"/>
                    </a:lnTo>
                    <a:lnTo>
                      <a:pt x="990648" y="1326256"/>
                    </a:lnTo>
                    <a:lnTo>
                      <a:pt x="224862" y="1260939"/>
                    </a:lnTo>
                    <a:lnTo>
                      <a:pt x="176915" y="1281656"/>
                    </a:lnTo>
                    <a:cubicBezTo>
                      <a:pt x="220006" y="938614"/>
                      <a:pt x="274383" y="589238"/>
                      <a:pt x="332527" y="195284"/>
                    </a:cubicBezTo>
                    <a:cubicBezTo>
                      <a:pt x="346547" y="136030"/>
                      <a:pt x="348191" y="116502"/>
                      <a:pt x="427187" y="101557"/>
                    </a:cubicBezTo>
                    <a:close/>
                  </a:path>
                </a:pathLst>
              </a:cu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25" name="Group 524"/>
              <p:cNvGrpSpPr/>
              <p:nvPr/>
            </p:nvGrpSpPr>
            <p:grpSpPr>
              <a:xfrm rot="338051">
                <a:off x="3758138" y="1306286"/>
                <a:ext cx="96803" cy="160371"/>
                <a:chOff x="3779688" y="1268549"/>
                <a:chExt cx="172086" cy="189399"/>
              </a:xfrm>
              <a:solidFill>
                <a:srgbClr val="8DC548"/>
              </a:solidFill>
              <a:scene3d>
                <a:camera prst="orthographicFront">
                  <a:rot lat="102490" lon="19204199" rev="281991"/>
                </a:camera>
                <a:lightRig rig="threePt" dir="t"/>
              </a:scene3d>
            </p:grpSpPr>
            <p:sp>
              <p:nvSpPr>
                <p:cNvPr id="531" name="Rectangle 530"/>
                <p:cNvSpPr/>
                <p:nvPr/>
              </p:nvSpPr>
              <p:spPr bwMode="auto">
                <a:xfrm>
                  <a:off x="3779688" y="1330110"/>
                  <a:ext cx="45719" cy="1278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32" name="Rectangle 531"/>
                <p:cNvSpPr/>
                <p:nvPr/>
              </p:nvSpPr>
              <p:spPr bwMode="auto">
                <a:xfrm>
                  <a:off x="3842872" y="1268549"/>
                  <a:ext cx="45719" cy="18939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33" name="Rectangle 532"/>
                <p:cNvSpPr/>
                <p:nvPr/>
              </p:nvSpPr>
              <p:spPr bwMode="auto">
                <a:xfrm>
                  <a:off x="3906055" y="1335241"/>
                  <a:ext cx="45719" cy="1227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526" name="Group 525"/>
              <p:cNvGrpSpPr/>
              <p:nvPr/>
            </p:nvGrpSpPr>
            <p:grpSpPr>
              <a:xfrm rot="338051">
                <a:off x="3847954" y="1385485"/>
                <a:ext cx="96803" cy="80186"/>
                <a:chOff x="3779688" y="1268549"/>
                <a:chExt cx="172086" cy="189399"/>
              </a:xfrm>
              <a:solidFill>
                <a:srgbClr val="8DC548"/>
              </a:solidFill>
              <a:scene3d>
                <a:camera prst="orthographicFront">
                  <a:rot lat="102490" lon="19204199" rev="281991"/>
                </a:camera>
                <a:lightRig rig="threePt" dir="t"/>
              </a:scene3d>
            </p:grpSpPr>
            <p:sp>
              <p:nvSpPr>
                <p:cNvPr id="527" name="Rectangle 526"/>
                <p:cNvSpPr/>
                <p:nvPr/>
              </p:nvSpPr>
              <p:spPr bwMode="auto">
                <a:xfrm>
                  <a:off x="3779688" y="1330110"/>
                  <a:ext cx="45719" cy="1278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28" name="Rectangle 527"/>
                <p:cNvSpPr/>
                <p:nvPr/>
              </p:nvSpPr>
              <p:spPr bwMode="auto">
                <a:xfrm>
                  <a:off x="3842872" y="1268549"/>
                  <a:ext cx="45719" cy="18939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30" name="Rectangle 529"/>
                <p:cNvSpPr/>
                <p:nvPr/>
              </p:nvSpPr>
              <p:spPr bwMode="auto">
                <a:xfrm>
                  <a:off x="3906055" y="1335241"/>
                  <a:ext cx="45719" cy="1227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grpSp>
      <p:sp>
        <p:nvSpPr>
          <p:cNvPr id="545" name="Rectangle 544"/>
          <p:cNvSpPr/>
          <p:nvPr/>
        </p:nvSpPr>
        <p:spPr bwMode="auto">
          <a:xfrm rot="5400000">
            <a:off x="5198972" y="5535575"/>
            <a:ext cx="335854" cy="787638"/>
          </a:xfrm>
          <a:prstGeom prst="rect">
            <a:avLst/>
          </a:pr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47" name="Parallelogram 24"/>
          <p:cNvSpPr/>
          <p:nvPr/>
        </p:nvSpPr>
        <p:spPr bwMode="auto">
          <a:xfrm flipH="1">
            <a:off x="4116815" y="3834164"/>
            <a:ext cx="1608768" cy="2263158"/>
          </a:xfrm>
          <a:custGeom>
            <a:avLst/>
            <a:gdLst>
              <a:gd name="connsiteX0" fmla="*/ 0 w 2348094"/>
              <a:gd name="connsiteY0" fmla="*/ 2085822 h 2085822"/>
              <a:gd name="connsiteX1" fmla="*/ 1846641 w 2348094"/>
              <a:gd name="connsiteY1" fmla="*/ 0 h 2085822"/>
              <a:gd name="connsiteX2" fmla="*/ 2348094 w 2348094"/>
              <a:gd name="connsiteY2" fmla="*/ 0 h 2085822"/>
              <a:gd name="connsiteX3" fmla="*/ 501453 w 2348094"/>
              <a:gd name="connsiteY3" fmla="*/ 2085822 h 2085822"/>
              <a:gd name="connsiteX4" fmla="*/ 0 w 2348094"/>
              <a:gd name="connsiteY4" fmla="*/ 2085822 h 2085822"/>
              <a:gd name="connsiteX0" fmla="*/ 0 w 2348094"/>
              <a:gd name="connsiteY0" fmla="*/ 2085822 h 2103752"/>
              <a:gd name="connsiteX1" fmla="*/ 1846641 w 2348094"/>
              <a:gd name="connsiteY1" fmla="*/ 0 h 2103752"/>
              <a:gd name="connsiteX2" fmla="*/ 2348094 w 2348094"/>
              <a:gd name="connsiteY2" fmla="*/ 0 h 2103752"/>
              <a:gd name="connsiteX3" fmla="*/ 1218629 w 2348094"/>
              <a:gd name="connsiteY3" fmla="*/ 2103752 h 2103752"/>
              <a:gd name="connsiteX4" fmla="*/ 0 w 2348094"/>
              <a:gd name="connsiteY4" fmla="*/ 2085822 h 2103752"/>
              <a:gd name="connsiteX0" fmla="*/ 0 w 2202919"/>
              <a:gd name="connsiteY0" fmla="*/ 2094896 h 2103752"/>
              <a:gd name="connsiteX1" fmla="*/ 1701466 w 2202919"/>
              <a:gd name="connsiteY1" fmla="*/ 0 h 2103752"/>
              <a:gd name="connsiteX2" fmla="*/ 2202919 w 2202919"/>
              <a:gd name="connsiteY2" fmla="*/ 0 h 2103752"/>
              <a:gd name="connsiteX3" fmla="*/ 1073454 w 2202919"/>
              <a:gd name="connsiteY3" fmla="*/ 2103752 h 2103752"/>
              <a:gd name="connsiteX4" fmla="*/ 0 w 2202919"/>
              <a:gd name="connsiteY4" fmla="*/ 2094896 h 2103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2919" h="2103752">
                <a:moveTo>
                  <a:pt x="0" y="2094896"/>
                </a:moveTo>
                <a:lnTo>
                  <a:pt x="1701466" y="0"/>
                </a:lnTo>
                <a:lnTo>
                  <a:pt x="2202919" y="0"/>
                </a:lnTo>
                <a:lnTo>
                  <a:pt x="1073454" y="2103752"/>
                </a:lnTo>
                <a:lnTo>
                  <a:pt x="0" y="2094896"/>
                </a:lnTo>
                <a:close/>
              </a:path>
            </a:pathLst>
          </a:cu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548" name="Parallelogram 24"/>
          <p:cNvSpPr/>
          <p:nvPr/>
        </p:nvSpPr>
        <p:spPr bwMode="auto">
          <a:xfrm flipH="1">
            <a:off x="4181232" y="3520306"/>
            <a:ext cx="1583698" cy="2247818"/>
          </a:xfrm>
          <a:custGeom>
            <a:avLst/>
            <a:gdLst>
              <a:gd name="connsiteX0" fmla="*/ 0 w 2348094"/>
              <a:gd name="connsiteY0" fmla="*/ 2085822 h 2085822"/>
              <a:gd name="connsiteX1" fmla="*/ 1846641 w 2348094"/>
              <a:gd name="connsiteY1" fmla="*/ 0 h 2085822"/>
              <a:gd name="connsiteX2" fmla="*/ 2348094 w 2348094"/>
              <a:gd name="connsiteY2" fmla="*/ 0 h 2085822"/>
              <a:gd name="connsiteX3" fmla="*/ 501453 w 2348094"/>
              <a:gd name="connsiteY3" fmla="*/ 2085822 h 2085822"/>
              <a:gd name="connsiteX4" fmla="*/ 0 w 2348094"/>
              <a:gd name="connsiteY4" fmla="*/ 2085822 h 2085822"/>
              <a:gd name="connsiteX0" fmla="*/ 0 w 2348094"/>
              <a:gd name="connsiteY0" fmla="*/ 2085822 h 2103752"/>
              <a:gd name="connsiteX1" fmla="*/ 1846641 w 2348094"/>
              <a:gd name="connsiteY1" fmla="*/ 0 h 2103752"/>
              <a:gd name="connsiteX2" fmla="*/ 2348094 w 2348094"/>
              <a:gd name="connsiteY2" fmla="*/ 0 h 2103752"/>
              <a:gd name="connsiteX3" fmla="*/ 1218629 w 2348094"/>
              <a:gd name="connsiteY3" fmla="*/ 2103752 h 2103752"/>
              <a:gd name="connsiteX4" fmla="*/ 0 w 2348094"/>
              <a:gd name="connsiteY4" fmla="*/ 2085822 h 2103752"/>
              <a:gd name="connsiteX0" fmla="*/ 0 w 2348094"/>
              <a:gd name="connsiteY0" fmla="*/ 2085822 h 2103752"/>
              <a:gd name="connsiteX1" fmla="*/ 1846641 w 2348094"/>
              <a:gd name="connsiteY1" fmla="*/ 0 h 2103752"/>
              <a:gd name="connsiteX2" fmla="*/ 2348094 w 2348094"/>
              <a:gd name="connsiteY2" fmla="*/ 0 h 2103752"/>
              <a:gd name="connsiteX3" fmla="*/ 1136967 w 2348094"/>
              <a:gd name="connsiteY3" fmla="*/ 2103752 h 2103752"/>
              <a:gd name="connsiteX4" fmla="*/ 0 w 2348094"/>
              <a:gd name="connsiteY4" fmla="*/ 2085822 h 2103752"/>
              <a:gd name="connsiteX0" fmla="*/ 0 w 2356361"/>
              <a:gd name="connsiteY0" fmla="*/ 2104709 h 2104709"/>
              <a:gd name="connsiteX1" fmla="*/ 1854908 w 2356361"/>
              <a:gd name="connsiteY1" fmla="*/ 0 h 2104709"/>
              <a:gd name="connsiteX2" fmla="*/ 2356361 w 2356361"/>
              <a:gd name="connsiteY2" fmla="*/ 0 h 2104709"/>
              <a:gd name="connsiteX3" fmla="*/ 1145234 w 2356361"/>
              <a:gd name="connsiteY3" fmla="*/ 2103752 h 2104709"/>
              <a:gd name="connsiteX4" fmla="*/ 0 w 2356361"/>
              <a:gd name="connsiteY4" fmla="*/ 2104709 h 210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6361" h="2104709">
                <a:moveTo>
                  <a:pt x="0" y="2104709"/>
                </a:moveTo>
                <a:lnTo>
                  <a:pt x="1854908" y="0"/>
                </a:lnTo>
                <a:lnTo>
                  <a:pt x="2356361" y="0"/>
                </a:lnTo>
                <a:lnTo>
                  <a:pt x="1145234" y="2103752"/>
                </a:lnTo>
                <a:lnTo>
                  <a:pt x="0" y="2104709"/>
                </a:lnTo>
                <a:close/>
              </a:path>
            </a:pathLst>
          </a:cu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550" name="Group 549"/>
          <p:cNvGrpSpPr/>
          <p:nvPr/>
        </p:nvGrpSpPr>
        <p:grpSpPr>
          <a:xfrm flipH="1">
            <a:off x="4110648" y="2606452"/>
            <a:ext cx="848425" cy="678680"/>
            <a:chOff x="6159848" y="2649092"/>
            <a:chExt cx="848425" cy="678680"/>
          </a:xfrm>
        </p:grpSpPr>
        <p:grpSp>
          <p:nvGrpSpPr>
            <p:cNvPr id="551" name="Group 550"/>
            <p:cNvGrpSpPr/>
            <p:nvPr/>
          </p:nvGrpSpPr>
          <p:grpSpPr>
            <a:xfrm>
              <a:off x="6159848" y="3067772"/>
              <a:ext cx="255538" cy="260000"/>
              <a:chOff x="8629196" y="2775642"/>
              <a:chExt cx="1130448" cy="1150187"/>
            </a:xfrm>
          </p:grpSpPr>
          <p:sp>
            <p:nvSpPr>
              <p:cNvPr id="621" name="Parallelogram 620"/>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5" name="Parallelogram 624"/>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6" name="Rectangle 625"/>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52" name="Group 551"/>
            <p:cNvGrpSpPr/>
            <p:nvPr/>
          </p:nvGrpSpPr>
          <p:grpSpPr>
            <a:xfrm>
              <a:off x="6358475" y="3067772"/>
              <a:ext cx="255538" cy="260000"/>
              <a:chOff x="8629196" y="2775642"/>
              <a:chExt cx="1130448" cy="1150187"/>
            </a:xfrm>
          </p:grpSpPr>
          <p:sp>
            <p:nvSpPr>
              <p:cNvPr id="618" name="Parallelogram 617"/>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9" name="Parallelogram 618"/>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0" name="Rectangle 619"/>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53" name="Group 552"/>
            <p:cNvGrpSpPr/>
            <p:nvPr/>
          </p:nvGrpSpPr>
          <p:grpSpPr>
            <a:xfrm>
              <a:off x="6554108" y="3067772"/>
              <a:ext cx="255538" cy="260000"/>
              <a:chOff x="8629196" y="2775642"/>
              <a:chExt cx="1130448" cy="1150187"/>
            </a:xfrm>
          </p:grpSpPr>
          <p:sp>
            <p:nvSpPr>
              <p:cNvPr id="615" name="Parallelogram 614"/>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6" name="Parallelogram 615"/>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7" name="Rectangle 616"/>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54" name="Group 553"/>
            <p:cNvGrpSpPr/>
            <p:nvPr/>
          </p:nvGrpSpPr>
          <p:grpSpPr>
            <a:xfrm>
              <a:off x="6752735" y="3067772"/>
              <a:ext cx="255538" cy="260000"/>
              <a:chOff x="8629196" y="2775642"/>
              <a:chExt cx="1130448" cy="1150187"/>
            </a:xfrm>
          </p:grpSpPr>
          <p:sp>
            <p:nvSpPr>
              <p:cNvPr id="612" name="Parallelogram 611"/>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3" name="Parallelogram 612"/>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4" name="Rectangle 613"/>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55" name="Group 554"/>
            <p:cNvGrpSpPr/>
            <p:nvPr/>
          </p:nvGrpSpPr>
          <p:grpSpPr>
            <a:xfrm>
              <a:off x="6261735" y="2858497"/>
              <a:ext cx="255538" cy="260000"/>
              <a:chOff x="8629196" y="2775642"/>
              <a:chExt cx="1130448" cy="1150187"/>
            </a:xfrm>
          </p:grpSpPr>
          <p:sp>
            <p:nvSpPr>
              <p:cNvPr id="594" name="Parallelogram 593"/>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5" name="Parallelogram 594"/>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1" name="Rectangle 610"/>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56" name="Group 555"/>
            <p:cNvGrpSpPr/>
            <p:nvPr/>
          </p:nvGrpSpPr>
          <p:grpSpPr>
            <a:xfrm>
              <a:off x="6453382" y="2858497"/>
              <a:ext cx="255538" cy="260000"/>
              <a:chOff x="8629196" y="2775642"/>
              <a:chExt cx="1130448" cy="1150187"/>
            </a:xfrm>
          </p:grpSpPr>
          <p:sp>
            <p:nvSpPr>
              <p:cNvPr id="591" name="Parallelogram 590"/>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2" name="Parallelogram 591"/>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3" name="Rectangle 592"/>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58" name="Group 557"/>
            <p:cNvGrpSpPr/>
            <p:nvPr/>
          </p:nvGrpSpPr>
          <p:grpSpPr>
            <a:xfrm>
              <a:off x="6651081" y="2858497"/>
              <a:ext cx="255538" cy="260000"/>
              <a:chOff x="8629196" y="2775642"/>
              <a:chExt cx="1130448" cy="1150187"/>
            </a:xfrm>
          </p:grpSpPr>
          <p:sp>
            <p:nvSpPr>
              <p:cNvPr id="586" name="Parallelogram 585"/>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8" name="Parallelogram 587"/>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0" name="Rectangle 589"/>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79" name="Group 578"/>
            <p:cNvGrpSpPr/>
            <p:nvPr/>
          </p:nvGrpSpPr>
          <p:grpSpPr>
            <a:xfrm>
              <a:off x="6341132" y="2649092"/>
              <a:ext cx="255538" cy="260000"/>
              <a:chOff x="8629196" y="2744764"/>
              <a:chExt cx="1130448" cy="1150187"/>
            </a:xfrm>
          </p:grpSpPr>
          <p:sp>
            <p:nvSpPr>
              <p:cNvPr id="580" name="Parallelogram 579"/>
              <p:cNvSpPr/>
              <p:nvPr/>
            </p:nvSpPr>
            <p:spPr bwMode="auto">
              <a:xfrm>
                <a:off x="8629196" y="2744764"/>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1" name="Parallelogram 580"/>
              <p:cNvSpPr/>
              <p:nvPr/>
            </p:nvSpPr>
            <p:spPr bwMode="auto">
              <a:xfrm rot="16200000" flipH="1">
                <a:off x="9096106" y="319051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5" name="Rectangle 584"/>
              <p:cNvSpPr/>
              <p:nvPr/>
            </p:nvSpPr>
            <p:spPr bwMode="auto">
              <a:xfrm>
                <a:off x="8636177" y="2999464"/>
                <a:ext cx="863136" cy="895487"/>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627" name="Group 626"/>
          <p:cNvGrpSpPr/>
          <p:nvPr/>
        </p:nvGrpSpPr>
        <p:grpSpPr>
          <a:xfrm>
            <a:off x="1982372" y="5306488"/>
            <a:ext cx="1532716" cy="1019627"/>
            <a:chOff x="8003531" y="4224448"/>
            <a:chExt cx="1115582" cy="1091367"/>
          </a:xfrm>
        </p:grpSpPr>
        <p:sp>
          <p:nvSpPr>
            <p:cNvPr id="628" name="Rectangle 627"/>
            <p:cNvSpPr/>
            <p:nvPr/>
          </p:nvSpPr>
          <p:spPr bwMode="auto">
            <a:xfrm flipH="1">
              <a:off x="8003531" y="4224448"/>
              <a:ext cx="1115582" cy="1091367"/>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rPr>
                <a:t>Aggregate product data, customer sentiment, and other third-party syndicated data to identify and correct quality issues. </a:t>
              </a:r>
            </a:p>
          </p:txBody>
        </p:sp>
        <p:cxnSp>
          <p:nvCxnSpPr>
            <p:cNvPr id="629" name="Straight Connector 628"/>
            <p:cNvCxnSpPr/>
            <p:nvPr/>
          </p:nvCxnSpPr>
          <p:spPr>
            <a:xfrm flipH="1" flipV="1">
              <a:off x="9114172" y="4227679"/>
              <a:ext cx="1" cy="1088136"/>
            </a:xfrm>
            <a:prstGeom prst="line">
              <a:avLst/>
            </a:pr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630" name="Group 629"/>
          <p:cNvGrpSpPr/>
          <p:nvPr/>
        </p:nvGrpSpPr>
        <p:grpSpPr>
          <a:xfrm>
            <a:off x="3475097" y="2000562"/>
            <a:ext cx="2096403" cy="575030"/>
            <a:chOff x="7650499" y="1995042"/>
            <a:chExt cx="1821532" cy="540554"/>
          </a:xfrm>
        </p:grpSpPr>
        <p:sp>
          <p:nvSpPr>
            <p:cNvPr id="631" name="Rectangle 630"/>
            <p:cNvSpPr/>
            <p:nvPr/>
          </p:nvSpPr>
          <p:spPr bwMode="auto">
            <a:xfrm flipH="1">
              <a:off x="7650499" y="1995042"/>
              <a:ext cx="1821532" cy="540069"/>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Manage equipment remotely, using temperature limits and other settings to conserve energy and reduce costs</a:t>
              </a:r>
              <a:r>
                <a:rPr kumimoji="0" lang="en-US" sz="900" b="0" i="0" u="none" strike="noStrike" kern="0" cap="none" spc="0" normalizeH="0" baseline="0" noProof="0" dirty="0">
                  <a:ln w="3175">
                    <a:noFill/>
                  </a:ln>
                  <a:solidFill>
                    <a:srgbClr val="FFFFFF"/>
                  </a:solidFill>
                  <a:effectLst/>
                  <a:uLnTx/>
                  <a:uFillTx/>
                  <a:latin typeface="Segoe UI Light"/>
                  <a:cs typeface="Arial" charset="0"/>
                </a:rPr>
                <a:t>.</a:t>
              </a:r>
              <a:endParaRPr kumimoji="0" lang="en-US" sz="900" b="0" i="0" u="none" strike="noStrike" kern="0" cap="none" spc="0" normalizeH="0" baseline="0" noProof="0" dirty="0">
                <a:ln w="3175">
                  <a:noFill/>
                </a:ln>
                <a:solidFill>
                  <a:srgbClr val="FFFFFF"/>
                </a:solidFill>
                <a:effectLst/>
                <a:uLnTx/>
                <a:uFillTx/>
                <a:cs typeface="Arial" charset="0"/>
              </a:endParaRPr>
            </a:p>
          </p:txBody>
        </p:sp>
        <p:cxnSp>
          <p:nvCxnSpPr>
            <p:cNvPr id="632" name="Straight Connector 631"/>
            <p:cNvCxnSpPr/>
            <p:nvPr/>
          </p:nvCxnSpPr>
          <p:spPr>
            <a:xfrm flipH="1" flipV="1">
              <a:off x="9472029" y="1995526"/>
              <a:ext cx="1" cy="540070"/>
            </a:xfrm>
            <a:prstGeom prst="line">
              <a:avLst/>
            </a:prstGeom>
            <a:solidFill>
              <a:srgbClr val="8DC548">
                <a:alpha val="50000"/>
              </a:srgb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633" name="Group 632"/>
          <p:cNvGrpSpPr/>
          <p:nvPr/>
        </p:nvGrpSpPr>
        <p:grpSpPr>
          <a:xfrm>
            <a:off x="638882" y="2000560"/>
            <a:ext cx="2194849" cy="576448"/>
            <a:chOff x="3212078" y="2540764"/>
            <a:chExt cx="1723979" cy="569998"/>
          </a:xfrm>
        </p:grpSpPr>
        <p:sp>
          <p:nvSpPr>
            <p:cNvPr id="634" name="Rectangle 633"/>
            <p:cNvSpPr/>
            <p:nvPr/>
          </p:nvSpPr>
          <p:spPr bwMode="auto">
            <a:xfrm flipH="1">
              <a:off x="3212078" y="2540764"/>
              <a:ext cx="1723977" cy="569998"/>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Monitor production flow in near-real time to eliminate waste and unnecessary work in process inventory.</a:t>
              </a:r>
              <a:endParaRPr kumimoji="0" lang="en-US" sz="900" b="0" i="0" u="none" strike="noStrike" kern="0" cap="none" spc="0" normalizeH="0" baseline="0" noProof="0" dirty="0">
                <a:ln w="3175">
                  <a:noFill/>
                </a:ln>
                <a:solidFill>
                  <a:srgbClr val="FFFFFF"/>
                </a:solidFill>
                <a:effectLst/>
                <a:uLnTx/>
                <a:uFillTx/>
                <a:cs typeface="Arial" charset="0"/>
              </a:endParaRPr>
            </a:p>
          </p:txBody>
        </p:sp>
        <p:cxnSp>
          <p:nvCxnSpPr>
            <p:cNvPr id="635" name="Straight Connector 634"/>
            <p:cNvCxnSpPr/>
            <p:nvPr/>
          </p:nvCxnSpPr>
          <p:spPr>
            <a:xfrm flipV="1">
              <a:off x="4936056" y="2540764"/>
              <a:ext cx="1" cy="568088"/>
            </a:xfrm>
            <a:prstGeom prst="line">
              <a:avLst/>
            </a:pr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636" name="Group 635"/>
          <p:cNvGrpSpPr>
            <a:grpSpLocks noChangeAspect="1"/>
          </p:cNvGrpSpPr>
          <p:nvPr/>
        </p:nvGrpSpPr>
        <p:grpSpPr>
          <a:xfrm>
            <a:off x="8035767" y="5446523"/>
            <a:ext cx="1647851" cy="861974"/>
            <a:chOff x="10071110" y="5541969"/>
            <a:chExt cx="1993902" cy="1042989"/>
          </a:xfrm>
        </p:grpSpPr>
        <p:sp>
          <p:nvSpPr>
            <p:cNvPr id="637" name="Freeform 15"/>
            <p:cNvSpPr>
              <a:spLocks/>
            </p:cNvSpPr>
            <p:nvPr/>
          </p:nvSpPr>
          <p:spPr bwMode="auto">
            <a:xfrm flipH="1">
              <a:off x="10079049" y="5541969"/>
              <a:ext cx="1327151" cy="615951"/>
            </a:xfrm>
            <a:custGeom>
              <a:avLst/>
              <a:gdLst>
                <a:gd name="T0" fmla="*/ 22 w 3343"/>
                <a:gd name="T1" fmla="*/ 0 h 1552"/>
                <a:gd name="T2" fmla="*/ 22 w 3343"/>
                <a:gd name="T3" fmla="*/ 0 h 1552"/>
                <a:gd name="T4" fmla="*/ 3343 w 3343"/>
                <a:gd name="T5" fmla="*/ 0 h 1552"/>
                <a:gd name="T6" fmla="*/ 3343 w 3343"/>
                <a:gd name="T7" fmla="*/ 1552 h 1552"/>
                <a:gd name="T8" fmla="*/ 3343 w 3343"/>
                <a:gd name="T9" fmla="*/ 1552 h 1552"/>
                <a:gd name="T10" fmla="*/ 0 w 3343"/>
                <a:gd name="T11" fmla="*/ 1552 h 1552"/>
                <a:gd name="T12" fmla="*/ 0 w 3343"/>
                <a:gd name="T13" fmla="*/ 1552 h 1552"/>
                <a:gd name="T14" fmla="*/ 0 w 3343"/>
                <a:gd name="T15" fmla="*/ 31 h 1552"/>
                <a:gd name="T16" fmla="*/ 0 w 3343"/>
                <a:gd name="T17" fmla="*/ 31 h 1552"/>
                <a:gd name="T18" fmla="*/ 0 w 3343"/>
                <a:gd name="T19" fmla="*/ 25 h 1552"/>
                <a:gd name="T20" fmla="*/ 1 w 3343"/>
                <a:gd name="T21" fmla="*/ 19 h 1552"/>
                <a:gd name="T22" fmla="*/ 3 w 3343"/>
                <a:gd name="T23" fmla="*/ 14 h 1552"/>
                <a:gd name="T24" fmla="*/ 6 w 3343"/>
                <a:gd name="T25" fmla="*/ 11 h 1552"/>
                <a:gd name="T26" fmla="*/ 8 w 3343"/>
                <a:gd name="T27" fmla="*/ 7 h 1552"/>
                <a:gd name="T28" fmla="*/ 12 w 3343"/>
                <a:gd name="T29" fmla="*/ 4 h 1552"/>
                <a:gd name="T30" fmla="*/ 22 w 3343"/>
                <a:gd name="T31" fmla="*/ 0 h 1552"/>
                <a:gd name="T32" fmla="*/ 22 w 3343"/>
                <a:gd name="T33" fmla="*/ 0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3" h="1552">
                  <a:moveTo>
                    <a:pt x="22" y="0"/>
                  </a:moveTo>
                  <a:lnTo>
                    <a:pt x="22" y="0"/>
                  </a:lnTo>
                  <a:lnTo>
                    <a:pt x="3343" y="0"/>
                  </a:lnTo>
                  <a:lnTo>
                    <a:pt x="3343" y="1552"/>
                  </a:lnTo>
                  <a:lnTo>
                    <a:pt x="3343" y="1552"/>
                  </a:lnTo>
                  <a:lnTo>
                    <a:pt x="0" y="1552"/>
                  </a:lnTo>
                  <a:lnTo>
                    <a:pt x="0" y="1552"/>
                  </a:lnTo>
                  <a:lnTo>
                    <a:pt x="0" y="31"/>
                  </a:lnTo>
                  <a:lnTo>
                    <a:pt x="0" y="31"/>
                  </a:lnTo>
                  <a:lnTo>
                    <a:pt x="0" y="25"/>
                  </a:lnTo>
                  <a:lnTo>
                    <a:pt x="1" y="19"/>
                  </a:lnTo>
                  <a:lnTo>
                    <a:pt x="3" y="14"/>
                  </a:lnTo>
                  <a:lnTo>
                    <a:pt x="6" y="11"/>
                  </a:lnTo>
                  <a:lnTo>
                    <a:pt x="8" y="7"/>
                  </a:lnTo>
                  <a:lnTo>
                    <a:pt x="12" y="4"/>
                  </a:lnTo>
                  <a:lnTo>
                    <a:pt x="22" y="0"/>
                  </a:lnTo>
                  <a:lnTo>
                    <a:pt x="22" y="0"/>
                  </a:lnTo>
                  <a:close/>
                </a:path>
              </a:pathLst>
            </a:custGeom>
            <a:solidFill>
              <a:schemeClr val="accent1">
                <a:lumMod val="75000"/>
              </a:schemeClr>
            </a:solidFill>
            <a:ln w="9525">
              <a:noFill/>
              <a:round/>
              <a:headEnd/>
              <a:tailEn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38" name="Freeform 16"/>
            <p:cNvSpPr>
              <a:spLocks/>
            </p:cNvSpPr>
            <p:nvPr/>
          </p:nvSpPr>
          <p:spPr bwMode="auto">
            <a:xfrm flipH="1">
              <a:off x="11634800" y="6330958"/>
              <a:ext cx="254000" cy="254000"/>
            </a:xfrm>
            <a:custGeom>
              <a:avLst/>
              <a:gdLst>
                <a:gd name="T0" fmla="*/ 304 w 642"/>
                <a:gd name="T1" fmla="*/ 641 h 641"/>
                <a:gd name="T2" fmla="*/ 257 w 642"/>
                <a:gd name="T3" fmla="*/ 635 h 641"/>
                <a:gd name="T4" fmla="*/ 211 w 642"/>
                <a:gd name="T5" fmla="*/ 622 h 641"/>
                <a:gd name="T6" fmla="*/ 168 w 642"/>
                <a:gd name="T7" fmla="*/ 602 h 641"/>
                <a:gd name="T8" fmla="*/ 129 w 642"/>
                <a:gd name="T9" fmla="*/ 577 h 641"/>
                <a:gd name="T10" fmla="*/ 94 w 642"/>
                <a:gd name="T11" fmla="*/ 547 h 641"/>
                <a:gd name="T12" fmla="*/ 64 w 642"/>
                <a:gd name="T13" fmla="*/ 512 h 641"/>
                <a:gd name="T14" fmla="*/ 39 w 642"/>
                <a:gd name="T15" fmla="*/ 473 h 641"/>
                <a:gd name="T16" fmla="*/ 20 w 642"/>
                <a:gd name="T17" fmla="*/ 431 h 641"/>
                <a:gd name="T18" fmla="*/ 7 w 642"/>
                <a:gd name="T19" fmla="*/ 385 h 641"/>
                <a:gd name="T20" fmla="*/ 1 w 642"/>
                <a:gd name="T21" fmla="*/ 337 h 641"/>
                <a:gd name="T22" fmla="*/ 1 w 642"/>
                <a:gd name="T23" fmla="*/ 304 h 641"/>
                <a:gd name="T24" fmla="*/ 7 w 642"/>
                <a:gd name="T25" fmla="*/ 256 h 641"/>
                <a:gd name="T26" fmla="*/ 20 w 642"/>
                <a:gd name="T27" fmla="*/ 210 h 641"/>
                <a:gd name="T28" fmla="*/ 39 w 642"/>
                <a:gd name="T29" fmla="*/ 168 h 641"/>
                <a:gd name="T30" fmla="*/ 64 w 642"/>
                <a:gd name="T31" fmla="*/ 129 h 641"/>
                <a:gd name="T32" fmla="*/ 94 w 642"/>
                <a:gd name="T33" fmla="*/ 94 h 641"/>
                <a:gd name="T34" fmla="*/ 129 w 642"/>
                <a:gd name="T35" fmla="*/ 64 h 641"/>
                <a:gd name="T36" fmla="*/ 168 w 642"/>
                <a:gd name="T37" fmla="*/ 39 h 641"/>
                <a:gd name="T38" fmla="*/ 211 w 642"/>
                <a:gd name="T39" fmla="*/ 20 h 641"/>
                <a:gd name="T40" fmla="*/ 257 w 642"/>
                <a:gd name="T41" fmla="*/ 6 h 641"/>
                <a:gd name="T42" fmla="*/ 304 w 642"/>
                <a:gd name="T43" fmla="*/ 0 h 641"/>
                <a:gd name="T44" fmla="*/ 338 w 642"/>
                <a:gd name="T45" fmla="*/ 0 h 641"/>
                <a:gd name="T46" fmla="*/ 385 w 642"/>
                <a:gd name="T47" fmla="*/ 6 h 641"/>
                <a:gd name="T48" fmla="*/ 431 w 642"/>
                <a:gd name="T49" fmla="*/ 20 h 641"/>
                <a:gd name="T50" fmla="*/ 474 w 642"/>
                <a:gd name="T51" fmla="*/ 39 h 641"/>
                <a:gd name="T52" fmla="*/ 513 w 642"/>
                <a:gd name="T53" fmla="*/ 64 h 641"/>
                <a:gd name="T54" fmla="*/ 548 w 642"/>
                <a:gd name="T55" fmla="*/ 94 h 641"/>
                <a:gd name="T56" fmla="*/ 578 w 642"/>
                <a:gd name="T57" fmla="*/ 129 h 641"/>
                <a:gd name="T58" fmla="*/ 603 w 642"/>
                <a:gd name="T59" fmla="*/ 168 h 641"/>
                <a:gd name="T60" fmla="*/ 621 w 642"/>
                <a:gd name="T61" fmla="*/ 210 h 641"/>
                <a:gd name="T62" fmla="*/ 635 w 642"/>
                <a:gd name="T63" fmla="*/ 256 h 641"/>
                <a:gd name="T64" fmla="*/ 641 w 642"/>
                <a:gd name="T65" fmla="*/ 304 h 641"/>
                <a:gd name="T66" fmla="*/ 641 w 642"/>
                <a:gd name="T67" fmla="*/ 337 h 641"/>
                <a:gd name="T68" fmla="*/ 635 w 642"/>
                <a:gd name="T69" fmla="*/ 385 h 641"/>
                <a:gd name="T70" fmla="*/ 621 w 642"/>
                <a:gd name="T71" fmla="*/ 431 h 641"/>
                <a:gd name="T72" fmla="*/ 603 w 642"/>
                <a:gd name="T73" fmla="*/ 473 h 641"/>
                <a:gd name="T74" fmla="*/ 578 w 642"/>
                <a:gd name="T75" fmla="*/ 512 h 641"/>
                <a:gd name="T76" fmla="*/ 548 w 642"/>
                <a:gd name="T77" fmla="*/ 547 h 641"/>
                <a:gd name="T78" fmla="*/ 513 w 642"/>
                <a:gd name="T79" fmla="*/ 577 h 641"/>
                <a:gd name="T80" fmla="*/ 474 w 642"/>
                <a:gd name="T81" fmla="*/ 602 h 641"/>
                <a:gd name="T82" fmla="*/ 431 w 642"/>
                <a:gd name="T83" fmla="*/ 622 h 641"/>
                <a:gd name="T84" fmla="*/ 385 w 642"/>
                <a:gd name="T85" fmla="*/ 635 h 641"/>
                <a:gd name="T86" fmla="*/ 338 w 642"/>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2" h="641">
                  <a:moveTo>
                    <a:pt x="321" y="641"/>
                  </a:moveTo>
                  <a:lnTo>
                    <a:pt x="321" y="641"/>
                  </a:lnTo>
                  <a:lnTo>
                    <a:pt x="304" y="641"/>
                  </a:lnTo>
                  <a:lnTo>
                    <a:pt x="288" y="640"/>
                  </a:lnTo>
                  <a:lnTo>
                    <a:pt x="273" y="637"/>
                  </a:lnTo>
                  <a:lnTo>
                    <a:pt x="257" y="635"/>
                  </a:lnTo>
                  <a:lnTo>
                    <a:pt x="241" y="631"/>
                  </a:lnTo>
                  <a:lnTo>
                    <a:pt x="226" y="627"/>
                  </a:lnTo>
                  <a:lnTo>
                    <a:pt x="211" y="622"/>
                  </a:lnTo>
                  <a:lnTo>
                    <a:pt x="197" y="616"/>
                  </a:lnTo>
                  <a:lnTo>
                    <a:pt x="182" y="610"/>
                  </a:lnTo>
                  <a:lnTo>
                    <a:pt x="168" y="602"/>
                  </a:lnTo>
                  <a:lnTo>
                    <a:pt x="154" y="595"/>
                  </a:lnTo>
                  <a:lnTo>
                    <a:pt x="142" y="587"/>
                  </a:lnTo>
                  <a:lnTo>
                    <a:pt x="129" y="577"/>
                  </a:lnTo>
                  <a:lnTo>
                    <a:pt x="117" y="567"/>
                  </a:lnTo>
                  <a:lnTo>
                    <a:pt x="105" y="558"/>
                  </a:lnTo>
                  <a:lnTo>
                    <a:pt x="94" y="547"/>
                  </a:lnTo>
                  <a:lnTo>
                    <a:pt x="83" y="536"/>
                  </a:lnTo>
                  <a:lnTo>
                    <a:pt x="74" y="524"/>
                  </a:lnTo>
                  <a:lnTo>
                    <a:pt x="64" y="512"/>
                  </a:lnTo>
                  <a:lnTo>
                    <a:pt x="55" y="500"/>
                  </a:lnTo>
                  <a:lnTo>
                    <a:pt x="47" y="487"/>
                  </a:lnTo>
                  <a:lnTo>
                    <a:pt x="39" y="473"/>
                  </a:lnTo>
                  <a:lnTo>
                    <a:pt x="32" y="460"/>
                  </a:lnTo>
                  <a:lnTo>
                    <a:pt x="25" y="446"/>
                  </a:lnTo>
                  <a:lnTo>
                    <a:pt x="20" y="431"/>
                  </a:lnTo>
                  <a:lnTo>
                    <a:pt x="14" y="415"/>
                  </a:lnTo>
                  <a:lnTo>
                    <a:pt x="11" y="401"/>
                  </a:lnTo>
                  <a:lnTo>
                    <a:pt x="7" y="385"/>
                  </a:lnTo>
                  <a:lnTo>
                    <a:pt x="4" y="370"/>
                  </a:lnTo>
                  <a:lnTo>
                    <a:pt x="2" y="354"/>
                  </a:lnTo>
                  <a:lnTo>
                    <a:pt x="1" y="337"/>
                  </a:lnTo>
                  <a:lnTo>
                    <a:pt x="0" y="320"/>
                  </a:lnTo>
                  <a:lnTo>
                    <a:pt x="0" y="320"/>
                  </a:lnTo>
                  <a:lnTo>
                    <a:pt x="1" y="304"/>
                  </a:lnTo>
                  <a:lnTo>
                    <a:pt x="2" y="287"/>
                  </a:lnTo>
                  <a:lnTo>
                    <a:pt x="4" y="272"/>
                  </a:lnTo>
                  <a:lnTo>
                    <a:pt x="7" y="256"/>
                  </a:lnTo>
                  <a:lnTo>
                    <a:pt x="11" y="240"/>
                  </a:lnTo>
                  <a:lnTo>
                    <a:pt x="14" y="226"/>
                  </a:lnTo>
                  <a:lnTo>
                    <a:pt x="20" y="210"/>
                  </a:lnTo>
                  <a:lnTo>
                    <a:pt x="25" y="196"/>
                  </a:lnTo>
                  <a:lnTo>
                    <a:pt x="32" y="181"/>
                  </a:lnTo>
                  <a:lnTo>
                    <a:pt x="39" y="168"/>
                  </a:lnTo>
                  <a:lnTo>
                    <a:pt x="47" y="155"/>
                  </a:lnTo>
                  <a:lnTo>
                    <a:pt x="55" y="141"/>
                  </a:lnTo>
                  <a:lnTo>
                    <a:pt x="64" y="129"/>
                  </a:lnTo>
                  <a:lnTo>
                    <a:pt x="74" y="117"/>
                  </a:lnTo>
                  <a:lnTo>
                    <a:pt x="83" y="105"/>
                  </a:lnTo>
                  <a:lnTo>
                    <a:pt x="94" y="94"/>
                  </a:lnTo>
                  <a:lnTo>
                    <a:pt x="105" y="84"/>
                  </a:lnTo>
                  <a:lnTo>
                    <a:pt x="117" y="74"/>
                  </a:lnTo>
                  <a:lnTo>
                    <a:pt x="129" y="64"/>
                  </a:lnTo>
                  <a:lnTo>
                    <a:pt x="142" y="55"/>
                  </a:lnTo>
                  <a:lnTo>
                    <a:pt x="154" y="46"/>
                  </a:lnTo>
                  <a:lnTo>
                    <a:pt x="168" y="39"/>
                  </a:lnTo>
                  <a:lnTo>
                    <a:pt x="182" y="32"/>
                  </a:lnTo>
                  <a:lnTo>
                    <a:pt x="197" y="26"/>
                  </a:lnTo>
                  <a:lnTo>
                    <a:pt x="211" y="20"/>
                  </a:lnTo>
                  <a:lnTo>
                    <a:pt x="226" y="15"/>
                  </a:lnTo>
                  <a:lnTo>
                    <a:pt x="241" y="10"/>
                  </a:lnTo>
                  <a:lnTo>
                    <a:pt x="257" y="6"/>
                  </a:lnTo>
                  <a:lnTo>
                    <a:pt x="273" y="4"/>
                  </a:lnTo>
                  <a:lnTo>
                    <a:pt x="288" y="1"/>
                  </a:lnTo>
                  <a:lnTo>
                    <a:pt x="304" y="0"/>
                  </a:lnTo>
                  <a:lnTo>
                    <a:pt x="321" y="0"/>
                  </a:lnTo>
                  <a:lnTo>
                    <a:pt x="321" y="0"/>
                  </a:lnTo>
                  <a:lnTo>
                    <a:pt x="338" y="0"/>
                  </a:lnTo>
                  <a:lnTo>
                    <a:pt x="354" y="1"/>
                  </a:lnTo>
                  <a:lnTo>
                    <a:pt x="369" y="4"/>
                  </a:lnTo>
                  <a:lnTo>
                    <a:pt x="385" y="6"/>
                  </a:lnTo>
                  <a:lnTo>
                    <a:pt x="401" y="10"/>
                  </a:lnTo>
                  <a:lnTo>
                    <a:pt x="416" y="15"/>
                  </a:lnTo>
                  <a:lnTo>
                    <a:pt x="431" y="20"/>
                  </a:lnTo>
                  <a:lnTo>
                    <a:pt x="445" y="26"/>
                  </a:lnTo>
                  <a:lnTo>
                    <a:pt x="460" y="32"/>
                  </a:lnTo>
                  <a:lnTo>
                    <a:pt x="474" y="39"/>
                  </a:lnTo>
                  <a:lnTo>
                    <a:pt x="487" y="46"/>
                  </a:lnTo>
                  <a:lnTo>
                    <a:pt x="500" y="55"/>
                  </a:lnTo>
                  <a:lnTo>
                    <a:pt x="513" y="64"/>
                  </a:lnTo>
                  <a:lnTo>
                    <a:pt x="525" y="74"/>
                  </a:lnTo>
                  <a:lnTo>
                    <a:pt x="537" y="84"/>
                  </a:lnTo>
                  <a:lnTo>
                    <a:pt x="548" y="94"/>
                  </a:lnTo>
                  <a:lnTo>
                    <a:pt x="559" y="105"/>
                  </a:lnTo>
                  <a:lnTo>
                    <a:pt x="568" y="117"/>
                  </a:lnTo>
                  <a:lnTo>
                    <a:pt x="578" y="129"/>
                  </a:lnTo>
                  <a:lnTo>
                    <a:pt x="586" y="141"/>
                  </a:lnTo>
                  <a:lnTo>
                    <a:pt x="595" y="155"/>
                  </a:lnTo>
                  <a:lnTo>
                    <a:pt x="603" y="168"/>
                  </a:lnTo>
                  <a:lnTo>
                    <a:pt x="609" y="181"/>
                  </a:lnTo>
                  <a:lnTo>
                    <a:pt x="617" y="196"/>
                  </a:lnTo>
                  <a:lnTo>
                    <a:pt x="621" y="210"/>
                  </a:lnTo>
                  <a:lnTo>
                    <a:pt x="627" y="226"/>
                  </a:lnTo>
                  <a:lnTo>
                    <a:pt x="631" y="240"/>
                  </a:lnTo>
                  <a:lnTo>
                    <a:pt x="635" y="256"/>
                  </a:lnTo>
                  <a:lnTo>
                    <a:pt x="638" y="272"/>
                  </a:lnTo>
                  <a:lnTo>
                    <a:pt x="640" y="287"/>
                  </a:lnTo>
                  <a:lnTo>
                    <a:pt x="641" y="304"/>
                  </a:lnTo>
                  <a:lnTo>
                    <a:pt x="642" y="320"/>
                  </a:lnTo>
                  <a:lnTo>
                    <a:pt x="642" y="320"/>
                  </a:lnTo>
                  <a:lnTo>
                    <a:pt x="641" y="337"/>
                  </a:lnTo>
                  <a:lnTo>
                    <a:pt x="640" y="354"/>
                  </a:lnTo>
                  <a:lnTo>
                    <a:pt x="638" y="370"/>
                  </a:lnTo>
                  <a:lnTo>
                    <a:pt x="635" y="385"/>
                  </a:lnTo>
                  <a:lnTo>
                    <a:pt x="631" y="401"/>
                  </a:lnTo>
                  <a:lnTo>
                    <a:pt x="627" y="415"/>
                  </a:lnTo>
                  <a:lnTo>
                    <a:pt x="621" y="431"/>
                  </a:lnTo>
                  <a:lnTo>
                    <a:pt x="617" y="446"/>
                  </a:lnTo>
                  <a:lnTo>
                    <a:pt x="609" y="460"/>
                  </a:lnTo>
                  <a:lnTo>
                    <a:pt x="603" y="473"/>
                  </a:lnTo>
                  <a:lnTo>
                    <a:pt x="595" y="487"/>
                  </a:lnTo>
                  <a:lnTo>
                    <a:pt x="586" y="500"/>
                  </a:lnTo>
                  <a:lnTo>
                    <a:pt x="578" y="512"/>
                  </a:lnTo>
                  <a:lnTo>
                    <a:pt x="568" y="524"/>
                  </a:lnTo>
                  <a:lnTo>
                    <a:pt x="559" y="536"/>
                  </a:lnTo>
                  <a:lnTo>
                    <a:pt x="548" y="547"/>
                  </a:lnTo>
                  <a:lnTo>
                    <a:pt x="537" y="558"/>
                  </a:lnTo>
                  <a:lnTo>
                    <a:pt x="525" y="567"/>
                  </a:lnTo>
                  <a:lnTo>
                    <a:pt x="513" y="577"/>
                  </a:lnTo>
                  <a:lnTo>
                    <a:pt x="500" y="587"/>
                  </a:lnTo>
                  <a:lnTo>
                    <a:pt x="487" y="595"/>
                  </a:lnTo>
                  <a:lnTo>
                    <a:pt x="474" y="602"/>
                  </a:lnTo>
                  <a:lnTo>
                    <a:pt x="460" y="610"/>
                  </a:lnTo>
                  <a:lnTo>
                    <a:pt x="445" y="616"/>
                  </a:lnTo>
                  <a:lnTo>
                    <a:pt x="431" y="622"/>
                  </a:lnTo>
                  <a:lnTo>
                    <a:pt x="416" y="627"/>
                  </a:lnTo>
                  <a:lnTo>
                    <a:pt x="401" y="631"/>
                  </a:lnTo>
                  <a:lnTo>
                    <a:pt x="385" y="635"/>
                  </a:lnTo>
                  <a:lnTo>
                    <a:pt x="369" y="637"/>
                  </a:lnTo>
                  <a:lnTo>
                    <a:pt x="354" y="640"/>
                  </a:lnTo>
                  <a:lnTo>
                    <a:pt x="338"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0" name="Freeform 17"/>
            <p:cNvSpPr>
              <a:spLocks/>
            </p:cNvSpPr>
            <p:nvPr/>
          </p:nvSpPr>
          <p:spPr bwMode="auto">
            <a:xfrm flipH="1">
              <a:off x="11688774" y="6386520"/>
              <a:ext cx="146050" cy="142876"/>
            </a:xfrm>
            <a:custGeom>
              <a:avLst/>
              <a:gdLst>
                <a:gd name="T0" fmla="*/ 182 w 364"/>
                <a:gd name="T1" fmla="*/ 363 h 363"/>
                <a:gd name="T2" fmla="*/ 146 w 364"/>
                <a:gd name="T3" fmla="*/ 360 h 363"/>
                <a:gd name="T4" fmla="*/ 111 w 364"/>
                <a:gd name="T5" fmla="*/ 349 h 363"/>
                <a:gd name="T6" fmla="*/ 81 w 364"/>
                <a:gd name="T7" fmla="*/ 332 h 363"/>
                <a:gd name="T8" fmla="*/ 54 w 364"/>
                <a:gd name="T9" fmla="*/ 310 h 363"/>
                <a:gd name="T10" fmla="*/ 31 w 364"/>
                <a:gd name="T11" fmla="*/ 284 h 363"/>
                <a:gd name="T12" fmla="*/ 14 w 364"/>
                <a:gd name="T13" fmla="*/ 252 h 363"/>
                <a:gd name="T14" fmla="*/ 3 w 364"/>
                <a:gd name="T15" fmla="*/ 218 h 363"/>
                <a:gd name="T16" fmla="*/ 0 w 364"/>
                <a:gd name="T17" fmla="*/ 181 h 363"/>
                <a:gd name="T18" fmla="*/ 1 w 364"/>
                <a:gd name="T19" fmla="*/ 163 h 363"/>
                <a:gd name="T20" fmla="*/ 8 w 364"/>
                <a:gd name="T21" fmla="*/ 128 h 363"/>
                <a:gd name="T22" fmla="*/ 23 w 364"/>
                <a:gd name="T23" fmla="*/ 95 h 363"/>
                <a:gd name="T24" fmla="*/ 42 w 364"/>
                <a:gd name="T25" fmla="*/ 66 h 363"/>
                <a:gd name="T26" fmla="*/ 66 w 364"/>
                <a:gd name="T27" fmla="*/ 41 h 363"/>
                <a:gd name="T28" fmla="*/ 95 w 364"/>
                <a:gd name="T29" fmla="*/ 22 h 363"/>
                <a:gd name="T30" fmla="*/ 128 w 364"/>
                <a:gd name="T31" fmla="*/ 8 h 363"/>
                <a:gd name="T32" fmla="*/ 164 w 364"/>
                <a:gd name="T33" fmla="*/ 1 h 363"/>
                <a:gd name="T34" fmla="*/ 182 w 364"/>
                <a:gd name="T35" fmla="*/ 0 h 363"/>
                <a:gd name="T36" fmla="*/ 218 w 364"/>
                <a:gd name="T37" fmla="*/ 4 h 363"/>
                <a:gd name="T38" fmla="*/ 253 w 364"/>
                <a:gd name="T39" fmla="*/ 15 h 363"/>
                <a:gd name="T40" fmla="*/ 283 w 364"/>
                <a:gd name="T41" fmla="*/ 31 h 363"/>
                <a:gd name="T42" fmla="*/ 310 w 364"/>
                <a:gd name="T43" fmla="*/ 53 h 363"/>
                <a:gd name="T44" fmla="*/ 333 w 364"/>
                <a:gd name="T45" fmla="*/ 80 h 363"/>
                <a:gd name="T46" fmla="*/ 350 w 364"/>
                <a:gd name="T47" fmla="*/ 111 h 363"/>
                <a:gd name="T48" fmla="*/ 361 w 364"/>
                <a:gd name="T49" fmla="*/ 145 h 363"/>
                <a:gd name="T50" fmla="*/ 364 w 364"/>
                <a:gd name="T51" fmla="*/ 181 h 363"/>
                <a:gd name="T52" fmla="*/ 363 w 364"/>
                <a:gd name="T53" fmla="*/ 200 h 363"/>
                <a:gd name="T54" fmla="*/ 356 w 364"/>
                <a:gd name="T55" fmla="*/ 235 h 363"/>
                <a:gd name="T56" fmla="*/ 341 w 364"/>
                <a:gd name="T57" fmla="*/ 268 h 363"/>
                <a:gd name="T58" fmla="*/ 322 w 364"/>
                <a:gd name="T59" fmla="*/ 297 h 363"/>
                <a:gd name="T60" fmla="*/ 298 w 364"/>
                <a:gd name="T61" fmla="*/ 322 h 363"/>
                <a:gd name="T62" fmla="*/ 269 w 364"/>
                <a:gd name="T63" fmla="*/ 342 h 363"/>
                <a:gd name="T64" fmla="*/ 236 w 364"/>
                <a:gd name="T65" fmla="*/ 355 h 363"/>
                <a:gd name="T66" fmla="*/ 200 w 364"/>
                <a:gd name="T67" fmla="*/ 362 h 363"/>
                <a:gd name="T68" fmla="*/ 182 w 364"/>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4" h="363">
                  <a:moveTo>
                    <a:pt x="182" y="363"/>
                  </a:moveTo>
                  <a:lnTo>
                    <a:pt x="182" y="363"/>
                  </a:lnTo>
                  <a:lnTo>
                    <a:pt x="164" y="362"/>
                  </a:lnTo>
                  <a:lnTo>
                    <a:pt x="146" y="360"/>
                  </a:lnTo>
                  <a:lnTo>
                    <a:pt x="128" y="355"/>
                  </a:lnTo>
                  <a:lnTo>
                    <a:pt x="111" y="349"/>
                  </a:lnTo>
                  <a:lnTo>
                    <a:pt x="95" y="342"/>
                  </a:lnTo>
                  <a:lnTo>
                    <a:pt x="81" y="332"/>
                  </a:lnTo>
                  <a:lnTo>
                    <a:pt x="66" y="322"/>
                  </a:lnTo>
                  <a:lnTo>
                    <a:pt x="54" y="310"/>
                  </a:lnTo>
                  <a:lnTo>
                    <a:pt x="42" y="297"/>
                  </a:lnTo>
                  <a:lnTo>
                    <a:pt x="31" y="284"/>
                  </a:lnTo>
                  <a:lnTo>
                    <a:pt x="23" y="268"/>
                  </a:lnTo>
                  <a:lnTo>
                    <a:pt x="14" y="252"/>
                  </a:lnTo>
                  <a:lnTo>
                    <a:pt x="8" y="235"/>
                  </a:lnTo>
                  <a:lnTo>
                    <a:pt x="3" y="218"/>
                  </a:lnTo>
                  <a:lnTo>
                    <a:pt x="1" y="200"/>
                  </a:lnTo>
                  <a:lnTo>
                    <a:pt x="0" y="181"/>
                  </a:lnTo>
                  <a:lnTo>
                    <a:pt x="0" y="181"/>
                  </a:lnTo>
                  <a:lnTo>
                    <a:pt x="1" y="163"/>
                  </a:lnTo>
                  <a:lnTo>
                    <a:pt x="3" y="145"/>
                  </a:lnTo>
                  <a:lnTo>
                    <a:pt x="8" y="128"/>
                  </a:lnTo>
                  <a:lnTo>
                    <a:pt x="14" y="111"/>
                  </a:lnTo>
                  <a:lnTo>
                    <a:pt x="23" y="95"/>
                  </a:lnTo>
                  <a:lnTo>
                    <a:pt x="31" y="80"/>
                  </a:lnTo>
                  <a:lnTo>
                    <a:pt x="42" y="66"/>
                  </a:lnTo>
                  <a:lnTo>
                    <a:pt x="54" y="53"/>
                  </a:lnTo>
                  <a:lnTo>
                    <a:pt x="66" y="41"/>
                  </a:lnTo>
                  <a:lnTo>
                    <a:pt x="81" y="31"/>
                  </a:lnTo>
                  <a:lnTo>
                    <a:pt x="95" y="22"/>
                  </a:lnTo>
                  <a:lnTo>
                    <a:pt x="111" y="15"/>
                  </a:lnTo>
                  <a:lnTo>
                    <a:pt x="128" y="8"/>
                  </a:lnTo>
                  <a:lnTo>
                    <a:pt x="146" y="4"/>
                  </a:lnTo>
                  <a:lnTo>
                    <a:pt x="164" y="1"/>
                  </a:lnTo>
                  <a:lnTo>
                    <a:pt x="182" y="0"/>
                  </a:lnTo>
                  <a:lnTo>
                    <a:pt x="182" y="0"/>
                  </a:lnTo>
                  <a:lnTo>
                    <a:pt x="200" y="1"/>
                  </a:lnTo>
                  <a:lnTo>
                    <a:pt x="218" y="4"/>
                  </a:lnTo>
                  <a:lnTo>
                    <a:pt x="236" y="8"/>
                  </a:lnTo>
                  <a:lnTo>
                    <a:pt x="253" y="15"/>
                  </a:lnTo>
                  <a:lnTo>
                    <a:pt x="269" y="22"/>
                  </a:lnTo>
                  <a:lnTo>
                    <a:pt x="283" y="31"/>
                  </a:lnTo>
                  <a:lnTo>
                    <a:pt x="298" y="41"/>
                  </a:lnTo>
                  <a:lnTo>
                    <a:pt x="310" y="53"/>
                  </a:lnTo>
                  <a:lnTo>
                    <a:pt x="322" y="66"/>
                  </a:lnTo>
                  <a:lnTo>
                    <a:pt x="333" y="80"/>
                  </a:lnTo>
                  <a:lnTo>
                    <a:pt x="341" y="95"/>
                  </a:lnTo>
                  <a:lnTo>
                    <a:pt x="350" y="111"/>
                  </a:lnTo>
                  <a:lnTo>
                    <a:pt x="356" y="128"/>
                  </a:lnTo>
                  <a:lnTo>
                    <a:pt x="361" y="145"/>
                  </a:lnTo>
                  <a:lnTo>
                    <a:pt x="363" y="163"/>
                  </a:lnTo>
                  <a:lnTo>
                    <a:pt x="364" y="181"/>
                  </a:lnTo>
                  <a:lnTo>
                    <a:pt x="364" y="181"/>
                  </a:lnTo>
                  <a:lnTo>
                    <a:pt x="363" y="200"/>
                  </a:lnTo>
                  <a:lnTo>
                    <a:pt x="361" y="218"/>
                  </a:lnTo>
                  <a:lnTo>
                    <a:pt x="356" y="235"/>
                  </a:lnTo>
                  <a:lnTo>
                    <a:pt x="350" y="252"/>
                  </a:lnTo>
                  <a:lnTo>
                    <a:pt x="341" y="268"/>
                  </a:lnTo>
                  <a:lnTo>
                    <a:pt x="333" y="284"/>
                  </a:lnTo>
                  <a:lnTo>
                    <a:pt x="322" y="297"/>
                  </a:lnTo>
                  <a:lnTo>
                    <a:pt x="310" y="310"/>
                  </a:lnTo>
                  <a:lnTo>
                    <a:pt x="298" y="322"/>
                  </a:lnTo>
                  <a:lnTo>
                    <a:pt x="283" y="332"/>
                  </a:lnTo>
                  <a:lnTo>
                    <a:pt x="269" y="342"/>
                  </a:lnTo>
                  <a:lnTo>
                    <a:pt x="253" y="349"/>
                  </a:lnTo>
                  <a:lnTo>
                    <a:pt x="236" y="355"/>
                  </a:lnTo>
                  <a:lnTo>
                    <a:pt x="218"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2" name="Freeform 18"/>
            <p:cNvSpPr>
              <a:spLocks/>
            </p:cNvSpPr>
            <p:nvPr/>
          </p:nvSpPr>
          <p:spPr bwMode="auto">
            <a:xfrm flipH="1">
              <a:off x="10691824" y="6330958"/>
              <a:ext cx="254000" cy="254000"/>
            </a:xfrm>
            <a:custGeom>
              <a:avLst/>
              <a:gdLst>
                <a:gd name="T0" fmla="*/ 304 w 641"/>
                <a:gd name="T1" fmla="*/ 641 h 641"/>
                <a:gd name="T2" fmla="*/ 256 w 641"/>
                <a:gd name="T3" fmla="*/ 635 h 641"/>
                <a:gd name="T4" fmla="*/ 210 w 641"/>
                <a:gd name="T5" fmla="*/ 622 h 641"/>
                <a:gd name="T6" fmla="*/ 168 w 641"/>
                <a:gd name="T7" fmla="*/ 602 h 641"/>
                <a:gd name="T8" fmla="*/ 129 w 641"/>
                <a:gd name="T9" fmla="*/ 577 h 641"/>
                <a:gd name="T10" fmla="*/ 94 w 641"/>
                <a:gd name="T11" fmla="*/ 547 h 641"/>
                <a:gd name="T12" fmla="*/ 64 w 641"/>
                <a:gd name="T13" fmla="*/ 512 h 641"/>
                <a:gd name="T14" fmla="*/ 39 w 641"/>
                <a:gd name="T15" fmla="*/ 473 h 641"/>
                <a:gd name="T16" fmla="*/ 20 w 641"/>
                <a:gd name="T17" fmla="*/ 431 h 641"/>
                <a:gd name="T18" fmla="*/ 8 w 641"/>
                <a:gd name="T19" fmla="*/ 385 h 641"/>
                <a:gd name="T20" fmla="*/ 0 w 641"/>
                <a:gd name="T21" fmla="*/ 337 h 641"/>
                <a:gd name="T22" fmla="*/ 0 w 641"/>
                <a:gd name="T23" fmla="*/ 304 h 641"/>
                <a:gd name="T24" fmla="*/ 8 w 641"/>
                <a:gd name="T25" fmla="*/ 256 h 641"/>
                <a:gd name="T26" fmla="*/ 20 w 641"/>
                <a:gd name="T27" fmla="*/ 210 h 641"/>
                <a:gd name="T28" fmla="*/ 39 w 641"/>
                <a:gd name="T29" fmla="*/ 168 h 641"/>
                <a:gd name="T30" fmla="*/ 64 w 641"/>
                <a:gd name="T31" fmla="*/ 129 h 641"/>
                <a:gd name="T32" fmla="*/ 94 w 641"/>
                <a:gd name="T33" fmla="*/ 94 h 641"/>
                <a:gd name="T34" fmla="*/ 129 w 641"/>
                <a:gd name="T35" fmla="*/ 64 h 641"/>
                <a:gd name="T36" fmla="*/ 168 w 641"/>
                <a:gd name="T37" fmla="*/ 39 h 641"/>
                <a:gd name="T38" fmla="*/ 210 w 641"/>
                <a:gd name="T39" fmla="*/ 20 h 641"/>
                <a:gd name="T40" fmla="*/ 256 w 641"/>
                <a:gd name="T41" fmla="*/ 6 h 641"/>
                <a:gd name="T42" fmla="*/ 304 w 641"/>
                <a:gd name="T43" fmla="*/ 0 h 641"/>
                <a:gd name="T44" fmla="*/ 337 w 641"/>
                <a:gd name="T45" fmla="*/ 0 h 641"/>
                <a:gd name="T46" fmla="*/ 385 w 641"/>
                <a:gd name="T47" fmla="*/ 6 h 641"/>
                <a:gd name="T48" fmla="*/ 431 w 641"/>
                <a:gd name="T49" fmla="*/ 20 h 641"/>
                <a:gd name="T50" fmla="*/ 473 w 641"/>
                <a:gd name="T51" fmla="*/ 39 h 641"/>
                <a:gd name="T52" fmla="*/ 513 w 641"/>
                <a:gd name="T53" fmla="*/ 64 h 641"/>
                <a:gd name="T54" fmla="*/ 547 w 641"/>
                <a:gd name="T55" fmla="*/ 94 h 641"/>
                <a:gd name="T56" fmla="*/ 578 w 641"/>
                <a:gd name="T57" fmla="*/ 129 h 641"/>
                <a:gd name="T58" fmla="*/ 603 w 641"/>
                <a:gd name="T59" fmla="*/ 168 h 641"/>
                <a:gd name="T60" fmla="*/ 622 w 641"/>
                <a:gd name="T61" fmla="*/ 210 h 641"/>
                <a:gd name="T62" fmla="*/ 635 w 641"/>
                <a:gd name="T63" fmla="*/ 256 h 641"/>
                <a:gd name="T64" fmla="*/ 641 w 641"/>
                <a:gd name="T65" fmla="*/ 304 h 641"/>
                <a:gd name="T66" fmla="*/ 641 w 641"/>
                <a:gd name="T67" fmla="*/ 337 h 641"/>
                <a:gd name="T68" fmla="*/ 635 w 641"/>
                <a:gd name="T69" fmla="*/ 385 h 641"/>
                <a:gd name="T70" fmla="*/ 622 w 641"/>
                <a:gd name="T71" fmla="*/ 431 h 641"/>
                <a:gd name="T72" fmla="*/ 603 w 641"/>
                <a:gd name="T73" fmla="*/ 473 h 641"/>
                <a:gd name="T74" fmla="*/ 578 w 641"/>
                <a:gd name="T75" fmla="*/ 512 h 641"/>
                <a:gd name="T76" fmla="*/ 547 w 641"/>
                <a:gd name="T77" fmla="*/ 547 h 641"/>
                <a:gd name="T78" fmla="*/ 513 w 641"/>
                <a:gd name="T79" fmla="*/ 577 h 641"/>
                <a:gd name="T80" fmla="*/ 473 w 641"/>
                <a:gd name="T81" fmla="*/ 602 h 641"/>
                <a:gd name="T82" fmla="*/ 431 w 641"/>
                <a:gd name="T83" fmla="*/ 622 h 641"/>
                <a:gd name="T84" fmla="*/ 385 w 641"/>
                <a:gd name="T85" fmla="*/ 635 h 641"/>
                <a:gd name="T86" fmla="*/ 337 w 641"/>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321" y="641"/>
                  </a:moveTo>
                  <a:lnTo>
                    <a:pt x="321" y="641"/>
                  </a:lnTo>
                  <a:lnTo>
                    <a:pt x="304" y="641"/>
                  </a:lnTo>
                  <a:lnTo>
                    <a:pt x="289" y="640"/>
                  </a:lnTo>
                  <a:lnTo>
                    <a:pt x="272" y="637"/>
                  </a:lnTo>
                  <a:lnTo>
                    <a:pt x="256" y="635"/>
                  </a:lnTo>
                  <a:lnTo>
                    <a:pt x="241" y="631"/>
                  </a:lnTo>
                  <a:lnTo>
                    <a:pt x="226" y="627"/>
                  </a:lnTo>
                  <a:lnTo>
                    <a:pt x="210" y="622"/>
                  </a:lnTo>
                  <a:lnTo>
                    <a:pt x="196" y="616"/>
                  </a:lnTo>
                  <a:lnTo>
                    <a:pt x="183" y="610"/>
                  </a:lnTo>
                  <a:lnTo>
                    <a:pt x="168" y="602"/>
                  </a:lnTo>
                  <a:lnTo>
                    <a:pt x="155" y="595"/>
                  </a:lnTo>
                  <a:lnTo>
                    <a:pt x="142" y="587"/>
                  </a:lnTo>
                  <a:lnTo>
                    <a:pt x="129" y="577"/>
                  </a:lnTo>
                  <a:lnTo>
                    <a:pt x="117" y="567"/>
                  </a:lnTo>
                  <a:lnTo>
                    <a:pt x="105" y="558"/>
                  </a:lnTo>
                  <a:lnTo>
                    <a:pt x="94" y="547"/>
                  </a:lnTo>
                  <a:lnTo>
                    <a:pt x="84" y="536"/>
                  </a:lnTo>
                  <a:lnTo>
                    <a:pt x="74" y="524"/>
                  </a:lnTo>
                  <a:lnTo>
                    <a:pt x="64" y="512"/>
                  </a:lnTo>
                  <a:lnTo>
                    <a:pt x="56" y="500"/>
                  </a:lnTo>
                  <a:lnTo>
                    <a:pt x="47" y="487"/>
                  </a:lnTo>
                  <a:lnTo>
                    <a:pt x="39" y="473"/>
                  </a:lnTo>
                  <a:lnTo>
                    <a:pt x="32" y="460"/>
                  </a:lnTo>
                  <a:lnTo>
                    <a:pt x="26" y="446"/>
                  </a:lnTo>
                  <a:lnTo>
                    <a:pt x="20" y="431"/>
                  </a:lnTo>
                  <a:lnTo>
                    <a:pt x="15" y="415"/>
                  </a:lnTo>
                  <a:lnTo>
                    <a:pt x="10" y="401"/>
                  </a:lnTo>
                  <a:lnTo>
                    <a:pt x="8" y="385"/>
                  </a:lnTo>
                  <a:lnTo>
                    <a:pt x="4" y="370"/>
                  </a:lnTo>
                  <a:lnTo>
                    <a:pt x="2" y="354"/>
                  </a:lnTo>
                  <a:lnTo>
                    <a:pt x="0" y="337"/>
                  </a:lnTo>
                  <a:lnTo>
                    <a:pt x="0" y="320"/>
                  </a:lnTo>
                  <a:lnTo>
                    <a:pt x="0" y="320"/>
                  </a:lnTo>
                  <a:lnTo>
                    <a:pt x="0" y="304"/>
                  </a:lnTo>
                  <a:lnTo>
                    <a:pt x="2" y="287"/>
                  </a:lnTo>
                  <a:lnTo>
                    <a:pt x="4" y="272"/>
                  </a:lnTo>
                  <a:lnTo>
                    <a:pt x="8" y="256"/>
                  </a:lnTo>
                  <a:lnTo>
                    <a:pt x="10" y="240"/>
                  </a:lnTo>
                  <a:lnTo>
                    <a:pt x="15" y="226"/>
                  </a:lnTo>
                  <a:lnTo>
                    <a:pt x="20" y="210"/>
                  </a:lnTo>
                  <a:lnTo>
                    <a:pt x="26" y="196"/>
                  </a:lnTo>
                  <a:lnTo>
                    <a:pt x="32" y="181"/>
                  </a:lnTo>
                  <a:lnTo>
                    <a:pt x="39" y="168"/>
                  </a:lnTo>
                  <a:lnTo>
                    <a:pt x="47" y="155"/>
                  </a:lnTo>
                  <a:lnTo>
                    <a:pt x="56" y="141"/>
                  </a:lnTo>
                  <a:lnTo>
                    <a:pt x="64" y="129"/>
                  </a:lnTo>
                  <a:lnTo>
                    <a:pt x="74" y="117"/>
                  </a:lnTo>
                  <a:lnTo>
                    <a:pt x="84" y="105"/>
                  </a:lnTo>
                  <a:lnTo>
                    <a:pt x="94" y="94"/>
                  </a:lnTo>
                  <a:lnTo>
                    <a:pt x="105" y="84"/>
                  </a:lnTo>
                  <a:lnTo>
                    <a:pt x="117" y="74"/>
                  </a:lnTo>
                  <a:lnTo>
                    <a:pt x="129" y="64"/>
                  </a:lnTo>
                  <a:lnTo>
                    <a:pt x="142" y="55"/>
                  </a:lnTo>
                  <a:lnTo>
                    <a:pt x="155" y="46"/>
                  </a:lnTo>
                  <a:lnTo>
                    <a:pt x="168" y="39"/>
                  </a:lnTo>
                  <a:lnTo>
                    <a:pt x="183" y="32"/>
                  </a:lnTo>
                  <a:lnTo>
                    <a:pt x="196" y="26"/>
                  </a:lnTo>
                  <a:lnTo>
                    <a:pt x="210" y="20"/>
                  </a:lnTo>
                  <a:lnTo>
                    <a:pt x="226" y="15"/>
                  </a:lnTo>
                  <a:lnTo>
                    <a:pt x="241" y="10"/>
                  </a:lnTo>
                  <a:lnTo>
                    <a:pt x="256" y="6"/>
                  </a:lnTo>
                  <a:lnTo>
                    <a:pt x="272" y="4"/>
                  </a:lnTo>
                  <a:lnTo>
                    <a:pt x="289" y="1"/>
                  </a:lnTo>
                  <a:lnTo>
                    <a:pt x="304" y="0"/>
                  </a:lnTo>
                  <a:lnTo>
                    <a:pt x="321" y="0"/>
                  </a:lnTo>
                  <a:lnTo>
                    <a:pt x="321" y="0"/>
                  </a:lnTo>
                  <a:lnTo>
                    <a:pt x="337" y="0"/>
                  </a:lnTo>
                  <a:lnTo>
                    <a:pt x="354" y="1"/>
                  </a:lnTo>
                  <a:lnTo>
                    <a:pt x="370" y="4"/>
                  </a:lnTo>
                  <a:lnTo>
                    <a:pt x="385" y="6"/>
                  </a:lnTo>
                  <a:lnTo>
                    <a:pt x="401" y="10"/>
                  </a:lnTo>
                  <a:lnTo>
                    <a:pt x="417" y="15"/>
                  </a:lnTo>
                  <a:lnTo>
                    <a:pt x="431" y="20"/>
                  </a:lnTo>
                  <a:lnTo>
                    <a:pt x="446" y="26"/>
                  </a:lnTo>
                  <a:lnTo>
                    <a:pt x="460" y="32"/>
                  </a:lnTo>
                  <a:lnTo>
                    <a:pt x="473" y="39"/>
                  </a:lnTo>
                  <a:lnTo>
                    <a:pt x="487" y="46"/>
                  </a:lnTo>
                  <a:lnTo>
                    <a:pt x="500" y="55"/>
                  </a:lnTo>
                  <a:lnTo>
                    <a:pt x="513" y="64"/>
                  </a:lnTo>
                  <a:lnTo>
                    <a:pt x="525" y="74"/>
                  </a:lnTo>
                  <a:lnTo>
                    <a:pt x="536" y="84"/>
                  </a:lnTo>
                  <a:lnTo>
                    <a:pt x="547" y="94"/>
                  </a:lnTo>
                  <a:lnTo>
                    <a:pt x="558" y="105"/>
                  </a:lnTo>
                  <a:lnTo>
                    <a:pt x="569" y="117"/>
                  </a:lnTo>
                  <a:lnTo>
                    <a:pt x="578" y="129"/>
                  </a:lnTo>
                  <a:lnTo>
                    <a:pt x="587" y="141"/>
                  </a:lnTo>
                  <a:lnTo>
                    <a:pt x="595" y="155"/>
                  </a:lnTo>
                  <a:lnTo>
                    <a:pt x="603" y="168"/>
                  </a:lnTo>
                  <a:lnTo>
                    <a:pt x="610" y="181"/>
                  </a:lnTo>
                  <a:lnTo>
                    <a:pt x="616" y="196"/>
                  </a:lnTo>
                  <a:lnTo>
                    <a:pt x="622" y="210"/>
                  </a:lnTo>
                  <a:lnTo>
                    <a:pt x="627" y="226"/>
                  </a:lnTo>
                  <a:lnTo>
                    <a:pt x="632" y="240"/>
                  </a:lnTo>
                  <a:lnTo>
                    <a:pt x="635" y="256"/>
                  </a:lnTo>
                  <a:lnTo>
                    <a:pt x="638" y="272"/>
                  </a:lnTo>
                  <a:lnTo>
                    <a:pt x="640" y="287"/>
                  </a:lnTo>
                  <a:lnTo>
                    <a:pt x="641" y="304"/>
                  </a:lnTo>
                  <a:lnTo>
                    <a:pt x="641" y="320"/>
                  </a:lnTo>
                  <a:lnTo>
                    <a:pt x="641" y="320"/>
                  </a:lnTo>
                  <a:lnTo>
                    <a:pt x="641" y="337"/>
                  </a:lnTo>
                  <a:lnTo>
                    <a:pt x="640" y="354"/>
                  </a:lnTo>
                  <a:lnTo>
                    <a:pt x="638" y="370"/>
                  </a:lnTo>
                  <a:lnTo>
                    <a:pt x="635" y="385"/>
                  </a:lnTo>
                  <a:lnTo>
                    <a:pt x="632" y="401"/>
                  </a:lnTo>
                  <a:lnTo>
                    <a:pt x="627" y="415"/>
                  </a:lnTo>
                  <a:lnTo>
                    <a:pt x="622" y="431"/>
                  </a:lnTo>
                  <a:lnTo>
                    <a:pt x="616" y="446"/>
                  </a:lnTo>
                  <a:lnTo>
                    <a:pt x="610" y="460"/>
                  </a:lnTo>
                  <a:lnTo>
                    <a:pt x="603" y="473"/>
                  </a:lnTo>
                  <a:lnTo>
                    <a:pt x="595" y="487"/>
                  </a:lnTo>
                  <a:lnTo>
                    <a:pt x="587" y="500"/>
                  </a:lnTo>
                  <a:lnTo>
                    <a:pt x="578" y="512"/>
                  </a:lnTo>
                  <a:lnTo>
                    <a:pt x="569" y="524"/>
                  </a:lnTo>
                  <a:lnTo>
                    <a:pt x="558" y="536"/>
                  </a:lnTo>
                  <a:lnTo>
                    <a:pt x="547" y="547"/>
                  </a:lnTo>
                  <a:lnTo>
                    <a:pt x="536" y="558"/>
                  </a:lnTo>
                  <a:lnTo>
                    <a:pt x="525" y="567"/>
                  </a:lnTo>
                  <a:lnTo>
                    <a:pt x="513" y="577"/>
                  </a:lnTo>
                  <a:lnTo>
                    <a:pt x="500" y="587"/>
                  </a:lnTo>
                  <a:lnTo>
                    <a:pt x="487" y="595"/>
                  </a:lnTo>
                  <a:lnTo>
                    <a:pt x="473" y="602"/>
                  </a:lnTo>
                  <a:lnTo>
                    <a:pt x="460" y="610"/>
                  </a:lnTo>
                  <a:lnTo>
                    <a:pt x="446" y="616"/>
                  </a:lnTo>
                  <a:lnTo>
                    <a:pt x="431" y="622"/>
                  </a:lnTo>
                  <a:lnTo>
                    <a:pt x="417" y="627"/>
                  </a:lnTo>
                  <a:lnTo>
                    <a:pt x="401" y="631"/>
                  </a:lnTo>
                  <a:lnTo>
                    <a:pt x="385" y="635"/>
                  </a:lnTo>
                  <a:lnTo>
                    <a:pt x="370" y="637"/>
                  </a:lnTo>
                  <a:lnTo>
                    <a:pt x="354" y="640"/>
                  </a:lnTo>
                  <a:lnTo>
                    <a:pt x="337"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3" name="Freeform 19"/>
            <p:cNvSpPr>
              <a:spLocks/>
            </p:cNvSpPr>
            <p:nvPr/>
          </p:nvSpPr>
          <p:spPr bwMode="auto">
            <a:xfrm flipH="1">
              <a:off x="10745798" y="6386520"/>
              <a:ext cx="144463" cy="142876"/>
            </a:xfrm>
            <a:custGeom>
              <a:avLst/>
              <a:gdLst>
                <a:gd name="T0" fmla="*/ 182 w 363"/>
                <a:gd name="T1" fmla="*/ 363 h 363"/>
                <a:gd name="T2" fmla="*/ 145 w 363"/>
                <a:gd name="T3" fmla="*/ 360 h 363"/>
                <a:gd name="T4" fmla="*/ 111 w 363"/>
                <a:gd name="T5" fmla="*/ 349 h 363"/>
                <a:gd name="T6" fmla="*/ 81 w 363"/>
                <a:gd name="T7" fmla="*/ 332 h 363"/>
                <a:gd name="T8" fmla="*/ 53 w 363"/>
                <a:gd name="T9" fmla="*/ 310 h 363"/>
                <a:gd name="T10" fmla="*/ 32 w 363"/>
                <a:gd name="T11" fmla="*/ 284 h 363"/>
                <a:gd name="T12" fmla="*/ 15 w 363"/>
                <a:gd name="T13" fmla="*/ 252 h 363"/>
                <a:gd name="T14" fmla="*/ 4 w 363"/>
                <a:gd name="T15" fmla="*/ 218 h 363"/>
                <a:gd name="T16" fmla="*/ 0 w 363"/>
                <a:gd name="T17" fmla="*/ 181 h 363"/>
                <a:gd name="T18" fmla="*/ 1 w 363"/>
                <a:gd name="T19" fmla="*/ 163 h 363"/>
                <a:gd name="T20" fmla="*/ 9 w 363"/>
                <a:gd name="T21" fmla="*/ 128 h 363"/>
                <a:gd name="T22" fmla="*/ 22 w 363"/>
                <a:gd name="T23" fmla="*/ 95 h 363"/>
                <a:gd name="T24" fmla="*/ 42 w 363"/>
                <a:gd name="T25" fmla="*/ 66 h 363"/>
                <a:gd name="T26" fmla="*/ 67 w 363"/>
                <a:gd name="T27" fmla="*/ 41 h 363"/>
                <a:gd name="T28" fmla="*/ 95 w 363"/>
                <a:gd name="T29" fmla="*/ 22 h 363"/>
                <a:gd name="T30" fmla="*/ 128 w 363"/>
                <a:gd name="T31" fmla="*/ 8 h 363"/>
                <a:gd name="T32" fmla="*/ 163 w 363"/>
                <a:gd name="T33" fmla="*/ 1 h 363"/>
                <a:gd name="T34" fmla="*/ 182 w 363"/>
                <a:gd name="T35" fmla="*/ 0 h 363"/>
                <a:gd name="T36" fmla="*/ 219 w 363"/>
                <a:gd name="T37" fmla="*/ 4 h 363"/>
                <a:gd name="T38" fmla="*/ 252 w 363"/>
                <a:gd name="T39" fmla="*/ 15 h 363"/>
                <a:gd name="T40" fmla="*/ 284 w 363"/>
                <a:gd name="T41" fmla="*/ 31 h 363"/>
                <a:gd name="T42" fmla="*/ 310 w 363"/>
                <a:gd name="T43" fmla="*/ 53 h 363"/>
                <a:gd name="T44" fmla="*/ 333 w 363"/>
                <a:gd name="T45" fmla="*/ 80 h 363"/>
                <a:gd name="T46" fmla="*/ 350 w 363"/>
                <a:gd name="T47" fmla="*/ 111 h 363"/>
                <a:gd name="T48" fmla="*/ 360 w 363"/>
                <a:gd name="T49" fmla="*/ 145 h 363"/>
                <a:gd name="T50" fmla="*/ 363 w 363"/>
                <a:gd name="T51" fmla="*/ 181 h 363"/>
                <a:gd name="T52" fmla="*/ 363 w 363"/>
                <a:gd name="T53" fmla="*/ 200 h 363"/>
                <a:gd name="T54" fmla="*/ 356 w 363"/>
                <a:gd name="T55" fmla="*/ 235 h 363"/>
                <a:gd name="T56" fmla="*/ 342 w 363"/>
                <a:gd name="T57" fmla="*/ 268 h 363"/>
                <a:gd name="T58" fmla="*/ 322 w 363"/>
                <a:gd name="T59" fmla="*/ 297 h 363"/>
                <a:gd name="T60" fmla="*/ 298 w 363"/>
                <a:gd name="T61" fmla="*/ 322 h 363"/>
                <a:gd name="T62" fmla="*/ 268 w 363"/>
                <a:gd name="T63" fmla="*/ 342 h 363"/>
                <a:gd name="T64" fmla="*/ 235 w 363"/>
                <a:gd name="T65" fmla="*/ 355 h 363"/>
                <a:gd name="T66" fmla="*/ 200 w 363"/>
                <a:gd name="T67" fmla="*/ 362 h 363"/>
                <a:gd name="T68" fmla="*/ 182 w 363"/>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182" y="363"/>
                  </a:moveTo>
                  <a:lnTo>
                    <a:pt x="182" y="363"/>
                  </a:lnTo>
                  <a:lnTo>
                    <a:pt x="163" y="362"/>
                  </a:lnTo>
                  <a:lnTo>
                    <a:pt x="145" y="360"/>
                  </a:lnTo>
                  <a:lnTo>
                    <a:pt x="128" y="355"/>
                  </a:lnTo>
                  <a:lnTo>
                    <a:pt x="111" y="349"/>
                  </a:lnTo>
                  <a:lnTo>
                    <a:pt x="95" y="342"/>
                  </a:lnTo>
                  <a:lnTo>
                    <a:pt x="81" y="332"/>
                  </a:lnTo>
                  <a:lnTo>
                    <a:pt x="67" y="322"/>
                  </a:lnTo>
                  <a:lnTo>
                    <a:pt x="53" y="310"/>
                  </a:lnTo>
                  <a:lnTo>
                    <a:pt x="42" y="297"/>
                  </a:lnTo>
                  <a:lnTo>
                    <a:pt x="32" y="284"/>
                  </a:lnTo>
                  <a:lnTo>
                    <a:pt x="22" y="268"/>
                  </a:lnTo>
                  <a:lnTo>
                    <a:pt x="15" y="252"/>
                  </a:lnTo>
                  <a:lnTo>
                    <a:pt x="9" y="235"/>
                  </a:lnTo>
                  <a:lnTo>
                    <a:pt x="4" y="218"/>
                  </a:lnTo>
                  <a:lnTo>
                    <a:pt x="1" y="200"/>
                  </a:lnTo>
                  <a:lnTo>
                    <a:pt x="0" y="181"/>
                  </a:lnTo>
                  <a:lnTo>
                    <a:pt x="0" y="181"/>
                  </a:lnTo>
                  <a:lnTo>
                    <a:pt x="1" y="163"/>
                  </a:lnTo>
                  <a:lnTo>
                    <a:pt x="4" y="145"/>
                  </a:lnTo>
                  <a:lnTo>
                    <a:pt x="9" y="128"/>
                  </a:lnTo>
                  <a:lnTo>
                    <a:pt x="15" y="111"/>
                  </a:lnTo>
                  <a:lnTo>
                    <a:pt x="22" y="95"/>
                  </a:lnTo>
                  <a:lnTo>
                    <a:pt x="32" y="80"/>
                  </a:lnTo>
                  <a:lnTo>
                    <a:pt x="42" y="66"/>
                  </a:lnTo>
                  <a:lnTo>
                    <a:pt x="53" y="53"/>
                  </a:lnTo>
                  <a:lnTo>
                    <a:pt x="67" y="41"/>
                  </a:lnTo>
                  <a:lnTo>
                    <a:pt x="81" y="31"/>
                  </a:lnTo>
                  <a:lnTo>
                    <a:pt x="95" y="22"/>
                  </a:lnTo>
                  <a:lnTo>
                    <a:pt x="111" y="15"/>
                  </a:lnTo>
                  <a:lnTo>
                    <a:pt x="128" y="8"/>
                  </a:lnTo>
                  <a:lnTo>
                    <a:pt x="145" y="4"/>
                  </a:lnTo>
                  <a:lnTo>
                    <a:pt x="163" y="1"/>
                  </a:lnTo>
                  <a:lnTo>
                    <a:pt x="182" y="0"/>
                  </a:lnTo>
                  <a:lnTo>
                    <a:pt x="182" y="0"/>
                  </a:lnTo>
                  <a:lnTo>
                    <a:pt x="200" y="1"/>
                  </a:lnTo>
                  <a:lnTo>
                    <a:pt x="219" y="4"/>
                  </a:lnTo>
                  <a:lnTo>
                    <a:pt x="235" y="8"/>
                  </a:lnTo>
                  <a:lnTo>
                    <a:pt x="252" y="15"/>
                  </a:lnTo>
                  <a:lnTo>
                    <a:pt x="268" y="22"/>
                  </a:lnTo>
                  <a:lnTo>
                    <a:pt x="284" y="31"/>
                  </a:lnTo>
                  <a:lnTo>
                    <a:pt x="298" y="41"/>
                  </a:lnTo>
                  <a:lnTo>
                    <a:pt x="310" y="53"/>
                  </a:lnTo>
                  <a:lnTo>
                    <a:pt x="322" y="66"/>
                  </a:lnTo>
                  <a:lnTo>
                    <a:pt x="333" y="80"/>
                  </a:lnTo>
                  <a:lnTo>
                    <a:pt x="342" y="95"/>
                  </a:lnTo>
                  <a:lnTo>
                    <a:pt x="350" y="111"/>
                  </a:lnTo>
                  <a:lnTo>
                    <a:pt x="356" y="128"/>
                  </a:lnTo>
                  <a:lnTo>
                    <a:pt x="360" y="145"/>
                  </a:lnTo>
                  <a:lnTo>
                    <a:pt x="363" y="163"/>
                  </a:lnTo>
                  <a:lnTo>
                    <a:pt x="363" y="181"/>
                  </a:lnTo>
                  <a:lnTo>
                    <a:pt x="363" y="181"/>
                  </a:lnTo>
                  <a:lnTo>
                    <a:pt x="363" y="200"/>
                  </a:lnTo>
                  <a:lnTo>
                    <a:pt x="360" y="218"/>
                  </a:lnTo>
                  <a:lnTo>
                    <a:pt x="356" y="235"/>
                  </a:lnTo>
                  <a:lnTo>
                    <a:pt x="350" y="252"/>
                  </a:lnTo>
                  <a:lnTo>
                    <a:pt x="342" y="268"/>
                  </a:lnTo>
                  <a:lnTo>
                    <a:pt x="333" y="284"/>
                  </a:lnTo>
                  <a:lnTo>
                    <a:pt x="322" y="297"/>
                  </a:lnTo>
                  <a:lnTo>
                    <a:pt x="310" y="310"/>
                  </a:lnTo>
                  <a:lnTo>
                    <a:pt x="298" y="322"/>
                  </a:lnTo>
                  <a:lnTo>
                    <a:pt x="284" y="332"/>
                  </a:lnTo>
                  <a:lnTo>
                    <a:pt x="268" y="342"/>
                  </a:lnTo>
                  <a:lnTo>
                    <a:pt x="252" y="349"/>
                  </a:lnTo>
                  <a:lnTo>
                    <a:pt x="235" y="355"/>
                  </a:lnTo>
                  <a:lnTo>
                    <a:pt x="219"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4" name="Freeform 20"/>
            <p:cNvSpPr>
              <a:spLocks/>
            </p:cNvSpPr>
            <p:nvPr/>
          </p:nvSpPr>
          <p:spPr bwMode="auto">
            <a:xfrm flipH="1">
              <a:off x="10287011" y="6330958"/>
              <a:ext cx="254000" cy="254000"/>
            </a:xfrm>
            <a:custGeom>
              <a:avLst/>
              <a:gdLst>
                <a:gd name="T0" fmla="*/ 304 w 641"/>
                <a:gd name="T1" fmla="*/ 641 h 641"/>
                <a:gd name="T2" fmla="*/ 256 w 641"/>
                <a:gd name="T3" fmla="*/ 635 h 641"/>
                <a:gd name="T4" fmla="*/ 210 w 641"/>
                <a:gd name="T5" fmla="*/ 622 h 641"/>
                <a:gd name="T6" fmla="*/ 168 w 641"/>
                <a:gd name="T7" fmla="*/ 602 h 641"/>
                <a:gd name="T8" fmla="*/ 129 w 641"/>
                <a:gd name="T9" fmla="*/ 577 h 641"/>
                <a:gd name="T10" fmla="*/ 94 w 641"/>
                <a:gd name="T11" fmla="*/ 547 h 641"/>
                <a:gd name="T12" fmla="*/ 64 w 641"/>
                <a:gd name="T13" fmla="*/ 512 h 641"/>
                <a:gd name="T14" fmla="*/ 39 w 641"/>
                <a:gd name="T15" fmla="*/ 473 h 641"/>
                <a:gd name="T16" fmla="*/ 19 w 641"/>
                <a:gd name="T17" fmla="*/ 431 h 641"/>
                <a:gd name="T18" fmla="*/ 6 w 641"/>
                <a:gd name="T19" fmla="*/ 385 h 641"/>
                <a:gd name="T20" fmla="*/ 0 w 641"/>
                <a:gd name="T21" fmla="*/ 337 h 641"/>
                <a:gd name="T22" fmla="*/ 0 w 641"/>
                <a:gd name="T23" fmla="*/ 304 h 641"/>
                <a:gd name="T24" fmla="*/ 6 w 641"/>
                <a:gd name="T25" fmla="*/ 256 h 641"/>
                <a:gd name="T26" fmla="*/ 19 w 641"/>
                <a:gd name="T27" fmla="*/ 210 h 641"/>
                <a:gd name="T28" fmla="*/ 39 w 641"/>
                <a:gd name="T29" fmla="*/ 168 h 641"/>
                <a:gd name="T30" fmla="*/ 64 w 641"/>
                <a:gd name="T31" fmla="*/ 129 h 641"/>
                <a:gd name="T32" fmla="*/ 94 w 641"/>
                <a:gd name="T33" fmla="*/ 94 h 641"/>
                <a:gd name="T34" fmla="*/ 129 w 641"/>
                <a:gd name="T35" fmla="*/ 64 h 641"/>
                <a:gd name="T36" fmla="*/ 168 w 641"/>
                <a:gd name="T37" fmla="*/ 39 h 641"/>
                <a:gd name="T38" fmla="*/ 210 w 641"/>
                <a:gd name="T39" fmla="*/ 20 h 641"/>
                <a:gd name="T40" fmla="*/ 256 w 641"/>
                <a:gd name="T41" fmla="*/ 6 h 641"/>
                <a:gd name="T42" fmla="*/ 304 w 641"/>
                <a:gd name="T43" fmla="*/ 0 h 641"/>
                <a:gd name="T44" fmla="*/ 337 w 641"/>
                <a:gd name="T45" fmla="*/ 0 h 641"/>
                <a:gd name="T46" fmla="*/ 385 w 641"/>
                <a:gd name="T47" fmla="*/ 6 h 641"/>
                <a:gd name="T48" fmla="*/ 431 w 641"/>
                <a:gd name="T49" fmla="*/ 20 h 641"/>
                <a:gd name="T50" fmla="*/ 473 w 641"/>
                <a:gd name="T51" fmla="*/ 39 h 641"/>
                <a:gd name="T52" fmla="*/ 512 w 641"/>
                <a:gd name="T53" fmla="*/ 64 h 641"/>
                <a:gd name="T54" fmla="*/ 547 w 641"/>
                <a:gd name="T55" fmla="*/ 94 h 641"/>
                <a:gd name="T56" fmla="*/ 577 w 641"/>
                <a:gd name="T57" fmla="*/ 129 h 641"/>
                <a:gd name="T58" fmla="*/ 602 w 641"/>
                <a:gd name="T59" fmla="*/ 168 h 641"/>
                <a:gd name="T60" fmla="*/ 622 w 641"/>
                <a:gd name="T61" fmla="*/ 210 h 641"/>
                <a:gd name="T62" fmla="*/ 635 w 641"/>
                <a:gd name="T63" fmla="*/ 256 h 641"/>
                <a:gd name="T64" fmla="*/ 641 w 641"/>
                <a:gd name="T65" fmla="*/ 304 h 641"/>
                <a:gd name="T66" fmla="*/ 641 w 641"/>
                <a:gd name="T67" fmla="*/ 337 h 641"/>
                <a:gd name="T68" fmla="*/ 635 w 641"/>
                <a:gd name="T69" fmla="*/ 385 h 641"/>
                <a:gd name="T70" fmla="*/ 622 w 641"/>
                <a:gd name="T71" fmla="*/ 431 h 641"/>
                <a:gd name="T72" fmla="*/ 602 w 641"/>
                <a:gd name="T73" fmla="*/ 473 h 641"/>
                <a:gd name="T74" fmla="*/ 577 w 641"/>
                <a:gd name="T75" fmla="*/ 512 h 641"/>
                <a:gd name="T76" fmla="*/ 547 w 641"/>
                <a:gd name="T77" fmla="*/ 547 h 641"/>
                <a:gd name="T78" fmla="*/ 512 w 641"/>
                <a:gd name="T79" fmla="*/ 577 h 641"/>
                <a:gd name="T80" fmla="*/ 473 w 641"/>
                <a:gd name="T81" fmla="*/ 602 h 641"/>
                <a:gd name="T82" fmla="*/ 431 w 641"/>
                <a:gd name="T83" fmla="*/ 622 h 641"/>
                <a:gd name="T84" fmla="*/ 385 w 641"/>
                <a:gd name="T85" fmla="*/ 635 h 641"/>
                <a:gd name="T86" fmla="*/ 337 w 641"/>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321" y="641"/>
                  </a:moveTo>
                  <a:lnTo>
                    <a:pt x="321" y="641"/>
                  </a:lnTo>
                  <a:lnTo>
                    <a:pt x="304" y="641"/>
                  </a:lnTo>
                  <a:lnTo>
                    <a:pt x="287" y="640"/>
                  </a:lnTo>
                  <a:lnTo>
                    <a:pt x="272" y="637"/>
                  </a:lnTo>
                  <a:lnTo>
                    <a:pt x="256" y="635"/>
                  </a:lnTo>
                  <a:lnTo>
                    <a:pt x="240" y="631"/>
                  </a:lnTo>
                  <a:lnTo>
                    <a:pt x="226" y="627"/>
                  </a:lnTo>
                  <a:lnTo>
                    <a:pt x="210" y="622"/>
                  </a:lnTo>
                  <a:lnTo>
                    <a:pt x="196" y="616"/>
                  </a:lnTo>
                  <a:lnTo>
                    <a:pt x="181" y="610"/>
                  </a:lnTo>
                  <a:lnTo>
                    <a:pt x="168" y="602"/>
                  </a:lnTo>
                  <a:lnTo>
                    <a:pt x="155" y="595"/>
                  </a:lnTo>
                  <a:lnTo>
                    <a:pt x="141" y="587"/>
                  </a:lnTo>
                  <a:lnTo>
                    <a:pt x="129" y="577"/>
                  </a:lnTo>
                  <a:lnTo>
                    <a:pt x="117" y="567"/>
                  </a:lnTo>
                  <a:lnTo>
                    <a:pt x="105" y="558"/>
                  </a:lnTo>
                  <a:lnTo>
                    <a:pt x="94" y="547"/>
                  </a:lnTo>
                  <a:lnTo>
                    <a:pt x="83" y="536"/>
                  </a:lnTo>
                  <a:lnTo>
                    <a:pt x="74" y="524"/>
                  </a:lnTo>
                  <a:lnTo>
                    <a:pt x="64" y="512"/>
                  </a:lnTo>
                  <a:lnTo>
                    <a:pt x="54" y="500"/>
                  </a:lnTo>
                  <a:lnTo>
                    <a:pt x="46" y="487"/>
                  </a:lnTo>
                  <a:lnTo>
                    <a:pt x="39" y="473"/>
                  </a:lnTo>
                  <a:lnTo>
                    <a:pt x="31" y="460"/>
                  </a:lnTo>
                  <a:lnTo>
                    <a:pt x="25" y="446"/>
                  </a:lnTo>
                  <a:lnTo>
                    <a:pt x="19" y="431"/>
                  </a:lnTo>
                  <a:lnTo>
                    <a:pt x="15" y="415"/>
                  </a:lnTo>
                  <a:lnTo>
                    <a:pt x="10" y="401"/>
                  </a:lnTo>
                  <a:lnTo>
                    <a:pt x="6" y="385"/>
                  </a:lnTo>
                  <a:lnTo>
                    <a:pt x="4" y="370"/>
                  </a:lnTo>
                  <a:lnTo>
                    <a:pt x="1" y="354"/>
                  </a:lnTo>
                  <a:lnTo>
                    <a:pt x="0" y="337"/>
                  </a:lnTo>
                  <a:lnTo>
                    <a:pt x="0" y="320"/>
                  </a:lnTo>
                  <a:lnTo>
                    <a:pt x="0" y="320"/>
                  </a:lnTo>
                  <a:lnTo>
                    <a:pt x="0" y="304"/>
                  </a:lnTo>
                  <a:lnTo>
                    <a:pt x="1" y="287"/>
                  </a:lnTo>
                  <a:lnTo>
                    <a:pt x="4" y="272"/>
                  </a:lnTo>
                  <a:lnTo>
                    <a:pt x="6" y="256"/>
                  </a:lnTo>
                  <a:lnTo>
                    <a:pt x="10" y="240"/>
                  </a:lnTo>
                  <a:lnTo>
                    <a:pt x="15" y="226"/>
                  </a:lnTo>
                  <a:lnTo>
                    <a:pt x="19" y="210"/>
                  </a:lnTo>
                  <a:lnTo>
                    <a:pt x="25" y="196"/>
                  </a:lnTo>
                  <a:lnTo>
                    <a:pt x="31" y="181"/>
                  </a:lnTo>
                  <a:lnTo>
                    <a:pt x="39" y="168"/>
                  </a:lnTo>
                  <a:lnTo>
                    <a:pt x="46" y="155"/>
                  </a:lnTo>
                  <a:lnTo>
                    <a:pt x="54" y="141"/>
                  </a:lnTo>
                  <a:lnTo>
                    <a:pt x="64" y="129"/>
                  </a:lnTo>
                  <a:lnTo>
                    <a:pt x="74" y="117"/>
                  </a:lnTo>
                  <a:lnTo>
                    <a:pt x="83" y="105"/>
                  </a:lnTo>
                  <a:lnTo>
                    <a:pt x="94" y="94"/>
                  </a:lnTo>
                  <a:lnTo>
                    <a:pt x="105" y="84"/>
                  </a:lnTo>
                  <a:lnTo>
                    <a:pt x="117" y="74"/>
                  </a:lnTo>
                  <a:lnTo>
                    <a:pt x="129" y="64"/>
                  </a:lnTo>
                  <a:lnTo>
                    <a:pt x="141" y="55"/>
                  </a:lnTo>
                  <a:lnTo>
                    <a:pt x="155" y="46"/>
                  </a:lnTo>
                  <a:lnTo>
                    <a:pt x="168" y="39"/>
                  </a:lnTo>
                  <a:lnTo>
                    <a:pt x="181" y="32"/>
                  </a:lnTo>
                  <a:lnTo>
                    <a:pt x="196" y="26"/>
                  </a:lnTo>
                  <a:lnTo>
                    <a:pt x="210" y="20"/>
                  </a:lnTo>
                  <a:lnTo>
                    <a:pt x="226" y="15"/>
                  </a:lnTo>
                  <a:lnTo>
                    <a:pt x="240" y="10"/>
                  </a:lnTo>
                  <a:lnTo>
                    <a:pt x="256" y="6"/>
                  </a:lnTo>
                  <a:lnTo>
                    <a:pt x="272" y="4"/>
                  </a:lnTo>
                  <a:lnTo>
                    <a:pt x="287" y="1"/>
                  </a:lnTo>
                  <a:lnTo>
                    <a:pt x="304" y="0"/>
                  </a:lnTo>
                  <a:lnTo>
                    <a:pt x="321" y="0"/>
                  </a:lnTo>
                  <a:lnTo>
                    <a:pt x="321" y="0"/>
                  </a:lnTo>
                  <a:lnTo>
                    <a:pt x="337" y="0"/>
                  </a:lnTo>
                  <a:lnTo>
                    <a:pt x="354" y="1"/>
                  </a:lnTo>
                  <a:lnTo>
                    <a:pt x="369" y="4"/>
                  </a:lnTo>
                  <a:lnTo>
                    <a:pt x="385" y="6"/>
                  </a:lnTo>
                  <a:lnTo>
                    <a:pt x="401" y="10"/>
                  </a:lnTo>
                  <a:lnTo>
                    <a:pt x="415" y="15"/>
                  </a:lnTo>
                  <a:lnTo>
                    <a:pt x="431" y="20"/>
                  </a:lnTo>
                  <a:lnTo>
                    <a:pt x="445" y="26"/>
                  </a:lnTo>
                  <a:lnTo>
                    <a:pt x="460" y="32"/>
                  </a:lnTo>
                  <a:lnTo>
                    <a:pt x="473" y="39"/>
                  </a:lnTo>
                  <a:lnTo>
                    <a:pt x="486" y="46"/>
                  </a:lnTo>
                  <a:lnTo>
                    <a:pt x="500" y="55"/>
                  </a:lnTo>
                  <a:lnTo>
                    <a:pt x="512" y="64"/>
                  </a:lnTo>
                  <a:lnTo>
                    <a:pt x="524" y="74"/>
                  </a:lnTo>
                  <a:lnTo>
                    <a:pt x="536" y="84"/>
                  </a:lnTo>
                  <a:lnTo>
                    <a:pt x="547" y="94"/>
                  </a:lnTo>
                  <a:lnTo>
                    <a:pt x="558" y="105"/>
                  </a:lnTo>
                  <a:lnTo>
                    <a:pt x="567" y="117"/>
                  </a:lnTo>
                  <a:lnTo>
                    <a:pt x="577" y="129"/>
                  </a:lnTo>
                  <a:lnTo>
                    <a:pt x="587" y="141"/>
                  </a:lnTo>
                  <a:lnTo>
                    <a:pt x="595" y="155"/>
                  </a:lnTo>
                  <a:lnTo>
                    <a:pt x="602" y="168"/>
                  </a:lnTo>
                  <a:lnTo>
                    <a:pt x="610" y="181"/>
                  </a:lnTo>
                  <a:lnTo>
                    <a:pt x="616" y="196"/>
                  </a:lnTo>
                  <a:lnTo>
                    <a:pt x="622" y="210"/>
                  </a:lnTo>
                  <a:lnTo>
                    <a:pt x="626" y="226"/>
                  </a:lnTo>
                  <a:lnTo>
                    <a:pt x="631" y="240"/>
                  </a:lnTo>
                  <a:lnTo>
                    <a:pt x="635" y="256"/>
                  </a:lnTo>
                  <a:lnTo>
                    <a:pt x="637" y="272"/>
                  </a:lnTo>
                  <a:lnTo>
                    <a:pt x="640" y="287"/>
                  </a:lnTo>
                  <a:lnTo>
                    <a:pt x="641" y="304"/>
                  </a:lnTo>
                  <a:lnTo>
                    <a:pt x="641" y="320"/>
                  </a:lnTo>
                  <a:lnTo>
                    <a:pt x="641" y="320"/>
                  </a:lnTo>
                  <a:lnTo>
                    <a:pt x="641" y="337"/>
                  </a:lnTo>
                  <a:lnTo>
                    <a:pt x="640" y="354"/>
                  </a:lnTo>
                  <a:lnTo>
                    <a:pt x="637" y="370"/>
                  </a:lnTo>
                  <a:lnTo>
                    <a:pt x="635" y="385"/>
                  </a:lnTo>
                  <a:lnTo>
                    <a:pt x="631" y="401"/>
                  </a:lnTo>
                  <a:lnTo>
                    <a:pt x="626" y="415"/>
                  </a:lnTo>
                  <a:lnTo>
                    <a:pt x="622" y="431"/>
                  </a:lnTo>
                  <a:lnTo>
                    <a:pt x="616" y="446"/>
                  </a:lnTo>
                  <a:lnTo>
                    <a:pt x="610" y="460"/>
                  </a:lnTo>
                  <a:lnTo>
                    <a:pt x="602" y="473"/>
                  </a:lnTo>
                  <a:lnTo>
                    <a:pt x="595" y="487"/>
                  </a:lnTo>
                  <a:lnTo>
                    <a:pt x="587" y="500"/>
                  </a:lnTo>
                  <a:lnTo>
                    <a:pt x="577" y="512"/>
                  </a:lnTo>
                  <a:lnTo>
                    <a:pt x="567" y="524"/>
                  </a:lnTo>
                  <a:lnTo>
                    <a:pt x="558" y="536"/>
                  </a:lnTo>
                  <a:lnTo>
                    <a:pt x="547" y="547"/>
                  </a:lnTo>
                  <a:lnTo>
                    <a:pt x="536" y="558"/>
                  </a:lnTo>
                  <a:lnTo>
                    <a:pt x="524" y="567"/>
                  </a:lnTo>
                  <a:lnTo>
                    <a:pt x="512" y="577"/>
                  </a:lnTo>
                  <a:lnTo>
                    <a:pt x="500" y="587"/>
                  </a:lnTo>
                  <a:lnTo>
                    <a:pt x="486" y="595"/>
                  </a:lnTo>
                  <a:lnTo>
                    <a:pt x="473" y="602"/>
                  </a:lnTo>
                  <a:lnTo>
                    <a:pt x="460" y="610"/>
                  </a:lnTo>
                  <a:lnTo>
                    <a:pt x="445" y="616"/>
                  </a:lnTo>
                  <a:lnTo>
                    <a:pt x="431" y="622"/>
                  </a:lnTo>
                  <a:lnTo>
                    <a:pt x="415" y="627"/>
                  </a:lnTo>
                  <a:lnTo>
                    <a:pt x="401" y="631"/>
                  </a:lnTo>
                  <a:lnTo>
                    <a:pt x="385" y="635"/>
                  </a:lnTo>
                  <a:lnTo>
                    <a:pt x="369" y="637"/>
                  </a:lnTo>
                  <a:lnTo>
                    <a:pt x="354" y="640"/>
                  </a:lnTo>
                  <a:lnTo>
                    <a:pt x="337"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5" name="Freeform 21"/>
            <p:cNvSpPr>
              <a:spLocks/>
            </p:cNvSpPr>
            <p:nvPr/>
          </p:nvSpPr>
          <p:spPr bwMode="auto">
            <a:xfrm flipH="1">
              <a:off x="10340985" y="6386520"/>
              <a:ext cx="144463" cy="142876"/>
            </a:xfrm>
            <a:custGeom>
              <a:avLst/>
              <a:gdLst>
                <a:gd name="T0" fmla="*/ 182 w 363"/>
                <a:gd name="T1" fmla="*/ 363 h 363"/>
                <a:gd name="T2" fmla="*/ 145 w 363"/>
                <a:gd name="T3" fmla="*/ 360 h 363"/>
                <a:gd name="T4" fmla="*/ 111 w 363"/>
                <a:gd name="T5" fmla="*/ 349 h 363"/>
                <a:gd name="T6" fmla="*/ 80 w 363"/>
                <a:gd name="T7" fmla="*/ 332 h 363"/>
                <a:gd name="T8" fmla="*/ 53 w 363"/>
                <a:gd name="T9" fmla="*/ 310 h 363"/>
                <a:gd name="T10" fmla="*/ 31 w 363"/>
                <a:gd name="T11" fmla="*/ 284 h 363"/>
                <a:gd name="T12" fmla="*/ 14 w 363"/>
                <a:gd name="T13" fmla="*/ 252 h 363"/>
                <a:gd name="T14" fmla="*/ 4 w 363"/>
                <a:gd name="T15" fmla="*/ 218 h 363"/>
                <a:gd name="T16" fmla="*/ 0 w 363"/>
                <a:gd name="T17" fmla="*/ 181 h 363"/>
                <a:gd name="T18" fmla="*/ 1 w 363"/>
                <a:gd name="T19" fmla="*/ 163 h 363"/>
                <a:gd name="T20" fmla="*/ 8 w 363"/>
                <a:gd name="T21" fmla="*/ 128 h 363"/>
                <a:gd name="T22" fmla="*/ 22 w 363"/>
                <a:gd name="T23" fmla="*/ 95 h 363"/>
                <a:gd name="T24" fmla="*/ 41 w 363"/>
                <a:gd name="T25" fmla="*/ 66 h 363"/>
                <a:gd name="T26" fmla="*/ 66 w 363"/>
                <a:gd name="T27" fmla="*/ 41 h 363"/>
                <a:gd name="T28" fmla="*/ 95 w 363"/>
                <a:gd name="T29" fmla="*/ 22 h 363"/>
                <a:gd name="T30" fmla="*/ 128 w 363"/>
                <a:gd name="T31" fmla="*/ 8 h 363"/>
                <a:gd name="T32" fmla="*/ 163 w 363"/>
                <a:gd name="T33" fmla="*/ 1 h 363"/>
                <a:gd name="T34" fmla="*/ 182 w 363"/>
                <a:gd name="T35" fmla="*/ 0 h 363"/>
                <a:gd name="T36" fmla="*/ 218 w 363"/>
                <a:gd name="T37" fmla="*/ 4 h 363"/>
                <a:gd name="T38" fmla="*/ 252 w 363"/>
                <a:gd name="T39" fmla="*/ 15 h 363"/>
                <a:gd name="T40" fmla="*/ 283 w 363"/>
                <a:gd name="T41" fmla="*/ 31 h 363"/>
                <a:gd name="T42" fmla="*/ 310 w 363"/>
                <a:gd name="T43" fmla="*/ 53 h 363"/>
                <a:gd name="T44" fmla="*/ 332 w 363"/>
                <a:gd name="T45" fmla="*/ 80 h 363"/>
                <a:gd name="T46" fmla="*/ 349 w 363"/>
                <a:gd name="T47" fmla="*/ 111 h 363"/>
                <a:gd name="T48" fmla="*/ 360 w 363"/>
                <a:gd name="T49" fmla="*/ 145 h 363"/>
                <a:gd name="T50" fmla="*/ 363 w 363"/>
                <a:gd name="T51" fmla="*/ 181 h 363"/>
                <a:gd name="T52" fmla="*/ 362 w 363"/>
                <a:gd name="T53" fmla="*/ 200 h 363"/>
                <a:gd name="T54" fmla="*/ 355 w 363"/>
                <a:gd name="T55" fmla="*/ 235 h 363"/>
                <a:gd name="T56" fmla="*/ 341 w 363"/>
                <a:gd name="T57" fmla="*/ 268 h 363"/>
                <a:gd name="T58" fmla="*/ 322 w 363"/>
                <a:gd name="T59" fmla="*/ 297 h 363"/>
                <a:gd name="T60" fmla="*/ 297 w 363"/>
                <a:gd name="T61" fmla="*/ 322 h 363"/>
                <a:gd name="T62" fmla="*/ 268 w 363"/>
                <a:gd name="T63" fmla="*/ 342 h 363"/>
                <a:gd name="T64" fmla="*/ 235 w 363"/>
                <a:gd name="T65" fmla="*/ 355 h 363"/>
                <a:gd name="T66" fmla="*/ 200 w 363"/>
                <a:gd name="T67" fmla="*/ 362 h 363"/>
                <a:gd name="T68" fmla="*/ 182 w 363"/>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182" y="363"/>
                  </a:moveTo>
                  <a:lnTo>
                    <a:pt x="182" y="363"/>
                  </a:lnTo>
                  <a:lnTo>
                    <a:pt x="163" y="362"/>
                  </a:lnTo>
                  <a:lnTo>
                    <a:pt x="145" y="360"/>
                  </a:lnTo>
                  <a:lnTo>
                    <a:pt x="128" y="355"/>
                  </a:lnTo>
                  <a:lnTo>
                    <a:pt x="111" y="349"/>
                  </a:lnTo>
                  <a:lnTo>
                    <a:pt x="95" y="342"/>
                  </a:lnTo>
                  <a:lnTo>
                    <a:pt x="80" y="332"/>
                  </a:lnTo>
                  <a:lnTo>
                    <a:pt x="66" y="322"/>
                  </a:lnTo>
                  <a:lnTo>
                    <a:pt x="53" y="310"/>
                  </a:lnTo>
                  <a:lnTo>
                    <a:pt x="41" y="297"/>
                  </a:lnTo>
                  <a:lnTo>
                    <a:pt x="31" y="284"/>
                  </a:lnTo>
                  <a:lnTo>
                    <a:pt x="22" y="268"/>
                  </a:lnTo>
                  <a:lnTo>
                    <a:pt x="14" y="252"/>
                  </a:lnTo>
                  <a:lnTo>
                    <a:pt x="8" y="235"/>
                  </a:lnTo>
                  <a:lnTo>
                    <a:pt x="4" y="218"/>
                  </a:lnTo>
                  <a:lnTo>
                    <a:pt x="1" y="200"/>
                  </a:lnTo>
                  <a:lnTo>
                    <a:pt x="0" y="181"/>
                  </a:lnTo>
                  <a:lnTo>
                    <a:pt x="0" y="181"/>
                  </a:lnTo>
                  <a:lnTo>
                    <a:pt x="1" y="163"/>
                  </a:lnTo>
                  <a:lnTo>
                    <a:pt x="4" y="145"/>
                  </a:lnTo>
                  <a:lnTo>
                    <a:pt x="8" y="128"/>
                  </a:lnTo>
                  <a:lnTo>
                    <a:pt x="14" y="111"/>
                  </a:lnTo>
                  <a:lnTo>
                    <a:pt x="22" y="95"/>
                  </a:lnTo>
                  <a:lnTo>
                    <a:pt x="31" y="80"/>
                  </a:lnTo>
                  <a:lnTo>
                    <a:pt x="41" y="66"/>
                  </a:lnTo>
                  <a:lnTo>
                    <a:pt x="53" y="53"/>
                  </a:lnTo>
                  <a:lnTo>
                    <a:pt x="66" y="41"/>
                  </a:lnTo>
                  <a:lnTo>
                    <a:pt x="80" y="31"/>
                  </a:lnTo>
                  <a:lnTo>
                    <a:pt x="95" y="22"/>
                  </a:lnTo>
                  <a:lnTo>
                    <a:pt x="111" y="15"/>
                  </a:lnTo>
                  <a:lnTo>
                    <a:pt x="128" y="8"/>
                  </a:lnTo>
                  <a:lnTo>
                    <a:pt x="145" y="4"/>
                  </a:lnTo>
                  <a:lnTo>
                    <a:pt x="163" y="1"/>
                  </a:lnTo>
                  <a:lnTo>
                    <a:pt x="182" y="0"/>
                  </a:lnTo>
                  <a:lnTo>
                    <a:pt x="182" y="0"/>
                  </a:lnTo>
                  <a:lnTo>
                    <a:pt x="200" y="1"/>
                  </a:lnTo>
                  <a:lnTo>
                    <a:pt x="218" y="4"/>
                  </a:lnTo>
                  <a:lnTo>
                    <a:pt x="235" y="8"/>
                  </a:lnTo>
                  <a:lnTo>
                    <a:pt x="252" y="15"/>
                  </a:lnTo>
                  <a:lnTo>
                    <a:pt x="268" y="22"/>
                  </a:lnTo>
                  <a:lnTo>
                    <a:pt x="283" y="31"/>
                  </a:lnTo>
                  <a:lnTo>
                    <a:pt x="297" y="41"/>
                  </a:lnTo>
                  <a:lnTo>
                    <a:pt x="310" y="53"/>
                  </a:lnTo>
                  <a:lnTo>
                    <a:pt x="322" y="66"/>
                  </a:lnTo>
                  <a:lnTo>
                    <a:pt x="332" y="80"/>
                  </a:lnTo>
                  <a:lnTo>
                    <a:pt x="341" y="95"/>
                  </a:lnTo>
                  <a:lnTo>
                    <a:pt x="349" y="111"/>
                  </a:lnTo>
                  <a:lnTo>
                    <a:pt x="355" y="128"/>
                  </a:lnTo>
                  <a:lnTo>
                    <a:pt x="360" y="145"/>
                  </a:lnTo>
                  <a:lnTo>
                    <a:pt x="362" y="163"/>
                  </a:lnTo>
                  <a:lnTo>
                    <a:pt x="363" y="181"/>
                  </a:lnTo>
                  <a:lnTo>
                    <a:pt x="363" y="181"/>
                  </a:lnTo>
                  <a:lnTo>
                    <a:pt x="362" y="200"/>
                  </a:lnTo>
                  <a:lnTo>
                    <a:pt x="360" y="218"/>
                  </a:lnTo>
                  <a:lnTo>
                    <a:pt x="355" y="235"/>
                  </a:lnTo>
                  <a:lnTo>
                    <a:pt x="349" y="252"/>
                  </a:lnTo>
                  <a:lnTo>
                    <a:pt x="341" y="268"/>
                  </a:lnTo>
                  <a:lnTo>
                    <a:pt x="332" y="284"/>
                  </a:lnTo>
                  <a:lnTo>
                    <a:pt x="322" y="297"/>
                  </a:lnTo>
                  <a:lnTo>
                    <a:pt x="310" y="310"/>
                  </a:lnTo>
                  <a:lnTo>
                    <a:pt x="297" y="322"/>
                  </a:lnTo>
                  <a:lnTo>
                    <a:pt x="283" y="332"/>
                  </a:lnTo>
                  <a:lnTo>
                    <a:pt x="268" y="342"/>
                  </a:lnTo>
                  <a:lnTo>
                    <a:pt x="252" y="349"/>
                  </a:lnTo>
                  <a:lnTo>
                    <a:pt x="235" y="355"/>
                  </a:lnTo>
                  <a:lnTo>
                    <a:pt x="218"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6" name="Freeform 22"/>
            <p:cNvSpPr>
              <a:spLocks/>
            </p:cNvSpPr>
            <p:nvPr/>
          </p:nvSpPr>
          <p:spPr bwMode="auto">
            <a:xfrm flipH="1">
              <a:off x="10071110" y="5761042"/>
              <a:ext cx="1993902" cy="681038"/>
            </a:xfrm>
            <a:custGeom>
              <a:avLst/>
              <a:gdLst>
                <a:gd name="T0" fmla="*/ 1502 w 5024"/>
                <a:gd name="T1" fmla="*/ 719 h 1716"/>
                <a:gd name="T2" fmla="*/ 1488 w 5024"/>
                <a:gd name="T3" fmla="*/ 0 h 1716"/>
                <a:gd name="T4" fmla="*/ 1210 w 5024"/>
                <a:gd name="T5" fmla="*/ 16 h 1716"/>
                <a:gd name="T6" fmla="*/ 866 w 5024"/>
                <a:gd name="T7" fmla="*/ 70 h 1716"/>
                <a:gd name="T8" fmla="*/ 580 w 5024"/>
                <a:gd name="T9" fmla="*/ 183 h 1716"/>
                <a:gd name="T10" fmla="*/ 447 w 5024"/>
                <a:gd name="T11" fmla="*/ 286 h 1716"/>
                <a:gd name="T12" fmla="*/ 309 w 5024"/>
                <a:gd name="T13" fmla="*/ 447 h 1716"/>
                <a:gd name="T14" fmla="*/ 197 w 5024"/>
                <a:gd name="T15" fmla="*/ 638 h 1716"/>
                <a:gd name="T16" fmla="*/ 95 w 5024"/>
                <a:gd name="T17" fmla="*/ 883 h 1716"/>
                <a:gd name="T18" fmla="*/ 14 w 5024"/>
                <a:gd name="T19" fmla="*/ 1205 h 1716"/>
                <a:gd name="T20" fmla="*/ 13 w 5024"/>
                <a:gd name="T21" fmla="*/ 1280 h 1716"/>
                <a:gd name="T22" fmla="*/ 54 w 5024"/>
                <a:gd name="T23" fmla="*/ 1279 h 1716"/>
                <a:gd name="T24" fmla="*/ 136 w 5024"/>
                <a:gd name="T25" fmla="*/ 1225 h 1716"/>
                <a:gd name="T26" fmla="*/ 206 w 5024"/>
                <a:gd name="T27" fmla="*/ 1210 h 1716"/>
                <a:gd name="T28" fmla="*/ 252 w 5024"/>
                <a:gd name="T29" fmla="*/ 1232 h 1716"/>
                <a:gd name="T30" fmla="*/ 273 w 5024"/>
                <a:gd name="T31" fmla="*/ 1269 h 1716"/>
                <a:gd name="T32" fmla="*/ 267 w 5024"/>
                <a:gd name="T33" fmla="*/ 1355 h 1716"/>
                <a:gd name="T34" fmla="*/ 258 w 5024"/>
                <a:gd name="T35" fmla="*/ 1392 h 1716"/>
                <a:gd name="T36" fmla="*/ 1 w 5024"/>
                <a:gd name="T37" fmla="*/ 1401 h 1716"/>
                <a:gd name="T38" fmla="*/ 268 w 5024"/>
                <a:gd name="T39" fmla="*/ 1486 h 1716"/>
                <a:gd name="T40" fmla="*/ 286 w 5024"/>
                <a:gd name="T41" fmla="*/ 1512 h 1716"/>
                <a:gd name="T42" fmla="*/ 278 w 5024"/>
                <a:gd name="T43" fmla="*/ 1553 h 1716"/>
                <a:gd name="T44" fmla="*/ 5 w 5024"/>
                <a:gd name="T45" fmla="*/ 1561 h 1716"/>
                <a:gd name="T46" fmla="*/ 16 w 5024"/>
                <a:gd name="T47" fmla="*/ 1653 h 1716"/>
                <a:gd name="T48" fmla="*/ 54 w 5024"/>
                <a:gd name="T49" fmla="*/ 1695 h 1716"/>
                <a:gd name="T50" fmla="*/ 170 w 5024"/>
                <a:gd name="T51" fmla="*/ 1716 h 1716"/>
                <a:gd name="T52" fmla="*/ 366 w 5024"/>
                <a:gd name="T53" fmla="*/ 1711 h 1716"/>
                <a:gd name="T54" fmla="*/ 392 w 5024"/>
                <a:gd name="T55" fmla="*/ 1603 h 1716"/>
                <a:gd name="T56" fmla="*/ 447 w 5024"/>
                <a:gd name="T57" fmla="*/ 1509 h 1716"/>
                <a:gd name="T58" fmla="*/ 523 w 5024"/>
                <a:gd name="T59" fmla="*/ 1433 h 1716"/>
                <a:gd name="T60" fmla="*/ 618 w 5024"/>
                <a:gd name="T61" fmla="*/ 1380 h 1716"/>
                <a:gd name="T62" fmla="*/ 725 w 5024"/>
                <a:gd name="T63" fmla="*/ 1355 h 1716"/>
                <a:gd name="T64" fmla="*/ 821 w 5024"/>
                <a:gd name="T65" fmla="*/ 1357 h 1716"/>
                <a:gd name="T66" fmla="*/ 928 w 5024"/>
                <a:gd name="T67" fmla="*/ 1389 h 1716"/>
                <a:gd name="T68" fmla="*/ 1020 w 5024"/>
                <a:gd name="T69" fmla="*/ 1445 h 1716"/>
                <a:gd name="T70" fmla="*/ 1092 w 5024"/>
                <a:gd name="T71" fmla="*/ 1525 h 1716"/>
                <a:gd name="T72" fmla="*/ 1142 w 5024"/>
                <a:gd name="T73" fmla="*/ 1622 h 1716"/>
                <a:gd name="T74" fmla="*/ 1162 w 5024"/>
                <a:gd name="T75" fmla="*/ 1713 h 1716"/>
                <a:gd name="T76" fmla="*/ 2758 w 5024"/>
                <a:gd name="T77" fmla="*/ 1640 h 1716"/>
                <a:gd name="T78" fmla="*/ 2802 w 5024"/>
                <a:gd name="T79" fmla="*/ 1539 h 1716"/>
                <a:gd name="T80" fmla="*/ 2872 w 5024"/>
                <a:gd name="T81" fmla="*/ 1457 h 1716"/>
                <a:gd name="T82" fmla="*/ 2960 w 5024"/>
                <a:gd name="T83" fmla="*/ 1396 h 1716"/>
                <a:gd name="T84" fmla="*/ 3065 w 5024"/>
                <a:gd name="T85" fmla="*/ 1361 h 1716"/>
                <a:gd name="T86" fmla="*/ 3161 w 5024"/>
                <a:gd name="T87" fmla="*/ 1354 h 1716"/>
                <a:gd name="T88" fmla="*/ 3270 w 5024"/>
                <a:gd name="T89" fmla="*/ 1374 h 1716"/>
                <a:gd name="T90" fmla="*/ 3368 w 5024"/>
                <a:gd name="T91" fmla="*/ 1424 h 1716"/>
                <a:gd name="T92" fmla="*/ 3448 w 5024"/>
                <a:gd name="T93" fmla="*/ 1496 h 1716"/>
                <a:gd name="T94" fmla="*/ 3506 w 5024"/>
                <a:gd name="T95" fmla="*/ 1588 h 1716"/>
                <a:gd name="T96" fmla="*/ 3537 w 5024"/>
                <a:gd name="T97" fmla="*/ 1694 h 1716"/>
                <a:gd name="T98" fmla="*/ 3768 w 5024"/>
                <a:gd name="T99" fmla="*/ 1676 h 1716"/>
                <a:gd name="T100" fmla="*/ 3804 w 5024"/>
                <a:gd name="T101" fmla="*/ 1571 h 1716"/>
                <a:gd name="T102" fmla="*/ 3865 w 5024"/>
                <a:gd name="T103" fmla="*/ 1483 h 1716"/>
                <a:gd name="T104" fmla="*/ 3949 w 5024"/>
                <a:gd name="T105" fmla="*/ 1414 h 1716"/>
                <a:gd name="T106" fmla="*/ 4049 w 5024"/>
                <a:gd name="T107" fmla="*/ 1369 h 1716"/>
                <a:gd name="T108" fmla="*/ 4161 w 5024"/>
                <a:gd name="T109" fmla="*/ 1354 h 1716"/>
                <a:gd name="T110" fmla="*/ 4255 w 5024"/>
                <a:gd name="T111" fmla="*/ 1365 h 1716"/>
                <a:gd name="T112" fmla="*/ 4357 w 5024"/>
                <a:gd name="T113" fmla="*/ 1404 h 1716"/>
                <a:gd name="T114" fmla="*/ 4444 w 5024"/>
                <a:gd name="T115" fmla="*/ 1469 h 1716"/>
                <a:gd name="T116" fmla="*/ 4509 w 5024"/>
                <a:gd name="T117" fmla="*/ 1555 h 1716"/>
                <a:gd name="T118" fmla="*/ 4550 w 5024"/>
                <a:gd name="T119" fmla="*/ 1658 h 1716"/>
                <a:gd name="T120" fmla="*/ 4796 w 5024"/>
                <a:gd name="T121" fmla="*/ 1713 h 1716"/>
                <a:gd name="T122" fmla="*/ 4812 w 5024"/>
                <a:gd name="T123" fmla="*/ 1595 h 1716"/>
                <a:gd name="T124" fmla="*/ 4926 w 5024"/>
                <a:gd name="T125" fmla="*/ 1309 h 1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24" h="1716">
                  <a:moveTo>
                    <a:pt x="5024" y="1126"/>
                  </a:moveTo>
                  <a:lnTo>
                    <a:pt x="1499" y="1123"/>
                  </a:lnTo>
                  <a:lnTo>
                    <a:pt x="1499" y="1123"/>
                  </a:lnTo>
                  <a:lnTo>
                    <a:pt x="1500" y="1007"/>
                  </a:lnTo>
                  <a:lnTo>
                    <a:pt x="1501" y="878"/>
                  </a:lnTo>
                  <a:lnTo>
                    <a:pt x="1502" y="719"/>
                  </a:lnTo>
                  <a:lnTo>
                    <a:pt x="1502" y="539"/>
                  </a:lnTo>
                  <a:lnTo>
                    <a:pt x="1500" y="352"/>
                  </a:lnTo>
                  <a:lnTo>
                    <a:pt x="1498" y="259"/>
                  </a:lnTo>
                  <a:lnTo>
                    <a:pt x="1495" y="169"/>
                  </a:lnTo>
                  <a:lnTo>
                    <a:pt x="1493" y="82"/>
                  </a:lnTo>
                  <a:lnTo>
                    <a:pt x="1488" y="0"/>
                  </a:lnTo>
                  <a:lnTo>
                    <a:pt x="1488" y="0"/>
                  </a:lnTo>
                  <a:lnTo>
                    <a:pt x="1478" y="0"/>
                  </a:lnTo>
                  <a:lnTo>
                    <a:pt x="1478" y="0"/>
                  </a:lnTo>
                  <a:lnTo>
                    <a:pt x="1341" y="7"/>
                  </a:lnTo>
                  <a:lnTo>
                    <a:pt x="1274" y="11"/>
                  </a:lnTo>
                  <a:lnTo>
                    <a:pt x="1210" y="16"/>
                  </a:lnTo>
                  <a:lnTo>
                    <a:pt x="1149" y="22"/>
                  </a:lnTo>
                  <a:lnTo>
                    <a:pt x="1089" y="29"/>
                  </a:lnTo>
                  <a:lnTo>
                    <a:pt x="1031" y="37"/>
                  </a:lnTo>
                  <a:lnTo>
                    <a:pt x="974" y="46"/>
                  </a:lnTo>
                  <a:lnTo>
                    <a:pt x="920" y="57"/>
                  </a:lnTo>
                  <a:lnTo>
                    <a:pt x="866" y="70"/>
                  </a:lnTo>
                  <a:lnTo>
                    <a:pt x="815" y="83"/>
                  </a:lnTo>
                  <a:lnTo>
                    <a:pt x="765" y="99"/>
                  </a:lnTo>
                  <a:lnTo>
                    <a:pt x="717" y="117"/>
                  </a:lnTo>
                  <a:lnTo>
                    <a:pt x="670" y="137"/>
                  </a:lnTo>
                  <a:lnTo>
                    <a:pt x="625" y="159"/>
                  </a:lnTo>
                  <a:lnTo>
                    <a:pt x="580" y="183"/>
                  </a:lnTo>
                  <a:lnTo>
                    <a:pt x="580" y="183"/>
                  </a:lnTo>
                  <a:lnTo>
                    <a:pt x="553" y="201"/>
                  </a:lnTo>
                  <a:lnTo>
                    <a:pt x="525" y="221"/>
                  </a:lnTo>
                  <a:lnTo>
                    <a:pt x="498" y="241"/>
                  </a:lnTo>
                  <a:lnTo>
                    <a:pt x="472" y="263"/>
                  </a:lnTo>
                  <a:lnTo>
                    <a:pt x="447" y="286"/>
                  </a:lnTo>
                  <a:lnTo>
                    <a:pt x="422" y="310"/>
                  </a:lnTo>
                  <a:lnTo>
                    <a:pt x="398" y="335"/>
                  </a:lnTo>
                  <a:lnTo>
                    <a:pt x="375" y="362"/>
                  </a:lnTo>
                  <a:lnTo>
                    <a:pt x="352" y="390"/>
                  </a:lnTo>
                  <a:lnTo>
                    <a:pt x="331" y="419"/>
                  </a:lnTo>
                  <a:lnTo>
                    <a:pt x="309" y="447"/>
                  </a:lnTo>
                  <a:lnTo>
                    <a:pt x="288" y="478"/>
                  </a:lnTo>
                  <a:lnTo>
                    <a:pt x="269" y="508"/>
                  </a:lnTo>
                  <a:lnTo>
                    <a:pt x="250" y="540"/>
                  </a:lnTo>
                  <a:lnTo>
                    <a:pt x="232" y="572"/>
                  </a:lnTo>
                  <a:lnTo>
                    <a:pt x="214" y="606"/>
                  </a:lnTo>
                  <a:lnTo>
                    <a:pt x="197" y="638"/>
                  </a:lnTo>
                  <a:lnTo>
                    <a:pt x="180" y="672"/>
                  </a:lnTo>
                  <a:lnTo>
                    <a:pt x="164" y="707"/>
                  </a:lnTo>
                  <a:lnTo>
                    <a:pt x="150" y="742"/>
                  </a:lnTo>
                  <a:lnTo>
                    <a:pt x="135" y="777"/>
                  </a:lnTo>
                  <a:lnTo>
                    <a:pt x="121" y="812"/>
                  </a:lnTo>
                  <a:lnTo>
                    <a:pt x="95" y="883"/>
                  </a:lnTo>
                  <a:lnTo>
                    <a:pt x="72" y="954"/>
                  </a:lnTo>
                  <a:lnTo>
                    <a:pt x="53" y="1027"/>
                  </a:lnTo>
                  <a:lnTo>
                    <a:pt x="35" y="1098"/>
                  </a:lnTo>
                  <a:lnTo>
                    <a:pt x="19" y="1168"/>
                  </a:lnTo>
                  <a:lnTo>
                    <a:pt x="19" y="1168"/>
                  </a:lnTo>
                  <a:lnTo>
                    <a:pt x="14" y="1205"/>
                  </a:lnTo>
                  <a:lnTo>
                    <a:pt x="11" y="1226"/>
                  </a:lnTo>
                  <a:lnTo>
                    <a:pt x="10" y="1245"/>
                  </a:lnTo>
                  <a:lnTo>
                    <a:pt x="8" y="1263"/>
                  </a:lnTo>
                  <a:lnTo>
                    <a:pt x="10" y="1270"/>
                  </a:lnTo>
                  <a:lnTo>
                    <a:pt x="11" y="1276"/>
                  </a:lnTo>
                  <a:lnTo>
                    <a:pt x="13" y="1280"/>
                  </a:lnTo>
                  <a:lnTo>
                    <a:pt x="17" y="1284"/>
                  </a:lnTo>
                  <a:lnTo>
                    <a:pt x="22" y="1284"/>
                  </a:lnTo>
                  <a:lnTo>
                    <a:pt x="28" y="1282"/>
                  </a:lnTo>
                  <a:lnTo>
                    <a:pt x="28" y="1282"/>
                  </a:lnTo>
                  <a:lnTo>
                    <a:pt x="42" y="1281"/>
                  </a:lnTo>
                  <a:lnTo>
                    <a:pt x="54" y="1279"/>
                  </a:lnTo>
                  <a:lnTo>
                    <a:pt x="65" y="1275"/>
                  </a:lnTo>
                  <a:lnTo>
                    <a:pt x="76" y="1268"/>
                  </a:lnTo>
                  <a:lnTo>
                    <a:pt x="88" y="1261"/>
                  </a:lnTo>
                  <a:lnTo>
                    <a:pt x="101" y="1251"/>
                  </a:lnTo>
                  <a:lnTo>
                    <a:pt x="136" y="1225"/>
                  </a:lnTo>
                  <a:lnTo>
                    <a:pt x="136" y="1225"/>
                  </a:lnTo>
                  <a:lnTo>
                    <a:pt x="142" y="1221"/>
                  </a:lnTo>
                  <a:lnTo>
                    <a:pt x="150" y="1217"/>
                  </a:lnTo>
                  <a:lnTo>
                    <a:pt x="164" y="1212"/>
                  </a:lnTo>
                  <a:lnTo>
                    <a:pt x="181" y="1209"/>
                  </a:lnTo>
                  <a:lnTo>
                    <a:pt x="198" y="1209"/>
                  </a:lnTo>
                  <a:lnTo>
                    <a:pt x="206" y="1210"/>
                  </a:lnTo>
                  <a:lnTo>
                    <a:pt x="215" y="1212"/>
                  </a:lnTo>
                  <a:lnTo>
                    <a:pt x="223" y="1215"/>
                  </a:lnTo>
                  <a:lnTo>
                    <a:pt x="232" y="1217"/>
                  </a:lnTo>
                  <a:lnTo>
                    <a:pt x="239" y="1221"/>
                  </a:lnTo>
                  <a:lnTo>
                    <a:pt x="246" y="1226"/>
                  </a:lnTo>
                  <a:lnTo>
                    <a:pt x="252" y="1232"/>
                  </a:lnTo>
                  <a:lnTo>
                    <a:pt x="258" y="1238"/>
                  </a:lnTo>
                  <a:lnTo>
                    <a:pt x="258" y="1238"/>
                  </a:lnTo>
                  <a:lnTo>
                    <a:pt x="264" y="1245"/>
                  </a:lnTo>
                  <a:lnTo>
                    <a:pt x="268" y="1252"/>
                  </a:lnTo>
                  <a:lnTo>
                    <a:pt x="272" y="1261"/>
                  </a:lnTo>
                  <a:lnTo>
                    <a:pt x="273" y="1269"/>
                  </a:lnTo>
                  <a:lnTo>
                    <a:pt x="274" y="1278"/>
                  </a:lnTo>
                  <a:lnTo>
                    <a:pt x="275" y="1286"/>
                  </a:lnTo>
                  <a:lnTo>
                    <a:pt x="274" y="1303"/>
                  </a:lnTo>
                  <a:lnTo>
                    <a:pt x="272" y="1321"/>
                  </a:lnTo>
                  <a:lnTo>
                    <a:pt x="269" y="1338"/>
                  </a:lnTo>
                  <a:lnTo>
                    <a:pt x="267" y="1355"/>
                  </a:lnTo>
                  <a:lnTo>
                    <a:pt x="267" y="1372"/>
                  </a:lnTo>
                  <a:lnTo>
                    <a:pt x="267" y="1372"/>
                  </a:lnTo>
                  <a:lnTo>
                    <a:pt x="266" y="1378"/>
                  </a:lnTo>
                  <a:lnTo>
                    <a:pt x="264" y="1383"/>
                  </a:lnTo>
                  <a:lnTo>
                    <a:pt x="261" y="1387"/>
                  </a:lnTo>
                  <a:lnTo>
                    <a:pt x="258" y="1392"/>
                  </a:lnTo>
                  <a:lnTo>
                    <a:pt x="253" y="1396"/>
                  </a:lnTo>
                  <a:lnTo>
                    <a:pt x="249" y="1398"/>
                  </a:lnTo>
                  <a:lnTo>
                    <a:pt x="244" y="1400"/>
                  </a:lnTo>
                  <a:lnTo>
                    <a:pt x="238" y="1401"/>
                  </a:lnTo>
                  <a:lnTo>
                    <a:pt x="1" y="1401"/>
                  </a:lnTo>
                  <a:lnTo>
                    <a:pt x="1" y="1401"/>
                  </a:lnTo>
                  <a:lnTo>
                    <a:pt x="0" y="1445"/>
                  </a:lnTo>
                  <a:lnTo>
                    <a:pt x="0" y="1484"/>
                  </a:lnTo>
                  <a:lnTo>
                    <a:pt x="257" y="1484"/>
                  </a:lnTo>
                  <a:lnTo>
                    <a:pt x="257" y="1484"/>
                  </a:lnTo>
                  <a:lnTo>
                    <a:pt x="263" y="1484"/>
                  </a:lnTo>
                  <a:lnTo>
                    <a:pt x="268" y="1486"/>
                  </a:lnTo>
                  <a:lnTo>
                    <a:pt x="273" y="1489"/>
                  </a:lnTo>
                  <a:lnTo>
                    <a:pt x="278" y="1492"/>
                  </a:lnTo>
                  <a:lnTo>
                    <a:pt x="281" y="1496"/>
                  </a:lnTo>
                  <a:lnTo>
                    <a:pt x="284" y="1501"/>
                  </a:lnTo>
                  <a:lnTo>
                    <a:pt x="285" y="1507"/>
                  </a:lnTo>
                  <a:lnTo>
                    <a:pt x="286" y="1512"/>
                  </a:lnTo>
                  <a:lnTo>
                    <a:pt x="286" y="1532"/>
                  </a:lnTo>
                  <a:lnTo>
                    <a:pt x="286" y="1532"/>
                  </a:lnTo>
                  <a:lnTo>
                    <a:pt x="285" y="1538"/>
                  </a:lnTo>
                  <a:lnTo>
                    <a:pt x="284" y="1544"/>
                  </a:lnTo>
                  <a:lnTo>
                    <a:pt x="281" y="1549"/>
                  </a:lnTo>
                  <a:lnTo>
                    <a:pt x="278" y="1553"/>
                  </a:lnTo>
                  <a:lnTo>
                    <a:pt x="273" y="1556"/>
                  </a:lnTo>
                  <a:lnTo>
                    <a:pt x="268" y="1559"/>
                  </a:lnTo>
                  <a:lnTo>
                    <a:pt x="263" y="1561"/>
                  </a:lnTo>
                  <a:lnTo>
                    <a:pt x="257" y="1561"/>
                  </a:lnTo>
                  <a:lnTo>
                    <a:pt x="5" y="1561"/>
                  </a:lnTo>
                  <a:lnTo>
                    <a:pt x="5" y="1561"/>
                  </a:lnTo>
                  <a:lnTo>
                    <a:pt x="8" y="1601"/>
                  </a:lnTo>
                  <a:lnTo>
                    <a:pt x="10" y="1617"/>
                  </a:lnTo>
                  <a:lnTo>
                    <a:pt x="10" y="1631"/>
                  </a:lnTo>
                  <a:lnTo>
                    <a:pt x="10" y="1631"/>
                  </a:lnTo>
                  <a:lnTo>
                    <a:pt x="12" y="1642"/>
                  </a:lnTo>
                  <a:lnTo>
                    <a:pt x="16" y="1653"/>
                  </a:lnTo>
                  <a:lnTo>
                    <a:pt x="21" y="1661"/>
                  </a:lnTo>
                  <a:lnTo>
                    <a:pt x="25" y="1670"/>
                  </a:lnTo>
                  <a:lnTo>
                    <a:pt x="31" y="1678"/>
                  </a:lnTo>
                  <a:lnTo>
                    <a:pt x="39" y="1684"/>
                  </a:lnTo>
                  <a:lnTo>
                    <a:pt x="46" y="1690"/>
                  </a:lnTo>
                  <a:lnTo>
                    <a:pt x="54" y="1695"/>
                  </a:lnTo>
                  <a:lnTo>
                    <a:pt x="64" y="1700"/>
                  </a:lnTo>
                  <a:lnTo>
                    <a:pt x="74" y="1704"/>
                  </a:lnTo>
                  <a:lnTo>
                    <a:pt x="94" y="1710"/>
                  </a:lnTo>
                  <a:lnTo>
                    <a:pt x="118" y="1713"/>
                  </a:lnTo>
                  <a:lnTo>
                    <a:pt x="144" y="1716"/>
                  </a:lnTo>
                  <a:lnTo>
                    <a:pt x="170" y="1716"/>
                  </a:lnTo>
                  <a:lnTo>
                    <a:pt x="197" y="1716"/>
                  </a:lnTo>
                  <a:lnTo>
                    <a:pt x="255" y="1713"/>
                  </a:lnTo>
                  <a:lnTo>
                    <a:pt x="311" y="1711"/>
                  </a:lnTo>
                  <a:lnTo>
                    <a:pt x="339" y="1710"/>
                  </a:lnTo>
                  <a:lnTo>
                    <a:pt x="366" y="1711"/>
                  </a:lnTo>
                  <a:lnTo>
                    <a:pt x="366" y="1711"/>
                  </a:lnTo>
                  <a:lnTo>
                    <a:pt x="368" y="1692"/>
                  </a:lnTo>
                  <a:lnTo>
                    <a:pt x="372" y="1673"/>
                  </a:lnTo>
                  <a:lnTo>
                    <a:pt x="375" y="1655"/>
                  </a:lnTo>
                  <a:lnTo>
                    <a:pt x="380" y="1637"/>
                  </a:lnTo>
                  <a:lnTo>
                    <a:pt x="386" y="1620"/>
                  </a:lnTo>
                  <a:lnTo>
                    <a:pt x="392" y="1603"/>
                  </a:lnTo>
                  <a:lnTo>
                    <a:pt x="399" y="1587"/>
                  </a:lnTo>
                  <a:lnTo>
                    <a:pt x="408" y="1570"/>
                  </a:lnTo>
                  <a:lnTo>
                    <a:pt x="416" y="1554"/>
                  </a:lnTo>
                  <a:lnTo>
                    <a:pt x="426" y="1538"/>
                  </a:lnTo>
                  <a:lnTo>
                    <a:pt x="436" y="1524"/>
                  </a:lnTo>
                  <a:lnTo>
                    <a:pt x="447" y="1509"/>
                  </a:lnTo>
                  <a:lnTo>
                    <a:pt x="459" y="1495"/>
                  </a:lnTo>
                  <a:lnTo>
                    <a:pt x="469" y="1482"/>
                  </a:lnTo>
                  <a:lnTo>
                    <a:pt x="483" y="1468"/>
                  </a:lnTo>
                  <a:lnTo>
                    <a:pt x="496" y="1456"/>
                  </a:lnTo>
                  <a:lnTo>
                    <a:pt x="509" y="1444"/>
                  </a:lnTo>
                  <a:lnTo>
                    <a:pt x="523" y="1433"/>
                  </a:lnTo>
                  <a:lnTo>
                    <a:pt x="538" y="1424"/>
                  </a:lnTo>
                  <a:lnTo>
                    <a:pt x="553" y="1413"/>
                  </a:lnTo>
                  <a:lnTo>
                    <a:pt x="568" y="1404"/>
                  </a:lnTo>
                  <a:lnTo>
                    <a:pt x="584" y="1396"/>
                  </a:lnTo>
                  <a:lnTo>
                    <a:pt x="601" y="1387"/>
                  </a:lnTo>
                  <a:lnTo>
                    <a:pt x="618" y="1380"/>
                  </a:lnTo>
                  <a:lnTo>
                    <a:pt x="635" y="1374"/>
                  </a:lnTo>
                  <a:lnTo>
                    <a:pt x="653" y="1369"/>
                  </a:lnTo>
                  <a:lnTo>
                    <a:pt x="670" y="1365"/>
                  </a:lnTo>
                  <a:lnTo>
                    <a:pt x="688" y="1360"/>
                  </a:lnTo>
                  <a:lnTo>
                    <a:pt x="707" y="1357"/>
                  </a:lnTo>
                  <a:lnTo>
                    <a:pt x="725" y="1355"/>
                  </a:lnTo>
                  <a:lnTo>
                    <a:pt x="745" y="1354"/>
                  </a:lnTo>
                  <a:lnTo>
                    <a:pt x="764" y="1354"/>
                  </a:lnTo>
                  <a:lnTo>
                    <a:pt x="764" y="1354"/>
                  </a:lnTo>
                  <a:lnTo>
                    <a:pt x="783" y="1354"/>
                  </a:lnTo>
                  <a:lnTo>
                    <a:pt x="803" y="1355"/>
                  </a:lnTo>
                  <a:lnTo>
                    <a:pt x="821" y="1357"/>
                  </a:lnTo>
                  <a:lnTo>
                    <a:pt x="840" y="1361"/>
                  </a:lnTo>
                  <a:lnTo>
                    <a:pt x="858" y="1365"/>
                  </a:lnTo>
                  <a:lnTo>
                    <a:pt x="876" y="1369"/>
                  </a:lnTo>
                  <a:lnTo>
                    <a:pt x="893" y="1374"/>
                  </a:lnTo>
                  <a:lnTo>
                    <a:pt x="911" y="1381"/>
                  </a:lnTo>
                  <a:lnTo>
                    <a:pt x="928" y="1389"/>
                  </a:lnTo>
                  <a:lnTo>
                    <a:pt x="944" y="1396"/>
                  </a:lnTo>
                  <a:lnTo>
                    <a:pt x="961" y="1404"/>
                  </a:lnTo>
                  <a:lnTo>
                    <a:pt x="976" y="1414"/>
                  </a:lnTo>
                  <a:lnTo>
                    <a:pt x="991" y="1424"/>
                  </a:lnTo>
                  <a:lnTo>
                    <a:pt x="1005" y="1434"/>
                  </a:lnTo>
                  <a:lnTo>
                    <a:pt x="1020" y="1445"/>
                  </a:lnTo>
                  <a:lnTo>
                    <a:pt x="1033" y="1457"/>
                  </a:lnTo>
                  <a:lnTo>
                    <a:pt x="1046" y="1469"/>
                  </a:lnTo>
                  <a:lnTo>
                    <a:pt x="1058" y="1483"/>
                  </a:lnTo>
                  <a:lnTo>
                    <a:pt x="1070" y="1496"/>
                  </a:lnTo>
                  <a:lnTo>
                    <a:pt x="1083" y="1511"/>
                  </a:lnTo>
                  <a:lnTo>
                    <a:pt x="1092" y="1525"/>
                  </a:lnTo>
                  <a:lnTo>
                    <a:pt x="1103" y="1539"/>
                  </a:lnTo>
                  <a:lnTo>
                    <a:pt x="1111" y="1555"/>
                  </a:lnTo>
                  <a:lnTo>
                    <a:pt x="1121" y="1571"/>
                  </a:lnTo>
                  <a:lnTo>
                    <a:pt x="1128" y="1588"/>
                  </a:lnTo>
                  <a:lnTo>
                    <a:pt x="1136" y="1605"/>
                  </a:lnTo>
                  <a:lnTo>
                    <a:pt x="1142" y="1622"/>
                  </a:lnTo>
                  <a:lnTo>
                    <a:pt x="1148" y="1640"/>
                  </a:lnTo>
                  <a:lnTo>
                    <a:pt x="1153" y="1658"/>
                  </a:lnTo>
                  <a:lnTo>
                    <a:pt x="1157" y="1676"/>
                  </a:lnTo>
                  <a:lnTo>
                    <a:pt x="1160" y="1694"/>
                  </a:lnTo>
                  <a:lnTo>
                    <a:pt x="1162" y="1713"/>
                  </a:lnTo>
                  <a:lnTo>
                    <a:pt x="1162" y="1713"/>
                  </a:lnTo>
                  <a:lnTo>
                    <a:pt x="2743" y="1713"/>
                  </a:lnTo>
                  <a:lnTo>
                    <a:pt x="2743" y="1713"/>
                  </a:lnTo>
                  <a:lnTo>
                    <a:pt x="2746" y="1694"/>
                  </a:lnTo>
                  <a:lnTo>
                    <a:pt x="2748" y="1676"/>
                  </a:lnTo>
                  <a:lnTo>
                    <a:pt x="2753" y="1658"/>
                  </a:lnTo>
                  <a:lnTo>
                    <a:pt x="2758" y="1640"/>
                  </a:lnTo>
                  <a:lnTo>
                    <a:pt x="2762" y="1622"/>
                  </a:lnTo>
                  <a:lnTo>
                    <a:pt x="2770" y="1605"/>
                  </a:lnTo>
                  <a:lnTo>
                    <a:pt x="2777" y="1588"/>
                  </a:lnTo>
                  <a:lnTo>
                    <a:pt x="2784" y="1571"/>
                  </a:lnTo>
                  <a:lnTo>
                    <a:pt x="2793" y="1555"/>
                  </a:lnTo>
                  <a:lnTo>
                    <a:pt x="2802" y="1539"/>
                  </a:lnTo>
                  <a:lnTo>
                    <a:pt x="2812" y="1525"/>
                  </a:lnTo>
                  <a:lnTo>
                    <a:pt x="2823" y="1511"/>
                  </a:lnTo>
                  <a:lnTo>
                    <a:pt x="2835" y="1496"/>
                  </a:lnTo>
                  <a:lnTo>
                    <a:pt x="2846" y="1483"/>
                  </a:lnTo>
                  <a:lnTo>
                    <a:pt x="2859" y="1469"/>
                  </a:lnTo>
                  <a:lnTo>
                    <a:pt x="2872" y="1457"/>
                  </a:lnTo>
                  <a:lnTo>
                    <a:pt x="2886" y="1445"/>
                  </a:lnTo>
                  <a:lnTo>
                    <a:pt x="2900" y="1434"/>
                  </a:lnTo>
                  <a:lnTo>
                    <a:pt x="2914" y="1424"/>
                  </a:lnTo>
                  <a:lnTo>
                    <a:pt x="2929" y="1414"/>
                  </a:lnTo>
                  <a:lnTo>
                    <a:pt x="2945" y="1404"/>
                  </a:lnTo>
                  <a:lnTo>
                    <a:pt x="2960" y="1396"/>
                  </a:lnTo>
                  <a:lnTo>
                    <a:pt x="2977" y="1389"/>
                  </a:lnTo>
                  <a:lnTo>
                    <a:pt x="2994" y="1381"/>
                  </a:lnTo>
                  <a:lnTo>
                    <a:pt x="3011" y="1374"/>
                  </a:lnTo>
                  <a:lnTo>
                    <a:pt x="3029" y="1369"/>
                  </a:lnTo>
                  <a:lnTo>
                    <a:pt x="3047" y="1365"/>
                  </a:lnTo>
                  <a:lnTo>
                    <a:pt x="3065" y="1361"/>
                  </a:lnTo>
                  <a:lnTo>
                    <a:pt x="3083" y="1357"/>
                  </a:lnTo>
                  <a:lnTo>
                    <a:pt x="3103" y="1355"/>
                  </a:lnTo>
                  <a:lnTo>
                    <a:pt x="3122" y="1354"/>
                  </a:lnTo>
                  <a:lnTo>
                    <a:pt x="3141" y="1354"/>
                  </a:lnTo>
                  <a:lnTo>
                    <a:pt x="3141" y="1354"/>
                  </a:lnTo>
                  <a:lnTo>
                    <a:pt x="3161" y="1354"/>
                  </a:lnTo>
                  <a:lnTo>
                    <a:pt x="3180" y="1355"/>
                  </a:lnTo>
                  <a:lnTo>
                    <a:pt x="3198" y="1357"/>
                  </a:lnTo>
                  <a:lnTo>
                    <a:pt x="3217" y="1361"/>
                  </a:lnTo>
                  <a:lnTo>
                    <a:pt x="3235" y="1365"/>
                  </a:lnTo>
                  <a:lnTo>
                    <a:pt x="3254" y="1369"/>
                  </a:lnTo>
                  <a:lnTo>
                    <a:pt x="3270" y="1374"/>
                  </a:lnTo>
                  <a:lnTo>
                    <a:pt x="3287" y="1381"/>
                  </a:lnTo>
                  <a:lnTo>
                    <a:pt x="3304" y="1389"/>
                  </a:lnTo>
                  <a:lnTo>
                    <a:pt x="3321" y="1396"/>
                  </a:lnTo>
                  <a:lnTo>
                    <a:pt x="3337" y="1404"/>
                  </a:lnTo>
                  <a:lnTo>
                    <a:pt x="3353" y="1414"/>
                  </a:lnTo>
                  <a:lnTo>
                    <a:pt x="3368" y="1424"/>
                  </a:lnTo>
                  <a:lnTo>
                    <a:pt x="3383" y="1434"/>
                  </a:lnTo>
                  <a:lnTo>
                    <a:pt x="3397" y="1445"/>
                  </a:lnTo>
                  <a:lnTo>
                    <a:pt x="3410" y="1457"/>
                  </a:lnTo>
                  <a:lnTo>
                    <a:pt x="3424" y="1469"/>
                  </a:lnTo>
                  <a:lnTo>
                    <a:pt x="3436" y="1483"/>
                  </a:lnTo>
                  <a:lnTo>
                    <a:pt x="3448" y="1496"/>
                  </a:lnTo>
                  <a:lnTo>
                    <a:pt x="3459" y="1511"/>
                  </a:lnTo>
                  <a:lnTo>
                    <a:pt x="3470" y="1525"/>
                  </a:lnTo>
                  <a:lnTo>
                    <a:pt x="3479" y="1539"/>
                  </a:lnTo>
                  <a:lnTo>
                    <a:pt x="3489" y="1555"/>
                  </a:lnTo>
                  <a:lnTo>
                    <a:pt x="3497" y="1571"/>
                  </a:lnTo>
                  <a:lnTo>
                    <a:pt x="3506" y="1588"/>
                  </a:lnTo>
                  <a:lnTo>
                    <a:pt x="3513" y="1605"/>
                  </a:lnTo>
                  <a:lnTo>
                    <a:pt x="3519" y="1622"/>
                  </a:lnTo>
                  <a:lnTo>
                    <a:pt x="3525" y="1640"/>
                  </a:lnTo>
                  <a:lnTo>
                    <a:pt x="3530" y="1658"/>
                  </a:lnTo>
                  <a:lnTo>
                    <a:pt x="3534" y="1676"/>
                  </a:lnTo>
                  <a:lnTo>
                    <a:pt x="3537" y="1694"/>
                  </a:lnTo>
                  <a:lnTo>
                    <a:pt x="3540" y="1713"/>
                  </a:lnTo>
                  <a:lnTo>
                    <a:pt x="3540" y="1713"/>
                  </a:lnTo>
                  <a:lnTo>
                    <a:pt x="3762" y="1713"/>
                  </a:lnTo>
                  <a:lnTo>
                    <a:pt x="3762" y="1713"/>
                  </a:lnTo>
                  <a:lnTo>
                    <a:pt x="3764" y="1694"/>
                  </a:lnTo>
                  <a:lnTo>
                    <a:pt x="3768" y="1676"/>
                  </a:lnTo>
                  <a:lnTo>
                    <a:pt x="3771" y="1658"/>
                  </a:lnTo>
                  <a:lnTo>
                    <a:pt x="3776" y="1640"/>
                  </a:lnTo>
                  <a:lnTo>
                    <a:pt x="3782" y="1622"/>
                  </a:lnTo>
                  <a:lnTo>
                    <a:pt x="3788" y="1605"/>
                  </a:lnTo>
                  <a:lnTo>
                    <a:pt x="3795" y="1588"/>
                  </a:lnTo>
                  <a:lnTo>
                    <a:pt x="3804" y="1571"/>
                  </a:lnTo>
                  <a:lnTo>
                    <a:pt x="3812" y="1555"/>
                  </a:lnTo>
                  <a:lnTo>
                    <a:pt x="3822" y="1539"/>
                  </a:lnTo>
                  <a:lnTo>
                    <a:pt x="3832" y="1525"/>
                  </a:lnTo>
                  <a:lnTo>
                    <a:pt x="3843" y="1511"/>
                  </a:lnTo>
                  <a:lnTo>
                    <a:pt x="3853" y="1496"/>
                  </a:lnTo>
                  <a:lnTo>
                    <a:pt x="3865" y="1483"/>
                  </a:lnTo>
                  <a:lnTo>
                    <a:pt x="3879" y="1469"/>
                  </a:lnTo>
                  <a:lnTo>
                    <a:pt x="3891" y="1457"/>
                  </a:lnTo>
                  <a:lnTo>
                    <a:pt x="3905" y="1445"/>
                  </a:lnTo>
                  <a:lnTo>
                    <a:pt x="3919" y="1434"/>
                  </a:lnTo>
                  <a:lnTo>
                    <a:pt x="3933" y="1424"/>
                  </a:lnTo>
                  <a:lnTo>
                    <a:pt x="3949" y="1414"/>
                  </a:lnTo>
                  <a:lnTo>
                    <a:pt x="3964" y="1404"/>
                  </a:lnTo>
                  <a:lnTo>
                    <a:pt x="3980" y="1396"/>
                  </a:lnTo>
                  <a:lnTo>
                    <a:pt x="3997" y="1389"/>
                  </a:lnTo>
                  <a:lnTo>
                    <a:pt x="4014" y="1381"/>
                  </a:lnTo>
                  <a:lnTo>
                    <a:pt x="4031" y="1374"/>
                  </a:lnTo>
                  <a:lnTo>
                    <a:pt x="4049" y="1369"/>
                  </a:lnTo>
                  <a:lnTo>
                    <a:pt x="4067" y="1365"/>
                  </a:lnTo>
                  <a:lnTo>
                    <a:pt x="4085" y="1361"/>
                  </a:lnTo>
                  <a:lnTo>
                    <a:pt x="4103" y="1357"/>
                  </a:lnTo>
                  <a:lnTo>
                    <a:pt x="4123" y="1355"/>
                  </a:lnTo>
                  <a:lnTo>
                    <a:pt x="4142" y="1354"/>
                  </a:lnTo>
                  <a:lnTo>
                    <a:pt x="4161" y="1354"/>
                  </a:lnTo>
                  <a:lnTo>
                    <a:pt x="4161" y="1354"/>
                  </a:lnTo>
                  <a:lnTo>
                    <a:pt x="4180" y="1354"/>
                  </a:lnTo>
                  <a:lnTo>
                    <a:pt x="4199" y="1355"/>
                  </a:lnTo>
                  <a:lnTo>
                    <a:pt x="4218" y="1357"/>
                  </a:lnTo>
                  <a:lnTo>
                    <a:pt x="4236" y="1361"/>
                  </a:lnTo>
                  <a:lnTo>
                    <a:pt x="4255" y="1365"/>
                  </a:lnTo>
                  <a:lnTo>
                    <a:pt x="4272" y="1369"/>
                  </a:lnTo>
                  <a:lnTo>
                    <a:pt x="4290" y="1374"/>
                  </a:lnTo>
                  <a:lnTo>
                    <a:pt x="4307" y="1381"/>
                  </a:lnTo>
                  <a:lnTo>
                    <a:pt x="4324" y="1389"/>
                  </a:lnTo>
                  <a:lnTo>
                    <a:pt x="4341" y="1396"/>
                  </a:lnTo>
                  <a:lnTo>
                    <a:pt x="4357" y="1404"/>
                  </a:lnTo>
                  <a:lnTo>
                    <a:pt x="4372" y="1414"/>
                  </a:lnTo>
                  <a:lnTo>
                    <a:pt x="4388" y="1424"/>
                  </a:lnTo>
                  <a:lnTo>
                    <a:pt x="4402" y="1434"/>
                  </a:lnTo>
                  <a:lnTo>
                    <a:pt x="4416" y="1445"/>
                  </a:lnTo>
                  <a:lnTo>
                    <a:pt x="4430" y="1457"/>
                  </a:lnTo>
                  <a:lnTo>
                    <a:pt x="4444" y="1469"/>
                  </a:lnTo>
                  <a:lnTo>
                    <a:pt x="4456" y="1483"/>
                  </a:lnTo>
                  <a:lnTo>
                    <a:pt x="4468" y="1496"/>
                  </a:lnTo>
                  <a:lnTo>
                    <a:pt x="4479" y="1511"/>
                  </a:lnTo>
                  <a:lnTo>
                    <a:pt x="4489" y="1525"/>
                  </a:lnTo>
                  <a:lnTo>
                    <a:pt x="4499" y="1539"/>
                  </a:lnTo>
                  <a:lnTo>
                    <a:pt x="4509" y="1555"/>
                  </a:lnTo>
                  <a:lnTo>
                    <a:pt x="4517" y="1571"/>
                  </a:lnTo>
                  <a:lnTo>
                    <a:pt x="4526" y="1588"/>
                  </a:lnTo>
                  <a:lnTo>
                    <a:pt x="4533" y="1605"/>
                  </a:lnTo>
                  <a:lnTo>
                    <a:pt x="4539" y="1622"/>
                  </a:lnTo>
                  <a:lnTo>
                    <a:pt x="4545" y="1640"/>
                  </a:lnTo>
                  <a:lnTo>
                    <a:pt x="4550" y="1658"/>
                  </a:lnTo>
                  <a:lnTo>
                    <a:pt x="4553" y="1676"/>
                  </a:lnTo>
                  <a:lnTo>
                    <a:pt x="4557" y="1694"/>
                  </a:lnTo>
                  <a:lnTo>
                    <a:pt x="4559" y="1713"/>
                  </a:lnTo>
                  <a:lnTo>
                    <a:pt x="4559" y="1713"/>
                  </a:lnTo>
                  <a:lnTo>
                    <a:pt x="4796" y="1713"/>
                  </a:lnTo>
                  <a:lnTo>
                    <a:pt x="4796" y="1713"/>
                  </a:lnTo>
                  <a:lnTo>
                    <a:pt x="4796" y="1696"/>
                  </a:lnTo>
                  <a:lnTo>
                    <a:pt x="4796" y="1678"/>
                  </a:lnTo>
                  <a:lnTo>
                    <a:pt x="4798" y="1659"/>
                  </a:lnTo>
                  <a:lnTo>
                    <a:pt x="4802" y="1638"/>
                  </a:lnTo>
                  <a:lnTo>
                    <a:pt x="4806" y="1617"/>
                  </a:lnTo>
                  <a:lnTo>
                    <a:pt x="4812" y="1595"/>
                  </a:lnTo>
                  <a:lnTo>
                    <a:pt x="4825" y="1549"/>
                  </a:lnTo>
                  <a:lnTo>
                    <a:pt x="4842" y="1501"/>
                  </a:lnTo>
                  <a:lnTo>
                    <a:pt x="4861" y="1451"/>
                  </a:lnTo>
                  <a:lnTo>
                    <a:pt x="4883" y="1402"/>
                  </a:lnTo>
                  <a:lnTo>
                    <a:pt x="4905" y="1355"/>
                  </a:lnTo>
                  <a:lnTo>
                    <a:pt x="4926" y="1309"/>
                  </a:lnTo>
                  <a:lnTo>
                    <a:pt x="4948" y="1266"/>
                  </a:lnTo>
                  <a:lnTo>
                    <a:pt x="4987" y="1193"/>
                  </a:lnTo>
                  <a:lnTo>
                    <a:pt x="5014" y="1144"/>
                  </a:lnTo>
                  <a:lnTo>
                    <a:pt x="5024" y="1126"/>
                  </a:lnTo>
                  <a:lnTo>
                    <a:pt x="5024" y="1126"/>
                  </a:lnTo>
                  <a:close/>
                </a:path>
              </a:pathLst>
            </a:cu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7" name="Freeform 23"/>
            <p:cNvSpPr>
              <a:spLocks/>
            </p:cNvSpPr>
            <p:nvPr/>
          </p:nvSpPr>
          <p:spPr bwMode="auto">
            <a:xfrm flipH="1">
              <a:off x="11525250" y="5819775"/>
              <a:ext cx="425451" cy="249237"/>
            </a:xfrm>
            <a:custGeom>
              <a:avLst/>
              <a:gdLst>
                <a:gd name="T0" fmla="*/ 1074 w 1075"/>
                <a:gd name="T1" fmla="*/ 629 h 629"/>
                <a:gd name="T2" fmla="*/ 1074 w 1075"/>
                <a:gd name="T3" fmla="*/ 629 h 629"/>
                <a:gd name="T4" fmla="*/ 1075 w 1075"/>
                <a:gd name="T5" fmla="*/ 471 h 629"/>
                <a:gd name="T6" fmla="*/ 1075 w 1075"/>
                <a:gd name="T7" fmla="*/ 312 h 629"/>
                <a:gd name="T8" fmla="*/ 1074 w 1075"/>
                <a:gd name="T9" fmla="*/ 155 h 629"/>
                <a:gd name="T10" fmla="*/ 1072 w 1075"/>
                <a:gd name="T11" fmla="*/ 77 h 629"/>
                <a:gd name="T12" fmla="*/ 1070 w 1075"/>
                <a:gd name="T13" fmla="*/ 0 h 629"/>
                <a:gd name="T14" fmla="*/ 1070 w 1075"/>
                <a:gd name="T15" fmla="*/ 0 h 629"/>
                <a:gd name="T16" fmla="*/ 958 w 1075"/>
                <a:gd name="T17" fmla="*/ 8 h 629"/>
                <a:gd name="T18" fmla="*/ 905 w 1075"/>
                <a:gd name="T19" fmla="*/ 13 h 629"/>
                <a:gd name="T20" fmla="*/ 853 w 1075"/>
                <a:gd name="T21" fmla="*/ 18 h 629"/>
                <a:gd name="T22" fmla="*/ 804 w 1075"/>
                <a:gd name="T23" fmla="*/ 24 h 629"/>
                <a:gd name="T24" fmla="*/ 757 w 1075"/>
                <a:gd name="T25" fmla="*/ 31 h 629"/>
                <a:gd name="T26" fmla="*/ 711 w 1075"/>
                <a:gd name="T27" fmla="*/ 38 h 629"/>
                <a:gd name="T28" fmla="*/ 666 w 1075"/>
                <a:gd name="T29" fmla="*/ 47 h 629"/>
                <a:gd name="T30" fmla="*/ 624 w 1075"/>
                <a:gd name="T31" fmla="*/ 56 h 629"/>
                <a:gd name="T32" fmla="*/ 583 w 1075"/>
                <a:gd name="T33" fmla="*/ 67 h 629"/>
                <a:gd name="T34" fmla="*/ 543 w 1075"/>
                <a:gd name="T35" fmla="*/ 79 h 629"/>
                <a:gd name="T36" fmla="*/ 506 w 1075"/>
                <a:gd name="T37" fmla="*/ 93 h 629"/>
                <a:gd name="T38" fmla="*/ 468 w 1075"/>
                <a:gd name="T39" fmla="*/ 107 h 629"/>
                <a:gd name="T40" fmla="*/ 433 w 1075"/>
                <a:gd name="T41" fmla="*/ 123 h 629"/>
                <a:gd name="T42" fmla="*/ 399 w 1075"/>
                <a:gd name="T43" fmla="*/ 140 h 629"/>
                <a:gd name="T44" fmla="*/ 366 w 1075"/>
                <a:gd name="T45" fmla="*/ 158 h 629"/>
                <a:gd name="T46" fmla="*/ 366 w 1075"/>
                <a:gd name="T47" fmla="*/ 158 h 629"/>
                <a:gd name="T48" fmla="*/ 337 w 1075"/>
                <a:gd name="T49" fmla="*/ 177 h 629"/>
                <a:gd name="T50" fmla="*/ 309 w 1075"/>
                <a:gd name="T51" fmla="*/ 198 h 629"/>
                <a:gd name="T52" fmla="*/ 281 w 1075"/>
                <a:gd name="T53" fmla="*/ 219 h 629"/>
                <a:gd name="T54" fmla="*/ 255 w 1075"/>
                <a:gd name="T55" fmla="*/ 243 h 629"/>
                <a:gd name="T56" fmla="*/ 229 w 1075"/>
                <a:gd name="T57" fmla="*/ 269 h 629"/>
                <a:gd name="T58" fmla="*/ 204 w 1075"/>
                <a:gd name="T59" fmla="*/ 296 h 629"/>
                <a:gd name="T60" fmla="*/ 180 w 1075"/>
                <a:gd name="T61" fmla="*/ 324 h 629"/>
                <a:gd name="T62" fmla="*/ 157 w 1075"/>
                <a:gd name="T63" fmla="*/ 354 h 629"/>
                <a:gd name="T64" fmla="*/ 134 w 1075"/>
                <a:gd name="T65" fmla="*/ 386 h 629"/>
                <a:gd name="T66" fmla="*/ 112 w 1075"/>
                <a:gd name="T67" fmla="*/ 418 h 629"/>
                <a:gd name="T68" fmla="*/ 92 w 1075"/>
                <a:gd name="T69" fmla="*/ 451 h 629"/>
                <a:gd name="T70" fmla="*/ 72 w 1075"/>
                <a:gd name="T71" fmla="*/ 486 h 629"/>
                <a:gd name="T72" fmla="*/ 53 w 1075"/>
                <a:gd name="T73" fmla="*/ 521 h 629"/>
                <a:gd name="T74" fmla="*/ 35 w 1075"/>
                <a:gd name="T75" fmla="*/ 556 h 629"/>
                <a:gd name="T76" fmla="*/ 17 w 1075"/>
                <a:gd name="T77" fmla="*/ 592 h 629"/>
                <a:gd name="T78" fmla="*/ 0 w 1075"/>
                <a:gd name="T79" fmla="*/ 629 h 629"/>
                <a:gd name="T80" fmla="*/ 1074 w 1075"/>
                <a:gd name="T81" fmla="*/ 629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5" h="629">
                  <a:moveTo>
                    <a:pt x="1074" y="629"/>
                  </a:moveTo>
                  <a:lnTo>
                    <a:pt x="1074" y="629"/>
                  </a:lnTo>
                  <a:lnTo>
                    <a:pt x="1075" y="471"/>
                  </a:lnTo>
                  <a:lnTo>
                    <a:pt x="1075" y="312"/>
                  </a:lnTo>
                  <a:lnTo>
                    <a:pt x="1074" y="155"/>
                  </a:lnTo>
                  <a:lnTo>
                    <a:pt x="1072" y="77"/>
                  </a:lnTo>
                  <a:lnTo>
                    <a:pt x="1070" y="0"/>
                  </a:lnTo>
                  <a:lnTo>
                    <a:pt x="1070" y="0"/>
                  </a:lnTo>
                  <a:lnTo>
                    <a:pt x="958" y="8"/>
                  </a:lnTo>
                  <a:lnTo>
                    <a:pt x="905" y="13"/>
                  </a:lnTo>
                  <a:lnTo>
                    <a:pt x="853" y="18"/>
                  </a:lnTo>
                  <a:lnTo>
                    <a:pt x="804" y="24"/>
                  </a:lnTo>
                  <a:lnTo>
                    <a:pt x="757" y="31"/>
                  </a:lnTo>
                  <a:lnTo>
                    <a:pt x="711" y="38"/>
                  </a:lnTo>
                  <a:lnTo>
                    <a:pt x="666" y="47"/>
                  </a:lnTo>
                  <a:lnTo>
                    <a:pt x="624" y="56"/>
                  </a:lnTo>
                  <a:lnTo>
                    <a:pt x="583" y="67"/>
                  </a:lnTo>
                  <a:lnTo>
                    <a:pt x="543" y="79"/>
                  </a:lnTo>
                  <a:lnTo>
                    <a:pt x="506" y="93"/>
                  </a:lnTo>
                  <a:lnTo>
                    <a:pt x="468" y="107"/>
                  </a:lnTo>
                  <a:lnTo>
                    <a:pt x="433" y="123"/>
                  </a:lnTo>
                  <a:lnTo>
                    <a:pt x="399" y="140"/>
                  </a:lnTo>
                  <a:lnTo>
                    <a:pt x="366" y="158"/>
                  </a:lnTo>
                  <a:lnTo>
                    <a:pt x="366" y="158"/>
                  </a:lnTo>
                  <a:lnTo>
                    <a:pt x="337" y="177"/>
                  </a:lnTo>
                  <a:lnTo>
                    <a:pt x="309" y="198"/>
                  </a:lnTo>
                  <a:lnTo>
                    <a:pt x="281" y="219"/>
                  </a:lnTo>
                  <a:lnTo>
                    <a:pt x="255" y="243"/>
                  </a:lnTo>
                  <a:lnTo>
                    <a:pt x="229" y="269"/>
                  </a:lnTo>
                  <a:lnTo>
                    <a:pt x="204" y="296"/>
                  </a:lnTo>
                  <a:lnTo>
                    <a:pt x="180" y="324"/>
                  </a:lnTo>
                  <a:lnTo>
                    <a:pt x="157" y="354"/>
                  </a:lnTo>
                  <a:lnTo>
                    <a:pt x="134" y="386"/>
                  </a:lnTo>
                  <a:lnTo>
                    <a:pt x="112" y="418"/>
                  </a:lnTo>
                  <a:lnTo>
                    <a:pt x="92" y="451"/>
                  </a:lnTo>
                  <a:lnTo>
                    <a:pt x="72" y="486"/>
                  </a:lnTo>
                  <a:lnTo>
                    <a:pt x="53" y="521"/>
                  </a:lnTo>
                  <a:lnTo>
                    <a:pt x="35" y="556"/>
                  </a:lnTo>
                  <a:lnTo>
                    <a:pt x="17" y="592"/>
                  </a:lnTo>
                  <a:lnTo>
                    <a:pt x="0" y="629"/>
                  </a:lnTo>
                  <a:lnTo>
                    <a:pt x="1074" y="629"/>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648" name="Rectangle 647"/>
          <p:cNvSpPr/>
          <p:nvPr/>
        </p:nvSpPr>
        <p:spPr>
          <a:xfrm>
            <a:off x="3836070" y="1491335"/>
            <a:ext cx="1829347"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GLOBAL FACILITY INSIGHT</a:t>
            </a:r>
          </a:p>
        </p:txBody>
      </p:sp>
      <p:grpSp>
        <p:nvGrpSpPr>
          <p:cNvPr id="649" name="Group 648"/>
          <p:cNvGrpSpPr/>
          <p:nvPr/>
        </p:nvGrpSpPr>
        <p:grpSpPr>
          <a:xfrm>
            <a:off x="554993" y="5309505"/>
            <a:ext cx="1362456" cy="1016609"/>
            <a:chOff x="2415027" y="4679389"/>
            <a:chExt cx="1876653" cy="540070"/>
          </a:xfrm>
        </p:grpSpPr>
        <p:sp>
          <p:nvSpPr>
            <p:cNvPr id="650" name="Rectangle 649"/>
            <p:cNvSpPr/>
            <p:nvPr/>
          </p:nvSpPr>
          <p:spPr bwMode="auto">
            <a:xfrm flipH="1">
              <a:off x="2415027" y="4679389"/>
              <a:ext cx="1876653" cy="540069"/>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Implement condition-based maintenance alerts to eliminate machine down-time and increase throughput. </a:t>
              </a:r>
            </a:p>
          </p:txBody>
        </p:sp>
        <p:cxnSp>
          <p:nvCxnSpPr>
            <p:cNvPr id="651" name="Straight Connector 650"/>
            <p:cNvCxnSpPr/>
            <p:nvPr/>
          </p:nvCxnSpPr>
          <p:spPr>
            <a:xfrm flipH="1" flipV="1">
              <a:off x="2415028" y="4679389"/>
              <a:ext cx="1" cy="540070"/>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652" name="Rectangle 651"/>
          <p:cNvSpPr/>
          <p:nvPr/>
        </p:nvSpPr>
        <p:spPr>
          <a:xfrm>
            <a:off x="7975358" y="6310321"/>
            <a:ext cx="1733167"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THIRD-PARTY LOGISTICS</a:t>
            </a:r>
          </a:p>
        </p:txBody>
      </p:sp>
      <p:grpSp>
        <p:nvGrpSpPr>
          <p:cNvPr id="654" name="Group 653"/>
          <p:cNvGrpSpPr/>
          <p:nvPr/>
        </p:nvGrpSpPr>
        <p:grpSpPr>
          <a:xfrm>
            <a:off x="7326834" y="4633742"/>
            <a:ext cx="2542668" cy="573260"/>
            <a:chOff x="10105390" y="3970577"/>
            <a:chExt cx="1833887" cy="1092942"/>
          </a:xfrm>
        </p:grpSpPr>
        <p:sp>
          <p:nvSpPr>
            <p:cNvPr id="658" name="Rectangle 657"/>
            <p:cNvSpPr/>
            <p:nvPr/>
          </p:nvSpPr>
          <p:spPr bwMode="auto">
            <a:xfrm>
              <a:off x="10105390" y="3970577"/>
              <a:ext cx="1833887" cy="109294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Provide cross-channel visibility into inventories to optimize supply and reduce shared costs in the value chain.</a:t>
              </a:r>
              <a:endParaRPr kumimoji="0" lang="en-US" sz="900" b="0" i="0" u="none" strike="noStrike" kern="0" cap="none" spc="0" normalizeH="0" baseline="0" noProof="0" dirty="0">
                <a:ln w="3175">
                  <a:noFill/>
                </a:ln>
                <a:solidFill>
                  <a:srgbClr val="FFFFFF"/>
                </a:solidFill>
                <a:effectLst/>
                <a:uLnTx/>
                <a:uFillTx/>
                <a:cs typeface="Arial" charset="0"/>
              </a:endParaRPr>
            </a:p>
          </p:txBody>
        </p:sp>
        <p:cxnSp>
          <p:nvCxnSpPr>
            <p:cNvPr id="659" name="Straight Connector 658"/>
            <p:cNvCxnSpPr/>
            <p:nvPr/>
          </p:nvCxnSpPr>
          <p:spPr>
            <a:xfrm flipV="1">
              <a:off x="10105390" y="3970577"/>
              <a:ext cx="1" cy="1085160"/>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cxnSp>
        <p:nvCxnSpPr>
          <p:cNvPr id="665" name="Straight Connector 664"/>
          <p:cNvCxnSpPr/>
          <p:nvPr/>
        </p:nvCxnSpPr>
        <p:spPr>
          <a:xfrm flipV="1">
            <a:off x="526214" y="1726526"/>
            <a:ext cx="0" cy="134104"/>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666" name="Group 665"/>
          <p:cNvGrpSpPr/>
          <p:nvPr/>
        </p:nvGrpSpPr>
        <p:grpSpPr>
          <a:xfrm>
            <a:off x="382433" y="1146452"/>
            <a:ext cx="712961" cy="585588"/>
            <a:chOff x="2015151" y="1146452"/>
            <a:chExt cx="712961" cy="585588"/>
          </a:xfrm>
        </p:grpSpPr>
        <p:grpSp>
          <p:nvGrpSpPr>
            <p:cNvPr id="667" name="Group 666"/>
            <p:cNvGrpSpPr/>
            <p:nvPr/>
          </p:nvGrpSpPr>
          <p:grpSpPr>
            <a:xfrm>
              <a:off x="2053479" y="1366494"/>
              <a:ext cx="626932" cy="326233"/>
              <a:chOff x="570141" y="1393030"/>
              <a:chExt cx="626932" cy="326233"/>
            </a:xfrm>
          </p:grpSpPr>
          <p:sp>
            <p:nvSpPr>
              <p:cNvPr id="670" name="Rectangle 669"/>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71" name="Rectangle 670"/>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669" name="Trapezoid 14"/>
            <p:cNvSpPr>
              <a:spLocks noChangeAspect="1"/>
            </p:cNvSpPr>
            <p:nvPr/>
          </p:nvSpPr>
          <p:spPr bwMode="auto">
            <a:xfrm>
              <a:off x="2015151" y="1146452"/>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cxnSp>
        <p:nvCxnSpPr>
          <p:cNvPr id="684" name="Elbow Connector 683"/>
          <p:cNvCxnSpPr>
            <a:stCxn id="741" idx="6"/>
            <a:endCxn id="650" idx="3"/>
          </p:cNvCxnSpPr>
          <p:nvPr/>
        </p:nvCxnSpPr>
        <p:spPr>
          <a:xfrm rot="10800000" flipV="1">
            <a:off x="554993" y="4428636"/>
            <a:ext cx="466836" cy="1389172"/>
          </a:xfrm>
          <a:prstGeom prst="bentConnector3">
            <a:avLst>
              <a:gd name="adj1" fmla="val 148968"/>
            </a:avLst>
          </a:prstGeom>
          <a:ln w="19050">
            <a:prstDash val="sysDot"/>
          </a:ln>
        </p:spPr>
        <p:style>
          <a:lnRef idx="1">
            <a:schemeClr val="accent1"/>
          </a:lnRef>
          <a:fillRef idx="0">
            <a:schemeClr val="accent1"/>
          </a:fillRef>
          <a:effectRef idx="0">
            <a:schemeClr val="accent1"/>
          </a:effectRef>
          <a:fontRef idx="minor">
            <a:schemeClr val="tx1"/>
          </a:fontRef>
        </p:style>
      </p:cxnSp>
      <p:sp>
        <p:nvSpPr>
          <p:cNvPr id="690" name="Rectangle 689"/>
          <p:cNvSpPr/>
          <p:nvPr/>
        </p:nvSpPr>
        <p:spPr bwMode="auto">
          <a:xfrm>
            <a:off x="309918" y="3231022"/>
            <a:ext cx="657933" cy="726010"/>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91" name="Rectangle 690"/>
          <p:cNvSpPr/>
          <p:nvPr/>
        </p:nvSpPr>
        <p:spPr bwMode="auto">
          <a:xfrm>
            <a:off x="944197" y="3195847"/>
            <a:ext cx="76566" cy="768376"/>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94" name="Rectangle 693"/>
          <p:cNvSpPr/>
          <p:nvPr/>
        </p:nvSpPr>
        <p:spPr bwMode="auto">
          <a:xfrm>
            <a:off x="841218" y="3140864"/>
            <a:ext cx="513175" cy="197656"/>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95" name="Rectangle 447"/>
          <p:cNvSpPr/>
          <p:nvPr/>
        </p:nvSpPr>
        <p:spPr bwMode="auto">
          <a:xfrm>
            <a:off x="309918" y="3061155"/>
            <a:ext cx="914776" cy="168753"/>
          </a:xfrm>
          <a:custGeom>
            <a:avLst/>
            <a:gdLst>
              <a:gd name="connsiteX0" fmla="*/ 0 w 796099"/>
              <a:gd name="connsiteY0" fmla="*/ 0 h 660009"/>
              <a:gd name="connsiteX1" fmla="*/ 796099 w 796099"/>
              <a:gd name="connsiteY1" fmla="*/ 0 h 660009"/>
              <a:gd name="connsiteX2" fmla="*/ 796099 w 796099"/>
              <a:gd name="connsiteY2" fmla="*/ 660009 h 660009"/>
              <a:gd name="connsiteX3" fmla="*/ 0 w 796099"/>
              <a:gd name="connsiteY3" fmla="*/ 660009 h 660009"/>
              <a:gd name="connsiteX4" fmla="*/ 0 w 796099"/>
              <a:gd name="connsiteY4" fmla="*/ 0 h 660009"/>
              <a:gd name="connsiteX0" fmla="*/ 55418 w 851517"/>
              <a:gd name="connsiteY0" fmla="*/ 0 h 660009"/>
              <a:gd name="connsiteX1" fmla="*/ 851517 w 851517"/>
              <a:gd name="connsiteY1" fmla="*/ 0 h 660009"/>
              <a:gd name="connsiteX2" fmla="*/ 851517 w 851517"/>
              <a:gd name="connsiteY2" fmla="*/ 660009 h 660009"/>
              <a:gd name="connsiteX3" fmla="*/ 0 w 851517"/>
              <a:gd name="connsiteY3" fmla="*/ 438336 h 660009"/>
              <a:gd name="connsiteX4" fmla="*/ 55418 w 851517"/>
              <a:gd name="connsiteY4" fmla="*/ 0 h 660009"/>
              <a:gd name="connsiteX0" fmla="*/ 55418 w 851517"/>
              <a:gd name="connsiteY0" fmla="*/ 0 h 477129"/>
              <a:gd name="connsiteX1" fmla="*/ 851517 w 851517"/>
              <a:gd name="connsiteY1" fmla="*/ 0 h 477129"/>
              <a:gd name="connsiteX2" fmla="*/ 674179 w 851517"/>
              <a:gd name="connsiteY2" fmla="*/ 477129 h 477129"/>
              <a:gd name="connsiteX3" fmla="*/ 0 w 851517"/>
              <a:gd name="connsiteY3" fmla="*/ 438336 h 477129"/>
              <a:gd name="connsiteX4" fmla="*/ 55418 w 851517"/>
              <a:gd name="connsiteY4" fmla="*/ 0 h 477129"/>
              <a:gd name="connsiteX0" fmla="*/ 55418 w 851517"/>
              <a:gd name="connsiteY0" fmla="*/ 0 h 438336"/>
              <a:gd name="connsiteX1" fmla="*/ 851517 w 851517"/>
              <a:gd name="connsiteY1" fmla="*/ 0 h 438336"/>
              <a:gd name="connsiteX2" fmla="*/ 624303 w 851517"/>
              <a:gd name="connsiteY2" fmla="*/ 438336 h 438336"/>
              <a:gd name="connsiteX3" fmla="*/ 0 w 851517"/>
              <a:gd name="connsiteY3" fmla="*/ 438336 h 438336"/>
              <a:gd name="connsiteX4" fmla="*/ 55418 w 851517"/>
              <a:gd name="connsiteY4" fmla="*/ 0 h 438336"/>
              <a:gd name="connsiteX0" fmla="*/ 55418 w 868142"/>
              <a:gd name="connsiteY0" fmla="*/ 0 h 438336"/>
              <a:gd name="connsiteX1" fmla="*/ 868142 w 868142"/>
              <a:gd name="connsiteY1" fmla="*/ 293717 h 438336"/>
              <a:gd name="connsiteX2" fmla="*/ 624303 w 868142"/>
              <a:gd name="connsiteY2" fmla="*/ 438336 h 438336"/>
              <a:gd name="connsiteX3" fmla="*/ 0 w 868142"/>
              <a:gd name="connsiteY3" fmla="*/ 438336 h 438336"/>
              <a:gd name="connsiteX4" fmla="*/ 55418 w 868142"/>
              <a:gd name="connsiteY4" fmla="*/ 0 h 438336"/>
              <a:gd name="connsiteX0" fmla="*/ 188422 w 868142"/>
              <a:gd name="connsiteY0" fmla="*/ 0 h 150162"/>
              <a:gd name="connsiteX1" fmla="*/ 868142 w 868142"/>
              <a:gd name="connsiteY1" fmla="*/ 5543 h 150162"/>
              <a:gd name="connsiteX2" fmla="*/ 624303 w 868142"/>
              <a:gd name="connsiteY2" fmla="*/ 150162 h 150162"/>
              <a:gd name="connsiteX3" fmla="*/ 0 w 868142"/>
              <a:gd name="connsiteY3" fmla="*/ 150162 h 150162"/>
              <a:gd name="connsiteX4" fmla="*/ 188422 w 868142"/>
              <a:gd name="connsiteY4" fmla="*/ 0 h 150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142" h="150162">
                <a:moveTo>
                  <a:pt x="188422" y="0"/>
                </a:moveTo>
                <a:lnTo>
                  <a:pt x="868142" y="5543"/>
                </a:lnTo>
                <a:lnTo>
                  <a:pt x="624303" y="150162"/>
                </a:lnTo>
                <a:lnTo>
                  <a:pt x="0" y="150162"/>
                </a:lnTo>
                <a:lnTo>
                  <a:pt x="188422" y="0"/>
                </a:lnTo>
                <a:close/>
              </a:path>
            </a:pathLst>
          </a:cu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696" name="Group 695"/>
          <p:cNvGrpSpPr/>
          <p:nvPr/>
        </p:nvGrpSpPr>
        <p:grpSpPr>
          <a:xfrm>
            <a:off x="7466755" y="5711951"/>
            <a:ext cx="420564" cy="221533"/>
            <a:chOff x="9935190" y="5751992"/>
            <a:chExt cx="261135" cy="166441"/>
          </a:xfrm>
          <a:solidFill>
            <a:srgbClr val="00708E"/>
          </a:solidFill>
        </p:grpSpPr>
        <p:sp>
          <p:nvSpPr>
            <p:cNvPr id="698" name="Chevron 697"/>
            <p:cNvSpPr/>
            <p:nvPr/>
          </p:nvSpPr>
          <p:spPr bwMode="auto">
            <a:xfrm>
              <a:off x="993519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99" name="Chevron 698"/>
            <p:cNvSpPr/>
            <p:nvPr/>
          </p:nvSpPr>
          <p:spPr bwMode="auto">
            <a:xfrm>
              <a:off x="1002453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00" name="Chevron 699"/>
            <p:cNvSpPr/>
            <p:nvPr/>
          </p:nvSpPr>
          <p:spPr bwMode="auto">
            <a:xfrm>
              <a:off x="1011387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706" name="Flowchart: Data 569"/>
          <p:cNvSpPr/>
          <p:nvPr/>
        </p:nvSpPr>
        <p:spPr bwMode="auto">
          <a:xfrm>
            <a:off x="465103" y="4884447"/>
            <a:ext cx="1914348" cy="247811"/>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2000 w 10000"/>
              <a:gd name="connsiteY1" fmla="*/ 0 h 10000"/>
              <a:gd name="connsiteX2" fmla="*/ 10000 w 10000"/>
              <a:gd name="connsiteY2" fmla="*/ 0 h 10000"/>
              <a:gd name="connsiteX3" fmla="*/ 9206 w 10000"/>
              <a:gd name="connsiteY3" fmla="*/ 10000 h 10000"/>
              <a:gd name="connsiteX4" fmla="*/ 0 w 10000"/>
              <a:gd name="connsiteY4" fmla="*/ 10000 h 10000"/>
              <a:gd name="connsiteX0" fmla="*/ 0 w 10000"/>
              <a:gd name="connsiteY0" fmla="*/ 10000 h 10000"/>
              <a:gd name="connsiteX1" fmla="*/ 1035 w 10000"/>
              <a:gd name="connsiteY1" fmla="*/ 0 h 10000"/>
              <a:gd name="connsiteX2" fmla="*/ 10000 w 10000"/>
              <a:gd name="connsiteY2" fmla="*/ 0 h 10000"/>
              <a:gd name="connsiteX3" fmla="*/ 9206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1035" y="0"/>
                </a:lnTo>
                <a:lnTo>
                  <a:pt x="10000" y="0"/>
                </a:lnTo>
                <a:cubicBezTo>
                  <a:pt x="9735" y="3333"/>
                  <a:pt x="9471" y="6667"/>
                  <a:pt x="9206" y="10000"/>
                </a:cubicBezTo>
                <a:lnTo>
                  <a:pt x="0" y="10000"/>
                </a:lnTo>
                <a:close/>
              </a:path>
            </a:pathLst>
          </a:custGeom>
          <a:solidFill>
            <a:srgbClr val="00AFED">
              <a:alpha val="50000"/>
            </a:srgbClr>
          </a:solidFill>
          <a:ln w="19050">
            <a:solidFill>
              <a:srgbClr val="00AFE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707" name="Group 706"/>
          <p:cNvGrpSpPr/>
          <p:nvPr/>
        </p:nvGrpSpPr>
        <p:grpSpPr>
          <a:xfrm>
            <a:off x="842426" y="3670472"/>
            <a:ext cx="1547912" cy="1292248"/>
            <a:chOff x="1048844" y="2929382"/>
            <a:chExt cx="2146850" cy="1792260"/>
          </a:xfrm>
        </p:grpSpPr>
        <p:sp>
          <p:nvSpPr>
            <p:cNvPr id="708" name="Rectangle 707"/>
            <p:cNvSpPr/>
            <p:nvPr/>
          </p:nvSpPr>
          <p:spPr bwMode="auto">
            <a:xfrm rot="19233811" flipH="1">
              <a:off x="1672997" y="4111453"/>
              <a:ext cx="265596" cy="336234"/>
            </a:xfrm>
            <a:prstGeom prst="rect">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9" name="Rectangle 21"/>
            <p:cNvSpPr/>
            <p:nvPr/>
          </p:nvSpPr>
          <p:spPr bwMode="auto">
            <a:xfrm rot="1663182" flipH="1">
              <a:off x="1661723" y="3093970"/>
              <a:ext cx="283331" cy="75149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0" name="Rectangle 29"/>
            <p:cNvSpPr/>
            <p:nvPr/>
          </p:nvSpPr>
          <p:spPr bwMode="auto">
            <a:xfrm rot="6300000" flipH="1">
              <a:off x="2375889" y="2873020"/>
              <a:ext cx="215107" cy="735159"/>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11" name="Group 710"/>
            <p:cNvGrpSpPr/>
            <p:nvPr/>
          </p:nvGrpSpPr>
          <p:grpSpPr>
            <a:xfrm>
              <a:off x="1297664" y="3722455"/>
              <a:ext cx="516897" cy="516898"/>
              <a:chOff x="4394973" y="1762558"/>
              <a:chExt cx="352210" cy="352210"/>
            </a:xfrm>
          </p:grpSpPr>
          <p:grpSp>
            <p:nvGrpSpPr>
              <p:cNvPr id="738" name="Group 737"/>
              <p:cNvGrpSpPr/>
              <p:nvPr/>
            </p:nvGrpSpPr>
            <p:grpSpPr>
              <a:xfrm flipH="1">
                <a:off x="4394973" y="1762558"/>
                <a:ext cx="352210" cy="352210"/>
                <a:chOff x="5411363" y="1755522"/>
                <a:chExt cx="316187" cy="316187"/>
              </a:xfrm>
            </p:grpSpPr>
            <p:sp>
              <p:nvSpPr>
                <p:cNvPr id="741" name="Oval 740"/>
                <p:cNvSpPr/>
                <p:nvPr/>
              </p:nvSpPr>
              <p:spPr bwMode="auto">
                <a:xfrm>
                  <a:off x="5411363" y="1755522"/>
                  <a:ext cx="316187" cy="316187"/>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2" name="Oval 741"/>
                <p:cNvSpPr/>
                <p:nvPr/>
              </p:nvSpPr>
              <p:spPr bwMode="auto">
                <a:xfrm>
                  <a:off x="5462797" y="1806956"/>
                  <a:ext cx="213318" cy="213318"/>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3" name="Oval 742"/>
                <p:cNvSpPr/>
                <p:nvPr/>
              </p:nvSpPr>
              <p:spPr bwMode="auto">
                <a:xfrm>
                  <a:off x="5506446" y="1850605"/>
                  <a:ext cx="126020" cy="126020"/>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39" name="Rectangle 738"/>
              <p:cNvSpPr/>
              <p:nvPr/>
            </p:nvSpPr>
            <p:spPr bwMode="auto">
              <a:xfrm flipH="1">
                <a:off x="4553230" y="1780423"/>
                <a:ext cx="35696" cy="30433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0" name="Rectangle 739"/>
              <p:cNvSpPr/>
              <p:nvPr/>
            </p:nvSpPr>
            <p:spPr bwMode="auto">
              <a:xfrm rot="5400000" flipH="1">
                <a:off x="4561685" y="1786498"/>
                <a:ext cx="35696" cy="30433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12" name="Group 711"/>
            <p:cNvGrpSpPr/>
            <p:nvPr/>
          </p:nvGrpSpPr>
          <p:grpSpPr>
            <a:xfrm>
              <a:off x="1830772" y="2929382"/>
              <a:ext cx="375748" cy="375748"/>
              <a:chOff x="4394973" y="1762558"/>
              <a:chExt cx="352210" cy="352210"/>
            </a:xfrm>
          </p:grpSpPr>
          <p:grpSp>
            <p:nvGrpSpPr>
              <p:cNvPr id="731" name="Group 730"/>
              <p:cNvGrpSpPr/>
              <p:nvPr/>
            </p:nvGrpSpPr>
            <p:grpSpPr>
              <a:xfrm flipH="1">
                <a:off x="4394973" y="1762558"/>
                <a:ext cx="352210" cy="352210"/>
                <a:chOff x="5411363" y="1755522"/>
                <a:chExt cx="316187" cy="316187"/>
              </a:xfrm>
            </p:grpSpPr>
            <p:sp>
              <p:nvSpPr>
                <p:cNvPr id="734" name="Oval 733"/>
                <p:cNvSpPr/>
                <p:nvPr/>
              </p:nvSpPr>
              <p:spPr bwMode="auto">
                <a:xfrm>
                  <a:off x="5411363" y="1755522"/>
                  <a:ext cx="316187" cy="316187"/>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5" name="Oval 734"/>
                <p:cNvSpPr/>
                <p:nvPr/>
              </p:nvSpPr>
              <p:spPr bwMode="auto">
                <a:xfrm>
                  <a:off x="5462797" y="1806956"/>
                  <a:ext cx="213318" cy="213318"/>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7" name="Oval 736"/>
                <p:cNvSpPr/>
                <p:nvPr/>
              </p:nvSpPr>
              <p:spPr bwMode="auto">
                <a:xfrm>
                  <a:off x="5506446" y="1850605"/>
                  <a:ext cx="126020" cy="126020"/>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32" name="Rectangle 731"/>
              <p:cNvSpPr/>
              <p:nvPr/>
            </p:nvSpPr>
            <p:spPr bwMode="auto">
              <a:xfrm flipH="1">
                <a:off x="4553231" y="1789294"/>
                <a:ext cx="35695" cy="286445"/>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3" name="Rectangle 732"/>
              <p:cNvSpPr/>
              <p:nvPr/>
            </p:nvSpPr>
            <p:spPr bwMode="auto">
              <a:xfrm rot="5400000" flipH="1">
                <a:off x="4556016" y="1795437"/>
                <a:ext cx="35695" cy="286447"/>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13" name="Group 712"/>
            <p:cNvGrpSpPr/>
            <p:nvPr/>
          </p:nvGrpSpPr>
          <p:grpSpPr>
            <a:xfrm rot="20781386">
              <a:off x="2789459" y="3462425"/>
              <a:ext cx="406235" cy="662070"/>
              <a:chOff x="6203753" y="1569838"/>
              <a:chExt cx="276805" cy="451130"/>
            </a:xfrm>
          </p:grpSpPr>
          <p:sp>
            <p:nvSpPr>
              <p:cNvPr id="723" name="Rectangle 722"/>
              <p:cNvSpPr/>
              <p:nvPr/>
            </p:nvSpPr>
            <p:spPr bwMode="auto">
              <a:xfrm rot="10800000" flipH="1">
                <a:off x="6289818" y="1569838"/>
                <a:ext cx="96717" cy="173784"/>
              </a:xfrm>
              <a:prstGeom prst="rect">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4" name="Oval 723"/>
              <p:cNvSpPr/>
              <p:nvPr/>
            </p:nvSpPr>
            <p:spPr bwMode="auto">
              <a:xfrm rot="10737439" flipH="1">
                <a:off x="6286686" y="1707639"/>
                <a:ext cx="110946" cy="110946"/>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25" name="Group 724"/>
              <p:cNvGrpSpPr/>
              <p:nvPr/>
            </p:nvGrpSpPr>
            <p:grpSpPr>
              <a:xfrm>
                <a:off x="6203753" y="1748133"/>
                <a:ext cx="99173" cy="272835"/>
                <a:chOff x="5430362" y="1772113"/>
                <a:chExt cx="99173" cy="272835"/>
              </a:xfrm>
            </p:grpSpPr>
            <p:sp>
              <p:nvSpPr>
                <p:cNvPr id="729" name="Rectangle 728"/>
                <p:cNvSpPr/>
                <p:nvPr/>
              </p:nvSpPr>
              <p:spPr bwMode="auto">
                <a:xfrm rot="13260000" flipH="1">
                  <a:off x="5468027" y="1772113"/>
                  <a:ext cx="45719" cy="13716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0" name="Diagonal Stripe 729"/>
                <p:cNvSpPr/>
                <p:nvPr/>
              </p:nvSpPr>
              <p:spPr bwMode="auto">
                <a:xfrm rot="19432650">
                  <a:off x="5430362" y="1862068"/>
                  <a:ext cx="99173" cy="182880"/>
                </a:xfrm>
                <a:prstGeom prst="diagStrip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26" name="Group 725"/>
              <p:cNvGrpSpPr/>
              <p:nvPr/>
            </p:nvGrpSpPr>
            <p:grpSpPr>
              <a:xfrm flipH="1">
                <a:off x="6381385" y="1748134"/>
                <a:ext cx="99173" cy="272833"/>
                <a:chOff x="5422401" y="1772114"/>
                <a:chExt cx="99173" cy="272833"/>
              </a:xfrm>
            </p:grpSpPr>
            <p:sp>
              <p:nvSpPr>
                <p:cNvPr id="727" name="Rectangle 726"/>
                <p:cNvSpPr/>
                <p:nvPr/>
              </p:nvSpPr>
              <p:spPr bwMode="auto">
                <a:xfrm rot="13260000" flipH="1">
                  <a:off x="5460058" y="1772114"/>
                  <a:ext cx="45719" cy="13716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8" name="Diagonal Stripe 727"/>
                <p:cNvSpPr/>
                <p:nvPr/>
              </p:nvSpPr>
              <p:spPr bwMode="auto">
                <a:xfrm rot="19432650">
                  <a:off x="5422401" y="1862067"/>
                  <a:ext cx="99173" cy="182880"/>
                </a:xfrm>
                <a:prstGeom prst="diagStrip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14" name="Group 713"/>
            <p:cNvGrpSpPr/>
            <p:nvPr/>
          </p:nvGrpSpPr>
          <p:grpSpPr>
            <a:xfrm>
              <a:off x="2732452" y="3244007"/>
              <a:ext cx="281811" cy="281811"/>
              <a:chOff x="4394973" y="1762558"/>
              <a:chExt cx="352210" cy="352210"/>
            </a:xfrm>
          </p:grpSpPr>
          <p:grpSp>
            <p:nvGrpSpPr>
              <p:cNvPr id="717" name="Group 716"/>
              <p:cNvGrpSpPr/>
              <p:nvPr/>
            </p:nvGrpSpPr>
            <p:grpSpPr>
              <a:xfrm flipH="1">
                <a:off x="4394973" y="1762558"/>
                <a:ext cx="352210" cy="352210"/>
                <a:chOff x="5411363" y="1755522"/>
                <a:chExt cx="316187" cy="316187"/>
              </a:xfrm>
            </p:grpSpPr>
            <p:sp>
              <p:nvSpPr>
                <p:cNvPr id="720" name="Oval 719"/>
                <p:cNvSpPr/>
                <p:nvPr/>
              </p:nvSpPr>
              <p:spPr bwMode="auto">
                <a:xfrm>
                  <a:off x="5411363" y="1755522"/>
                  <a:ext cx="316187" cy="316187"/>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1" name="Oval 720"/>
                <p:cNvSpPr/>
                <p:nvPr/>
              </p:nvSpPr>
              <p:spPr bwMode="auto">
                <a:xfrm>
                  <a:off x="5462797" y="1806956"/>
                  <a:ext cx="213318" cy="213318"/>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2" name="Oval 721"/>
                <p:cNvSpPr/>
                <p:nvPr/>
              </p:nvSpPr>
              <p:spPr bwMode="auto">
                <a:xfrm>
                  <a:off x="5506446" y="1850605"/>
                  <a:ext cx="126020" cy="126020"/>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18" name="Rectangle 717"/>
              <p:cNvSpPr/>
              <p:nvPr/>
            </p:nvSpPr>
            <p:spPr bwMode="auto">
              <a:xfrm flipH="1">
                <a:off x="4553229" y="1795031"/>
                <a:ext cx="35696" cy="264411"/>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9" name="Rectangle 718"/>
              <p:cNvSpPr/>
              <p:nvPr/>
            </p:nvSpPr>
            <p:spPr bwMode="auto">
              <a:xfrm rot="5400000" flipH="1">
                <a:off x="4559388" y="1806456"/>
                <a:ext cx="35696" cy="264411"/>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15" name="Rounded Rectangle 714"/>
            <p:cNvSpPr/>
            <p:nvPr/>
          </p:nvSpPr>
          <p:spPr bwMode="auto">
            <a:xfrm flipH="1">
              <a:off x="1188631" y="4306131"/>
              <a:ext cx="1241311" cy="391405"/>
            </a:xfrm>
            <a:prstGeom prst="roundRect">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6" name="Rounded Rectangle 715"/>
            <p:cNvSpPr/>
            <p:nvPr/>
          </p:nvSpPr>
          <p:spPr bwMode="auto">
            <a:xfrm flipH="1">
              <a:off x="1048844" y="4501833"/>
              <a:ext cx="1520885" cy="219809"/>
            </a:xfrm>
            <a:prstGeom prst="round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44" name="Group 743"/>
          <p:cNvGrpSpPr>
            <a:grpSpLocks noChangeAspect="1"/>
          </p:cNvGrpSpPr>
          <p:nvPr/>
        </p:nvGrpSpPr>
        <p:grpSpPr>
          <a:xfrm>
            <a:off x="2479487" y="4265653"/>
            <a:ext cx="259949" cy="665269"/>
            <a:chOff x="-3051175" y="-1057275"/>
            <a:chExt cx="2679700" cy="6858000"/>
          </a:xfrm>
        </p:grpSpPr>
        <p:sp>
          <p:nvSpPr>
            <p:cNvPr id="745"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6"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750" name="Group 749"/>
          <p:cNvGrpSpPr>
            <a:grpSpLocks noChangeAspect="1"/>
          </p:cNvGrpSpPr>
          <p:nvPr/>
        </p:nvGrpSpPr>
        <p:grpSpPr>
          <a:xfrm>
            <a:off x="3797168" y="3596539"/>
            <a:ext cx="185820" cy="475556"/>
            <a:chOff x="-3051175" y="-1057275"/>
            <a:chExt cx="2679700" cy="6858000"/>
          </a:xfrm>
        </p:grpSpPr>
        <p:sp>
          <p:nvSpPr>
            <p:cNvPr id="751"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2"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753" name="Group 752"/>
          <p:cNvGrpSpPr>
            <a:grpSpLocks noChangeAspect="1"/>
          </p:cNvGrpSpPr>
          <p:nvPr/>
        </p:nvGrpSpPr>
        <p:grpSpPr>
          <a:xfrm>
            <a:off x="6159691" y="1327675"/>
            <a:ext cx="141055" cy="115855"/>
            <a:chOff x="8049916" y="869239"/>
            <a:chExt cx="712961" cy="585588"/>
          </a:xfrm>
        </p:grpSpPr>
        <p:grpSp>
          <p:nvGrpSpPr>
            <p:cNvPr id="754" name="Group 753"/>
            <p:cNvGrpSpPr/>
            <p:nvPr/>
          </p:nvGrpSpPr>
          <p:grpSpPr>
            <a:xfrm>
              <a:off x="8088244" y="1089281"/>
              <a:ext cx="626932" cy="326233"/>
              <a:chOff x="570141" y="1393030"/>
              <a:chExt cx="626932" cy="326233"/>
            </a:xfrm>
          </p:grpSpPr>
          <p:sp>
            <p:nvSpPr>
              <p:cNvPr id="756" name="Rectangle 755"/>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57" name="Rectangle 756"/>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755"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58" name="Group 757"/>
          <p:cNvGrpSpPr>
            <a:grpSpLocks noChangeAspect="1"/>
          </p:cNvGrpSpPr>
          <p:nvPr/>
        </p:nvGrpSpPr>
        <p:grpSpPr>
          <a:xfrm>
            <a:off x="5611983" y="1640336"/>
            <a:ext cx="128232" cy="105323"/>
            <a:chOff x="8049916" y="869239"/>
            <a:chExt cx="712961" cy="585588"/>
          </a:xfrm>
        </p:grpSpPr>
        <p:grpSp>
          <p:nvGrpSpPr>
            <p:cNvPr id="759" name="Group 758"/>
            <p:cNvGrpSpPr/>
            <p:nvPr/>
          </p:nvGrpSpPr>
          <p:grpSpPr>
            <a:xfrm>
              <a:off x="8088244" y="1089281"/>
              <a:ext cx="626932" cy="326233"/>
              <a:chOff x="570141" y="1393030"/>
              <a:chExt cx="626932" cy="326233"/>
            </a:xfrm>
          </p:grpSpPr>
          <p:sp>
            <p:nvSpPr>
              <p:cNvPr id="761" name="Rectangle 760"/>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62" name="Rectangle 761"/>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760"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63" name="Group 762"/>
          <p:cNvGrpSpPr>
            <a:grpSpLocks noChangeAspect="1"/>
          </p:cNvGrpSpPr>
          <p:nvPr/>
        </p:nvGrpSpPr>
        <p:grpSpPr>
          <a:xfrm>
            <a:off x="6500949" y="1444473"/>
            <a:ext cx="141055" cy="115855"/>
            <a:chOff x="8049916" y="869239"/>
            <a:chExt cx="712961" cy="585588"/>
          </a:xfrm>
        </p:grpSpPr>
        <p:grpSp>
          <p:nvGrpSpPr>
            <p:cNvPr id="764" name="Group 763"/>
            <p:cNvGrpSpPr/>
            <p:nvPr/>
          </p:nvGrpSpPr>
          <p:grpSpPr>
            <a:xfrm>
              <a:off x="8088244" y="1089281"/>
              <a:ext cx="626932" cy="326233"/>
              <a:chOff x="570141" y="1393030"/>
              <a:chExt cx="626932" cy="326233"/>
            </a:xfrm>
          </p:grpSpPr>
          <p:sp>
            <p:nvSpPr>
              <p:cNvPr id="766" name="Rectangle 765"/>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67" name="Rectangle 766"/>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765"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68" name="Group 767"/>
          <p:cNvGrpSpPr>
            <a:grpSpLocks noChangeAspect="1"/>
          </p:cNvGrpSpPr>
          <p:nvPr/>
        </p:nvGrpSpPr>
        <p:grpSpPr>
          <a:xfrm>
            <a:off x="6134798" y="1634800"/>
            <a:ext cx="141055" cy="115855"/>
            <a:chOff x="8049916" y="869239"/>
            <a:chExt cx="712961" cy="585588"/>
          </a:xfrm>
        </p:grpSpPr>
        <p:grpSp>
          <p:nvGrpSpPr>
            <p:cNvPr id="769" name="Group 768"/>
            <p:cNvGrpSpPr/>
            <p:nvPr/>
          </p:nvGrpSpPr>
          <p:grpSpPr>
            <a:xfrm>
              <a:off x="8088244" y="1089281"/>
              <a:ext cx="626932" cy="326233"/>
              <a:chOff x="570141" y="1393030"/>
              <a:chExt cx="626932" cy="326233"/>
            </a:xfrm>
          </p:grpSpPr>
          <p:sp>
            <p:nvSpPr>
              <p:cNvPr id="771" name="Rectangle 770"/>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772" name="Rectangle 771"/>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770"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90" name="Rectangle 789"/>
          <p:cNvSpPr/>
          <p:nvPr/>
        </p:nvSpPr>
        <p:spPr>
          <a:xfrm>
            <a:off x="8177290" y="1491335"/>
            <a:ext cx="1202573"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CUSTOMER SITE</a:t>
            </a:r>
          </a:p>
        </p:txBody>
      </p:sp>
      <p:cxnSp>
        <p:nvCxnSpPr>
          <p:cNvPr id="791" name="Straight Connector 790"/>
          <p:cNvCxnSpPr/>
          <p:nvPr/>
        </p:nvCxnSpPr>
        <p:spPr>
          <a:xfrm flipV="1">
            <a:off x="7637150" y="1733231"/>
            <a:ext cx="0" cy="134104"/>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792" name="Group 791"/>
          <p:cNvGrpSpPr/>
          <p:nvPr/>
        </p:nvGrpSpPr>
        <p:grpSpPr>
          <a:xfrm>
            <a:off x="5987880" y="2005369"/>
            <a:ext cx="511465" cy="588053"/>
            <a:chOff x="6657794" y="1053101"/>
            <a:chExt cx="680759" cy="782698"/>
          </a:xfrm>
        </p:grpSpPr>
        <p:sp>
          <p:nvSpPr>
            <p:cNvPr id="793" name="Rectangle 792"/>
            <p:cNvSpPr/>
            <p:nvPr/>
          </p:nvSpPr>
          <p:spPr bwMode="auto">
            <a:xfrm>
              <a:off x="6657794" y="1053101"/>
              <a:ext cx="680759" cy="782698"/>
            </a:xfrm>
            <a:prstGeom prst="rect">
              <a:avLst/>
            </a:prstGeom>
            <a:solidFill>
              <a:srgbClr val="FCC12E">
                <a:alpha val="25000"/>
              </a:srgb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794" name="Group 793"/>
            <p:cNvGrpSpPr/>
            <p:nvPr/>
          </p:nvGrpSpPr>
          <p:grpSpPr>
            <a:xfrm>
              <a:off x="6724116" y="1154520"/>
              <a:ext cx="547340" cy="626953"/>
              <a:chOff x="6983648" y="1445099"/>
              <a:chExt cx="547340" cy="626953"/>
            </a:xfrm>
          </p:grpSpPr>
          <p:grpSp>
            <p:nvGrpSpPr>
              <p:cNvPr id="795" name="Group 794"/>
              <p:cNvGrpSpPr/>
              <p:nvPr/>
            </p:nvGrpSpPr>
            <p:grpSpPr>
              <a:xfrm>
                <a:off x="7194775" y="1531034"/>
                <a:ext cx="142870" cy="365650"/>
                <a:chOff x="7010073" y="1548130"/>
                <a:chExt cx="1648459" cy="4218939"/>
              </a:xfrm>
              <a:solidFill>
                <a:schemeClr val="accent2"/>
              </a:solidFill>
            </p:grpSpPr>
            <p:sp>
              <p:nvSpPr>
                <p:cNvPr id="797" name="Freeform 10"/>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solidFill>
                  <a:srgbClr val="FCC12E"/>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88F"/>
                    </a:solidFill>
                    <a:effectLst/>
                    <a:uLnTx/>
                    <a:uFillTx/>
                  </a:endParaRPr>
                </a:p>
              </p:txBody>
            </p:sp>
            <p:sp>
              <p:nvSpPr>
                <p:cNvPr id="798" name="Freeform 11"/>
                <p:cNvSpPr>
                  <a:spLocks noEditPoints="1"/>
                </p:cNvSpPr>
                <p:nvPr/>
              </p:nvSpPr>
              <p:spPr bwMode="auto">
                <a:xfrm>
                  <a:off x="7010073" y="1548130"/>
                  <a:ext cx="1648459" cy="4218939"/>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solidFill>
                  <a:srgbClr val="EF8A2F"/>
                </a:solidFill>
                <a:ln w="3175">
                  <a:solidFill>
                    <a:srgbClr val="EF8A2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88F"/>
                    </a:solidFill>
                    <a:effectLst/>
                    <a:uLnTx/>
                    <a:uFillTx/>
                  </a:endParaRPr>
                </a:p>
              </p:txBody>
            </p:sp>
          </p:grpSp>
          <p:sp>
            <p:nvSpPr>
              <p:cNvPr id="796" name="Rounded Rectangle 94"/>
              <p:cNvSpPr>
                <a:spLocks noChangeAspect="1"/>
              </p:cNvSpPr>
              <p:nvPr/>
            </p:nvSpPr>
            <p:spPr bwMode="auto">
              <a:xfrm>
                <a:off x="6983648" y="1445099"/>
                <a:ext cx="547340" cy="626953"/>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99" name="Group 798"/>
          <p:cNvGrpSpPr>
            <a:grpSpLocks noChangeAspect="1"/>
          </p:cNvGrpSpPr>
          <p:nvPr/>
        </p:nvGrpSpPr>
        <p:grpSpPr>
          <a:xfrm>
            <a:off x="2202713" y="3357271"/>
            <a:ext cx="254191" cy="208701"/>
            <a:chOff x="-4435475" y="1371600"/>
            <a:chExt cx="4435475" cy="3641725"/>
          </a:xfrm>
        </p:grpSpPr>
        <p:sp>
          <p:nvSpPr>
            <p:cNvPr id="802"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803" name="Group 802"/>
            <p:cNvGrpSpPr/>
            <p:nvPr/>
          </p:nvGrpSpPr>
          <p:grpSpPr>
            <a:xfrm>
              <a:off x="-4206871" y="1603382"/>
              <a:ext cx="3978266" cy="3168652"/>
              <a:chOff x="-4206875" y="1603375"/>
              <a:chExt cx="3978275" cy="3168650"/>
            </a:xfrm>
            <a:solidFill>
              <a:schemeClr val="bg1"/>
            </a:solidFill>
          </p:grpSpPr>
          <p:sp>
            <p:nvSpPr>
              <p:cNvPr id="804"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5"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6"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9"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0"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1"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2"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3"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814" name="Group 813"/>
          <p:cNvGrpSpPr>
            <a:grpSpLocks noChangeAspect="1"/>
          </p:cNvGrpSpPr>
          <p:nvPr/>
        </p:nvGrpSpPr>
        <p:grpSpPr>
          <a:xfrm>
            <a:off x="2962841" y="3357271"/>
            <a:ext cx="254191" cy="208701"/>
            <a:chOff x="-4435475" y="1371600"/>
            <a:chExt cx="4435475" cy="3641725"/>
          </a:xfrm>
        </p:grpSpPr>
        <p:sp>
          <p:nvSpPr>
            <p:cNvPr id="815"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816" name="Group 815"/>
            <p:cNvGrpSpPr/>
            <p:nvPr/>
          </p:nvGrpSpPr>
          <p:grpSpPr>
            <a:xfrm>
              <a:off x="-4206871" y="1603382"/>
              <a:ext cx="3978266" cy="3168652"/>
              <a:chOff x="-4206875" y="1603375"/>
              <a:chExt cx="3978275" cy="3168650"/>
            </a:xfrm>
            <a:solidFill>
              <a:schemeClr val="bg1"/>
            </a:solidFill>
          </p:grpSpPr>
          <p:sp>
            <p:nvSpPr>
              <p:cNvPr id="817"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8"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9"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2"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3"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5"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826" name="Group 825"/>
          <p:cNvGrpSpPr>
            <a:grpSpLocks noChangeAspect="1"/>
          </p:cNvGrpSpPr>
          <p:nvPr/>
        </p:nvGrpSpPr>
        <p:grpSpPr>
          <a:xfrm>
            <a:off x="3960046" y="3357271"/>
            <a:ext cx="254191" cy="208701"/>
            <a:chOff x="-4435475" y="1371600"/>
            <a:chExt cx="4435475" cy="3641725"/>
          </a:xfrm>
        </p:grpSpPr>
        <p:sp>
          <p:nvSpPr>
            <p:cNvPr id="827"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828" name="Group 827"/>
            <p:cNvGrpSpPr/>
            <p:nvPr/>
          </p:nvGrpSpPr>
          <p:grpSpPr>
            <a:xfrm>
              <a:off x="-4206871" y="1603382"/>
              <a:ext cx="3978266" cy="3168652"/>
              <a:chOff x="-4206875" y="1603375"/>
              <a:chExt cx="3978275" cy="3168650"/>
            </a:xfrm>
            <a:solidFill>
              <a:schemeClr val="bg1"/>
            </a:solidFill>
          </p:grpSpPr>
          <p:sp>
            <p:nvSpPr>
              <p:cNvPr id="829"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0"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6"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2"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3"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4"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845" name="Group 844"/>
          <p:cNvGrpSpPr/>
          <p:nvPr/>
        </p:nvGrpSpPr>
        <p:grpSpPr>
          <a:xfrm>
            <a:off x="4375725" y="3714433"/>
            <a:ext cx="356514" cy="258460"/>
            <a:chOff x="6227763" y="3667125"/>
            <a:chExt cx="395287" cy="312737"/>
          </a:xfrm>
        </p:grpSpPr>
        <p:sp>
          <p:nvSpPr>
            <p:cNvPr id="861" name="Freeform 96"/>
            <p:cNvSpPr>
              <a:spLocks/>
            </p:cNvSpPr>
            <p:nvPr/>
          </p:nvSpPr>
          <p:spPr bwMode="auto">
            <a:xfrm>
              <a:off x="6300788" y="3667125"/>
              <a:ext cx="266700" cy="84137"/>
            </a:xfrm>
            <a:custGeom>
              <a:avLst/>
              <a:gdLst>
                <a:gd name="T0" fmla="*/ 0 w 1513"/>
                <a:gd name="T1" fmla="*/ 0 h 426"/>
                <a:gd name="T2" fmla="*/ 428 w 1513"/>
                <a:gd name="T3" fmla="*/ 426 h 426"/>
                <a:gd name="T4" fmla="*/ 1513 w 1513"/>
                <a:gd name="T5" fmla="*/ 426 h 426"/>
                <a:gd name="T6" fmla="*/ 1084 w 1513"/>
                <a:gd name="T7" fmla="*/ 0 h 426"/>
                <a:gd name="T8" fmla="*/ 0 w 1513"/>
                <a:gd name="T9" fmla="*/ 0 h 426"/>
              </a:gdLst>
              <a:ahLst/>
              <a:cxnLst>
                <a:cxn ang="0">
                  <a:pos x="T0" y="T1"/>
                </a:cxn>
                <a:cxn ang="0">
                  <a:pos x="T2" y="T3"/>
                </a:cxn>
                <a:cxn ang="0">
                  <a:pos x="T4" y="T5"/>
                </a:cxn>
                <a:cxn ang="0">
                  <a:pos x="T6" y="T7"/>
                </a:cxn>
                <a:cxn ang="0">
                  <a:pos x="T8" y="T9"/>
                </a:cxn>
              </a:cxnLst>
              <a:rect l="0" t="0" r="r" b="b"/>
              <a:pathLst>
                <a:path w="1513" h="426">
                  <a:moveTo>
                    <a:pt x="0" y="0"/>
                  </a:moveTo>
                  <a:lnTo>
                    <a:pt x="428" y="426"/>
                  </a:lnTo>
                  <a:lnTo>
                    <a:pt x="1513" y="426"/>
                  </a:lnTo>
                  <a:lnTo>
                    <a:pt x="1084" y="0"/>
                  </a:lnTo>
                  <a:lnTo>
                    <a:pt x="0" y="0"/>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2" name="Rectangle 97"/>
            <p:cNvSpPr>
              <a:spLocks noChangeArrowheads="1"/>
            </p:cNvSpPr>
            <p:nvPr/>
          </p:nvSpPr>
          <p:spPr bwMode="auto">
            <a:xfrm>
              <a:off x="6300788" y="3667125"/>
              <a:ext cx="192087" cy="87312"/>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3" name="Freeform 98"/>
            <p:cNvSpPr>
              <a:spLocks/>
            </p:cNvSpPr>
            <p:nvPr/>
          </p:nvSpPr>
          <p:spPr bwMode="auto">
            <a:xfrm>
              <a:off x="6302375" y="3667125"/>
              <a:ext cx="74612" cy="312737"/>
            </a:xfrm>
            <a:custGeom>
              <a:avLst/>
              <a:gdLst>
                <a:gd name="T0" fmla="*/ 419 w 419"/>
                <a:gd name="T1" fmla="*/ 1578 h 1578"/>
                <a:gd name="T2" fmla="*/ 0 w 419"/>
                <a:gd name="T3" fmla="*/ 1155 h 1578"/>
                <a:gd name="T4" fmla="*/ 0 w 419"/>
                <a:gd name="T5" fmla="*/ 0 h 1578"/>
                <a:gd name="T6" fmla="*/ 419 w 419"/>
                <a:gd name="T7" fmla="*/ 423 h 1578"/>
                <a:gd name="T8" fmla="*/ 419 w 419"/>
                <a:gd name="T9" fmla="*/ 1578 h 1578"/>
              </a:gdLst>
              <a:ahLst/>
              <a:cxnLst>
                <a:cxn ang="0">
                  <a:pos x="T0" y="T1"/>
                </a:cxn>
                <a:cxn ang="0">
                  <a:pos x="T2" y="T3"/>
                </a:cxn>
                <a:cxn ang="0">
                  <a:pos x="T4" y="T5"/>
                </a:cxn>
                <a:cxn ang="0">
                  <a:pos x="T6" y="T7"/>
                </a:cxn>
                <a:cxn ang="0">
                  <a:pos x="T8" y="T9"/>
                </a:cxn>
              </a:cxnLst>
              <a:rect l="0" t="0" r="r" b="b"/>
              <a:pathLst>
                <a:path w="419" h="1578">
                  <a:moveTo>
                    <a:pt x="419" y="1578"/>
                  </a:moveTo>
                  <a:lnTo>
                    <a:pt x="0" y="1155"/>
                  </a:lnTo>
                  <a:lnTo>
                    <a:pt x="0" y="0"/>
                  </a:lnTo>
                  <a:lnTo>
                    <a:pt x="419" y="423"/>
                  </a:lnTo>
                  <a:lnTo>
                    <a:pt x="419" y="1578"/>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4" name="Freeform 99"/>
            <p:cNvSpPr>
              <a:spLocks/>
            </p:cNvSpPr>
            <p:nvPr/>
          </p:nvSpPr>
          <p:spPr bwMode="auto">
            <a:xfrm>
              <a:off x="6227763" y="3667125"/>
              <a:ext cx="150812" cy="138112"/>
            </a:xfrm>
            <a:custGeom>
              <a:avLst/>
              <a:gdLst>
                <a:gd name="T0" fmla="*/ 0 w 850"/>
                <a:gd name="T1" fmla="*/ 272 h 702"/>
                <a:gd name="T2" fmla="*/ 412 w 850"/>
                <a:gd name="T3" fmla="*/ 0 h 702"/>
                <a:gd name="T4" fmla="*/ 850 w 850"/>
                <a:gd name="T5" fmla="*/ 430 h 702"/>
                <a:gd name="T6" fmla="*/ 438 w 850"/>
                <a:gd name="T7" fmla="*/ 702 h 702"/>
                <a:gd name="T8" fmla="*/ 0 w 850"/>
                <a:gd name="T9" fmla="*/ 272 h 702"/>
              </a:gdLst>
              <a:ahLst/>
              <a:cxnLst>
                <a:cxn ang="0">
                  <a:pos x="T0" y="T1"/>
                </a:cxn>
                <a:cxn ang="0">
                  <a:pos x="T2" y="T3"/>
                </a:cxn>
                <a:cxn ang="0">
                  <a:pos x="T4" y="T5"/>
                </a:cxn>
                <a:cxn ang="0">
                  <a:pos x="T6" y="T7"/>
                </a:cxn>
                <a:cxn ang="0">
                  <a:pos x="T8" y="T9"/>
                </a:cxn>
              </a:cxnLst>
              <a:rect l="0" t="0" r="r" b="b"/>
              <a:pathLst>
                <a:path w="850" h="702">
                  <a:moveTo>
                    <a:pt x="0" y="272"/>
                  </a:moveTo>
                  <a:lnTo>
                    <a:pt x="412" y="0"/>
                  </a:lnTo>
                  <a:lnTo>
                    <a:pt x="850" y="430"/>
                  </a:lnTo>
                  <a:lnTo>
                    <a:pt x="438" y="702"/>
                  </a:lnTo>
                  <a:lnTo>
                    <a:pt x="0" y="272"/>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5" name="Freeform 100"/>
            <p:cNvSpPr>
              <a:spLocks/>
            </p:cNvSpPr>
            <p:nvPr/>
          </p:nvSpPr>
          <p:spPr bwMode="auto">
            <a:xfrm>
              <a:off x="6492875" y="3667125"/>
              <a:ext cx="130175" cy="107950"/>
            </a:xfrm>
            <a:custGeom>
              <a:avLst/>
              <a:gdLst>
                <a:gd name="T0" fmla="*/ 0 w 732"/>
                <a:gd name="T1" fmla="*/ 0 h 544"/>
                <a:gd name="T2" fmla="*/ 435 w 732"/>
                <a:gd name="T3" fmla="*/ 430 h 544"/>
                <a:gd name="T4" fmla="*/ 732 w 732"/>
                <a:gd name="T5" fmla="*/ 544 h 544"/>
                <a:gd name="T6" fmla="*/ 339 w 732"/>
                <a:gd name="T7" fmla="*/ 173 h 544"/>
                <a:gd name="T8" fmla="*/ 0 w 732"/>
                <a:gd name="T9" fmla="*/ 0 h 544"/>
              </a:gdLst>
              <a:ahLst/>
              <a:cxnLst>
                <a:cxn ang="0">
                  <a:pos x="T0" y="T1"/>
                </a:cxn>
                <a:cxn ang="0">
                  <a:pos x="T2" y="T3"/>
                </a:cxn>
                <a:cxn ang="0">
                  <a:pos x="T4" y="T5"/>
                </a:cxn>
                <a:cxn ang="0">
                  <a:pos x="T6" y="T7"/>
                </a:cxn>
                <a:cxn ang="0">
                  <a:pos x="T8" y="T9"/>
                </a:cxn>
              </a:cxnLst>
              <a:rect l="0" t="0" r="r" b="b"/>
              <a:pathLst>
                <a:path w="732" h="544">
                  <a:moveTo>
                    <a:pt x="0" y="0"/>
                  </a:moveTo>
                  <a:lnTo>
                    <a:pt x="435" y="430"/>
                  </a:lnTo>
                  <a:lnTo>
                    <a:pt x="732" y="544"/>
                  </a:lnTo>
                  <a:lnTo>
                    <a:pt x="339" y="173"/>
                  </a:lnTo>
                  <a:lnTo>
                    <a:pt x="0" y="0"/>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6" name="Rectangle 101"/>
            <p:cNvSpPr>
              <a:spLocks noChangeArrowheads="1"/>
            </p:cNvSpPr>
            <p:nvPr/>
          </p:nvSpPr>
          <p:spPr bwMode="auto">
            <a:xfrm>
              <a:off x="6376988" y="3752850"/>
              <a:ext cx="192087" cy="227012"/>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7" name="Freeform 102"/>
            <p:cNvSpPr>
              <a:spLocks/>
            </p:cNvSpPr>
            <p:nvPr/>
          </p:nvSpPr>
          <p:spPr bwMode="auto">
            <a:xfrm>
              <a:off x="6376988" y="3752850"/>
              <a:ext cx="227012" cy="80962"/>
            </a:xfrm>
            <a:custGeom>
              <a:avLst/>
              <a:gdLst>
                <a:gd name="T0" fmla="*/ 198 w 1290"/>
                <a:gd name="T1" fmla="*/ 406 h 406"/>
                <a:gd name="T2" fmla="*/ 0 w 1290"/>
                <a:gd name="T3" fmla="*/ 2 h 406"/>
                <a:gd name="T4" fmla="*/ 1084 w 1290"/>
                <a:gd name="T5" fmla="*/ 0 h 406"/>
                <a:gd name="T6" fmla="*/ 1290 w 1290"/>
                <a:gd name="T7" fmla="*/ 382 h 406"/>
                <a:gd name="T8" fmla="*/ 198 w 1290"/>
                <a:gd name="T9" fmla="*/ 406 h 406"/>
              </a:gdLst>
              <a:ahLst/>
              <a:cxnLst>
                <a:cxn ang="0">
                  <a:pos x="T0" y="T1"/>
                </a:cxn>
                <a:cxn ang="0">
                  <a:pos x="T2" y="T3"/>
                </a:cxn>
                <a:cxn ang="0">
                  <a:pos x="T4" y="T5"/>
                </a:cxn>
                <a:cxn ang="0">
                  <a:pos x="T6" y="T7"/>
                </a:cxn>
                <a:cxn ang="0">
                  <a:pos x="T8" y="T9"/>
                </a:cxn>
              </a:cxnLst>
              <a:rect l="0" t="0" r="r" b="b"/>
              <a:pathLst>
                <a:path w="1290" h="406">
                  <a:moveTo>
                    <a:pt x="198" y="406"/>
                  </a:moveTo>
                  <a:lnTo>
                    <a:pt x="0" y="2"/>
                  </a:lnTo>
                  <a:lnTo>
                    <a:pt x="1084" y="0"/>
                  </a:lnTo>
                  <a:lnTo>
                    <a:pt x="1290" y="382"/>
                  </a:lnTo>
                  <a:lnTo>
                    <a:pt x="198" y="406"/>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82" name="Group 881"/>
          <p:cNvGrpSpPr/>
          <p:nvPr/>
        </p:nvGrpSpPr>
        <p:grpSpPr>
          <a:xfrm flipH="1">
            <a:off x="4578001" y="4082939"/>
            <a:ext cx="251324" cy="257468"/>
            <a:chOff x="8647838" y="2755964"/>
            <a:chExt cx="1111808" cy="1138987"/>
          </a:xfrm>
        </p:grpSpPr>
        <p:sp>
          <p:nvSpPr>
            <p:cNvPr id="883" name="Parallelogram 882"/>
            <p:cNvSpPr/>
            <p:nvPr/>
          </p:nvSpPr>
          <p:spPr bwMode="auto">
            <a:xfrm>
              <a:off x="8647838" y="2763406"/>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84" name="Parallelogram 883"/>
            <p:cNvSpPr/>
            <p:nvPr/>
          </p:nvSpPr>
          <p:spPr bwMode="auto">
            <a:xfrm rot="16200000" flipH="1">
              <a:off x="9066878" y="3201371"/>
              <a:ext cx="1138176" cy="247361"/>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85" name="Rectangle 884"/>
            <p:cNvSpPr/>
            <p:nvPr/>
          </p:nvSpPr>
          <p:spPr bwMode="auto">
            <a:xfrm>
              <a:off x="8654819" y="2999464"/>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86" name="Group 885"/>
          <p:cNvGrpSpPr/>
          <p:nvPr/>
        </p:nvGrpSpPr>
        <p:grpSpPr>
          <a:xfrm flipH="1">
            <a:off x="4760449" y="4475458"/>
            <a:ext cx="251324" cy="260000"/>
            <a:chOff x="8647838" y="2744764"/>
            <a:chExt cx="1111808" cy="1150187"/>
          </a:xfrm>
        </p:grpSpPr>
        <p:sp>
          <p:nvSpPr>
            <p:cNvPr id="887" name="Parallelogram 886"/>
            <p:cNvSpPr/>
            <p:nvPr/>
          </p:nvSpPr>
          <p:spPr bwMode="auto">
            <a:xfrm>
              <a:off x="8647838" y="2744764"/>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88" name="Parallelogram 887"/>
            <p:cNvSpPr/>
            <p:nvPr/>
          </p:nvSpPr>
          <p:spPr bwMode="auto">
            <a:xfrm rot="16200000" flipH="1">
              <a:off x="9080145" y="3208665"/>
              <a:ext cx="1132204" cy="226799"/>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98" name="Rectangle 897"/>
            <p:cNvSpPr/>
            <p:nvPr/>
          </p:nvSpPr>
          <p:spPr bwMode="auto">
            <a:xfrm>
              <a:off x="8654819" y="2999464"/>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901" name="Group 900"/>
          <p:cNvGrpSpPr/>
          <p:nvPr/>
        </p:nvGrpSpPr>
        <p:grpSpPr>
          <a:xfrm flipH="1">
            <a:off x="5149103" y="5320084"/>
            <a:ext cx="365740" cy="377488"/>
            <a:chOff x="8642653" y="2742509"/>
            <a:chExt cx="1103537" cy="1138985"/>
          </a:xfrm>
        </p:grpSpPr>
        <p:sp>
          <p:nvSpPr>
            <p:cNvPr id="902" name="Parallelogram 901"/>
            <p:cNvSpPr/>
            <p:nvPr/>
          </p:nvSpPr>
          <p:spPr bwMode="auto">
            <a:xfrm>
              <a:off x="8642653" y="2744764"/>
              <a:ext cx="1098085"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3" name="Parallelogram 902"/>
            <p:cNvSpPr/>
            <p:nvPr/>
          </p:nvSpPr>
          <p:spPr bwMode="auto">
            <a:xfrm rot="16200000" flipH="1">
              <a:off x="9065447" y="3195862"/>
              <a:ext cx="1134096" cy="227390"/>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4" name="Rectangle 903"/>
            <p:cNvSpPr/>
            <p:nvPr/>
          </p:nvSpPr>
          <p:spPr bwMode="auto">
            <a:xfrm>
              <a:off x="8649635" y="2986007"/>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932" name="Group 931"/>
          <p:cNvGrpSpPr>
            <a:grpSpLocks noChangeAspect="1"/>
          </p:cNvGrpSpPr>
          <p:nvPr/>
        </p:nvGrpSpPr>
        <p:grpSpPr>
          <a:xfrm rot="1687298">
            <a:off x="4548170" y="3479139"/>
            <a:ext cx="254191" cy="208701"/>
            <a:chOff x="-4435475" y="1371600"/>
            <a:chExt cx="4435475" cy="3641725"/>
          </a:xfrm>
        </p:grpSpPr>
        <p:sp>
          <p:nvSpPr>
            <p:cNvPr id="933"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934" name="Group 933"/>
            <p:cNvGrpSpPr/>
            <p:nvPr/>
          </p:nvGrpSpPr>
          <p:grpSpPr>
            <a:xfrm>
              <a:off x="-4206877" y="1603380"/>
              <a:ext cx="3978266" cy="3168652"/>
              <a:chOff x="-4206875" y="1603375"/>
              <a:chExt cx="3978275" cy="3168650"/>
            </a:xfrm>
            <a:solidFill>
              <a:schemeClr val="bg1"/>
            </a:solidFill>
          </p:grpSpPr>
          <p:sp>
            <p:nvSpPr>
              <p:cNvPr id="935"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6"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7"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8"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9"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0"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1"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2"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cxnSp>
        <p:nvCxnSpPr>
          <p:cNvPr id="943" name="Elbow Connector 942"/>
          <p:cNvCxnSpPr>
            <a:endCxn id="628" idx="1"/>
          </p:cNvCxnSpPr>
          <p:nvPr/>
        </p:nvCxnSpPr>
        <p:spPr>
          <a:xfrm rot="10800000" flipV="1">
            <a:off x="3515090" y="4835263"/>
            <a:ext cx="2225709" cy="981038"/>
          </a:xfrm>
          <a:prstGeom prst="bentConnector3">
            <a:avLst>
              <a:gd name="adj1" fmla="val 50000"/>
            </a:avLst>
          </a:prstGeom>
          <a:solidFill>
            <a:srgbClr val="8DC548">
              <a:alpha val="25000"/>
            </a:srgbClr>
          </a:solidFill>
          <a:ln w="19050">
            <a:solidFill>
              <a:srgbClr val="8DC548"/>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944" name="Group 943"/>
          <p:cNvGrpSpPr>
            <a:grpSpLocks noChangeAspect="1"/>
          </p:cNvGrpSpPr>
          <p:nvPr/>
        </p:nvGrpSpPr>
        <p:grpSpPr>
          <a:xfrm>
            <a:off x="7338709" y="1367721"/>
            <a:ext cx="818170" cy="366634"/>
            <a:chOff x="14786043" y="1650860"/>
            <a:chExt cx="7326144" cy="3282950"/>
          </a:xfrm>
        </p:grpSpPr>
        <p:sp>
          <p:nvSpPr>
            <p:cNvPr id="945" name="Rectangle 944"/>
            <p:cNvSpPr/>
            <p:nvPr/>
          </p:nvSpPr>
          <p:spPr bwMode="auto">
            <a:xfrm>
              <a:off x="19192672" y="2926427"/>
              <a:ext cx="2743196" cy="1705928"/>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46" name="Rectangle 1117"/>
            <p:cNvSpPr/>
            <p:nvPr/>
          </p:nvSpPr>
          <p:spPr bwMode="auto">
            <a:xfrm>
              <a:off x="15972820" y="1983342"/>
              <a:ext cx="1945529" cy="2503075"/>
            </a:xfrm>
            <a:custGeom>
              <a:avLst/>
              <a:gdLst/>
              <a:ahLst/>
              <a:cxnLst/>
              <a:rect l="l" t="t" r="r" b="b"/>
              <a:pathLst>
                <a:path w="1945531" h="2503072">
                  <a:moveTo>
                    <a:pt x="0" y="0"/>
                  </a:moveTo>
                  <a:lnTo>
                    <a:pt x="1945531" y="0"/>
                  </a:lnTo>
                  <a:lnTo>
                    <a:pt x="1945531" y="2503072"/>
                  </a:lnTo>
                  <a:lnTo>
                    <a:pt x="730544" y="2503072"/>
                  </a:lnTo>
                  <a:lnTo>
                    <a:pt x="706321" y="2452308"/>
                  </a:lnTo>
                  <a:lnTo>
                    <a:pt x="674798" y="2399453"/>
                  </a:lnTo>
                  <a:lnTo>
                    <a:pt x="640122" y="2354730"/>
                  </a:lnTo>
                  <a:lnTo>
                    <a:pt x="599141" y="2310007"/>
                  </a:lnTo>
                  <a:lnTo>
                    <a:pt x="558160" y="2273416"/>
                  </a:lnTo>
                  <a:lnTo>
                    <a:pt x="510875" y="2236824"/>
                  </a:lnTo>
                  <a:lnTo>
                    <a:pt x="460437" y="2204298"/>
                  </a:lnTo>
                  <a:lnTo>
                    <a:pt x="406847" y="2179904"/>
                  </a:lnTo>
                  <a:lnTo>
                    <a:pt x="350104" y="2159575"/>
                  </a:lnTo>
                  <a:lnTo>
                    <a:pt x="293361" y="2143312"/>
                  </a:lnTo>
                  <a:lnTo>
                    <a:pt x="233466" y="2135181"/>
                  </a:lnTo>
                  <a:lnTo>
                    <a:pt x="170419" y="2131115"/>
                  </a:lnTo>
                  <a:lnTo>
                    <a:pt x="126286" y="2135181"/>
                  </a:lnTo>
                  <a:lnTo>
                    <a:pt x="82153" y="2139247"/>
                  </a:lnTo>
                  <a:lnTo>
                    <a:pt x="41172" y="2147378"/>
                  </a:lnTo>
                  <a:lnTo>
                    <a:pt x="0" y="2154964"/>
                  </a:lnTo>
                  <a:close/>
                </a:path>
              </a:pathLst>
            </a:cu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47" name="Rectangle 946"/>
            <p:cNvSpPr/>
            <p:nvPr/>
          </p:nvSpPr>
          <p:spPr bwMode="auto">
            <a:xfrm>
              <a:off x="16741305" y="1983342"/>
              <a:ext cx="1945529" cy="1705928"/>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48" name="Freeform 113"/>
            <p:cNvSpPr>
              <a:spLocks noEditPoints="1"/>
            </p:cNvSpPr>
            <p:nvPr/>
          </p:nvSpPr>
          <p:spPr bwMode="auto">
            <a:xfrm>
              <a:off x="19044854" y="2504939"/>
              <a:ext cx="3067333" cy="2425701"/>
            </a:xfrm>
            <a:custGeom>
              <a:avLst/>
              <a:gdLst>
                <a:gd name="T0" fmla="*/ 0 w 2492"/>
                <a:gd name="T1" fmla="*/ 0 h 1528"/>
                <a:gd name="T2" fmla="*/ 0 w 2492"/>
                <a:gd name="T3" fmla="*/ 1528 h 1528"/>
                <a:gd name="T4" fmla="*/ 2492 w 2492"/>
                <a:gd name="T5" fmla="*/ 1528 h 1528"/>
                <a:gd name="T6" fmla="*/ 2492 w 2492"/>
                <a:gd name="T7" fmla="*/ 0 h 1528"/>
                <a:gd name="T8" fmla="*/ 0 w 2492"/>
                <a:gd name="T9" fmla="*/ 0 h 1528"/>
                <a:gd name="T10" fmla="*/ 594 w 2492"/>
                <a:gd name="T11" fmla="*/ 1198 h 1528"/>
                <a:gd name="T12" fmla="*/ 244 w 2492"/>
                <a:gd name="T13" fmla="*/ 1198 h 1528"/>
                <a:gd name="T14" fmla="*/ 244 w 2492"/>
                <a:gd name="T15" fmla="*/ 870 h 1528"/>
                <a:gd name="T16" fmla="*/ 594 w 2492"/>
                <a:gd name="T17" fmla="*/ 870 h 1528"/>
                <a:gd name="T18" fmla="*/ 594 w 2492"/>
                <a:gd name="T19" fmla="*/ 1198 h 1528"/>
                <a:gd name="T20" fmla="*/ 594 w 2492"/>
                <a:gd name="T21" fmla="*/ 642 h 1528"/>
                <a:gd name="T22" fmla="*/ 244 w 2492"/>
                <a:gd name="T23" fmla="*/ 642 h 1528"/>
                <a:gd name="T24" fmla="*/ 244 w 2492"/>
                <a:gd name="T25" fmla="*/ 314 h 1528"/>
                <a:gd name="T26" fmla="*/ 594 w 2492"/>
                <a:gd name="T27" fmla="*/ 314 h 1528"/>
                <a:gd name="T28" fmla="*/ 594 w 2492"/>
                <a:gd name="T29" fmla="*/ 642 h 1528"/>
                <a:gd name="T30" fmla="*/ 1156 w 2492"/>
                <a:gd name="T31" fmla="*/ 1198 h 1528"/>
                <a:gd name="T32" fmla="*/ 806 w 2492"/>
                <a:gd name="T33" fmla="*/ 1198 h 1528"/>
                <a:gd name="T34" fmla="*/ 806 w 2492"/>
                <a:gd name="T35" fmla="*/ 870 h 1528"/>
                <a:gd name="T36" fmla="*/ 1156 w 2492"/>
                <a:gd name="T37" fmla="*/ 870 h 1528"/>
                <a:gd name="T38" fmla="*/ 1156 w 2492"/>
                <a:gd name="T39" fmla="*/ 1198 h 1528"/>
                <a:gd name="T40" fmla="*/ 1156 w 2492"/>
                <a:gd name="T41" fmla="*/ 642 h 1528"/>
                <a:gd name="T42" fmla="*/ 806 w 2492"/>
                <a:gd name="T43" fmla="*/ 642 h 1528"/>
                <a:gd name="T44" fmla="*/ 806 w 2492"/>
                <a:gd name="T45" fmla="*/ 314 h 1528"/>
                <a:gd name="T46" fmla="*/ 1156 w 2492"/>
                <a:gd name="T47" fmla="*/ 314 h 1528"/>
                <a:gd name="T48" fmla="*/ 1156 w 2492"/>
                <a:gd name="T49" fmla="*/ 642 h 1528"/>
                <a:gd name="T50" fmla="*/ 1706 w 2492"/>
                <a:gd name="T51" fmla="*/ 1198 h 1528"/>
                <a:gd name="T52" fmla="*/ 1356 w 2492"/>
                <a:gd name="T53" fmla="*/ 1198 h 1528"/>
                <a:gd name="T54" fmla="*/ 1356 w 2492"/>
                <a:gd name="T55" fmla="*/ 870 h 1528"/>
                <a:gd name="T56" fmla="*/ 1706 w 2492"/>
                <a:gd name="T57" fmla="*/ 870 h 1528"/>
                <a:gd name="T58" fmla="*/ 1706 w 2492"/>
                <a:gd name="T59" fmla="*/ 1198 h 1528"/>
                <a:gd name="T60" fmla="*/ 1706 w 2492"/>
                <a:gd name="T61" fmla="*/ 642 h 1528"/>
                <a:gd name="T62" fmla="*/ 1356 w 2492"/>
                <a:gd name="T63" fmla="*/ 642 h 1528"/>
                <a:gd name="T64" fmla="*/ 1356 w 2492"/>
                <a:gd name="T65" fmla="*/ 314 h 1528"/>
                <a:gd name="T66" fmla="*/ 1706 w 2492"/>
                <a:gd name="T67" fmla="*/ 314 h 1528"/>
                <a:gd name="T68" fmla="*/ 1706 w 2492"/>
                <a:gd name="T69" fmla="*/ 642 h 1528"/>
                <a:gd name="T70" fmla="*/ 2274 w 2492"/>
                <a:gd name="T71" fmla="*/ 1198 h 1528"/>
                <a:gd name="T72" fmla="*/ 1924 w 2492"/>
                <a:gd name="T73" fmla="*/ 1198 h 1528"/>
                <a:gd name="T74" fmla="*/ 1924 w 2492"/>
                <a:gd name="T75" fmla="*/ 870 h 1528"/>
                <a:gd name="T76" fmla="*/ 2274 w 2492"/>
                <a:gd name="T77" fmla="*/ 870 h 1528"/>
                <a:gd name="T78" fmla="*/ 2274 w 2492"/>
                <a:gd name="T79" fmla="*/ 1198 h 1528"/>
                <a:gd name="T80" fmla="*/ 2274 w 2492"/>
                <a:gd name="T81" fmla="*/ 642 h 1528"/>
                <a:gd name="T82" fmla="*/ 1924 w 2492"/>
                <a:gd name="T83" fmla="*/ 642 h 1528"/>
                <a:gd name="T84" fmla="*/ 1924 w 2492"/>
                <a:gd name="T85" fmla="*/ 314 h 1528"/>
                <a:gd name="T86" fmla="*/ 2274 w 2492"/>
                <a:gd name="T87" fmla="*/ 314 h 1528"/>
                <a:gd name="T88" fmla="*/ 2274 w 2492"/>
                <a:gd name="T89" fmla="*/ 64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92" h="1528">
                  <a:moveTo>
                    <a:pt x="0" y="0"/>
                  </a:moveTo>
                  <a:lnTo>
                    <a:pt x="0" y="1528"/>
                  </a:lnTo>
                  <a:lnTo>
                    <a:pt x="2492" y="1528"/>
                  </a:lnTo>
                  <a:lnTo>
                    <a:pt x="2492" y="0"/>
                  </a:lnTo>
                  <a:lnTo>
                    <a:pt x="0" y="0"/>
                  </a:lnTo>
                  <a:close/>
                  <a:moveTo>
                    <a:pt x="594" y="1198"/>
                  </a:moveTo>
                  <a:lnTo>
                    <a:pt x="244" y="1198"/>
                  </a:lnTo>
                  <a:lnTo>
                    <a:pt x="244" y="870"/>
                  </a:lnTo>
                  <a:lnTo>
                    <a:pt x="594" y="870"/>
                  </a:lnTo>
                  <a:lnTo>
                    <a:pt x="594" y="1198"/>
                  </a:lnTo>
                  <a:close/>
                  <a:moveTo>
                    <a:pt x="594" y="642"/>
                  </a:moveTo>
                  <a:lnTo>
                    <a:pt x="244" y="642"/>
                  </a:lnTo>
                  <a:lnTo>
                    <a:pt x="244" y="314"/>
                  </a:lnTo>
                  <a:lnTo>
                    <a:pt x="594" y="314"/>
                  </a:lnTo>
                  <a:lnTo>
                    <a:pt x="594" y="642"/>
                  </a:lnTo>
                  <a:close/>
                  <a:moveTo>
                    <a:pt x="1156" y="1198"/>
                  </a:moveTo>
                  <a:lnTo>
                    <a:pt x="806" y="1198"/>
                  </a:lnTo>
                  <a:lnTo>
                    <a:pt x="806" y="870"/>
                  </a:lnTo>
                  <a:lnTo>
                    <a:pt x="1156" y="870"/>
                  </a:lnTo>
                  <a:lnTo>
                    <a:pt x="1156" y="1198"/>
                  </a:lnTo>
                  <a:close/>
                  <a:moveTo>
                    <a:pt x="1156" y="642"/>
                  </a:moveTo>
                  <a:lnTo>
                    <a:pt x="806" y="642"/>
                  </a:lnTo>
                  <a:lnTo>
                    <a:pt x="806" y="314"/>
                  </a:lnTo>
                  <a:lnTo>
                    <a:pt x="1156" y="314"/>
                  </a:lnTo>
                  <a:lnTo>
                    <a:pt x="1156" y="642"/>
                  </a:lnTo>
                  <a:close/>
                  <a:moveTo>
                    <a:pt x="1706" y="1198"/>
                  </a:moveTo>
                  <a:lnTo>
                    <a:pt x="1356" y="1198"/>
                  </a:lnTo>
                  <a:lnTo>
                    <a:pt x="1356" y="870"/>
                  </a:lnTo>
                  <a:lnTo>
                    <a:pt x="1706" y="870"/>
                  </a:lnTo>
                  <a:lnTo>
                    <a:pt x="1706" y="1198"/>
                  </a:lnTo>
                  <a:close/>
                  <a:moveTo>
                    <a:pt x="1706" y="642"/>
                  </a:moveTo>
                  <a:lnTo>
                    <a:pt x="1356" y="642"/>
                  </a:lnTo>
                  <a:lnTo>
                    <a:pt x="1356" y="314"/>
                  </a:lnTo>
                  <a:lnTo>
                    <a:pt x="1706" y="314"/>
                  </a:lnTo>
                  <a:lnTo>
                    <a:pt x="1706" y="642"/>
                  </a:lnTo>
                  <a:close/>
                  <a:moveTo>
                    <a:pt x="2274" y="1198"/>
                  </a:moveTo>
                  <a:lnTo>
                    <a:pt x="1924" y="1198"/>
                  </a:lnTo>
                  <a:lnTo>
                    <a:pt x="1924" y="870"/>
                  </a:lnTo>
                  <a:lnTo>
                    <a:pt x="2274" y="870"/>
                  </a:lnTo>
                  <a:lnTo>
                    <a:pt x="2274" y="1198"/>
                  </a:lnTo>
                  <a:close/>
                  <a:moveTo>
                    <a:pt x="2274" y="642"/>
                  </a:moveTo>
                  <a:lnTo>
                    <a:pt x="1924" y="642"/>
                  </a:lnTo>
                  <a:lnTo>
                    <a:pt x="1924" y="314"/>
                  </a:lnTo>
                  <a:lnTo>
                    <a:pt x="2274" y="314"/>
                  </a:lnTo>
                  <a:lnTo>
                    <a:pt x="2274" y="64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9" name="Freeform 114"/>
            <p:cNvSpPr>
              <a:spLocks/>
            </p:cNvSpPr>
            <p:nvPr/>
          </p:nvSpPr>
          <p:spPr bwMode="auto">
            <a:xfrm>
              <a:off x="14786043" y="4248009"/>
              <a:ext cx="1799529" cy="685801"/>
            </a:xfrm>
            <a:custGeom>
              <a:avLst/>
              <a:gdLst>
                <a:gd name="T0" fmla="*/ 730 w 1462"/>
                <a:gd name="T1" fmla="*/ 432 h 432"/>
                <a:gd name="T2" fmla="*/ 730 w 1462"/>
                <a:gd name="T3" fmla="*/ 432 h 432"/>
                <a:gd name="T4" fmla="*/ 1422 w 1462"/>
                <a:gd name="T5" fmla="*/ 432 h 432"/>
                <a:gd name="T6" fmla="*/ 1438 w 1462"/>
                <a:gd name="T7" fmla="*/ 402 h 432"/>
                <a:gd name="T8" fmla="*/ 1452 w 1462"/>
                <a:gd name="T9" fmla="*/ 370 h 432"/>
                <a:gd name="T10" fmla="*/ 1458 w 1462"/>
                <a:gd name="T11" fmla="*/ 336 h 432"/>
                <a:gd name="T12" fmla="*/ 1462 w 1462"/>
                <a:gd name="T13" fmla="*/ 300 h 432"/>
                <a:gd name="T14" fmla="*/ 1460 w 1462"/>
                <a:gd name="T15" fmla="*/ 270 h 432"/>
                <a:gd name="T16" fmla="*/ 1444 w 1462"/>
                <a:gd name="T17" fmla="*/ 212 h 432"/>
                <a:gd name="T18" fmla="*/ 1416 w 1462"/>
                <a:gd name="T19" fmla="*/ 158 h 432"/>
                <a:gd name="T20" fmla="*/ 1374 w 1462"/>
                <a:gd name="T21" fmla="*/ 110 h 432"/>
                <a:gd name="T22" fmla="*/ 1322 w 1462"/>
                <a:gd name="T23" fmla="*/ 70 h 432"/>
                <a:gd name="T24" fmla="*/ 1260 w 1462"/>
                <a:gd name="T25" fmla="*/ 36 h 432"/>
                <a:gd name="T26" fmla="*/ 1190 w 1462"/>
                <a:gd name="T27" fmla="*/ 14 h 432"/>
                <a:gd name="T28" fmla="*/ 1116 w 1462"/>
                <a:gd name="T29" fmla="*/ 2 h 432"/>
                <a:gd name="T30" fmla="*/ 1076 w 1462"/>
                <a:gd name="T31" fmla="*/ 0 h 432"/>
                <a:gd name="T32" fmla="*/ 1020 w 1462"/>
                <a:gd name="T33" fmla="*/ 4 h 432"/>
                <a:gd name="T34" fmla="*/ 966 w 1462"/>
                <a:gd name="T35" fmla="*/ 12 h 432"/>
                <a:gd name="T36" fmla="*/ 916 w 1462"/>
                <a:gd name="T37" fmla="*/ 28 h 432"/>
                <a:gd name="T38" fmla="*/ 870 w 1462"/>
                <a:gd name="T39" fmla="*/ 48 h 432"/>
                <a:gd name="T40" fmla="*/ 828 w 1462"/>
                <a:gd name="T41" fmla="*/ 72 h 432"/>
                <a:gd name="T42" fmla="*/ 790 w 1462"/>
                <a:gd name="T43" fmla="*/ 100 h 432"/>
                <a:gd name="T44" fmla="*/ 756 w 1462"/>
                <a:gd name="T45" fmla="*/ 132 h 432"/>
                <a:gd name="T46" fmla="*/ 730 w 1462"/>
                <a:gd name="T47" fmla="*/ 168 h 432"/>
                <a:gd name="T48" fmla="*/ 718 w 1462"/>
                <a:gd name="T49" fmla="*/ 150 h 432"/>
                <a:gd name="T50" fmla="*/ 688 w 1462"/>
                <a:gd name="T51" fmla="*/ 116 h 432"/>
                <a:gd name="T52" fmla="*/ 652 w 1462"/>
                <a:gd name="T53" fmla="*/ 86 h 432"/>
                <a:gd name="T54" fmla="*/ 612 w 1462"/>
                <a:gd name="T55" fmla="*/ 58 h 432"/>
                <a:gd name="T56" fmla="*/ 568 w 1462"/>
                <a:gd name="T57" fmla="*/ 36 h 432"/>
                <a:gd name="T58" fmla="*/ 520 w 1462"/>
                <a:gd name="T59" fmla="*/ 20 h 432"/>
                <a:gd name="T60" fmla="*/ 468 w 1462"/>
                <a:gd name="T61" fmla="*/ 8 h 432"/>
                <a:gd name="T62" fmla="*/ 412 w 1462"/>
                <a:gd name="T63" fmla="*/ 2 h 432"/>
                <a:gd name="T64" fmla="*/ 384 w 1462"/>
                <a:gd name="T65" fmla="*/ 0 h 432"/>
                <a:gd name="T66" fmla="*/ 306 w 1462"/>
                <a:gd name="T67" fmla="*/ 6 h 432"/>
                <a:gd name="T68" fmla="*/ 234 w 1462"/>
                <a:gd name="T69" fmla="*/ 24 h 432"/>
                <a:gd name="T70" fmla="*/ 168 w 1462"/>
                <a:gd name="T71" fmla="*/ 52 h 432"/>
                <a:gd name="T72" fmla="*/ 112 w 1462"/>
                <a:gd name="T73" fmla="*/ 88 h 432"/>
                <a:gd name="T74" fmla="*/ 64 w 1462"/>
                <a:gd name="T75" fmla="*/ 132 h 432"/>
                <a:gd name="T76" fmla="*/ 30 w 1462"/>
                <a:gd name="T77" fmla="*/ 184 h 432"/>
                <a:gd name="T78" fmla="*/ 6 w 1462"/>
                <a:gd name="T79" fmla="*/ 240 h 432"/>
                <a:gd name="T80" fmla="*/ 0 w 1462"/>
                <a:gd name="T81" fmla="*/ 300 h 432"/>
                <a:gd name="T82" fmla="*/ 0 w 1462"/>
                <a:gd name="T83" fmla="*/ 318 h 432"/>
                <a:gd name="T84" fmla="*/ 6 w 1462"/>
                <a:gd name="T85" fmla="*/ 352 h 432"/>
                <a:gd name="T86" fmla="*/ 16 w 1462"/>
                <a:gd name="T87" fmla="*/ 386 h 432"/>
                <a:gd name="T88" fmla="*/ 40 w 1462"/>
                <a:gd name="T89"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2" h="432">
                  <a:moveTo>
                    <a:pt x="730" y="432"/>
                  </a:moveTo>
                  <a:lnTo>
                    <a:pt x="730" y="432"/>
                  </a:lnTo>
                  <a:lnTo>
                    <a:pt x="730" y="432"/>
                  </a:lnTo>
                  <a:lnTo>
                    <a:pt x="730" y="432"/>
                  </a:lnTo>
                  <a:lnTo>
                    <a:pt x="732" y="432"/>
                  </a:lnTo>
                  <a:lnTo>
                    <a:pt x="1422" y="432"/>
                  </a:lnTo>
                  <a:lnTo>
                    <a:pt x="1422" y="432"/>
                  </a:lnTo>
                  <a:lnTo>
                    <a:pt x="1438" y="402"/>
                  </a:lnTo>
                  <a:lnTo>
                    <a:pt x="1446" y="386"/>
                  </a:lnTo>
                  <a:lnTo>
                    <a:pt x="1452" y="370"/>
                  </a:lnTo>
                  <a:lnTo>
                    <a:pt x="1456" y="352"/>
                  </a:lnTo>
                  <a:lnTo>
                    <a:pt x="1458" y="336"/>
                  </a:lnTo>
                  <a:lnTo>
                    <a:pt x="1460" y="318"/>
                  </a:lnTo>
                  <a:lnTo>
                    <a:pt x="1462" y="300"/>
                  </a:lnTo>
                  <a:lnTo>
                    <a:pt x="1462" y="300"/>
                  </a:lnTo>
                  <a:lnTo>
                    <a:pt x="1460" y="270"/>
                  </a:lnTo>
                  <a:lnTo>
                    <a:pt x="1454" y="240"/>
                  </a:lnTo>
                  <a:lnTo>
                    <a:pt x="1444" y="212"/>
                  </a:lnTo>
                  <a:lnTo>
                    <a:pt x="1432" y="184"/>
                  </a:lnTo>
                  <a:lnTo>
                    <a:pt x="1416" y="158"/>
                  </a:lnTo>
                  <a:lnTo>
                    <a:pt x="1396" y="132"/>
                  </a:lnTo>
                  <a:lnTo>
                    <a:pt x="1374" y="110"/>
                  </a:lnTo>
                  <a:lnTo>
                    <a:pt x="1348" y="88"/>
                  </a:lnTo>
                  <a:lnTo>
                    <a:pt x="1322" y="70"/>
                  </a:lnTo>
                  <a:lnTo>
                    <a:pt x="1292" y="52"/>
                  </a:lnTo>
                  <a:lnTo>
                    <a:pt x="1260" y="36"/>
                  </a:lnTo>
                  <a:lnTo>
                    <a:pt x="1226" y="24"/>
                  </a:lnTo>
                  <a:lnTo>
                    <a:pt x="1190" y="14"/>
                  </a:lnTo>
                  <a:lnTo>
                    <a:pt x="1154" y="6"/>
                  </a:lnTo>
                  <a:lnTo>
                    <a:pt x="1116" y="2"/>
                  </a:lnTo>
                  <a:lnTo>
                    <a:pt x="1076" y="0"/>
                  </a:lnTo>
                  <a:lnTo>
                    <a:pt x="1076" y="0"/>
                  </a:lnTo>
                  <a:lnTo>
                    <a:pt x="1048" y="2"/>
                  </a:lnTo>
                  <a:lnTo>
                    <a:pt x="1020" y="4"/>
                  </a:lnTo>
                  <a:lnTo>
                    <a:pt x="994" y="8"/>
                  </a:lnTo>
                  <a:lnTo>
                    <a:pt x="966" y="12"/>
                  </a:lnTo>
                  <a:lnTo>
                    <a:pt x="942" y="20"/>
                  </a:lnTo>
                  <a:lnTo>
                    <a:pt x="916" y="28"/>
                  </a:lnTo>
                  <a:lnTo>
                    <a:pt x="892" y="36"/>
                  </a:lnTo>
                  <a:lnTo>
                    <a:pt x="870" y="48"/>
                  </a:lnTo>
                  <a:lnTo>
                    <a:pt x="848" y="58"/>
                  </a:lnTo>
                  <a:lnTo>
                    <a:pt x="828" y="72"/>
                  </a:lnTo>
                  <a:lnTo>
                    <a:pt x="808" y="86"/>
                  </a:lnTo>
                  <a:lnTo>
                    <a:pt x="790" y="100"/>
                  </a:lnTo>
                  <a:lnTo>
                    <a:pt x="772" y="116"/>
                  </a:lnTo>
                  <a:lnTo>
                    <a:pt x="756" y="132"/>
                  </a:lnTo>
                  <a:lnTo>
                    <a:pt x="742" y="150"/>
                  </a:lnTo>
                  <a:lnTo>
                    <a:pt x="730" y="168"/>
                  </a:lnTo>
                  <a:lnTo>
                    <a:pt x="730" y="168"/>
                  </a:lnTo>
                  <a:lnTo>
                    <a:pt x="718" y="150"/>
                  </a:lnTo>
                  <a:lnTo>
                    <a:pt x="704" y="132"/>
                  </a:lnTo>
                  <a:lnTo>
                    <a:pt x="688" y="116"/>
                  </a:lnTo>
                  <a:lnTo>
                    <a:pt x="672" y="100"/>
                  </a:lnTo>
                  <a:lnTo>
                    <a:pt x="652" y="86"/>
                  </a:lnTo>
                  <a:lnTo>
                    <a:pt x="634" y="72"/>
                  </a:lnTo>
                  <a:lnTo>
                    <a:pt x="612" y="58"/>
                  </a:lnTo>
                  <a:lnTo>
                    <a:pt x="590" y="48"/>
                  </a:lnTo>
                  <a:lnTo>
                    <a:pt x="568" y="36"/>
                  </a:lnTo>
                  <a:lnTo>
                    <a:pt x="544" y="28"/>
                  </a:lnTo>
                  <a:lnTo>
                    <a:pt x="520" y="20"/>
                  </a:lnTo>
                  <a:lnTo>
                    <a:pt x="494" y="12"/>
                  </a:lnTo>
                  <a:lnTo>
                    <a:pt x="468" y="8"/>
                  </a:lnTo>
                  <a:lnTo>
                    <a:pt x="440" y="4"/>
                  </a:lnTo>
                  <a:lnTo>
                    <a:pt x="412" y="2"/>
                  </a:lnTo>
                  <a:lnTo>
                    <a:pt x="384" y="0"/>
                  </a:lnTo>
                  <a:lnTo>
                    <a:pt x="384" y="0"/>
                  </a:lnTo>
                  <a:lnTo>
                    <a:pt x="346" y="2"/>
                  </a:lnTo>
                  <a:lnTo>
                    <a:pt x="306" y="6"/>
                  </a:lnTo>
                  <a:lnTo>
                    <a:pt x="270" y="14"/>
                  </a:lnTo>
                  <a:lnTo>
                    <a:pt x="234" y="24"/>
                  </a:lnTo>
                  <a:lnTo>
                    <a:pt x="200" y="36"/>
                  </a:lnTo>
                  <a:lnTo>
                    <a:pt x="168" y="52"/>
                  </a:lnTo>
                  <a:lnTo>
                    <a:pt x="140" y="70"/>
                  </a:lnTo>
                  <a:lnTo>
                    <a:pt x="112" y="88"/>
                  </a:lnTo>
                  <a:lnTo>
                    <a:pt x="88" y="110"/>
                  </a:lnTo>
                  <a:lnTo>
                    <a:pt x="64" y="132"/>
                  </a:lnTo>
                  <a:lnTo>
                    <a:pt x="46" y="158"/>
                  </a:lnTo>
                  <a:lnTo>
                    <a:pt x="30" y="184"/>
                  </a:lnTo>
                  <a:lnTo>
                    <a:pt x="16" y="212"/>
                  </a:lnTo>
                  <a:lnTo>
                    <a:pt x="6" y="240"/>
                  </a:lnTo>
                  <a:lnTo>
                    <a:pt x="2" y="270"/>
                  </a:lnTo>
                  <a:lnTo>
                    <a:pt x="0" y="300"/>
                  </a:lnTo>
                  <a:lnTo>
                    <a:pt x="0" y="300"/>
                  </a:lnTo>
                  <a:lnTo>
                    <a:pt x="0" y="318"/>
                  </a:lnTo>
                  <a:lnTo>
                    <a:pt x="2" y="336"/>
                  </a:lnTo>
                  <a:lnTo>
                    <a:pt x="6" y="352"/>
                  </a:lnTo>
                  <a:lnTo>
                    <a:pt x="10" y="370"/>
                  </a:lnTo>
                  <a:lnTo>
                    <a:pt x="16" y="386"/>
                  </a:lnTo>
                  <a:lnTo>
                    <a:pt x="22" y="402"/>
                  </a:lnTo>
                  <a:lnTo>
                    <a:pt x="40" y="432"/>
                  </a:lnTo>
                  <a:lnTo>
                    <a:pt x="730" y="432"/>
                  </a:lnTo>
                  <a:close/>
                </a:path>
              </a:pathLst>
            </a:custGeom>
            <a:solidFill>
              <a:srgbClr val="2B8948"/>
            </a:solid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50" name="Freeform 115"/>
            <p:cNvSpPr>
              <a:spLocks noEditPoints="1"/>
            </p:cNvSpPr>
            <p:nvPr/>
          </p:nvSpPr>
          <p:spPr bwMode="auto">
            <a:xfrm>
              <a:off x="15768277" y="1650860"/>
              <a:ext cx="3067333" cy="3279771"/>
            </a:xfrm>
            <a:custGeom>
              <a:avLst/>
              <a:gdLst>
                <a:gd name="T0" fmla="*/ 0 w 2492"/>
                <a:gd name="T1" fmla="*/ 1610 h 2066"/>
                <a:gd name="T2" fmla="*/ 28 w 2492"/>
                <a:gd name="T3" fmla="*/ 1600 h 2066"/>
                <a:gd name="T4" fmla="*/ 86 w 2492"/>
                <a:gd name="T5" fmla="*/ 1580 h 2066"/>
                <a:gd name="T6" fmla="*/ 146 w 2492"/>
                <a:gd name="T7" fmla="*/ 1566 h 2066"/>
                <a:gd name="T8" fmla="*/ 210 w 2492"/>
                <a:gd name="T9" fmla="*/ 1558 h 2066"/>
                <a:gd name="T10" fmla="*/ 244 w 2492"/>
                <a:gd name="T11" fmla="*/ 1430 h 2066"/>
                <a:gd name="T12" fmla="*/ 594 w 2492"/>
                <a:gd name="T13" fmla="*/ 1630 h 2066"/>
                <a:gd name="T14" fmla="*/ 616 w 2492"/>
                <a:gd name="T15" fmla="*/ 1642 h 2066"/>
                <a:gd name="T16" fmla="*/ 658 w 2492"/>
                <a:gd name="T17" fmla="*/ 1670 h 2066"/>
                <a:gd name="T18" fmla="*/ 696 w 2492"/>
                <a:gd name="T19" fmla="*/ 1702 h 2066"/>
                <a:gd name="T20" fmla="*/ 728 w 2492"/>
                <a:gd name="T21" fmla="*/ 1736 h 2066"/>
                <a:gd name="T22" fmla="*/ 754 w 2492"/>
                <a:gd name="T23" fmla="*/ 1772 h 2066"/>
                <a:gd name="T24" fmla="*/ 774 w 2492"/>
                <a:gd name="T25" fmla="*/ 1812 h 2066"/>
                <a:gd name="T26" fmla="*/ 788 w 2492"/>
                <a:gd name="T27" fmla="*/ 1852 h 2066"/>
                <a:gd name="T28" fmla="*/ 796 w 2492"/>
                <a:gd name="T29" fmla="*/ 1894 h 2066"/>
                <a:gd name="T30" fmla="*/ 796 w 2492"/>
                <a:gd name="T31" fmla="*/ 1916 h 2066"/>
                <a:gd name="T32" fmla="*/ 794 w 2492"/>
                <a:gd name="T33" fmla="*/ 1956 h 2066"/>
                <a:gd name="T34" fmla="*/ 784 w 2492"/>
                <a:gd name="T35" fmla="*/ 1994 h 2066"/>
                <a:gd name="T36" fmla="*/ 770 w 2492"/>
                <a:gd name="T37" fmla="*/ 2030 h 2066"/>
                <a:gd name="T38" fmla="*/ 750 w 2492"/>
                <a:gd name="T39" fmla="*/ 2066 h 2066"/>
                <a:gd name="T40" fmla="*/ 1924 w 2492"/>
                <a:gd name="T41" fmla="*/ 1430 h 2066"/>
                <a:gd name="T42" fmla="*/ 2274 w 2492"/>
                <a:gd name="T43" fmla="*/ 2066 h 2066"/>
                <a:gd name="T44" fmla="*/ 2492 w 2492"/>
                <a:gd name="T45" fmla="*/ 0 h 2066"/>
                <a:gd name="T46" fmla="*/ 594 w 2492"/>
                <a:gd name="T47" fmla="*/ 1180 h 2066"/>
                <a:gd name="T48" fmla="*/ 244 w 2492"/>
                <a:gd name="T49" fmla="*/ 852 h 2066"/>
                <a:gd name="T50" fmla="*/ 594 w 2492"/>
                <a:gd name="T51" fmla="*/ 1180 h 2066"/>
                <a:gd name="T52" fmla="*/ 244 w 2492"/>
                <a:gd name="T53" fmla="*/ 600 h 2066"/>
                <a:gd name="T54" fmla="*/ 594 w 2492"/>
                <a:gd name="T55" fmla="*/ 272 h 2066"/>
                <a:gd name="T56" fmla="*/ 1156 w 2492"/>
                <a:gd name="T57" fmla="*/ 1758 h 2066"/>
                <a:gd name="T58" fmla="*/ 806 w 2492"/>
                <a:gd name="T59" fmla="*/ 1430 h 2066"/>
                <a:gd name="T60" fmla="*/ 1156 w 2492"/>
                <a:gd name="T61" fmla="*/ 1758 h 2066"/>
                <a:gd name="T62" fmla="*/ 806 w 2492"/>
                <a:gd name="T63" fmla="*/ 1180 h 2066"/>
                <a:gd name="T64" fmla="*/ 1156 w 2492"/>
                <a:gd name="T65" fmla="*/ 852 h 2066"/>
                <a:gd name="T66" fmla="*/ 1156 w 2492"/>
                <a:gd name="T67" fmla="*/ 600 h 2066"/>
                <a:gd name="T68" fmla="*/ 806 w 2492"/>
                <a:gd name="T69" fmla="*/ 272 h 2066"/>
                <a:gd name="T70" fmla="*/ 1156 w 2492"/>
                <a:gd name="T71" fmla="*/ 600 h 2066"/>
                <a:gd name="T72" fmla="*/ 1356 w 2492"/>
                <a:gd name="T73" fmla="*/ 1758 h 2066"/>
                <a:gd name="T74" fmla="*/ 1706 w 2492"/>
                <a:gd name="T75" fmla="*/ 1430 h 2066"/>
                <a:gd name="T76" fmla="*/ 1706 w 2492"/>
                <a:gd name="T77" fmla="*/ 1180 h 2066"/>
                <a:gd name="T78" fmla="*/ 1356 w 2492"/>
                <a:gd name="T79" fmla="*/ 852 h 2066"/>
                <a:gd name="T80" fmla="*/ 1706 w 2492"/>
                <a:gd name="T81" fmla="*/ 1180 h 2066"/>
                <a:gd name="T82" fmla="*/ 1356 w 2492"/>
                <a:gd name="T83" fmla="*/ 600 h 2066"/>
                <a:gd name="T84" fmla="*/ 1706 w 2492"/>
                <a:gd name="T85" fmla="*/ 272 h 2066"/>
                <a:gd name="T86" fmla="*/ 2274 w 2492"/>
                <a:gd name="T87" fmla="*/ 1180 h 2066"/>
                <a:gd name="T88" fmla="*/ 1924 w 2492"/>
                <a:gd name="T89" fmla="*/ 852 h 2066"/>
                <a:gd name="T90" fmla="*/ 2274 w 2492"/>
                <a:gd name="T91" fmla="*/ 1180 h 2066"/>
                <a:gd name="T92" fmla="*/ 1924 w 2492"/>
                <a:gd name="T93" fmla="*/ 600 h 2066"/>
                <a:gd name="T94" fmla="*/ 2274 w 2492"/>
                <a:gd name="T95" fmla="*/ 272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066">
                  <a:moveTo>
                    <a:pt x="0" y="0"/>
                  </a:moveTo>
                  <a:lnTo>
                    <a:pt x="0" y="1610"/>
                  </a:lnTo>
                  <a:lnTo>
                    <a:pt x="0" y="1610"/>
                  </a:lnTo>
                  <a:lnTo>
                    <a:pt x="28" y="1600"/>
                  </a:lnTo>
                  <a:lnTo>
                    <a:pt x="56" y="1590"/>
                  </a:lnTo>
                  <a:lnTo>
                    <a:pt x="86" y="1580"/>
                  </a:lnTo>
                  <a:lnTo>
                    <a:pt x="116" y="1574"/>
                  </a:lnTo>
                  <a:lnTo>
                    <a:pt x="146" y="1566"/>
                  </a:lnTo>
                  <a:lnTo>
                    <a:pt x="178" y="1562"/>
                  </a:lnTo>
                  <a:lnTo>
                    <a:pt x="210" y="1558"/>
                  </a:lnTo>
                  <a:lnTo>
                    <a:pt x="244" y="1556"/>
                  </a:lnTo>
                  <a:lnTo>
                    <a:pt x="244" y="1430"/>
                  </a:lnTo>
                  <a:lnTo>
                    <a:pt x="594" y="1430"/>
                  </a:lnTo>
                  <a:lnTo>
                    <a:pt x="594" y="1630"/>
                  </a:lnTo>
                  <a:lnTo>
                    <a:pt x="594" y="1630"/>
                  </a:lnTo>
                  <a:lnTo>
                    <a:pt x="616" y="1642"/>
                  </a:lnTo>
                  <a:lnTo>
                    <a:pt x="638" y="1656"/>
                  </a:lnTo>
                  <a:lnTo>
                    <a:pt x="658" y="1670"/>
                  </a:lnTo>
                  <a:lnTo>
                    <a:pt x="678" y="1686"/>
                  </a:lnTo>
                  <a:lnTo>
                    <a:pt x="696" y="1702"/>
                  </a:lnTo>
                  <a:lnTo>
                    <a:pt x="712" y="1718"/>
                  </a:lnTo>
                  <a:lnTo>
                    <a:pt x="728" y="1736"/>
                  </a:lnTo>
                  <a:lnTo>
                    <a:pt x="742" y="1754"/>
                  </a:lnTo>
                  <a:lnTo>
                    <a:pt x="754" y="1772"/>
                  </a:lnTo>
                  <a:lnTo>
                    <a:pt x="764" y="1792"/>
                  </a:lnTo>
                  <a:lnTo>
                    <a:pt x="774" y="1812"/>
                  </a:lnTo>
                  <a:lnTo>
                    <a:pt x="782" y="1832"/>
                  </a:lnTo>
                  <a:lnTo>
                    <a:pt x="788" y="1852"/>
                  </a:lnTo>
                  <a:lnTo>
                    <a:pt x="792" y="1872"/>
                  </a:lnTo>
                  <a:lnTo>
                    <a:pt x="796" y="1894"/>
                  </a:lnTo>
                  <a:lnTo>
                    <a:pt x="796" y="1916"/>
                  </a:lnTo>
                  <a:lnTo>
                    <a:pt x="796" y="1916"/>
                  </a:lnTo>
                  <a:lnTo>
                    <a:pt x="796" y="1936"/>
                  </a:lnTo>
                  <a:lnTo>
                    <a:pt x="794" y="1956"/>
                  </a:lnTo>
                  <a:lnTo>
                    <a:pt x="790" y="1974"/>
                  </a:lnTo>
                  <a:lnTo>
                    <a:pt x="784" y="1994"/>
                  </a:lnTo>
                  <a:lnTo>
                    <a:pt x="778" y="2012"/>
                  </a:lnTo>
                  <a:lnTo>
                    <a:pt x="770" y="2030"/>
                  </a:lnTo>
                  <a:lnTo>
                    <a:pt x="760" y="2048"/>
                  </a:lnTo>
                  <a:lnTo>
                    <a:pt x="750" y="2066"/>
                  </a:lnTo>
                  <a:lnTo>
                    <a:pt x="1924" y="2066"/>
                  </a:lnTo>
                  <a:lnTo>
                    <a:pt x="1924" y="1430"/>
                  </a:lnTo>
                  <a:lnTo>
                    <a:pt x="2274" y="1430"/>
                  </a:lnTo>
                  <a:lnTo>
                    <a:pt x="2274" y="2066"/>
                  </a:lnTo>
                  <a:lnTo>
                    <a:pt x="2492" y="2066"/>
                  </a:lnTo>
                  <a:lnTo>
                    <a:pt x="2492" y="0"/>
                  </a:lnTo>
                  <a:lnTo>
                    <a:pt x="0" y="0"/>
                  </a:lnTo>
                  <a:close/>
                  <a:moveTo>
                    <a:pt x="594" y="1180"/>
                  </a:moveTo>
                  <a:lnTo>
                    <a:pt x="244" y="1180"/>
                  </a:lnTo>
                  <a:lnTo>
                    <a:pt x="244" y="852"/>
                  </a:lnTo>
                  <a:lnTo>
                    <a:pt x="594" y="852"/>
                  </a:lnTo>
                  <a:lnTo>
                    <a:pt x="594" y="1180"/>
                  </a:lnTo>
                  <a:close/>
                  <a:moveTo>
                    <a:pt x="594" y="600"/>
                  </a:moveTo>
                  <a:lnTo>
                    <a:pt x="244" y="600"/>
                  </a:lnTo>
                  <a:lnTo>
                    <a:pt x="244" y="272"/>
                  </a:lnTo>
                  <a:lnTo>
                    <a:pt x="594" y="272"/>
                  </a:lnTo>
                  <a:lnTo>
                    <a:pt x="594" y="600"/>
                  </a:lnTo>
                  <a:close/>
                  <a:moveTo>
                    <a:pt x="1156" y="1758"/>
                  </a:moveTo>
                  <a:lnTo>
                    <a:pt x="806" y="1758"/>
                  </a:lnTo>
                  <a:lnTo>
                    <a:pt x="806" y="1430"/>
                  </a:lnTo>
                  <a:lnTo>
                    <a:pt x="1156" y="1430"/>
                  </a:lnTo>
                  <a:lnTo>
                    <a:pt x="1156" y="1758"/>
                  </a:lnTo>
                  <a:close/>
                  <a:moveTo>
                    <a:pt x="1156" y="1180"/>
                  </a:moveTo>
                  <a:lnTo>
                    <a:pt x="806" y="1180"/>
                  </a:lnTo>
                  <a:lnTo>
                    <a:pt x="806" y="852"/>
                  </a:lnTo>
                  <a:lnTo>
                    <a:pt x="1156" y="852"/>
                  </a:lnTo>
                  <a:lnTo>
                    <a:pt x="1156" y="1180"/>
                  </a:lnTo>
                  <a:close/>
                  <a:moveTo>
                    <a:pt x="1156" y="600"/>
                  </a:moveTo>
                  <a:lnTo>
                    <a:pt x="806" y="600"/>
                  </a:lnTo>
                  <a:lnTo>
                    <a:pt x="806" y="272"/>
                  </a:lnTo>
                  <a:lnTo>
                    <a:pt x="1156" y="272"/>
                  </a:lnTo>
                  <a:lnTo>
                    <a:pt x="1156" y="600"/>
                  </a:lnTo>
                  <a:close/>
                  <a:moveTo>
                    <a:pt x="1706" y="1758"/>
                  </a:moveTo>
                  <a:lnTo>
                    <a:pt x="1356" y="1758"/>
                  </a:lnTo>
                  <a:lnTo>
                    <a:pt x="1356" y="1430"/>
                  </a:lnTo>
                  <a:lnTo>
                    <a:pt x="1706" y="1430"/>
                  </a:lnTo>
                  <a:lnTo>
                    <a:pt x="1706" y="1758"/>
                  </a:lnTo>
                  <a:close/>
                  <a:moveTo>
                    <a:pt x="1706" y="1180"/>
                  </a:moveTo>
                  <a:lnTo>
                    <a:pt x="1356" y="1180"/>
                  </a:lnTo>
                  <a:lnTo>
                    <a:pt x="1356" y="852"/>
                  </a:lnTo>
                  <a:lnTo>
                    <a:pt x="1706" y="852"/>
                  </a:lnTo>
                  <a:lnTo>
                    <a:pt x="1706" y="1180"/>
                  </a:lnTo>
                  <a:close/>
                  <a:moveTo>
                    <a:pt x="1706" y="600"/>
                  </a:moveTo>
                  <a:lnTo>
                    <a:pt x="1356" y="600"/>
                  </a:lnTo>
                  <a:lnTo>
                    <a:pt x="1356" y="272"/>
                  </a:lnTo>
                  <a:lnTo>
                    <a:pt x="1706" y="272"/>
                  </a:lnTo>
                  <a:lnTo>
                    <a:pt x="1706" y="600"/>
                  </a:lnTo>
                  <a:close/>
                  <a:moveTo>
                    <a:pt x="2274" y="1180"/>
                  </a:moveTo>
                  <a:lnTo>
                    <a:pt x="1924" y="1180"/>
                  </a:lnTo>
                  <a:lnTo>
                    <a:pt x="1924" y="852"/>
                  </a:lnTo>
                  <a:lnTo>
                    <a:pt x="2274" y="852"/>
                  </a:lnTo>
                  <a:lnTo>
                    <a:pt x="2274" y="1180"/>
                  </a:lnTo>
                  <a:close/>
                  <a:moveTo>
                    <a:pt x="2274" y="600"/>
                  </a:moveTo>
                  <a:lnTo>
                    <a:pt x="1924" y="600"/>
                  </a:lnTo>
                  <a:lnTo>
                    <a:pt x="1924" y="272"/>
                  </a:lnTo>
                  <a:lnTo>
                    <a:pt x="2274" y="272"/>
                  </a:lnTo>
                  <a:lnTo>
                    <a:pt x="2274"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951" name="Group 950"/>
          <p:cNvGrpSpPr/>
          <p:nvPr/>
        </p:nvGrpSpPr>
        <p:grpSpPr>
          <a:xfrm>
            <a:off x="7772827" y="3895882"/>
            <a:ext cx="278660" cy="339399"/>
            <a:chOff x="9572419" y="3805876"/>
            <a:chExt cx="278660" cy="339399"/>
          </a:xfrm>
        </p:grpSpPr>
        <p:sp>
          <p:nvSpPr>
            <p:cNvPr id="952" name="Freeform 72"/>
            <p:cNvSpPr>
              <a:spLocks/>
            </p:cNvSpPr>
            <p:nvPr/>
          </p:nvSpPr>
          <p:spPr bwMode="auto">
            <a:xfrm rot="16200000">
              <a:off x="9542049" y="3836246"/>
              <a:ext cx="339399" cy="278660"/>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0060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953" name="Group 952"/>
            <p:cNvGrpSpPr/>
            <p:nvPr/>
          </p:nvGrpSpPr>
          <p:grpSpPr>
            <a:xfrm rot="16200000">
              <a:off x="9559177" y="3854345"/>
              <a:ext cx="304414" cy="242461"/>
              <a:chOff x="-4206875" y="1603375"/>
              <a:chExt cx="3978275" cy="3168650"/>
            </a:xfrm>
            <a:solidFill>
              <a:schemeClr val="accent1">
                <a:lumMod val="75000"/>
              </a:schemeClr>
            </a:solidFill>
          </p:grpSpPr>
          <p:sp>
            <p:nvSpPr>
              <p:cNvPr id="954"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5"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6"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7"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8"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9"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0"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1"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sp>
        <p:nvSpPr>
          <p:cNvPr id="962" name="Bent Arrow 961"/>
          <p:cNvSpPr/>
          <p:nvPr/>
        </p:nvSpPr>
        <p:spPr bwMode="auto">
          <a:xfrm flipH="1">
            <a:off x="7352204" y="2915033"/>
            <a:ext cx="633398" cy="366623"/>
          </a:xfrm>
          <a:prstGeom prst="bentArrow">
            <a:avLst>
              <a:gd name="adj1" fmla="val 17986"/>
              <a:gd name="adj2" fmla="val 30248"/>
              <a:gd name="adj3" fmla="val 0"/>
              <a:gd name="adj4" fmla="val 57094"/>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963" name="Group 962"/>
          <p:cNvGrpSpPr>
            <a:grpSpLocks noChangeAspect="1"/>
          </p:cNvGrpSpPr>
          <p:nvPr/>
        </p:nvGrpSpPr>
        <p:grpSpPr>
          <a:xfrm>
            <a:off x="8455902" y="3370225"/>
            <a:ext cx="474409" cy="904327"/>
            <a:chOff x="13253772" y="-14449"/>
            <a:chExt cx="3216275" cy="6130925"/>
          </a:xfrm>
          <a:solidFill>
            <a:schemeClr val="bg1"/>
          </a:solidFill>
        </p:grpSpPr>
        <p:sp>
          <p:nvSpPr>
            <p:cNvPr id="964" name="Freeform 120"/>
            <p:cNvSpPr>
              <a:spLocks/>
            </p:cNvSpPr>
            <p:nvPr/>
          </p:nvSpPr>
          <p:spPr bwMode="auto">
            <a:xfrm>
              <a:off x="14787297" y="-14449"/>
              <a:ext cx="993775" cy="981075"/>
            </a:xfrm>
            <a:custGeom>
              <a:avLst/>
              <a:gdLst>
                <a:gd name="T0" fmla="*/ 194 w 626"/>
                <a:gd name="T1" fmla="*/ 24 h 618"/>
                <a:gd name="T2" fmla="*/ 232 w 626"/>
                <a:gd name="T3" fmla="*/ 10 h 618"/>
                <a:gd name="T4" fmla="*/ 270 w 626"/>
                <a:gd name="T5" fmla="*/ 2 h 618"/>
                <a:gd name="T6" fmla="*/ 310 w 626"/>
                <a:gd name="T7" fmla="*/ 0 h 618"/>
                <a:gd name="T8" fmla="*/ 348 w 626"/>
                <a:gd name="T9" fmla="*/ 2 h 618"/>
                <a:gd name="T10" fmla="*/ 386 w 626"/>
                <a:gd name="T11" fmla="*/ 10 h 618"/>
                <a:gd name="T12" fmla="*/ 458 w 626"/>
                <a:gd name="T13" fmla="*/ 38 h 618"/>
                <a:gd name="T14" fmla="*/ 522 w 626"/>
                <a:gd name="T15" fmla="*/ 82 h 618"/>
                <a:gd name="T16" fmla="*/ 574 w 626"/>
                <a:gd name="T17" fmla="*/ 140 h 618"/>
                <a:gd name="T18" fmla="*/ 594 w 626"/>
                <a:gd name="T19" fmla="*/ 172 h 618"/>
                <a:gd name="T20" fmla="*/ 610 w 626"/>
                <a:gd name="T21" fmla="*/ 208 h 618"/>
                <a:gd name="T22" fmla="*/ 622 w 626"/>
                <a:gd name="T23" fmla="*/ 246 h 618"/>
                <a:gd name="T24" fmla="*/ 626 w 626"/>
                <a:gd name="T25" fmla="*/ 284 h 618"/>
                <a:gd name="T26" fmla="*/ 626 w 626"/>
                <a:gd name="T27" fmla="*/ 324 h 618"/>
                <a:gd name="T28" fmla="*/ 626 w 626"/>
                <a:gd name="T29" fmla="*/ 348 h 618"/>
                <a:gd name="T30" fmla="*/ 620 w 626"/>
                <a:gd name="T31" fmla="*/ 392 h 618"/>
                <a:gd name="T32" fmla="*/ 608 w 626"/>
                <a:gd name="T33" fmla="*/ 434 h 618"/>
                <a:gd name="T34" fmla="*/ 588 w 626"/>
                <a:gd name="T35" fmla="*/ 472 h 618"/>
                <a:gd name="T36" fmla="*/ 562 w 626"/>
                <a:gd name="T37" fmla="*/ 506 h 618"/>
                <a:gd name="T38" fmla="*/ 532 w 626"/>
                <a:gd name="T39" fmla="*/ 536 h 618"/>
                <a:gd name="T40" fmla="*/ 498 w 626"/>
                <a:gd name="T41" fmla="*/ 560 h 618"/>
                <a:gd name="T42" fmla="*/ 460 w 626"/>
                <a:gd name="T43" fmla="*/ 582 h 618"/>
                <a:gd name="T44" fmla="*/ 420 w 626"/>
                <a:gd name="T45" fmla="*/ 598 h 618"/>
                <a:gd name="T46" fmla="*/ 378 w 626"/>
                <a:gd name="T47" fmla="*/ 610 h 618"/>
                <a:gd name="T48" fmla="*/ 336 w 626"/>
                <a:gd name="T49" fmla="*/ 616 h 618"/>
                <a:gd name="T50" fmla="*/ 292 w 626"/>
                <a:gd name="T51" fmla="*/ 618 h 618"/>
                <a:gd name="T52" fmla="*/ 248 w 626"/>
                <a:gd name="T53" fmla="*/ 612 h 618"/>
                <a:gd name="T54" fmla="*/ 206 w 626"/>
                <a:gd name="T55" fmla="*/ 602 h 618"/>
                <a:gd name="T56" fmla="*/ 166 w 626"/>
                <a:gd name="T57" fmla="*/ 586 h 618"/>
                <a:gd name="T58" fmla="*/ 130 w 626"/>
                <a:gd name="T59" fmla="*/ 562 h 618"/>
                <a:gd name="T60" fmla="*/ 112 w 626"/>
                <a:gd name="T61" fmla="*/ 548 h 618"/>
                <a:gd name="T62" fmla="*/ 80 w 626"/>
                <a:gd name="T63" fmla="*/ 520 h 618"/>
                <a:gd name="T64" fmla="*/ 56 w 626"/>
                <a:gd name="T65" fmla="*/ 490 h 618"/>
                <a:gd name="T66" fmla="*/ 34 w 626"/>
                <a:gd name="T67" fmla="*/ 456 h 618"/>
                <a:gd name="T68" fmla="*/ 18 w 626"/>
                <a:gd name="T69" fmla="*/ 420 h 618"/>
                <a:gd name="T70" fmla="*/ 8 w 626"/>
                <a:gd name="T71" fmla="*/ 382 h 618"/>
                <a:gd name="T72" fmla="*/ 2 w 626"/>
                <a:gd name="T73" fmla="*/ 342 h 618"/>
                <a:gd name="T74" fmla="*/ 4 w 626"/>
                <a:gd name="T75" fmla="*/ 262 h 618"/>
                <a:gd name="T76" fmla="*/ 18 w 626"/>
                <a:gd name="T77" fmla="*/ 204 h 618"/>
                <a:gd name="T78" fmla="*/ 34 w 626"/>
                <a:gd name="T79" fmla="*/ 168 h 618"/>
                <a:gd name="T80" fmla="*/ 54 w 626"/>
                <a:gd name="T81" fmla="*/ 132 h 618"/>
                <a:gd name="T82" fmla="*/ 78 w 626"/>
                <a:gd name="T83" fmla="*/ 102 h 618"/>
                <a:gd name="T84" fmla="*/ 106 w 626"/>
                <a:gd name="T85" fmla="*/ 74 h 618"/>
                <a:gd name="T86" fmla="*/ 138 w 626"/>
                <a:gd name="T87" fmla="*/ 50 h 618"/>
                <a:gd name="T88" fmla="*/ 174 w 626"/>
                <a:gd name="T89" fmla="*/ 32 h 618"/>
                <a:gd name="T90" fmla="*/ 194 w 626"/>
                <a:gd name="T91" fmla="*/ 2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6" h="618">
                  <a:moveTo>
                    <a:pt x="194" y="24"/>
                  </a:moveTo>
                  <a:lnTo>
                    <a:pt x="194" y="24"/>
                  </a:lnTo>
                  <a:lnTo>
                    <a:pt x="212" y="16"/>
                  </a:lnTo>
                  <a:lnTo>
                    <a:pt x="232" y="10"/>
                  </a:lnTo>
                  <a:lnTo>
                    <a:pt x="250" y="6"/>
                  </a:lnTo>
                  <a:lnTo>
                    <a:pt x="270" y="2"/>
                  </a:lnTo>
                  <a:lnTo>
                    <a:pt x="290" y="0"/>
                  </a:lnTo>
                  <a:lnTo>
                    <a:pt x="310" y="0"/>
                  </a:lnTo>
                  <a:lnTo>
                    <a:pt x="328" y="0"/>
                  </a:lnTo>
                  <a:lnTo>
                    <a:pt x="348" y="2"/>
                  </a:lnTo>
                  <a:lnTo>
                    <a:pt x="366" y="4"/>
                  </a:lnTo>
                  <a:lnTo>
                    <a:pt x="386" y="10"/>
                  </a:lnTo>
                  <a:lnTo>
                    <a:pt x="422" y="22"/>
                  </a:lnTo>
                  <a:lnTo>
                    <a:pt x="458" y="38"/>
                  </a:lnTo>
                  <a:lnTo>
                    <a:pt x="492" y="58"/>
                  </a:lnTo>
                  <a:lnTo>
                    <a:pt x="522" y="82"/>
                  </a:lnTo>
                  <a:lnTo>
                    <a:pt x="550" y="110"/>
                  </a:lnTo>
                  <a:lnTo>
                    <a:pt x="574" y="140"/>
                  </a:lnTo>
                  <a:lnTo>
                    <a:pt x="586" y="156"/>
                  </a:lnTo>
                  <a:lnTo>
                    <a:pt x="594" y="172"/>
                  </a:lnTo>
                  <a:lnTo>
                    <a:pt x="604" y="190"/>
                  </a:lnTo>
                  <a:lnTo>
                    <a:pt x="610" y="208"/>
                  </a:lnTo>
                  <a:lnTo>
                    <a:pt x="616" y="226"/>
                  </a:lnTo>
                  <a:lnTo>
                    <a:pt x="622" y="246"/>
                  </a:lnTo>
                  <a:lnTo>
                    <a:pt x="624" y="264"/>
                  </a:lnTo>
                  <a:lnTo>
                    <a:pt x="626" y="284"/>
                  </a:lnTo>
                  <a:lnTo>
                    <a:pt x="626" y="304"/>
                  </a:lnTo>
                  <a:lnTo>
                    <a:pt x="626" y="324"/>
                  </a:lnTo>
                  <a:lnTo>
                    <a:pt x="626" y="324"/>
                  </a:lnTo>
                  <a:lnTo>
                    <a:pt x="626" y="348"/>
                  </a:lnTo>
                  <a:lnTo>
                    <a:pt x="624" y="370"/>
                  </a:lnTo>
                  <a:lnTo>
                    <a:pt x="620" y="392"/>
                  </a:lnTo>
                  <a:lnTo>
                    <a:pt x="614" y="414"/>
                  </a:lnTo>
                  <a:lnTo>
                    <a:pt x="608" y="434"/>
                  </a:lnTo>
                  <a:lnTo>
                    <a:pt x="598" y="452"/>
                  </a:lnTo>
                  <a:lnTo>
                    <a:pt x="588" y="472"/>
                  </a:lnTo>
                  <a:lnTo>
                    <a:pt x="576" y="488"/>
                  </a:lnTo>
                  <a:lnTo>
                    <a:pt x="562" y="506"/>
                  </a:lnTo>
                  <a:lnTo>
                    <a:pt x="548" y="520"/>
                  </a:lnTo>
                  <a:lnTo>
                    <a:pt x="532" y="536"/>
                  </a:lnTo>
                  <a:lnTo>
                    <a:pt x="516" y="548"/>
                  </a:lnTo>
                  <a:lnTo>
                    <a:pt x="498" y="560"/>
                  </a:lnTo>
                  <a:lnTo>
                    <a:pt x="480" y="572"/>
                  </a:lnTo>
                  <a:lnTo>
                    <a:pt x="460" y="582"/>
                  </a:lnTo>
                  <a:lnTo>
                    <a:pt x="442" y="590"/>
                  </a:lnTo>
                  <a:lnTo>
                    <a:pt x="420" y="598"/>
                  </a:lnTo>
                  <a:lnTo>
                    <a:pt x="400" y="604"/>
                  </a:lnTo>
                  <a:lnTo>
                    <a:pt x="378" y="610"/>
                  </a:lnTo>
                  <a:lnTo>
                    <a:pt x="358" y="614"/>
                  </a:lnTo>
                  <a:lnTo>
                    <a:pt x="336" y="616"/>
                  </a:lnTo>
                  <a:lnTo>
                    <a:pt x="314" y="618"/>
                  </a:lnTo>
                  <a:lnTo>
                    <a:pt x="292" y="618"/>
                  </a:lnTo>
                  <a:lnTo>
                    <a:pt x="270" y="616"/>
                  </a:lnTo>
                  <a:lnTo>
                    <a:pt x="248" y="612"/>
                  </a:lnTo>
                  <a:lnTo>
                    <a:pt x="228" y="608"/>
                  </a:lnTo>
                  <a:lnTo>
                    <a:pt x="206" y="602"/>
                  </a:lnTo>
                  <a:lnTo>
                    <a:pt x="186" y="594"/>
                  </a:lnTo>
                  <a:lnTo>
                    <a:pt x="166" y="586"/>
                  </a:lnTo>
                  <a:lnTo>
                    <a:pt x="148" y="574"/>
                  </a:lnTo>
                  <a:lnTo>
                    <a:pt x="130" y="562"/>
                  </a:lnTo>
                  <a:lnTo>
                    <a:pt x="112" y="548"/>
                  </a:lnTo>
                  <a:lnTo>
                    <a:pt x="112" y="548"/>
                  </a:lnTo>
                  <a:lnTo>
                    <a:pt x="96" y="536"/>
                  </a:lnTo>
                  <a:lnTo>
                    <a:pt x="80" y="520"/>
                  </a:lnTo>
                  <a:lnTo>
                    <a:pt x="68" y="506"/>
                  </a:lnTo>
                  <a:lnTo>
                    <a:pt x="56" y="490"/>
                  </a:lnTo>
                  <a:lnTo>
                    <a:pt x="44" y="474"/>
                  </a:lnTo>
                  <a:lnTo>
                    <a:pt x="34" y="456"/>
                  </a:lnTo>
                  <a:lnTo>
                    <a:pt x="26" y="438"/>
                  </a:lnTo>
                  <a:lnTo>
                    <a:pt x="18" y="420"/>
                  </a:lnTo>
                  <a:lnTo>
                    <a:pt x="12" y="400"/>
                  </a:lnTo>
                  <a:lnTo>
                    <a:pt x="8" y="382"/>
                  </a:lnTo>
                  <a:lnTo>
                    <a:pt x="4" y="362"/>
                  </a:lnTo>
                  <a:lnTo>
                    <a:pt x="2" y="342"/>
                  </a:lnTo>
                  <a:lnTo>
                    <a:pt x="0" y="302"/>
                  </a:lnTo>
                  <a:lnTo>
                    <a:pt x="4" y="262"/>
                  </a:lnTo>
                  <a:lnTo>
                    <a:pt x="12" y="222"/>
                  </a:lnTo>
                  <a:lnTo>
                    <a:pt x="18" y="204"/>
                  </a:lnTo>
                  <a:lnTo>
                    <a:pt x="26" y="186"/>
                  </a:lnTo>
                  <a:lnTo>
                    <a:pt x="34" y="168"/>
                  </a:lnTo>
                  <a:lnTo>
                    <a:pt x="42" y="150"/>
                  </a:lnTo>
                  <a:lnTo>
                    <a:pt x="54" y="132"/>
                  </a:lnTo>
                  <a:lnTo>
                    <a:pt x="64" y="116"/>
                  </a:lnTo>
                  <a:lnTo>
                    <a:pt x="78" y="102"/>
                  </a:lnTo>
                  <a:lnTo>
                    <a:pt x="90" y="88"/>
                  </a:lnTo>
                  <a:lnTo>
                    <a:pt x="106" y="74"/>
                  </a:lnTo>
                  <a:lnTo>
                    <a:pt x="120" y="62"/>
                  </a:lnTo>
                  <a:lnTo>
                    <a:pt x="138" y="50"/>
                  </a:lnTo>
                  <a:lnTo>
                    <a:pt x="156" y="40"/>
                  </a:lnTo>
                  <a:lnTo>
                    <a:pt x="174" y="32"/>
                  </a:lnTo>
                  <a:lnTo>
                    <a:pt x="194" y="24"/>
                  </a:lnTo>
                  <a:lnTo>
                    <a:pt x="194"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5" name="Freeform 121"/>
            <p:cNvSpPr>
              <a:spLocks/>
            </p:cNvSpPr>
            <p:nvPr/>
          </p:nvSpPr>
          <p:spPr bwMode="auto">
            <a:xfrm>
              <a:off x="13253772" y="1125376"/>
              <a:ext cx="3216275" cy="4991100"/>
            </a:xfrm>
            <a:custGeom>
              <a:avLst/>
              <a:gdLst>
                <a:gd name="T0" fmla="*/ 690 w 2026"/>
                <a:gd name="T1" fmla="*/ 66 h 3144"/>
                <a:gd name="T2" fmla="*/ 796 w 2026"/>
                <a:gd name="T3" fmla="*/ 14 h 3144"/>
                <a:gd name="T4" fmla="*/ 918 w 2026"/>
                <a:gd name="T5" fmla="*/ 0 h 3144"/>
                <a:gd name="T6" fmla="*/ 1102 w 2026"/>
                <a:gd name="T7" fmla="*/ 0 h 3144"/>
                <a:gd name="T8" fmla="*/ 1476 w 2026"/>
                <a:gd name="T9" fmla="*/ 2 h 3144"/>
                <a:gd name="T10" fmla="*/ 1660 w 2026"/>
                <a:gd name="T11" fmla="*/ 18 h 3144"/>
                <a:gd name="T12" fmla="*/ 1840 w 2026"/>
                <a:gd name="T13" fmla="*/ 68 h 3144"/>
                <a:gd name="T14" fmla="*/ 1910 w 2026"/>
                <a:gd name="T15" fmla="*/ 114 h 3144"/>
                <a:gd name="T16" fmla="*/ 1974 w 2026"/>
                <a:gd name="T17" fmla="*/ 202 h 3144"/>
                <a:gd name="T18" fmla="*/ 2010 w 2026"/>
                <a:gd name="T19" fmla="*/ 310 h 3144"/>
                <a:gd name="T20" fmla="*/ 2026 w 2026"/>
                <a:gd name="T21" fmla="*/ 448 h 3144"/>
                <a:gd name="T22" fmla="*/ 2024 w 2026"/>
                <a:gd name="T23" fmla="*/ 1290 h 3144"/>
                <a:gd name="T24" fmla="*/ 2020 w 2026"/>
                <a:gd name="T25" fmla="*/ 1438 h 3144"/>
                <a:gd name="T26" fmla="*/ 2004 w 2026"/>
                <a:gd name="T27" fmla="*/ 1484 h 3144"/>
                <a:gd name="T28" fmla="*/ 1948 w 2026"/>
                <a:gd name="T29" fmla="*/ 1528 h 3144"/>
                <a:gd name="T30" fmla="*/ 1854 w 2026"/>
                <a:gd name="T31" fmla="*/ 1538 h 3144"/>
                <a:gd name="T32" fmla="*/ 1794 w 2026"/>
                <a:gd name="T33" fmla="*/ 1504 h 3144"/>
                <a:gd name="T34" fmla="*/ 1770 w 2026"/>
                <a:gd name="T35" fmla="*/ 1462 h 3144"/>
                <a:gd name="T36" fmla="*/ 1762 w 2026"/>
                <a:gd name="T37" fmla="*/ 1320 h 3144"/>
                <a:gd name="T38" fmla="*/ 1762 w 2026"/>
                <a:gd name="T39" fmla="*/ 630 h 3144"/>
                <a:gd name="T40" fmla="*/ 1664 w 2026"/>
                <a:gd name="T41" fmla="*/ 514 h 3144"/>
                <a:gd name="T42" fmla="*/ 1664 w 2026"/>
                <a:gd name="T43" fmla="*/ 2966 h 3144"/>
                <a:gd name="T44" fmla="*/ 1634 w 2026"/>
                <a:gd name="T45" fmla="*/ 3058 h 3144"/>
                <a:gd name="T46" fmla="*/ 1564 w 2026"/>
                <a:gd name="T47" fmla="*/ 3122 h 3144"/>
                <a:gd name="T48" fmla="*/ 1472 w 2026"/>
                <a:gd name="T49" fmla="*/ 3144 h 3144"/>
                <a:gd name="T50" fmla="*/ 1400 w 2026"/>
                <a:gd name="T51" fmla="*/ 3126 h 3144"/>
                <a:gd name="T52" fmla="*/ 1358 w 2026"/>
                <a:gd name="T53" fmla="*/ 3104 h 3144"/>
                <a:gd name="T54" fmla="*/ 1330 w 2026"/>
                <a:gd name="T55" fmla="*/ 3044 h 3144"/>
                <a:gd name="T56" fmla="*/ 1318 w 2026"/>
                <a:gd name="T57" fmla="*/ 2796 h 3144"/>
                <a:gd name="T58" fmla="*/ 1320 w 2026"/>
                <a:gd name="T59" fmla="*/ 1900 h 3144"/>
                <a:gd name="T60" fmla="*/ 1226 w 2026"/>
                <a:gd name="T61" fmla="*/ 1530 h 3144"/>
                <a:gd name="T62" fmla="*/ 1222 w 2026"/>
                <a:gd name="T63" fmla="*/ 2268 h 3144"/>
                <a:gd name="T64" fmla="*/ 1220 w 2026"/>
                <a:gd name="T65" fmla="*/ 3008 h 3144"/>
                <a:gd name="T66" fmla="*/ 1194 w 2026"/>
                <a:gd name="T67" fmla="*/ 3070 h 3144"/>
                <a:gd name="T68" fmla="*/ 1148 w 2026"/>
                <a:gd name="T69" fmla="*/ 3114 h 3144"/>
                <a:gd name="T70" fmla="*/ 1090 w 2026"/>
                <a:gd name="T71" fmla="*/ 3136 h 3144"/>
                <a:gd name="T72" fmla="*/ 994 w 2026"/>
                <a:gd name="T73" fmla="*/ 3136 h 3144"/>
                <a:gd name="T74" fmla="*/ 936 w 2026"/>
                <a:gd name="T75" fmla="*/ 3112 h 3144"/>
                <a:gd name="T76" fmla="*/ 890 w 2026"/>
                <a:gd name="T77" fmla="*/ 3070 h 3144"/>
                <a:gd name="T78" fmla="*/ 866 w 2026"/>
                <a:gd name="T79" fmla="*/ 3010 h 3144"/>
                <a:gd name="T80" fmla="*/ 862 w 2026"/>
                <a:gd name="T81" fmla="*/ 2320 h 3144"/>
                <a:gd name="T82" fmla="*/ 860 w 2026"/>
                <a:gd name="T83" fmla="*/ 356 h 3144"/>
                <a:gd name="T84" fmla="*/ 552 w 2026"/>
                <a:gd name="T85" fmla="*/ 718 h 3144"/>
                <a:gd name="T86" fmla="*/ 282 w 2026"/>
                <a:gd name="T87" fmla="*/ 1032 h 3144"/>
                <a:gd name="T88" fmla="*/ 216 w 2026"/>
                <a:gd name="T89" fmla="*/ 1090 h 3144"/>
                <a:gd name="T90" fmla="*/ 164 w 2026"/>
                <a:gd name="T91" fmla="*/ 1104 h 3144"/>
                <a:gd name="T92" fmla="*/ 90 w 2026"/>
                <a:gd name="T93" fmla="*/ 1088 h 3144"/>
                <a:gd name="T94" fmla="*/ 18 w 2026"/>
                <a:gd name="T95" fmla="*/ 1016 h 3144"/>
                <a:gd name="T96" fmla="*/ 0 w 2026"/>
                <a:gd name="T97" fmla="*/ 942 h 3144"/>
                <a:gd name="T98" fmla="*/ 12 w 2026"/>
                <a:gd name="T99" fmla="*/ 890 h 3144"/>
                <a:gd name="T100" fmla="*/ 102 w 2026"/>
                <a:gd name="T101" fmla="*/ 770 h 3144"/>
                <a:gd name="T102" fmla="*/ 646 w 2026"/>
                <a:gd name="T103" fmla="*/ 11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6" h="3144">
                  <a:moveTo>
                    <a:pt x="646" y="112"/>
                  </a:moveTo>
                  <a:lnTo>
                    <a:pt x="646" y="112"/>
                  </a:lnTo>
                  <a:lnTo>
                    <a:pt x="666" y="88"/>
                  </a:lnTo>
                  <a:lnTo>
                    <a:pt x="690" y="66"/>
                  </a:lnTo>
                  <a:lnTo>
                    <a:pt x="714" y="48"/>
                  </a:lnTo>
                  <a:lnTo>
                    <a:pt x="740" y="34"/>
                  </a:lnTo>
                  <a:lnTo>
                    <a:pt x="768" y="22"/>
                  </a:lnTo>
                  <a:lnTo>
                    <a:pt x="796" y="14"/>
                  </a:lnTo>
                  <a:lnTo>
                    <a:pt x="826" y="8"/>
                  </a:lnTo>
                  <a:lnTo>
                    <a:pt x="856" y="4"/>
                  </a:lnTo>
                  <a:lnTo>
                    <a:pt x="886" y="2"/>
                  </a:lnTo>
                  <a:lnTo>
                    <a:pt x="918" y="0"/>
                  </a:lnTo>
                  <a:lnTo>
                    <a:pt x="980" y="0"/>
                  </a:lnTo>
                  <a:lnTo>
                    <a:pt x="1042" y="2"/>
                  </a:lnTo>
                  <a:lnTo>
                    <a:pt x="1102" y="0"/>
                  </a:lnTo>
                  <a:lnTo>
                    <a:pt x="1102" y="0"/>
                  </a:lnTo>
                  <a:lnTo>
                    <a:pt x="1196" y="2"/>
                  </a:lnTo>
                  <a:lnTo>
                    <a:pt x="1288" y="2"/>
                  </a:lnTo>
                  <a:lnTo>
                    <a:pt x="1382" y="0"/>
                  </a:lnTo>
                  <a:lnTo>
                    <a:pt x="1476" y="2"/>
                  </a:lnTo>
                  <a:lnTo>
                    <a:pt x="1522" y="4"/>
                  </a:lnTo>
                  <a:lnTo>
                    <a:pt x="1568" y="6"/>
                  </a:lnTo>
                  <a:lnTo>
                    <a:pt x="1614" y="12"/>
                  </a:lnTo>
                  <a:lnTo>
                    <a:pt x="1660" y="18"/>
                  </a:lnTo>
                  <a:lnTo>
                    <a:pt x="1706" y="26"/>
                  </a:lnTo>
                  <a:lnTo>
                    <a:pt x="1750" y="38"/>
                  </a:lnTo>
                  <a:lnTo>
                    <a:pt x="1796" y="50"/>
                  </a:lnTo>
                  <a:lnTo>
                    <a:pt x="1840" y="68"/>
                  </a:lnTo>
                  <a:lnTo>
                    <a:pt x="1840" y="68"/>
                  </a:lnTo>
                  <a:lnTo>
                    <a:pt x="1866" y="80"/>
                  </a:lnTo>
                  <a:lnTo>
                    <a:pt x="1888" y="96"/>
                  </a:lnTo>
                  <a:lnTo>
                    <a:pt x="1910" y="114"/>
                  </a:lnTo>
                  <a:lnTo>
                    <a:pt x="1930" y="134"/>
                  </a:lnTo>
                  <a:lnTo>
                    <a:pt x="1946" y="154"/>
                  </a:lnTo>
                  <a:lnTo>
                    <a:pt x="1960" y="178"/>
                  </a:lnTo>
                  <a:lnTo>
                    <a:pt x="1974" y="202"/>
                  </a:lnTo>
                  <a:lnTo>
                    <a:pt x="1984" y="228"/>
                  </a:lnTo>
                  <a:lnTo>
                    <a:pt x="1994" y="254"/>
                  </a:lnTo>
                  <a:lnTo>
                    <a:pt x="2002" y="282"/>
                  </a:lnTo>
                  <a:lnTo>
                    <a:pt x="2010" y="310"/>
                  </a:lnTo>
                  <a:lnTo>
                    <a:pt x="2014" y="338"/>
                  </a:lnTo>
                  <a:lnTo>
                    <a:pt x="2022" y="394"/>
                  </a:lnTo>
                  <a:lnTo>
                    <a:pt x="2026" y="448"/>
                  </a:lnTo>
                  <a:lnTo>
                    <a:pt x="2026" y="448"/>
                  </a:lnTo>
                  <a:lnTo>
                    <a:pt x="2026" y="690"/>
                  </a:lnTo>
                  <a:lnTo>
                    <a:pt x="2026" y="930"/>
                  </a:lnTo>
                  <a:lnTo>
                    <a:pt x="2026" y="1170"/>
                  </a:lnTo>
                  <a:lnTo>
                    <a:pt x="2024" y="1290"/>
                  </a:lnTo>
                  <a:lnTo>
                    <a:pt x="2022" y="1410"/>
                  </a:lnTo>
                  <a:lnTo>
                    <a:pt x="2022" y="1410"/>
                  </a:lnTo>
                  <a:lnTo>
                    <a:pt x="2022" y="1426"/>
                  </a:lnTo>
                  <a:lnTo>
                    <a:pt x="2020" y="1438"/>
                  </a:lnTo>
                  <a:lnTo>
                    <a:pt x="2018" y="1452"/>
                  </a:lnTo>
                  <a:lnTo>
                    <a:pt x="2014" y="1462"/>
                  </a:lnTo>
                  <a:lnTo>
                    <a:pt x="2010" y="1474"/>
                  </a:lnTo>
                  <a:lnTo>
                    <a:pt x="2004" y="1484"/>
                  </a:lnTo>
                  <a:lnTo>
                    <a:pt x="1996" y="1494"/>
                  </a:lnTo>
                  <a:lnTo>
                    <a:pt x="1988" y="1502"/>
                  </a:lnTo>
                  <a:lnTo>
                    <a:pt x="1970" y="1516"/>
                  </a:lnTo>
                  <a:lnTo>
                    <a:pt x="1948" y="1528"/>
                  </a:lnTo>
                  <a:lnTo>
                    <a:pt x="1926" y="1536"/>
                  </a:lnTo>
                  <a:lnTo>
                    <a:pt x="1902" y="1540"/>
                  </a:lnTo>
                  <a:lnTo>
                    <a:pt x="1878" y="1540"/>
                  </a:lnTo>
                  <a:lnTo>
                    <a:pt x="1854" y="1538"/>
                  </a:lnTo>
                  <a:lnTo>
                    <a:pt x="1832" y="1530"/>
                  </a:lnTo>
                  <a:lnTo>
                    <a:pt x="1812" y="1520"/>
                  </a:lnTo>
                  <a:lnTo>
                    <a:pt x="1802" y="1512"/>
                  </a:lnTo>
                  <a:lnTo>
                    <a:pt x="1794" y="1504"/>
                  </a:lnTo>
                  <a:lnTo>
                    <a:pt x="1786" y="1496"/>
                  </a:lnTo>
                  <a:lnTo>
                    <a:pt x="1780" y="1486"/>
                  </a:lnTo>
                  <a:lnTo>
                    <a:pt x="1774" y="1474"/>
                  </a:lnTo>
                  <a:lnTo>
                    <a:pt x="1770" y="1462"/>
                  </a:lnTo>
                  <a:lnTo>
                    <a:pt x="1768" y="1450"/>
                  </a:lnTo>
                  <a:lnTo>
                    <a:pt x="1766" y="1434"/>
                  </a:lnTo>
                  <a:lnTo>
                    <a:pt x="1766" y="1434"/>
                  </a:lnTo>
                  <a:lnTo>
                    <a:pt x="1762" y="1320"/>
                  </a:lnTo>
                  <a:lnTo>
                    <a:pt x="1760" y="1206"/>
                  </a:lnTo>
                  <a:lnTo>
                    <a:pt x="1760" y="976"/>
                  </a:lnTo>
                  <a:lnTo>
                    <a:pt x="1762" y="746"/>
                  </a:lnTo>
                  <a:lnTo>
                    <a:pt x="1762" y="630"/>
                  </a:lnTo>
                  <a:lnTo>
                    <a:pt x="1760" y="516"/>
                  </a:lnTo>
                  <a:lnTo>
                    <a:pt x="1760" y="516"/>
                  </a:lnTo>
                  <a:lnTo>
                    <a:pt x="1664" y="514"/>
                  </a:lnTo>
                  <a:lnTo>
                    <a:pt x="1664" y="514"/>
                  </a:lnTo>
                  <a:lnTo>
                    <a:pt x="1664" y="1726"/>
                  </a:lnTo>
                  <a:lnTo>
                    <a:pt x="1664" y="2940"/>
                  </a:lnTo>
                  <a:lnTo>
                    <a:pt x="1664" y="2940"/>
                  </a:lnTo>
                  <a:lnTo>
                    <a:pt x="1664" y="2966"/>
                  </a:lnTo>
                  <a:lnTo>
                    <a:pt x="1662" y="2992"/>
                  </a:lnTo>
                  <a:lnTo>
                    <a:pt x="1654" y="3016"/>
                  </a:lnTo>
                  <a:lnTo>
                    <a:pt x="1646" y="3038"/>
                  </a:lnTo>
                  <a:lnTo>
                    <a:pt x="1634" y="3058"/>
                  </a:lnTo>
                  <a:lnTo>
                    <a:pt x="1620" y="3078"/>
                  </a:lnTo>
                  <a:lnTo>
                    <a:pt x="1602" y="3094"/>
                  </a:lnTo>
                  <a:lnTo>
                    <a:pt x="1584" y="3110"/>
                  </a:lnTo>
                  <a:lnTo>
                    <a:pt x="1564" y="3122"/>
                  </a:lnTo>
                  <a:lnTo>
                    <a:pt x="1542" y="3132"/>
                  </a:lnTo>
                  <a:lnTo>
                    <a:pt x="1520" y="3138"/>
                  </a:lnTo>
                  <a:lnTo>
                    <a:pt x="1496" y="3142"/>
                  </a:lnTo>
                  <a:lnTo>
                    <a:pt x="1472" y="3144"/>
                  </a:lnTo>
                  <a:lnTo>
                    <a:pt x="1448" y="3142"/>
                  </a:lnTo>
                  <a:lnTo>
                    <a:pt x="1424" y="3136"/>
                  </a:lnTo>
                  <a:lnTo>
                    <a:pt x="1400" y="3126"/>
                  </a:lnTo>
                  <a:lnTo>
                    <a:pt x="1400" y="3126"/>
                  </a:lnTo>
                  <a:lnTo>
                    <a:pt x="1386" y="3122"/>
                  </a:lnTo>
                  <a:lnTo>
                    <a:pt x="1376" y="3118"/>
                  </a:lnTo>
                  <a:lnTo>
                    <a:pt x="1366" y="3112"/>
                  </a:lnTo>
                  <a:lnTo>
                    <a:pt x="1358" y="3104"/>
                  </a:lnTo>
                  <a:lnTo>
                    <a:pt x="1350" y="3096"/>
                  </a:lnTo>
                  <a:lnTo>
                    <a:pt x="1344" y="3086"/>
                  </a:lnTo>
                  <a:lnTo>
                    <a:pt x="1336" y="3066"/>
                  </a:lnTo>
                  <a:lnTo>
                    <a:pt x="1330" y="3044"/>
                  </a:lnTo>
                  <a:lnTo>
                    <a:pt x="1326" y="3020"/>
                  </a:lnTo>
                  <a:lnTo>
                    <a:pt x="1322" y="2974"/>
                  </a:lnTo>
                  <a:lnTo>
                    <a:pt x="1322" y="2974"/>
                  </a:lnTo>
                  <a:lnTo>
                    <a:pt x="1318" y="2796"/>
                  </a:lnTo>
                  <a:lnTo>
                    <a:pt x="1318" y="2616"/>
                  </a:lnTo>
                  <a:lnTo>
                    <a:pt x="1320" y="2258"/>
                  </a:lnTo>
                  <a:lnTo>
                    <a:pt x="1320" y="2080"/>
                  </a:lnTo>
                  <a:lnTo>
                    <a:pt x="1320" y="1900"/>
                  </a:lnTo>
                  <a:lnTo>
                    <a:pt x="1318" y="1722"/>
                  </a:lnTo>
                  <a:lnTo>
                    <a:pt x="1314" y="1542"/>
                  </a:lnTo>
                  <a:lnTo>
                    <a:pt x="1314" y="1542"/>
                  </a:lnTo>
                  <a:lnTo>
                    <a:pt x="1226" y="1530"/>
                  </a:lnTo>
                  <a:lnTo>
                    <a:pt x="1226" y="1530"/>
                  </a:lnTo>
                  <a:lnTo>
                    <a:pt x="1224" y="1714"/>
                  </a:lnTo>
                  <a:lnTo>
                    <a:pt x="1222" y="1900"/>
                  </a:lnTo>
                  <a:lnTo>
                    <a:pt x="1222" y="2268"/>
                  </a:lnTo>
                  <a:lnTo>
                    <a:pt x="1224" y="2638"/>
                  </a:lnTo>
                  <a:lnTo>
                    <a:pt x="1222" y="2824"/>
                  </a:lnTo>
                  <a:lnTo>
                    <a:pt x="1220" y="3008"/>
                  </a:lnTo>
                  <a:lnTo>
                    <a:pt x="1220" y="3008"/>
                  </a:lnTo>
                  <a:lnTo>
                    <a:pt x="1216" y="3026"/>
                  </a:lnTo>
                  <a:lnTo>
                    <a:pt x="1210" y="3042"/>
                  </a:lnTo>
                  <a:lnTo>
                    <a:pt x="1202" y="3056"/>
                  </a:lnTo>
                  <a:lnTo>
                    <a:pt x="1194" y="3070"/>
                  </a:lnTo>
                  <a:lnTo>
                    <a:pt x="1184" y="3084"/>
                  </a:lnTo>
                  <a:lnTo>
                    <a:pt x="1174" y="3094"/>
                  </a:lnTo>
                  <a:lnTo>
                    <a:pt x="1162" y="3104"/>
                  </a:lnTo>
                  <a:lnTo>
                    <a:pt x="1148" y="3114"/>
                  </a:lnTo>
                  <a:lnTo>
                    <a:pt x="1136" y="3120"/>
                  </a:lnTo>
                  <a:lnTo>
                    <a:pt x="1120" y="3128"/>
                  </a:lnTo>
                  <a:lnTo>
                    <a:pt x="1106" y="3132"/>
                  </a:lnTo>
                  <a:lnTo>
                    <a:pt x="1090" y="3136"/>
                  </a:lnTo>
                  <a:lnTo>
                    <a:pt x="1074" y="3140"/>
                  </a:lnTo>
                  <a:lnTo>
                    <a:pt x="1058" y="3140"/>
                  </a:lnTo>
                  <a:lnTo>
                    <a:pt x="1026" y="3140"/>
                  </a:lnTo>
                  <a:lnTo>
                    <a:pt x="994" y="3136"/>
                  </a:lnTo>
                  <a:lnTo>
                    <a:pt x="978" y="3132"/>
                  </a:lnTo>
                  <a:lnTo>
                    <a:pt x="964" y="3126"/>
                  </a:lnTo>
                  <a:lnTo>
                    <a:pt x="948" y="3120"/>
                  </a:lnTo>
                  <a:lnTo>
                    <a:pt x="936" y="3112"/>
                  </a:lnTo>
                  <a:lnTo>
                    <a:pt x="922" y="3102"/>
                  </a:lnTo>
                  <a:lnTo>
                    <a:pt x="910" y="3092"/>
                  </a:lnTo>
                  <a:lnTo>
                    <a:pt x="900" y="3082"/>
                  </a:lnTo>
                  <a:lnTo>
                    <a:pt x="890" y="3070"/>
                  </a:lnTo>
                  <a:lnTo>
                    <a:pt x="882" y="3056"/>
                  </a:lnTo>
                  <a:lnTo>
                    <a:pt x="874" y="3042"/>
                  </a:lnTo>
                  <a:lnTo>
                    <a:pt x="870" y="3026"/>
                  </a:lnTo>
                  <a:lnTo>
                    <a:pt x="866" y="3010"/>
                  </a:lnTo>
                  <a:lnTo>
                    <a:pt x="864" y="2992"/>
                  </a:lnTo>
                  <a:lnTo>
                    <a:pt x="864" y="2974"/>
                  </a:lnTo>
                  <a:lnTo>
                    <a:pt x="864" y="2974"/>
                  </a:lnTo>
                  <a:lnTo>
                    <a:pt x="862" y="2320"/>
                  </a:lnTo>
                  <a:lnTo>
                    <a:pt x="862" y="1664"/>
                  </a:lnTo>
                  <a:lnTo>
                    <a:pt x="862" y="1010"/>
                  </a:lnTo>
                  <a:lnTo>
                    <a:pt x="860" y="356"/>
                  </a:lnTo>
                  <a:lnTo>
                    <a:pt x="860" y="356"/>
                  </a:lnTo>
                  <a:lnTo>
                    <a:pt x="780" y="444"/>
                  </a:lnTo>
                  <a:lnTo>
                    <a:pt x="702" y="534"/>
                  </a:lnTo>
                  <a:lnTo>
                    <a:pt x="628" y="626"/>
                  </a:lnTo>
                  <a:lnTo>
                    <a:pt x="552" y="718"/>
                  </a:lnTo>
                  <a:lnTo>
                    <a:pt x="478" y="810"/>
                  </a:lnTo>
                  <a:lnTo>
                    <a:pt x="400" y="900"/>
                  </a:lnTo>
                  <a:lnTo>
                    <a:pt x="322" y="988"/>
                  </a:lnTo>
                  <a:lnTo>
                    <a:pt x="282" y="1032"/>
                  </a:lnTo>
                  <a:lnTo>
                    <a:pt x="240" y="1074"/>
                  </a:lnTo>
                  <a:lnTo>
                    <a:pt x="240" y="1074"/>
                  </a:lnTo>
                  <a:lnTo>
                    <a:pt x="228" y="1082"/>
                  </a:lnTo>
                  <a:lnTo>
                    <a:pt x="216" y="1090"/>
                  </a:lnTo>
                  <a:lnTo>
                    <a:pt x="202" y="1096"/>
                  </a:lnTo>
                  <a:lnTo>
                    <a:pt x="190" y="1100"/>
                  </a:lnTo>
                  <a:lnTo>
                    <a:pt x="178" y="1104"/>
                  </a:lnTo>
                  <a:lnTo>
                    <a:pt x="164" y="1104"/>
                  </a:lnTo>
                  <a:lnTo>
                    <a:pt x="152" y="1104"/>
                  </a:lnTo>
                  <a:lnTo>
                    <a:pt x="140" y="1104"/>
                  </a:lnTo>
                  <a:lnTo>
                    <a:pt x="114" y="1098"/>
                  </a:lnTo>
                  <a:lnTo>
                    <a:pt x="90" y="1088"/>
                  </a:lnTo>
                  <a:lnTo>
                    <a:pt x="68" y="1074"/>
                  </a:lnTo>
                  <a:lnTo>
                    <a:pt x="50" y="1058"/>
                  </a:lnTo>
                  <a:lnTo>
                    <a:pt x="32" y="1038"/>
                  </a:lnTo>
                  <a:lnTo>
                    <a:pt x="18" y="1016"/>
                  </a:lnTo>
                  <a:lnTo>
                    <a:pt x="8" y="992"/>
                  </a:lnTo>
                  <a:lnTo>
                    <a:pt x="2" y="968"/>
                  </a:lnTo>
                  <a:lnTo>
                    <a:pt x="0" y="954"/>
                  </a:lnTo>
                  <a:lnTo>
                    <a:pt x="0" y="942"/>
                  </a:lnTo>
                  <a:lnTo>
                    <a:pt x="0" y="930"/>
                  </a:lnTo>
                  <a:lnTo>
                    <a:pt x="4" y="916"/>
                  </a:lnTo>
                  <a:lnTo>
                    <a:pt x="8" y="904"/>
                  </a:lnTo>
                  <a:lnTo>
                    <a:pt x="12" y="890"/>
                  </a:lnTo>
                  <a:lnTo>
                    <a:pt x="20" y="878"/>
                  </a:lnTo>
                  <a:lnTo>
                    <a:pt x="28" y="866"/>
                  </a:lnTo>
                  <a:lnTo>
                    <a:pt x="28" y="866"/>
                  </a:lnTo>
                  <a:lnTo>
                    <a:pt x="102" y="770"/>
                  </a:lnTo>
                  <a:lnTo>
                    <a:pt x="178" y="674"/>
                  </a:lnTo>
                  <a:lnTo>
                    <a:pt x="334" y="486"/>
                  </a:lnTo>
                  <a:lnTo>
                    <a:pt x="490" y="300"/>
                  </a:lnTo>
                  <a:lnTo>
                    <a:pt x="646" y="112"/>
                  </a:lnTo>
                  <a:lnTo>
                    <a:pt x="646" y="1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967" name="Rectangle 966"/>
          <p:cNvSpPr/>
          <p:nvPr/>
        </p:nvSpPr>
        <p:spPr bwMode="auto">
          <a:xfrm>
            <a:off x="7528556" y="2000562"/>
            <a:ext cx="2248996" cy="658368"/>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Transmits operational information to the partner (e.g. OEM) and to field service engineers for remote process automation and optimization. </a:t>
            </a:r>
            <a:endParaRPr kumimoji="0" lang="en-US" sz="900" b="0" i="0" u="none" strike="noStrike" kern="0" cap="none" spc="0" normalizeH="0" baseline="0" noProof="0" dirty="0">
              <a:ln w="3175">
                <a:noFill/>
              </a:ln>
              <a:solidFill>
                <a:srgbClr val="FFFFFF"/>
              </a:solidFill>
              <a:effectLst/>
              <a:uLnTx/>
              <a:uFillTx/>
              <a:cs typeface="Arial" charset="0"/>
            </a:endParaRPr>
          </a:p>
        </p:txBody>
      </p:sp>
      <p:cxnSp>
        <p:nvCxnSpPr>
          <p:cNvPr id="968" name="Straight Connector 967"/>
          <p:cNvCxnSpPr/>
          <p:nvPr/>
        </p:nvCxnSpPr>
        <p:spPr>
          <a:xfrm flipV="1">
            <a:off x="7528557" y="2000562"/>
            <a:ext cx="1" cy="658368"/>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974" name="Group 973"/>
          <p:cNvGrpSpPr>
            <a:grpSpLocks noChangeAspect="1"/>
          </p:cNvGrpSpPr>
          <p:nvPr/>
        </p:nvGrpSpPr>
        <p:grpSpPr>
          <a:xfrm>
            <a:off x="1476453" y="3365644"/>
            <a:ext cx="254191" cy="208701"/>
            <a:chOff x="-4435475" y="1371600"/>
            <a:chExt cx="4435475" cy="3641725"/>
          </a:xfrm>
        </p:grpSpPr>
        <p:sp>
          <p:nvSpPr>
            <p:cNvPr id="975"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976" name="Group 975"/>
            <p:cNvGrpSpPr/>
            <p:nvPr/>
          </p:nvGrpSpPr>
          <p:grpSpPr>
            <a:xfrm>
              <a:off x="-4206871" y="1603382"/>
              <a:ext cx="3978266" cy="3168652"/>
              <a:chOff x="-4206875" y="1603375"/>
              <a:chExt cx="3978275" cy="3168650"/>
            </a:xfrm>
            <a:solidFill>
              <a:schemeClr val="bg1"/>
            </a:solidFill>
          </p:grpSpPr>
          <p:sp>
            <p:nvSpPr>
              <p:cNvPr id="977"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8"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9"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2"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3"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4"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cxnSp>
        <p:nvCxnSpPr>
          <p:cNvPr id="985" name="Elbow Connector 984"/>
          <p:cNvCxnSpPr>
            <a:stCxn id="967" idx="1"/>
            <a:endCxn id="19" idx="1"/>
          </p:cNvCxnSpPr>
          <p:nvPr/>
        </p:nvCxnSpPr>
        <p:spPr>
          <a:xfrm rot="10800000" flipH="1" flipV="1">
            <a:off x="7528556" y="2329746"/>
            <a:ext cx="229002" cy="1756299"/>
          </a:xfrm>
          <a:prstGeom prst="bentConnector3">
            <a:avLst>
              <a:gd name="adj1" fmla="val -39514"/>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986" name="Isosceles Triangle 10"/>
          <p:cNvSpPr/>
          <p:nvPr/>
        </p:nvSpPr>
        <p:spPr bwMode="auto">
          <a:xfrm rot="10800000">
            <a:off x="5801426" y="2562825"/>
            <a:ext cx="637856" cy="974291"/>
          </a:xfrm>
          <a:custGeom>
            <a:avLst/>
            <a:gdLst>
              <a:gd name="connsiteX0" fmla="*/ 0 w 537776"/>
              <a:gd name="connsiteY0" fmla="*/ 1305828 h 1305828"/>
              <a:gd name="connsiteX1" fmla="*/ 268888 w 537776"/>
              <a:gd name="connsiteY1" fmla="*/ 0 h 1305828"/>
              <a:gd name="connsiteX2" fmla="*/ 537776 w 537776"/>
              <a:gd name="connsiteY2" fmla="*/ 1305828 h 1305828"/>
              <a:gd name="connsiteX3" fmla="*/ 0 w 537776"/>
              <a:gd name="connsiteY3" fmla="*/ 1305828 h 1305828"/>
              <a:gd name="connsiteX0" fmla="*/ 0 w 1193982"/>
              <a:gd name="connsiteY0" fmla="*/ 984986 h 984986"/>
              <a:gd name="connsiteX1" fmla="*/ 1193982 w 1193982"/>
              <a:gd name="connsiteY1" fmla="*/ 0 h 984986"/>
              <a:gd name="connsiteX2" fmla="*/ 537776 w 1193982"/>
              <a:gd name="connsiteY2" fmla="*/ 984986 h 984986"/>
              <a:gd name="connsiteX3" fmla="*/ 0 w 1193982"/>
              <a:gd name="connsiteY3" fmla="*/ 984986 h 984986"/>
              <a:gd name="connsiteX0" fmla="*/ 0 w 830361"/>
              <a:gd name="connsiteY0" fmla="*/ 685533 h 984986"/>
              <a:gd name="connsiteX1" fmla="*/ 830361 w 830361"/>
              <a:gd name="connsiteY1" fmla="*/ 0 h 984986"/>
              <a:gd name="connsiteX2" fmla="*/ 174155 w 830361"/>
              <a:gd name="connsiteY2" fmla="*/ 984986 h 984986"/>
              <a:gd name="connsiteX3" fmla="*/ 0 w 830361"/>
              <a:gd name="connsiteY3" fmla="*/ 685533 h 984986"/>
              <a:gd name="connsiteX0" fmla="*/ 0 w 830361"/>
              <a:gd name="connsiteY0" fmla="*/ 685533 h 1033112"/>
              <a:gd name="connsiteX1" fmla="*/ 830361 w 830361"/>
              <a:gd name="connsiteY1" fmla="*/ 0 h 1033112"/>
              <a:gd name="connsiteX2" fmla="*/ 548471 w 830361"/>
              <a:gd name="connsiteY2" fmla="*/ 1033112 h 1033112"/>
              <a:gd name="connsiteX3" fmla="*/ 0 w 830361"/>
              <a:gd name="connsiteY3" fmla="*/ 685533 h 1033112"/>
              <a:gd name="connsiteX0" fmla="*/ 0 w 637856"/>
              <a:gd name="connsiteY0" fmla="*/ 974291 h 1033112"/>
              <a:gd name="connsiteX1" fmla="*/ 637856 w 637856"/>
              <a:gd name="connsiteY1" fmla="*/ 0 h 1033112"/>
              <a:gd name="connsiteX2" fmla="*/ 355966 w 637856"/>
              <a:gd name="connsiteY2" fmla="*/ 1033112 h 1033112"/>
              <a:gd name="connsiteX3" fmla="*/ 0 w 637856"/>
              <a:gd name="connsiteY3" fmla="*/ 974291 h 1033112"/>
              <a:gd name="connsiteX0" fmla="*/ 0 w 637856"/>
              <a:gd name="connsiteY0" fmla="*/ 974291 h 990333"/>
              <a:gd name="connsiteX1" fmla="*/ 637856 w 637856"/>
              <a:gd name="connsiteY1" fmla="*/ 0 h 990333"/>
              <a:gd name="connsiteX2" fmla="*/ 462913 w 637856"/>
              <a:gd name="connsiteY2" fmla="*/ 990333 h 990333"/>
              <a:gd name="connsiteX3" fmla="*/ 0 w 637856"/>
              <a:gd name="connsiteY3" fmla="*/ 974291 h 990333"/>
              <a:gd name="connsiteX0" fmla="*/ 0 w 637856"/>
              <a:gd name="connsiteY0" fmla="*/ 974291 h 974291"/>
              <a:gd name="connsiteX1" fmla="*/ 637856 w 637856"/>
              <a:gd name="connsiteY1" fmla="*/ 0 h 974291"/>
              <a:gd name="connsiteX2" fmla="*/ 462913 w 637856"/>
              <a:gd name="connsiteY2" fmla="*/ 974291 h 974291"/>
              <a:gd name="connsiteX3" fmla="*/ 0 w 637856"/>
              <a:gd name="connsiteY3" fmla="*/ 974291 h 974291"/>
            </a:gdLst>
            <a:ahLst/>
            <a:cxnLst>
              <a:cxn ang="0">
                <a:pos x="connsiteX0" y="connsiteY0"/>
              </a:cxn>
              <a:cxn ang="0">
                <a:pos x="connsiteX1" y="connsiteY1"/>
              </a:cxn>
              <a:cxn ang="0">
                <a:pos x="connsiteX2" y="connsiteY2"/>
              </a:cxn>
              <a:cxn ang="0">
                <a:pos x="connsiteX3" y="connsiteY3"/>
              </a:cxn>
            </a:cxnLst>
            <a:rect l="l" t="t" r="r" b="b"/>
            <a:pathLst>
              <a:path w="637856" h="974291">
                <a:moveTo>
                  <a:pt x="0" y="974291"/>
                </a:moveTo>
                <a:lnTo>
                  <a:pt x="637856" y="0"/>
                </a:lnTo>
                <a:lnTo>
                  <a:pt x="462913" y="974291"/>
                </a:lnTo>
                <a:lnTo>
                  <a:pt x="0" y="974291"/>
                </a:lnTo>
                <a:close/>
              </a:path>
            </a:pathLst>
          </a:custGeom>
          <a:solidFill>
            <a:schemeClr val="accent5">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cxnSp>
        <p:nvCxnSpPr>
          <p:cNvPr id="987" name="Straight Connector 986"/>
          <p:cNvCxnSpPr/>
          <p:nvPr/>
        </p:nvCxnSpPr>
        <p:spPr>
          <a:xfrm>
            <a:off x="5582431" y="2264495"/>
            <a:ext cx="405449" cy="1"/>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994" name="Rectangle 993"/>
          <p:cNvSpPr/>
          <p:nvPr/>
        </p:nvSpPr>
        <p:spPr bwMode="auto">
          <a:xfrm rot="2366189">
            <a:off x="5484946" y="3685235"/>
            <a:ext cx="191499" cy="24243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5" name="Rectangle 21"/>
          <p:cNvSpPr/>
          <p:nvPr/>
        </p:nvSpPr>
        <p:spPr bwMode="auto">
          <a:xfrm rot="19936818">
            <a:off x="5480287" y="2951615"/>
            <a:ext cx="204286" cy="54183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6" name="Rectangle 29"/>
          <p:cNvSpPr/>
          <p:nvPr/>
        </p:nvSpPr>
        <p:spPr bwMode="auto">
          <a:xfrm rot="15300000">
            <a:off x="5014553" y="2792306"/>
            <a:ext cx="155096" cy="530061"/>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997" name="Group 996"/>
          <p:cNvGrpSpPr/>
          <p:nvPr/>
        </p:nvGrpSpPr>
        <p:grpSpPr>
          <a:xfrm>
            <a:off x="5574375" y="3404761"/>
            <a:ext cx="372691" cy="372692"/>
            <a:chOff x="5411363" y="1755522"/>
            <a:chExt cx="316187" cy="316187"/>
          </a:xfrm>
        </p:grpSpPr>
        <p:sp>
          <p:nvSpPr>
            <p:cNvPr id="998" name="Oval 997"/>
            <p:cNvSpPr/>
            <p:nvPr/>
          </p:nvSpPr>
          <p:spPr bwMode="auto">
            <a:xfrm>
              <a:off x="5411363" y="1755522"/>
              <a:ext cx="316187" cy="31618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9" name="Oval 998"/>
            <p:cNvSpPr/>
            <p:nvPr/>
          </p:nvSpPr>
          <p:spPr bwMode="auto">
            <a:xfrm>
              <a:off x="5462797" y="1806956"/>
              <a:ext cx="213318" cy="21331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0" name="Oval 999"/>
            <p:cNvSpPr/>
            <p:nvPr/>
          </p:nvSpPr>
          <p:spPr bwMode="auto">
            <a:xfrm>
              <a:off x="5506446" y="1850605"/>
              <a:ext cx="126020" cy="12602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01" name="Group 1000"/>
          <p:cNvGrpSpPr/>
          <p:nvPr/>
        </p:nvGrpSpPr>
        <p:grpSpPr>
          <a:xfrm flipH="1">
            <a:off x="5291766" y="2832943"/>
            <a:ext cx="270920" cy="270920"/>
            <a:chOff x="4394973" y="1762558"/>
            <a:chExt cx="352210" cy="352210"/>
          </a:xfrm>
        </p:grpSpPr>
        <p:grpSp>
          <p:nvGrpSpPr>
            <p:cNvPr id="1002" name="Group 1001"/>
            <p:cNvGrpSpPr/>
            <p:nvPr/>
          </p:nvGrpSpPr>
          <p:grpSpPr>
            <a:xfrm flipH="1">
              <a:off x="4394973" y="1762558"/>
              <a:ext cx="352210" cy="352210"/>
              <a:chOff x="5411363" y="1755522"/>
              <a:chExt cx="316187" cy="316187"/>
            </a:xfrm>
          </p:grpSpPr>
          <p:sp>
            <p:nvSpPr>
              <p:cNvPr id="1005" name="Oval 1004"/>
              <p:cNvSpPr/>
              <p:nvPr/>
            </p:nvSpPr>
            <p:spPr bwMode="auto">
              <a:xfrm>
                <a:off x="5411363" y="1755522"/>
                <a:ext cx="316187" cy="31618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6" name="Oval 1005"/>
              <p:cNvSpPr/>
              <p:nvPr/>
            </p:nvSpPr>
            <p:spPr bwMode="auto">
              <a:xfrm>
                <a:off x="5462797" y="1806956"/>
                <a:ext cx="213318" cy="21331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7" name="Oval 1006"/>
              <p:cNvSpPr/>
              <p:nvPr/>
            </p:nvSpPr>
            <p:spPr bwMode="auto">
              <a:xfrm>
                <a:off x="5506446" y="1850605"/>
                <a:ext cx="126020" cy="12602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003" name="Rectangle 1002"/>
            <p:cNvSpPr/>
            <p:nvPr/>
          </p:nvSpPr>
          <p:spPr bwMode="auto">
            <a:xfrm flipH="1">
              <a:off x="4553231" y="1789294"/>
              <a:ext cx="35695" cy="28644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4" name="Rectangle 1003"/>
            <p:cNvSpPr/>
            <p:nvPr/>
          </p:nvSpPr>
          <p:spPr bwMode="auto">
            <a:xfrm rot="5400000" flipH="1">
              <a:off x="4556016" y="1795437"/>
              <a:ext cx="35695" cy="28644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008" name="Rectangle 1007"/>
          <p:cNvSpPr/>
          <p:nvPr/>
        </p:nvSpPr>
        <p:spPr bwMode="auto">
          <a:xfrm rot="11618614">
            <a:off x="4712541" y="3222410"/>
            <a:ext cx="102341" cy="183889"/>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9" name="Oval 1008"/>
          <p:cNvSpPr/>
          <p:nvPr/>
        </p:nvSpPr>
        <p:spPr bwMode="auto">
          <a:xfrm rot="11681175">
            <a:off x="4674364" y="3364053"/>
            <a:ext cx="117398" cy="1173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010" name="Group 1009"/>
          <p:cNvGrpSpPr/>
          <p:nvPr/>
        </p:nvGrpSpPr>
        <p:grpSpPr>
          <a:xfrm rot="818614" flipH="1">
            <a:off x="4741615" y="3440684"/>
            <a:ext cx="104940" cy="288700"/>
            <a:chOff x="5430362" y="1772113"/>
            <a:chExt cx="99173" cy="272835"/>
          </a:xfrm>
          <a:solidFill>
            <a:schemeClr val="accent5"/>
          </a:solidFill>
        </p:grpSpPr>
        <p:sp>
          <p:nvSpPr>
            <p:cNvPr id="1011" name="Rectangle 1010"/>
            <p:cNvSpPr/>
            <p:nvPr/>
          </p:nvSpPr>
          <p:spPr bwMode="auto">
            <a:xfrm rot="13260000" flipH="1">
              <a:off x="5468027" y="1772113"/>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2" name="Diagonal Stripe 1011"/>
            <p:cNvSpPr/>
            <p:nvPr/>
          </p:nvSpPr>
          <p:spPr bwMode="auto">
            <a:xfrm rot="19432650">
              <a:off x="5430362" y="1862068"/>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13" name="Group 1012"/>
          <p:cNvGrpSpPr>
            <a:grpSpLocks noChangeAspect="1"/>
          </p:cNvGrpSpPr>
          <p:nvPr/>
        </p:nvGrpSpPr>
        <p:grpSpPr>
          <a:xfrm>
            <a:off x="4977716" y="3402048"/>
            <a:ext cx="204402" cy="523112"/>
            <a:chOff x="-3051175" y="-1057275"/>
            <a:chExt cx="2679700" cy="6858000"/>
          </a:xfrm>
        </p:grpSpPr>
        <p:sp>
          <p:nvSpPr>
            <p:cNvPr id="1014"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5"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016" name="Group 1015"/>
          <p:cNvGrpSpPr/>
          <p:nvPr/>
        </p:nvGrpSpPr>
        <p:grpSpPr>
          <a:xfrm rot="2114316">
            <a:off x="4536097" y="3343009"/>
            <a:ext cx="104940" cy="288698"/>
            <a:chOff x="5422401" y="1772114"/>
            <a:chExt cx="99173" cy="272833"/>
          </a:xfrm>
          <a:solidFill>
            <a:schemeClr val="accent5"/>
          </a:solidFill>
        </p:grpSpPr>
        <p:sp>
          <p:nvSpPr>
            <p:cNvPr id="1017" name="Rectangle 1016"/>
            <p:cNvSpPr/>
            <p:nvPr/>
          </p:nvSpPr>
          <p:spPr bwMode="auto">
            <a:xfrm rot="13260000" flipH="1">
              <a:off x="5460056" y="1772114"/>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8" name="Diagonal Stripe 1017"/>
            <p:cNvSpPr/>
            <p:nvPr/>
          </p:nvSpPr>
          <p:spPr bwMode="auto">
            <a:xfrm rot="19432650">
              <a:off x="5422401" y="1862067"/>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19" name="Group 1018"/>
          <p:cNvGrpSpPr/>
          <p:nvPr/>
        </p:nvGrpSpPr>
        <p:grpSpPr>
          <a:xfrm flipH="1">
            <a:off x="4709371" y="3059793"/>
            <a:ext cx="203190" cy="203190"/>
            <a:chOff x="4394973" y="1762558"/>
            <a:chExt cx="352210" cy="352210"/>
          </a:xfrm>
        </p:grpSpPr>
        <p:grpSp>
          <p:nvGrpSpPr>
            <p:cNvPr id="1020" name="Group 1019"/>
            <p:cNvGrpSpPr/>
            <p:nvPr/>
          </p:nvGrpSpPr>
          <p:grpSpPr>
            <a:xfrm flipH="1">
              <a:off x="4394973" y="1762558"/>
              <a:ext cx="352210" cy="352210"/>
              <a:chOff x="5411363" y="1755522"/>
              <a:chExt cx="316187" cy="316187"/>
            </a:xfrm>
          </p:grpSpPr>
          <p:sp>
            <p:nvSpPr>
              <p:cNvPr id="1023" name="Oval 1022"/>
              <p:cNvSpPr/>
              <p:nvPr/>
            </p:nvSpPr>
            <p:spPr bwMode="auto">
              <a:xfrm>
                <a:off x="5411363" y="1755522"/>
                <a:ext cx="316187" cy="31618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8" name="Oval 1027"/>
              <p:cNvSpPr/>
              <p:nvPr/>
            </p:nvSpPr>
            <p:spPr bwMode="auto">
              <a:xfrm>
                <a:off x="5462797" y="1806956"/>
                <a:ext cx="213318" cy="21331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9" name="Oval 1028"/>
              <p:cNvSpPr/>
              <p:nvPr/>
            </p:nvSpPr>
            <p:spPr bwMode="auto">
              <a:xfrm>
                <a:off x="5506446" y="1850605"/>
                <a:ext cx="126020" cy="12602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021" name="Rectangle 1020"/>
            <p:cNvSpPr/>
            <p:nvPr/>
          </p:nvSpPr>
          <p:spPr bwMode="auto">
            <a:xfrm flipH="1">
              <a:off x="4553229" y="1795031"/>
              <a:ext cx="35696" cy="26441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2" name="Rectangle 1021"/>
            <p:cNvSpPr/>
            <p:nvPr/>
          </p:nvSpPr>
          <p:spPr bwMode="auto">
            <a:xfrm rot="5400000" flipH="1">
              <a:off x="4559388" y="1806456"/>
              <a:ext cx="35696" cy="26441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030" name="Rounded Rectangle 1029"/>
          <p:cNvSpPr/>
          <p:nvPr/>
        </p:nvSpPr>
        <p:spPr bwMode="auto">
          <a:xfrm>
            <a:off x="5130675" y="3825602"/>
            <a:ext cx="895004" cy="282209"/>
          </a:xfrm>
          <a:prstGeom prst="round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1" name="Rounded Rectangle 1030"/>
          <p:cNvSpPr/>
          <p:nvPr/>
        </p:nvSpPr>
        <p:spPr bwMode="auto">
          <a:xfrm>
            <a:off x="5029886" y="3966705"/>
            <a:ext cx="1096582" cy="158486"/>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032" name="Group 1031"/>
          <p:cNvGrpSpPr/>
          <p:nvPr/>
        </p:nvGrpSpPr>
        <p:grpSpPr>
          <a:xfrm flipH="1">
            <a:off x="6035834" y="3678707"/>
            <a:ext cx="848425" cy="678680"/>
            <a:chOff x="6159848" y="2649092"/>
            <a:chExt cx="848425" cy="678680"/>
          </a:xfrm>
        </p:grpSpPr>
        <p:grpSp>
          <p:nvGrpSpPr>
            <p:cNvPr id="1033" name="Group 1032"/>
            <p:cNvGrpSpPr/>
            <p:nvPr/>
          </p:nvGrpSpPr>
          <p:grpSpPr>
            <a:xfrm>
              <a:off x="6159848" y="3067772"/>
              <a:ext cx="255538" cy="260000"/>
              <a:chOff x="8629196" y="2775642"/>
              <a:chExt cx="1130448" cy="1150187"/>
            </a:xfrm>
          </p:grpSpPr>
          <p:sp>
            <p:nvSpPr>
              <p:cNvPr id="1088" name="Parallelogram 1087"/>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89" name="Parallelogram 1088"/>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90" name="Rectangle 1089"/>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4" name="Group 1033"/>
            <p:cNvGrpSpPr/>
            <p:nvPr/>
          </p:nvGrpSpPr>
          <p:grpSpPr>
            <a:xfrm>
              <a:off x="6358475" y="3067772"/>
              <a:ext cx="255538" cy="260000"/>
              <a:chOff x="8629196" y="2775642"/>
              <a:chExt cx="1130448" cy="1150187"/>
            </a:xfrm>
          </p:grpSpPr>
          <p:sp>
            <p:nvSpPr>
              <p:cNvPr id="1085" name="Parallelogram 1084"/>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86" name="Parallelogram 1085"/>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87" name="Rectangle 1086"/>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5" name="Group 1034"/>
            <p:cNvGrpSpPr/>
            <p:nvPr/>
          </p:nvGrpSpPr>
          <p:grpSpPr>
            <a:xfrm>
              <a:off x="6554108" y="3067772"/>
              <a:ext cx="255538" cy="260000"/>
              <a:chOff x="8629196" y="2775642"/>
              <a:chExt cx="1130448" cy="1150187"/>
            </a:xfrm>
          </p:grpSpPr>
          <p:sp>
            <p:nvSpPr>
              <p:cNvPr id="1072" name="Parallelogram 1071"/>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73" name="Parallelogram 1072"/>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79" name="Rectangle 1078"/>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6" name="Group 1035"/>
            <p:cNvGrpSpPr/>
            <p:nvPr/>
          </p:nvGrpSpPr>
          <p:grpSpPr>
            <a:xfrm>
              <a:off x="6752735" y="3067772"/>
              <a:ext cx="255538" cy="260000"/>
              <a:chOff x="8629196" y="2775642"/>
              <a:chExt cx="1130448" cy="1150187"/>
            </a:xfrm>
          </p:grpSpPr>
          <p:sp>
            <p:nvSpPr>
              <p:cNvPr id="1062" name="Parallelogram 1061"/>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63" name="Parallelogram 1062"/>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66" name="Rectangle 1065"/>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7" name="Group 1036"/>
            <p:cNvGrpSpPr/>
            <p:nvPr/>
          </p:nvGrpSpPr>
          <p:grpSpPr>
            <a:xfrm>
              <a:off x="6261735" y="2858497"/>
              <a:ext cx="255538" cy="260000"/>
              <a:chOff x="8629196" y="2775642"/>
              <a:chExt cx="1130448" cy="1150187"/>
            </a:xfrm>
          </p:grpSpPr>
          <p:sp>
            <p:nvSpPr>
              <p:cNvPr id="1058" name="Parallelogram 1057"/>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60" name="Parallelogram 1059"/>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61" name="Rectangle 1060"/>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8" name="Group 1037"/>
            <p:cNvGrpSpPr/>
            <p:nvPr/>
          </p:nvGrpSpPr>
          <p:grpSpPr>
            <a:xfrm>
              <a:off x="6453382" y="2858497"/>
              <a:ext cx="255538" cy="260000"/>
              <a:chOff x="8629196" y="2775642"/>
              <a:chExt cx="1130448" cy="1150187"/>
            </a:xfrm>
          </p:grpSpPr>
          <p:sp>
            <p:nvSpPr>
              <p:cNvPr id="1049" name="Parallelogram 1048"/>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53" name="Parallelogram 1052"/>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57" name="Rectangle 1056"/>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39" name="Group 1038"/>
            <p:cNvGrpSpPr/>
            <p:nvPr/>
          </p:nvGrpSpPr>
          <p:grpSpPr>
            <a:xfrm>
              <a:off x="6651081" y="2858497"/>
              <a:ext cx="255538" cy="260000"/>
              <a:chOff x="8629196" y="2775642"/>
              <a:chExt cx="1130448" cy="1150187"/>
            </a:xfrm>
          </p:grpSpPr>
          <p:sp>
            <p:nvSpPr>
              <p:cNvPr id="1044" name="Parallelogram 1043"/>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46" name="Parallelogram 1045"/>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48" name="Rectangle 1047"/>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40" name="Group 1039"/>
            <p:cNvGrpSpPr/>
            <p:nvPr/>
          </p:nvGrpSpPr>
          <p:grpSpPr>
            <a:xfrm>
              <a:off x="6341132" y="2649092"/>
              <a:ext cx="255538" cy="260000"/>
              <a:chOff x="8629196" y="2744764"/>
              <a:chExt cx="1130448" cy="1150187"/>
            </a:xfrm>
          </p:grpSpPr>
          <p:sp>
            <p:nvSpPr>
              <p:cNvPr id="1041" name="Parallelogram 1040"/>
              <p:cNvSpPr/>
              <p:nvPr/>
            </p:nvSpPr>
            <p:spPr bwMode="auto">
              <a:xfrm>
                <a:off x="8629196" y="2744764"/>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42" name="Parallelogram 1041"/>
              <p:cNvSpPr/>
              <p:nvPr/>
            </p:nvSpPr>
            <p:spPr bwMode="auto">
              <a:xfrm rot="16200000" flipH="1">
                <a:off x="9096106" y="319051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43" name="Rectangle 1042"/>
              <p:cNvSpPr/>
              <p:nvPr/>
            </p:nvSpPr>
            <p:spPr bwMode="auto">
              <a:xfrm>
                <a:off x="8636177" y="2999464"/>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091" name="Group 1090"/>
          <p:cNvGrpSpPr>
            <a:grpSpLocks noChangeAspect="1"/>
          </p:cNvGrpSpPr>
          <p:nvPr/>
        </p:nvGrpSpPr>
        <p:grpSpPr>
          <a:xfrm>
            <a:off x="5696796" y="3518686"/>
            <a:ext cx="130675" cy="149683"/>
            <a:chOff x="6983648" y="1445099"/>
            <a:chExt cx="547340" cy="626953"/>
          </a:xfrm>
        </p:grpSpPr>
        <p:grpSp>
          <p:nvGrpSpPr>
            <p:cNvPr id="1093" name="Group 1092"/>
            <p:cNvGrpSpPr/>
            <p:nvPr/>
          </p:nvGrpSpPr>
          <p:grpSpPr>
            <a:xfrm>
              <a:off x="7194775" y="1531034"/>
              <a:ext cx="142870" cy="365650"/>
              <a:chOff x="7010073" y="1548130"/>
              <a:chExt cx="1648459" cy="4218939"/>
            </a:xfrm>
            <a:solidFill>
              <a:schemeClr val="accent2"/>
            </a:solidFill>
          </p:grpSpPr>
          <p:sp>
            <p:nvSpPr>
              <p:cNvPr id="1095" name="Freeform 10"/>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solidFill>
                <a:srgbClr val="FCC12E"/>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88F"/>
                  </a:solidFill>
                  <a:effectLst/>
                  <a:uLnTx/>
                  <a:uFillTx/>
                </a:endParaRPr>
              </a:p>
            </p:txBody>
          </p:sp>
          <p:sp>
            <p:nvSpPr>
              <p:cNvPr id="1098" name="Freeform 11"/>
              <p:cNvSpPr>
                <a:spLocks noEditPoints="1"/>
              </p:cNvSpPr>
              <p:nvPr/>
            </p:nvSpPr>
            <p:spPr bwMode="auto">
              <a:xfrm>
                <a:off x="7010073" y="1548130"/>
                <a:ext cx="1648459" cy="4218939"/>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solidFill>
                <a:srgbClr val="EF8A2F"/>
              </a:solidFill>
              <a:ln w="3175">
                <a:solidFill>
                  <a:srgbClr val="EF8A2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88F"/>
                  </a:solidFill>
                  <a:effectLst/>
                  <a:uLnTx/>
                  <a:uFillTx/>
                </a:endParaRPr>
              </a:p>
            </p:txBody>
          </p:sp>
        </p:grpSp>
        <p:sp>
          <p:nvSpPr>
            <p:cNvPr id="1094" name="Rounded Rectangle 94"/>
            <p:cNvSpPr>
              <a:spLocks noChangeAspect="1"/>
            </p:cNvSpPr>
            <p:nvPr/>
          </p:nvSpPr>
          <p:spPr bwMode="auto">
            <a:xfrm>
              <a:off x="6983648" y="1445099"/>
              <a:ext cx="547340" cy="626953"/>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99" name="Group 1098"/>
          <p:cNvGrpSpPr/>
          <p:nvPr/>
        </p:nvGrpSpPr>
        <p:grpSpPr>
          <a:xfrm rot="12600000">
            <a:off x="791160" y="4053231"/>
            <a:ext cx="232429" cy="343837"/>
            <a:chOff x="2687372" y="3149601"/>
            <a:chExt cx="81465" cy="132564"/>
          </a:xfrm>
          <a:solidFill>
            <a:schemeClr val="accent1"/>
          </a:solidFill>
        </p:grpSpPr>
        <p:sp>
          <p:nvSpPr>
            <p:cNvPr id="110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4"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107" name="Group 1106"/>
          <p:cNvGrpSpPr/>
          <p:nvPr/>
        </p:nvGrpSpPr>
        <p:grpSpPr>
          <a:xfrm rot="9000000" flipH="1">
            <a:off x="5952938" y="3323708"/>
            <a:ext cx="158752" cy="234845"/>
            <a:chOff x="2687372" y="3149601"/>
            <a:chExt cx="81465" cy="132564"/>
          </a:xfrm>
          <a:solidFill>
            <a:schemeClr val="accent5"/>
          </a:solidFill>
        </p:grpSpPr>
        <p:sp>
          <p:nvSpPr>
            <p:cNvPr id="1108"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9"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4"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5"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6"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7"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118" name="Group 1117"/>
          <p:cNvGrpSpPr/>
          <p:nvPr/>
        </p:nvGrpSpPr>
        <p:grpSpPr>
          <a:xfrm rot="12600000">
            <a:off x="3310140" y="3415864"/>
            <a:ext cx="158752" cy="234845"/>
            <a:chOff x="2687372" y="3149601"/>
            <a:chExt cx="81465" cy="132564"/>
          </a:xfrm>
          <a:solidFill>
            <a:srgbClr val="8DC548"/>
          </a:solidFill>
        </p:grpSpPr>
        <p:sp>
          <p:nvSpPr>
            <p:cNvPr id="112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131" name="Group 1130"/>
          <p:cNvGrpSpPr/>
          <p:nvPr/>
        </p:nvGrpSpPr>
        <p:grpSpPr>
          <a:xfrm rot="5866465" flipH="1">
            <a:off x="4877280" y="5075011"/>
            <a:ext cx="192090" cy="284163"/>
            <a:chOff x="2687372" y="3149601"/>
            <a:chExt cx="81465" cy="132564"/>
          </a:xfrm>
          <a:solidFill>
            <a:srgbClr val="8DC548"/>
          </a:solidFill>
        </p:grpSpPr>
        <p:sp>
          <p:nvSpPr>
            <p:cNvPr id="1132"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33"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34"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42"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4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14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pic>
        <p:nvPicPr>
          <p:cNvPr id="1146" name="Picture 20"/>
          <p:cNvPicPr>
            <a:picLocks noChangeAspect="1" noChangeArrowheads="1"/>
          </p:cNvPicPr>
          <p:nvPr/>
        </p:nvPicPr>
        <p:blipFill rotWithShape="1">
          <a:blip r:embed="rId3">
            <a:extLst>
              <a:ext uri="{28A0092B-C50C-407E-A947-70E740481C1C}">
                <a14:useLocalDpi xmlns:a14="http://schemas.microsoft.com/office/drawing/2010/main" val="0"/>
              </a:ext>
            </a:extLst>
          </a:blip>
          <a:srcRect l="73404" t="74835" r="25710" b="7811"/>
          <a:stretch/>
        </p:blipFill>
        <p:spPr bwMode="auto">
          <a:xfrm>
            <a:off x="7032935" y="5132257"/>
            <a:ext cx="108030" cy="11901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1152" name="Group 1151"/>
          <p:cNvGrpSpPr/>
          <p:nvPr/>
        </p:nvGrpSpPr>
        <p:grpSpPr>
          <a:xfrm>
            <a:off x="6190022" y="5358168"/>
            <a:ext cx="1162183" cy="888993"/>
            <a:chOff x="5427663" y="2937620"/>
            <a:chExt cx="1308563" cy="1000962"/>
          </a:xfrm>
          <a:solidFill>
            <a:srgbClr val="5F8A95"/>
          </a:solidFill>
        </p:grpSpPr>
        <p:sp>
          <p:nvSpPr>
            <p:cNvPr id="1153" name="Freeform 512"/>
            <p:cNvSpPr>
              <a:spLocks/>
            </p:cNvSpPr>
            <p:nvPr/>
          </p:nvSpPr>
          <p:spPr bwMode="auto">
            <a:xfrm>
              <a:off x="6369513" y="2937620"/>
              <a:ext cx="366713" cy="873124"/>
            </a:xfrm>
            <a:custGeom>
              <a:avLst/>
              <a:gdLst>
                <a:gd name="T0" fmla="*/ 0 w 923"/>
                <a:gd name="T1" fmla="*/ 0 h 2201"/>
                <a:gd name="T2" fmla="*/ 141 w 923"/>
                <a:gd name="T3" fmla="*/ 0 h 2201"/>
                <a:gd name="T4" fmla="*/ 141 w 923"/>
                <a:gd name="T5" fmla="*/ 2060 h 2201"/>
                <a:gd name="T6" fmla="*/ 923 w 923"/>
                <a:gd name="T7" fmla="*/ 2060 h 2201"/>
                <a:gd name="T8" fmla="*/ 923 w 923"/>
                <a:gd name="T9" fmla="*/ 2201 h 2201"/>
                <a:gd name="T10" fmla="*/ 0 w 923"/>
                <a:gd name="T11" fmla="*/ 2201 h 2201"/>
                <a:gd name="T12" fmla="*/ 0 w 923"/>
                <a:gd name="T13" fmla="*/ 0 h 2201"/>
              </a:gdLst>
              <a:ahLst/>
              <a:cxnLst>
                <a:cxn ang="0">
                  <a:pos x="T0" y="T1"/>
                </a:cxn>
                <a:cxn ang="0">
                  <a:pos x="T2" y="T3"/>
                </a:cxn>
                <a:cxn ang="0">
                  <a:pos x="T4" y="T5"/>
                </a:cxn>
                <a:cxn ang="0">
                  <a:pos x="T6" y="T7"/>
                </a:cxn>
                <a:cxn ang="0">
                  <a:pos x="T8" y="T9"/>
                </a:cxn>
                <a:cxn ang="0">
                  <a:pos x="T10" y="T11"/>
                </a:cxn>
                <a:cxn ang="0">
                  <a:pos x="T12" y="T13"/>
                </a:cxn>
              </a:cxnLst>
              <a:rect l="0" t="0" r="r" b="b"/>
              <a:pathLst>
                <a:path w="923" h="2201">
                  <a:moveTo>
                    <a:pt x="0" y="0"/>
                  </a:moveTo>
                  <a:lnTo>
                    <a:pt x="141" y="0"/>
                  </a:lnTo>
                  <a:lnTo>
                    <a:pt x="141" y="2060"/>
                  </a:lnTo>
                  <a:lnTo>
                    <a:pt x="923" y="2060"/>
                  </a:lnTo>
                  <a:lnTo>
                    <a:pt x="923" y="2201"/>
                  </a:lnTo>
                  <a:lnTo>
                    <a:pt x="0" y="2201"/>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4" name="Rectangle 513"/>
            <p:cNvSpPr>
              <a:spLocks noChangeArrowheads="1"/>
            </p:cNvSpPr>
            <p:nvPr/>
          </p:nvSpPr>
          <p:spPr bwMode="auto">
            <a:xfrm>
              <a:off x="6454969" y="3408158"/>
              <a:ext cx="278527" cy="311181"/>
            </a:xfrm>
            <a:prstGeom prst="rect">
              <a:avLst/>
            </a:prstGeom>
            <a:solidFill>
              <a:schemeClr val="accent1">
                <a:lumMod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5" name="Rectangle 514"/>
            <p:cNvSpPr>
              <a:spLocks noChangeArrowheads="1"/>
            </p:cNvSpPr>
            <p:nvPr/>
          </p:nvSpPr>
          <p:spPr bwMode="auto">
            <a:xfrm>
              <a:off x="6458137" y="3093493"/>
              <a:ext cx="242030" cy="278527"/>
            </a:xfrm>
            <a:prstGeom prst="rect">
              <a:avLst/>
            </a:prstGeom>
            <a:solidFill>
              <a:schemeClr val="accent1">
                <a:lumMod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6" name="Freeform 515"/>
            <p:cNvSpPr>
              <a:spLocks noEditPoints="1"/>
            </p:cNvSpPr>
            <p:nvPr/>
          </p:nvSpPr>
          <p:spPr bwMode="auto">
            <a:xfrm>
              <a:off x="5519733" y="3602033"/>
              <a:ext cx="334962" cy="336549"/>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7" name="Freeform 516"/>
            <p:cNvSpPr>
              <a:spLocks noEditPoints="1"/>
            </p:cNvSpPr>
            <p:nvPr/>
          </p:nvSpPr>
          <p:spPr bwMode="auto">
            <a:xfrm>
              <a:off x="5992811" y="3602033"/>
              <a:ext cx="334963" cy="336549"/>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8" name="Freeform 517"/>
            <p:cNvSpPr>
              <a:spLocks/>
            </p:cNvSpPr>
            <p:nvPr/>
          </p:nvSpPr>
          <p:spPr bwMode="auto">
            <a:xfrm>
              <a:off x="5734226" y="2941724"/>
              <a:ext cx="525462" cy="581024"/>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9" name="Freeform 519"/>
            <p:cNvSpPr>
              <a:spLocks/>
            </p:cNvSpPr>
            <p:nvPr/>
          </p:nvSpPr>
          <p:spPr bwMode="auto">
            <a:xfrm>
              <a:off x="5427663" y="3416301"/>
              <a:ext cx="896938" cy="374650"/>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969" name="Group 968"/>
          <p:cNvGrpSpPr/>
          <p:nvPr/>
        </p:nvGrpSpPr>
        <p:grpSpPr>
          <a:xfrm>
            <a:off x="8893315" y="2811079"/>
            <a:ext cx="468765" cy="465918"/>
            <a:chOff x="6178987" y="1083053"/>
            <a:chExt cx="2106470" cy="2151434"/>
          </a:xfrm>
          <a:solidFill>
            <a:schemeClr val="bg1">
              <a:alpha val="20000"/>
            </a:schemeClr>
          </a:solidFill>
        </p:grpSpPr>
        <p:sp>
          <p:nvSpPr>
            <p:cNvPr id="970" name="Rectangle 969"/>
            <p:cNvSpPr/>
            <p:nvPr/>
          </p:nvSpPr>
          <p:spPr bwMode="auto">
            <a:xfrm>
              <a:off x="6178987"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71" name="Rectangle 970"/>
            <p:cNvSpPr/>
            <p:nvPr/>
          </p:nvSpPr>
          <p:spPr bwMode="auto">
            <a:xfrm>
              <a:off x="7297638"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72" name="Rectangle 971"/>
            <p:cNvSpPr/>
            <p:nvPr/>
          </p:nvSpPr>
          <p:spPr bwMode="auto">
            <a:xfrm>
              <a:off x="6179355" y="2245277"/>
              <a:ext cx="986406" cy="989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973" name="Rectangle 972"/>
            <p:cNvSpPr/>
            <p:nvPr/>
          </p:nvSpPr>
          <p:spPr bwMode="auto">
            <a:xfrm>
              <a:off x="7299054" y="2244788"/>
              <a:ext cx="986403"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grpSp>
        <p:nvGrpSpPr>
          <p:cNvPr id="583" name="Group 582"/>
          <p:cNvGrpSpPr/>
          <p:nvPr/>
        </p:nvGrpSpPr>
        <p:grpSpPr>
          <a:xfrm rot="20120687">
            <a:off x="8073381" y="3884279"/>
            <a:ext cx="119273" cy="213495"/>
            <a:chOff x="2687372" y="3149601"/>
            <a:chExt cx="81465" cy="132564"/>
          </a:xfrm>
          <a:solidFill>
            <a:schemeClr val="bg1"/>
          </a:solidFill>
        </p:grpSpPr>
        <p:sp>
          <p:nvSpPr>
            <p:cNvPr id="58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7"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599" name="Group 598"/>
          <p:cNvGrpSpPr/>
          <p:nvPr/>
        </p:nvGrpSpPr>
        <p:grpSpPr>
          <a:xfrm rot="12600000">
            <a:off x="7843735" y="5246080"/>
            <a:ext cx="192090" cy="284163"/>
            <a:chOff x="2687372" y="3149601"/>
            <a:chExt cx="81465" cy="132564"/>
          </a:xfrm>
          <a:solidFill>
            <a:schemeClr val="accent1"/>
          </a:solidFill>
        </p:grpSpPr>
        <p:sp>
          <p:nvSpPr>
            <p:cNvPr id="60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0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0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0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0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0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19" name="Rectangle 18"/>
          <p:cNvSpPr/>
          <p:nvPr/>
        </p:nvSpPr>
        <p:spPr bwMode="auto">
          <a:xfrm>
            <a:off x="7757558" y="4046899"/>
            <a:ext cx="78292" cy="782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12" name="TextBox 11"/>
          <p:cNvSpPr txBox="1"/>
          <p:nvPr/>
        </p:nvSpPr>
        <p:spPr>
          <a:xfrm>
            <a:off x="10007259" y="2342327"/>
            <a:ext cx="670160" cy="123111"/>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38" normalizeH="0" baseline="0" noProof="0" dirty="0">
                <a:ln>
                  <a:noFill/>
                </a:ln>
                <a:solidFill>
                  <a:srgbClr val="00BCF2"/>
                </a:solidFill>
                <a:effectLst/>
                <a:uLnTx/>
                <a:uFillTx/>
                <a:ea typeface="Segoe UI" pitchFamily="34" charset="0"/>
                <a:cs typeface="Segoe UI" pitchFamily="34" charset="0"/>
              </a:rPr>
              <a:t>Management</a:t>
            </a:r>
            <a:endParaRPr kumimoji="0" lang="en-US" sz="950" b="0" i="0" u="none" strike="noStrike" kern="0" cap="none" spc="-38" normalizeH="0" baseline="0" noProof="0" dirty="0">
              <a:ln>
                <a:noFill/>
              </a:ln>
              <a:solidFill>
                <a:srgbClr val="00BCF2"/>
              </a:solidFill>
              <a:effectLst/>
              <a:uLnTx/>
              <a:uFillTx/>
              <a:ea typeface="Segoe UI" pitchFamily="34" charset="0"/>
              <a:cs typeface="Segoe UI" pitchFamily="34" charset="0"/>
            </a:endParaRPr>
          </a:p>
        </p:txBody>
      </p:sp>
      <p:sp>
        <p:nvSpPr>
          <p:cNvPr id="606" name="TextBox 605"/>
          <p:cNvSpPr txBox="1"/>
          <p:nvPr/>
        </p:nvSpPr>
        <p:spPr>
          <a:xfrm>
            <a:off x="9998982" y="3934150"/>
            <a:ext cx="670160" cy="123111"/>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38" normalizeH="0" baseline="0" noProof="0" dirty="0">
                <a:ln>
                  <a:noFill/>
                </a:ln>
                <a:solidFill>
                  <a:srgbClr val="00BCF2"/>
                </a:solidFill>
                <a:effectLst/>
                <a:uLnTx/>
                <a:uFillTx/>
                <a:ea typeface="Segoe UI" pitchFamily="34" charset="0"/>
                <a:cs typeface="Segoe UI" pitchFamily="34" charset="0"/>
              </a:rPr>
              <a:t>R&amp;D</a:t>
            </a:r>
          </a:p>
        </p:txBody>
      </p:sp>
      <p:sp>
        <p:nvSpPr>
          <p:cNvPr id="607" name="TextBox 606"/>
          <p:cNvSpPr txBox="1"/>
          <p:nvPr/>
        </p:nvSpPr>
        <p:spPr>
          <a:xfrm>
            <a:off x="10007259" y="5364799"/>
            <a:ext cx="670160" cy="123111"/>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38" normalizeH="0" baseline="0" noProof="0" dirty="0">
                <a:ln>
                  <a:noFill/>
                </a:ln>
                <a:solidFill>
                  <a:srgbClr val="00BCF2"/>
                </a:solidFill>
                <a:effectLst/>
                <a:uLnTx/>
                <a:uFillTx/>
                <a:ea typeface="Segoe UI" pitchFamily="34" charset="0"/>
                <a:cs typeface="Segoe UI" pitchFamily="34" charset="0"/>
              </a:rPr>
              <a:t>Field Service</a:t>
            </a:r>
          </a:p>
        </p:txBody>
      </p:sp>
      <p:sp>
        <p:nvSpPr>
          <p:cNvPr id="660" name="Rectangle 659"/>
          <p:cNvSpPr/>
          <p:nvPr/>
        </p:nvSpPr>
        <p:spPr bwMode="auto">
          <a:xfrm>
            <a:off x="5692844" y="4535170"/>
            <a:ext cx="511465" cy="588053"/>
          </a:xfrm>
          <a:prstGeom prst="rect">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4" name="Group 23"/>
          <p:cNvGrpSpPr/>
          <p:nvPr/>
        </p:nvGrpSpPr>
        <p:grpSpPr>
          <a:xfrm>
            <a:off x="5766789" y="4750393"/>
            <a:ext cx="372874" cy="169741"/>
            <a:chOff x="4603398" y="-948267"/>
            <a:chExt cx="545923" cy="440267"/>
          </a:xfrm>
        </p:grpSpPr>
        <p:sp>
          <p:nvSpPr>
            <p:cNvPr id="23" name="Rectangle 22"/>
            <p:cNvSpPr/>
            <p:nvPr/>
          </p:nvSpPr>
          <p:spPr bwMode="auto">
            <a:xfrm>
              <a:off x="4673675" y="-948267"/>
              <a:ext cx="152479"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6" name="Rectangle 685"/>
            <p:cNvSpPr/>
            <p:nvPr/>
          </p:nvSpPr>
          <p:spPr bwMode="auto">
            <a:xfrm>
              <a:off x="4897857" y="-948267"/>
              <a:ext cx="22666"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9" name="Rectangle 688"/>
            <p:cNvSpPr/>
            <p:nvPr/>
          </p:nvSpPr>
          <p:spPr bwMode="auto">
            <a:xfrm>
              <a:off x="4603398" y="-948267"/>
              <a:ext cx="36502"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7" name="Rectangle 696"/>
            <p:cNvSpPr/>
            <p:nvPr/>
          </p:nvSpPr>
          <p:spPr bwMode="auto">
            <a:xfrm>
              <a:off x="4986178" y="-948267"/>
              <a:ext cx="36502"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6" name="Rectangle 735"/>
            <p:cNvSpPr/>
            <p:nvPr/>
          </p:nvSpPr>
          <p:spPr bwMode="auto">
            <a:xfrm>
              <a:off x="5054010" y="-948267"/>
              <a:ext cx="95311"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76" name="Rectangle 775"/>
            <p:cNvSpPr/>
            <p:nvPr/>
          </p:nvSpPr>
          <p:spPr bwMode="auto">
            <a:xfrm>
              <a:off x="4855566" y="-948267"/>
              <a:ext cx="22666"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77" name="Group 776"/>
          <p:cNvGrpSpPr/>
          <p:nvPr/>
        </p:nvGrpSpPr>
        <p:grpSpPr>
          <a:xfrm>
            <a:off x="5273394" y="5503171"/>
            <a:ext cx="188483" cy="85802"/>
            <a:chOff x="4603398" y="-948267"/>
            <a:chExt cx="545923" cy="440267"/>
          </a:xfrm>
          <a:solidFill>
            <a:schemeClr val="accent1">
              <a:lumMod val="50000"/>
            </a:schemeClr>
          </a:solidFill>
        </p:grpSpPr>
        <p:sp>
          <p:nvSpPr>
            <p:cNvPr id="778" name="Rectangle 777"/>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79" name="Rectangle 778"/>
            <p:cNvSpPr/>
            <p:nvPr/>
          </p:nvSpPr>
          <p:spPr bwMode="auto">
            <a:xfrm>
              <a:off x="4897857"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1" name="Rectangle 78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2" name="Rectangle 78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3" name="Rectangle 782"/>
            <p:cNvSpPr/>
            <p:nvPr/>
          </p:nvSpPr>
          <p:spPr bwMode="auto">
            <a:xfrm>
              <a:off x="5054010" y="-948267"/>
              <a:ext cx="95311"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4" name="Rectangle 78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87" name="Isosceles Triangle 10"/>
          <p:cNvSpPr/>
          <p:nvPr/>
        </p:nvSpPr>
        <p:spPr bwMode="auto">
          <a:xfrm rot="10800000">
            <a:off x="5442142" y="5132254"/>
            <a:ext cx="776224" cy="419306"/>
          </a:xfrm>
          <a:custGeom>
            <a:avLst/>
            <a:gdLst>
              <a:gd name="connsiteX0" fmla="*/ 0 w 537776"/>
              <a:gd name="connsiteY0" fmla="*/ 1305828 h 1305828"/>
              <a:gd name="connsiteX1" fmla="*/ 268888 w 537776"/>
              <a:gd name="connsiteY1" fmla="*/ 0 h 1305828"/>
              <a:gd name="connsiteX2" fmla="*/ 537776 w 537776"/>
              <a:gd name="connsiteY2" fmla="*/ 1305828 h 1305828"/>
              <a:gd name="connsiteX3" fmla="*/ 0 w 537776"/>
              <a:gd name="connsiteY3" fmla="*/ 1305828 h 1305828"/>
              <a:gd name="connsiteX0" fmla="*/ 0 w 1193982"/>
              <a:gd name="connsiteY0" fmla="*/ 984986 h 984986"/>
              <a:gd name="connsiteX1" fmla="*/ 1193982 w 1193982"/>
              <a:gd name="connsiteY1" fmla="*/ 0 h 984986"/>
              <a:gd name="connsiteX2" fmla="*/ 537776 w 1193982"/>
              <a:gd name="connsiteY2" fmla="*/ 984986 h 984986"/>
              <a:gd name="connsiteX3" fmla="*/ 0 w 1193982"/>
              <a:gd name="connsiteY3" fmla="*/ 984986 h 984986"/>
              <a:gd name="connsiteX0" fmla="*/ 0 w 830361"/>
              <a:gd name="connsiteY0" fmla="*/ 685533 h 984986"/>
              <a:gd name="connsiteX1" fmla="*/ 830361 w 830361"/>
              <a:gd name="connsiteY1" fmla="*/ 0 h 984986"/>
              <a:gd name="connsiteX2" fmla="*/ 174155 w 830361"/>
              <a:gd name="connsiteY2" fmla="*/ 984986 h 984986"/>
              <a:gd name="connsiteX3" fmla="*/ 0 w 830361"/>
              <a:gd name="connsiteY3" fmla="*/ 685533 h 984986"/>
              <a:gd name="connsiteX0" fmla="*/ 0 w 830361"/>
              <a:gd name="connsiteY0" fmla="*/ 685533 h 1033112"/>
              <a:gd name="connsiteX1" fmla="*/ 830361 w 830361"/>
              <a:gd name="connsiteY1" fmla="*/ 0 h 1033112"/>
              <a:gd name="connsiteX2" fmla="*/ 548471 w 830361"/>
              <a:gd name="connsiteY2" fmla="*/ 1033112 h 1033112"/>
              <a:gd name="connsiteX3" fmla="*/ 0 w 830361"/>
              <a:gd name="connsiteY3" fmla="*/ 685533 h 1033112"/>
              <a:gd name="connsiteX0" fmla="*/ 0 w 637856"/>
              <a:gd name="connsiteY0" fmla="*/ 974291 h 1033112"/>
              <a:gd name="connsiteX1" fmla="*/ 637856 w 637856"/>
              <a:gd name="connsiteY1" fmla="*/ 0 h 1033112"/>
              <a:gd name="connsiteX2" fmla="*/ 355966 w 637856"/>
              <a:gd name="connsiteY2" fmla="*/ 1033112 h 1033112"/>
              <a:gd name="connsiteX3" fmla="*/ 0 w 637856"/>
              <a:gd name="connsiteY3" fmla="*/ 974291 h 1033112"/>
              <a:gd name="connsiteX0" fmla="*/ 0 w 637856"/>
              <a:gd name="connsiteY0" fmla="*/ 974291 h 990333"/>
              <a:gd name="connsiteX1" fmla="*/ 637856 w 637856"/>
              <a:gd name="connsiteY1" fmla="*/ 0 h 990333"/>
              <a:gd name="connsiteX2" fmla="*/ 462913 w 637856"/>
              <a:gd name="connsiteY2" fmla="*/ 990333 h 990333"/>
              <a:gd name="connsiteX3" fmla="*/ 0 w 637856"/>
              <a:gd name="connsiteY3" fmla="*/ 974291 h 990333"/>
              <a:gd name="connsiteX0" fmla="*/ 0 w 637856"/>
              <a:gd name="connsiteY0" fmla="*/ 974291 h 974291"/>
              <a:gd name="connsiteX1" fmla="*/ 637856 w 637856"/>
              <a:gd name="connsiteY1" fmla="*/ 0 h 974291"/>
              <a:gd name="connsiteX2" fmla="*/ 462913 w 637856"/>
              <a:gd name="connsiteY2" fmla="*/ 974291 h 974291"/>
              <a:gd name="connsiteX3" fmla="*/ 0 w 637856"/>
              <a:gd name="connsiteY3" fmla="*/ 974291 h 974291"/>
              <a:gd name="connsiteX0" fmla="*/ 0 w 686279"/>
              <a:gd name="connsiteY0" fmla="*/ 979855 h 979855"/>
              <a:gd name="connsiteX1" fmla="*/ 686279 w 686279"/>
              <a:gd name="connsiteY1" fmla="*/ 0 h 979855"/>
              <a:gd name="connsiteX2" fmla="*/ 462913 w 686279"/>
              <a:gd name="connsiteY2" fmla="*/ 979855 h 979855"/>
              <a:gd name="connsiteX3" fmla="*/ 0 w 686279"/>
              <a:gd name="connsiteY3" fmla="*/ 979855 h 979855"/>
            </a:gdLst>
            <a:ahLst/>
            <a:cxnLst>
              <a:cxn ang="0">
                <a:pos x="connsiteX0" y="connsiteY0"/>
              </a:cxn>
              <a:cxn ang="0">
                <a:pos x="connsiteX1" y="connsiteY1"/>
              </a:cxn>
              <a:cxn ang="0">
                <a:pos x="connsiteX2" y="connsiteY2"/>
              </a:cxn>
              <a:cxn ang="0">
                <a:pos x="connsiteX3" y="connsiteY3"/>
              </a:cxn>
            </a:cxnLst>
            <a:rect l="l" t="t" r="r" b="b"/>
            <a:pathLst>
              <a:path w="686279" h="979855">
                <a:moveTo>
                  <a:pt x="0" y="979855"/>
                </a:moveTo>
                <a:lnTo>
                  <a:pt x="686279" y="0"/>
                </a:lnTo>
                <a:lnTo>
                  <a:pt x="462913" y="979855"/>
                </a:lnTo>
                <a:lnTo>
                  <a:pt x="0" y="979855"/>
                </a:lnTo>
                <a:close/>
              </a:path>
            </a:pathLst>
          </a:custGeom>
          <a:solidFill>
            <a:srgbClr val="8DC548">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653" name="Rectangle 4"/>
          <p:cNvSpPr/>
          <p:nvPr/>
        </p:nvSpPr>
        <p:spPr bwMode="auto">
          <a:xfrm rot="16929960">
            <a:off x="5162835" y="5350280"/>
            <a:ext cx="59359" cy="345666"/>
          </a:xfrm>
          <a:prstGeom prst="trapezoid">
            <a:avLst>
              <a:gd name="adj" fmla="val 50000"/>
            </a:avLst>
          </a:prstGeom>
          <a:solidFill>
            <a:srgbClr val="8DC548">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29" name="Group 28"/>
          <p:cNvGrpSpPr/>
          <p:nvPr/>
        </p:nvGrpSpPr>
        <p:grpSpPr>
          <a:xfrm>
            <a:off x="4426763" y="5132258"/>
            <a:ext cx="605799" cy="885205"/>
            <a:chOff x="4425174" y="5132257"/>
            <a:chExt cx="605799" cy="885205"/>
          </a:xfrm>
        </p:grpSpPr>
        <p:grpSp>
          <p:nvGrpSpPr>
            <p:cNvPr id="26" name="Group 25"/>
            <p:cNvGrpSpPr/>
            <p:nvPr/>
          </p:nvGrpSpPr>
          <p:grpSpPr>
            <a:xfrm>
              <a:off x="4425174" y="5132257"/>
              <a:ext cx="605799" cy="885205"/>
              <a:chOff x="-1270367" y="3461618"/>
              <a:chExt cx="849615" cy="1241473"/>
            </a:xfrm>
          </p:grpSpPr>
          <p:sp>
            <p:nvSpPr>
              <p:cNvPr id="833" name="Oval 58"/>
              <p:cNvSpPr/>
              <p:nvPr/>
            </p:nvSpPr>
            <p:spPr bwMode="auto">
              <a:xfrm>
                <a:off x="-1270367" y="3461618"/>
                <a:ext cx="497674" cy="1241473"/>
              </a:xfrm>
              <a:custGeom>
                <a:avLst/>
                <a:gdLst>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0485 w 746519"/>
                  <a:gd name="connsiteY9" fmla="*/ 978412 h 1860882"/>
                  <a:gd name="connsiteX10" fmla="*/ 641143 w 746519"/>
                  <a:gd name="connsiteY10" fmla="*/ 719987 h 1860882"/>
                  <a:gd name="connsiteX11" fmla="*/ 607021 w 746519"/>
                  <a:gd name="connsiteY11" fmla="*/ 688522 h 1860882"/>
                  <a:gd name="connsiteX12" fmla="*/ 572899 w 746519"/>
                  <a:gd name="connsiteY12" fmla="*/ 719987 h 1860882"/>
                  <a:gd name="connsiteX13" fmla="*/ 573503 w 746519"/>
                  <a:gd name="connsiteY13" fmla="*/ 1788305 h 1860882"/>
                  <a:gd name="connsiteX14" fmla="*/ 494799 w 746519"/>
                  <a:gd name="connsiteY14" fmla="*/ 1860882 h 1860882"/>
                  <a:gd name="connsiteX15" fmla="*/ 494800 w 746519"/>
                  <a:gd name="connsiteY15" fmla="*/ 1860881 h 1860882"/>
                  <a:gd name="connsiteX16" fmla="*/ 416097 w 746519"/>
                  <a:gd name="connsiteY16" fmla="*/ 1788305 h 1860882"/>
                  <a:gd name="connsiteX17" fmla="*/ 413651 w 746519"/>
                  <a:gd name="connsiteY17" fmla="*/ 1183095 h 1860882"/>
                  <a:gd name="connsiteX18" fmla="*/ 390975 w 746519"/>
                  <a:gd name="connsiteY18" fmla="*/ 1162184 h 1860882"/>
                  <a:gd name="connsiteX19" fmla="*/ 353012 w 746519"/>
                  <a:gd name="connsiteY19" fmla="*/ 1162184 h 1860882"/>
                  <a:gd name="connsiteX20" fmla="*/ 330336 w 746519"/>
                  <a:gd name="connsiteY20" fmla="*/ 1183095 h 1860882"/>
                  <a:gd name="connsiteX21" fmla="*/ 330336 w 746519"/>
                  <a:gd name="connsiteY21" fmla="*/ 1204005 h 1860882"/>
                  <a:gd name="connsiteX22" fmla="*/ 333806 w 746519"/>
                  <a:gd name="connsiteY22" fmla="*/ 1788305 h 1860882"/>
                  <a:gd name="connsiteX23" fmla="*/ 255103 w 746519"/>
                  <a:gd name="connsiteY23" fmla="*/ 1860882 h 1860882"/>
                  <a:gd name="connsiteX24" fmla="*/ 255103 w 746519"/>
                  <a:gd name="connsiteY24" fmla="*/ 1860881 h 1860882"/>
                  <a:gd name="connsiteX25" fmla="*/ 176400 w 746519"/>
                  <a:gd name="connsiteY25" fmla="*/ 1788305 h 1860882"/>
                  <a:gd name="connsiteX26" fmla="*/ 176134 w 746519"/>
                  <a:gd name="connsiteY26" fmla="*/ 724482 h 1860882"/>
                  <a:gd name="connsiteX27" fmla="*/ 137138 w 746519"/>
                  <a:gd name="connsiteY27" fmla="*/ 688522 h 1860882"/>
                  <a:gd name="connsiteX28" fmla="*/ 98142 w 746519"/>
                  <a:gd name="connsiteY28" fmla="*/ 724482 h 1860882"/>
                  <a:gd name="connsiteX29" fmla="*/ 102557 w 746519"/>
                  <a:gd name="connsiteY29" fmla="*/ 1043065 h 1860882"/>
                  <a:gd name="connsiteX30" fmla="*/ 53811 w 746519"/>
                  <a:gd name="connsiteY30" fmla="*/ 1075143 h 1860882"/>
                  <a:gd name="connsiteX31" fmla="*/ 0 w 746519"/>
                  <a:gd name="connsiteY31" fmla="*/ 1037915 h 1860882"/>
                  <a:gd name="connsiteX32" fmla="*/ 2533 w 746519"/>
                  <a:gd name="connsiteY32" fmla="*/ 822418 h 1860882"/>
                  <a:gd name="connsiteX33" fmla="*/ 2533 w 746519"/>
                  <a:gd name="connsiteY33" fmla="*/ 578527 h 1860882"/>
                  <a:gd name="connsiteX34" fmla="*/ 2533 w 746519"/>
                  <a:gd name="connsiteY34" fmla="*/ 513688 h 1860882"/>
                  <a:gd name="connsiteX35" fmla="*/ 167038 w 746519"/>
                  <a:gd name="connsiteY35" fmla="*/ 361990 h 1860882"/>
                  <a:gd name="connsiteX36" fmla="*/ 366931 w 746519"/>
                  <a:gd name="connsiteY36" fmla="*/ 0 h 1860882"/>
                  <a:gd name="connsiteX37" fmla="*/ 526414 w 746519"/>
                  <a:gd name="connsiteY37" fmla="*/ 159483 h 1860882"/>
                  <a:gd name="connsiteX38" fmla="*/ 366931 w 746519"/>
                  <a:gd name="connsiteY38" fmla="*/ 318966 h 1860882"/>
                  <a:gd name="connsiteX39" fmla="*/ 207448 w 746519"/>
                  <a:gd name="connsiteY39" fmla="*/ 159483 h 1860882"/>
                  <a:gd name="connsiteX40" fmla="*/ 366931 w 746519"/>
                  <a:gd name="connsiteY40"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0485 w 746519"/>
                  <a:gd name="connsiteY8" fmla="*/ 978412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40485 w 746519"/>
                  <a:gd name="connsiteY7" fmla="*/ 978412 h 1860882"/>
                  <a:gd name="connsiteX8" fmla="*/ 641143 w 746519"/>
                  <a:gd name="connsiteY8" fmla="*/ 719987 h 1860882"/>
                  <a:gd name="connsiteX9" fmla="*/ 607021 w 746519"/>
                  <a:gd name="connsiteY9" fmla="*/ 688522 h 1860882"/>
                  <a:gd name="connsiteX10" fmla="*/ 572899 w 746519"/>
                  <a:gd name="connsiteY10" fmla="*/ 719987 h 1860882"/>
                  <a:gd name="connsiteX11" fmla="*/ 573503 w 746519"/>
                  <a:gd name="connsiteY11" fmla="*/ 1788305 h 1860882"/>
                  <a:gd name="connsiteX12" fmla="*/ 494799 w 746519"/>
                  <a:gd name="connsiteY12" fmla="*/ 1860882 h 1860882"/>
                  <a:gd name="connsiteX13" fmla="*/ 494800 w 746519"/>
                  <a:gd name="connsiteY13" fmla="*/ 1860881 h 1860882"/>
                  <a:gd name="connsiteX14" fmla="*/ 416097 w 746519"/>
                  <a:gd name="connsiteY14" fmla="*/ 1788305 h 1860882"/>
                  <a:gd name="connsiteX15" fmla="*/ 413651 w 746519"/>
                  <a:gd name="connsiteY15" fmla="*/ 1183095 h 1860882"/>
                  <a:gd name="connsiteX16" fmla="*/ 390975 w 746519"/>
                  <a:gd name="connsiteY16" fmla="*/ 1162184 h 1860882"/>
                  <a:gd name="connsiteX17" fmla="*/ 353012 w 746519"/>
                  <a:gd name="connsiteY17" fmla="*/ 1162184 h 1860882"/>
                  <a:gd name="connsiteX18" fmla="*/ 330336 w 746519"/>
                  <a:gd name="connsiteY18" fmla="*/ 1183095 h 1860882"/>
                  <a:gd name="connsiteX19" fmla="*/ 330336 w 746519"/>
                  <a:gd name="connsiteY19" fmla="*/ 1204005 h 1860882"/>
                  <a:gd name="connsiteX20" fmla="*/ 333806 w 746519"/>
                  <a:gd name="connsiteY20" fmla="*/ 1788305 h 1860882"/>
                  <a:gd name="connsiteX21" fmla="*/ 255103 w 746519"/>
                  <a:gd name="connsiteY21" fmla="*/ 1860882 h 1860882"/>
                  <a:gd name="connsiteX22" fmla="*/ 255103 w 746519"/>
                  <a:gd name="connsiteY22" fmla="*/ 1860881 h 1860882"/>
                  <a:gd name="connsiteX23" fmla="*/ 176400 w 746519"/>
                  <a:gd name="connsiteY23" fmla="*/ 1788305 h 1860882"/>
                  <a:gd name="connsiteX24" fmla="*/ 176134 w 746519"/>
                  <a:gd name="connsiteY24" fmla="*/ 724482 h 1860882"/>
                  <a:gd name="connsiteX25" fmla="*/ 137138 w 746519"/>
                  <a:gd name="connsiteY25" fmla="*/ 688522 h 1860882"/>
                  <a:gd name="connsiteX26" fmla="*/ 98142 w 746519"/>
                  <a:gd name="connsiteY26" fmla="*/ 724482 h 1860882"/>
                  <a:gd name="connsiteX27" fmla="*/ 102557 w 746519"/>
                  <a:gd name="connsiteY27" fmla="*/ 1043065 h 1860882"/>
                  <a:gd name="connsiteX28" fmla="*/ 53811 w 746519"/>
                  <a:gd name="connsiteY28" fmla="*/ 1075143 h 1860882"/>
                  <a:gd name="connsiteX29" fmla="*/ 0 w 746519"/>
                  <a:gd name="connsiteY29" fmla="*/ 1037915 h 1860882"/>
                  <a:gd name="connsiteX30" fmla="*/ 2533 w 746519"/>
                  <a:gd name="connsiteY30" fmla="*/ 822418 h 1860882"/>
                  <a:gd name="connsiteX31" fmla="*/ 2533 w 746519"/>
                  <a:gd name="connsiteY31" fmla="*/ 578527 h 1860882"/>
                  <a:gd name="connsiteX32" fmla="*/ 2533 w 746519"/>
                  <a:gd name="connsiteY32" fmla="*/ 513688 h 1860882"/>
                  <a:gd name="connsiteX33" fmla="*/ 167038 w 746519"/>
                  <a:gd name="connsiteY33" fmla="*/ 361990 h 1860882"/>
                  <a:gd name="connsiteX34" fmla="*/ 366931 w 746519"/>
                  <a:gd name="connsiteY34" fmla="*/ 0 h 1860882"/>
                  <a:gd name="connsiteX35" fmla="*/ 526414 w 746519"/>
                  <a:gd name="connsiteY35" fmla="*/ 159483 h 1860882"/>
                  <a:gd name="connsiteX36" fmla="*/ 366931 w 746519"/>
                  <a:gd name="connsiteY36" fmla="*/ 318966 h 1860882"/>
                  <a:gd name="connsiteX37" fmla="*/ 207448 w 746519"/>
                  <a:gd name="connsiteY37" fmla="*/ 159483 h 1860882"/>
                  <a:gd name="connsiteX38" fmla="*/ 366931 w 746519"/>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300 w 747955"/>
                  <a:gd name="connsiteY5" fmla="*/ 978412 h 1860882"/>
                  <a:gd name="connsiteX6" fmla="*/ 747955 w 747955"/>
                  <a:gd name="connsiteY6" fmla="*/ 1012368 h 1860882"/>
                  <a:gd name="connsiteX7" fmla="*/ 640485 w 747955"/>
                  <a:gd name="connsiteY7" fmla="*/ 978412 h 1860882"/>
                  <a:gd name="connsiteX8" fmla="*/ 641143 w 747955"/>
                  <a:gd name="connsiteY8" fmla="*/ 719987 h 1860882"/>
                  <a:gd name="connsiteX9" fmla="*/ 607021 w 747955"/>
                  <a:gd name="connsiteY9" fmla="*/ 688522 h 1860882"/>
                  <a:gd name="connsiteX10" fmla="*/ 572899 w 747955"/>
                  <a:gd name="connsiteY10" fmla="*/ 719987 h 1860882"/>
                  <a:gd name="connsiteX11" fmla="*/ 573503 w 747955"/>
                  <a:gd name="connsiteY11" fmla="*/ 1788305 h 1860882"/>
                  <a:gd name="connsiteX12" fmla="*/ 494799 w 747955"/>
                  <a:gd name="connsiteY12" fmla="*/ 1860882 h 1860882"/>
                  <a:gd name="connsiteX13" fmla="*/ 494800 w 747955"/>
                  <a:gd name="connsiteY13" fmla="*/ 1860881 h 1860882"/>
                  <a:gd name="connsiteX14" fmla="*/ 416097 w 747955"/>
                  <a:gd name="connsiteY14" fmla="*/ 1788305 h 1860882"/>
                  <a:gd name="connsiteX15" fmla="*/ 413651 w 747955"/>
                  <a:gd name="connsiteY15" fmla="*/ 1183095 h 1860882"/>
                  <a:gd name="connsiteX16" fmla="*/ 390975 w 747955"/>
                  <a:gd name="connsiteY16" fmla="*/ 1162184 h 1860882"/>
                  <a:gd name="connsiteX17" fmla="*/ 353012 w 747955"/>
                  <a:gd name="connsiteY17" fmla="*/ 1162184 h 1860882"/>
                  <a:gd name="connsiteX18" fmla="*/ 330336 w 747955"/>
                  <a:gd name="connsiteY18" fmla="*/ 1183095 h 1860882"/>
                  <a:gd name="connsiteX19" fmla="*/ 330336 w 747955"/>
                  <a:gd name="connsiteY19" fmla="*/ 1204005 h 1860882"/>
                  <a:gd name="connsiteX20" fmla="*/ 333806 w 747955"/>
                  <a:gd name="connsiteY20" fmla="*/ 1788305 h 1860882"/>
                  <a:gd name="connsiteX21" fmla="*/ 255103 w 747955"/>
                  <a:gd name="connsiteY21" fmla="*/ 1860882 h 1860882"/>
                  <a:gd name="connsiteX22" fmla="*/ 255103 w 747955"/>
                  <a:gd name="connsiteY22" fmla="*/ 1860881 h 1860882"/>
                  <a:gd name="connsiteX23" fmla="*/ 176400 w 747955"/>
                  <a:gd name="connsiteY23" fmla="*/ 1788305 h 1860882"/>
                  <a:gd name="connsiteX24" fmla="*/ 176134 w 747955"/>
                  <a:gd name="connsiteY24" fmla="*/ 724482 h 1860882"/>
                  <a:gd name="connsiteX25" fmla="*/ 137138 w 747955"/>
                  <a:gd name="connsiteY25" fmla="*/ 688522 h 1860882"/>
                  <a:gd name="connsiteX26" fmla="*/ 98142 w 747955"/>
                  <a:gd name="connsiteY26" fmla="*/ 724482 h 1860882"/>
                  <a:gd name="connsiteX27" fmla="*/ 102557 w 747955"/>
                  <a:gd name="connsiteY27" fmla="*/ 1043065 h 1860882"/>
                  <a:gd name="connsiteX28" fmla="*/ 53811 w 747955"/>
                  <a:gd name="connsiteY28" fmla="*/ 1075143 h 1860882"/>
                  <a:gd name="connsiteX29" fmla="*/ 0 w 747955"/>
                  <a:gd name="connsiteY29" fmla="*/ 1037915 h 1860882"/>
                  <a:gd name="connsiteX30" fmla="*/ 2533 w 747955"/>
                  <a:gd name="connsiteY30" fmla="*/ 822418 h 1860882"/>
                  <a:gd name="connsiteX31" fmla="*/ 2533 w 747955"/>
                  <a:gd name="connsiteY31" fmla="*/ 578527 h 1860882"/>
                  <a:gd name="connsiteX32" fmla="*/ 2533 w 747955"/>
                  <a:gd name="connsiteY32" fmla="*/ 513688 h 1860882"/>
                  <a:gd name="connsiteX33" fmla="*/ 167038 w 747955"/>
                  <a:gd name="connsiteY33" fmla="*/ 361990 h 1860882"/>
                  <a:gd name="connsiteX34" fmla="*/ 366931 w 747955"/>
                  <a:gd name="connsiteY34" fmla="*/ 0 h 1860882"/>
                  <a:gd name="connsiteX35" fmla="*/ 526414 w 747955"/>
                  <a:gd name="connsiteY35" fmla="*/ 159483 h 1860882"/>
                  <a:gd name="connsiteX36" fmla="*/ 366931 w 747955"/>
                  <a:gd name="connsiteY36" fmla="*/ 318966 h 1860882"/>
                  <a:gd name="connsiteX37" fmla="*/ 207448 w 747955"/>
                  <a:gd name="connsiteY37" fmla="*/ 159483 h 1860882"/>
                  <a:gd name="connsiteX38" fmla="*/ 366931 w 747955"/>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38855 w 747955"/>
                  <a:gd name="connsiteY9" fmla="*/ 906807 h 1860882"/>
                  <a:gd name="connsiteX10" fmla="*/ 641143 w 747955"/>
                  <a:gd name="connsiteY10" fmla="*/ 719987 h 1860882"/>
                  <a:gd name="connsiteX11" fmla="*/ 607021 w 747955"/>
                  <a:gd name="connsiteY11" fmla="*/ 688522 h 1860882"/>
                  <a:gd name="connsiteX12" fmla="*/ 572899 w 747955"/>
                  <a:gd name="connsiteY12" fmla="*/ 719987 h 1860882"/>
                  <a:gd name="connsiteX13" fmla="*/ 573503 w 747955"/>
                  <a:gd name="connsiteY13" fmla="*/ 1788305 h 1860882"/>
                  <a:gd name="connsiteX14" fmla="*/ 494799 w 747955"/>
                  <a:gd name="connsiteY14" fmla="*/ 1860882 h 1860882"/>
                  <a:gd name="connsiteX15" fmla="*/ 494800 w 747955"/>
                  <a:gd name="connsiteY15" fmla="*/ 1860881 h 1860882"/>
                  <a:gd name="connsiteX16" fmla="*/ 416097 w 747955"/>
                  <a:gd name="connsiteY16" fmla="*/ 1788305 h 1860882"/>
                  <a:gd name="connsiteX17" fmla="*/ 413651 w 747955"/>
                  <a:gd name="connsiteY17" fmla="*/ 1183095 h 1860882"/>
                  <a:gd name="connsiteX18" fmla="*/ 390975 w 747955"/>
                  <a:gd name="connsiteY18" fmla="*/ 1162184 h 1860882"/>
                  <a:gd name="connsiteX19" fmla="*/ 353012 w 747955"/>
                  <a:gd name="connsiteY19" fmla="*/ 1162184 h 1860882"/>
                  <a:gd name="connsiteX20" fmla="*/ 330336 w 747955"/>
                  <a:gd name="connsiteY20" fmla="*/ 1183095 h 1860882"/>
                  <a:gd name="connsiteX21" fmla="*/ 330336 w 747955"/>
                  <a:gd name="connsiteY21" fmla="*/ 1204005 h 1860882"/>
                  <a:gd name="connsiteX22" fmla="*/ 333806 w 747955"/>
                  <a:gd name="connsiteY22" fmla="*/ 1788305 h 1860882"/>
                  <a:gd name="connsiteX23" fmla="*/ 255103 w 747955"/>
                  <a:gd name="connsiteY23" fmla="*/ 1860882 h 1860882"/>
                  <a:gd name="connsiteX24" fmla="*/ 255103 w 747955"/>
                  <a:gd name="connsiteY24" fmla="*/ 1860881 h 1860882"/>
                  <a:gd name="connsiteX25" fmla="*/ 176400 w 747955"/>
                  <a:gd name="connsiteY25" fmla="*/ 1788305 h 1860882"/>
                  <a:gd name="connsiteX26" fmla="*/ 176134 w 747955"/>
                  <a:gd name="connsiteY26" fmla="*/ 724482 h 1860882"/>
                  <a:gd name="connsiteX27" fmla="*/ 137138 w 747955"/>
                  <a:gd name="connsiteY27" fmla="*/ 688522 h 1860882"/>
                  <a:gd name="connsiteX28" fmla="*/ 98142 w 747955"/>
                  <a:gd name="connsiteY28" fmla="*/ 724482 h 1860882"/>
                  <a:gd name="connsiteX29" fmla="*/ 102557 w 747955"/>
                  <a:gd name="connsiteY29" fmla="*/ 1043065 h 1860882"/>
                  <a:gd name="connsiteX30" fmla="*/ 53811 w 747955"/>
                  <a:gd name="connsiteY30" fmla="*/ 1075143 h 1860882"/>
                  <a:gd name="connsiteX31" fmla="*/ 0 w 747955"/>
                  <a:gd name="connsiteY31" fmla="*/ 1037915 h 1860882"/>
                  <a:gd name="connsiteX32" fmla="*/ 2533 w 747955"/>
                  <a:gd name="connsiteY32" fmla="*/ 822418 h 1860882"/>
                  <a:gd name="connsiteX33" fmla="*/ 2533 w 747955"/>
                  <a:gd name="connsiteY33" fmla="*/ 578527 h 1860882"/>
                  <a:gd name="connsiteX34" fmla="*/ 2533 w 747955"/>
                  <a:gd name="connsiteY34" fmla="*/ 513688 h 1860882"/>
                  <a:gd name="connsiteX35" fmla="*/ 167038 w 747955"/>
                  <a:gd name="connsiteY35" fmla="*/ 361990 h 1860882"/>
                  <a:gd name="connsiteX36" fmla="*/ 366931 w 747955"/>
                  <a:gd name="connsiteY36" fmla="*/ 0 h 1860882"/>
                  <a:gd name="connsiteX37" fmla="*/ 526414 w 747955"/>
                  <a:gd name="connsiteY37" fmla="*/ 159483 h 1860882"/>
                  <a:gd name="connsiteX38" fmla="*/ 366931 w 747955"/>
                  <a:gd name="connsiteY38" fmla="*/ 318966 h 1860882"/>
                  <a:gd name="connsiteX39" fmla="*/ 207448 w 747955"/>
                  <a:gd name="connsiteY39" fmla="*/ 159483 h 1860882"/>
                  <a:gd name="connsiteX40" fmla="*/ 366931 w 747955"/>
                  <a:gd name="connsiteY40"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38855 w 747955"/>
                  <a:gd name="connsiteY8" fmla="*/ 906807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55595"/>
                  <a:gd name="connsiteY0" fmla="*/ 361990 h 1860882"/>
                  <a:gd name="connsiteX1" fmla="*/ 576950 w 755595"/>
                  <a:gd name="connsiteY1" fmla="*/ 361990 h 1860882"/>
                  <a:gd name="connsiteX2" fmla="*/ 741454 w 755595"/>
                  <a:gd name="connsiteY2" fmla="*/ 513688 h 1860882"/>
                  <a:gd name="connsiteX3" fmla="*/ 741454 w 755595"/>
                  <a:gd name="connsiteY3" fmla="*/ 578527 h 1860882"/>
                  <a:gd name="connsiteX4" fmla="*/ 741454 w 755595"/>
                  <a:gd name="connsiteY4" fmla="*/ 822418 h 1860882"/>
                  <a:gd name="connsiteX5" fmla="*/ 745871 w 755595"/>
                  <a:gd name="connsiteY5" fmla="*/ 919037 h 1860882"/>
                  <a:gd name="connsiteX6" fmla="*/ 747955 w 755595"/>
                  <a:gd name="connsiteY6" fmla="*/ 1012368 h 1860882"/>
                  <a:gd name="connsiteX7" fmla="*/ 638855 w 755595"/>
                  <a:gd name="connsiteY7" fmla="*/ 906807 h 1860882"/>
                  <a:gd name="connsiteX8" fmla="*/ 641143 w 755595"/>
                  <a:gd name="connsiteY8" fmla="*/ 719987 h 1860882"/>
                  <a:gd name="connsiteX9" fmla="*/ 607021 w 755595"/>
                  <a:gd name="connsiteY9" fmla="*/ 688522 h 1860882"/>
                  <a:gd name="connsiteX10" fmla="*/ 572899 w 755595"/>
                  <a:gd name="connsiteY10" fmla="*/ 719987 h 1860882"/>
                  <a:gd name="connsiteX11" fmla="*/ 573503 w 755595"/>
                  <a:gd name="connsiteY11" fmla="*/ 1788305 h 1860882"/>
                  <a:gd name="connsiteX12" fmla="*/ 494799 w 755595"/>
                  <a:gd name="connsiteY12" fmla="*/ 1860882 h 1860882"/>
                  <a:gd name="connsiteX13" fmla="*/ 494800 w 755595"/>
                  <a:gd name="connsiteY13" fmla="*/ 1860881 h 1860882"/>
                  <a:gd name="connsiteX14" fmla="*/ 416097 w 755595"/>
                  <a:gd name="connsiteY14" fmla="*/ 1788305 h 1860882"/>
                  <a:gd name="connsiteX15" fmla="*/ 413651 w 755595"/>
                  <a:gd name="connsiteY15" fmla="*/ 1183095 h 1860882"/>
                  <a:gd name="connsiteX16" fmla="*/ 390975 w 755595"/>
                  <a:gd name="connsiteY16" fmla="*/ 1162184 h 1860882"/>
                  <a:gd name="connsiteX17" fmla="*/ 353012 w 755595"/>
                  <a:gd name="connsiteY17" fmla="*/ 1162184 h 1860882"/>
                  <a:gd name="connsiteX18" fmla="*/ 330336 w 755595"/>
                  <a:gd name="connsiteY18" fmla="*/ 1183095 h 1860882"/>
                  <a:gd name="connsiteX19" fmla="*/ 330336 w 755595"/>
                  <a:gd name="connsiteY19" fmla="*/ 1204005 h 1860882"/>
                  <a:gd name="connsiteX20" fmla="*/ 333806 w 755595"/>
                  <a:gd name="connsiteY20" fmla="*/ 1788305 h 1860882"/>
                  <a:gd name="connsiteX21" fmla="*/ 255103 w 755595"/>
                  <a:gd name="connsiteY21" fmla="*/ 1860882 h 1860882"/>
                  <a:gd name="connsiteX22" fmla="*/ 255103 w 755595"/>
                  <a:gd name="connsiteY22" fmla="*/ 1860881 h 1860882"/>
                  <a:gd name="connsiteX23" fmla="*/ 176400 w 755595"/>
                  <a:gd name="connsiteY23" fmla="*/ 1788305 h 1860882"/>
                  <a:gd name="connsiteX24" fmla="*/ 176134 w 755595"/>
                  <a:gd name="connsiteY24" fmla="*/ 724482 h 1860882"/>
                  <a:gd name="connsiteX25" fmla="*/ 137138 w 755595"/>
                  <a:gd name="connsiteY25" fmla="*/ 688522 h 1860882"/>
                  <a:gd name="connsiteX26" fmla="*/ 98142 w 755595"/>
                  <a:gd name="connsiteY26" fmla="*/ 724482 h 1860882"/>
                  <a:gd name="connsiteX27" fmla="*/ 102557 w 755595"/>
                  <a:gd name="connsiteY27" fmla="*/ 1043065 h 1860882"/>
                  <a:gd name="connsiteX28" fmla="*/ 53811 w 755595"/>
                  <a:gd name="connsiteY28" fmla="*/ 1075143 h 1860882"/>
                  <a:gd name="connsiteX29" fmla="*/ 0 w 755595"/>
                  <a:gd name="connsiteY29" fmla="*/ 1037915 h 1860882"/>
                  <a:gd name="connsiteX30" fmla="*/ 2533 w 755595"/>
                  <a:gd name="connsiteY30" fmla="*/ 822418 h 1860882"/>
                  <a:gd name="connsiteX31" fmla="*/ 2533 w 755595"/>
                  <a:gd name="connsiteY31" fmla="*/ 578527 h 1860882"/>
                  <a:gd name="connsiteX32" fmla="*/ 2533 w 755595"/>
                  <a:gd name="connsiteY32" fmla="*/ 513688 h 1860882"/>
                  <a:gd name="connsiteX33" fmla="*/ 167038 w 755595"/>
                  <a:gd name="connsiteY33" fmla="*/ 361990 h 1860882"/>
                  <a:gd name="connsiteX34" fmla="*/ 366931 w 755595"/>
                  <a:gd name="connsiteY34" fmla="*/ 0 h 1860882"/>
                  <a:gd name="connsiteX35" fmla="*/ 526414 w 755595"/>
                  <a:gd name="connsiteY35" fmla="*/ 159483 h 1860882"/>
                  <a:gd name="connsiteX36" fmla="*/ 366931 w 755595"/>
                  <a:gd name="connsiteY36" fmla="*/ 318966 h 1860882"/>
                  <a:gd name="connsiteX37" fmla="*/ 207448 w 755595"/>
                  <a:gd name="connsiteY37" fmla="*/ 159483 h 1860882"/>
                  <a:gd name="connsiteX38" fmla="*/ 366931 w 755595"/>
                  <a:gd name="connsiteY38" fmla="*/ 0 h 1860882"/>
                  <a:gd name="connsiteX0" fmla="*/ 167038 w 751277"/>
                  <a:gd name="connsiteY0" fmla="*/ 361990 h 1860882"/>
                  <a:gd name="connsiteX1" fmla="*/ 576950 w 751277"/>
                  <a:gd name="connsiteY1" fmla="*/ 361990 h 1860882"/>
                  <a:gd name="connsiteX2" fmla="*/ 741454 w 751277"/>
                  <a:gd name="connsiteY2" fmla="*/ 513688 h 1860882"/>
                  <a:gd name="connsiteX3" fmla="*/ 741454 w 751277"/>
                  <a:gd name="connsiteY3" fmla="*/ 578527 h 1860882"/>
                  <a:gd name="connsiteX4" fmla="*/ 741454 w 751277"/>
                  <a:gd name="connsiteY4" fmla="*/ 822418 h 1860882"/>
                  <a:gd name="connsiteX5" fmla="*/ 745871 w 751277"/>
                  <a:gd name="connsiteY5" fmla="*/ 919037 h 1860882"/>
                  <a:gd name="connsiteX6" fmla="*/ 741840 w 751277"/>
                  <a:gd name="connsiteY6" fmla="*/ 946629 h 1860882"/>
                  <a:gd name="connsiteX7" fmla="*/ 638855 w 751277"/>
                  <a:gd name="connsiteY7" fmla="*/ 906807 h 1860882"/>
                  <a:gd name="connsiteX8" fmla="*/ 641143 w 751277"/>
                  <a:gd name="connsiteY8" fmla="*/ 719987 h 1860882"/>
                  <a:gd name="connsiteX9" fmla="*/ 607021 w 751277"/>
                  <a:gd name="connsiteY9" fmla="*/ 688522 h 1860882"/>
                  <a:gd name="connsiteX10" fmla="*/ 572899 w 751277"/>
                  <a:gd name="connsiteY10" fmla="*/ 719987 h 1860882"/>
                  <a:gd name="connsiteX11" fmla="*/ 573503 w 751277"/>
                  <a:gd name="connsiteY11" fmla="*/ 1788305 h 1860882"/>
                  <a:gd name="connsiteX12" fmla="*/ 494799 w 751277"/>
                  <a:gd name="connsiteY12" fmla="*/ 1860882 h 1860882"/>
                  <a:gd name="connsiteX13" fmla="*/ 494800 w 751277"/>
                  <a:gd name="connsiteY13" fmla="*/ 1860881 h 1860882"/>
                  <a:gd name="connsiteX14" fmla="*/ 416097 w 751277"/>
                  <a:gd name="connsiteY14" fmla="*/ 1788305 h 1860882"/>
                  <a:gd name="connsiteX15" fmla="*/ 413651 w 751277"/>
                  <a:gd name="connsiteY15" fmla="*/ 1183095 h 1860882"/>
                  <a:gd name="connsiteX16" fmla="*/ 390975 w 751277"/>
                  <a:gd name="connsiteY16" fmla="*/ 1162184 h 1860882"/>
                  <a:gd name="connsiteX17" fmla="*/ 353012 w 751277"/>
                  <a:gd name="connsiteY17" fmla="*/ 1162184 h 1860882"/>
                  <a:gd name="connsiteX18" fmla="*/ 330336 w 751277"/>
                  <a:gd name="connsiteY18" fmla="*/ 1183095 h 1860882"/>
                  <a:gd name="connsiteX19" fmla="*/ 330336 w 751277"/>
                  <a:gd name="connsiteY19" fmla="*/ 1204005 h 1860882"/>
                  <a:gd name="connsiteX20" fmla="*/ 333806 w 751277"/>
                  <a:gd name="connsiteY20" fmla="*/ 1788305 h 1860882"/>
                  <a:gd name="connsiteX21" fmla="*/ 255103 w 751277"/>
                  <a:gd name="connsiteY21" fmla="*/ 1860882 h 1860882"/>
                  <a:gd name="connsiteX22" fmla="*/ 255103 w 751277"/>
                  <a:gd name="connsiteY22" fmla="*/ 1860881 h 1860882"/>
                  <a:gd name="connsiteX23" fmla="*/ 176400 w 751277"/>
                  <a:gd name="connsiteY23" fmla="*/ 1788305 h 1860882"/>
                  <a:gd name="connsiteX24" fmla="*/ 176134 w 751277"/>
                  <a:gd name="connsiteY24" fmla="*/ 724482 h 1860882"/>
                  <a:gd name="connsiteX25" fmla="*/ 137138 w 751277"/>
                  <a:gd name="connsiteY25" fmla="*/ 688522 h 1860882"/>
                  <a:gd name="connsiteX26" fmla="*/ 98142 w 751277"/>
                  <a:gd name="connsiteY26" fmla="*/ 724482 h 1860882"/>
                  <a:gd name="connsiteX27" fmla="*/ 102557 w 751277"/>
                  <a:gd name="connsiteY27" fmla="*/ 1043065 h 1860882"/>
                  <a:gd name="connsiteX28" fmla="*/ 53811 w 751277"/>
                  <a:gd name="connsiteY28" fmla="*/ 1075143 h 1860882"/>
                  <a:gd name="connsiteX29" fmla="*/ 0 w 751277"/>
                  <a:gd name="connsiteY29" fmla="*/ 1037915 h 1860882"/>
                  <a:gd name="connsiteX30" fmla="*/ 2533 w 751277"/>
                  <a:gd name="connsiteY30" fmla="*/ 822418 h 1860882"/>
                  <a:gd name="connsiteX31" fmla="*/ 2533 w 751277"/>
                  <a:gd name="connsiteY31" fmla="*/ 578527 h 1860882"/>
                  <a:gd name="connsiteX32" fmla="*/ 2533 w 751277"/>
                  <a:gd name="connsiteY32" fmla="*/ 513688 h 1860882"/>
                  <a:gd name="connsiteX33" fmla="*/ 167038 w 751277"/>
                  <a:gd name="connsiteY33" fmla="*/ 361990 h 1860882"/>
                  <a:gd name="connsiteX34" fmla="*/ 366931 w 751277"/>
                  <a:gd name="connsiteY34" fmla="*/ 0 h 1860882"/>
                  <a:gd name="connsiteX35" fmla="*/ 526414 w 751277"/>
                  <a:gd name="connsiteY35" fmla="*/ 159483 h 1860882"/>
                  <a:gd name="connsiteX36" fmla="*/ 366931 w 751277"/>
                  <a:gd name="connsiteY36" fmla="*/ 318966 h 1860882"/>
                  <a:gd name="connsiteX37" fmla="*/ 207448 w 751277"/>
                  <a:gd name="connsiteY37" fmla="*/ 159483 h 1860882"/>
                  <a:gd name="connsiteX38" fmla="*/ 366931 w 751277"/>
                  <a:gd name="connsiteY38" fmla="*/ 0 h 1860882"/>
                  <a:gd name="connsiteX0" fmla="*/ 167038 w 747958"/>
                  <a:gd name="connsiteY0" fmla="*/ 361990 h 1860882"/>
                  <a:gd name="connsiteX1" fmla="*/ 576950 w 747958"/>
                  <a:gd name="connsiteY1" fmla="*/ 361990 h 1860882"/>
                  <a:gd name="connsiteX2" fmla="*/ 741454 w 747958"/>
                  <a:gd name="connsiteY2" fmla="*/ 513688 h 1860882"/>
                  <a:gd name="connsiteX3" fmla="*/ 741454 w 747958"/>
                  <a:gd name="connsiteY3" fmla="*/ 578527 h 1860882"/>
                  <a:gd name="connsiteX4" fmla="*/ 741454 w 747958"/>
                  <a:gd name="connsiteY4" fmla="*/ 822418 h 1860882"/>
                  <a:gd name="connsiteX5" fmla="*/ 745871 w 747958"/>
                  <a:gd name="connsiteY5" fmla="*/ 919037 h 1860882"/>
                  <a:gd name="connsiteX6" fmla="*/ 735725 w 747958"/>
                  <a:gd name="connsiteY6" fmla="*/ 946629 h 1860882"/>
                  <a:gd name="connsiteX7" fmla="*/ 638855 w 747958"/>
                  <a:gd name="connsiteY7" fmla="*/ 906807 h 1860882"/>
                  <a:gd name="connsiteX8" fmla="*/ 641143 w 747958"/>
                  <a:gd name="connsiteY8" fmla="*/ 719987 h 1860882"/>
                  <a:gd name="connsiteX9" fmla="*/ 607021 w 747958"/>
                  <a:gd name="connsiteY9" fmla="*/ 688522 h 1860882"/>
                  <a:gd name="connsiteX10" fmla="*/ 572899 w 747958"/>
                  <a:gd name="connsiteY10" fmla="*/ 719987 h 1860882"/>
                  <a:gd name="connsiteX11" fmla="*/ 573503 w 747958"/>
                  <a:gd name="connsiteY11" fmla="*/ 1788305 h 1860882"/>
                  <a:gd name="connsiteX12" fmla="*/ 494799 w 747958"/>
                  <a:gd name="connsiteY12" fmla="*/ 1860882 h 1860882"/>
                  <a:gd name="connsiteX13" fmla="*/ 494800 w 747958"/>
                  <a:gd name="connsiteY13" fmla="*/ 1860881 h 1860882"/>
                  <a:gd name="connsiteX14" fmla="*/ 416097 w 747958"/>
                  <a:gd name="connsiteY14" fmla="*/ 1788305 h 1860882"/>
                  <a:gd name="connsiteX15" fmla="*/ 413651 w 747958"/>
                  <a:gd name="connsiteY15" fmla="*/ 1183095 h 1860882"/>
                  <a:gd name="connsiteX16" fmla="*/ 390975 w 747958"/>
                  <a:gd name="connsiteY16" fmla="*/ 1162184 h 1860882"/>
                  <a:gd name="connsiteX17" fmla="*/ 353012 w 747958"/>
                  <a:gd name="connsiteY17" fmla="*/ 1162184 h 1860882"/>
                  <a:gd name="connsiteX18" fmla="*/ 330336 w 747958"/>
                  <a:gd name="connsiteY18" fmla="*/ 1183095 h 1860882"/>
                  <a:gd name="connsiteX19" fmla="*/ 330336 w 747958"/>
                  <a:gd name="connsiteY19" fmla="*/ 1204005 h 1860882"/>
                  <a:gd name="connsiteX20" fmla="*/ 333806 w 747958"/>
                  <a:gd name="connsiteY20" fmla="*/ 1788305 h 1860882"/>
                  <a:gd name="connsiteX21" fmla="*/ 255103 w 747958"/>
                  <a:gd name="connsiteY21" fmla="*/ 1860882 h 1860882"/>
                  <a:gd name="connsiteX22" fmla="*/ 255103 w 747958"/>
                  <a:gd name="connsiteY22" fmla="*/ 1860881 h 1860882"/>
                  <a:gd name="connsiteX23" fmla="*/ 176400 w 747958"/>
                  <a:gd name="connsiteY23" fmla="*/ 1788305 h 1860882"/>
                  <a:gd name="connsiteX24" fmla="*/ 176134 w 747958"/>
                  <a:gd name="connsiteY24" fmla="*/ 724482 h 1860882"/>
                  <a:gd name="connsiteX25" fmla="*/ 137138 w 747958"/>
                  <a:gd name="connsiteY25" fmla="*/ 688522 h 1860882"/>
                  <a:gd name="connsiteX26" fmla="*/ 98142 w 747958"/>
                  <a:gd name="connsiteY26" fmla="*/ 724482 h 1860882"/>
                  <a:gd name="connsiteX27" fmla="*/ 102557 w 747958"/>
                  <a:gd name="connsiteY27" fmla="*/ 1043065 h 1860882"/>
                  <a:gd name="connsiteX28" fmla="*/ 53811 w 747958"/>
                  <a:gd name="connsiteY28" fmla="*/ 1075143 h 1860882"/>
                  <a:gd name="connsiteX29" fmla="*/ 0 w 747958"/>
                  <a:gd name="connsiteY29" fmla="*/ 1037915 h 1860882"/>
                  <a:gd name="connsiteX30" fmla="*/ 2533 w 747958"/>
                  <a:gd name="connsiteY30" fmla="*/ 822418 h 1860882"/>
                  <a:gd name="connsiteX31" fmla="*/ 2533 w 747958"/>
                  <a:gd name="connsiteY31" fmla="*/ 578527 h 1860882"/>
                  <a:gd name="connsiteX32" fmla="*/ 2533 w 747958"/>
                  <a:gd name="connsiteY32" fmla="*/ 513688 h 1860882"/>
                  <a:gd name="connsiteX33" fmla="*/ 167038 w 747958"/>
                  <a:gd name="connsiteY33" fmla="*/ 361990 h 1860882"/>
                  <a:gd name="connsiteX34" fmla="*/ 366931 w 747958"/>
                  <a:gd name="connsiteY34" fmla="*/ 0 h 1860882"/>
                  <a:gd name="connsiteX35" fmla="*/ 526414 w 747958"/>
                  <a:gd name="connsiteY35" fmla="*/ 159483 h 1860882"/>
                  <a:gd name="connsiteX36" fmla="*/ 366931 w 747958"/>
                  <a:gd name="connsiteY36" fmla="*/ 318966 h 1860882"/>
                  <a:gd name="connsiteX37" fmla="*/ 207448 w 747958"/>
                  <a:gd name="connsiteY37" fmla="*/ 159483 h 1860882"/>
                  <a:gd name="connsiteX38" fmla="*/ 366931 w 747958"/>
                  <a:gd name="connsiteY38" fmla="*/ 0 h 1860882"/>
                  <a:gd name="connsiteX0" fmla="*/ 167038 w 746083"/>
                  <a:gd name="connsiteY0" fmla="*/ 361990 h 1860882"/>
                  <a:gd name="connsiteX1" fmla="*/ 576950 w 746083"/>
                  <a:gd name="connsiteY1" fmla="*/ 361990 h 1860882"/>
                  <a:gd name="connsiteX2" fmla="*/ 741454 w 746083"/>
                  <a:gd name="connsiteY2" fmla="*/ 513688 h 1860882"/>
                  <a:gd name="connsiteX3" fmla="*/ 741454 w 746083"/>
                  <a:gd name="connsiteY3" fmla="*/ 578527 h 1860882"/>
                  <a:gd name="connsiteX4" fmla="*/ 741454 w 746083"/>
                  <a:gd name="connsiteY4" fmla="*/ 822418 h 1860882"/>
                  <a:gd name="connsiteX5" fmla="*/ 745871 w 746083"/>
                  <a:gd name="connsiteY5" fmla="*/ 919037 h 1860882"/>
                  <a:gd name="connsiteX6" fmla="*/ 726552 w 746083"/>
                  <a:gd name="connsiteY6" fmla="*/ 937457 h 1860882"/>
                  <a:gd name="connsiteX7" fmla="*/ 638855 w 746083"/>
                  <a:gd name="connsiteY7" fmla="*/ 906807 h 1860882"/>
                  <a:gd name="connsiteX8" fmla="*/ 641143 w 746083"/>
                  <a:gd name="connsiteY8" fmla="*/ 719987 h 1860882"/>
                  <a:gd name="connsiteX9" fmla="*/ 607021 w 746083"/>
                  <a:gd name="connsiteY9" fmla="*/ 688522 h 1860882"/>
                  <a:gd name="connsiteX10" fmla="*/ 572899 w 746083"/>
                  <a:gd name="connsiteY10" fmla="*/ 719987 h 1860882"/>
                  <a:gd name="connsiteX11" fmla="*/ 573503 w 746083"/>
                  <a:gd name="connsiteY11" fmla="*/ 1788305 h 1860882"/>
                  <a:gd name="connsiteX12" fmla="*/ 494799 w 746083"/>
                  <a:gd name="connsiteY12" fmla="*/ 1860882 h 1860882"/>
                  <a:gd name="connsiteX13" fmla="*/ 494800 w 746083"/>
                  <a:gd name="connsiteY13" fmla="*/ 1860881 h 1860882"/>
                  <a:gd name="connsiteX14" fmla="*/ 416097 w 746083"/>
                  <a:gd name="connsiteY14" fmla="*/ 1788305 h 1860882"/>
                  <a:gd name="connsiteX15" fmla="*/ 413651 w 746083"/>
                  <a:gd name="connsiteY15" fmla="*/ 1183095 h 1860882"/>
                  <a:gd name="connsiteX16" fmla="*/ 390975 w 746083"/>
                  <a:gd name="connsiteY16" fmla="*/ 1162184 h 1860882"/>
                  <a:gd name="connsiteX17" fmla="*/ 353012 w 746083"/>
                  <a:gd name="connsiteY17" fmla="*/ 1162184 h 1860882"/>
                  <a:gd name="connsiteX18" fmla="*/ 330336 w 746083"/>
                  <a:gd name="connsiteY18" fmla="*/ 1183095 h 1860882"/>
                  <a:gd name="connsiteX19" fmla="*/ 330336 w 746083"/>
                  <a:gd name="connsiteY19" fmla="*/ 1204005 h 1860882"/>
                  <a:gd name="connsiteX20" fmla="*/ 333806 w 746083"/>
                  <a:gd name="connsiteY20" fmla="*/ 1788305 h 1860882"/>
                  <a:gd name="connsiteX21" fmla="*/ 255103 w 746083"/>
                  <a:gd name="connsiteY21" fmla="*/ 1860882 h 1860882"/>
                  <a:gd name="connsiteX22" fmla="*/ 255103 w 746083"/>
                  <a:gd name="connsiteY22" fmla="*/ 1860881 h 1860882"/>
                  <a:gd name="connsiteX23" fmla="*/ 176400 w 746083"/>
                  <a:gd name="connsiteY23" fmla="*/ 1788305 h 1860882"/>
                  <a:gd name="connsiteX24" fmla="*/ 176134 w 746083"/>
                  <a:gd name="connsiteY24" fmla="*/ 724482 h 1860882"/>
                  <a:gd name="connsiteX25" fmla="*/ 137138 w 746083"/>
                  <a:gd name="connsiteY25" fmla="*/ 688522 h 1860882"/>
                  <a:gd name="connsiteX26" fmla="*/ 98142 w 746083"/>
                  <a:gd name="connsiteY26" fmla="*/ 724482 h 1860882"/>
                  <a:gd name="connsiteX27" fmla="*/ 102557 w 746083"/>
                  <a:gd name="connsiteY27" fmla="*/ 1043065 h 1860882"/>
                  <a:gd name="connsiteX28" fmla="*/ 53811 w 746083"/>
                  <a:gd name="connsiteY28" fmla="*/ 1075143 h 1860882"/>
                  <a:gd name="connsiteX29" fmla="*/ 0 w 746083"/>
                  <a:gd name="connsiteY29" fmla="*/ 1037915 h 1860882"/>
                  <a:gd name="connsiteX30" fmla="*/ 2533 w 746083"/>
                  <a:gd name="connsiteY30" fmla="*/ 822418 h 1860882"/>
                  <a:gd name="connsiteX31" fmla="*/ 2533 w 746083"/>
                  <a:gd name="connsiteY31" fmla="*/ 578527 h 1860882"/>
                  <a:gd name="connsiteX32" fmla="*/ 2533 w 746083"/>
                  <a:gd name="connsiteY32" fmla="*/ 513688 h 1860882"/>
                  <a:gd name="connsiteX33" fmla="*/ 167038 w 746083"/>
                  <a:gd name="connsiteY33" fmla="*/ 361990 h 1860882"/>
                  <a:gd name="connsiteX34" fmla="*/ 366931 w 746083"/>
                  <a:gd name="connsiteY34" fmla="*/ 0 h 1860882"/>
                  <a:gd name="connsiteX35" fmla="*/ 526414 w 746083"/>
                  <a:gd name="connsiteY35" fmla="*/ 159483 h 1860882"/>
                  <a:gd name="connsiteX36" fmla="*/ 366931 w 746083"/>
                  <a:gd name="connsiteY36" fmla="*/ 318966 h 1860882"/>
                  <a:gd name="connsiteX37" fmla="*/ 207448 w 746083"/>
                  <a:gd name="connsiteY37" fmla="*/ 159483 h 1860882"/>
                  <a:gd name="connsiteX38" fmla="*/ 366931 w 746083"/>
                  <a:gd name="connsiteY38" fmla="*/ 0 h 1860882"/>
                  <a:gd name="connsiteX0" fmla="*/ 167038 w 745871"/>
                  <a:gd name="connsiteY0" fmla="*/ 361990 h 1860882"/>
                  <a:gd name="connsiteX1" fmla="*/ 576950 w 745871"/>
                  <a:gd name="connsiteY1" fmla="*/ 361990 h 1860882"/>
                  <a:gd name="connsiteX2" fmla="*/ 741454 w 745871"/>
                  <a:gd name="connsiteY2" fmla="*/ 513688 h 1860882"/>
                  <a:gd name="connsiteX3" fmla="*/ 741454 w 745871"/>
                  <a:gd name="connsiteY3" fmla="*/ 578527 h 1860882"/>
                  <a:gd name="connsiteX4" fmla="*/ 741454 w 745871"/>
                  <a:gd name="connsiteY4" fmla="*/ 822418 h 1860882"/>
                  <a:gd name="connsiteX5" fmla="*/ 745871 w 745871"/>
                  <a:gd name="connsiteY5" fmla="*/ 919037 h 1860882"/>
                  <a:gd name="connsiteX6" fmla="*/ 638855 w 745871"/>
                  <a:gd name="connsiteY6" fmla="*/ 906807 h 1860882"/>
                  <a:gd name="connsiteX7" fmla="*/ 641143 w 745871"/>
                  <a:gd name="connsiteY7" fmla="*/ 719987 h 1860882"/>
                  <a:gd name="connsiteX8" fmla="*/ 607021 w 745871"/>
                  <a:gd name="connsiteY8" fmla="*/ 688522 h 1860882"/>
                  <a:gd name="connsiteX9" fmla="*/ 572899 w 745871"/>
                  <a:gd name="connsiteY9" fmla="*/ 719987 h 1860882"/>
                  <a:gd name="connsiteX10" fmla="*/ 573503 w 745871"/>
                  <a:gd name="connsiteY10" fmla="*/ 1788305 h 1860882"/>
                  <a:gd name="connsiteX11" fmla="*/ 494799 w 745871"/>
                  <a:gd name="connsiteY11" fmla="*/ 1860882 h 1860882"/>
                  <a:gd name="connsiteX12" fmla="*/ 494800 w 745871"/>
                  <a:gd name="connsiteY12" fmla="*/ 1860881 h 1860882"/>
                  <a:gd name="connsiteX13" fmla="*/ 416097 w 745871"/>
                  <a:gd name="connsiteY13" fmla="*/ 1788305 h 1860882"/>
                  <a:gd name="connsiteX14" fmla="*/ 413651 w 745871"/>
                  <a:gd name="connsiteY14" fmla="*/ 1183095 h 1860882"/>
                  <a:gd name="connsiteX15" fmla="*/ 390975 w 745871"/>
                  <a:gd name="connsiteY15" fmla="*/ 1162184 h 1860882"/>
                  <a:gd name="connsiteX16" fmla="*/ 353012 w 745871"/>
                  <a:gd name="connsiteY16" fmla="*/ 1162184 h 1860882"/>
                  <a:gd name="connsiteX17" fmla="*/ 330336 w 745871"/>
                  <a:gd name="connsiteY17" fmla="*/ 1183095 h 1860882"/>
                  <a:gd name="connsiteX18" fmla="*/ 330336 w 745871"/>
                  <a:gd name="connsiteY18" fmla="*/ 1204005 h 1860882"/>
                  <a:gd name="connsiteX19" fmla="*/ 333806 w 745871"/>
                  <a:gd name="connsiteY19" fmla="*/ 1788305 h 1860882"/>
                  <a:gd name="connsiteX20" fmla="*/ 255103 w 745871"/>
                  <a:gd name="connsiteY20" fmla="*/ 1860882 h 1860882"/>
                  <a:gd name="connsiteX21" fmla="*/ 255103 w 745871"/>
                  <a:gd name="connsiteY21" fmla="*/ 1860881 h 1860882"/>
                  <a:gd name="connsiteX22" fmla="*/ 176400 w 745871"/>
                  <a:gd name="connsiteY22" fmla="*/ 1788305 h 1860882"/>
                  <a:gd name="connsiteX23" fmla="*/ 176134 w 745871"/>
                  <a:gd name="connsiteY23" fmla="*/ 724482 h 1860882"/>
                  <a:gd name="connsiteX24" fmla="*/ 137138 w 745871"/>
                  <a:gd name="connsiteY24" fmla="*/ 688522 h 1860882"/>
                  <a:gd name="connsiteX25" fmla="*/ 98142 w 745871"/>
                  <a:gd name="connsiteY25" fmla="*/ 724482 h 1860882"/>
                  <a:gd name="connsiteX26" fmla="*/ 102557 w 745871"/>
                  <a:gd name="connsiteY26" fmla="*/ 1043065 h 1860882"/>
                  <a:gd name="connsiteX27" fmla="*/ 53811 w 745871"/>
                  <a:gd name="connsiteY27" fmla="*/ 1075143 h 1860882"/>
                  <a:gd name="connsiteX28" fmla="*/ 0 w 745871"/>
                  <a:gd name="connsiteY28" fmla="*/ 1037915 h 1860882"/>
                  <a:gd name="connsiteX29" fmla="*/ 2533 w 745871"/>
                  <a:gd name="connsiteY29" fmla="*/ 822418 h 1860882"/>
                  <a:gd name="connsiteX30" fmla="*/ 2533 w 745871"/>
                  <a:gd name="connsiteY30" fmla="*/ 578527 h 1860882"/>
                  <a:gd name="connsiteX31" fmla="*/ 2533 w 745871"/>
                  <a:gd name="connsiteY31" fmla="*/ 513688 h 1860882"/>
                  <a:gd name="connsiteX32" fmla="*/ 167038 w 745871"/>
                  <a:gd name="connsiteY32" fmla="*/ 361990 h 1860882"/>
                  <a:gd name="connsiteX33" fmla="*/ 366931 w 745871"/>
                  <a:gd name="connsiteY33" fmla="*/ 0 h 1860882"/>
                  <a:gd name="connsiteX34" fmla="*/ 526414 w 745871"/>
                  <a:gd name="connsiteY34" fmla="*/ 159483 h 1860882"/>
                  <a:gd name="connsiteX35" fmla="*/ 366931 w 745871"/>
                  <a:gd name="connsiteY35" fmla="*/ 318966 h 1860882"/>
                  <a:gd name="connsiteX36" fmla="*/ 207448 w 745871"/>
                  <a:gd name="connsiteY36" fmla="*/ 159483 h 1860882"/>
                  <a:gd name="connsiteX37" fmla="*/ 366931 w 745871"/>
                  <a:gd name="connsiteY37" fmla="*/ 0 h 1860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45871" h="1860882">
                    <a:moveTo>
                      <a:pt x="167038" y="361990"/>
                    </a:moveTo>
                    <a:lnTo>
                      <a:pt x="576950" y="361990"/>
                    </a:lnTo>
                    <a:cubicBezTo>
                      <a:pt x="667803" y="361990"/>
                      <a:pt x="741454" y="429907"/>
                      <a:pt x="741454" y="513688"/>
                    </a:cubicBezTo>
                    <a:lnTo>
                      <a:pt x="741454" y="578527"/>
                    </a:lnTo>
                    <a:lnTo>
                      <a:pt x="741454" y="822418"/>
                    </a:lnTo>
                    <a:lnTo>
                      <a:pt x="745871" y="919037"/>
                    </a:lnTo>
                    <a:cubicBezTo>
                      <a:pt x="728771" y="933102"/>
                      <a:pt x="656310" y="939982"/>
                      <a:pt x="638855" y="906807"/>
                    </a:cubicBezTo>
                    <a:cubicBezTo>
                      <a:pt x="638965" y="863736"/>
                      <a:pt x="646449" y="756368"/>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cubicBezTo>
                      <a:pt x="415282" y="1586568"/>
                      <a:pt x="414466" y="1384832"/>
                      <a:pt x="413651" y="1183095"/>
                    </a:cubicBezTo>
                    <a:cubicBezTo>
                      <a:pt x="413651" y="1171546"/>
                      <a:pt x="403499" y="1162184"/>
                      <a:pt x="390975" y="1162184"/>
                    </a:cubicBezTo>
                    <a:lnTo>
                      <a:pt x="353012" y="1162184"/>
                    </a:lnTo>
                    <a:cubicBezTo>
                      <a:pt x="340488" y="1162184"/>
                      <a:pt x="330336" y="1171546"/>
                      <a:pt x="330336" y="1183095"/>
                    </a:cubicBezTo>
                    <a:lnTo>
                      <a:pt x="330336" y="1204005"/>
                    </a:lnTo>
                    <a:cubicBezTo>
                      <a:pt x="331493" y="1398772"/>
                      <a:pt x="332649" y="1593538"/>
                      <a:pt x="333806" y="1788305"/>
                    </a:cubicBezTo>
                    <a:cubicBezTo>
                      <a:pt x="333806" y="1828388"/>
                      <a:pt x="298569" y="1860882"/>
                      <a:pt x="255103" y="1860882"/>
                    </a:cubicBezTo>
                    <a:lnTo>
                      <a:pt x="255103" y="1860881"/>
                    </a:lnTo>
                    <a:cubicBezTo>
                      <a:pt x="211636" y="1860881"/>
                      <a:pt x="176400" y="1828388"/>
                      <a:pt x="176400" y="1788305"/>
                    </a:cubicBezTo>
                    <a:cubicBezTo>
                      <a:pt x="176311" y="1433697"/>
                      <a:pt x="176223" y="1079090"/>
                      <a:pt x="176134" y="724482"/>
                    </a:cubicBez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cubicBezTo>
                      <a:pt x="844" y="966083"/>
                      <a:pt x="1689" y="894250"/>
                      <a:pt x="2533" y="822418"/>
                    </a:cubicBez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6" tIns="44798" rIns="44798" bIns="89596" numCol="1" spcCol="0" rtlCol="0" fromWordArt="0" anchor="b" anchorCtr="0" forceAA="0" compatLnSpc="1">
                <a:prstTxWarp prst="textNoShape">
                  <a:avLst/>
                </a:prstTxWarp>
                <a:noAutofit/>
              </a:bodyPr>
              <a:lstStyle/>
              <a:p>
                <a:pPr marL="0" marR="0" lvl="0" indent="0" algn="ctr" defTabSz="913466" eaLnBrk="1" fontAlgn="base" latinLnBrk="0" hangingPunct="1">
                  <a:lnSpc>
                    <a:spcPct val="100000"/>
                  </a:lnSpc>
                  <a:spcBef>
                    <a:spcPct val="0"/>
                  </a:spcBef>
                  <a:spcAft>
                    <a:spcPct val="0"/>
                  </a:spcAft>
                  <a:buClrTx/>
                  <a:buSzTx/>
                  <a:buFontTx/>
                  <a:buNone/>
                  <a:tabLst/>
                  <a:defRPr/>
                </a:pPr>
                <a:endParaRPr kumimoji="0" lang="en-US" sz="1763"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 name="Rectangle 24"/>
              <p:cNvSpPr/>
              <p:nvPr/>
            </p:nvSpPr>
            <p:spPr bwMode="auto">
              <a:xfrm>
                <a:off x="-826435" y="4011406"/>
                <a:ext cx="160667" cy="70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801" name="Rectangle 25"/>
              <p:cNvSpPr/>
              <p:nvPr/>
            </p:nvSpPr>
            <p:spPr bwMode="auto">
              <a:xfrm rot="685676">
                <a:off x="-756296" y="3869132"/>
                <a:ext cx="335544" cy="232448"/>
              </a:xfrm>
              <a:custGeom>
                <a:avLst/>
                <a:gdLst>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1531611 w 2953954"/>
                  <a:gd name="connsiteY25" fmla="*/ 2046352 h 2046352"/>
                  <a:gd name="connsiteX26" fmla="*/ 1621444 w 2953954"/>
                  <a:gd name="connsiteY26" fmla="*/ 1281519 h 2046352"/>
                  <a:gd name="connsiteX27" fmla="*/ 1621444 w 2953954"/>
                  <a:gd name="connsiteY27" fmla="*/ 2046352 h 2046352"/>
                  <a:gd name="connsiteX28" fmla="*/ 1531611 w 2953954"/>
                  <a:gd name="connsiteY28" fmla="*/ 2046352 h 2046352"/>
                  <a:gd name="connsiteX29" fmla="*/ 0 w 2953954"/>
                  <a:gd name="connsiteY29" fmla="*/ 0 h 2046352"/>
                  <a:gd name="connsiteX30" fmla="*/ 2947156 w 2953954"/>
                  <a:gd name="connsiteY30" fmla="*/ 0 h 2046352"/>
                  <a:gd name="connsiteX31" fmla="*/ 2953954 w 2953954"/>
                  <a:gd name="connsiteY31" fmla="*/ 363720 h 2046352"/>
                  <a:gd name="connsiteX32" fmla="*/ 2648021 w 2953954"/>
                  <a:gd name="connsiteY32" fmla="*/ 1009579 h 2046352"/>
                  <a:gd name="connsiteX33" fmla="*/ 1407293 w 2953954"/>
                  <a:gd name="connsiteY33" fmla="*/ 1009579 h 2046352"/>
                  <a:gd name="connsiteX34" fmla="*/ 1233930 w 2953954"/>
                  <a:gd name="connsiteY34" fmla="*/ 1346105 h 2046352"/>
                  <a:gd name="connsiteX35" fmla="*/ 1094561 w 2953954"/>
                  <a:gd name="connsiteY35" fmla="*/ 1305314 h 2046352"/>
                  <a:gd name="connsiteX36" fmla="*/ 815822 w 2953954"/>
                  <a:gd name="connsiteY36" fmla="*/ 2029356 h 2046352"/>
                  <a:gd name="connsiteX37" fmla="*/ 370519 w 2953954"/>
                  <a:gd name="connsiteY37" fmla="*/ 2046352 h 2046352"/>
                  <a:gd name="connsiteX38" fmla="*/ 608467 w 2953954"/>
                  <a:gd name="connsiteY38" fmla="*/ 1026575 h 2046352"/>
                  <a:gd name="connsiteX39" fmla="*/ 0 w 2953954"/>
                  <a:gd name="connsiteY39" fmla="*/ 1026575 h 2046352"/>
                  <a:gd name="connsiteX40" fmla="*/ 0 w 2953954"/>
                  <a:gd name="connsiteY40"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1621444 w 2953954"/>
                  <a:gd name="connsiteY25" fmla="*/ 2046352 h 2046352"/>
                  <a:gd name="connsiteX26" fmla="*/ 1621444 w 2953954"/>
                  <a:gd name="connsiteY26" fmla="*/ 1281519 h 2046352"/>
                  <a:gd name="connsiteX27" fmla="*/ 1621444 w 2953954"/>
                  <a:gd name="connsiteY27" fmla="*/ 2046352 h 2046352"/>
                  <a:gd name="connsiteX28" fmla="*/ 0 w 2953954"/>
                  <a:gd name="connsiteY28" fmla="*/ 0 h 2046352"/>
                  <a:gd name="connsiteX29" fmla="*/ 2947156 w 2953954"/>
                  <a:gd name="connsiteY29" fmla="*/ 0 h 2046352"/>
                  <a:gd name="connsiteX30" fmla="*/ 2953954 w 2953954"/>
                  <a:gd name="connsiteY30" fmla="*/ 363720 h 2046352"/>
                  <a:gd name="connsiteX31" fmla="*/ 2648021 w 2953954"/>
                  <a:gd name="connsiteY31" fmla="*/ 1009579 h 2046352"/>
                  <a:gd name="connsiteX32" fmla="*/ 1407293 w 2953954"/>
                  <a:gd name="connsiteY32" fmla="*/ 1009579 h 2046352"/>
                  <a:gd name="connsiteX33" fmla="*/ 1233930 w 2953954"/>
                  <a:gd name="connsiteY33" fmla="*/ 1346105 h 2046352"/>
                  <a:gd name="connsiteX34" fmla="*/ 1094561 w 2953954"/>
                  <a:gd name="connsiteY34" fmla="*/ 1305314 h 2046352"/>
                  <a:gd name="connsiteX35" fmla="*/ 815822 w 2953954"/>
                  <a:gd name="connsiteY35" fmla="*/ 2029356 h 2046352"/>
                  <a:gd name="connsiteX36" fmla="*/ 370519 w 2953954"/>
                  <a:gd name="connsiteY36" fmla="*/ 2046352 h 2046352"/>
                  <a:gd name="connsiteX37" fmla="*/ 608467 w 2953954"/>
                  <a:gd name="connsiteY37" fmla="*/ 1026575 h 2046352"/>
                  <a:gd name="connsiteX38" fmla="*/ 0 w 2953954"/>
                  <a:gd name="connsiteY38" fmla="*/ 1026575 h 2046352"/>
                  <a:gd name="connsiteX39" fmla="*/ 0 w 2953954"/>
                  <a:gd name="connsiteY39"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0 w 2953954"/>
                  <a:gd name="connsiteY25" fmla="*/ 0 h 2046352"/>
                  <a:gd name="connsiteX26" fmla="*/ 2947156 w 2953954"/>
                  <a:gd name="connsiteY26" fmla="*/ 0 h 2046352"/>
                  <a:gd name="connsiteX27" fmla="*/ 2953954 w 2953954"/>
                  <a:gd name="connsiteY27" fmla="*/ 363720 h 2046352"/>
                  <a:gd name="connsiteX28" fmla="*/ 2648021 w 2953954"/>
                  <a:gd name="connsiteY28" fmla="*/ 1009579 h 2046352"/>
                  <a:gd name="connsiteX29" fmla="*/ 1407293 w 2953954"/>
                  <a:gd name="connsiteY29" fmla="*/ 1009579 h 2046352"/>
                  <a:gd name="connsiteX30" fmla="*/ 1233930 w 2953954"/>
                  <a:gd name="connsiteY30" fmla="*/ 1346105 h 2046352"/>
                  <a:gd name="connsiteX31" fmla="*/ 1094561 w 2953954"/>
                  <a:gd name="connsiteY31" fmla="*/ 1305314 h 2046352"/>
                  <a:gd name="connsiteX32" fmla="*/ 815822 w 2953954"/>
                  <a:gd name="connsiteY32" fmla="*/ 2029356 h 2046352"/>
                  <a:gd name="connsiteX33" fmla="*/ 370519 w 2953954"/>
                  <a:gd name="connsiteY33" fmla="*/ 2046352 h 2046352"/>
                  <a:gd name="connsiteX34" fmla="*/ 608467 w 2953954"/>
                  <a:gd name="connsiteY34" fmla="*/ 1026575 h 2046352"/>
                  <a:gd name="connsiteX35" fmla="*/ 0 w 2953954"/>
                  <a:gd name="connsiteY35" fmla="*/ 1026575 h 2046352"/>
                  <a:gd name="connsiteX36" fmla="*/ 0 w 2953954"/>
                  <a:gd name="connsiteY36"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648639 w 2953954"/>
                  <a:gd name="connsiteY22" fmla="*/ 2046352 h 2046352"/>
                  <a:gd name="connsiteX23" fmla="*/ 1648639 w 2953954"/>
                  <a:gd name="connsiteY23" fmla="*/ 1281519 h 2046352"/>
                  <a:gd name="connsiteX24" fmla="*/ 0 w 2953954"/>
                  <a:gd name="connsiteY24" fmla="*/ 0 h 2046352"/>
                  <a:gd name="connsiteX25" fmla="*/ 2947156 w 2953954"/>
                  <a:gd name="connsiteY25" fmla="*/ 0 h 2046352"/>
                  <a:gd name="connsiteX26" fmla="*/ 2953954 w 2953954"/>
                  <a:gd name="connsiteY26" fmla="*/ 363720 h 2046352"/>
                  <a:gd name="connsiteX27" fmla="*/ 2648021 w 2953954"/>
                  <a:gd name="connsiteY27" fmla="*/ 1009579 h 2046352"/>
                  <a:gd name="connsiteX28" fmla="*/ 1407293 w 2953954"/>
                  <a:gd name="connsiteY28" fmla="*/ 1009579 h 2046352"/>
                  <a:gd name="connsiteX29" fmla="*/ 1233930 w 2953954"/>
                  <a:gd name="connsiteY29" fmla="*/ 1346105 h 2046352"/>
                  <a:gd name="connsiteX30" fmla="*/ 1094561 w 2953954"/>
                  <a:gd name="connsiteY30" fmla="*/ 1305314 h 2046352"/>
                  <a:gd name="connsiteX31" fmla="*/ 815822 w 2953954"/>
                  <a:gd name="connsiteY31" fmla="*/ 2029356 h 2046352"/>
                  <a:gd name="connsiteX32" fmla="*/ 370519 w 2953954"/>
                  <a:gd name="connsiteY32" fmla="*/ 2046352 h 2046352"/>
                  <a:gd name="connsiteX33" fmla="*/ 608467 w 2953954"/>
                  <a:gd name="connsiteY33" fmla="*/ 1026575 h 2046352"/>
                  <a:gd name="connsiteX34" fmla="*/ 0 w 2953954"/>
                  <a:gd name="connsiteY34" fmla="*/ 1026575 h 2046352"/>
                  <a:gd name="connsiteX35" fmla="*/ 0 w 2953954"/>
                  <a:gd name="connsiteY35"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1281519 h 2046352"/>
                  <a:gd name="connsiteX19" fmla="*/ 1648639 w 2953954"/>
                  <a:gd name="connsiteY19" fmla="*/ 1281519 h 2046352"/>
                  <a:gd name="connsiteX20" fmla="*/ 1869590 w 2953954"/>
                  <a:gd name="connsiteY20" fmla="*/ 1281519 h 2046352"/>
                  <a:gd name="connsiteX21" fmla="*/ 1648639 w 2953954"/>
                  <a:gd name="connsiteY21" fmla="*/ 2046352 h 2046352"/>
                  <a:gd name="connsiteX22" fmla="*/ 1648639 w 2953954"/>
                  <a:gd name="connsiteY22" fmla="*/ 1281519 h 2046352"/>
                  <a:gd name="connsiteX23" fmla="*/ 0 w 2953954"/>
                  <a:gd name="connsiteY23" fmla="*/ 0 h 2046352"/>
                  <a:gd name="connsiteX24" fmla="*/ 2947156 w 2953954"/>
                  <a:gd name="connsiteY24" fmla="*/ 0 h 2046352"/>
                  <a:gd name="connsiteX25" fmla="*/ 2953954 w 2953954"/>
                  <a:gd name="connsiteY25" fmla="*/ 363720 h 2046352"/>
                  <a:gd name="connsiteX26" fmla="*/ 2648021 w 2953954"/>
                  <a:gd name="connsiteY26" fmla="*/ 1009579 h 2046352"/>
                  <a:gd name="connsiteX27" fmla="*/ 1407293 w 2953954"/>
                  <a:gd name="connsiteY27" fmla="*/ 1009579 h 2046352"/>
                  <a:gd name="connsiteX28" fmla="*/ 1233930 w 2953954"/>
                  <a:gd name="connsiteY28" fmla="*/ 1346105 h 2046352"/>
                  <a:gd name="connsiteX29" fmla="*/ 1094561 w 2953954"/>
                  <a:gd name="connsiteY29" fmla="*/ 1305314 h 2046352"/>
                  <a:gd name="connsiteX30" fmla="*/ 815822 w 2953954"/>
                  <a:gd name="connsiteY30" fmla="*/ 2029356 h 2046352"/>
                  <a:gd name="connsiteX31" fmla="*/ 370519 w 2953954"/>
                  <a:gd name="connsiteY31" fmla="*/ 2046352 h 2046352"/>
                  <a:gd name="connsiteX32" fmla="*/ 608467 w 2953954"/>
                  <a:gd name="connsiteY32" fmla="*/ 1026575 h 2046352"/>
                  <a:gd name="connsiteX33" fmla="*/ 0 w 2953954"/>
                  <a:gd name="connsiteY33" fmla="*/ 1026575 h 2046352"/>
                  <a:gd name="connsiteX34" fmla="*/ 0 w 2953954"/>
                  <a:gd name="connsiteY34"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1923980 w 2953954"/>
                  <a:gd name="connsiteY17" fmla="*/ 1281519 h 2046352"/>
                  <a:gd name="connsiteX18" fmla="*/ 1648639 w 2953954"/>
                  <a:gd name="connsiteY18" fmla="*/ 1281519 h 2046352"/>
                  <a:gd name="connsiteX19" fmla="*/ 1869590 w 2953954"/>
                  <a:gd name="connsiteY19" fmla="*/ 1281519 h 2046352"/>
                  <a:gd name="connsiteX20" fmla="*/ 1648639 w 2953954"/>
                  <a:gd name="connsiteY20" fmla="*/ 2046352 h 2046352"/>
                  <a:gd name="connsiteX21" fmla="*/ 1648639 w 2953954"/>
                  <a:gd name="connsiteY21" fmla="*/ 1281519 h 2046352"/>
                  <a:gd name="connsiteX22" fmla="*/ 0 w 2953954"/>
                  <a:gd name="connsiteY22" fmla="*/ 0 h 2046352"/>
                  <a:gd name="connsiteX23" fmla="*/ 2947156 w 2953954"/>
                  <a:gd name="connsiteY23" fmla="*/ 0 h 2046352"/>
                  <a:gd name="connsiteX24" fmla="*/ 2953954 w 2953954"/>
                  <a:gd name="connsiteY24" fmla="*/ 363720 h 2046352"/>
                  <a:gd name="connsiteX25" fmla="*/ 2648021 w 2953954"/>
                  <a:gd name="connsiteY25" fmla="*/ 1009579 h 2046352"/>
                  <a:gd name="connsiteX26" fmla="*/ 1407293 w 2953954"/>
                  <a:gd name="connsiteY26" fmla="*/ 1009579 h 2046352"/>
                  <a:gd name="connsiteX27" fmla="*/ 1233930 w 2953954"/>
                  <a:gd name="connsiteY27" fmla="*/ 1346105 h 2046352"/>
                  <a:gd name="connsiteX28" fmla="*/ 1094561 w 2953954"/>
                  <a:gd name="connsiteY28" fmla="*/ 1305314 h 2046352"/>
                  <a:gd name="connsiteX29" fmla="*/ 815822 w 2953954"/>
                  <a:gd name="connsiteY29" fmla="*/ 2029356 h 2046352"/>
                  <a:gd name="connsiteX30" fmla="*/ 370519 w 2953954"/>
                  <a:gd name="connsiteY30" fmla="*/ 2046352 h 2046352"/>
                  <a:gd name="connsiteX31" fmla="*/ 608467 w 2953954"/>
                  <a:gd name="connsiteY31" fmla="*/ 1026575 h 2046352"/>
                  <a:gd name="connsiteX32" fmla="*/ 0 w 2953954"/>
                  <a:gd name="connsiteY32" fmla="*/ 1026575 h 2046352"/>
                  <a:gd name="connsiteX33" fmla="*/ 0 w 2953954"/>
                  <a:gd name="connsiteY33"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1281519 h 2046352"/>
                  <a:gd name="connsiteX14" fmla="*/ 1923980 w 2953954"/>
                  <a:gd name="connsiteY14" fmla="*/ 1281519 h 2046352"/>
                  <a:gd name="connsiteX15" fmla="*/ 2015760 w 2953954"/>
                  <a:gd name="connsiteY15" fmla="*/ 1281519 h 2046352"/>
                  <a:gd name="connsiteX16" fmla="*/ 1923980 w 2953954"/>
                  <a:gd name="connsiteY16" fmla="*/ 1281519 h 2046352"/>
                  <a:gd name="connsiteX17" fmla="*/ 1648639 w 2953954"/>
                  <a:gd name="connsiteY17" fmla="*/ 1281519 h 2046352"/>
                  <a:gd name="connsiteX18" fmla="*/ 1869590 w 2953954"/>
                  <a:gd name="connsiteY18" fmla="*/ 1281519 h 2046352"/>
                  <a:gd name="connsiteX19" fmla="*/ 1648639 w 2953954"/>
                  <a:gd name="connsiteY19" fmla="*/ 2046352 h 2046352"/>
                  <a:gd name="connsiteX20" fmla="*/ 1648639 w 2953954"/>
                  <a:gd name="connsiteY20" fmla="*/ 1281519 h 2046352"/>
                  <a:gd name="connsiteX21" fmla="*/ 0 w 2953954"/>
                  <a:gd name="connsiteY21" fmla="*/ 0 h 2046352"/>
                  <a:gd name="connsiteX22" fmla="*/ 2947156 w 2953954"/>
                  <a:gd name="connsiteY22" fmla="*/ 0 h 2046352"/>
                  <a:gd name="connsiteX23" fmla="*/ 2953954 w 2953954"/>
                  <a:gd name="connsiteY23" fmla="*/ 363720 h 2046352"/>
                  <a:gd name="connsiteX24" fmla="*/ 2648021 w 2953954"/>
                  <a:gd name="connsiteY24" fmla="*/ 1009579 h 2046352"/>
                  <a:gd name="connsiteX25" fmla="*/ 1407293 w 2953954"/>
                  <a:gd name="connsiteY25" fmla="*/ 1009579 h 2046352"/>
                  <a:gd name="connsiteX26" fmla="*/ 1233930 w 2953954"/>
                  <a:gd name="connsiteY26" fmla="*/ 1346105 h 2046352"/>
                  <a:gd name="connsiteX27" fmla="*/ 1094561 w 2953954"/>
                  <a:gd name="connsiteY27" fmla="*/ 1305314 h 2046352"/>
                  <a:gd name="connsiteX28" fmla="*/ 815822 w 2953954"/>
                  <a:gd name="connsiteY28" fmla="*/ 2029356 h 2046352"/>
                  <a:gd name="connsiteX29" fmla="*/ 370519 w 2953954"/>
                  <a:gd name="connsiteY29" fmla="*/ 2046352 h 2046352"/>
                  <a:gd name="connsiteX30" fmla="*/ 608467 w 2953954"/>
                  <a:gd name="connsiteY30" fmla="*/ 1026575 h 2046352"/>
                  <a:gd name="connsiteX31" fmla="*/ 0 w 2953954"/>
                  <a:gd name="connsiteY31" fmla="*/ 1026575 h 2046352"/>
                  <a:gd name="connsiteX32" fmla="*/ 0 w 2953954"/>
                  <a:gd name="connsiteY32"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314894 w 2953954"/>
                  <a:gd name="connsiteY10" fmla="*/ 2046352 h 2046352"/>
                  <a:gd name="connsiteX11" fmla="*/ 2314894 w 2953954"/>
                  <a:gd name="connsiteY11" fmla="*/ 1281519 h 2046352"/>
                  <a:gd name="connsiteX12" fmla="*/ 2314894 w 2953954"/>
                  <a:gd name="connsiteY12" fmla="*/ 2046352 h 2046352"/>
                  <a:gd name="connsiteX13" fmla="*/ 1923980 w 2953954"/>
                  <a:gd name="connsiteY13" fmla="*/ 1281519 h 2046352"/>
                  <a:gd name="connsiteX14" fmla="*/ 2015760 w 2953954"/>
                  <a:gd name="connsiteY14" fmla="*/ 1281519 h 2046352"/>
                  <a:gd name="connsiteX15" fmla="*/ 1923980 w 2953954"/>
                  <a:gd name="connsiteY15" fmla="*/ 1281519 h 2046352"/>
                  <a:gd name="connsiteX16" fmla="*/ 1648639 w 2953954"/>
                  <a:gd name="connsiteY16" fmla="*/ 1281519 h 2046352"/>
                  <a:gd name="connsiteX17" fmla="*/ 1869590 w 2953954"/>
                  <a:gd name="connsiteY17" fmla="*/ 1281519 h 2046352"/>
                  <a:gd name="connsiteX18" fmla="*/ 1648639 w 2953954"/>
                  <a:gd name="connsiteY18" fmla="*/ 2046352 h 2046352"/>
                  <a:gd name="connsiteX19" fmla="*/ 1648639 w 2953954"/>
                  <a:gd name="connsiteY19" fmla="*/ 1281519 h 2046352"/>
                  <a:gd name="connsiteX20" fmla="*/ 0 w 2953954"/>
                  <a:gd name="connsiteY20" fmla="*/ 0 h 2046352"/>
                  <a:gd name="connsiteX21" fmla="*/ 2947156 w 2953954"/>
                  <a:gd name="connsiteY21" fmla="*/ 0 h 2046352"/>
                  <a:gd name="connsiteX22" fmla="*/ 2953954 w 2953954"/>
                  <a:gd name="connsiteY22" fmla="*/ 363720 h 2046352"/>
                  <a:gd name="connsiteX23" fmla="*/ 2648021 w 2953954"/>
                  <a:gd name="connsiteY23" fmla="*/ 1009579 h 2046352"/>
                  <a:gd name="connsiteX24" fmla="*/ 1407293 w 2953954"/>
                  <a:gd name="connsiteY24" fmla="*/ 1009579 h 2046352"/>
                  <a:gd name="connsiteX25" fmla="*/ 1233930 w 2953954"/>
                  <a:gd name="connsiteY25" fmla="*/ 1346105 h 2046352"/>
                  <a:gd name="connsiteX26" fmla="*/ 1094561 w 2953954"/>
                  <a:gd name="connsiteY26" fmla="*/ 1305314 h 2046352"/>
                  <a:gd name="connsiteX27" fmla="*/ 815822 w 2953954"/>
                  <a:gd name="connsiteY27" fmla="*/ 2029356 h 2046352"/>
                  <a:gd name="connsiteX28" fmla="*/ 370519 w 2953954"/>
                  <a:gd name="connsiteY28" fmla="*/ 2046352 h 2046352"/>
                  <a:gd name="connsiteX29" fmla="*/ 608467 w 2953954"/>
                  <a:gd name="connsiteY29" fmla="*/ 1026575 h 2046352"/>
                  <a:gd name="connsiteX30" fmla="*/ 0 w 2953954"/>
                  <a:gd name="connsiteY30" fmla="*/ 1026575 h 2046352"/>
                  <a:gd name="connsiteX31" fmla="*/ 0 w 2953954"/>
                  <a:gd name="connsiteY31"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923980 w 2953954"/>
                  <a:gd name="connsiteY10" fmla="*/ 1281519 h 2046352"/>
                  <a:gd name="connsiteX11" fmla="*/ 2015760 w 2953954"/>
                  <a:gd name="connsiteY11" fmla="*/ 1281519 h 2046352"/>
                  <a:gd name="connsiteX12" fmla="*/ 1923980 w 2953954"/>
                  <a:gd name="connsiteY12" fmla="*/ 1281519 h 2046352"/>
                  <a:gd name="connsiteX13" fmla="*/ 1648639 w 2953954"/>
                  <a:gd name="connsiteY13" fmla="*/ 1281519 h 2046352"/>
                  <a:gd name="connsiteX14" fmla="*/ 1869590 w 2953954"/>
                  <a:gd name="connsiteY14" fmla="*/ 1281519 h 2046352"/>
                  <a:gd name="connsiteX15" fmla="*/ 1648639 w 2953954"/>
                  <a:gd name="connsiteY15" fmla="*/ 2046352 h 2046352"/>
                  <a:gd name="connsiteX16" fmla="*/ 1648639 w 2953954"/>
                  <a:gd name="connsiteY16" fmla="*/ 1281519 h 2046352"/>
                  <a:gd name="connsiteX17" fmla="*/ 0 w 2953954"/>
                  <a:gd name="connsiteY17" fmla="*/ 0 h 2046352"/>
                  <a:gd name="connsiteX18" fmla="*/ 2947156 w 2953954"/>
                  <a:gd name="connsiteY18" fmla="*/ 0 h 2046352"/>
                  <a:gd name="connsiteX19" fmla="*/ 2953954 w 2953954"/>
                  <a:gd name="connsiteY19" fmla="*/ 363720 h 2046352"/>
                  <a:gd name="connsiteX20" fmla="*/ 2648021 w 2953954"/>
                  <a:gd name="connsiteY20" fmla="*/ 1009579 h 2046352"/>
                  <a:gd name="connsiteX21" fmla="*/ 1407293 w 2953954"/>
                  <a:gd name="connsiteY21" fmla="*/ 1009579 h 2046352"/>
                  <a:gd name="connsiteX22" fmla="*/ 1233930 w 2953954"/>
                  <a:gd name="connsiteY22" fmla="*/ 1346105 h 2046352"/>
                  <a:gd name="connsiteX23" fmla="*/ 1094561 w 2953954"/>
                  <a:gd name="connsiteY23" fmla="*/ 1305314 h 2046352"/>
                  <a:gd name="connsiteX24" fmla="*/ 815822 w 2953954"/>
                  <a:gd name="connsiteY24" fmla="*/ 2029356 h 2046352"/>
                  <a:gd name="connsiteX25" fmla="*/ 370519 w 2953954"/>
                  <a:gd name="connsiteY25" fmla="*/ 2046352 h 2046352"/>
                  <a:gd name="connsiteX26" fmla="*/ 608467 w 2953954"/>
                  <a:gd name="connsiteY26" fmla="*/ 1026575 h 2046352"/>
                  <a:gd name="connsiteX27" fmla="*/ 0 w 2953954"/>
                  <a:gd name="connsiteY27" fmla="*/ 1026575 h 2046352"/>
                  <a:gd name="connsiteX28" fmla="*/ 0 w 2953954"/>
                  <a:gd name="connsiteY28"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648639 w 2953954"/>
                  <a:gd name="connsiteY10" fmla="*/ 1281519 h 2046352"/>
                  <a:gd name="connsiteX11" fmla="*/ 1869590 w 2953954"/>
                  <a:gd name="connsiteY11" fmla="*/ 1281519 h 2046352"/>
                  <a:gd name="connsiteX12" fmla="*/ 1648639 w 2953954"/>
                  <a:gd name="connsiteY12" fmla="*/ 2046352 h 2046352"/>
                  <a:gd name="connsiteX13" fmla="*/ 1648639 w 2953954"/>
                  <a:gd name="connsiteY13" fmla="*/ 1281519 h 2046352"/>
                  <a:gd name="connsiteX14" fmla="*/ 0 w 2953954"/>
                  <a:gd name="connsiteY14" fmla="*/ 0 h 2046352"/>
                  <a:gd name="connsiteX15" fmla="*/ 2947156 w 2953954"/>
                  <a:gd name="connsiteY15" fmla="*/ 0 h 2046352"/>
                  <a:gd name="connsiteX16" fmla="*/ 2953954 w 2953954"/>
                  <a:gd name="connsiteY16" fmla="*/ 363720 h 2046352"/>
                  <a:gd name="connsiteX17" fmla="*/ 2648021 w 2953954"/>
                  <a:gd name="connsiteY17" fmla="*/ 1009579 h 2046352"/>
                  <a:gd name="connsiteX18" fmla="*/ 1407293 w 2953954"/>
                  <a:gd name="connsiteY18" fmla="*/ 1009579 h 2046352"/>
                  <a:gd name="connsiteX19" fmla="*/ 1233930 w 2953954"/>
                  <a:gd name="connsiteY19" fmla="*/ 1346105 h 2046352"/>
                  <a:gd name="connsiteX20" fmla="*/ 1094561 w 2953954"/>
                  <a:gd name="connsiteY20" fmla="*/ 1305314 h 2046352"/>
                  <a:gd name="connsiteX21" fmla="*/ 815822 w 2953954"/>
                  <a:gd name="connsiteY21" fmla="*/ 2029356 h 2046352"/>
                  <a:gd name="connsiteX22" fmla="*/ 370519 w 2953954"/>
                  <a:gd name="connsiteY22" fmla="*/ 2046352 h 2046352"/>
                  <a:gd name="connsiteX23" fmla="*/ 608467 w 2953954"/>
                  <a:gd name="connsiteY23" fmla="*/ 1026575 h 2046352"/>
                  <a:gd name="connsiteX24" fmla="*/ 0 w 2953954"/>
                  <a:gd name="connsiteY24" fmla="*/ 1026575 h 2046352"/>
                  <a:gd name="connsiteX25" fmla="*/ 0 w 2953954"/>
                  <a:gd name="connsiteY25"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648639 w 2953954"/>
                  <a:gd name="connsiteY10" fmla="*/ 1281519 h 2046352"/>
                  <a:gd name="connsiteX11" fmla="*/ 1648639 w 2953954"/>
                  <a:gd name="connsiteY11" fmla="*/ 2046352 h 2046352"/>
                  <a:gd name="connsiteX12" fmla="*/ 1648639 w 2953954"/>
                  <a:gd name="connsiteY12" fmla="*/ 1281519 h 2046352"/>
                  <a:gd name="connsiteX13" fmla="*/ 0 w 2953954"/>
                  <a:gd name="connsiteY13" fmla="*/ 0 h 2046352"/>
                  <a:gd name="connsiteX14" fmla="*/ 2947156 w 2953954"/>
                  <a:gd name="connsiteY14" fmla="*/ 0 h 2046352"/>
                  <a:gd name="connsiteX15" fmla="*/ 2953954 w 2953954"/>
                  <a:gd name="connsiteY15" fmla="*/ 363720 h 2046352"/>
                  <a:gd name="connsiteX16" fmla="*/ 2648021 w 2953954"/>
                  <a:gd name="connsiteY16" fmla="*/ 1009579 h 2046352"/>
                  <a:gd name="connsiteX17" fmla="*/ 1407293 w 2953954"/>
                  <a:gd name="connsiteY17" fmla="*/ 1009579 h 2046352"/>
                  <a:gd name="connsiteX18" fmla="*/ 1233930 w 2953954"/>
                  <a:gd name="connsiteY18" fmla="*/ 1346105 h 2046352"/>
                  <a:gd name="connsiteX19" fmla="*/ 1094561 w 2953954"/>
                  <a:gd name="connsiteY19" fmla="*/ 1305314 h 2046352"/>
                  <a:gd name="connsiteX20" fmla="*/ 815822 w 2953954"/>
                  <a:gd name="connsiteY20" fmla="*/ 2029356 h 2046352"/>
                  <a:gd name="connsiteX21" fmla="*/ 370519 w 2953954"/>
                  <a:gd name="connsiteY21" fmla="*/ 2046352 h 2046352"/>
                  <a:gd name="connsiteX22" fmla="*/ 608467 w 2953954"/>
                  <a:gd name="connsiteY22" fmla="*/ 1026575 h 2046352"/>
                  <a:gd name="connsiteX23" fmla="*/ 0 w 2953954"/>
                  <a:gd name="connsiteY23" fmla="*/ 1026575 h 2046352"/>
                  <a:gd name="connsiteX24" fmla="*/ 0 w 2953954"/>
                  <a:gd name="connsiteY24"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0 w 2953954"/>
                  <a:gd name="connsiteY10" fmla="*/ 0 h 2046352"/>
                  <a:gd name="connsiteX11" fmla="*/ 2947156 w 2953954"/>
                  <a:gd name="connsiteY11" fmla="*/ 0 h 2046352"/>
                  <a:gd name="connsiteX12" fmla="*/ 2953954 w 2953954"/>
                  <a:gd name="connsiteY12" fmla="*/ 363720 h 2046352"/>
                  <a:gd name="connsiteX13" fmla="*/ 2648021 w 2953954"/>
                  <a:gd name="connsiteY13" fmla="*/ 1009579 h 2046352"/>
                  <a:gd name="connsiteX14" fmla="*/ 1407293 w 2953954"/>
                  <a:gd name="connsiteY14" fmla="*/ 1009579 h 2046352"/>
                  <a:gd name="connsiteX15" fmla="*/ 1233930 w 2953954"/>
                  <a:gd name="connsiteY15" fmla="*/ 1346105 h 2046352"/>
                  <a:gd name="connsiteX16" fmla="*/ 1094561 w 2953954"/>
                  <a:gd name="connsiteY16" fmla="*/ 1305314 h 2046352"/>
                  <a:gd name="connsiteX17" fmla="*/ 815822 w 2953954"/>
                  <a:gd name="connsiteY17" fmla="*/ 2029356 h 2046352"/>
                  <a:gd name="connsiteX18" fmla="*/ 370519 w 2953954"/>
                  <a:gd name="connsiteY18" fmla="*/ 2046352 h 2046352"/>
                  <a:gd name="connsiteX19" fmla="*/ 608467 w 2953954"/>
                  <a:gd name="connsiteY19" fmla="*/ 1026575 h 2046352"/>
                  <a:gd name="connsiteX20" fmla="*/ 0 w 2953954"/>
                  <a:gd name="connsiteY20" fmla="*/ 1026575 h 2046352"/>
                  <a:gd name="connsiteX21" fmla="*/ 0 w 2953954"/>
                  <a:gd name="connsiteY21"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1281519 h 2046352"/>
                  <a:gd name="connsiteX9" fmla="*/ 0 w 2953954"/>
                  <a:gd name="connsiteY9" fmla="*/ 0 h 2046352"/>
                  <a:gd name="connsiteX10" fmla="*/ 2947156 w 2953954"/>
                  <a:gd name="connsiteY10" fmla="*/ 0 h 2046352"/>
                  <a:gd name="connsiteX11" fmla="*/ 2953954 w 2953954"/>
                  <a:gd name="connsiteY11" fmla="*/ 363720 h 2046352"/>
                  <a:gd name="connsiteX12" fmla="*/ 2648021 w 2953954"/>
                  <a:gd name="connsiteY12" fmla="*/ 1009579 h 2046352"/>
                  <a:gd name="connsiteX13" fmla="*/ 1407293 w 2953954"/>
                  <a:gd name="connsiteY13" fmla="*/ 1009579 h 2046352"/>
                  <a:gd name="connsiteX14" fmla="*/ 1233930 w 2953954"/>
                  <a:gd name="connsiteY14" fmla="*/ 1346105 h 2046352"/>
                  <a:gd name="connsiteX15" fmla="*/ 1094561 w 2953954"/>
                  <a:gd name="connsiteY15" fmla="*/ 1305314 h 2046352"/>
                  <a:gd name="connsiteX16" fmla="*/ 815822 w 2953954"/>
                  <a:gd name="connsiteY16" fmla="*/ 2029356 h 2046352"/>
                  <a:gd name="connsiteX17" fmla="*/ 370519 w 2953954"/>
                  <a:gd name="connsiteY17" fmla="*/ 2046352 h 2046352"/>
                  <a:gd name="connsiteX18" fmla="*/ 608467 w 2953954"/>
                  <a:gd name="connsiteY18" fmla="*/ 1026575 h 2046352"/>
                  <a:gd name="connsiteX19" fmla="*/ 0 w 2953954"/>
                  <a:gd name="connsiteY19" fmla="*/ 1026575 h 2046352"/>
                  <a:gd name="connsiteX20" fmla="*/ 0 w 2953954"/>
                  <a:gd name="connsiteY20"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620827 w 2953954"/>
                  <a:gd name="connsiteY7" fmla="*/ 1281519 h 2046352"/>
                  <a:gd name="connsiteX8" fmla="*/ 0 w 2953954"/>
                  <a:gd name="connsiteY8" fmla="*/ 0 h 2046352"/>
                  <a:gd name="connsiteX9" fmla="*/ 2947156 w 2953954"/>
                  <a:gd name="connsiteY9" fmla="*/ 0 h 2046352"/>
                  <a:gd name="connsiteX10" fmla="*/ 2953954 w 2953954"/>
                  <a:gd name="connsiteY10" fmla="*/ 363720 h 2046352"/>
                  <a:gd name="connsiteX11" fmla="*/ 2648021 w 2953954"/>
                  <a:gd name="connsiteY11" fmla="*/ 1009579 h 2046352"/>
                  <a:gd name="connsiteX12" fmla="*/ 1407293 w 2953954"/>
                  <a:gd name="connsiteY12" fmla="*/ 1009579 h 2046352"/>
                  <a:gd name="connsiteX13" fmla="*/ 1233930 w 2953954"/>
                  <a:gd name="connsiteY13" fmla="*/ 1346105 h 2046352"/>
                  <a:gd name="connsiteX14" fmla="*/ 1094561 w 2953954"/>
                  <a:gd name="connsiteY14" fmla="*/ 1305314 h 2046352"/>
                  <a:gd name="connsiteX15" fmla="*/ 815822 w 2953954"/>
                  <a:gd name="connsiteY15" fmla="*/ 2029356 h 2046352"/>
                  <a:gd name="connsiteX16" fmla="*/ 370519 w 2953954"/>
                  <a:gd name="connsiteY16" fmla="*/ 2046352 h 2046352"/>
                  <a:gd name="connsiteX17" fmla="*/ 608467 w 2953954"/>
                  <a:gd name="connsiteY17" fmla="*/ 1026575 h 2046352"/>
                  <a:gd name="connsiteX18" fmla="*/ 0 w 2953954"/>
                  <a:gd name="connsiteY18" fmla="*/ 1026575 h 2046352"/>
                  <a:gd name="connsiteX19" fmla="*/ 0 w 2953954"/>
                  <a:gd name="connsiteY19"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1281519 h 2046352"/>
                  <a:gd name="connsiteX4" fmla="*/ 2620827 w 2953954"/>
                  <a:gd name="connsiteY4" fmla="*/ 1281519 h 2046352"/>
                  <a:gd name="connsiteX5" fmla="*/ 2712607 w 2953954"/>
                  <a:gd name="connsiteY5" fmla="*/ 1281519 h 2046352"/>
                  <a:gd name="connsiteX6" fmla="*/ 2620827 w 2953954"/>
                  <a:gd name="connsiteY6" fmla="*/ 1281519 h 2046352"/>
                  <a:gd name="connsiteX7" fmla="*/ 0 w 2953954"/>
                  <a:gd name="connsiteY7" fmla="*/ 0 h 2046352"/>
                  <a:gd name="connsiteX8" fmla="*/ 2947156 w 2953954"/>
                  <a:gd name="connsiteY8" fmla="*/ 0 h 2046352"/>
                  <a:gd name="connsiteX9" fmla="*/ 2953954 w 2953954"/>
                  <a:gd name="connsiteY9" fmla="*/ 363720 h 2046352"/>
                  <a:gd name="connsiteX10" fmla="*/ 2648021 w 2953954"/>
                  <a:gd name="connsiteY10" fmla="*/ 1009579 h 2046352"/>
                  <a:gd name="connsiteX11" fmla="*/ 1407293 w 2953954"/>
                  <a:gd name="connsiteY11" fmla="*/ 1009579 h 2046352"/>
                  <a:gd name="connsiteX12" fmla="*/ 1233930 w 2953954"/>
                  <a:gd name="connsiteY12" fmla="*/ 1346105 h 2046352"/>
                  <a:gd name="connsiteX13" fmla="*/ 1094561 w 2953954"/>
                  <a:gd name="connsiteY13" fmla="*/ 1305314 h 2046352"/>
                  <a:gd name="connsiteX14" fmla="*/ 815822 w 2953954"/>
                  <a:gd name="connsiteY14" fmla="*/ 2029356 h 2046352"/>
                  <a:gd name="connsiteX15" fmla="*/ 370519 w 2953954"/>
                  <a:gd name="connsiteY15" fmla="*/ 2046352 h 2046352"/>
                  <a:gd name="connsiteX16" fmla="*/ 608467 w 2953954"/>
                  <a:gd name="connsiteY16" fmla="*/ 1026575 h 2046352"/>
                  <a:gd name="connsiteX17" fmla="*/ 0 w 2953954"/>
                  <a:gd name="connsiteY17" fmla="*/ 1026575 h 2046352"/>
                  <a:gd name="connsiteX18" fmla="*/ 0 w 2953954"/>
                  <a:gd name="connsiteY18" fmla="*/ 0 h 2046352"/>
                  <a:gd name="connsiteX0" fmla="*/ 2765016 w 2953954"/>
                  <a:gd name="connsiteY0" fmla="*/ 1281519 h 2046352"/>
                  <a:gd name="connsiteX1" fmla="*/ 2953954 w 2953954"/>
                  <a:gd name="connsiteY1" fmla="*/ 1281519 h 2046352"/>
                  <a:gd name="connsiteX2" fmla="*/ 2765016 w 2953954"/>
                  <a:gd name="connsiteY2" fmla="*/ 1281519 h 2046352"/>
                  <a:gd name="connsiteX3" fmla="*/ 2620827 w 2953954"/>
                  <a:gd name="connsiteY3" fmla="*/ 1281519 h 2046352"/>
                  <a:gd name="connsiteX4" fmla="*/ 2712607 w 2953954"/>
                  <a:gd name="connsiteY4" fmla="*/ 1281519 h 2046352"/>
                  <a:gd name="connsiteX5" fmla="*/ 2620827 w 2953954"/>
                  <a:gd name="connsiteY5" fmla="*/ 1281519 h 2046352"/>
                  <a:gd name="connsiteX6" fmla="*/ 0 w 2953954"/>
                  <a:gd name="connsiteY6" fmla="*/ 0 h 2046352"/>
                  <a:gd name="connsiteX7" fmla="*/ 2947156 w 2953954"/>
                  <a:gd name="connsiteY7" fmla="*/ 0 h 2046352"/>
                  <a:gd name="connsiteX8" fmla="*/ 2953954 w 2953954"/>
                  <a:gd name="connsiteY8" fmla="*/ 363720 h 2046352"/>
                  <a:gd name="connsiteX9" fmla="*/ 2648021 w 2953954"/>
                  <a:gd name="connsiteY9" fmla="*/ 1009579 h 2046352"/>
                  <a:gd name="connsiteX10" fmla="*/ 1407293 w 2953954"/>
                  <a:gd name="connsiteY10" fmla="*/ 1009579 h 2046352"/>
                  <a:gd name="connsiteX11" fmla="*/ 1233930 w 2953954"/>
                  <a:gd name="connsiteY11" fmla="*/ 1346105 h 2046352"/>
                  <a:gd name="connsiteX12" fmla="*/ 1094561 w 2953954"/>
                  <a:gd name="connsiteY12" fmla="*/ 1305314 h 2046352"/>
                  <a:gd name="connsiteX13" fmla="*/ 815822 w 2953954"/>
                  <a:gd name="connsiteY13" fmla="*/ 2029356 h 2046352"/>
                  <a:gd name="connsiteX14" fmla="*/ 370519 w 2953954"/>
                  <a:gd name="connsiteY14" fmla="*/ 2046352 h 2046352"/>
                  <a:gd name="connsiteX15" fmla="*/ 608467 w 2953954"/>
                  <a:gd name="connsiteY15" fmla="*/ 1026575 h 2046352"/>
                  <a:gd name="connsiteX16" fmla="*/ 0 w 2953954"/>
                  <a:gd name="connsiteY16" fmla="*/ 1026575 h 2046352"/>
                  <a:gd name="connsiteX17" fmla="*/ 0 w 2953954"/>
                  <a:gd name="connsiteY17" fmla="*/ 0 h 2046352"/>
                  <a:gd name="connsiteX0" fmla="*/ 2620827 w 2953954"/>
                  <a:gd name="connsiteY0" fmla="*/ 1281519 h 2046352"/>
                  <a:gd name="connsiteX1" fmla="*/ 2712607 w 2953954"/>
                  <a:gd name="connsiteY1" fmla="*/ 1281519 h 2046352"/>
                  <a:gd name="connsiteX2" fmla="*/ 2620827 w 2953954"/>
                  <a:gd name="connsiteY2" fmla="*/ 1281519 h 2046352"/>
                  <a:gd name="connsiteX3" fmla="*/ 0 w 2953954"/>
                  <a:gd name="connsiteY3" fmla="*/ 0 h 2046352"/>
                  <a:gd name="connsiteX4" fmla="*/ 2947156 w 2953954"/>
                  <a:gd name="connsiteY4" fmla="*/ 0 h 2046352"/>
                  <a:gd name="connsiteX5" fmla="*/ 2953954 w 2953954"/>
                  <a:gd name="connsiteY5" fmla="*/ 363720 h 2046352"/>
                  <a:gd name="connsiteX6" fmla="*/ 2648021 w 2953954"/>
                  <a:gd name="connsiteY6" fmla="*/ 1009579 h 2046352"/>
                  <a:gd name="connsiteX7" fmla="*/ 1407293 w 2953954"/>
                  <a:gd name="connsiteY7" fmla="*/ 1009579 h 2046352"/>
                  <a:gd name="connsiteX8" fmla="*/ 1233930 w 2953954"/>
                  <a:gd name="connsiteY8" fmla="*/ 1346105 h 2046352"/>
                  <a:gd name="connsiteX9" fmla="*/ 1094561 w 2953954"/>
                  <a:gd name="connsiteY9" fmla="*/ 1305314 h 2046352"/>
                  <a:gd name="connsiteX10" fmla="*/ 815822 w 2953954"/>
                  <a:gd name="connsiteY10" fmla="*/ 2029356 h 2046352"/>
                  <a:gd name="connsiteX11" fmla="*/ 370519 w 2953954"/>
                  <a:gd name="connsiteY11" fmla="*/ 2046352 h 2046352"/>
                  <a:gd name="connsiteX12" fmla="*/ 608467 w 2953954"/>
                  <a:gd name="connsiteY12" fmla="*/ 1026575 h 2046352"/>
                  <a:gd name="connsiteX13" fmla="*/ 0 w 2953954"/>
                  <a:gd name="connsiteY13" fmla="*/ 1026575 h 2046352"/>
                  <a:gd name="connsiteX14" fmla="*/ 0 w 2953954"/>
                  <a:gd name="connsiteY14" fmla="*/ 0 h 2046352"/>
                  <a:gd name="connsiteX0" fmla="*/ 0 w 2953954"/>
                  <a:gd name="connsiteY0" fmla="*/ 0 h 2046352"/>
                  <a:gd name="connsiteX1" fmla="*/ 2947156 w 2953954"/>
                  <a:gd name="connsiteY1" fmla="*/ 0 h 2046352"/>
                  <a:gd name="connsiteX2" fmla="*/ 2953954 w 2953954"/>
                  <a:gd name="connsiteY2" fmla="*/ 363720 h 2046352"/>
                  <a:gd name="connsiteX3" fmla="*/ 2648021 w 2953954"/>
                  <a:gd name="connsiteY3" fmla="*/ 1009579 h 2046352"/>
                  <a:gd name="connsiteX4" fmla="*/ 1407293 w 2953954"/>
                  <a:gd name="connsiteY4" fmla="*/ 1009579 h 2046352"/>
                  <a:gd name="connsiteX5" fmla="*/ 1233930 w 2953954"/>
                  <a:gd name="connsiteY5" fmla="*/ 1346105 h 2046352"/>
                  <a:gd name="connsiteX6" fmla="*/ 1094561 w 2953954"/>
                  <a:gd name="connsiteY6" fmla="*/ 1305314 h 2046352"/>
                  <a:gd name="connsiteX7" fmla="*/ 815822 w 2953954"/>
                  <a:gd name="connsiteY7" fmla="*/ 2029356 h 2046352"/>
                  <a:gd name="connsiteX8" fmla="*/ 370519 w 2953954"/>
                  <a:gd name="connsiteY8" fmla="*/ 2046352 h 2046352"/>
                  <a:gd name="connsiteX9" fmla="*/ 608467 w 2953954"/>
                  <a:gd name="connsiteY9" fmla="*/ 1026575 h 2046352"/>
                  <a:gd name="connsiteX10" fmla="*/ 0 w 2953954"/>
                  <a:gd name="connsiteY10" fmla="*/ 1026575 h 2046352"/>
                  <a:gd name="connsiteX11" fmla="*/ 0 w 2953954"/>
                  <a:gd name="connsiteY11" fmla="*/ 0 h 204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53954" h="2046352">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lnTo>
                      <a:pt x="0" y="0"/>
                    </a:lnTo>
                    <a:close/>
                  </a:path>
                </a:pathLst>
              </a:cu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7" name="Oval 26"/>
            <p:cNvSpPr/>
            <p:nvPr/>
          </p:nvSpPr>
          <p:spPr bwMode="auto">
            <a:xfrm>
              <a:off x="4968733" y="5462331"/>
              <a:ext cx="27042" cy="28388"/>
            </a:xfrm>
            <a:prstGeom prst="ellipse">
              <a:avLst/>
            </a:prstGeom>
            <a:solidFill>
              <a:srgbClr val="67952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28" name="Rectangle 27"/>
            <p:cNvSpPr/>
            <p:nvPr/>
          </p:nvSpPr>
          <p:spPr bwMode="auto">
            <a:xfrm rot="685209">
              <a:off x="4819675" y="5450887"/>
              <a:ext cx="136231" cy="12039"/>
            </a:xfrm>
            <a:prstGeom prst="rect">
              <a:avLst/>
            </a:prstGeom>
            <a:solidFill>
              <a:srgbClr val="67952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sp>
        <p:nvSpPr>
          <p:cNvPr id="610" name="Oval 5"/>
          <p:cNvSpPr/>
          <p:nvPr/>
        </p:nvSpPr>
        <p:spPr bwMode="auto">
          <a:xfrm>
            <a:off x="3877259" y="4440865"/>
            <a:ext cx="288971" cy="28308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08" name="Group 607"/>
          <p:cNvGrpSpPr/>
          <p:nvPr/>
        </p:nvGrpSpPr>
        <p:grpSpPr>
          <a:xfrm>
            <a:off x="212868" y="179809"/>
            <a:ext cx="528555" cy="752153"/>
            <a:chOff x="212868" y="179809"/>
            <a:chExt cx="528555" cy="752153"/>
          </a:xfrm>
        </p:grpSpPr>
        <p:sp>
          <p:nvSpPr>
            <p:cNvPr id="609"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22" name="Group 621"/>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62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2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39"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41"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55"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5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5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664"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1436301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Storm on Azure Demo</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Distributed, Real Time Analytics on Azure using Apache Hadoop</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5" name="Rectangle 4"/>
          <p:cNvSpPr/>
          <p:nvPr/>
        </p:nvSpPr>
        <p:spPr>
          <a:xfrm>
            <a:off x="2404382" y="6067475"/>
            <a:ext cx="1473480" cy="3693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lumMod val="85000"/>
                  </a:srgbClr>
                </a:solidFill>
                <a:effectLst/>
                <a:uLnTx/>
                <a:uFillTx/>
              </a:rPr>
              <a:t>@</a:t>
            </a:r>
            <a:r>
              <a:rPr kumimoji="0" lang="en-GB" sz="1800" b="0" i="0" u="none" strike="noStrike" kern="0" cap="none" spc="0" normalizeH="0" baseline="0" noProof="0" dirty="0" err="1">
                <a:ln>
                  <a:noFill/>
                </a:ln>
                <a:solidFill>
                  <a:srgbClr val="FFFFFF">
                    <a:lumMod val="85000"/>
                  </a:srgbClr>
                </a:solidFill>
                <a:effectLst/>
                <a:uLnTx/>
                <a:uFillTx/>
              </a:rPr>
              <a:t>allanSQLIS</a:t>
            </a:r>
            <a:endParaRPr kumimoji="0" lang="en-GB" sz="1800" b="0" i="0" u="none" strike="noStrike" kern="0" cap="none" spc="0" normalizeH="0" baseline="0" noProof="0" dirty="0">
              <a:ln>
                <a:noFill/>
              </a:ln>
              <a:solidFill>
                <a:srgbClr val="FFFFFF">
                  <a:lumMod val="85000"/>
                </a:srgbClr>
              </a:solidFill>
              <a:effectLst/>
              <a:uLnTx/>
              <a:uFillTx/>
            </a:endParaRPr>
          </a:p>
        </p:txBody>
      </p:sp>
    </p:spTree>
    <p:extLst>
      <p:ext uri="{BB962C8B-B14F-4D97-AF65-F5344CB8AC3E}">
        <p14:creationId xmlns:p14="http://schemas.microsoft.com/office/powerpoint/2010/main" val="1475750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66" y="1347803"/>
            <a:ext cx="12182553" cy="5539692"/>
          </a:xfrm>
          <a:prstGeom prst="rect">
            <a:avLst/>
          </a:prstGeom>
        </p:spPr>
      </p:pic>
      <p:sp>
        <p:nvSpPr>
          <p:cNvPr id="115" name="Title 1"/>
          <p:cNvSpPr>
            <a:spLocks noGrp="1"/>
          </p:cNvSpPr>
          <p:nvPr>
            <p:ph type="title"/>
          </p:nvPr>
        </p:nvSpPr>
        <p:spPr/>
        <p:txBody>
          <a:bodyPr/>
          <a:lstStyle/>
          <a:p>
            <a:r>
              <a:rPr lang="en-US" dirty="0" smtClean="0"/>
              <a:t>However, IoT projects can be complex</a:t>
            </a:r>
            <a:endParaRPr lang="en-US" sz="3598" i="1" dirty="0"/>
          </a:p>
        </p:txBody>
      </p:sp>
      <p:sp>
        <p:nvSpPr>
          <p:cNvPr id="5" name="Rectangle 4"/>
          <p:cNvSpPr/>
          <p:nvPr/>
        </p:nvSpPr>
        <p:spPr bwMode="auto">
          <a:xfrm>
            <a:off x="3572013" y="3143534"/>
            <a:ext cx="2613674" cy="1669571"/>
          </a:xfrm>
          <a:prstGeom prst="rect">
            <a:avLst/>
          </a:prstGeom>
          <a:solidFill>
            <a:srgbClr val="001D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3600" kern="0" dirty="0">
                <a:solidFill>
                  <a:prstClr val="white"/>
                </a:solidFill>
                <a:latin typeface="Segoe UI Light"/>
              </a:rPr>
              <a:t>Long timelines</a:t>
            </a:r>
            <a:endParaRPr lang="en-US" sz="3600" kern="0" dirty="0">
              <a:gradFill>
                <a:gsLst>
                  <a:gs pos="5417">
                    <a:srgbClr val="505050"/>
                  </a:gs>
                  <a:gs pos="100000">
                    <a:srgbClr val="505050"/>
                  </a:gs>
                </a:gsLst>
                <a:lin ang="5400000" scaled="0"/>
              </a:gradFill>
              <a:latin typeface="Segoe UI Light"/>
            </a:endParaRPr>
          </a:p>
        </p:txBody>
      </p:sp>
      <p:sp>
        <p:nvSpPr>
          <p:cNvPr id="19" name="Rectangle 18"/>
          <p:cNvSpPr/>
          <p:nvPr/>
        </p:nvSpPr>
        <p:spPr bwMode="auto">
          <a:xfrm>
            <a:off x="6441296" y="3143534"/>
            <a:ext cx="2613674" cy="1669571"/>
          </a:xfrm>
          <a:prstGeom prst="rect">
            <a:avLst/>
          </a:prstGeom>
          <a:solidFill>
            <a:srgbClr val="001D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3600" kern="0" dirty="0">
                <a:solidFill>
                  <a:prstClr val="white"/>
                </a:solidFill>
                <a:latin typeface="Segoe UI Light"/>
              </a:rPr>
              <a:t>Hard to </a:t>
            </a:r>
          </a:p>
          <a:p>
            <a:pPr algn="ctr" defTabSz="932293" fontAlgn="base">
              <a:spcBef>
                <a:spcPct val="0"/>
              </a:spcBef>
              <a:spcAft>
                <a:spcPct val="0"/>
              </a:spcAft>
            </a:pPr>
            <a:r>
              <a:rPr lang="en-US" sz="3600" kern="0" dirty="0">
                <a:solidFill>
                  <a:prstClr val="white"/>
                </a:solidFill>
                <a:latin typeface="Segoe UI Light"/>
              </a:rPr>
              <a:t>scale</a:t>
            </a:r>
            <a:endParaRPr lang="en-US" sz="3600" kern="0" dirty="0">
              <a:gradFill>
                <a:gsLst>
                  <a:gs pos="5417">
                    <a:srgbClr val="505050"/>
                  </a:gs>
                  <a:gs pos="100000">
                    <a:srgbClr val="505050"/>
                  </a:gs>
                </a:gsLst>
                <a:lin ang="5400000" scaled="0"/>
              </a:gradFill>
              <a:latin typeface="Segoe UI Light"/>
            </a:endParaRPr>
          </a:p>
        </p:txBody>
      </p:sp>
      <p:sp>
        <p:nvSpPr>
          <p:cNvPr id="20" name="Rectangle 19"/>
          <p:cNvSpPr/>
          <p:nvPr/>
        </p:nvSpPr>
        <p:spPr bwMode="auto">
          <a:xfrm>
            <a:off x="9310579" y="3143534"/>
            <a:ext cx="2613674" cy="1669571"/>
          </a:xfrm>
          <a:prstGeom prst="rect">
            <a:avLst/>
          </a:prstGeom>
          <a:solidFill>
            <a:srgbClr val="001D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3600" kern="0" dirty="0">
                <a:solidFill>
                  <a:prstClr val="white"/>
                </a:solidFill>
                <a:latin typeface="Segoe UI Light"/>
              </a:rPr>
              <a:t>Difficult to customize</a:t>
            </a:r>
            <a:endParaRPr lang="en-US" sz="3600" kern="0" dirty="0">
              <a:gradFill>
                <a:gsLst>
                  <a:gs pos="5417">
                    <a:srgbClr val="505050"/>
                  </a:gs>
                  <a:gs pos="100000">
                    <a:srgbClr val="505050"/>
                  </a:gs>
                </a:gsLst>
                <a:lin ang="5400000" scaled="0"/>
              </a:gradFill>
              <a:latin typeface="Segoe UI Light"/>
            </a:endParaRPr>
          </a:p>
        </p:txBody>
      </p:sp>
    </p:spTree>
    <p:extLst>
      <p:ext uri="{BB962C8B-B14F-4D97-AF65-F5344CB8AC3E}">
        <p14:creationId xmlns:p14="http://schemas.microsoft.com/office/powerpoint/2010/main" val="832335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 name="Freeform 539"/>
          <p:cNvSpPr>
            <a:spLocks noChangeAspect="1"/>
          </p:cNvSpPr>
          <p:nvPr/>
        </p:nvSpPr>
        <p:spPr bwMode="auto">
          <a:xfrm>
            <a:off x="4152510" y="1846668"/>
            <a:ext cx="7355629" cy="375503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0C0"/>
          </a:solidFill>
          <a:ln>
            <a:solidFill>
              <a:schemeClr val="bg1"/>
            </a:solidFill>
          </a:ln>
          <a:extLst/>
        </p:spPr>
        <p:txBody>
          <a:bodyPr vert="horz" wrap="square" lIns="89604" tIns="44802" rIns="89604" bIns="44802" numCol="1" anchor="t" anchorCtr="0" compatLnSpc="1">
            <a:prstTxWarp prst="textNoShape">
              <a:avLst/>
            </a:prstTxWarp>
          </a:bodyPr>
          <a:lstStyle/>
          <a:p>
            <a:pPr defTabSz="913841">
              <a:defRPr/>
            </a:pPr>
            <a:endParaRPr lang="en-US" sz="1765" kern="0" dirty="0">
              <a:solidFill>
                <a:srgbClr val="FFFFFF"/>
              </a:solidFill>
              <a:latin typeface="Segoe UI"/>
            </a:endParaRPr>
          </a:p>
        </p:txBody>
      </p:sp>
      <p:sp>
        <p:nvSpPr>
          <p:cNvPr id="115" name="Title 1"/>
          <p:cNvSpPr>
            <a:spLocks noGrp="1"/>
          </p:cNvSpPr>
          <p:nvPr>
            <p:ph type="title"/>
          </p:nvPr>
        </p:nvSpPr>
        <p:spPr/>
        <p:txBody>
          <a:bodyPr/>
          <a:lstStyle/>
          <a:p>
            <a:r>
              <a:rPr lang="en-US" dirty="0" smtClean="0"/>
              <a:t>Microsoft Azure IoT Suite</a:t>
            </a:r>
            <a:endParaRPr lang="en-US" sz="3598" i="1" dirty="0"/>
          </a:p>
        </p:txBody>
      </p:sp>
      <p:grpSp>
        <p:nvGrpSpPr>
          <p:cNvPr id="88" name="Group 87"/>
          <p:cNvGrpSpPr/>
          <p:nvPr/>
        </p:nvGrpSpPr>
        <p:grpSpPr>
          <a:xfrm>
            <a:off x="2836960" y="5200547"/>
            <a:ext cx="539303" cy="1385188"/>
            <a:chOff x="4943850" y="3035753"/>
            <a:chExt cx="757741" cy="1946246"/>
          </a:xfrm>
          <a:noFill/>
        </p:grpSpPr>
        <p:sp>
          <p:nvSpPr>
            <p:cNvPr id="90" name="Oval 142"/>
            <p:cNvSpPr/>
            <p:nvPr/>
          </p:nvSpPr>
          <p:spPr>
            <a:xfrm>
              <a:off x="4953000" y="3035753"/>
              <a:ext cx="735289" cy="397094"/>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836" kern="0">
                <a:solidFill>
                  <a:srgbClr val="FFFFFF"/>
                </a:solidFill>
                <a:latin typeface="Segoe UI"/>
              </a:endParaRPr>
            </a:p>
          </p:txBody>
        </p:sp>
        <p:sp>
          <p:nvSpPr>
            <p:cNvPr id="91" name="Rectangle 2048"/>
            <p:cNvSpPr>
              <a:spLocks noChangeAspect="1"/>
            </p:cNvSpPr>
            <p:nvPr/>
          </p:nvSpPr>
          <p:spPr bwMode="auto">
            <a:xfrm flipV="1">
              <a:off x="4943850" y="3465247"/>
              <a:ext cx="757741" cy="15167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w="9525" cap="flat" cmpd="sng" algn="ctr">
              <a:solidFill>
                <a:schemeClr val="bg1"/>
              </a:solidFill>
              <a:prstDash val="solid"/>
              <a:headEnd type="none" w="med" len="med"/>
              <a:tailEnd type="none" w="med" len="med"/>
            </a:ln>
            <a:effectLst/>
          </p:spPr>
          <p:txBody>
            <a:bodyPr rot="0" spcFirstLastPara="0" vert="horz" wrap="square" lIns="93233" tIns="46616" rIns="46616" bIns="93233"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1932" fontAlgn="base">
                <a:spcBef>
                  <a:spcPct val="0"/>
                </a:spcBef>
                <a:spcAft>
                  <a:spcPct val="0"/>
                </a:spcAft>
                <a:defRPr/>
              </a:pPr>
              <a:endParaRPr lang="en-US" sz="1836" spc="-5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2" name="Group 91"/>
            <p:cNvGrpSpPr/>
            <p:nvPr/>
          </p:nvGrpSpPr>
          <p:grpSpPr>
            <a:xfrm flipV="1">
              <a:off x="5154351" y="3126375"/>
              <a:ext cx="312238" cy="306471"/>
              <a:chOff x="-9407836" y="120612"/>
              <a:chExt cx="1474396" cy="1455780"/>
            </a:xfrm>
            <a:grpFill/>
          </p:grpSpPr>
          <p:sp>
            <p:nvSpPr>
              <p:cNvPr id="93" name="Oval 92"/>
              <p:cNvSpPr/>
              <p:nvPr/>
            </p:nvSpPr>
            <p:spPr>
              <a:xfrm>
                <a:off x="-8928872" y="595592"/>
                <a:ext cx="489390" cy="489390"/>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836" kern="0">
                  <a:solidFill>
                    <a:srgbClr val="FFFFFF"/>
                  </a:solidFill>
                  <a:latin typeface="Segoe UI"/>
                </a:endParaRPr>
              </a:p>
            </p:txBody>
          </p:sp>
          <p:cxnSp>
            <p:nvCxnSpPr>
              <p:cNvPr id="94" name="Straight Connector 93"/>
              <p:cNvCxnSpPr/>
              <p:nvPr/>
            </p:nvCxnSpPr>
            <p:spPr>
              <a:xfrm>
                <a:off x="-8679053" y="120612"/>
                <a:ext cx="0" cy="330979"/>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8679053" y="1245413"/>
                <a:ext cx="0" cy="330979"/>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rot="16200000">
                <a:off x="-8103656" y="672726"/>
                <a:ext cx="2655" cy="33777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rot="16200000">
                <a:off x="-9240275" y="672726"/>
                <a:ext cx="2655" cy="33777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9070059" y="451591"/>
                <a:ext cx="99256" cy="103778"/>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V="1">
                <a:off x="-9075516" y="1127860"/>
                <a:ext cx="99256" cy="103778"/>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H="1">
                <a:off x="-8380667" y="451591"/>
                <a:ext cx="99256" cy="103778"/>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H="1" flipV="1">
                <a:off x="-8386124" y="1127860"/>
                <a:ext cx="99256" cy="103778"/>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02" name="Group 101"/>
          <p:cNvGrpSpPr/>
          <p:nvPr/>
        </p:nvGrpSpPr>
        <p:grpSpPr>
          <a:xfrm>
            <a:off x="1427919" y="4721471"/>
            <a:ext cx="799937" cy="1035036"/>
            <a:chOff x="2855988" y="3807749"/>
            <a:chExt cx="1159942" cy="1500845"/>
          </a:xfrm>
          <a:noFill/>
        </p:grpSpPr>
        <p:grpSp>
          <p:nvGrpSpPr>
            <p:cNvPr id="103" name="Group 102"/>
            <p:cNvGrpSpPr/>
            <p:nvPr/>
          </p:nvGrpSpPr>
          <p:grpSpPr>
            <a:xfrm>
              <a:off x="3306798" y="3904313"/>
              <a:ext cx="258323" cy="268935"/>
              <a:chOff x="-11741312" y="2985477"/>
              <a:chExt cx="1201118" cy="1250461"/>
            </a:xfrm>
            <a:grpFill/>
          </p:grpSpPr>
          <p:grpSp>
            <p:nvGrpSpPr>
              <p:cNvPr id="106" name="Group 105"/>
              <p:cNvGrpSpPr/>
              <p:nvPr/>
            </p:nvGrpSpPr>
            <p:grpSpPr>
              <a:xfrm>
                <a:off x="-11741312" y="2985477"/>
                <a:ext cx="1201118" cy="1250461"/>
                <a:chOff x="-11741312" y="2985477"/>
                <a:chExt cx="1201118" cy="1250461"/>
              </a:xfrm>
              <a:grpFill/>
            </p:grpSpPr>
            <p:cxnSp>
              <p:nvCxnSpPr>
                <p:cNvPr id="108" name="Straight Connector 107"/>
                <p:cNvCxnSpPr/>
                <p:nvPr/>
              </p:nvCxnSpPr>
              <p:spPr>
                <a:xfrm>
                  <a:off x="-11145846" y="2985477"/>
                  <a:ext cx="0" cy="1250461"/>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1714017" y="3396428"/>
                  <a:ext cx="1173823" cy="459126"/>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11714017" y="3363367"/>
                  <a:ext cx="1124977" cy="492187"/>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1741312" y="3603721"/>
                  <a:ext cx="1201118" cy="0"/>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11397812" y="3045383"/>
                  <a:ext cx="487742" cy="1135848"/>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V="1">
                  <a:off x="-11381621" y="3025242"/>
                  <a:ext cx="491275" cy="1187507"/>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H="1">
                  <a:off x="-11569458" y="3149600"/>
                  <a:ext cx="895164" cy="923675"/>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flipV="1">
                  <a:off x="-11589182" y="3173046"/>
                  <a:ext cx="887865" cy="912924"/>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7" name="Oval 106"/>
              <p:cNvSpPr/>
              <p:nvPr/>
            </p:nvSpPr>
            <p:spPr>
              <a:xfrm>
                <a:off x="-11328806" y="3418776"/>
                <a:ext cx="365920" cy="365919"/>
              </a:xfrm>
              <a:prstGeom prst="ellipse">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836" kern="0">
                  <a:solidFill>
                    <a:srgbClr val="FFFFFF"/>
                  </a:solidFill>
                  <a:latin typeface="Segoe UI"/>
                </a:endParaRPr>
              </a:p>
            </p:txBody>
          </p:sp>
        </p:grpSp>
        <p:sp>
          <p:nvSpPr>
            <p:cNvPr id="104" name="Oval 142"/>
            <p:cNvSpPr/>
            <p:nvPr/>
          </p:nvSpPr>
          <p:spPr>
            <a:xfrm>
              <a:off x="2985784" y="3807749"/>
              <a:ext cx="900351" cy="450176"/>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836" kern="0">
                <a:solidFill>
                  <a:srgbClr val="FFFFFF"/>
                </a:solidFill>
                <a:latin typeface="Segoe UI"/>
              </a:endParaRPr>
            </a:p>
          </p:txBody>
        </p:sp>
        <p:sp>
          <p:nvSpPr>
            <p:cNvPr id="105" name="Freeform 71"/>
            <p:cNvSpPr>
              <a:spLocks noChangeAspect="1" noEditPoints="1"/>
            </p:cNvSpPr>
            <p:nvPr/>
          </p:nvSpPr>
          <p:spPr bwMode="auto">
            <a:xfrm>
              <a:off x="2855988" y="4178345"/>
              <a:ext cx="1159942" cy="1130249"/>
            </a:xfrm>
            <a:custGeom>
              <a:avLst/>
              <a:gdLst>
                <a:gd name="T0" fmla="*/ 212 w 586"/>
                <a:gd name="T1" fmla="*/ 329 h 571"/>
                <a:gd name="T2" fmla="*/ 250 w 586"/>
                <a:gd name="T3" fmla="*/ 302 h 571"/>
                <a:gd name="T4" fmla="*/ 536 w 586"/>
                <a:gd name="T5" fmla="*/ 302 h 571"/>
                <a:gd name="T6" fmla="*/ 498 w 586"/>
                <a:gd name="T7" fmla="*/ 259 h 571"/>
                <a:gd name="T8" fmla="*/ 212 w 586"/>
                <a:gd name="T9" fmla="*/ 269 h 571"/>
                <a:gd name="T10" fmla="*/ 227 w 586"/>
                <a:gd name="T11" fmla="*/ 290 h 571"/>
                <a:gd name="T12" fmla="*/ 250 w 586"/>
                <a:gd name="T13" fmla="*/ 242 h 571"/>
                <a:gd name="T14" fmla="*/ 104 w 586"/>
                <a:gd name="T15" fmla="*/ 244 h 571"/>
                <a:gd name="T16" fmla="*/ 158 w 586"/>
                <a:gd name="T17" fmla="*/ 269 h 571"/>
                <a:gd name="T18" fmla="*/ 192 w 586"/>
                <a:gd name="T19" fmla="*/ 471 h 571"/>
                <a:gd name="T20" fmla="*/ 162 w 586"/>
                <a:gd name="T21" fmla="*/ 213 h 571"/>
                <a:gd name="T22" fmla="*/ 498 w 586"/>
                <a:gd name="T23" fmla="*/ 244 h 571"/>
                <a:gd name="T24" fmla="*/ 536 w 586"/>
                <a:gd name="T25" fmla="*/ 259 h 571"/>
                <a:gd name="T26" fmla="*/ 503 w 586"/>
                <a:gd name="T27" fmla="*/ 202 h 571"/>
                <a:gd name="T28" fmla="*/ 225 w 586"/>
                <a:gd name="T29" fmla="*/ 183 h 571"/>
                <a:gd name="T30" fmla="*/ 210 w 586"/>
                <a:gd name="T31" fmla="*/ 242 h 571"/>
                <a:gd name="T32" fmla="*/ 248 w 586"/>
                <a:gd name="T33" fmla="*/ 227 h 571"/>
                <a:gd name="T34" fmla="*/ 498 w 586"/>
                <a:gd name="T35" fmla="*/ 184 h 571"/>
                <a:gd name="T36" fmla="*/ 528 w 586"/>
                <a:gd name="T37" fmla="*/ 194 h 571"/>
                <a:gd name="T38" fmla="*/ 521 w 586"/>
                <a:gd name="T39" fmla="*/ 142 h 571"/>
                <a:gd name="T40" fmla="*/ 417 w 586"/>
                <a:gd name="T41" fmla="*/ 123 h 571"/>
                <a:gd name="T42" fmla="*/ 382 w 586"/>
                <a:gd name="T43" fmla="*/ 161 h 571"/>
                <a:gd name="T44" fmla="*/ 382 w 586"/>
                <a:gd name="T45" fmla="*/ 404 h 571"/>
                <a:gd name="T46" fmla="*/ 369 w 586"/>
                <a:gd name="T47" fmla="*/ 430 h 571"/>
                <a:gd name="T48" fmla="*/ 356 w 586"/>
                <a:gd name="T49" fmla="*/ 440 h 571"/>
                <a:gd name="T50" fmla="*/ 333 w 586"/>
                <a:gd name="T51" fmla="*/ 471 h 571"/>
                <a:gd name="T52" fmla="*/ 417 w 586"/>
                <a:gd name="T53" fmla="*/ 123 h 571"/>
                <a:gd name="T54" fmla="*/ 494 w 586"/>
                <a:gd name="T55" fmla="*/ 19 h 571"/>
                <a:gd name="T56" fmla="*/ 498 w 586"/>
                <a:gd name="T57" fmla="*/ 56 h 571"/>
                <a:gd name="T58" fmla="*/ 536 w 586"/>
                <a:gd name="T59" fmla="*/ 133 h 571"/>
                <a:gd name="T60" fmla="*/ 565 w 586"/>
                <a:gd name="T61" fmla="*/ 371 h 571"/>
                <a:gd name="T62" fmla="*/ 0 w 586"/>
                <a:gd name="T63" fmla="*/ 571 h 571"/>
                <a:gd name="T64" fmla="*/ 31 w 586"/>
                <a:gd name="T65" fmla="*/ 292 h 571"/>
                <a:gd name="T66" fmla="*/ 89 w 586"/>
                <a:gd name="T67" fmla="*/ 244 h 571"/>
                <a:gd name="T68" fmla="*/ 139 w 586"/>
                <a:gd name="T69" fmla="*/ 196 h 571"/>
                <a:gd name="T70" fmla="*/ 187 w 586"/>
                <a:gd name="T71" fmla="*/ 204 h 571"/>
                <a:gd name="T72" fmla="*/ 213 w 586"/>
                <a:gd name="T73" fmla="*/ 171 h 571"/>
                <a:gd name="T74" fmla="*/ 250 w 586"/>
                <a:gd name="T75" fmla="*/ 92 h 571"/>
                <a:gd name="T76" fmla="*/ 311 w 586"/>
                <a:gd name="T77" fmla="*/ 56 h 571"/>
                <a:gd name="T78" fmla="*/ 333 w 586"/>
                <a:gd name="T79" fmla="*/ 432 h 571"/>
                <a:gd name="T80" fmla="*/ 367 w 586"/>
                <a:gd name="T81" fmla="*/ 394 h 571"/>
                <a:gd name="T82" fmla="*/ 367 w 586"/>
                <a:gd name="T83" fmla="*/ 154 h 571"/>
                <a:gd name="T84" fmla="*/ 369 w 586"/>
                <a:gd name="T85" fmla="*/ 142 h 571"/>
                <a:gd name="T86" fmla="*/ 375 w 586"/>
                <a:gd name="T87" fmla="*/ 133 h 571"/>
                <a:gd name="T88" fmla="*/ 379 w 586"/>
                <a:gd name="T89" fmla="*/ 127 h 571"/>
                <a:gd name="T90" fmla="*/ 384 w 586"/>
                <a:gd name="T91" fmla="*/ 119 h 571"/>
                <a:gd name="T92" fmla="*/ 417 w 586"/>
                <a:gd name="T93" fmla="*/ 108 h 571"/>
                <a:gd name="T94" fmla="*/ 421 w 586"/>
                <a:gd name="T95" fmla="*/ 38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6" h="571">
                  <a:moveTo>
                    <a:pt x="250" y="302"/>
                  </a:moveTo>
                  <a:lnTo>
                    <a:pt x="242" y="302"/>
                  </a:lnTo>
                  <a:lnTo>
                    <a:pt x="223" y="311"/>
                  </a:lnTo>
                  <a:lnTo>
                    <a:pt x="212" y="329"/>
                  </a:lnTo>
                  <a:lnTo>
                    <a:pt x="210" y="336"/>
                  </a:lnTo>
                  <a:lnTo>
                    <a:pt x="210" y="471"/>
                  </a:lnTo>
                  <a:lnTo>
                    <a:pt x="250" y="471"/>
                  </a:lnTo>
                  <a:lnTo>
                    <a:pt x="250" y="302"/>
                  </a:lnTo>
                  <a:close/>
                  <a:moveTo>
                    <a:pt x="498" y="259"/>
                  </a:moveTo>
                  <a:lnTo>
                    <a:pt x="498" y="371"/>
                  </a:lnTo>
                  <a:lnTo>
                    <a:pt x="536" y="371"/>
                  </a:lnTo>
                  <a:lnTo>
                    <a:pt x="536" y="302"/>
                  </a:lnTo>
                  <a:lnTo>
                    <a:pt x="532" y="283"/>
                  </a:lnTo>
                  <a:lnTo>
                    <a:pt x="521" y="269"/>
                  </a:lnTo>
                  <a:lnTo>
                    <a:pt x="503" y="261"/>
                  </a:lnTo>
                  <a:lnTo>
                    <a:pt x="498" y="259"/>
                  </a:lnTo>
                  <a:close/>
                  <a:moveTo>
                    <a:pt x="250" y="242"/>
                  </a:moveTo>
                  <a:lnTo>
                    <a:pt x="242" y="242"/>
                  </a:lnTo>
                  <a:lnTo>
                    <a:pt x="223" y="252"/>
                  </a:lnTo>
                  <a:lnTo>
                    <a:pt x="212" y="269"/>
                  </a:lnTo>
                  <a:lnTo>
                    <a:pt x="210" y="277"/>
                  </a:lnTo>
                  <a:lnTo>
                    <a:pt x="210" y="302"/>
                  </a:lnTo>
                  <a:lnTo>
                    <a:pt x="217" y="296"/>
                  </a:lnTo>
                  <a:lnTo>
                    <a:pt x="227" y="290"/>
                  </a:lnTo>
                  <a:lnTo>
                    <a:pt x="237" y="286"/>
                  </a:lnTo>
                  <a:lnTo>
                    <a:pt x="248" y="286"/>
                  </a:lnTo>
                  <a:lnTo>
                    <a:pt x="250" y="286"/>
                  </a:lnTo>
                  <a:lnTo>
                    <a:pt x="250" y="242"/>
                  </a:lnTo>
                  <a:close/>
                  <a:moveTo>
                    <a:pt x="135" y="213"/>
                  </a:moveTo>
                  <a:lnTo>
                    <a:pt x="119" y="217"/>
                  </a:lnTo>
                  <a:lnTo>
                    <a:pt x="108" y="229"/>
                  </a:lnTo>
                  <a:lnTo>
                    <a:pt x="104" y="244"/>
                  </a:lnTo>
                  <a:lnTo>
                    <a:pt x="104" y="244"/>
                  </a:lnTo>
                  <a:lnTo>
                    <a:pt x="112" y="244"/>
                  </a:lnTo>
                  <a:lnTo>
                    <a:pt x="137" y="252"/>
                  </a:lnTo>
                  <a:lnTo>
                    <a:pt x="158" y="269"/>
                  </a:lnTo>
                  <a:lnTo>
                    <a:pt x="173" y="290"/>
                  </a:lnTo>
                  <a:lnTo>
                    <a:pt x="177" y="319"/>
                  </a:lnTo>
                  <a:lnTo>
                    <a:pt x="177" y="471"/>
                  </a:lnTo>
                  <a:lnTo>
                    <a:pt x="192" y="471"/>
                  </a:lnTo>
                  <a:lnTo>
                    <a:pt x="192" y="244"/>
                  </a:lnTo>
                  <a:lnTo>
                    <a:pt x="189" y="229"/>
                  </a:lnTo>
                  <a:lnTo>
                    <a:pt x="177" y="217"/>
                  </a:lnTo>
                  <a:lnTo>
                    <a:pt x="162" y="213"/>
                  </a:lnTo>
                  <a:lnTo>
                    <a:pt x="135" y="213"/>
                  </a:lnTo>
                  <a:close/>
                  <a:moveTo>
                    <a:pt x="498" y="200"/>
                  </a:moveTo>
                  <a:lnTo>
                    <a:pt x="498" y="244"/>
                  </a:lnTo>
                  <a:lnTo>
                    <a:pt x="498" y="244"/>
                  </a:lnTo>
                  <a:lnTo>
                    <a:pt x="509" y="246"/>
                  </a:lnTo>
                  <a:lnTo>
                    <a:pt x="519" y="248"/>
                  </a:lnTo>
                  <a:lnTo>
                    <a:pt x="528" y="254"/>
                  </a:lnTo>
                  <a:lnTo>
                    <a:pt x="536" y="259"/>
                  </a:lnTo>
                  <a:lnTo>
                    <a:pt x="536" y="242"/>
                  </a:lnTo>
                  <a:lnTo>
                    <a:pt x="532" y="223"/>
                  </a:lnTo>
                  <a:lnTo>
                    <a:pt x="521" y="209"/>
                  </a:lnTo>
                  <a:lnTo>
                    <a:pt x="503" y="202"/>
                  </a:lnTo>
                  <a:lnTo>
                    <a:pt x="498" y="200"/>
                  </a:lnTo>
                  <a:close/>
                  <a:moveTo>
                    <a:pt x="250" y="175"/>
                  </a:moveTo>
                  <a:lnTo>
                    <a:pt x="242" y="175"/>
                  </a:lnTo>
                  <a:lnTo>
                    <a:pt x="225" y="183"/>
                  </a:lnTo>
                  <a:lnTo>
                    <a:pt x="213" y="198"/>
                  </a:lnTo>
                  <a:lnTo>
                    <a:pt x="210" y="217"/>
                  </a:lnTo>
                  <a:lnTo>
                    <a:pt x="210" y="238"/>
                  </a:lnTo>
                  <a:lnTo>
                    <a:pt x="210" y="242"/>
                  </a:lnTo>
                  <a:lnTo>
                    <a:pt x="217" y="236"/>
                  </a:lnTo>
                  <a:lnTo>
                    <a:pt x="227" y="231"/>
                  </a:lnTo>
                  <a:lnTo>
                    <a:pt x="237" y="227"/>
                  </a:lnTo>
                  <a:lnTo>
                    <a:pt x="248" y="227"/>
                  </a:lnTo>
                  <a:lnTo>
                    <a:pt x="250" y="227"/>
                  </a:lnTo>
                  <a:lnTo>
                    <a:pt x="250" y="175"/>
                  </a:lnTo>
                  <a:close/>
                  <a:moveTo>
                    <a:pt x="498" y="133"/>
                  </a:moveTo>
                  <a:lnTo>
                    <a:pt x="498" y="184"/>
                  </a:lnTo>
                  <a:lnTo>
                    <a:pt x="498" y="184"/>
                  </a:lnTo>
                  <a:lnTo>
                    <a:pt x="509" y="186"/>
                  </a:lnTo>
                  <a:lnTo>
                    <a:pt x="519" y="188"/>
                  </a:lnTo>
                  <a:lnTo>
                    <a:pt x="528" y="194"/>
                  </a:lnTo>
                  <a:lnTo>
                    <a:pt x="536" y="200"/>
                  </a:lnTo>
                  <a:lnTo>
                    <a:pt x="536" y="175"/>
                  </a:lnTo>
                  <a:lnTo>
                    <a:pt x="532" y="156"/>
                  </a:lnTo>
                  <a:lnTo>
                    <a:pt x="521" y="142"/>
                  </a:lnTo>
                  <a:lnTo>
                    <a:pt x="503" y="133"/>
                  </a:lnTo>
                  <a:lnTo>
                    <a:pt x="498" y="133"/>
                  </a:lnTo>
                  <a:close/>
                  <a:moveTo>
                    <a:pt x="417" y="123"/>
                  </a:moveTo>
                  <a:lnTo>
                    <a:pt x="417" y="123"/>
                  </a:lnTo>
                  <a:lnTo>
                    <a:pt x="402" y="129"/>
                  </a:lnTo>
                  <a:lnTo>
                    <a:pt x="390" y="142"/>
                  </a:lnTo>
                  <a:lnTo>
                    <a:pt x="382" y="158"/>
                  </a:lnTo>
                  <a:lnTo>
                    <a:pt x="382" y="161"/>
                  </a:lnTo>
                  <a:lnTo>
                    <a:pt x="382" y="394"/>
                  </a:lnTo>
                  <a:lnTo>
                    <a:pt x="382" y="396"/>
                  </a:lnTo>
                  <a:lnTo>
                    <a:pt x="382" y="404"/>
                  </a:lnTo>
                  <a:lnTo>
                    <a:pt x="382" y="404"/>
                  </a:lnTo>
                  <a:lnTo>
                    <a:pt x="381" y="409"/>
                  </a:lnTo>
                  <a:lnTo>
                    <a:pt x="379" y="417"/>
                  </a:lnTo>
                  <a:lnTo>
                    <a:pt x="375" y="425"/>
                  </a:lnTo>
                  <a:lnTo>
                    <a:pt x="369" y="430"/>
                  </a:lnTo>
                  <a:lnTo>
                    <a:pt x="367" y="432"/>
                  </a:lnTo>
                  <a:lnTo>
                    <a:pt x="367" y="432"/>
                  </a:lnTo>
                  <a:lnTo>
                    <a:pt x="363" y="436"/>
                  </a:lnTo>
                  <a:lnTo>
                    <a:pt x="356" y="440"/>
                  </a:lnTo>
                  <a:lnTo>
                    <a:pt x="348" y="446"/>
                  </a:lnTo>
                  <a:lnTo>
                    <a:pt x="338" y="448"/>
                  </a:lnTo>
                  <a:lnTo>
                    <a:pt x="333" y="448"/>
                  </a:lnTo>
                  <a:lnTo>
                    <a:pt x="333" y="471"/>
                  </a:lnTo>
                  <a:lnTo>
                    <a:pt x="396" y="471"/>
                  </a:lnTo>
                  <a:lnTo>
                    <a:pt x="396" y="371"/>
                  </a:lnTo>
                  <a:lnTo>
                    <a:pt x="417" y="371"/>
                  </a:lnTo>
                  <a:lnTo>
                    <a:pt x="417" y="123"/>
                  </a:lnTo>
                  <a:close/>
                  <a:moveTo>
                    <a:pt x="436" y="0"/>
                  </a:moveTo>
                  <a:lnTo>
                    <a:pt x="475" y="0"/>
                  </a:lnTo>
                  <a:lnTo>
                    <a:pt x="475" y="19"/>
                  </a:lnTo>
                  <a:lnTo>
                    <a:pt x="494" y="19"/>
                  </a:lnTo>
                  <a:lnTo>
                    <a:pt x="494" y="38"/>
                  </a:lnTo>
                  <a:lnTo>
                    <a:pt x="475" y="38"/>
                  </a:lnTo>
                  <a:lnTo>
                    <a:pt x="475" y="56"/>
                  </a:lnTo>
                  <a:lnTo>
                    <a:pt x="498" y="56"/>
                  </a:lnTo>
                  <a:lnTo>
                    <a:pt x="498" y="117"/>
                  </a:lnTo>
                  <a:lnTo>
                    <a:pt x="498" y="117"/>
                  </a:lnTo>
                  <a:lnTo>
                    <a:pt x="519" y="121"/>
                  </a:lnTo>
                  <a:lnTo>
                    <a:pt x="536" y="133"/>
                  </a:lnTo>
                  <a:lnTo>
                    <a:pt x="548" y="150"/>
                  </a:lnTo>
                  <a:lnTo>
                    <a:pt x="553" y="171"/>
                  </a:lnTo>
                  <a:lnTo>
                    <a:pt x="553" y="371"/>
                  </a:lnTo>
                  <a:lnTo>
                    <a:pt x="565" y="371"/>
                  </a:lnTo>
                  <a:lnTo>
                    <a:pt x="565" y="471"/>
                  </a:lnTo>
                  <a:lnTo>
                    <a:pt x="586" y="471"/>
                  </a:lnTo>
                  <a:lnTo>
                    <a:pt x="586" y="571"/>
                  </a:lnTo>
                  <a:lnTo>
                    <a:pt x="0" y="571"/>
                  </a:lnTo>
                  <a:lnTo>
                    <a:pt x="0" y="471"/>
                  </a:lnTo>
                  <a:lnTo>
                    <a:pt x="25" y="471"/>
                  </a:lnTo>
                  <a:lnTo>
                    <a:pt x="25" y="319"/>
                  </a:lnTo>
                  <a:lnTo>
                    <a:pt x="31" y="292"/>
                  </a:lnTo>
                  <a:lnTo>
                    <a:pt x="43" y="271"/>
                  </a:lnTo>
                  <a:lnTo>
                    <a:pt x="62" y="254"/>
                  </a:lnTo>
                  <a:lnTo>
                    <a:pt x="85" y="246"/>
                  </a:lnTo>
                  <a:lnTo>
                    <a:pt x="89" y="244"/>
                  </a:lnTo>
                  <a:lnTo>
                    <a:pt x="89" y="236"/>
                  </a:lnTo>
                  <a:lnTo>
                    <a:pt x="98" y="215"/>
                  </a:lnTo>
                  <a:lnTo>
                    <a:pt x="116" y="200"/>
                  </a:lnTo>
                  <a:lnTo>
                    <a:pt x="139" y="196"/>
                  </a:lnTo>
                  <a:lnTo>
                    <a:pt x="160" y="196"/>
                  </a:lnTo>
                  <a:lnTo>
                    <a:pt x="169" y="196"/>
                  </a:lnTo>
                  <a:lnTo>
                    <a:pt x="179" y="200"/>
                  </a:lnTo>
                  <a:lnTo>
                    <a:pt x="187" y="204"/>
                  </a:lnTo>
                  <a:lnTo>
                    <a:pt x="194" y="209"/>
                  </a:lnTo>
                  <a:lnTo>
                    <a:pt x="194" y="202"/>
                  </a:lnTo>
                  <a:lnTo>
                    <a:pt x="200" y="184"/>
                  </a:lnTo>
                  <a:lnTo>
                    <a:pt x="213" y="171"/>
                  </a:lnTo>
                  <a:lnTo>
                    <a:pt x="229" y="161"/>
                  </a:lnTo>
                  <a:lnTo>
                    <a:pt x="248" y="159"/>
                  </a:lnTo>
                  <a:lnTo>
                    <a:pt x="250" y="159"/>
                  </a:lnTo>
                  <a:lnTo>
                    <a:pt x="250" y="92"/>
                  </a:lnTo>
                  <a:lnTo>
                    <a:pt x="256" y="71"/>
                  </a:lnTo>
                  <a:lnTo>
                    <a:pt x="269" y="56"/>
                  </a:lnTo>
                  <a:lnTo>
                    <a:pt x="290" y="50"/>
                  </a:lnTo>
                  <a:lnTo>
                    <a:pt x="311" y="56"/>
                  </a:lnTo>
                  <a:lnTo>
                    <a:pt x="327" y="71"/>
                  </a:lnTo>
                  <a:lnTo>
                    <a:pt x="333" y="92"/>
                  </a:lnTo>
                  <a:lnTo>
                    <a:pt x="333" y="432"/>
                  </a:lnTo>
                  <a:lnTo>
                    <a:pt x="333" y="432"/>
                  </a:lnTo>
                  <a:lnTo>
                    <a:pt x="348" y="427"/>
                  </a:lnTo>
                  <a:lnTo>
                    <a:pt x="359" y="413"/>
                  </a:lnTo>
                  <a:lnTo>
                    <a:pt x="365" y="398"/>
                  </a:lnTo>
                  <a:lnTo>
                    <a:pt x="367" y="394"/>
                  </a:lnTo>
                  <a:lnTo>
                    <a:pt x="367" y="161"/>
                  </a:lnTo>
                  <a:lnTo>
                    <a:pt x="367" y="159"/>
                  </a:lnTo>
                  <a:lnTo>
                    <a:pt x="367" y="154"/>
                  </a:lnTo>
                  <a:lnTo>
                    <a:pt x="367" y="154"/>
                  </a:lnTo>
                  <a:lnTo>
                    <a:pt x="369" y="146"/>
                  </a:lnTo>
                  <a:lnTo>
                    <a:pt x="369" y="142"/>
                  </a:lnTo>
                  <a:lnTo>
                    <a:pt x="369" y="142"/>
                  </a:lnTo>
                  <a:lnTo>
                    <a:pt x="369" y="142"/>
                  </a:lnTo>
                  <a:lnTo>
                    <a:pt x="371" y="138"/>
                  </a:lnTo>
                  <a:lnTo>
                    <a:pt x="373" y="135"/>
                  </a:lnTo>
                  <a:lnTo>
                    <a:pt x="373" y="135"/>
                  </a:lnTo>
                  <a:lnTo>
                    <a:pt x="375" y="133"/>
                  </a:lnTo>
                  <a:lnTo>
                    <a:pt x="375" y="131"/>
                  </a:lnTo>
                  <a:lnTo>
                    <a:pt x="379" y="127"/>
                  </a:lnTo>
                  <a:lnTo>
                    <a:pt x="379" y="127"/>
                  </a:lnTo>
                  <a:lnTo>
                    <a:pt x="379" y="127"/>
                  </a:lnTo>
                  <a:lnTo>
                    <a:pt x="381" y="123"/>
                  </a:lnTo>
                  <a:lnTo>
                    <a:pt x="382" y="123"/>
                  </a:lnTo>
                  <a:lnTo>
                    <a:pt x="382" y="123"/>
                  </a:lnTo>
                  <a:lnTo>
                    <a:pt x="384" y="119"/>
                  </a:lnTo>
                  <a:lnTo>
                    <a:pt x="392" y="115"/>
                  </a:lnTo>
                  <a:lnTo>
                    <a:pt x="402" y="111"/>
                  </a:lnTo>
                  <a:lnTo>
                    <a:pt x="409" y="108"/>
                  </a:lnTo>
                  <a:lnTo>
                    <a:pt x="417" y="108"/>
                  </a:lnTo>
                  <a:lnTo>
                    <a:pt x="417" y="56"/>
                  </a:lnTo>
                  <a:lnTo>
                    <a:pt x="436" y="56"/>
                  </a:lnTo>
                  <a:lnTo>
                    <a:pt x="436" y="38"/>
                  </a:lnTo>
                  <a:lnTo>
                    <a:pt x="421" y="38"/>
                  </a:lnTo>
                  <a:lnTo>
                    <a:pt x="421" y="19"/>
                  </a:lnTo>
                  <a:lnTo>
                    <a:pt x="436" y="19"/>
                  </a:lnTo>
                  <a:lnTo>
                    <a:pt x="436" y="0"/>
                  </a:lnTo>
                  <a:close/>
                </a:path>
              </a:pathLst>
            </a:custGeom>
            <a:grpFill/>
            <a:ln w="0">
              <a:solidFill>
                <a:schemeClr val="bg1"/>
              </a:solidFill>
              <a:prstDash val="solid"/>
              <a:round/>
              <a:headEnd/>
              <a:tailEnd/>
            </a:ln>
          </p:spPr>
          <p:txBody>
            <a:bodyPr vert="horz" wrap="square" lIns="93233" tIns="46616" rIns="93233" bIns="46616" numCol="1" anchor="t" anchorCtr="0" compatLnSpc="1">
              <a:prstTxWarp prst="textNoShape">
                <a:avLst/>
              </a:prstTxWarp>
            </a:bodyPr>
            <a:lstStyle/>
            <a:p>
              <a:pPr defTabSz="914049">
                <a:defRPr/>
              </a:pPr>
              <a:endParaRPr lang="en-US" sz="1836" kern="0">
                <a:solidFill>
                  <a:prstClr val="black"/>
                </a:solidFill>
                <a:latin typeface="Segoe UI"/>
              </a:endParaRPr>
            </a:p>
          </p:txBody>
        </p:sp>
      </p:grpSp>
      <p:grpSp>
        <p:nvGrpSpPr>
          <p:cNvPr id="117" name="Group 116"/>
          <p:cNvGrpSpPr/>
          <p:nvPr/>
        </p:nvGrpSpPr>
        <p:grpSpPr>
          <a:xfrm>
            <a:off x="4201584" y="1952787"/>
            <a:ext cx="813206" cy="955650"/>
            <a:chOff x="970509" y="4093413"/>
            <a:chExt cx="1049828" cy="1233722"/>
          </a:xfrm>
          <a:noFill/>
        </p:grpSpPr>
        <p:sp>
          <p:nvSpPr>
            <p:cNvPr id="118" name="VEHICLE TRACKING"/>
            <p:cNvSpPr>
              <a:spLocks noChangeAspect="1"/>
            </p:cNvSpPr>
            <p:nvPr/>
          </p:nvSpPr>
          <p:spPr bwMode="auto">
            <a:xfrm>
              <a:off x="970509" y="4541752"/>
              <a:ext cx="1049828" cy="785383"/>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3" tIns="46616" rIns="46616" bIns="93233" numCol="1" spcCol="0" rtlCol="0" fromWordArt="0" anchor="b" anchorCtr="0" forceAA="0" compatLnSpc="1">
              <a:prstTxWarp prst="textNoShape">
                <a:avLst/>
              </a:prstTxWarp>
              <a:noAutofit/>
            </a:bodyPr>
            <a:lstStyle/>
            <a:p>
              <a:pPr algn="ctr" defTabSz="931932" fontAlgn="base">
                <a:spcBef>
                  <a:spcPct val="0"/>
                </a:spcBef>
                <a:spcAft>
                  <a:spcPct val="0"/>
                </a:spcAft>
                <a:defRPr/>
              </a:pPr>
              <a:endParaRPr lang="en-US" sz="1836" kern="0" spc="-5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9" name="Group 118"/>
            <p:cNvGrpSpPr/>
            <p:nvPr/>
          </p:nvGrpSpPr>
          <p:grpSpPr>
            <a:xfrm>
              <a:off x="1375400" y="4219528"/>
              <a:ext cx="240047" cy="250622"/>
              <a:chOff x="6356211" y="-986246"/>
              <a:chExt cx="322176" cy="336369"/>
            </a:xfrm>
            <a:grpFill/>
          </p:grpSpPr>
          <p:sp>
            <p:nvSpPr>
              <p:cNvPr id="121" name="Oval 120"/>
              <p:cNvSpPr/>
              <p:nvPr/>
            </p:nvSpPr>
            <p:spPr>
              <a:xfrm>
                <a:off x="6459255" y="-868963"/>
                <a:ext cx="116089" cy="116089"/>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836" kern="0">
                  <a:solidFill>
                    <a:srgbClr val="FFFFFF"/>
                  </a:solidFill>
                  <a:latin typeface="Segoe UI"/>
                </a:endParaRPr>
              </a:p>
            </p:txBody>
          </p:sp>
          <p:cxnSp>
            <p:nvCxnSpPr>
              <p:cNvPr id="122" name="Straight Connector 121"/>
              <p:cNvCxnSpPr/>
              <p:nvPr/>
            </p:nvCxnSpPr>
            <p:spPr>
              <a:xfrm>
                <a:off x="6517299" y="-986246"/>
                <a:ext cx="0" cy="336369"/>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flipH="1">
                <a:off x="6356211" y="-810919"/>
                <a:ext cx="322176" cy="0"/>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425918" y="-905756"/>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flipH="1">
                <a:off x="6576503" y="-909443"/>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rot="16200000">
                <a:off x="6425918" y="-745560"/>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rot="16200000" flipH="1">
                <a:off x="6576503" y="-749247"/>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20" name="Oval 142"/>
            <p:cNvSpPr/>
            <p:nvPr/>
          </p:nvSpPr>
          <p:spPr>
            <a:xfrm>
              <a:off x="994466" y="4093413"/>
              <a:ext cx="1001915" cy="500958"/>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836" kern="0">
                <a:solidFill>
                  <a:srgbClr val="FFFFFF"/>
                </a:solidFill>
                <a:latin typeface="Segoe UI"/>
              </a:endParaRPr>
            </a:p>
          </p:txBody>
        </p:sp>
      </p:grpSp>
      <p:grpSp>
        <p:nvGrpSpPr>
          <p:cNvPr id="128" name="Group 127"/>
          <p:cNvGrpSpPr/>
          <p:nvPr/>
        </p:nvGrpSpPr>
        <p:grpSpPr>
          <a:xfrm>
            <a:off x="3635408" y="5567626"/>
            <a:ext cx="898763" cy="947669"/>
            <a:chOff x="5140517" y="1715298"/>
            <a:chExt cx="1330192" cy="1402576"/>
          </a:xfrm>
          <a:noFill/>
        </p:grpSpPr>
        <p:grpSp>
          <p:nvGrpSpPr>
            <p:cNvPr id="129" name="Group 128"/>
            <p:cNvGrpSpPr/>
            <p:nvPr/>
          </p:nvGrpSpPr>
          <p:grpSpPr>
            <a:xfrm>
              <a:off x="5685590" y="1841413"/>
              <a:ext cx="240047" cy="250622"/>
              <a:chOff x="6356211" y="-986246"/>
              <a:chExt cx="322176" cy="336369"/>
            </a:xfrm>
            <a:grpFill/>
          </p:grpSpPr>
          <p:sp>
            <p:nvSpPr>
              <p:cNvPr id="132" name="Oval 131"/>
              <p:cNvSpPr/>
              <p:nvPr/>
            </p:nvSpPr>
            <p:spPr>
              <a:xfrm>
                <a:off x="6459255" y="-868963"/>
                <a:ext cx="116089" cy="116089"/>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836" kern="0">
                  <a:solidFill>
                    <a:srgbClr val="FFFFFF"/>
                  </a:solidFill>
                  <a:latin typeface="Segoe UI"/>
                </a:endParaRPr>
              </a:p>
            </p:txBody>
          </p:sp>
          <p:cxnSp>
            <p:nvCxnSpPr>
              <p:cNvPr id="133" name="Straight Connector 132"/>
              <p:cNvCxnSpPr/>
              <p:nvPr/>
            </p:nvCxnSpPr>
            <p:spPr>
              <a:xfrm>
                <a:off x="6517299" y="-986246"/>
                <a:ext cx="0" cy="336369"/>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H="1">
                <a:off x="6356211" y="-810919"/>
                <a:ext cx="322176" cy="0"/>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6425918" y="-905756"/>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H="1">
                <a:off x="6576503" y="-909443"/>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rot="16200000">
                <a:off x="6425918" y="-745560"/>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rot="16200000" flipH="1">
                <a:off x="6576503" y="-749247"/>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0" name="Oval 142"/>
            <p:cNvSpPr/>
            <p:nvPr/>
          </p:nvSpPr>
          <p:spPr>
            <a:xfrm>
              <a:off x="5304656" y="1715298"/>
              <a:ext cx="1001915" cy="500958"/>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836" kern="0">
                <a:solidFill>
                  <a:srgbClr val="FFFFFF"/>
                </a:solidFill>
                <a:latin typeface="Segoe UI"/>
              </a:endParaRPr>
            </a:p>
          </p:txBody>
        </p:sp>
        <p:sp>
          <p:nvSpPr>
            <p:cNvPr id="131" name="Rectangle 35"/>
            <p:cNvSpPr>
              <a:spLocks noChangeAspect="1"/>
            </p:cNvSpPr>
            <p:nvPr/>
          </p:nvSpPr>
          <p:spPr bwMode="auto">
            <a:xfrm>
              <a:off x="5140517" y="2291943"/>
              <a:ext cx="1330192" cy="825931"/>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090" tIns="47545" rIns="47545" bIns="95090" numCol="1" spcCol="0" rtlCol="0" fromWordArt="0" anchor="b" anchorCtr="0" forceAA="0" compatLnSpc="1">
              <a:prstTxWarp prst="textNoShape">
                <a:avLst/>
              </a:prstTxWarp>
              <a:noAutofit/>
            </a:bodyPr>
            <a:lstStyle/>
            <a:p>
              <a:pPr algn="ctr" defTabSz="950478" fontAlgn="base">
                <a:spcBef>
                  <a:spcPct val="0"/>
                </a:spcBef>
                <a:spcAft>
                  <a:spcPct val="0"/>
                </a:spcAft>
                <a:defRPr/>
              </a:pPr>
              <a:endParaRPr lang="en-US" sz="1871" kern="0" spc="-52" dirty="0" err="1">
                <a:solidFill>
                  <a:srgbClr val="FF8C00"/>
                </a:solidFill>
                <a:latin typeface="Segoe UI"/>
                <a:ea typeface="Segoe UI" pitchFamily="34" charset="0"/>
                <a:cs typeface="Segoe UI" pitchFamily="34" charset="0"/>
              </a:endParaRPr>
            </a:p>
          </p:txBody>
        </p:sp>
      </p:grpSp>
      <p:grpSp>
        <p:nvGrpSpPr>
          <p:cNvPr id="139" name="Group 138"/>
          <p:cNvGrpSpPr/>
          <p:nvPr/>
        </p:nvGrpSpPr>
        <p:grpSpPr>
          <a:xfrm>
            <a:off x="3060435" y="1742365"/>
            <a:ext cx="794822" cy="1302275"/>
            <a:chOff x="2973255" y="1759913"/>
            <a:chExt cx="1001915" cy="1641586"/>
          </a:xfrm>
          <a:noFill/>
        </p:grpSpPr>
        <p:grpSp>
          <p:nvGrpSpPr>
            <p:cNvPr id="140" name="Group 139"/>
            <p:cNvGrpSpPr/>
            <p:nvPr/>
          </p:nvGrpSpPr>
          <p:grpSpPr>
            <a:xfrm>
              <a:off x="3347956" y="1941625"/>
              <a:ext cx="252513" cy="262887"/>
              <a:chOff x="920925" y="6909519"/>
              <a:chExt cx="1201118" cy="1250461"/>
            </a:xfrm>
            <a:grpFill/>
          </p:grpSpPr>
          <p:cxnSp>
            <p:nvCxnSpPr>
              <p:cNvPr id="143" name="Straight Connector 142"/>
              <p:cNvCxnSpPr/>
              <p:nvPr/>
            </p:nvCxnSpPr>
            <p:spPr>
              <a:xfrm>
                <a:off x="1516391" y="6909519"/>
                <a:ext cx="0" cy="1250461"/>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948220" y="7320470"/>
                <a:ext cx="1173823" cy="459126"/>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V="1">
                <a:off x="948220" y="7287409"/>
                <a:ext cx="1124977" cy="49218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920925" y="7527763"/>
                <a:ext cx="1201118" cy="0"/>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1264425" y="6969425"/>
                <a:ext cx="487742" cy="1135848"/>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flipV="1">
                <a:off x="1280616" y="6949284"/>
                <a:ext cx="491275" cy="118750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flipH="1">
                <a:off x="1092779" y="7073642"/>
                <a:ext cx="895164" cy="923675"/>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flipH="1" flipV="1">
                <a:off x="1073055" y="7097088"/>
                <a:ext cx="887865" cy="912924"/>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51" name="Oval 150"/>
              <p:cNvSpPr/>
              <p:nvPr/>
            </p:nvSpPr>
            <p:spPr>
              <a:xfrm>
                <a:off x="1044839" y="7054229"/>
                <a:ext cx="943104" cy="943098"/>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836" kern="0">
                  <a:solidFill>
                    <a:srgbClr val="FFFFFF"/>
                  </a:solidFill>
                  <a:latin typeface="Segoe UI"/>
                </a:endParaRPr>
              </a:p>
            </p:txBody>
          </p:sp>
          <p:sp>
            <p:nvSpPr>
              <p:cNvPr id="152" name="Oval 151"/>
              <p:cNvSpPr/>
              <p:nvPr/>
            </p:nvSpPr>
            <p:spPr>
              <a:xfrm>
                <a:off x="1333431" y="7342819"/>
                <a:ext cx="365920" cy="365919"/>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836" kern="0">
                  <a:solidFill>
                    <a:srgbClr val="FFFFFF"/>
                  </a:solidFill>
                  <a:latin typeface="Segoe UI"/>
                </a:endParaRPr>
              </a:p>
            </p:txBody>
          </p:sp>
        </p:grpSp>
        <p:sp>
          <p:nvSpPr>
            <p:cNvPr id="141" name="Oval 1233"/>
            <p:cNvSpPr>
              <a:spLocks noChangeAspect="1"/>
            </p:cNvSpPr>
            <p:nvPr/>
          </p:nvSpPr>
          <p:spPr bwMode="auto">
            <a:xfrm>
              <a:off x="3088516" y="2375635"/>
              <a:ext cx="771393" cy="1025864"/>
            </a:xfrm>
            <a:custGeom>
              <a:avLst/>
              <a:gdLst/>
              <a:ahLst/>
              <a:cxnLst/>
              <a:rect l="l" t="t" r="r" b="b"/>
              <a:pathLst>
                <a:path w="2680859" h="3566160">
                  <a:moveTo>
                    <a:pt x="1957649" y="860371"/>
                  </a:moveTo>
                  <a:lnTo>
                    <a:pt x="1957649" y="1895309"/>
                  </a:lnTo>
                  <a:lnTo>
                    <a:pt x="2581106" y="1895309"/>
                  </a:lnTo>
                  <a:lnTo>
                    <a:pt x="2581106" y="860371"/>
                  </a:lnTo>
                  <a:close/>
                  <a:moveTo>
                    <a:pt x="99753" y="860371"/>
                  </a:moveTo>
                  <a:lnTo>
                    <a:pt x="99753" y="1895309"/>
                  </a:lnTo>
                  <a:lnTo>
                    <a:pt x="685798" y="1895309"/>
                  </a:lnTo>
                  <a:lnTo>
                    <a:pt x="685798" y="860371"/>
                  </a:lnTo>
                  <a:close/>
                  <a:moveTo>
                    <a:pt x="810490" y="760618"/>
                  </a:moveTo>
                  <a:lnTo>
                    <a:pt x="810490" y="2057403"/>
                  </a:lnTo>
                  <a:lnTo>
                    <a:pt x="1832959" y="2057403"/>
                  </a:lnTo>
                  <a:lnTo>
                    <a:pt x="1832959" y="760618"/>
                  </a:lnTo>
                  <a:close/>
                  <a:moveTo>
                    <a:pt x="453879" y="381745"/>
                  </a:moveTo>
                  <a:lnTo>
                    <a:pt x="481311" y="381745"/>
                  </a:lnTo>
                  <a:lnTo>
                    <a:pt x="481311" y="519818"/>
                  </a:lnTo>
                  <a:lnTo>
                    <a:pt x="453879" y="519818"/>
                  </a:lnTo>
                  <a:close/>
                  <a:moveTo>
                    <a:pt x="2115864" y="366658"/>
                  </a:moveTo>
                  <a:lnTo>
                    <a:pt x="2148572" y="366658"/>
                  </a:lnTo>
                  <a:lnTo>
                    <a:pt x="2148572" y="512147"/>
                  </a:lnTo>
                  <a:lnTo>
                    <a:pt x="2115864" y="512147"/>
                  </a:lnTo>
                  <a:close/>
                  <a:moveTo>
                    <a:pt x="467594" y="328088"/>
                  </a:moveTo>
                  <a:cubicBezTo>
                    <a:pt x="475169" y="328088"/>
                    <a:pt x="481310" y="334229"/>
                    <a:pt x="481310" y="341804"/>
                  </a:cubicBezTo>
                  <a:cubicBezTo>
                    <a:pt x="481310" y="349379"/>
                    <a:pt x="475169" y="355520"/>
                    <a:pt x="467594" y="355520"/>
                  </a:cubicBezTo>
                  <a:cubicBezTo>
                    <a:pt x="460019" y="355520"/>
                    <a:pt x="453878" y="349379"/>
                    <a:pt x="453878" y="341804"/>
                  </a:cubicBezTo>
                  <a:cubicBezTo>
                    <a:pt x="453878" y="334229"/>
                    <a:pt x="460019" y="328088"/>
                    <a:pt x="467594" y="328088"/>
                  </a:cubicBezTo>
                  <a:close/>
                  <a:moveTo>
                    <a:pt x="2132217" y="302683"/>
                  </a:moveTo>
                  <a:cubicBezTo>
                    <a:pt x="2141249" y="302683"/>
                    <a:pt x="2148571" y="310005"/>
                    <a:pt x="2148571" y="319037"/>
                  </a:cubicBezTo>
                  <a:cubicBezTo>
                    <a:pt x="2148571" y="328068"/>
                    <a:pt x="2141249" y="335390"/>
                    <a:pt x="2132217" y="335390"/>
                  </a:cubicBezTo>
                  <a:cubicBezTo>
                    <a:pt x="2123185" y="335390"/>
                    <a:pt x="2115863" y="328068"/>
                    <a:pt x="2115863" y="319037"/>
                  </a:cubicBezTo>
                  <a:cubicBezTo>
                    <a:pt x="2115863" y="310005"/>
                    <a:pt x="2123185" y="302683"/>
                    <a:pt x="2132217" y="302683"/>
                  </a:cubicBezTo>
                  <a:close/>
                  <a:moveTo>
                    <a:pt x="2007526" y="267982"/>
                  </a:moveTo>
                  <a:lnTo>
                    <a:pt x="2007526" y="592178"/>
                  </a:lnTo>
                  <a:lnTo>
                    <a:pt x="2256909" y="592178"/>
                  </a:lnTo>
                  <a:lnTo>
                    <a:pt x="2256909" y="267982"/>
                  </a:lnTo>
                  <a:close/>
                  <a:moveTo>
                    <a:pt x="349136" y="261855"/>
                  </a:moveTo>
                  <a:lnTo>
                    <a:pt x="349136" y="586051"/>
                  </a:lnTo>
                  <a:lnTo>
                    <a:pt x="586053" y="586051"/>
                  </a:lnTo>
                  <a:lnTo>
                    <a:pt x="586053" y="261855"/>
                  </a:lnTo>
                  <a:close/>
                  <a:moveTo>
                    <a:pt x="1253132" y="178857"/>
                  </a:moveTo>
                  <a:lnTo>
                    <a:pt x="1303044" y="178857"/>
                  </a:lnTo>
                  <a:lnTo>
                    <a:pt x="1303044" y="349143"/>
                  </a:lnTo>
                  <a:lnTo>
                    <a:pt x="1253132" y="349143"/>
                  </a:lnTo>
                  <a:close/>
                  <a:moveTo>
                    <a:pt x="1278086" y="81229"/>
                  </a:moveTo>
                  <a:cubicBezTo>
                    <a:pt x="1291869" y="81229"/>
                    <a:pt x="1303042" y="92403"/>
                    <a:pt x="1303042" y="106185"/>
                  </a:cubicBezTo>
                  <a:cubicBezTo>
                    <a:pt x="1303042" y="119968"/>
                    <a:pt x="1291869" y="131141"/>
                    <a:pt x="1278086" y="131141"/>
                  </a:cubicBezTo>
                  <a:cubicBezTo>
                    <a:pt x="1264304" y="131141"/>
                    <a:pt x="1253130" y="119968"/>
                    <a:pt x="1253130" y="106185"/>
                  </a:cubicBezTo>
                  <a:cubicBezTo>
                    <a:pt x="1253130" y="92403"/>
                    <a:pt x="1264304" y="81229"/>
                    <a:pt x="1278086" y="81229"/>
                  </a:cubicBezTo>
                  <a:close/>
                  <a:moveTo>
                    <a:pt x="1134687" y="37411"/>
                  </a:moveTo>
                  <a:lnTo>
                    <a:pt x="1134687" y="436422"/>
                  </a:lnTo>
                  <a:lnTo>
                    <a:pt x="1421481" y="436422"/>
                  </a:lnTo>
                  <a:lnTo>
                    <a:pt x="1421481" y="37411"/>
                  </a:lnTo>
                  <a:close/>
                  <a:moveTo>
                    <a:pt x="1097283" y="0"/>
                  </a:moveTo>
                  <a:lnTo>
                    <a:pt x="1458892" y="0"/>
                  </a:lnTo>
                  <a:lnTo>
                    <a:pt x="1458892" y="473825"/>
                  </a:lnTo>
                  <a:lnTo>
                    <a:pt x="1346666" y="473825"/>
                  </a:lnTo>
                  <a:lnTo>
                    <a:pt x="1346666" y="610989"/>
                  </a:lnTo>
                  <a:lnTo>
                    <a:pt x="1957649" y="610989"/>
                  </a:lnTo>
                  <a:lnTo>
                    <a:pt x="1957649" y="723207"/>
                  </a:lnTo>
                  <a:lnTo>
                    <a:pt x="2057403" y="723207"/>
                  </a:lnTo>
                  <a:lnTo>
                    <a:pt x="2057403" y="617117"/>
                  </a:lnTo>
                  <a:lnTo>
                    <a:pt x="1982588" y="617117"/>
                  </a:lnTo>
                  <a:lnTo>
                    <a:pt x="1982588" y="243044"/>
                  </a:lnTo>
                  <a:lnTo>
                    <a:pt x="2281847" y="243044"/>
                  </a:lnTo>
                  <a:lnTo>
                    <a:pt x="2281847" y="617117"/>
                  </a:lnTo>
                  <a:lnTo>
                    <a:pt x="2207033" y="617117"/>
                  </a:lnTo>
                  <a:lnTo>
                    <a:pt x="2207033" y="723207"/>
                  </a:lnTo>
                  <a:lnTo>
                    <a:pt x="2680859" y="723207"/>
                  </a:lnTo>
                  <a:lnTo>
                    <a:pt x="2680859" y="2032465"/>
                  </a:lnTo>
                  <a:lnTo>
                    <a:pt x="2244444" y="2032465"/>
                  </a:lnTo>
                  <a:lnTo>
                    <a:pt x="2244444" y="3054931"/>
                  </a:lnTo>
                  <a:lnTo>
                    <a:pt x="2231975" y="3086104"/>
                  </a:lnTo>
                  <a:lnTo>
                    <a:pt x="2219506" y="3111043"/>
                  </a:lnTo>
                  <a:lnTo>
                    <a:pt x="2200802" y="3117277"/>
                  </a:lnTo>
                  <a:lnTo>
                    <a:pt x="2169629" y="3129746"/>
                  </a:lnTo>
                  <a:lnTo>
                    <a:pt x="2144691" y="3117277"/>
                  </a:lnTo>
                  <a:lnTo>
                    <a:pt x="2119752" y="3111043"/>
                  </a:lnTo>
                  <a:lnTo>
                    <a:pt x="2101049" y="3086104"/>
                  </a:lnTo>
                  <a:lnTo>
                    <a:pt x="2094814" y="3054931"/>
                  </a:lnTo>
                  <a:lnTo>
                    <a:pt x="2094814" y="2032465"/>
                  </a:lnTo>
                  <a:lnTo>
                    <a:pt x="1957649" y="2032465"/>
                  </a:lnTo>
                  <a:lnTo>
                    <a:pt x="1957649" y="2219506"/>
                  </a:lnTo>
                  <a:lnTo>
                    <a:pt x="1396542" y="2219506"/>
                  </a:lnTo>
                  <a:lnTo>
                    <a:pt x="1396542" y="3491346"/>
                  </a:lnTo>
                  <a:lnTo>
                    <a:pt x="1390578" y="3516284"/>
                  </a:lnTo>
                  <a:lnTo>
                    <a:pt x="1372688" y="3541222"/>
                  </a:lnTo>
                  <a:lnTo>
                    <a:pt x="1354797" y="3559926"/>
                  </a:lnTo>
                  <a:lnTo>
                    <a:pt x="1324978" y="3566160"/>
                  </a:lnTo>
                  <a:lnTo>
                    <a:pt x="1301124" y="3559926"/>
                  </a:lnTo>
                  <a:lnTo>
                    <a:pt x="1277269" y="3541222"/>
                  </a:lnTo>
                  <a:lnTo>
                    <a:pt x="1259378" y="3516284"/>
                  </a:lnTo>
                  <a:lnTo>
                    <a:pt x="1259378" y="3491346"/>
                  </a:lnTo>
                  <a:lnTo>
                    <a:pt x="1259378" y="2219506"/>
                  </a:lnTo>
                  <a:lnTo>
                    <a:pt x="685798" y="2219506"/>
                  </a:lnTo>
                  <a:lnTo>
                    <a:pt x="685798" y="2032465"/>
                  </a:lnTo>
                  <a:lnTo>
                    <a:pt x="573580" y="2032465"/>
                  </a:lnTo>
                  <a:lnTo>
                    <a:pt x="573580" y="3054931"/>
                  </a:lnTo>
                  <a:lnTo>
                    <a:pt x="567345" y="3086104"/>
                  </a:lnTo>
                  <a:lnTo>
                    <a:pt x="561111" y="3111043"/>
                  </a:lnTo>
                  <a:lnTo>
                    <a:pt x="536172" y="3117277"/>
                  </a:lnTo>
                  <a:lnTo>
                    <a:pt x="498763" y="3129746"/>
                  </a:lnTo>
                  <a:lnTo>
                    <a:pt x="473824" y="3117277"/>
                  </a:lnTo>
                  <a:lnTo>
                    <a:pt x="448886" y="3111043"/>
                  </a:lnTo>
                  <a:lnTo>
                    <a:pt x="436416" y="3086104"/>
                  </a:lnTo>
                  <a:lnTo>
                    <a:pt x="436416" y="3054931"/>
                  </a:lnTo>
                  <a:lnTo>
                    <a:pt x="436416" y="2032465"/>
                  </a:lnTo>
                  <a:lnTo>
                    <a:pt x="0" y="2032465"/>
                  </a:lnTo>
                  <a:lnTo>
                    <a:pt x="0" y="723207"/>
                  </a:lnTo>
                  <a:lnTo>
                    <a:pt x="399012" y="723207"/>
                  </a:lnTo>
                  <a:lnTo>
                    <a:pt x="399012" y="610990"/>
                  </a:lnTo>
                  <a:lnTo>
                    <a:pt x="324197" y="610990"/>
                  </a:lnTo>
                  <a:lnTo>
                    <a:pt x="324197" y="236917"/>
                  </a:lnTo>
                  <a:lnTo>
                    <a:pt x="610991" y="236917"/>
                  </a:lnTo>
                  <a:lnTo>
                    <a:pt x="610991" y="610990"/>
                  </a:lnTo>
                  <a:lnTo>
                    <a:pt x="536176" y="610990"/>
                  </a:lnTo>
                  <a:lnTo>
                    <a:pt x="536176" y="723207"/>
                  </a:lnTo>
                  <a:lnTo>
                    <a:pt x="685798" y="723207"/>
                  </a:lnTo>
                  <a:lnTo>
                    <a:pt x="685798" y="610989"/>
                  </a:lnTo>
                  <a:lnTo>
                    <a:pt x="1209502" y="610989"/>
                  </a:lnTo>
                  <a:lnTo>
                    <a:pt x="1209502" y="473825"/>
                  </a:lnTo>
                  <a:lnTo>
                    <a:pt x="1097283" y="473825"/>
                  </a:lnTo>
                  <a:close/>
                </a:path>
              </a:pathLst>
            </a:cu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090" tIns="47545" rIns="47545" bIns="95090" numCol="1" spcCol="0" rtlCol="0" fromWordArt="0" anchor="b" anchorCtr="0" forceAA="0" compatLnSpc="1">
              <a:prstTxWarp prst="textNoShape">
                <a:avLst/>
              </a:prstTxWarp>
              <a:noAutofit/>
            </a:bodyPr>
            <a:lstStyle/>
            <a:p>
              <a:pPr algn="ctr" defTabSz="950478" fontAlgn="base">
                <a:spcBef>
                  <a:spcPct val="0"/>
                </a:spcBef>
                <a:spcAft>
                  <a:spcPct val="0"/>
                </a:spcAft>
                <a:defRPr/>
              </a:pPr>
              <a:endParaRPr lang="en-US" sz="1871" kern="0" spc="-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2" name="Oval 142"/>
            <p:cNvSpPr/>
            <p:nvPr/>
          </p:nvSpPr>
          <p:spPr>
            <a:xfrm>
              <a:off x="2973255" y="1759913"/>
              <a:ext cx="1001915" cy="500958"/>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836" kern="0">
                <a:solidFill>
                  <a:srgbClr val="FFFFFF"/>
                </a:solidFill>
                <a:latin typeface="Segoe UI"/>
              </a:endParaRPr>
            </a:p>
          </p:txBody>
        </p:sp>
      </p:grpSp>
      <p:grpSp>
        <p:nvGrpSpPr>
          <p:cNvPr id="153" name="Group 152"/>
          <p:cNvGrpSpPr/>
          <p:nvPr/>
        </p:nvGrpSpPr>
        <p:grpSpPr>
          <a:xfrm>
            <a:off x="1016855" y="3619267"/>
            <a:ext cx="687004" cy="885209"/>
            <a:chOff x="3386761" y="931380"/>
            <a:chExt cx="903867" cy="1164637"/>
          </a:xfrm>
          <a:noFill/>
        </p:grpSpPr>
        <p:grpSp>
          <p:nvGrpSpPr>
            <p:cNvPr id="154" name="Group 153"/>
            <p:cNvGrpSpPr/>
            <p:nvPr/>
          </p:nvGrpSpPr>
          <p:grpSpPr>
            <a:xfrm>
              <a:off x="3427203" y="1415129"/>
              <a:ext cx="822983" cy="680888"/>
              <a:chOff x="3427203" y="1415129"/>
              <a:chExt cx="822983" cy="680888"/>
            </a:xfrm>
            <a:grpFill/>
          </p:grpSpPr>
          <p:sp>
            <p:nvSpPr>
              <p:cNvPr id="164" name="Freeform 5"/>
              <p:cNvSpPr>
                <a:spLocks noEditPoints="1"/>
              </p:cNvSpPr>
              <p:nvPr/>
            </p:nvSpPr>
            <p:spPr bwMode="auto">
              <a:xfrm>
                <a:off x="3856088" y="1450494"/>
                <a:ext cx="147736" cy="153817"/>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w="9525">
                <a:solidFill>
                  <a:schemeClr val="bg1"/>
                </a:solid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kern="0" dirty="0">
                  <a:solidFill>
                    <a:prstClr val="black"/>
                  </a:solidFill>
                  <a:latin typeface="Segoe UI"/>
                </a:endParaRPr>
              </a:p>
            </p:txBody>
          </p:sp>
          <p:sp>
            <p:nvSpPr>
              <p:cNvPr id="165" name="Oval 6"/>
              <p:cNvSpPr>
                <a:spLocks noChangeArrowheads="1"/>
              </p:cNvSpPr>
              <p:nvPr/>
            </p:nvSpPr>
            <p:spPr bwMode="auto">
              <a:xfrm>
                <a:off x="3907652" y="1504181"/>
                <a:ext cx="43380" cy="45592"/>
              </a:xfrm>
              <a:prstGeom prst="ellipse">
                <a:avLst/>
              </a:prstGeom>
              <a:grpFill/>
              <a:ln w="9525">
                <a:solidFill>
                  <a:schemeClr val="bg1"/>
                </a:solid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kern="0" dirty="0">
                  <a:solidFill>
                    <a:prstClr val="black"/>
                  </a:solidFill>
                  <a:latin typeface="Segoe UI"/>
                </a:endParaRPr>
              </a:p>
            </p:txBody>
          </p:sp>
          <p:sp>
            <p:nvSpPr>
              <p:cNvPr id="166" name="Freeform 7"/>
              <p:cNvSpPr>
                <a:spLocks noEditPoints="1"/>
              </p:cNvSpPr>
              <p:nvPr/>
            </p:nvSpPr>
            <p:spPr bwMode="auto">
              <a:xfrm>
                <a:off x="3427203" y="1415129"/>
                <a:ext cx="201756" cy="210488"/>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w="9525">
                <a:solidFill>
                  <a:schemeClr val="bg1"/>
                </a:solid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kern="0" dirty="0">
                  <a:solidFill>
                    <a:prstClr val="black"/>
                  </a:solidFill>
                  <a:latin typeface="Segoe UI"/>
                </a:endParaRPr>
              </a:p>
            </p:txBody>
          </p:sp>
          <p:sp>
            <p:nvSpPr>
              <p:cNvPr id="167" name="Oval 8"/>
              <p:cNvSpPr>
                <a:spLocks noChangeArrowheads="1"/>
              </p:cNvSpPr>
              <p:nvPr/>
            </p:nvSpPr>
            <p:spPr bwMode="auto">
              <a:xfrm>
                <a:off x="3498002" y="1489269"/>
                <a:ext cx="59339" cy="62635"/>
              </a:xfrm>
              <a:prstGeom prst="ellipse">
                <a:avLst/>
              </a:prstGeom>
              <a:grpFill/>
              <a:ln w="9525">
                <a:solidFill>
                  <a:schemeClr val="bg1"/>
                </a:solid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kern="0" dirty="0">
                  <a:solidFill>
                    <a:prstClr val="black"/>
                  </a:solidFill>
                  <a:latin typeface="Segoe UI"/>
                </a:endParaRPr>
              </a:p>
            </p:txBody>
          </p:sp>
          <p:sp>
            <p:nvSpPr>
              <p:cNvPr id="168" name="Freeform 9"/>
              <p:cNvSpPr>
                <a:spLocks/>
              </p:cNvSpPr>
              <p:nvPr/>
            </p:nvSpPr>
            <p:spPr bwMode="auto">
              <a:xfrm>
                <a:off x="4108588" y="1808834"/>
                <a:ext cx="118270" cy="196852"/>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w="9525">
                <a:solidFill>
                  <a:schemeClr val="bg1"/>
                </a:solid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kern="0" dirty="0">
                  <a:solidFill>
                    <a:prstClr val="black"/>
                  </a:solidFill>
                  <a:latin typeface="Segoe UI"/>
                </a:endParaRPr>
              </a:p>
            </p:txBody>
          </p:sp>
          <p:sp>
            <p:nvSpPr>
              <p:cNvPr id="169" name="Freeform 10"/>
              <p:cNvSpPr>
                <a:spLocks/>
              </p:cNvSpPr>
              <p:nvPr/>
            </p:nvSpPr>
            <p:spPr bwMode="auto">
              <a:xfrm>
                <a:off x="3478767" y="1915782"/>
                <a:ext cx="771419" cy="180235"/>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w="9525">
                <a:solidFill>
                  <a:schemeClr val="bg1"/>
                </a:solid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kern="0" dirty="0">
                  <a:solidFill>
                    <a:prstClr val="black"/>
                  </a:solidFill>
                  <a:latin typeface="Segoe UI"/>
                </a:endParaRPr>
              </a:p>
            </p:txBody>
          </p:sp>
          <p:sp>
            <p:nvSpPr>
              <p:cNvPr id="170" name="Freeform 11"/>
              <p:cNvSpPr>
                <a:spLocks/>
              </p:cNvSpPr>
              <p:nvPr/>
            </p:nvSpPr>
            <p:spPr bwMode="auto">
              <a:xfrm>
                <a:off x="3513553" y="1613685"/>
                <a:ext cx="260277" cy="269714"/>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w="9525">
                <a:solidFill>
                  <a:schemeClr val="bg1"/>
                </a:solid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kern="0" dirty="0">
                  <a:solidFill>
                    <a:prstClr val="black"/>
                  </a:solidFill>
                  <a:latin typeface="Segoe UI"/>
                </a:endParaRPr>
              </a:p>
            </p:txBody>
          </p:sp>
          <p:sp>
            <p:nvSpPr>
              <p:cNvPr id="171" name="Freeform 12"/>
              <p:cNvSpPr>
                <a:spLocks/>
              </p:cNvSpPr>
              <p:nvPr/>
            </p:nvSpPr>
            <p:spPr bwMode="auto">
              <a:xfrm>
                <a:off x="3652285" y="1462851"/>
                <a:ext cx="185386" cy="132514"/>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w="9525">
                <a:solidFill>
                  <a:schemeClr val="bg1"/>
                </a:solid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kern="0" dirty="0">
                  <a:solidFill>
                    <a:prstClr val="black"/>
                  </a:solidFill>
                  <a:latin typeface="Segoe UI"/>
                </a:endParaRPr>
              </a:p>
            </p:txBody>
          </p:sp>
          <p:sp>
            <p:nvSpPr>
              <p:cNvPr id="172" name="Freeform 13"/>
              <p:cNvSpPr>
                <a:spLocks/>
              </p:cNvSpPr>
              <p:nvPr/>
            </p:nvSpPr>
            <p:spPr bwMode="auto">
              <a:xfrm>
                <a:off x="3939572" y="1583007"/>
                <a:ext cx="226309" cy="256931"/>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w="9525">
                <a:solidFill>
                  <a:schemeClr val="bg1"/>
                </a:solid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kern="0" dirty="0">
                  <a:solidFill>
                    <a:prstClr val="black"/>
                  </a:solidFill>
                  <a:latin typeface="Segoe UI"/>
                </a:endParaRPr>
              </a:p>
            </p:txBody>
          </p:sp>
        </p:grpSp>
        <p:sp>
          <p:nvSpPr>
            <p:cNvPr id="155" name="Oval 142"/>
            <p:cNvSpPr/>
            <p:nvPr/>
          </p:nvSpPr>
          <p:spPr>
            <a:xfrm>
              <a:off x="3386761" y="931380"/>
              <a:ext cx="903867" cy="451934"/>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836" kern="0">
                <a:solidFill>
                  <a:srgbClr val="FFFFFF"/>
                </a:solidFill>
                <a:latin typeface="Segoe UI"/>
              </a:endParaRPr>
            </a:p>
          </p:txBody>
        </p:sp>
        <p:grpSp>
          <p:nvGrpSpPr>
            <p:cNvPr id="156" name="Group 155"/>
            <p:cNvGrpSpPr/>
            <p:nvPr/>
          </p:nvGrpSpPr>
          <p:grpSpPr>
            <a:xfrm>
              <a:off x="3718671" y="1100186"/>
              <a:ext cx="240047" cy="250622"/>
              <a:chOff x="6356211" y="-986246"/>
              <a:chExt cx="322176" cy="336369"/>
            </a:xfrm>
            <a:grpFill/>
          </p:grpSpPr>
          <p:sp>
            <p:nvSpPr>
              <p:cNvPr id="157" name="Oval 156"/>
              <p:cNvSpPr/>
              <p:nvPr/>
            </p:nvSpPr>
            <p:spPr>
              <a:xfrm>
                <a:off x="6459255" y="-868963"/>
                <a:ext cx="116089" cy="116089"/>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836" kern="0">
                  <a:solidFill>
                    <a:srgbClr val="FFFFFF"/>
                  </a:solidFill>
                  <a:latin typeface="Segoe UI"/>
                </a:endParaRPr>
              </a:p>
            </p:txBody>
          </p:sp>
          <p:cxnSp>
            <p:nvCxnSpPr>
              <p:cNvPr id="158" name="Straight Connector 157"/>
              <p:cNvCxnSpPr/>
              <p:nvPr/>
            </p:nvCxnSpPr>
            <p:spPr>
              <a:xfrm>
                <a:off x="6517299" y="-986246"/>
                <a:ext cx="0" cy="336369"/>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flipH="1">
                <a:off x="6356211" y="-810919"/>
                <a:ext cx="322176" cy="0"/>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6425918" y="-905756"/>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flipH="1">
                <a:off x="6576503" y="-909443"/>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rot="16200000">
                <a:off x="6425918" y="-745560"/>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rot="16200000" flipH="1">
                <a:off x="6576503" y="-749247"/>
                <a:ext cx="33337" cy="33337"/>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73" name="Group 172"/>
          <p:cNvGrpSpPr/>
          <p:nvPr/>
        </p:nvGrpSpPr>
        <p:grpSpPr>
          <a:xfrm>
            <a:off x="1801400" y="2223855"/>
            <a:ext cx="714252" cy="858911"/>
            <a:chOff x="1752860" y="1590681"/>
            <a:chExt cx="900351" cy="1082703"/>
          </a:xfrm>
          <a:noFill/>
        </p:grpSpPr>
        <p:grpSp>
          <p:nvGrpSpPr>
            <p:cNvPr id="174" name="Group 173"/>
            <p:cNvGrpSpPr/>
            <p:nvPr/>
          </p:nvGrpSpPr>
          <p:grpSpPr>
            <a:xfrm>
              <a:off x="2073874" y="1687245"/>
              <a:ext cx="258323" cy="268935"/>
              <a:chOff x="-11741312" y="2985477"/>
              <a:chExt cx="1201118" cy="1250461"/>
            </a:xfrm>
            <a:grpFill/>
          </p:grpSpPr>
          <p:grpSp>
            <p:nvGrpSpPr>
              <p:cNvPr id="177" name="Group 176"/>
              <p:cNvGrpSpPr/>
              <p:nvPr/>
            </p:nvGrpSpPr>
            <p:grpSpPr>
              <a:xfrm>
                <a:off x="-11741312" y="2985477"/>
                <a:ext cx="1201118" cy="1250461"/>
                <a:chOff x="-11741312" y="2985477"/>
                <a:chExt cx="1201118" cy="1250461"/>
              </a:xfrm>
              <a:grpFill/>
            </p:grpSpPr>
            <p:cxnSp>
              <p:nvCxnSpPr>
                <p:cNvPr id="179" name="Straight Connector 178"/>
                <p:cNvCxnSpPr/>
                <p:nvPr/>
              </p:nvCxnSpPr>
              <p:spPr>
                <a:xfrm>
                  <a:off x="-11145846" y="2985477"/>
                  <a:ext cx="0" cy="1250461"/>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1714017" y="3396428"/>
                  <a:ext cx="1173823" cy="459126"/>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flipV="1">
                  <a:off x="-11714017" y="3363367"/>
                  <a:ext cx="1124977" cy="492187"/>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1741312" y="3603721"/>
                  <a:ext cx="1201118" cy="0"/>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1397812" y="3045383"/>
                  <a:ext cx="487742" cy="1135848"/>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flipV="1">
                  <a:off x="-11381621" y="3025242"/>
                  <a:ext cx="491275" cy="1187507"/>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flipH="1">
                  <a:off x="-11569458" y="3149600"/>
                  <a:ext cx="895164" cy="923675"/>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flipH="1" flipV="1">
                  <a:off x="-11589182" y="3173046"/>
                  <a:ext cx="887865" cy="912924"/>
                </a:xfrm>
                <a:prstGeom prst="line">
                  <a:avLst/>
                </a:prstGeom>
                <a:grpFill/>
                <a:ln w="3175"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8" name="Oval 177"/>
              <p:cNvSpPr/>
              <p:nvPr/>
            </p:nvSpPr>
            <p:spPr>
              <a:xfrm>
                <a:off x="-11328806" y="3418776"/>
                <a:ext cx="365920" cy="365919"/>
              </a:xfrm>
              <a:prstGeom prst="ellipse">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836" kern="0">
                  <a:solidFill>
                    <a:srgbClr val="FFFFFF"/>
                  </a:solidFill>
                  <a:latin typeface="Segoe UI"/>
                </a:endParaRPr>
              </a:p>
            </p:txBody>
          </p:sp>
        </p:grpSp>
        <p:sp>
          <p:nvSpPr>
            <p:cNvPr id="175" name="Oval 142"/>
            <p:cNvSpPr/>
            <p:nvPr/>
          </p:nvSpPr>
          <p:spPr>
            <a:xfrm>
              <a:off x="1752860" y="1590681"/>
              <a:ext cx="900351" cy="450176"/>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836" kern="0">
                <a:solidFill>
                  <a:srgbClr val="FFFFFF"/>
                </a:solidFill>
                <a:latin typeface="Segoe UI"/>
              </a:endParaRPr>
            </a:p>
          </p:txBody>
        </p:sp>
        <p:sp>
          <p:nvSpPr>
            <p:cNvPr id="176" name="Rectangle 25"/>
            <p:cNvSpPr>
              <a:spLocks noChangeAspect="1"/>
            </p:cNvSpPr>
            <p:nvPr/>
          </p:nvSpPr>
          <p:spPr bwMode="auto">
            <a:xfrm>
              <a:off x="1852542" y="2132286"/>
              <a:ext cx="781291" cy="541098"/>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090" tIns="190180" rIns="47545" bIns="95090" numCol="1" spcCol="0" rtlCol="0" fromWordArt="0" anchor="b" anchorCtr="0" forceAA="0" compatLnSpc="1">
              <a:prstTxWarp prst="textNoShape">
                <a:avLst/>
              </a:prstTxWarp>
              <a:noAutofit/>
            </a:bodyPr>
            <a:lstStyle/>
            <a:p>
              <a:pPr algn="ctr" defTabSz="950478" fontAlgn="base">
                <a:spcBef>
                  <a:spcPct val="0"/>
                </a:spcBef>
                <a:spcAft>
                  <a:spcPct val="0"/>
                </a:spcAft>
                <a:defRPr/>
              </a:pPr>
              <a:endParaRPr lang="en-US" sz="1560" kern="0" spc="-52" dirty="0" err="1">
                <a:solidFill>
                  <a:srgbClr val="FF8C00"/>
                </a:solidFill>
                <a:latin typeface="Segoe UI"/>
                <a:ea typeface="Segoe UI" pitchFamily="34" charset="0"/>
                <a:cs typeface="Segoe UI" pitchFamily="34" charset="0"/>
              </a:endParaRPr>
            </a:p>
          </p:txBody>
        </p:sp>
      </p:grpSp>
      <p:sp>
        <p:nvSpPr>
          <p:cNvPr id="188" name="TextBox 187"/>
          <p:cNvSpPr txBox="1"/>
          <p:nvPr/>
        </p:nvSpPr>
        <p:spPr>
          <a:xfrm>
            <a:off x="6466602" y="2752266"/>
            <a:ext cx="3483163" cy="2776648"/>
          </a:xfrm>
          <a:prstGeom prst="rect">
            <a:avLst/>
          </a:prstGeom>
          <a:noFill/>
        </p:spPr>
        <p:txBody>
          <a:bodyPr wrap="square" lIns="0" tIns="0" rIns="0" bIns="0" rtlCol="0" anchor="ctr" anchorCtr="0">
            <a:spAutoFit/>
          </a:bodyPr>
          <a:lstStyle/>
          <a:p>
            <a:pPr defTabSz="913841">
              <a:lnSpc>
                <a:spcPct val="90000"/>
              </a:lnSpc>
              <a:spcBef>
                <a:spcPts val="2255"/>
              </a:spcBef>
              <a:defRPr/>
            </a:pPr>
            <a:r>
              <a:rPr lang="en-US" sz="1567" kern="0" spc="-29" dirty="0">
                <a:gradFill>
                  <a:gsLst>
                    <a:gs pos="0">
                      <a:srgbClr val="FFFFFF"/>
                    </a:gs>
                    <a:gs pos="100000">
                      <a:srgbClr val="FFFFFF"/>
                    </a:gs>
                  </a:gsLst>
                  <a:lin ang="5400000" scaled="1"/>
                </a:gradFill>
                <a:latin typeface="Segoe UI"/>
                <a:cs typeface="Segoe UI" panose="020B0502040204020203" pitchFamily="34" charset="0"/>
              </a:rPr>
              <a:t>Device Connectivity &amp; Management</a:t>
            </a:r>
          </a:p>
          <a:p>
            <a:pPr defTabSz="913841">
              <a:lnSpc>
                <a:spcPct val="90000"/>
              </a:lnSpc>
              <a:spcBef>
                <a:spcPts val="2255"/>
              </a:spcBef>
              <a:defRPr/>
            </a:pPr>
            <a:r>
              <a:rPr lang="en-US" sz="1567" kern="0" spc="-29" dirty="0">
                <a:gradFill>
                  <a:gsLst>
                    <a:gs pos="0">
                      <a:srgbClr val="FFFFFF"/>
                    </a:gs>
                    <a:gs pos="100000">
                      <a:srgbClr val="FFFFFF"/>
                    </a:gs>
                  </a:gsLst>
                  <a:lin ang="5400000" scaled="1"/>
                </a:gradFill>
                <a:latin typeface="Segoe UI"/>
                <a:cs typeface="Segoe UI" panose="020B0502040204020203" pitchFamily="34" charset="0"/>
              </a:rPr>
              <a:t>Data Ingestion and Command &amp; Control</a:t>
            </a:r>
          </a:p>
          <a:p>
            <a:pPr defTabSz="913841">
              <a:lnSpc>
                <a:spcPct val="90000"/>
              </a:lnSpc>
              <a:spcBef>
                <a:spcPts val="2255"/>
              </a:spcBef>
              <a:defRPr/>
            </a:pPr>
            <a:r>
              <a:rPr lang="en-US" sz="1567" kern="0" spc="-29" dirty="0">
                <a:gradFill>
                  <a:gsLst>
                    <a:gs pos="0">
                      <a:srgbClr val="FFFFFF"/>
                    </a:gs>
                    <a:gs pos="100000">
                      <a:srgbClr val="FFFFFF"/>
                    </a:gs>
                  </a:gsLst>
                  <a:lin ang="5400000" scaled="1"/>
                </a:gradFill>
                <a:latin typeface="Segoe UI"/>
                <a:cs typeface="Segoe UI" panose="020B0502040204020203" pitchFamily="34" charset="0"/>
              </a:rPr>
              <a:t>Stream Processing &amp; Predictive Analytics</a:t>
            </a:r>
          </a:p>
          <a:p>
            <a:pPr defTabSz="913841">
              <a:lnSpc>
                <a:spcPct val="90000"/>
              </a:lnSpc>
              <a:spcBef>
                <a:spcPts val="2255"/>
              </a:spcBef>
              <a:defRPr/>
            </a:pPr>
            <a:r>
              <a:rPr lang="en-US" sz="1567" kern="0" spc="-29" dirty="0">
                <a:gradFill>
                  <a:gsLst>
                    <a:gs pos="0">
                      <a:srgbClr val="FFFFFF"/>
                    </a:gs>
                    <a:gs pos="100000">
                      <a:srgbClr val="FFFFFF"/>
                    </a:gs>
                  </a:gsLst>
                  <a:lin ang="5400000" scaled="1"/>
                </a:gradFill>
                <a:latin typeface="Segoe UI"/>
                <a:cs typeface="Segoe UI" panose="020B0502040204020203" pitchFamily="34" charset="0"/>
              </a:rPr>
              <a:t>Workflow Automation</a:t>
            </a:r>
          </a:p>
          <a:p>
            <a:pPr defTabSz="913841">
              <a:lnSpc>
                <a:spcPct val="90000"/>
              </a:lnSpc>
              <a:spcBef>
                <a:spcPts val="2255"/>
              </a:spcBef>
              <a:defRPr/>
            </a:pPr>
            <a:r>
              <a:rPr lang="en-US" sz="1567" kern="0" spc="-29" dirty="0">
                <a:gradFill>
                  <a:gsLst>
                    <a:gs pos="0">
                      <a:srgbClr val="FFFFFF"/>
                    </a:gs>
                    <a:gs pos="100000">
                      <a:srgbClr val="FFFFFF"/>
                    </a:gs>
                  </a:gsLst>
                  <a:lin ang="5400000" scaled="1"/>
                </a:gradFill>
                <a:latin typeface="Segoe UI"/>
                <a:cs typeface="Segoe UI" panose="020B0502040204020203" pitchFamily="34" charset="0"/>
              </a:rPr>
              <a:t>Dashboards and Visualization</a:t>
            </a:r>
          </a:p>
          <a:p>
            <a:pPr defTabSz="913841">
              <a:lnSpc>
                <a:spcPct val="90000"/>
              </a:lnSpc>
              <a:spcBef>
                <a:spcPts val="2255"/>
              </a:spcBef>
              <a:defRPr/>
            </a:pPr>
            <a:r>
              <a:rPr lang="en-US" sz="1567" kern="0" spc="-29" dirty="0">
                <a:gradFill>
                  <a:gsLst>
                    <a:gs pos="0">
                      <a:srgbClr val="FFFFFF"/>
                    </a:gs>
                    <a:gs pos="100000">
                      <a:srgbClr val="FFFFFF"/>
                    </a:gs>
                  </a:gsLst>
                  <a:lin ang="5400000" scaled="1"/>
                </a:gradFill>
                <a:latin typeface="Segoe UI"/>
                <a:cs typeface="Segoe UI" panose="020B0502040204020203" pitchFamily="34" charset="0"/>
              </a:rPr>
              <a:t>Preconfigured Solutions</a:t>
            </a:r>
          </a:p>
        </p:txBody>
      </p:sp>
      <p:grpSp>
        <p:nvGrpSpPr>
          <p:cNvPr id="189" name="Group 188"/>
          <p:cNvGrpSpPr/>
          <p:nvPr/>
        </p:nvGrpSpPr>
        <p:grpSpPr>
          <a:xfrm>
            <a:off x="4163175" y="3057313"/>
            <a:ext cx="7315114" cy="1994649"/>
            <a:chOff x="700986" y="2506981"/>
            <a:chExt cx="6219432" cy="2035512"/>
          </a:xfrm>
        </p:grpSpPr>
        <p:cxnSp>
          <p:nvCxnSpPr>
            <p:cNvPr id="190" name="Straight Connector 189"/>
            <p:cNvCxnSpPr/>
            <p:nvPr/>
          </p:nvCxnSpPr>
          <p:spPr>
            <a:xfrm>
              <a:off x="700986" y="3015859"/>
              <a:ext cx="6219432" cy="0"/>
            </a:xfrm>
            <a:prstGeom prst="line">
              <a:avLst/>
            </a:prstGeom>
            <a:ln w="19050">
              <a:solidFill>
                <a:srgbClr val="00205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700986" y="2506981"/>
              <a:ext cx="6219432" cy="0"/>
            </a:xfrm>
            <a:prstGeom prst="line">
              <a:avLst/>
            </a:prstGeom>
            <a:ln w="19050">
              <a:solidFill>
                <a:srgbClr val="00205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700986" y="4033615"/>
              <a:ext cx="6219432" cy="0"/>
            </a:xfrm>
            <a:prstGeom prst="line">
              <a:avLst/>
            </a:prstGeom>
            <a:ln w="19050">
              <a:solidFill>
                <a:srgbClr val="00205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700986" y="3524737"/>
              <a:ext cx="6219432" cy="0"/>
            </a:xfrm>
            <a:prstGeom prst="line">
              <a:avLst/>
            </a:prstGeom>
            <a:ln w="19050">
              <a:solidFill>
                <a:srgbClr val="00205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700986" y="4542493"/>
              <a:ext cx="6219432" cy="0"/>
            </a:xfrm>
            <a:prstGeom prst="line">
              <a:avLst/>
            </a:prstGeom>
            <a:ln w="19050">
              <a:solidFill>
                <a:srgbClr val="00205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195" name="Freeform 6"/>
          <p:cNvSpPr>
            <a:spLocks noEditPoints="1"/>
          </p:cNvSpPr>
          <p:nvPr/>
        </p:nvSpPr>
        <p:spPr bwMode="auto">
          <a:xfrm>
            <a:off x="5977144" y="3129669"/>
            <a:ext cx="482163" cy="305679"/>
          </a:xfrm>
          <a:custGeom>
            <a:avLst/>
            <a:gdLst>
              <a:gd name="T0" fmla="*/ 9590 w 15821"/>
              <a:gd name="T1" fmla="*/ 2934 h 10024"/>
              <a:gd name="T2" fmla="*/ 10601 w 15821"/>
              <a:gd name="T3" fmla="*/ 3946 h 10024"/>
              <a:gd name="T4" fmla="*/ 9590 w 15821"/>
              <a:gd name="T5" fmla="*/ 4957 h 10024"/>
              <a:gd name="T6" fmla="*/ 9078 w 15821"/>
              <a:gd name="T7" fmla="*/ 4817 h 10024"/>
              <a:gd name="T8" fmla="*/ 7329 w 15821"/>
              <a:gd name="T9" fmla="*/ 6782 h 10024"/>
              <a:gd name="T10" fmla="*/ 7372 w 15821"/>
              <a:gd name="T11" fmla="*/ 7072 h 10024"/>
              <a:gd name="T12" fmla="*/ 6361 w 15821"/>
              <a:gd name="T13" fmla="*/ 8083 h 10024"/>
              <a:gd name="T14" fmla="*/ 5349 w 15821"/>
              <a:gd name="T15" fmla="*/ 7072 h 10024"/>
              <a:gd name="T16" fmla="*/ 5370 w 15821"/>
              <a:gd name="T17" fmla="*/ 6869 h 10024"/>
              <a:gd name="T18" fmla="*/ 2767 w 15821"/>
              <a:gd name="T19" fmla="*/ 5302 h 10024"/>
              <a:gd name="T20" fmla="*/ 2166 w 15821"/>
              <a:gd name="T21" fmla="*/ 5607 h 10024"/>
              <a:gd name="T22" fmla="*/ 1529 w 15821"/>
              <a:gd name="T23" fmla="*/ 8144 h 10024"/>
              <a:gd name="T24" fmla="*/ 2023 w 15821"/>
              <a:gd name="T25" fmla="*/ 9012 h 10024"/>
              <a:gd name="T26" fmla="*/ 1012 w 15821"/>
              <a:gd name="T27" fmla="*/ 10024 h 10024"/>
              <a:gd name="T28" fmla="*/ 0 w 15821"/>
              <a:gd name="T29" fmla="*/ 9012 h 10024"/>
              <a:gd name="T30" fmla="*/ 940 w 15821"/>
              <a:gd name="T31" fmla="*/ 8005 h 10024"/>
              <a:gd name="T32" fmla="*/ 1569 w 15821"/>
              <a:gd name="T33" fmla="*/ 5500 h 10024"/>
              <a:gd name="T34" fmla="*/ 1026 w 15821"/>
              <a:gd name="T35" fmla="*/ 4605 h 10024"/>
              <a:gd name="T36" fmla="*/ 2037 w 15821"/>
              <a:gd name="T37" fmla="*/ 3594 h 10024"/>
              <a:gd name="T38" fmla="*/ 3049 w 15821"/>
              <a:gd name="T39" fmla="*/ 4605 h 10024"/>
              <a:gd name="T40" fmla="*/ 3036 w 15821"/>
              <a:gd name="T41" fmla="*/ 4758 h 10024"/>
              <a:gd name="T42" fmla="*/ 5666 w 15821"/>
              <a:gd name="T43" fmla="*/ 6340 h 10024"/>
              <a:gd name="T44" fmla="*/ 6361 w 15821"/>
              <a:gd name="T45" fmla="*/ 6061 h 10024"/>
              <a:gd name="T46" fmla="*/ 6973 w 15821"/>
              <a:gd name="T47" fmla="*/ 6272 h 10024"/>
              <a:gd name="T48" fmla="*/ 8670 w 15821"/>
              <a:gd name="T49" fmla="*/ 4364 h 10024"/>
              <a:gd name="T50" fmla="*/ 8578 w 15821"/>
              <a:gd name="T51" fmla="*/ 3946 h 10024"/>
              <a:gd name="T52" fmla="*/ 9590 w 15821"/>
              <a:gd name="T53" fmla="*/ 2934 h 10024"/>
              <a:gd name="T54" fmla="*/ 10634 w 15821"/>
              <a:gd name="T55" fmla="*/ 2877 h 10024"/>
              <a:gd name="T56" fmla="*/ 10922 w 15821"/>
              <a:gd name="T57" fmla="*/ 3409 h 10024"/>
              <a:gd name="T58" fmla="*/ 10687 w 15821"/>
              <a:gd name="T59" fmla="*/ 3536 h 10024"/>
              <a:gd name="T60" fmla="*/ 10399 w 15821"/>
              <a:gd name="T61" fmla="*/ 3004 h 10024"/>
              <a:gd name="T62" fmla="*/ 10634 w 15821"/>
              <a:gd name="T63" fmla="*/ 2877 h 10024"/>
              <a:gd name="T64" fmla="*/ 11443 w 15821"/>
              <a:gd name="T65" fmla="*/ 2468 h 10024"/>
              <a:gd name="T66" fmla="*/ 11731 w 15821"/>
              <a:gd name="T67" fmla="*/ 3000 h 10024"/>
              <a:gd name="T68" fmla="*/ 11317 w 15821"/>
              <a:gd name="T69" fmla="*/ 3224 h 10024"/>
              <a:gd name="T70" fmla="*/ 11029 w 15821"/>
              <a:gd name="T71" fmla="*/ 2692 h 10024"/>
              <a:gd name="T72" fmla="*/ 11443 w 15821"/>
              <a:gd name="T73" fmla="*/ 2468 h 10024"/>
              <a:gd name="T74" fmla="*/ 12332 w 15821"/>
              <a:gd name="T75" fmla="*/ 1974 h 10024"/>
              <a:gd name="T76" fmla="*/ 12620 w 15821"/>
              <a:gd name="T77" fmla="*/ 2506 h 10024"/>
              <a:gd name="T78" fmla="*/ 12145 w 15821"/>
              <a:gd name="T79" fmla="*/ 2763 h 10024"/>
              <a:gd name="T80" fmla="*/ 11857 w 15821"/>
              <a:gd name="T81" fmla="*/ 2231 h 10024"/>
              <a:gd name="T82" fmla="*/ 12332 w 15821"/>
              <a:gd name="T83" fmla="*/ 1974 h 10024"/>
              <a:gd name="T84" fmla="*/ 13168 w 15821"/>
              <a:gd name="T85" fmla="*/ 1562 h 10024"/>
              <a:gd name="T86" fmla="*/ 13456 w 15821"/>
              <a:gd name="T87" fmla="*/ 2095 h 10024"/>
              <a:gd name="T88" fmla="*/ 12928 w 15821"/>
              <a:gd name="T89" fmla="*/ 2380 h 10024"/>
              <a:gd name="T90" fmla="*/ 12640 w 15821"/>
              <a:gd name="T91" fmla="*/ 1848 h 10024"/>
              <a:gd name="T92" fmla="*/ 13168 w 15821"/>
              <a:gd name="T93" fmla="*/ 1562 h 10024"/>
              <a:gd name="T94" fmla="*/ 14607 w 15821"/>
              <a:gd name="T95" fmla="*/ 607 h 10024"/>
              <a:gd name="T96" fmla="*/ 14000 w 15821"/>
              <a:gd name="T97" fmla="*/ 1214 h 10024"/>
              <a:gd name="T98" fmla="*/ 14607 w 15821"/>
              <a:gd name="T99" fmla="*/ 1820 h 10024"/>
              <a:gd name="T100" fmla="*/ 15214 w 15821"/>
              <a:gd name="T101" fmla="*/ 1214 h 10024"/>
              <a:gd name="T102" fmla="*/ 14607 w 15821"/>
              <a:gd name="T103" fmla="*/ 607 h 10024"/>
              <a:gd name="T104" fmla="*/ 14607 w 15821"/>
              <a:gd name="T105" fmla="*/ 0 h 10024"/>
              <a:gd name="T106" fmla="*/ 15821 w 15821"/>
              <a:gd name="T107" fmla="*/ 1214 h 10024"/>
              <a:gd name="T108" fmla="*/ 14607 w 15821"/>
              <a:gd name="T109" fmla="*/ 2427 h 10024"/>
              <a:gd name="T110" fmla="*/ 13394 w 15821"/>
              <a:gd name="T111" fmla="*/ 1214 h 10024"/>
              <a:gd name="T112" fmla="*/ 14607 w 15821"/>
              <a:gd name="T113" fmla="*/ 0 h 10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821" h="10024">
                <a:moveTo>
                  <a:pt x="9590" y="2934"/>
                </a:moveTo>
                <a:cubicBezTo>
                  <a:pt x="10148" y="2934"/>
                  <a:pt x="10601" y="3387"/>
                  <a:pt x="10601" y="3946"/>
                </a:cubicBezTo>
                <a:cubicBezTo>
                  <a:pt x="10601" y="4504"/>
                  <a:pt x="10148" y="4957"/>
                  <a:pt x="9590" y="4957"/>
                </a:cubicBezTo>
                <a:cubicBezTo>
                  <a:pt x="9403" y="4957"/>
                  <a:pt x="9227" y="4906"/>
                  <a:pt x="9078" y="4817"/>
                </a:cubicBezTo>
                <a:lnTo>
                  <a:pt x="7329" y="6782"/>
                </a:lnTo>
                <a:cubicBezTo>
                  <a:pt x="7357" y="6874"/>
                  <a:pt x="7372" y="6971"/>
                  <a:pt x="7372" y="7072"/>
                </a:cubicBezTo>
                <a:cubicBezTo>
                  <a:pt x="7372" y="7631"/>
                  <a:pt x="6919" y="8083"/>
                  <a:pt x="6361" y="8083"/>
                </a:cubicBezTo>
                <a:cubicBezTo>
                  <a:pt x="5802" y="8083"/>
                  <a:pt x="5349" y="7631"/>
                  <a:pt x="5349" y="7072"/>
                </a:cubicBezTo>
                <a:cubicBezTo>
                  <a:pt x="5349" y="7002"/>
                  <a:pt x="5356" y="6934"/>
                  <a:pt x="5370" y="6869"/>
                </a:cubicBezTo>
                <a:lnTo>
                  <a:pt x="2767" y="5302"/>
                </a:lnTo>
                <a:cubicBezTo>
                  <a:pt x="2612" y="5467"/>
                  <a:pt x="2402" y="5578"/>
                  <a:pt x="2166" y="5607"/>
                </a:cubicBezTo>
                <a:lnTo>
                  <a:pt x="1529" y="8144"/>
                </a:lnTo>
                <a:cubicBezTo>
                  <a:pt x="1825" y="8320"/>
                  <a:pt x="2023" y="8643"/>
                  <a:pt x="2023" y="9012"/>
                </a:cubicBezTo>
                <a:cubicBezTo>
                  <a:pt x="2023" y="9571"/>
                  <a:pt x="1570" y="10024"/>
                  <a:pt x="1012" y="10024"/>
                </a:cubicBezTo>
                <a:cubicBezTo>
                  <a:pt x="453" y="10024"/>
                  <a:pt x="0" y="9571"/>
                  <a:pt x="0" y="9012"/>
                </a:cubicBezTo>
                <a:cubicBezTo>
                  <a:pt x="0" y="8478"/>
                  <a:pt x="415" y="8040"/>
                  <a:pt x="940" y="8005"/>
                </a:cubicBezTo>
                <a:lnTo>
                  <a:pt x="1569" y="5500"/>
                </a:lnTo>
                <a:cubicBezTo>
                  <a:pt x="1246" y="5332"/>
                  <a:pt x="1026" y="4994"/>
                  <a:pt x="1026" y="4605"/>
                </a:cubicBezTo>
                <a:cubicBezTo>
                  <a:pt x="1026" y="4046"/>
                  <a:pt x="1479" y="3594"/>
                  <a:pt x="2037" y="3594"/>
                </a:cubicBezTo>
                <a:cubicBezTo>
                  <a:pt x="2596" y="3594"/>
                  <a:pt x="3049" y="4046"/>
                  <a:pt x="3049" y="4605"/>
                </a:cubicBezTo>
                <a:cubicBezTo>
                  <a:pt x="3049" y="4657"/>
                  <a:pt x="3045" y="4708"/>
                  <a:pt x="3036" y="4758"/>
                </a:cubicBezTo>
                <a:lnTo>
                  <a:pt x="5666" y="6340"/>
                </a:lnTo>
                <a:cubicBezTo>
                  <a:pt x="5846" y="6167"/>
                  <a:pt x="6091" y="6061"/>
                  <a:pt x="6361" y="6061"/>
                </a:cubicBezTo>
                <a:cubicBezTo>
                  <a:pt x="6592" y="6061"/>
                  <a:pt x="6805" y="6138"/>
                  <a:pt x="6973" y="6272"/>
                </a:cubicBezTo>
                <a:lnTo>
                  <a:pt x="8670" y="4364"/>
                </a:lnTo>
                <a:cubicBezTo>
                  <a:pt x="8611" y="4237"/>
                  <a:pt x="8578" y="4095"/>
                  <a:pt x="8578" y="3946"/>
                </a:cubicBezTo>
                <a:cubicBezTo>
                  <a:pt x="8578" y="3387"/>
                  <a:pt x="9031" y="2934"/>
                  <a:pt x="9590" y="2934"/>
                </a:cubicBezTo>
                <a:close/>
                <a:moveTo>
                  <a:pt x="10634" y="2877"/>
                </a:moveTo>
                <a:lnTo>
                  <a:pt x="10922" y="3409"/>
                </a:lnTo>
                <a:lnTo>
                  <a:pt x="10687" y="3536"/>
                </a:lnTo>
                <a:lnTo>
                  <a:pt x="10399" y="3004"/>
                </a:lnTo>
                <a:lnTo>
                  <a:pt x="10634" y="2877"/>
                </a:lnTo>
                <a:close/>
                <a:moveTo>
                  <a:pt x="11443" y="2468"/>
                </a:moveTo>
                <a:lnTo>
                  <a:pt x="11731" y="3000"/>
                </a:lnTo>
                <a:lnTo>
                  <a:pt x="11317" y="3224"/>
                </a:lnTo>
                <a:lnTo>
                  <a:pt x="11029" y="2692"/>
                </a:lnTo>
                <a:lnTo>
                  <a:pt x="11443" y="2468"/>
                </a:lnTo>
                <a:close/>
                <a:moveTo>
                  <a:pt x="12332" y="1974"/>
                </a:moveTo>
                <a:lnTo>
                  <a:pt x="12620" y="2506"/>
                </a:lnTo>
                <a:lnTo>
                  <a:pt x="12145" y="2763"/>
                </a:lnTo>
                <a:lnTo>
                  <a:pt x="11857" y="2231"/>
                </a:lnTo>
                <a:lnTo>
                  <a:pt x="12332" y="1974"/>
                </a:lnTo>
                <a:close/>
                <a:moveTo>
                  <a:pt x="13168" y="1562"/>
                </a:moveTo>
                <a:lnTo>
                  <a:pt x="13456" y="2095"/>
                </a:lnTo>
                <a:lnTo>
                  <a:pt x="12928" y="2380"/>
                </a:lnTo>
                <a:lnTo>
                  <a:pt x="12640" y="1848"/>
                </a:lnTo>
                <a:lnTo>
                  <a:pt x="13168" y="1562"/>
                </a:lnTo>
                <a:close/>
                <a:moveTo>
                  <a:pt x="14607" y="607"/>
                </a:moveTo>
                <a:cubicBezTo>
                  <a:pt x="14272" y="607"/>
                  <a:pt x="14000" y="879"/>
                  <a:pt x="14000" y="1214"/>
                </a:cubicBezTo>
                <a:cubicBezTo>
                  <a:pt x="14000" y="1549"/>
                  <a:pt x="14272" y="1820"/>
                  <a:pt x="14607" y="1820"/>
                </a:cubicBezTo>
                <a:cubicBezTo>
                  <a:pt x="14942" y="1820"/>
                  <a:pt x="15214" y="1549"/>
                  <a:pt x="15214" y="1214"/>
                </a:cubicBezTo>
                <a:cubicBezTo>
                  <a:pt x="15214" y="879"/>
                  <a:pt x="14942" y="607"/>
                  <a:pt x="14607" y="607"/>
                </a:cubicBezTo>
                <a:close/>
                <a:moveTo>
                  <a:pt x="14607" y="0"/>
                </a:moveTo>
                <a:cubicBezTo>
                  <a:pt x="15277" y="0"/>
                  <a:pt x="15821" y="543"/>
                  <a:pt x="15821" y="1214"/>
                </a:cubicBezTo>
                <a:cubicBezTo>
                  <a:pt x="15821" y="1884"/>
                  <a:pt x="15277" y="2427"/>
                  <a:pt x="14607" y="2427"/>
                </a:cubicBezTo>
                <a:cubicBezTo>
                  <a:pt x="13937" y="2427"/>
                  <a:pt x="13394" y="1884"/>
                  <a:pt x="13394" y="1214"/>
                </a:cubicBezTo>
                <a:cubicBezTo>
                  <a:pt x="13394" y="543"/>
                  <a:pt x="13937" y="0"/>
                  <a:pt x="14607" y="0"/>
                </a:cubicBezTo>
                <a:close/>
              </a:path>
            </a:pathLst>
          </a:custGeom>
          <a:solidFill>
            <a:schemeClr val="bg1"/>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196" name="AutoShape 2"/>
          <p:cNvSpPr>
            <a:spLocks/>
          </p:cNvSpPr>
          <p:nvPr/>
        </p:nvSpPr>
        <p:spPr bwMode="auto">
          <a:xfrm>
            <a:off x="6058343" y="4166602"/>
            <a:ext cx="292356" cy="283936"/>
          </a:xfrm>
          <a:custGeom>
            <a:avLst/>
            <a:gdLst/>
            <a:ahLst/>
            <a:cxnLst/>
            <a:rect l="0" t="0" r="r" b="b"/>
            <a:pathLst>
              <a:path w="19837" h="19072">
                <a:moveTo>
                  <a:pt x="16824" y="1727"/>
                </a:moveTo>
                <a:cubicBezTo>
                  <a:pt x="13199" y="-1264"/>
                  <a:pt x="8645" y="-216"/>
                  <a:pt x="5479" y="3679"/>
                </a:cubicBezTo>
                <a:lnTo>
                  <a:pt x="4021" y="2476"/>
                </a:lnTo>
                <a:lnTo>
                  <a:pt x="4108" y="8088"/>
                </a:lnTo>
                <a:lnTo>
                  <a:pt x="9280" y="6816"/>
                </a:lnTo>
                <a:lnTo>
                  <a:pt x="7858" y="5643"/>
                </a:lnTo>
                <a:cubicBezTo>
                  <a:pt x="10275" y="2785"/>
                  <a:pt x="13657" y="2350"/>
                  <a:pt x="15815" y="4130"/>
                </a:cubicBezTo>
                <a:cubicBezTo>
                  <a:pt x="19382" y="7074"/>
                  <a:pt x="19366" y="12363"/>
                  <a:pt x="17724" y="14587"/>
                </a:cubicBezTo>
                <a:lnTo>
                  <a:pt x="17911" y="14740"/>
                </a:lnTo>
                <a:cubicBezTo>
                  <a:pt x="20567" y="11143"/>
                  <a:pt x="20718" y="4941"/>
                  <a:pt x="16824" y="1727"/>
                </a:cubicBezTo>
                <a:close/>
                <a:moveTo>
                  <a:pt x="10556" y="12256"/>
                </a:moveTo>
                <a:lnTo>
                  <a:pt x="11978" y="13429"/>
                </a:lnTo>
                <a:cubicBezTo>
                  <a:pt x="9561" y="16286"/>
                  <a:pt x="6179" y="16722"/>
                  <a:pt x="4022" y="14941"/>
                </a:cubicBezTo>
                <a:cubicBezTo>
                  <a:pt x="454" y="11998"/>
                  <a:pt x="470" y="6708"/>
                  <a:pt x="2112" y="4485"/>
                </a:cubicBezTo>
                <a:lnTo>
                  <a:pt x="1925" y="4331"/>
                </a:lnTo>
                <a:cubicBezTo>
                  <a:pt x="-731" y="7928"/>
                  <a:pt x="-882" y="14131"/>
                  <a:pt x="3012" y="17345"/>
                </a:cubicBezTo>
                <a:cubicBezTo>
                  <a:pt x="6637" y="20336"/>
                  <a:pt x="11191" y="19288"/>
                  <a:pt x="14357" y="15392"/>
                </a:cubicBezTo>
                <a:lnTo>
                  <a:pt x="15815" y="16596"/>
                </a:lnTo>
                <a:lnTo>
                  <a:pt x="15728" y="10983"/>
                </a:lnTo>
                <a:cubicBezTo>
                  <a:pt x="15728" y="10983"/>
                  <a:pt x="10556" y="12256"/>
                  <a:pt x="10556" y="12256"/>
                </a:cubicBezTo>
                <a:close/>
                <a:moveTo>
                  <a:pt x="10556" y="12256"/>
                </a:moveTo>
              </a:path>
            </a:pathLst>
          </a:custGeom>
          <a:solidFill>
            <a:schemeClr val="bg1"/>
          </a:solidFill>
          <a:ln>
            <a:noFill/>
          </a:ln>
          <a:extLst/>
        </p:spPr>
        <p:txBody>
          <a:bodyPr lIns="0" tIns="0" rIns="0" bIns="0"/>
          <a:lstStyle/>
          <a:p>
            <a:pPr defTabSz="914192">
              <a:defRPr/>
            </a:pPr>
            <a:endParaRPr lang="en-US" sz="2200" kern="0">
              <a:solidFill>
                <a:srgbClr val="505050"/>
              </a:solidFill>
              <a:latin typeface="Segoe UI"/>
            </a:endParaRPr>
          </a:p>
        </p:txBody>
      </p:sp>
      <p:pic>
        <p:nvPicPr>
          <p:cNvPr id="197" name="Picture 41" descr="K:\ForChad\infographics\images\icon_white_arrow_over_computers.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05957" y="2618927"/>
            <a:ext cx="342904" cy="342767"/>
          </a:xfrm>
          <a:prstGeom prst="rect">
            <a:avLst/>
          </a:prstGeom>
          <a:noFill/>
          <a:extLst>
            <a:ext uri="{909E8E84-426E-40DD-AFC4-6F175D3DCCD1}">
              <a14:hiddenFill xmlns:a14="http://schemas.microsoft.com/office/drawing/2010/main">
                <a:solidFill>
                  <a:srgbClr val="FFFFFF"/>
                </a:solidFill>
              </a14:hiddenFill>
            </a:ext>
          </a:extLst>
        </p:spPr>
      </p:pic>
      <p:grpSp>
        <p:nvGrpSpPr>
          <p:cNvPr id="198" name="Group 197"/>
          <p:cNvGrpSpPr/>
          <p:nvPr/>
        </p:nvGrpSpPr>
        <p:grpSpPr>
          <a:xfrm>
            <a:off x="6072782" y="4689614"/>
            <a:ext cx="272329" cy="221727"/>
            <a:chOff x="-2530484" y="585787"/>
            <a:chExt cx="1119191" cy="911228"/>
          </a:xfrm>
          <a:solidFill>
            <a:schemeClr val="bg2"/>
          </a:solidFill>
        </p:grpSpPr>
        <p:sp>
          <p:nvSpPr>
            <p:cNvPr id="199" name="Freeform 31"/>
            <p:cNvSpPr>
              <a:spLocks noEditPoints="1"/>
            </p:cNvSpPr>
            <p:nvPr/>
          </p:nvSpPr>
          <p:spPr bwMode="auto">
            <a:xfrm>
              <a:off x="-2530484" y="585787"/>
              <a:ext cx="1119191"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defTabSz="913841">
                <a:defRPr/>
              </a:pPr>
              <a:endParaRPr lang="en-US" sz="1369" kern="0">
                <a:solidFill>
                  <a:srgbClr val="FFFFFF"/>
                </a:solidFill>
                <a:latin typeface="Segoe UI"/>
              </a:endParaRPr>
            </a:p>
          </p:txBody>
        </p:sp>
        <p:sp>
          <p:nvSpPr>
            <p:cNvPr id="200" name="Freeform 32"/>
            <p:cNvSpPr>
              <a:spLocks/>
            </p:cNvSpPr>
            <p:nvPr/>
          </p:nvSpPr>
          <p:spPr bwMode="auto">
            <a:xfrm>
              <a:off x="-2212985" y="1241428"/>
              <a:ext cx="514350" cy="255587"/>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defTabSz="913841">
                <a:defRPr/>
              </a:pPr>
              <a:endParaRPr lang="en-US" sz="1369" kern="0">
                <a:solidFill>
                  <a:srgbClr val="FFFFFF"/>
                </a:solidFill>
                <a:latin typeface="Segoe UI"/>
              </a:endParaRPr>
            </a:p>
          </p:txBody>
        </p:sp>
        <p:sp>
          <p:nvSpPr>
            <p:cNvPr id="201" name="Freeform 34"/>
            <p:cNvSpPr>
              <a:spLocks/>
            </p:cNvSpPr>
            <p:nvPr/>
          </p:nvSpPr>
          <p:spPr bwMode="auto">
            <a:xfrm>
              <a:off x="-1876433" y="752475"/>
              <a:ext cx="268289" cy="269876"/>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defTabSz="913841">
                <a:defRPr/>
              </a:pPr>
              <a:endParaRPr lang="en-US" sz="1369" kern="0">
                <a:solidFill>
                  <a:srgbClr val="FFFFFF"/>
                </a:solidFill>
                <a:latin typeface="Segoe UI"/>
              </a:endParaRPr>
            </a:p>
          </p:txBody>
        </p:sp>
        <p:sp>
          <p:nvSpPr>
            <p:cNvPr id="202" name="Freeform 35"/>
            <p:cNvSpPr>
              <a:spLocks/>
            </p:cNvSpPr>
            <p:nvPr/>
          </p:nvSpPr>
          <p:spPr bwMode="auto">
            <a:xfrm>
              <a:off x="-2349507" y="752475"/>
              <a:ext cx="393701" cy="314327"/>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defTabSz="913841">
                <a:defRPr/>
              </a:pPr>
              <a:endParaRPr lang="en-US" sz="1369" kern="0">
                <a:solidFill>
                  <a:srgbClr val="FFFFFF"/>
                </a:solidFill>
                <a:latin typeface="Segoe UI"/>
              </a:endParaRPr>
            </a:p>
          </p:txBody>
        </p:sp>
        <p:sp>
          <p:nvSpPr>
            <p:cNvPr id="203" name="Freeform 36"/>
            <p:cNvSpPr>
              <a:spLocks/>
            </p:cNvSpPr>
            <p:nvPr/>
          </p:nvSpPr>
          <p:spPr bwMode="auto">
            <a:xfrm>
              <a:off x="-2027251" y="736602"/>
              <a:ext cx="22224"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defTabSz="913841">
                <a:defRPr/>
              </a:pPr>
              <a:endParaRPr lang="en-US" sz="1369" kern="0">
                <a:solidFill>
                  <a:srgbClr val="FFFFFF"/>
                </a:solidFill>
                <a:latin typeface="Segoe UI"/>
              </a:endParaRPr>
            </a:p>
          </p:txBody>
        </p:sp>
        <p:sp>
          <p:nvSpPr>
            <p:cNvPr id="204" name="Freeform 37"/>
            <p:cNvSpPr>
              <a:spLocks/>
            </p:cNvSpPr>
            <p:nvPr/>
          </p:nvSpPr>
          <p:spPr bwMode="auto">
            <a:xfrm>
              <a:off x="-2087565" y="798514"/>
              <a:ext cx="22224"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grpFill/>
            <a:ln w="9525">
              <a:noFill/>
              <a:round/>
              <a:headEnd/>
              <a:tailEnd/>
            </a:ln>
            <a:extLst/>
          </p:spPr>
          <p:txBody>
            <a:bodyPr vert="horz" wrap="square" lIns="89604" tIns="44802" rIns="89604" bIns="44802" numCol="1" anchor="t" anchorCtr="0" compatLnSpc="1">
              <a:prstTxWarp prst="textNoShape">
                <a:avLst/>
              </a:prstTxWarp>
            </a:bodyPr>
            <a:lstStyle/>
            <a:p>
              <a:pPr defTabSz="913841">
                <a:defRPr/>
              </a:pPr>
              <a:endParaRPr lang="en-US" sz="1369" kern="0">
                <a:solidFill>
                  <a:srgbClr val="FFFFFF"/>
                </a:solidFill>
                <a:latin typeface="Segoe UI"/>
              </a:endParaRPr>
            </a:p>
          </p:txBody>
        </p:sp>
      </p:grpSp>
      <p:grpSp>
        <p:nvGrpSpPr>
          <p:cNvPr id="205" name="Group 204"/>
          <p:cNvGrpSpPr/>
          <p:nvPr/>
        </p:nvGrpSpPr>
        <p:grpSpPr>
          <a:xfrm>
            <a:off x="6064198" y="3677129"/>
            <a:ext cx="259907" cy="217458"/>
            <a:chOff x="-1220314" y="1416672"/>
            <a:chExt cx="1108076" cy="927101"/>
          </a:xfrm>
          <a:solidFill>
            <a:schemeClr val="bg2"/>
          </a:solidFill>
        </p:grpSpPr>
        <p:sp>
          <p:nvSpPr>
            <p:cNvPr id="206" name="Freeform 18"/>
            <p:cNvSpPr>
              <a:spLocks/>
            </p:cNvSpPr>
            <p:nvPr/>
          </p:nvSpPr>
          <p:spPr bwMode="auto">
            <a:xfrm>
              <a:off x="-1096484" y="1416672"/>
              <a:ext cx="860424" cy="927101"/>
            </a:xfrm>
            <a:custGeom>
              <a:avLst/>
              <a:gdLst>
                <a:gd name="T0" fmla="*/ 80 w 227"/>
                <a:gd name="T1" fmla="*/ 0 h 244"/>
                <a:gd name="T2" fmla="*/ 101 w 227"/>
                <a:gd name="T3" fmla="*/ 49 h 244"/>
                <a:gd name="T4" fmla="*/ 101 w 227"/>
                <a:gd name="T5" fmla="*/ 191 h 244"/>
                <a:gd name="T6" fmla="*/ 111 w 227"/>
                <a:gd name="T7" fmla="*/ 214 h 244"/>
                <a:gd name="T8" fmla="*/ 123 w 227"/>
                <a:gd name="T9" fmla="*/ 192 h 244"/>
                <a:gd name="T10" fmla="*/ 124 w 227"/>
                <a:gd name="T11" fmla="*/ 90 h 244"/>
                <a:gd name="T12" fmla="*/ 148 w 227"/>
                <a:gd name="T13" fmla="*/ 57 h 244"/>
                <a:gd name="T14" fmla="*/ 189 w 227"/>
                <a:gd name="T15" fmla="*/ 69 h 244"/>
                <a:gd name="T16" fmla="*/ 196 w 227"/>
                <a:gd name="T17" fmla="*/ 91 h 244"/>
                <a:gd name="T18" fmla="*/ 197 w 227"/>
                <a:gd name="T19" fmla="*/ 131 h 244"/>
                <a:gd name="T20" fmla="*/ 226 w 227"/>
                <a:gd name="T21" fmla="*/ 166 h 244"/>
                <a:gd name="T22" fmla="*/ 227 w 227"/>
                <a:gd name="T23" fmla="*/ 184 h 244"/>
                <a:gd name="T24" fmla="*/ 172 w 227"/>
                <a:gd name="T25" fmla="*/ 148 h 244"/>
                <a:gd name="T26" fmla="*/ 171 w 227"/>
                <a:gd name="T27" fmla="*/ 102 h 244"/>
                <a:gd name="T28" fmla="*/ 165 w 227"/>
                <a:gd name="T29" fmla="*/ 82 h 244"/>
                <a:gd name="T30" fmla="*/ 149 w 227"/>
                <a:gd name="T31" fmla="*/ 104 h 244"/>
                <a:gd name="T32" fmla="*/ 148 w 227"/>
                <a:gd name="T33" fmla="*/ 206 h 244"/>
                <a:gd name="T34" fmla="*/ 123 w 227"/>
                <a:gd name="T35" fmla="*/ 240 h 244"/>
                <a:gd name="T36" fmla="*/ 82 w 227"/>
                <a:gd name="T37" fmla="*/ 225 h 244"/>
                <a:gd name="T38" fmla="*/ 76 w 227"/>
                <a:gd name="T39" fmla="*/ 199 h 244"/>
                <a:gd name="T40" fmla="*/ 75 w 227"/>
                <a:gd name="T41" fmla="*/ 49 h 244"/>
                <a:gd name="T42" fmla="*/ 65 w 227"/>
                <a:gd name="T43" fmla="*/ 26 h 244"/>
                <a:gd name="T44" fmla="*/ 53 w 227"/>
                <a:gd name="T45" fmla="*/ 44 h 244"/>
                <a:gd name="T46" fmla="*/ 52 w 227"/>
                <a:gd name="T47" fmla="*/ 88 h 244"/>
                <a:gd name="T48" fmla="*/ 2 w 227"/>
                <a:gd name="T49" fmla="*/ 125 h 244"/>
                <a:gd name="T50" fmla="*/ 0 w 227"/>
                <a:gd name="T51" fmla="*/ 109 h 244"/>
                <a:gd name="T52" fmla="*/ 27 w 227"/>
                <a:gd name="T53" fmla="*/ 69 h 244"/>
                <a:gd name="T54" fmla="*/ 27 w 227"/>
                <a:gd name="T55" fmla="*/ 49 h 244"/>
                <a:gd name="T56" fmla="*/ 48 w 227"/>
                <a:gd name="T57" fmla="*/ 0 h 244"/>
                <a:gd name="T58" fmla="*/ 80 w 227"/>
                <a:gd name="T5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7" h="244">
                  <a:moveTo>
                    <a:pt x="80" y="0"/>
                  </a:moveTo>
                  <a:cubicBezTo>
                    <a:pt x="97" y="12"/>
                    <a:pt x="101" y="28"/>
                    <a:pt x="101" y="49"/>
                  </a:cubicBezTo>
                  <a:cubicBezTo>
                    <a:pt x="100" y="96"/>
                    <a:pt x="100" y="143"/>
                    <a:pt x="101" y="191"/>
                  </a:cubicBezTo>
                  <a:cubicBezTo>
                    <a:pt x="101" y="200"/>
                    <a:pt x="100" y="210"/>
                    <a:pt x="111" y="214"/>
                  </a:cubicBezTo>
                  <a:cubicBezTo>
                    <a:pt x="124" y="211"/>
                    <a:pt x="123" y="202"/>
                    <a:pt x="123" y="192"/>
                  </a:cubicBezTo>
                  <a:cubicBezTo>
                    <a:pt x="124" y="158"/>
                    <a:pt x="123" y="124"/>
                    <a:pt x="124" y="90"/>
                  </a:cubicBezTo>
                  <a:cubicBezTo>
                    <a:pt x="124" y="74"/>
                    <a:pt x="134" y="61"/>
                    <a:pt x="148" y="57"/>
                  </a:cubicBezTo>
                  <a:cubicBezTo>
                    <a:pt x="163" y="52"/>
                    <a:pt x="180" y="56"/>
                    <a:pt x="189" y="69"/>
                  </a:cubicBezTo>
                  <a:cubicBezTo>
                    <a:pt x="193" y="75"/>
                    <a:pt x="195" y="84"/>
                    <a:pt x="196" y="91"/>
                  </a:cubicBezTo>
                  <a:cubicBezTo>
                    <a:pt x="197" y="104"/>
                    <a:pt x="196" y="118"/>
                    <a:pt x="197" y="131"/>
                  </a:cubicBezTo>
                  <a:cubicBezTo>
                    <a:pt x="197" y="160"/>
                    <a:pt x="197" y="160"/>
                    <a:pt x="226" y="166"/>
                  </a:cubicBezTo>
                  <a:cubicBezTo>
                    <a:pt x="226" y="172"/>
                    <a:pt x="227" y="178"/>
                    <a:pt x="227" y="184"/>
                  </a:cubicBezTo>
                  <a:cubicBezTo>
                    <a:pt x="192" y="195"/>
                    <a:pt x="172" y="181"/>
                    <a:pt x="172" y="148"/>
                  </a:cubicBezTo>
                  <a:cubicBezTo>
                    <a:pt x="171" y="132"/>
                    <a:pt x="172" y="117"/>
                    <a:pt x="171" y="102"/>
                  </a:cubicBezTo>
                  <a:cubicBezTo>
                    <a:pt x="171" y="95"/>
                    <a:pt x="167" y="88"/>
                    <a:pt x="165" y="82"/>
                  </a:cubicBezTo>
                  <a:cubicBezTo>
                    <a:pt x="148" y="84"/>
                    <a:pt x="149" y="94"/>
                    <a:pt x="149" y="104"/>
                  </a:cubicBezTo>
                  <a:cubicBezTo>
                    <a:pt x="148" y="138"/>
                    <a:pt x="149" y="172"/>
                    <a:pt x="148" y="206"/>
                  </a:cubicBezTo>
                  <a:cubicBezTo>
                    <a:pt x="148" y="223"/>
                    <a:pt x="137" y="236"/>
                    <a:pt x="123" y="240"/>
                  </a:cubicBezTo>
                  <a:cubicBezTo>
                    <a:pt x="107" y="244"/>
                    <a:pt x="90" y="239"/>
                    <a:pt x="82" y="225"/>
                  </a:cubicBezTo>
                  <a:cubicBezTo>
                    <a:pt x="78" y="218"/>
                    <a:pt x="76" y="208"/>
                    <a:pt x="76" y="199"/>
                  </a:cubicBezTo>
                  <a:cubicBezTo>
                    <a:pt x="75" y="149"/>
                    <a:pt x="75" y="99"/>
                    <a:pt x="75" y="49"/>
                  </a:cubicBezTo>
                  <a:cubicBezTo>
                    <a:pt x="75" y="40"/>
                    <a:pt x="76" y="30"/>
                    <a:pt x="65" y="26"/>
                  </a:cubicBezTo>
                  <a:cubicBezTo>
                    <a:pt x="54" y="28"/>
                    <a:pt x="53" y="36"/>
                    <a:pt x="53" y="44"/>
                  </a:cubicBezTo>
                  <a:cubicBezTo>
                    <a:pt x="53" y="59"/>
                    <a:pt x="53" y="74"/>
                    <a:pt x="52" y="88"/>
                  </a:cubicBezTo>
                  <a:cubicBezTo>
                    <a:pt x="52" y="119"/>
                    <a:pt x="35" y="132"/>
                    <a:pt x="2" y="125"/>
                  </a:cubicBezTo>
                  <a:cubicBezTo>
                    <a:pt x="1" y="120"/>
                    <a:pt x="1" y="114"/>
                    <a:pt x="0" y="109"/>
                  </a:cubicBezTo>
                  <a:cubicBezTo>
                    <a:pt x="27" y="97"/>
                    <a:pt x="27" y="97"/>
                    <a:pt x="27" y="69"/>
                  </a:cubicBezTo>
                  <a:cubicBezTo>
                    <a:pt x="27" y="62"/>
                    <a:pt x="28" y="55"/>
                    <a:pt x="27" y="49"/>
                  </a:cubicBezTo>
                  <a:cubicBezTo>
                    <a:pt x="25" y="28"/>
                    <a:pt x="31" y="12"/>
                    <a:pt x="48" y="0"/>
                  </a:cubicBezTo>
                  <a:cubicBezTo>
                    <a:pt x="59" y="0"/>
                    <a:pt x="69" y="0"/>
                    <a:pt x="80" y="0"/>
                  </a:cubicBezTo>
                  <a:close/>
                </a:path>
              </a:pathLst>
            </a:custGeom>
            <a:grpFill/>
            <a:ln>
              <a:solidFill>
                <a:schemeClr val="bg1"/>
              </a:solidFill>
            </a:ln>
          </p:spPr>
          <p:txBody>
            <a:bodyPr vert="horz" wrap="square" lIns="89604" tIns="44802" rIns="89604" bIns="44802" numCol="1" anchor="t" anchorCtr="0" compatLnSpc="1">
              <a:prstTxWarp prst="textNoShape">
                <a:avLst/>
              </a:prstTxWarp>
            </a:bodyPr>
            <a:lstStyle/>
            <a:p>
              <a:pPr defTabSz="913841">
                <a:defRPr/>
              </a:pPr>
              <a:endParaRPr lang="en-US" sz="1369" kern="0">
                <a:solidFill>
                  <a:srgbClr val="FFFFFF"/>
                </a:solidFill>
                <a:latin typeface="Segoe UI"/>
              </a:endParaRPr>
            </a:p>
          </p:txBody>
        </p:sp>
        <p:sp>
          <p:nvSpPr>
            <p:cNvPr id="207" name="Freeform 19"/>
            <p:cNvSpPr>
              <a:spLocks/>
            </p:cNvSpPr>
            <p:nvPr/>
          </p:nvSpPr>
          <p:spPr bwMode="auto">
            <a:xfrm>
              <a:off x="-197964" y="2000871"/>
              <a:ext cx="85726" cy="171449"/>
            </a:xfrm>
            <a:custGeom>
              <a:avLst/>
              <a:gdLst>
                <a:gd name="T0" fmla="*/ 23 w 23"/>
                <a:gd name="T1" fmla="*/ 26 h 45"/>
                <a:gd name="T2" fmla="*/ 0 w 23"/>
                <a:gd name="T3" fmla="*/ 45 h 45"/>
                <a:gd name="T4" fmla="*/ 0 w 23"/>
                <a:gd name="T5" fmla="*/ 0 h 45"/>
                <a:gd name="T6" fmla="*/ 23 w 23"/>
                <a:gd name="T7" fmla="*/ 18 h 45"/>
                <a:gd name="T8" fmla="*/ 23 w 23"/>
                <a:gd name="T9" fmla="*/ 26 h 45"/>
              </a:gdLst>
              <a:ahLst/>
              <a:cxnLst>
                <a:cxn ang="0">
                  <a:pos x="T0" y="T1"/>
                </a:cxn>
                <a:cxn ang="0">
                  <a:pos x="T2" y="T3"/>
                </a:cxn>
                <a:cxn ang="0">
                  <a:pos x="T4" y="T5"/>
                </a:cxn>
                <a:cxn ang="0">
                  <a:pos x="T6" y="T7"/>
                </a:cxn>
                <a:cxn ang="0">
                  <a:pos x="T8" y="T9"/>
                </a:cxn>
              </a:cxnLst>
              <a:rect l="0" t="0" r="r" b="b"/>
              <a:pathLst>
                <a:path w="23" h="45">
                  <a:moveTo>
                    <a:pt x="23" y="26"/>
                  </a:moveTo>
                  <a:cubicBezTo>
                    <a:pt x="16" y="32"/>
                    <a:pt x="9" y="37"/>
                    <a:pt x="0" y="45"/>
                  </a:cubicBezTo>
                  <a:cubicBezTo>
                    <a:pt x="0" y="29"/>
                    <a:pt x="0" y="16"/>
                    <a:pt x="0" y="0"/>
                  </a:cubicBezTo>
                  <a:cubicBezTo>
                    <a:pt x="8" y="7"/>
                    <a:pt x="16" y="12"/>
                    <a:pt x="23" y="18"/>
                  </a:cubicBezTo>
                  <a:cubicBezTo>
                    <a:pt x="23" y="21"/>
                    <a:pt x="23" y="23"/>
                    <a:pt x="23" y="26"/>
                  </a:cubicBezTo>
                  <a:close/>
                </a:path>
              </a:pathLst>
            </a:custGeom>
            <a:grpFill/>
            <a:ln>
              <a:solidFill>
                <a:schemeClr val="bg1"/>
              </a:solidFill>
            </a:ln>
          </p:spPr>
          <p:txBody>
            <a:bodyPr vert="horz" wrap="square" lIns="89604" tIns="44802" rIns="89604" bIns="44802" numCol="1" anchor="t" anchorCtr="0" compatLnSpc="1">
              <a:prstTxWarp prst="textNoShape">
                <a:avLst/>
              </a:prstTxWarp>
            </a:bodyPr>
            <a:lstStyle/>
            <a:p>
              <a:pPr defTabSz="913841">
                <a:defRPr/>
              </a:pPr>
              <a:endParaRPr lang="en-US" sz="1369" kern="0">
                <a:solidFill>
                  <a:srgbClr val="FFFFFF"/>
                </a:solidFill>
                <a:latin typeface="Segoe UI"/>
              </a:endParaRPr>
            </a:p>
          </p:txBody>
        </p:sp>
        <p:sp>
          <p:nvSpPr>
            <p:cNvPr id="208" name="Freeform 20"/>
            <p:cNvSpPr>
              <a:spLocks/>
            </p:cNvSpPr>
            <p:nvPr/>
          </p:nvSpPr>
          <p:spPr bwMode="auto">
            <a:xfrm>
              <a:off x="-1220314" y="1762744"/>
              <a:ext cx="90489" cy="185738"/>
            </a:xfrm>
            <a:custGeom>
              <a:avLst/>
              <a:gdLst>
                <a:gd name="T0" fmla="*/ 24 w 24"/>
                <a:gd name="T1" fmla="*/ 0 h 49"/>
                <a:gd name="T2" fmla="*/ 24 w 24"/>
                <a:gd name="T3" fmla="*/ 49 h 49"/>
                <a:gd name="T4" fmla="*/ 0 w 24"/>
                <a:gd name="T5" fmla="*/ 26 h 49"/>
                <a:gd name="T6" fmla="*/ 24 w 24"/>
                <a:gd name="T7" fmla="*/ 0 h 49"/>
              </a:gdLst>
              <a:ahLst/>
              <a:cxnLst>
                <a:cxn ang="0">
                  <a:pos x="T0" y="T1"/>
                </a:cxn>
                <a:cxn ang="0">
                  <a:pos x="T2" y="T3"/>
                </a:cxn>
                <a:cxn ang="0">
                  <a:pos x="T4" y="T5"/>
                </a:cxn>
                <a:cxn ang="0">
                  <a:pos x="T6" y="T7"/>
                </a:cxn>
              </a:cxnLst>
              <a:rect l="0" t="0" r="r" b="b"/>
              <a:pathLst>
                <a:path w="24" h="49">
                  <a:moveTo>
                    <a:pt x="24" y="0"/>
                  </a:moveTo>
                  <a:cubicBezTo>
                    <a:pt x="24" y="18"/>
                    <a:pt x="24" y="31"/>
                    <a:pt x="24" y="49"/>
                  </a:cubicBezTo>
                  <a:cubicBezTo>
                    <a:pt x="15" y="40"/>
                    <a:pt x="8" y="34"/>
                    <a:pt x="0" y="26"/>
                  </a:cubicBezTo>
                  <a:cubicBezTo>
                    <a:pt x="7" y="18"/>
                    <a:pt x="14" y="11"/>
                    <a:pt x="24" y="0"/>
                  </a:cubicBezTo>
                  <a:close/>
                </a:path>
              </a:pathLst>
            </a:custGeom>
            <a:grpFill/>
            <a:ln>
              <a:solidFill>
                <a:schemeClr val="bg1"/>
              </a:solidFill>
            </a:ln>
          </p:spPr>
          <p:txBody>
            <a:bodyPr vert="horz" wrap="square" lIns="89604" tIns="44802" rIns="89604" bIns="44802" numCol="1" anchor="t" anchorCtr="0" compatLnSpc="1">
              <a:prstTxWarp prst="textNoShape">
                <a:avLst/>
              </a:prstTxWarp>
            </a:bodyPr>
            <a:lstStyle/>
            <a:p>
              <a:pPr defTabSz="913841">
                <a:defRPr/>
              </a:pPr>
              <a:endParaRPr lang="en-US" sz="1369" kern="0">
                <a:solidFill>
                  <a:srgbClr val="FFFFFF"/>
                </a:solidFill>
                <a:latin typeface="Segoe UI"/>
              </a:endParaRPr>
            </a:p>
          </p:txBody>
        </p:sp>
      </p:grpSp>
      <p:grpSp>
        <p:nvGrpSpPr>
          <p:cNvPr id="209" name="Group 208"/>
          <p:cNvGrpSpPr/>
          <p:nvPr/>
        </p:nvGrpSpPr>
        <p:grpSpPr>
          <a:xfrm>
            <a:off x="6015398" y="5194100"/>
            <a:ext cx="370484" cy="283191"/>
            <a:chOff x="5593612" y="3112499"/>
            <a:chExt cx="3151803" cy="2306516"/>
          </a:xfrm>
        </p:grpSpPr>
        <p:grpSp>
          <p:nvGrpSpPr>
            <p:cNvPr id="210" name="Group 209"/>
            <p:cNvGrpSpPr/>
            <p:nvPr/>
          </p:nvGrpSpPr>
          <p:grpSpPr>
            <a:xfrm>
              <a:off x="5593612" y="3112499"/>
              <a:ext cx="3151803" cy="2306516"/>
              <a:chOff x="9787835" y="3772739"/>
              <a:chExt cx="463841" cy="348632"/>
            </a:xfrm>
          </p:grpSpPr>
          <p:sp>
            <p:nvSpPr>
              <p:cNvPr id="212" name="Freeform 211"/>
              <p:cNvSpPr>
                <a:spLocks noChangeAspect="1"/>
              </p:cNvSpPr>
              <p:nvPr/>
            </p:nvSpPr>
            <p:spPr bwMode="auto">
              <a:xfrm>
                <a:off x="10063767" y="3958358"/>
                <a:ext cx="156290" cy="156290"/>
              </a:xfrm>
              <a:custGeom>
                <a:avLst/>
                <a:gdLst>
                  <a:gd name="connsiteX0" fmla="*/ 91440 w 182880"/>
                  <a:gd name="connsiteY0" fmla="*/ 21069 h 182880"/>
                  <a:gd name="connsiteX1" fmla="*/ 91440 w 182880"/>
                  <a:gd name="connsiteY1" fmla="*/ 91441 h 182880"/>
                  <a:gd name="connsiteX2" fmla="*/ 160020 w 182880"/>
                  <a:gd name="connsiteY2" fmla="*/ 91441 h 182880"/>
                  <a:gd name="connsiteX3" fmla="*/ 91440 w 182880"/>
                  <a:gd name="connsiteY3" fmla="*/ 161813 h 182880"/>
                  <a:gd name="connsiteX4" fmla="*/ 22860 w 182880"/>
                  <a:gd name="connsiteY4" fmla="*/ 91441 h 182880"/>
                  <a:gd name="connsiteX5" fmla="*/ 91440 w 182880"/>
                  <a:gd name="connsiteY5" fmla="*/ 21069 h 182880"/>
                  <a:gd name="connsiteX6" fmla="*/ 99868 w 182880"/>
                  <a:gd name="connsiteY6" fmla="*/ 15106 h 182880"/>
                  <a:gd name="connsiteX7" fmla="*/ 166754 w 182880"/>
                  <a:gd name="connsiteY7" fmla="*/ 84439 h 182880"/>
                  <a:gd name="connsiteX8" fmla="*/ 98178 w 182880"/>
                  <a:gd name="connsiteY8" fmla="*/ 83665 h 182880"/>
                  <a:gd name="connsiteX9" fmla="*/ 99868 w 182880"/>
                  <a:gd name="connsiteY9" fmla="*/ 15106 h 182880"/>
                  <a:gd name="connsiteX10" fmla="*/ 91440 w 182880"/>
                  <a:gd name="connsiteY10" fmla="*/ 7121 h 182880"/>
                  <a:gd name="connsiteX11" fmla="*/ 7121 w 182880"/>
                  <a:gd name="connsiteY11" fmla="*/ 91440 h 182880"/>
                  <a:gd name="connsiteX12" fmla="*/ 91440 w 182880"/>
                  <a:gd name="connsiteY12" fmla="*/ 175759 h 182880"/>
                  <a:gd name="connsiteX13" fmla="*/ 175759 w 182880"/>
                  <a:gd name="connsiteY13" fmla="*/ 91440 h 182880"/>
                  <a:gd name="connsiteX14" fmla="*/ 91440 w 182880"/>
                  <a:gd name="connsiteY14" fmla="*/ 7121 h 182880"/>
                  <a:gd name="connsiteX15" fmla="*/ 91440 w 182880"/>
                  <a:gd name="connsiteY15" fmla="*/ 0 h 182880"/>
                  <a:gd name="connsiteX16" fmla="*/ 182880 w 182880"/>
                  <a:gd name="connsiteY16" fmla="*/ 91440 h 182880"/>
                  <a:gd name="connsiteX17" fmla="*/ 91440 w 182880"/>
                  <a:gd name="connsiteY17" fmla="*/ 182880 h 182880"/>
                  <a:gd name="connsiteX18" fmla="*/ 0 w 182880"/>
                  <a:gd name="connsiteY18" fmla="*/ 91440 h 182880"/>
                  <a:gd name="connsiteX19" fmla="*/ 91440 w 182880"/>
                  <a:gd name="connsiteY19"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880" h="182880">
                    <a:moveTo>
                      <a:pt x="91440" y="21069"/>
                    </a:moveTo>
                    <a:lnTo>
                      <a:pt x="91440" y="91441"/>
                    </a:lnTo>
                    <a:lnTo>
                      <a:pt x="160020" y="91441"/>
                    </a:lnTo>
                    <a:cubicBezTo>
                      <a:pt x="160020" y="130306"/>
                      <a:pt x="129316" y="161813"/>
                      <a:pt x="91440" y="161813"/>
                    </a:cubicBezTo>
                    <a:cubicBezTo>
                      <a:pt x="53564" y="161813"/>
                      <a:pt x="22860" y="130306"/>
                      <a:pt x="22860" y="91441"/>
                    </a:cubicBezTo>
                    <a:cubicBezTo>
                      <a:pt x="22860" y="52576"/>
                      <a:pt x="53564" y="21069"/>
                      <a:pt x="91440" y="21069"/>
                    </a:cubicBezTo>
                    <a:close/>
                    <a:moveTo>
                      <a:pt x="99868" y="15106"/>
                    </a:moveTo>
                    <a:cubicBezTo>
                      <a:pt x="137375" y="16031"/>
                      <a:pt x="167177" y="46923"/>
                      <a:pt x="166754" y="84439"/>
                    </a:cubicBezTo>
                    <a:lnTo>
                      <a:pt x="98178" y="83665"/>
                    </a:lnTo>
                    <a:cubicBezTo>
                      <a:pt x="98741" y="60812"/>
                      <a:pt x="99305" y="37959"/>
                      <a:pt x="99868" y="15106"/>
                    </a:cubicBezTo>
                    <a:close/>
                    <a:moveTo>
                      <a:pt x="91440" y="7121"/>
                    </a:moveTo>
                    <a:cubicBezTo>
                      <a:pt x="44872" y="7121"/>
                      <a:pt x="7121" y="44872"/>
                      <a:pt x="7121" y="91440"/>
                    </a:cubicBezTo>
                    <a:cubicBezTo>
                      <a:pt x="7121" y="138008"/>
                      <a:pt x="44872" y="175759"/>
                      <a:pt x="91440" y="175759"/>
                    </a:cubicBezTo>
                    <a:cubicBezTo>
                      <a:pt x="138008" y="175759"/>
                      <a:pt x="175759" y="138008"/>
                      <a:pt x="175759" y="91440"/>
                    </a:cubicBezTo>
                    <a:cubicBezTo>
                      <a:pt x="175759" y="44872"/>
                      <a:pt x="138008" y="7121"/>
                      <a:pt x="91440" y="7121"/>
                    </a:cubicBezTo>
                    <a:close/>
                    <a:moveTo>
                      <a:pt x="91440" y="0"/>
                    </a:moveTo>
                    <a:cubicBezTo>
                      <a:pt x="141941" y="0"/>
                      <a:pt x="182880" y="40939"/>
                      <a:pt x="182880" y="91440"/>
                    </a:cubicBezTo>
                    <a:cubicBezTo>
                      <a:pt x="182880" y="141941"/>
                      <a:pt x="141941" y="182880"/>
                      <a:pt x="91440" y="182880"/>
                    </a:cubicBezTo>
                    <a:cubicBezTo>
                      <a:pt x="40939" y="182880"/>
                      <a:pt x="0" y="141941"/>
                      <a:pt x="0" y="91440"/>
                    </a:cubicBezTo>
                    <a:cubicBezTo>
                      <a:pt x="0" y="40939"/>
                      <a:pt x="40939" y="0"/>
                      <a:pt x="9144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defRPr/>
                </a:pPr>
                <a:endParaRPr lang="en-US" sz="1836" kern="0" spc="-5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3" name="MEASUREMENT &amp; VERIFICATION"/>
              <p:cNvSpPr>
                <a:spLocks noChangeAspect="1"/>
              </p:cNvSpPr>
              <p:nvPr/>
            </p:nvSpPr>
            <p:spPr bwMode="auto">
              <a:xfrm>
                <a:off x="10081123" y="3807949"/>
                <a:ext cx="170553" cy="115532"/>
              </a:xfrm>
              <a:custGeom>
                <a:avLst/>
                <a:gdLst/>
                <a:ahLst/>
                <a:cxnLst/>
                <a:rect l="l" t="t" r="r" b="b"/>
                <a:pathLst>
                  <a:path w="572573" h="387858">
                    <a:moveTo>
                      <a:pt x="242040" y="130004"/>
                    </a:moveTo>
                    <a:lnTo>
                      <a:pt x="325022" y="130004"/>
                    </a:lnTo>
                    <a:cubicBezTo>
                      <a:pt x="336480" y="130004"/>
                      <a:pt x="345768" y="139292"/>
                      <a:pt x="345768" y="150750"/>
                    </a:cubicBezTo>
                    <a:lnTo>
                      <a:pt x="345768" y="310446"/>
                    </a:lnTo>
                    <a:cubicBezTo>
                      <a:pt x="345768" y="321904"/>
                      <a:pt x="336480" y="331192"/>
                      <a:pt x="325022" y="331192"/>
                    </a:cubicBezTo>
                    <a:lnTo>
                      <a:pt x="242040" y="331192"/>
                    </a:lnTo>
                    <a:cubicBezTo>
                      <a:pt x="230582" y="331192"/>
                      <a:pt x="221294" y="321904"/>
                      <a:pt x="221294" y="310446"/>
                    </a:cubicBezTo>
                    <a:lnTo>
                      <a:pt x="221294" y="150750"/>
                    </a:lnTo>
                    <a:cubicBezTo>
                      <a:pt x="221294" y="139292"/>
                      <a:pt x="230582" y="130004"/>
                      <a:pt x="242040" y="130004"/>
                    </a:cubicBezTo>
                    <a:close/>
                    <a:moveTo>
                      <a:pt x="87949" y="64705"/>
                    </a:moveTo>
                    <a:lnTo>
                      <a:pt x="170931" y="64705"/>
                    </a:lnTo>
                    <a:cubicBezTo>
                      <a:pt x="182389" y="64705"/>
                      <a:pt x="191677" y="73993"/>
                      <a:pt x="191677" y="85451"/>
                    </a:cubicBezTo>
                    <a:lnTo>
                      <a:pt x="191677" y="310446"/>
                    </a:lnTo>
                    <a:cubicBezTo>
                      <a:pt x="191677" y="321904"/>
                      <a:pt x="182389" y="331192"/>
                      <a:pt x="170931" y="331192"/>
                    </a:cubicBezTo>
                    <a:lnTo>
                      <a:pt x="87949" y="331192"/>
                    </a:lnTo>
                    <a:cubicBezTo>
                      <a:pt x="76491" y="331192"/>
                      <a:pt x="67203" y="321904"/>
                      <a:pt x="67203" y="310446"/>
                    </a:cubicBezTo>
                    <a:lnTo>
                      <a:pt x="67203" y="85451"/>
                    </a:lnTo>
                    <a:cubicBezTo>
                      <a:pt x="67203" y="73993"/>
                      <a:pt x="76491" y="64705"/>
                      <a:pt x="87949" y="64705"/>
                    </a:cubicBezTo>
                    <a:close/>
                    <a:moveTo>
                      <a:pt x="396132" y="12043"/>
                    </a:moveTo>
                    <a:lnTo>
                      <a:pt x="479114" y="12043"/>
                    </a:lnTo>
                    <a:cubicBezTo>
                      <a:pt x="490572" y="12043"/>
                      <a:pt x="499860" y="21331"/>
                      <a:pt x="499860" y="32789"/>
                    </a:cubicBezTo>
                    <a:lnTo>
                      <a:pt x="499860" y="310446"/>
                    </a:lnTo>
                    <a:cubicBezTo>
                      <a:pt x="499860" y="321904"/>
                      <a:pt x="490572" y="331192"/>
                      <a:pt x="479114" y="331192"/>
                    </a:cubicBezTo>
                    <a:lnTo>
                      <a:pt x="396132" y="331192"/>
                    </a:lnTo>
                    <a:cubicBezTo>
                      <a:pt x="384674" y="331192"/>
                      <a:pt x="375386" y="321904"/>
                      <a:pt x="375386" y="310446"/>
                    </a:cubicBezTo>
                    <a:lnTo>
                      <a:pt x="375386" y="32789"/>
                    </a:lnTo>
                    <a:cubicBezTo>
                      <a:pt x="375386" y="21331"/>
                      <a:pt x="384674" y="12043"/>
                      <a:pt x="396132" y="12043"/>
                    </a:cubicBezTo>
                    <a:close/>
                    <a:moveTo>
                      <a:pt x="2443" y="0"/>
                    </a:moveTo>
                    <a:lnTo>
                      <a:pt x="39362" y="0"/>
                    </a:lnTo>
                    <a:lnTo>
                      <a:pt x="39362" y="278103"/>
                    </a:lnTo>
                    <a:cubicBezTo>
                      <a:pt x="39362" y="346299"/>
                      <a:pt x="49363" y="356299"/>
                      <a:pt x="115165" y="353906"/>
                    </a:cubicBezTo>
                    <a:cubicBezTo>
                      <a:pt x="180967" y="351513"/>
                      <a:pt x="420104" y="353906"/>
                      <a:pt x="572573" y="353906"/>
                    </a:cubicBezTo>
                    <a:lnTo>
                      <a:pt x="572573" y="387858"/>
                    </a:lnTo>
                    <a:lnTo>
                      <a:pt x="76866" y="387858"/>
                    </a:lnTo>
                    <a:cubicBezTo>
                      <a:pt x="20638" y="387858"/>
                      <a:pt x="3456" y="377856"/>
                      <a:pt x="1063" y="312055"/>
                    </a:cubicBezTo>
                    <a:cubicBezTo>
                      <a:pt x="-1330" y="246254"/>
                      <a:pt x="1063" y="109922"/>
                      <a:pt x="1063" y="885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defRPr/>
                </a:pPr>
                <a:endParaRPr lang="en-US" sz="1836" kern="0" spc="-5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4" name="Rounded Rectangle 213"/>
              <p:cNvSpPr/>
              <p:nvPr/>
            </p:nvSpPr>
            <p:spPr bwMode="auto">
              <a:xfrm>
                <a:off x="9787835" y="3772739"/>
                <a:ext cx="262320" cy="348632"/>
              </a:xfrm>
              <a:prstGeom prst="roundRect">
                <a:avLst>
                  <a:gd name="adj" fmla="val 1080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defRPr/>
                </a:pPr>
                <a:endParaRPr lang="en-US" sz="1836" kern="0" spc="-5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5" name="MAINTENANCE MANAGEMENT"/>
              <p:cNvSpPr>
                <a:spLocks noChangeAspect="1"/>
              </p:cNvSpPr>
              <p:nvPr/>
            </p:nvSpPr>
            <p:spPr bwMode="auto">
              <a:xfrm>
                <a:off x="9791936" y="3790932"/>
                <a:ext cx="232665" cy="181030"/>
              </a:xfrm>
              <a:custGeom>
                <a:avLst/>
                <a:gdLst/>
                <a:ahLst/>
                <a:cxnLst/>
                <a:rect l="l" t="t" r="r" b="b"/>
                <a:pathLst>
                  <a:path w="656786" h="511028">
                    <a:moveTo>
                      <a:pt x="207142" y="234489"/>
                    </a:moveTo>
                    <a:cubicBezTo>
                      <a:pt x="229991" y="234489"/>
                      <a:pt x="248513" y="253006"/>
                      <a:pt x="248513" y="275849"/>
                    </a:cubicBezTo>
                    <a:cubicBezTo>
                      <a:pt x="248513" y="298691"/>
                      <a:pt x="229991" y="317209"/>
                      <a:pt x="207142" y="317209"/>
                    </a:cubicBezTo>
                    <a:cubicBezTo>
                      <a:pt x="184294" y="317209"/>
                      <a:pt x="165771" y="298691"/>
                      <a:pt x="165771" y="275849"/>
                    </a:cubicBezTo>
                    <a:cubicBezTo>
                      <a:pt x="165771" y="253006"/>
                      <a:pt x="184294" y="234489"/>
                      <a:pt x="207142" y="234489"/>
                    </a:cubicBezTo>
                    <a:close/>
                    <a:moveTo>
                      <a:pt x="207142" y="193129"/>
                    </a:moveTo>
                    <a:cubicBezTo>
                      <a:pt x="161445" y="193129"/>
                      <a:pt x="124400" y="230164"/>
                      <a:pt x="124400" y="275849"/>
                    </a:cubicBezTo>
                    <a:cubicBezTo>
                      <a:pt x="124400" y="321534"/>
                      <a:pt x="161445" y="358569"/>
                      <a:pt x="207142" y="358569"/>
                    </a:cubicBezTo>
                    <a:cubicBezTo>
                      <a:pt x="252839" y="358569"/>
                      <a:pt x="289884" y="321534"/>
                      <a:pt x="289884" y="275849"/>
                    </a:cubicBezTo>
                    <a:cubicBezTo>
                      <a:pt x="289884" y="230164"/>
                      <a:pt x="252839" y="193129"/>
                      <a:pt x="207142" y="193129"/>
                    </a:cubicBezTo>
                    <a:close/>
                    <a:moveTo>
                      <a:pt x="528546" y="108396"/>
                    </a:moveTo>
                    <a:cubicBezTo>
                      <a:pt x="542255" y="108396"/>
                      <a:pt x="553369" y="119507"/>
                      <a:pt x="553369" y="133213"/>
                    </a:cubicBezTo>
                    <a:cubicBezTo>
                      <a:pt x="553369" y="146918"/>
                      <a:pt x="542255" y="158029"/>
                      <a:pt x="528546" y="158029"/>
                    </a:cubicBezTo>
                    <a:cubicBezTo>
                      <a:pt x="514837" y="158029"/>
                      <a:pt x="503724" y="146918"/>
                      <a:pt x="503724" y="133213"/>
                    </a:cubicBezTo>
                    <a:cubicBezTo>
                      <a:pt x="503724" y="119507"/>
                      <a:pt x="514837" y="108396"/>
                      <a:pt x="528546" y="108396"/>
                    </a:cubicBezTo>
                    <a:close/>
                    <a:moveTo>
                      <a:pt x="528546" y="83580"/>
                    </a:moveTo>
                    <a:cubicBezTo>
                      <a:pt x="501128" y="83580"/>
                      <a:pt x="478901" y="105801"/>
                      <a:pt x="478901" y="133213"/>
                    </a:cubicBezTo>
                    <a:cubicBezTo>
                      <a:pt x="478901" y="160624"/>
                      <a:pt x="501128" y="182845"/>
                      <a:pt x="528546" y="182845"/>
                    </a:cubicBezTo>
                    <a:cubicBezTo>
                      <a:pt x="555964" y="182845"/>
                      <a:pt x="578191" y="160624"/>
                      <a:pt x="578191" y="133213"/>
                    </a:cubicBezTo>
                    <a:cubicBezTo>
                      <a:pt x="578191" y="105801"/>
                      <a:pt x="555964" y="83580"/>
                      <a:pt x="528546" y="83580"/>
                    </a:cubicBezTo>
                    <a:close/>
                    <a:moveTo>
                      <a:pt x="231599" y="53828"/>
                    </a:moveTo>
                    <a:lnTo>
                      <a:pt x="241004" y="97315"/>
                    </a:lnTo>
                    <a:lnTo>
                      <a:pt x="285678" y="112594"/>
                    </a:lnTo>
                    <a:lnTo>
                      <a:pt x="312717" y="83211"/>
                    </a:lnTo>
                    <a:lnTo>
                      <a:pt x="353864" y="111419"/>
                    </a:lnTo>
                    <a:lnTo>
                      <a:pt x="338581" y="152555"/>
                    </a:lnTo>
                    <a:lnTo>
                      <a:pt x="360918" y="185464"/>
                    </a:lnTo>
                    <a:lnTo>
                      <a:pt x="406767" y="185464"/>
                    </a:lnTo>
                    <a:lnTo>
                      <a:pt x="420875" y="237178"/>
                    </a:lnTo>
                    <a:lnTo>
                      <a:pt x="389133" y="261860"/>
                    </a:lnTo>
                    <a:lnTo>
                      <a:pt x="389133" y="300646"/>
                    </a:lnTo>
                    <a:lnTo>
                      <a:pt x="418524" y="327678"/>
                    </a:lnTo>
                    <a:lnTo>
                      <a:pt x="407943" y="374691"/>
                    </a:lnTo>
                    <a:lnTo>
                      <a:pt x="357391" y="375866"/>
                    </a:lnTo>
                    <a:lnTo>
                      <a:pt x="339757" y="404074"/>
                    </a:lnTo>
                    <a:lnTo>
                      <a:pt x="350337" y="447561"/>
                    </a:lnTo>
                    <a:lnTo>
                      <a:pt x="312717" y="475769"/>
                    </a:lnTo>
                    <a:lnTo>
                      <a:pt x="278624" y="448736"/>
                    </a:lnTo>
                    <a:lnTo>
                      <a:pt x="241004" y="465191"/>
                    </a:lnTo>
                    <a:lnTo>
                      <a:pt x="232774" y="506327"/>
                    </a:lnTo>
                    <a:lnTo>
                      <a:pt x="184574" y="511028"/>
                    </a:lnTo>
                    <a:lnTo>
                      <a:pt x="172817" y="460489"/>
                    </a:lnTo>
                    <a:lnTo>
                      <a:pt x="134022" y="448736"/>
                    </a:lnTo>
                    <a:lnTo>
                      <a:pt x="101104" y="475769"/>
                    </a:lnTo>
                    <a:lnTo>
                      <a:pt x="68186" y="446385"/>
                    </a:lnTo>
                    <a:lnTo>
                      <a:pt x="79943" y="407600"/>
                    </a:lnTo>
                    <a:lnTo>
                      <a:pt x="55255" y="374691"/>
                    </a:lnTo>
                    <a:lnTo>
                      <a:pt x="9405" y="373516"/>
                    </a:lnTo>
                    <a:lnTo>
                      <a:pt x="0" y="327678"/>
                    </a:lnTo>
                    <a:lnTo>
                      <a:pt x="36444" y="308873"/>
                    </a:lnTo>
                    <a:lnTo>
                      <a:pt x="35269" y="263035"/>
                    </a:lnTo>
                    <a:lnTo>
                      <a:pt x="0" y="233652"/>
                    </a:lnTo>
                    <a:lnTo>
                      <a:pt x="12932" y="190165"/>
                    </a:lnTo>
                    <a:lnTo>
                      <a:pt x="56430" y="191341"/>
                    </a:lnTo>
                    <a:lnTo>
                      <a:pt x="81118" y="164308"/>
                    </a:lnTo>
                    <a:lnTo>
                      <a:pt x="65835" y="111419"/>
                    </a:lnTo>
                    <a:lnTo>
                      <a:pt x="99928" y="84386"/>
                    </a:lnTo>
                    <a:lnTo>
                      <a:pt x="139900" y="111419"/>
                    </a:lnTo>
                    <a:lnTo>
                      <a:pt x="172817" y="99666"/>
                    </a:lnTo>
                    <a:lnTo>
                      <a:pt x="185749" y="55003"/>
                    </a:lnTo>
                    <a:close/>
                    <a:moveTo>
                      <a:pt x="543220" y="0"/>
                    </a:moveTo>
                    <a:lnTo>
                      <a:pt x="548863" y="26092"/>
                    </a:lnTo>
                    <a:lnTo>
                      <a:pt x="575668" y="35260"/>
                    </a:lnTo>
                    <a:lnTo>
                      <a:pt x="591891" y="17630"/>
                    </a:lnTo>
                    <a:lnTo>
                      <a:pt x="616580" y="34555"/>
                    </a:lnTo>
                    <a:lnTo>
                      <a:pt x="607410" y="59236"/>
                    </a:lnTo>
                    <a:lnTo>
                      <a:pt x="620812" y="78982"/>
                    </a:lnTo>
                    <a:lnTo>
                      <a:pt x="648321" y="78982"/>
                    </a:lnTo>
                    <a:lnTo>
                      <a:pt x="656786" y="110010"/>
                    </a:lnTo>
                    <a:lnTo>
                      <a:pt x="637741" y="124819"/>
                    </a:lnTo>
                    <a:lnTo>
                      <a:pt x="637741" y="148091"/>
                    </a:lnTo>
                    <a:lnTo>
                      <a:pt x="655375" y="164310"/>
                    </a:lnTo>
                    <a:lnTo>
                      <a:pt x="649027" y="192518"/>
                    </a:lnTo>
                    <a:lnTo>
                      <a:pt x="618696" y="193223"/>
                    </a:lnTo>
                    <a:lnTo>
                      <a:pt x="608115" y="210148"/>
                    </a:lnTo>
                    <a:lnTo>
                      <a:pt x="614463" y="236240"/>
                    </a:lnTo>
                    <a:lnTo>
                      <a:pt x="591891" y="253164"/>
                    </a:lnTo>
                    <a:lnTo>
                      <a:pt x="571435" y="236945"/>
                    </a:lnTo>
                    <a:lnTo>
                      <a:pt x="548863" y="246818"/>
                    </a:lnTo>
                    <a:lnTo>
                      <a:pt x="543926" y="271499"/>
                    </a:lnTo>
                    <a:lnTo>
                      <a:pt x="515005" y="274320"/>
                    </a:lnTo>
                    <a:lnTo>
                      <a:pt x="507951" y="243997"/>
                    </a:lnTo>
                    <a:lnTo>
                      <a:pt x="484674" y="236945"/>
                    </a:lnTo>
                    <a:lnTo>
                      <a:pt x="464923" y="253164"/>
                    </a:lnTo>
                    <a:lnTo>
                      <a:pt x="445173" y="235535"/>
                    </a:lnTo>
                    <a:lnTo>
                      <a:pt x="452227" y="212263"/>
                    </a:lnTo>
                    <a:lnTo>
                      <a:pt x="437414" y="192518"/>
                    </a:lnTo>
                    <a:lnTo>
                      <a:pt x="409904" y="191813"/>
                    </a:lnTo>
                    <a:lnTo>
                      <a:pt x="404261" y="164310"/>
                    </a:lnTo>
                    <a:lnTo>
                      <a:pt x="426128" y="153027"/>
                    </a:lnTo>
                    <a:lnTo>
                      <a:pt x="425422" y="125524"/>
                    </a:lnTo>
                    <a:lnTo>
                      <a:pt x="404261" y="107895"/>
                    </a:lnTo>
                    <a:lnTo>
                      <a:pt x="412020" y="81802"/>
                    </a:lnTo>
                    <a:lnTo>
                      <a:pt x="438119" y="82508"/>
                    </a:lnTo>
                    <a:lnTo>
                      <a:pt x="452932" y="66288"/>
                    </a:lnTo>
                    <a:lnTo>
                      <a:pt x="443762" y="34555"/>
                    </a:lnTo>
                    <a:lnTo>
                      <a:pt x="464218" y="18335"/>
                    </a:lnTo>
                    <a:lnTo>
                      <a:pt x="488201" y="34555"/>
                    </a:lnTo>
                    <a:lnTo>
                      <a:pt x="507951" y="27503"/>
                    </a:lnTo>
                    <a:lnTo>
                      <a:pt x="515711" y="705"/>
                    </a:ln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111" fontAlgn="base">
                  <a:spcBef>
                    <a:spcPct val="0"/>
                  </a:spcBef>
                  <a:spcAft>
                    <a:spcPct val="0"/>
                  </a:spcAft>
                  <a:defRPr/>
                </a:pPr>
                <a:endParaRPr lang="en-US" sz="1631" spc="-5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11" name="MAINTENANCE MANAGEMENT"/>
            <p:cNvSpPr>
              <a:spLocks noChangeAspect="1"/>
            </p:cNvSpPr>
            <p:nvPr/>
          </p:nvSpPr>
          <p:spPr bwMode="auto">
            <a:xfrm>
              <a:off x="5796571" y="4217241"/>
              <a:ext cx="1580960" cy="1197677"/>
            </a:xfrm>
            <a:custGeom>
              <a:avLst/>
              <a:gdLst/>
              <a:ahLst/>
              <a:cxnLst/>
              <a:rect l="l" t="t" r="r" b="b"/>
              <a:pathLst>
                <a:path w="656786" h="511028">
                  <a:moveTo>
                    <a:pt x="207142" y="234489"/>
                  </a:moveTo>
                  <a:cubicBezTo>
                    <a:pt x="229991" y="234489"/>
                    <a:pt x="248513" y="253006"/>
                    <a:pt x="248513" y="275849"/>
                  </a:cubicBezTo>
                  <a:cubicBezTo>
                    <a:pt x="248513" y="298691"/>
                    <a:pt x="229991" y="317209"/>
                    <a:pt x="207142" y="317209"/>
                  </a:cubicBezTo>
                  <a:cubicBezTo>
                    <a:pt x="184294" y="317209"/>
                    <a:pt x="165771" y="298691"/>
                    <a:pt x="165771" y="275849"/>
                  </a:cubicBezTo>
                  <a:cubicBezTo>
                    <a:pt x="165771" y="253006"/>
                    <a:pt x="184294" y="234489"/>
                    <a:pt x="207142" y="234489"/>
                  </a:cubicBezTo>
                  <a:close/>
                  <a:moveTo>
                    <a:pt x="207142" y="193129"/>
                  </a:moveTo>
                  <a:cubicBezTo>
                    <a:pt x="161445" y="193129"/>
                    <a:pt x="124400" y="230164"/>
                    <a:pt x="124400" y="275849"/>
                  </a:cubicBezTo>
                  <a:cubicBezTo>
                    <a:pt x="124400" y="321534"/>
                    <a:pt x="161445" y="358569"/>
                    <a:pt x="207142" y="358569"/>
                  </a:cubicBezTo>
                  <a:cubicBezTo>
                    <a:pt x="252839" y="358569"/>
                    <a:pt x="289884" y="321534"/>
                    <a:pt x="289884" y="275849"/>
                  </a:cubicBezTo>
                  <a:cubicBezTo>
                    <a:pt x="289884" y="230164"/>
                    <a:pt x="252839" y="193129"/>
                    <a:pt x="207142" y="193129"/>
                  </a:cubicBezTo>
                  <a:close/>
                  <a:moveTo>
                    <a:pt x="528546" y="108396"/>
                  </a:moveTo>
                  <a:cubicBezTo>
                    <a:pt x="542255" y="108396"/>
                    <a:pt x="553369" y="119507"/>
                    <a:pt x="553369" y="133213"/>
                  </a:cubicBezTo>
                  <a:cubicBezTo>
                    <a:pt x="553369" y="146918"/>
                    <a:pt x="542255" y="158029"/>
                    <a:pt x="528546" y="158029"/>
                  </a:cubicBezTo>
                  <a:cubicBezTo>
                    <a:pt x="514837" y="158029"/>
                    <a:pt x="503724" y="146918"/>
                    <a:pt x="503724" y="133213"/>
                  </a:cubicBezTo>
                  <a:cubicBezTo>
                    <a:pt x="503724" y="119507"/>
                    <a:pt x="514837" y="108396"/>
                    <a:pt x="528546" y="108396"/>
                  </a:cubicBezTo>
                  <a:close/>
                  <a:moveTo>
                    <a:pt x="528546" y="83580"/>
                  </a:moveTo>
                  <a:cubicBezTo>
                    <a:pt x="501128" y="83580"/>
                    <a:pt x="478901" y="105801"/>
                    <a:pt x="478901" y="133213"/>
                  </a:cubicBezTo>
                  <a:cubicBezTo>
                    <a:pt x="478901" y="160624"/>
                    <a:pt x="501128" y="182845"/>
                    <a:pt x="528546" y="182845"/>
                  </a:cubicBezTo>
                  <a:cubicBezTo>
                    <a:pt x="555964" y="182845"/>
                    <a:pt x="578191" y="160624"/>
                    <a:pt x="578191" y="133213"/>
                  </a:cubicBezTo>
                  <a:cubicBezTo>
                    <a:pt x="578191" y="105801"/>
                    <a:pt x="555964" y="83580"/>
                    <a:pt x="528546" y="83580"/>
                  </a:cubicBezTo>
                  <a:close/>
                  <a:moveTo>
                    <a:pt x="231599" y="53828"/>
                  </a:moveTo>
                  <a:lnTo>
                    <a:pt x="241004" y="97315"/>
                  </a:lnTo>
                  <a:lnTo>
                    <a:pt x="285678" y="112594"/>
                  </a:lnTo>
                  <a:lnTo>
                    <a:pt x="312717" y="83211"/>
                  </a:lnTo>
                  <a:lnTo>
                    <a:pt x="353864" y="111419"/>
                  </a:lnTo>
                  <a:lnTo>
                    <a:pt x="338581" y="152555"/>
                  </a:lnTo>
                  <a:lnTo>
                    <a:pt x="360918" y="185464"/>
                  </a:lnTo>
                  <a:lnTo>
                    <a:pt x="406767" y="185464"/>
                  </a:lnTo>
                  <a:lnTo>
                    <a:pt x="420875" y="237178"/>
                  </a:lnTo>
                  <a:lnTo>
                    <a:pt x="389133" y="261860"/>
                  </a:lnTo>
                  <a:lnTo>
                    <a:pt x="389133" y="300646"/>
                  </a:lnTo>
                  <a:lnTo>
                    <a:pt x="418524" y="327678"/>
                  </a:lnTo>
                  <a:lnTo>
                    <a:pt x="407943" y="374691"/>
                  </a:lnTo>
                  <a:lnTo>
                    <a:pt x="357391" y="375866"/>
                  </a:lnTo>
                  <a:lnTo>
                    <a:pt x="339757" y="404074"/>
                  </a:lnTo>
                  <a:lnTo>
                    <a:pt x="350337" y="447561"/>
                  </a:lnTo>
                  <a:lnTo>
                    <a:pt x="312717" y="475769"/>
                  </a:lnTo>
                  <a:lnTo>
                    <a:pt x="278624" y="448736"/>
                  </a:lnTo>
                  <a:lnTo>
                    <a:pt x="241004" y="465191"/>
                  </a:lnTo>
                  <a:lnTo>
                    <a:pt x="232774" y="506327"/>
                  </a:lnTo>
                  <a:lnTo>
                    <a:pt x="184574" y="511028"/>
                  </a:lnTo>
                  <a:lnTo>
                    <a:pt x="172817" y="460489"/>
                  </a:lnTo>
                  <a:lnTo>
                    <a:pt x="134022" y="448736"/>
                  </a:lnTo>
                  <a:lnTo>
                    <a:pt x="101104" y="475769"/>
                  </a:lnTo>
                  <a:lnTo>
                    <a:pt x="68186" y="446385"/>
                  </a:lnTo>
                  <a:lnTo>
                    <a:pt x="79943" y="407600"/>
                  </a:lnTo>
                  <a:lnTo>
                    <a:pt x="55255" y="374691"/>
                  </a:lnTo>
                  <a:lnTo>
                    <a:pt x="9405" y="373516"/>
                  </a:lnTo>
                  <a:lnTo>
                    <a:pt x="0" y="327678"/>
                  </a:lnTo>
                  <a:lnTo>
                    <a:pt x="36444" y="308873"/>
                  </a:lnTo>
                  <a:lnTo>
                    <a:pt x="35269" y="263035"/>
                  </a:lnTo>
                  <a:lnTo>
                    <a:pt x="0" y="233652"/>
                  </a:lnTo>
                  <a:lnTo>
                    <a:pt x="12932" y="190165"/>
                  </a:lnTo>
                  <a:lnTo>
                    <a:pt x="56430" y="191341"/>
                  </a:lnTo>
                  <a:lnTo>
                    <a:pt x="81118" y="164308"/>
                  </a:lnTo>
                  <a:lnTo>
                    <a:pt x="65835" y="111419"/>
                  </a:lnTo>
                  <a:lnTo>
                    <a:pt x="99928" y="84386"/>
                  </a:lnTo>
                  <a:lnTo>
                    <a:pt x="139900" y="111419"/>
                  </a:lnTo>
                  <a:lnTo>
                    <a:pt x="172817" y="99666"/>
                  </a:lnTo>
                  <a:lnTo>
                    <a:pt x="185749" y="55003"/>
                  </a:lnTo>
                  <a:close/>
                  <a:moveTo>
                    <a:pt x="543220" y="0"/>
                  </a:moveTo>
                  <a:lnTo>
                    <a:pt x="548863" y="26092"/>
                  </a:lnTo>
                  <a:lnTo>
                    <a:pt x="575668" y="35260"/>
                  </a:lnTo>
                  <a:lnTo>
                    <a:pt x="591891" y="17630"/>
                  </a:lnTo>
                  <a:lnTo>
                    <a:pt x="616580" y="34555"/>
                  </a:lnTo>
                  <a:lnTo>
                    <a:pt x="607410" y="59236"/>
                  </a:lnTo>
                  <a:lnTo>
                    <a:pt x="620812" y="78982"/>
                  </a:lnTo>
                  <a:lnTo>
                    <a:pt x="648321" y="78982"/>
                  </a:lnTo>
                  <a:lnTo>
                    <a:pt x="656786" y="110010"/>
                  </a:lnTo>
                  <a:lnTo>
                    <a:pt x="637741" y="124819"/>
                  </a:lnTo>
                  <a:lnTo>
                    <a:pt x="637741" y="148091"/>
                  </a:lnTo>
                  <a:lnTo>
                    <a:pt x="655375" y="164310"/>
                  </a:lnTo>
                  <a:lnTo>
                    <a:pt x="649027" y="192518"/>
                  </a:lnTo>
                  <a:lnTo>
                    <a:pt x="618696" y="193223"/>
                  </a:lnTo>
                  <a:lnTo>
                    <a:pt x="608115" y="210148"/>
                  </a:lnTo>
                  <a:lnTo>
                    <a:pt x="614463" y="236240"/>
                  </a:lnTo>
                  <a:lnTo>
                    <a:pt x="591891" y="253164"/>
                  </a:lnTo>
                  <a:lnTo>
                    <a:pt x="571435" y="236945"/>
                  </a:lnTo>
                  <a:lnTo>
                    <a:pt x="548863" y="246818"/>
                  </a:lnTo>
                  <a:lnTo>
                    <a:pt x="543926" y="271499"/>
                  </a:lnTo>
                  <a:lnTo>
                    <a:pt x="515005" y="274320"/>
                  </a:lnTo>
                  <a:lnTo>
                    <a:pt x="507951" y="243997"/>
                  </a:lnTo>
                  <a:lnTo>
                    <a:pt x="484674" y="236945"/>
                  </a:lnTo>
                  <a:lnTo>
                    <a:pt x="464923" y="253164"/>
                  </a:lnTo>
                  <a:lnTo>
                    <a:pt x="445173" y="235535"/>
                  </a:lnTo>
                  <a:lnTo>
                    <a:pt x="452227" y="212263"/>
                  </a:lnTo>
                  <a:lnTo>
                    <a:pt x="437414" y="192518"/>
                  </a:lnTo>
                  <a:lnTo>
                    <a:pt x="409904" y="191813"/>
                  </a:lnTo>
                  <a:lnTo>
                    <a:pt x="404261" y="164310"/>
                  </a:lnTo>
                  <a:lnTo>
                    <a:pt x="426128" y="153027"/>
                  </a:lnTo>
                  <a:lnTo>
                    <a:pt x="425422" y="125524"/>
                  </a:lnTo>
                  <a:lnTo>
                    <a:pt x="404261" y="107895"/>
                  </a:lnTo>
                  <a:lnTo>
                    <a:pt x="412020" y="81802"/>
                  </a:lnTo>
                  <a:lnTo>
                    <a:pt x="438119" y="82508"/>
                  </a:lnTo>
                  <a:lnTo>
                    <a:pt x="452932" y="66288"/>
                  </a:lnTo>
                  <a:lnTo>
                    <a:pt x="443762" y="34555"/>
                  </a:lnTo>
                  <a:lnTo>
                    <a:pt x="464218" y="18335"/>
                  </a:lnTo>
                  <a:lnTo>
                    <a:pt x="488201" y="34555"/>
                  </a:lnTo>
                  <a:lnTo>
                    <a:pt x="507951" y="27503"/>
                  </a:lnTo>
                  <a:lnTo>
                    <a:pt x="515711" y="705"/>
                  </a:ln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111" fontAlgn="base">
                <a:spcBef>
                  <a:spcPct val="0"/>
                </a:spcBef>
                <a:spcAft>
                  <a:spcPct val="0"/>
                </a:spcAft>
                <a:defRPr/>
              </a:pPr>
              <a:endParaRPr lang="en-US" sz="1631" spc="-5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16" name="Freeform 215"/>
          <p:cNvSpPr/>
          <p:nvPr/>
        </p:nvSpPr>
        <p:spPr bwMode="auto">
          <a:xfrm rot="17384165" flipH="1">
            <a:off x="2136937" y="1319467"/>
            <a:ext cx="2422963" cy="3454775"/>
          </a:xfrm>
          <a:custGeom>
            <a:avLst/>
            <a:gdLst>
              <a:gd name="connsiteX0" fmla="*/ 409204 w 2471898"/>
              <a:gd name="connsiteY0" fmla="*/ 1087694 h 3524550"/>
              <a:gd name="connsiteX1" fmla="*/ 2106405 w 2471898"/>
              <a:gd name="connsiteY1" fmla="*/ 238000 h 3524550"/>
              <a:gd name="connsiteX2" fmla="*/ 2141672 w 2471898"/>
              <a:gd name="connsiteY2" fmla="*/ 240544 h 3524550"/>
              <a:gd name="connsiteX3" fmla="*/ 1842724 w 2471898"/>
              <a:gd name="connsiteY3" fmla="*/ 0 h 3524550"/>
              <a:gd name="connsiteX4" fmla="*/ 2092137 w 2471898"/>
              <a:gd name="connsiteY4" fmla="*/ 0 h 3524550"/>
              <a:gd name="connsiteX5" fmla="*/ 2471898 w 2471898"/>
              <a:gd name="connsiteY5" fmla="*/ 305569 h 3524550"/>
              <a:gd name="connsiteX6" fmla="*/ 2092137 w 2471898"/>
              <a:gd name="connsiteY6" fmla="*/ 611138 h 3524550"/>
              <a:gd name="connsiteX7" fmla="*/ 1842724 w 2471898"/>
              <a:gd name="connsiteY7" fmla="*/ 611138 h 3524550"/>
              <a:gd name="connsiteX8" fmla="*/ 2082315 w 2471898"/>
              <a:gd name="connsiteY8" fmla="*/ 418355 h 3524550"/>
              <a:gd name="connsiteX9" fmla="*/ 1944341 w 2471898"/>
              <a:gd name="connsiteY9" fmla="*/ 420847 h 3524550"/>
              <a:gd name="connsiteX10" fmla="*/ 551631 w 2471898"/>
              <a:gd name="connsiteY10" fmla="*/ 1192847 h 3524550"/>
              <a:gd name="connsiteX11" fmla="*/ 444503 w 2471898"/>
              <a:gd name="connsiteY11" fmla="*/ 3307457 h 3524550"/>
              <a:gd name="connsiteX12" fmla="*/ 487833 w 2471898"/>
              <a:gd name="connsiteY12" fmla="*/ 3373024 h 3524550"/>
              <a:gd name="connsiteX13" fmla="*/ 375961 w 2471898"/>
              <a:gd name="connsiteY13" fmla="*/ 3524550 h 3524550"/>
              <a:gd name="connsiteX14" fmla="*/ 292172 w 2471898"/>
              <a:gd name="connsiteY14" fmla="*/ 3397760 h 3524550"/>
              <a:gd name="connsiteX15" fmla="*/ 409204 w 2471898"/>
              <a:gd name="connsiteY15" fmla="*/ 1087694 h 35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71898" h="3524550">
                <a:moveTo>
                  <a:pt x="409204" y="1087694"/>
                </a:moveTo>
                <a:cubicBezTo>
                  <a:pt x="822100" y="528441"/>
                  <a:pt x="1460693" y="234240"/>
                  <a:pt x="2106405" y="238000"/>
                </a:cubicBezTo>
                <a:lnTo>
                  <a:pt x="2141672" y="240544"/>
                </a:lnTo>
                <a:lnTo>
                  <a:pt x="1842724" y="0"/>
                </a:lnTo>
                <a:lnTo>
                  <a:pt x="2092137" y="0"/>
                </a:lnTo>
                <a:lnTo>
                  <a:pt x="2471898" y="305569"/>
                </a:lnTo>
                <a:lnTo>
                  <a:pt x="2092137" y="611138"/>
                </a:lnTo>
                <a:lnTo>
                  <a:pt x="1842724" y="611138"/>
                </a:lnTo>
                <a:lnTo>
                  <a:pt x="2082315" y="418355"/>
                </a:lnTo>
                <a:lnTo>
                  <a:pt x="1944341" y="420847"/>
                </a:lnTo>
                <a:cubicBezTo>
                  <a:pt x="1409578" y="462575"/>
                  <a:pt x="895232" y="727452"/>
                  <a:pt x="551631" y="1192847"/>
                </a:cubicBezTo>
                <a:cubicBezTo>
                  <a:pt x="80409" y="1831102"/>
                  <a:pt x="64158" y="2665224"/>
                  <a:pt x="444503" y="3307457"/>
                </a:cubicBezTo>
                <a:lnTo>
                  <a:pt x="487833" y="3373024"/>
                </a:lnTo>
                <a:lnTo>
                  <a:pt x="375961" y="3524550"/>
                </a:lnTo>
                <a:lnTo>
                  <a:pt x="292172" y="3397760"/>
                </a:lnTo>
                <a:cubicBezTo>
                  <a:pt x="-123328" y="2696165"/>
                  <a:pt x="-105574" y="1784943"/>
                  <a:pt x="409204" y="1087694"/>
                </a:cubicBezTo>
                <a:close/>
              </a:path>
            </a:pathLst>
          </a:custGeom>
          <a:solidFill>
            <a:srgbClr val="0070C0">
              <a:alpha val="40000"/>
            </a:srgbClr>
          </a:solidFill>
          <a:ln w="219075">
            <a:noFill/>
            <a:miter lim="800000"/>
          </a:ln>
        </p:spPr>
        <p:txBody>
          <a:bodyPr vert="horz" wrap="square" lIns="89604" tIns="44802" rIns="89604" bIns="44802" numCol="1" anchor="t" anchorCtr="0" compatLnSpc="1">
            <a:prstTxWarp prst="textNoShape">
              <a:avLst/>
            </a:prstTxWarp>
          </a:bodyPr>
          <a:lstStyle/>
          <a:p>
            <a:pPr defTabSz="895834">
              <a:defRPr/>
            </a:pPr>
            <a:endParaRPr lang="en-US" sz="1369" kern="0" dirty="0">
              <a:solidFill>
                <a:srgbClr val="FFFFFF"/>
              </a:solidFill>
              <a:latin typeface="Segoe UI"/>
            </a:endParaRPr>
          </a:p>
        </p:txBody>
      </p:sp>
      <p:sp>
        <p:nvSpPr>
          <p:cNvPr id="217" name="Freeform 216"/>
          <p:cNvSpPr/>
          <p:nvPr/>
        </p:nvSpPr>
        <p:spPr bwMode="auto">
          <a:xfrm rot="8404155" flipH="1">
            <a:off x="1998245" y="3714901"/>
            <a:ext cx="2616564" cy="3113374"/>
          </a:xfrm>
          <a:custGeom>
            <a:avLst/>
            <a:gdLst>
              <a:gd name="connsiteX0" fmla="*/ 328730 w 2669411"/>
              <a:gd name="connsiteY0" fmla="*/ 3059042 h 3176255"/>
              <a:gd name="connsiteX1" fmla="*/ 188698 w 2669411"/>
              <a:gd name="connsiteY1" fmla="*/ 3176255 h 3176255"/>
              <a:gd name="connsiteX2" fmla="*/ 160711 w 2669411"/>
              <a:gd name="connsiteY2" fmla="*/ 3117608 h 3176255"/>
              <a:gd name="connsiteX3" fmla="*/ 749413 w 2669411"/>
              <a:gd name="connsiteY3" fmla="*/ 707613 h 3176255"/>
              <a:gd name="connsiteX4" fmla="*/ 2252296 w 2669411"/>
              <a:gd name="connsiteY4" fmla="*/ 225829 h 3176255"/>
              <a:gd name="connsiteX5" fmla="*/ 2334233 w 2669411"/>
              <a:gd name="connsiteY5" fmla="*/ 236559 h 3176255"/>
              <a:gd name="connsiteX6" fmla="*/ 2040237 w 2669411"/>
              <a:gd name="connsiteY6" fmla="*/ 0 h 3176255"/>
              <a:gd name="connsiteX7" fmla="*/ 2289650 w 2669411"/>
              <a:gd name="connsiteY7" fmla="*/ 0 h 3176255"/>
              <a:gd name="connsiteX8" fmla="*/ 2669411 w 2669411"/>
              <a:gd name="connsiteY8" fmla="*/ 305569 h 3176255"/>
              <a:gd name="connsiteX9" fmla="*/ 2289650 w 2669411"/>
              <a:gd name="connsiteY9" fmla="*/ 611138 h 3176255"/>
              <a:gd name="connsiteX10" fmla="*/ 2040237 w 2669411"/>
              <a:gd name="connsiteY10" fmla="*/ 611138 h 3176255"/>
              <a:gd name="connsiteX11" fmla="*/ 2292789 w 2669411"/>
              <a:gd name="connsiteY11" fmla="*/ 407926 h 3176255"/>
              <a:gd name="connsiteX12" fmla="*/ 2118257 w 2669411"/>
              <a:gd name="connsiteY12" fmla="*/ 396892 h 3176255"/>
              <a:gd name="connsiteX13" fmla="*/ 863045 w 2669411"/>
              <a:gd name="connsiteY13" fmla="*/ 843369 h 3176255"/>
              <a:gd name="connsiteX14" fmla="*/ 324155 w 2669411"/>
              <a:gd name="connsiteY14" fmla="*/ 3049453 h 3176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69411" h="3176255">
                <a:moveTo>
                  <a:pt x="328730" y="3059042"/>
                </a:moveTo>
                <a:lnTo>
                  <a:pt x="188698" y="3176255"/>
                </a:lnTo>
                <a:lnTo>
                  <a:pt x="160711" y="3117608"/>
                </a:lnTo>
                <a:cubicBezTo>
                  <a:pt x="-182844" y="2294433"/>
                  <a:pt x="29432" y="1310267"/>
                  <a:pt x="749413" y="707613"/>
                </a:cubicBezTo>
                <a:cubicBezTo>
                  <a:pt x="1185554" y="342544"/>
                  <a:pt x="1726713" y="185515"/>
                  <a:pt x="2252296" y="225829"/>
                </a:cubicBezTo>
                <a:lnTo>
                  <a:pt x="2334233" y="236559"/>
                </a:lnTo>
                <a:lnTo>
                  <a:pt x="2040237" y="0"/>
                </a:lnTo>
                <a:lnTo>
                  <a:pt x="2289650" y="0"/>
                </a:lnTo>
                <a:lnTo>
                  <a:pt x="2669411" y="305569"/>
                </a:lnTo>
                <a:lnTo>
                  <a:pt x="2289650" y="611138"/>
                </a:lnTo>
                <a:lnTo>
                  <a:pt x="2040237" y="611138"/>
                </a:lnTo>
                <a:lnTo>
                  <a:pt x="2292789" y="407926"/>
                </a:lnTo>
                <a:lnTo>
                  <a:pt x="2118257" y="396892"/>
                </a:lnTo>
                <a:cubicBezTo>
                  <a:pt x="1675762" y="390725"/>
                  <a:pt x="1229014" y="537037"/>
                  <a:pt x="863045" y="843369"/>
                </a:cubicBezTo>
                <a:cubicBezTo>
                  <a:pt x="203982" y="1395032"/>
                  <a:pt x="9668" y="2295927"/>
                  <a:pt x="324155" y="3049453"/>
                </a:cubicBezTo>
                <a:close/>
              </a:path>
            </a:pathLst>
          </a:custGeom>
          <a:solidFill>
            <a:srgbClr val="0070C0">
              <a:alpha val="40000"/>
            </a:srgbClr>
          </a:solidFill>
          <a:ln w="219075">
            <a:noFill/>
            <a:miter lim="800000"/>
          </a:ln>
        </p:spPr>
        <p:txBody>
          <a:bodyPr vert="horz" wrap="square" lIns="89604" tIns="44802" rIns="89604" bIns="44802" numCol="1" anchor="t" anchorCtr="0" compatLnSpc="1">
            <a:prstTxWarp prst="textNoShape">
              <a:avLst/>
            </a:prstTxWarp>
          </a:bodyPr>
          <a:lstStyle/>
          <a:p>
            <a:pPr defTabSz="895834">
              <a:defRPr/>
            </a:pPr>
            <a:endParaRPr lang="en-US" sz="1369" kern="0" dirty="0">
              <a:solidFill>
                <a:srgbClr val="FFFFFF"/>
              </a:solidFill>
              <a:latin typeface="Segoe UI"/>
            </a:endParaRPr>
          </a:p>
        </p:txBody>
      </p:sp>
    </p:spTree>
    <p:extLst>
      <p:ext uri="{BB962C8B-B14F-4D97-AF65-F5344CB8AC3E}">
        <p14:creationId xmlns:p14="http://schemas.microsoft.com/office/powerpoint/2010/main" val="1301511296"/>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zuee Iot Suite"/>
          <p:cNvSpPr>
            <a:spLocks noChangeArrowheads="1"/>
          </p:cNvSpPr>
          <p:nvPr/>
        </p:nvSpPr>
        <p:spPr bwMode="auto">
          <a:xfrm>
            <a:off x="3138185" y="2104446"/>
            <a:ext cx="6559980" cy="4091372"/>
          </a:xfrm>
          <a:prstGeom prst="rect">
            <a:avLst/>
          </a:prstGeom>
          <a:solidFill>
            <a:srgbClr val="02162E"/>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prstClr val="white"/>
                </a:solidFill>
                <a:effectLst/>
                <a:uLnTx/>
                <a:uFillTx/>
                <a:latin typeface="Segoe UI Light" panose="020B0502040204020203" pitchFamily="34" charset="0"/>
              </a:rPr>
              <a:t>Azure </a:t>
            </a:r>
            <a:r>
              <a:rPr kumimoji="0" lang="en-US" altLang="en-US" sz="1800" b="0" i="0" u="none" strike="noStrike" kern="0" cap="none" spc="0" normalizeH="0" baseline="0" noProof="0" dirty="0" err="1">
                <a:ln>
                  <a:noFill/>
                </a:ln>
                <a:solidFill>
                  <a:prstClr val="white"/>
                </a:solidFill>
                <a:effectLst/>
                <a:uLnTx/>
                <a:uFillTx/>
                <a:latin typeface="Segoe UI Light" panose="020B0502040204020203" pitchFamily="34" charset="0"/>
              </a:rPr>
              <a:t>IoT</a:t>
            </a:r>
            <a:r>
              <a:rPr kumimoji="0" lang="en-US" altLang="en-US" sz="1800" b="0" i="0" u="none" strike="noStrike" kern="0" cap="none" spc="0" normalizeH="0" baseline="0" noProof="0" dirty="0">
                <a:ln>
                  <a:noFill/>
                </a:ln>
                <a:solidFill>
                  <a:prstClr val="white"/>
                </a:solidFill>
                <a:effectLst/>
                <a:uLnTx/>
                <a:uFillTx/>
                <a:latin typeface="Segoe UI Light" panose="020B0502040204020203" pitchFamily="34" charset="0"/>
              </a:rPr>
              <a:t> Suite Remote Monitoring</a:t>
            </a:r>
            <a:endParaRPr kumimoji="0" lang="en-US" altLang="en-US" sz="1400" b="0" i="0" u="none" strike="noStrike" kern="0" cap="none" spc="0" normalizeH="0" baseline="0" noProof="0" dirty="0">
              <a:ln>
                <a:noFill/>
              </a:ln>
              <a:solidFill>
                <a:prstClr val="white"/>
              </a:solidFill>
              <a:effectLst/>
              <a:uLnTx/>
              <a:uFillTx/>
              <a:latin typeface="Arial" panose="020B0604020202020204" pitchFamily="34" charset="0"/>
            </a:endParaRPr>
          </a:p>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ndParaRPr>
          </a:p>
        </p:txBody>
      </p:sp>
      <p:sp>
        <p:nvSpPr>
          <p:cNvPr id="3206" name="Rectangle 16"/>
          <p:cNvSpPr>
            <a:spLocks noChangeArrowheads="1"/>
          </p:cNvSpPr>
          <p:nvPr/>
        </p:nvSpPr>
        <p:spPr bwMode="auto">
          <a:xfrm>
            <a:off x="565213" y="3177848"/>
            <a:ext cx="1366644" cy="2265042"/>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Devices</a:t>
            </a:r>
            <a:endParaRPr kumimoji="0" lang="en-US" sz="16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endParaRPr>
          </a:p>
        </p:txBody>
      </p:sp>
      <p:sp>
        <p:nvSpPr>
          <p:cNvPr id="115" name="Title 1"/>
          <p:cNvSpPr>
            <a:spLocks noGrp="1"/>
          </p:cNvSpPr>
          <p:nvPr>
            <p:ph type="title"/>
          </p:nvPr>
        </p:nvSpPr>
        <p:spPr/>
        <p:txBody>
          <a:bodyPr/>
          <a:lstStyle/>
          <a:p>
            <a:r>
              <a:rPr lang="en-US" dirty="0"/>
              <a:t>Remote Monitoring Solution</a:t>
            </a:r>
          </a:p>
        </p:txBody>
      </p:sp>
      <p:sp>
        <p:nvSpPr>
          <p:cNvPr id="3080" name="Rectangle 148"/>
          <p:cNvSpPr>
            <a:spLocks noChangeArrowheads="1"/>
          </p:cNvSpPr>
          <p:nvPr/>
        </p:nvSpPr>
        <p:spPr bwMode="auto">
          <a:xfrm>
            <a:off x="7136098" y="3089136"/>
            <a:ext cx="3366922" cy="2364863"/>
          </a:xfrm>
          <a:prstGeom prst="rect">
            <a:avLst/>
          </a:prstGeom>
          <a:no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nvGrpSpPr>
          <p:cNvPr id="12293" name="Group 12292"/>
          <p:cNvGrpSpPr/>
          <p:nvPr/>
        </p:nvGrpSpPr>
        <p:grpSpPr>
          <a:xfrm>
            <a:off x="1996935" y="4307987"/>
            <a:ext cx="1053950" cy="115872"/>
            <a:chOff x="2220913" y="3722688"/>
            <a:chExt cx="1054100" cy="115888"/>
          </a:xfrm>
          <a:solidFill>
            <a:schemeClr val="bg1">
              <a:lumMod val="75000"/>
            </a:schemeClr>
          </a:solidFill>
        </p:grpSpPr>
        <p:sp>
          <p:nvSpPr>
            <p:cNvPr id="3208" name="Line 18"/>
            <p:cNvSpPr>
              <a:spLocks noChangeShapeType="1"/>
            </p:cNvSpPr>
            <p:nvPr/>
          </p:nvSpPr>
          <p:spPr bwMode="auto">
            <a:xfrm>
              <a:off x="2220913" y="3779838"/>
              <a:ext cx="966788" cy="0"/>
            </a:xfrm>
            <a:prstGeom prst="line">
              <a:avLst/>
            </a:prstGeom>
            <a:grpFill/>
            <a:ln w="22225" cap="rnd">
              <a:solidFill>
                <a:schemeClr val="bg1">
                  <a:lumMod val="75000"/>
                </a:schemeClr>
              </a:solidFill>
              <a:prstDash val="solid"/>
              <a:round/>
              <a:headEnd/>
              <a:tailEnd/>
            </a:ln>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grpSp>
        <p:nvGrpSpPr>
          <p:cNvPr id="12295" name="Group 12294"/>
          <p:cNvGrpSpPr/>
          <p:nvPr/>
        </p:nvGrpSpPr>
        <p:grpSpPr>
          <a:xfrm>
            <a:off x="1996934" y="4568300"/>
            <a:ext cx="1041253" cy="115872"/>
            <a:chOff x="2220913" y="3983038"/>
            <a:chExt cx="1041400" cy="115888"/>
          </a:xfrm>
        </p:grpSpPr>
        <p:sp>
          <p:nvSpPr>
            <p:cNvPr id="209" name="Line 83"/>
            <p:cNvSpPr>
              <a:spLocks noChangeShapeType="1"/>
            </p:cNvSpPr>
            <p:nvPr/>
          </p:nvSpPr>
          <p:spPr bwMode="auto">
            <a:xfrm flipH="1">
              <a:off x="2308225" y="4041775"/>
              <a:ext cx="954088" cy="0"/>
            </a:xfrm>
            <a:prstGeom prst="line">
              <a:avLst/>
            </a:prstGeom>
            <a:noFill/>
            <a:ln w="22225"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chemeClr val="bg1">
                <a:lumMod val="75000"/>
              </a:schemeClr>
            </a:solidFill>
            <a:ln w="0">
              <a:solidFill>
                <a:schemeClr val="bg1">
                  <a:lumMod val="75000"/>
                </a:schemeClr>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grpSp>
        <p:nvGrpSpPr>
          <p:cNvPr id="12289" name="Group 12288"/>
          <p:cNvGrpSpPr/>
          <p:nvPr/>
        </p:nvGrpSpPr>
        <p:grpSpPr>
          <a:xfrm>
            <a:off x="1084253" y="3790535"/>
            <a:ext cx="326978" cy="338090"/>
            <a:chOff x="1308100" y="3205163"/>
            <a:chExt cx="327025" cy="338138"/>
          </a:xfrm>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sp>
        <p:nvSpPr>
          <p:cNvPr id="3210" name="Rectangle 20"/>
          <p:cNvSpPr>
            <a:spLocks noChangeArrowheads="1"/>
          </p:cNvSpPr>
          <p:nvPr/>
        </p:nvSpPr>
        <p:spPr bwMode="auto">
          <a:xfrm>
            <a:off x="10875703" y="3441564"/>
            <a:ext cx="1315433" cy="1825366"/>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Back end systems and processes</a:t>
            </a:r>
          </a:p>
          <a:p>
            <a:pPr marL="0" marR="0" lvl="0" indent="0" defTabSz="93241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endParaRPr>
          </a:p>
        </p:txBody>
      </p:sp>
      <p:sp>
        <p:nvSpPr>
          <p:cNvPr id="253" name="Rectangle 127"/>
          <p:cNvSpPr>
            <a:spLocks noChangeArrowheads="1"/>
          </p:cNvSpPr>
          <p:nvPr/>
        </p:nvSpPr>
        <p:spPr bwMode="auto">
          <a:xfrm>
            <a:off x="968380" y="4236559"/>
            <a:ext cx="352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225" eaLnBrk="0" fontAlgn="base" latinLnBrk="0" hangingPunct="0">
              <a:lnSpc>
                <a:spcPct val="100000"/>
              </a:lnSpc>
              <a:spcBef>
                <a:spcPct val="0"/>
              </a:spcBef>
              <a:spcAft>
                <a:spcPct val="0"/>
              </a:spcAft>
              <a:buClrTx/>
              <a:buSzTx/>
              <a:buFontTx/>
              <a:buNone/>
              <a:tabLst/>
              <a:defRPr/>
            </a:pPr>
            <a:r>
              <a:rPr kumimoji="0" lang="en-US" altLang="en-US" sz="1000" b="0" i="0" u="none" strike="noStrike" kern="0" cap="none" spc="0" normalizeH="0" baseline="0" noProof="0" dirty="0">
                <a:ln>
                  <a:noFill/>
                </a:ln>
                <a:solidFill>
                  <a:srgbClr val="00188F"/>
                </a:solidFill>
                <a:effectLst/>
                <a:uLnTx/>
                <a:uFillTx/>
                <a:latin typeface="Segoe UI" panose="020B0502040204020203" pitchFamily="34" charset="0"/>
              </a:rPr>
              <a:t> </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ndParaRPr>
          </a:p>
        </p:txBody>
      </p:sp>
      <p:sp>
        <p:nvSpPr>
          <p:cNvPr id="254" name="Rectangle 128"/>
          <p:cNvSpPr>
            <a:spLocks noChangeArrowheads="1"/>
          </p:cNvSpPr>
          <p:nvPr/>
        </p:nvSpPr>
        <p:spPr bwMode="auto">
          <a:xfrm>
            <a:off x="888681" y="4277313"/>
            <a:ext cx="7181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225" eaLnBrk="0" fontAlgn="base" latinLnBrk="0" hangingPunct="0">
              <a:lnSpc>
                <a:spcPct val="100000"/>
              </a:lnSpc>
              <a:spcBef>
                <a:spcPct val="0"/>
              </a:spcBef>
              <a:spcAft>
                <a:spcPct val="0"/>
              </a:spcAft>
              <a:buClrTx/>
              <a:buSzTx/>
              <a:buFontTx/>
              <a:buNone/>
              <a:tabLst/>
              <a:defRPr/>
            </a:pPr>
            <a:r>
              <a:rPr kumimoji="0" lang="en-US" altLang="en-US" sz="1000" b="0" i="0" u="none" strike="noStrike" kern="0" cap="none" spc="0" normalizeH="0" baseline="0" noProof="0" dirty="0">
                <a:ln>
                  <a:noFill/>
                </a:ln>
                <a:solidFill>
                  <a:prstClr val="white"/>
                </a:solidFill>
                <a:effectLst/>
                <a:uLnTx/>
                <a:uFillTx/>
                <a:latin typeface="Segoe UI" panose="020B0502040204020203" pitchFamily="34" charset="0"/>
              </a:rPr>
              <a:t>C# simulator</a:t>
            </a:r>
            <a:endParaRPr kumimoji="0" lang="en-US" altLang="en-US" sz="1800" b="0" i="0" u="none" strike="noStrike" kern="0" cap="none" spc="0" normalizeH="0" baseline="0" noProof="0" dirty="0">
              <a:ln>
                <a:noFill/>
              </a:ln>
              <a:solidFill>
                <a:prstClr val="white"/>
              </a:solidFill>
              <a:effectLst/>
              <a:uLnTx/>
              <a:uFillTx/>
              <a:latin typeface="Arial" panose="020B0604020202020204" pitchFamily="34" charset="0"/>
            </a:endParaRPr>
          </a:p>
        </p:txBody>
      </p:sp>
      <p:sp>
        <p:nvSpPr>
          <p:cNvPr id="387" name="Freeform 386"/>
          <p:cNvSpPr>
            <a:spLocks noChangeAspect="1"/>
          </p:cNvSpPr>
          <p:nvPr/>
        </p:nvSpPr>
        <p:spPr bwMode="auto">
          <a:xfrm rot="5280000">
            <a:off x="3453056" y="3973000"/>
            <a:ext cx="447268" cy="56873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505050"/>
                  </a:gs>
                  <a:gs pos="100000">
                    <a:srgbClr val="505050"/>
                  </a:gs>
                </a:gsLst>
                <a:lin ang="5400000" scaled="0"/>
              </a:gradFill>
              <a:effectLst/>
              <a:uLnTx/>
              <a:uFillTx/>
              <a:latin typeface="Segoe UI"/>
            </a:endParaRPr>
          </a:p>
        </p:txBody>
      </p:sp>
      <p:grpSp>
        <p:nvGrpSpPr>
          <p:cNvPr id="12575" name="Group 12574"/>
          <p:cNvGrpSpPr/>
          <p:nvPr/>
        </p:nvGrpSpPr>
        <p:grpSpPr>
          <a:xfrm>
            <a:off x="5587338" y="4023944"/>
            <a:ext cx="484118" cy="498404"/>
            <a:chOff x="2296894" y="-3310276"/>
            <a:chExt cx="484187" cy="498475"/>
          </a:xfrm>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solidFill>
              <a:srgbClr val="0070C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solidFill>
              <a:srgbClr val="0070C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solidFill>
              <a:srgbClr val="0070C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solidFill>
              <a:srgbClr val="0070C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solidFill>
              <a:srgbClr val="0070C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solidFill>
              <a:srgbClr val="0070C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solidFill>
              <a:srgbClr val="0070C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solidFill>
              <a:srgbClr val="0070C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sp>
        <p:nvSpPr>
          <p:cNvPr id="12369" name="Rectangle 180"/>
          <p:cNvSpPr>
            <a:spLocks noChangeArrowheads="1"/>
          </p:cNvSpPr>
          <p:nvPr/>
        </p:nvSpPr>
        <p:spPr bwMode="auto">
          <a:xfrm>
            <a:off x="5511149" y="4527109"/>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225"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rPr>
              <a:t>Event Hub</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ndParaRPr>
          </a:p>
        </p:txBody>
      </p:sp>
      <p:sp>
        <p:nvSpPr>
          <p:cNvPr id="12370" name="Line 181"/>
          <p:cNvSpPr>
            <a:spLocks noChangeShapeType="1"/>
          </p:cNvSpPr>
          <p:nvPr/>
        </p:nvSpPr>
        <p:spPr bwMode="auto">
          <a:xfrm>
            <a:off x="3912763" y="4273145"/>
            <a:ext cx="380946"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71" name="Freeform 182"/>
          <p:cNvSpPr>
            <a:spLocks/>
          </p:cNvSpPr>
          <p:nvPr/>
        </p:nvSpPr>
        <p:spPr bwMode="auto">
          <a:xfrm>
            <a:off x="4261964" y="4209654"/>
            <a:ext cx="128569"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72" name="Line 183"/>
          <p:cNvSpPr>
            <a:spLocks noChangeShapeType="1"/>
          </p:cNvSpPr>
          <p:nvPr/>
        </p:nvSpPr>
        <p:spPr bwMode="auto">
          <a:xfrm>
            <a:off x="6079393" y="4273145"/>
            <a:ext cx="46031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73" name="Freeform 184"/>
          <p:cNvSpPr>
            <a:spLocks/>
          </p:cNvSpPr>
          <p:nvPr/>
        </p:nvSpPr>
        <p:spPr bwMode="auto">
          <a:xfrm>
            <a:off x="6509544" y="4209654"/>
            <a:ext cx="126982" cy="126982"/>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nvGrpSpPr>
          <p:cNvPr id="12574" name="Group 12573"/>
          <p:cNvGrpSpPr/>
          <p:nvPr/>
        </p:nvGrpSpPr>
        <p:grpSpPr>
          <a:xfrm>
            <a:off x="5607973" y="3184276"/>
            <a:ext cx="458722" cy="398406"/>
            <a:chOff x="2317532" y="-4150064"/>
            <a:chExt cx="458787" cy="398463"/>
          </a:xfrm>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sp>
        <p:nvSpPr>
          <p:cNvPr id="12378" name="Rectangle 189"/>
          <p:cNvSpPr>
            <a:spLocks noChangeArrowheads="1"/>
          </p:cNvSpPr>
          <p:nvPr/>
        </p:nvSpPr>
        <p:spPr bwMode="auto">
          <a:xfrm>
            <a:off x="5406389" y="3598555"/>
            <a:ext cx="867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225"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rPr>
              <a:t>Storage blob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12379" name="Freeform 190"/>
          <p:cNvSpPr>
            <a:spLocks noEditPoints="1"/>
          </p:cNvSpPr>
          <p:nvPr/>
        </p:nvSpPr>
        <p:spPr bwMode="auto">
          <a:xfrm>
            <a:off x="7731746" y="3179514"/>
            <a:ext cx="311106" cy="406342"/>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80" name="Rectangle 191"/>
          <p:cNvSpPr>
            <a:spLocks noChangeArrowheads="1"/>
          </p:cNvSpPr>
          <p:nvPr/>
        </p:nvSpPr>
        <p:spPr bwMode="auto">
          <a:xfrm>
            <a:off x="7493656" y="3579507"/>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225"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rPr>
              <a:t>DocumentDB</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12381" name="Freeform 192"/>
          <p:cNvSpPr>
            <a:spLocks/>
          </p:cNvSpPr>
          <p:nvPr/>
        </p:nvSpPr>
        <p:spPr bwMode="auto">
          <a:xfrm>
            <a:off x="7100011" y="3873152"/>
            <a:ext cx="787288" cy="376185"/>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82" name="Freeform 193"/>
          <p:cNvSpPr>
            <a:spLocks/>
          </p:cNvSpPr>
          <p:nvPr/>
        </p:nvSpPr>
        <p:spPr bwMode="auto">
          <a:xfrm>
            <a:off x="7823808" y="3776329"/>
            <a:ext cx="126982" cy="126982"/>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83" name="Freeform 194"/>
          <p:cNvSpPr>
            <a:spLocks/>
          </p:cNvSpPr>
          <p:nvPr/>
        </p:nvSpPr>
        <p:spPr bwMode="auto">
          <a:xfrm>
            <a:off x="4719098" y="3384273"/>
            <a:ext cx="773003" cy="639672"/>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84" name="Freeform 195"/>
          <p:cNvSpPr>
            <a:spLocks/>
          </p:cNvSpPr>
          <p:nvPr/>
        </p:nvSpPr>
        <p:spPr bwMode="auto">
          <a:xfrm>
            <a:off x="5460356" y="3319194"/>
            <a:ext cx="128569" cy="128570"/>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nvGrpSpPr>
          <p:cNvPr id="12579" name="Group 12578"/>
          <p:cNvGrpSpPr/>
          <p:nvPr/>
        </p:nvGrpSpPr>
        <p:grpSpPr>
          <a:xfrm>
            <a:off x="6604781" y="2416034"/>
            <a:ext cx="507928" cy="450786"/>
            <a:chOff x="3314482" y="-4918414"/>
            <a:chExt cx="508000" cy="450850"/>
          </a:xfrm>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nvGrpSpPr>
            <p:cNvPr id="12578" name="Group 12577"/>
            <p:cNvGrpSpPr/>
            <p:nvPr/>
          </p:nvGrpSpPr>
          <p:grpSpPr>
            <a:xfrm>
              <a:off x="3395444" y="-4880314"/>
              <a:ext cx="363537" cy="342900"/>
              <a:chOff x="3395444" y="-4880314"/>
              <a:chExt cx="363537" cy="342900"/>
            </a:xfrm>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grpSp>
      <p:sp>
        <p:nvSpPr>
          <p:cNvPr id="12402" name="Rectangle 212"/>
          <p:cNvSpPr>
            <a:spLocks noChangeArrowheads="1"/>
          </p:cNvSpPr>
          <p:nvPr/>
        </p:nvSpPr>
        <p:spPr bwMode="auto">
          <a:xfrm>
            <a:off x="6391223" y="2861219"/>
            <a:ext cx="107401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225"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rPr>
              <a:t>Web/Mobile App</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ndParaRPr>
          </a:p>
        </p:txBody>
      </p:sp>
      <p:sp>
        <p:nvSpPr>
          <p:cNvPr id="12403" name="Freeform 213"/>
          <p:cNvSpPr>
            <a:spLocks/>
          </p:cNvSpPr>
          <p:nvPr/>
        </p:nvSpPr>
        <p:spPr bwMode="auto">
          <a:xfrm>
            <a:off x="7195247" y="2641428"/>
            <a:ext cx="692052" cy="441263"/>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404" name="Freeform 214"/>
          <p:cNvSpPr>
            <a:spLocks/>
          </p:cNvSpPr>
          <p:nvPr/>
        </p:nvSpPr>
        <p:spPr bwMode="auto">
          <a:xfrm>
            <a:off x="7100011" y="2577935"/>
            <a:ext cx="125395" cy="126982"/>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405" name="Freeform 215"/>
          <p:cNvSpPr>
            <a:spLocks/>
          </p:cNvSpPr>
          <p:nvPr/>
        </p:nvSpPr>
        <p:spPr bwMode="auto">
          <a:xfrm>
            <a:off x="7823808" y="3052532"/>
            <a:ext cx="126982" cy="126982"/>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406" name="Freeform 216"/>
          <p:cNvSpPr>
            <a:spLocks/>
          </p:cNvSpPr>
          <p:nvPr/>
        </p:nvSpPr>
        <p:spPr bwMode="auto">
          <a:xfrm>
            <a:off x="5838127" y="2641427"/>
            <a:ext cx="771416" cy="528563"/>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407" name="Line 217"/>
          <p:cNvSpPr>
            <a:spLocks noChangeShapeType="1"/>
          </p:cNvSpPr>
          <p:nvPr/>
        </p:nvSpPr>
        <p:spPr bwMode="auto">
          <a:xfrm flipV="1">
            <a:off x="6858744" y="3238243"/>
            <a:ext cx="0" cy="779352"/>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408" name="Freeform 218"/>
          <p:cNvSpPr>
            <a:spLocks/>
          </p:cNvSpPr>
          <p:nvPr/>
        </p:nvSpPr>
        <p:spPr bwMode="auto">
          <a:xfrm>
            <a:off x="6795253" y="3141418"/>
            <a:ext cx="126982" cy="126982"/>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334" name="Freeform 234"/>
          <p:cNvSpPr>
            <a:spLocks/>
          </p:cNvSpPr>
          <p:nvPr/>
        </p:nvSpPr>
        <p:spPr bwMode="auto">
          <a:xfrm>
            <a:off x="3639752" y="2641428"/>
            <a:ext cx="2969791" cy="1287280"/>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335" name="Freeform 235"/>
          <p:cNvSpPr>
            <a:spLocks/>
          </p:cNvSpPr>
          <p:nvPr/>
        </p:nvSpPr>
        <p:spPr bwMode="auto">
          <a:xfrm>
            <a:off x="3576261" y="3896961"/>
            <a:ext cx="126982" cy="126982"/>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nvGrpSpPr>
          <p:cNvPr id="12576" name="Group 12575"/>
          <p:cNvGrpSpPr/>
          <p:nvPr/>
        </p:nvGrpSpPr>
        <p:grpSpPr>
          <a:xfrm>
            <a:off x="4398470" y="4023944"/>
            <a:ext cx="641258" cy="498404"/>
            <a:chOff x="1107857" y="-3310276"/>
            <a:chExt cx="641349" cy="498475"/>
          </a:xfrm>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solidFill>
              <a:srgbClr val="0070C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solidFill>
              <a:srgbClr val="0070C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solidFill>
              <a:srgbClr val="0070C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solidFill>
              <a:srgbClr val="0070C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sp>
        <p:nvSpPr>
          <p:cNvPr id="340" name="Rectangle 240"/>
          <p:cNvSpPr>
            <a:spLocks noChangeArrowheads="1"/>
          </p:cNvSpPr>
          <p:nvPr/>
        </p:nvSpPr>
        <p:spPr bwMode="auto">
          <a:xfrm>
            <a:off x="4204822" y="4528697"/>
            <a:ext cx="10323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225"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rPr>
              <a:t>Str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341" name="Line 241"/>
          <p:cNvSpPr>
            <a:spLocks noChangeShapeType="1"/>
          </p:cNvSpPr>
          <p:nvPr/>
        </p:nvSpPr>
        <p:spPr bwMode="auto">
          <a:xfrm>
            <a:off x="5057188" y="4273145"/>
            <a:ext cx="426976"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342" name="Freeform 242"/>
          <p:cNvSpPr>
            <a:spLocks/>
          </p:cNvSpPr>
          <p:nvPr/>
        </p:nvSpPr>
        <p:spPr bwMode="auto">
          <a:xfrm>
            <a:off x="5452421" y="4209654"/>
            <a:ext cx="128569"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nvGrpSpPr>
          <p:cNvPr id="12577" name="Group 12576"/>
          <p:cNvGrpSpPr/>
          <p:nvPr/>
        </p:nvGrpSpPr>
        <p:grpSpPr>
          <a:xfrm>
            <a:off x="9026962" y="4035055"/>
            <a:ext cx="425390" cy="426977"/>
            <a:chOff x="5737007" y="-3299164"/>
            <a:chExt cx="425450" cy="427038"/>
          </a:xfrm>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349" name="Oval 249"/>
            <p:cNvSpPr>
              <a:spLocks noChangeArrowheads="1"/>
            </p:cNvSpPr>
            <p:nvPr/>
          </p:nvSpPr>
          <p:spPr bwMode="auto">
            <a:xfrm>
              <a:off x="5937032" y="-3132476"/>
              <a:ext cx="60325" cy="60325"/>
            </a:xfrm>
            <a:prstGeom prst="ellipse">
              <a:avLst/>
            </a:pr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sp>
        <p:nvSpPr>
          <p:cNvPr id="350" name="Rectangle 250"/>
          <p:cNvSpPr>
            <a:spLocks noChangeArrowheads="1"/>
          </p:cNvSpPr>
          <p:nvPr/>
        </p:nvSpPr>
        <p:spPr bwMode="auto">
          <a:xfrm>
            <a:off x="8865061" y="4476317"/>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225"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rPr>
              <a:t>Logic App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352" name="Line 251"/>
          <p:cNvSpPr>
            <a:spLocks noChangeShapeType="1"/>
          </p:cNvSpPr>
          <p:nvPr/>
        </p:nvSpPr>
        <p:spPr bwMode="auto">
          <a:xfrm>
            <a:off x="7100011" y="4249337"/>
            <a:ext cx="1820604"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353" name="Freeform 252"/>
          <p:cNvSpPr>
            <a:spLocks/>
          </p:cNvSpPr>
          <p:nvPr/>
        </p:nvSpPr>
        <p:spPr bwMode="auto">
          <a:xfrm>
            <a:off x="8888869" y="4185846"/>
            <a:ext cx="126982"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nvGrpSpPr>
          <p:cNvPr id="12571" name="Group 12570"/>
          <p:cNvGrpSpPr/>
          <p:nvPr/>
        </p:nvGrpSpPr>
        <p:grpSpPr>
          <a:xfrm>
            <a:off x="7646034" y="4979483"/>
            <a:ext cx="479357" cy="485707"/>
            <a:chOff x="4355882" y="-2354601"/>
            <a:chExt cx="479425" cy="485775"/>
          </a:xfrm>
        </p:grpSpPr>
        <p:sp>
          <p:nvSpPr>
            <p:cNvPr id="354" name="Freeform 253"/>
            <p:cNvSpPr>
              <a:spLocks/>
            </p:cNvSpPr>
            <p:nvPr/>
          </p:nvSpPr>
          <p:spPr bwMode="auto">
            <a:xfrm>
              <a:off x="4498757" y="-2168864"/>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355" name="Freeform 254"/>
            <p:cNvSpPr>
              <a:spLocks/>
            </p:cNvSpPr>
            <p:nvPr/>
          </p:nvSpPr>
          <p:spPr bwMode="auto">
            <a:xfrm>
              <a:off x="4603532" y="-2170451"/>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356" name="Freeform 255"/>
            <p:cNvSpPr>
              <a:spLocks noEditPoints="1"/>
            </p:cNvSpPr>
            <p:nvPr/>
          </p:nvSpPr>
          <p:spPr bwMode="auto">
            <a:xfrm>
              <a:off x="4355882" y="-2354601"/>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sp>
        <p:nvSpPr>
          <p:cNvPr id="375" name="Rectangle 256"/>
          <p:cNvSpPr>
            <a:spLocks noChangeArrowheads="1"/>
          </p:cNvSpPr>
          <p:nvPr/>
        </p:nvSpPr>
        <p:spPr bwMode="auto">
          <a:xfrm>
            <a:off x="7711111" y="5523918"/>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225"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rPr>
              <a:t>Azure </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376" name="Rectangle 257"/>
          <p:cNvSpPr>
            <a:spLocks noChangeArrowheads="1"/>
          </p:cNvSpPr>
          <p:nvPr/>
        </p:nvSpPr>
        <p:spPr bwMode="auto">
          <a:xfrm>
            <a:off x="7393656" y="5696932"/>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225"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rPr>
              <a:t>Active Directory</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sp>
        <p:nvSpPr>
          <p:cNvPr id="378" name="Rectangle 260"/>
          <p:cNvSpPr>
            <a:spLocks noChangeArrowheads="1"/>
          </p:cNvSpPr>
          <p:nvPr/>
        </p:nvSpPr>
        <p:spPr bwMode="auto">
          <a:xfrm>
            <a:off x="3414358" y="4546157"/>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225"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rPr>
              <a:t>IoT Hub</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ndParaRPr>
          </a:p>
        </p:txBody>
      </p:sp>
      <p:grpSp>
        <p:nvGrpSpPr>
          <p:cNvPr id="12570" name="Group 12569"/>
          <p:cNvGrpSpPr/>
          <p:nvPr/>
        </p:nvGrpSpPr>
        <p:grpSpPr>
          <a:xfrm>
            <a:off x="6604781" y="4023944"/>
            <a:ext cx="507928" cy="449200"/>
            <a:chOff x="3314482" y="-3310276"/>
            <a:chExt cx="508000" cy="449263"/>
          </a:xfrm>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sp>
        <p:nvSpPr>
          <p:cNvPr id="12559" name="Rectangle 275"/>
          <p:cNvSpPr>
            <a:spLocks noChangeArrowheads="1"/>
          </p:cNvSpPr>
          <p:nvPr/>
        </p:nvSpPr>
        <p:spPr bwMode="auto">
          <a:xfrm>
            <a:off x="6560338" y="4485841"/>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225"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rPr>
              <a:t>Web Job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ndParaRPr>
          </a:p>
        </p:txBody>
      </p:sp>
      <p:grpSp>
        <p:nvGrpSpPr>
          <p:cNvPr id="12582" name="Group 12581"/>
          <p:cNvGrpSpPr/>
          <p:nvPr/>
        </p:nvGrpSpPr>
        <p:grpSpPr>
          <a:xfrm>
            <a:off x="8685107" y="2377873"/>
            <a:ext cx="543418" cy="743820"/>
            <a:chOff x="8694268" y="2095333"/>
            <a:chExt cx="543496" cy="743924"/>
          </a:xfrm>
        </p:grpSpPr>
        <p:sp>
          <p:nvSpPr>
            <p:cNvPr id="12569" name="Rectangle 287"/>
            <p:cNvSpPr>
              <a:spLocks noChangeArrowheads="1"/>
            </p:cNvSpPr>
            <p:nvPr/>
          </p:nvSpPr>
          <p:spPr bwMode="auto">
            <a:xfrm>
              <a:off x="8694268" y="2669956"/>
              <a:ext cx="543496" cy="169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225"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0C0"/>
                  </a:solidFill>
                  <a:effectLst/>
                  <a:uLnTx/>
                  <a:uFillTx/>
                  <a:latin typeface="Segoe UI" panose="020B0502040204020203" pitchFamily="34" charset="0"/>
                </a:rPr>
                <a:t>Power BI</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ndParaRPr>
            </a:p>
          </p:txBody>
        </p:sp>
        <p:sp>
          <p:nvSpPr>
            <p:cNvPr id="12581" name="Rectangle 12580"/>
            <p:cNvSpPr/>
            <p:nvPr>
              <p:custDataLst>
                <p:tags r:id="rId1"/>
              </p:custDataLst>
            </p:nvPr>
          </p:nvSpPr>
          <p:spPr bwMode="auto">
            <a:xfrm>
              <a:off x="8699209" y="2095333"/>
              <a:ext cx="533536" cy="533536"/>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ndParaRPr>
            </a:p>
          </p:txBody>
        </p:sp>
        <p:grpSp>
          <p:nvGrpSpPr>
            <p:cNvPr id="326" name="Group 325"/>
            <p:cNvGrpSpPr/>
            <p:nvPr/>
          </p:nvGrpSpPr>
          <p:grpSpPr>
            <a:xfrm>
              <a:off x="8831399" y="2232704"/>
              <a:ext cx="269157" cy="280308"/>
              <a:chOff x="11472827" y="4545788"/>
              <a:chExt cx="280728" cy="284825"/>
            </a:xfrm>
          </p:grpSpPr>
          <p:sp>
            <p:nvSpPr>
              <p:cNvPr id="327" name="Rounded Rectangle 32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28" name="Rounded Rectangle 32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29" name="Rounded Rectangle 32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30" name="Rounded Rectangle 32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31" name="Freeform 33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grpSp>
      </p:grpSp>
      <p:grpSp>
        <p:nvGrpSpPr>
          <p:cNvPr id="299" name="Group 298"/>
          <p:cNvGrpSpPr/>
          <p:nvPr/>
        </p:nvGrpSpPr>
        <p:grpSpPr>
          <a:xfrm>
            <a:off x="9803049" y="4636004"/>
            <a:ext cx="1053950" cy="115872"/>
            <a:chOff x="2220913" y="3722688"/>
            <a:chExt cx="1054100" cy="115888"/>
          </a:xfrm>
          <a:solidFill>
            <a:schemeClr val="bg1">
              <a:lumMod val="75000"/>
            </a:schemeClr>
          </a:solidFill>
        </p:grpSpPr>
        <p:sp>
          <p:nvSpPr>
            <p:cNvPr id="300" name="Line 18"/>
            <p:cNvSpPr>
              <a:spLocks noChangeShapeType="1"/>
            </p:cNvSpPr>
            <p:nvPr/>
          </p:nvSpPr>
          <p:spPr bwMode="auto">
            <a:xfrm>
              <a:off x="2220913" y="3779838"/>
              <a:ext cx="966788" cy="0"/>
            </a:xfrm>
            <a:prstGeom prst="line">
              <a:avLst/>
            </a:prstGeom>
            <a:grpFill/>
            <a:ln w="22225" cap="rnd">
              <a:solidFill>
                <a:schemeClr val="bg1">
                  <a:lumMod val="75000"/>
                </a:schemeClr>
              </a:solidFill>
              <a:prstDash val="solid"/>
              <a:round/>
              <a:headEnd/>
              <a:tailEnd/>
            </a:ln>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grpSp>
        <p:nvGrpSpPr>
          <p:cNvPr id="302" name="Group 301"/>
          <p:cNvGrpSpPr/>
          <p:nvPr/>
        </p:nvGrpSpPr>
        <p:grpSpPr>
          <a:xfrm>
            <a:off x="9745113" y="4399469"/>
            <a:ext cx="1041253" cy="115872"/>
            <a:chOff x="2220913" y="3983038"/>
            <a:chExt cx="1041400" cy="115888"/>
          </a:xfrm>
        </p:grpSpPr>
        <p:sp>
          <p:nvSpPr>
            <p:cNvPr id="303" name="Line 83"/>
            <p:cNvSpPr>
              <a:spLocks noChangeShapeType="1"/>
            </p:cNvSpPr>
            <p:nvPr/>
          </p:nvSpPr>
          <p:spPr bwMode="auto">
            <a:xfrm flipH="1">
              <a:off x="2308225" y="4041775"/>
              <a:ext cx="954088" cy="0"/>
            </a:xfrm>
            <a:prstGeom prst="line">
              <a:avLst/>
            </a:prstGeom>
            <a:noFill/>
            <a:ln w="22225"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chemeClr val="bg1">
                <a:lumMod val="75000"/>
              </a:schemeClr>
            </a:solidFill>
            <a:ln w="0">
              <a:solidFill>
                <a:schemeClr val="bg1">
                  <a:lumMod val="75000"/>
                </a:schemeClr>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spTree>
    <p:extLst>
      <p:ext uri="{BB962C8B-B14F-4D97-AF65-F5344CB8AC3E}">
        <p14:creationId xmlns:p14="http://schemas.microsoft.com/office/powerpoint/2010/main" val="1087369906"/>
      </p:ext>
    </p:extLst>
  </p:cSld>
  <p:clrMapOvr>
    <a:masterClrMapping/>
  </p:clrMapOvr>
  <p:transition spd="slow">
    <p:push dir="u"/>
  </p:transition>
</p:sld>
</file>

<file path=ppt/slides/slide4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305962153"/>
              </p:ext>
            </p:extLst>
          </p:nvPr>
        </p:nvGraphicFramePr>
        <p:xfrm>
          <a:off x="706818" y="1333380"/>
          <a:ext cx="10778366" cy="4709898"/>
        </p:xfrm>
        <a:graphic>
          <a:graphicData uri="http://schemas.openxmlformats.org/drawingml/2006/table">
            <a:tbl>
              <a:tblPr firstRow="1" bandRow="1">
                <a:tableStyleId>{5C22544A-7EE6-4342-B048-85BDC9FD1C3A}</a:tableStyleId>
              </a:tblPr>
              <a:tblGrid>
                <a:gridCol w="1507270">
                  <a:extLst>
                    <a:ext uri="{9D8B030D-6E8A-4147-A177-3AD203B41FA5}">
                      <a16:colId xmlns:a16="http://schemas.microsoft.com/office/drawing/2014/main" val="20000"/>
                    </a:ext>
                  </a:extLst>
                </a:gridCol>
                <a:gridCol w="2317774">
                  <a:extLst>
                    <a:ext uri="{9D8B030D-6E8A-4147-A177-3AD203B41FA5}">
                      <a16:colId xmlns:a16="http://schemas.microsoft.com/office/drawing/2014/main" val="20001"/>
                    </a:ext>
                  </a:extLst>
                </a:gridCol>
                <a:gridCol w="2317774">
                  <a:extLst>
                    <a:ext uri="{9D8B030D-6E8A-4147-A177-3AD203B41FA5}">
                      <a16:colId xmlns:a16="http://schemas.microsoft.com/office/drawing/2014/main" val="20002"/>
                    </a:ext>
                  </a:extLst>
                </a:gridCol>
                <a:gridCol w="2317774">
                  <a:extLst>
                    <a:ext uri="{9D8B030D-6E8A-4147-A177-3AD203B41FA5}">
                      <a16:colId xmlns:a16="http://schemas.microsoft.com/office/drawing/2014/main" val="20003"/>
                    </a:ext>
                  </a:extLst>
                </a:gridCol>
                <a:gridCol w="2317774">
                  <a:extLst>
                    <a:ext uri="{9D8B030D-6E8A-4147-A177-3AD203B41FA5}">
                      <a16:colId xmlns:a16="http://schemas.microsoft.com/office/drawing/2014/main" val="20004"/>
                    </a:ext>
                  </a:extLst>
                </a:gridCol>
              </a:tblGrid>
              <a:tr h="470127">
                <a:tc>
                  <a:txBody>
                    <a:bodyPr/>
                    <a:lstStyle/>
                    <a:p>
                      <a:pPr algn="ctr"/>
                      <a:r>
                        <a:rPr lang="en-GB" sz="1600" b="0" dirty="0" smtClean="0">
                          <a:solidFill>
                            <a:srgbClr val="FFFFFF"/>
                          </a:solidFill>
                          <a:latin typeface="Segoe UI Semibold" panose="020B0702040204020203" pitchFamily="34" charset="0"/>
                        </a:rPr>
                        <a:t>Devices</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rgbClr val="FFFFFF"/>
                          </a:solidFill>
                          <a:latin typeface="Segoe UI Semibold" panose="020B0702040204020203" pitchFamily="34" charset="0"/>
                        </a:rPr>
                        <a:t>Device Connectivity</a:t>
                      </a:r>
                      <a:endParaRPr lang="en-GB" sz="1600" b="0" dirty="0" smtClean="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algn="ctr"/>
                      <a:r>
                        <a:rPr lang="en-GB" sz="1600" b="0" dirty="0" smtClean="0">
                          <a:solidFill>
                            <a:srgbClr val="FFFFFF"/>
                          </a:solidFill>
                          <a:latin typeface="Segoe UI Semibold" panose="020B0702040204020203" pitchFamily="34" charset="0"/>
                        </a:rPr>
                        <a:t>Storage</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algn="ctr"/>
                      <a:r>
                        <a:rPr lang="en-GB" sz="1600" b="0" dirty="0" smtClean="0">
                          <a:solidFill>
                            <a:srgbClr val="FFFFFF"/>
                          </a:solidFill>
                          <a:latin typeface="Segoe UI Semibold" panose="020B0702040204020203" pitchFamily="34" charset="0"/>
                        </a:rPr>
                        <a:t>Analytics</a:t>
                      </a:r>
                      <a:endParaRPr lang="en-US" sz="1600" b="0" dirty="0">
                        <a:solidFill>
                          <a:srgbClr val="FFFFFF"/>
                        </a:solidFill>
                        <a:latin typeface="Segoe UI Semibold" panose="020B0702040204020203" pitchFamily="34" charset="0"/>
                      </a:endParaRPr>
                    </a:p>
                  </a:txBody>
                  <a:tcPr marL="84471" marR="84471"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rgbClr val="FFFFFF"/>
                          </a:solidFill>
                          <a:latin typeface="Segoe UI Semibold" panose="020B0702040204020203" pitchFamily="34" charset="0"/>
                          <a:ea typeface="+mn-ea"/>
                          <a:cs typeface="+mn-cs"/>
                        </a:rPr>
                        <a:t>Presentation &amp; Action</a:t>
                      </a:r>
                    </a:p>
                  </a:txBody>
                  <a:tcPr marL="84471" marR="84471"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4103D"/>
                    </a:solidFill>
                  </a:tcPr>
                </a:tc>
                <a:extLst>
                  <a:ext uri="{0D108BD9-81ED-4DB2-BD59-A6C34878D82A}">
                    <a16:rowId xmlns:a16="http://schemas.microsoft.com/office/drawing/2014/main" val="10000"/>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8DC548"/>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1"/>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8DC548"/>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IoT</a:t>
                      </a:r>
                      <a:r>
                        <a:rPr lang="en-US" sz="1600" kern="0" dirty="0" smtClean="0">
                          <a:solidFill>
                            <a:srgbClr val="FFFFFF"/>
                          </a:solidFill>
                        </a:rPr>
                        <a:t> Hu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FF8C00"/>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8DC548"/>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8DC548"/>
                    </a:solidFill>
                  </a:tcPr>
                </a:tc>
                <a:extLst>
                  <a:ext uri="{0D108BD9-81ED-4DB2-BD59-A6C34878D82A}">
                    <a16:rowId xmlns:a16="http://schemas.microsoft.com/office/drawing/2014/main" val="10002"/>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rPr>
                        <a:t>Service Bu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HDInsight</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3"/>
                  </a:ext>
                </a:extLst>
              </a:tr>
              <a:tr h="938967">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3</a:t>
                      </a:r>
                      <a:r>
                        <a:rPr lang="en-US" sz="1600" kern="0" baseline="30000" dirty="0" smtClean="0">
                          <a:solidFill>
                            <a:srgbClr val="FFFFFF"/>
                          </a:solidFill>
                        </a:rPr>
                        <a:t>rd</a:t>
                      </a:r>
                      <a:r>
                        <a:rPr lang="en-US" sz="1600" kern="0" dirty="0" smtClean="0">
                          <a:solidFill>
                            <a:srgbClr val="FFFFFF"/>
                          </a:solidFill>
                        </a:rPr>
                        <a:t> party Databases</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4"/>
                  </a:ext>
                </a:extLst>
              </a:tr>
              <a:tr h="825201">
                <a:tc>
                  <a:txBody>
                    <a:bodyPr/>
                    <a:lstStyle/>
                    <a:p>
                      <a:endParaRPr lang="en-US" sz="1200" dirty="0"/>
                    </a:p>
                  </a:txBody>
                  <a:tcPr marL="506832" marR="84471" marT="42236" marB="42236">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smtClean="0">
                          <a:solidFill>
                            <a:schemeClr val="bg1"/>
                          </a:solidFill>
                        </a:rPr>
                        <a:t>Data Lake</a:t>
                      </a:r>
                      <a:endParaRPr lang="en-US" sz="1600" dirty="0">
                        <a:solidFill>
                          <a:schemeClr val="bg1"/>
                        </a:solidFill>
                      </a:endParaRPr>
                    </a:p>
                  </a:txBody>
                  <a:tcPr marL="844721" marR="42236" marT="42236" marB="42236"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E195C"/>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44721" marR="42236" marT="42236" marB="42236"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10005"/>
                  </a:ext>
                </a:extLst>
              </a:tr>
            </a:tbl>
          </a:graphicData>
        </a:graphic>
      </p:graphicFrame>
      <p:grpSp>
        <p:nvGrpSpPr>
          <p:cNvPr id="5" name="Group 4"/>
          <p:cNvGrpSpPr>
            <a:grpSpLocks noChangeAspect="1"/>
          </p:cNvGrpSpPr>
          <p:nvPr/>
        </p:nvGrpSpPr>
        <p:grpSpPr>
          <a:xfrm>
            <a:off x="960832" y="2045341"/>
            <a:ext cx="840424" cy="606971"/>
            <a:chOff x="5893817" y="-2363993"/>
            <a:chExt cx="1589176" cy="1147736"/>
          </a:xfrm>
        </p:grpSpPr>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7" name="Group 6"/>
            <p:cNvGrpSpPr>
              <a:grpSpLocks noChangeAspect="1"/>
            </p:cNvGrpSpPr>
            <p:nvPr/>
          </p:nvGrpSpPr>
          <p:grpSpPr>
            <a:xfrm>
              <a:off x="6051365" y="-2363988"/>
              <a:ext cx="1149652" cy="1147731"/>
              <a:chOff x="2475317" y="-6877877"/>
              <a:chExt cx="1493848" cy="1490961"/>
            </a:xfrm>
          </p:grpSpPr>
          <p:sp>
            <p:nvSpPr>
              <p:cNvPr id="12"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sp>
            <p:nvSpPr>
              <p:cNvPr id="13"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sp>
            <p:nvSpPr>
              <p:cNvPr id="14" name="Rectangle 13"/>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sym typeface="Segoe UI" panose="020B0502040204020203" pitchFamily="34" charset="0"/>
                </a:endParaRPr>
              </a:p>
            </p:txBody>
          </p:sp>
        </p:grpSp>
        <p:sp>
          <p:nvSpPr>
            <p:cNvPr id="8"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7200" tIns="33599" rIns="67200" bIns="33599" numCol="1" rtlCol="0" anchor="ctr" anchorCtr="0" compatLnSpc="1">
              <a:prstTxWarp prst="textNoShape">
                <a:avLst/>
              </a:prstTxWarp>
            </a:bodyPr>
            <a:lstStyle/>
            <a:p>
              <a:pPr marL="0" marR="0" lvl="0" indent="0" algn="ctr" defTabSz="604414"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000000"/>
                </a:solidFill>
                <a:effectLst/>
                <a:uLnTx/>
                <a:uFillTx/>
                <a:latin typeface="Segoe UI Light" panose="020B0502040204020203" pitchFamily="34" charset="0"/>
                <a:sym typeface="Segoe UI Light" panose="020B0502040204020203" pitchFamily="34" charset="0"/>
              </a:endParaRPr>
            </a:p>
          </p:txBody>
        </p:sp>
        <p:pic>
          <p:nvPicPr>
            <p:cNvPr id="9"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10"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11" name="Freeform 10"/>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5880" tIns="32940" rIns="65880" bIns="32940" numCol="1" rtlCol="0" anchor="ctr" anchorCtr="0" compatLnSpc="1">
              <a:prstTxWarp prst="textNoShape">
                <a:avLst/>
              </a:prstTxWarp>
            </a:bodyPr>
            <a:lstStyle/>
            <a:p>
              <a:pPr marL="0" marR="0" lvl="0" indent="0" algn="ctr" defTabSz="658129" eaLnBrk="1" fontAlgn="base" latinLnBrk="0" hangingPunct="1">
                <a:lnSpc>
                  <a:spcPct val="100000"/>
                </a:lnSpc>
                <a:spcBef>
                  <a:spcPct val="0"/>
                </a:spcBef>
                <a:spcAft>
                  <a:spcPct val="0"/>
                </a:spcAft>
                <a:buClrTx/>
                <a:buSzTx/>
                <a:buFontTx/>
                <a:buNone/>
                <a:tabLst/>
                <a:defRPr/>
              </a:pPr>
              <a:endParaRPr kumimoji="0" lang="en-US" sz="1250" b="0" i="0" u="none" strike="noStrike" kern="0" cap="none" spc="0" normalizeH="0" baseline="0" noProof="0" dirty="0">
                <a:ln>
                  <a:noFill/>
                </a:ln>
                <a:solidFill>
                  <a:srgbClr val="000000"/>
                </a:solidFill>
                <a:effectLst/>
                <a:uLnTx/>
                <a:uFillTx/>
              </a:endParaRPr>
            </a:p>
          </p:txBody>
        </p:sp>
      </p:grpSp>
      <p:grpSp>
        <p:nvGrpSpPr>
          <p:cNvPr id="15" name="Group 14"/>
          <p:cNvGrpSpPr>
            <a:grpSpLocks noChangeAspect="1"/>
          </p:cNvGrpSpPr>
          <p:nvPr/>
        </p:nvGrpSpPr>
        <p:grpSpPr>
          <a:xfrm>
            <a:off x="1088991" y="2828954"/>
            <a:ext cx="681729" cy="506437"/>
            <a:chOff x="5630249" y="-855090"/>
            <a:chExt cx="1258953" cy="935238"/>
          </a:xfrm>
          <a:solidFill>
            <a:schemeClr val="bg1"/>
          </a:solidFill>
        </p:grpSpPr>
        <p:sp>
          <p:nvSpPr>
            <p:cNvPr id="16"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7203" tIns="33601" rIns="67203" bIns="33601" numCol="1" anchor="t" anchorCtr="0" compatLnSpc="1">
              <a:prstTxWarp prst="textNoShape">
                <a:avLst/>
              </a:prstTxWarp>
            </a:bodyPr>
            <a:lstStyle/>
            <a:p>
              <a:pPr marL="0" marR="0" lvl="0" indent="0" algn="ctr" defTabSz="685073"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000000"/>
                </a:solidFill>
                <a:effectLst/>
                <a:uLnTx/>
                <a:uFillTx/>
              </a:endParaRPr>
            </a:p>
          </p:txBody>
        </p:sp>
        <p:sp>
          <p:nvSpPr>
            <p:cNvPr id="17"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33601" bIns="67203" numCol="1" spcCol="0" rtlCol="0" fromWordArt="0" anchor="b" anchorCtr="0" forceAA="0" compatLnSpc="1">
              <a:prstTxWarp prst="textNoShape">
                <a:avLst/>
              </a:prstTxWarp>
              <a:noAutofit/>
            </a:bodyPr>
            <a:lstStyle/>
            <a:p>
              <a:pPr marL="0" marR="0" lvl="0" indent="0" algn="ctr" defTabSz="671355" eaLnBrk="1" fontAlgn="base" latinLnBrk="0" hangingPunct="1">
                <a:lnSpc>
                  <a:spcPct val="100000"/>
                </a:lnSpc>
                <a:spcBef>
                  <a:spcPct val="0"/>
                </a:spcBef>
                <a:spcAft>
                  <a:spcPct val="0"/>
                </a:spcAft>
                <a:buClrTx/>
                <a:buSzTx/>
                <a:buFontTx/>
                <a:buNone/>
                <a:tabLst/>
                <a:defRPr/>
              </a:pPr>
              <a:endParaRPr kumimoji="0" lang="en-US" sz="735"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pic>
          <p:nvPicPr>
            <p:cNvPr id="18"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19"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5882" tIns="32941" rIns="65882" bIns="32941" numCol="1" anchor="t" anchorCtr="0" compatLnSpc="1">
              <a:prstTxWarp prst="textNoShape">
                <a:avLst/>
              </a:prstTxWarp>
            </a:bodyPr>
            <a:lstStyle/>
            <a:p>
              <a:pPr marL="0" marR="0" lvl="0" indent="0" algn="ctr" defTabSz="658346"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dirty="0">
                <a:ln>
                  <a:noFill/>
                </a:ln>
                <a:solidFill>
                  <a:srgbClr val="000000"/>
                </a:solidFill>
                <a:effectLst/>
                <a:uLnTx/>
                <a:uFillTx/>
              </a:endParaRPr>
            </a:p>
          </p:txBody>
        </p:sp>
        <p:sp>
          <p:nvSpPr>
            <p:cNvPr id="20"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806439" bIns="33601" numCol="1" spcCol="0" rtlCol="0" fromWordArt="0" anchor="b" anchorCtr="0" forceAA="0" compatLnSpc="1">
              <a:prstTxWarp prst="textNoShape">
                <a:avLst/>
              </a:prstTxWarp>
              <a:noAutofit/>
            </a:bodyPr>
            <a:lstStyle/>
            <a:p>
              <a:pPr marL="0" marR="0" lvl="0" indent="0" defTabSz="671355" eaLnBrk="1" fontAlgn="base" latinLnBrk="0" hangingPunct="1">
                <a:lnSpc>
                  <a:spcPct val="100000"/>
                </a:lnSpc>
                <a:spcBef>
                  <a:spcPct val="0"/>
                </a:spcBef>
                <a:spcAft>
                  <a:spcPct val="0"/>
                </a:spcAft>
                <a:buClrTx/>
                <a:buSzTx/>
                <a:buFontTx/>
                <a:buNone/>
                <a:tabLst/>
                <a:defRPr/>
              </a:pPr>
              <a:endParaRPr kumimoji="0" lang="en-US" sz="1617" b="0" i="0" u="none" strike="noStrike" kern="0" cap="none" spc="-37" normalizeH="0" baseline="0" noProof="0" dirty="0">
                <a:ln>
                  <a:noFill/>
                </a:ln>
                <a:solidFill>
                  <a:srgbClr val="000000"/>
                </a:solidFill>
                <a:effectLst/>
                <a:uLnTx/>
                <a:uFillTx/>
                <a:latin typeface="Segoe UI Light"/>
                <a:ea typeface="Segoe UI" pitchFamily="34" charset="0"/>
                <a:cs typeface="Segoe UI" pitchFamily="34" charset="0"/>
              </a:endParaRPr>
            </a:p>
          </p:txBody>
        </p:sp>
        <p:sp>
          <p:nvSpPr>
            <p:cNvPr id="21"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marL="0" marR="0" lvl="0" indent="0" defTabSz="685046" eaLnBrk="1" fontAlgn="auto" latinLnBrk="0" hangingPunct="1">
                <a:lnSpc>
                  <a:spcPct val="100000"/>
                </a:lnSpc>
                <a:spcBef>
                  <a:spcPts val="0"/>
                </a:spcBef>
                <a:spcAft>
                  <a:spcPts val="0"/>
                </a:spcAft>
                <a:buClrTx/>
                <a:buSzTx/>
                <a:buFontTx/>
                <a:buNone/>
                <a:tabLst/>
                <a:defRPr/>
              </a:pPr>
              <a:endParaRPr kumimoji="0" lang="en-US" sz="1544" b="0" i="0" u="none" strike="noStrike" kern="0" cap="none" spc="0" normalizeH="0" baseline="0" noProof="0" dirty="0">
                <a:ln>
                  <a:noFill/>
                </a:ln>
                <a:solidFill>
                  <a:srgbClr val="000000"/>
                </a:solidFill>
                <a:effectLst/>
                <a:uLnTx/>
                <a:uFillTx/>
              </a:endParaRPr>
            </a:p>
          </p:txBody>
        </p:sp>
      </p:grpSp>
      <p:grpSp>
        <p:nvGrpSpPr>
          <p:cNvPr id="22" name="Group 21"/>
          <p:cNvGrpSpPr/>
          <p:nvPr/>
        </p:nvGrpSpPr>
        <p:grpSpPr>
          <a:xfrm>
            <a:off x="1405092" y="3726593"/>
            <a:ext cx="541425" cy="329081"/>
            <a:chOff x="2012636" y="-279971"/>
            <a:chExt cx="734842" cy="447764"/>
          </a:xfrm>
          <a:solidFill>
            <a:schemeClr val="bg1"/>
          </a:solidFill>
        </p:grpSpPr>
        <p:sp>
          <p:nvSpPr>
            <p:cNvPr id="2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03" tIns="33601" rIns="33601" bIns="67203" numCol="1" spcCol="0" rtlCol="0" fromWordArt="0" anchor="b" anchorCtr="0" forceAA="0" compatLnSpc="1">
              <a:prstTxWarp prst="textNoShape">
                <a:avLst/>
              </a:prstTxWarp>
              <a:noAutofit/>
            </a:bodyPr>
            <a:lstStyle/>
            <a:p>
              <a:pPr marL="0" marR="0" lvl="0" indent="0" algn="ctr" defTabSz="671355" eaLnBrk="1" fontAlgn="base" latinLnBrk="0" hangingPunct="1">
                <a:lnSpc>
                  <a:spcPct val="100000"/>
                </a:lnSpc>
                <a:spcBef>
                  <a:spcPct val="0"/>
                </a:spcBef>
                <a:spcAft>
                  <a:spcPct val="0"/>
                </a:spcAft>
                <a:buClrTx/>
                <a:buSzTx/>
                <a:buFontTx/>
                <a:buNone/>
                <a:tabLst/>
                <a:defRPr/>
              </a:pPr>
              <a:endParaRPr kumimoji="0" lang="en-US" sz="1323" b="0" i="0" u="none" strike="noStrike" kern="0" cap="none" spc="-37" normalizeH="0" baseline="0" noProof="0" dirty="0">
                <a:ln>
                  <a:noFill/>
                </a:ln>
                <a:solidFill>
                  <a:srgbClr val="000000"/>
                </a:solidFill>
                <a:effectLst/>
                <a:uLnTx/>
                <a:uFillTx/>
                <a:ea typeface="Segoe UI" pitchFamily="34" charset="0"/>
                <a:cs typeface="Segoe UI" pitchFamily="34" charset="0"/>
              </a:endParaRPr>
            </a:p>
          </p:txBody>
        </p:sp>
        <p:sp>
          <p:nvSpPr>
            <p:cNvPr id="2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0644" tIns="40322" rIns="40322" bIns="80644" numCol="1" spcCol="0" rtlCol="0" fromWordArt="0" anchor="b" anchorCtr="0" forceAA="0" compatLnSpc="1">
              <a:prstTxWarp prst="textNoShape">
                <a:avLst/>
              </a:prstTxWarp>
              <a:noAutofit/>
            </a:bodyPr>
            <a:lstStyle/>
            <a:p>
              <a:pPr marL="0" marR="0" lvl="0" indent="0" algn="ctr" defTabSz="805626" eaLnBrk="1" fontAlgn="base" latinLnBrk="0" hangingPunct="1">
                <a:lnSpc>
                  <a:spcPct val="100000"/>
                </a:lnSpc>
                <a:spcBef>
                  <a:spcPct val="0"/>
                </a:spcBef>
                <a:spcAft>
                  <a:spcPct val="0"/>
                </a:spcAft>
                <a:buClrTx/>
                <a:buSzTx/>
                <a:buFontTx/>
                <a:buNone/>
                <a:tabLst/>
                <a:defRPr/>
              </a:pPr>
              <a:endParaRPr kumimoji="0" lang="en-US" sz="1765" b="0" i="0" u="none" strike="noStrike" kern="0" cap="none" spc="-44" normalizeH="0" baseline="0" noProof="0" dirty="0">
                <a:ln>
                  <a:noFill/>
                </a:ln>
                <a:solidFill>
                  <a:srgbClr val="000000"/>
                </a:solidFill>
                <a:effectLst/>
                <a:uLnTx/>
                <a:uFillTx/>
                <a:ea typeface="Segoe UI" pitchFamily="34" charset="0"/>
                <a:cs typeface="Segoe UI" pitchFamily="34" charset="0"/>
              </a:endParaRPr>
            </a:p>
          </p:txBody>
        </p:sp>
      </p:grpSp>
      <p:pic>
        <p:nvPicPr>
          <p:cNvPr id="25" name="Picture 2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39626" y="3675036"/>
            <a:ext cx="470556" cy="470556"/>
          </a:xfrm>
          <a:prstGeom prst="rect">
            <a:avLst/>
          </a:prstGeom>
        </p:spPr>
      </p:pic>
      <p:pic>
        <p:nvPicPr>
          <p:cNvPr id="26"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81987" y="4458120"/>
            <a:ext cx="463145" cy="463145"/>
          </a:xfrm>
          <a:prstGeom prst="rect">
            <a:avLst/>
          </a:prstGeom>
          <a:noFill/>
        </p:spPr>
      </p:pic>
      <p:pic>
        <p:nvPicPr>
          <p:cNvPr id="27"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661063" y="2054507"/>
            <a:ext cx="415409" cy="438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647377" y="2887184"/>
            <a:ext cx="442786" cy="38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80393" y="3514674"/>
            <a:ext cx="776750" cy="776750"/>
          </a:xfrm>
          <a:prstGeom prst="rect">
            <a:avLst/>
          </a:prstGeom>
        </p:spPr>
      </p:pic>
      <p:sp>
        <p:nvSpPr>
          <p:cNvPr id="30" name="TextBox 29"/>
          <p:cNvSpPr txBox="1"/>
          <p:nvPr/>
        </p:nvSpPr>
        <p:spPr>
          <a:xfrm>
            <a:off x="4701454" y="3817108"/>
            <a:ext cx="357676" cy="230832"/>
          </a:xfrm>
          <a:prstGeom prst="rect">
            <a:avLst/>
          </a:prstGeom>
          <a:noFill/>
          <a:ln>
            <a:noFill/>
            <a:headEnd type="none" w="med" len="med"/>
            <a:tailEnd type="none" w="med" len="med"/>
          </a:ln>
        </p:spPr>
        <p:txBody>
          <a:bodyPr wrap="square" lIns="0" tIns="0" rIns="0" bIns="0" rtlCol="0">
            <a:spAutoFit/>
          </a:bodyPr>
          <a:lstStyle/>
          <a:p>
            <a:pPr marL="0" marR="0" lvl="0" indent="0" algn="ctr" defTabSz="685607" eaLnBrk="1" fontAlgn="auto" latinLnBrk="0" hangingPunct="1">
              <a:lnSpc>
                <a:spcPct val="100000"/>
              </a:lnSpc>
              <a:spcBef>
                <a:spcPts val="0"/>
              </a:spcBef>
              <a:spcAft>
                <a:spcPts val="0"/>
              </a:spcAft>
              <a:buClrTx/>
              <a:buSzTx/>
              <a:buFontTx/>
              <a:buNone/>
              <a:tabLst/>
              <a:defRPr/>
            </a:pPr>
            <a:r>
              <a:rPr kumimoji="0" lang="en-US" sz="1500" b="0" i="0" u="none" strike="noStrike" kern="0" cap="none" spc="-29" normalizeH="0" baseline="0" noProof="0" dirty="0">
                <a:ln>
                  <a:noFill/>
                </a:ln>
                <a:solidFill>
                  <a:srgbClr val="4668C5"/>
                </a:solidFill>
                <a:effectLst/>
                <a:uLnTx/>
                <a:uFillTx/>
                <a:ea typeface="Segoe UI" pitchFamily="34" charset="0"/>
                <a:cs typeface="Segoe UI" pitchFamily="34" charset="0"/>
              </a:rPr>
              <a:t>{  }</a:t>
            </a:r>
          </a:p>
        </p:txBody>
      </p:sp>
      <p:pic>
        <p:nvPicPr>
          <p:cNvPr id="31"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673618" y="4458120"/>
            <a:ext cx="463145" cy="463145"/>
          </a:xfrm>
          <a:prstGeom prst="rect">
            <a:avLst/>
          </a:prstGeom>
          <a:noFill/>
        </p:spPr>
      </p:pic>
      <p:pic>
        <p:nvPicPr>
          <p:cNvPr id="32" name="Picture 3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851010" y="1892920"/>
            <a:ext cx="739031" cy="739031"/>
          </a:xfrm>
          <a:prstGeom prst="rect">
            <a:avLst/>
          </a:prstGeom>
        </p:spPr>
      </p:pic>
      <p:pic>
        <p:nvPicPr>
          <p:cNvPr id="33"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348003" y="2064625"/>
            <a:ext cx="421361" cy="417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412736" y="4500730"/>
            <a:ext cx="272575" cy="440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34"/>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386942" y="3693957"/>
            <a:ext cx="366526" cy="366526"/>
          </a:xfrm>
          <a:prstGeom prst="rect">
            <a:avLst/>
          </a:prstGeom>
        </p:spPr>
      </p:pic>
      <p:pic>
        <p:nvPicPr>
          <p:cNvPr id="36" name="Picture 35"/>
          <p:cNvPicPr>
            <a:picLocks noChangeAspect="1"/>
          </p:cNvPicPr>
          <p:nvPr/>
        </p:nvPicPr>
        <p:blipFill>
          <a:blip r:embed="rId16" cstate="screen">
            <a:biLevel thresh="25000"/>
            <a:extLst>
              <a:ext uri="{28A0092B-C50C-407E-A947-70E740481C1C}">
                <a14:useLocalDpi xmlns:a14="http://schemas.microsoft.com/office/drawing/2010/main"/>
              </a:ext>
            </a:extLst>
          </a:blip>
          <a:stretch>
            <a:fillRect/>
          </a:stretch>
        </p:blipFill>
        <p:spPr>
          <a:xfrm>
            <a:off x="6985479" y="4500731"/>
            <a:ext cx="470095" cy="470095"/>
          </a:xfrm>
          <a:prstGeom prst="rect">
            <a:avLst/>
          </a:prstGeom>
        </p:spPr>
      </p:pic>
      <p:pic>
        <p:nvPicPr>
          <p:cNvPr id="37" name="Picture 36"/>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2441085" y="3653741"/>
            <a:ext cx="398782" cy="398782"/>
          </a:xfrm>
          <a:prstGeom prst="rect">
            <a:avLst/>
          </a:prstGeom>
        </p:spPr>
      </p:pic>
      <p:pic>
        <p:nvPicPr>
          <p:cNvPr id="38" name="Picture 37"/>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9348002" y="5366909"/>
            <a:ext cx="478444" cy="478444"/>
          </a:xfrm>
          <a:prstGeom prst="rect">
            <a:avLst/>
          </a:prstGeom>
        </p:spPr>
      </p:pic>
      <p:pic>
        <p:nvPicPr>
          <p:cNvPr id="39" name="Picture 38"/>
          <p:cNvPicPr>
            <a:picLocks noChangeAspect="1"/>
          </p:cNvPicPr>
          <p:nvPr/>
        </p:nvPicPr>
        <p:blipFill>
          <a:blip r:embed="rId19"/>
          <a:stretch>
            <a:fillRect/>
          </a:stretch>
        </p:blipFill>
        <p:spPr>
          <a:xfrm>
            <a:off x="6960825" y="2834113"/>
            <a:ext cx="519404" cy="519404"/>
          </a:xfrm>
          <a:prstGeom prst="rect">
            <a:avLst/>
          </a:prstGeom>
        </p:spPr>
      </p:pic>
      <p:pic>
        <p:nvPicPr>
          <p:cNvPr id="40" name="Picture 39"/>
          <p:cNvPicPr>
            <a:picLocks noChangeAspect="1"/>
          </p:cNvPicPr>
          <p:nvPr/>
        </p:nvPicPr>
        <p:blipFill>
          <a:blip r:embed="rId20"/>
          <a:stretch>
            <a:fillRect/>
          </a:stretch>
        </p:blipFill>
        <p:spPr>
          <a:xfrm>
            <a:off x="2293555" y="1946221"/>
            <a:ext cx="546312" cy="546312"/>
          </a:xfrm>
          <a:prstGeom prst="rect">
            <a:avLst/>
          </a:prstGeom>
        </p:spPr>
      </p:pic>
      <p:pic>
        <p:nvPicPr>
          <p:cNvPr id="41" name="Picture 40"/>
          <p:cNvPicPr>
            <a:picLocks noChangeAspect="1"/>
          </p:cNvPicPr>
          <p:nvPr/>
        </p:nvPicPr>
        <p:blipFill>
          <a:blip r:embed="rId21"/>
          <a:stretch>
            <a:fillRect/>
          </a:stretch>
        </p:blipFill>
        <p:spPr>
          <a:xfrm>
            <a:off x="6921222" y="3599063"/>
            <a:ext cx="598607" cy="598607"/>
          </a:xfrm>
          <a:prstGeom prst="rect">
            <a:avLst/>
          </a:prstGeom>
        </p:spPr>
      </p:pic>
      <p:pic>
        <p:nvPicPr>
          <p:cNvPr id="42" name="Picture 41"/>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320447" y="2803777"/>
            <a:ext cx="476996" cy="509611"/>
          </a:xfrm>
          <a:prstGeom prst="rect">
            <a:avLst/>
          </a:prstGeom>
        </p:spPr>
      </p:pic>
      <p:pic>
        <p:nvPicPr>
          <p:cNvPr id="43" name="Picture 4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349637" y="2803777"/>
            <a:ext cx="419728" cy="442036"/>
          </a:xfrm>
          <a:prstGeom prst="rect">
            <a:avLst/>
          </a:prstGeom>
        </p:spPr>
      </p:pic>
      <p:pic>
        <p:nvPicPr>
          <p:cNvPr id="44" name="Picture 43"/>
          <p:cNvPicPr>
            <a:picLocks noChangeAspect="1"/>
          </p:cNvPicPr>
          <p:nvPr/>
        </p:nvPicPr>
        <p:blipFill>
          <a:blip r:embed="rId24">
            <a:biLevel thresh="25000"/>
          </a:blip>
          <a:stretch>
            <a:fillRect/>
          </a:stretch>
        </p:blipFill>
        <p:spPr>
          <a:xfrm>
            <a:off x="6973097" y="5382605"/>
            <a:ext cx="418698" cy="368260"/>
          </a:xfrm>
          <a:prstGeom prst="rect">
            <a:avLst/>
          </a:prstGeom>
        </p:spPr>
      </p:pic>
      <p:pic>
        <p:nvPicPr>
          <p:cNvPr id="45" name="Picture 44"/>
          <p:cNvPicPr>
            <a:picLocks noChangeAspect="1"/>
          </p:cNvPicPr>
          <p:nvPr/>
        </p:nvPicPr>
        <p:blipFill>
          <a:blip r:embed="rId24">
            <a:biLevel thresh="25000"/>
          </a:blip>
          <a:stretch>
            <a:fillRect/>
          </a:stretch>
        </p:blipFill>
        <p:spPr>
          <a:xfrm>
            <a:off x="7111566" y="5566735"/>
            <a:ext cx="418698" cy="368260"/>
          </a:xfrm>
          <a:prstGeom prst="rect">
            <a:avLst/>
          </a:prstGeom>
        </p:spPr>
      </p:pic>
      <p:grpSp>
        <p:nvGrpSpPr>
          <p:cNvPr id="46" name="Group 45"/>
          <p:cNvGrpSpPr/>
          <p:nvPr/>
        </p:nvGrpSpPr>
        <p:grpSpPr>
          <a:xfrm>
            <a:off x="1588" y="0"/>
            <a:ext cx="12195175" cy="945292"/>
            <a:chOff x="1588" y="0"/>
            <a:chExt cx="12195175" cy="945292"/>
          </a:xfrm>
        </p:grpSpPr>
        <p:sp>
          <p:nvSpPr>
            <p:cNvPr id="47"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Microsoft Azure IoT Services</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48" name="Rectangle 47"/>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9"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0" name="Group 49"/>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51"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2"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3"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4"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5"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58"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328068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1+#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1+#ppt_w/2"/>
                                          </p:val>
                                        </p:tav>
                                        <p:tav tm="100000">
                                          <p:val>
                                            <p:strVal val="#ppt_x"/>
                                          </p:val>
                                        </p:tav>
                                      </p:tavLst>
                                    </p:anim>
                                    <p:anim calcmode="lin" valueType="num">
                                      <p:cBhvr additive="base">
                                        <p:cTn id="16" dur="50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1+#ppt_w/2"/>
                                          </p:val>
                                        </p:tav>
                                        <p:tav tm="100000">
                                          <p:val>
                                            <p:strVal val="#ppt_x"/>
                                          </p:val>
                                        </p:tav>
                                      </p:tavLst>
                                    </p:anim>
                                    <p:anim calcmode="lin" valueType="num">
                                      <p:cBhvr additive="base">
                                        <p:cTn id="20" dur="500" fill="hold"/>
                                        <p:tgtEl>
                                          <p:spTgt spid="27"/>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500" fill="hold"/>
                                        <p:tgtEl>
                                          <p:spTgt spid="28"/>
                                        </p:tgtEl>
                                        <p:attrNameLst>
                                          <p:attrName>ppt_x</p:attrName>
                                        </p:attrNameLst>
                                      </p:cBhvr>
                                      <p:tavLst>
                                        <p:tav tm="0">
                                          <p:val>
                                            <p:strVal val="1+#ppt_w/2"/>
                                          </p:val>
                                        </p:tav>
                                        <p:tav tm="100000">
                                          <p:val>
                                            <p:strVal val="#ppt_x"/>
                                          </p:val>
                                        </p:tav>
                                      </p:tavLst>
                                    </p:anim>
                                    <p:anim calcmode="lin" valueType="num">
                                      <p:cBhvr additive="base">
                                        <p:cTn id="24" dur="500" fill="hold"/>
                                        <p:tgtEl>
                                          <p:spTgt spid="28"/>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 calcmode="lin" valueType="num">
                                      <p:cBhvr additive="base">
                                        <p:cTn id="27" dur="500" fill="hold"/>
                                        <p:tgtEl>
                                          <p:spTgt spid="30"/>
                                        </p:tgtEl>
                                        <p:attrNameLst>
                                          <p:attrName>ppt_x</p:attrName>
                                        </p:attrNameLst>
                                      </p:cBhvr>
                                      <p:tavLst>
                                        <p:tav tm="0">
                                          <p:val>
                                            <p:strVal val="1+#ppt_w/2"/>
                                          </p:val>
                                        </p:tav>
                                        <p:tav tm="100000">
                                          <p:val>
                                            <p:strVal val="#ppt_x"/>
                                          </p:val>
                                        </p:tav>
                                      </p:tavLst>
                                    </p:anim>
                                    <p:anim calcmode="lin" valueType="num">
                                      <p:cBhvr additive="base">
                                        <p:cTn id="28" dur="500" fill="hold"/>
                                        <p:tgtEl>
                                          <p:spTgt spid="30"/>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anim calcmode="lin" valueType="num">
                                      <p:cBhvr additive="base">
                                        <p:cTn id="31" dur="500" fill="hold"/>
                                        <p:tgtEl>
                                          <p:spTgt spid="32"/>
                                        </p:tgtEl>
                                        <p:attrNameLst>
                                          <p:attrName>ppt_x</p:attrName>
                                        </p:attrNameLst>
                                      </p:cBhvr>
                                      <p:tavLst>
                                        <p:tav tm="0">
                                          <p:val>
                                            <p:strVal val="1+#ppt_w/2"/>
                                          </p:val>
                                        </p:tav>
                                        <p:tav tm="100000">
                                          <p:val>
                                            <p:strVal val="#ppt_x"/>
                                          </p:val>
                                        </p:tav>
                                      </p:tavLst>
                                    </p:anim>
                                    <p:anim calcmode="lin" valueType="num">
                                      <p:cBhvr additive="base">
                                        <p:cTn id="32" dur="500" fill="hold"/>
                                        <p:tgtEl>
                                          <p:spTgt spid="32"/>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33"/>
                                        </p:tgtEl>
                                        <p:attrNameLst>
                                          <p:attrName>style.visibility</p:attrName>
                                        </p:attrNameLst>
                                      </p:cBhvr>
                                      <p:to>
                                        <p:strVal val="visible"/>
                                      </p:to>
                                    </p:set>
                                    <p:anim calcmode="lin" valueType="num">
                                      <p:cBhvr additive="base">
                                        <p:cTn id="35" dur="500" fill="hold"/>
                                        <p:tgtEl>
                                          <p:spTgt spid="33"/>
                                        </p:tgtEl>
                                        <p:attrNameLst>
                                          <p:attrName>ppt_x</p:attrName>
                                        </p:attrNameLst>
                                      </p:cBhvr>
                                      <p:tavLst>
                                        <p:tav tm="0">
                                          <p:val>
                                            <p:strVal val="1+#ppt_w/2"/>
                                          </p:val>
                                        </p:tav>
                                        <p:tav tm="100000">
                                          <p:val>
                                            <p:strVal val="#ppt_x"/>
                                          </p:val>
                                        </p:tav>
                                      </p:tavLst>
                                    </p:anim>
                                    <p:anim calcmode="lin" valueType="num">
                                      <p:cBhvr additive="base">
                                        <p:cTn id="36" dur="500" fill="hold"/>
                                        <p:tgtEl>
                                          <p:spTgt spid="33"/>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500" fill="hold"/>
                                        <p:tgtEl>
                                          <p:spTgt spid="34"/>
                                        </p:tgtEl>
                                        <p:attrNameLst>
                                          <p:attrName>ppt_x</p:attrName>
                                        </p:attrNameLst>
                                      </p:cBhvr>
                                      <p:tavLst>
                                        <p:tav tm="0">
                                          <p:val>
                                            <p:strVal val="1+#ppt_w/2"/>
                                          </p:val>
                                        </p:tav>
                                        <p:tav tm="100000">
                                          <p:val>
                                            <p:strVal val="#ppt_x"/>
                                          </p:val>
                                        </p:tav>
                                      </p:tavLst>
                                    </p:anim>
                                    <p:anim calcmode="lin" valueType="num">
                                      <p:cBhvr additive="base">
                                        <p:cTn id="40" dur="500" fill="hold"/>
                                        <p:tgtEl>
                                          <p:spTgt spid="34"/>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35"/>
                                        </p:tgtEl>
                                        <p:attrNameLst>
                                          <p:attrName>style.visibility</p:attrName>
                                        </p:attrNameLst>
                                      </p:cBhvr>
                                      <p:to>
                                        <p:strVal val="visible"/>
                                      </p:to>
                                    </p:set>
                                    <p:anim calcmode="lin" valueType="num">
                                      <p:cBhvr additive="base">
                                        <p:cTn id="43" dur="500" fill="hold"/>
                                        <p:tgtEl>
                                          <p:spTgt spid="35"/>
                                        </p:tgtEl>
                                        <p:attrNameLst>
                                          <p:attrName>ppt_x</p:attrName>
                                        </p:attrNameLst>
                                      </p:cBhvr>
                                      <p:tavLst>
                                        <p:tav tm="0">
                                          <p:val>
                                            <p:strVal val="1+#ppt_w/2"/>
                                          </p:val>
                                        </p:tav>
                                        <p:tav tm="100000">
                                          <p:val>
                                            <p:strVal val="#ppt_x"/>
                                          </p:val>
                                        </p:tav>
                                      </p:tavLst>
                                    </p:anim>
                                    <p:anim calcmode="lin" valueType="num">
                                      <p:cBhvr additive="base">
                                        <p:cTn id="44" dur="500" fill="hold"/>
                                        <p:tgtEl>
                                          <p:spTgt spid="35"/>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22"/>
                                        </p:tgtEl>
                                        <p:attrNameLst>
                                          <p:attrName>style.visibility</p:attrName>
                                        </p:attrNameLst>
                                      </p:cBhvr>
                                      <p:to>
                                        <p:strVal val="visible"/>
                                      </p:to>
                                    </p:set>
                                    <p:anim calcmode="lin" valueType="num">
                                      <p:cBhvr additive="base">
                                        <p:cTn id="47" dur="500" fill="hold"/>
                                        <p:tgtEl>
                                          <p:spTgt spid="22"/>
                                        </p:tgtEl>
                                        <p:attrNameLst>
                                          <p:attrName>ppt_x</p:attrName>
                                        </p:attrNameLst>
                                      </p:cBhvr>
                                      <p:tavLst>
                                        <p:tav tm="0">
                                          <p:val>
                                            <p:strVal val="1+#ppt_w/2"/>
                                          </p:val>
                                        </p:tav>
                                        <p:tav tm="100000">
                                          <p:val>
                                            <p:strVal val="#ppt_x"/>
                                          </p:val>
                                        </p:tav>
                                      </p:tavLst>
                                    </p:anim>
                                    <p:anim calcmode="lin" valueType="num">
                                      <p:cBhvr additive="base">
                                        <p:cTn id="48" dur="500" fill="hold"/>
                                        <p:tgtEl>
                                          <p:spTgt spid="22"/>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1+#ppt_w/2"/>
                                          </p:val>
                                        </p:tav>
                                        <p:tav tm="100000">
                                          <p:val>
                                            <p:strVal val="#ppt_x"/>
                                          </p:val>
                                        </p:tav>
                                      </p:tavLst>
                                    </p:anim>
                                    <p:anim calcmode="lin" valueType="num">
                                      <p:cBhvr additive="base">
                                        <p:cTn id="52" dur="500" fill="hold"/>
                                        <p:tgtEl>
                                          <p:spTgt spid="15"/>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5"/>
                                        </p:tgtEl>
                                        <p:attrNameLst>
                                          <p:attrName>style.visibility</p:attrName>
                                        </p:attrNameLst>
                                      </p:cBhvr>
                                      <p:to>
                                        <p:strVal val="visible"/>
                                      </p:to>
                                    </p:set>
                                    <p:anim calcmode="lin" valueType="num">
                                      <p:cBhvr additive="base">
                                        <p:cTn id="55" dur="500" fill="hold"/>
                                        <p:tgtEl>
                                          <p:spTgt spid="5"/>
                                        </p:tgtEl>
                                        <p:attrNameLst>
                                          <p:attrName>ppt_x</p:attrName>
                                        </p:attrNameLst>
                                      </p:cBhvr>
                                      <p:tavLst>
                                        <p:tav tm="0">
                                          <p:val>
                                            <p:strVal val="1+#ppt_w/2"/>
                                          </p:val>
                                        </p:tav>
                                        <p:tav tm="100000">
                                          <p:val>
                                            <p:strVal val="#ppt_x"/>
                                          </p:val>
                                        </p:tav>
                                      </p:tavLst>
                                    </p:anim>
                                    <p:anim calcmode="lin" valueType="num">
                                      <p:cBhvr additive="base">
                                        <p:cTn id="56" dur="500" fill="hold"/>
                                        <p:tgtEl>
                                          <p:spTgt spid="5"/>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1"/>
                                        </p:tgtEl>
                                        <p:attrNameLst>
                                          <p:attrName>style.visibility</p:attrName>
                                        </p:attrNameLst>
                                      </p:cBhvr>
                                      <p:to>
                                        <p:strVal val="visible"/>
                                      </p:to>
                                    </p:set>
                                    <p:anim calcmode="lin" valueType="num">
                                      <p:cBhvr additive="base">
                                        <p:cTn id="59" dur="500" fill="hold"/>
                                        <p:tgtEl>
                                          <p:spTgt spid="31"/>
                                        </p:tgtEl>
                                        <p:attrNameLst>
                                          <p:attrName>ppt_x</p:attrName>
                                        </p:attrNameLst>
                                      </p:cBhvr>
                                      <p:tavLst>
                                        <p:tav tm="0">
                                          <p:val>
                                            <p:strVal val="1+#ppt_w/2"/>
                                          </p:val>
                                        </p:tav>
                                        <p:tav tm="100000">
                                          <p:val>
                                            <p:strVal val="#ppt_x"/>
                                          </p:val>
                                        </p:tav>
                                      </p:tavLst>
                                    </p:anim>
                                    <p:anim calcmode="lin" valueType="num">
                                      <p:cBhvr additive="base">
                                        <p:cTn id="60" dur="500" fill="hold"/>
                                        <p:tgtEl>
                                          <p:spTgt spid="31"/>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29"/>
                                        </p:tgtEl>
                                        <p:attrNameLst>
                                          <p:attrName>style.visibility</p:attrName>
                                        </p:attrNameLst>
                                      </p:cBhvr>
                                      <p:to>
                                        <p:strVal val="visible"/>
                                      </p:to>
                                    </p:set>
                                    <p:anim calcmode="lin" valueType="num">
                                      <p:cBhvr additive="base">
                                        <p:cTn id="63" dur="500" fill="hold"/>
                                        <p:tgtEl>
                                          <p:spTgt spid="29"/>
                                        </p:tgtEl>
                                        <p:attrNameLst>
                                          <p:attrName>ppt_x</p:attrName>
                                        </p:attrNameLst>
                                      </p:cBhvr>
                                      <p:tavLst>
                                        <p:tav tm="0">
                                          <p:val>
                                            <p:strVal val="1+#ppt_w/2"/>
                                          </p:val>
                                        </p:tav>
                                        <p:tav tm="100000">
                                          <p:val>
                                            <p:strVal val="#ppt_x"/>
                                          </p:val>
                                        </p:tav>
                                      </p:tavLst>
                                    </p:anim>
                                    <p:anim calcmode="lin" valueType="num">
                                      <p:cBhvr additive="base">
                                        <p:cTn id="64" dur="500" fill="hold"/>
                                        <p:tgtEl>
                                          <p:spTgt spid="29"/>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36"/>
                                        </p:tgtEl>
                                        <p:attrNameLst>
                                          <p:attrName>style.visibility</p:attrName>
                                        </p:attrNameLst>
                                      </p:cBhvr>
                                      <p:to>
                                        <p:strVal val="visible"/>
                                      </p:to>
                                    </p:set>
                                    <p:anim calcmode="lin" valueType="num">
                                      <p:cBhvr additive="base">
                                        <p:cTn id="67" dur="500" fill="hold"/>
                                        <p:tgtEl>
                                          <p:spTgt spid="36"/>
                                        </p:tgtEl>
                                        <p:attrNameLst>
                                          <p:attrName>ppt_x</p:attrName>
                                        </p:attrNameLst>
                                      </p:cBhvr>
                                      <p:tavLst>
                                        <p:tav tm="0">
                                          <p:val>
                                            <p:strVal val="1+#ppt_w/2"/>
                                          </p:val>
                                        </p:tav>
                                        <p:tav tm="100000">
                                          <p:val>
                                            <p:strVal val="#ppt_x"/>
                                          </p:val>
                                        </p:tav>
                                      </p:tavLst>
                                    </p:anim>
                                    <p:anim calcmode="lin" valueType="num">
                                      <p:cBhvr additive="base">
                                        <p:cTn id="68" dur="500" fill="hold"/>
                                        <p:tgtEl>
                                          <p:spTgt spid="36"/>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7"/>
                                        </p:tgtEl>
                                        <p:attrNameLst>
                                          <p:attrName>style.visibility</p:attrName>
                                        </p:attrNameLst>
                                      </p:cBhvr>
                                      <p:to>
                                        <p:strVal val="visible"/>
                                      </p:to>
                                    </p:set>
                                    <p:anim calcmode="lin" valueType="num">
                                      <p:cBhvr additive="base">
                                        <p:cTn id="71" dur="500" fill="hold"/>
                                        <p:tgtEl>
                                          <p:spTgt spid="37"/>
                                        </p:tgtEl>
                                        <p:attrNameLst>
                                          <p:attrName>ppt_x</p:attrName>
                                        </p:attrNameLst>
                                      </p:cBhvr>
                                      <p:tavLst>
                                        <p:tav tm="0">
                                          <p:val>
                                            <p:strVal val="1+#ppt_w/2"/>
                                          </p:val>
                                        </p:tav>
                                        <p:tav tm="100000">
                                          <p:val>
                                            <p:strVal val="#ppt_x"/>
                                          </p:val>
                                        </p:tav>
                                      </p:tavLst>
                                    </p:anim>
                                    <p:anim calcmode="lin" valueType="num">
                                      <p:cBhvr additive="base">
                                        <p:cTn id="72" dur="500" fill="hold"/>
                                        <p:tgtEl>
                                          <p:spTgt spid="37"/>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38"/>
                                        </p:tgtEl>
                                        <p:attrNameLst>
                                          <p:attrName>style.visibility</p:attrName>
                                        </p:attrNameLst>
                                      </p:cBhvr>
                                      <p:to>
                                        <p:strVal val="visible"/>
                                      </p:to>
                                    </p:set>
                                    <p:anim calcmode="lin" valueType="num">
                                      <p:cBhvr additive="base">
                                        <p:cTn id="75" dur="500" fill="hold"/>
                                        <p:tgtEl>
                                          <p:spTgt spid="38"/>
                                        </p:tgtEl>
                                        <p:attrNameLst>
                                          <p:attrName>ppt_x</p:attrName>
                                        </p:attrNameLst>
                                      </p:cBhvr>
                                      <p:tavLst>
                                        <p:tav tm="0">
                                          <p:val>
                                            <p:strVal val="1+#ppt_w/2"/>
                                          </p:val>
                                        </p:tav>
                                        <p:tav tm="100000">
                                          <p:val>
                                            <p:strVal val="#ppt_x"/>
                                          </p:val>
                                        </p:tav>
                                      </p:tavLst>
                                    </p:anim>
                                    <p:anim calcmode="lin" valueType="num">
                                      <p:cBhvr additive="base">
                                        <p:cTn id="76" dur="500" fill="hold"/>
                                        <p:tgtEl>
                                          <p:spTgt spid="3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IoT Hub Demo</a:t>
            </a:r>
            <a:r>
              <a:rPr lang="en-GB" sz="7200" dirty="0" smtClean="0">
                <a:solidFill>
                  <a:schemeClr val="bg1"/>
                </a:solidFill>
                <a:latin typeface="Segoe UI Light" panose="020B0502040204020203" pitchFamily="34" charset="0"/>
                <a:cs typeface="Segoe UI Light" panose="020B0502040204020203" pitchFamily="34" charset="0"/>
              </a:rPr>
              <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a:solidFill>
                  <a:srgbClr val="F2F2F2"/>
                </a:solidFill>
                <a:latin typeface="Segoe UI Light" panose="020B0502040204020203" pitchFamily="34" charset="0"/>
                <a:cs typeface="Segoe UI Light" panose="020B0502040204020203" pitchFamily="34" charset="0"/>
              </a:rPr>
              <a:t>Connect, monitor, and control millions of IoT assets</a:t>
            </a: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5" name="Rectangle 4"/>
          <p:cNvSpPr/>
          <p:nvPr/>
        </p:nvSpPr>
        <p:spPr>
          <a:xfrm>
            <a:off x="2404382" y="6067475"/>
            <a:ext cx="1473480" cy="3693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lumMod val="85000"/>
                  </a:srgbClr>
                </a:solidFill>
                <a:effectLst/>
                <a:uLnTx/>
                <a:uFillTx/>
              </a:rPr>
              <a:t>@</a:t>
            </a:r>
            <a:r>
              <a:rPr kumimoji="0" lang="en-GB" sz="1800" b="0" i="0" u="none" strike="noStrike" kern="0" cap="none" spc="0" normalizeH="0" baseline="0" noProof="0" dirty="0" err="1">
                <a:ln>
                  <a:noFill/>
                </a:ln>
                <a:solidFill>
                  <a:srgbClr val="FFFFFF">
                    <a:lumMod val="85000"/>
                  </a:srgbClr>
                </a:solidFill>
                <a:effectLst/>
                <a:uLnTx/>
                <a:uFillTx/>
              </a:rPr>
              <a:t>allanSQLIS</a:t>
            </a:r>
            <a:endParaRPr kumimoji="0" lang="en-GB" sz="1800" b="0" i="0" u="none" strike="noStrike" kern="0" cap="none" spc="0" normalizeH="0" baseline="0" noProof="0" dirty="0">
              <a:ln>
                <a:noFill/>
              </a:ln>
              <a:solidFill>
                <a:srgbClr val="FFFFFF">
                  <a:lumMod val="85000"/>
                </a:srgbClr>
              </a:solidFill>
              <a:effectLst/>
              <a:uLnTx/>
              <a:uFillTx/>
            </a:endParaRPr>
          </a:p>
        </p:txBody>
      </p:sp>
    </p:spTree>
    <p:extLst>
      <p:ext uri="{BB962C8B-B14F-4D97-AF65-F5344CB8AC3E}">
        <p14:creationId xmlns:p14="http://schemas.microsoft.com/office/powerpoint/2010/main" val="2991452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What's Next?</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Grab lunch, then it’s your turn!</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t>
            </a:r>
            <a:r>
              <a:rPr kumimoji="0" lang="en-GB" sz="1800" b="0" i="0" u="none" strike="noStrike" kern="1200" cap="none" spc="0" normalizeH="0" baseline="0" noProof="0" dirty="0" err="1">
                <a:ln>
                  <a:noFill/>
                </a:ln>
                <a:solidFill>
                  <a:srgbClr val="FFFFFF">
                    <a:lumMod val="85000"/>
                  </a:srgbClr>
                </a:solidFill>
                <a:effectLst/>
                <a:uLnTx/>
                <a:uFillTx/>
                <a:latin typeface="Segoe UI"/>
                <a:ea typeface="+mn-ea"/>
                <a:cs typeface="+mn-cs"/>
              </a:rPr>
              <a:t>allanSQLIS</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2554847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02742" y="6417840"/>
            <a:ext cx="5574539" cy="369332"/>
          </a:xfrm>
          <a:prstGeom prst="rect">
            <a:avLst/>
          </a:prstGeom>
        </p:spPr>
        <p:txBody>
          <a:bodyPr wrap="none">
            <a:spAutoFit/>
          </a:bodyPr>
          <a:lstStyle/>
          <a:p>
            <a:r>
              <a:rPr lang="en-GB" dirty="0">
                <a:hlinkClick r:id="rId3"/>
              </a:rPr>
              <a:t>https://</a:t>
            </a:r>
            <a:r>
              <a:rPr lang="en-GB" dirty="0" smtClean="0">
                <a:hlinkClick r:id="rId3"/>
              </a:rPr>
              <a:t>github.com/amykatenicho/DataCultureIoT.git</a:t>
            </a:r>
            <a:r>
              <a:rPr lang="en-GB" dirty="0" smtClean="0"/>
              <a:t> </a:t>
            </a:r>
            <a:endParaRPr lang="en-GB" dirty="0"/>
          </a:p>
        </p:txBody>
      </p:sp>
      <p:pic>
        <p:nvPicPr>
          <p:cNvPr id="3" name="Picture 2"/>
          <p:cNvPicPr>
            <a:picLocks noChangeAspect="1"/>
          </p:cNvPicPr>
          <p:nvPr/>
        </p:nvPicPr>
        <p:blipFill>
          <a:blip r:embed="rId4"/>
          <a:stretch>
            <a:fillRect/>
          </a:stretch>
        </p:blipFill>
        <p:spPr>
          <a:xfrm>
            <a:off x="1062319" y="0"/>
            <a:ext cx="10080812" cy="6445186"/>
          </a:xfrm>
          <a:prstGeom prst="rect">
            <a:avLst/>
          </a:prstGeom>
        </p:spPr>
      </p:pic>
    </p:spTree>
    <p:extLst>
      <p:ext uri="{BB962C8B-B14F-4D97-AF65-F5344CB8AC3E}">
        <p14:creationId xmlns:p14="http://schemas.microsoft.com/office/powerpoint/2010/main" val="234195378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5" name="Picture 2" descr="cid:image004.png@01CFE973.7201DFB0"/>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2376374" y="1911403"/>
            <a:ext cx="6890657" cy="435129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518522" y="1265072"/>
            <a:ext cx="6606363"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3600" b="0" i="0" u="none" strike="noStrike" kern="0" cap="none" spc="0" normalizeH="0" baseline="0" noProof="0" dirty="0">
                <a:ln>
                  <a:noFill/>
                </a:ln>
                <a:solidFill>
                  <a:srgbClr val="442157"/>
                </a:solidFill>
                <a:effectLst/>
                <a:uLnTx/>
                <a:uFillTx/>
                <a:latin typeface="Segoe UI" panose="020B0502040204020203" pitchFamily="34" charset="0"/>
                <a:ea typeface="Calibri" panose="020F0502020204030204" pitchFamily="34" charset="0"/>
                <a:cs typeface="Segoe UI" panose="020B0502040204020203" pitchFamily="34" charset="0"/>
              </a:rPr>
              <a:t>http://microsoftazurepass.com</a:t>
            </a:r>
            <a:endParaRPr kumimoji="0" lang="en-GB" sz="3600" b="0" i="0" u="none" strike="noStrike" kern="0" cap="none" spc="0" normalizeH="0" baseline="0" noProof="0" dirty="0">
              <a:ln>
                <a:noFill/>
              </a:ln>
              <a:solidFill>
                <a:srgbClr val="442157"/>
              </a:solidFill>
              <a:effectLst/>
              <a:uLnTx/>
              <a:uFillTx/>
            </a:endParaRPr>
          </a:p>
        </p:txBody>
      </p:sp>
      <p:grpSp>
        <p:nvGrpSpPr>
          <p:cNvPr id="8" name="Group 7"/>
          <p:cNvGrpSpPr/>
          <p:nvPr/>
        </p:nvGrpSpPr>
        <p:grpSpPr>
          <a:xfrm>
            <a:off x="1588" y="-52466"/>
            <a:ext cx="12195175" cy="945292"/>
            <a:chOff x="1588" y="0"/>
            <a:chExt cx="12195175" cy="945292"/>
          </a:xfrm>
        </p:grpSpPr>
        <p:sp>
          <p:nvSpPr>
            <p:cNvPr id="9"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lang="en-GB" sz="3400" dirty="0" smtClean="0">
                  <a:solidFill>
                    <a:srgbClr val="FFFFFF"/>
                  </a:solidFill>
                </a:rPr>
                <a:t>Redeem Azure Credit</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10" name="Rectangle 9"/>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 name="Group 11"/>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5"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6"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9"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0"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34491450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9" name="Picture 4" descr="cid:image007.png@01CFE973.7201DFB0"/>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1868714" y="1876696"/>
            <a:ext cx="7968510" cy="3968931"/>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1588" y="-52466"/>
            <a:ext cx="12195175" cy="945292"/>
            <a:chOff x="1588" y="0"/>
            <a:chExt cx="12195175" cy="945292"/>
          </a:xfrm>
        </p:grpSpPr>
        <p:sp>
          <p:nvSpPr>
            <p:cNvPr id="10"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Redeem</a:t>
              </a:r>
              <a:r>
                <a:rPr kumimoji="0" lang="en-GB" sz="3400" b="0" i="0" u="none" strike="noStrike" kern="1200" cap="none" spc="-100" normalizeH="0" noProof="0" dirty="0" smtClean="0">
                  <a:ln w="3175">
                    <a:noFill/>
                  </a:ln>
                  <a:solidFill>
                    <a:srgbClr val="FFFFFF"/>
                  </a:solidFill>
                  <a:effectLst/>
                  <a:uLnTx/>
                  <a:uFillTx/>
                  <a:latin typeface="Segoe UI Light" pitchFamily="34" charset="0"/>
                  <a:ea typeface="+mn-ea"/>
                  <a:cs typeface="Arial" charset="0"/>
                </a:rPr>
                <a:t> Azure Credit</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11" name="Rectangle 10"/>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3" name="Group 12"/>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4"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5"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6"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9"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0"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1"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419485333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6" name="Freeform 85"/>
          <p:cNvSpPr/>
          <p:nvPr/>
        </p:nvSpPr>
        <p:spPr bwMode="auto">
          <a:xfrm>
            <a:off x="3170816" y="4551218"/>
            <a:ext cx="1995055" cy="249382"/>
          </a:xfrm>
          <a:custGeom>
            <a:avLst/>
            <a:gdLst>
              <a:gd name="connsiteX0" fmla="*/ 0 w 1995055"/>
              <a:gd name="connsiteY0" fmla="*/ 10391 h 249382"/>
              <a:gd name="connsiteX1" fmla="*/ 20782 w 1995055"/>
              <a:gd name="connsiteY1" fmla="*/ 249382 h 249382"/>
              <a:gd name="connsiteX2" fmla="*/ 1766455 w 1995055"/>
              <a:gd name="connsiteY2" fmla="*/ 249382 h 249382"/>
              <a:gd name="connsiteX3" fmla="*/ 1995055 w 1995055"/>
              <a:gd name="connsiteY3" fmla="*/ 0 h 249382"/>
              <a:gd name="connsiteX4" fmla="*/ 0 w 1995055"/>
              <a:gd name="connsiteY4" fmla="*/ 10391 h 249382"/>
              <a:gd name="connsiteX0" fmla="*/ 0 w 1995055"/>
              <a:gd name="connsiteY0" fmla="*/ 0 h 249382"/>
              <a:gd name="connsiteX1" fmla="*/ 20782 w 1995055"/>
              <a:gd name="connsiteY1" fmla="*/ 249382 h 249382"/>
              <a:gd name="connsiteX2" fmla="*/ 1766455 w 1995055"/>
              <a:gd name="connsiteY2" fmla="*/ 249382 h 249382"/>
              <a:gd name="connsiteX3" fmla="*/ 1995055 w 1995055"/>
              <a:gd name="connsiteY3" fmla="*/ 0 h 249382"/>
              <a:gd name="connsiteX4" fmla="*/ 0 w 1995055"/>
              <a:gd name="connsiteY4" fmla="*/ 0 h 249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5055" h="249382">
                <a:moveTo>
                  <a:pt x="0" y="0"/>
                </a:moveTo>
                <a:lnTo>
                  <a:pt x="20782" y="249382"/>
                </a:lnTo>
                <a:lnTo>
                  <a:pt x="1766455" y="249382"/>
                </a:lnTo>
                <a:lnTo>
                  <a:pt x="1995055" y="0"/>
                </a:lnTo>
                <a:lnTo>
                  <a:pt x="0" y="0"/>
                </a:lnTo>
                <a:close/>
              </a:path>
            </a:pathLst>
          </a:custGeom>
          <a:solidFill>
            <a:srgbClr val="5B9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4" name="Freeform 83"/>
          <p:cNvSpPr/>
          <p:nvPr/>
        </p:nvSpPr>
        <p:spPr bwMode="auto">
          <a:xfrm>
            <a:off x="3177407" y="4534685"/>
            <a:ext cx="1956620" cy="2111921"/>
          </a:xfrm>
          <a:custGeom>
            <a:avLst/>
            <a:gdLst>
              <a:gd name="connsiteX0" fmla="*/ 9833 w 1956620"/>
              <a:gd name="connsiteY0" fmla="*/ 2084438 h 2084438"/>
              <a:gd name="connsiteX1" fmla="*/ 1956620 w 1956620"/>
              <a:gd name="connsiteY1" fmla="*/ 0 h 2084438"/>
              <a:gd name="connsiteX2" fmla="*/ 0 w 1956620"/>
              <a:gd name="connsiteY2" fmla="*/ 19664 h 2084438"/>
              <a:gd name="connsiteX3" fmla="*/ 9833 w 1956620"/>
              <a:gd name="connsiteY3" fmla="*/ 2084438 h 2084438"/>
            </a:gdLst>
            <a:ahLst/>
            <a:cxnLst>
              <a:cxn ang="0">
                <a:pos x="connsiteX0" y="connsiteY0"/>
              </a:cxn>
              <a:cxn ang="0">
                <a:pos x="connsiteX1" y="connsiteY1"/>
              </a:cxn>
              <a:cxn ang="0">
                <a:pos x="connsiteX2" y="connsiteY2"/>
              </a:cxn>
              <a:cxn ang="0">
                <a:pos x="connsiteX3" y="connsiteY3"/>
              </a:cxn>
            </a:cxnLst>
            <a:rect l="l" t="t" r="r" b="b"/>
            <a:pathLst>
              <a:path w="1956620" h="2084438">
                <a:moveTo>
                  <a:pt x="9833" y="2084438"/>
                </a:moveTo>
                <a:lnTo>
                  <a:pt x="1956620" y="0"/>
                </a:lnTo>
                <a:lnTo>
                  <a:pt x="0" y="19664"/>
                </a:lnTo>
                <a:cubicBezTo>
                  <a:pt x="3278" y="698090"/>
                  <a:pt x="6555" y="1376516"/>
                  <a:pt x="9833" y="2084438"/>
                </a:cubicBezTo>
                <a:close/>
              </a:path>
            </a:pathLst>
          </a:custGeom>
          <a:gradFill flip="none" rotWithShape="1">
            <a:gsLst>
              <a:gs pos="0">
                <a:schemeClr val="accent6">
                  <a:lumMod val="75000"/>
                  <a:alpha val="55000"/>
                </a:schemeClr>
              </a:gs>
              <a:gs pos="100000">
                <a:srgbClr val="002E37"/>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163" name="Group 2162"/>
          <p:cNvGrpSpPr/>
          <p:nvPr/>
        </p:nvGrpSpPr>
        <p:grpSpPr>
          <a:xfrm>
            <a:off x="3210725" y="4203676"/>
            <a:ext cx="2261209" cy="332984"/>
            <a:chOff x="6107989" y="2580946"/>
            <a:chExt cx="2513546" cy="332984"/>
          </a:xfrm>
        </p:grpSpPr>
        <p:sp>
          <p:nvSpPr>
            <p:cNvPr id="2164" name="Rectangle 1014"/>
            <p:cNvSpPr/>
            <p:nvPr/>
          </p:nvSpPr>
          <p:spPr bwMode="auto">
            <a:xfrm>
              <a:off x="6107989" y="2580946"/>
              <a:ext cx="2513546" cy="332984"/>
            </a:xfrm>
            <a:custGeom>
              <a:avLst/>
              <a:gdLst>
                <a:gd name="connsiteX0" fmla="*/ 0 w 2720239"/>
                <a:gd name="connsiteY0" fmla="*/ 0 h 332984"/>
                <a:gd name="connsiteX1" fmla="*/ 2720239 w 2720239"/>
                <a:gd name="connsiteY1" fmla="*/ 0 h 332984"/>
                <a:gd name="connsiteX2" fmla="*/ 2720239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1733102 w 2720239"/>
                <a:gd name="connsiteY2" fmla="*/ 332984 h 332984"/>
                <a:gd name="connsiteX3" fmla="*/ 0 w 2720239"/>
                <a:gd name="connsiteY3" fmla="*/ 332984 h 332984"/>
                <a:gd name="connsiteX4" fmla="*/ 0 w 2720239"/>
                <a:gd name="connsiteY4" fmla="*/ 0 h 332984"/>
                <a:gd name="connsiteX0" fmla="*/ 0 w 2325385"/>
                <a:gd name="connsiteY0" fmla="*/ 0 h 332984"/>
                <a:gd name="connsiteX1" fmla="*/ 2325385 w 2325385"/>
                <a:gd name="connsiteY1" fmla="*/ 10391 h 332984"/>
                <a:gd name="connsiteX2" fmla="*/ 1733102 w 2325385"/>
                <a:gd name="connsiteY2" fmla="*/ 332984 h 332984"/>
                <a:gd name="connsiteX3" fmla="*/ 0 w 2325385"/>
                <a:gd name="connsiteY3" fmla="*/ 332984 h 332984"/>
                <a:gd name="connsiteX4" fmla="*/ 0 w 2325385"/>
                <a:gd name="connsiteY4" fmla="*/ 0 h 332984"/>
                <a:gd name="connsiteX0" fmla="*/ 0 w 2325385"/>
                <a:gd name="connsiteY0" fmla="*/ 0 h 332984"/>
                <a:gd name="connsiteX1" fmla="*/ 2325385 w 2325385"/>
                <a:gd name="connsiteY1" fmla="*/ 10391 h 332984"/>
                <a:gd name="connsiteX2" fmla="*/ 1951311 w 2325385"/>
                <a:gd name="connsiteY2" fmla="*/ 332984 h 332984"/>
                <a:gd name="connsiteX3" fmla="*/ 0 w 2325385"/>
                <a:gd name="connsiteY3" fmla="*/ 332984 h 332984"/>
                <a:gd name="connsiteX4" fmla="*/ 0 w 2325385"/>
                <a:gd name="connsiteY4" fmla="*/ 0 h 332984"/>
                <a:gd name="connsiteX0" fmla="*/ 0 w 2283821"/>
                <a:gd name="connsiteY0" fmla="*/ 0 h 332984"/>
                <a:gd name="connsiteX1" fmla="*/ 2283821 w 2283821"/>
                <a:gd name="connsiteY1" fmla="*/ 10391 h 332984"/>
                <a:gd name="connsiteX2" fmla="*/ 1951311 w 2283821"/>
                <a:gd name="connsiteY2" fmla="*/ 332984 h 332984"/>
                <a:gd name="connsiteX3" fmla="*/ 0 w 2283821"/>
                <a:gd name="connsiteY3" fmla="*/ 332984 h 332984"/>
                <a:gd name="connsiteX4" fmla="*/ 0 w 2283821"/>
                <a:gd name="connsiteY4" fmla="*/ 0 h 332984"/>
                <a:gd name="connsiteX0" fmla="*/ 0 w 2283821"/>
                <a:gd name="connsiteY0" fmla="*/ 0 h 332984"/>
                <a:gd name="connsiteX1" fmla="*/ 2283821 w 2283821"/>
                <a:gd name="connsiteY1" fmla="*/ 0 h 332984"/>
                <a:gd name="connsiteX2" fmla="*/ 1951311 w 2283821"/>
                <a:gd name="connsiteY2" fmla="*/ 332984 h 332984"/>
                <a:gd name="connsiteX3" fmla="*/ 0 w 2283821"/>
                <a:gd name="connsiteY3" fmla="*/ 332984 h 332984"/>
                <a:gd name="connsiteX4" fmla="*/ 0 w 2283821"/>
                <a:gd name="connsiteY4" fmla="*/ 0 h 332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821" h="332984">
                  <a:moveTo>
                    <a:pt x="0" y="0"/>
                  </a:moveTo>
                  <a:lnTo>
                    <a:pt x="2283821" y="0"/>
                  </a:lnTo>
                  <a:lnTo>
                    <a:pt x="1951311" y="332984"/>
                  </a:lnTo>
                  <a:lnTo>
                    <a:pt x="0" y="332984"/>
                  </a:lnTo>
                  <a:lnTo>
                    <a:pt x="0" y="0"/>
                  </a:lnTo>
                  <a:close/>
                </a:path>
              </a:pathLst>
            </a:cu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165" name="Group 2164"/>
            <p:cNvGrpSpPr/>
            <p:nvPr/>
          </p:nvGrpSpPr>
          <p:grpSpPr>
            <a:xfrm>
              <a:off x="6135284" y="2713296"/>
              <a:ext cx="2372512" cy="16680"/>
              <a:chOff x="257212" y="4550934"/>
              <a:chExt cx="3281618" cy="31011"/>
            </a:xfrm>
          </p:grpSpPr>
          <p:sp>
            <p:nvSpPr>
              <p:cNvPr id="2166" name="Rectangle 135"/>
              <p:cNvSpPr>
                <a:spLocks noChangeArrowheads="1"/>
              </p:cNvSpPr>
              <p:nvPr/>
            </p:nvSpPr>
            <p:spPr bwMode="auto">
              <a:xfrm>
                <a:off x="257212" y="4550934"/>
                <a:ext cx="313764" cy="31011"/>
              </a:xfrm>
              <a:prstGeom prst="rect">
                <a:avLst/>
              </a:prstGeom>
              <a:solidFill>
                <a:srgbClr val="307B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167" name="Rectangle 136"/>
              <p:cNvSpPr>
                <a:spLocks noChangeArrowheads="1"/>
              </p:cNvSpPr>
              <p:nvPr/>
            </p:nvSpPr>
            <p:spPr bwMode="auto">
              <a:xfrm>
                <a:off x="742900" y="4550934"/>
                <a:ext cx="569502" cy="31011"/>
              </a:xfrm>
              <a:prstGeom prst="rect">
                <a:avLst/>
              </a:prstGeom>
              <a:solidFill>
                <a:srgbClr val="307B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168" name="Rectangle 137"/>
              <p:cNvSpPr>
                <a:spLocks noChangeArrowheads="1"/>
              </p:cNvSpPr>
              <p:nvPr/>
            </p:nvSpPr>
            <p:spPr bwMode="auto">
              <a:xfrm>
                <a:off x="1484326" y="4550934"/>
                <a:ext cx="571650"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169" name="Rectangle 138"/>
              <p:cNvSpPr>
                <a:spLocks noChangeArrowheads="1"/>
              </p:cNvSpPr>
              <p:nvPr/>
            </p:nvSpPr>
            <p:spPr bwMode="auto">
              <a:xfrm>
                <a:off x="2225753" y="4550934"/>
                <a:ext cx="571650" cy="31011"/>
              </a:xfrm>
              <a:prstGeom prst="rect">
                <a:avLst/>
              </a:prstGeom>
              <a:solidFill>
                <a:srgbClr val="307B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170" name="Rectangle 139"/>
              <p:cNvSpPr>
                <a:spLocks noChangeArrowheads="1"/>
              </p:cNvSpPr>
              <p:nvPr/>
            </p:nvSpPr>
            <p:spPr bwMode="auto">
              <a:xfrm>
                <a:off x="2969328" y="4550934"/>
                <a:ext cx="569502"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85" name="Freeform 84"/>
          <p:cNvSpPr/>
          <p:nvPr/>
        </p:nvSpPr>
        <p:spPr bwMode="auto">
          <a:xfrm>
            <a:off x="3181207" y="2878282"/>
            <a:ext cx="2140527" cy="1143000"/>
          </a:xfrm>
          <a:custGeom>
            <a:avLst/>
            <a:gdLst>
              <a:gd name="connsiteX0" fmla="*/ 0 w 2140527"/>
              <a:gd name="connsiteY0" fmla="*/ 0 h 1143000"/>
              <a:gd name="connsiteX1" fmla="*/ 0 w 2140527"/>
              <a:gd name="connsiteY1" fmla="*/ 1122218 h 1143000"/>
              <a:gd name="connsiteX2" fmla="*/ 2140527 w 2140527"/>
              <a:gd name="connsiteY2" fmla="*/ 1143000 h 1143000"/>
              <a:gd name="connsiteX3" fmla="*/ 2026227 w 2140527"/>
              <a:gd name="connsiteY3" fmla="*/ 727363 h 1143000"/>
              <a:gd name="connsiteX4" fmla="*/ 0 w 2140527"/>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0527" h="1143000">
                <a:moveTo>
                  <a:pt x="0" y="0"/>
                </a:moveTo>
                <a:lnTo>
                  <a:pt x="0" y="1122218"/>
                </a:lnTo>
                <a:lnTo>
                  <a:pt x="2140527" y="1143000"/>
                </a:lnTo>
                <a:lnTo>
                  <a:pt x="2026227" y="727363"/>
                </a:lnTo>
                <a:lnTo>
                  <a:pt x="0" y="0"/>
                </a:lnTo>
                <a:close/>
              </a:path>
            </a:pathLst>
          </a:custGeom>
          <a:gradFill flip="none" rotWithShape="1">
            <a:gsLst>
              <a:gs pos="0">
                <a:srgbClr val="13282C">
                  <a:alpha val="15000"/>
                </a:srgbClr>
              </a:gs>
              <a:gs pos="100000">
                <a:srgbClr val="005368"/>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62" name="Freeform 30"/>
          <p:cNvSpPr>
            <a:spLocks/>
          </p:cNvSpPr>
          <p:nvPr/>
        </p:nvSpPr>
        <p:spPr bwMode="auto">
          <a:xfrm flipH="1">
            <a:off x="3201912" y="3265393"/>
            <a:ext cx="1335136" cy="656750"/>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chemeClr val="accent6">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161" name="Freeform 30"/>
          <p:cNvSpPr>
            <a:spLocks/>
          </p:cNvSpPr>
          <p:nvPr/>
        </p:nvSpPr>
        <p:spPr bwMode="auto">
          <a:xfrm>
            <a:off x="3188721" y="3501534"/>
            <a:ext cx="2272983" cy="722425"/>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rgbClr val="5B99A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379" name="Group 1378"/>
          <p:cNvGrpSpPr/>
          <p:nvPr/>
        </p:nvGrpSpPr>
        <p:grpSpPr>
          <a:xfrm>
            <a:off x="3342944" y="4635081"/>
            <a:ext cx="817005" cy="1028184"/>
            <a:chOff x="831806" y="3541921"/>
            <a:chExt cx="752119" cy="1261872"/>
          </a:xfrm>
        </p:grpSpPr>
        <p:sp>
          <p:nvSpPr>
            <p:cNvPr id="1380" name="Rectangle 1379"/>
            <p:cNvSpPr/>
            <p:nvPr/>
          </p:nvSpPr>
          <p:spPr bwMode="auto">
            <a:xfrm>
              <a:off x="831806" y="3541923"/>
              <a:ext cx="752119" cy="12618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Send extended warranty offers based on driving behavior</a:t>
              </a:r>
            </a:p>
          </p:txBody>
        </p:sp>
        <p:cxnSp>
          <p:nvCxnSpPr>
            <p:cNvPr id="1381" name="Straight Connector 1380"/>
            <p:cNvCxnSpPr/>
            <p:nvPr/>
          </p:nvCxnSpPr>
          <p:spPr>
            <a:xfrm flipV="1">
              <a:off x="831806" y="3541921"/>
              <a:ext cx="0" cy="1261872"/>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81" name="Freeform 80"/>
          <p:cNvSpPr/>
          <p:nvPr/>
        </p:nvSpPr>
        <p:spPr bwMode="auto">
          <a:xfrm>
            <a:off x="4898053" y="5032775"/>
            <a:ext cx="1553497" cy="91172"/>
          </a:xfrm>
          <a:custGeom>
            <a:avLst/>
            <a:gdLst>
              <a:gd name="connsiteX0" fmla="*/ 206478 w 1553497"/>
              <a:gd name="connsiteY0" fmla="*/ 0 h 88490"/>
              <a:gd name="connsiteX1" fmla="*/ 0 w 1553497"/>
              <a:gd name="connsiteY1" fmla="*/ 88490 h 88490"/>
              <a:gd name="connsiteX2" fmla="*/ 1553497 w 1553497"/>
              <a:gd name="connsiteY2" fmla="*/ 88490 h 88490"/>
              <a:gd name="connsiteX3" fmla="*/ 1435510 w 1553497"/>
              <a:gd name="connsiteY3" fmla="*/ 19665 h 88490"/>
              <a:gd name="connsiteX4" fmla="*/ 206478 w 1553497"/>
              <a:gd name="connsiteY4" fmla="*/ 0 h 88490"/>
              <a:gd name="connsiteX0" fmla="*/ 206478 w 1553497"/>
              <a:gd name="connsiteY0" fmla="*/ 0 h 88490"/>
              <a:gd name="connsiteX1" fmla="*/ 0 w 1553497"/>
              <a:gd name="connsiteY1" fmla="*/ 88490 h 88490"/>
              <a:gd name="connsiteX2" fmla="*/ 1553497 w 1553497"/>
              <a:gd name="connsiteY2" fmla="*/ 88490 h 88490"/>
              <a:gd name="connsiteX3" fmla="*/ 1421222 w 1553497"/>
              <a:gd name="connsiteY3" fmla="*/ 8109 h 88490"/>
              <a:gd name="connsiteX4" fmla="*/ 206478 w 1553497"/>
              <a:gd name="connsiteY4" fmla="*/ 0 h 88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497" h="88490">
                <a:moveTo>
                  <a:pt x="206478" y="0"/>
                </a:moveTo>
                <a:lnTo>
                  <a:pt x="0" y="88490"/>
                </a:lnTo>
                <a:lnTo>
                  <a:pt x="1553497" y="88490"/>
                </a:lnTo>
                <a:lnTo>
                  <a:pt x="1421222" y="8109"/>
                </a:lnTo>
                <a:lnTo>
                  <a:pt x="206478" y="0"/>
                </a:lnTo>
                <a:close/>
              </a:path>
            </a:pathLst>
          </a:cu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37" name="Group 2036"/>
          <p:cNvGrpSpPr/>
          <p:nvPr/>
        </p:nvGrpSpPr>
        <p:grpSpPr>
          <a:xfrm flipV="1">
            <a:off x="3741756" y="5600721"/>
            <a:ext cx="4774534" cy="464314"/>
            <a:chOff x="6107988" y="2561596"/>
            <a:chExt cx="2936825" cy="352334"/>
          </a:xfrm>
        </p:grpSpPr>
        <p:sp>
          <p:nvSpPr>
            <p:cNvPr id="2038" name="Rectangle 1014"/>
            <p:cNvSpPr/>
            <p:nvPr/>
          </p:nvSpPr>
          <p:spPr bwMode="auto">
            <a:xfrm>
              <a:off x="6107988" y="2561596"/>
              <a:ext cx="2936825" cy="352334"/>
            </a:xfrm>
            <a:custGeom>
              <a:avLst/>
              <a:gdLst>
                <a:gd name="connsiteX0" fmla="*/ 0 w 2720239"/>
                <a:gd name="connsiteY0" fmla="*/ 0 h 332984"/>
                <a:gd name="connsiteX1" fmla="*/ 2720239 w 2720239"/>
                <a:gd name="connsiteY1" fmla="*/ 0 h 332984"/>
                <a:gd name="connsiteX2" fmla="*/ 2720239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1733102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2454244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2454244 w 2720239"/>
                <a:gd name="connsiteY2" fmla="*/ 332984 h 332984"/>
                <a:gd name="connsiteX3" fmla="*/ 219478 w 2720239"/>
                <a:gd name="connsiteY3" fmla="*/ 315566 h 332984"/>
                <a:gd name="connsiteX4" fmla="*/ 0 w 2720239"/>
                <a:gd name="connsiteY4" fmla="*/ 0 h 332984"/>
                <a:gd name="connsiteX0" fmla="*/ 0 w 2668414"/>
                <a:gd name="connsiteY0" fmla="*/ 19350 h 352334"/>
                <a:gd name="connsiteX1" fmla="*/ 2668414 w 2668414"/>
                <a:gd name="connsiteY1" fmla="*/ 0 h 352334"/>
                <a:gd name="connsiteX2" fmla="*/ 2454244 w 2668414"/>
                <a:gd name="connsiteY2" fmla="*/ 352334 h 352334"/>
                <a:gd name="connsiteX3" fmla="*/ 219478 w 2668414"/>
                <a:gd name="connsiteY3" fmla="*/ 334916 h 352334"/>
                <a:gd name="connsiteX4" fmla="*/ 0 w 2668414"/>
                <a:gd name="connsiteY4" fmla="*/ 19350 h 352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414" h="352334">
                  <a:moveTo>
                    <a:pt x="0" y="19350"/>
                  </a:moveTo>
                  <a:lnTo>
                    <a:pt x="2668414" y="0"/>
                  </a:lnTo>
                  <a:lnTo>
                    <a:pt x="2454244" y="352334"/>
                  </a:lnTo>
                  <a:lnTo>
                    <a:pt x="219478" y="334916"/>
                  </a:lnTo>
                  <a:lnTo>
                    <a:pt x="0" y="19350"/>
                  </a:lnTo>
                  <a:close/>
                </a:path>
              </a:pathLst>
            </a:cu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39" name="Group 2038"/>
            <p:cNvGrpSpPr/>
            <p:nvPr/>
          </p:nvGrpSpPr>
          <p:grpSpPr>
            <a:xfrm>
              <a:off x="6254047" y="2765880"/>
              <a:ext cx="2646446" cy="16694"/>
              <a:chOff x="421483" y="4648692"/>
              <a:chExt cx="3660519" cy="31037"/>
            </a:xfrm>
          </p:grpSpPr>
          <p:sp>
            <p:nvSpPr>
              <p:cNvPr id="2040" name="Rectangle 135"/>
              <p:cNvSpPr>
                <a:spLocks noChangeArrowheads="1"/>
              </p:cNvSpPr>
              <p:nvPr/>
            </p:nvSpPr>
            <p:spPr bwMode="auto">
              <a:xfrm>
                <a:off x="421483" y="4648692"/>
                <a:ext cx="259309" cy="31010"/>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41" name="Rectangle 136"/>
              <p:cNvSpPr>
                <a:spLocks noChangeArrowheads="1"/>
              </p:cNvSpPr>
              <p:nvPr/>
            </p:nvSpPr>
            <p:spPr bwMode="auto">
              <a:xfrm>
                <a:off x="850357" y="4648697"/>
                <a:ext cx="569502"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42" name="Rectangle 137"/>
              <p:cNvSpPr>
                <a:spLocks noChangeArrowheads="1"/>
              </p:cNvSpPr>
              <p:nvPr/>
            </p:nvSpPr>
            <p:spPr bwMode="auto">
              <a:xfrm>
                <a:off x="1591783" y="4648718"/>
                <a:ext cx="571650"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43" name="Rectangle 138"/>
              <p:cNvSpPr>
                <a:spLocks noChangeArrowheads="1"/>
              </p:cNvSpPr>
              <p:nvPr/>
            </p:nvSpPr>
            <p:spPr bwMode="auto">
              <a:xfrm>
                <a:off x="2333210" y="4648697"/>
                <a:ext cx="571650"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44" name="Rectangle 139"/>
              <p:cNvSpPr>
                <a:spLocks noChangeArrowheads="1"/>
              </p:cNvSpPr>
              <p:nvPr/>
            </p:nvSpPr>
            <p:spPr bwMode="auto">
              <a:xfrm>
                <a:off x="3076786" y="4648707"/>
                <a:ext cx="569502"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45" name="Rectangle 139"/>
              <p:cNvSpPr>
                <a:spLocks noChangeArrowheads="1"/>
              </p:cNvSpPr>
              <p:nvPr/>
            </p:nvSpPr>
            <p:spPr bwMode="auto">
              <a:xfrm>
                <a:off x="3760532" y="4648706"/>
                <a:ext cx="321470" cy="31012"/>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2016" name="Group 2015"/>
          <p:cNvGrpSpPr/>
          <p:nvPr/>
        </p:nvGrpSpPr>
        <p:grpSpPr>
          <a:xfrm flipV="1">
            <a:off x="4335436" y="5100196"/>
            <a:ext cx="3587177" cy="317133"/>
            <a:chOff x="6107988" y="2561596"/>
            <a:chExt cx="2936825" cy="352334"/>
          </a:xfrm>
        </p:grpSpPr>
        <p:sp>
          <p:nvSpPr>
            <p:cNvPr id="2017" name="Rectangle 1014"/>
            <p:cNvSpPr/>
            <p:nvPr/>
          </p:nvSpPr>
          <p:spPr bwMode="auto">
            <a:xfrm>
              <a:off x="6107988" y="2561596"/>
              <a:ext cx="2936825" cy="352334"/>
            </a:xfrm>
            <a:custGeom>
              <a:avLst/>
              <a:gdLst>
                <a:gd name="connsiteX0" fmla="*/ 0 w 2720239"/>
                <a:gd name="connsiteY0" fmla="*/ 0 h 332984"/>
                <a:gd name="connsiteX1" fmla="*/ 2720239 w 2720239"/>
                <a:gd name="connsiteY1" fmla="*/ 0 h 332984"/>
                <a:gd name="connsiteX2" fmla="*/ 2720239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1733102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2454244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2454244 w 2720239"/>
                <a:gd name="connsiteY2" fmla="*/ 332984 h 332984"/>
                <a:gd name="connsiteX3" fmla="*/ 219478 w 2720239"/>
                <a:gd name="connsiteY3" fmla="*/ 315566 h 332984"/>
                <a:gd name="connsiteX4" fmla="*/ 0 w 2720239"/>
                <a:gd name="connsiteY4" fmla="*/ 0 h 332984"/>
                <a:gd name="connsiteX0" fmla="*/ 0 w 2668414"/>
                <a:gd name="connsiteY0" fmla="*/ 19350 h 352334"/>
                <a:gd name="connsiteX1" fmla="*/ 2668414 w 2668414"/>
                <a:gd name="connsiteY1" fmla="*/ 0 h 352334"/>
                <a:gd name="connsiteX2" fmla="*/ 2454244 w 2668414"/>
                <a:gd name="connsiteY2" fmla="*/ 352334 h 352334"/>
                <a:gd name="connsiteX3" fmla="*/ 219478 w 2668414"/>
                <a:gd name="connsiteY3" fmla="*/ 334916 h 352334"/>
                <a:gd name="connsiteX4" fmla="*/ 0 w 2668414"/>
                <a:gd name="connsiteY4" fmla="*/ 19350 h 352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414" h="352334">
                  <a:moveTo>
                    <a:pt x="0" y="19350"/>
                  </a:moveTo>
                  <a:lnTo>
                    <a:pt x="2668414" y="0"/>
                  </a:lnTo>
                  <a:lnTo>
                    <a:pt x="2454244" y="352334"/>
                  </a:lnTo>
                  <a:lnTo>
                    <a:pt x="219478" y="334916"/>
                  </a:lnTo>
                  <a:lnTo>
                    <a:pt x="0" y="19350"/>
                  </a:lnTo>
                  <a:close/>
                </a:path>
              </a:pathLst>
            </a:cu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18" name="Group 2017"/>
            <p:cNvGrpSpPr/>
            <p:nvPr/>
          </p:nvGrpSpPr>
          <p:grpSpPr>
            <a:xfrm>
              <a:off x="6254047" y="2765880"/>
              <a:ext cx="2640441" cy="16694"/>
              <a:chOff x="421483" y="4648692"/>
              <a:chExt cx="3652213" cy="31037"/>
            </a:xfrm>
          </p:grpSpPr>
          <p:sp>
            <p:nvSpPr>
              <p:cNvPr id="2019" name="Rectangle 135"/>
              <p:cNvSpPr>
                <a:spLocks noChangeArrowheads="1"/>
              </p:cNvSpPr>
              <p:nvPr/>
            </p:nvSpPr>
            <p:spPr bwMode="auto">
              <a:xfrm>
                <a:off x="421483" y="4648692"/>
                <a:ext cx="259309" cy="31010"/>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21" name="Rectangle 136"/>
              <p:cNvSpPr>
                <a:spLocks noChangeArrowheads="1"/>
              </p:cNvSpPr>
              <p:nvPr/>
            </p:nvSpPr>
            <p:spPr bwMode="auto">
              <a:xfrm>
                <a:off x="850357" y="4648697"/>
                <a:ext cx="569502"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23" name="Rectangle 137"/>
              <p:cNvSpPr>
                <a:spLocks noChangeArrowheads="1"/>
              </p:cNvSpPr>
              <p:nvPr/>
            </p:nvSpPr>
            <p:spPr bwMode="auto">
              <a:xfrm>
                <a:off x="1591783" y="4648718"/>
                <a:ext cx="571650"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32" name="Rectangle 138"/>
              <p:cNvSpPr>
                <a:spLocks noChangeArrowheads="1"/>
              </p:cNvSpPr>
              <p:nvPr/>
            </p:nvSpPr>
            <p:spPr bwMode="auto">
              <a:xfrm>
                <a:off x="2333210" y="4648697"/>
                <a:ext cx="571650"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33" name="Rectangle 139"/>
              <p:cNvSpPr>
                <a:spLocks noChangeArrowheads="1"/>
              </p:cNvSpPr>
              <p:nvPr/>
            </p:nvSpPr>
            <p:spPr bwMode="auto">
              <a:xfrm>
                <a:off x="3076786" y="4648707"/>
                <a:ext cx="569502"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34" name="Rectangle 139"/>
              <p:cNvSpPr>
                <a:spLocks noChangeArrowheads="1"/>
              </p:cNvSpPr>
              <p:nvPr/>
            </p:nvSpPr>
            <p:spPr bwMode="auto">
              <a:xfrm>
                <a:off x="3752225" y="4648709"/>
                <a:ext cx="321471" cy="31010"/>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78" name="Group 77"/>
          <p:cNvGrpSpPr/>
          <p:nvPr/>
        </p:nvGrpSpPr>
        <p:grpSpPr>
          <a:xfrm>
            <a:off x="4100120" y="5330830"/>
            <a:ext cx="2567752" cy="1223967"/>
            <a:chOff x="4747613" y="4626500"/>
            <a:chExt cx="2567752" cy="1112697"/>
          </a:xfrm>
        </p:grpSpPr>
        <p:sp>
          <p:nvSpPr>
            <p:cNvPr id="1280" name="Rectangle 1279"/>
            <p:cNvSpPr/>
            <p:nvPr/>
          </p:nvSpPr>
          <p:spPr bwMode="auto">
            <a:xfrm>
              <a:off x="4747613" y="4626500"/>
              <a:ext cx="2567752" cy="1112697"/>
            </a:xfrm>
            <a:custGeom>
              <a:avLst/>
              <a:gdLst>
                <a:gd name="connsiteX0" fmla="*/ 0 w 2564606"/>
                <a:gd name="connsiteY0" fmla="*/ 0 h 1110981"/>
                <a:gd name="connsiteX1" fmla="*/ 2564606 w 2564606"/>
                <a:gd name="connsiteY1" fmla="*/ 0 h 1110981"/>
                <a:gd name="connsiteX2" fmla="*/ 2564606 w 2564606"/>
                <a:gd name="connsiteY2" fmla="*/ 1110981 h 1110981"/>
                <a:gd name="connsiteX3" fmla="*/ 0 w 2564606"/>
                <a:gd name="connsiteY3" fmla="*/ 1110981 h 1110981"/>
                <a:gd name="connsiteX4" fmla="*/ 0 w 2564606"/>
                <a:gd name="connsiteY4" fmla="*/ 0 h 1110981"/>
                <a:gd name="connsiteX0" fmla="*/ 0 w 2564606"/>
                <a:gd name="connsiteY0" fmla="*/ 1716 h 1112697"/>
                <a:gd name="connsiteX1" fmla="*/ 299636 w 2564606"/>
                <a:gd name="connsiteY1" fmla="*/ 0 h 1112697"/>
                <a:gd name="connsiteX2" fmla="*/ 2564606 w 2564606"/>
                <a:gd name="connsiteY2" fmla="*/ 1716 h 1112697"/>
                <a:gd name="connsiteX3" fmla="*/ 2564606 w 2564606"/>
                <a:gd name="connsiteY3" fmla="*/ 1112697 h 1112697"/>
                <a:gd name="connsiteX4" fmla="*/ 0 w 2564606"/>
                <a:gd name="connsiteY4" fmla="*/ 1112697 h 1112697"/>
                <a:gd name="connsiteX5" fmla="*/ 0 w 2564606"/>
                <a:gd name="connsiteY5" fmla="*/ 1716 h 1112697"/>
                <a:gd name="connsiteX0" fmla="*/ 3146 w 2567752"/>
                <a:gd name="connsiteY0" fmla="*/ 1716 h 1112697"/>
                <a:gd name="connsiteX1" fmla="*/ 302782 w 2567752"/>
                <a:gd name="connsiteY1" fmla="*/ 0 h 1112697"/>
                <a:gd name="connsiteX2" fmla="*/ 2567752 w 2567752"/>
                <a:gd name="connsiteY2" fmla="*/ 1716 h 1112697"/>
                <a:gd name="connsiteX3" fmla="*/ 2567752 w 2567752"/>
                <a:gd name="connsiteY3" fmla="*/ 1112697 h 1112697"/>
                <a:gd name="connsiteX4" fmla="*/ 3146 w 2567752"/>
                <a:gd name="connsiteY4" fmla="*/ 1112697 h 1112697"/>
                <a:gd name="connsiteX5" fmla="*/ 0 w 2567752"/>
                <a:gd name="connsiteY5" fmla="*/ 333059 h 1112697"/>
                <a:gd name="connsiteX6" fmla="*/ 3146 w 2567752"/>
                <a:gd name="connsiteY6" fmla="*/ 1716 h 1112697"/>
                <a:gd name="connsiteX0" fmla="*/ 0 w 2567752"/>
                <a:gd name="connsiteY0" fmla="*/ 333059 h 1112697"/>
                <a:gd name="connsiteX1" fmla="*/ 302782 w 2567752"/>
                <a:gd name="connsiteY1" fmla="*/ 0 h 1112697"/>
                <a:gd name="connsiteX2" fmla="*/ 2567752 w 2567752"/>
                <a:gd name="connsiteY2" fmla="*/ 1716 h 1112697"/>
                <a:gd name="connsiteX3" fmla="*/ 2567752 w 2567752"/>
                <a:gd name="connsiteY3" fmla="*/ 1112697 h 1112697"/>
                <a:gd name="connsiteX4" fmla="*/ 3146 w 2567752"/>
                <a:gd name="connsiteY4" fmla="*/ 1112697 h 1112697"/>
                <a:gd name="connsiteX5" fmla="*/ 0 w 2567752"/>
                <a:gd name="connsiteY5" fmla="*/ 333059 h 1112697"/>
                <a:gd name="connsiteX0" fmla="*/ 0 w 2567752"/>
                <a:gd name="connsiteY0" fmla="*/ 333059 h 1112697"/>
                <a:gd name="connsiteX1" fmla="*/ 302782 w 2567752"/>
                <a:gd name="connsiteY1" fmla="*/ 0 h 1112697"/>
                <a:gd name="connsiteX2" fmla="*/ 2567752 w 2567752"/>
                <a:gd name="connsiteY2" fmla="*/ 1716 h 1112697"/>
                <a:gd name="connsiteX3" fmla="*/ 2567587 w 2567752"/>
                <a:gd name="connsiteY3" fmla="*/ 151390 h 1112697"/>
                <a:gd name="connsiteX4" fmla="*/ 2567752 w 2567752"/>
                <a:gd name="connsiteY4" fmla="*/ 1112697 h 1112697"/>
                <a:gd name="connsiteX5" fmla="*/ 3146 w 2567752"/>
                <a:gd name="connsiteY5" fmla="*/ 1112697 h 1112697"/>
                <a:gd name="connsiteX6" fmla="*/ 0 w 2567752"/>
                <a:gd name="connsiteY6" fmla="*/ 333059 h 1112697"/>
                <a:gd name="connsiteX0" fmla="*/ 0 w 2567752"/>
                <a:gd name="connsiteY0" fmla="*/ 339115 h 1118753"/>
                <a:gd name="connsiteX1" fmla="*/ 302782 w 2567752"/>
                <a:gd name="connsiteY1" fmla="*/ 6056 h 1118753"/>
                <a:gd name="connsiteX2" fmla="*/ 2440419 w 2567752"/>
                <a:gd name="connsiteY2" fmla="*/ 0 h 1118753"/>
                <a:gd name="connsiteX3" fmla="*/ 2567752 w 2567752"/>
                <a:gd name="connsiteY3" fmla="*/ 7772 h 1118753"/>
                <a:gd name="connsiteX4" fmla="*/ 2567587 w 2567752"/>
                <a:gd name="connsiteY4" fmla="*/ 157446 h 1118753"/>
                <a:gd name="connsiteX5" fmla="*/ 2567752 w 2567752"/>
                <a:gd name="connsiteY5" fmla="*/ 1118753 h 1118753"/>
                <a:gd name="connsiteX6" fmla="*/ 3146 w 2567752"/>
                <a:gd name="connsiteY6" fmla="*/ 1118753 h 1118753"/>
                <a:gd name="connsiteX7" fmla="*/ 0 w 2567752"/>
                <a:gd name="connsiteY7" fmla="*/ 339115 h 1118753"/>
                <a:gd name="connsiteX0" fmla="*/ 0 w 2567752"/>
                <a:gd name="connsiteY0" fmla="*/ 339115 h 1118753"/>
                <a:gd name="connsiteX1" fmla="*/ 302782 w 2567752"/>
                <a:gd name="connsiteY1" fmla="*/ 6056 h 1118753"/>
                <a:gd name="connsiteX2" fmla="*/ 2440419 w 2567752"/>
                <a:gd name="connsiteY2" fmla="*/ 0 h 1118753"/>
                <a:gd name="connsiteX3" fmla="*/ 2567587 w 2567752"/>
                <a:gd name="connsiteY3" fmla="*/ 157446 h 1118753"/>
                <a:gd name="connsiteX4" fmla="*/ 2567752 w 2567752"/>
                <a:gd name="connsiteY4" fmla="*/ 1118753 h 1118753"/>
                <a:gd name="connsiteX5" fmla="*/ 3146 w 2567752"/>
                <a:gd name="connsiteY5" fmla="*/ 1118753 h 1118753"/>
                <a:gd name="connsiteX6" fmla="*/ 0 w 2567752"/>
                <a:gd name="connsiteY6" fmla="*/ 339115 h 1118753"/>
                <a:gd name="connsiteX0" fmla="*/ 0 w 2567752"/>
                <a:gd name="connsiteY0" fmla="*/ 339115 h 1118753"/>
                <a:gd name="connsiteX1" fmla="*/ 302782 w 2567752"/>
                <a:gd name="connsiteY1" fmla="*/ 6056 h 1118753"/>
                <a:gd name="connsiteX2" fmla="*/ 2440419 w 2567752"/>
                <a:gd name="connsiteY2" fmla="*/ 0 h 1118753"/>
                <a:gd name="connsiteX3" fmla="*/ 2567587 w 2567752"/>
                <a:gd name="connsiteY3" fmla="*/ 157446 h 1118753"/>
                <a:gd name="connsiteX4" fmla="*/ 2567752 w 2567752"/>
                <a:gd name="connsiteY4" fmla="*/ 1118753 h 1118753"/>
                <a:gd name="connsiteX5" fmla="*/ 3146 w 2567752"/>
                <a:gd name="connsiteY5" fmla="*/ 1118753 h 1118753"/>
                <a:gd name="connsiteX6" fmla="*/ 0 w 2567752"/>
                <a:gd name="connsiteY6" fmla="*/ 339115 h 1118753"/>
                <a:gd name="connsiteX0" fmla="*/ 0 w 2567752"/>
                <a:gd name="connsiteY0" fmla="*/ 339115 h 1118753"/>
                <a:gd name="connsiteX1" fmla="*/ 302782 w 2567752"/>
                <a:gd name="connsiteY1" fmla="*/ 6056 h 1118753"/>
                <a:gd name="connsiteX2" fmla="*/ 2440419 w 2567752"/>
                <a:gd name="connsiteY2" fmla="*/ 0 h 1118753"/>
                <a:gd name="connsiteX3" fmla="*/ 2567587 w 2567752"/>
                <a:gd name="connsiteY3" fmla="*/ 157446 h 1118753"/>
                <a:gd name="connsiteX4" fmla="*/ 2567752 w 2567752"/>
                <a:gd name="connsiteY4" fmla="*/ 1118753 h 1118753"/>
                <a:gd name="connsiteX5" fmla="*/ 3146 w 2567752"/>
                <a:gd name="connsiteY5" fmla="*/ 1118753 h 1118753"/>
                <a:gd name="connsiteX6" fmla="*/ 0 w 2567752"/>
                <a:gd name="connsiteY6" fmla="*/ 339115 h 1118753"/>
                <a:gd name="connsiteX0" fmla="*/ 0 w 2567752"/>
                <a:gd name="connsiteY0" fmla="*/ 333059 h 1112697"/>
                <a:gd name="connsiteX1" fmla="*/ 302782 w 2567752"/>
                <a:gd name="connsiteY1" fmla="*/ 0 h 1112697"/>
                <a:gd name="connsiteX2" fmla="*/ 2428308 w 2567752"/>
                <a:gd name="connsiteY2" fmla="*/ 0 h 1112697"/>
                <a:gd name="connsiteX3" fmla="*/ 2567587 w 2567752"/>
                <a:gd name="connsiteY3" fmla="*/ 151390 h 1112697"/>
                <a:gd name="connsiteX4" fmla="*/ 2567752 w 2567752"/>
                <a:gd name="connsiteY4" fmla="*/ 1112697 h 1112697"/>
                <a:gd name="connsiteX5" fmla="*/ 3146 w 2567752"/>
                <a:gd name="connsiteY5" fmla="*/ 1112697 h 1112697"/>
                <a:gd name="connsiteX6" fmla="*/ 0 w 2567752"/>
                <a:gd name="connsiteY6" fmla="*/ 333059 h 1112697"/>
                <a:gd name="connsiteX0" fmla="*/ 0 w 2576354"/>
                <a:gd name="connsiteY0" fmla="*/ 333059 h 1112697"/>
                <a:gd name="connsiteX1" fmla="*/ 302782 w 2576354"/>
                <a:gd name="connsiteY1" fmla="*/ 0 h 1112697"/>
                <a:gd name="connsiteX2" fmla="*/ 2576354 w 2576354"/>
                <a:gd name="connsiteY2" fmla="*/ 0 h 1112697"/>
                <a:gd name="connsiteX3" fmla="*/ 2567587 w 2576354"/>
                <a:gd name="connsiteY3" fmla="*/ 151390 h 1112697"/>
                <a:gd name="connsiteX4" fmla="*/ 2567752 w 2576354"/>
                <a:gd name="connsiteY4" fmla="*/ 1112697 h 1112697"/>
                <a:gd name="connsiteX5" fmla="*/ 3146 w 2576354"/>
                <a:gd name="connsiteY5" fmla="*/ 1112697 h 1112697"/>
                <a:gd name="connsiteX6" fmla="*/ 0 w 2576354"/>
                <a:gd name="connsiteY6" fmla="*/ 333059 h 1112697"/>
                <a:gd name="connsiteX0" fmla="*/ 0 w 2567752"/>
                <a:gd name="connsiteY0" fmla="*/ 333059 h 1112697"/>
                <a:gd name="connsiteX1" fmla="*/ 302782 w 2567752"/>
                <a:gd name="connsiteY1" fmla="*/ 0 h 1112697"/>
                <a:gd name="connsiteX2" fmla="*/ 2567646 w 2567752"/>
                <a:gd name="connsiteY2" fmla="*/ 0 h 1112697"/>
                <a:gd name="connsiteX3" fmla="*/ 2567587 w 2567752"/>
                <a:gd name="connsiteY3" fmla="*/ 151390 h 1112697"/>
                <a:gd name="connsiteX4" fmla="*/ 2567752 w 2567752"/>
                <a:gd name="connsiteY4" fmla="*/ 1112697 h 1112697"/>
                <a:gd name="connsiteX5" fmla="*/ 3146 w 2567752"/>
                <a:gd name="connsiteY5" fmla="*/ 1112697 h 1112697"/>
                <a:gd name="connsiteX6" fmla="*/ 0 w 2567752"/>
                <a:gd name="connsiteY6" fmla="*/ 333059 h 111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7752" h="1112697">
                  <a:moveTo>
                    <a:pt x="0" y="333059"/>
                  </a:moveTo>
                  <a:cubicBezTo>
                    <a:pt x="110495" y="220278"/>
                    <a:pt x="195772" y="164226"/>
                    <a:pt x="302782" y="0"/>
                  </a:cubicBezTo>
                  <a:lnTo>
                    <a:pt x="2567646" y="0"/>
                  </a:lnTo>
                  <a:cubicBezTo>
                    <a:pt x="2567626" y="50463"/>
                    <a:pt x="2567607" y="100927"/>
                    <a:pt x="2567587" y="151390"/>
                  </a:cubicBezTo>
                  <a:lnTo>
                    <a:pt x="2567752" y="1112697"/>
                  </a:lnTo>
                  <a:lnTo>
                    <a:pt x="3146" y="1112697"/>
                  </a:lnTo>
                  <a:cubicBezTo>
                    <a:pt x="2097" y="852818"/>
                    <a:pt x="1049" y="592938"/>
                    <a:pt x="0" y="333059"/>
                  </a:cubicBezTo>
                  <a:close/>
                </a:path>
              </a:pathLst>
            </a:cu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81" name="Group 1280"/>
            <p:cNvGrpSpPr/>
            <p:nvPr/>
          </p:nvGrpSpPr>
          <p:grpSpPr>
            <a:xfrm>
              <a:off x="4832506" y="4822548"/>
              <a:ext cx="2364575" cy="791125"/>
              <a:chOff x="7499356" y="4833811"/>
              <a:chExt cx="1732819" cy="579756"/>
            </a:xfrm>
          </p:grpSpPr>
          <p:sp>
            <p:nvSpPr>
              <p:cNvPr id="1282" name="Freeform 1281"/>
              <p:cNvSpPr/>
              <p:nvPr/>
            </p:nvSpPr>
            <p:spPr bwMode="auto">
              <a:xfrm flipH="1">
                <a:off x="7500269" y="4833811"/>
                <a:ext cx="1730900" cy="509132"/>
              </a:xfrm>
              <a:custGeom>
                <a:avLst/>
                <a:gdLst>
                  <a:gd name="connsiteX0" fmla="*/ 1259872 w 12828018"/>
                  <a:gd name="connsiteY0" fmla="*/ 3489157 h 3773269"/>
                  <a:gd name="connsiteX1" fmla="*/ 1275914 w 12828018"/>
                  <a:gd name="connsiteY1" fmla="*/ 3312694 h 3773269"/>
                  <a:gd name="connsiteX2" fmla="*/ 1307998 w 12828018"/>
                  <a:gd name="connsiteY2" fmla="*/ 3072063 h 3773269"/>
                  <a:gd name="connsiteX3" fmla="*/ 1380187 w 12828018"/>
                  <a:gd name="connsiteY3" fmla="*/ 2863515 h 3773269"/>
                  <a:gd name="connsiteX4" fmla="*/ 1476440 w 12828018"/>
                  <a:gd name="connsiteY4" fmla="*/ 2687052 h 3773269"/>
                  <a:gd name="connsiteX5" fmla="*/ 1668945 w 12828018"/>
                  <a:gd name="connsiteY5" fmla="*/ 2486526 h 3773269"/>
                  <a:gd name="connsiteX6" fmla="*/ 1885514 w 12828018"/>
                  <a:gd name="connsiteY6" fmla="*/ 2350168 h 3773269"/>
                  <a:gd name="connsiteX7" fmla="*/ 2126145 w 12828018"/>
                  <a:gd name="connsiteY7" fmla="*/ 2261936 h 3773269"/>
                  <a:gd name="connsiteX8" fmla="*/ 2471050 w 12828018"/>
                  <a:gd name="connsiteY8" fmla="*/ 2221831 h 3773269"/>
                  <a:gd name="connsiteX9" fmla="*/ 2775850 w 12828018"/>
                  <a:gd name="connsiteY9" fmla="*/ 2277978 h 3773269"/>
                  <a:gd name="connsiteX10" fmla="*/ 3112735 w 12828018"/>
                  <a:gd name="connsiteY10" fmla="*/ 2454442 h 3773269"/>
                  <a:gd name="connsiteX11" fmla="*/ 3353366 w 12828018"/>
                  <a:gd name="connsiteY11" fmla="*/ 2751221 h 3773269"/>
                  <a:gd name="connsiteX12" fmla="*/ 3433577 w 12828018"/>
                  <a:gd name="connsiteY12" fmla="*/ 2943726 h 3773269"/>
                  <a:gd name="connsiteX13" fmla="*/ 3481703 w 12828018"/>
                  <a:gd name="connsiteY13" fmla="*/ 3200400 h 3773269"/>
                  <a:gd name="connsiteX14" fmla="*/ 3513787 w 12828018"/>
                  <a:gd name="connsiteY14" fmla="*/ 3449052 h 3773269"/>
                  <a:gd name="connsiteX15" fmla="*/ 3505766 w 12828018"/>
                  <a:gd name="connsiteY15" fmla="*/ 3625515 h 3773269"/>
                  <a:gd name="connsiteX16" fmla="*/ 3505766 w 12828018"/>
                  <a:gd name="connsiteY16" fmla="*/ 3761873 h 3773269"/>
                  <a:gd name="connsiteX17" fmla="*/ 3561914 w 12828018"/>
                  <a:gd name="connsiteY17" fmla="*/ 3761873 h 3773269"/>
                  <a:gd name="connsiteX18" fmla="*/ 3722335 w 12828018"/>
                  <a:gd name="connsiteY18" fmla="*/ 3729789 h 3773269"/>
                  <a:gd name="connsiteX19" fmla="*/ 4043177 w 12828018"/>
                  <a:gd name="connsiteY19" fmla="*/ 3713747 h 3773269"/>
                  <a:gd name="connsiteX20" fmla="*/ 4596629 w 12828018"/>
                  <a:gd name="connsiteY20" fmla="*/ 3721768 h 3773269"/>
                  <a:gd name="connsiteX21" fmla="*/ 6040419 w 12828018"/>
                  <a:gd name="connsiteY21" fmla="*/ 3713747 h 3773269"/>
                  <a:gd name="connsiteX22" fmla="*/ 7572440 w 12828018"/>
                  <a:gd name="connsiteY22" fmla="*/ 3729789 h 3773269"/>
                  <a:gd name="connsiteX23" fmla="*/ 8623198 w 12828018"/>
                  <a:gd name="connsiteY23" fmla="*/ 3721768 h 3773269"/>
                  <a:gd name="connsiteX24" fmla="*/ 8960082 w 12828018"/>
                  <a:gd name="connsiteY24" fmla="*/ 3729789 h 3773269"/>
                  <a:gd name="connsiteX25" fmla="*/ 9072377 w 12828018"/>
                  <a:gd name="connsiteY25" fmla="*/ 3729789 h 3773269"/>
                  <a:gd name="connsiteX26" fmla="*/ 9128524 w 12828018"/>
                  <a:gd name="connsiteY26" fmla="*/ 3729789 h 3773269"/>
                  <a:gd name="connsiteX27" fmla="*/ 9136545 w 12828018"/>
                  <a:gd name="connsiteY27" fmla="*/ 3609473 h 3773269"/>
                  <a:gd name="connsiteX28" fmla="*/ 9128524 w 12828018"/>
                  <a:gd name="connsiteY28" fmla="*/ 3441031 h 3773269"/>
                  <a:gd name="connsiteX29" fmla="*/ 9192693 w 12828018"/>
                  <a:gd name="connsiteY29" fmla="*/ 3072063 h 3773269"/>
                  <a:gd name="connsiteX30" fmla="*/ 9313008 w 12828018"/>
                  <a:gd name="connsiteY30" fmla="*/ 2743200 h 3773269"/>
                  <a:gd name="connsiteX31" fmla="*/ 9545619 w 12828018"/>
                  <a:gd name="connsiteY31" fmla="*/ 2470484 h 3773269"/>
                  <a:gd name="connsiteX32" fmla="*/ 9898545 w 12828018"/>
                  <a:gd name="connsiteY32" fmla="*/ 2286000 h 3773269"/>
                  <a:gd name="connsiteX33" fmla="*/ 10227408 w 12828018"/>
                  <a:gd name="connsiteY33" fmla="*/ 2237873 h 3773269"/>
                  <a:gd name="connsiteX34" fmla="*/ 10652524 w 12828018"/>
                  <a:gd name="connsiteY34" fmla="*/ 2302042 h 3773269"/>
                  <a:gd name="connsiteX35" fmla="*/ 10949303 w 12828018"/>
                  <a:gd name="connsiteY35" fmla="*/ 2462463 h 3773269"/>
                  <a:gd name="connsiteX36" fmla="*/ 11165872 w 12828018"/>
                  <a:gd name="connsiteY36" fmla="*/ 2695073 h 3773269"/>
                  <a:gd name="connsiteX37" fmla="*/ 11286187 w 12828018"/>
                  <a:gd name="connsiteY37" fmla="*/ 2903621 h 3773269"/>
                  <a:gd name="connsiteX38" fmla="*/ 11318272 w 12828018"/>
                  <a:gd name="connsiteY38" fmla="*/ 3064042 h 3773269"/>
                  <a:gd name="connsiteX39" fmla="*/ 11334314 w 12828018"/>
                  <a:gd name="connsiteY39" fmla="*/ 3328736 h 3773269"/>
                  <a:gd name="connsiteX40" fmla="*/ 11318272 w 12828018"/>
                  <a:gd name="connsiteY40" fmla="*/ 3569368 h 3773269"/>
                  <a:gd name="connsiteX41" fmla="*/ 11334314 w 12828018"/>
                  <a:gd name="connsiteY41" fmla="*/ 3617494 h 3773269"/>
                  <a:gd name="connsiteX42" fmla="*/ 11462650 w 12828018"/>
                  <a:gd name="connsiteY42" fmla="*/ 3593431 h 3773269"/>
                  <a:gd name="connsiteX43" fmla="*/ 11663177 w 12828018"/>
                  <a:gd name="connsiteY43" fmla="*/ 3513221 h 3773269"/>
                  <a:gd name="connsiteX44" fmla="*/ 11951935 w 12828018"/>
                  <a:gd name="connsiteY44" fmla="*/ 3441031 h 3773269"/>
                  <a:gd name="connsiteX45" fmla="*/ 12296840 w 12828018"/>
                  <a:gd name="connsiteY45" fmla="*/ 3392905 h 3773269"/>
                  <a:gd name="connsiteX46" fmla="*/ 12601640 w 12828018"/>
                  <a:gd name="connsiteY46" fmla="*/ 3328736 h 3773269"/>
                  <a:gd name="connsiteX47" fmla="*/ 12681850 w 12828018"/>
                  <a:gd name="connsiteY47" fmla="*/ 3240505 h 3773269"/>
                  <a:gd name="connsiteX48" fmla="*/ 12721956 w 12828018"/>
                  <a:gd name="connsiteY48" fmla="*/ 3200400 h 3773269"/>
                  <a:gd name="connsiteX49" fmla="*/ 12737998 w 12828018"/>
                  <a:gd name="connsiteY49" fmla="*/ 3096126 h 3773269"/>
                  <a:gd name="connsiteX50" fmla="*/ 12810187 w 12828018"/>
                  <a:gd name="connsiteY50" fmla="*/ 2943726 h 3773269"/>
                  <a:gd name="connsiteX51" fmla="*/ 12818208 w 12828018"/>
                  <a:gd name="connsiteY51" fmla="*/ 2751221 h 3773269"/>
                  <a:gd name="connsiteX52" fmla="*/ 12818208 w 12828018"/>
                  <a:gd name="connsiteY52" fmla="*/ 2294021 h 3773269"/>
                  <a:gd name="connsiteX53" fmla="*/ 12689872 w 12828018"/>
                  <a:gd name="connsiteY53" fmla="*/ 2061410 h 3773269"/>
                  <a:gd name="connsiteX54" fmla="*/ 12593619 w 12828018"/>
                  <a:gd name="connsiteY54" fmla="*/ 1933073 h 3773269"/>
                  <a:gd name="connsiteX55" fmla="*/ 12529450 w 12828018"/>
                  <a:gd name="connsiteY55" fmla="*/ 1676400 h 3773269"/>
                  <a:gd name="connsiteX56" fmla="*/ 12417156 w 12828018"/>
                  <a:gd name="connsiteY56" fmla="*/ 1363578 h 3773269"/>
                  <a:gd name="connsiteX57" fmla="*/ 12280798 w 12828018"/>
                  <a:gd name="connsiteY57" fmla="*/ 1163052 h 3773269"/>
                  <a:gd name="connsiteX58" fmla="*/ 12248714 w 12828018"/>
                  <a:gd name="connsiteY58" fmla="*/ 1114926 h 3773269"/>
                  <a:gd name="connsiteX59" fmla="*/ 12144440 w 12828018"/>
                  <a:gd name="connsiteY59" fmla="*/ 1098884 h 3773269"/>
                  <a:gd name="connsiteX60" fmla="*/ 11695261 w 12828018"/>
                  <a:gd name="connsiteY60" fmla="*/ 1058778 h 3773269"/>
                  <a:gd name="connsiteX61" fmla="*/ 11470672 w 12828018"/>
                  <a:gd name="connsiteY61" fmla="*/ 1018673 h 3773269"/>
                  <a:gd name="connsiteX62" fmla="*/ 11085661 w 12828018"/>
                  <a:gd name="connsiteY62" fmla="*/ 874294 h 3773269"/>
                  <a:gd name="connsiteX63" fmla="*/ 10612419 w 12828018"/>
                  <a:gd name="connsiteY63" fmla="*/ 665747 h 3773269"/>
                  <a:gd name="connsiteX64" fmla="*/ 10034903 w 12828018"/>
                  <a:gd name="connsiteY64" fmla="*/ 433136 h 3773269"/>
                  <a:gd name="connsiteX65" fmla="*/ 9617808 w 12828018"/>
                  <a:gd name="connsiteY65" fmla="*/ 272715 h 3773269"/>
                  <a:gd name="connsiteX66" fmla="*/ 9160608 w 12828018"/>
                  <a:gd name="connsiteY66" fmla="*/ 152400 h 3773269"/>
                  <a:gd name="connsiteX67" fmla="*/ 8631219 w 12828018"/>
                  <a:gd name="connsiteY67" fmla="*/ 64168 h 3773269"/>
                  <a:gd name="connsiteX68" fmla="*/ 7965472 w 12828018"/>
                  <a:gd name="connsiteY68" fmla="*/ 16042 h 3773269"/>
                  <a:gd name="connsiteX69" fmla="*/ 7403998 w 12828018"/>
                  <a:gd name="connsiteY69" fmla="*/ 0 h 3773269"/>
                  <a:gd name="connsiteX70" fmla="*/ 6754293 w 12828018"/>
                  <a:gd name="connsiteY70" fmla="*/ 8021 h 3773269"/>
                  <a:gd name="connsiteX71" fmla="*/ 6208861 w 12828018"/>
                  <a:gd name="connsiteY71" fmla="*/ 56147 h 3773269"/>
                  <a:gd name="connsiteX72" fmla="*/ 5623324 w 12828018"/>
                  <a:gd name="connsiteY72" fmla="*/ 184484 h 3773269"/>
                  <a:gd name="connsiteX73" fmla="*/ 5254356 w 12828018"/>
                  <a:gd name="connsiteY73" fmla="*/ 336884 h 3773269"/>
                  <a:gd name="connsiteX74" fmla="*/ 4468293 w 12828018"/>
                  <a:gd name="connsiteY74" fmla="*/ 762000 h 3773269"/>
                  <a:gd name="connsiteX75" fmla="*/ 3834629 w 12828018"/>
                  <a:gd name="connsiteY75" fmla="*/ 1138989 h 3773269"/>
                  <a:gd name="connsiteX76" fmla="*/ 3642124 w 12828018"/>
                  <a:gd name="connsiteY76" fmla="*/ 1251284 h 3773269"/>
                  <a:gd name="connsiteX77" fmla="*/ 3457640 w 12828018"/>
                  <a:gd name="connsiteY77" fmla="*/ 1275347 h 3773269"/>
                  <a:gd name="connsiteX78" fmla="*/ 2815956 w 12828018"/>
                  <a:gd name="connsiteY78" fmla="*/ 1331494 h 3773269"/>
                  <a:gd name="connsiteX79" fmla="*/ 2158229 w 12828018"/>
                  <a:gd name="connsiteY79" fmla="*/ 1411705 h 3773269"/>
                  <a:gd name="connsiteX80" fmla="*/ 1580714 w 12828018"/>
                  <a:gd name="connsiteY80" fmla="*/ 1499936 h 3773269"/>
                  <a:gd name="connsiteX81" fmla="*/ 1075387 w 12828018"/>
                  <a:gd name="connsiteY81" fmla="*/ 1596189 h 3773269"/>
                  <a:gd name="connsiteX82" fmla="*/ 650272 w 12828018"/>
                  <a:gd name="connsiteY82" fmla="*/ 1748589 h 3773269"/>
                  <a:gd name="connsiteX83" fmla="*/ 457766 w 12828018"/>
                  <a:gd name="connsiteY83" fmla="*/ 1868905 h 3773269"/>
                  <a:gd name="connsiteX84" fmla="*/ 273282 w 12828018"/>
                  <a:gd name="connsiteY84" fmla="*/ 2101515 h 3773269"/>
                  <a:gd name="connsiteX85" fmla="*/ 169008 w 12828018"/>
                  <a:gd name="connsiteY85" fmla="*/ 2326105 h 3773269"/>
                  <a:gd name="connsiteX86" fmla="*/ 88798 w 12828018"/>
                  <a:gd name="connsiteY86" fmla="*/ 2454442 h 3773269"/>
                  <a:gd name="connsiteX87" fmla="*/ 8587 w 12828018"/>
                  <a:gd name="connsiteY87" fmla="*/ 2855494 h 3773269"/>
                  <a:gd name="connsiteX88" fmla="*/ 8587 w 12828018"/>
                  <a:gd name="connsiteY88" fmla="*/ 3080084 h 3773269"/>
                  <a:gd name="connsiteX89" fmla="*/ 64735 w 12828018"/>
                  <a:gd name="connsiteY89" fmla="*/ 3232484 h 3773269"/>
                  <a:gd name="connsiteX90" fmla="*/ 64735 w 12828018"/>
                  <a:gd name="connsiteY90" fmla="*/ 3433010 h 3773269"/>
                  <a:gd name="connsiteX91" fmla="*/ 120882 w 12828018"/>
                  <a:gd name="connsiteY91" fmla="*/ 3481136 h 3773269"/>
                  <a:gd name="connsiteX92" fmla="*/ 345472 w 12828018"/>
                  <a:gd name="connsiteY92" fmla="*/ 3601452 h 3773269"/>
                  <a:gd name="connsiteX93" fmla="*/ 706419 w 12828018"/>
                  <a:gd name="connsiteY93" fmla="*/ 3673642 h 3773269"/>
                  <a:gd name="connsiteX94" fmla="*/ 1051324 w 12828018"/>
                  <a:gd name="connsiteY94" fmla="*/ 3697705 h 3773269"/>
                  <a:gd name="connsiteX95" fmla="*/ 1251850 w 12828018"/>
                  <a:gd name="connsiteY95" fmla="*/ 3729789 h 3773269"/>
                  <a:gd name="connsiteX96" fmla="*/ 1275914 w 12828018"/>
                  <a:gd name="connsiteY96" fmla="*/ 3697705 h 3773269"/>
                  <a:gd name="connsiteX97" fmla="*/ 1259872 w 12828018"/>
                  <a:gd name="connsiteY97" fmla="*/ 3489157 h 377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28018" h="3773269">
                    <a:moveTo>
                      <a:pt x="1259872" y="3489157"/>
                    </a:moveTo>
                    <a:cubicBezTo>
                      <a:pt x="1259872" y="3424989"/>
                      <a:pt x="1267893" y="3382210"/>
                      <a:pt x="1275914" y="3312694"/>
                    </a:cubicBezTo>
                    <a:cubicBezTo>
                      <a:pt x="1283935" y="3243178"/>
                      <a:pt x="1290619" y="3146926"/>
                      <a:pt x="1307998" y="3072063"/>
                    </a:cubicBezTo>
                    <a:cubicBezTo>
                      <a:pt x="1325377" y="2997200"/>
                      <a:pt x="1352113" y="2927683"/>
                      <a:pt x="1380187" y="2863515"/>
                    </a:cubicBezTo>
                    <a:cubicBezTo>
                      <a:pt x="1408261" y="2799346"/>
                      <a:pt x="1428314" y="2749884"/>
                      <a:pt x="1476440" y="2687052"/>
                    </a:cubicBezTo>
                    <a:cubicBezTo>
                      <a:pt x="1524566" y="2624220"/>
                      <a:pt x="1600766" y="2542673"/>
                      <a:pt x="1668945" y="2486526"/>
                    </a:cubicBezTo>
                    <a:cubicBezTo>
                      <a:pt x="1737124" y="2430379"/>
                      <a:pt x="1809314" y="2387600"/>
                      <a:pt x="1885514" y="2350168"/>
                    </a:cubicBezTo>
                    <a:cubicBezTo>
                      <a:pt x="1961714" y="2312736"/>
                      <a:pt x="2028556" y="2283325"/>
                      <a:pt x="2126145" y="2261936"/>
                    </a:cubicBezTo>
                    <a:cubicBezTo>
                      <a:pt x="2223734" y="2240547"/>
                      <a:pt x="2362766" y="2219157"/>
                      <a:pt x="2471050" y="2221831"/>
                    </a:cubicBezTo>
                    <a:cubicBezTo>
                      <a:pt x="2579334" y="2224505"/>
                      <a:pt x="2668903" y="2239210"/>
                      <a:pt x="2775850" y="2277978"/>
                    </a:cubicBezTo>
                    <a:cubicBezTo>
                      <a:pt x="2882797" y="2316746"/>
                      <a:pt x="3016482" y="2375568"/>
                      <a:pt x="3112735" y="2454442"/>
                    </a:cubicBezTo>
                    <a:cubicBezTo>
                      <a:pt x="3208988" y="2533316"/>
                      <a:pt x="3299892" y="2669674"/>
                      <a:pt x="3353366" y="2751221"/>
                    </a:cubicBezTo>
                    <a:cubicBezTo>
                      <a:pt x="3406840" y="2832768"/>
                      <a:pt x="3412188" y="2868863"/>
                      <a:pt x="3433577" y="2943726"/>
                    </a:cubicBezTo>
                    <a:cubicBezTo>
                      <a:pt x="3454966" y="3018589"/>
                      <a:pt x="3468335" y="3116179"/>
                      <a:pt x="3481703" y="3200400"/>
                    </a:cubicBezTo>
                    <a:cubicBezTo>
                      <a:pt x="3495071" y="3284621"/>
                      <a:pt x="3509777" y="3378200"/>
                      <a:pt x="3513787" y="3449052"/>
                    </a:cubicBezTo>
                    <a:cubicBezTo>
                      <a:pt x="3517797" y="3519904"/>
                      <a:pt x="3507103" y="3573378"/>
                      <a:pt x="3505766" y="3625515"/>
                    </a:cubicBezTo>
                    <a:cubicBezTo>
                      <a:pt x="3504429" y="3677652"/>
                      <a:pt x="3496408" y="3739147"/>
                      <a:pt x="3505766" y="3761873"/>
                    </a:cubicBezTo>
                    <a:cubicBezTo>
                      <a:pt x="3515124" y="3784599"/>
                      <a:pt x="3525819" y="3767220"/>
                      <a:pt x="3561914" y="3761873"/>
                    </a:cubicBezTo>
                    <a:cubicBezTo>
                      <a:pt x="3598009" y="3756526"/>
                      <a:pt x="3642125" y="3737810"/>
                      <a:pt x="3722335" y="3729789"/>
                    </a:cubicBezTo>
                    <a:cubicBezTo>
                      <a:pt x="3802546" y="3721768"/>
                      <a:pt x="4043177" y="3713747"/>
                      <a:pt x="4043177" y="3713747"/>
                    </a:cubicBezTo>
                    <a:lnTo>
                      <a:pt x="4596629" y="3721768"/>
                    </a:lnTo>
                    <a:lnTo>
                      <a:pt x="6040419" y="3713747"/>
                    </a:lnTo>
                    <a:lnTo>
                      <a:pt x="7572440" y="3729789"/>
                    </a:lnTo>
                    <a:lnTo>
                      <a:pt x="8623198" y="3721768"/>
                    </a:lnTo>
                    <a:cubicBezTo>
                      <a:pt x="8854472" y="3721768"/>
                      <a:pt x="8885219" y="3728452"/>
                      <a:pt x="8960082" y="3729789"/>
                    </a:cubicBezTo>
                    <a:cubicBezTo>
                      <a:pt x="9034945" y="3731126"/>
                      <a:pt x="9072377" y="3729789"/>
                      <a:pt x="9072377" y="3729789"/>
                    </a:cubicBezTo>
                    <a:cubicBezTo>
                      <a:pt x="9100451" y="3729789"/>
                      <a:pt x="9117829" y="3749842"/>
                      <a:pt x="9128524" y="3729789"/>
                    </a:cubicBezTo>
                    <a:cubicBezTo>
                      <a:pt x="9139219" y="3709736"/>
                      <a:pt x="9136545" y="3657599"/>
                      <a:pt x="9136545" y="3609473"/>
                    </a:cubicBezTo>
                    <a:cubicBezTo>
                      <a:pt x="9136545" y="3561347"/>
                      <a:pt x="9119166" y="3530599"/>
                      <a:pt x="9128524" y="3441031"/>
                    </a:cubicBezTo>
                    <a:cubicBezTo>
                      <a:pt x="9137882" y="3351463"/>
                      <a:pt x="9161946" y="3188368"/>
                      <a:pt x="9192693" y="3072063"/>
                    </a:cubicBezTo>
                    <a:cubicBezTo>
                      <a:pt x="9223440" y="2955758"/>
                      <a:pt x="9254187" y="2843463"/>
                      <a:pt x="9313008" y="2743200"/>
                    </a:cubicBezTo>
                    <a:cubicBezTo>
                      <a:pt x="9371829" y="2642937"/>
                      <a:pt x="9448030" y="2546684"/>
                      <a:pt x="9545619" y="2470484"/>
                    </a:cubicBezTo>
                    <a:cubicBezTo>
                      <a:pt x="9643209" y="2394284"/>
                      <a:pt x="9784914" y="2324768"/>
                      <a:pt x="9898545" y="2286000"/>
                    </a:cubicBezTo>
                    <a:cubicBezTo>
                      <a:pt x="10012176" y="2247232"/>
                      <a:pt x="10101745" y="2235199"/>
                      <a:pt x="10227408" y="2237873"/>
                    </a:cubicBezTo>
                    <a:cubicBezTo>
                      <a:pt x="10353071" y="2240547"/>
                      <a:pt x="10532208" y="2264610"/>
                      <a:pt x="10652524" y="2302042"/>
                    </a:cubicBezTo>
                    <a:cubicBezTo>
                      <a:pt x="10772840" y="2339474"/>
                      <a:pt x="10863745" y="2396958"/>
                      <a:pt x="10949303" y="2462463"/>
                    </a:cubicBezTo>
                    <a:cubicBezTo>
                      <a:pt x="11034861" y="2527968"/>
                      <a:pt x="11109725" y="2621547"/>
                      <a:pt x="11165872" y="2695073"/>
                    </a:cubicBezTo>
                    <a:cubicBezTo>
                      <a:pt x="11222019" y="2768599"/>
                      <a:pt x="11260787" y="2842126"/>
                      <a:pt x="11286187" y="2903621"/>
                    </a:cubicBezTo>
                    <a:cubicBezTo>
                      <a:pt x="11311587" y="2965116"/>
                      <a:pt x="11310251" y="2993189"/>
                      <a:pt x="11318272" y="3064042"/>
                    </a:cubicBezTo>
                    <a:cubicBezTo>
                      <a:pt x="11326293" y="3134894"/>
                      <a:pt x="11334314" y="3244515"/>
                      <a:pt x="11334314" y="3328736"/>
                    </a:cubicBezTo>
                    <a:cubicBezTo>
                      <a:pt x="11334314" y="3412957"/>
                      <a:pt x="11318272" y="3521242"/>
                      <a:pt x="11318272" y="3569368"/>
                    </a:cubicBezTo>
                    <a:cubicBezTo>
                      <a:pt x="11318272" y="3617494"/>
                      <a:pt x="11310251" y="3613484"/>
                      <a:pt x="11334314" y="3617494"/>
                    </a:cubicBezTo>
                    <a:cubicBezTo>
                      <a:pt x="11358377" y="3621505"/>
                      <a:pt x="11407840" y="3610810"/>
                      <a:pt x="11462650" y="3593431"/>
                    </a:cubicBezTo>
                    <a:cubicBezTo>
                      <a:pt x="11517461" y="3576052"/>
                      <a:pt x="11581629" y="3538621"/>
                      <a:pt x="11663177" y="3513221"/>
                    </a:cubicBezTo>
                    <a:cubicBezTo>
                      <a:pt x="11744725" y="3487821"/>
                      <a:pt x="11846325" y="3461084"/>
                      <a:pt x="11951935" y="3441031"/>
                    </a:cubicBezTo>
                    <a:cubicBezTo>
                      <a:pt x="12057546" y="3420978"/>
                      <a:pt x="12188556" y="3411621"/>
                      <a:pt x="12296840" y="3392905"/>
                    </a:cubicBezTo>
                    <a:cubicBezTo>
                      <a:pt x="12405124" y="3374189"/>
                      <a:pt x="12537472" y="3354136"/>
                      <a:pt x="12601640" y="3328736"/>
                    </a:cubicBezTo>
                    <a:cubicBezTo>
                      <a:pt x="12665808" y="3303336"/>
                      <a:pt x="12661797" y="3261894"/>
                      <a:pt x="12681850" y="3240505"/>
                    </a:cubicBezTo>
                    <a:cubicBezTo>
                      <a:pt x="12701903" y="3219116"/>
                      <a:pt x="12712598" y="3224463"/>
                      <a:pt x="12721956" y="3200400"/>
                    </a:cubicBezTo>
                    <a:cubicBezTo>
                      <a:pt x="12731314" y="3176337"/>
                      <a:pt x="12723293" y="3138905"/>
                      <a:pt x="12737998" y="3096126"/>
                    </a:cubicBezTo>
                    <a:cubicBezTo>
                      <a:pt x="12752703" y="3053347"/>
                      <a:pt x="12796819" y="3001210"/>
                      <a:pt x="12810187" y="2943726"/>
                    </a:cubicBezTo>
                    <a:cubicBezTo>
                      <a:pt x="12823555" y="2886242"/>
                      <a:pt x="12816871" y="2859505"/>
                      <a:pt x="12818208" y="2751221"/>
                    </a:cubicBezTo>
                    <a:cubicBezTo>
                      <a:pt x="12819545" y="2642937"/>
                      <a:pt x="12839597" y="2408989"/>
                      <a:pt x="12818208" y="2294021"/>
                    </a:cubicBezTo>
                    <a:cubicBezTo>
                      <a:pt x="12796819" y="2179053"/>
                      <a:pt x="12727304" y="2121568"/>
                      <a:pt x="12689872" y="2061410"/>
                    </a:cubicBezTo>
                    <a:cubicBezTo>
                      <a:pt x="12652440" y="2001252"/>
                      <a:pt x="12620356" y="1997241"/>
                      <a:pt x="12593619" y="1933073"/>
                    </a:cubicBezTo>
                    <a:cubicBezTo>
                      <a:pt x="12566882" y="1868905"/>
                      <a:pt x="12558860" y="1771316"/>
                      <a:pt x="12529450" y="1676400"/>
                    </a:cubicBezTo>
                    <a:cubicBezTo>
                      <a:pt x="12500040" y="1581484"/>
                      <a:pt x="12458598" y="1449136"/>
                      <a:pt x="12417156" y="1363578"/>
                    </a:cubicBezTo>
                    <a:cubicBezTo>
                      <a:pt x="12375714" y="1278020"/>
                      <a:pt x="12308872" y="1204494"/>
                      <a:pt x="12280798" y="1163052"/>
                    </a:cubicBezTo>
                    <a:cubicBezTo>
                      <a:pt x="12252724" y="1121610"/>
                      <a:pt x="12271440" y="1125621"/>
                      <a:pt x="12248714" y="1114926"/>
                    </a:cubicBezTo>
                    <a:cubicBezTo>
                      <a:pt x="12225988" y="1104231"/>
                      <a:pt x="12236682" y="1108242"/>
                      <a:pt x="12144440" y="1098884"/>
                    </a:cubicBezTo>
                    <a:cubicBezTo>
                      <a:pt x="12052198" y="1089526"/>
                      <a:pt x="11807556" y="1072147"/>
                      <a:pt x="11695261" y="1058778"/>
                    </a:cubicBezTo>
                    <a:cubicBezTo>
                      <a:pt x="11582966" y="1045409"/>
                      <a:pt x="11572272" y="1049420"/>
                      <a:pt x="11470672" y="1018673"/>
                    </a:cubicBezTo>
                    <a:cubicBezTo>
                      <a:pt x="11369072" y="987926"/>
                      <a:pt x="11228703" y="933115"/>
                      <a:pt x="11085661" y="874294"/>
                    </a:cubicBezTo>
                    <a:cubicBezTo>
                      <a:pt x="10942619" y="815473"/>
                      <a:pt x="10787545" y="739273"/>
                      <a:pt x="10612419" y="665747"/>
                    </a:cubicBezTo>
                    <a:cubicBezTo>
                      <a:pt x="10437293" y="592221"/>
                      <a:pt x="10200671" y="498641"/>
                      <a:pt x="10034903" y="433136"/>
                    </a:cubicBezTo>
                    <a:cubicBezTo>
                      <a:pt x="9869135" y="367631"/>
                      <a:pt x="9763524" y="319504"/>
                      <a:pt x="9617808" y="272715"/>
                    </a:cubicBezTo>
                    <a:cubicBezTo>
                      <a:pt x="9472092" y="225926"/>
                      <a:pt x="9325040" y="187158"/>
                      <a:pt x="9160608" y="152400"/>
                    </a:cubicBezTo>
                    <a:cubicBezTo>
                      <a:pt x="8996177" y="117642"/>
                      <a:pt x="8830408" y="86894"/>
                      <a:pt x="8631219" y="64168"/>
                    </a:cubicBezTo>
                    <a:cubicBezTo>
                      <a:pt x="8432030" y="41442"/>
                      <a:pt x="8170009" y="26737"/>
                      <a:pt x="7965472" y="16042"/>
                    </a:cubicBezTo>
                    <a:cubicBezTo>
                      <a:pt x="7760935" y="5347"/>
                      <a:pt x="7403998" y="0"/>
                      <a:pt x="7403998" y="0"/>
                    </a:cubicBezTo>
                    <a:lnTo>
                      <a:pt x="6754293" y="8021"/>
                    </a:lnTo>
                    <a:cubicBezTo>
                      <a:pt x="6555104" y="17379"/>
                      <a:pt x="6397356" y="26736"/>
                      <a:pt x="6208861" y="56147"/>
                    </a:cubicBezTo>
                    <a:cubicBezTo>
                      <a:pt x="6020366" y="85558"/>
                      <a:pt x="5782408" y="137695"/>
                      <a:pt x="5623324" y="184484"/>
                    </a:cubicBezTo>
                    <a:cubicBezTo>
                      <a:pt x="5464240" y="231273"/>
                      <a:pt x="5446861" y="240631"/>
                      <a:pt x="5254356" y="336884"/>
                    </a:cubicBezTo>
                    <a:cubicBezTo>
                      <a:pt x="5061851" y="433137"/>
                      <a:pt x="4704914" y="628316"/>
                      <a:pt x="4468293" y="762000"/>
                    </a:cubicBezTo>
                    <a:cubicBezTo>
                      <a:pt x="4231672" y="895684"/>
                      <a:pt x="3834629" y="1138989"/>
                      <a:pt x="3834629" y="1138989"/>
                    </a:cubicBezTo>
                    <a:cubicBezTo>
                      <a:pt x="3696934" y="1220536"/>
                      <a:pt x="3704956" y="1228558"/>
                      <a:pt x="3642124" y="1251284"/>
                    </a:cubicBezTo>
                    <a:cubicBezTo>
                      <a:pt x="3579293" y="1274010"/>
                      <a:pt x="3457640" y="1275347"/>
                      <a:pt x="3457640" y="1275347"/>
                    </a:cubicBezTo>
                    <a:lnTo>
                      <a:pt x="2815956" y="1331494"/>
                    </a:lnTo>
                    <a:cubicBezTo>
                      <a:pt x="2599388" y="1354220"/>
                      <a:pt x="2364103" y="1383631"/>
                      <a:pt x="2158229" y="1411705"/>
                    </a:cubicBezTo>
                    <a:cubicBezTo>
                      <a:pt x="1952355" y="1439779"/>
                      <a:pt x="1761188" y="1469189"/>
                      <a:pt x="1580714" y="1499936"/>
                    </a:cubicBezTo>
                    <a:cubicBezTo>
                      <a:pt x="1400240" y="1530683"/>
                      <a:pt x="1230461" y="1554747"/>
                      <a:pt x="1075387" y="1596189"/>
                    </a:cubicBezTo>
                    <a:cubicBezTo>
                      <a:pt x="920313" y="1637631"/>
                      <a:pt x="753209" y="1703136"/>
                      <a:pt x="650272" y="1748589"/>
                    </a:cubicBezTo>
                    <a:cubicBezTo>
                      <a:pt x="547335" y="1794042"/>
                      <a:pt x="520597" y="1810084"/>
                      <a:pt x="457766" y="1868905"/>
                    </a:cubicBezTo>
                    <a:cubicBezTo>
                      <a:pt x="394935" y="1927726"/>
                      <a:pt x="321408" y="2025315"/>
                      <a:pt x="273282" y="2101515"/>
                    </a:cubicBezTo>
                    <a:cubicBezTo>
                      <a:pt x="225156" y="2177715"/>
                      <a:pt x="199755" y="2267284"/>
                      <a:pt x="169008" y="2326105"/>
                    </a:cubicBezTo>
                    <a:cubicBezTo>
                      <a:pt x="138261" y="2384926"/>
                      <a:pt x="115535" y="2366211"/>
                      <a:pt x="88798" y="2454442"/>
                    </a:cubicBezTo>
                    <a:cubicBezTo>
                      <a:pt x="62061" y="2542673"/>
                      <a:pt x="21956" y="2751220"/>
                      <a:pt x="8587" y="2855494"/>
                    </a:cubicBezTo>
                    <a:cubicBezTo>
                      <a:pt x="-4782" y="2959768"/>
                      <a:pt x="-771" y="3017253"/>
                      <a:pt x="8587" y="3080084"/>
                    </a:cubicBezTo>
                    <a:cubicBezTo>
                      <a:pt x="17945" y="3142915"/>
                      <a:pt x="55377" y="3173663"/>
                      <a:pt x="64735" y="3232484"/>
                    </a:cubicBezTo>
                    <a:cubicBezTo>
                      <a:pt x="74093" y="3291305"/>
                      <a:pt x="55377" y="3391568"/>
                      <a:pt x="64735" y="3433010"/>
                    </a:cubicBezTo>
                    <a:cubicBezTo>
                      <a:pt x="74093" y="3474452"/>
                      <a:pt x="74092" y="3453062"/>
                      <a:pt x="120882" y="3481136"/>
                    </a:cubicBezTo>
                    <a:cubicBezTo>
                      <a:pt x="167671" y="3509210"/>
                      <a:pt x="247883" y="3569368"/>
                      <a:pt x="345472" y="3601452"/>
                    </a:cubicBezTo>
                    <a:cubicBezTo>
                      <a:pt x="443061" y="3633536"/>
                      <a:pt x="588777" y="3657600"/>
                      <a:pt x="706419" y="3673642"/>
                    </a:cubicBezTo>
                    <a:cubicBezTo>
                      <a:pt x="824061" y="3689684"/>
                      <a:pt x="960419" y="3688347"/>
                      <a:pt x="1051324" y="3697705"/>
                    </a:cubicBezTo>
                    <a:cubicBezTo>
                      <a:pt x="1142229" y="3707063"/>
                      <a:pt x="1214418" y="3729789"/>
                      <a:pt x="1251850" y="3729789"/>
                    </a:cubicBezTo>
                    <a:cubicBezTo>
                      <a:pt x="1289282" y="3729789"/>
                      <a:pt x="1273240" y="3739147"/>
                      <a:pt x="1275914" y="3697705"/>
                    </a:cubicBezTo>
                    <a:cubicBezTo>
                      <a:pt x="1278588" y="3656263"/>
                      <a:pt x="1259872" y="3553325"/>
                      <a:pt x="1259872" y="3489157"/>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83" name="Oval 1282"/>
              <p:cNvSpPr/>
              <p:nvPr/>
            </p:nvSpPr>
            <p:spPr bwMode="auto">
              <a:xfrm flipH="1">
                <a:off x="8775259" y="5157461"/>
                <a:ext cx="256106" cy="256106"/>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84" name="Oval 1283"/>
              <p:cNvSpPr/>
              <p:nvPr/>
            </p:nvSpPr>
            <p:spPr bwMode="auto">
              <a:xfrm flipH="1">
                <a:off x="7723348" y="5157461"/>
                <a:ext cx="256106" cy="256106"/>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85" name="Oval 1284"/>
              <p:cNvSpPr/>
              <p:nvPr/>
            </p:nvSpPr>
            <p:spPr bwMode="auto">
              <a:xfrm flipH="1">
                <a:off x="8821350" y="5206792"/>
                <a:ext cx="168252" cy="168253"/>
              </a:xfrm>
              <a:prstGeom prst="ellipse">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86" name="Oval 1285"/>
              <p:cNvSpPr/>
              <p:nvPr/>
            </p:nvSpPr>
            <p:spPr bwMode="auto">
              <a:xfrm flipH="1">
                <a:off x="7766777" y="5206792"/>
                <a:ext cx="168252" cy="168253"/>
              </a:xfrm>
              <a:prstGeom prst="ellipse">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87" name="Freeform 1286"/>
              <p:cNvSpPr/>
              <p:nvPr/>
            </p:nvSpPr>
            <p:spPr bwMode="auto">
              <a:xfrm flipH="1">
                <a:off x="8306817" y="5071915"/>
                <a:ext cx="96324" cy="16234"/>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88" name="Freeform 1287"/>
              <p:cNvSpPr/>
              <p:nvPr/>
            </p:nvSpPr>
            <p:spPr bwMode="auto">
              <a:xfrm flipH="1">
                <a:off x="7924429" y="5055535"/>
                <a:ext cx="96324" cy="16234"/>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89" name="Freeform 1288"/>
              <p:cNvSpPr/>
              <p:nvPr/>
            </p:nvSpPr>
            <p:spPr bwMode="auto">
              <a:xfrm flipH="1">
                <a:off x="7866789" y="4860630"/>
                <a:ext cx="843828" cy="189650"/>
              </a:xfrm>
              <a:custGeom>
                <a:avLst/>
                <a:gdLst>
                  <a:gd name="connsiteX0" fmla="*/ 193076 w 6255901"/>
                  <a:gd name="connsiteY0" fmla="*/ 1164815 h 1405533"/>
                  <a:gd name="connsiteX1" fmla="*/ 393602 w 6255901"/>
                  <a:gd name="connsiteY1" fmla="*/ 1004394 h 1405533"/>
                  <a:gd name="connsiteX2" fmla="*/ 690381 w 6255901"/>
                  <a:gd name="connsiteY2" fmla="*/ 827931 h 1405533"/>
                  <a:gd name="connsiteX3" fmla="*/ 1059350 w 6255901"/>
                  <a:gd name="connsiteY3" fmla="*/ 611363 h 1405533"/>
                  <a:gd name="connsiteX4" fmla="*/ 1468423 w 6255901"/>
                  <a:gd name="connsiteY4" fmla="*/ 378752 h 1405533"/>
                  <a:gd name="connsiteX5" fmla="*/ 1749160 w 6255901"/>
                  <a:gd name="connsiteY5" fmla="*/ 250415 h 1405533"/>
                  <a:gd name="connsiteX6" fmla="*/ 2158234 w 6255901"/>
                  <a:gd name="connsiteY6" fmla="*/ 138121 h 1405533"/>
                  <a:gd name="connsiteX7" fmla="*/ 2799918 w 6255901"/>
                  <a:gd name="connsiteY7" fmla="*/ 33847 h 1405533"/>
                  <a:gd name="connsiteX8" fmla="*/ 3305244 w 6255901"/>
                  <a:gd name="connsiteY8" fmla="*/ 9784 h 1405533"/>
                  <a:gd name="connsiteX9" fmla="*/ 3834634 w 6255901"/>
                  <a:gd name="connsiteY9" fmla="*/ 1763 h 1405533"/>
                  <a:gd name="connsiteX10" fmla="*/ 4508402 w 6255901"/>
                  <a:gd name="connsiteY10" fmla="*/ 41868 h 1405533"/>
                  <a:gd name="connsiteX11" fmla="*/ 5206234 w 6255901"/>
                  <a:gd name="connsiteY11" fmla="*/ 146142 h 1405533"/>
                  <a:gd name="connsiteX12" fmla="*/ 5687497 w 6255901"/>
                  <a:gd name="connsiteY12" fmla="*/ 298542 h 1405533"/>
                  <a:gd name="connsiteX13" fmla="*/ 6088550 w 6255901"/>
                  <a:gd name="connsiteY13" fmla="*/ 475005 h 1405533"/>
                  <a:gd name="connsiteX14" fmla="*/ 6224907 w 6255901"/>
                  <a:gd name="connsiteY14" fmla="*/ 563237 h 1405533"/>
                  <a:gd name="connsiteX15" fmla="*/ 6248971 w 6255901"/>
                  <a:gd name="connsiteY15" fmla="*/ 707615 h 1405533"/>
                  <a:gd name="connsiteX16" fmla="*/ 6128655 w 6255901"/>
                  <a:gd name="connsiteY16" fmla="*/ 1044500 h 1405533"/>
                  <a:gd name="connsiteX17" fmla="*/ 6120634 w 6255901"/>
                  <a:gd name="connsiteY17" fmla="*/ 1100647 h 1405533"/>
                  <a:gd name="connsiteX18" fmla="*/ 6032402 w 6255901"/>
                  <a:gd name="connsiteY18" fmla="*/ 1108668 h 1405533"/>
                  <a:gd name="connsiteX19" fmla="*/ 5326550 w 6255901"/>
                  <a:gd name="connsiteY19" fmla="*/ 1148773 h 1405533"/>
                  <a:gd name="connsiteX20" fmla="*/ 3979013 w 6255901"/>
                  <a:gd name="connsiteY20" fmla="*/ 1196900 h 1405533"/>
                  <a:gd name="connsiteX21" fmla="*/ 3192950 w 6255901"/>
                  <a:gd name="connsiteY21" fmla="*/ 1237005 h 1405533"/>
                  <a:gd name="connsiteX22" fmla="*/ 2053960 w 6255901"/>
                  <a:gd name="connsiteY22" fmla="*/ 1285131 h 1405533"/>
                  <a:gd name="connsiteX23" fmla="*/ 1059350 w 6255901"/>
                  <a:gd name="connsiteY23" fmla="*/ 1341279 h 1405533"/>
                  <a:gd name="connsiteX24" fmla="*/ 489855 w 6255901"/>
                  <a:gd name="connsiteY24" fmla="*/ 1373363 h 1405533"/>
                  <a:gd name="connsiteX25" fmla="*/ 120886 w 6255901"/>
                  <a:gd name="connsiteY25" fmla="*/ 1397426 h 1405533"/>
                  <a:gd name="connsiteX26" fmla="*/ 571 w 6255901"/>
                  <a:gd name="connsiteY26" fmla="*/ 1397426 h 1405533"/>
                  <a:gd name="connsiteX27" fmla="*/ 80781 w 6255901"/>
                  <a:gd name="connsiteY27" fmla="*/ 1301173 h 1405533"/>
                  <a:gd name="connsiteX28" fmla="*/ 193076 w 6255901"/>
                  <a:gd name="connsiteY28" fmla="*/ 1164815 h 1405533"/>
                  <a:gd name="connsiteX0" fmla="*/ 193286 w 6256111"/>
                  <a:gd name="connsiteY0" fmla="*/ 1164815 h 1405533"/>
                  <a:gd name="connsiteX1" fmla="*/ 393812 w 6256111"/>
                  <a:gd name="connsiteY1" fmla="*/ 1004394 h 1405533"/>
                  <a:gd name="connsiteX2" fmla="*/ 690591 w 6256111"/>
                  <a:gd name="connsiteY2" fmla="*/ 827931 h 1405533"/>
                  <a:gd name="connsiteX3" fmla="*/ 1059560 w 6256111"/>
                  <a:gd name="connsiteY3" fmla="*/ 611363 h 1405533"/>
                  <a:gd name="connsiteX4" fmla="*/ 1468633 w 6256111"/>
                  <a:gd name="connsiteY4" fmla="*/ 378752 h 1405533"/>
                  <a:gd name="connsiteX5" fmla="*/ 1749370 w 6256111"/>
                  <a:gd name="connsiteY5" fmla="*/ 250415 h 1405533"/>
                  <a:gd name="connsiteX6" fmla="*/ 2158444 w 6256111"/>
                  <a:gd name="connsiteY6" fmla="*/ 138121 h 1405533"/>
                  <a:gd name="connsiteX7" fmla="*/ 2800128 w 6256111"/>
                  <a:gd name="connsiteY7" fmla="*/ 33847 h 1405533"/>
                  <a:gd name="connsiteX8" fmla="*/ 3305454 w 6256111"/>
                  <a:gd name="connsiteY8" fmla="*/ 9784 h 1405533"/>
                  <a:gd name="connsiteX9" fmla="*/ 3834844 w 6256111"/>
                  <a:gd name="connsiteY9" fmla="*/ 1763 h 1405533"/>
                  <a:gd name="connsiteX10" fmla="*/ 4508612 w 6256111"/>
                  <a:gd name="connsiteY10" fmla="*/ 41868 h 1405533"/>
                  <a:gd name="connsiteX11" fmla="*/ 5206444 w 6256111"/>
                  <a:gd name="connsiteY11" fmla="*/ 146142 h 1405533"/>
                  <a:gd name="connsiteX12" fmla="*/ 5687707 w 6256111"/>
                  <a:gd name="connsiteY12" fmla="*/ 298542 h 1405533"/>
                  <a:gd name="connsiteX13" fmla="*/ 6088760 w 6256111"/>
                  <a:gd name="connsiteY13" fmla="*/ 475005 h 1405533"/>
                  <a:gd name="connsiteX14" fmla="*/ 6225117 w 6256111"/>
                  <a:gd name="connsiteY14" fmla="*/ 563237 h 1405533"/>
                  <a:gd name="connsiteX15" fmla="*/ 6249181 w 6256111"/>
                  <a:gd name="connsiteY15" fmla="*/ 707615 h 1405533"/>
                  <a:gd name="connsiteX16" fmla="*/ 6128865 w 6256111"/>
                  <a:gd name="connsiteY16" fmla="*/ 1044500 h 1405533"/>
                  <a:gd name="connsiteX17" fmla="*/ 6120844 w 6256111"/>
                  <a:gd name="connsiteY17" fmla="*/ 1100647 h 1405533"/>
                  <a:gd name="connsiteX18" fmla="*/ 6032612 w 6256111"/>
                  <a:gd name="connsiteY18" fmla="*/ 1108668 h 1405533"/>
                  <a:gd name="connsiteX19" fmla="*/ 5326760 w 6256111"/>
                  <a:gd name="connsiteY19" fmla="*/ 1148773 h 1405533"/>
                  <a:gd name="connsiteX20" fmla="*/ 3979223 w 6256111"/>
                  <a:gd name="connsiteY20" fmla="*/ 1196900 h 1405533"/>
                  <a:gd name="connsiteX21" fmla="*/ 3193160 w 6256111"/>
                  <a:gd name="connsiteY21" fmla="*/ 1237005 h 1405533"/>
                  <a:gd name="connsiteX22" fmla="*/ 2054170 w 6256111"/>
                  <a:gd name="connsiteY22" fmla="*/ 1285131 h 1405533"/>
                  <a:gd name="connsiteX23" fmla="*/ 1059560 w 6256111"/>
                  <a:gd name="connsiteY23" fmla="*/ 1341279 h 1405533"/>
                  <a:gd name="connsiteX24" fmla="*/ 490065 w 6256111"/>
                  <a:gd name="connsiteY24" fmla="*/ 1373363 h 1405533"/>
                  <a:gd name="connsiteX25" fmla="*/ 121096 w 6256111"/>
                  <a:gd name="connsiteY25" fmla="*/ 1397426 h 1405533"/>
                  <a:gd name="connsiteX26" fmla="*/ 781 w 6256111"/>
                  <a:gd name="connsiteY26" fmla="*/ 1397426 h 1405533"/>
                  <a:gd name="connsiteX27" fmla="*/ 64949 w 6256111"/>
                  <a:gd name="connsiteY27" fmla="*/ 1277110 h 1405533"/>
                  <a:gd name="connsiteX28" fmla="*/ 193286 w 6256111"/>
                  <a:gd name="connsiteY28" fmla="*/ 1164815 h 1405533"/>
                  <a:gd name="connsiteX0" fmla="*/ 193286 w 6253764"/>
                  <a:gd name="connsiteY0" fmla="*/ 1164815 h 1405533"/>
                  <a:gd name="connsiteX1" fmla="*/ 393812 w 6253764"/>
                  <a:gd name="connsiteY1" fmla="*/ 1004394 h 1405533"/>
                  <a:gd name="connsiteX2" fmla="*/ 690591 w 6253764"/>
                  <a:gd name="connsiteY2" fmla="*/ 827931 h 1405533"/>
                  <a:gd name="connsiteX3" fmla="*/ 1059560 w 6253764"/>
                  <a:gd name="connsiteY3" fmla="*/ 611363 h 1405533"/>
                  <a:gd name="connsiteX4" fmla="*/ 1468633 w 6253764"/>
                  <a:gd name="connsiteY4" fmla="*/ 378752 h 1405533"/>
                  <a:gd name="connsiteX5" fmla="*/ 1749370 w 6253764"/>
                  <a:gd name="connsiteY5" fmla="*/ 250415 h 1405533"/>
                  <a:gd name="connsiteX6" fmla="*/ 2158444 w 6253764"/>
                  <a:gd name="connsiteY6" fmla="*/ 138121 h 1405533"/>
                  <a:gd name="connsiteX7" fmla="*/ 2800128 w 6253764"/>
                  <a:gd name="connsiteY7" fmla="*/ 33847 h 1405533"/>
                  <a:gd name="connsiteX8" fmla="*/ 3305454 w 6253764"/>
                  <a:gd name="connsiteY8" fmla="*/ 9784 h 1405533"/>
                  <a:gd name="connsiteX9" fmla="*/ 3834844 w 6253764"/>
                  <a:gd name="connsiteY9" fmla="*/ 1763 h 1405533"/>
                  <a:gd name="connsiteX10" fmla="*/ 4508612 w 6253764"/>
                  <a:gd name="connsiteY10" fmla="*/ 41868 h 1405533"/>
                  <a:gd name="connsiteX11" fmla="*/ 5206444 w 6253764"/>
                  <a:gd name="connsiteY11" fmla="*/ 146142 h 1405533"/>
                  <a:gd name="connsiteX12" fmla="*/ 5687707 w 6253764"/>
                  <a:gd name="connsiteY12" fmla="*/ 298542 h 1405533"/>
                  <a:gd name="connsiteX13" fmla="*/ 6088760 w 6253764"/>
                  <a:gd name="connsiteY13" fmla="*/ 475005 h 1405533"/>
                  <a:gd name="connsiteX14" fmla="*/ 6225117 w 6253764"/>
                  <a:gd name="connsiteY14" fmla="*/ 563237 h 1405533"/>
                  <a:gd name="connsiteX15" fmla="*/ 6249181 w 6253764"/>
                  <a:gd name="connsiteY15" fmla="*/ 707615 h 1405533"/>
                  <a:gd name="connsiteX16" fmla="*/ 6160949 w 6253764"/>
                  <a:gd name="connsiteY16" fmla="*/ 1020437 h 1405533"/>
                  <a:gd name="connsiteX17" fmla="*/ 6120844 w 6253764"/>
                  <a:gd name="connsiteY17" fmla="*/ 1100647 h 1405533"/>
                  <a:gd name="connsiteX18" fmla="*/ 6032612 w 6253764"/>
                  <a:gd name="connsiteY18" fmla="*/ 1108668 h 1405533"/>
                  <a:gd name="connsiteX19" fmla="*/ 5326760 w 6253764"/>
                  <a:gd name="connsiteY19" fmla="*/ 1148773 h 1405533"/>
                  <a:gd name="connsiteX20" fmla="*/ 3979223 w 6253764"/>
                  <a:gd name="connsiteY20" fmla="*/ 1196900 h 1405533"/>
                  <a:gd name="connsiteX21" fmla="*/ 3193160 w 6253764"/>
                  <a:gd name="connsiteY21" fmla="*/ 1237005 h 1405533"/>
                  <a:gd name="connsiteX22" fmla="*/ 2054170 w 6253764"/>
                  <a:gd name="connsiteY22" fmla="*/ 1285131 h 1405533"/>
                  <a:gd name="connsiteX23" fmla="*/ 1059560 w 6253764"/>
                  <a:gd name="connsiteY23" fmla="*/ 1341279 h 1405533"/>
                  <a:gd name="connsiteX24" fmla="*/ 490065 w 6253764"/>
                  <a:gd name="connsiteY24" fmla="*/ 1373363 h 1405533"/>
                  <a:gd name="connsiteX25" fmla="*/ 121096 w 6253764"/>
                  <a:gd name="connsiteY25" fmla="*/ 1397426 h 1405533"/>
                  <a:gd name="connsiteX26" fmla="*/ 781 w 6253764"/>
                  <a:gd name="connsiteY26" fmla="*/ 1397426 h 1405533"/>
                  <a:gd name="connsiteX27" fmla="*/ 64949 w 6253764"/>
                  <a:gd name="connsiteY27" fmla="*/ 1277110 h 1405533"/>
                  <a:gd name="connsiteX28" fmla="*/ 193286 w 6253764"/>
                  <a:gd name="connsiteY28" fmla="*/ 1164815 h 140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53764" h="1405533">
                    <a:moveTo>
                      <a:pt x="193286" y="1164815"/>
                    </a:moveTo>
                    <a:cubicBezTo>
                      <a:pt x="248096" y="1119362"/>
                      <a:pt x="310928" y="1060541"/>
                      <a:pt x="393812" y="1004394"/>
                    </a:cubicBezTo>
                    <a:cubicBezTo>
                      <a:pt x="476696" y="948247"/>
                      <a:pt x="690591" y="827931"/>
                      <a:pt x="690591" y="827931"/>
                    </a:cubicBezTo>
                    <a:lnTo>
                      <a:pt x="1059560" y="611363"/>
                    </a:lnTo>
                    <a:cubicBezTo>
                      <a:pt x="1189234" y="536500"/>
                      <a:pt x="1353665" y="438910"/>
                      <a:pt x="1468633" y="378752"/>
                    </a:cubicBezTo>
                    <a:cubicBezTo>
                      <a:pt x="1583601" y="318594"/>
                      <a:pt x="1634402" y="290520"/>
                      <a:pt x="1749370" y="250415"/>
                    </a:cubicBezTo>
                    <a:cubicBezTo>
                      <a:pt x="1864339" y="210310"/>
                      <a:pt x="1983318" y="174216"/>
                      <a:pt x="2158444" y="138121"/>
                    </a:cubicBezTo>
                    <a:cubicBezTo>
                      <a:pt x="2333570" y="102026"/>
                      <a:pt x="2608960" y="55236"/>
                      <a:pt x="2800128" y="33847"/>
                    </a:cubicBezTo>
                    <a:cubicBezTo>
                      <a:pt x="2991296" y="12457"/>
                      <a:pt x="3133001" y="15131"/>
                      <a:pt x="3305454" y="9784"/>
                    </a:cubicBezTo>
                    <a:cubicBezTo>
                      <a:pt x="3477907" y="4437"/>
                      <a:pt x="3634318" y="-3584"/>
                      <a:pt x="3834844" y="1763"/>
                    </a:cubicBezTo>
                    <a:cubicBezTo>
                      <a:pt x="4035370" y="7110"/>
                      <a:pt x="4280012" y="17805"/>
                      <a:pt x="4508612" y="41868"/>
                    </a:cubicBezTo>
                    <a:cubicBezTo>
                      <a:pt x="4737212" y="65931"/>
                      <a:pt x="5009928" y="103363"/>
                      <a:pt x="5206444" y="146142"/>
                    </a:cubicBezTo>
                    <a:cubicBezTo>
                      <a:pt x="5402960" y="188921"/>
                      <a:pt x="5540654" y="243731"/>
                      <a:pt x="5687707" y="298542"/>
                    </a:cubicBezTo>
                    <a:cubicBezTo>
                      <a:pt x="5834760" y="353352"/>
                      <a:pt x="5999192" y="430889"/>
                      <a:pt x="6088760" y="475005"/>
                    </a:cubicBezTo>
                    <a:cubicBezTo>
                      <a:pt x="6178328" y="519121"/>
                      <a:pt x="6198380" y="524469"/>
                      <a:pt x="6225117" y="563237"/>
                    </a:cubicBezTo>
                    <a:cubicBezTo>
                      <a:pt x="6251854" y="602005"/>
                      <a:pt x="6259876" y="631415"/>
                      <a:pt x="6249181" y="707615"/>
                    </a:cubicBezTo>
                    <a:cubicBezTo>
                      <a:pt x="6238486" y="783815"/>
                      <a:pt x="6182338" y="954932"/>
                      <a:pt x="6160949" y="1020437"/>
                    </a:cubicBezTo>
                    <a:cubicBezTo>
                      <a:pt x="6139560" y="1085942"/>
                      <a:pt x="6142234" y="1085942"/>
                      <a:pt x="6120844" y="1100647"/>
                    </a:cubicBezTo>
                    <a:cubicBezTo>
                      <a:pt x="6099455" y="1115352"/>
                      <a:pt x="6032612" y="1108668"/>
                      <a:pt x="6032612" y="1108668"/>
                    </a:cubicBezTo>
                    <a:lnTo>
                      <a:pt x="5326760" y="1148773"/>
                    </a:lnTo>
                    <a:lnTo>
                      <a:pt x="3979223" y="1196900"/>
                    </a:lnTo>
                    <a:lnTo>
                      <a:pt x="3193160" y="1237005"/>
                    </a:lnTo>
                    <a:lnTo>
                      <a:pt x="2054170" y="1285131"/>
                    </a:lnTo>
                    <a:lnTo>
                      <a:pt x="1059560" y="1341279"/>
                    </a:lnTo>
                    <a:lnTo>
                      <a:pt x="490065" y="1373363"/>
                    </a:lnTo>
                    <a:lnTo>
                      <a:pt x="121096" y="1397426"/>
                    </a:lnTo>
                    <a:cubicBezTo>
                      <a:pt x="39549" y="1401437"/>
                      <a:pt x="7465" y="1413468"/>
                      <a:pt x="781" y="1397426"/>
                    </a:cubicBezTo>
                    <a:cubicBezTo>
                      <a:pt x="-5903" y="1381384"/>
                      <a:pt x="31528" y="1313205"/>
                      <a:pt x="64949" y="1277110"/>
                    </a:cubicBezTo>
                    <a:cubicBezTo>
                      <a:pt x="98370" y="1241015"/>
                      <a:pt x="138476" y="1210268"/>
                      <a:pt x="193286" y="1164815"/>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0" name="Freeform 1289"/>
              <p:cNvSpPr/>
              <p:nvPr/>
            </p:nvSpPr>
            <p:spPr bwMode="auto">
              <a:xfrm flipH="1">
                <a:off x="8239123" y="4861043"/>
                <a:ext cx="81225" cy="168392"/>
              </a:xfrm>
              <a:custGeom>
                <a:avLst/>
                <a:gdLst>
                  <a:gd name="connsiteX0" fmla="*/ 0 w 572756"/>
                  <a:gd name="connsiteY0" fmla="*/ 1175657 h 1175657"/>
                  <a:gd name="connsiteX1" fmla="*/ 502417 w 572756"/>
                  <a:gd name="connsiteY1" fmla="*/ 1145512 h 1175657"/>
                  <a:gd name="connsiteX2" fmla="*/ 572756 w 572756"/>
                  <a:gd name="connsiteY2" fmla="*/ 0 h 1175657"/>
                  <a:gd name="connsiteX3" fmla="*/ 291402 w 572756"/>
                  <a:gd name="connsiteY3" fmla="*/ 0 h 1175657"/>
                  <a:gd name="connsiteX4" fmla="*/ 0 w 572756"/>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56" h="1175657">
                    <a:moveTo>
                      <a:pt x="0" y="1175657"/>
                    </a:moveTo>
                    <a:lnTo>
                      <a:pt x="502417" y="1145512"/>
                    </a:lnTo>
                    <a:lnTo>
                      <a:pt x="572756" y="0"/>
                    </a:lnTo>
                    <a:lnTo>
                      <a:pt x="291402" y="0"/>
                    </a:lnTo>
                    <a:lnTo>
                      <a:pt x="0" y="1175657"/>
                    </a:ln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1" name="Freeform 1290"/>
              <p:cNvSpPr/>
              <p:nvPr/>
            </p:nvSpPr>
            <p:spPr bwMode="auto">
              <a:xfrm flipH="1">
                <a:off x="7499356" y="5141171"/>
                <a:ext cx="214397" cy="181015"/>
              </a:xfrm>
              <a:custGeom>
                <a:avLst/>
                <a:gdLst>
                  <a:gd name="connsiteX0" fmla="*/ 64396 w 1588934"/>
                  <a:gd name="connsiteY0" fmla="*/ 1339593 h 1341534"/>
                  <a:gd name="connsiteX1" fmla="*/ 208775 w 1588934"/>
                  <a:gd name="connsiteY1" fmla="*/ 1307509 h 1341534"/>
                  <a:gd name="connsiteX2" fmla="*/ 329091 w 1588934"/>
                  <a:gd name="connsiteY2" fmla="*/ 1251362 h 1341534"/>
                  <a:gd name="connsiteX3" fmla="*/ 561702 w 1588934"/>
                  <a:gd name="connsiteY3" fmla="*/ 1179172 h 1341534"/>
                  <a:gd name="connsiteX4" fmla="*/ 890565 w 1588934"/>
                  <a:gd name="connsiteY4" fmla="*/ 1131046 h 1341534"/>
                  <a:gd name="connsiteX5" fmla="*/ 1123175 w 1588934"/>
                  <a:gd name="connsiteY5" fmla="*/ 1098962 h 1341534"/>
                  <a:gd name="connsiteX6" fmla="*/ 1355786 w 1588934"/>
                  <a:gd name="connsiteY6" fmla="*/ 1058856 h 1341534"/>
                  <a:gd name="connsiteX7" fmla="*/ 1419954 w 1588934"/>
                  <a:gd name="connsiteY7" fmla="*/ 1010730 h 1341534"/>
                  <a:gd name="connsiteX8" fmla="*/ 1444018 w 1588934"/>
                  <a:gd name="connsiteY8" fmla="*/ 946562 h 1341534"/>
                  <a:gd name="connsiteX9" fmla="*/ 1484123 w 1588934"/>
                  <a:gd name="connsiteY9" fmla="*/ 930520 h 1341534"/>
                  <a:gd name="connsiteX10" fmla="*/ 1508186 w 1588934"/>
                  <a:gd name="connsiteY10" fmla="*/ 818225 h 1341534"/>
                  <a:gd name="connsiteX11" fmla="*/ 1564333 w 1588934"/>
                  <a:gd name="connsiteY11" fmla="*/ 697909 h 1341534"/>
                  <a:gd name="connsiteX12" fmla="*/ 1588396 w 1588934"/>
                  <a:gd name="connsiteY12" fmla="*/ 401130 h 1341534"/>
                  <a:gd name="connsiteX13" fmla="*/ 1580375 w 1588934"/>
                  <a:gd name="connsiteY13" fmla="*/ 56225 h 1341534"/>
                  <a:gd name="connsiteX14" fmla="*/ 1572354 w 1588934"/>
                  <a:gd name="connsiteY14" fmla="*/ 77 h 1341534"/>
                  <a:gd name="connsiteX15" fmla="*/ 1532249 w 1588934"/>
                  <a:gd name="connsiteY15" fmla="*/ 48204 h 1341534"/>
                  <a:gd name="connsiteX16" fmla="*/ 1395891 w 1588934"/>
                  <a:gd name="connsiteY16" fmla="*/ 72267 h 1341534"/>
                  <a:gd name="connsiteX17" fmla="*/ 1099112 w 1588934"/>
                  <a:gd name="connsiteY17" fmla="*/ 96330 h 1341534"/>
                  <a:gd name="connsiteX18" fmla="*/ 770249 w 1588934"/>
                  <a:gd name="connsiteY18" fmla="*/ 104351 h 1341534"/>
                  <a:gd name="connsiteX19" fmla="*/ 553681 w 1588934"/>
                  <a:gd name="connsiteY19" fmla="*/ 120393 h 1341534"/>
                  <a:gd name="connsiteX20" fmla="*/ 409302 w 1588934"/>
                  <a:gd name="connsiteY20" fmla="*/ 144456 h 1341534"/>
                  <a:gd name="connsiteX21" fmla="*/ 369196 w 1588934"/>
                  <a:gd name="connsiteY21" fmla="*/ 224667 h 1341534"/>
                  <a:gd name="connsiteX22" fmla="*/ 353154 w 1588934"/>
                  <a:gd name="connsiteY22" fmla="*/ 296856 h 1341534"/>
                  <a:gd name="connsiteX23" fmla="*/ 345133 w 1588934"/>
                  <a:gd name="connsiteY23" fmla="*/ 361025 h 1341534"/>
                  <a:gd name="connsiteX24" fmla="*/ 224818 w 1588934"/>
                  <a:gd name="connsiteY24" fmla="*/ 401130 h 1341534"/>
                  <a:gd name="connsiteX25" fmla="*/ 136586 w 1588934"/>
                  <a:gd name="connsiteY25" fmla="*/ 409151 h 1341534"/>
                  <a:gd name="connsiteX26" fmla="*/ 48354 w 1588934"/>
                  <a:gd name="connsiteY26" fmla="*/ 457277 h 1341534"/>
                  <a:gd name="connsiteX27" fmla="*/ 228 w 1588934"/>
                  <a:gd name="connsiteY27" fmla="*/ 529467 h 1341534"/>
                  <a:gd name="connsiteX28" fmla="*/ 32312 w 1588934"/>
                  <a:gd name="connsiteY28" fmla="*/ 569572 h 1341534"/>
                  <a:gd name="connsiteX29" fmla="*/ 80439 w 1588934"/>
                  <a:gd name="connsiteY29" fmla="*/ 786141 h 1341534"/>
                  <a:gd name="connsiteX30" fmla="*/ 96481 w 1588934"/>
                  <a:gd name="connsiteY30" fmla="*/ 1090941 h 1341534"/>
                  <a:gd name="connsiteX31" fmla="*/ 80439 w 1588934"/>
                  <a:gd name="connsiteY31" fmla="*/ 1251362 h 1341534"/>
                  <a:gd name="connsiteX32" fmla="*/ 64396 w 1588934"/>
                  <a:gd name="connsiteY32" fmla="*/ 1339593 h 13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8934" h="1341534">
                    <a:moveTo>
                      <a:pt x="64396" y="1339593"/>
                    </a:moveTo>
                    <a:cubicBezTo>
                      <a:pt x="85785" y="1348951"/>
                      <a:pt x="164659" y="1322214"/>
                      <a:pt x="208775" y="1307509"/>
                    </a:cubicBezTo>
                    <a:cubicBezTo>
                      <a:pt x="252891" y="1292804"/>
                      <a:pt x="270270" y="1272751"/>
                      <a:pt x="329091" y="1251362"/>
                    </a:cubicBezTo>
                    <a:cubicBezTo>
                      <a:pt x="387912" y="1229973"/>
                      <a:pt x="468123" y="1199225"/>
                      <a:pt x="561702" y="1179172"/>
                    </a:cubicBezTo>
                    <a:cubicBezTo>
                      <a:pt x="655281" y="1159119"/>
                      <a:pt x="890565" y="1131046"/>
                      <a:pt x="890565" y="1131046"/>
                    </a:cubicBezTo>
                    <a:lnTo>
                      <a:pt x="1123175" y="1098962"/>
                    </a:lnTo>
                    <a:cubicBezTo>
                      <a:pt x="1200712" y="1086930"/>
                      <a:pt x="1306323" y="1073561"/>
                      <a:pt x="1355786" y="1058856"/>
                    </a:cubicBezTo>
                    <a:cubicBezTo>
                      <a:pt x="1405249" y="1044151"/>
                      <a:pt x="1405249" y="1029446"/>
                      <a:pt x="1419954" y="1010730"/>
                    </a:cubicBezTo>
                    <a:cubicBezTo>
                      <a:pt x="1434659" y="992014"/>
                      <a:pt x="1433323" y="959930"/>
                      <a:pt x="1444018" y="946562"/>
                    </a:cubicBezTo>
                    <a:cubicBezTo>
                      <a:pt x="1454713" y="933194"/>
                      <a:pt x="1473428" y="951909"/>
                      <a:pt x="1484123" y="930520"/>
                    </a:cubicBezTo>
                    <a:cubicBezTo>
                      <a:pt x="1494818" y="909131"/>
                      <a:pt x="1494818" y="856993"/>
                      <a:pt x="1508186" y="818225"/>
                    </a:cubicBezTo>
                    <a:cubicBezTo>
                      <a:pt x="1521554" y="779457"/>
                      <a:pt x="1550965" y="767425"/>
                      <a:pt x="1564333" y="697909"/>
                    </a:cubicBezTo>
                    <a:cubicBezTo>
                      <a:pt x="1577701" y="628393"/>
                      <a:pt x="1585722" y="508077"/>
                      <a:pt x="1588396" y="401130"/>
                    </a:cubicBezTo>
                    <a:cubicBezTo>
                      <a:pt x="1591070" y="294183"/>
                      <a:pt x="1583049" y="123067"/>
                      <a:pt x="1580375" y="56225"/>
                    </a:cubicBezTo>
                    <a:cubicBezTo>
                      <a:pt x="1577701" y="-10617"/>
                      <a:pt x="1580375" y="1414"/>
                      <a:pt x="1572354" y="77"/>
                    </a:cubicBezTo>
                    <a:cubicBezTo>
                      <a:pt x="1564333" y="-1260"/>
                      <a:pt x="1561660" y="36172"/>
                      <a:pt x="1532249" y="48204"/>
                    </a:cubicBezTo>
                    <a:cubicBezTo>
                      <a:pt x="1502839" y="60236"/>
                      <a:pt x="1468080" y="64246"/>
                      <a:pt x="1395891" y="72267"/>
                    </a:cubicBezTo>
                    <a:cubicBezTo>
                      <a:pt x="1323702" y="80288"/>
                      <a:pt x="1203386" y="90983"/>
                      <a:pt x="1099112" y="96330"/>
                    </a:cubicBezTo>
                    <a:cubicBezTo>
                      <a:pt x="994838" y="101677"/>
                      <a:pt x="861154" y="100340"/>
                      <a:pt x="770249" y="104351"/>
                    </a:cubicBezTo>
                    <a:cubicBezTo>
                      <a:pt x="679344" y="108361"/>
                      <a:pt x="613839" y="113709"/>
                      <a:pt x="553681" y="120393"/>
                    </a:cubicBezTo>
                    <a:cubicBezTo>
                      <a:pt x="493523" y="127077"/>
                      <a:pt x="440050" y="127077"/>
                      <a:pt x="409302" y="144456"/>
                    </a:cubicBezTo>
                    <a:cubicBezTo>
                      <a:pt x="378555" y="161835"/>
                      <a:pt x="378554" y="199267"/>
                      <a:pt x="369196" y="224667"/>
                    </a:cubicBezTo>
                    <a:cubicBezTo>
                      <a:pt x="359838" y="250067"/>
                      <a:pt x="357164" y="274130"/>
                      <a:pt x="353154" y="296856"/>
                    </a:cubicBezTo>
                    <a:cubicBezTo>
                      <a:pt x="349144" y="319582"/>
                      <a:pt x="366522" y="343646"/>
                      <a:pt x="345133" y="361025"/>
                    </a:cubicBezTo>
                    <a:cubicBezTo>
                      <a:pt x="323744" y="378404"/>
                      <a:pt x="259576" y="393109"/>
                      <a:pt x="224818" y="401130"/>
                    </a:cubicBezTo>
                    <a:cubicBezTo>
                      <a:pt x="190060" y="409151"/>
                      <a:pt x="165997" y="399793"/>
                      <a:pt x="136586" y="409151"/>
                    </a:cubicBezTo>
                    <a:cubicBezTo>
                      <a:pt x="107175" y="418509"/>
                      <a:pt x="71080" y="437224"/>
                      <a:pt x="48354" y="457277"/>
                    </a:cubicBezTo>
                    <a:cubicBezTo>
                      <a:pt x="25628" y="477330"/>
                      <a:pt x="2902" y="510751"/>
                      <a:pt x="228" y="529467"/>
                    </a:cubicBezTo>
                    <a:cubicBezTo>
                      <a:pt x="-2446" y="548183"/>
                      <a:pt x="18944" y="526793"/>
                      <a:pt x="32312" y="569572"/>
                    </a:cubicBezTo>
                    <a:cubicBezTo>
                      <a:pt x="45680" y="612351"/>
                      <a:pt x="69744" y="699246"/>
                      <a:pt x="80439" y="786141"/>
                    </a:cubicBezTo>
                    <a:cubicBezTo>
                      <a:pt x="91134" y="873036"/>
                      <a:pt x="96481" y="1013404"/>
                      <a:pt x="96481" y="1090941"/>
                    </a:cubicBezTo>
                    <a:cubicBezTo>
                      <a:pt x="96481" y="1168478"/>
                      <a:pt x="83113" y="1211257"/>
                      <a:pt x="80439" y="1251362"/>
                    </a:cubicBezTo>
                    <a:cubicBezTo>
                      <a:pt x="77765" y="1291467"/>
                      <a:pt x="43007" y="1330235"/>
                      <a:pt x="64396" y="1339593"/>
                    </a:cubicBez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2" name="Freeform 1291"/>
              <p:cNvSpPr/>
              <p:nvPr/>
            </p:nvSpPr>
            <p:spPr bwMode="auto">
              <a:xfrm flipH="1">
                <a:off x="7957237" y="5119536"/>
                <a:ext cx="812800" cy="225117"/>
              </a:xfrm>
              <a:custGeom>
                <a:avLst/>
                <a:gdLst>
                  <a:gd name="connsiteX0" fmla="*/ 914400 w 6023810"/>
                  <a:gd name="connsiteY0" fmla="*/ 1588169 h 1668379"/>
                  <a:gd name="connsiteX1" fmla="*/ 3248526 w 6023810"/>
                  <a:gd name="connsiteY1" fmla="*/ 1604211 h 1668379"/>
                  <a:gd name="connsiteX2" fmla="*/ 5069305 w 6023810"/>
                  <a:gd name="connsiteY2" fmla="*/ 1612232 h 1668379"/>
                  <a:gd name="connsiteX3" fmla="*/ 5670884 w 6023810"/>
                  <a:gd name="connsiteY3" fmla="*/ 1620253 h 1668379"/>
                  <a:gd name="connsiteX4" fmla="*/ 5719010 w 6023810"/>
                  <a:gd name="connsiteY4" fmla="*/ 1620253 h 1668379"/>
                  <a:gd name="connsiteX5" fmla="*/ 5719010 w 6023810"/>
                  <a:gd name="connsiteY5" fmla="*/ 1499937 h 1668379"/>
                  <a:gd name="connsiteX6" fmla="*/ 5719010 w 6023810"/>
                  <a:gd name="connsiteY6" fmla="*/ 1307432 h 1668379"/>
                  <a:gd name="connsiteX7" fmla="*/ 5759115 w 6023810"/>
                  <a:gd name="connsiteY7" fmla="*/ 1034716 h 1668379"/>
                  <a:gd name="connsiteX8" fmla="*/ 5839326 w 6023810"/>
                  <a:gd name="connsiteY8" fmla="*/ 770021 h 1668379"/>
                  <a:gd name="connsiteX9" fmla="*/ 5919537 w 6023810"/>
                  <a:gd name="connsiteY9" fmla="*/ 609600 h 1668379"/>
                  <a:gd name="connsiteX10" fmla="*/ 6023810 w 6023810"/>
                  <a:gd name="connsiteY10" fmla="*/ 473243 h 1668379"/>
                  <a:gd name="connsiteX11" fmla="*/ 5895473 w 6023810"/>
                  <a:gd name="connsiteY11" fmla="*/ 481264 h 1668379"/>
                  <a:gd name="connsiteX12" fmla="*/ 5791200 w 6023810"/>
                  <a:gd name="connsiteY12" fmla="*/ 473243 h 1668379"/>
                  <a:gd name="connsiteX13" fmla="*/ 5686926 w 6023810"/>
                  <a:gd name="connsiteY13" fmla="*/ 425116 h 1668379"/>
                  <a:gd name="connsiteX14" fmla="*/ 5614737 w 6023810"/>
                  <a:gd name="connsiteY14" fmla="*/ 409074 h 1668379"/>
                  <a:gd name="connsiteX15" fmla="*/ 5566610 w 6023810"/>
                  <a:gd name="connsiteY15" fmla="*/ 457200 h 1668379"/>
                  <a:gd name="connsiteX16" fmla="*/ 5542547 w 6023810"/>
                  <a:gd name="connsiteY16" fmla="*/ 425116 h 1668379"/>
                  <a:gd name="connsiteX17" fmla="*/ 5542547 w 6023810"/>
                  <a:gd name="connsiteY17" fmla="*/ 144379 h 1668379"/>
                  <a:gd name="connsiteX18" fmla="*/ 5534526 w 6023810"/>
                  <a:gd name="connsiteY18" fmla="*/ 16043 h 1668379"/>
                  <a:gd name="connsiteX19" fmla="*/ 5430252 w 6023810"/>
                  <a:gd name="connsiteY19" fmla="*/ 0 h 1668379"/>
                  <a:gd name="connsiteX20" fmla="*/ 4267200 w 6023810"/>
                  <a:gd name="connsiteY20" fmla="*/ 40106 h 1668379"/>
                  <a:gd name="connsiteX21" fmla="*/ 2069431 w 6023810"/>
                  <a:gd name="connsiteY21" fmla="*/ 112295 h 1668379"/>
                  <a:gd name="connsiteX22" fmla="*/ 497305 w 6023810"/>
                  <a:gd name="connsiteY22" fmla="*/ 168443 h 1668379"/>
                  <a:gd name="connsiteX23" fmla="*/ 328863 w 6023810"/>
                  <a:gd name="connsiteY23" fmla="*/ 168443 h 1668379"/>
                  <a:gd name="connsiteX24" fmla="*/ 328863 w 6023810"/>
                  <a:gd name="connsiteY24" fmla="*/ 168443 h 1668379"/>
                  <a:gd name="connsiteX25" fmla="*/ 304800 w 6023810"/>
                  <a:gd name="connsiteY25" fmla="*/ 280737 h 1668379"/>
                  <a:gd name="connsiteX26" fmla="*/ 320842 w 6023810"/>
                  <a:gd name="connsiteY26" fmla="*/ 425116 h 1668379"/>
                  <a:gd name="connsiteX27" fmla="*/ 256673 w 6023810"/>
                  <a:gd name="connsiteY27" fmla="*/ 553453 h 1668379"/>
                  <a:gd name="connsiteX28" fmla="*/ 104273 w 6023810"/>
                  <a:gd name="connsiteY28" fmla="*/ 665748 h 1668379"/>
                  <a:gd name="connsiteX29" fmla="*/ 0 w 6023810"/>
                  <a:gd name="connsiteY29" fmla="*/ 729916 h 1668379"/>
                  <a:gd name="connsiteX30" fmla="*/ 24063 w 6023810"/>
                  <a:gd name="connsiteY30" fmla="*/ 802106 h 1668379"/>
                  <a:gd name="connsiteX31" fmla="*/ 72189 w 6023810"/>
                  <a:gd name="connsiteY31" fmla="*/ 1147011 h 1668379"/>
                  <a:gd name="connsiteX32" fmla="*/ 88231 w 6023810"/>
                  <a:gd name="connsiteY32" fmla="*/ 1347537 h 1668379"/>
                  <a:gd name="connsiteX33" fmla="*/ 80210 w 6023810"/>
                  <a:gd name="connsiteY33" fmla="*/ 1499937 h 1668379"/>
                  <a:gd name="connsiteX34" fmla="*/ 80210 w 6023810"/>
                  <a:gd name="connsiteY34" fmla="*/ 1628274 h 1668379"/>
                  <a:gd name="connsiteX35" fmla="*/ 80210 w 6023810"/>
                  <a:gd name="connsiteY35" fmla="*/ 1668379 h 1668379"/>
                  <a:gd name="connsiteX36" fmla="*/ 248652 w 6023810"/>
                  <a:gd name="connsiteY36" fmla="*/ 1620253 h 1668379"/>
                  <a:gd name="connsiteX37" fmla="*/ 441158 w 6023810"/>
                  <a:gd name="connsiteY37" fmla="*/ 1604211 h 1668379"/>
                  <a:gd name="connsiteX38" fmla="*/ 673768 w 6023810"/>
                  <a:gd name="connsiteY38" fmla="*/ 1588169 h 1668379"/>
                  <a:gd name="connsiteX39" fmla="*/ 914400 w 6023810"/>
                  <a:gd name="connsiteY39" fmla="*/ 1588169 h 166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23810" h="1668379">
                    <a:moveTo>
                      <a:pt x="914400" y="1588169"/>
                    </a:moveTo>
                    <a:lnTo>
                      <a:pt x="3248526" y="1604211"/>
                    </a:lnTo>
                    <a:lnTo>
                      <a:pt x="5069305" y="1612232"/>
                    </a:lnTo>
                    <a:lnTo>
                      <a:pt x="5670884" y="1620253"/>
                    </a:lnTo>
                    <a:lnTo>
                      <a:pt x="5719010" y="1620253"/>
                    </a:lnTo>
                    <a:lnTo>
                      <a:pt x="5719010" y="1499937"/>
                    </a:lnTo>
                    <a:lnTo>
                      <a:pt x="5719010" y="1307432"/>
                    </a:lnTo>
                    <a:lnTo>
                      <a:pt x="5759115" y="1034716"/>
                    </a:lnTo>
                    <a:lnTo>
                      <a:pt x="5839326" y="770021"/>
                    </a:lnTo>
                    <a:lnTo>
                      <a:pt x="5919537" y="609600"/>
                    </a:lnTo>
                    <a:lnTo>
                      <a:pt x="6023810" y="473243"/>
                    </a:lnTo>
                    <a:lnTo>
                      <a:pt x="5895473" y="481264"/>
                    </a:lnTo>
                    <a:lnTo>
                      <a:pt x="5791200" y="473243"/>
                    </a:lnTo>
                    <a:lnTo>
                      <a:pt x="5686926" y="425116"/>
                    </a:lnTo>
                    <a:lnTo>
                      <a:pt x="5614737" y="409074"/>
                    </a:lnTo>
                    <a:lnTo>
                      <a:pt x="5566610" y="457200"/>
                    </a:lnTo>
                    <a:lnTo>
                      <a:pt x="5542547" y="425116"/>
                    </a:lnTo>
                    <a:lnTo>
                      <a:pt x="5542547" y="144379"/>
                    </a:lnTo>
                    <a:lnTo>
                      <a:pt x="5534526" y="16043"/>
                    </a:lnTo>
                    <a:lnTo>
                      <a:pt x="5430252" y="0"/>
                    </a:lnTo>
                    <a:lnTo>
                      <a:pt x="4267200" y="40106"/>
                    </a:lnTo>
                    <a:lnTo>
                      <a:pt x="2069431" y="112295"/>
                    </a:lnTo>
                    <a:lnTo>
                      <a:pt x="497305" y="168443"/>
                    </a:lnTo>
                    <a:lnTo>
                      <a:pt x="328863" y="168443"/>
                    </a:lnTo>
                    <a:lnTo>
                      <a:pt x="328863" y="168443"/>
                    </a:lnTo>
                    <a:lnTo>
                      <a:pt x="304800" y="280737"/>
                    </a:lnTo>
                    <a:lnTo>
                      <a:pt x="320842" y="425116"/>
                    </a:lnTo>
                    <a:lnTo>
                      <a:pt x="256673" y="553453"/>
                    </a:lnTo>
                    <a:lnTo>
                      <a:pt x="104273" y="665748"/>
                    </a:lnTo>
                    <a:lnTo>
                      <a:pt x="0" y="729916"/>
                    </a:lnTo>
                    <a:lnTo>
                      <a:pt x="24063" y="802106"/>
                    </a:lnTo>
                    <a:lnTo>
                      <a:pt x="72189" y="1147011"/>
                    </a:lnTo>
                    <a:lnTo>
                      <a:pt x="88231" y="1347537"/>
                    </a:lnTo>
                    <a:lnTo>
                      <a:pt x="80210" y="1499937"/>
                    </a:lnTo>
                    <a:lnTo>
                      <a:pt x="80210" y="1628274"/>
                    </a:lnTo>
                    <a:lnTo>
                      <a:pt x="80210" y="1668379"/>
                    </a:lnTo>
                    <a:lnTo>
                      <a:pt x="248652" y="1620253"/>
                    </a:lnTo>
                    <a:lnTo>
                      <a:pt x="441158" y="1604211"/>
                    </a:lnTo>
                    <a:lnTo>
                      <a:pt x="673768" y="1588169"/>
                    </a:lnTo>
                    <a:lnTo>
                      <a:pt x="914400" y="1588169"/>
                    </a:ln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3" name="Freeform 1292"/>
              <p:cNvSpPr/>
              <p:nvPr/>
            </p:nvSpPr>
            <p:spPr bwMode="auto">
              <a:xfrm flipH="1">
                <a:off x="7529171" y="5017677"/>
                <a:ext cx="126238" cy="81483"/>
              </a:xfrm>
              <a:custGeom>
                <a:avLst/>
                <a:gdLst>
                  <a:gd name="connsiteX0" fmla="*/ 714841 w 935571"/>
                  <a:gd name="connsiteY0" fmla="*/ 586453 h 603883"/>
                  <a:gd name="connsiteX1" fmla="*/ 923388 w 935571"/>
                  <a:gd name="connsiteY1" fmla="*/ 578432 h 603883"/>
                  <a:gd name="connsiteX2" fmla="*/ 899325 w 935571"/>
                  <a:gd name="connsiteY2" fmla="*/ 498222 h 603883"/>
                  <a:gd name="connsiteX3" fmla="*/ 803072 w 935571"/>
                  <a:gd name="connsiteY3" fmla="*/ 137274 h 603883"/>
                  <a:gd name="connsiteX4" fmla="*/ 746925 w 935571"/>
                  <a:gd name="connsiteY4" fmla="*/ 16959 h 603883"/>
                  <a:gd name="connsiteX5" fmla="*/ 690777 w 935571"/>
                  <a:gd name="connsiteY5" fmla="*/ 916 h 603883"/>
                  <a:gd name="connsiteX6" fmla="*/ 313788 w 935571"/>
                  <a:gd name="connsiteY6" fmla="*/ 8938 h 603883"/>
                  <a:gd name="connsiteX7" fmla="*/ 73156 w 935571"/>
                  <a:gd name="connsiteY7" fmla="*/ 24980 h 603883"/>
                  <a:gd name="connsiteX8" fmla="*/ 49093 w 935571"/>
                  <a:gd name="connsiteY8" fmla="*/ 81127 h 603883"/>
                  <a:gd name="connsiteX9" fmla="*/ 967 w 935571"/>
                  <a:gd name="connsiteY9" fmla="*/ 217485 h 603883"/>
                  <a:gd name="connsiteX10" fmla="*/ 97220 w 935571"/>
                  <a:gd name="connsiteY10" fmla="*/ 281653 h 603883"/>
                  <a:gd name="connsiteX11" fmla="*/ 658693 w 935571"/>
                  <a:gd name="connsiteY11" fmla="*/ 578432 h 603883"/>
                  <a:gd name="connsiteX12" fmla="*/ 714841 w 935571"/>
                  <a:gd name="connsiteY12" fmla="*/ 586453 h 60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571" h="603883">
                    <a:moveTo>
                      <a:pt x="714841" y="586453"/>
                    </a:moveTo>
                    <a:cubicBezTo>
                      <a:pt x="758957" y="586453"/>
                      <a:pt x="892641" y="593137"/>
                      <a:pt x="923388" y="578432"/>
                    </a:cubicBezTo>
                    <a:cubicBezTo>
                      <a:pt x="954135" y="563727"/>
                      <a:pt x="919378" y="571748"/>
                      <a:pt x="899325" y="498222"/>
                    </a:cubicBezTo>
                    <a:cubicBezTo>
                      <a:pt x="879272" y="424696"/>
                      <a:pt x="828472" y="217484"/>
                      <a:pt x="803072" y="137274"/>
                    </a:cubicBezTo>
                    <a:cubicBezTo>
                      <a:pt x="777672" y="57063"/>
                      <a:pt x="765641" y="39685"/>
                      <a:pt x="746925" y="16959"/>
                    </a:cubicBezTo>
                    <a:cubicBezTo>
                      <a:pt x="728209" y="-5767"/>
                      <a:pt x="690777" y="916"/>
                      <a:pt x="690777" y="916"/>
                    </a:cubicBezTo>
                    <a:lnTo>
                      <a:pt x="313788" y="8938"/>
                    </a:lnTo>
                    <a:cubicBezTo>
                      <a:pt x="210851" y="12949"/>
                      <a:pt x="117272" y="12949"/>
                      <a:pt x="73156" y="24980"/>
                    </a:cubicBezTo>
                    <a:cubicBezTo>
                      <a:pt x="29040" y="37011"/>
                      <a:pt x="61124" y="49043"/>
                      <a:pt x="49093" y="81127"/>
                    </a:cubicBezTo>
                    <a:cubicBezTo>
                      <a:pt x="37062" y="113211"/>
                      <a:pt x="-7054" y="184064"/>
                      <a:pt x="967" y="217485"/>
                    </a:cubicBezTo>
                    <a:cubicBezTo>
                      <a:pt x="8988" y="250906"/>
                      <a:pt x="-12401" y="221495"/>
                      <a:pt x="97220" y="281653"/>
                    </a:cubicBezTo>
                    <a:cubicBezTo>
                      <a:pt x="206841" y="341811"/>
                      <a:pt x="549072" y="526295"/>
                      <a:pt x="658693" y="578432"/>
                    </a:cubicBezTo>
                    <a:cubicBezTo>
                      <a:pt x="768314" y="630569"/>
                      <a:pt x="670725" y="586453"/>
                      <a:pt x="714841" y="586453"/>
                    </a:cubicBezTo>
                    <a:close/>
                  </a:path>
                </a:pathLst>
              </a:cu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4" name="Freeform 1293"/>
              <p:cNvSpPr/>
              <p:nvPr/>
            </p:nvSpPr>
            <p:spPr bwMode="auto">
              <a:xfrm flipH="1">
                <a:off x="9031951" y="5168239"/>
                <a:ext cx="200224" cy="172084"/>
              </a:xfrm>
              <a:custGeom>
                <a:avLst/>
                <a:gdLst>
                  <a:gd name="connsiteX0" fmla="*/ 1267327 w 1483895"/>
                  <a:gd name="connsiteY0" fmla="*/ 1147010 h 1275347"/>
                  <a:gd name="connsiteX1" fmla="*/ 1275348 w 1483895"/>
                  <a:gd name="connsiteY1" fmla="*/ 850231 h 1275347"/>
                  <a:gd name="connsiteX2" fmla="*/ 1323474 w 1483895"/>
                  <a:gd name="connsiteY2" fmla="*/ 585537 h 1275347"/>
                  <a:gd name="connsiteX3" fmla="*/ 1387642 w 1483895"/>
                  <a:gd name="connsiteY3" fmla="*/ 409073 h 1275347"/>
                  <a:gd name="connsiteX4" fmla="*/ 1443790 w 1483895"/>
                  <a:gd name="connsiteY4" fmla="*/ 264695 h 1275347"/>
                  <a:gd name="connsiteX5" fmla="*/ 1483895 w 1483895"/>
                  <a:gd name="connsiteY5" fmla="*/ 200526 h 1275347"/>
                  <a:gd name="connsiteX6" fmla="*/ 1411705 w 1483895"/>
                  <a:gd name="connsiteY6" fmla="*/ 192505 h 1275347"/>
                  <a:gd name="connsiteX7" fmla="*/ 1323474 w 1483895"/>
                  <a:gd name="connsiteY7" fmla="*/ 192505 h 1275347"/>
                  <a:gd name="connsiteX8" fmla="*/ 1299411 w 1483895"/>
                  <a:gd name="connsiteY8" fmla="*/ 272716 h 1275347"/>
                  <a:gd name="connsiteX9" fmla="*/ 1259305 w 1483895"/>
                  <a:gd name="connsiteY9" fmla="*/ 240631 h 1275347"/>
                  <a:gd name="connsiteX10" fmla="*/ 1179095 w 1483895"/>
                  <a:gd name="connsiteY10" fmla="*/ 192505 h 1275347"/>
                  <a:gd name="connsiteX11" fmla="*/ 1098884 w 1483895"/>
                  <a:gd name="connsiteY11" fmla="*/ 208547 h 1275347"/>
                  <a:gd name="connsiteX12" fmla="*/ 954505 w 1483895"/>
                  <a:gd name="connsiteY12" fmla="*/ 136358 h 1275347"/>
                  <a:gd name="connsiteX13" fmla="*/ 786063 w 1483895"/>
                  <a:gd name="connsiteY13" fmla="*/ 152400 h 1275347"/>
                  <a:gd name="connsiteX14" fmla="*/ 505327 w 1483895"/>
                  <a:gd name="connsiteY14" fmla="*/ 224589 h 1275347"/>
                  <a:gd name="connsiteX15" fmla="*/ 352927 w 1483895"/>
                  <a:gd name="connsiteY15" fmla="*/ 184484 h 1275347"/>
                  <a:gd name="connsiteX16" fmla="*/ 200527 w 1483895"/>
                  <a:gd name="connsiteY16" fmla="*/ 120316 h 1275347"/>
                  <a:gd name="connsiteX17" fmla="*/ 88232 w 1483895"/>
                  <a:gd name="connsiteY17" fmla="*/ 0 h 1275347"/>
                  <a:gd name="connsiteX18" fmla="*/ 80211 w 1483895"/>
                  <a:gd name="connsiteY18" fmla="*/ 72189 h 1275347"/>
                  <a:gd name="connsiteX19" fmla="*/ 0 w 1483895"/>
                  <a:gd name="connsiteY19" fmla="*/ 393031 h 1275347"/>
                  <a:gd name="connsiteX20" fmla="*/ 0 w 1483895"/>
                  <a:gd name="connsiteY20" fmla="*/ 521368 h 1275347"/>
                  <a:gd name="connsiteX21" fmla="*/ 8021 w 1483895"/>
                  <a:gd name="connsiteY21" fmla="*/ 617621 h 1275347"/>
                  <a:gd name="connsiteX22" fmla="*/ 80211 w 1483895"/>
                  <a:gd name="connsiteY22" fmla="*/ 737937 h 1275347"/>
                  <a:gd name="connsiteX23" fmla="*/ 64169 w 1483895"/>
                  <a:gd name="connsiteY23" fmla="*/ 914400 h 1275347"/>
                  <a:gd name="connsiteX24" fmla="*/ 112295 w 1483895"/>
                  <a:gd name="connsiteY24" fmla="*/ 994610 h 1275347"/>
                  <a:gd name="connsiteX25" fmla="*/ 328863 w 1483895"/>
                  <a:gd name="connsiteY25" fmla="*/ 1122947 h 1275347"/>
                  <a:gd name="connsiteX26" fmla="*/ 585537 w 1483895"/>
                  <a:gd name="connsiteY26" fmla="*/ 1187116 h 1275347"/>
                  <a:gd name="connsiteX27" fmla="*/ 978569 w 1483895"/>
                  <a:gd name="connsiteY27" fmla="*/ 1219200 h 1275347"/>
                  <a:gd name="connsiteX28" fmla="*/ 1147011 w 1483895"/>
                  <a:gd name="connsiteY28" fmla="*/ 1235242 h 1275347"/>
                  <a:gd name="connsiteX29" fmla="*/ 1291390 w 1483895"/>
                  <a:gd name="connsiteY29" fmla="*/ 1275347 h 1275347"/>
                  <a:gd name="connsiteX30" fmla="*/ 1267327 w 1483895"/>
                  <a:gd name="connsiteY30" fmla="*/ 1147010 h 12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83895" h="1275347">
                    <a:moveTo>
                      <a:pt x="1267327" y="1147010"/>
                    </a:moveTo>
                    <a:lnTo>
                      <a:pt x="1275348" y="850231"/>
                    </a:lnTo>
                    <a:lnTo>
                      <a:pt x="1323474" y="585537"/>
                    </a:lnTo>
                    <a:lnTo>
                      <a:pt x="1387642" y="409073"/>
                    </a:lnTo>
                    <a:lnTo>
                      <a:pt x="1443790" y="264695"/>
                    </a:lnTo>
                    <a:lnTo>
                      <a:pt x="1483895" y="200526"/>
                    </a:lnTo>
                    <a:lnTo>
                      <a:pt x="1411705" y="192505"/>
                    </a:lnTo>
                    <a:lnTo>
                      <a:pt x="1323474" y="192505"/>
                    </a:lnTo>
                    <a:lnTo>
                      <a:pt x="1299411" y="272716"/>
                    </a:lnTo>
                    <a:lnTo>
                      <a:pt x="1259305" y="240631"/>
                    </a:lnTo>
                    <a:lnTo>
                      <a:pt x="1179095" y="192505"/>
                    </a:lnTo>
                    <a:lnTo>
                      <a:pt x="1098884" y="208547"/>
                    </a:lnTo>
                    <a:lnTo>
                      <a:pt x="954505" y="136358"/>
                    </a:lnTo>
                    <a:lnTo>
                      <a:pt x="786063" y="152400"/>
                    </a:lnTo>
                    <a:lnTo>
                      <a:pt x="505327" y="224589"/>
                    </a:lnTo>
                    <a:lnTo>
                      <a:pt x="352927" y="184484"/>
                    </a:lnTo>
                    <a:lnTo>
                      <a:pt x="200527" y="120316"/>
                    </a:lnTo>
                    <a:lnTo>
                      <a:pt x="88232" y="0"/>
                    </a:lnTo>
                    <a:lnTo>
                      <a:pt x="80211" y="72189"/>
                    </a:lnTo>
                    <a:lnTo>
                      <a:pt x="0" y="393031"/>
                    </a:lnTo>
                    <a:lnTo>
                      <a:pt x="0" y="521368"/>
                    </a:lnTo>
                    <a:lnTo>
                      <a:pt x="8021" y="617621"/>
                    </a:lnTo>
                    <a:lnTo>
                      <a:pt x="80211" y="737937"/>
                    </a:lnTo>
                    <a:lnTo>
                      <a:pt x="64169" y="914400"/>
                    </a:lnTo>
                    <a:lnTo>
                      <a:pt x="112295" y="994610"/>
                    </a:lnTo>
                    <a:lnTo>
                      <a:pt x="328863" y="1122947"/>
                    </a:lnTo>
                    <a:lnTo>
                      <a:pt x="585537" y="1187116"/>
                    </a:lnTo>
                    <a:lnTo>
                      <a:pt x="978569" y="1219200"/>
                    </a:lnTo>
                    <a:lnTo>
                      <a:pt x="1147011" y="1235242"/>
                    </a:lnTo>
                    <a:lnTo>
                      <a:pt x="1291390" y="1275347"/>
                    </a:lnTo>
                    <a:lnTo>
                      <a:pt x="1267327" y="1147010"/>
                    </a:ln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5" name="Freeform 1294"/>
              <p:cNvSpPr/>
              <p:nvPr/>
            </p:nvSpPr>
            <p:spPr bwMode="auto">
              <a:xfrm flipH="1">
                <a:off x="9025832" y="5059659"/>
                <a:ext cx="188631" cy="99172"/>
              </a:xfrm>
              <a:custGeom>
                <a:avLst/>
                <a:gdLst>
                  <a:gd name="connsiteX0" fmla="*/ 3426 w 1396318"/>
                  <a:gd name="connsiteY0" fmla="*/ 684390 h 734979"/>
                  <a:gd name="connsiteX1" fmla="*/ 260100 w 1396318"/>
                  <a:gd name="connsiteY1" fmla="*/ 724495 h 734979"/>
                  <a:gd name="connsiteX2" fmla="*/ 813552 w 1396318"/>
                  <a:gd name="connsiteY2" fmla="*/ 515948 h 734979"/>
                  <a:gd name="connsiteX3" fmla="*/ 1350963 w 1396318"/>
                  <a:gd name="connsiteY3" fmla="*/ 58748 h 734979"/>
                  <a:gd name="connsiteX4" fmla="*/ 1350963 w 1396318"/>
                  <a:gd name="connsiteY4" fmla="*/ 2601 h 734979"/>
                  <a:gd name="connsiteX5" fmla="*/ 1214605 w 1396318"/>
                  <a:gd name="connsiteY5" fmla="*/ 26664 h 734979"/>
                  <a:gd name="connsiteX6" fmla="*/ 709279 w 1396318"/>
                  <a:gd name="connsiteY6" fmla="*/ 171043 h 734979"/>
                  <a:gd name="connsiteX7" fmla="*/ 276142 w 1396318"/>
                  <a:gd name="connsiteY7" fmla="*/ 427716 h 734979"/>
                  <a:gd name="connsiteX8" fmla="*/ 163847 w 1396318"/>
                  <a:gd name="connsiteY8" fmla="*/ 427716 h 734979"/>
                  <a:gd name="connsiteX9" fmla="*/ 115721 w 1396318"/>
                  <a:gd name="connsiteY9" fmla="*/ 515948 h 734979"/>
                  <a:gd name="connsiteX10" fmla="*/ 3426 w 1396318"/>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77804 w 1397980"/>
                  <a:gd name="connsiteY7" fmla="*/ 427716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396241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38862 h 734979"/>
                  <a:gd name="connsiteX8" fmla="*/ 165509 w 1397980"/>
                  <a:gd name="connsiteY8" fmla="*/ 396241 h 734979"/>
                  <a:gd name="connsiteX9" fmla="*/ 96399 w 1397980"/>
                  <a:gd name="connsiteY9" fmla="*/ 515948 h 734979"/>
                  <a:gd name="connsiteX10" fmla="*/ 5088 w 1397980"/>
                  <a:gd name="connsiteY10" fmla="*/ 684390 h 73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7980" h="734979">
                    <a:moveTo>
                      <a:pt x="5088" y="684390"/>
                    </a:moveTo>
                    <a:cubicBezTo>
                      <a:pt x="32649" y="719148"/>
                      <a:pt x="126741" y="752569"/>
                      <a:pt x="261762" y="724495"/>
                    </a:cubicBezTo>
                    <a:cubicBezTo>
                      <a:pt x="396783" y="696421"/>
                      <a:pt x="633404" y="626906"/>
                      <a:pt x="815214" y="515948"/>
                    </a:cubicBezTo>
                    <a:cubicBezTo>
                      <a:pt x="997024" y="404990"/>
                      <a:pt x="1263057" y="144306"/>
                      <a:pt x="1352625" y="58748"/>
                    </a:cubicBezTo>
                    <a:cubicBezTo>
                      <a:pt x="1442193" y="-26810"/>
                      <a:pt x="1375351" y="7948"/>
                      <a:pt x="1352625" y="2601"/>
                    </a:cubicBezTo>
                    <a:cubicBezTo>
                      <a:pt x="1329899" y="-2746"/>
                      <a:pt x="1330209" y="7334"/>
                      <a:pt x="1216267" y="26664"/>
                    </a:cubicBezTo>
                    <a:cubicBezTo>
                      <a:pt x="1102325" y="45994"/>
                      <a:pt x="823635" y="83217"/>
                      <a:pt x="668973" y="118583"/>
                    </a:cubicBezTo>
                    <a:cubicBezTo>
                      <a:pt x="514311" y="153949"/>
                      <a:pt x="372207" y="192586"/>
                      <a:pt x="288296" y="238862"/>
                    </a:cubicBezTo>
                    <a:cubicBezTo>
                      <a:pt x="204385" y="285138"/>
                      <a:pt x="192246" y="381536"/>
                      <a:pt x="165509" y="396241"/>
                    </a:cubicBezTo>
                    <a:cubicBezTo>
                      <a:pt x="138772" y="410946"/>
                      <a:pt x="123136" y="467923"/>
                      <a:pt x="96399" y="515948"/>
                    </a:cubicBezTo>
                    <a:cubicBezTo>
                      <a:pt x="69662" y="563973"/>
                      <a:pt x="-22473" y="649632"/>
                      <a:pt x="5088" y="684390"/>
                    </a:cubicBezTo>
                    <a:close/>
                  </a:path>
                </a:pathLst>
              </a:cu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6" name="Freeform 1295"/>
              <p:cNvSpPr/>
              <p:nvPr/>
            </p:nvSpPr>
            <p:spPr bwMode="auto">
              <a:xfrm rot="21328380" flipH="1">
                <a:off x="8606758" y="4988771"/>
                <a:ext cx="70401" cy="61726"/>
              </a:xfrm>
              <a:custGeom>
                <a:avLst/>
                <a:gdLst>
                  <a:gd name="connsiteX0" fmla="*/ 49366 w 521758"/>
                  <a:gd name="connsiteY0" fmla="*/ 361980 h 459200"/>
                  <a:gd name="connsiteX1" fmla="*/ 169682 w 521758"/>
                  <a:gd name="connsiteY1" fmla="*/ 442191 h 459200"/>
                  <a:gd name="connsiteX2" fmla="*/ 410314 w 521758"/>
                  <a:gd name="connsiteY2" fmla="*/ 458233 h 459200"/>
                  <a:gd name="connsiteX3" fmla="*/ 498545 w 521758"/>
                  <a:gd name="connsiteY3" fmla="*/ 434170 h 459200"/>
                  <a:gd name="connsiteX4" fmla="*/ 514587 w 521758"/>
                  <a:gd name="connsiteY4" fmla="*/ 249686 h 459200"/>
                  <a:gd name="connsiteX5" fmla="*/ 514587 w 521758"/>
                  <a:gd name="connsiteY5" fmla="*/ 105307 h 459200"/>
                  <a:gd name="connsiteX6" fmla="*/ 426356 w 521758"/>
                  <a:gd name="connsiteY6" fmla="*/ 41138 h 459200"/>
                  <a:gd name="connsiteX7" fmla="*/ 265935 w 521758"/>
                  <a:gd name="connsiteY7" fmla="*/ 9054 h 459200"/>
                  <a:gd name="connsiteX8" fmla="*/ 217808 w 521758"/>
                  <a:gd name="connsiteY8" fmla="*/ 9054 h 459200"/>
                  <a:gd name="connsiteX9" fmla="*/ 105514 w 521758"/>
                  <a:gd name="connsiteY9" fmla="*/ 113328 h 459200"/>
                  <a:gd name="connsiteX10" fmla="*/ 9261 w 521758"/>
                  <a:gd name="connsiteY10" fmla="*/ 185517 h 459200"/>
                  <a:gd name="connsiteX11" fmla="*/ 9261 w 521758"/>
                  <a:gd name="connsiteY11" fmla="*/ 257707 h 459200"/>
                  <a:gd name="connsiteX12" fmla="*/ 49366 w 521758"/>
                  <a:gd name="connsiteY12" fmla="*/ 361980 h 459200"/>
                  <a:gd name="connsiteX0" fmla="*/ 49366 w 521758"/>
                  <a:gd name="connsiteY0" fmla="*/ 360242 h 457462"/>
                  <a:gd name="connsiteX1" fmla="*/ 169682 w 521758"/>
                  <a:gd name="connsiteY1" fmla="*/ 440453 h 457462"/>
                  <a:gd name="connsiteX2" fmla="*/ 410314 w 521758"/>
                  <a:gd name="connsiteY2" fmla="*/ 456495 h 457462"/>
                  <a:gd name="connsiteX3" fmla="*/ 498545 w 521758"/>
                  <a:gd name="connsiteY3" fmla="*/ 432432 h 457462"/>
                  <a:gd name="connsiteX4" fmla="*/ 514587 w 521758"/>
                  <a:gd name="connsiteY4" fmla="*/ 247948 h 457462"/>
                  <a:gd name="connsiteX5" fmla="*/ 514587 w 521758"/>
                  <a:gd name="connsiteY5" fmla="*/ 103569 h 457462"/>
                  <a:gd name="connsiteX6" fmla="*/ 426356 w 521758"/>
                  <a:gd name="connsiteY6" fmla="*/ 39400 h 457462"/>
                  <a:gd name="connsiteX7" fmla="*/ 265935 w 521758"/>
                  <a:gd name="connsiteY7" fmla="*/ 7316 h 457462"/>
                  <a:gd name="connsiteX8" fmla="*/ 217808 w 521758"/>
                  <a:gd name="connsiteY8" fmla="*/ 7316 h 457462"/>
                  <a:gd name="connsiteX9" fmla="*/ 105514 w 521758"/>
                  <a:gd name="connsiteY9" fmla="*/ 87527 h 457462"/>
                  <a:gd name="connsiteX10" fmla="*/ 9261 w 521758"/>
                  <a:gd name="connsiteY10" fmla="*/ 183779 h 457462"/>
                  <a:gd name="connsiteX11" fmla="*/ 9261 w 521758"/>
                  <a:gd name="connsiteY11" fmla="*/ 255969 h 457462"/>
                  <a:gd name="connsiteX12" fmla="*/ 49366 w 521758"/>
                  <a:gd name="connsiteY12" fmla="*/ 360242 h 45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758" h="457462">
                    <a:moveTo>
                      <a:pt x="49366" y="360242"/>
                    </a:moveTo>
                    <a:cubicBezTo>
                      <a:pt x="76103" y="390989"/>
                      <a:pt x="109524" y="424411"/>
                      <a:pt x="169682" y="440453"/>
                    </a:cubicBezTo>
                    <a:cubicBezTo>
                      <a:pt x="229840" y="456495"/>
                      <a:pt x="355504" y="457832"/>
                      <a:pt x="410314" y="456495"/>
                    </a:cubicBezTo>
                    <a:cubicBezTo>
                      <a:pt x="465125" y="455158"/>
                      <a:pt x="481166" y="467190"/>
                      <a:pt x="498545" y="432432"/>
                    </a:cubicBezTo>
                    <a:cubicBezTo>
                      <a:pt x="515924" y="397674"/>
                      <a:pt x="511913" y="302758"/>
                      <a:pt x="514587" y="247948"/>
                    </a:cubicBezTo>
                    <a:cubicBezTo>
                      <a:pt x="517261" y="193138"/>
                      <a:pt x="529292" y="138327"/>
                      <a:pt x="514587" y="103569"/>
                    </a:cubicBezTo>
                    <a:cubicBezTo>
                      <a:pt x="499882" y="68811"/>
                      <a:pt x="467798" y="55442"/>
                      <a:pt x="426356" y="39400"/>
                    </a:cubicBezTo>
                    <a:cubicBezTo>
                      <a:pt x="384914" y="23358"/>
                      <a:pt x="300693" y="12663"/>
                      <a:pt x="265935" y="7316"/>
                    </a:cubicBezTo>
                    <a:cubicBezTo>
                      <a:pt x="231177" y="1969"/>
                      <a:pt x="244545" y="-6052"/>
                      <a:pt x="217808" y="7316"/>
                    </a:cubicBezTo>
                    <a:cubicBezTo>
                      <a:pt x="191071" y="20684"/>
                      <a:pt x="140272" y="58117"/>
                      <a:pt x="105514" y="87527"/>
                    </a:cubicBezTo>
                    <a:cubicBezTo>
                      <a:pt x="70756" y="116937"/>
                      <a:pt x="25303" y="159716"/>
                      <a:pt x="9261" y="183779"/>
                    </a:cubicBezTo>
                    <a:cubicBezTo>
                      <a:pt x="-6781" y="207842"/>
                      <a:pt x="1240" y="225222"/>
                      <a:pt x="9261" y="255969"/>
                    </a:cubicBezTo>
                    <a:cubicBezTo>
                      <a:pt x="17282" y="286716"/>
                      <a:pt x="22629" y="329495"/>
                      <a:pt x="49366" y="360242"/>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297" name="Oval 1296"/>
            <p:cNvSpPr/>
            <p:nvPr/>
          </p:nvSpPr>
          <p:spPr bwMode="auto">
            <a:xfrm flipH="1">
              <a:off x="5236693" y="5098553"/>
              <a:ext cx="71941" cy="79134"/>
            </a:xfrm>
            <a:prstGeom prst="ellipse">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07" name="Rectangle 1306"/>
            <p:cNvSpPr/>
            <p:nvPr/>
          </p:nvSpPr>
          <p:spPr bwMode="auto">
            <a:xfrm>
              <a:off x="5356850" y="5416962"/>
              <a:ext cx="1337160" cy="45719"/>
            </a:xfrm>
            <a:prstGeom prst="rect">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300" name="Group 1299"/>
            <p:cNvGrpSpPr/>
            <p:nvPr/>
          </p:nvGrpSpPr>
          <p:grpSpPr>
            <a:xfrm flipH="1">
              <a:off x="6661933" y="5127756"/>
              <a:ext cx="269939" cy="205670"/>
              <a:chOff x="1857586" y="4696260"/>
              <a:chExt cx="323065" cy="246146"/>
            </a:xfrm>
            <a:solidFill>
              <a:schemeClr val="accent1"/>
            </a:solidFill>
          </p:grpSpPr>
          <p:sp>
            <p:nvSpPr>
              <p:cNvPr id="1301" name="Freeform 247"/>
              <p:cNvSpPr>
                <a:spLocks/>
              </p:cNvSpPr>
              <p:nvPr/>
            </p:nvSpPr>
            <p:spPr bwMode="auto">
              <a:xfrm>
                <a:off x="1999889" y="4696260"/>
                <a:ext cx="92304" cy="53844"/>
              </a:xfrm>
              <a:custGeom>
                <a:avLst/>
                <a:gdLst>
                  <a:gd name="T0" fmla="*/ 45 w 71"/>
                  <a:gd name="T1" fmla="*/ 40 h 40"/>
                  <a:gd name="T2" fmla="*/ 45 w 71"/>
                  <a:gd name="T3" fmla="*/ 20 h 40"/>
                  <a:gd name="T4" fmla="*/ 71 w 71"/>
                  <a:gd name="T5" fmla="*/ 20 h 40"/>
                  <a:gd name="T6" fmla="*/ 71 w 71"/>
                  <a:gd name="T7" fmla="*/ 0 h 40"/>
                  <a:gd name="T8" fmla="*/ 0 w 71"/>
                  <a:gd name="T9" fmla="*/ 0 h 40"/>
                  <a:gd name="T10" fmla="*/ 0 w 71"/>
                  <a:gd name="T11" fmla="*/ 20 h 40"/>
                  <a:gd name="T12" fmla="*/ 25 w 71"/>
                  <a:gd name="T13" fmla="*/ 20 h 40"/>
                  <a:gd name="T14" fmla="*/ 25 w 71"/>
                  <a:gd name="T15" fmla="*/ 40 h 40"/>
                  <a:gd name="T16" fmla="*/ 45 w 71"/>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40">
                    <a:moveTo>
                      <a:pt x="45" y="40"/>
                    </a:moveTo>
                    <a:lnTo>
                      <a:pt x="45" y="20"/>
                    </a:lnTo>
                    <a:lnTo>
                      <a:pt x="71" y="20"/>
                    </a:lnTo>
                    <a:lnTo>
                      <a:pt x="71" y="0"/>
                    </a:lnTo>
                    <a:lnTo>
                      <a:pt x="0" y="0"/>
                    </a:lnTo>
                    <a:lnTo>
                      <a:pt x="0" y="20"/>
                    </a:lnTo>
                    <a:lnTo>
                      <a:pt x="25" y="20"/>
                    </a:lnTo>
                    <a:lnTo>
                      <a:pt x="25" y="40"/>
                    </a:lnTo>
                    <a:lnTo>
                      <a:pt x="45" y="40"/>
                    </a:lnTo>
                    <a:close/>
                  </a:path>
                </a:pathLst>
              </a:custGeom>
              <a:solidFill>
                <a:schemeClr val="tx1"/>
              </a:solidFill>
              <a:ln>
                <a:solidFill>
                  <a:schemeClr val="accent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02" name="Freeform 249"/>
              <p:cNvSpPr>
                <a:spLocks/>
              </p:cNvSpPr>
              <p:nvPr/>
            </p:nvSpPr>
            <p:spPr bwMode="auto">
              <a:xfrm>
                <a:off x="1857586" y="4800102"/>
                <a:ext cx="53844" cy="103843"/>
              </a:xfrm>
              <a:custGeom>
                <a:avLst/>
                <a:gdLst>
                  <a:gd name="T0" fmla="*/ 40 w 40"/>
                  <a:gd name="T1" fmla="*/ 31 h 81"/>
                  <a:gd name="T2" fmla="*/ 20 w 40"/>
                  <a:gd name="T3" fmla="*/ 31 h 81"/>
                  <a:gd name="T4" fmla="*/ 20 w 40"/>
                  <a:gd name="T5" fmla="*/ 0 h 81"/>
                  <a:gd name="T6" fmla="*/ 0 w 40"/>
                  <a:gd name="T7" fmla="*/ 0 h 81"/>
                  <a:gd name="T8" fmla="*/ 0 w 40"/>
                  <a:gd name="T9" fmla="*/ 81 h 81"/>
                  <a:gd name="T10" fmla="*/ 20 w 40"/>
                  <a:gd name="T11" fmla="*/ 81 h 81"/>
                  <a:gd name="T12" fmla="*/ 20 w 40"/>
                  <a:gd name="T13" fmla="*/ 51 h 81"/>
                  <a:gd name="T14" fmla="*/ 40 w 40"/>
                  <a:gd name="T15" fmla="*/ 51 h 81"/>
                  <a:gd name="T16" fmla="*/ 40 w 40"/>
                  <a:gd name="T17" fmla="*/ 3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81">
                    <a:moveTo>
                      <a:pt x="40" y="31"/>
                    </a:moveTo>
                    <a:lnTo>
                      <a:pt x="20" y="31"/>
                    </a:lnTo>
                    <a:lnTo>
                      <a:pt x="20" y="0"/>
                    </a:lnTo>
                    <a:lnTo>
                      <a:pt x="0" y="0"/>
                    </a:lnTo>
                    <a:lnTo>
                      <a:pt x="0" y="81"/>
                    </a:lnTo>
                    <a:lnTo>
                      <a:pt x="20" y="81"/>
                    </a:lnTo>
                    <a:lnTo>
                      <a:pt x="20" y="51"/>
                    </a:lnTo>
                    <a:lnTo>
                      <a:pt x="40" y="51"/>
                    </a:lnTo>
                    <a:lnTo>
                      <a:pt x="40" y="31"/>
                    </a:lnTo>
                    <a:close/>
                  </a:path>
                </a:pathLst>
              </a:custGeom>
              <a:solidFill>
                <a:schemeClr val="tx1"/>
              </a:solidFill>
              <a:ln>
                <a:solidFill>
                  <a:schemeClr val="accent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03" name="Freeform 251"/>
              <p:cNvSpPr>
                <a:spLocks/>
              </p:cNvSpPr>
              <p:nvPr/>
            </p:nvSpPr>
            <p:spPr bwMode="auto">
              <a:xfrm>
                <a:off x="1922969" y="4761643"/>
                <a:ext cx="257682" cy="180763"/>
              </a:xfrm>
              <a:custGeom>
                <a:avLst/>
                <a:gdLst>
                  <a:gd name="T0" fmla="*/ 180 w 200"/>
                  <a:gd name="T1" fmla="*/ 24 h 140"/>
                  <a:gd name="T2" fmla="*/ 180 w 200"/>
                  <a:gd name="T3" fmla="*/ 49 h 140"/>
                  <a:gd name="T4" fmla="*/ 165 w 200"/>
                  <a:gd name="T5" fmla="*/ 49 h 140"/>
                  <a:gd name="T6" fmla="*/ 165 w 200"/>
                  <a:gd name="T7" fmla="*/ 9 h 140"/>
                  <a:gd name="T8" fmla="*/ 165 w 200"/>
                  <a:gd name="T9" fmla="*/ 9 h 140"/>
                  <a:gd name="T10" fmla="*/ 164 w 200"/>
                  <a:gd name="T11" fmla="*/ 5 h 140"/>
                  <a:gd name="T12" fmla="*/ 163 w 200"/>
                  <a:gd name="T13" fmla="*/ 3 h 140"/>
                  <a:gd name="T14" fmla="*/ 160 w 200"/>
                  <a:gd name="T15" fmla="*/ 0 h 140"/>
                  <a:gd name="T16" fmla="*/ 156 w 200"/>
                  <a:gd name="T17" fmla="*/ 0 h 140"/>
                  <a:gd name="T18" fmla="*/ 54 w 200"/>
                  <a:gd name="T19" fmla="*/ 0 h 140"/>
                  <a:gd name="T20" fmla="*/ 54 w 200"/>
                  <a:gd name="T21" fmla="*/ 0 h 140"/>
                  <a:gd name="T22" fmla="*/ 50 w 200"/>
                  <a:gd name="T23" fmla="*/ 0 h 140"/>
                  <a:gd name="T24" fmla="*/ 48 w 200"/>
                  <a:gd name="T25" fmla="*/ 3 h 140"/>
                  <a:gd name="T26" fmla="*/ 24 w 200"/>
                  <a:gd name="T27" fmla="*/ 29 h 140"/>
                  <a:gd name="T28" fmla="*/ 9 w 200"/>
                  <a:gd name="T29" fmla="*/ 29 h 140"/>
                  <a:gd name="T30" fmla="*/ 9 w 200"/>
                  <a:gd name="T31" fmla="*/ 29 h 140"/>
                  <a:gd name="T32" fmla="*/ 5 w 200"/>
                  <a:gd name="T33" fmla="*/ 31 h 140"/>
                  <a:gd name="T34" fmla="*/ 2 w 200"/>
                  <a:gd name="T35" fmla="*/ 33 h 140"/>
                  <a:gd name="T36" fmla="*/ 0 w 200"/>
                  <a:gd name="T37" fmla="*/ 36 h 140"/>
                  <a:gd name="T38" fmla="*/ 0 w 200"/>
                  <a:gd name="T39" fmla="*/ 40 h 140"/>
                  <a:gd name="T40" fmla="*/ 0 w 200"/>
                  <a:gd name="T41" fmla="*/ 100 h 140"/>
                  <a:gd name="T42" fmla="*/ 0 w 200"/>
                  <a:gd name="T43" fmla="*/ 100 h 140"/>
                  <a:gd name="T44" fmla="*/ 0 w 200"/>
                  <a:gd name="T45" fmla="*/ 104 h 140"/>
                  <a:gd name="T46" fmla="*/ 2 w 200"/>
                  <a:gd name="T47" fmla="*/ 107 h 140"/>
                  <a:gd name="T48" fmla="*/ 5 w 200"/>
                  <a:gd name="T49" fmla="*/ 110 h 140"/>
                  <a:gd name="T50" fmla="*/ 9 w 200"/>
                  <a:gd name="T51" fmla="*/ 110 h 140"/>
                  <a:gd name="T52" fmla="*/ 24 w 200"/>
                  <a:gd name="T53" fmla="*/ 110 h 140"/>
                  <a:gd name="T54" fmla="*/ 48 w 200"/>
                  <a:gd name="T55" fmla="*/ 138 h 140"/>
                  <a:gd name="T56" fmla="*/ 48 w 200"/>
                  <a:gd name="T57" fmla="*/ 138 h 140"/>
                  <a:gd name="T58" fmla="*/ 50 w 200"/>
                  <a:gd name="T59" fmla="*/ 140 h 140"/>
                  <a:gd name="T60" fmla="*/ 54 w 200"/>
                  <a:gd name="T61" fmla="*/ 140 h 140"/>
                  <a:gd name="T62" fmla="*/ 119 w 200"/>
                  <a:gd name="T63" fmla="*/ 140 h 140"/>
                  <a:gd name="T64" fmla="*/ 119 w 200"/>
                  <a:gd name="T65" fmla="*/ 140 h 140"/>
                  <a:gd name="T66" fmla="*/ 123 w 200"/>
                  <a:gd name="T67" fmla="*/ 140 h 140"/>
                  <a:gd name="T68" fmla="*/ 125 w 200"/>
                  <a:gd name="T69" fmla="*/ 138 h 140"/>
                  <a:gd name="T70" fmla="*/ 163 w 200"/>
                  <a:gd name="T71" fmla="*/ 100 h 140"/>
                  <a:gd name="T72" fmla="*/ 163 w 200"/>
                  <a:gd name="T73" fmla="*/ 100 h 140"/>
                  <a:gd name="T74" fmla="*/ 164 w 200"/>
                  <a:gd name="T75" fmla="*/ 97 h 140"/>
                  <a:gd name="T76" fmla="*/ 165 w 200"/>
                  <a:gd name="T77" fmla="*/ 93 h 140"/>
                  <a:gd name="T78" fmla="*/ 165 w 200"/>
                  <a:gd name="T79" fmla="*/ 80 h 140"/>
                  <a:gd name="T80" fmla="*/ 180 w 200"/>
                  <a:gd name="T81" fmla="*/ 80 h 140"/>
                  <a:gd name="T82" fmla="*/ 180 w 200"/>
                  <a:gd name="T83" fmla="*/ 105 h 140"/>
                  <a:gd name="T84" fmla="*/ 200 w 200"/>
                  <a:gd name="T85" fmla="*/ 105 h 140"/>
                  <a:gd name="T86" fmla="*/ 200 w 200"/>
                  <a:gd name="T87" fmla="*/ 24 h 140"/>
                  <a:gd name="T88" fmla="*/ 180 w 200"/>
                  <a:gd name="T89" fmla="*/ 2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140">
                    <a:moveTo>
                      <a:pt x="180" y="24"/>
                    </a:moveTo>
                    <a:lnTo>
                      <a:pt x="180" y="49"/>
                    </a:lnTo>
                    <a:lnTo>
                      <a:pt x="165" y="49"/>
                    </a:lnTo>
                    <a:lnTo>
                      <a:pt x="165" y="9"/>
                    </a:lnTo>
                    <a:lnTo>
                      <a:pt x="165" y="9"/>
                    </a:lnTo>
                    <a:lnTo>
                      <a:pt x="164" y="5"/>
                    </a:lnTo>
                    <a:lnTo>
                      <a:pt x="163" y="3"/>
                    </a:lnTo>
                    <a:lnTo>
                      <a:pt x="160" y="0"/>
                    </a:lnTo>
                    <a:lnTo>
                      <a:pt x="156" y="0"/>
                    </a:lnTo>
                    <a:lnTo>
                      <a:pt x="54" y="0"/>
                    </a:lnTo>
                    <a:lnTo>
                      <a:pt x="54" y="0"/>
                    </a:lnTo>
                    <a:lnTo>
                      <a:pt x="50" y="0"/>
                    </a:lnTo>
                    <a:lnTo>
                      <a:pt x="48" y="3"/>
                    </a:lnTo>
                    <a:lnTo>
                      <a:pt x="24" y="29"/>
                    </a:lnTo>
                    <a:lnTo>
                      <a:pt x="9" y="29"/>
                    </a:lnTo>
                    <a:lnTo>
                      <a:pt x="9" y="29"/>
                    </a:lnTo>
                    <a:lnTo>
                      <a:pt x="5" y="31"/>
                    </a:lnTo>
                    <a:lnTo>
                      <a:pt x="2" y="33"/>
                    </a:lnTo>
                    <a:lnTo>
                      <a:pt x="0" y="36"/>
                    </a:lnTo>
                    <a:lnTo>
                      <a:pt x="0" y="40"/>
                    </a:lnTo>
                    <a:lnTo>
                      <a:pt x="0" y="100"/>
                    </a:lnTo>
                    <a:lnTo>
                      <a:pt x="0" y="100"/>
                    </a:lnTo>
                    <a:lnTo>
                      <a:pt x="0" y="104"/>
                    </a:lnTo>
                    <a:lnTo>
                      <a:pt x="2" y="107"/>
                    </a:lnTo>
                    <a:lnTo>
                      <a:pt x="5" y="110"/>
                    </a:lnTo>
                    <a:lnTo>
                      <a:pt x="9" y="110"/>
                    </a:lnTo>
                    <a:lnTo>
                      <a:pt x="24" y="110"/>
                    </a:lnTo>
                    <a:lnTo>
                      <a:pt x="48" y="138"/>
                    </a:lnTo>
                    <a:lnTo>
                      <a:pt x="48" y="138"/>
                    </a:lnTo>
                    <a:lnTo>
                      <a:pt x="50" y="140"/>
                    </a:lnTo>
                    <a:lnTo>
                      <a:pt x="54" y="140"/>
                    </a:lnTo>
                    <a:lnTo>
                      <a:pt x="119" y="140"/>
                    </a:lnTo>
                    <a:lnTo>
                      <a:pt x="119" y="140"/>
                    </a:lnTo>
                    <a:lnTo>
                      <a:pt x="123" y="140"/>
                    </a:lnTo>
                    <a:lnTo>
                      <a:pt x="125" y="138"/>
                    </a:lnTo>
                    <a:lnTo>
                      <a:pt x="163" y="100"/>
                    </a:lnTo>
                    <a:lnTo>
                      <a:pt x="163" y="100"/>
                    </a:lnTo>
                    <a:lnTo>
                      <a:pt x="164" y="97"/>
                    </a:lnTo>
                    <a:lnTo>
                      <a:pt x="165" y="93"/>
                    </a:lnTo>
                    <a:lnTo>
                      <a:pt x="165" y="80"/>
                    </a:lnTo>
                    <a:lnTo>
                      <a:pt x="180" y="80"/>
                    </a:lnTo>
                    <a:lnTo>
                      <a:pt x="180" y="105"/>
                    </a:lnTo>
                    <a:lnTo>
                      <a:pt x="200" y="105"/>
                    </a:lnTo>
                    <a:lnTo>
                      <a:pt x="200" y="24"/>
                    </a:lnTo>
                    <a:lnTo>
                      <a:pt x="180" y="24"/>
                    </a:lnTo>
                    <a:close/>
                  </a:path>
                </a:pathLst>
              </a:custGeom>
              <a:solidFill>
                <a:schemeClr val="tx1"/>
              </a:solidFill>
              <a:ln>
                <a:solidFill>
                  <a:schemeClr val="accent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04" name="Group 1303"/>
            <p:cNvGrpSpPr/>
            <p:nvPr/>
          </p:nvGrpSpPr>
          <p:grpSpPr>
            <a:xfrm>
              <a:off x="5203931" y="5328212"/>
              <a:ext cx="1657115" cy="231633"/>
              <a:chOff x="3679735" y="6018819"/>
              <a:chExt cx="1295858" cy="193573"/>
            </a:xfrm>
          </p:grpSpPr>
          <p:sp>
            <p:nvSpPr>
              <p:cNvPr id="1306" name="Oval 1305"/>
              <p:cNvSpPr/>
              <p:nvPr/>
            </p:nvSpPr>
            <p:spPr bwMode="auto">
              <a:xfrm flipH="1">
                <a:off x="3679735" y="6018819"/>
                <a:ext cx="175976" cy="193573"/>
              </a:xfrm>
              <a:prstGeom prst="ellipse">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05" name="Oval 1304"/>
              <p:cNvSpPr/>
              <p:nvPr/>
            </p:nvSpPr>
            <p:spPr bwMode="auto">
              <a:xfrm flipH="1">
                <a:off x="4799617" y="6018819"/>
                <a:ext cx="175976" cy="193573"/>
              </a:xfrm>
              <a:prstGeom prst="ellipse">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08" name="Group 1307"/>
            <p:cNvGrpSpPr/>
            <p:nvPr/>
          </p:nvGrpSpPr>
          <p:grpSpPr>
            <a:xfrm rot="19656354">
              <a:off x="6679365" y="5249513"/>
              <a:ext cx="187534" cy="182399"/>
              <a:chOff x="4836855" y="5907587"/>
              <a:chExt cx="254840" cy="247861"/>
            </a:xfrm>
          </p:grpSpPr>
          <p:grpSp>
            <p:nvGrpSpPr>
              <p:cNvPr id="1309" name="Group 1308"/>
              <p:cNvGrpSpPr>
                <a:grpSpLocks noChangeAspect="1"/>
              </p:cNvGrpSpPr>
              <p:nvPr/>
            </p:nvGrpSpPr>
            <p:grpSpPr>
              <a:xfrm>
                <a:off x="4883112" y="5907587"/>
                <a:ext cx="208583" cy="208018"/>
                <a:chOff x="9107488" y="8710613"/>
                <a:chExt cx="2924175" cy="2916238"/>
              </a:xfrm>
              <a:solidFill>
                <a:schemeClr val="accent1"/>
              </a:solidFill>
            </p:grpSpPr>
            <p:sp>
              <p:nvSpPr>
                <p:cNvPr id="1311" name="Freeform 31"/>
                <p:cNvSpPr>
                  <a:spLocks noEditPoints="1"/>
                </p:cNvSpPr>
                <p:nvPr/>
              </p:nvSpPr>
              <p:spPr bwMode="auto">
                <a:xfrm>
                  <a:off x="10177463" y="8710613"/>
                  <a:ext cx="1854200" cy="1333500"/>
                </a:xfrm>
                <a:custGeom>
                  <a:avLst/>
                  <a:gdLst>
                    <a:gd name="T0" fmla="*/ 1715 w 2336"/>
                    <a:gd name="T1" fmla="*/ 1040 h 1682"/>
                    <a:gd name="T2" fmla="*/ 1683 w 2336"/>
                    <a:gd name="T3" fmla="*/ 1141 h 1682"/>
                    <a:gd name="T4" fmla="*/ 1504 w 2336"/>
                    <a:gd name="T5" fmla="*/ 1319 h 1682"/>
                    <a:gd name="T6" fmla="*/ 1429 w 2336"/>
                    <a:gd name="T7" fmla="*/ 1431 h 1682"/>
                    <a:gd name="T8" fmla="*/ 1593 w 2336"/>
                    <a:gd name="T9" fmla="*/ 1454 h 1682"/>
                    <a:gd name="T10" fmla="*/ 1621 w 2336"/>
                    <a:gd name="T11" fmla="*/ 1370 h 1682"/>
                    <a:gd name="T12" fmla="*/ 1745 w 2336"/>
                    <a:gd name="T13" fmla="*/ 1270 h 1682"/>
                    <a:gd name="T14" fmla="*/ 1808 w 2336"/>
                    <a:gd name="T15" fmla="*/ 1338 h 1682"/>
                    <a:gd name="T16" fmla="*/ 1848 w 2336"/>
                    <a:gd name="T17" fmla="*/ 1431 h 1682"/>
                    <a:gd name="T18" fmla="*/ 1846 w 2336"/>
                    <a:gd name="T19" fmla="*/ 1525 h 1682"/>
                    <a:gd name="T20" fmla="*/ 1799 w 2336"/>
                    <a:gd name="T21" fmla="*/ 1607 h 1682"/>
                    <a:gd name="T22" fmla="*/ 1707 w 2336"/>
                    <a:gd name="T23" fmla="*/ 1663 h 1682"/>
                    <a:gd name="T24" fmla="*/ 1552 w 2336"/>
                    <a:gd name="T25" fmla="*/ 1682 h 1682"/>
                    <a:gd name="T26" fmla="*/ 1285 w 2336"/>
                    <a:gd name="T27" fmla="*/ 1641 h 1682"/>
                    <a:gd name="T28" fmla="*/ 774 w 2336"/>
                    <a:gd name="T29" fmla="*/ 1437 h 1682"/>
                    <a:gd name="T30" fmla="*/ 437 w 2336"/>
                    <a:gd name="T31" fmla="*/ 1327 h 1682"/>
                    <a:gd name="T32" fmla="*/ 265 w 2336"/>
                    <a:gd name="T33" fmla="*/ 1328 h 1682"/>
                    <a:gd name="T34" fmla="*/ 233 w 2336"/>
                    <a:gd name="T35" fmla="*/ 1409 h 1682"/>
                    <a:gd name="T36" fmla="*/ 123 w 2336"/>
                    <a:gd name="T37" fmla="*/ 1495 h 1682"/>
                    <a:gd name="T38" fmla="*/ 16 w 2336"/>
                    <a:gd name="T39" fmla="*/ 1366 h 1682"/>
                    <a:gd name="T40" fmla="*/ 1 w 2336"/>
                    <a:gd name="T41" fmla="*/ 1261 h 1682"/>
                    <a:gd name="T42" fmla="*/ 39 w 2336"/>
                    <a:gd name="T43" fmla="*/ 1169 h 1682"/>
                    <a:gd name="T44" fmla="*/ 142 w 2336"/>
                    <a:gd name="T45" fmla="*/ 1110 h 1682"/>
                    <a:gd name="T46" fmla="*/ 362 w 2336"/>
                    <a:gd name="T47" fmla="*/ 1096 h 1682"/>
                    <a:gd name="T48" fmla="*/ 651 w 2336"/>
                    <a:gd name="T49" fmla="*/ 1160 h 1682"/>
                    <a:gd name="T50" fmla="*/ 954 w 2336"/>
                    <a:gd name="T51" fmla="*/ 876 h 1682"/>
                    <a:gd name="T52" fmla="*/ 1103 w 2336"/>
                    <a:gd name="T53" fmla="*/ 709 h 1682"/>
                    <a:gd name="T54" fmla="*/ 1249 w 2336"/>
                    <a:gd name="T55" fmla="*/ 618 h 1682"/>
                    <a:gd name="T56" fmla="*/ 1343 w 2336"/>
                    <a:gd name="T57" fmla="*/ 618 h 1682"/>
                    <a:gd name="T58" fmla="*/ 1447 w 2336"/>
                    <a:gd name="T59" fmla="*/ 552 h 1682"/>
                    <a:gd name="T60" fmla="*/ 1517 w 2336"/>
                    <a:gd name="T61" fmla="*/ 387 h 1682"/>
                    <a:gd name="T62" fmla="*/ 1541 w 2336"/>
                    <a:gd name="T63" fmla="*/ 245 h 1682"/>
                    <a:gd name="T64" fmla="*/ 1606 w 2336"/>
                    <a:gd name="T65" fmla="*/ 137 h 1682"/>
                    <a:gd name="T66" fmla="*/ 1756 w 2336"/>
                    <a:gd name="T67" fmla="*/ 32 h 1682"/>
                    <a:gd name="T68" fmla="*/ 1999 w 2336"/>
                    <a:gd name="T69" fmla="*/ 6 h 1682"/>
                    <a:gd name="T70" fmla="*/ 2205 w 2336"/>
                    <a:gd name="T71" fmla="*/ 96 h 1682"/>
                    <a:gd name="T72" fmla="*/ 2285 w 2336"/>
                    <a:gd name="T73" fmla="*/ 191 h 1682"/>
                    <a:gd name="T74" fmla="*/ 2330 w 2336"/>
                    <a:gd name="T75" fmla="*/ 318 h 1682"/>
                    <a:gd name="T76" fmla="*/ 2334 w 2336"/>
                    <a:gd name="T77" fmla="*/ 449 h 1682"/>
                    <a:gd name="T78" fmla="*/ 2272 w 2336"/>
                    <a:gd name="T79" fmla="*/ 621 h 1682"/>
                    <a:gd name="T80" fmla="*/ 2130 w 2336"/>
                    <a:gd name="T81" fmla="*/ 760 h 1682"/>
                    <a:gd name="T82" fmla="*/ 1986 w 2336"/>
                    <a:gd name="T83" fmla="*/ 805 h 1682"/>
                    <a:gd name="T84" fmla="*/ 1866 w 2336"/>
                    <a:gd name="T85" fmla="*/ 805 h 1682"/>
                    <a:gd name="T86" fmla="*/ 1799 w 2336"/>
                    <a:gd name="T87" fmla="*/ 850 h 1682"/>
                    <a:gd name="T88" fmla="*/ 1949 w 2336"/>
                    <a:gd name="T89" fmla="*/ 582 h 1682"/>
                    <a:gd name="T90" fmla="*/ 2037 w 2336"/>
                    <a:gd name="T91" fmla="*/ 550 h 1682"/>
                    <a:gd name="T92" fmla="*/ 2095 w 2336"/>
                    <a:gd name="T93" fmla="*/ 470 h 1682"/>
                    <a:gd name="T94" fmla="*/ 2100 w 2336"/>
                    <a:gd name="T95" fmla="*/ 371 h 1682"/>
                    <a:gd name="T96" fmla="*/ 2057 w 2336"/>
                    <a:gd name="T97" fmla="*/ 281 h 1682"/>
                    <a:gd name="T98" fmla="*/ 1967 w 2336"/>
                    <a:gd name="T99" fmla="*/ 228 h 1682"/>
                    <a:gd name="T100" fmla="*/ 1863 w 2336"/>
                    <a:gd name="T101" fmla="*/ 236 h 1682"/>
                    <a:gd name="T102" fmla="*/ 1777 w 2336"/>
                    <a:gd name="T103" fmla="*/ 296 h 1682"/>
                    <a:gd name="T104" fmla="*/ 1752 w 2336"/>
                    <a:gd name="T105" fmla="*/ 387 h 1682"/>
                    <a:gd name="T106" fmla="*/ 1779 w 2336"/>
                    <a:gd name="T107" fmla="*/ 485 h 1682"/>
                    <a:gd name="T108" fmla="*/ 1846 w 2336"/>
                    <a:gd name="T109" fmla="*/ 558 h 1682"/>
                    <a:gd name="T110" fmla="*/ 1949 w 2336"/>
                    <a:gd name="T111" fmla="*/ 582 h 1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36" h="1682">
                      <a:moveTo>
                        <a:pt x="1706" y="956"/>
                      </a:moveTo>
                      <a:lnTo>
                        <a:pt x="1706" y="956"/>
                      </a:lnTo>
                      <a:lnTo>
                        <a:pt x="1709" y="979"/>
                      </a:lnTo>
                      <a:lnTo>
                        <a:pt x="1713" y="999"/>
                      </a:lnTo>
                      <a:lnTo>
                        <a:pt x="1715" y="1020"/>
                      </a:lnTo>
                      <a:lnTo>
                        <a:pt x="1715" y="1040"/>
                      </a:lnTo>
                      <a:lnTo>
                        <a:pt x="1713" y="1059"/>
                      </a:lnTo>
                      <a:lnTo>
                        <a:pt x="1709" y="1076"/>
                      </a:lnTo>
                      <a:lnTo>
                        <a:pt x="1706" y="1093"/>
                      </a:lnTo>
                      <a:lnTo>
                        <a:pt x="1698" y="1110"/>
                      </a:lnTo>
                      <a:lnTo>
                        <a:pt x="1693" y="1126"/>
                      </a:lnTo>
                      <a:lnTo>
                        <a:pt x="1683" y="1141"/>
                      </a:lnTo>
                      <a:lnTo>
                        <a:pt x="1664" y="1169"/>
                      </a:lnTo>
                      <a:lnTo>
                        <a:pt x="1642" y="1197"/>
                      </a:lnTo>
                      <a:lnTo>
                        <a:pt x="1616" y="1224"/>
                      </a:lnTo>
                      <a:lnTo>
                        <a:pt x="1588" y="1248"/>
                      </a:lnTo>
                      <a:lnTo>
                        <a:pt x="1560" y="1272"/>
                      </a:lnTo>
                      <a:lnTo>
                        <a:pt x="1504" y="1319"/>
                      </a:lnTo>
                      <a:lnTo>
                        <a:pt x="1476" y="1343"/>
                      </a:lnTo>
                      <a:lnTo>
                        <a:pt x="1451" y="1370"/>
                      </a:lnTo>
                      <a:lnTo>
                        <a:pt x="1429" y="1396"/>
                      </a:lnTo>
                      <a:lnTo>
                        <a:pt x="1410" y="1424"/>
                      </a:lnTo>
                      <a:lnTo>
                        <a:pt x="1410" y="1424"/>
                      </a:lnTo>
                      <a:lnTo>
                        <a:pt x="1429" y="1431"/>
                      </a:lnTo>
                      <a:lnTo>
                        <a:pt x="1449" y="1437"/>
                      </a:lnTo>
                      <a:lnTo>
                        <a:pt x="1472" y="1443"/>
                      </a:lnTo>
                      <a:lnTo>
                        <a:pt x="1494" y="1446"/>
                      </a:lnTo>
                      <a:lnTo>
                        <a:pt x="1543" y="1450"/>
                      </a:lnTo>
                      <a:lnTo>
                        <a:pt x="1593" y="1454"/>
                      </a:lnTo>
                      <a:lnTo>
                        <a:pt x="1593" y="1454"/>
                      </a:lnTo>
                      <a:lnTo>
                        <a:pt x="1593" y="1439"/>
                      </a:lnTo>
                      <a:lnTo>
                        <a:pt x="1597" y="1424"/>
                      </a:lnTo>
                      <a:lnTo>
                        <a:pt x="1601" y="1409"/>
                      </a:lnTo>
                      <a:lnTo>
                        <a:pt x="1606" y="1396"/>
                      </a:lnTo>
                      <a:lnTo>
                        <a:pt x="1612" y="1383"/>
                      </a:lnTo>
                      <a:lnTo>
                        <a:pt x="1621" y="1370"/>
                      </a:lnTo>
                      <a:lnTo>
                        <a:pt x="1631" y="1356"/>
                      </a:lnTo>
                      <a:lnTo>
                        <a:pt x="1640" y="1345"/>
                      </a:lnTo>
                      <a:lnTo>
                        <a:pt x="1663" y="1323"/>
                      </a:lnTo>
                      <a:lnTo>
                        <a:pt x="1689" y="1302"/>
                      </a:lnTo>
                      <a:lnTo>
                        <a:pt x="1717" y="1285"/>
                      </a:lnTo>
                      <a:lnTo>
                        <a:pt x="1745" y="1270"/>
                      </a:lnTo>
                      <a:lnTo>
                        <a:pt x="1745" y="1270"/>
                      </a:lnTo>
                      <a:lnTo>
                        <a:pt x="1760" y="1284"/>
                      </a:lnTo>
                      <a:lnTo>
                        <a:pt x="1773" y="1295"/>
                      </a:lnTo>
                      <a:lnTo>
                        <a:pt x="1786" y="1310"/>
                      </a:lnTo>
                      <a:lnTo>
                        <a:pt x="1797" y="1323"/>
                      </a:lnTo>
                      <a:lnTo>
                        <a:pt x="1808" y="1338"/>
                      </a:lnTo>
                      <a:lnTo>
                        <a:pt x="1818" y="1353"/>
                      </a:lnTo>
                      <a:lnTo>
                        <a:pt x="1827" y="1368"/>
                      </a:lnTo>
                      <a:lnTo>
                        <a:pt x="1833" y="1383"/>
                      </a:lnTo>
                      <a:lnTo>
                        <a:pt x="1840" y="1399"/>
                      </a:lnTo>
                      <a:lnTo>
                        <a:pt x="1844" y="1414"/>
                      </a:lnTo>
                      <a:lnTo>
                        <a:pt x="1848" y="1431"/>
                      </a:lnTo>
                      <a:lnTo>
                        <a:pt x="1852" y="1446"/>
                      </a:lnTo>
                      <a:lnTo>
                        <a:pt x="1852" y="1463"/>
                      </a:lnTo>
                      <a:lnTo>
                        <a:pt x="1853" y="1478"/>
                      </a:lnTo>
                      <a:lnTo>
                        <a:pt x="1852" y="1495"/>
                      </a:lnTo>
                      <a:lnTo>
                        <a:pt x="1850" y="1510"/>
                      </a:lnTo>
                      <a:lnTo>
                        <a:pt x="1846" y="1525"/>
                      </a:lnTo>
                      <a:lnTo>
                        <a:pt x="1842" y="1540"/>
                      </a:lnTo>
                      <a:lnTo>
                        <a:pt x="1837" y="1555"/>
                      </a:lnTo>
                      <a:lnTo>
                        <a:pt x="1829" y="1570"/>
                      </a:lnTo>
                      <a:lnTo>
                        <a:pt x="1820" y="1583"/>
                      </a:lnTo>
                      <a:lnTo>
                        <a:pt x="1810" y="1596"/>
                      </a:lnTo>
                      <a:lnTo>
                        <a:pt x="1799" y="1607"/>
                      </a:lnTo>
                      <a:lnTo>
                        <a:pt x="1788" y="1618"/>
                      </a:lnTo>
                      <a:lnTo>
                        <a:pt x="1775" y="1630"/>
                      </a:lnTo>
                      <a:lnTo>
                        <a:pt x="1760" y="1639"/>
                      </a:lnTo>
                      <a:lnTo>
                        <a:pt x="1743" y="1648"/>
                      </a:lnTo>
                      <a:lnTo>
                        <a:pt x="1726" y="1656"/>
                      </a:lnTo>
                      <a:lnTo>
                        <a:pt x="1707" y="1663"/>
                      </a:lnTo>
                      <a:lnTo>
                        <a:pt x="1687" y="1669"/>
                      </a:lnTo>
                      <a:lnTo>
                        <a:pt x="1666" y="1673"/>
                      </a:lnTo>
                      <a:lnTo>
                        <a:pt x="1644" y="1676"/>
                      </a:lnTo>
                      <a:lnTo>
                        <a:pt x="1644" y="1676"/>
                      </a:lnTo>
                      <a:lnTo>
                        <a:pt x="1597" y="1680"/>
                      </a:lnTo>
                      <a:lnTo>
                        <a:pt x="1552" y="1682"/>
                      </a:lnTo>
                      <a:lnTo>
                        <a:pt x="1505" y="1680"/>
                      </a:lnTo>
                      <a:lnTo>
                        <a:pt x="1461" y="1676"/>
                      </a:lnTo>
                      <a:lnTo>
                        <a:pt x="1416" y="1671"/>
                      </a:lnTo>
                      <a:lnTo>
                        <a:pt x="1373" y="1661"/>
                      </a:lnTo>
                      <a:lnTo>
                        <a:pt x="1328" y="1652"/>
                      </a:lnTo>
                      <a:lnTo>
                        <a:pt x="1285" y="1641"/>
                      </a:lnTo>
                      <a:lnTo>
                        <a:pt x="1242" y="1628"/>
                      </a:lnTo>
                      <a:lnTo>
                        <a:pt x="1199" y="1615"/>
                      </a:lnTo>
                      <a:lnTo>
                        <a:pt x="1113" y="1583"/>
                      </a:lnTo>
                      <a:lnTo>
                        <a:pt x="1027" y="1547"/>
                      </a:lnTo>
                      <a:lnTo>
                        <a:pt x="942" y="1512"/>
                      </a:lnTo>
                      <a:lnTo>
                        <a:pt x="774" y="1437"/>
                      </a:lnTo>
                      <a:lnTo>
                        <a:pt x="692" y="1403"/>
                      </a:lnTo>
                      <a:lnTo>
                        <a:pt x="608" y="1373"/>
                      </a:lnTo>
                      <a:lnTo>
                        <a:pt x="565" y="1358"/>
                      </a:lnTo>
                      <a:lnTo>
                        <a:pt x="521" y="1347"/>
                      </a:lnTo>
                      <a:lnTo>
                        <a:pt x="480" y="1336"/>
                      </a:lnTo>
                      <a:lnTo>
                        <a:pt x="437" y="1327"/>
                      </a:lnTo>
                      <a:lnTo>
                        <a:pt x="394" y="1319"/>
                      </a:lnTo>
                      <a:lnTo>
                        <a:pt x="351" y="1315"/>
                      </a:lnTo>
                      <a:lnTo>
                        <a:pt x="308" y="1312"/>
                      </a:lnTo>
                      <a:lnTo>
                        <a:pt x="265" y="1312"/>
                      </a:lnTo>
                      <a:lnTo>
                        <a:pt x="265" y="1312"/>
                      </a:lnTo>
                      <a:lnTo>
                        <a:pt x="265" y="1328"/>
                      </a:lnTo>
                      <a:lnTo>
                        <a:pt x="265" y="1343"/>
                      </a:lnTo>
                      <a:lnTo>
                        <a:pt x="261" y="1358"/>
                      </a:lnTo>
                      <a:lnTo>
                        <a:pt x="258" y="1371"/>
                      </a:lnTo>
                      <a:lnTo>
                        <a:pt x="250" y="1385"/>
                      </a:lnTo>
                      <a:lnTo>
                        <a:pt x="243" y="1398"/>
                      </a:lnTo>
                      <a:lnTo>
                        <a:pt x="233" y="1409"/>
                      </a:lnTo>
                      <a:lnTo>
                        <a:pt x="224" y="1422"/>
                      </a:lnTo>
                      <a:lnTo>
                        <a:pt x="202" y="1443"/>
                      </a:lnTo>
                      <a:lnTo>
                        <a:pt x="175" y="1461"/>
                      </a:lnTo>
                      <a:lnTo>
                        <a:pt x="149" y="1478"/>
                      </a:lnTo>
                      <a:lnTo>
                        <a:pt x="123" y="1495"/>
                      </a:lnTo>
                      <a:lnTo>
                        <a:pt x="123" y="1495"/>
                      </a:lnTo>
                      <a:lnTo>
                        <a:pt x="99" y="1472"/>
                      </a:lnTo>
                      <a:lnTo>
                        <a:pt x="74" y="1450"/>
                      </a:lnTo>
                      <a:lnTo>
                        <a:pt x="52" y="1424"/>
                      </a:lnTo>
                      <a:lnTo>
                        <a:pt x="33" y="1396"/>
                      </a:lnTo>
                      <a:lnTo>
                        <a:pt x="24" y="1383"/>
                      </a:lnTo>
                      <a:lnTo>
                        <a:pt x="16" y="1366"/>
                      </a:lnTo>
                      <a:lnTo>
                        <a:pt x="11" y="1351"/>
                      </a:lnTo>
                      <a:lnTo>
                        <a:pt x="5" y="1334"/>
                      </a:lnTo>
                      <a:lnTo>
                        <a:pt x="3" y="1317"/>
                      </a:lnTo>
                      <a:lnTo>
                        <a:pt x="0" y="1298"/>
                      </a:lnTo>
                      <a:lnTo>
                        <a:pt x="0" y="1280"/>
                      </a:lnTo>
                      <a:lnTo>
                        <a:pt x="1" y="1261"/>
                      </a:lnTo>
                      <a:lnTo>
                        <a:pt x="1" y="1261"/>
                      </a:lnTo>
                      <a:lnTo>
                        <a:pt x="5" y="1239"/>
                      </a:lnTo>
                      <a:lnTo>
                        <a:pt x="11" y="1220"/>
                      </a:lnTo>
                      <a:lnTo>
                        <a:pt x="18" y="1201"/>
                      </a:lnTo>
                      <a:lnTo>
                        <a:pt x="28" y="1184"/>
                      </a:lnTo>
                      <a:lnTo>
                        <a:pt x="39" y="1169"/>
                      </a:lnTo>
                      <a:lnTo>
                        <a:pt x="52" y="1156"/>
                      </a:lnTo>
                      <a:lnTo>
                        <a:pt x="69" y="1145"/>
                      </a:lnTo>
                      <a:lnTo>
                        <a:pt x="84" y="1134"/>
                      </a:lnTo>
                      <a:lnTo>
                        <a:pt x="102" y="1125"/>
                      </a:lnTo>
                      <a:lnTo>
                        <a:pt x="121" y="1117"/>
                      </a:lnTo>
                      <a:lnTo>
                        <a:pt x="142" y="1110"/>
                      </a:lnTo>
                      <a:lnTo>
                        <a:pt x="164" y="1104"/>
                      </a:lnTo>
                      <a:lnTo>
                        <a:pt x="187" y="1100"/>
                      </a:lnTo>
                      <a:lnTo>
                        <a:pt x="211" y="1096"/>
                      </a:lnTo>
                      <a:lnTo>
                        <a:pt x="260" y="1095"/>
                      </a:lnTo>
                      <a:lnTo>
                        <a:pt x="310" y="1095"/>
                      </a:lnTo>
                      <a:lnTo>
                        <a:pt x="362" y="1096"/>
                      </a:lnTo>
                      <a:lnTo>
                        <a:pt x="415" y="1104"/>
                      </a:lnTo>
                      <a:lnTo>
                        <a:pt x="467" y="1111"/>
                      </a:lnTo>
                      <a:lnTo>
                        <a:pt x="518" y="1123"/>
                      </a:lnTo>
                      <a:lnTo>
                        <a:pt x="565" y="1134"/>
                      </a:lnTo>
                      <a:lnTo>
                        <a:pt x="609" y="1147"/>
                      </a:lnTo>
                      <a:lnTo>
                        <a:pt x="651" y="1160"/>
                      </a:lnTo>
                      <a:lnTo>
                        <a:pt x="651" y="1160"/>
                      </a:lnTo>
                      <a:lnTo>
                        <a:pt x="686" y="1130"/>
                      </a:lnTo>
                      <a:lnTo>
                        <a:pt x="722" y="1100"/>
                      </a:lnTo>
                      <a:lnTo>
                        <a:pt x="795" y="1033"/>
                      </a:lnTo>
                      <a:lnTo>
                        <a:pt x="871" y="958"/>
                      </a:lnTo>
                      <a:lnTo>
                        <a:pt x="954" y="876"/>
                      </a:lnTo>
                      <a:lnTo>
                        <a:pt x="954" y="876"/>
                      </a:lnTo>
                      <a:lnTo>
                        <a:pt x="974" y="855"/>
                      </a:lnTo>
                      <a:lnTo>
                        <a:pt x="995" y="833"/>
                      </a:lnTo>
                      <a:lnTo>
                        <a:pt x="1036" y="782"/>
                      </a:lnTo>
                      <a:lnTo>
                        <a:pt x="1081" y="734"/>
                      </a:lnTo>
                      <a:lnTo>
                        <a:pt x="1103" y="709"/>
                      </a:lnTo>
                      <a:lnTo>
                        <a:pt x="1128" y="687"/>
                      </a:lnTo>
                      <a:lnTo>
                        <a:pt x="1152" y="666"/>
                      </a:lnTo>
                      <a:lnTo>
                        <a:pt x="1178" y="647"/>
                      </a:lnTo>
                      <a:lnTo>
                        <a:pt x="1206" y="633"/>
                      </a:lnTo>
                      <a:lnTo>
                        <a:pt x="1234" y="621"/>
                      </a:lnTo>
                      <a:lnTo>
                        <a:pt x="1249" y="618"/>
                      </a:lnTo>
                      <a:lnTo>
                        <a:pt x="1264" y="614"/>
                      </a:lnTo>
                      <a:lnTo>
                        <a:pt x="1279" y="612"/>
                      </a:lnTo>
                      <a:lnTo>
                        <a:pt x="1294" y="612"/>
                      </a:lnTo>
                      <a:lnTo>
                        <a:pt x="1311" y="612"/>
                      </a:lnTo>
                      <a:lnTo>
                        <a:pt x="1326" y="614"/>
                      </a:lnTo>
                      <a:lnTo>
                        <a:pt x="1343" y="618"/>
                      </a:lnTo>
                      <a:lnTo>
                        <a:pt x="1360" y="621"/>
                      </a:lnTo>
                      <a:lnTo>
                        <a:pt x="1360" y="621"/>
                      </a:lnTo>
                      <a:lnTo>
                        <a:pt x="1384" y="606"/>
                      </a:lnTo>
                      <a:lnTo>
                        <a:pt x="1406" y="590"/>
                      </a:lnTo>
                      <a:lnTo>
                        <a:pt x="1427" y="573"/>
                      </a:lnTo>
                      <a:lnTo>
                        <a:pt x="1447" y="552"/>
                      </a:lnTo>
                      <a:lnTo>
                        <a:pt x="1485" y="511"/>
                      </a:lnTo>
                      <a:lnTo>
                        <a:pt x="1522" y="470"/>
                      </a:lnTo>
                      <a:lnTo>
                        <a:pt x="1522" y="470"/>
                      </a:lnTo>
                      <a:lnTo>
                        <a:pt x="1519" y="442"/>
                      </a:lnTo>
                      <a:lnTo>
                        <a:pt x="1517" y="414"/>
                      </a:lnTo>
                      <a:lnTo>
                        <a:pt x="1517" y="387"/>
                      </a:lnTo>
                      <a:lnTo>
                        <a:pt x="1517" y="361"/>
                      </a:lnTo>
                      <a:lnTo>
                        <a:pt x="1520" y="337"/>
                      </a:lnTo>
                      <a:lnTo>
                        <a:pt x="1522" y="313"/>
                      </a:lnTo>
                      <a:lnTo>
                        <a:pt x="1528" y="290"/>
                      </a:lnTo>
                      <a:lnTo>
                        <a:pt x="1533" y="268"/>
                      </a:lnTo>
                      <a:lnTo>
                        <a:pt x="1541" y="245"/>
                      </a:lnTo>
                      <a:lnTo>
                        <a:pt x="1550" y="225"/>
                      </a:lnTo>
                      <a:lnTo>
                        <a:pt x="1560" y="206"/>
                      </a:lnTo>
                      <a:lnTo>
                        <a:pt x="1569" y="187"/>
                      </a:lnTo>
                      <a:lnTo>
                        <a:pt x="1580" y="169"/>
                      </a:lnTo>
                      <a:lnTo>
                        <a:pt x="1593" y="152"/>
                      </a:lnTo>
                      <a:lnTo>
                        <a:pt x="1606" y="137"/>
                      </a:lnTo>
                      <a:lnTo>
                        <a:pt x="1620" y="122"/>
                      </a:lnTo>
                      <a:lnTo>
                        <a:pt x="1635" y="107"/>
                      </a:lnTo>
                      <a:lnTo>
                        <a:pt x="1649" y="94"/>
                      </a:lnTo>
                      <a:lnTo>
                        <a:pt x="1683" y="69"/>
                      </a:lnTo>
                      <a:lnTo>
                        <a:pt x="1719" y="49"/>
                      </a:lnTo>
                      <a:lnTo>
                        <a:pt x="1756" y="32"/>
                      </a:lnTo>
                      <a:lnTo>
                        <a:pt x="1795" y="19"/>
                      </a:lnTo>
                      <a:lnTo>
                        <a:pt x="1835" y="10"/>
                      </a:lnTo>
                      <a:lnTo>
                        <a:pt x="1876" y="2"/>
                      </a:lnTo>
                      <a:lnTo>
                        <a:pt x="1917" y="0"/>
                      </a:lnTo>
                      <a:lnTo>
                        <a:pt x="1958" y="2"/>
                      </a:lnTo>
                      <a:lnTo>
                        <a:pt x="1999" y="6"/>
                      </a:lnTo>
                      <a:lnTo>
                        <a:pt x="2040" y="13"/>
                      </a:lnTo>
                      <a:lnTo>
                        <a:pt x="2080" y="26"/>
                      </a:lnTo>
                      <a:lnTo>
                        <a:pt x="2117" y="41"/>
                      </a:lnTo>
                      <a:lnTo>
                        <a:pt x="2155" y="60"/>
                      </a:lnTo>
                      <a:lnTo>
                        <a:pt x="2188" y="83"/>
                      </a:lnTo>
                      <a:lnTo>
                        <a:pt x="2205" y="96"/>
                      </a:lnTo>
                      <a:lnTo>
                        <a:pt x="2220" y="109"/>
                      </a:lnTo>
                      <a:lnTo>
                        <a:pt x="2235" y="124"/>
                      </a:lnTo>
                      <a:lnTo>
                        <a:pt x="2248" y="139"/>
                      </a:lnTo>
                      <a:lnTo>
                        <a:pt x="2261" y="156"/>
                      </a:lnTo>
                      <a:lnTo>
                        <a:pt x="2274" y="172"/>
                      </a:lnTo>
                      <a:lnTo>
                        <a:pt x="2285" y="191"/>
                      </a:lnTo>
                      <a:lnTo>
                        <a:pt x="2295" y="210"/>
                      </a:lnTo>
                      <a:lnTo>
                        <a:pt x="2304" y="230"/>
                      </a:lnTo>
                      <a:lnTo>
                        <a:pt x="2312" y="251"/>
                      </a:lnTo>
                      <a:lnTo>
                        <a:pt x="2319" y="271"/>
                      </a:lnTo>
                      <a:lnTo>
                        <a:pt x="2325" y="294"/>
                      </a:lnTo>
                      <a:lnTo>
                        <a:pt x="2330" y="318"/>
                      </a:lnTo>
                      <a:lnTo>
                        <a:pt x="2334" y="343"/>
                      </a:lnTo>
                      <a:lnTo>
                        <a:pt x="2336" y="369"/>
                      </a:lnTo>
                      <a:lnTo>
                        <a:pt x="2336" y="395"/>
                      </a:lnTo>
                      <a:lnTo>
                        <a:pt x="2336" y="421"/>
                      </a:lnTo>
                      <a:lnTo>
                        <a:pt x="2334" y="449"/>
                      </a:lnTo>
                      <a:lnTo>
                        <a:pt x="2334" y="449"/>
                      </a:lnTo>
                      <a:lnTo>
                        <a:pt x="2329" y="479"/>
                      </a:lnTo>
                      <a:lnTo>
                        <a:pt x="2323" y="507"/>
                      </a:lnTo>
                      <a:lnTo>
                        <a:pt x="2314" y="537"/>
                      </a:lnTo>
                      <a:lnTo>
                        <a:pt x="2302" y="565"/>
                      </a:lnTo>
                      <a:lnTo>
                        <a:pt x="2287" y="593"/>
                      </a:lnTo>
                      <a:lnTo>
                        <a:pt x="2272" y="621"/>
                      </a:lnTo>
                      <a:lnTo>
                        <a:pt x="2254" y="649"/>
                      </a:lnTo>
                      <a:lnTo>
                        <a:pt x="2233" y="674"/>
                      </a:lnTo>
                      <a:lnTo>
                        <a:pt x="2211" y="698"/>
                      </a:lnTo>
                      <a:lnTo>
                        <a:pt x="2186" y="720"/>
                      </a:lnTo>
                      <a:lnTo>
                        <a:pt x="2158" y="741"/>
                      </a:lnTo>
                      <a:lnTo>
                        <a:pt x="2130" y="760"/>
                      </a:lnTo>
                      <a:lnTo>
                        <a:pt x="2100" y="775"/>
                      </a:lnTo>
                      <a:lnTo>
                        <a:pt x="2068" y="788"/>
                      </a:lnTo>
                      <a:lnTo>
                        <a:pt x="2035" y="797"/>
                      </a:lnTo>
                      <a:lnTo>
                        <a:pt x="1999" y="805"/>
                      </a:lnTo>
                      <a:lnTo>
                        <a:pt x="1999" y="805"/>
                      </a:lnTo>
                      <a:lnTo>
                        <a:pt x="1986" y="805"/>
                      </a:lnTo>
                      <a:lnTo>
                        <a:pt x="1971" y="805"/>
                      </a:lnTo>
                      <a:lnTo>
                        <a:pt x="1941" y="799"/>
                      </a:lnTo>
                      <a:lnTo>
                        <a:pt x="1926" y="799"/>
                      </a:lnTo>
                      <a:lnTo>
                        <a:pt x="1908" y="797"/>
                      </a:lnTo>
                      <a:lnTo>
                        <a:pt x="1889" y="799"/>
                      </a:lnTo>
                      <a:lnTo>
                        <a:pt x="1866" y="805"/>
                      </a:lnTo>
                      <a:lnTo>
                        <a:pt x="1866" y="805"/>
                      </a:lnTo>
                      <a:lnTo>
                        <a:pt x="1853" y="808"/>
                      </a:lnTo>
                      <a:lnTo>
                        <a:pt x="1840" y="816"/>
                      </a:lnTo>
                      <a:lnTo>
                        <a:pt x="1829" y="821"/>
                      </a:lnTo>
                      <a:lnTo>
                        <a:pt x="1820" y="831"/>
                      </a:lnTo>
                      <a:lnTo>
                        <a:pt x="1799" y="850"/>
                      </a:lnTo>
                      <a:lnTo>
                        <a:pt x="1782" y="870"/>
                      </a:lnTo>
                      <a:lnTo>
                        <a:pt x="1747" y="915"/>
                      </a:lnTo>
                      <a:lnTo>
                        <a:pt x="1728" y="936"/>
                      </a:lnTo>
                      <a:lnTo>
                        <a:pt x="1706" y="956"/>
                      </a:lnTo>
                      <a:lnTo>
                        <a:pt x="1706" y="956"/>
                      </a:lnTo>
                      <a:close/>
                      <a:moveTo>
                        <a:pt x="1949" y="582"/>
                      </a:moveTo>
                      <a:lnTo>
                        <a:pt x="1949" y="582"/>
                      </a:lnTo>
                      <a:lnTo>
                        <a:pt x="1969" y="578"/>
                      </a:lnTo>
                      <a:lnTo>
                        <a:pt x="1988" y="575"/>
                      </a:lnTo>
                      <a:lnTo>
                        <a:pt x="2007" y="567"/>
                      </a:lnTo>
                      <a:lnTo>
                        <a:pt x="2022" y="560"/>
                      </a:lnTo>
                      <a:lnTo>
                        <a:pt x="2037" y="550"/>
                      </a:lnTo>
                      <a:lnTo>
                        <a:pt x="2050" y="539"/>
                      </a:lnTo>
                      <a:lnTo>
                        <a:pt x="2061" y="528"/>
                      </a:lnTo>
                      <a:lnTo>
                        <a:pt x="2072" y="515"/>
                      </a:lnTo>
                      <a:lnTo>
                        <a:pt x="2080" y="500"/>
                      </a:lnTo>
                      <a:lnTo>
                        <a:pt x="2087" y="485"/>
                      </a:lnTo>
                      <a:lnTo>
                        <a:pt x="2095" y="470"/>
                      </a:lnTo>
                      <a:lnTo>
                        <a:pt x="2098" y="453"/>
                      </a:lnTo>
                      <a:lnTo>
                        <a:pt x="2102" y="438"/>
                      </a:lnTo>
                      <a:lnTo>
                        <a:pt x="2102" y="421"/>
                      </a:lnTo>
                      <a:lnTo>
                        <a:pt x="2104" y="404"/>
                      </a:lnTo>
                      <a:lnTo>
                        <a:pt x="2102" y="387"/>
                      </a:lnTo>
                      <a:lnTo>
                        <a:pt x="2100" y="371"/>
                      </a:lnTo>
                      <a:lnTo>
                        <a:pt x="2097" y="354"/>
                      </a:lnTo>
                      <a:lnTo>
                        <a:pt x="2091" y="337"/>
                      </a:lnTo>
                      <a:lnTo>
                        <a:pt x="2083" y="322"/>
                      </a:lnTo>
                      <a:lnTo>
                        <a:pt x="2076" y="307"/>
                      </a:lnTo>
                      <a:lnTo>
                        <a:pt x="2067" y="294"/>
                      </a:lnTo>
                      <a:lnTo>
                        <a:pt x="2057" y="281"/>
                      </a:lnTo>
                      <a:lnTo>
                        <a:pt x="2046" y="268"/>
                      </a:lnTo>
                      <a:lnTo>
                        <a:pt x="2033" y="257"/>
                      </a:lnTo>
                      <a:lnTo>
                        <a:pt x="2018" y="247"/>
                      </a:lnTo>
                      <a:lnTo>
                        <a:pt x="2003" y="240"/>
                      </a:lnTo>
                      <a:lnTo>
                        <a:pt x="1986" y="234"/>
                      </a:lnTo>
                      <a:lnTo>
                        <a:pt x="1967" y="228"/>
                      </a:lnTo>
                      <a:lnTo>
                        <a:pt x="1949" y="227"/>
                      </a:lnTo>
                      <a:lnTo>
                        <a:pt x="1928" y="225"/>
                      </a:lnTo>
                      <a:lnTo>
                        <a:pt x="1908" y="227"/>
                      </a:lnTo>
                      <a:lnTo>
                        <a:pt x="1908" y="227"/>
                      </a:lnTo>
                      <a:lnTo>
                        <a:pt x="1885" y="230"/>
                      </a:lnTo>
                      <a:lnTo>
                        <a:pt x="1863" y="236"/>
                      </a:lnTo>
                      <a:lnTo>
                        <a:pt x="1844" y="242"/>
                      </a:lnTo>
                      <a:lnTo>
                        <a:pt x="1827" y="251"/>
                      </a:lnTo>
                      <a:lnTo>
                        <a:pt x="1812" y="260"/>
                      </a:lnTo>
                      <a:lnTo>
                        <a:pt x="1799" y="271"/>
                      </a:lnTo>
                      <a:lnTo>
                        <a:pt x="1788" y="283"/>
                      </a:lnTo>
                      <a:lnTo>
                        <a:pt x="1777" y="296"/>
                      </a:lnTo>
                      <a:lnTo>
                        <a:pt x="1769" y="311"/>
                      </a:lnTo>
                      <a:lnTo>
                        <a:pt x="1762" y="324"/>
                      </a:lnTo>
                      <a:lnTo>
                        <a:pt x="1758" y="341"/>
                      </a:lnTo>
                      <a:lnTo>
                        <a:pt x="1754" y="356"/>
                      </a:lnTo>
                      <a:lnTo>
                        <a:pt x="1752" y="373"/>
                      </a:lnTo>
                      <a:lnTo>
                        <a:pt x="1752" y="387"/>
                      </a:lnTo>
                      <a:lnTo>
                        <a:pt x="1752" y="404"/>
                      </a:lnTo>
                      <a:lnTo>
                        <a:pt x="1756" y="421"/>
                      </a:lnTo>
                      <a:lnTo>
                        <a:pt x="1760" y="438"/>
                      </a:lnTo>
                      <a:lnTo>
                        <a:pt x="1764" y="453"/>
                      </a:lnTo>
                      <a:lnTo>
                        <a:pt x="1771" y="470"/>
                      </a:lnTo>
                      <a:lnTo>
                        <a:pt x="1779" y="485"/>
                      </a:lnTo>
                      <a:lnTo>
                        <a:pt x="1786" y="500"/>
                      </a:lnTo>
                      <a:lnTo>
                        <a:pt x="1797" y="513"/>
                      </a:lnTo>
                      <a:lnTo>
                        <a:pt x="1807" y="526"/>
                      </a:lnTo>
                      <a:lnTo>
                        <a:pt x="1820" y="537"/>
                      </a:lnTo>
                      <a:lnTo>
                        <a:pt x="1833" y="548"/>
                      </a:lnTo>
                      <a:lnTo>
                        <a:pt x="1846" y="558"/>
                      </a:lnTo>
                      <a:lnTo>
                        <a:pt x="1861" y="565"/>
                      </a:lnTo>
                      <a:lnTo>
                        <a:pt x="1878" y="573"/>
                      </a:lnTo>
                      <a:lnTo>
                        <a:pt x="1895" y="578"/>
                      </a:lnTo>
                      <a:lnTo>
                        <a:pt x="1911" y="580"/>
                      </a:lnTo>
                      <a:lnTo>
                        <a:pt x="1930" y="582"/>
                      </a:lnTo>
                      <a:lnTo>
                        <a:pt x="1949" y="582"/>
                      </a:lnTo>
                      <a:lnTo>
                        <a:pt x="1949" y="5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2" name="Freeform 33"/>
                <p:cNvSpPr>
                  <a:spLocks/>
                </p:cNvSpPr>
                <p:nvPr/>
              </p:nvSpPr>
              <p:spPr bwMode="auto">
                <a:xfrm>
                  <a:off x="9832975" y="9847263"/>
                  <a:ext cx="1468438" cy="541338"/>
                </a:xfrm>
                <a:custGeom>
                  <a:avLst/>
                  <a:gdLst>
                    <a:gd name="T0" fmla="*/ 1554 w 1850"/>
                    <a:gd name="T1" fmla="*/ 268 h 683"/>
                    <a:gd name="T2" fmla="*/ 1509 w 1850"/>
                    <a:gd name="T3" fmla="*/ 324 h 683"/>
                    <a:gd name="T4" fmla="*/ 1427 w 1850"/>
                    <a:gd name="T5" fmla="*/ 402 h 683"/>
                    <a:gd name="T6" fmla="*/ 1429 w 1850"/>
                    <a:gd name="T7" fmla="*/ 432 h 683"/>
                    <a:gd name="T8" fmla="*/ 1541 w 1850"/>
                    <a:gd name="T9" fmla="*/ 455 h 683"/>
                    <a:gd name="T10" fmla="*/ 1592 w 1850"/>
                    <a:gd name="T11" fmla="*/ 442 h 683"/>
                    <a:gd name="T12" fmla="*/ 1605 w 1850"/>
                    <a:gd name="T13" fmla="*/ 399 h 683"/>
                    <a:gd name="T14" fmla="*/ 1638 w 1850"/>
                    <a:gd name="T15" fmla="*/ 348 h 683"/>
                    <a:gd name="T16" fmla="*/ 1715 w 1850"/>
                    <a:gd name="T17" fmla="*/ 288 h 683"/>
                    <a:gd name="T18" fmla="*/ 1758 w 1850"/>
                    <a:gd name="T19" fmla="*/ 286 h 683"/>
                    <a:gd name="T20" fmla="*/ 1795 w 1850"/>
                    <a:gd name="T21" fmla="*/ 324 h 683"/>
                    <a:gd name="T22" fmla="*/ 1823 w 1850"/>
                    <a:gd name="T23" fmla="*/ 369 h 683"/>
                    <a:gd name="T24" fmla="*/ 1842 w 1850"/>
                    <a:gd name="T25" fmla="*/ 415 h 683"/>
                    <a:gd name="T26" fmla="*/ 1850 w 1850"/>
                    <a:gd name="T27" fmla="*/ 464 h 683"/>
                    <a:gd name="T28" fmla="*/ 1846 w 1850"/>
                    <a:gd name="T29" fmla="*/ 511 h 683"/>
                    <a:gd name="T30" fmla="*/ 1833 w 1850"/>
                    <a:gd name="T31" fmla="*/ 558 h 683"/>
                    <a:gd name="T32" fmla="*/ 1808 w 1850"/>
                    <a:gd name="T33" fmla="*/ 599 h 683"/>
                    <a:gd name="T34" fmla="*/ 1771 w 1850"/>
                    <a:gd name="T35" fmla="*/ 632 h 683"/>
                    <a:gd name="T36" fmla="*/ 1724 w 1850"/>
                    <a:gd name="T37" fmla="*/ 660 h 683"/>
                    <a:gd name="T38" fmla="*/ 1664 w 1850"/>
                    <a:gd name="T39" fmla="*/ 677 h 683"/>
                    <a:gd name="T40" fmla="*/ 1599 w 1850"/>
                    <a:gd name="T41" fmla="*/ 683 h 683"/>
                    <a:gd name="T42" fmla="*/ 1468 w 1850"/>
                    <a:gd name="T43" fmla="*/ 677 h 683"/>
                    <a:gd name="T44" fmla="*/ 1335 w 1850"/>
                    <a:gd name="T45" fmla="*/ 653 h 683"/>
                    <a:gd name="T46" fmla="*/ 1202 w 1850"/>
                    <a:gd name="T47" fmla="*/ 614 h 683"/>
                    <a:gd name="T48" fmla="*/ 935 w 1850"/>
                    <a:gd name="T49" fmla="*/ 509 h 683"/>
                    <a:gd name="T50" fmla="*/ 589 w 1850"/>
                    <a:gd name="T51" fmla="*/ 372 h 683"/>
                    <a:gd name="T52" fmla="*/ 464 w 1850"/>
                    <a:gd name="T53" fmla="*/ 337 h 683"/>
                    <a:gd name="T54" fmla="*/ 342 w 1850"/>
                    <a:gd name="T55" fmla="*/ 316 h 683"/>
                    <a:gd name="T56" fmla="*/ 263 w 1850"/>
                    <a:gd name="T57" fmla="*/ 314 h 683"/>
                    <a:gd name="T58" fmla="*/ 260 w 1850"/>
                    <a:gd name="T59" fmla="*/ 361 h 683"/>
                    <a:gd name="T60" fmla="*/ 239 w 1850"/>
                    <a:gd name="T61" fmla="*/ 402 h 683"/>
                    <a:gd name="T62" fmla="*/ 209 w 1850"/>
                    <a:gd name="T63" fmla="*/ 438 h 683"/>
                    <a:gd name="T64" fmla="*/ 140 w 1850"/>
                    <a:gd name="T65" fmla="*/ 485 h 683"/>
                    <a:gd name="T66" fmla="*/ 91 w 1850"/>
                    <a:gd name="T67" fmla="*/ 473 h 683"/>
                    <a:gd name="T68" fmla="*/ 35 w 1850"/>
                    <a:gd name="T69" fmla="*/ 402 h 683"/>
                    <a:gd name="T70" fmla="*/ 9 w 1850"/>
                    <a:gd name="T71" fmla="*/ 350 h 683"/>
                    <a:gd name="T72" fmla="*/ 0 w 1850"/>
                    <a:gd name="T73" fmla="*/ 301 h 683"/>
                    <a:gd name="T74" fmla="*/ 1 w 1850"/>
                    <a:gd name="T75" fmla="*/ 260 h 683"/>
                    <a:gd name="T76" fmla="*/ 20 w 1850"/>
                    <a:gd name="T77" fmla="*/ 200 h 683"/>
                    <a:gd name="T78" fmla="*/ 58 w 1850"/>
                    <a:gd name="T79" fmla="*/ 155 h 683"/>
                    <a:gd name="T80" fmla="*/ 110 w 1850"/>
                    <a:gd name="T81" fmla="*/ 124 h 683"/>
                    <a:gd name="T82" fmla="*/ 175 w 1850"/>
                    <a:gd name="T83" fmla="*/ 105 h 683"/>
                    <a:gd name="T84" fmla="*/ 248 w 1850"/>
                    <a:gd name="T85" fmla="*/ 96 h 683"/>
                    <a:gd name="T86" fmla="*/ 407 w 1850"/>
                    <a:gd name="T87" fmla="*/ 105 h 683"/>
                    <a:gd name="T88" fmla="*/ 561 w 1850"/>
                    <a:gd name="T89" fmla="*/ 135 h 683"/>
                    <a:gd name="T90" fmla="*/ 649 w 1850"/>
                    <a:gd name="T91" fmla="*/ 163 h 683"/>
                    <a:gd name="T92" fmla="*/ 699 w 1850"/>
                    <a:gd name="T93" fmla="*/ 127 h 683"/>
                    <a:gd name="T94" fmla="*/ 783 w 1850"/>
                    <a:gd name="T95" fmla="*/ 39 h 683"/>
                    <a:gd name="T96" fmla="*/ 830 w 1850"/>
                    <a:gd name="T97" fmla="*/ 0 h 683"/>
                    <a:gd name="T98" fmla="*/ 976 w 1850"/>
                    <a:gd name="T99" fmla="*/ 38 h 683"/>
                    <a:gd name="T100" fmla="*/ 1199 w 1850"/>
                    <a:gd name="T101" fmla="*/ 124 h 683"/>
                    <a:gd name="T102" fmla="*/ 1419 w 1850"/>
                    <a:gd name="T103" fmla="*/ 212 h 683"/>
                    <a:gd name="T104" fmla="*/ 1562 w 1850"/>
                    <a:gd name="T105" fmla="*/ 255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50" h="683">
                      <a:moveTo>
                        <a:pt x="1562" y="255"/>
                      </a:moveTo>
                      <a:lnTo>
                        <a:pt x="1562" y="255"/>
                      </a:lnTo>
                      <a:lnTo>
                        <a:pt x="1554" y="268"/>
                      </a:lnTo>
                      <a:lnTo>
                        <a:pt x="1547" y="279"/>
                      </a:lnTo>
                      <a:lnTo>
                        <a:pt x="1528" y="303"/>
                      </a:lnTo>
                      <a:lnTo>
                        <a:pt x="1509" y="324"/>
                      </a:lnTo>
                      <a:lnTo>
                        <a:pt x="1489" y="342"/>
                      </a:lnTo>
                      <a:lnTo>
                        <a:pt x="1446" y="382"/>
                      </a:lnTo>
                      <a:lnTo>
                        <a:pt x="1427" y="402"/>
                      </a:lnTo>
                      <a:lnTo>
                        <a:pt x="1408" y="427"/>
                      </a:lnTo>
                      <a:lnTo>
                        <a:pt x="1408" y="427"/>
                      </a:lnTo>
                      <a:lnTo>
                        <a:pt x="1429" y="432"/>
                      </a:lnTo>
                      <a:lnTo>
                        <a:pt x="1449" y="440"/>
                      </a:lnTo>
                      <a:lnTo>
                        <a:pt x="1492" y="449"/>
                      </a:lnTo>
                      <a:lnTo>
                        <a:pt x="1541" y="455"/>
                      </a:lnTo>
                      <a:lnTo>
                        <a:pt x="1592" y="457"/>
                      </a:lnTo>
                      <a:lnTo>
                        <a:pt x="1592" y="457"/>
                      </a:lnTo>
                      <a:lnTo>
                        <a:pt x="1592" y="442"/>
                      </a:lnTo>
                      <a:lnTo>
                        <a:pt x="1595" y="427"/>
                      </a:lnTo>
                      <a:lnTo>
                        <a:pt x="1599" y="414"/>
                      </a:lnTo>
                      <a:lnTo>
                        <a:pt x="1605" y="399"/>
                      </a:lnTo>
                      <a:lnTo>
                        <a:pt x="1612" y="386"/>
                      </a:lnTo>
                      <a:lnTo>
                        <a:pt x="1620" y="372"/>
                      </a:lnTo>
                      <a:lnTo>
                        <a:pt x="1638" y="348"/>
                      </a:lnTo>
                      <a:lnTo>
                        <a:pt x="1661" y="326"/>
                      </a:lnTo>
                      <a:lnTo>
                        <a:pt x="1687" y="305"/>
                      </a:lnTo>
                      <a:lnTo>
                        <a:pt x="1715" y="288"/>
                      </a:lnTo>
                      <a:lnTo>
                        <a:pt x="1743" y="273"/>
                      </a:lnTo>
                      <a:lnTo>
                        <a:pt x="1743" y="273"/>
                      </a:lnTo>
                      <a:lnTo>
                        <a:pt x="1758" y="286"/>
                      </a:lnTo>
                      <a:lnTo>
                        <a:pt x="1771" y="298"/>
                      </a:lnTo>
                      <a:lnTo>
                        <a:pt x="1784" y="311"/>
                      </a:lnTo>
                      <a:lnTo>
                        <a:pt x="1795" y="324"/>
                      </a:lnTo>
                      <a:lnTo>
                        <a:pt x="1807" y="339"/>
                      </a:lnTo>
                      <a:lnTo>
                        <a:pt x="1816" y="354"/>
                      </a:lnTo>
                      <a:lnTo>
                        <a:pt x="1823" y="369"/>
                      </a:lnTo>
                      <a:lnTo>
                        <a:pt x="1831" y="384"/>
                      </a:lnTo>
                      <a:lnTo>
                        <a:pt x="1837" y="399"/>
                      </a:lnTo>
                      <a:lnTo>
                        <a:pt x="1842" y="415"/>
                      </a:lnTo>
                      <a:lnTo>
                        <a:pt x="1846" y="432"/>
                      </a:lnTo>
                      <a:lnTo>
                        <a:pt x="1848" y="447"/>
                      </a:lnTo>
                      <a:lnTo>
                        <a:pt x="1850" y="464"/>
                      </a:lnTo>
                      <a:lnTo>
                        <a:pt x="1850" y="481"/>
                      </a:lnTo>
                      <a:lnTo>
                        <a:pt x="1848" y="496"/>
                      </a:lnTo>
                      <a:lnTo>
                        <a:pt x="1846" y="511"/>
                      </a:lnTo>
                      <a:lnTo>
                        <a:pt x="1842" y="528"/>
                      </a:lnTo>
                      <a:lnTo>
                        <a:pt x="1838" y="543"/>
                      </a:lnTo>
                      <a:lnTo>
                        <a:pt x="1833" y="558"/>
                      </a:lnTo>
                      <a:lnTo>
                        <a:pt x="1825" y="571"/>
                      </a:lnTo>
                      <a:lnTo>
                        <a:pt x="1818" y="586"/>
                      </a:lnTo>
                      <a:lnTo>
                        <a:pt x="1808" y="599"/>
                      </a:lnTo>
                      <a:lnTo>
                        <a:pt x="1797" y="610"/>
                      </a:lnTo>
                      <a:lnTo>
                        <a:pt x="1784" y="623"/>
                      </a:lnTo>
                      <a:lnTo>
                        <a:pt x="1771" y="632"/>
                      </a:lnTo>
                      <a:lnTo>
                        <a:pt x="1756" y="644"/>
                      </a:lnTo>
                      <a:lnTo>
                        <a:pt x="1741" y="651"/>
                      </a:lnTo>
                      <a:lnTo>
                        <a:pt x="1724" y="660"/>
                      </a:lnTo>
                      <a:lnTo>
                        <a:pt x="1706" y="666"/>
                      </a:lnTo>
                      <a:lnTo>
                        <a:pt x="1685" y="672"/>
                      </a:lnTo>
                      <a:lnTo>
                        <a:pt x="1664" y="677"/>
                      </a:lnTo>
                      <a:lnTo>
                        <a:pt x="1642" y="679"/>
                      </a:lnTo>
                      <a:lnTo>
                        <a:pt x="1642" y="679"/>
                      </a:lnTo>
                      <a:lnTo>
                        <a:pt x="1599" y="683"/>
                      </a:lnTo>
                      <a:lnTo>
                        <a:pt x="1556" y="683"/>
                      </a:lnTo>
                      <a:lnTo>
                        <a:pt x="1511" y="681"/>
                      </a:lnTo>
                      <a:lnTo>
                        <a:pt x="1468" y="677"/>
                      </a:lnTo>
                      <a:lnTo>
                        <a:pt x="1423" y="670"/>
                      </a:lnTo>
                      <a:lnTo>
                        <a:pt x="1380" y="662"/>
                      </a:lnTo>
                      <a:lnTo>
                        <a:pt x="1335" y="653"/>
                      </a:lnTo>
                      <a:lnTo>
                        <a:pt x="1290" y="640"/>
                      </a:lnTo>
                      <a:lnTo>
                        <a:pt x="1247" y="627"/>
                      </a:lnTo>
                      <a:lnTo>
                        <a:pt x="1202" y="614"/>
                      </a:lnTo>
                      <a:lnTo>
                        <a:pt x="1113" y="582"/>
                      </a:lnTo>
                      <a:lnTo>
                        <a:pt x="1025" y="546"/>
                      </a:lnTo>
                      <a:lnTo>
                        <a:pt x="935" y="509"/>
                      </a:lnTo>
                      <a:lnTo>
                        <a:pt x="761" y="436"/>
                      </a:lnTo>
                      <a:lnTo>
                        <a:pt x="675" y="402"/>
                      </a:lnTo>
                      <a:lnTo>
                        <a:pt x="589" y="372"/>
                      </a:lnTo>
                      <a:lnTo>
                        <a:pt x="548" y="359"/>
                      </a:lnTo>
                      <a:lnTo>
                        <a:pt x="505" y="348"/>
                      </a:lnTo>
                      <a:lnTo>
                        <a:pt x="464" y="337"/>
                      </a:lnTo>
                      <a:lnTo>
                        <a:pt x="422" y="328"/>
                      </a:lnTo>
                      <a:lnTo>
                        <a:pt x="381" y="322"/>
                      </a:lnTo>
                      <a:lnTo>
                        <a:pt x="342" y="316"/>
                      </a:lnTo>
                      <a:lnTo>
                        <a:pt x="303" y="314"/>
                      </a:lnTo>
                      <a:lnTo>
                        <a:pt x="263" y="314"/>
                      </a:lnTo>
                      <a:lnTo>
                        <a:pt x="263" y="314"/>
                      </a:lnTo>
                      <a:lnTo>
                        <a:pt x="263" y="331"/>
                      </a:lnTo>
                      <a:lnTo>
                        <a:pt x="261" y="346"/>
                      </a:lnTo>
                      <a:lnTo>
                        <a:pt x="260" y="361"/>
                      </a:lnTo>
                      <a:lnTo>
                        <a:pt x="254" y="376"/>
                      </a:lnTo>
                      <a:lnTo>
                        <a:pt x="248" y="389"/>
                      </a:lnTo>
                      <a:lnTo>
                        <a:pt x="239" y="402"/>
                      </a:lnTo>
                      <a:lnTo>
                        <a:pt x="230" y="415"/>
                      </a:lnTo>
                      <a:lnTo>
                        <a:pt x="220" y="427"/>
                      </a:lnTo>
                      <a:lnTo>
                        <a:pt x="209" y="438"/>
                      </a:lnTo>
                      <a:lnTo>
                        <a:pt x="196" y="449"/>
                      </a:lnTo>
                      <a:lnTo>
                        <a:pt x="170" y="468"/>
                      </a:lnTo>
                      <a:lnTo>
                        <a:pt x="140" y="485"/>
                      </a:lnTo>
                      <a:lnTo>
                        <a:pt x="110" y="498"/>
                      </a:lnTo>
                      <a:lnTo>
                        <a:pt x="110" y="498"/>
                      </a:lnTo>
                      <a:lnTo>
                        <a:pt x="91" y="473"/>
                      </a:lnTo>
                      <a:lnTo>
                        <a:pt x="73" y="449"/>
                      </a:lnTo>
                      <a:lnTo>
                        <a:pt x="54" y="427"/>
                      </a:lnTo>
                      <a:lnTo>
                        <a:pt x="35" y="402"/>
                      </a:lnTo>
                      <a:lnTo>
                        <a:pt x="20" y="376"/>
                      </a:lnTo>
                      <a:lnTo>
                        <a:pt x="15" y="363"/>
                      </a:lnTo>
                      <a:lnTo>
                        <a:pt x="9" y="350"/>
                      </a:lnTo>
                      <a:lnTo>
                        <a:pt x="5" y="335"/>
                      </a:lnTo>
                      <a:lnTo>
                        <a:pt x="1" y="318"/>
                      </a:lnTo>
                      <a:lnTo>
                        <a:pt x="0" y="301"/>
                      </a:lnTo>
                      <a:lnTo>
                        <a:pt x="0" y="284"/>
                      </a:lnTo>
                      <a:lnTo>
                        <a:pt x="0" y="284"/>
                      </a:lnTo>
                      <a:lnTo>
                        <a:pt x="1" y="260"/>
                      </a:lnTo>
                      <a:lnTo>
                        <a:pt x="5" y="238"/>
                      </a:lnTo>
                      <a:lnTo>
                        <a:pt x="11" y="219"/>
                      </a:lnTo>
                      <a:lnTo>
                        <a:pt x="20" y="200"/>
                      </a:lnTo>
                      <a:lnTo>
                        <a:pt x="30" y="183"/>
                      </a:lnTo>
                      <a:lnTo>
                        <a:pt x="43" y="169"/>
                      </a:lnTo>
                      <a:lnTo>
                        <a:pt x="58" y="155"/>
                      </a:lnTo>
                      <a:lnTo>
                        <a:pt x="73" y="142"/>
                      </a:lnTo>
                      <a:lnTo>
                        <a:pt x="91" y="133"/>
                      </a:lnTo>
                      <a:lnTo>
                        <a:pt x="110" y="124"/>
                      </a:lnTo>
                      <a:lnTo>
                        <a:pt x="131" y="116"/>
                      </a:lnTo>
                      <a:lnTo>
                        <a:pt x="153" y="111"/>
                      </a:lnTo>
                      <a:lnTo>
                        <a:pt x="175" y="105"/>
                      </a:lnTo>
                      <a:lnTo>
                        <a:pt x="198" y="101"/>
                      </a:lnTo>
                      <a:lnTo>
                        <a:pt x="222" y="97"/>
                      </a:lnTo>
                      <a:lnTo>
                        <a:pt x="248" y="96"/>
                      </a:lnTo>
                      <a:lnTo>
                        <a:pt x="301" y="96"/>
                      </a:lnTo>
                      <a:lnTo>
                        <a:pt x="353" y="97"/>
                      </a:lnTo>
                      <a:lnTo>
                        <a:pt x="407" y="105"/>
                      </a:lnTo>
                      <a:lnTo>
                        <a:pt x="460" y="112"/>
                      </a:lnTo>
                      <a:lnTo>
                        <a:pt x="512" y="124"/>
                      </a:lnTo>
                      <a:lnTo>
                        <a:pt x="561" y="135"/>
                      </a:lnTo>
                      <a:lnTo>
                        <a:pt x="608" y="148"/>
                      </a:lnTo>
                      <a:lnTo>
                        <a:pt x="649" y="163"/>
                      </a:lnTo>
                      <a:lnTo>
                        <a:pt x="649" y="163"/>
                      </a:lnTo>
                      <a:lnTo>
                        <a:pt x="662" y="155"/>
                      </a:lnTo>
                      <a:lnTo>
                        <a:pt x="675" y="146"/>
                      </a:lnTo>
                      <a:lnTo>
                        <a:pt x="699" y="127"/>
                      </a:lnTo>
                      <a:lnTo>
                        <a:pt x="722" y="107"/>
                      </a:lnTo>
                      <a:lnTo>
                        <a:pt x="742" y="84"/>
                      </a:lnTo>
                      <a:lnTo>
                        <a:pt x="783" y="39"/>
                      </a:lnTo>
                      <a:lnTo>
                        <a:pt x="806" y="19"/>
                      </a:lnTo>
                      <a:lnTo>
                        <a:pt x="830" y="0"/>
                      </a:lnTo>
                      <a:lnTo>
                        <a:pt x="830" y="0"/>
                      </a:lnTo>
                      <a:lnTo>
                        <a:pt x="881" y="11"/>
                      </a:lnTo>
                      <a:lnTo>
                        <a:pt x="929" y="24"/>
                      </a:lnTo>
                      <a:lnTo>
                        <a:pt x="976" y="38"/>
                      </a:lnTo>
                      <a:lnTo>
                        <a:pt x="1023" y="54"/>
                      </a:lnTo>
                      <a:lnTo>
                        <a:pt x="1113" y="88"/>
                      </a:lnTo>
                      <a:lnTo>
                        <a:pt x="1199" y="124"/>
                      </a:lnTo>
                      <a:lnTo>
                        <a:pt x="1287" y="159"/>
                      </a:lnTo>
                      <a:lnTo>
                        <a:pt x="1375" y="195"/>
                      </a:lnTo>
                      <a:lnTo>
                        <a:pt x="1419" y="212"/>
                      </a:lnTo>
                      <a:lnTo>
                        <a:pt x="1464" y="227"/>
                      </a:lnTo>
                      <a:lnTo>
                        <a:pt x="1511" y="241"/>
                      </a:lnTo>
                      <a:lnTo>
                        <a:pt x="1562" y="255"/>
                      </a:lnTo>
                      <a:lnTo>
                        <a:pt x="1562" y="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3" name="Freeform 34"/>
                <p:cNvSpPr>
                  <a:spLocks/>
                </p:cNvSpPr>
                <p:nvPr/>
              </p:nvSpPr>
              <p:spPr bwMode="auto">
                <a:xfrm>
                  <a:off x="9486900" y="10193338"/>
                  <a:ext cx="1471613" cy="539750"/>
                </a:xfrm>
                <a:custGeom>
                  <a:avLst/>
                  <a:gdLst>
                    <a:gd name="T0" fmla="*/ 1554 w 1854"/>
                    <a:gd name="T1" fmla="*/ 268 h 681"/>
                    <a:gd name="T2" fmla="*/ 1509 w 1854"/>
                    <a:gd name="T3" fmla="*/ 324 h 681"/>
                    <a:gd name="T4" fmla="*/ 1425 w 1854"/>
                    <a:gd name="T5" fmla="*/ 402 h 681"/>
                    <a:gd name="T6" fmla="*/ 1427 w 1854"/>
                    <a:gd name="T7" fmla="*/ 434 h 681"/>
                    <a:gd name="T8" fmla="*/ 1493 w 1854"/>
                    <a:gd name="T9" fmla="*/ 447 h 681"/>
                    <a:gd name="T10" fmla="*/ 1592 w 1854"/>
                    <a:gd name="T11" fmla="*/ 456 h 681"/>
                    <a:gd name="T12" fmla="*/ 1597 w 1854"/>
                    <a:gd name="T13" fmla="*/ 413 h 681"/>
                    <a:gd name="T14" fmla="*/ 1618 w 1854"/>
                    <a:gd name="T15" fmla="*/ 374 h 681"/>
                    <a:gd name="T16" fmla="*/ 1683 w 1854"/>
                    <a:gd name="T17" fmla="*/ 309 h 681"/>
                    <a:gd name="T18" fmla="*/ 1734 w 1854"/>
                    <a:gd name="T19" fmla="*/ 275 h 681"/>
                    <a:gd name="T20" fmla="*/ 1782 w 1854"/>
                    <a:gd name="T21" fmla="*/ 314 h 681"/>
                    <a:gd name="T22" fmla="*/ 1820 w 1854"/>
                    <a:gd name="T23" fmla="*/ 357 h 681"/>
                    <a:gd name="T24" fmla="*/ 1842 w 1854"/>
                    <a:gd name="T25" fmla="*/ 406 h 681"/>
                    <a:gd name="T26" fmla="*/ 1852 w 1854"/>
                    <a:gd name="T27" fmla="*/ 455 h 681"/>
                    <a:gd name="T28" fmla="*/ 1850 w 1854"/>
                    <a:gd name="T29" fmla="*/ 503 h 681"/>
                    <a:gd name="T30" fmla="*/ 1835 w 1854"/>
                    <a:gd name="T31" fmla="*/ 550 h 681"/>
                    <a:gd name="T32" fmla="*/ 1809 w 1854"/>
                    <a:gd name="T33" fmla="*/ 593 h 681"/>
                    <a:gd name="T34" fmla="*/ 1769 w 1854"/>
                    <a:gd name="T35" fmla="*/ 629 h 681"/>
                    <a:gd name="T36" fmla="*/ 1719 w 1854"/>
                    <a:gd name="T37" fmla="*/ 657 h 681"/>
                    <a:gd name="T38" fmla="*/ 1659 w 1854"/>
                    <a:gd name="T39" fmla="*/ 673 h 681"/>
                    <a:gd name="T40" fmla="*/ 1612 w 1854"/>
                    <a:gd name="T41" fmla="*/ 679 h 681"/>
                    <a:gd name="T42" fmla="*/ 1472 w 1854"/>
                    <a:gd name="T43" fmla="*/ 677 h 681"/>
                    <a:gd name="T44" fmla="*/ 1337 w 1854"/>
                    <a:gd name="T45" fmla="*/ 655 h 681"/>
                    <a:gd name="T46" fmla="*/ 1208 w 1854"/>
                    <a:gd name="T47" fmla="*/ 619 h 681"/>
                    <a:gd name="T48" fmla="*/ 1002 w 1854"/>
                    <a:gd name="T49" fmla="*/ 539 h 681"/>
                    <a:gd name="T50" fmla="*/ 761 w 1854"/>
                    <a:gd name="T51" fmla="*/ 434 h 681"/>
                    <a:gd name="T52" fmla="*/ 557 w 1854"/>
                    <a:gd name="T53" fmla="*/ 359 h 681"/>
                    <a:gd name="T54" fmla="*/ 434 w 1854"/>
                    <a:gd name="T55" fmla="*/ 329 h 681"/>
                    <a:gd name="T56" fmla="*/ 307 w 1854"/>
                    <a:gd name="T57" fmla="*/ 314 h 681"/>
                    <a:gd name="T58" fmla="*/ 263 w 1854"/>
                    <a:gd name="T59" fmla="*/ 331 h 681"/>
                    <a:gd name="T60" fmla="*/ 256 w 1854"/>
                    <a:gd name="T61" fmla="*/ 374 h 681"/>
                    <a:gd name="T62" fmla="*/ 234 w 1854"/>
                    <a:gd name="T63" fmla="*/ 410 h 681"/>
                    <a:gd name="T64" fmla="*/ 177 w 1854"/>
                    <a:gd name="T65" fmla="*/ 462 h 681"/>
                    <a:gd name="T66" fmla="*/ 104 w 1854"/>
                    <a:gd name="T67" fmla="*/ 479 h 681"/>
                    <a:gd name="T68" fmla="*/ 37 w 1854"/>
                    <a:gd name="T69" fmla="*/ 410 h 681"/>
                    <a:gd name="T70" fmla="*/ 9 w 1854"/>
                    <a:gd name="T71" fmla="*/ 352 h 681"/>
                    <a:gd name="T72" fmla="*/ 0 w 1854"/>
                    <a:gd name="T73" fmla="*/ 301 h 681"/>
                    <a:gd name="T74" fmla="*/ 0 w 1854"/>
                    <a:gd name="T75" fmla="*/ 260 h 681"/>
                    <a:gd name="T76" fmla="*/ 18 w 1854"/>
                    <a:gd name="T77" fmla="*/ 200 h 681"/>
                    <a:gd name="T78" fmla="*/ 58 w 1854"/>
                    <a:gd name="T79" fmla="*/ 155 h 681"/>
                    <a:gd name="T80" fmla="*/ 110 w 1854"/>
                    <a:gd name="T81" fmla="*/ 123 h 681"/>
                    <a:gd name="T82" fmla="*/ 174 w 1854"/>
                    <a:gd name="T83" fmla="*/ 105 h 681"/>
                    <a:gd name="T84" fmla="*/ 247 w 1854"/>
                    <a:gd name="T85" fmla="*/ 95 h 681"/>
                    <a:gd name="T86" fmla="*/ 408 w 1854"/>
                    <a:gd name="T87" fmla="*/ 103 h 681"/>
                    <a:gd name="T88" fmla="*/ 561 w 1854"/>
                    <a:gd name="T89" fmla="*/ 135 h 681"/>
                    <a:gd name="T90" fmla="*/ 649 w 1854"/>
                    <a:gd name="T91" fmla="*/ 163 h 681"/>
                    <a:gd name="T92" fmla="*/ 699 w 1854"/>
                    <a:gd name="T93" fmla="*/ 127 h 681"/>
                    <a:gd name="T94" fmla="*/ 784 w 1854"/>
                    <a:gd name="T95" fmla="*/ 39 h 681"/>
                    <a:gd name="T96" fmla="*/ 830 w 1854"/>
                    <a:gd name="T97" fmla="*/ 0 h 681"/>
                    <a:gd name="T98" fmla="*/ 978 w 1854"/>
                    <a:gd name="T99" fmla="*/ 37 h 681"/>
                    <a:gd name="T100" fmla="*/ 1113 w 1854"/>
                    <a:gd name="T101" fmla="*/ 86 h 681"/>
                    <a:gd name="T102" fmla="*/ 1375 w 1854"/>
                    <a:gd name="T103" fmla="*/ 195 h 681"/>
                    <a:gd name="T104" fmla="*/ 1511 w 1854"/>
                    <a:gd name="T105" fmla="*/ 241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54" h="681">
                      <a:moveTo>
                        <a:pt x="1560" y="254"/>
                      </a:moveTo>
                      <a:lnTo>
                        <a:pt x="1560" y="254"/>
                      </a:lnTo>
                      <a:lnTo>
                        <a:pt x="1554" y="268"/>
                      </a:lnTo>
                      <a:lnTo>
                        <a:pt x="1547" y="279"/>
                      </a:lnTo>
                      <a:lnTo>
                        <a:pt x="1528" y="303"/>
                      </a:lnTo>
                      <a:lnTo>
                        <a:pt x="1509" y="324"/>
                      </a:lnTo>
                      <a:lnTo>
                        <a:pt x="1487" y="342"/>
                      </a:lnTo>
                      <a:lnTo>
                        <a:pt x="1446" y="382"/>
                      </a:lnTo>
                      <a:lnTo>
                        <a:pt x="1425" y="402"/>
                      </a:lnTo>
                      <a:lnTo>
                        <a:pt x="1408" y="427"/>
                      </a:lnTo>
                      <a:lnTo>
                        <a:pt x="1408" y="427"/>
                      </a:lnTo>
                      <a:lnTo>
                        <a:pt x="1427" y="434"/>
                      </a:lnTo>
                      <a:lnTo>
                        <a:pt x="1449" y="440"/>
                      </a:lnTo>
                      <a:lnTo>
                        <a:pt x="1470" y="443"/>
                      </a:lnTo>
                      <a:lnTo>
                        <a:pt x="1493" y="447"/>
                      </a:lnTo>
                      <a:lnTo>
                        <a:pt x="1541" y="453"/>
                      </a:lnTo>
                      <a:lnTo>
                        <a:pt x="1592" y="456"/>
                      </a:lnTo>
                      <a:lnTo>
                        <a:pt x="1592" y="456"/>
                      </a:lnTo>
                      <a:lnTo>
                        <a:pt x="1592" y="441"/>
                      </a:lnTo>
                      <a:lnTo>
                        <a:pt x="1594" y="428"/>
                      </a:lnTo>
                      <a:lnTo>
                        <a:pt x="1597" y="413"/>
                      </a:lnTo>
                      <a:lnTo>
                        <a:pt x="1603" y="400"/>
                      </a:lnTo>
                      <a:lnTo>
                        <a:pt x="1610" y="387"/>
                      </a:lnTo>
                      <a:lnTo>
                        <a:pt x="1618" y="374"/>
                      </a:lnTo>
                      <a:lnTo>
                        <a:pt x="1637" y="352"/>
                      </a:lnTo>
                      <a:lnTo>
                        <a:pt x="1659" y="329"/>
                      </a:lnTo>
                      <a:lnTo>
                        <a:pt x="1683" y="309"/>
                      </a:lnTo>
                      <a:lnTo>
                        <a:pt x="1708" y="292"/>
                      </a:lnTo>
                      <a:lnTo>
                        <a:pt x="1734" y="275"/>
                      </a:lnTo>
                      <a:lnTo>
                        <a:pt x="1734" y="275"/>
                      </a:lnTo>
                      <a:lnTo>
                        <a:pt x="1751" y="286"/>
                      </a:lnTo>
                      <a:lnTo>
                        <a:pt x="1767" y="299"/>
                      </a:lnTo>
                      <a:lnTo>
                        <a:pt x="1782" y="314"/>
                      </a:lnTo>
                      <a:lnTo>
                        <a:pt x="1796" y="327"/>
                      </a:lnTo>
                      <a:lnTo>
                        <a:pt x="1809" y="342"/>
                      </a:lnTo>
                      <a:lnTo>
                        <a:pt x="1820" y="357"/>
                      </a:lnTo>
                      <a:lnTo>
                        <a:pt x="1827" y="374"/>
                      </a:lnTo>
                      <a:lnTo>
                        <a:pt x="1837" y="389"/>
                      </a:lnTo>
                      <a:lnTo>
                        <a:pt x="1842" y="406"/>
                      </a:lnTo>
                      <a:lnTo>
                        <a:pt x="1846" y="423"/>
                      </a:lnTo>
                      <a:lnTo>
                        <a:pt x="1850" y="440"/>
                      </a:lnTo>
                      <a:lnTo>
                        <a:pt x="1852" y="455"/>
                      </a:lnTo>
                      <a:lnTo>
                        <a:pt x="1854" y="471"/>
                      </a:lnTo>
                      <a:lnTo>
                        <a:pt x="1852" y="488"/>
                      </a:lnTo>
                      <a:lnTo>
                        <a:pt x="1850" y="503"/>
                      </a:lnTo>
                      <a:lnTo>
                        <a:pt x="1846" y="520"/>
                      </a:lnTo>
                      <a:lnTo>
                        <a:pt x="1842" y="535"/>
                      </a:lnTo>
                      <a:lnTo>
                        <a:pt x="1835" y="550"/>
                      </a:lnTo>
                      <a:lnTo>
                        <a:pt x="1827" y="565"/>
                      </a:lnTo>
                      <a:lnTo>
                        <a:pt x="1818" y="580"/>
                      </a:lnTo>
                      <a:lnTo>
                        <a:pt x="1809" y="593"/>
                      </a:lnTo>
                      <a:lnTo>
                        <a:pt x="1797" y="606"/>
                      </a:lnTo>
                      <a:lnTo>
                        <a:pt x="1784" y="617"/>
                      </a:lnTo>
                      <a:lnTo>
                        <a:pt x="1769" y="629"/>
                      </a:lnTo>
                      <a:lnTo>
                        <a:pt x="1754" y="638"/>
                      </a:lnTo>
                      <a:lnTo>
                        <a:pt x="1738" y="647"/>
                      </a:lnTo>
                      <a:lnTo>
                        <a:pt x="1719" y="657"/>
                      </a:lnTo>
                      <a:lnTo>
                        <a:pt x="1700" y="664"/>
                      </a:lnTo>
                      <a:lnTo>
                        <a:pt x="1680" y="670"/>
                      </a:lnTo>
                      <a:lnTo>
                        <a:pt x="1659" y="673"/>
                      </a:lnTo>
                      <a:lnTo>
                        <a:pt x="1635" y="677"/>
                      </a:lnTo>
                      <a:lnTo>
                        <a:pt x="1612" y="679"/>
                      </a:lnTo>
                      <a:lnTo>
                        <a:pt x="1612" y="679"/>
                      </a:lnTo>
                      <a:lnTo>
                        <a:pt x="1564" y="681"/>
                      </a:lnTo>
                      <a:lnTo>
                        <a:pt x="1517" y="681"/>
                      </a:lnTo>
                      <a:lnTo>
                        <a:pt x="1472" y="677"/>
                      </a:lnTo>
                      <a:lnTo>
                        <a:pt x="1427" y="672"/>
                      </a:lnTo>
                      <a:lnTo>
                        <a:pt x="1382" y="664"/>
                      </a:lnTo>
                      <a:lnTo>
                        <a:pt x="1337" y="655"/>
                      </a:lnTo>
                      <a:lnTo>
                        <a:pt x="1294" y="645"/>
                      </a:lnTo>
                      <a:lnTo>
                        <a:pt x="1251" y="632"/>
                      </a:lnTo>
                      <a:lnTo>
                        <a:pt x="1208" y="619"/>
                      </a:lnTo>
                      <a:lnTo>
                        <a:pt x="1167" y="606"/>
                      </a:lnTo>
                      <a:lnTo>
                        <a:pt x="1085" y="574"/>
                      </a:lnTo>
                      <a:lnTo>
                        <a:pt x="1002" y="539"/>
                      </a:lnTo>
                      <a:lnTo>
                        <a:pt x="922" y="503"/>
                      </a:lnTo>
                      <a:lnTo>
                        <a:pt x="840" y="468"/>
                      </a:lnTo>
                      <a:lnTo>
                        <a:pt x="761" y="434"/>
                      </a:lnTo>
                      <a:lnTo>
                        <a:pt x="679" y="400"/>
                      </a:lnTo>
                      <a:lnTo>
                        <a:pt x="598" y="372"/>
                      </a:lnTo>
                      <a:lnTo>
                        <a:pt x="557" y="359"/>
                      </a:lnTo>
                      <a:lnTo>
                        <a:pt x="516" y="348"/>
                      </a:lnTo>
                      <a:lnTo>
                        <a:pt x="475" y="337"/>
                      </a:lnTo>
                      <a:lnTo>
                        <a:pt x="434" y="329"/>
                      </a:lnTo>
                      <a:lnTo>
                        <a:pt x="391" y="322"/>
                      </a:lnTo>
                      <a:lnTo>
                        <a:pt x="350" y="318"/>
                      </a:lnTo>
                      <a:lnTo>
                        <a:pt x="307" y="314"/>
                      </a:lnTo>
                      <a:lnTo>
                        <a:pt x="263" y="314"/>
                      </a:lnTo>
                      <a:lnTo>
                        <a:pt x="263" y="314"/>
                      </a:lnTo>
                      <a:lnTo>
                        <a:pt x="263" y="331"/>
                      </a:lnTo>
                      <a:lnTo>
                        <a:pt x="263" y="346"/>
                      </a:lnTo>
                      <a:lnTo>
                        <a:pt x="262" y="359"/>
                      </a:lnTo>
                      <a:lnTo>
                        <a:pt x="256" y="374"/>
                      </a:lnTo>
                      <a:lnTo>
                        <a:pt x="250" y="385"/>
                      </a:lnTo>
                      <a:lnTo>
                        <a:pt x="243" y="398"/>
                      </a:lnTo>
                      <a:lnTo>
                        <a:pt x="234" y="410"/>
                      </a:lnTo>
                      <a:lnTo>
                        <a:pt x="224" y="421"/>
                      </a:lnTo>
                      <a:lnTo>
                        <a:pt x="202" y="441"/>
                      </a:lnTo>
                      <a:lnTo>
                        <a:pt x="177" y="462"/>
                      </a:lnTo>
                      <a:lnTo>
                        <a:pt x="131" y="498"/>
                      </a:lnTo>
                      <a:lnTo>
                        <a:pt x="131" y="498"/>
                      </a:lnTo>
                      <a:lnTo>
                        <a:pt x="104" y="479"/>
                      </a:lnTo>
                      <a:lnTo>
                        <a:pt x="80" y="458"/>
                      </a:lnTo>
                      <a:lnTo>
                        <a:pt x="58" y="434"/>
                      </a:lnTo>
                      <a:lnTo>
                        <a:pt x="37" y="410"/>
                      </a:lnTo>
                      <a:lnTo>
                        <a:pt x="22" y="382"/>
                      </a:lnTo>
                      <a:lnTo>
                        <a:pt x="15" y="367"/>
                      </a:lnTo>
                      <a:lnTo>
                        <a:pt x="9" y="352"/>
                      </a:lnTo>
                      <a:lnTo>
                        <a:pt x="5" y="335"/>
                      </a:lnTo>
                      <a:lnTo>
                        <a:pt x="2" y="318"/>
                      </a:lnTo>
                      <a:lnTo>
                        <a:pt x="0" y="301"/>
                      </a:lnTo>
                      <a:lnTo>
                        <a:pt x="0" y="284"/>
                      </a:lnTo>
                      <a:lnTo>
                        <a:pt x="0" y="284"/>
                      </a:lnTo>
                      <a:lnTo>
                        <a:pt x="0" y="260"/>
                      </a:lnTo>
                      <a:lnTo>
                        <a:pt x="5" y="239"/>
                      </a:lnTo>
                      <a:lnTo>
                        <a:pt x="11" y="219"/>
                      </a:lnTo>
                      <a:lnTo>
                        <a:pt x="18" y="200"/>
                      </a:lnTo>
                      <a:lnTo>
                        <a:pt x="30" y="183"/>
                      </a:lnTo>
                      <a:lnTo>
                        <a:pt x="43" y="168"/>
                      </a:lnTo>
                      <a:lnTo>
                        <a:pt x="58" y="155"/>
                      </a:lnTo>
                      <a:lnTo>
                        <a:pt x="73" y="144"/>
                      </a:lnTo>
                      <a:lnTo>
                        <a:pt x="90" y="133"/>
                      </a:lnTo>
                      <a:lnTo>
                        <a:pt x="110" y="123"/>
                      </a:lnTo>
                      <a:lnTo>
                        <a:pt x="131" y="116"/>
                      </a:lnTo>
                      <a:lnTo>
                        <a:pt x="151" y="110"/>
                      </a:lnTo>
                      <a:lnTo>
                        <a:pt x="174" y="105"/>
                      </a:lnTo>
                      <a:lnTo>
                        <a:pt x="198" y="101"/>
                      </a:lnTo>
                      <a:lnTo>
                        <a:pt x="222" y="97"/>
                      </a:lnTo>
                      <a:lnTo>
                        <a:pt x="247" y="95"/>
                      </a:lnTo>
                      <a:lnTo>
                        <a:pt x="299" y="95"/>
                      </a:lnTo>
                      <a:lnTo>
                        <a:pt x="353" y="97"/>
                      </a:lnTo>
                      <a:lnTo>
                        <a:pt x="408" y="103"/>
                      </a:lnTo>
                      <a:lnTo>
                        <a:pt x="460" y="112"/>
                      </a:lnTo>
                      <a:lnTo>
                        <a:pt x="512" y="122"/>
                      </a:lnTo>
                      <a:lnTo>
                        <a:pt x="561" y="135"/>
                      </a:lnTo>
                      <a:lnTo>
                        <a:pt x="608" y="148"/>
                      </a:lnTo>
                      <a:lnTo>
                        <a:pt x="649" y="163"/>
                      </a:lnTo>
                      <a:lnTo>
                        <a:pt x="649" y="163"/>
                      </a:lnTo>
                      <a:lnTo>
                        <a:pt x="662" y="155"/>
                      </a:lnTo>
                      <a:lnTo>
                        <a:pt x="675" y="146"/>
                      </a:lnTo>
                      <a:lnTo>
                        <a:pt x="699" y="127"/>
                      </a:lnTo>
                      <a:lnTo>
                        <a:pt x="722" y="107"/>
                      </a:lnTo>
                      <a:lnTo>
                        <a:pt x="742" y="84"/>
                      </a:lnTo>
                      <a:lnTo>
                        <a:pt x="784" y="39"/>
                      </a:lnTo>
                      <a:lnTo>
                        <a:pt x="806" y="19"/>
                      </a:lnTo>
                      <a:lnTo>
                        <a:pt x="830" y="0"/>
                      </a:lnTo>
                      <a:lnTo>
                        <a:pt x="830" y="0"/>
                      </a:lnTo>
                      <a:lnTo>
                        <a:pt x="881" y="11"/>
                      </a:lnTo>
                      <a:lnTo>
                        <a:pt x="929" y="24"/>
                      </a:lnTo>
                      <a:lnTo>
                        <a:pt x="978" y="37"/>
                      </a:lnTo>
                      <a:lnTo>
                        <a:pt x="1023" y="52"/>
                      </a:lnTo>
                      <a:lnTo>
                        <a:pt x="1070" y="69"/>
                      </a:lnTo>
                      <a:lnTo>
                        <a:pt x="1113" y="86"/>
                      </a:lnTo>
                      <a:lnTo>
                        <a:pt x="1201" y="122"/>
                      </a:lnTo>
                      <a:lnTo>
                        <a:pt x="1287" y="159"/>
                      </a:lnTo>
                      <a:lnTo>
                        <a:pt x="1375" y="195"/>
                      </a:lnTo>
                      <a:lnTo>
                        <a:pt x="1420" y="211"/>
                      </a:lnTo>
                      <a:lnTo>
                        <a:pt x="1464" y="226"/>
                      </a:lnTo>
                      <a:lnTo>
                        <a:pt x="1511" y="241"/>
                      </a:lnTo>
                      <a:lnTo>
                        <a:pt x="1560" y="254"/>
                      </a:lnTo>
                      <a:lnTo>
                        <a:pt x="156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4" name="Freeform 35"/>
                <p:cNvSpPr>
                  <a:spLocks/>
                </p:cNvSpPr>
                <p:nvPr/>
              </p:nvSpPr>
              <p:spPr bwMode="auto">
                <a:xfrm>
                  <a:off x="9107488" y="10539413"/>
                  <a:ext cx="1271588" cy="1087438"/>
                </a:xfrm>
                <a:custGeom>
                  <a:avLst/>
                  <a:gdLst>
                    <a:gd name="T0" fmla="*/ 1564 w 1601"/>
                    <a:gd name="T1" fmla="*/ 299 h 1369"/>
                    <a:gd name="T2" fmla="*/ 1352 w 1601"/>
                    <a:gd name="T3" fmla="*/ 524 h 1369"/>
                    <a:gd name="T4" fmla="*/ 1225 w 1601"/>
                    <a:gd name="T5" fmla="*/ 647 h 1369"/>
                    <a:gd name="T6" fmla="*/ 1139 w 1601"/>
                    <a:gd name="T7" fmla="*/ 722 h 1369"/>
                    <a:gd name="T8" fmla="*/ 1135 w 1601"/>
                    <a:gd name="T9" fmla="*/ 731 h 1369"/>
                    <a:gd name="T10" fmla="*/ 1145 w 1601"/>
                    <a:gd name="T11" fmla="*/ 754 h 1369"/>
                    <a:gd name="T12" fmla="*/ 1186 w 1601"/>
                    <a:gd name="T13" fmla="*/ 801 h 1369"/>
                    <a:gd name="T14" fmla="*/ 1247 w 1601"/>
                    <a:gd name="T15" fmla="*/ 853 h 1369"/>
                    <a:gd name="T16" fmla="*/ 1304 w 1601"/>
                    <a:gd name="T17" fmla="*/ 907 h 1369"/>
                    <a:gd name="T18" fmla="*/ 1335 w 1601"/>
                    <a:gd name="T19" fmla="*/ 961 h 1369"/>
                    <a:gd name="T20" fmla="*/ 1337 w 1601"/>
                    <a:gd name="T21" fmla="*/ 984 h 1369"/>
                    <a:gd name="T22" fmla="*/ 1330 w 1601"/>
                    <a:gd name="T23" fmla="*/ 1036 h 1369"/>
                    <a:gd name="T24" fmla="*/ 1307 w 1601"/>
                    <a:gd name="T25" fmla="*/ 1083 h 1369"/>
                    <a:gd name="T26" fmla="*/ 1234 w 1601"/>
                    <a:gd name="T27" fmla="*/ 1162 h 1369"/>
                    <a:gd name="T28" fmla="*/ 1141 w 1601"/>
                    <a:gd name="T29" fmla="*/ 1255 h 1369"/>
                    <a:gd name="T30" fmla="*/ 1060 w 1601"/>
                    <a:gd name="T31" fmla="*/ 1332 h 1369"/>
                    <a:gd name="T32" fmla="*/ 1017 w 1601"/>
                    <a:gd name="T33" fmla="*/ 1358 h 1369"/>
                    <a:gd name="T34" fmla="*/ 972 w 1601"/>
                    <a:gd name="T35" fmla="*/ 1369 h 1369"/>
                    <a:gd name="T36" fmla="*/ 937 w 1601"/>
                    <a:gd name="T37" fmla="*/ 1364 h 1369"/>
                    <a:gd name="T38" fmla="*/ 879 w 1601"/>
                    <a:gd name="T39" fmla="*/ 1332 h 1369"/>
                    <a:gd name="T40" fmla="*/ 784 w 1601"/>
                    <a:gd name="T41" fmla="*/ 1248 h 1369"/>
                    <a:gd name="T42" fmla="*/ 699 w 1601"/>
                    <a:gd name="T43" fmla="*/ 1156 h 1369"/>
                    <a:gd name="T44" fmla="*/ 149 w 1601"/>
                    <a:gd name="T45" fmla="*/ 610 h 1369"/>
                    <a:gd name="T46" fmla="*/ 48 w 1601"/>
                    <a:gd name="T47" fmla="*/ 507 h 1369"/>
                    <a:gd name="T48" fmla="*/ 13 w 1601"/>
                    <a:gd name="T49" fmla="*/ 454 h 1369"/>
                    <a:gd name="T50" fmla="*/ 0 w 1601"/>
                    <a:gd name="T51" fmla="*/ 406 h 1369"/>
                    <a:gd name="T52" fmla="*/ 3 w 1601"/>
                    <a:gd name="T53" fmla="*/ 372 h 1369"/>
                    <a:gd name="T54" fmla="*/ 24 w 1601"/>
                    <a:gd name="T55" fmla="*/ 327 h 1369"/>
                    <a:gd name="T56" fmla="*/ 84 w 1601"/>
                    <a:gd name="T57" fmla="*/ 260 h 1369"/>
                    <a:gd name="T58" fmla="*/ 162 w 1601"/>
                    <a:gd name="T59" fmla="*/ 193 h 1369"/>
                    <a:gd name="T60" fmla="*/ 204 w 1601"/>
                    <a:gd name="T61" fmla="*/ 146 h 1369"/>
                    <a:gd name="T62" fmla="*/ 277 w 1601"/>
                    <a:gd name="T63" fmla="*/ 69 h 1369"/>
                    <a:gd name="T64" fmla="*/ 318 w 1601"/>
                    <a:gd name="T65" fmla="*/ 43 h 1369"/>
                    <a:gd name="T66" fmla="*/ 365 w 1601"/>
                    <a:gd name="T67" fmla="*/ 32 h 1369"/>
                    <a:gd name="T68" fmla="*/ 391 w 1601"/>
                    <a:gd name="T69" fmla="*/ 32 h 1369"/>
                    <a:gd name="T70" fmla="*/ 436 w 1601"/>
                    <a:gd name="T71" fmla="*/ 45 h 1369"/>
                    <a:gd name="T72" fmla="*/ 488 w 1601"/>
                    <a:gd name="T73" fmla="*/ 84 h 1369"/>
                    <a:gd name="T74" fmla="*/ 533 w 1601"/>
                    <a:gd name="T75" fmla="*/ 135 h 1369"/>
                    <a:gd name="T76" fmla="*/ 600 w 1601"/>
                    <a:gd name="T77" fmla="*/ 215 h 1369"/>
                    <a:gd name="T78" fmla="*/ 628 w 1601"/>
                    <a:gd name="T79" fmla="*/ 234 h 1369"/>
                    <a:gd name="T80" fmla="*/ 643 w 1601"/>
                    <a:gd name="T81" fmla="*/ 222 h 1369"/>
                    <a:gd name="T82" fmla="*/ 785 w 1601"/>
                    <a:gd name="T83" fmla="*/ 69 h 1369"/>
                    <a:gd name="T84" fmla="*/ 858 w 1601"/>
                    <a:gd name="T85" fmla="*/ 7 h 1369"/>
                    <a:gd name="T86" fmla="*/ 881 w 1601"/>
                    <a:gd name="T87" fmla="*/ 0 h 1369"/>
                    <a:gd name="T88" fmla="*/ 972 w 1601"/>
                    <a:gd name="T89" fmla="*/ 26 h 1369"/>
                    <a:gd name="T90" fmla="*/ 1231 w 1601"/>
                    <a:gd name="T91" fmla="*/ 120 h 1369"/>
                    <a:gd name="T92" fmla="*/ 1502 w 1601"/>
                    <a:gd name="T93" fmla="*/ 221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1" h="1369">
                      <a:moveTo>
                        <a:pt x="1601" y="254"/>
                      </a:moveTo>
                      <a:lnTo>
                        <a:pt x="1601" y="254"/>
                      </a:lnTo>
                      <a:lnTo>
                        <a:pt x="1564" y="299"/>
                      </a:lnTo>
                      <a:lnTo>
                        <a:pt x="1522" y="344"/>
                      </a:lnTo>
                      <a:lnTo>
                        <a:pt x="1440" y="434"/>
                      </a:lnTo>
                      <a:lnTo>
                        <a:pt x="1352" y="524"/>
                      </a:lnTo>
                      <a:lnTo>
                        <a:pt x="1257" y="619"/>
                      </a:lnTo>
                      <a:lnTo>
                        <a:pt x="1257" y="619"/>
                      </a:lnTo>
                      <a:lnTo>
                        <a:pt x="1225" y="647"/>
                      </a:lnTo>
                      <a:lnTo>
                        <a:pt x="1186" y="679"/>
                      </a:lnTo>
                      <a:lnTo>
                        <a:pt x="1150" y="711"/>
                      </a:lnTo>
                      <a:lnTo>
                        <a:pt x="1139" y="722"/>
                      </a:lnTo>
                      <a:lnTo>
                        <a:pt x="1137" y="728"/>
                      </a:lnTo>
                      <a:lnTo>
                        <a:pt x="1135" y="731"/>
                      </a:lnTo>
                      <a:lnTo>
                        <a:pt x="1135" y="731"/>
                      </a:lnTo>
                      <a:lnTo>
                        <a:pt x="1135" y="737"/>
                      </a:lnTo>
                      <a:lnTo>
                        <a:pt x="1139" y="746"/>
                      </a:lnTo>
                      <a:lnTo>
                        <a:pt x="1145" y="754"/>
                      </a:lnTo>
                      <a:lnTo>
                        <a:pt x="1150" y="763"/>
                      </a:lnTo>
                      <a:lnTo>
                        <a:pt x="1167" y="782"/>
                      </a:lnTo>
                      <a:lnTo>
                        <a:pt x="1186" y="801"/>
                      </a:lnTo>
                      <a:lnTo>
                        <a:pt x="1223" y="832"/>
                      </a:lnTo>
                      <a:lnTo>
                        <a:pt x="1247" y="853"/>
                      </a:lnTo>
                      <a:lnTo>
                        <a:pt x="1247" y="853"/>
                      </a:lnTo>
                      <a:lnTo>
                        <a:pt x="1275" y="879"/>
                      </a:lnTo>
                      <a:lnTo>
                        <a:pt x="1290" y="892"/>
                      </a:lnTo>
                      <a:lnTo>
                        <a:pt x="1304" y="907"/>
                      </a:lnTo>
                      <a:lnTo>
                        <a:pt x="1317" y="924"/>
                      </a:lnTo>
                      <a:lnTo>
                        <a:pt x="1328" y="943"/>
                      </a:lnTo>
                      <a:lnTo>
                        <a:pt x="1335" y="961"/>
                      </a:lnTo>
                      <a:lnTo>
                        <a:pt x="1337" y="973"/>
                      </a:lnTo>
                      <a:lnTo>
                        <a:pt x="1337" y="984"/>
                      </a:lnTo>
                      <a:lnTo>
                        <a:pt x="1337" y="984"/>
                      </a:lnTo>
                      <a:lnTo>
                        <a:pt x="1337" y="1003"/>
                      </a:lnTo>
                      <a:lnTo>
                        <a:pt x="1335" y="1019"/>
                      </a:lnTo>
                      <a:lnTo>
                        <a:pt x="1330" y="1036"/>
                      </a:lnTo>
                      <a:lnTo>
                        <a:pt x="1324" y="1053"/>
                      </a:lnTo>
                      <a:lnTo>
                        <a:pt x="1317" y="1068"/>
                      </a:lnTo>
                      <a:lnTo>
                        <a:pt x="1307" y="1083"/>
                      </a:lnTo>
                      <a:lnTo>
                        <a:pt x="1285" y="1111"/>
                      </a:lnTo>
                      <a:lnTo>
                        <a:pt x="1261" y="1137"/>
                      </a:lnTo>
                      <a:lnTo>
                        <a:pt x="1234" y="1162"/>
                      </a:lnTo>
                      <a:lnTo>
                        <a:pt x="1186" y="1206"/>
                      </a:lnTo>
                      <a:lnTo>
                        <a:pt x="1186" y="1206"/>
                      </a:lnTo>
                      <a:lnTo>
                        <a:pt x="1141" y="1255"/>
                      </a:lnTo>
                      <a:lnTo>
                        <a:pt x="1115" y="1281"/>
                      </a:lnTo>
                      <a:lnTo>
                        <a:pt x="1088" y="1307"/>
                      </a:lnTo>
                      <a:lnTo>
                        <a:pt x="1060" y="1332"/>
                      </a:lnTo>
                      <a:lnTo>
                        <a:pt x="1047" y="1341"/>
                      </a:lnTo>
                      <a:lnTo>
                        <a:pt x="1032" y="1350"/>
                      </a:lnTo>
                      <a:lnTo>
                        <a:pt x="1017" y="1358"/>
                      </a:lnTo>
                      <a:lnTo>
                        <a:pt x="1002" y="1364"/>
                      </a:lnTo>
                      <a:lnTo>
                        <a:pt x="987" y="1367"/>
                      </a:lnTo>
                      <a:lnTo>
                        <a:pt x="972" y="1369"/>
                      </a:lnTo>
                      <a:lnTo>
                        <a:pt x="972" y="1369"/>
                      </a:lnTo>
                      <a:lnTo>
                        <a:pt x="956" y="1367"/>
                      </a:lnTo>
                      <a:lnTo>
                        <a:pt x="937" y="1364"/>
                      </a:lnTo>
                      <a:lnTo>
                        <a:pt x="916" y="1356"/>
                      </a:lnTo>
                      <a:lnTo>
                        <a:pt x="898" y="1345"/>
                      </a:lnTo>
                      <a:lnTo>
                        <a:pt x="879" y="1332"/>
                      </a:lnTo>
                      <a:lnTo>
                        <a:pt x="858" y="1317"/>
                      </a:lnTo>
                      <a:lnTo>
                        <a:pt x="821" y="1283"/>
                      </a:lnTo>
                      <a:lnTo>
                        <a:pt x="784" y="1248"/>
                      </a:lnTo>
                      <a:lnTo>
                        <a:pt x="752" y="1212"/>
                      </a:lnTo>
                      <a:lnTo>
                        <a:pt x="699" y="1156"/>
                      </a:lnTo>
                      <a:lnTo>
                        <a:pt x="699" y="1156"/>
                      </a:lnTo>
                      <a:lnTo>
                        <a:pt x="213" y="670"/>
                      </a:lnTo>
                      <a:lnTo>
                        <a:pt x="213" y="670"/>
                      </a:lnTo>
                      <a:lnTo>
                        <a:pt x="149" y="610"/>
                      </a:lnTo>
                      <a:lnTo>
                        <a:pt x="114" y="576"/>
                      </a:lnTo>
                      <a:lnTo>
                        <a:pt x="80" y="542"/>
                      </a:lnTo>
                      <a:lnTo>
                        <a:pt x="48" y="507"/>
                      </a:lnTo>
                      <a:lnTo>
                        <a:pt x="35" y="488"/>
                      </a:lnTo>
                      <a:lnTo>
                        <a:pt x="24" y="471"/>
                      </a:lnTo>
                      <a:lnTo>
                        <a:pt x="13" y="454"/>
                      </a:lnTo>
                      <a:lnTo>
                        <a:pt x="5" y="438"/>
                      </a:lnTo>
                      <a:lnTo>
                        <a:pt x="2" y="421"/>
                      </a:lnTo>
                      <a:lnTo>
                        <a:pt x="0" y="406"/>
                      </a:lnTo>
                      <a:lnTo>
                        <a:pt x="0" y="406"/>
                      </a:lnTo>
                      <a:lnTo>
                        <a:pt x="0" y="389"/>
                      </a:lnTo>
                      <a:lnTo>
                        <a:pt x="3" y="372"/>
                      </a:lnTo>
                      <a:lnTo>
                        <a:pt x="9" y="357"/>
                      </a:lnTo>
                      <a:lnTo>
                        <a:pt x="15" y="340"/>
                      </a:lnTo>
                      <a:lnTo>
                        <a:pt x="24" y="327"/>
                      </a:lnTo>
                      <a:lnTo>
                        <a:pt x="35" y="312"/>
                      </a:lnTo>
                      <a:lnTo>
                        <a:pt x="58" y="286"/>
                      </a:lnTo>
                      <a:lnTo>
                        <a:pt x="84" y="260"/>
                      </a:lnTo>
                      <a:lnTo>
                        <a:pt x="112" y="237"/>
                      </a:lnTo>
                      <a:lnTo>
                        <a:pt x="138" y="215"/>
                      </a:lnTo>
                      <a:lnTo>
                        <a:pt x="162" y="193"/>
                      </a:lnTo>
                      <a:lnTo>
                        <a:pt x="162" y="193"/>
                      </a:lnTo>
                      <a:lnTo>
                        <a:pt x="183" y="170"/>
                      </a:lnTo>
                      <a:lnTo>
                        <a:pt x="204" y="146"/>
                      </a:lnTo>
                      <a:lnTo>
                        <a:pt x="228" y="120"/>
                      </a:lnTo>
                      <a:lnTo>
                        <a:pt x="252" y="93"/>
                      </a:lnTo>
                      <a:lnTo>
                        <a:pt x="277" y="69"/>
                      </a:lnTo>
                      <a:lnTo>
                        <a:pt x="290" y="60"/>
                      </a:lnTo>
                      <a:lnTo>
                        <a:pt x="305" y="50"/>
                      </a:lnTo>
                      <a:lnTo>
                        <a:pt x="318" y="43"/>
                      </a:lnTo>
                      <a:lnTo>
                        <a:pt x="333" y="37"/>
                      </a:lnTo>
                      <a:lnTo>
                        <a:pt x="350" y="34"/>
                      </a:lnTo>
                      <a:lnTo>
                        <a:pt x="365" y="32"/>
                      </a:lnTo>
                      <a:lnTo>
                        <a:pt x="365" y="32"/>
                      </a:lnTo>
                      <a:lnTo>
                        <a:pt x="378" y="30"/>
                      </a:lnTo>
                      <a:lnTo>
                        <a:pt x="391" y="32"/>
                      </a:lnTo>
                      <a:lnTo>
                        <a:pt x="404" y="34"/>
                      </a:lnTo>
                      <a:lnTo>
                        <a:pt x="415" y="37"/>
                      </a:lnTo>
                      <a:lnTo>
                        <a:pt x="436" y="45"/>
                      </a:lnTo>
                      <a:lnTo>
                        <a:pt x="456" y="58"/>
                      </a:lnTo>
                      <a:lnTo>
                        <a:pt x="473" y="71"/>
                      </a:lnTo>
                      <a:lnTo>
                        <a:pt x="488" y="84"/>
                      </a:lnTo>
                      <a:lnTo>
                        <a:pt x="516" y="112"/>
                      </a:lnTo>
                      <a:lnTo>
                        <a:pt x="516" y="112"/>
                      </a:lnTo>
                      <a:lnTo>
                        <a:pt x="533" y="135"/>
                      </a:lnTo>
                      <a:lnTo>
                        <a:pt x="565" y="176"/>
                      </a:lnTo>
                      <a:lnTo>
                        <a:pt x="581" y="196"/>
                      </a:lnTo>
                      <a:lnTo>
                        <a:pt x="600" y="215"/>
                      </a:lnTo>
                      <a:lnTo>
                        <a:pt x="615" y="228"/>
                      </a:lnTo>
                      <a:lnTo>
                        <a:pt x="623" y="232"/>
                      </a:lnTo>
                      <a:lnTo>
                        <a:pt x="628" y="234"/>
                      </a:lnTo>
                      <a:lnTo>
                        <a:pt x="628" y="234"/>
                      </a:lnTo>
                      <a:lnTo>
                        <a:pt x="634" y="232"/>
                      </a:lnTo>
                      <a:lnTo>
                        <a:pt x="643" y="222"/>
                      </a:lnTo>
                      <a:lnTo>
                        <a:pt x="671" y="196"/>
                      </a:lnTo>
                      <a:lnTo>
                        <a:pt x="746" y="112"/>
                      </a:lnTo>
                      <a:lnTo>
                        <a:pt x="785" y="69"/>
                      </a:lnTo>
                      <a:lnTo>
                        <a:pt x="825" y="32"/>
                      </a:lnTo>
                      <a:lnTo>
                        <a:pt x="842" y="17"/>
                      </a:lnTo>
                      <a:lnTo>
                        <a:pt x="858" y="7"/>
                      </a:lnTo>
                      <a:lnTo>
                        <a:pt x="871" y="2"/>
                      </a:lnTo>
                      <a:lnTo>
                        <a:pt x="877" y="0"/>
                      </a:lnTo>
                      <a:lnTo>
                        <a:pt x="881" y="0"/>
                      </a:lnTo>
                      <a:lnTo>
                        <a:pt x="881" y="0"/>
                      </a:lnTo>
                      <a:lnTo>
                        <a:pt x="928" y="13"/>
                      </a:lnTo>
                      <a:lnTo>
                        <a:pt x="972" y="26"/>
                      </a:lnTo>
                      <a:lnTo>
                        <a:pt x="1060" y="54"/>
                      </a:lnTo>
                      <a:lnTo>
                        <a:pt x="1145" y="86"/>
                      </a:lnTo>
                      <a:lnTo>
                        <a:pt x="1231" y="120"/>
                      </a:lnTo>
                      <a:lnTo>
                        <a:pt x="1319" y="153"/>
                      </a:lnTo>
                      <a:lnTo>
                        <a:pt x="1408" y="187"/>
                      </a:lnTo>
                      <a:lnTo>
                        <a:pt x="1502" y="221"/>
                      </a:lnTo>
                      <a:lnTo>
                        <a:pt x="1601" y="254"/>
                      </a:lnTo>
                      <a:lnTo>
                        <a:pt x="1601"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310" name="Freeform 36"/>
              <p:cNvSpPr>
                <a:spLocks noEditPoints="1"/>
              </p:cNvSpPr>
              <p:nvPr/>
            </p:nvSpPr>
            <p:spPr bwMode="auto">
              <a:xfrm>
                <a:off x="4836855" y="6077294"/>
                <a:ext cx="77584" cy="78154"/>
              </a:xfrm>
              <a:custGeom>
                <a:avLst/>
                <a:gdLst>
                  <a:gd name="T0" fmla="*/ 1036 w 1633"/>
                  <a:gd name="T1" fmla="*/ 1014 h 1644"/>
                  <a:gd name="T2" fmla="*/ 1040 w 1633"/>
                  <a:gd name="T3" fmla="*/ 1150 h 1644"/>
                  <a:gd name="T4" fmla="*/ 1014 w 1633"/>
                  <a:gd name="T5" fmla="*/ 1275 h 1644"/>
                  <a:gd name="T6" fmla="*/ 964 w 1633"/>
                  <a:gd name="T7" fmla="*/ 1386 h 1644"/>
                  <a:gd name="T8" fmla="*/ 891 w 1633"/>
                  <a:gd name="T9" fmla="*/ 1481 h 1644"/>
                  <a:gd name="T10" fmla="*/ 799 w 1633"/>
                  <a:gd name="T11" fmla="*/ 1556 h 1644"/>
                  <a:gd name="T12" fmla="*/ 694 w 1633"/>
                  <a:gd name="T13" fmla="*/ 1610 h 1644"/>
                  <a:gd name="T14" fmla="*/ 580 w 1633"/>
                  <a:gd name="T15" fmla="*/ 1638 h 1644"/>
                  <a:gd name="T16" fmla="*/ 458 w 1633"/>
                  <a:gd name="T17" fmla="*/ 1642 h 1644"/>
                  <a:gd name="T18" fmla="*/ 371 w 1633"/>
                  <a:gd name="T19" fmla="*/ 1627 h 1644"/>
                  <a:gd name="T20" fmla="*/ 268 w 1633"/>
                  <a:gd name="T21" fmla="*/ 1588 h 1644"/>
                  <a:gd name="T22" fmla="*/ 182 w 1633"/>
                  <a:gd name="T23" fmla="*/ 1530 h 1644"/>
                  <a:gd name="T24" fmla="*/ 112 w 1633"/>
                  <a:gd name="T25" fmla="*/ 1459 h 1644"/>
                  <a:gd name="T26" fmla="*/ 60 w 1633"/>
                  <a:gd name="T27" fmla="*/ 1375 h 1644"/>
                  <a:gd name="T28" fmla="*/ 17 w 1633"/>
                  <a:gd name="T29" fmla="*/ 1259 h 1644"/>
                  <a:gd name="T30" fmla="*/ 4 w 1633"/>
                  <a:gd name="T31" fmla="*/ 1060 h 1644"/>
                  <a:gd name="T32" fmla="*/ 45 w 1633"/>
                  <a:gd name="T33" fmla="*/ 892 h 1644"/>
                  <a:gd name="T34" fmla="*/ 94 w 1633"/>
                  <a:gd name="T35" fmla="*/ 806 h 1644"/>
                  <a:gd name="T36" fmla="*/ 157 w 1633"/>
                  <a:gd name="T37" fmla="*/ 729 h 1644"/>
                  <a:gd name="T38" fmla="*/ 240 w 1633"/>
                  <a:gd name="T39" fmla="*/ 669 h 1644"/>
                  <a:gd name="T40" fmla="*/ 337 w 1633"/>
                  <a:gd name="T41" fmla="*/ 625 h 1644"/>
                  <a:gd name="T42" fmla="*/ 453 w 1633"/>
                  <a:gd name="T43" fmla="*/ 602 h 1644"/>
                  <a:gd name="T44" fmla="*/ 584 w 1633"/>
                  <a:gd name="T45" fmla="*/ 602 h 1644"/>
                  <a:gd name="T46" fmla="*/ 623 w 1633"/>
                  <a:gd name="T47" fmla="*/ 559 h 1644"/>
                  <a:gd name="T48" fmla="*/ 614 w 1633"/>
                  <a:gd name="T49" fmla="*/ 391 h 1644"/>
                  <a:gd name="T50" fmla="*/ 619 w 1633"/>
                  <a:gd name="T51" fmla="*/ 282 h 1644"/>
                  <a:gd name="T52" fmla="*/ 653 w 1633"/>
                  <a:gd name="T53" fmla="*/ 219 h 1644"/>
                  <a:gd name="T54" fmla="*/ 747 w 1633"/>
                  <a:gd name="T55" fmla="*/ 134 h 1644"/>
                  <a:gd name="T56" fmla="*/ 844 w 1633"/>
                  <a:gd name="T57" fmla="*/ 56 h 1644"/>
                  <a:gd name="T58" fmla="*/ 883 w 1633"/>
                  <a:gd name="T59" fmla="*/ 0 h 1644"/>
                  <a:gd name="T60" fmla="*/ 1452 w 1633"/>
                  <a:gd name="T61" fmla="*/ 557 h 1644"/>
                  <a:gd name="T62" fmla="*/ 1611 w 1633"/>
                  <a:gd name="T63" fmla="*/ 707 h 1644"/>
                  <a:gd name="T64" fmla="*/ 1633 w 1633"/>
                  <a:gd name="T65" fmla="*/ 739 h 1644"/>
                  <a:gd name="T66" fmla="*/ 1616 w 1633"/>
                  <a:gd name="T67" fmla="*/ 772 h 1644"/>
                  <a:gd name="T68" fmla="*/ 1502 w 1633"/>
                  <a:gd name="T69" fmla="*/ 881 h 1644"/>
                  <a:gd name="T70" fmla="*/ 1360 w 1633"/>
                  <a:gd name="T71" fmla="*/ 1014 h 1644"/>
                  <a:gd name="T72" fmla="*/ 314 w 1633"/>
                  <a:gd name="T73" fmla="*/ 1128 h 1644"/>
                  <a:gd name="T74" fmla="*/ 341 w 1633"/>
                  <a:gd name="T75" fmla="*/ 1231 h 1644"/>
                  <a:gd name="T76" fmla="*/ 402 w 1633"/>
                  <a:gd name="T77" fmla="*/ 1292 h 1644"/>
                  <a:gd name="T78" fmla="*/ 485 w 1633"/>
                  <a:gd name="T79" fmla="*/ 1319 h 1644"/>
                  <a:gd name="T80" fmla="*/ 548 w 1633"/>
                  <a:gd name="T81" fmla="*/ 1317 h 1644"/>
                  <a:gd name="T82" fmla="*/ 625 w 1633"/>
                  <a:gd name="T83" fmla="*/ 1289 h 1644"/>
                  <a:gd name="T84" fmla="*/ 675 w 1633"/>
                  <a:gd name="T85" fmla="*/ 1232 h 1644"/>
                  <a:gd name="T86" fmla="*/ 702 w 1633"/>
                  <a:gd name="T87" fmla="*/ 1161 h 1644"/>
                  <a:gd name="T88" fmla="*/ 704 w 1633"/>
                  <a:gd name="T89" fmla="*/ 1083 h 1644"/>
                  <a:gd name="T90" fmla="*/ 681 w 1633"/>
                  <a:gd name="T91" fmla="*/ 1010 h 1644"/>
                  <a:gd name="T92" fmla="*/ 632 w 1633"/>
                  <a:gd name="T93" fmla="*/ 954 h 1644"/>
                  <a:gd name="T94" fmla="*/ 558 w 1633"/>
                  <a:gd name="T95" fmla="*/ 924 h 1644"/>
                  <a:gd name="T96" fmla="*/ 458 w 1633"/>
                  <a:gd name="T97" fmla="*/ 931 h 1644"/>
                  <a:gd name="T98" fmla="*/ 410 w 1633"/>
                  <a:gd name="T99" fmla="*/ 950 h 1644"/>
                  <a:gd name="T100" fmla="*/ 363 w 1633"/>
                  <a:gd name="T101" fmla="*/ 986 h 1644"/>
                  <a:gd name="T102" fmla="*/ 320 w 1633"/>
                  <a:gd name="T103" fmla="*/ 1068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33" h="1644">
                    <a:moveTo>
                      <a:pt x="1360" y="1014"/>
                    </a:moveTo>
                    <a:lnTo>
                      <a:pt x="1360" y="1014"/>
                    </a:lnTo>
                    <a:lnTo>
                      <a:pt x="1036" y="1014"/>
                    </a:lnTo>
                    <a:lnTo>
                      <a:pt x="1036" y="1014"/>
                    </a:lnTo>
                    <a:lnTo>
                      <a:pt x="1040" y="1047"/>
                    </a:lnTo>
                    <a:lnTo>
                      <a:pt x="1042" y="1083"/>
                    </a:lnTo>
                    <a:lnTo>
                      <a:pt x="1042" y="1116"/>
                    </a:lnTo>
                    <a:lnTo>
                      <a:pt x="1040" y="1150"/>
                    </a:lnTo>
                    <a:lnTo>
                      <a:pt x="1036" y="1182"/>
                    </a:lnTo>
                    <a:lnTo>
                      <a:pt x="1031" y="1214"/>
                    </a:lnTo>
                    <a:lnTo>
                      <a:pt x="1023" y="1246"/>
                    </a:lnTo>
                    <a:lnTo>
                      <a:pt x="1014" y="1275"/>
                    </a:lnTo>
                    <a:lnTo>
                      <a:pt x="1003" y="1304"/>
                    </a:lnTo>
                    <a:lnTo>
                      <a:pt x="992" y="1333"/>
                    </a:lnTo>
                    <a:lnTo>
                      <a:pt x="978" y="1360"/>
                    </a:lnTo>
                    <a:lnTo>
                      <a:pt x="964" y="1386"/>
                    </a:lnTo>
                    <a:lnTo>
                      <a:pt x="947" y="1412"/>
                    </a:lnTo>
                    <a:lnTo>
                      <a:pt x="930" y="1436"/>
                    </a:lnTo>
                    <a:lnTo>
                      <a:pt x="909" y="1459"/>
                    </a:lnTo>
                    <a:lnTo>
                      <a:pt x="891" y="1481"/>
                    </a:lnTo>
                    <a:lnTo>
                      <a:pt x="868" y="1502"/>
                    </a:lnTo>
                    <a:lnTo>
                      <a:pt x="848" y="1521"/>
                    </a:lnTo>
                    <a:lnTo>
                      <a:pt x="823" y="1539"/>
                    </a:lnTo>
                    <a:lnTo>
                      <a:pt x="799" y="1556"/>
                    </a:lnTo>
                    <a:lnTo>
                      <a:pt x="775" y="1571"/>
                    </a:lnTo>
                    <a:lnTo>
                      <a:pt x="748" y="1586"/>
                    </a:lnTo>
                    <a:lnTo>
                      <a:pt x="722" y="1599"/>
                    </a:lnTo>
                    <a:lnTo>
                      <a:pt x="694" y="1610"/>
                    </a:lnTo>
                    <a:lnTo>
                      <a:pt x="666" y="1620"/>
                    </a:lnTo>
                    <a:lnTo>
                      <a:pt x="638" y="1627"/>
                    </a:lnTo>
                    <a:lnTo>
                      <a:pt x="608" y="1635"/>
                    </a:lnTo>
                    <a:lnTo>
                      <a:pt x="580" y="1638"/>
                    </a:lnTo>
                    <a:lnTo>
                      <a:pt x="550" y="1642"/>
                    </a:lnTo>
                    <a:lnTo>
                      <a:pt x="518" y="1644"/>
                    </a:lnTo>
                    <a:lnTo>
                      <a:pt x="488" y="1644"/>
                    </a:lnTo>
                    <a:lnTo>
                      <a:pt x="458" y="1642"/>
                    </a:lnTo>
                    <a:lnTo>
                      <a:pt x="458" y="1642"/>
                    </a:lnTo>
                    <a:lnTo>
                      <a:pt x="427" y="1638"/>
                    </a:lnTo>
                    <a:lnTo>
                      <a:pt x="399" y="1633"/>
                    </a:lnTo>
                    <a:lnTo>
                      <a:pt x="371" y="1627"/>
                    </a:lnTo>
                    <a:lnTo>
                      <a:pt x="342" y="1620"/>
                    </a:lnTo>
                    <a:lnTo>
                      <a:pt x="316" y="1610"/>
                    </a:lnTo>
                    <a:lnTo>
                      <a:pt x="292" y="1599"/>
                    </a:lnTo>
                    <a:lnTo>
                      <a:pt x="268" y="1588"/>
                    </a:lnTo>
                    <a:lnTo>
                      <a:pt x="245" y="1575"/>
                    </a:lnTo>
                    <a:lnTo>
                      <a:pt x="223" y="1562"/>
                    </a:lnTo>
                    <a:lnTo>
                      <a:pt x="202" y="1547"/>
                    </a:lnTo>
                    <a:lnTo>
                      <a:pt x="182" y="1530"/>
                    </a:lnTo>
                    <a:lnTo>
                      <a:pt x="163" y="1515"/>
                    </a:lnTo>
                    <a:lnTo>
                      <a:pt x="146" y="1496"/>
                    </a:lnTo>
                    <a:lnTo>
                      <a:pt x="129" y="1478"/>
                    </a:lnTo>
                    <a:lnTo>
                      <a:pt x="112" y="1459"/>
                    </a:lnTo>
                    <a:lnTo>
                      <a:pt x="97" y="1438"/>
                    </a:lnTo>
                    <a:lnTo>
                      <a:pt x="84" y="1418"/>
                    </a:lnTo>
                    <a:lnTo>
                      <a:pt x="71" y="1397"/>
                    </a:lnTo>
                    <a:lnTo>
                      <a:pt x="60" y="1375"/>
                    </a:lnTo>
                    <a:lnTo>
                      <a:pt x="49" y="1352"/>
                    </a:lnTo>
                    <a:lnTo>
                      <a:pt x="39" y="1330"/>
                    </a:lnTo>
                    <a:lnTo>
                      <a:pt x="32" y="1305"/>
                    </a:lnTo>
                    <a:lnTo>
                      <a:pt x="17" y="1259"/>
                    </a:lnTo>
                    <a:lnTo>
                      <a:pt x="8" y="1210"/>
                    </a:lnTo>
                    <a:lnTo>
                      <a:pt x="2" y="1160"/>
                    </a:lnTo>
                    <a:lnTo>
                      <a:pt x="0" y="1109"/>
                    </a:lnTo>
                    <a:lnTo>
                      <a:pt x="4" y="1060"/>
                    </a:lnTo>
                    <a:lnTo>
                      <a:pt x="9" y="1010"/>
                    </a:lnTo>
                    <a:lnTo>
                      <a:pt x="21" y="961"/>
                    </a:lnTo>
                    <a:lnTo>
                      <a:pt x="36" y="914"/>
                    </a:lnTo>
                    <a:lnTo>
                      <a:pt x="45" y="892"/>
                    </a:lnTo>
                    <a:lnTo>
                      <a:pt x="56" y="870"/>
                    </a:lnTo>
                    <a:lnTo>
                      <a:pt x="67" y="847"/>
                    </a:lnTo>
                    <a:lnTo>
                      <a:pt x="81" y="827"/>
                    </a:lnTo>
                    <a:lnTo>
                      <a:pt x="94" y="806"/>
                    </a:lnTo>
                    <a:lnTo>
                      <a:pt x="109" y="785"/>
                    </a:lnTo>
                    <a:lnTo>
                      <a:pt x="124" y="767"/>
                    </a:lnTo>
                    <a:lnTo>
                      <a:pt x="140" y="748"/>
                    </a:lnTo>
                    <a:lnTo>
                      <a:pt x="157" y="729"/>
                    </a:lnTo>
                    <a:lnTo>
                      <a:pt x="176" y="712"/>
                    </a:lnTo>
                    <a:lnTo>
                      <a:pt x="197" y="697"/>
                    </a:lnTo>
                    <a:lnTo>
                      <a:pt x="217" y="682"/>
                    </a:lnTo>
                    <a:lnTo>
                      <a:pt x="240" y="669"/>
                    </a:lnTo>
                    <a:lnTo>
                      <a:pt x="262" y="656"/>
                    </a:lnTo>
                    <a:lnTo>
                      <a:pt x="286" y="645"/>
                    </a:lnTo>
                    <a:lnTo>
                      <a:pt x="311" y="634"/>
                    </a:lnTo>
                    <a:lnTo>
                      <a:pt x="337" y="625"/>
                    </a:lnTo>
                    <a:lnTo>
                      <a:pt x="365" y="617"/>
                    </a:lnTo>
                    <a:lnTo>
                      <a:pt x="393" y="611"/>
                    </a:lnTo>
                    <a:lnTo>
                      <a:pt x="421" y="606"/>
                    </a:lnTo>
                    <a:lnTo>
                      <a:pt x="453" y="602"/>
                    </a:lnTo>
                    <a:lnTo>
                      <a:pt x="483" y="600"/>
                    </a:lnTo>
                    <a:lnTo>
                      <a:pt x="516" y="598"/>
                    </a:lnTo>
                    <a:lnTo>
                      <a:pt x="550" y="600"/>
                    </a:lnTo>
                    <a:lnTo>
                      <a:pt x="584" y="602"/>
                    </a:lnTo>
                    <a:lnTo>
                      <a:pt x="619" y="608"/>
                    </a:lnTo>
                    <a:lnTo>
                      <a:pt x="619" y="608"/>
                    </a:lnTo>
                    <a:lnTo>
                      <a:pt x="623" y="583"/>
                    </a:lnTo>
                    <a:lnTo>
                      <a:pt x="623" y="559"/>
                    </a:lnTo>
                    <a:lnTo>
                      <a:pt x="623" y="514"/>
                    </a:lnTo>
                    <a:lnTo>
                      <a:pt x="621" y="471"/>
                    </a:lnTo>
                    <a:lnTo>
                      <a:pt x="617" y="430"/>
                    </a:lnTo>
                    <a:lnTo>
                      <a:pt x="614" y="391"/>
                    </a:lnTo>
                    <a:lnTo>
                      <a:pt x="612" y="353"/>
                    </a:lnTo>
                    <a:lnTo>
                      <a:pt x="614" y="318"/>
                    </a:lnTo>
                    <a:lnTo>
                      <a:pt x="616" y="299"/>
                    </a:lnTo>
                    <a:lnTo>
                      <a:pt x="619" y="282"/>
                    </a:lnTo>
                    <a:lnTo>
                      <a:pt x="619" y="282"/>
                    </a:lnTo>
                    <a:lnTo>
                      <a:pt x="629" y="260"/>
                    </a:lnTo>
                    <a:lnTo>
                      <a:pt x="640" y="237"/>
                    </a:lnTo>
                    <a:lnTo>
                      <a:pt x="653" y="219"/>
                    </a:lnTo>
                    <a:lnTo>
                      <a:pt x="670" y="200"/>
                    </a:lnTo>
                    <a:lnTo>
                      <a:pt x="687" y="181"/>
                    </a:lnTo>
                    <a:lnTo>
                      <a:pt x="707" y="164"/>
                    </a:lnTo>
                    <a:lnTo>
                      <a:pt x="747" y="134"/>
                    </a:lnTo>
                    <a:lnTo>
                      <a:pt x="790" y="103"/>
                    </a:lnTo>
                    <a:lnTo>
                      <a:pt x="808" y="88"/>
                    </a:lnTo>
                    <a:lnTo>
                      <a:pt x="827" y="71"/>
                    </a:lnTo>
                    <a:lnTo>
                      <a:pt x="844" y="56"/>
                    </a:lnTo>
                    <a:lnTo>
                      <a:pt x="861" y="37"/>
                    </a:lnTo>
                    <a:lnTo>
                      <a:pt x="874" y="18"/>
                    </a:lnTo>
                    <a:lnTo>
                      <a:pt x="883" y="0"/>
                    </a:lnTo>
                    <a:lnTo>
                      <a:pt x="883" y="0"/>
                    </a:lnTo>
                    <a:lnTo>
                      <a:pt x="1149" y="258"/>
                    </a:lnTo>
                    <a:lnTo>
                      <a:pt x="1304" y="409"/>
                    </a:lnTo>
                    <a:lnTo>
                      <a:pt x="1452" y="557"/>
                    </a:lnTo>
                    <a:lnTo>
                      <a:pt x="1452" y="557"/>
                    </a:lnTo>
                    <a:lnTo>
                      <a:pt x="1495" y="598"/>
                    </a:lnTo>
                    <a:lnTo>
                      <a:pt x="1557" y="654"/>
                    </a:lnTo>
                    <a:lnTo>
                      <a:pt x="1586" y="682"/>
                    </a:lnTo>
                    <a:lnTo>
                      <a:pt x="1611" y="707"/>
                    </a:lnTo>
                    <a:lnTo>
                      <a:pt x="1628" y="727"/>
                    </a:lnTo>
                    <a:lnTo>
                      <a:pt x="1631" y="735"/>
                    </a:lnTo>
                    <a:lnTo>
                      <a:pt x="1633" y="739"/>
                    </a:lnTo>
                    <a:lnTo>
                      <a:pt x="1633" y="739"/>
                    </a:lnTo>
                    <a:lnTo>
                      <a:pt x="1633" y="746"/>
                    </a:lnTo>
                    <a:lnTo>
                      <a:pt x="1629" y="754"/>
                    </a:lnTo>
                    <a:lnTo>
                      <a:pt x="1624" y="763"/>
                    </a:lnTo>
                    <a:lnTo>
                      <a:pt x="1616" y="772"/>
                    </a:lnTo>
                    <a:lnTo>
                      <a:pt x="1598" y="795"/>
                    </a:lnTo>
                    <a:lnTo>
                      <a:pt x="1577" y="815"/>
                    </a:lnTo>
                    <a:lnTo>
                      <a:pt x="1532" y="855"/>
                    </a:lnTo>
                    <a:lnTo>
                      <a:pt x="1502" y="881"/>
                    </a:lnTo>
                    <a:lnTo>
                      <a:pt x="1502" y="881"/>
                    </a:lnTo>
                    <a:lnTo>
                      <a:pt x="1463" y="920"/>
                    </a:lnTo>
                    <a:lnTo>
                      <a:pt x="1427" y="952"/>
                    </a:lnTo>
                    <a:lnTo>
                      <a:pt x="1360" y="1014"/>
                    </a:lnTo>
                    <a:lnTo>
                      <a:pt x="1360" y="1014"/>
                    </a:lnTo>
                    <a:close/>
                    <a:moveTo>
                      <a:pt x="316" y="1094"/>
                    </a:moveTo>
                    <a:lnTo>
                      <a:pt x="316" y="1094"/>
                    </a:lnTo>
                    <a:lnTo>
                      <a:pt x="314" y="1128"/>
                    </a:lnTo>
                    <a:lnTo>
                      <a:pt x="316" y="1158"/>
                    </a:lnTo>
                    <a:lnTo>
                      <a:pt x="322" y="1184"/>
                    </a:lnTo>
                    <a:lnTo>
                      <a:pt x="329" y="1208"/>
                    </a:lnTo>
                    <a:lnTo>
                      <a:pt x="341" y="1231"/>
                    </a:lnTo>
                    <a:lnTo>
                      <a:pt x="354" y="1249"/>
                    </a:lnTo>
                    <a:lnTo>
                      <a:pt x="367" y="1266"/>
                    </a:lnTo>
                    <a:lnTo>
                      <a:pt x="384" y="1279"/>
                    </a:lnTo>
                    <a:lnTo>
                      <a:pt x="402" y="1292"/>
                    </a:lnTo>
                    <a:lnTo>
                      <a:pt x="421" y="1302"/>
                    </a:lnTo>
                    <a:lnTo>
                      <a:pt x="442" y="1309"/>
                    </a:lnTo>
                    <a:lnTo>
                      <a:pt x="464" y="1315"/>
                    </a:lnTo>
                    <a:lnTo>
                      <a:pt x="485" y="1319"/>
                    </a:lnTo>
                    <a:lnTo>
                      <a:pt x="507" y="1319"/>
                    </a:lnTo>
                    <a:lnTo>
                      <a:pt x="528" y="1319"/>
                    </a:lnTo>
                    <a:lnTo>
                      <a:pt x="548" y="1317"/>
                    </a:lnTo>
                    <a:lnTo>
                      <a:pt x="548" y="1317"/>
                    </a:lnTo>
                    <a:lnTo>
                      <a:pt x="571" y="1313"/>
                    </a:lnTo>
                    <a:lnTo>
                      <a:pt x="589" y="1307"/>
                    </a:lnTo>
                    <a:lnTo>
                      <a:pt x="608" y="1298"/>
                    </a:lnTo>
                    <a:lnTo>
                      <a:pt x="625" y="1289"/>
                    </a:lnTo>
                    <a:lnTo>
                      <a:pt x="640" y="1277"/>
                    </a:lnTo>
                    <a:lnTo>
                      <a:pt x="653" y="1262"/>
                    </a:lnTo>
                    <a:lnTo>
                      <a:pt x="664" y="1249"/>
                    </a:lnTo>
                    <a:lnTo>
                      <a:pt x="675" y="1232"/>
                    </a:lnTo>
                    <a:lnTo>
                      <a:pt x="685" y="1216"/>
                    </a:lnTo>
                    <a:lnTo>
                      <a:pt x="692" y="1199"/>
                    </a:lnTo>
                    <a:lnTo>
                      <a:pt x="698" y="1180"/>
                    </a:lnTo>
                    <a:lnTo>
                      <a:pt x="702" y="1161"/>
                    </a:lnTo>
                    <a:lnTo>
                      <a:pt x="705" y="1141"/>
                    </a:lnTo>
                    <a:lnTo>
                      <a:pt x="707" y="1122"/>
                    </a:lnTo>
                    <a:lnTo>
                      <a:pt x="705" y="1102"/>
                    </a:lnTo>
                    <a:lnTo>
                      <a:pt x="704" y="1083"/>
                    </a:lnTo>
                    <a:lnTo>
                      <a:pt x="702" y="1064"/>
                    </a:lnTo>
                    <a:lnTo>
                      <a:pt x="696" y="1045"/>
                    </a:lnTo>
                    <a:lnTo>
                      <a:pt x="689" y="1027"/>
                    </a:lnTo>
                    <a:lnTo>
                      <a:pt x="681" y="1010"/>
                    </a:lnTo>
                    <a:lnTo>
                      <a:pt x="672" y="995"/>
                    </a:lnTo>
                    <a:lnTo>
                      <a:pt x="660" y="980"/>
                    </a:lnTo>
                    <a:lnTo>
                      <a:pt x="647" y="965"/>
                    </a:lnTo>
                    <a:lnTo>
                      <a:pt x="632" y="954"/>
                    </a:lnTo>
                    <a:lnTo>
                      <a:pt x="616" y="943"/>
                    </a:lnTo>
                    <a:lnTo>
                      <a:pt x="599" y="935"/>
                    </a:lnTo>
                    <a:lnTo>
                      <a:pt x="580" y="928"/>
                    </a:lnTo>
                    <a:lnTo>
                      <a:pt x="558" y="924"/>
                    </a:lnTo>
                    <a:lnTo>
                      <a:pt x="535" y="922"/>
                    </a:lnTo>
                    <a:lnTo>
                      <a:pt x="511" y="922"/>
                    </a:lnTo>
                    <a:lnTo>
                      <a:pt x="485" y="926"/>
                    </a:lnTo>
                    <a:lnTo>
                      <a:pt x="458" y="931"/>
                    </a:lnTo>
                    <a:lnTo>
                      <a:pt x="458" y="931"/>
                    </a:lnTo>
                    <a:lnTo>
                      <a:pt x="442" y="937"/>
                    </a:lnTo>
                    <a:lnTo>
                      <a:pt x="425" y="943"/>
                    </a:lnTo>
                    <a:lnTo>
                      <a:pt x="410" y="950"/>
                    </a:lnTo>
                    <a:lnTo>
                      <a:pt x="397" y="957"/>
                    </a:lnTo>
                    <a:lnTo>
                      <a:pt x="385" y="967"/>
                    </a:lnTo>
                    <a:lnTo>
                      <a:pt x="374" y="976"/>
                    </a:lnTo>
                    <a:lnTo>
                      <a:pt x="363" y="986"/>
                    </a:lnTo>
                    <a:lnTo>
                      <a:pt x="354" y="997"/>
                    </a:lnTo>
                    <a:lnTo>
                      <a:pt x="339" y="1019"/>
                    </a:lnTo>
                    <a:lnTo>
                      <a:pt x="328" y="1042"/>
                    </a:lnTo>
                    <a:lnTo>
                      <a:pt x="320" y="1068"/>
                    </a:lnTo>
                    <a:lnTo>
                      <a:pt x="316" y="1094"/>
                    </a:lnTo>
                    <a:lnTo>
                      <a:pt x="316" y="109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15" name="Group 1314"/>
            <p:cNvGrpSpPr/>
            <p:nvPr/>
          </p:nvGrpSpPr>
          <p:grpSpPr>
            <a:xfrm>
              <a:off x="5212122" y="5349676"/>
              <a:ext cx="188760" cy="184926"/>
              <a:chOff x="3644798" y="6664515"/>
              <a:chExt cx="169901" cy="166450"/>
            </a:xfrm>
          </p:grpSpPr>
          <p:sp>
            <p:nvSpPr>
              <p:cNvPr id="1316" name="Freeform 38"/>
              <p:cNvSpPr>
                <a:spLocks noEditPoints="1"/>
              </p:cNvSpPr>
              <p:nvPr/>
            </p:nvSpPr>
            <p:spPr bwMode="auto">
              <a:xfrm rot="3600000">
                <a:off x="3655103" y="6671369"/>
                <a:ext cx="166450" cy="152742"/>
              </a:xfrm>
              <a:custGeom>
                <a:avLst/>
                <a:gdLst>
                  <a:gd name="T0" fmla="*/ 1162 w 4420"/>
                  <a:gd name="T1" fmla="*/ 3932 h 4055"/>
                  <a:gd name="T2" fmla="*/ 939 w 4420"/>
                  <a:gd name="T3" fmla="*/ 3911 h 4055"/>
                  <a:gd name="T4" fmla="*/ 599 w 4420"/>
                  <a:gd name="T5" fmla="*/ 3595 h 4055"/>
                  <a:gd name="T6" fmla="*/ 219 w 4420"/>
                  <a:gd name="T7" fmla="*/ 3015 h 4055"/>
                  <a:gd name="T8" fmla="*/ 60 w 4420"/>
                  <a:gd name="T9" fmla="*/ 2555 h 4055"/>
                  <a:gd name="T10" fmla="*/ 0 w 4420"/>
                  <a:gd name="T11" fmla="*/ 2033 h 4055"/>
                  <a:gd name="T12" fmla="*/ 80 w 4420"/>
                  <a:gd name="T13" fmla="*/ 1401 h 4055"/>
                  <a:gd name="T14" fmla="*/ 335 w 4420"/>
                  <a:gd name="T15" fmla="*/ 819 h 4055"/>
                  <a:gd name="T16" fmla="*/ 700 w 4420"/>
                  <a:gd name="T17" fmla="*/ 364 h 4055"/>
                  <a:gd name="T18" fmla="*/ 1328 w 4420"/>
                  <a:gd name="T19" fmla="*/ 127 h 4055"/>
                  <a:gd name="T20" fmla="*/ 1863 w 4420"/>
                  <a:gd name="T21" fmla="*/ 76 h 4055"/>
                  <a:gd name="T22" fmla="*/ 2376 w 4420"/>
                  <a:gd name="T23" fmla="*/ 0 h 4055"/>
                  <a:gd name="T24" fmla="*/ 2892 w 4420"/>
                  <a:gd name="T25" fmla="*/ 60 h 4055"/>
                  <a:gd name="T26" fmla="*/ 3335 w 4420"/>
                  <a:gd name="T27" fmla="*/ 230 h 4055"/>
                  <a:gd name="T28" fmla="*/ 3792 w 4420"/>
                  <a:gd name="T29" fmla="*/ 563 h 4055"/>
                  <a:gd name="T30" fmla="*/ 4149 w 4420"/>
                  <a:gd name="T31" fmla="*/ 1019 h 4055"/>
                  <a:gd name="T32" fmla="*/ 4332 w 4420"/>
                  <a:gd name="T33" fmla="*/ 1436 h 4055"/>
                  <a:gd name="T34" fmla="*/ 4417 w 4420"/>
                  <a:gd name="T35" fmla="*/ 1910 h 4055"/>
                  <a:gd name="T36" fmla="*/ 4396 w 4420"/>
                  <a:gd name="T37" fmla="*/ 2366 h 4055"/>
                  <a:gd name="T38" fmla="*/ 4265 w 4420"/>
                  <a:gd name="T39" fmla="*/ 2815 h 4055"/>
                  <a:gd name="T40" fmla="*/ 4044 w 4420"/>
                  <a:gd name="T41" fmla="*/ 3197 h 4055"/>
                  <a:gd name="T42" fmla="*/ 3539 w 4420"/>
                  <a:gd name="T43" fmla="*/ 3696 h 4055"/>
                  <a:gd name="T44" fmla="*/ 3154 w 4420"/>
                  <a:gd name="T45" fmla="*/ 3913 h 4055"/>
                  <a:gd name="T46" fmla="*/ 2692 w 4420"/>
                  <a:gd name="T47" fmla="*/ 4036 h 4055"/>
                  <a:gd name="T48" fmla="*/ 2200 w 4420"/>
                  <a:gd name="T49" fmla="*/ 4046 h 4055"/>
                  <a:gd name="T50" fmla="*/ 1650 w 4420"/>
                  <a:gd name="T51" fmla="*/ 3906 h 4055"/>
                  <a:gd name="T52" fmla="*/ 920 w 4420"/>
                  <a:gd name="T53" fmla="*/ 421 h 4055"/>
                  <a:gd name="T54" fmla="*/ 576 w 4420"/>
                  <a:gd name="T55" fmla="*/ 804 h 4055"/>
                  <a:gd name="T56" fmla="*/ 316 w 4420"/>
                  <a:gd name="T57" fmla="*/ 1290 h 4055"/>
                  <a:gd name="T58" fmla="*/ 195 w 4420"/>
                  <a:gd name="T59" fmla="*/ 1882 h 4055"/>
                  <a:gd name="T60" fmla="*/ 224 w 4420"/>
                  <a:gd name="T61" fmla="*/ 2403 h 4055"/>
                  <a:gd name="T62" fmla="*/ 372 w 4420"/>
                  <a:gd name="T63" fmla="*/ 2894 h 4055"/>
                  <a:gd name="T64" fmla="*/ 608 w 4420"/>
                  <a:gd name="T65" fmla="*/ 3309 h 4055"/>
                  <a:gd name="T66" fmla="*/ 902 w 4420"/>
                  <a:gd name="T67" fmla="*/ 3634 h 4055"/>
                  <a:gd name="T68" fmla="*/ 1077 w 4420"/>
                  <a:gd name="T69" fmla="*/ 3739 h 4055"/>
                  <a:gd name="T70" fmla="*/ 1143 w 4420"/>
                  <a:gd name="T71" fmla="*/ 3163 h 4055"/>
                  <a:gd name="T72" fmla="*/ 1094 w 4420"/>
                  <a:gd name="T73" fmla="*/ 2662 h 4055"/>
                  <a:gd name="T74" fmla="*/ 947 w 4420"/>
                  <a:gd name="T75" fmla="*/ 2170 h 4055"/>
                  <a:gd name="T76" fmla="*/ 952 w 4420"/>
                  <a:gd name="T77" fmla="*/ 1829 h 4055"/>
                  <a:gd name="T78" fmla="*/ 1106 w 4420"/>
                  <a:gd name="T79" fmla="*/ 1375 h 4055"/>
                  <a:gd name="T80" fmla="*/ 1141 w 4420"/>
                  <a:gd name="T81" fmla="*/ 873 h 4055"/>
                  <a:gd name="T82" fmla="*/ 1092 w 4420"/>
                  <a:gd name="T83" fmla="*/ 314 h 4055"/>
                  <a:gd name="T84" fmla="*/ 1236 w 4420"/>
                  <a:gd name="T85" fmla="*/ 1911 h 4055"/>
                  <a:gd name="T86" fmla="*/ 1287 w 4420"/>
                  <a:gd name="T87" fmla="*/ 2394 h 4055"/>
                  <a:gd name="T88" fmla="*/ 1493 w 4420"/>
                  <a:gd name="T89" fmla="*/ 2776 h 4055"/>
                  <a:gd name="T90" fmla="*/ 1815 w 4420"/>
                  <a:gd name="T91" fmla="*/ 3043 h 4055"/>
                  <a:gd name="T92" fmla="*/ 2155 w 4420"/>
                  <a:gd name="T93" fmla="*/ 3169 h 4055"/>
                  <a:gd name="T94" fmla="*/ 2628 w 4420"/>
                  <a:gd name="T95" fmla="*/ 3174 h 4055"/>
                  <a:gd name="T96" fmla="*/ 3047 w 4420"/>
                  <a:gd name="T97" fmla="*/ 3006 h 4055"/>
                  <a:gd name="T98" fmla="*/ 3362 w 4420"/>
                  <a:gd name="T99" fmla="*/ 2693 h 4055"/>
                  <a:gd name="T100" fmla="*/ 3537 w 4420"/>
                  <a:gd name="T101" fmla="*/ 2284 h 4055"/>
                  <a:gd name="T102" fmla="*/ 3558 w 4420"/>
                  <a:gd name="T103" fmla="*/ 1938 h 4055"/>
                  <a:gd name="T104" fmla="*/ 3408 w 4420"/>
                  <a:gd name="T105" fmla="*/ 1449 h 4055"/>
                  <a:gd name="T106" fmla="*/ 3122 w 4420"/>
                  <a:gd name="T107" fmla="*/ 1111 h 4055"/>
                  <a:gd name="T108" fmla="*/ 2615 w 4420"/>
                  <a:gd name="T109" fmla="*/ 890 h 4055"/>
                  <a:gd name="T110" fmla="*/ 2119 w 4420"/>
                  <a:gd name="T111" fmla="*/ 903 h 4055"/>
                  <a:gd name="T112" fmla="*/ 1712 w 4420"/>
                  <a:gd name="T113" fmla="*/ 1085 h 4055"/>
                  <a:gd name="T114" fmla="*/ 1409 w 4420"/>
                  <a:gd name="T115" fmla="*/ 1397 h 4055"/>
                  <a:gd name="T116" fmla="*/ 1250 w 4420"/>
                  <a:gd name="T117" fmla="*/ 1809 h 4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20" h="4055">
                    <a:moveTo>
                      <a:pt x="1328" y="3747"/>
                    </a:moveTo>
                    <a:lnTo>
                      <a:pt x="1328" y="3747"/>
                    </a:lnTo>
                    <a:lnTo>
                      <a:pt x="1328" y="3930"/>
                    </a:lnTo>
                    <a:lnTo>
                      <a:pt x="1328" y="3930"/>
                    </a:lnTo>
                    <a:lnTo>
                      <a:pt x="1309" y="3926"/>
                    </a:lnTo>
                    <a:lnTo>
                      <a:pt x="1291" y="3924"/>
                    </a:lnTo>
                    <a:lnTo>
                      <a:pt x="1250" y="3924"/>
                    </a:lnTo>
                    <a:lnTo>
                      <a:pt x="1207" y="3928"/>
                    </a:lnTo>
                    <a:lnTo>
                      <a:pt x="1162" y="3932"/>
                    </a:lnTo>
                    <a:lnTo>
                      <a:pt x="1115" y="3935"/>
                    </a:lnTo>
                    <a:lnTo>
                      <a:pt x="1070" y="3937"/>
                    </a:lnTo>
                    <a:lnTo>
                      <a:pt x="1048" y="3937"/>
                    </a:lnTo>
                    <a:lnTo>
                      <a:pt x="1025" y="3935"/>
                    </a:lnTo>
                    <a:lnTo>
                      <a:pt x="1005" y="3934"/>
                    </a:lnTo>
                    <a:lnTo>
                      <a:pt x="984" y="3930"/>
                    </a:lnTo>
                    <a:lnTo>
                      <a:pt x="984" y="3930"/>
                    </a:lnTo>
                    <a:lnTo>
                      <a:pt x="962" y="3922"/>
                    </a:lnTo>
                    <a:lnTo>
                      <a:pt x="939" y="3911"/>
                    </a:lnTo>
                    <a:lnTo>
                      <a:pt x="915" y="3896"/>
                    </a:lnTo>
                    <a:lnTo>
                      <a:pt x="889" y="3877"/>
                    </a:lnTo>
                    <a:lnTo>
                      <a:pt x="862" y="3857"/>
                    </a:lnTo>
                    <a:lnTo>
                      <a:pt x="834" y="3834"/>
                    </a:lnTo>
                    <a:lnTo>
                      <a:pt x="778" y="3784"/>
                    </a:lnTo>
                    <a:lnTo>
                      <a:pt x="724" y="3732"/>
                    </a:lnTo>
                    <a:lnTo>
                      <a:pt x="675" y="3679"/>
                    </a:lnTo>
                    <a:lnTo>
                      <a:pt x="632" y="3632"/>
                    </a:lnTo>
                    <a:lnTo>
                      <a:pt x="599" y="3595"/>
                    </a:lnTo>
                    <a:lnTo>
                      <a:pt x="599" y="3595"/>
                    </a:lnTo>
                    <a:lnTo>
                      <a:pt x="537" y="3522"/>
                    </a:lnTo>
                    <a:lnTo>
                      <a:pt x="479" y="3445"/>
                    </a:lnTo>
                    <a:lnTo>
                      <a:pt x="421" y="3367"/>
                    </a:lnTo>
                    <a:lnTo>
                      <a:pt x="367" y="3283"/>
                    </a:lnTo>
                    <a:lnTo>
                      <a:pt x="314" y="3197"/>
                    </a:lnTo>
                    <a:lnTo>
                      <a:pt x="266" y="3107"/>
                    </a:lnTo>
                    <a:lnTo>
                      <a:pt x="241" y="3062"/>
                    </a:lnTo>
                    <a:lnTo>
                      <a:pt x="219" y="3015"/>
                    </a:lnTo>
                    <a:lnTo>
                      <a:pt x="198" y="2966"/>
                    </a:lnTo>
                    <a:lnTo>
                      <a:pt x="178" y="2918"/>
                    </a:lnTo>
                    <a:lnTo>
                      <a:pt x="157" y="2869"/>
                    </a:lnTo>
                    <a:lnTo>
                      <a:pt x="138" y="2819"/>
                    </a:lnTo>
                    <a:lnTo>
                      <a:pt x="120" y="2768"/>
                    </a:lnTo>
                    <a:lnTo>
                      <a:pt x="105" y="2716"/>
                    </a:lnTo>
                    <a:lnTo>
                      <a:pt x="88" y="2663"/>
                    </a:lnTo>
                    <a:lnTo>
                      <a:pt x="73" y="2609"/>
                    </a:lnTo>
                    <a:lnTo>
                      <a:pt x="60" y="2555"/>
                    </a:lnTo>
                    <a:lnTo>
                      <a:pt x="49" y="2501"/>
                    </a:lnTo>
                    <a:lnTo>
                      <a:pt x="37" y="2445"/>
                    </a:lnTo>
                    <a:lnTo>
                      <a:pt x="28" y="2388"/>
                    </a:lnTo>
                    <a:lnTo>
                      <a:pt x="19" y="2330"/>
                    </a:lnTo>
                    <a:lnTo>
                      <a:pt x="13" y="2272"/>
                    </a:lnTo>
                    <a:lnTo>
                      <a:pt x="7" y="2214"/>
                    </a:lnTo>
                    <a:lnTo>
                      <a:pt x="4" y="2155"/>
                    </a:lnTo>
                    <a:lnTo>
                      <a:pt x="0" y="2095"/>
                    </a:lnTo>
                    <a:lnTo>
                      <a:pt x="0" y="2033"/>
                    </a:lnTo>
                    <a:lnTo>
                      <a:pt x="0" y="2033"/>
                    </a:lnTo>
                    <a:lnTo>
                      <a:pt x="0" y="1947"/>
                    </a:lnTo>
                    <a:lnTo>
                      <a:pt x="4" y="1865"/>
                    </a:lnTo>
                    <a:lnTo>
                      <a:pt x="11" y="1782"/>
                    </a:lnTo>
                    <a:lnTo>
                      <a:pt x="21" y="1702"/>
                    </a:lnTo>
                    <a:lnTo>
                      <a:pt x="32" y="1623"/>
                    </a:lnTo>
                    <a:lnTo>
                      <a:pt x="45" y="1549"/>
                    </a:lnTo>
                    <a:lnTo>
                      <a:pt x="62" y="1474"/>
                    </a:lnTo>
                    <a:lnTo>
                      <a:pt x="80" y="1401"/>
                    </a:lnTo>
                    <a:lnTo>
                      <a:pt x="101" y="1330"/>
                    </a:lnTo>
                    <a:lnTo>
                      <a:pt x="123" y="1259"/>
                    </a:lnTo>
                    <a:lnTo>
                      <a:pt x="150" y="1191"/>
                    </a:lnTo>
                    <a:lnTo>
                      <a:pt x="176" y="1126"/>
                    </a:lnTo>
                    <a:lnTo>
                      <a:pt x="204" y="1060"/>
                    </a:lnTo>
                    <a:lnTo>
                      <a:pt x="236" y="999"/>
                    </a:lnTo>
                    <a:lnTo>
                      <a:pt x="268" y="937"/>
                    </a:lnTo>
                    <a:lnTo>
                      <a:pt x="299" y="877"/>
                    </a:lnTo>
                    <a:lnTo>
                      <a:pt x="335" y="819"/>
                    </a:lnTo>
                    <a:lnTo>
                      <a:pt x="372" y="763"/>
                    </a:lnTo>
                    <a:lnTo>
                      <a:pt x="410" y="707"/>
                    </a:lnTo>
                    <a:lnTo>
                      <a:pt x="447" y="654"/>
                    </a:lnTo>
                    <a:lnTo>
                      <a:pt x="488" y="602"/>
                    </a:lnTo>
                    <a:lnTo>
                      <a:pt x="528" y="551"/>
                    </a:lnTo>
                    <a:lnTo>
                      <a:pt x="571" y="503"/>
                    </a:lnTo>
                    <a:lnTo>
                      <a:pt x="614" y="454"/>
                    </a:lnTo>
                    <a:lnTo>
                      <a:pt x="657" y="409"/>
                    </a:lnTo>
                    <a:lnTo>
                      <a:pt x="700" y="364"/>
                    </a:lnTo>
                    <a:lnTo>
                      <a:pt x="745" y="321"/>
                    </a:lnTo>
                    <a:lnTo>
                      <a:pt x="789" y="278"/>
                    </a:lnTo>
                    <a:lnTo>
                      <a:pt x="836" y="239"/>
                    </a:lnTo>
                    <a:lnTo>
                      <a:pt x="881" y="200"/>
                    </a:lnTo>
                    <a:lnTo>
                      <a:pt x="928" y="162"/>
                    </a:lnTo>
                    <a:lnTo>
                      <a:pt x="973" y="127"/>
                    </a:lnTo>
                    <a:lnTo>
                      <a:pt x="973" y="127"/>
                    </a:lnTo>
                    <a:lnTo>
                      <a:pt x="1328" y="127"/>
                    </a:lnTo>
                    <a:lnTo>
                      <a:pt x="1328" y="127"/>
                    </a:lnTo>
                    <a:lnTo>
                      <a:pt x="1328" y="299"/>
                    </a:lnTo>
                    <a:lnTo>
                      <a:pt x="1328" y="299"/>
                    </a:lnTo>
                    <a:lnTo>
                      <a:pt x="1425" y="250"/>
                    </a:lnTo>
                    <a:lnTo>
                      <a:pt x="1528" y="204"/>
                    </a:lnTo>
                    <a:lnTo>
                      <a:pt x="1635" y="159"/>
                    </a:lnTo>
                    <a:lnTo>
                      <a:pt x="1689" y="136"/>
                    </a:lnTo>
                    <a:lnTo>
                      <a:pt x="1747" y="116"/>
                    </a:lnTo>
                    <a:lnTo>
                      <a:pt x="1803" y="95"/>
                    </a:lnTo>
                    <a:lnTo>
                      <a:pt x="1863" y="76"/>
                    </a:lnTo>
                    <a:lnTo>
                      <a:pt x="1923" y="60"/>
                    </a:lnTo>
                    <a:lnTo>
                      <a:pt x="1987" y="45"/>
                    </a:lnTo>
                    <a:lnTo>
                      <a:pt x="2050" y="31"/>
                    </a:lnTo>
                    <a:lnTo>
                      <a:pt x="2116" y="20"/>
                    </a:lnTo>
                    <a:lnTo>
                      <a:pt x="2181" y="11"/>
                    </a:lnTo>
                    <a:lnTo>
                      <a:pt x="2250" y="5"/>
                    </a:lnTo>
                    <a:lnTo>
                      <a:pt x="2250" y="5"/>
                    </a:lnTo>
                    <a:lnTo>
                      <a:pt x="2314" y="2"/>
                    </a:lnTo>
                    <a:lnTo>
                      <a:pt x="2376" y="0"/>
                    </a:lnTo>
                    <a:lnTo>
                      <a:pt x="2436" y="0"/>
                    </a:lnTo>
                    <a:lnTo>
                      <a:pt x="2495" y="2"/>
                    </a:lnTo>
                    <a:lnTo>
                      <a:pt x="2555" y="5"/>
                    </a:lnTo>
                    <a:lnTo>
                      <a:pt x="2613" y="9"/>
                    </a:lnTo>
                    <a:lnTo>
                      <a:pt x="2671" y="16"/>
                    </a:lnTo>
                    <a:lnTo>
                      <a:pt x="2727" y="26"/>
                    </a:lnTo>
                    <a:lnTo>
                      <a:pt x="2783" y="35"/>
                    </a:lnTo>
                    <a:lnTo>
                      <a:pt x="2840" y="46"/>
                    </a:lnTo>
                    <a:lnTo>
                      <a:pt x="2892" y="60"/>
                    </a:lnTo>
                    <a:lnTo>
                      <a:pt x="2946" y="73"/>
                    </a:lnTo>
                    <a:lnTo>
                      <a:pt x="2999" y="89"/>
                    </a:lnTo>
                    <a:lnTo>
                      <a:pt x="3049" y="106"/>
                    </a:lnTo>
                    <a:lnTo>
                      <a:pt x="3100" y="123"/>
                    </a:lnTo>
                    <a:lnTo>
                      <a:pt x="3148" y="142"/>
                    </a:lnTo>
                    <a:lnTo>
                      <a:pt x="3197" y="162"/>
                    </a:lnTo>
                    <a:lnTo>
                      <a:pt x="3244" y="185"/>
                    </a:lnTo>
                    <a:lnTo>
                      <a:pt x="3290" y="207"/>
                    </a:lnTo>
                    <a:lnTo>
                      <a:pt x="3335" y="230"/>
                    </a:lnTo>
                    <a:lnTo>
                      <a:pt x="3378" y="254"/>
                    </a:lnTo>
                    <a:lnTo>
                      <a:pt x="3421" y="278"/>
                    </a:lnTo>
                    <a:lnTo>
                      <a:pt x="3464" y="305"/>
                    </a:lnTo>
                    <a:lnTo>
                      <a:pt x="3506" y="331"/>
                    </a:lnTo>
                    <a:lnTo>
                      <a:pt x="3545" y="357"/>
                    </a:lnTo>
                    <a:lnTo>
                      <a:pt x="3584" y="385"/>
                    </a:lnTo>
                    <a:lnTo>
                      <a:pt x="3657" y="443"/>
                    </a:lnTo>
                    <a:lnTo>
                      <a:pt x="3728" y="501"/>
                    </a:lnTo>
                    <a:lnTo>
                      <a:pt x="3792" y="563"/>
                    </a:lnTo>
                    <a:lnTo>
                      <a:pt x="3792" y="563"/>
                    </a:lnTo>
                    <a:lnTo>
                      <a:pt x="3859" y="630"/>
                    </a:lnTo>
                    <a:lnTo>
                      <a:pt x="3923" y="701"/>
                    </a:lnTo>
                    <a:lnTo>
                      <a:pt x="3984" y="776"/>
                    </a:lnTo>
                    <a:lnTo>
                      <a:pt x="4042" y="855"/>
                    </a:lnTo>
                    <a:lnTo>
                      <a:pt x="4070" y="894"/>
                    </a:lnTo>
                    <a:lnTo>
                      <a:pt x="4097" y="935"/>
                    </a:lnTo>
                    <a:lnTo>
                      <a:pt x="4123" y="976"/>
                    </a:lnTo>
                    <a:lnTo>
                      <a:pt x="4149" y="1019"/>
                    </a:lnTo>
                    <a:lnTo>
                      <a:pt x="4173" y="1062"/>
                    </a:lnTo>
                    <a:lnTo>
                      <a:pt x="4196" y="1107"/>
                    </a:lnTo>
                    <a:lnTo>
                      <a:pt x="4218" y="1152"/>
                    </a:lnTo>
                    <a:lnTo>
                      <a:pt x="4241" y="1197"/>
                    </a:lnTo>
                    <a:lnTo>
                      <a:pt x="4261" y="1244"/>
                    </a:lnTo>
                    <a:lnTo>
                      <a:pt x="4280" y="1290"/>
                    </a:lnTo>
                    <a:lnTo>
                      <a:pt x="4299" y="1339"/>
                    </a:lnTo>
                    <a:lnTo>
                      <a:pt x="4316" y="1388"/>
                    </a:lnTo>
                    <a:lnTo>
                      <a:pt x="4332" y="1436"/>
                    </a:lnTo>
                    <a:lnTo>
                      <a:pt x="4345" y="1487"/>
                    </a:lnTo>
                    <a:lnTo>
                      <a:pt x="4360" y="1537"/>
                    </a:lnTo>
                    <a:lnTo>
                      <a:pt x="4372" y="1588"/>
                    </a:lnTo>
                    <a:lnTo>
                      <a:pt x="4383" y="1640"/>
                    </a:lnTo>
                    <a:lnTo>
                      <a:pt x="4392" y="1693"/>
                    </a:lnTo>
                    <a:lnTo>
                      <a:pt x="4402" y="1747"/>
                    </a:lnTo>
                    <a:lnTo>
                      <a:pt x="4407" y="1801"/>
                    </a:lnTo>
                    <a:lnTo>
                      <a:pt x="4413" y="1855"/>
                    </a:lnTo>
                    <a:lnTo>
                      <a:pt x="4417" y="1910"/>
                    </a:lnTo>
                    <a:lnTo>
                      <a:pt x="4420" y="1966"/>
                    </a:lnTo>
                    <a:lnTo>
                      <a:pt x="4420" y="2022"/>
                    </a:lnTo>
                    <a:lnTo>
                      <a:pt x="4420" y="2022"/>
                    </a:lnTo>
                    <a:lnTo>
                      <a:pt x="4420" y="2082"/>
                    </a:lnTo>
                    <a:lnTo>
                      <a:pt x="4418" y="2142"/>
                    </a:lnTo>
                    <a:lnTo>
                      <a:pt x="4415" y="2198"/>
                    </a:lnTo>
                    <a:lnTo>
                      <a:pt x="4409" y="2256"/>
                    </a:lnTo>
                    <a:lnTo>
                      <a:pt x="4403" y="2310"/>
                    </a:lnTo>
                    <a:lnTo>
                      <a:pt x="4396" y="2366"/>
                    </a:lnTo>
                    <a:lnTo>
                      <a:pt x="4387" y="2418"/>
                    </a:lnTo>
                    <a:lnTo>
                      <a:pt x="4375" y="2473"/>
                    </a:lnTo>
                    <a:lnTo>
                      <a:pt x="4362" y="2523"/>
                    </a:lnTo>
                    <a:lnTo>
                      <a:pt x="4349" y="2574"/>
                    </a:lnTo>
                    <a:lnTo>
                      <a:pt x="4334" y="2624"/>
                    </a:lnTo>
                    <a:lnTo>
                      <a:pt x="4319" y="2673"/>
                    </a:lnTo>
                    <a:lnTo>
                      <a:pt x="4302" y="2721"/>
                    </a:lnTo>
                    <a:lnTo>
                      <a:pt x="4284" y="2768"/>
                    </a:lnTo>
                    <a:lnTo>
                      <a:pt x="4265" y="2815"/>
                    </a:lnTo>
                    <a:lnTo>
                      <a:pt x="4244" y="2860"/>
                    </a:lnTo>
                    <a:lnTo>
                      <a:pt x="4222" y="2905"/>
                    </a:lnTo>
                    <a:lnTo>
                      <a:pt x="4200" y="2950"/>
                    </a:lnTo>
                    <a:lnTo>
                      <a:pt x="4175" y="2993"/>
                    </a:lnTo>
                    <a:lnTo>
                      <a:pt x="4151" y="3034"/>
                    </a:lnTo>
                    <a:lnTo>
                      <a:pt x="4127" y="3077"/>
                    </a:lnTo>
                    <a:lnTo>
                      <a:pt x="4099" y="3116"/>
                    </a:lnTo>
                    <a:lnTo>
                      <a:pt x="4072" y="3157"/>
                    </a:lnTo>
                    <a:lnTo>
                      <a:pt x="4044" y="3197"/>
                    </a:lnTo>
                    <a:lnTo>
                      <a:pt x="3984" y="3271"/>
                    </a:lnTo>
                    <a:lnTo>
                      <a:pt x="3923" y="3344"/>
                    </a:lnTo>
                    <a:lnTo>
                      <a:pt x="3859" y="3415"/>
                    </a:lnTo>
                    <a:lnTo>
                      <a:pt x="3792" y="3483"/>
                    </a:lnTo>
                    <a:lnTo>
                      <a:pt x="3792" y="3483"/>
                    </a:lnTo>
                    <a:lnTo>
                      <a:pt x="3724" y="3548"/>
                    </a:lnTo>
                    <a:lnTo>
                      <a:pt x="3651" y="3610"/>
                    </a:lnTo>
                    <a:lnTo>
                      <a:pt x="3577" y="3668"/>
                    </a:lnTo>
                    <a:lnTo>
                      <a:pt x="3539" y="3696"/>
                    </a:lnTo>
                    <a:lnTo>
                      <a:pt x="3500" y="3724"/>
                    </a:lnTo>
                    <a:lnTo>
                      <a:pt x="3459" y="3752"/>
                    </a:lnTo>
                    <a:lnTo>
                      <a:pt x="3418" y="3776"/>
                    </a:lnTo>
                    <a:lnTo>
                      <a:pt x="3376" y="3803"/>
                    </a:lnTo>
                    <a:lnTo>
                      <a:pt x="3333" y="3827"/>
                    </a:lnTo>
                    <a:lnTo>
                      <a:pt x="3290" y="3849"/>
                    </a:lnTo>
                    <a:lnTo>
                      <a:pt x="3246" y="3872"/>
                    </a:lnTo>
                    <a:lnTo>
                      <a:pt x="3201" y="3892"/>
                    </a:lnTo>
                    <a:lnTo>
                      <a:pt x="3154" y="3913"/>
                    </a:lnTo>
                    <a:lnTo>
                      <a:pt x="3107" y="3932"/>
                    </a:lnTo>
                    <a:lnTo>
                      <a:pt x="3058" y="3949"/>
                    </a:lnTo>
                    <a:lnTo>
                      <a:pt x="3008" y="3965"/>
                    </a:lnTo>
                    <a:lnTo>
                      <a:pt x="2957" y="3980"/>
                    </a:lnTo>
                    <a:lnTo>
                      <a:pt x="2907" y="3993"/>
                    </a:lnTo>
                    <a:lnTo>
                      <a:pt x="2855" y="4007"/>
                    </a:lnTo>
                    <a:lnTo>
                      <a:pt x="2800" y="4018"/>
                    </a:lnTo>
                    <a:lnTo>
                      <a:pt x="2746" y="4027"/>
                    </a:lnTo>
                    <a:lnTo>
                      <a:pt x="2692" y="4036"/>
                    </a:lnTo>
                    <a:lnTo>
                      <a:pt x="2634" y="4042"/>
                    </a:lnTo>
                    <a:lnTo>
                      <a:pt x="2578" y="4048"/>
                    </a:lnTo>
                    <a:lnTo>
                      <a:pt x="2518" y="4051"/>
                    </a:lnTo>
                    <a:lnTo>
                      <a:pt x="2458" y="4053"/>
                    </a:lnTo>
                    <a:lnTo>
                      <a:pt x="2396" y="4055"/>
                    </a:lnTo>
                    <a:lnTo>
                      <a:pt x="2335" y="4053"/>
                    </a:lnTo>
                    <a:lnTo>
                      <a:pt x="2271" y="4051"/>
                    </a:lnTo>
                    <a:lnTo>
                      <a:pt x="2271" y="4051"/>
                    </a:lnTo>
                    <a:lnTo>
                      <a:pt x="2200" y="4046"/>
                    </a:lnTo>
                    <a:lnTo>
                      <a:pt x="2131" y="4038"/>
                    </a:lnTo>
                    <a:lnTo>
                      <a:pt x="2063" y="4029"/>
                    </a:lnTo>
                    <a:lnTo>
                      <a:pt x="2000" y="4016"/>
                    </a:lnTo>
                    <a:lnTo>
                      <a:pt x="1938" y="4003"/>
                    </a:lnTo>
                    <a:lnTo>
                      <a:pt x="1876" y="3986"/>
                    </a:lnTo>
                    <a:lnTo>
                      <a:pt x="1818" y="3969"/>
                    </a:lnTo>
                    <a:lnTo>
                      <a:pt x="1760" y="3950"/>
                    </a:lnTo>
                    <a:lnTo>
                      <a:pt x="1704" y="3928"/>
                    </a:lnTo>
                    <a:lnTo>
                      <a:pt x="1650" y="3906"/>
                    </a:lnTo>
                    <a:lnTo>
                      <a:pt x="1596" y="3883"/>
                    </a:lnTo>
                    <a:lnTo>
                      <a:pt x="1541" y="3857"/>
                    </a:lnTo>
                    <a:lnTo>
                      <a:pt x="1435" y="3805"/>
                    </a:lnTo>
                    <a:lnTo>
                      <a:pt x="1328" y="3747"/>
                    </a:lnTo>
                    <a:lnTo>
                      <a:pt x="1328" y="3747"/>
                    </a:lnTo>
                    <a:close/>
                    <a:moveTo>
                      <a:pt x="1003" y="349"/>
                    </a:moveTo>
                    <a:lnTo>
                      <a:pt x="1003" y="349"/>
                    </a:lnTo>
                    <a:lnTo>
                      <a:pt x="962" y="385"/>
                    </a:lnTo>
                    <a:lnTo>
                      <a:pt x="920" y="421"/>
                    </a:lnTo>
                    <a:lnTo>
                      <a:pt x="879" y="460"/>
                    </a:lnTo>
                    <a:lnTo>
                      <a:pt x="838" y="497"/>
                    </a:lnTo>
                    <a:lnTo>
                      <a:pt x="799" y="538"/>
                    </a:lnTo>
                    <a:lnTo>
                      <a:pt x="759" y="580"/>
                    </a:lnTo>
                    <a:lnTo>
                      <a:pt x="720" y="623"/>
                    </a:lnTo>
                    <a:lnTo>
                      <a:pt x="683" y="666"/>
                    </a:lnTo>
                    <a:lnTo>
                      <a:pt x="647" y="710"/>
                    </a:lnTo>
                    <a:lnTo>
                      <a:pt x="610" y="757"/>
                    </a:lnTo>
                    <a:lnTo>
                      <a:pt x="576" y="804"/>
                    </a:lnTo>
                    <a:lnTo>
                      <a:pt x="541" y="855"/>
                    </a:lnTo>
                    <a:lnTo>
                      <a:pt x="509" y="903"/>
                    </a:lnTo>
                    <a:lnTo>
                      <a:pt x="477" y="956"/>
                    </a:lnTo>
                    <a:lnTo>
                      <a:pt x="447" y="1008"/>
                    </a:lnTo>
                    <a:lnTo>
                      <a:pt x="417" y="1062"/>
                    </a:lnTo>
                    <a:lnTo>
                      <a:pt x="391" y="1116"/>
                    </a:lnTo>
                    <a:lnTo>
                      <a:pt x="365" y="1173"/>
                    </a:lnTo>
                    <a:lnTo>
                      <a:pt x="339" y="1231"/>
                    </a:lnTo>
                    <a:lnTo>
                      <a:pt x="316" y="1290"/>
                    </a:lnTo>
                    <a:lnTo>
                      <a:pt x="296" y="1350"/>
                    </a:lnTo>
                    <a:lnTo>
                      <a:pt x="275" y="1412"/>
                    </a:lnTo>
                    <a:lnTo>
                      <a:pt x="258" y="1476"/>
                    </a:lnTo>
                    <a:lnTo>
                      <a:pt x="243" y="1539"/>
                    </a:lnTo>
                    <a:lnTo>
                      <a:pt x="228" y="1605"/>
                    </a:lnTo>
                    <a:lnTo>
                      <a:pt x="217" y="1672"/>
                    </a:lnTo>
                    <a:lnTo>
                      <a:pt x="208" y="1741"/>
                    </a:lnTo>
                    <a:lnTo>
                      <a:pt x="200" y="1810"/>
                    </a:lnTo>
                    <a:lnTo>
                      <a:pt x="195" y="1882"/>
                    </a:lnTo>
                    <a:lnTo>
                      <a:pt x="191" y="1954"/>
                    </a:lnTo>
                    <a:lnTo>
                      <a:pt x="191" y="2029"/>
                    </a:lnTo>
                    <a:lnTo>
                      <a:pt x="193" y="2104"/>
                    </a:lnTo>
                    <a:lnTo>
                      <a:pt x="193" y="2104"/>
                    </a:lnTo>
                    <a:lnTo>
                      <a:pt x="195" y="2166"/>
                    </a:lnTo>
                    <a:lnTo>
                      <a:pt x="200" y="2226"/>
                    </a:lnTo>
                    <a:lnTo>
                      <a:pt x="208" y="2286"/>
                    </a:lnTo>
                    <a:lnTo>
                      <a:pt x="215" y="2345"/>
                    </a:lnTo>
                    <a:lnTo>
                      <a:pt x="224" y="2403"/>
                    </a:lnTo>
                    <a:lnTo>
                      <a:pt x="236" y="2461"/>
                    </a:lnTo>
                    <a:lnTo>
                      <a:pt x="249" y="2519"/>
                    </a:lnTo>
                    <a:lnTo>
                      <a:pt x="262" y="2576"/>
                    </a:lnTo>
                    <a:lnTo>
                      <a:pt x="277" y="2630"/>
                    </a:lnTo>
                    <a:lnTo>
                      <a:pt x="294" y="2684"/>
                    </a:lnTo>
                    <a:lnTo>
                      <a:pt x="311" y="2738"/>
                    </a:lnTo>
                    <a:lnTo>
                      <a:pt x="331" y="2791"/>
                    </a:lnTo>
                    <a:lnTo>
                      <a:pt x="350" y="2843"/>
                    </a:lnTo>
                    <a:lnTo>
                      <a:pt x="372" y="2894"/>
                    </a:lnTo>
                    <a:lnTo>
                      <a:pt x="395" y="2944"/>
                    </a:lnTo>
                    <a:lnTo>
                      <a:pt x="417" y="2993"/>
                    </a:lnTo>
                    <a:lnTo>
                      <a:pt x="441" y="3041"/>
                    </a:lnTo>
                    <a:lnTo>
                      <a:pt x="468" y="3088"/>
                    </a:lnTo>
                    <a:lnTo>
                      <a:pt x="494" y="3133"/>
                    </a:lnTo>
                    <a:lnTo>
                      <a:pt x="522" y="3180"/>
                    </a:lnTo>
                    <a:lnTo>
                      <a:pt x="550" y="3223"/>
                    </a:lnTo>
                    <a:lnTo>
                      <a:pt x="578" y="3266"/>
                    </a:lnTo>
                    <a:lnTo>
                      <a:pt x="608" y="3309"/>
                    </a:lnTo>
                    <a:lnTo>
                      <a:pt x="638" y="3348"/>
                    </a:lnTo>
                    <a:lnTo>
                      <a:pt x="670" y="3389"/>
                    </a:lnTo>
                    <a:lnTo>
                      <a:pt x="701" y="3427"/>
                    </a:lnTo>
                    <a:lnTo>
                      <a:pt x="733" y="3464"/>
                    </a:lnTo>
                    <a:lnTo>
                      <a:pt x="765" y="3501"/>
                    </a:lnTo>
                    <a:lnTo>
                      <a:pt x="799" y="3537"/>
                    </a:lnTo>
                    <a:lnTo>
                      <a:pt x="832" y="3571"/>
                    </a:lnTo>
                    <a:lnTo>
                      <a:pt x="868" y="3604"/>
                    </a:lnTo>
                    <a:lnTo>
                      <a:pt x="902" y="3634"/>
                    </a:lnTo>
                    <a:lnTo>
                      <a:pt x="902" y="3634"/>
                    </a:lnTo>
                    <a:lnTo>
                      <a:pt x="926" y="3655"/>
                    </a:lnTo>
                    <a:lnTo>
                      <a:pt x="950" y="3675"/>
                    </a:lnTo>
                    <a:lnTo>
                      <a:pt x="976" y="3696"/>
                    </a:lnTo>
                    <a:lnTo>
                      <a:pt x="1003" y="3713"/>
                    </a:lnTo>
                    <a:lnTo>
                      <a:pt x="1033" y="3726"/>
                    </a:lnTo>
                    <a:lnTo>
                      <a:pt x="1046" y="3732"/>
                    </a:lnTo>
                    <a:lnTo>
                      <a:pt x="1063" y="3735"/>
                    </a:lnTo>
                    <a:lnTo>
                      <a:pt x="1077" y="3739"/>
                    </a:lnTo>
                    <a:lnTo>
                      <a:pt x="1092" y="3739"/>
                    </a:lnTo>
                    <a:lnTo>
                      <a:pt x="1109" y="3739"/>
                    </a:lnTo>
                    <a:lnTo>
                      <a:pt x="1124" y="3737"/>
                    </a:lnTo>
                    <a:lnTo>
                      <a:pt x="1124" y="3737"/>
                    </a:lnTo>
                    <a:lnTo>
                      <a:pt x="1124" y="3662"/>
                    </a:lnTo>
                    <a:lnTo>
                      <a:pt x="1124" y="3588"/>
                    </a:lnTo>
                    <a:lnTo>
                      <a:pt x="1130" y="3442"/>
                    </a:lnTo>
                    <a:lnTo>
                      <a:pt x="1135" y="3301"/>
                    </a:lnTo>
                    <a:lnTo>
                      <a:pt x="1143" y="3163"/>
                    </a:lnTo>
                    <a:lnTo>
                      <a:pt x="1145" y="3096"/>
                    </a:lnTo>
                    <a:lnTo>
                      <a:pt x="1145" y="3030"/>
                    </a:lnTo>
                    <a:lnTo>
                      <a:pt x="1143" y="2965"/>
                    </a:lnTo>
                    <a:lnTo>
                      <a:pt x="1139" y="2901"/>
                    </a:lnTo>
                    <a:lnTo>
                      <a:pt x="1134" y="2839"/>
                    </a:lnTo>
                    <a:lnTo>
                      <a:pt x="1124" y="2779"/>
                    </a:lnTo>
                    <a:lnTo>
                      <a:pt x="1111" y="2720"/>
                    </a:lnTo>
                    <a:lnTo>
                      <a:pt x="1094" y="2662"/>
                    </a:lnTo>
                    <a:lnTo>
                      <a:pt x="1094" y="2662"/>
                    </a:lnTo>
                    <a:lnTo>
                      <a:pt x="1070" y="2589"/>
                    </a:lnTo>
                    <a:lnTo>
                      <a:pt x="1044" y="2519"/>
                    </a:lnTo>
                    <a:lnTo>
                      <a:pt x="1021" y="2456"/>
                    </a:lnTo>
                    <a:lnTo>
                      <a:pt x="999" y="2394"/>
                    </a:lnTo>
                    <a:lnTo>
                      <a:pt x="978" y="2334"/>
                    </a:lnTo>
                    <a:lnTo>
                      <a:pt x="963" y="2271"/>
                    </a:lnTo>
                    <a:lnTo>
                      <a:pt x="956" y="2239"/>
                    </a:lnTo>
                    <a:lnTo>
                      <a:pt x="950" y="2205"/>
                    </a:lnTo>
                    <a:lnTo>
                      <a:pt x="947" y="2170"/>
                    </a:lnTo>
                    <a:lnTo>
                      <a:pt x="943" y="2134"/>
                    </a:lnTo>
                    <a:lnTo>
                      <a:pt x="943" y="2134"/>
                    </a:lnTo>
                    <a:lnTo>
                      <a:pt x="939" y="2074"/>
                    </a:lnTo>
                    <a:lnTo>
                      <a:pt x="939" y="2018"/>
                    </a:lnTo>
                    <a:lnTo>
                      <a:pt x="939" y="1964"/>
                    </a:lnTo>
                    <a:lnTo>
                      <a:pt x="943" y="1911"/>
                    </a:lnTo>
                    <a:lnTo>
                      <a:pt x="943" y="1911"/>
                    </a:lnTo>
                    <a:lnTo>
                      <a:pt x="947" y="1868"/>
                    </a:lnTo>
                    <a:lnTo>
                      <a:pt x="952" y="1829"/>
                    </a:lnTo>
                    <a:lnTo>
                      <a:pt x="960" y="1792"/>
                    </a:lnTo>
                    <a:lnTo>
                      <a:pt x="967" y="1756"/>
                    </a:lnTo>
                    <a:lnTo>
                      <a:pt x="976" y="1721"/>
                    </a:lnTo>
                    <a:lnTo>
                      <a:pt x="986" y="1689"/>
                    </a:lnTo>
                    <a:lnTo>
                      <a:pt x="1010" y="1625"/>
                    </a:lnTo>
                    <a:lnTo>
                      <a:pt x="1034" y="1564"/>
                    </a:lnTo>
                    <a:lnTo>
                      <a:pt x="1059" y="1504"/>
                    </a:lnTo>
                    <a:lnTo>
                      <a:pt x="1083" y="1440"/>
                    </a:lnTo>
                    <a:lnTo>
                      <a:pt x="1106" y="1375"/>
                    </a:lnTo>
                    <a:lnTo>
                      <a:pt x="1106" y="1375"/>
                    </a:lnTo>
                    <a:lnTo>
                      <a:pt x="1121" y="1315"/>
                    </a:lnTo>
                    <a:lnTo>
                      <a:pt x="1132" y="1255"/>
                    </a:lnTo>
                    <a:lnTo>
                      <a:pt x="1139" y="1195"/>
                    </a:lnTo>
                    <a:lnTo>
                      <a:pt x="1143" y="1133"/>
                    </a:lnTo>
                    <a:lnTo>
                      <a:pt x="1145" y="1070"/>
                    </a:lnTo>
                    <a:lnTo>
                      <a:pt x="1145" y="1004"/>
                    </a:lnTo>
                    <a:lnTo>
                      <a:pt x="1143" y="941"/>
                    </a:lnTo>
                    <a:lnTo>
                      <a:pt x="1141" y="873"/>
                    </a:lnTo>
                    <a:lnTo>
                      <a:pt x="1134" y="739"/>
                    </a:lnTo>
                    <a:lnTo>
                      <a:pt x="1128" y="602"/>
                    </a:lnTo>
                    <a:lnTo>
                      <a:pt x="1126" y="531"/>
                    </a:lnTo>
                    <a:lnTo>
                      <a:pt x="1128" y="462"/>
                    </a:lnTo>
                    <a:lnTo>
                      <a:pt x="1130" y="391"/>
                    </a:lnTo>
                    <a:lnTo>
                      <a:pt x="1135" y="320"/>
                    </a:lnTo>
                    <a:lnTo>
                      <a:pt x="1135" y="320"/>
                    </a:lnTo>
                    <a:lnTo>
                      <a:pt x="1113" y="316"/>
                    </a:lnTo>
                    <a:lnTo>
                      <a:pt x="1092" y="314"/>
                    </a:lnTo>
                    <a:lnTo>
                      <a:pt x="1072" y="318"/>
                    </a:lnTo>
                    <a:lnTo>
                      <a:pt x="1055" y="321"/>
                    </a:lnTo>
                    <a:lnTo>
                      <a:pt x="1038" y="327"/>
                    </a:lnTo>
                    <a:lnTo>
                      <a:pt x="1025" y="334"/>
                    </a:lnTo>
                    <a:lnTo>
                      <a:pt x="1012" y="342"/>
                    </a:lnTo>
                    <a:lnTo>
                      <a:pt x="1003" y="349"/>
                    </a:lnTo>
                    <a:lnTo>
                      <a:pt x="1003" y="349"/>
                    </a:lnTo>
                    <a:close/>
                    <a:moveTo>
                      <a:pt x="1236" y="1911"/>
                    </a:moveTo>
                    <a:lnTo>
                      <a:pt x="1236" y="1911"/>
                    </a:lnTo>
                    <a:lnTo>
                      <a:pt x="1233" y="1969"/>
                    </a:lnTo>
                    <a:lnTo>
                      <a:pt x="1233" y="2027"/>
                    </a:lnTo>
                    <a:lnTo>
                      <a:pt x="1233" y="2084"/>
                    </a:lnTo>
                    <a:lnTo>
                      <a:pt x="1236" y="2138"/>
                    </a:lnTo>
                    <a:lnTo>
                      <a:pt x="1242" y="2192"/>
                    </a:lnTo>
                    <a:lnTo>
                      <a:pt x="1251" y="2244"/>
                    </a:lnTo>
                    <a:lnTo>
                      <a:pt x="1261" y="2295"/>
                    </a:lnTo>
                    <a:lnTo>
                      <a:pt x="1272" y="2345"/>
                    </a:lnTo>
                    <a:lnTo>
                      <a:pt x="1287" y="2394"/>
                    </a:lnTo>
                    <a:lnTo>
                      <a:pt x="1302" y="2443"/>
                    </a:lnTo>
                    <a:lnTo>
                      <a:pt x="1321" y="2489"/>
                    </a:lnTo>
                    <a:lnTo>
                      <a:pt x="1339" y="2534"/>
                    </a:lnTo>
                    <a:lnTo>
                      <a:pt x="1362" y="2577"/>
                    </a:lnTo>
                    <a:lnTo>
                      <a:pt x="1384" y="2620"/>
                    </a:lnTo>
                    <a:lnTo>
                      <a:pt x="1409" y="2662"/>
                    </a:lnTo>
                    <a:lnTo>
                      <a:pt x="1435" y="2701"/>
                    </a:lnTo>
                    <a:lnTo>
                      <a:pt x="1463" y="2740"/>
                    </a:lnTo>
                    <a:lnTo>
                      <a:pt x="1493" y="2776"/>
                    </a:lnTo>
                    <a:lnTo>
                      <a:pt x="1523" y="2811"/>
                    </a:lnTo>
                    <a:lnTo>
                      <a:pt x="1554" y="2847"/>
                    </a:lnTo>
                    <a:lnTo>
                      <a:pt x="1588" y="2879"/>
                    </a:lnTo>
                    <a:lnTo>
                      <a:pt x="1624" y="2910"/>
                    </a:lnTo>
                    <a:lnTo>
                      <a:pt x="1659" y="2940"/>
                    </a:lnTo>
                    <a:lnTo>
                      <a:pt x="1697" y="2968"/>
                    </a:lnTo>
                    <a:lnTo>
                      <a:pt x="1734" y="2995"/>
                    </a:lnTo>
                    <a:lnTo>
                      <a:pt x="1773" y="3021"/>
                    </a:lnTo>
                    <a:lnTo>
                      <a:pt x="1815" y="3043"/>
                    </a:lnTo>
                    <a:lnTo>
                      <a:pt x="1856" y="3066"/>
                    </a:lnTo>
                    <a:lnTo>
                      <a:pt x="1897" y="3086"/>
                    </a:lnTo>
                    <a:lnTo>
                      <a:pt x="1940" y="3105"/>
                    </a:lnTo>
                    <a:lnTo>
                      <a:pt x="1983" y="3122"/>
                    </a:lnTo>
                    <a:lnTo>
                      <a:pt x="2028" y="3139"/>
                    </a:lnTo>
                    <a:lnTo>
                      <a:pt x="2028" y="3139"/>
                    </a:lnTo>
                    <a:lnTo>
                      <a:pt x="2058" y="3148"/>
                    </a:lnTo>
                    <a:lnTo>
                      <a:pt x="2089" y="3155"/>
                    </a:lnTo>
                    <a:lnTo>
                      <a:pt x="2155" y="3169"/>
                    </a:lnTo>
                    <a:lnTo>
                      <a:pt x="2224" y="3180"/>
                    </a:lnTo>
                    <a:lnTo>
                      <a:pt x="2293" y="3185"/>
                    </a:lnTo>
                    <a:lnTo>
                      <a:pt x="2361" y="3191"/>
                    </a:lnTo>
                    <a:lnTo>
                      <a:pt x="2424" y="3193"/>
                    </a:lnTo>
                    <a:lnTo>
                      <a:pt x="2479" y="3191"/>
                    </a:lnTo>
                    <a:lnTo>
                      <a:pt x="2525" y="3189"/>
                    </a:lnTo>
                    <a:lnTo>
                      <a:pt x="2525" y="3189"/>
                    </a:lnTo>
                    <a:lnTo>
                      <a:pt x="2578" y="3183"/>
                    </a:lnTo>
                    <a:lnTo>
                      <a:pt x="2628" y="3174"/>
                    </a:lnTo>
                    <a:lnTo>
                      <a:pt x="2679" y="3165"/>
                    </a:lnTo>
                    <a:lnTo>
                      <a:pt x="2729" y="3152"/>
                    </a:lnTo>
                    <a:lnTo>
                      <a:pt x="2778" y="3137"/>
                    </a:lnTo>
                    <a:lnTo>
                      <a:pt x="2827" y="3120"/>
                    </a:lnTo>
                    <a:lnTo>
                      <a:pt x="2871" y="3101"/>
                    </a:lnTo>
                    <a:lnTo>
                      <a:pt x="2918" y="3079"/>
                    </a:lnTo>
                    <a:lnTo>
                      <a:pt x="2963" y="3056"/>
                    </a:lnTo>
                    <a:lnTo>
                      <a:pt x="3006" y="3032"/>
                    </a:lnTo>
                    <a:lnTo>
                      <a:pt x="3047" y="3006"/>
                    </a:lnTo>
                    <a:lnTo>
                      <a:pt x="3088" y="2976"/>
                    </a:lnTo>
                    <a:lnTo>
                      <a:pt x="3128" y="2946"/>
                    </a:lnTo>
                    <a:lnTo>
                      <a:pt x="3165" y="2914"/>
                    </a:lnTo>
                    <a:lnTo>
                      <a:pt x="3203" y="2880"/>
                    </a:lnTo>
                    <a:lnTo>
                      <a:pt x="3238" y="2847"/>
                    </a:lnTo>
                    <a:lnTo>
                      <a:pt x="3272" y="2809"/>
                    </a:lnTo>
                    <a:lnTo>
                      <a:pt x="3304" y="2772"/>
                    </a:lnTo>
                    <a:lnTo>
                      <a:pt x="3333" y="2733"/>
                    </a:lnTo>
                    <a:lnTo>
                      <a:pt x="3362" y="2693"/>
                    </a:lnTo>
                    <a:lnTo>
                      <a:pt x="3390" y="2652"/>
                    </a:lnTo>
                    <a:lnTo>
                      <a:pt x="3414" y="2609"/>
                    </a:lnTo>
                    <a:lnTo>
                      <a:pt x="3438" y="2566"/>
                    </a:lnTo>
                    <a:lnTo>
                      <a:pt x="3459" y="2521"/>
                    </a:lnTo>
                    <a:lnTo>
                      <a:pt x="3479" y="2475"/>
                    </a:lnTo>
                    <a:lnTo>
                      <a:pt x="3496" y="2428"/>
                    </a:lnTo>
                    <a:lnTo>
                      <a:pt x="3511" y="2381"/>
                    </a:lnTo>
                    <a:lnTo>
                      <a:pt x="3526" y="2332"/>
                    </a:lnTo>
                    <a:lnTo>
                      <a:pt x="3537" y="2284"/>
                    </a:lnTo>
                    <a:lnTo>
                      <a:pt x="3547" y="2235"/>
                    </a:lnTo>
                    <a:lnTo>
                      <a:pt x="3554" y="2185"/>
                    </a:lnTo>
                    <a:lnTo>
                      <a:pt x="3560" y="2134"/>
                    </a:lnTo>
                    <a:lnTo>
                      <a:pt x="3560" y="2134"/>
                    </a:lnTo>
                    <a:lnTo>
                      <a:pt x="3562" y="2095"/>
                    </a:lnTo>
                    <a:lnTo>
                      <a:pt x="3562" y="2054"/>
                    </a:lnTo>
                    <a:lnTo>
                      <a:pt x="3562" y="2014"/>
                    </a:lnTo>
                    <a:lnTo>
                      <a:pt x="3562" y="1977"/>
                    </a:lnTo>
                    <a:lnTo>
                      <a:pt x="3558" y="1938"/>
                    </a:lnTo>
                    <a:lnTo>
                      <a:pt x="3554" y="1900"/>
                    </a:lnTo>
                    <a:lnTo>
                      <a:pt x="3550" y="1865"/>
                    </a:lnTo>
                    <a:lnTo>
                      <a:pt x="3545" y="1827"/>
                    </a:lnTo>
                    <a:lnTo>
                      <a:pt x="3530" y="1758"/>
                    </a:lnTo>
                    <a:lnTo>
                      <a:pt x="3511" y="1691"/>
                    </a:lnTo>
                    <a:lnTo>
                      <a:pt x="3491" y="1625"/>
                    </a:lnTo>
                    <a:lnTo>
                      <a:pt x="3464" y="1564"/>
                    </a:lnTo>
                    <a:lnTo>
                      <a:pt x="3438" y="1506"/>
                    </a:lnTo>
                    <a:lnTo>
                      <a:pt x="3408" y="1449"/>
                    </a:lnTo>
                    <a:lnTo>
                      <a:pt x="3376" y="1397"/>
                    </a:lnTo>
                    <a:lnTo>
                      <a:pt x="3345" y="1347"/>
                    </a:lnTo>
                    <a:lnTo>
                      <a:pt x="3311" y="1300"/>
                    </a:lnTo>
                    <a:lnTo>
                      <a:pt x="3275" y="1257"/>
                    </a:lnTo>
                    <a:lnTo>
                      <a:pt x="3240" y="1217"/>
                    </a:lnTo>
                    <a:lnTo>
                      <a:pt x="3204" y="1182"/>
                    </a:lnTo>
                    <a:lnTo>
                      <a:pt x="3204" y="1182"/>
                    </a:lnTo>
                    <a:lnTo>
                      <a:pt x="3165" y="1146"/>
                    </a:lnTo>
                    <a:lnTo>
                      <a:pt x="3122" y="1111"/>
                    </a:lnTo>
                    <a:lnTo>
                      <a:pt x="3077" y="1079"/>
                    </a:lnTo>
                    <a:lnTo>
                      <a:pt x="3029" y="1047"/>
                    </a:lnTo>
                    <a:lnTo>
                      <a:pt x="2976" y="1017"/>
                    </a:lnTo>
                    <a:lnTo>
                      <a:pt x="2922" y="989"/>
                    </a:lnTo>
                    <a:lnTo>
                      <a:pt x="2864" y="965"/>
                    </a:lnTo>
                    <a:lnTo>
                      <a:pt x="2806" y="942"/>
                    </a:lnTo>
                    <a:lnTo>
                      <a:pt x="2744" y="922"/>
                    </a:lnTo>
                    <a:lnTo>
                      <a:pt x="2681" y="905"/>
                    </a:lnTo>
                    <a:lnTo>
                      <a:pt x="2615" y="890"/>
                    </a:lnTo>
                    <a:lnTo>
                      <a:pt x="2548" y="881"/>
                    </a:lnTo>
                    <a:lnTo>
                      <a:pt x="2480" y="873"/>
                    </a:lnTo>
                    <a:lnTo>
                      <a:pt x="2411" y="869"/>
                    </a:lnTo>
                    <a:lnTo>
                      <a:pt x="2342" y="871"/>
                    </a:lnTo>
                    <a:lnTo>
                      <a:pt x="2271" y="877"/>
                    </a:lnTo>
                    <a:lnTo>
                      <a:pt x="2271" y="877"/>
                    </a:lnTo>
                    <a:lnTo>
                      <a:pt x="2219" y="883"/>
                    </a:lnTo>
                    <a:lnTo>
                      <a:pt x="2168" y="892"/>
                    </a:lnTo>
                    <a:lnTo>
                      <a:pt x="2119" y="903"/>
                    </a:lnTo>
                    <a:lnTo>
                      <a:pt x="2069" y="916"/>
                    </a:lnTo>
                    <a:lnTo>
                      <a:pt x="2020" y="931"/>
                    </a:lnTo>
                    <a:lnTo>
                      <a:pt x="1974" y="946"/>
                    </a:lnTo>
                    <a:lnTo>
                      <a:pt x="1927" y="965"/>
                    </a:lnTo>
                    <a:lnTo>
                      <a:pt x="1882" y="985"/>
                    </a:lnTo>
                    <a:lnTo>
                      <a:pt x="1837" y="1008"/>
                    </a:lnTo>
                    <a:lnTo>
                      <a:pt x="1794" y="1032"/>
                    </a:lnTo>
                    <a:lnTo>
                      <a:pt x="1753" y="1058"/>
                    </a:lnTo>
                    <a:lnTo>
                      <a:pt x="1712" y="1085"/>
                    </a:lnTo>
                    <a:lnTo>
                      <a:pt x="1672" y="1115"/>
                    </a:lnTo>
                    <a:lnTo>
                      <a:pt x="1635" y="1144"/>
                    </a:lnTo>
                    <a:lnTo>
                      <a:pt x="1598" y="1176"/>
                    </a:lnTo>
                    <a:lnTo>
                      <a:pt x="1562" y="1210"/>
                    </a:lnTo>
                    <a:lnTo>
                      <a:pt x="1528" y="1244"/>
                    </a:lnTo>
                    <a:lnTo>
                      <a:pt x="1497" y="1281"/>
                    </a:lnTo>
                    <a:lnTo>
                      <a:pt x="1465" y="1318"/>
                    </a:lnTo>
                    <a:lnTo>
                      <a:pt x="1437" y="1358"/>
                    </a:lnTo>
                    <a:lnTo>
                      <a:pt x="1409" y="1397"/>
                    </a:lnTo>
                    <a:lnTo>
                      <a:pt x="1384" y="1438"/>
                    </a:lnTo>
                    <a:lnTo>
                      <a:pt x="1360" y="1481"/>
                    </a:lnTo>
                    <a:lnTo>
                      <a:pt x="1338" y="1526"/>
                    </a:lnTo>
                    <a:lnTo>
                      <a:pt x="1319" y="1571"/>
                    </a:lnTo>
                    <a:lnTo>
                      <a:pt x="1300" y="1616"/>
                    </a:lnTo>
                    <a:lnTo>
                      <a:pt x="1285" y="1663"/>
                    </a:lnTo>
                    <a:lnTo>
                      <a:pt x="1270" y="1711"/>
                    </a:lnTo>
                    <a:lnTo>
                      <a:pt x="1259" y="1760"/>
                    </a:lnTo>
                    <a:lnTo>
                      <a:pt x="1250" y="1809"/>
                    </a:lnTo>
                    <a:lnTo>
                      <a:pt x="1242" y="1859"/>
                    </a:lnTo>
                    <a:lnTo>
                      <a:pt x="1236" y="1911"/>
                    </a:lnTo>
                    <a:lnTo>
                      <a:pt x="1236" y="191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7" name="Freeform 39"/>
              <p:cNvSpPr>
                <a:spLocks/>
              </p:cNvSpPr>
              <p:nvPr/>
            </p:nvSpPr>
            <p:spPr bwMode="auto">
              <a:xfrm rot="3600000">
                <a:off x="3691344" y="6632890"/>
                <a:ext cx="35926" cy="129017"/>
              </a:xfrm>
              <a:custGeom>
                <a:avLst/>
                <a:gdLst>
                  <a:gd name="T0" fmla="*/ 939 w 954"/>
                  <a:gd name="T1" fmla="*/ 77 h 3425"/>
                  <a:gd name="T2" fmla="*/ 937 w 954"/>
                  <a:gd name="T3" fmla="*/ 288 h 3425"/>
                  <a:gd name="T4" fmla="*/ 952 w 954"/>
                  <a:gd name="T5" fmla="*/ 627 h 3425"/>
                  <a:gd name="T6" fmla="*/ 952 w 954"/>
                  <a:gd name="T7" fmla="*/ 819 h 3425"/>
                  <a:gd name="T8" fmla="*/ 930 w 954"/>
                  <a:gd name="T9" fmla="*/ 1001 h 3425"/>
                  <a:gd name="T10" fmla="*/ 892 w 954"/>
                  <a:gd name="T11" fmla="*/ 1126 h 3425"/>
                  <a:gd name="T12" fmla="*/ 819 w 954"/>
                  <a:gd name="T13" fmla="*/ 1311 h 3425"/>
                  <a:gd name="T14" fmla="*/ 776 w 954"/>
                  <a:gd name="T15" fmla="*/ 1442 h 3425"/>
                  <a:gd name="T16" fmla="*/ 756 w 954"/>
                  <a:gd name="T17" fmla="*/ 1554 h 3425"/>
                  <a:gd name="T18" fmla="*/ 748 w 954"/>
                  <a:gd name="T19" fmla="*/ 1650 h 3425"/>
                  <a:gd name="T20" fmla="*/ 752 w 954"/>
                  <a:gd name="T21" fmla="*/ 1820 h 3425"/>
                  <a:gd name="T22" fmla="*/ 759 w 954"/>
                  <a:gd name="T23" fmla="*/ 1891 h 3425"/>
                  <a:gd name="T24" fmla="*/ 787 w 954"/>
                  <a:gd name="T25" fmla="*/ 2020 h 3425"/>
                  <a:gd name="T26" fmla="*/ 853 w 954"/>
                  <a:gd name="T27" fmla="*/ 2205 h 3425"/>
                  <a:gd name="T28" fmla="*/ 903 w 954"/>
                  <a:gd name="T29" fmla="*/ 2348 h 3425"/>
                  <a:gd name="T30" fmla="*/ 943 w 954"/>
                  <a:gd name="T31" fmla="*/ 2525 h 3425"/>
                  <a:gd name="T32" fmla="*/ 954 w 954"/>
                  <a:gd name="T33" fmla="*/ 2716 h 3425"/>
                  <a:gd name="T34" fmla="*/ 944 w 954"/>
                  <a:gd name="T35" fmla="*/ 2987 h 3425"/>
                  <a:gd name="T36" fmla="*/ 933 w 954"/>
                  <a:gd name="T37" fmla="*/ 3348 h 3425"/>
                  <a:gd name="T38" fmla="*/ 918 w 954"/>
                  <a:gd name="T39" fmla="*/ 3425 h 3425"/>
                  <a:gd name="T40" fmla="*/ 872 w 954"/>
                  <a:gd name="T41" fmla="*/ 3421 h 3425"/>
                  <a:gd name="T42" fmla="*/ 812 w 954"/>
                  <a:gd name="T43" fmla="*/ 3399 h 3425"/>
                  <a:gd name="T44" fmla="*/ 735 w 954"/>
                  <a:gd name="T45" fmla="*/ 3341 h 3425"/>
                  <a:gd name="T46" fmla="*/ 677 w 954"/>
                  <a:gd name="T47" fmla="*/ 3290 h 3425"/>
                  <a:gd name="T48" fmla="*/ 574 w 954"/>
                  <a:gd name="T49" fmla="*/ 3187 h 3425"/>
                  <a:gd name="T50" fmla="*/ 479 w 954"/>
                  <a:gd name="T51" fmla="*/ 3075 h 3425"/>
                  <a:gd name="T52" fmla="*/ 387 w 954"/>
                  <a:gd name="T53" fmla="*/ 2952 h 3425"/>
                  <a:gd name="T54" fmla="*/ 303 w 954"/>
                  <a:gd name="T55" fmla="*/ 2819 h 3425"/>
                  <a:gd name="T56" fmla="*/ 226 w 954"/>
                  <a:gd name="T57" fmla="*/ 2679 h 3425"/>
                  <a:gd name="T58" fmla="*/ 159 w 954"/>
                  <a:gd name="T59" fmla="*/ 2529 h 3425"/>
                  <a:gd name="T60" fmla="*/ 103 w 954"/>
                  <a:gd name="T61" fmla="*/ 2370 h 3425"/>
                  <a:gd name="T62" fmla="*/ 58 w 954"/>
                  <a:gd name="T63" fmla="*/ 2205 h 3425"/>
                  <a:gd name="T64" fmla="*/ 24 w 954"/>
                  <a:gd name="T65" fmla="*/ 2031 h 3425"/>
                  <a:gd name="T66" fmla="*/ 4 w 954"/>
                  <a:gd name="T67" fmla="*/ 1852 h 3425"/>
                  <a:gd name="T68" fmla="*/ 0 w 954"/>
                  <a:gd name="T69" fmla="*/ 1715 h 3425"/>
                  <a:gd name="T70" fmla="*/ 9 w 954"/>
                  <a:gd name="T71" fmla="*/ 1496 h 3425"/>
                  <a:gd name="T72" fmla="*/ 37 w 954"/>
                  <a:gd name="T73" fmla="*/ 1291 h 3425"/>
                  <a:gd name="T74" fmla="*/ 84 w 954"/>
                  <a:gd name="T75" fmla="*/ 1098 h 3425"/>
                  <a:gd name="T76" fmla="*/ 148 w 954"/>
                  <a:gd name="T77" fmla="*/ 917 h 3425"/>
                  <a:gd name="T78" fmla="*/ 226 w 954"/>
                  <a:gd name="T79" fmla="*/ 748 h 3425"/>
                  <a:gd name="T80" fmla="*/ 318 w 954"/>
                  <a:gd name="T81" fmla="*/ 589 h 3425"/>
                  <a:gd name="T82" fmla="*/ 419 w 954"/>
                  <a:gd name="T83" fmla="*/ 443 h 3425"/>
                  <a:gd name="T84" fmla="*/ 529 w 954"/>
                  <a:gd name="T85" fmla="*/ 309 h 3425"/>
                  <a:gd name="T86" fmla="*/ 647 w 954"/>
                  <a:gd name="T87" fmla="*/ 183 h 3425"/>
                  <a:gd name="T88" fmla="*/ 771 w 954"/>
                  <a:gd name="T89" fmla="*/ 71 h 3425"/>
                  <a:gd name="T90" fmla="*/ 821 w 954"/>
                  <a:gd name="T91" fmla="*/ 28 h 3425"/>
                  <a:gd name="T92" fmla="*/ 864 w 954"/>
                  <a:gd name="T93" fmla="*/ 7 h 3425"/>
                  <a:gd name="T94" fmla="*/ 922 w 954"/>
                  <a:gd name="T95" fmla="*/ 2 h 3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4" h="3425">
                    <a:moveTo>
                      <a:pt x="944" y="6"/>
                    </a:moveTo>
                    <a:lnTo>
                      <a:pt x="944" y="6"/>
                    </a:lnTo>
                    <a:lnTo>
                      <a:pt x="939" y="77"/>
                    </a:lnTo>
                    <a:lnTo>
                      <a:pt x="937" y="148"/>
                    </a:lnTo>
                    <a:lnTo>
                      <a:pt x="935" y="217"/>
                    </a:lnTo>
                    <a:lnTo>
                      <a:pt x="937" y="288"/>
                    </a:lnTo>
                    <a:lnTo>
                      <a:pt x="943" y="425"/>
                    </a:lnTo>
                    <a:lnTo>
                      <a:pt x="950" y="559"/>
                    </a:lnTo>
                    <a:lnTo>
                      <a:pt x="952" y="627"/>
                    </a:lnTo>
                    <a:lnTo>
                      <a:pt x="954" y="690"/>
                    </a:lnTo>
                    <a:lnTo>
                      <a:pt x="954" y="756"/>
                    </a:lnTo>
                    <a:lnTo>
                      <a:pt x="952" y="819"/>
                    </a:lnTo>
                    <a:lnTo>
                      <a:pt x="948" y="881"/>
                    </a:lnTo>
                    <a:lnTo>
                      <a:pt x="941" y="941"/>
                    </a:lnTo>
                    <a:lnTo>
                      <a:pt x="930" y="1001"/>
                    </a:lnTo>
                    <a:lnTo>
                      <a:pt x="915" y="1061"/>
                    </a:lnTo>
                    <a:lnTo>
                      <a:pt x="915" y="1061"/>
                    </a:lnTo>
                    <a:lnTo>
                      <a:pt x="892" y="1126"/>
                    </a:lnTo>
                    <a:lnTo>
                      <a:pt x="868" y="1190"/>
                    </a:lnTo>
                    <a:lnTo>
                      <a:pt x="843" y="1250"/>
                    </a:lnTo>
                    <a:lnTo>
                      <a:pt x="819" y="1311"/>
                    </a:lnTo>
                    <a:lnTo>
                      <a:pt x="795" y="1375"/>
                    </a:lnTo>
                    <a:lnTo>
                      <a:pt x="785" y="1407"/>
                    </a:lnTo>
                    <a:lnTo>
                      <a:pt x="776" y="1442"/>
                    </a:lnTo>
                    <a:lnTo>
                      <a:pt x="769" y="1478"/>
                    </a:lnTo>
                    <a:lnTo>
                      <a:pt x="761" y="1515"/>
                    </a:lnTo>
                    <a:lnTo>
                      <a:pt x="756" y="1554"/>
                    </a:lnTo>
                    <a:lnTo>
                      <a:pt x="752" y="1597"/>
                    </a:lnTo>
                    <a:lnTo>
                      <a:pt x="752" y="1597"/>
                    </a:lnTo>
                    <a:lnTo>
                      <a:pt x="748" y="1650"/>
                    </a:lnTo>
                    <a:lnTo>
                      <a:pt x="748" y="1704"/>
                    </a:lnTo>
                    <a:lnTo>
                      <a:pt x="748" y="1760"/>
                    </a:lnTo>
                    <a:lnTo>
                      <a:pt x="752" y="1820"/>
                    </a:lnTo>
                    <a:lnTo>
                      <a:pt x="752" y="1820"/>
                    </a:lnTo>
                    <a:lnTo>
                      <a:pt x="756" y="1856"/>
                    </a:lnTo>
                    <a:lnTo>
                      <a:pt x="759" y="1891"/>
                    </a:lnTo>
                    <a:lnTo>
                      <a:pt x="765" y="1925"/>
                    </a:lnTo>
                    <a:lnTo>
                      <a:pt x="772" y="1957"/>
                    </a:lnTo>
                    <a:lnTo>
                      <a:pt x="787" y="2020"/>
                    </a:lnTo>
                    <a:lnTo>
                      <a:pt x="808" y="2080"/>
                    </a:lnTo>
                    <a:lnTo>
                      <a:pt x="830" y="2142"/>
                    </a:lnTo>
                    <a:lnTo>
                      <a:pt x="853" y="2205"/>
                    </a:lnTo>
                    <a:lnTo>
                      <a:pt x="879" y="2275"/>
                    </a:lnTo>
                    <a:lnTo>
                      <a:pt x="903" y="2348"/>
                    </a:lnTo>
                    <a:lnTo>
                      <a:pt x="903" y="2348"/>
                    </a:lnTo>
                    <a:lnTo>
                      <a:pt x="920" y="2406"/>
                    </a:lnTo>
                    <a:lnTo>
                      <a:pt x="933" y="2465"/>
                    </a:lnTo>
                    <a:lnTo>
                      <a:pt x="943" y="2525"/>
                    </a:lnTo>
                    <a:lnTo>
                      <a:pt x="948" y="2587"/>
                    </a:lnTo>
                    <a:lnTo>
                      <a:pt x="952" y="2651"/>
                    </a:lnTo>
                    <a:lnTo>
                      <a:pt x="954" y="2716"/>
                    </a:lnTo>
                    <a:lnTo>
                      <a:pt x="954" y="2782"/>
                    </a:lnTo>
                    <a:lnTo>
                      <a:pt x="952" y="2849"/>
                    </a:lnTo>
                    <a:lnTo>
                      <a:pt x="944" y="2987"/>
                    </a:lnTo>
                    <a:lnTo>
                      <a:pt x="939" y="3128"/>
                    </a:lnTo>
                    <a:lnTo>
                      <a:pt x="933" y="3274"/>
                    </a:lnTo>
                    <a:lnTo>
                      <a:pt x="933" y="3348"/>
                    </a:lnTo>
                    <a:lnTo>
                      <a:pt x="933" y="3423"/>
                    </a:lnTo>
                    <a:lnTo>
                      <a:pt x="933" y="3423"/>
                    </a:lnTo>
                    <a:lnTo>
                      <a:pt x="918" y="3425"/>
                    </a:lnTo>
                    <a:lnTo>
                      <a:pt x="901" y="3425"/>
                    </a:lnTo>
                    <a:lnTo>
                      <a:pt x="886" y="3425"/>
                    </a:lnTo>
                    <a:lnTo>
                      <a:pt x="872" y="3421"/>
                    </a:lnTo>
                    <a:lnTo>
                      <a:pt x="855" y="3418"/>
                    </a:lnTo>
                    <a:lnTo>
                      <a:pt x="842" y="3412"/>
                    </a:lnTo>
                    <a:lnTo>
                      <a:pt x="812" y="3399"/>
                    </a:lnTo>
                    <a:lnTo>
                      <a:pt x="785" y="3382"/>
                    </a:lnTo>
                    <a:lnTo>
                      <a:pt x="759" y="3361"/>
                    </a:lnTo>
                    <a:lnTo>
                      <a:pt x="735" y="3341"/>
                    </a:lnTo>
                    <a:lnTo>
                      <a:pt x="711" y="3320"/>
                    </a:lnTo>
                    <a:lnTo>
                      <a:pt x="711" y="3320"/>
                    </a:lnTo>
                    <a:lnTo>
                      <a:pt x="677" y="3290"/>
                    </a:lnTo>
                    <a:lnTo>
                      <a:pt x="641" y="3257"/>
                    </a:lnTo>
                    <a:lnTo>
                      <a:pt x="608" y="3223"/>
                    </a:lnTo>
                    <a:lnTo>
                      <a:pt x="574" y="3187"/>
                    </a:lnTo>
                    <a:lnTo>
                      <a:pt x="542" y="3150"/>
                    </a:lnTo>
                    <a:lnTo>
                      <a:pt x="510" y="3113"/>
                    </a:lnTo>
                    <a:lnTo>
                      <a:pt x="479" y="3075"/>
                    </a:lnTo>
                    <a:lnTo>
                      <a:pt x="447" y="3034"/>
                    </a:lnTo>
                    <a:lnTo>
                      <a:pt x="417" y="2995"/>
                    </a:lnTo>
                    <a:lnTo>
                      <a:pt x="387" y="2952"/>
                    </a:lnTo>
                    <a:lnTo>
                      <a:pt x="359" y="2909"/>
                    </a:lnTo>
                    <a:lnTo>
                      <a:pt x="331" y="2866"/>
                    </a:lnTo>
                    <a:lnTo>
                      <a:pt x="303" y="2819"/>
                    </a:lnTo>
                    <a:lnTo>
                      <a:pt x="277" y="2774"/>
                    </a:lnTo>
                    <a:lnTo>
                      <a:pt x="250" y="2727"/>
                    </a:lnTo>
                    <a:lnTo>
                      <a:pt x="226" y="2679"/>
                    </a:lnTo>
                    <a:lnTo>
                      <a:pt x="204" y="2630"/>
                    </a:lnTo>
                    <a:lnTo>
                      <a:pt x="181" y="2580"/>
                    </a:lnTo>
                    <a:lnTo>
                      <a:pt x="159" y="2529"/>
                    </a:lnTo>
                    <a:lnTo>
                      <a:pt x="140" y="2477"/>
                    </a:lnTo>
                    <a:lnTo>
                      <a:pt x="120" y="2424"/>
                    </a:lnTo>
                    <a:lnTo>
                      <a:pt x="103" y="2370"/>
                    </a:lnTo>
                    <a:lnTo>
                      <a:pt x="86" y="2316"/>
                    </a:lnTo>
                    <a:lnTo>
                      <a:pt x="71" y="2262"/>
                    </a:lnTo>
                    <a:lnTo>
                      <a:pt x="58" y="2205"/>
                    </a:lnTo>
                    <a:lnTo>
                      <a:pt x="45" y="2147"/>
                    </a:lnTo>
                    <a:lnTo>
                      <a:pt x="33" y="2089"/>
                    </a:lnTo>
                    <a:lnTo>
                      <a:pt x="24" y="2031"/>
                    </a:lnTo>
                    <a:lnTo>
                      <a:pt x="17" y="1972"/>
                    </a:lnTo>
                    <a:lnTo>
                      <a:pt x="9" y="1912"/>
                    </a:lnTo>
                    <a:lnTo>
                      <a:pt x="4" y="1852"/>
                    </a:lnTo>
                    <a:lnTo>
                      <a:pt x="2" y="1790"/>
                    </a:lnTo>
                    <a:lnTo>
                      <a:pt x="2" y="1790"/>
                    </a:lnTo>
                    <a:lnTo>
                      <a:pt x="0" y="1715"/>
                    </a:lnTo>
                    <a:lnTo>
                      <a:pt x="0" y="1640"/>
                    </a:lnTo>
                    <a:lnTo>
                      <a:pt x="4" y="1568"/>
                    </a:lnTo>
                    <a:lnTo>
                      <a:pt x="9" y="1496"/>
                    </a:lnTo>
                    <a:lnTo>
                      <a:pt x="17" y="1427"/>
                    </a:lnTo>
                    <a:lnTo>
                      <a:pt x="26" y="1358"/>
                    </a:lnTo>
                    <a:lnTo>
                      <a:pt x="37" y="1291"/>
                    </a:lnTo>
                    <a:lnTo>
                      <a:pt x="52" y="1225"/>
                    </a:lnTo>
                    <a:lnTo>
                      <a:pt x="67" y="1162"/>
                    </a:lnTo>
                    <a:lnTo>
                      <a:pt x="84" y="1098"/>
                    </a:lnTo>
                    <a:lnTo>
                      <a:pt x="105" y="1036"/>
                    </a:lnTo>
                    <a:lnTo>
                      <a:pt x="125" y="976"/>
                    </a:lnTo>
                    <a:lnTo>
                      <a:pt x="148" y="917"/>
                    </a:lnTo>
                    <a:lnTo>
                      <a:pt x="174" y="859"/>
                    </a:lnTo>
                    <a:lnTo>
                      <a:pt x="200" y="802"/>
                    </a:lnTo>
                    <a:lnTo>
                      <a:pt x="226" y="748"/>
                    </a:lnTo>
                    <a:lnTo>
                      <a:pt x="256" y="694"/>
                    </a:lnTo>
                    <a:lnTo>
                      <a:pt x="286" y="642"/>
                    </a:lnTo>
                    <a:lnTo>
                      <a:pt x="318" y="589"/>
                    </a:lnTo>
                    <a:lnTo>
                      <a:pt x="350" y="541"/>
                    </a:lnTo>
                    <a:lnTo>
                      <a:pt x="385" y="490"/>
                    </a:lnTo>
                    <a:lnTo>
                      <a:pt x="419" y="443"/>
                    </a:lnTo>
                    <a:lnTo>
                      <a:pt x="456" y="396"/>
                    </a:lnTo>
                    <a:lnTo>
                      <a:pt x="492" y="352"/>
                    </a:lnTo>
                    <a:lnTo>
                      <a:pt x="529" y="309"/>
                    </a:lnTo>
                    <a:lnTo>
                      <a:pt x="568" y="266"/>
                    </a:lnTo>
                    <a:lnTo>
                      <a:pt x="608" y="224"/>
                    </a:lnTo>
                    <a:lnTo>
                      <a:pt x="647" y="183"/>
                    </a:lnTo>
                    <a:lnTo>
                      <a:pt x="688" y="146"/>
                    </a:lnTo>
                    <a:lnTo>
                      <a:pt x="729" y="107"/>
                    </a:lnTo>
                    <a:lnTo>
                      <a:pt x="771" y="71"/>
                    </a:lnTo>
                    <a:lnTo>
                      <a:pt x="812" y="35"/>
                    </a:lnTo>
                    <a:lnTo>
                      <a:pt x="812" y="35"/>
                    </a:lnTo>
                    <a:lnTo>
                      <a:pt x="821" y="28"/>
                    </a:lnTo>
                    <a:lnTo>
                      <a:pt x="834" y="20"/>
                    </a:lnTo>
                    <a:lnTo>
                      <a:pt x="847" y="13"/>
                    </a:lnTo>
                    <a:lnTo>
                      <a:pt x="864" y="7"/>
                    </a:lnTo>
                    <a:lnTo>
                      <a:pt x="881" y="4"/>
                    </a:lnTo>
                    <a:lnTo>
                      <a:pt x="901" y="0"/>
                    </a:lnTo>
                    <a:lnTo>
                      <a:pt x="922" y="2"/>
                    </a:lnTo>
                    <a:lnTo>
                      <a:pt x="944" y="6"/>
                    </a:lnTo>
                    <a:lnTo>
                      <a:pt x="944" y="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8" name="Freeform 41"/>
              <p:cNvSpPr>
                <a:spLocks noEditPoints="1"/>
              </p:cNvSpPr>
              <p:nvPr/>
            </p:nvSpPr>
            <p:spPr bwMode="auto">
              <a:xfrm rot="3600000">
                <a:off x="3706435" y="6718647"/>
                <a:ext cx="71024" cy="7027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319" name="Group 1318"/>
              <p:cNvGrpSpPr/>
              <p:nvPr/>
            </p:nvGrpSpPr>
            <p:grpSpPr>
              <a:xfrm>
                <a:off x="3719266" y="6731404"/>
                <a:ext cx="44973" cy="45154"/>
                <a:chOff x="3719266" y="6731404"/>
                <a:chExt cx="44973" cy="45154"/>
              </a:xfrm>
              <a:solidFill>
                <a:schemeClr val="tx1"/>
              </a:solidFill>
            </p:grpSpPr>
            <p:sp>
              <p:nvSpPr>
                <p:cNvPr id="1320" name="Freeform 42"/>
                <p:cNvSpPr>
                  <a:spLocks/>
                </p:cNvSpPr>
                <p:nvPr/>
              </p:nvSpPr>
              <p:spPr bwMode="auto">
                <a:xfrm rot="3600000">
                  <a:off x="3757309" y="6739112"/>
                  <a:ext cx="6779" cy="708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1" name="Freeform 43"/>
                <p:cNvSpPr>
                  <a:spLocks/>
                </p:cNvSpPr>
                <p:nvPr/>
              </p:nvSpPr>
              <p:spPr bwMode="auto">
                <a:xfrm rot="3600000">
                  <a:off x="3731820" y="6743963"/>
                  <a:ext cx="19658" cy="198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2" name="Freeform 44"/>
                <p:cNvSpPr>
                  <a:spLocks/>
                </p:cNvSpPr>
                <p:nvPr/>
              </p:nvSpPr>
              <p:spPr bwMode="auto">
                <a:xfrm rot="3600000">
                  <a:off x="3727469" y="6731254"/>
                  <a:ext cx="6553" cy="68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3" name="Freeform 45"/>
                <p:cNvSpPr>
                  <a:spLocks/>
                </p:cNvSpPr>
                <p:nvPr/>
              </p:nvSpPr>
              <p:spPr bwMode="auto">
                <a:xfrm rot="3600000">
                  <a:off x="3749490" y="6769667"/>
                  <a:ext cx="6779" cy="700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4" name="Freeform 46"/>
                <p:cNvSpPr>
                  <a:spLocks/>
                </p:cNvSpPr>
                <p:nvPr/>
              </p:nvSpPr>
              <p:spPr bwMode="auto">
                <a:xfrm rot="3600000">
                  <a:off x="3719265" y="6761488"/>
                  <a:ext cx="6779" cy="677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325" name="Group 1324"/>
            <p:cNvGrpSpPr/>
            <p:nvPr/>
          </p:nvGrpSpPr>
          <p:grpSpPr>
            <a:xfrm rot="1787746">
              <a:off x="6766348" y="5030220"/>
              <a:ext cx="136281" cy="91616"/>
              <a:chOff x="3136655" y="5749640"/>
              <a:chExt cx="167801" cy="112806"/>
            </a:xfrm>
            <a:solidFill>
              <a:schemeClr val="accent1"/>
            </a:solidFill>
          </p:grpSpPr>
          <p:sp>
            <p:nvSpPr>
              <p:cNvPr id="1326"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27"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28"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29" name="Group 1328"/>
            <p:cNvGrpSpPr/>
            <p:nvPr/>
          </p:nvGrpSpPr>
          <p:grpSpPr>
            <a:xfrm rot="18213127">
              <a:off x="6251113" y="5010208"/>
              <a:ext cx="136281" cy="91616"/>
              <a:chOff x="3136655" y="5749640"/>
              <a:chExt cx="167801" cy="112806"/>
            </a:xfrm>
            <a:solidFill>
              <a:schemeClr val="accent1"/>
            </a:solidFill>
          </p:grpSpPr>
          <p:sp>
            <p:nvSpPr>
              <p:cNvPr id="1330"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31"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32"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33" name="Group 1332"/>
            <p:cNvGrpSpPr/>
            <p:nvPr/>
          </p:nvGrpSpPr>
          <p:grpSpPr>
            <a:xfrm rot="18213127">
              <a:off x="5118007" y="5032589"/>
              <a:ext cx="136281" cy="91616"/>
              <a:chOff x="3136655" y="5749640"/>
              <a:chExt cx="167801" cy="112806"/>
            </a:xfrm>
            <a:solidFill>
              <a:schemeClr val="accent1"/>
            </a:solidFill>
          </p:grpSpPr>
          <p:sp>
            <p:nvSpPr>
              <p:cNvPr id="1334"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35"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36"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37" name="Group 1336"/>
            <p:cNvGrpSpPr/>
            <p:nvPr/>
          </p:nvGrpSpPr>
          <p:grpSpPr>
            <a:xfrm rot="18213127">
              <a:off x="4803556" y="4986302"/>
              <a:ext cx="136281" cy="91616"/>
              <a:chOff x="3136655" y="5749640"/>
              <a:chExt cx="167801" cy="112806"/>
            </a:xfrm>
            <a:solidFill>
              <a:schemeClr val="accent1"/>
            </a:solidFill>
          </p:grpSpPr>
          <p:sp>
            <p:nvSpPr>
              <p:cNvPr id="1338"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39"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40"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41" name="Group 1340"/>
            <p:cNvGrpSpPr/>
            <p:nvPr/>
          </p:nvGrpSpPr>
          <p:grpSpPr>
            <a:xfrm rot="2669175">
              <a:off x="7126016" y="5059939"/>
              <a:ext cx="136281" cy="91616"/>
              <a:chOff x="3136655" y="5749640"/>
              <a:chExt cx="167801" cy="112806"/>
            </a:xfrm>
            <a:solidFill>
              <a:schemeClr val="accent1"/>
            </a:solidFill>
          </p:grpSpPr>
          <p:sp>
            <p:nvSpPr>
              <p:cNvPr id="1342"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43"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44"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45" name="Group 1344"/>
            <p:cNvGrpSpPr/>
            <p:nvPr/>
          </p:nvGrpSpPr>
          <p:grpSpPr>
            <a:xfrm rot="16675720">
              <a:off x="5080639" y="5388178"/>
              <a:ext cx="136281" cy="91616"/>
              <a:chOff x="3136655" y="5749640"/>
              <a:chExt cx="167801" cy="112806"/>
            </a:xfrm>
            <a:solidFill>
              <a:schemeClr val="accent1"/>
            </a:solidFill>
          </p:grpSpPr>
          <p:sp>
            <p:nvSpPr>
              <p:cNvPr id="1346"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47"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48"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49" name="Group 1348"/>
            <p:cNvGrpSpPr/>
            <p:nvPr/>
          </p:nvGrpSpPr>
          <p:grpSpPr>
            <a:xfrm rot="18213127">
              <a:off x="6515488" y="5276370"/>
              <a:ext cx="136281" cy="91616"/>
              <a:chOff x="3136655" y="5749640"/>
              <a:chExt cx="167801" cy="112806"/>
            </a:xfrm>
            <a:solidFill>
              <a:schemeClr val="accent1"/>
            </a:solidFill>
          </p:grpSpPr>
          <p:sp>
            <p:nvSpPr>
              <p:cNvPr id="1350"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51"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52"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353" name="Diagonal Stripe 1352"/>
            <p:cNvSpPr/>
            <p:nvPr/>
          </p:nvSpPr>
          <p:spPr bwMode="auto">
            <a:xfrm>
              <a:off x="6321315" y="5116362"/>
              <a:ext cx="160192" cy="146451"/>
            </a:xfrm>
            <a:prstGeom prst="diagStripe">
              <a:avLst>
                <a:gd name="adj" fmla="val 5643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54" name="Rectangle 1353"/>
            <p:cNvSpPr/>
            <p:nvPr/>
          </p:nvSpPr>
          <p:spPr bwMode="auto">
            <a:xfrm>
              <a:off x="5258377" y="5376727"/>
              <a:ext cx="50794" cy="507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125" name="Group 1124"/>
          <p:cNvGrpSpPr/>
          <p:nvPr/>
        </p:nvGrpSpPr>
        <p:grpSpPr>
          <a:xfrm flipH="1">
            <a:off x="7280805" y="4763275"/>
            <a:ext cx="1840673" cy="341692"/>
            <a:chOff x="6107989" y="2580946"/>
            <a:chExt cx="2025823" cy="341692"/>
          </a:xfrm>
        </p:grpSpPr>
        <p:sp>
          <p:nvSpPr>
            <p:cNvPr id="1126" name="Rectangle 1014"/>
            <p:cNvSpPr/>
            <p:nvPr/>
          </p:nvSpPr>
          <p:spPr bwMode="auto">
            <a:xfrm>
              <a:off x="6107989" y="2580946"/>
              <a:ext cx="2025823" cy="341692"/>
            </a:xfrm>
            <a:custGeom>
              <a:avLst/>
              <a:gdLst>
                <a:gd name="connsiteX0" fmla="*/ 0 w 2720239"/>
                <a:gd name="connsiteY0" fmla="*/ 0 h 332984"/>
                <a:gd name="connsiteX1" fmla="*/ 2720239 w 2720239"/>
                <a:gd name="connsiteY1" fmla="*/ 0 h 332984"/>
                <a:gd name="connsiteX2" fmla="*/ 2720239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1733102 w 2720239"/>
                <a:gd name="connsiteY2" fmla="*/ 332984 h 332984"/>
                <a:gd name="connsiteX3" fmla="*/ 0 w 2720239"/>
                <a:gd name="connsiteY3" fmla="*/ 332984 h 332984"/>
                <a:gd name="connsiteX4" fmla="*/ 0 w 2720239"/>
                <a:gd name="connsiteY4" fmla="*/ 0 h 332984"/>
                <a:gd name="connsiteX0" fmla="*/ 0 w 2720239"/>
                <a:gd name="connsiteY0" fmla="*/ 0 h 341692"/>
                <a:gd name="connsiteX1" fmla="*/ 2720239 w 2720239"/>
                <a:gd name="connsiteY1" fmla="*/ 0 h 341692"/>
                <a:gd name="connsiteX2" fmla="*/ 1480553 w 2720239"/>
                <a:gd name="connsiteY2" fmla="*/ 341692 h 341692"/>
                <a:gd name="connsiteX3" fmla="*/ 0 w 2720239"/>
                <a:gd name="connsiteY3" fmla="*/ 332984 h 341692"/>
                <a:gd name="connsiteX4" fmla="*/ 0 w 2720239"/>
                <a:gd name="connsiteY4" fmla="*/ 0 h 341692"/>
                <a:gd name="connsiteX0" fmla="*/ 0 w 1840673"/>
                <a:gd name="connsiteY0" fmla="*/ 0 h 341692"/>
                <a:gd name="connsiteX1" fmla="*/ 1840673 w 1840673"/>
                <a:gd name="connsiteY1" fmla="*/ 0 h 341692"/>
                <a:gd name="connsiteX2" fmla="*/ 1480553 w 1840673"/>
                <a:gd name="connsiteY2" fmla="*/ 341692 h 341692"/>
                <a:gd name="connsiteX3" fmla="*/ 0 w 1840673"/>
                <a:gd name="connsiteY3" fmla="*/ 332984 h 341692"/>
                <a:gd name="connsiteX4" fmla="*/ 0 w 1840673"/>
                <a:gd name="connsiteY4" fmla="*/ 0 h 34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673" h="341692">
                  <a:moveTo>
                    <a:pt x="0" y="0"/>
                  </a:moveTo>
                  <a:lnTo>
                    <a:pt x="1840673" y="0"/>
                  </a:lnTo>
                  <a:lnTo>
                    <a:pt x="1480553" y="341692"/>
                  </a:lnTo>
                  <a:lnTo>
                    <a:pt x="0" y="332984"/>
                  </a:lnTo>
                  <a:lnTo>
                    <a:pt x="0" y="0"/>
                  </a:lnTo>
                  <a:close/>
                </a:path>
              </a:pathLst>
            </a:cu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127" name="Group 1126"/>
            <p:cNvGrpSpPr/>
            <p:nvPr/>
          </p:nvGrpSpPr>
          <p:grpSpPr>
            <a:xfrm>
              <a:off x="6135284" y="2713296"/>
              <a:ext cx="1836482" cy="16680"/>
              <a:chOff x="257212" y="4550934"/>
              <a:chExt cx="2540191" cy="31011"/>
            </a:xfrm>
          </p:grpSpPr>
          <p:sp>
            <p:nvSpPr>
              <p:cNvPr id="1128" name="Rectangle 135"/>
              <p:cNvSpPr>
                <a:spLocks noChangeArrowheads="1"/>
              </p:cNvSpPr>
              <p:nvPr/>
            </p:nvSpPr>
            <p:spPr bwMode="auto">
              <a:xfrm>
                <a:off x="257212" y="4550934"/>
                <a:ext cx="313764"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29" name="Rectangle 136"/>
              <p:cNvSpPr>
                <a:spLocks noChangeArrowheads="1"/>
              </p:cNvSpPr>
              <p:nvPr/>
            </p:nvSpPr>
            <p:spPr bwMode="auto">
              <a:xfrm>
                <a:off x="742899" y="4550934"/>
                <a:ext cx="569503"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0" name="Rectangle 137"/>
              <p:cNvSpPr>
                <a:spLocks noChangeArrowheads="1"/>
              </p:cNvSpPr>
              <p:nvPr/>
            </p:nvSpPr>
            <p:spPr bwMode="auto">
              <a:xfrm>
                <a:off x="1484326" y="4550934"/>
                <a:ext cx="571650"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1" name="Rectangle 138"/>
              <p:cNvSpPr>
                <a:spLocks noChangeArrowheads="1"/>
              </p:cNvSpPr>
              <p:nvPr/>
            </p:nvSpPr>
            <p:spPr bwMode="auto">
              <a:xfrm>
                <a:off x="2225753" y="4550934"/>
                <a:ext cx="571650"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36" name="Freeform 35"/>
          <p:cNvSpPr/>
          <p:nvPr/>
        </p:nvSpPr>
        <p:spPr bwMode="auto">
          <a:xfrm>
            <a:off x="6602685" y="2917371"/>
            <a:ext cx="2499360" cy="1541418"/>
          </a:xfrm>
          <a:custGeom>
            <a:avLst/>
            <a:gdLst>
              <a:gd name="connsiteX0" fmla="*/ 2481943 w 2499360"/>
              <a:gd name="connsiteY0" fmla="*/ 0 h 1541418"/>
              <a:gd name="connsiteX1" fmla="*/ 121920 w 2499360"/>
              <a:gd name="connsiteY1" fmla="*/ 731520 h 1541418"/>
              <a:gd name="connsiteX2" fmla="*/ 0 w 2499360"/>
              <a:gd name="connsiteY2" fmla="*/ 1140823 h 1541418"/>
              <a:gd name="connsiteX3" fmla="*/ 418012 w 2499360"/>
              <a:gd name="connsiteY3" fmla="*/ 1541418 h 1541418"/>
              <a:gd name="connsiteX4" fmla="*/ 2499360 w 2499360"/>
              <a:gd name="connsiteY4" fmla="*/ 1314995 h 1541418"/>
              <a:gd name="connsiteX5" fmla="*/ 2481943 w 2499360"/>
              <a:gd name="connsiteY5" fmla="*/ 0 h 154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9360" h="1541418">
                <a:moveTo>
                  <a:pt x="2481943" y="0"/>
                </a:moveTo>
                <a:lnTo>
                  <a:pt x="121920" y="731520"/>
                </a:lnTo>
                <a:lnTo>
                  <a:pt x="0" y="1140823"/>
                </a:lnTo>
                <a:lnTo>
                  <a:pt x="418012" y="1541418"/>
                </a:lnTo>
                <a:lnTo>
                  <a:pt x="2499360" y="1314995"/>
                </a:lnTo>
                <a:lnTo>
                  <a:pt x="2481943" y="0"/>
                </a:lnTo>
                <a:close/>
              </a:path>
            </a:pathLst>
          </a:custGeom>
          <a:gradFill>
            <a:gsLst>
              <a:gs pos="0">
                <a:srgbClr val="427E97">
                  <a:alpha val="0"/>
                </a:srgbClr>
              </a:gs>
              <a:gs pos="100000">
                <a:srgbClr val="427E97">
                  <a:alpha val="81000"/>
                </a:srgb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014" name="Group 1013"/>
          <p:cNvGrpSpPr/>
          <p:nvPr/>
        </p:nvGrpSpPr>
        <p:grpSpPr>
          <a:xfrm>
            <a:off x="6109578" y="2975489"/>
            <a:ext cx="2720239" cy="332984"/>
            <a:chOff x="6107989" y="2580946"/>
            <a:chExt cx="2993863" cy="332984"/>
          </a:xfrm>
        </p:grpSpPr>
        <p:sp>
          <p:nvSpPr>
            <p:cNvPr id="1015" name="Rectangle 1014"/>
            <p:cNvSpPr/>
            <p:nvPr/>
          </p:nvSpPr>
          <p:spPr bwMode="auto">
            <a:xfrm>
              <a:off x="6107989" y="2580946"/>
              <a:ext cx="2993863" cy="332984"/>
            </a:xfrm>
            <a:custGeom>
              <a:avLst/>
              <a:gdLst>
                <a:gd name="connsiteX0" fmla="*/ 0 w 2720239"/>
                <a:gd name="connsiteY0" fmla="*/ 0 h 332984"/>
                <a:gd name="connsiteX1" fmla="*/ 2720239 w 2720239"/>
                <a:gd name="connsiteY1" fmla="*/ 0 h 332984"/>
                <a:gd name="connsiteX2" fmla="*/ 2720239 w 2720239"/>
                <a:gd name="connsiteY2" fmla="*/ 332984 h 332984"/>
                <a:gd name="connsiteX3" fmla="*/ 0 w 2720239"/>
                <a:gd name="connsiteY3" fmla="*/ 332984 h 332984"/>
                <a:gd name="connsiteX4" fmla="*/ 0 w 2720239"/>
                <a:gd name="connsiteY4" fmla="*/ 0 h 332984"/>
                <a:gd name="connsiteX0" fmla="*/ 0 w 2720239"/>
                <a:gd name="connsiteY0" fmla="*/ 0 h 332984"/>
                <a:gd name="connsiteX1" fmla="*/ 2720239 w 2720239"/>
                <a:gd name="connsiteY1" fmla="*/ 0 h 332984"/>
                <a:gd name="connsiteX2" fmla="*/ 1733102 w 2720239"/>
                <a:gd name="connsiteY2" fmla="*/ 332984 h 332984"/>
                <a:gd name="connsiteX3" fmla="*/ 0 w 2720239"/>
                <a:gd name="connsiteY3" fmla="*/ 332984 h 332984"/>
                <a:gd name="connsiteX4" fmla="*/ 0 w 2720239"/>
                <a:gd name="connsiteY4" fmla="*/ 0 h 332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239" h="332984">
                  <a:moveTo>
                    <a:pt x="0" y="0"/>
                  </a:moveTo>
                  <a:lnTo>
                    <a:pt x="2720239" y="0"/>
                  </a:lnTo>
                  <a:lnTo>
                    <a:pt x="1733102" y="332984"/>
                  </a:lnTo>
                  <a:lnTo>
                    <a:pt x="0" y="332984"/>
                  </a:lnTo>
                  <a:lnTo>
                    <a:pt x="0" y="0"/>
                  </a:lnTo>
                  <a:close/>
                </a:path>
              </a:pathLst>
            </a:cu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018" name="Group 1017"/>
            <p:cNvGrpSpPr/>
            <p:nvPr/>
          </p:nvGrpSpPr>
          <p:grpSpPr>
            <a:xfrm>
              <a:off x="6135284" y="2713296"/>
              <a:ext cx="2372512" cy="16680"/>
              <a:chOff x="257212" y="4550934"/>
              <a:chExt cx="3281618" cy="31011"/>
            </a:xfrm>
          </p:grpSpPr>
          <p:sp>
            <p:nvSpPr>
              <p:cNvPr id="1019" name="Rectangle 135"/>
              <p:cNvSpPr>
                <a:spLocks noChangeArrowheads="1"/>
              </p:cNvSpPr>
              <p:nvPr/>
            </p:nvSpPr>
            <p:spPr bwMode="auto">
              <a:xfrm>
                <a:off x="257212" y="4550934"/>
                <a:ext cx="313764"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20" name="Rectangle 136"/>
              <p:cNvSpPr>
                <a:spLocks noChangeArrowheads="1"/>
              </p:cNvSpPr>
              <p:nvPr/>
            </p:nvSpPr>
            <p:spPr bwMode="auto">
              <a:xfrm>
                <a:off x="742900" y="4550934"/>
                <a:ext cx="569502"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21" name="Rectangle 137"/>
              <p:cNvSpPr>
                <a:spLocks noChangeArrowheads="1"/>
              </p:cNvSpPr>
              <p:nvPr/>
            </p:nvSpPr>
            <p:spPr bwMode="auto">
              <a:xfrm>
                <a:off x="1484326" y="4550934"/>
                <a:ext cx="571650"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22" name="Rectangle 138"/>
              <p:cNvSpPr>
                <a:spLocks noChangeArrowheads="1"/>
              </p:cNvSpPr>
              <p:nvPr/>
            </p:nvSpPr>
            <p:spPr bwMode="auto">
              <a:xfrm>
                <a:off x="2225753" y="4550934"/>
                <a:ext cx="571650"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23" name="Rectangle 139"/>
              <p:cNvSpPr>
                <a:spLocks noChangeArrowheads="1"/>
              </p:cNvSpPr>
              <p:nvPr/>
            </p:nvSpPr>
            <p:spPr bwMode="auto">
              <a:xfrm>
                <a:off x="2969328" y="4550934"/>
                <a:ext cx="569502"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20" name="Group 19"/>
          <p:cNvGrpSpPr/>
          <p:nvPr/>
        </p:nvGrpSpPr>
        <p:grpSpPr>
          <a:xfrm>
            <a:off x="6109578" y="2580946"/>
            <a:ext cx="2993863" cy="332984"/>
            <a:chOff x="6107989" y="2580946"/>
            <a:chExt cx="2993863" cy="332984"/>
          </a:xfrm>
        </p:grpSpPr>
        <p:sp>
          <p:nvSpPr>
            <p:cNvPr id="1492" name="Rectangle 1491"/>
            <p:cNvSpPr/>
            <p:nvPr/>
          </p:nvSpPr>
          <p:spPr bwMode="auto">
            <a:xfrm>
              <a:off x="6107989" y="2580946"/>
              <a:ext cx="2993863" cy="332984"/>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611" name="Group 1610"/>
            <p:cNvGrpSpPr/>
            <p:nvPr/>
          </p:nvGrpSpPr>
          <p:grpSpPr>
            <a:xfrm>
              <a:off x="6135283" y="2712679"/>
              <a:ext cx="2848702" cy="20392"/>
              <a:chOff x="3390070" y="5359257"/>
              <a:chExt cx="2056126" cy="16191"/>
            </a:xfrm>
          </p:grpSpPr>
          <p:sp>
            <p:nvSpPr>
              <p:cNvPr id="1612" name="Rectangle 135"/>
              <p:cNvSpPr>
                <a:spLocks noChangeArrowheads="1"/>
              </p:cNvSpPr>
              <p:nvPr/>
            </p:nvSpPr>
            <p:spPr bwMode="auto">
              <a:xfrm>
                <a:off x="5248084" y="5362205"/>
                <a:ext cx="198112" cy="13243"/>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613" name="Group 1612"/>
              <p:cNvGrpSpPr/>
              <p:nvPr/>
            </p:nvGrpSpPr>
            <p:grpSpPr>
              <a:xfrm>
                <a:off x="3390070" y="5359257"/>
                <a:ext cx="1712423" cy="13512"/>
                <a:chOff x="257212" y="4550622"/>
                <a:chExt cx="3281618" cy="31642"/>
              </a:xfrm>
            </p:grpSpPr>
            <p:sp>
              <p:nvSpPr>
                <p:cNvPr id="1614" name="Rectangle 135"/>
                <p:cNvSpPr>
                  <a:spLocks noChangeArrowheads="1"/>
                </p:cNvSpPr>
                <p:nvPr/>
              </p:nvSpPr>
              <p:spPr bwMode="auto">
                <a:xfrm>
                  <a:off x="257212" y="4550934"/>
                  <a:ext cx="313764"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15" name="Rectangle 136"/>
                <p:cNvSpPr>
                  <a:spLocks noChangeArrowheads="1"/>
                </p:cNvSpPr>
                <p:nvPr/>
              </p:nvSpPr>
              <p:spPr bwMode="auto">
                <a:xfrm>
                  <a:off x="742900" y="4550622"/>
                  <a:ext cx="569502" cy="31633"/>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16" name="Rectangle 137"/>
                <p:cNvSpPr>
                  <a:spLocks noChangeArrowheads="1"/>
                </p:cNvSpPr>
                <p:nvPr/>
              </p:nvSpPr>
              <p:spPr bwMode="auto">
                <a:xfrm>
                  <a:off x="1484326" y="4550629"/>
                  <a:ext cx="571650" cy="31635"/>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17" name="Rectangle 138"/>
                <p:cNvSpPr>
                  <a:spLocks noChangeArrowheads="1"/>
                </p:cNvSpPr>
                <p:nvPr/>
              </p:nvSpPr>
              <p:spPr bwMode="auto">
                <a:xfrm>
                  <a:off x="2225753" y="4550934"/>
                  <a:ext cx="571650"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18" name="Rectangle 139"/>
                <p:cNvSpPr>
                  <a:spLocks noChangeArrowheads="1"/>
                </p:cNvSpPr>
                <p:nvPr/>
              </p:nvSpPr>
              <p:spPr bwMode="auto">
                <a:xfrm>
                  <a:off x="2969328" y="4550934"/>
                  <a:ext cx="569502" cy="31011"/>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sp>
        <p:nvSpPr>
          <p:cNvPr id="1013" name="Rectangle 1012"/>
          <p:cNvSpPr/>
          <p:nvPr/>
        </p:nvSpPr>
        <p:spPr bwMode="auto">
          <a:xfrm>
            <a:off x="258891" y="5114495"/>
            <a:ext cx="2739360" cy="1511790"/>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12" name="Rectangle 1011"/>
          <p:cNvSpPr/>
          <p:nvPr/>
        </p:nvSpPr>
        <p:spPr bwMode="auto">
          <a:xfrm>
            <a:off x="586918" y="5110295"/>
            <a:ext cx="2097218" cy="1004463"/>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 name="Freeform 11"/>
          <p:cNvSpPr/>
          <p:nvPr/>
        </p:nvSpPr>
        <p:spPr bwMode="auto">
          <a:xfrm>
            <a:off x="4549096" y="1877786"/>
            <a:ext cx="1502229" cy="1036864"/>
          </a:xfrm>
          <a:custGeom>
            <a:avLst/>
            <a:gdLst>
              <a:gd name="connsiteX0" fmla="*/ 0 w 1502229"/>
              <a:gd name="connsiteY0" fmla="*/ 0 h 1036864"/>
              <a:gd name="connsiteX1" fmla="*/ 1502229 w 1502229"/>
              <a:gd name="connsiteY1" fmla="*/ 24493 h 1036864"/>
              <a:gd name="connsiteX2" fmla="*/ 1494064 w 1502229"/>
              <a:gd name="connsiteY2" fmla="*/ 791935 h 1036864"/>
              <a:gd name="connsiteX3" fmla="*/ 1175657 w 1502229"/>
              <a:gd name="connsiteY3" fmla="*/ 1036864 h 1036864"/>
              <a:gd name="connsiteX4" fmla="*/ 8164 w 1502229"/>
              <a:gd name="connsiteY4" fmla="*/ 269421 h 1036864"/>
              <a:gd name="connsiteX5" fmla="*/ 0 w 1502229"/>
              <a:gd name="connsiteY5" fmla="*/ 0 h 1036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2229" h="1036864">
                <a:moveTo>
                  <a:pt x="0" y="0"/>
                </a:moveTo>
                <a:lnTo>
                  <a:pt x="1502229" y="24493"/>
                </a:lnTo>
                <a:cubicBezTo>
                  <a:pt x="1499507" y="280307"/>
                  <a:pt x="1496786" y="536121"/>
                  <a:pt x="1494064" y="791935"/>
                </a:cubicBezTo>
                <a:lnTo>
                  <a:pt x="1175657" y="1036864"/>
                </a:lnTo>
                <a:lnTo>
                  <a:pt x="8164" y="269421"/>
                </a:lnTo>
                <a:lnTo>
                  <a:pt x="0" y="0"/>
                </a:lnTo>
                <a:close/>
              </a:path>
            </a:pathLst>
          </a:custGeom>
          <a:solidFill>
            <a:srgbClr val="004E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992" name="Group 991"/>
          <p:cNvGrpSpPr/>
          <p:nvPr/>
        </p:nvGrpSpPr>
        <p:grpSpPr>
          <a:xfrm>
            <a:off x="4724091" y="1568463"/>
            <a:ext cx="1067798" cy="392983"/>
            <a:chOff x="-120317" y="2227654"/>
            <a:chExt cx="12842245" cy="4296675"/>
          </a:xfrm>
        </p:grpSpPr>
        <p:grpSp>
          <p:nvGrpSpPr>
            <p:cNvPr id="993" name="Group 992"/>
            <p:cNvGrpSpPr/>
            <p:nvPr/>
          </p:nvGrpSpPr>
          <p:grpSpPr>
            <a:xfrm>
              <a:off x="-120317" y="2227654"/>
              <a:ext cx="12842245" cy="4296675"/>
              <a:chOff x="-120316" y="1299411"/>
              <a:chExt cx="12842243" cy="4296675"/>
            </a:xfrm>
          </p:grpSpPr>
          <p:sp>
            <p:nvSpPr>
              <p:cNvPr id="995" name="Freeform 994"/>
              <p:cNvSpPr/>
              <p:nvPr/>
            </p:nvSpPr>
            <p:spPr bwMode="auto">
              <a:xfrm>
                <a:off x="-112861" y="1299411"/>
                <a:ext cx="12828018" cy="3773269"/>
              </a:xfrm>
              <a:custGeom>
                <a:avLst/>
                <a:gdLst>
                  <a:gd name="connsiteX0" fmla="*/ 1259872 w 12828018"/>
                  <a:gd name="connsiteY0" fmla="*/ 3489157 h 3773269"/>
                  <a:gd name="connsiteX1" fmla="*/ 1275914 w 12828018"/>
                  <a:gd name="connsiteY1" fmla="*/ 3312694 h 3773269"/>
                  <a:gd name="connsiteX2" fmla="*/ 1307998 w 12828018"/>
                  <a:gd name="connsiteY2" fmla="*/ 3072063 h 3773269"/>
                  <a:gd name="connsiteX3" fmla="*/ 1380187 w 12828018"/>
                  <a:gd name="connsiteY3" fmla="*/ 2863515 h 3773269"/>
                  <a:gd name="connsiteX4" fmla="*/ 1476440 w 12828018"/>
                  <a:gd name="connsiteY4" fmla="*/ 2687052 h 3773269"/>
                  <a:gd name="connsiteX5" fmla="*/ 1668945 w 12828018"/>
                  <a:gd name="connsiteY5" fmla="*/ 2486526 h 3773269"/>
                  <a:gd name="connsiteX6" fmla="*/ 1885514 w 12828018"/>
                  <a:gd name="connsiteY6" fmla="*/ 2350168 h 3773269"/>
                  <a:gd name="connsiteX7" fmla="*/ 2126145 w 12828018"/>
                  <a:gd name="connsiteY7" fmla="*/ 2261936 h 3773269"/>
                  <a:gd name="connsiteX8" fmla="*/ 2471050 w 12828018"/>
                  <a:gd name="connsiteY8" fmla="*/ 2221831 h 3773269"/>
                  <a:gd name="connsiteX9" fmla="*/ 2775850 w 12828018"/>
                  <a:gd name="connsiteY9" fmla="*/ 2277978 h 3773269"/>
                  <a:gd name="connsiteX10" fmla="*/ 3112735 w 12828018"/>
                  <a:gd name="connsiteY10" fmla="*/ 2454442 h 3773269"/>
                  <a:gd name="connsiteX11" fmla="*/ 3353366 w 12828018"/>
                  <a:gd name="connsiteY11" fmla="*/ 2751221 h 3773269"/>
                  <a:gd name="connsiteX12" fmla="*/ 3433577 w 12828018"/>
                  <a:gd name="connsiteY12" fmla="*/ 2943726 h 3773269"/>
                  <a:gd name="connsiteX13" fmla="*/ 3481703 w 12828018"/>
                  <a:gd name="connsiteY13" fmla="*/ 3200400 h 3773269"/>
                  <a:gd name="connsiteX14" fmla="*/ 3513787 w 12828018"/>
                  <a:gd name="connsiteY14" fmla="*/ 3449052 h 3773269"/>
                  <a:gd name="connsiteX15" fmla="*/ 3505766 w 12828018"/>
                  <a:gd name="connsiteY15" fmla="*/ 3625515 h 3773269"/>
                  <a:gd name="connsiteX16" fmla="*/ 3505766 w 12828018"/>
                  <a:gd name="connsiteY16" fmla="*/ 3761873 h 3773269"/>
                  <a:gd name="connsiteX17" fmla="*/ 3561914 w 12828018"/>
                  <a:gd name="connsiteY17" fmla="*/ 3761873 h 3773269"/>
                  <a:gd name="connsiteX18" fmla="*/ 3722335 w 12828018"/>
                  <a:gd name="connsiteY18" fmla="*/ 3729789 h 3773269"/>
                  <a:gd name="connsiteX19" fmla="*/ 4043177 w 12828018"/>
                  <a:gd name="connsiteY19" fmla="*/ 3713747 h 3773269"/>
                  <a:gd name="connsiteX20" fmla="*/ 4596629 w 12828018"/>
                  <a:gd name="connsiteY20" fmla="*/ 3721768 h 3773269"/>
                  <a:gd name="connsiteX21" fmla="*/ 6040419 w 12828018"/>
                  <a:gd name="connsiteY21" fmla="*/ 3713747 h 3773269"/>
                  <a:gd name="connsiteX22" fmla="*/ 7572440 w 12828018"/>
                  <a:gd name="connsiteY22" fmla="*/ 3729789 h 3773269"/>
                  <a:gd name="connsiteX23" fmla="*/ 8623198 w 12828018"/>
                  <a:gd name="connsiteY23" fmla="*/ 3721768 h 3773269"/>
                  <a:gd name="connsiteX24" fmla="*/ 8960082 w 12828018"/>
                  <a:gd name="connsiteY24" fmla="*/ 3729789 h 3773269"/>
                  <a:gd name="connsiteX25" fmla="*/ 9072377 w 12828018"/>
                  <a:gd name="connsiteY25" fmla="*/ 3729789 h 3773269"/>
                  <a:gd name="connsiteX26" fmla="*/ 9128524 w 12828018"/>
                  <a:gd name="connsiteY26" fmla="*/ 3729789 h 3773269"/>
                  <a:gd name="connsiteX27" fmla="*/ 9136545 w 12828018"/>
                  <a:gd name="connsiteY27" fmla="*/ 3609473 h 3773269"/>
                  <a:gd name="connsiteX28" fmla="*/ 9128524 w 12828018"/>
                  <a:gd name="connsiteY28" fmla="*/ 3441031 h 3773269"/>
                  <a:gd name="connsiteX29" fmla="*/ 9192693 w 12828018"/>
                  <a:gd name="connsiteY29" fmla="*/ 3072063 h 3773269"/>
                  <a:gd name="connsiteX30" fmla="*/ 9313008 w 12828018"/>
                  <a:gd name="connsiteY30" fmla="*/ 2743200 h 3773269"/>
                  <a:gd name="connsiteX31" fmla="*/ 9545619 w 12828018"/>
                  <a:gd name="connsiteY31" fmla="*/ 2470484 h 3773269"/>
                  <a:gd name="connsiteX32" fmla="*/ 9898545 w 12828018"/>
                  <a:gd name="connsiteY32" fmla="*/ 2286000 h 3773269"/>
                  <a:gd name="connsiteX33" fmla="*/ 10227408 w 12828018"/>
                  <a:gd name="connsiteY33" fmla="*/ 2237873 h 3773269"/>
                  <a:gd name="connsiteX34" fmla="*/ 10652524 w 12828018"/>
                  <a:gd name="connsiteY34" fmla="*/ 2302042 h 3773269"/>
                  <a:gd name="connsiteX35" fmla="*/ 10949303 w 12828018"/>
                  <a:gd name="connsiteY35" fmla="*/ 2462463 h 3773269"/>
                  <a:gd name="connsiteX36" fmla="*/ 11165872 w 12828018"/>
                  <a:gd name="connsiteY36" fmla="*/ 2695073 h 3773269"/>
                  <a:gd name="connsiteX37" fmla="*/ 11286187 w 12828018"/>
                  <a:gd name="connsiteY37" fmla="*/ 2903621 h 3773269"/>
                  <a:gd name="connsiteX38" fmla="*/ 11318272 w 12828018"/>
                  <a:gd name="connsiteY38" fmla="*/ 3064042 h 3773269"/>
                  <a:gd name="connsiteX39" fmla="*/ 11334314 w 12828018"/>
                  <a:gd name="connsiteY39" fmla="*/ 3328736 h 3773269"/>
                  <a:gd name="connsiteX40" fmla="*/ 11318272 w 12828018"/>
                  <a:gd name="connsiteY40" fmla="*/ 3569368 h 3773269"/>
                  <a:gd name="connsiteX41" fmla="*/ 11334314 w 12828018"/>
                  <a:gd name="connsiteY41" fmla="*/ 3617494 h 3773269"/>
                  <a:gd name="connsiteX42" fmla="*/ 11462650 w 12828018"/>
                  <a:gd name="connsiteY42" fmla="*/ 3593431 h 3773269"/>
                  <a:gd name="connsiteX43" fmla="*/ 11663177 w 12828018"/>
                  <a:gd name="connsiteY43" fmla="*/ 3513221 h 3773269"/>
                  <a:gd name="connsiteX44" fmla="*/ 11951935 w 12828018"/>
                  <a:gd name="connsiteY44" fmla="*/ 3441031 h 3773269"/>
                  <a:gd name="connsiteX45" fmla="*/ 12296840 w 12828018"/>
                  <a:gd name="connsiteY45" fmla="*/ 3392905 h 3773269"/>
                  <a:gd name="connsiteX46" fmla="*/ 12601640 w 12828018"/>
                  <a:gd name="connsiteY46" fmla="*/ 3328736 h 3773269"/>
                  <a:gd name="connsiteX47" fmla="*/ 12681850 w 12828018"/>
                  <a:gd name="connsiteY47" fmla="*/ 3240505 h 3773269"/>
                  <a:gd name="connsiteX48" fmla="*/ 12721956 w 12828018"/>
                  <a:gd name="connsiteY48" fmla="*/ 3200400 h 3773269"/>
                  <a:gd name="connsiteX49" fmla="*/ 12737998 w 12828018"/>
                  <a:gd name="connsiteY49" fmla="*/ 3096126 h 3773269"/>
                  <a:gd name="connsiteX50" fmla="*/ 12810187 w 12828018"/>
                  <a:gd name="connsiteY50" fmla="*/ 2943726 h 3773269"/>
                  <a:gd name="connsiteX51" fmla="*/ 12818208 w 12828018"/>
                  <a:gd name="connsiteY51" fmla="*/ 2751221 h 3773269"/>
                  <a:gd name="connsiteX52" fmla="*/ 12818208 w 12828018"/>
                  <a:gd name="connsiteY52" fmla="*/ 2294021 h 3773269"/>
                  <a:gd name="connsiteX53" fmla="*/ 12689872 w 12828018"/>
                  <a:gd name="connsiteY53" fmla="*/ 2061410 h 3773269"/>
                  <a:gd name="connsiteX54" fmla="*/ 12593619 w 12828018"/>
                  <a:gd name="connsiteY54" fmla="*/ 1933073 h 3773269"/>
                  <a:gd name="connsiteX55" fmla="*/ 12529450 w 12828018"/>
                  <a:gd name="connsiteY55" fmla="*/ 1676400 h 3773269"/>
                  <a:gd name="connsiteX56" fmla="*/ 12417156 w 12828018"/>
                  <a:gd name="connsiteY56" fmla="*/ 1363578 h 3773269"/>
                  <a:gd name="connsiteX57" fmla="*/ 12280798 w 12828018"/>
                  <a:gd name="connsiteY57" fmla="*/ 1163052 h 3773269"/>
                  <a:gd name="connsiteX58" fmla="*/ 12248714 w 12828018"/>
                  <a:gd name="connsiteY58" fmla="*/ 1114926 h 3773269"/>
                  <a:gd name="connsiteX59" fmla="*/ 12144440 w 12828018"/>
                  <a:gd name="connsiteY59" fmla="*/ 1098884 h 3773269"/>
                  <a:gd name="connsiteX60" fmla="*/ 11695261 w 12828018"/>
                  <a:gd name="connsiteY60" fmla="*/ 1058778 h 3773269"/>
                  <a:gd name="connsiteX61" fmla="*/ 11470672 w 12828018"/>
                  <a:gd name="connsiteY61" fmla="*/ 1018673 h 3773269"/>
                  <a:gd name="connsiteX62" fmla="*/ 11085661 w 12828018"/>
                  <a:gd name="connsiteY62" fmla="*/ 874294 h 3773269"/>
                  <a:gd name="connsiteX63" fmla="*/ 10612419 w 12828018"/>
                  <a:gd name="connsiteY63" fmla="*/ 665747 h 3773269"/>
                  <a:gd name="connsiteX64" fmla="*/ 10034903 w 12828018"/>
                  <a:gd name="connsiteY64" fmla="*/ 433136 h 3773269"/>
                  <a:gd name="connsiteX65" fmla="*/ 9617808 w 12828018"/>
                  <a:gd name="connsiteY65" fmla="*/ 272715 h 3773269"/>
                  <a:gd name="connsiteX66" fmla="*/ 9160608 w 12828018"/>
                  <a:gd name="connsiteY66" fmla="*/ 152400 h 3773269"/>
                  <a:gd name="connsiteX67" fmla="*/ 8631219 w 12828018"/>
                  <a:gd name="connsiteY67" fmla="*/ 64168 h 3773269"/>
                  <a:gd name="connsiteX68" fmla="*/ 7965472 w 12828018"/>
                  <a:gd name="connsiteY68" fmla="*/ 16042 h 3773269"/>
                  <a:gd name="connsiteX69" fmla="*/ 7403998 w 12828018"/>
                  <a:gd name="connsiteY69" fmla="*/ 0 h 3773269"/>
                  <a:gd name="connsiteX70" fmla="*/ 6754293 w 12828018"/>
                  <a:gd name="connsiteY70" fmla="*/ 8021 h 3773269"/>
                  <a:gd name="connsiteX71" fmla="*/ 6208861 w 12828018"/>
                  <a:gd name="connsiteY71" fmla="*/ 56147 h 3773269"/>
                  <a:gd name="connsiteX72" fmla="*/ 5623324 w 12828018"/>
                  <a:gd name="connsiteY72" fmla="*/ 184484 h 3773269"/>
                  <a:gd name="connsiteX73" fmla="*/ 5254356 w 12828018"/>
                  <a:gd name="connsiteY73" fmla="*/ 336884 h 3773269"/>
                  <a:gd name="connsiteX74" fmla="*/ 4468293 w 12828018"/>
                  <a:gd name="connsiteY74" fmla="*/ 762000 h 3773269"/>
                  <a:gd name="connsiteX75" fmla="*/ 3834629 w 12828018"/>
                  <a:gd name="connsiteY75" fmla="*/ 1138989 h 3773269"/>
                  <a:gd name="connsiteX76" fmla="*/ 3642124 w 12828018"/>
                  <a:gd name="connsiteY76" fmla="*/ 1251284 h 3773269"/>
                  <a:gd name="connsiteX77" fmla="*/ 3457640 w 12828018"/>
                  <a:gd name="connsiteY77" fmla="*/ 1275347 h 3773269"/>
                  <a:gd name="connsiteX78" fmla="*/ 2815956 w 12828018"/>
                  <a:gd name="connsiteY78" fmla="*/ 1331494 h 3773269"/>
                  <a:gd name="connsiteX79" fmla="*/ 2158229 w 12828018"/>
                  <a:gd name="connsiteY79" fmla="*/ 1411705 h 3773269"/>
                  <a:gd name="connsiteX80" fmla="*/ 1580714 w 12828018"/>
                  <a:gd name="connsiteY80" fmla="*/ 1499936 h 3773269"/>
                  <a:gd name="connsiteX81" fmla="*/ 1075387 w 12828018"/>
                  <a:gd name="connsiteY81" fmla="*/ 1596189 h 3773269"/>
                  <a:gd name="connsiteX82" fmla="*/ 650272 w 12828018"/>
                  <a:gd name="connsiteY82" fmla="*/ 1748589 h 3773269"/>
                  <a:gd name="connsiteX83" fmla="*/ 457766 w 12828018"/>
                  <a:gd name="connsiteY83" fmla="*/ 1868905 h 3773269"/>
                  <a:gd name="connsiteX84" fmla="*/ 273282 w 12828018"/>
                  <a:gd name="connsiteY84" fmla="*/ 2101515 h 3773269"/>
                  <a:gd name="connsiteX85" fmla="*/ 169008 w 12828018"/>
                  <a:gd name="connsiteY85" fmla="*/ 2326105 h 3773269"/>
                  <a:gd name="connsiteX86" fmla="*/ 88798 w 12828018"/>
                  <a:gd name="connsiteY86" fmla="*/ 2454442 h 3773269"/>
                  <a:gd name="connsiteX87" fmla="*/ 8587 w 12828018"/>
                  <a:gd name="connsiteY87" fmla="*/ 2855494 h 3773269"/>
                  <a:gd name="connsiteX88" fmla="*/ 8587 w 12828018"/>
                  <a:gd name="connsiteY88" fmla="*/ 3080084 h 3773269"/>
                  <a:gd name="connsiteX89" fmla="*/ 64735 w 12828018"/>
                  <a:gd name="connsiteY89" fmla="*/ 3232484 h 3773269"/>
                  <a:gd name="connsiteX90" fmla="*/ 64735 w 12828018"/>
                  <a:gd name="connsiteY90" fmla="*/ 3433010 h 3773269"/>
                  <a:gd name="connsiteX91" fmla="*/ 120882 w 12828018"/>
                  <a:gd name="connsiteY91" fmla="*/ 3481136 h 3773269"/>
                  <a:gd name="connsiteX92" fmla="*/ 345472 w 12828018"/>
                  <a:gd name="connsiteY92" fmla="*/ 3601452 h 3773269"/>
                  <a:gd name="connsiteX93" fmla="*/ 706419 w 12828018"/>
                  <a:gd name="connsiteY93" fmla="*/ 3673642 h 3773269"/>
                  <a:gd name="connsiteX94" fmla="*/ 1051324 w 12828018"/>
                  <a:gd name="connsiteY94" fmla="*/ 3697705 h 3773269"/>
                  <a:gd name="connsiteX95" fmla="*/ 1251850 w 12828018"/>
                  <a:gd name="connsiteY95" fmla="*/ 3729789 h 3773269"/>
                  <a:gd name="connsiteX96" fmla="*/ 1275914 w 12828018"/>
                  <a:gd name="connsiteY96" fmla="*/ 3697705 h 3773269"/>
                  <a:gd name="connsiteX97" fmla="*/ 1259872 w 12828018"/>
                  <a:gd name="connsiteY97" fmla="*/ 3489157 h 377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28018" h="3773269">
                    <a:moveTo>
                      <a:pt x="1259872" y="3489157"/>
                    </a:moveTo>
                    <a:cubicBezTo>
                      <a:pt x="1259872" y="3424989"/>
                      <a:pt x="1267893" y="3382210"/>
                      <a:pt x="1275914" y="3312694"/>
                    </a:cubicBezTo>
                    <a:cubicBezTo>
                      <a:pt x="1283935" y="3243178"/>
                      <a:pt x="1290619" y="3146926"/>
                      <a:pt x="1307998" y="3072063"/>
                    </a:cubicBezTo>
                    <a:cubicBezTo>
                      <a:pt x="1325377" y="2997200"/>
                      <a:pt x="1352113" y="2927683"/>
                      <a:pt x="1380187" y="2863515"/>
                    </a:cubicBezTo>
                    <a:cubicBezTo>
                      <a:pt x="1408261" y="2799346"/>
                      <a:pt x="1428314" y="2749884"/>
                      <a:pt x="1476440" y="2687052"/>
                    </a:cubicBezTo>
                    <a:cubicBezTo>
                      <a:pt x="1524566" y="2624220"/>
                      <a:pt x="1600766" y="2542673"/>
                      <a:pt x="1668945" y="2486526"/>
                    </a:cubicBezTo>
                    <a:cubicBezTo>
                      <a:pt x="1737124" y="2430379"/>
                      <a:pt x="1809314" y="2387600"/>
                      <a:pt x="1885514" y="2350168"/>
                    </a:cubicBezTo>
                    <a:cubicBezTo>
                      <a:pt x="1961714" y="2312736"/>
                      <a:pt x="2028556" y="2283325"/>
                      <a:pt x="2126145" y="2261936"/>
                    </a:cubicBezTo>
                    <a:cubicBezTo>
                      <a:pt x="2223734" y="2240547"/>
                      <a:pt x="2362766" y="2219157"/>
                      <a:pt x="2471050" y="2221831"/>
                    </a:cubicBezTo>
                    <a:cubicBezTo>
                      <a:pt x="2579334" y="2224505"/>
                      <a:pt x="2668903" y="2239210"/>
                      <a:pt x="2775850" y="2277978"/>
                    </a:cubicBezTo>
                    <a:cubicBezTo>
                      <a:pt x="2882797" y="2316746"/>
                      <a:pt x="3016482" y="2375568"/>
                      <a:pt x="3112735" y="2454442"/>
                    </a:cubicBezTo>
                    <a:cubicBezTo>
                      <a:pt x="3208988" y="2533316"/>
                      <a:pt x="3299892" y="2669674"/>
                      <a:pt x="3353366" y="2751221"/>
                    </a:cubicBezTo>
                    <a:cubicBezTo>
                      <a:pt x="3406840" y="2832768"/>
                      <a:pt x="3412188" y="2868863"/>
                      <a:pt x="3433577" y="2943726"/>
                    </a:cubicBezTo>
                    <a:cubicBezTo>
                      <a:pt x="3454966" y="3018589"/>
                      <a:pt x="3468335" y="3116179"/>
                      <a:pt x="3481703" y="3200400"/>
                    </a:cubicBezTo>
                    <a:cubicBezTo>
                      <a:pt x="3495071" y="3284621"/>
                      <a:pt x="3509777" y="3378200"/>
                      <a:pt x="3513787" y="3449052"/>
                    </a:cubicBezTo>
                    <a:cubicBezTo>
                      <a:pt x="3517797" y="3519904"/>
                      <a:pt x="3507103" y="3573378"/>
                      <a:pt x="3505766" y="3625515"/>
                    </a:cubicBezTo>
                    <a:cubicBezTo>
                      <a:pt x="3504429" y="3677652"/>
                      <a:pt x="3496408" y="3739147"/>
                      <a:pt x="3505766" y="3761873"/>
                    </a:cubicBezTo>
                    <a:cubicBezTo>
                      <a:pt x="3515124" y="3784599"/>
                      <a:pt x="3525819" y="3767220"/>
                      <a:pt x="3561914" y="3761873"/>
                    </a:cubicBezTo>
                    <a:cubicBezTo>
                      <a:pt x="3598009" y="3756526"/>
                      <a:pt x="3642125" y="3737810"/>
                      <a:pt x="3722335" y="3729789"/>
                    </a:cubicBezTo>
                    <a:cubicBezTo>
                      <a:pt x="3802546" y="3721768"/>
                      <a:pt x="4043177" y="3713747"/>
                      <a:pt x="4043177" y="3713747"/>
                    </a:cubicBezTo>
                    <a:lnTo>
                      <a:pt x="4596629" y="3721768"/>
                    </a:lnTo>
                    <a:lnTo>
                      <a:pt x="6040419" y="3713747"/>
                    </a:lnTo>
                    <a:lnTo>
                      <a:pt x="7572440" y="3729789"/>
                    </a:lnTo>
                    <a:lnTo>
                      <a:pt x="8623198" y="3721768"/>
                    </a:lnTo>
                    <a:cubicBezTo>
                      <a:pt x="8854472" y="3721768"/>
                      <a:pt x="8885219" y="3728452"/>
                      <a:pt x="8960082" y="3729789"/>
                    </a:cubicBezTo>
                    <a:cubicBezTo>
                      <a:pt x="9034945" y="3731126"/>
                      <a:pt x="9072377" y="3729789"/>
                      <a:pt x="9072377" y="3729789"/>
                    </a:cubicBezTo>
                    <a:cubicBezTo>
                      <a:pt x="9100451" y="3729789"/>
                      <a:pt x="9117829" y="3749842"/>
                      <a:pt x="9128524" y="3729789"/>
                    </a:cubicBezTo>
                    <a:cubicBezTo>
                      <a:pt x="9139219" y="3709736"/>
                      <a:pt x="9136545" y="3657599"/>
                      <a:pt x="9136545" y="3609473"/>
                    </a:cubicBezTo>
                    <a:cubicBezTo>
                      <a:pt x="9136545" y="3561347"/>
                      <a:pt x="9119166" y="3530599"/>
                      <a:pt x="9128524" y="3441031"/>
                    </a:cubicBezTo>
                    <a:cubicBezTo>
                      <a:pt x="9137882" y="3351463"/>
                      <a:pt x="9161946" y="3188368"/>
                      <a:pt x="9192693" y="3072063"/>
                    </a:cubicBezTo>
                    <a:cubicBezTo>
                      <a:pt x="9223440" y="2955758"/>
                      <a:pt x="9254187" y="2843463"/>
                      <a:pt x="9313008" y="2743200"/>
                    </a:cubicBezTo>
                    <a:cubicBezTo>
                      <a:pt x="9371829" y="2642937"/>
                      <a:pt x="9448030" y="2546684"/>
                      <a:pt x="9545619" y="2470484"/>
                    </a:cubicBezTo>
                    <a:cubicBezTo>
                      <a:pt x="9643209" y="2394284"/>
                      <a:pt x="9784914" y="2324768"/>
                      <a:pt x="9898545" y="2286000"/>
                    </a:cubicBezTo>
                    <a:cubicBezTo>
                      <a:pt x="10012176" y="2247232"/>
                      <a:pt x="10101745" y="2235199"/>
                      <a:pt x="10227408" y="2237873"/>
                    </a:cubicBezTo>
                    <a:cubicBezTo>
                      <a:pt x="10353071" y="2240547"/>
                      <a:pt x="10532208" y="2264610"/>
                      <a:pt x="10652524" y="2302042"/>
                    </a:cubicBezTo>
                    <a:cubicBezTo>
                      <a:pt x="10772840" y="2339474"/>
                      <a:pt x="10863745" y="2396958"/>
                      <a:pt x="10949303" y="2462463"/>
                    </a:cubicBezTo>
                    <a:cubicBezTo>
                      <a:pt x="11034861" y="2527968"/>
                      <a:pt x="11109725" y="2621547"/>
                      <a:pt x="11165872" y="2695073"/>
                    </a:cubicBezTo>
                    <a:cubicBezTo>
                      <a:pt x="11222019" y="2768599"/>
                      <a:pt x="11260787" y="2842126"/>
                      <a:pt x="11286187" y="2903621"/>
                    </a:cubicBezTo>
                    <a:cubicBezTo>
                      <a:pt x="11311587" y="2965116"/>
                      <a:pt x="11310251" y="2993189"/>
                      <a:pt x="11318272" y="3064042"/>
                    </a:cubicBezTo>
                    <a:cubicBezTo>
                      <a:pt x="11326293" y="3134894"/>
                      <a:pt x="11334314" y="3244515"/>
                      <a:pt x="11334314" y="3328736"/>
                    </a:cubicBezTo>
                    <a:cubicBezTo>
                      <a:pt x="11334314" y="3412957"/>
                      <a:pt x="11318272" y="3521242"/>
                      <a:pt x="11318272" y="3569368"/>
                    </a:cubicBezTo>
                    <a:cubicBezTo>
                      <a:pt x="11318272" y="3617494"/>
                      <a:pt x="11310251" y="3613484"/>
                      <a:pt x="11334314" y="3617494"/>
                    </a:cubicBezTo>
                    <a:cubicBezTo>
                      <a:pt x="11358377" y="3621505"/>
                      <a:pt x="11407840" y="3610810"/>
                      <a:pt x="11462650" y="3593431"/>
                    </a:cubicBezTo>
                    <a:cubicBezTo>
                      <a:pt x="11517461" y="3576052"/>
                      <a:pt x="11581629" y="3538621"/>
                      <a:pt x="11663177" y="3513221"/>
                    </a:cubicBezTo>
                    <a:cubicBezTo>
                      <a:pt x="11744725" y="3487821"/>
                      <a:pt x="11846325" y="3461084"/>
                      <a:pt x="11951935" y="3441031"/>
                    </a:cubicBezTo>
                    <a:cubicBezTo>
                      <a:pt x="12057546" y="3420978"/>
                      <a:pt x="12188556" y="3411621"/>
                      <a:pt x="12296840" y="3392905"/>
                    </a:cubicBezTo>
                    <a:cubicBezTo>
                      <a:pt x="12405124" y="3374189"/>
                      <a:pt x="12537472" y="3354136"/>
                      <a:pt x="12601640" y="3328736"/>
                    </a:cubicBezTo>
                    <a:cubicBezTo>
                      <a:pt x="12665808" y="3303336"/>
                      <a:pt x="12661797" y="3261894"/>
                      <a:pt x="12681850" y="3240505"/>
                    </a:cubicBezTo>
                    <a:cubicBezTo>
                      <a:pt x="12701903" y="3219116"/>
                      <a:pt x="12712598" y="3224463"/>
                      <a:pt x="12721956" y="3200400"/>
                    </a:cubicBezTo>
                    <a:cubicBezTo>
                      <a:pt x="12731314" y="3176337"/>
                      <a:pt x="12723293" y="3138905"/>
                      <a:pt x="12737998" y="3096126"/>
                    </a:cubicBezTo>
                    <a:cubicBezTo>
                      <a:pt x="12752703" y="3053347"/>
                      <a:pt x="12796819" y="3001210"/>
                      <a:pt x="12810187" y="2943726"/>
                    </a:cubicBezTo>
                    <a:cubicBezTo>
                      <a:pt x="12823555" y="2886242"/>
                      <a:pt x="12816871" y="2859505"/>
                      <a:pt x="12818208" y="2751221"/>
                    </a:cubicBezTo>
                    <a:cubicBezTo>
                      <a:pt x="12819545" y="2642937"/>
                      <a:pt x="12839597" y="2408989"/>
                      <a:pt x="12818208" y="2294021"/>
                    </a:cubicBezTo>
                    <a:cubicBezTo>
                      <a:pt x="12796819" y="2179053"/>
                      <a:pt x="12727304" y="2121568"/>
                      <a:pt x="12689872" y="2061410"/>
                    </a:cubicBezTo>
                    <a:cubicBezTo>
                      <a:pt x="12652440" y="2001252"/>
                      <a:pt x="12620356" y="1997241"/>
                      <a:pt x="12593619" y="1933073"/>
                    </a:cubicBezTo>
                    <a:cubicBezTo>
                      <a:pt x="12566882" y="1868905"/>
                      <a:pt x="12558860" y="1771316"/>
                      <a:pt x="12529450" y="1676400"/>
                    </a:cubicBezTo>
                    <a:cubicBezTo>
                      <a:pt x="12500040" y="1581484"/>
                      <a:pt x="12458598" y="1449136"/>
                      <a:pt x="12417156" y="1363578"/>
                    </a:cubicBezTo>
                    <a:cubicBezTo>
                      <a:pt x="12375714" y="1278020"/>
                      <a:pt x="12308872" y="1204494"/>
                      <a:pt x="12280798" y="1163052"/>
                    </a:cubicBezTo>
                    <a:cubicBezTo>
                      <a:pt x="12252724" y="1121610"/>
                      <a:pt x="12271440" y="1125621"/>
                      <a:pt x="12248714" y="1114926"/>
                    </a:cubicBezTo>
                    <a:cubicBezTo>
                      <a:pt x="12225988" y="1104231"/>
                      <a:pt x="12236682" y="1108242"/>
                      <a:pt x="12144440" y="1098884"/>
                    </a:cubicBezTo>
                    <a:cubicBezTo>
                      <a:pt x="12052198" y="1089526"/>
                      <a:pt x="11807556" y="1072147"/>
                      <a:pt x="11695261" y="1058778"/>
                    </a:cubicBezTo>
                    <a:cubicBezTo>
                      <a:pt x="11582966" y="1045409"/>
                      <a:pt x="11572272" y="1049420"/>
                      <a:pt x="11470672" y="1018673"/>
                    </a:cubicBezTo>
                    <a:cubicBezTo>
                      <a:pt x="11369072" y="987926"/>
                      <a:pt x="11228703" y="933115"/>
                      <a:pt x="11085661" y="874294"/>
                    </a:cubicBezTo>
                    <a:cubicBezTo>
                      <a:pt x="10942619" y="815473"/>
                      <a:pt x="10787545" y="739273"/>
                      <a:pt x="10612419" y="665747"/>
                    </a:cubicBezTo>
                    <a:cubicBezTo>
                      <a:pt x="10437293" y="592221"/>
                      <a:pt x="10200671" y="498641"/>
                      <a:pt x="10034903" y="433136"/>
                    </a:cubicBezTo>
                    <a:cubicBezTo>
                      <a:pt x="9869135" y="367631"/>
                      <a:pt x="9763524" y="319504"/>
                      <a:pt x="9617808" y="272715"/>
                    </a:cubicBezTo>
                    <a:cubicBezTo>
                      <a:pt x="9472092" y="225926"/>
                      <a:pt x="9325040" y="187158"/>
                      <a:pt x="9160608" y="152400"/>
                    </a:cubicBezTo>
                    <a:cubicBezTo>
                      <a:pt x="8996177" y="117642"/>
                      <a:pt x="8830408" y="86894"/>
                      <a:pt x="8631219" y="64168"/>
                    </a:cubicBezTo>
                    <a:cubicBezTo>
                      <a:pt x="8432030" y="41442"/>
                      <a:pt x="8170009" y="26737"/>
                      <a:pt x="7965472" y="16042"/>
                    </a:cubicBezTo>
                    <a:cubicBezTo>
                      <a:pt x="7760935" y="5347"/>
                      <a:pt x="7403998" y="0"/>
                      <a:pt x="7403998" y="0"/>
                    </a:cubicBezTo>
                    <a:lnTo>
                      <a:pt x="6754293" y="8021"/>
                    </a:lnTo>
                    <a:cubicBezTo>
                      <a:pt x="6555104" y="17379"/>
                      <a:pt x="6397356" y="26736"/>
                      <a:pt x="6208861" y="56147"/>
                    </a:cubicBezTo>
                    <a:cubicBezTo>
                      <a:pt x="6020366" y="85558"/>
                      <a:pt x="5782408" y="137695"/>
                      <a:pt x="5623324" y="184484"/>
                    </a:cubicBezTo>
                    <a:cubicBezTo>
                      <a:pt x="5464240" y="231273"/>
                      <a:pt x="5446861" y="240631"/>
                      <a:pt x="5254356" y="336884"/>
                    </a:cubicBezTo>
                    <a:cubicBezTo>
                      <a:pt x="5061851" y="433137"/>
                      <a:pt x="4704914" y="628316"/>
                      <a:pt x="4468293" y="762000"/>
                    </a:cubicBezTo>
                    <a:cubicBezTo>
                      <a:pt x="4231672" y="895684"/>
                      <a:pt x="3834629" y="1138989"/>
                      <a:pt x="3834629" y="1138989"/>
                    </a:cubicBezTo>
                    <a:cubicBezTo>
                      <a:pt x="3696934" y="1220536"/>
                      <a:pt x="3704956" y="1228558"/>
                      <a:pt x="3642124" y="1251284"/>
                    </a:cubicBezTo>
                    <a:cubicBezTo>
                      <a:pt x="3579293" y="1274010"/>
                      <a:pt x="3457640" y="1275347"/>
                      <a:pt x="3457640" y="1275347"/>
                    </a:cubicBezTo>
                    <a:lnTo>
                      <a:pt x="2815956" y="1331494"/>
                    </a:lnTo>
                    <a:cubicBezTo>
                      <a:pt x="2599388" y="1354220"/>
                      <a:pt x="2364103" y="1383631"/>
                      <a:pt x="2158229" y="1411705"/>
                    </a:cubicBezTo>
                    <a:cubicBezTo>
                      <a:pt x="1952355" y="1439779"/>
                      <a:pt x="1761188" y="1469189"/>
                      <a:pt x="1580714" y="1499936"/>
                    </a:cubicBezTo>
                    <a:cubicBezTo>
                      <a:pt x="1400240" y="1530683"/>
                      <a:pt x="1230461" y="1554747"/>
                      <a:pt x="1075387" y="1596189"/>
                    </a:cubicBezTo>
                    <a:cubicBezTo>
                      <a:pt x="920313" y="1637631"/>
                      <a:pt x="753209" y="1703136"/>
                      <a:pt x="650272" y="1748589"/>
                    </a:cubicBezTo>
                    <a:cubicBezTo>
                      <a:pt x="547335" y="1794042"/>
                      <a:pt x="520597" y="1810084"/>
                      <a:pt x="457766" y="1868905"/>
                    </a:cubicBezTo>
                    <a:cubicBezTo>
                      <a:pt x="394935" y="1927726"/>
                      <a:pt x="321408" y="2025315"/>
                      <a:pt x="273282" y="2101515"/>
                    </a:cubicBezTo>
                    <a:cubicBezTo>
                      <a:pt x="225156" y="2177715"/>
                      <a:pt x="199755" y="2267284"/>
                      <a:pt x="169008" y="2326105"/>
                    </a:cubicBezTo>
                    <a:cubicBezTo>
                      <a:pt x="138261" y="2384926"/>
                      <a:pt x="115535" y="2366211"/>
                      <a:pt x="88798" y="2454442"/>
                    </a:cubicBezTo>
                    <a:cubicBezTo>
                      <a:pt x="62061" y="2542673"/>
                      <a:pt x="21956" y="2751220"/>
                      <a:pt x="8587" y="2855494"/>
                    </a:cubicBezTo>
                    <a:cubicBezTo>
                      <a:pt x="-4782" y="2959768"/>
                      <a:pt x="-771" y="3017253"/>
                      <a:pt x="8587" y="3080084"/>
                    </a:cubicBezTo>
                    <a:cubicBezTo>
                      <a:pt x="17945" y="3142915"/>
                      <a:pt x="55377" y="3173663"/>
                      <a:pt x="64735" y="3232484"/>
                    </a:cubicBezTo>
                    <a:cubicBezTo>
                      <a:pt x="74093" y="3291305"/>
                      <a:pt x="55377" y="3391568"/>
                      <a:pt x="64735" y="3433010"/>
                    </a:cubicBezTo>
                    <a:cubicBezTo>
                      <a:pt x="74093" y="3474452"/>
                      <a:pt x="74092" y="3453062"/>
                      <a:pt x="120882" y="3481136"/>
                    </a:cubicBezTo>
                    <a:cubicBezTo>
                      <a:pt x="167671" y="3509210"/>
                      <a:pt x="247883" y="3569368"/>
                      <a:pt x="345472" y="3601452"/>
                    </a:cubicBezTo>
                    <a:cubicBezTo>
                      <a:pt x="443061" y="3633536"/>
                      <a:pt x="588777" y="3657600"/>
                      <a:pt x="706419" y="3673642"/>
                    </a:cubicBezTo>
                    <a:cubicBezTo>
                      <a:pt x="824061" y="3689684"/>
                      <a:pt x="960419" y="3688347"/>
                      <a:pt x="1051324" y="3697705"/>
                    </a:cubicBezTo>
                    <a:cubicBezTo>
                      <a:pt x="1142229" y="3707063"/>
                      <a:pt x="1214418" y="3729789"/>
                      <a:pt x="1251850" y="3729789"/>
                    </a:cubicBezTo>
                    <a:cubicBezTo>
                      <a:pt x="1289282" y="3729789"/>
                      <a:pt x="1273240" y="3739147"/>
                      <a:pt x="1275914" y="3697705"/>
                    </a:cubicBezTo>
                    <a:cubicBezTo>
                      <a:pt x="1278588" y="3656263"/>
                      <a:pt x="1259872" y="3553325"/>
                      <a:pt x="1259872" y="348915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6" name="Oval 995"/>
              <p:cNvSpPr/>
              <p:nvPr/>
            </p:nvSpPr>
            <p:spPr bwMode="auto">
              <a:xfrm>
                <a:off x="1367928"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7" name="Oval 996"/>
              <p:cNvSpPr/>
              <p:nvPr/>
            </p:nvSpPr>
            <p:spPr bwMode="auto">
              <a:xfrm>
                <a:off x="9163831"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8" name="Oval 997"/>
              <p:cNvSpPr/>
              <p:nvPr/>
            </p:nvSpPr>
            <p:spPr bwMode="auto">
              <a:xfrm>
                <a:off x="1677434"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9" name="Oval 998"/>
              <p:cNvSpPr/>
              <p:nvPr/>
            </p:nvSpPr>
            <p:spPr bwMode="auto">
              <a:xfrm>
                <a:off x="9493068"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0" name="Freeform 999"/>
              <p:cNvSpPr/>
              <p:nvPr/>
            </p:nvSpPr>
            <p:spPr bwMode="auto">
              <a:xfrm>
                <a:off x="6023811" y="3064042"/>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1" name="Freeform 1000"/>
              <p:cNvSpPr/>
              <p:nvPr/>
            </p:nvSpPr>
            <p:spPr bwMode="auto">
              <a:xfrm>
                <a:off x="8857759" y="2942649"/>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2" name="Freeform 1001"/>
              <p:cNvSpPr/>
              <p:nvPr/>
            </p:nvSpPr>
            <p:spPr bwMode="auto">
              <a:xfrm>
                <a:off x="3745051" y="1498174"/>
                <a:ext cx="6253764" cy="1405533"/>
              </a:xfrm>
              <a:custGeom>
                <a:avLst/>
                <a:gdLst>
                  <a:gd name="connsiteX0" fmla="*/ 193076 w 6255901"/>
                  <a:gd name="connsiteY0" fmla="*/ 1164815 h 1405533"/>
                  <a:gd name="connsiteX1" fmla="*/ 393602 w 6255901"/>
                  <a:gd name="connsiteY1" fmla="*/ 1004394 h 1405533"/>
                  <a:gd name="connsiteX2" fmla="*/ 690381 w 6255901"/>
                  <a:gd name="connsiteY2" fmla="*/ 827931 h 1405533"/>
                  <a:gd name="connsiteX3" fmla="*/ 1059350 w 6255901"/>
                  <a:gd name="connsiteY3" fmla="*/ 611363 h 1405533"/>
                  <a:gd name="connsiteX4" fmla="*/ 1468423 w 6255901"/>
                  <a:gd name="connsiteY4" fmla="*/ 378752 h 1405533"/>
                  <a:gd name="connsiteX5" fmla="*/ 1749160 w 6255901"/>
                  <a:gd name="connsiteY5" fmla="*/ 250415 h 1405533"/>
                  <a:gd name="connsiteX6" fmla="*/ 2158234 w 6255901"/>
                  <a:gd name="connsiteY6" fmla="*/ 138121 h 1405533"/>
                  <a:gd name="connsiteX7" fmla="*/ 2799918 w 6255901"/>
                  <a:gd name="connsiteY7" fmla="*/ 33847 h 1405533"/>
                  <a:gd name="connsiteX8" fmla="*/ 3305244 w 6255901"/>
                  <a:gd name="connsiteY8" fmla="*/ 9784 h 1405533"/>
                  <a:gd name="connsiteX9" fmla="*/ 3834634 w 6255901"/>
                  <a:gd name="connsiteY9" fmla="*/ 1763 h 1405533"/>
                  <a:gd name="connsiteX10" fmla="*/ 4508402 w 6255901"/>
                  <a:gd name="connsiteY10" fmla="*/ 41868 h 1405533"/>
                  <a:gd name="connsiteX11" fmla="*/ 5206234 w 6255901"/>
                  <a:gd name="connsiteY11" fmla="*/ 146142 h 1405533"/>
                  <a:gd name="connsiteX12" fmla="*/ 5687497 w 6255901"/>
                  <a:gd name="connsiteY12" fmla="*/ 298542 h 1405533"/>
                  <a:gd name="connsiteX13" fmla="*/ 6088550 w 6255901"/>
                  <a:gd name="connsiteY13" fmla="*/ 475005 h 1405533"/>
                  <a:gd name="connsiteX14" fmla="*/ 6224907 w 6255901"/>
                  <a:gd name="connsiteY14" fmla="*/ 563237 h 1405533"/>
                  <a:gd name="connsiteX15" fmla="*/ 6248971 w 6255901"/>
                  <a:gd name="connsiteY15" fmla="*/ 707615 h 1405533"/>
                  <a:gd name="connsiteX16" fmla="*/ 6128655 w 6255901"/>
                  <a:gd name="connsiteY16" fmla="*/ 1044500 h 1405533"/>
                  <a:gd name="connsiteX17" fmla="*/ 6120634 w 6255901"/>
                  <a:gd name="connsiteY17" fmla="*/ 1100647 h 1405533"/>
                  <a:gd name="connsiteX18" fmla="*/ 6032402 w 6255901"/>
                  <a:gd name="connsiteY18" fmla="*/ 1108668 h 1405533"/>
                  <a:gd name="connsiteX19" fmla="*/ 5326550 w 6255901"/>
                  <a:gd name="connsiteY19" fmla="*/ 1148773 h 1405533"/>
                  <a:gd name="connsiteX20" fmla="*/ 3979013 w 6255901"/>
                  <a:gd name="connsiteY20" fmla="*/ 1196900 h 1405533"/>
                  <a:gd name="connsiteX21" fmla="*/ 3192950 w 6255901"/>
                  <a:gd name="connsiteY21" fmla="*/ 1237005 h 1405533"/>
                  <a:gd name="connsiteX22" fmla="*/ 2053960 w 6255901"/>
                  <a:gd name="connsiteY22" fmla="*/ 1285131 h 1405533"/>
                  <a:gd name="connsiteX23" fmla="*/ 1059350 w 6255901"/>
                  <a:gd name="connsiteY23" fmla="*/ 1341279 h 1405533"/>
                  <a:gd name="connsiteX24" fmla="*/ 489855 w 6255901"/>
                  <a:gd name="connsiteY24" fmla="*/ 1373363 h 1405533"/>
                  <a:gd name="connsiteX25" fmla="*/ 120886 w 6255901"/>
                  <a:gd name="connsiteY25" fmla="*/ 1397426 h 1405533"/>
                  <a:gd name="connsiteX26" fmla="*/ 571 w 6255901"/>
                  <a:gd name="connsiteY26" fmla="*/ 1397426 h 1405533"/>
                  <a:gd name="connsiteX27" fmla="*/ 80781 w 6255901"/>
                  <a:gd name="connsiteY27" fmla="*/ 1301173 h 1405533"/>
                  <a:gd name="connsiteX28" fmla="*/ 193076 w 6255901"/>
                  <a:gd name="connsiteY28" fmla="*/ 1164815 h 1405533"/>
                  <a:gd name="connsiteX0" fmla="*/ 193286 w 6256111"/>
                  <a:gd name="connsiteY0" fmla="*/ 1164815 h 1405533"/>
                  <a:gd name="connsiteX1" fmla="*/ 393812 w 6256111"/>
                  <a:gd name="connsiteY1" fmla="*/ 1004394 h 1405533"/>
                  <a:gd name="connsiteX2" fmla="*/ 690591 w 6256111"/>
                  <a:gd name="connsiteY2" fmla="*/ 827931 h 1405533"/>
                  <a:gd name="connsiteX3" fmla="*/ 1059560 w 6256111"/>
                  <a:gd name="connsiteY3" fmla="*/ 611363 h 1405533"/>
                  <a:gd name="connsiteX4" fmla="*/ 1468633 w 6256111"/>
                  <a:gd name="connsiteY4" fmla="*/ 378752 h 1405533"/>
                  <a:gd name="connsiteX5" fmla="*/ 1749370 w 6256111"/>
                  <a:gd name="connsiteY5" fmla="*/ 250415 h 1405533"/>
                  <a:gd name="connsiteX6" fmla="*/ 2158444 w 6256111"/>
                  <a:gd name="connsiteY6" fmla="*/ 138121 h 1405533"/>
                  <a:gd name="connsiteX7" fmla="*/ 2800128 w 6256111"/>
                  <a:gd name="connsiteY7" fmla="*/ 33847 h 1405533"/>
                  <a:gd name="connsiteX8" fmla="*/ 3305454 w 6256111"/>
                  <a:gd name="connsiteY8" fmla="*/ 9784 h 1405533"/>
                  <a:gd name="connsiteX9" fmla="*/ 3834844 w 6256111"/>
                  <a:gd name="connsiteY9" fmla="*/ 1763 h 1405533"/>
                  <a:gd name="connsiteX10" fmla="*/ 4508612 w 6256111"/>
                  <a:gd name="connsiteY10" fmla="*/ 41868 h 1405533"/>
                  <a:gd name="connsiteX11" fmla="*/ 5206444 w 6256111"/>
                  <a:gd name="connsiteY11" fmla="*/ 146142 h 1405533"/>
                  <a:gd name="connsiteX12" fmla="*/ 5687707 w 6256111"/>
                  <a:gd name="connsiteY12" fmla="*/ 298542 h 1405533"/>
                  <a:gd name="connsiteX13" fmla="*/ 6088760 w 6256111"/>
                  <a:gd name="connsiteY13" fmla="*/ 475005 h 1405533"/>
                  <a:gd name="connsiteX14" fmla="*/ 6225117 w 6256111"/>
                  <a:gd name="connsiteY14" fmla="*/ 563237 h 1405533"/>
                  <a:gd name="connsiteX15" fmla="*/ 6249181 w 6256111"/>
                  <a:gd name="connsiteY15" fmla="*/ 707615 h 1405533"/>
                  <a:gd name="connsiteX16" fmla="*/ 6128865 w 6256111"/>
                  <a:gd name="connsiteY16" fmla="*/ 1044500 h 1405533"/>
                  <a:gd name="connsiteX17" fmla="*/ 6120844 w 6256111"/>
                  <a:gd name="connsiteY17" fmla="*/ 1100647 h 1405533"/>
                  <a:gd name="connsiteX18" fmla="*/ 6032612 w 6256111"/>
                  <a:gd name="connsiteY18" fmla="*/ 1108668 h 1405533"/>
                  <a:gd name="connsiteX19" fmla="*/ 5326760 w 6256111"/>
                  <a:gd name="connsiteY19" fmla="*/ 1148773 h 1405533"/>
                  <a:gd name="connsiteX20" fmla="*/ 3979223 w 6256111"/>
                  <a:gd name="connsiteY20" fmla="*/ 1196900 h 1405533"/>
                  <a:gd name="connsiteX21" fmla="*/ 3193160 w 6256111"/>
                  <a:gd name="connsiteY21" fmla="*/ 1237005 h 1405533"/>
                  <a:gd name="connsiteX22" fmla="*/ 2054170 w 6256111"/>
                  <a:gd name="connsiteY22" fmla="*/ 1285131 h 1405533"/>
                  <a:gd name="connsiteX23" fmla="*/ 1059560 w 6256111"/>
                  <a:gd name="connsiteY23" fmla="*/ 1341279 h 1405533"/>
                  <a:gd name="connsiteX24" fmla="*/ 490065 w 6256111"/>
                  <a:gd name="connsiteY24" fmla="*/ 1373363 h 1405533"/>
                  <a:gd name="connsiteX25" fmla="*/ 121096 w 6256111"/>
                  <a:gd name="connsiteY25" fmla="*/ 1397426 h 1405533"/>
                  <a:gd name="connsiteX26" fmla="*/ 781 w 6256111"/>
                  <a:gd name="connsiteY26" fmla="*/ 1397426 h 1405533"/>
                  <a:gd name="connsiteX27" fmla="*/ 64949 w 6256111"/>
                  <a:gd name="connsiteY27" fmla="*/ 1277110 h 1405533"/>
                  <a:gd name="connsiteX28" fmla="*/ 193286 w 6256111"/>
                  <a:gd name="connsiteY28" fmla="*/ 1164815 h 1405533"/>
                  <a:gd name="connsiteX0" fmla="*/ 193286 w 6253764"/>
                  <a:gd name="connsiteY0" fmla="*/ 1164815 h 1405533"/>
                  <a:gd name="connsiteX1" fmla="*/ 393812 w 6253764"/>
                  <a:gd name="connsiteY1" fmla="*/ 1004394 h 1405533"/>
                  <a:gd name="connsiteX2" fmla="*/ 690591 w 6253764"/>
                  <a:gd name="connsiteY2" fmla="*/ 827931 h 1405533"/>
                  <a:gd name="connsiteX3" fmla="*/ 1059560 w 6253764"/>
                  <a:gd name="connsiteY3" fmla="*/ 611363 h 1405533"/>
                  <a:gd name="connsiteX4" fmla="*/ 1468633 w 6253764"/>
                  <a:gd name="connsiteY4" fmla="*/ 378752 h 1405533"/>
                  <a:gd name="connsiteX5" fmla="*/ 1749370 w 6253764"/>
                  <a:gd name="connsiteY5" fmla="*/ 250415 h 1405533"/>
                  <a:gd name="connsiteX6" fmla="*/ 2158444 w 6253764"/>
                  <a:gd name="connsiteY6" fmla="*/ 138121 h 1405533"/>
                  <a:gd name="connsiteX7" fmla="*/ 2800128 w 6253764"/>
                  <a:gd name="connsiteY7" fmla="*/ 33847 h 1405533"/>
                  <a:gd name="connsiteX8" fmla="*/ 3305454 w 6253764"/>
                  <a:gd name="connsiteY8" fmla="*/ 9784 h 1405533"/>
                  <a:gd name="connsiteX9" fmla="*/ 3834844 w 6253764"/>
                  <a:gd name="connsiteY9" fmla="*/ 1763 h 1405533"/>
                  <a:gd name="connsiteX10" fmla="*/ 4508612 w 6253764"/>
                  <a:gd name="connsiteY10" fmla="*/ 41868 h 1405533"/>
                  <a:gd name="connsiteX11" fmla="*/ 5206444 w 6253764"/>
                  <a:gd name="connsiteY11" fmla="*/ 146142 h 1405533"/>
                  <a:gd name="connsiteX12" fmla="*/ 5687707 w 6253764"/>
                  <a:gd name="connsiteY12" fmla="*/ 298542 h 1405533"/>
                  <a:gd name="connsiteX13" fmla="*/ 6088760 w 6253764"/>
                  <a:gd name="connsiteY13" fmla="*/ 475005 h 1405533"/>
                  <a:gd name="connsiteX14" fmla="*/ 6225117 w 6253764"/>
                  <a:gd name="connsiteY14" fmla="*/ 563237 h 1405533"/>
                  <a:gd name="connsiteX15" fmla="*/ 6249181 w 6253764"/>
                  <a:gd name="connsiteY15" fmla="*/ 707615 h 1405533"/>
                  <a:gd name="connsiteX16" fmla="*/ 6160949 w 6253764"/>
                  <a:gd name="connsiteY16" fmla="*/ 1020437 h 1405533"/>
                  <a:gd name="connsiteX17" fmla="*/ 6120844 w 6253764"/>
                  <a:gd name="connsiteY17" fmla="*/ 1100647 h 1405533"/>
                  <a:gd name="connsiteX18" fmla="*/ 6032612 w 6253764"/>
                  <a:gd name="connsiteY18" fmla="*/ 1108668 h 1405533"/>
                  <a:gd name="connsiteX19" fmla="*/ 5326760 w 6253764"/>
                  <a:gd name="connsiteY19" fmla="*/ 1148773 h 1405533"/>
                  <a:gd name="connsiteX20" fmla="*/ 3979223 w 6253764"/>
                  <a:gd name="connsiteY20" fmla="*/ 1196900 h 1405533"/>
                  <a:gd name="connsiteX21" fmla="*/ 3193160 w 6253764"/>
                  <a:gd name="connsiteY21" fmla="*/ 1237005 h 1405533"/>
                  <a:gd name="connsiteX22" fmla="*/ 2054170 w 6253764"/>
                  <a:gd name="connsiteY22" fmla="*/ 1285131 h 1405533"/>
                  <a:gd name="connsiteX23" fmla="*/ 1059560 w 6253764"/>
                  <a:gd name="connsiteY23" fmla="*/ 1341279 h 1405533"/>
                  <a:gd name="connsiteX24" fmla="*/ 490065 w 6253764"/>
                  <a:gd name="connsiteY24" fmla="*/ 1373363 h 1405533"/>
                  <a:gd name="connsiteX25" fmla="*/ 121096 w 6253764"/>
                  <a:gd name="connsiteY25" fmla="*/ 1397426 h 1405533"/>
                  <a:gd name="connsiteX26" fmla="*/ 781 w 6253764"/>
                  <a:gd name="connsiteY26" fmla="*/ 1397426 h 1405533"/>
                  <a:gd name="connsiteX27" fmla="*/ 64949 w 6253764"/>
                  <a:gd name="connsiteY27" fmla="*/ 1277110 h 1405533"/>
                  <a:gd name="connsiteX28" fmla="*/ 193286 w 6253764"/>
                  <a:gd name="connsiteY28" fmla="*/ 1164815 h 140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53764" h="1405533">
                    <a:moveTo>
                      <a:pt x="193286" y="1164815"/>
                    </a:moveTo>
                    <a:cubicBezTo>
                      <a:pt x="248096" y="1119362"/>
                      <a:pt x="310928" y="1060541"/>
                      <a:pt x="393812" y="1004394"/>
                    </a:cubicBezTo>
                    <a:cubicBezTo>
                      <a:pt x="476696" y="948247"/>
                      <a:pt x="690591" y="827931"/>
                      <a:pt x="690591" y="827931"/>
                    </a:cubicBezTo>
                    <a:lnTo>
                      <a:pt x="1059560" y="611363"/>
                    </a:lnTo>
                    <a:cubicBezTo>
                      <a:pt x="1189234" y="536500"/>
                      <a:pt x="1353665" y="438910"/>
                      <a:pt x="1468633" y="378752"/>
                    </a:cubicBezTo>
                    <a:cubicBezTo>
                      <a:pt x="1583601" y="318594"/>
                      <a:pt x="1634402" y="290520"/>
                      <a:pt x="1749370" y="250415"/>
                    </a:cubicBezTo>
                    <a:cubicBezTo>
                      <a:pt x="1864339" y="210310"/>
                      <a:pt x="1983318" y="174216"/>
                      <a:pt x="2158444" y="138121"/>
                    </a:cubicBezTo>
                    <a:cubicBezTo>
                      <a:pt x="2333570" y="102026"/>
                      <a:pt x="2608960" y="55236"/>
                      <a:pt x="2800128" y="33847"/>
                    </a:cubicBezTo>
                    <a:cubicBezTo>
                      <a:pt x="2991296" y="12457"/>
                      <a:pt x="3133001" y="15131"/>
                      <a:pt x="3305454" y="9784"/>
                    </a:cubicBezTo>
                    <a:cubicBezTo>
                      <a:pt x="3477907" y="4437"/>
                      <a:pt x="3634318" y="-3584"/>
                      <a:pt x="3834844" y="1763"/>
                    </a:cubicBezTo>
                    <a:cubicBezTo>
                      <a:pt x="4035370" y="7110"/>
                      <a:pt x="4280012" y="17805"/>
                      <a:pt x="4508612" y="41868"/>
                    </a:cubicBezTo>
                    <a:cubicBezTo>
                      <a:pt x="4737212" y="65931"/>
                      <a:pt x="5009928" y="103363"/>
                      <a:pt x="5206444" y="146142"/>
                    </a:cubicBezTo>
                    <a:cubicBezTo>
                      <a:pt x="5402960" y="188921"/>
                      <a:pt x="5540654" y="243731"/>
                      <a:pt x="5687707" y="298542"/>
                    </a:cubicBezTo>
                    <a:cubicBezTo>
                      <a:pt x="5834760" y="353352"/>
                      <a:pt x="5999192" y="430889"/>
                      <a:pt x="6088760" y="475005"/>
                    </a:cubicBezTo>
                    <a:cubicBezTo>
                      <a:pt x="6178328" y="519121"/>
                      <a:pt x="6198380" y="524469"/>
                      <a:pt x="6225117" y="563237"/>
                    </a:cubicBezTo>
                    <a:cubicBezTo>
                      <a:pt x="6251854" y="602005"/>
                      <a:pt x="6259876" y="631415"/>
                      <a:pt x="6249181" y="707615"/>
                    </a:cubicBezTo>
                    <a:cubicBezTo>
                      <a:pt x="6238486" y="783815"/>
                      <a:pt x="6182338" y="954932"/>
                      <a:pt x="6160949" y="1020437"/>
                    </a:cubicBezTo>
                    <a:cubicBezTo>
                      <a:pt x="6139560" y="1085942"/>
                      <a:pt x="6142234" y="1085942"/>
                      <a:pt x="6120844" y="1100647"/>
                    </a:cubicBezTo>
                    <a:cubicBezTo>
                      <a:pt x="6099455" y="1115352"/>
                      <a:pt x="6032612" y="1108668"/>
                      <a:pt x="6032612" y="1108668"/>
                    </a:cubicBezTo>
                    <a:lnTo>
                      <a:pt x="5326760" y="1148773"/>
                    </a:lnTo>
                    <a:lnTo>
                      <a:pt x="3979223" y="1196900"/>
                    </a:lnTo>
                    <a:lnTo>
                      <a:pt x="3193160" y="1237005"/>
                    </a:lnTo>
                    <a:lnTo>
                      <a:pt x="2054170" y="1285131"/>
                    </a:lnTo>
                    <a:lnTo>
                      <a:pt x="1059560" y="1341279"/>
                    </a:lnTo>
                    <a:lnTo>
                      <a:pt x="490065" y="1373363"/>
                    </a:lnTo>
                    <a:lnTo>
                      <a:pt x="121096" y="1397426"/>
                    </a:lnTo>
                    <a:cubicBezTo>
                      <a:pt x="39549" y="1401437"/>
                      <a:pt x="7465" y="1413468"/>
                      <a:pt x="781" y="1397426"/>
                    </a:cubicBezTo>
                    <a:cubicBezTo>
                      <a:pt x="-5903" y="1381384"/>
                      <a:pt x="31528" y="1313205"/>
                      <a:pt x="64949" y="1277110"/>
                    </a:cubicBezTo>
                    <a:cubicBezTo>
                      <a:pt x="98370" y="1241015"/>
                      <a:pt x="138476" y="1210268"/>
                      <a:pt x="193286" y="1164815"/>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3" name="Freeform 1002"/>
              <p:cNvSpPr/>
              <p:nvPr/>
            </p:nvSpPr>
            <p:spPr bwMode="auto">
              <a:xfrm>
                <a:off x="6637401" y="1501234"/>
                <a:ext cx="601973" cy="1247984"/>
              </a:xfrm>
              <a:custGeom>
                <a:avLst/>
                <a:gdLst>
                  <a:gd name="connsiteX0" fmla="*/ 0 w 572756"/>
                  <a:gd name="connsiteY0" fmla="*/ 1175657 h 1175657"/>
                  <a:gd name="connsiteX1" fmla="*/ 502417 w 572756"/>
                  <a:gd name="connsiteY1" fmla="*/ 1145512 h 1175657"/>
                  <a:gd name="connsiteX2" fmla="*/ 572756 w 572756"/>
                  <a:gd name="connsiteY2" fmla="*/ 0 h 1175657"/>
                  <a:gd name="connsiteX3" fmla="*/ 291402 w 572756"/>
                  <a:gd name="connsiteY3" fmla="*/ 0 h 1175657"/>
                  <a:gd name="connsiteX4" fmla="*/ 0 w 572756"/>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56" h="1175657">
                    <a:moveTo>
                      <a:pt x="0" y="1175657"/>
                    </a:moveTo>
                    <a:lnTo>
                      <a:pt x="502417" y="1145512"/>
                    </a:lnTo>
                    <a:lnTo>
                      <a:pt x="572756" y="0"/>
                    </a:lnTo>
                    <a:lnTo>
                      <a:pt x="291402" y="0"/>
                    </a:lnTo>
                    <a:lnTo>
                      <a:pt x="0" y="1175657"/>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4" name="Freeform 1003"/>
              <p:cNvSpPr/>
              <p:nvPr/>
            </p:nvSpPr>
            <p:spPr bwMode="auto">
              <a:xfrm>
                <a:off x="11132993" y="3577312"/>
                <a:ext cx="1588934" cy="1341534"/>
              </a:xfrm>
              <a:custGeom>
                <a:avLst/>
                <a:gdLst>
                  <a:gd name="connsiteX0" fmla="*/ 64396 w 1588934"/>
                  <a:gd name="connsiteY0" fmla="*/ 1339593 h 1341534"/>
                  <a:gd name="connsiteX1" fmla="*/ 208775 w 1588934"/>
                  <a:gd name="connsiteY1" fmla="*/ 1307509 h 1341534"/>
                  <a:gd name="connsiteX2" fmla="*/ 329091 w 1588934"/>
                  <a:gd name="connsiteY2" fmla="*/ 1251362 h 1341534"/>
                  <a:gd name="connsiteX3" fmla="*/ 561702 w 1588934"/>
                  <a:gd name="connsiteY3" fmla="*/ 1179172 h 1341534"/>
                  <a:gd name="connsiteX4" fmla="*/ 890565 w 1588934"/>
                  <a:gd name="connsiteY4" fmla="*/ 1131046 h 1341534"/>
                  <a:gd name="connsiteX5" fmla="*/ 1123175 w 1588934"/>
                  <a:gd name="connsiteY5" fmla="*/ 1098962 h 1341534"/>
                  <a:gd name="connsiteX6" fmla="*/ 1355786 w 1588934"/>
                  <a:gd name="connsiteY6" fmla="*/ 1058856 h 1341534"/>
                  <a:gd name="connsiteX7" fmla="*/ 1419954 w 1588934"/>
                  <a:gd name="connsiteY7" fmla="*/ 1010730 h 1341534"/>
                  <a:gd name="connsiteX8" fmla="*/ 1444018 w 1588934"/>
                  <a:gd name="connsiteY8" fmla="*/ 946562 h 1341534"/>
                  <a:gd name="connsiteX9" fmla="*/ 1484123 w 1588934"/>
                  <a:gd name="connsiteY9" fmla="*/ 930520 h 1341534"/>
                  <a:gd name="connsiteX10" fmla="*/ 1508186 w 1588934"/>
                  <a:gd name="connsiteY10" fmla="*/ 818225 h 1341534"/>
                  <a:gd name="connsiteX11" fmla="*/ 1564333 w 1588934"/>
                  <a:gd name="connsiteY11" fmla="*/ 697909 h 1341534"/>
                  <a:gd name="connsiteX12" fmla="*/ 1588396 w 1588934"/>
                  <a:gd name="connsiteY12" fmla="*/ 401130 h 1341534"/>
                  <a:gd name="connsiteX13" fmla="*/ 1580375 w 1588934"/>
                  <a:gd name="connsiteY13" fmla="*/ 56225 h 1341534"/>
                  <a:gd name="connsiteX14" fmla="*/ 1572354 w 1588934"/>
                  <a:gd name="connsiteY14" fmla="*/ 77 h 1341534"/>
                  <a:gd name="connsiteX15" fmla="*/ 1532249 w 1588934"/>
                  <a:gd name="connsiteY15" fmla="*/ 48204 h 1341534"/>
                  <a:gd name="connsiteX16" fmla="*/ 1395891 w 1588934"/>
                  <a:gd name="connsiteY16" fmla="*/ 72267 h 1341534"/>
                  <a:gd name="connsiteX17" fmla="*/ 1099112 w 1588934"/>
                  <a:gd name="connsiteY17" fmla="*/ 96330 h 1341534"/>
                  <a:gd name="connsiteX18" fmla="*/ 770249 w 1588934"/>
                  <a:gd name="connsiteY18" fmla="*/ 104351 h 1341534"/>
                  <a:gd name="connsiteX19" fmla="*/ 553681 w 1588934"/>
                  <a:gd name="connsiteY19" fmla="*/ 120393 h 1341534"/>
                  <a:gd name="connsiteX20" fmla="*/ 409302 w 1588934"/>
                  <a:gd name="connsiteY20" fmla="*/ 144456 h 1341534"/>
                  <a:gd name="connsiteX21" fmla="*/ 369196 w 1588934"/>
                  <a:gd name="connsiteY21" fmla="*/ 224667 h 1341534"/>
                  <a:gd name="connsiteX22" fmla="*/ 353154 w 1588934"/>
                  <a:gd name="connsiteY22" fmla="*/ 296856 h 1341534"/>
                  <a:gd name="connsiteX23" fmla="*/ 345133 w 1588934"/>
                  <a:gd name="connsiteY23" fmla="*/ 361025 h 1341534"/>
                  <a:gd name="connsiteX24" fmla="*/ 224818 w 1588934"/>
                  <a:gd name="connsiteY24" fmla="*/ 401130 h 1341534"/>
                  <a:gd name="connsiteX25" fmla="*/ 136586 w 1588934"/>
                  <a:gd name="connsiteY25" fmla="*/ 409151 h 1341534"/>
                  <a:gd name="connsiteX26" fmla="*/ 48354 w 1588934"/>
                  <a:gd name="connsiteY26" fmla="*/ 457277 h 1341534"/>
                  <a:gd name="connsiteX27" fmla="*/ 228 w 1588934"/>
                  <a:gd name="connsiteY27" fmla="*/ 529467 h 1341534"/>
                  <a:gd name="connsiteX28" fmla="*/ 32312 w 1588934"/>
                  <a:gd name="connsiteY28" fmla="*/ 569572 h 1341534"/>
                  <a:gd name="connsiteX29" fmla="*/ 80439 w 1588934"/>
                  <a:gd name="connsiteY29" fmla="*/ 786141 h 1341534"/>
                  <a:gd name="connsiteX30" fmla="*/ 96481 w 1588934"/>
                  <a:gd name="connsiteY30" fmla="*/ 1090941 h 1341534"/>
                  <a:gd name="connsiteX31" fmla="*/ 80439 w 1588934"/>
                  <a:gd name="connsiteY31" fmla="*/ 1251362 h 1341534"/>
                  <a:gd name="connsiteX32" fmla="*/ 64396 w 1588934"/>
                  <a:gd name="connsiteY32" fmla="*/ 1339593 h 13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8934" h="1341534">
                    <a:moveTo>
                      <a:pt x="64396" y="1339593"/>
                    </a:moveTo>
                    <a:cubicBezTo>
                      <a:pt x="85785" y="1348951"/>
                      <a:pt x="164659" y="1322214"/>
                      <a:pt x="208775" y="1307509"/>
                    </a:cubicBezTo>
                    <a:cubicBezTo>
                      <a:pt x="252891" y="1292804"/>
                      <a:pt x="270270" y="1272751"/>
                      <a:pt x="329091" y="1251362"/>
                    </a:cubicBezTo>
                    <a:cubicBezTo>
                      <a:pt x="387912" y="1229973"/>
                      <a:pt x="468123" y="1199225"/>
                      <a:pt x="561702" y="1179172"/>
                    </a:cubicBezTo>
                    <a:cubicBezTo>
                      <a:pt x="655281" y="1159119"/>
                      <a:pt x="890565" y="1131046"/>
                      <a:pt x="890565" y="1131046"/>
                    </a:cubicBezTo>
                    <a:lnTo>
                      <a:pt x="1123175" y="1098962"/>
                    </a:lnTo>
                    <a:cubicBezTo>
                      <a:pt x="1200712" y="1086930"/>
                      <a:pt x="1306323" y="1073561"/>
                      <a:pt x="1355786" y="1058856"/>
                    </a:cubicBezTo>
                    <a:cubicBezTo>
                      <a:pt x="1405249" y="1044151"/>
                      <a:pt x="1405249" y="1029446"/>
                      <a:pt x="1419954" y="1010730"/>
                    </a:cubicBezTo>
                    <a:cubicBezTo>
                      <a:pt x="1434659" y="992014"/>
                      <a:pt x="1433323" y="959930"/>
                      <a:pt x="1444018" y="946562"/>
                    </a:cubicBezTo>
                    <a:cubicBezTo>
                      <a:pt x="1454713" y="933194"/>
                      <a:pt x="1473428" y="951909"/>
                      <a:pt x="1484123" y="930520"/>
                    </a:cubicBezTo>
                    <a:cubicBezTo>
                      <a:pt x="1494818" y="909131"/>
                      <a:pt x="1494818" y="856993"/>
                      <a:pt x="1508186" y="818225"/>
                    </a:cubicBezTo>
                    <a:cubicBezTo>
                      <a:pt x="1521554" y="779457"/>
                      <a:pt x="1550965" y="767425"/>
                      <a:pt x="1564333" y="697909"/>
                    </a:cubicBezTo>
                    <a:cubicBezTo>
                      <a:pt x="1577701" y="628393"/>
                      <a:pt x="1585722" y="508077"/>
                      <a:pt x="1588396" y="401130"/>
                    </a:cubicBezTo>
                    <a:cubicBezTo>
                      <a:pt x="1591070" y="294183"/>
                      <a:pt x="1583049" y="123067"/>
                      <a:pt x="1580375" y="56225"/>
                    </a:cubicBezTo>
                    <a:cubicBezTo>
                      <a:pt x="1577701" y="-10617"/>
                      <a:pt x="1580375" y="1414"/>
                      <a:pt x="1572354" y="77"/>
                    </a:cubicBezTo>
                    <a:cubicBezTo>
                      <a:pt x="1564333" y="-1260"/>
                      <a:pt x="1561660" y="36172"/>
                      <a:pt x="1532249" y="48204"/>
                    </a:cubicBezTo>
                    <a:cubicBezTo>
                      <a:pt x="1502839" y="60236"/>
                      <a:pt x="1468080" y="64246"/>
                      <a:pt x="1395891" y="72267"/>
                    </a:cubicBezTo>
                    <a:cubicBezTo>
                      <a:pt x="1323702" y="80288"/>
                      <a:pt x="1203386" y="90983"/>
                      <a:pt x="1099112" y="96330"/>
                    </a:cubicBezTo>
                    <a:cubicBezTo>
                      <a:pt x="994838" y="101677"/>
                      <a:pt x="861154" y="100340"/>
                      <a:pt x="770249" y="104351"/>
                    </a:cubicBezTo>
                    <a:cubicBezTo>
                      <a:pt x="679344" y="108361"/>
                      <a:pt x="613839" y="113709"/>
                      <a:pt x="553681" y="120393"/>
                    </a:cubicBezTo>
                    <a:cubicBezTo>
                      <a:pt x="493523" y="127077"/>
                      <a:pt x="440050" y="127077"/>
                      <a:pt x="409302" y="144456"/>
                    </a:cubicBezTo>
                    <a:cubicBezTo>
                      <a:pt x="378555" y="161835"/>
                      <a:pt x="378554" y="199267"/>
                      <a:pt x="369196" y="224667"/>
                    </a:cubicBezTo>
                    <a:cubicBezTo>
                      <a:pt x="359838" y="250067"/>
                      <a:pt x="357164" y="274130"/>
                      <a:pt x="353154" y="296856"/>
                    </a:cubicBezTo>
                    <a:cubicBezTo>
                      <a:pt x="349144" y="319582"/>
                      <a:pt x="366522" y="343646"/>
                      <a:pt x="345133" y="361025"/>
                    </a:cubicBezTo>
                    <a:cubicBezTo>
                      <a:pt x="323744" y="378404"/>
                      <a:pt x="259576" y="393109"/>
                      <a:pt x="224818" y="401130"/>
                    </a:cubicBezTo>
                    <a:cubicBezTo>
                      <a:pt x="190060" y="409151"/>
                      <a:pt x="165997" y="399793"/>
                      <a:pt x="136586" y="409151"/>
                    </a:cubicBezTo>
                    <a:cubicBezTo>
                      <a:pt x="107175" y="418509"/>
                      <a:pt x="71080" y="437224"/>
                      <a:pt x="48354" y="457277"/>
                    </a:cubicBezTo>
                    <a:cubicBezTo>
                      <a:pt x="25628" y="477330"/>
                      <a:pt x="2902" y="510751"/>
                      <a:pt x="228" y="529467"/>
                    </a:cubicBezTo>
                    <a:cubicBezTo>
                      <a:pt x="-2446" y="548183"/>
                      <a:pt x="18944" y="526793"/>
                      <a:pt x="32312" y="569572"/>
                    </a:cubicBezTo>
                    <a:cubicBezTo>
                      <a:pt x="45680" y="612351"/>
                      <a:pt x="69744" y="699246"/>
                      <a:pt x="80439" y="786141"/>
                    </a:cubicBezTo>
                    <a:cubicBezTo>
                      <a:pt x="91134" y="873036"/>
                      <a:pt x="96481" y="1013404"/>
                      <a:pt x="96481" y="1090941"/>
                    </a:cubicBezTo>
                    <a:cubicBezTo>
                      <a:pt x="96481" y="1168478"/>
                      <a:pt x="83113" y="1211257"/>
                      <a:pt x="80439" y="1251362"/>
                    </a:cubicBezTo>
                    <a:cubicBezTo>
                      <a:pt x="77765" y="1291467"/>
                      <a:pt x="43007" y="1330235"/>
                      <a:pt x="64396" y="1339593"/>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5" name="Freeform 1004"/>
              <p:cNvSpPr/>
              <p:nvPr/>
            </p:nvSpPr>
            <p:spPr bwMode="auto">
              <a:xfrm>
                <a:off x="3304674" y="3416969"/>
                <a:ext cx="6023811" cy="1668380"/>
              </a:xfrm>
              <a:custGeom>
                <a:avLst/>
                <a:gdLst>
                  <a:gd name="connsiteX0" fmla="*/ 914400 w 6023810"/>
                  <a:gd name="connsiteY0" fmla="*/ 1588169 h 1668379"/>
                  <a:gd name="connsiteX1" fmla="*/ 3248526 w 6023810"/>
                  <a:gd name="connsiteY1" fmla="*/ 1604211 h 1668379"/>
                  <a:gd name="connsiteX2" fmla="*/ 5069305 w 6023810"/>
                  <a:gd name="connsiteY2" fmla="*/ 1612232 h 1668379"/>
                  <a:gd name="connsiteX3" fmla="*/ 5670884 w 6023810"/>
                  <a:gd name="connsiteY3" fmla="*/ 1620253 h 1668379"/>
                  <a:gd name="connsiteX4" fmla="*/ 5719010 w 6023810"/>
                  <a:gd name="connsiteY4" fmla="*/ 1620253 h 1668379"/>
                  <a:gd name="connsiteX5" fmla="*/ 5719010 w 6023810"/>
                  <a:gd name="connsiteY5" fmla="*/ 1499937 h 1668379"/>
                  <a:gd name="connsiteX6" fmla="*/ 5719010 w 6023810"/>
                  <a:gd name="connsiteY6" fmla="*/ 1307432 h 1668379"/>
                  <a:gd name="connsiteX7" fmla="*/ 5759115 w 6023810"/>
                  <a:gd name="connsiteY7" fmla="*/ 1034716 h 1668379"/>
                  <a:gd name="connsiteX8" fmla="*/ 5839326 w 6023810"/>
                  <a:gd name="connsiteY8" fmla="*/ 770021 h 1668379"/>
                  <a:gd name="connsiteX9" fmla="*/ 5919537 w 6023810"/>
                  <a:gd name="connsiteY9" fmla="*/ 609600 h 1668379"/>
                  <a:gd name="connsiteX10" fmla="*/ 6023810 w 6023810"/>
                  <a:gd name="connsiteY10" fmla="*/ 473243 h 1668379"/>
                  <a:gd name="connsiteX11" fmla="*/ 5895473 w 6023810"/>
                  <a:gd name="connsiteY11" fmla="*/ 481264 h 1668379"/>
                  <a:gd name="connsiteX12" fmla="*/ 5791200 w 6023810"/>
                  <a:gd name="connsiteY12" fmla="*/ 473243 h 1668379"/>
                  <a:gd name="connsiteX13" fmla="*/ 5686926 w 6023810"/>
                  <a:gd name="connsiteY13" fmla="*/ 425116 h 1668379"/>
                  <a:gd name="connsiteX14" fmla="*/ 5614737 w 6023810"/>
                  <a:gd name="connsiteY14" fmla="*/ 409074 h 1668379"/>
                  <a:gd name="connsiteX15" fmla="*/ 5566610 w 6023810"/>
                  <a:gd name="connsiteY15" fmla="*/ 457200 h 1668379"/>
                  <a:gd name="connsiteX16" fmla="*/ 5542547 w 6023810"/>
                  <a:gd name="connsiteY16" fmla="*/ 425116 h 1668379"/>
                  <a:gd name="connsiteX17" fmla="*/ 5542547 w 6023810"/>
                  <a:gd name="connsiteY17" fmla="*/ 144379 h 1668379"/>
                  <a:gd name="connsiteX18" fmla="*/ 5534526 w 6023810"/>
                  <a:gd name="connsiteY18" fmla="*/ 16043 h 1668379"/>
                  <a:gd name="connsiteX19" fmla="*/ 5430252 w 6023810"/>
                  <a:gd name="connsiteY19" fmla="*/ 0 h 1668379"/>
                  <a:gd name="connsiteX20" fmla="*/ 4267200 w 6023810"/>
                  <a:gd name="connsiteY20" fmla="*/ 40106 h 1668379"/>
                  <a:gd name="connsiteX21" fmla="*/ 2069431 w 6023810"/>
                  <a:gd name="connsiteY21" fmla="*/ 112295 h 1668379"/>
                  <a:gd name="connsiteX22" fmla="*/ 497305 w 6023810"/>
                  <a:gd name="connsiteY22" fmla="*/ 168443 h 1668379"/>
                  <a:gd name="connsiteX23" fmla="*/ 328863 w 6023810"/>
                  <a:gd name="connsiteY23" fmla="*/ 168443 h 1668379"/>
                  <a:gd name="connsiteX24" fmla="*/ 328863 w 6023810"/>
                  <a:gd name="connsiteY24" fmla="*/ 168443 h 1668379"/>
                  <a:gd name="connsiteX25" fmla="*/ 304800 w 6023810"/>
                  <a:gd name="connsiteY25" fmla="*/ 280737 h 1668379"/>
                  <a:gd name="connsiteX26" fmla="*/ 320842 w 6023810"/>
                  <a:gd name="connsiteY26" fmla="*/ 425116 h 1668379"/>
                  <a:gd name="connsiteX27" fmla="*/ 256673 w 6023810"/>
                  <a:gd name="connsiteY27" fmla="*/ 553453 h 1668379"/>
                  <a:gd name="connsiteX28" fmla="*/ 104273 w 6023810"/>
                  <a:gd name="connsiteY28" fmla="*/ 665748 h 1668379"/>
                  <a:gd name="connsiteX29" fmla="*/ 0 w 6023810"/>
                  <a:gd name="connsiteY29" fmla="*/ 729916 h 1668379"/>
                  <a:gd name="connsiteX30" fmla="*/ 24063 w 6023810"/>
                  <a:gd name="connsiteY30" fmla="*/ 802106 h 1668379"/>
                  <a:gd name="connsiteX31" fmla="*/ 72189 w 6023810"/>
                  <a:gd name="connsiteY31" fmla="*/ 1147011 h 1668379"/>
                  <a:gd name="connsiteX32" fmla="*/ 88231 w 6023810"/>
                  <a:gd name="connsiteY32" fmla="*/ 1347537 h 1668379"/>
                  <a:gd name="connsiteX33" fmla="*/ 80210 w 6023810"/>
                  <a:gd name="connsiteY33" fmla="*/ 1499937 h 1668379"/>
                  <a:gd name="connsiteX34" fmla="*/ 80210 w 6023810"/>
                  <a:gd name="connsiteY34" fmla="*/ 1628274 h 1668379"/>
                  <a:gd name="connsiteX35" fmla="*/ 80210 w 6023810"/>
                  <a:gd name="connsiteY35" fmla="*/ 1668379 h 1668379"/>
                  <a:gd name="connsiteX36" fmla="*/ 248652 w 6023810"/>
                  <a:gd name="connsiteY36" fmla="*/ 1620253 h 1668379"/>
                  <a:gd name="connsiteX37" fmla="*/ 441158 w 6023810"/>
                  <a:gd name="connsiteY37" fmla="*/ 1604211 h 1668379"/>
                  <a:gd name="connsiteX38" fmla="*/ 673768 w 6023810"/>
                  <a:gd name="connsiteY38" fmla="*/ 1588169 h 1668379"/>
                  <a:gd name="connsiteX39" fmla="*/ 914400 w 6023810"/>
                  <a:gd name="connsiteY39" fmla="*/ 1588169 h 166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23810" h="1668379">
                    <a:moveTo>
                      <a:pt x="914400" y="1588169"/>
                    </a:moveTo>
                    <a:lnTo>
                      <a:pt x="3248526" y="1604211"/>
                    </a:lnTo>
                    <a:lnTo>
                      <a:pt x="5069305" y="1612232"/>
                    </a:lnTo>
                    <a:lnTo>
                      <a:pt x="5670884" y="1620253"/>
                    </a:lnTo>
                    <a:lnTo>
                      <a:pt x="5719010" y="1620253"/>
                    </a:lnTo>
                    <a:lnTo>
                      <a:pt x="5719010" y="1499937"/>
                    </a:lnTo>
                    <a:lnTo>
                      <a:pt x="5719010" y="1307432"/>
                    </a:lnTo>
                    <a:lnTo>
                      <a:pt x="5759115" y="1034716"/>
                    </a:lnTo>
                    <a:lnTo>
                      <a:pt x="5839326" y="770021"/>
                    </a:lnTo>
                    <a:lnTo>
                      <a:pt x="5919537" y="609600"/>
                    </a:lnTo>
                    <a:lnTo>
                      <a:pt x="6023810" y="473243"/>
                    </a:lnTo>
                    <a:lnTo>
                      <a:pt x="5895473" y="481264"/>
                    </a:lnTo>
                    <a:lnTo>
                      <a:pt x="5791200" y="473243"/>
                    </a:lnTo>
                    <a:lnTo>
                      <a:pt x="5686926" y="425116"/>
                    </a:lnTo>
                    <a:lnTo>
                      <a:pt x="5614737" y="409074"/>
                    </a:lnTo>
                    <a:lnTo>
                      <a:pt x="5566610" y="457200"/>
                    </a:lnTo>
                    <a:lnTo>
                      <a:pt x="5542547" y="425116"/>
                    </a:lnTo>
                    <a:lnTo>
                      <a:pt x="5542547" y="144379"/>
                    </a:lnTo>
                    <a:lnTo>
                      <a:pt x="5534526" y="16043"/>
                    </a:lnTo>
                    <a:lnTo>
                      <a:pt x="5430252" y="0"/>
                    </a:lnTo>
                    <a:lnTo>
                      <a:pt x="4267200" y="40106"/>
                    </a:lnTo>
                    <a:lnTo>
                      <a:pt x="2069431" y="112295"/>
                    </a:lnTo>
                    <a:lnTo>
                      <a:pt x="497305" y="168443"/>
                    </a:lnTo>
                    <a:lnTo>
                      <a:pt x="328863" y="168443"/>
                    </a:lnTo>
                    <a:lnTo>
                      <a:pt x="328863" y="168443"/>
                    </a:lnTo>
                    <a:lnTo>
                      <a:pt x="304800" y="280737"/>
                    </a:lnTo>
                    <a:lnTo>
                      <a:pt x="320842" y="425116"/>
                    </a:lnTo>
                    <a:lnTo>
                      <a:pt x="256673" y="553453"/>
                    </a:lnTo>
                    <a:lnTo>
                      <a:pt x="104273" y="665748"/>
                    </a:lnTo>
                    <a:lnTo>
                      <a:pt x="0" y="729916"/>
                    </a:lnTo>
                    <a:lnTo>
                      <a:pt x="24063" y="802106"/>
                    </a:lnTo>
                    <a:lnTo>
                      <a:pt x="72189" y="1147011"/>
                    </a:lnTo>
                    <a:lnTo>
                      <a:pt x="88231" y="1347537"/>
                    </a:lnTo>
                    <a:lnTo>
                      <a:pt x="80210" y="1499937"/>
                    </a:lnTo>
                    <a:lnTo>
                      <a:pt x="80210" y="1628274"/>
                    </a:lnTo>
                    <a:lnTo>
                      <a:pt x="80210" y="1668379"/>
                    </a:lnTo>
                    <a:lnTo>
                      <a:pt x="248652" y="1620253"/>
                    </a:lnTo>
                    <a:lnTo>
                      <a:pt x="441158" y="1604211"/>
                    </a:lnTo>
                    <a:lnTo>
                      <a:pt x="673768" y="1588169"/>
                    </a:lnTo>
                    <a:lnTo>
                      <a:pt x="914400" y="1588169"/>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6" name="Freeform 1005"/>
              <p:cNvSpPr/>
              <p:nvPr/>
            </p:nvSpPr>
            <p:spPr bwMode="auto">
              <a:xfrm>
                <a:off x="11565391" y="2662073"/>
                <a:ext cx="935571" cy="603883"/>
              </a:xfrm>
              <a:custGeom>
                <a:avLst/>
                <a:gdLst>
                  <a:gd name="connsiteX0" fmla="*/ 714841 w 935571"/>
                  <a:gd name="connsiteY0" fmla="*/ 586453 h 603883"/>
                  <a:gd name="connsiteX1" fmla="*/ 923388 w 935571"/>
                  <a:gd name="connsiteY1" fmla="*/ 578432 h 603883"/>
                  <a:gd name="connsiteX2" fmla="*/ 899325 w 935571"/>
                  <a:gd name="connsiteY2" fmla="*/ 498222 h 603883"/>
                  <a:gd name="connsiteX3" fmla="*/ 803072 w 935571"/>
                  <a:gd name="connsiteY3" fmla="*/ 137274 h 603883"/>
                  <a:gd name="connsiteX4" fmla="*/ 746925 w 935571"/>
                  <a:gd name="connsiteY4" fmla="*/ 16959 h 603883"/>
                  <a:gd name="connsiteX5" fmla="*/ 690777 w 935571"/>
                  <a:gd name="connsiteY5" fmla="*/ 916 h 603883"/>
                  <a:gd name="connsiteX6" fmla="*/ 313788 w 935571"/>
                  <a:gd name="connsiteY6" fmla="*/ 8938 h 603883"/>
                  <a:gd name="connsiteX7" fmla="*/ 73156 w 935571"/>
                  <a:gd name="connsiteY7" fmla="*/ 24980 h 603883"/>
                  <a:gd name="connsiteX8" fmla="*/ 49093 w 935571"/>
                  <a:gd name="connsiteY8" fmla="*/ 81127 h 603883"/>
                  <a:gd name="connsiteX9" fmla="*/ 967 w 935571"/>
                  <a:gd name="connsiteY9" fmla="*/ 217485 h 603883"/>
                  <a:gd name="connsiteX10" fmla="*/ 97220 w 935571"/>
                  <a:gd name="connsiteY10" fmla="*/ 281653 h 603883"/>
                  <a:gd name="connsiteX11" fmla="*/ 658693 w 935571"/>
                  <a:gd name="connsiteY11" fmla="*/ 578432 h 603883"/>
                  <a:gd name="connsiteX12" fmla="*/ 714841 w 935571"/>
                  <a:gd name="connsiteY12" fmla="*/ 586453 h 60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571" h="603883">
                    <a:moveTo>
                      <a:pt x="714841" y="586453"/>
                    </a:moveTo>
                    <a:cubicBezTo>
                      <a:pt x="758957" y="586453"/>
                      <a:pt x="892641" y="593137"/>
                      <a:pt x="923388" y="578432"/>
                    </a:cubicBezTo>
                    <a:cubicBezTo>
                      <a:pt x="954135" y="563727"/>
                      <a:pt x="919378" y="571748"/>
                      <a:pt x="899325" y="498222"/>
                    </a:cubicBezTo>
                    <a:cubicBezTo>
                      <a:pt x="879272" y="424696"/>
                      <a:pt x="828472" y="217484"/>
                      <a:pt x="803072" y="137274"/>
                    </a:cubicBezTo>
                    <a:cubicBezTo>
                      <a:pt x="777672" y="57063"/>
                      <a:pt x="765641" y="39685"/>
                      <a:pt x="746925" y="16959"/>
                    </a:cubicBezTo>
                    <a:cubicBezTo>
                      <a:pt x="728209" y="-5767"/>
                      <a:pt x="690777" y="916"/>
                      <a:pt x="690777" y="916"/>
                    </a:cubicBezTo>
                    <a:lnTo>
                      <a:pt x="313788" y="8938"/>
                    </a:lnTo>
                    <a:cubicBezTo>
                      <a:pt x="210851" y="12949"/>
                      <a:pt x="117272" y="12949"/>
                      <a:pt x="73156" y="24980"/>
                    </a:cubicBezTo>
                    <a:cubicBezTo>
                      <a:pt x="29040" y="37011"/>
                      <a:pt x="61124" y="49043"/>
                      <a:pt x="49093" y="81127"/>
                    </a:cubicBezTo>
                    <a:cubicBezTo>
                      <a:pt x="37062" y="113211"/>
                      <a:pt x="-7054" y="184064"/>
                      <a:pt x="967" y="217485"/>
                    </a:cubicBezTo>
                    <a:cubicBezTo>
                      <a:pt x="8988" y="250906"/>
                      <a:pt x="-12401" y="221495"/>
                      <a:pt x="97220" y="281653"/>
                    </a:cubicBezTo>
                    <a:cubicBezTo>
                      <a:pt x="206841" y="341811"/>
                      <a:pt x="549072" y="526295"/>
                      <a:pt x="658693" y="578432"/>
                    </a:cubicBezTo>
                    <a:cubicBezTo>
                      <a:pt x="768314" y="630569"/>
                      <a:pt x="670725" y="586453"/>
                      <a:pt x="714841" y="586453"/>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7" name="Freeform 1006"/>
              <p:cNvSpPr/>
              <p:nvPr/>
            </p:nvSpPr>
            <p:spPr bwMode="auto">
              <a:xfrm>
                <a:off x="-120316" y="3777916"/>
                <a:ext cx="1483895" cy="1275347"/>
              </a:xfrm>
              <a:custGeom>
                <a:avLst/>
                <a:gdLst>
                  <a:gd name="connsiteX0" fmla="*/ 1267327 w 1483895"/>
                  <a:gd name="connsiteY0" fmla="*/ 1147010 h 1275347"/>
                  <a:gd name="connsiteX1" fmla="*/ 1275348 w 1483895"/>
                  <a:gd name="connsiteY1" fmla="*/ 850231 h 1275347"/>
                  <a:gd name="connsiteX2" fmla="*/ 1323474 w 1483895"/>
                  <a:gd name="connsiteY2" fmla="*/ 585537 h 1275347"/>
                  <a:gd name="connsiteX3" fmla="*/ 1387642 w 1483895"/>
                  <a:gd name="connsiteY3" fmla="*/ 409073 h 1275347"/>
                  <a:gd name="connsiteX4" fmla="*/ 1443790 w 1483895"/>
                  <a:gd name="connsiteY4" fmla="*/ 264695 h 1275347"/>
                  <a:gd name="connsiteX5" fmla="*/ 1483895 w 1483895"/>
                  <a:gd name="connsiteY5" fmla="*/ 200526 h 1275347"/>
                  <a:gd name="connsiteX6" fmla="*/ 1411705 w 1483895"/>
                  <a:gd name="connsiteY6" fmla="*/ 192505 h 1275347"/>
                  <a:gd name="connsiteX7" fmla="*/ 1323474 w 1483895"/>
                  <a:gd name="connsiteY7" fmla="*/ 192505 h 1275347"/>
                  <a:gd name="connsiteX8" fmla="*/ 1299411 w 1483895"/>
                  <a:gd name="connsiteY8" fmla="*/ 272716 h 1275347"/>
                  <a:gd name="connsiteX9" fmla="*/ 1259305 w 1483895"/>
                  <a:gd name="connsiteY9" fmla="*/ 240631 h 1275347"/>
                  <a:gd name="connsiteX10" fmla="*/ 1179095 w 1483895"/>
                  <a:gd name="connsiteY10" fmla="*/ 192505 h 1275347"/>
                  <a:gd name="connsiteX11" fmla="*/ 1098884 w 1483895"/>
                  <a:gd name="connsiteY11" fmla="*/ 208547 h 1275347"/>
                  <a:gd name="connsiteX12" fmla="*/ 954505 w 1483895"/>
                  <a:gd name="connsiteY12" fmla="*/ 136358 h 1275347"/>
                  <a:gd name="connsiteX13" fmla="*/ 786063 w 1483895"/>
                  <a:gd name="connsiteY13" fmla="*/ 152400 h 1275347"/>
                  <a:gd name="connsiteX14" fmla="*/ 505327 w 1483895"/>
                  <a:gd name="connsiteY14" fmla="*/ 224589 h 1275347"/>
                  <a:gd name="connsiteX15" fmla="*/ 352927 w 1483895"/>
                  <a:gd name="connsiteY15" fmla="*/ 184484 h 1275347"/>
                  <a:gd name="connsiteX16" fmla="*/ 200527 w 1483895"/>
                  <a:gd name="connsiteY16" fmla="*/ 120316 h 1275347"/>
                  <a:gd name="connsiteX17" fmla="*/ 88232 w 1483895"/>
                  <a:gd name="connsiteY17" fmla="*/ 0 h 1275347"/>
                  <a:gd name="connsiteX18" fmla="*/ 80211 w 1483895"/>
                  <a:gd name="connsiteY18" fmla="*/ 72189 h 1275347"/>
                  <a:gd name="connsiteX19" fmla="*/ 0 w 1483895"/>
                  <a:gd name="connsiteY19" fmla="*/ 393031 h 1275347"/>
                  <a:gd name="connsiteX20" fmla="*/ 0 w 1483895"/>
                  <a:gd name="connsiteY20" fmla="*/ 521368 h 1275347"/>
                  <a:gd name="connsiteX21" fmla="*/ 8021 w 1483895"/>
                  <a:gd name="connsiteY21" fmla="*/ 617621 h 1275347"/>
                  <a:gd name="connsiteX22" fmla="*/ 80211 w 1483895"/>
                  <a:gd name="connsiteY22" fmla="*/ 737937 h 1275347"/>
                  <a:gd name="connsiteX23" fmla="*/ 64169 w 1483895"/>
                  <a:gd name="connsiteY23" fmla="*/ 914400 h 1275347"/>
                  <a:gd name="connsiteX24" fmla="*/ 112295 w 1483895"/>
                  <a:gd name="connsiteY24" fmla="*/ 994610 h 1275347"/>
                  <a:gd name="connsiteX25" fmla="*/ 328863 w 1483895"/>
                  <a:gd name="connsiteY25" fmla="*/ 1122947 h 1275347"/>
                  <a:gd name="connsiteX26" fmla="*/ 585537 w 1483895"/>
                  <a:gd name="connsiteY26" fmla="*/ 1187116 h 1275347"/>
                  <a:gd name="connsiteX27" fmla="*/ 978569 w 1483895"/>
                  <a:gd name="connsiteY27" fmla="*/ 1219200 h 1275347"/>
                  <a:gd name="connsiteX28" fmla="*/ 1147011 w 1483895"/>
                  <a:gd name="connsiteY28" fmla="*/ 1235242 h 1275347"/>
                  <a:gd name="connsiteX29" fmla="*/ 1291390 w 1483895"/>
                  <a:gd name="connsiteY29" fmla="*/ 1275347 h 1275347"/>
                  <a:gd name="connsiteX30" fmla="*/ 1267327 w 1483895"/>
                  <a:gd name="connsiteY30" fmla="*/ 1147010 h 12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83895" h="1275347">
                    <a:moveTo>
                      <a:pt x="1267327" y="1147010"/>
                    </a:moveTo>
                    <a:lnTo>
                      <a:pt x="1275348" y="850231"/>
                    </a:lnTo>
                    <a:lnTo>
                      <a:pt x="1323474" y="585537"/>
                    </a:lnTo>
                    <a:lnTo>
                      <a:pt x="1387642" y="409073"/>
                    </a:lnTo>
                    <a:lnTo>
                      <a:pt x="1443790" y="264695"/>
                    </a:lnTo>
                    <a:lnTo>
                      <a:pt x="1483895" y="200526"/>
                    </a:lnTo>
                    <a:lnTo>
                      <a:pt x="1411705" y="192505"/>
                    </a:lnTo>
                    <a:lnTo>
                      <a:pt x="1323474" y="192505"/>
                    </a:lnTo>
                    <a:lnTo>
                      <a:pt x="1299411" y="272716"/>
                    </a:lnTo>
                    <a:lnTo>
                      <a:pt x="1259305" y="240631"/>
                    </a:lnTo>
                    <a:lnTo>
                      <a:pt x="1179095" y="192505"/>
                    </a:lnTo>
                    <a:lnTo>
                      <a:pt x="1098884" y="208547"/>
                    </a:lnTo>
                    <a:lnTo>
                      <a:pt x="954505" y="136358"/>
                    </a:lnTo>
                    <a:lnTo>
                      <a:pt x="786063" y="152400"/>
                    </a:lnTo>
                    <a:lnTo>
                      <a:pt x="505327" y="224589"/>
                    </a:lnTo>
                    <a:lnTo>
                      <a:pt x="352927" y="184484"/>
                    </a:lnTo>
                    <a:lnTo>
                      <a:pt x="200527" y="120316"/>
                    </a:lnTo>
                    <a:lnTo>
                      <a:pt x="88232" y="0"/>
                    </a:lnTo>
                    <a:lnTo>
                      <a:pt x="80211" y="72189"/>
                    </a:lnTo>
                    <a:lnTo>
                      <a:pt x="0" y="393031"/>
                    </a:lnTo>
                    <a:lnTo>
                      <a:pt x="0" y="521368"/>
                    </a:lnTo>
                    <a:lnTo>
                      <a:pt x="8021" y="617621"/>
                    </a:lnTo>
                    <a:lnTo>
                      <a:pt x="80211" y="737937"/>
                    </a:lnTo>
                    <a:lnTo>
                      <a:pt x="64169" y="914400"/>
                    </a:lnTo>
                    <a:lnTo>
                      <a:pt x="112295" y="994610"/>
                    </a:lnTo>
                    <a:lnTo>
                      <a:pt x="328863" y="1122947"/>
                    </a:lnTo>
                    <a:lnTo>
                      <a:pt x="585537" y="1187116"/>
                    </a:lnTo>
                    <a:lnTo>
                      <a:pt x="978569" y="1219200"/>
                    </a:lnTo>
                    <a:lnTo>
                      <a:pt x="1147011" y="1235242"/>
                    </a:lnTo>
                    <a:lnTo>
                      <a:pt x="1291390" y="1275347"/>
                    </a:lnTo>
                    <a:lnTo>
                      <a:pt x="1267327" y="114701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8" name="Freeform 1007"/>
              <p:cNvSpPr/>
              <p:nvPr/>
            </p:nvSpPr>
            <p:spPr bwMode="auto">
              <a:xfrm>
                <a:off x="10953" y="2973210"/>
                <a:ext cx="1397980" cy="734980"/>
              </a:xfrm>
              <a:custGeom>
                <a:avLst/>
                <a:gdLst>
                  <a:gd name="connsiteX0" fmla="*/ 3426 w 1396318"/>
                  <a:gd name="connsiteY0" fmla="*/ 684390 h 734979"/>
                  <a:gd name="connsiteX1" fmla="*/ 260100 w 1396318"/>
                  <a:gd name="connsiteY1" fmla="*/ 724495 h 734979"/>
                  <a:gd name="connsiteX2" fmla="*/ 813552 w 1396318"/>
                  <a:gd name="connsiteY2" fmla="*/ 515948 h 734979"/>
                  <a:gd name="connsiteX3" fmla="*/ 1350963 w 1396318"/>
                  <a:gd name="connsiteY3" fmla="*/ 58748 h 734979"/>
                  <a:gd name="connsiteX4" fmla="*/ 1350963 w 1396318"/>
                  <a:gd name="connsiteY4" fmla="*/ 2601 h 734979"/>
                  <a:gd name="connsiteX5" fmla="*/ 1214605 w 1396318"/>
                  <a:gd name="connsiteY5" fmla="*/ 26664 h 734979"/>
                  <a:gd name="connsiteX6" fmla="*/ 709279 w 1396318"/>
                  <a:gd name="connsiteY6" fmla="*/ 171043 h 734979"/>
                  <a:gd name="connsiteX7" fmla="*/ 276142 w 1396318"/>
                  <a:gd name="connsiteY7" fmla="*/ 427716 h 734979"/>
                  <a:gd name="connsiteX8" fmla="*/ 163847 w 1396318"/>
                  <a:gd name="connsiteY8" fmla="*/ 427716 h 734979"/>
                  <a:gd name="connsiteX9" fmla="*/ 115721 w 1396318"/>
                  <a:gd name="connsiteY9" fmla="*/ 515948 h 734979"/>
                  <a:gd name="connsiteX10" fmla="*/ 3426 w 1396318"/>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77804 w 1397980"/>
                  <a:gd name="connsiteY7" fmla="*/ 427716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396241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38862 h 734979"/>
                  <a:gd name="connsiteX8" fmla="*/ 165509 w 1397980"/>
                  <a:gd name="connsiteY8" fmla="*/ 396241 h 734979"/>
                  <a:gd name="connsiteX9" fmla="*/ 96399 w 1397980"/>
                  <a:gd name="connsiteY9" fmla="*/ 515948 h 734979"/>
                  <a:gd name="connsiteX10" fmla="*/ 5088 w 1397980"/>
                  <a:gd name="connsiteY10" fmla="*/ 684390 h 73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7980" h="734979">
                    <a:moveTo>
                      <a:pt x="5088" y="684390"/>
                    </a:moveTo>
                    <a:cubicBezTo>
                      <a:pt x="32649" y="719148"/>
                      <a:pt x="126741" y="752569"/>
                      <a:pt x="261762" y="724495"/>
                    </a:cubicBezTo>
                    <a:cubicBezTo>
                      <a:pt x="396783" y="696421"/>
                      <a:pt x="633404" y="626906"/>
                      <a:pt x="815214" y="515948"/>
                    </a:cubicBezTo>
                    <a:cubicBezTo>
                      <a:pt x="997024" y="404990"/>
                      <a:pt x="1263057" y="144306"/>
                      <a:pt x="1352625" y="58748"/>
                    </a:cubicBezTo>
                    <a:cubicBezTo>
                      <a:pt x="1442193" y="-26810"/>
                      <a:pt x="1375351" y="7948"/>
                      <a:pt x="1352625" y="2601"/>
                    </a:cubicBezTo>
                    <a:cubicBezTo>
                      <a:pt x="1329899" y="-2746"/>
                      <a:pt x="1330209" y="7334"/>
                      <a:pt x="1216267" y="26664"/>
                    </a:cubicBezTo>
                    <a:cubicBezTo>
                      <a:pt x="1102325" y="45994"/>
                      <a:pt x="823635" y="83217"/>
                      <a:pt x="668973" y="118583"/>
                    </a:cubicBezTo>
                    <a:cubicBezTo>
                      <a:pt x="514311" y="153949"/>
                      <a:pt x="372207" y="192586"/>
                      <a:pt x="288296" y="238862"/>
                    </a:cubicBezTo>
                    <a:cubicBezTo>
                      <a:pt x="204385" y="285138"/>
                      <a:pt x="192246" y="381536"/>
                      <a:pt x="165509" y="396241"/>
                    </a:cubicBezTo>
                    <a:cubicBezTo>
                      <a:pt x="138772" y="410946"/>
                      <a:pt x="123136" y="467923"/>
                      <a:pt x="96399" y="515948"/>
                    </a:cubicBezTo>
                    <a:cubicBezTo>
                      <a:pt x="69662" y="563973"/>
                      <a:pt x="-22473" y="649632"/>
                      <a:pt x="5088" y="684390"/>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994" name="Freeform 993"/>
            <p:cNvSpPr/>
            <p:nvPr/>
          </p:nvSpPr>
          <p:spPr bwMode="auto">
            <a:xfrm rot="271620">
              <a:off x="3993004" y="3376093"/>
              <a:ext cx="521758" cy="457462"/>
            </a:xfrm>
            <a:custGeom>
              <a:avLst/>
              <a:gdLst>
                <a:gd name="connsiteX0" fmla="*/ 49366 w 521758"/>
                <a:gd name="connsiteY0" fmla="*/ 361980 h 459200"/>
                <a:gd name="connsiteX1" fmla="*/ 169682 w 521758"/>
                <a:gd name="connsiteY1" fmla="*/ 442191 h 459200"/>
                <a:gd name="connsiteX2" fmla="*/ 410314 w 521758"/>
                <a:gd name="connsiteY2" fmla="*/ 458233 h 459200"/>
                <a:gd name="connsiteX3" fmla="*/ 498545 w 521758"/>
                <a:gd name="connsiteY3" fmla="*/ 434170 h 459200"/>
                <a:gd name="connsiteX4" fmla="*/ 514587 w 521758"/>
                <a:gd name="connsiteY4" fmla="*/ 249686 h 459200"/>
                <a:gd name="connsiteX5" fmla="*/ 514587 w 521758"/>
                <a:gd name="connsiteY5" fmla="*/ 105307 h 459200"/>
                <a:gd name="connsiteX6" fmla="*/ 426356 w 521758"/>
                <a:gd name="connsiteY6" fmla="*/ 41138 h 459200"/>
                <a:gd name="connsiteX7" fmla="*/ 265935 w 521758"/>
                <a:gd name="connsiteY7" fmla="*/ 9054 h 459200"/>
                <a:gd name="connsiteX8" fmla="*/ 217808 w 521758"/>
                <a:gd name="connsiteY8" fmla="*/ 9054 h 459200"/>
                <a:gd name="connsiteX9" fmla="*/ 105514 w 521758"/>
                <a:gd name="connsiteY9" fmla="*/ 113328 h 459200"/>
                <a:gd name="connsiteX10" fmla="*/ 9261 w 521758"/>
                <a:gd name="connsiteY10" fmla="*/ 185517 h 459200"/>
                <a:gd name="connsiteX11" fmla="*/ 9261 w 521758"/>
                <a:gd name="connsiteY11" fmla="*/ 257707 h 459200"/>
                <a:gd name="connsiteX12" fmla="*/ 49366 w 521758"/>
                <a:gd name="connsiteY12" fmla="*/ 361980 h 459200"/>
                <a:gd name="connsiteX0" fmla="*/ 49366 w 521758"/>
                <a:gd name="connsiteY0" fmla="*/ 360242 h 457462"/>
                <a:gd name="connsiteX1" fmla="*/ 169682 w 521758"/>
                <a:gd name="connsiteY1" fmla="*/ 440453 h 457462"/>
                <a:gd name="connsiteX2" fmla="*/ 410314 w 521758"/>
                <a:gd name="connsiteY2" fmla="*/ 456495 h 457462"/>
                <a:gd name="connsiteX3" fmla="*/ 498545 w 521758"/>
                <a:gd name="connsiteY3" fmla="*/ 432432 h 457462"/>
                <a:gd name="connsiteX4" fmla="*/ 514587 w 521758"/>
                <a:gd name="connsiteY4" fmla="*/ 247948 h 457462"/>
                <a:gd name="connsiteX5" fmla="*/ 514587 w 521758"/>
                <a:gd name="connsiteY5" fmla="*/ 103569 h 457462"/>
                <a:gd name="connsiteX6" fmla="*/ 426356 w 521758"/>
                <a:gd name="connsiteY6" fmla="*/ 39400 h 457462"/>
                <a:gd name="connsiteX7" fmla="*/ 265935 w 521758"/>
                <a:gd name="connsiteY7" fmla="*/ 7316 h 457462"/>
                <a:gd name="connsiteX8" fmla="*/ 217808 w 521758"/>
                <a:gd name="connsiteY8" fmla="*/ 7316 h 457462"/>
                <a:gd name="connsiteX9" fmla="*/ 105514 w 521758"/>
                <a:gd name="connsiteY9" fmla="*/ 87527 h 457462"/>
                <a:gd name="connsiteX10" fmla="*/ 9261 w 521758"/>
                <a:gd name="connsiteY10" fmla="*/ 183779 h 457462"/>
                <a:gd name="connsiteX11" fmla="*/ 9261 w 521758"/>
                <a:gd name="connsiteY11" fmla="*/ 255969 h 457462"/>
                <a:gd name="connsiteX12" fmla="*/ 49366 w 521758"/>
                <a:gd name="connsiteY12" fmla="*/ 360242 h 45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758" h="457462">
                  <a:moveTo>
                    <a:pt x="49366" y="360242"/>
                  </a:moveTo>
                  <a:cubicBezTo>
                    <a:pt x="76103" y="390989"/>
                    <a:pt x="109524" y="424411"/>
                    <a:pt x="169682" y="440453"/>
                  </a:cubicBezTo>
                  <a:cubicBezTo>
                    <a:pt x="229840" y="456495"/>
                    <a:pt x="355504" y="457832"/>
                    <a:pt x="410314" y="456495"/>
                  </a:cubicBezTo>
                  <a:cubicBezTo>
                    <a:pt x="465125" y="455158"/>
                    <a:pt x="481166" y="467190"/>
                    <a:pt x="498545" y="432432"/>
                  </a:cubicBezTo>
                  <a:cubicBezTo>
                    <a:pt x="515924" y="397674"/>
                    <a:pt x="511913" y="302758"/>
                    <a:pt x="514587" y="247948"/>
                  </a:cubicBezTo>
                  <a:cubicBezTo>
                    <a:pt x="517261" y="193138"/>
                    <a:pt x="529292" y="138327"/>
                    <a:pt x="514587" y="103569"/>
                  </a:cubicBezTo>
                  <a:cubicBezTo>
                    <a:pt x="499882" y="68811"/>
                    <a:pt x="467798" y="55442"/>
                    <a:pt x="426356" y="39400"/>
                  </a:cubicBezTo>
                  <a:cubicBezTo>
                    <a:pt x="384914" y="23358"/>
                    <a:pt x="300693" y="12663"/>
                    <a:pt x="265935" y="7316"/>
                  </a:cubicBezTo>
                  <a:cubicBezTo>
                    <a:pt x="231177" y="1969"/>
                    <a:pt x="244545" y="-6052"/>
                    <a:pt x="217808" y="7316"/>
                  </a:cubicBezTo>
                  <a:cubicBezTo>
                    <a:pt x="191071" y="20684"/>
                    <a:pt x="140272" y="58117"/>
                    <a:pt x="105514" y="87527"/>
                  </a:cubicBezTo>
                  <a:cubicBezTo>
                    <a:pt x="70756" y="116937"/>
                    <a:pt x="25303" y="159716"/>
                    <a:pt x="9261" y="183779"/>
                  </a:cubicBezTo>
                  <a:cubicBezTo>
                    <a:pt x="-6781" y="207842"/>
                    <a:pt x="1240" y="225222"/>
                    <a:pt x="9261" y="255969"/>
                  </a:cubicBezTo>
                  <a:cubicBezTo>
                    <a:pt x="17282" y="286716"/>
                    <a:pt x="22629" y="329495"/>
                    <a:pt x="49366" y="360242"/>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395" name="Freeform 1394"/>
          <p:cNvSpPr/>
          <p:nvPr/>
        </p:nvSpPr>
        <p:spPr bwMode="auto">
          <a:xfrm>
            <a:off x="7018217" y="4210764"/>
            <a:ext cx="1797589" cy="529105"/>
          </a:xfrm>
          <a:custGeom>
            <a:avLst/>
            <a:gdLst>
              <a:gd name="connsiteX0" fmla="*/ 0 w 2397071"/>
              <a:gd name="connsiteY0" fmla="*/ 439119 h 671593"/>
              <a:gd name="connsiteX1" fmla="*/ 0 w 2397071"/>
              <a:gd name="connsiteY1" fmla="*/ 439119 h 671593"/>
              <a:gd name="connsiteX2" fmla="*/ 15498 w 2397071"/>
              <a:gd name="connsiteY2" fmla="*/ 397790 h 671593"/>
              <a:gd name="connsiteX3" fmla="*/ 30996 w 2397071"/>
              <a:gd name="connsiteY3" fmla="*/ 361627 h 671593"/>
              <a:gd name="connsiteX4" fmla="*/ 41328 w 2397071"/>
              <a:gd name="connsiteY4" fmla="*/ 330630 h 671593"/>
              <a:gd name="connsiteX5" fmla="*/ 51661 w 2397071"/>
              <a:gd name="connsiteY5" fmla="*/ 309966 h 671593"/>
              <a:gd name="connsiteX6" fmla="*/ 56827 w 2397071"/>
              <a:gd name="connsiteY6" fmla="*/ 294468 h 671593"/>
              <a:gd name="connsiteX7" fmla="*/ 98156 w 2397071"/>
              <a:gd name="connsiteY7" fmla="*/ 263471 h 671593"/>
              <a:gd name="connsiteX8" fmla="*/ 165315 w 2397071"/>
              <a:gd name="connsiteY8" fmla="*/ 253139 h 671593"/>
              <a:gd name="connsiteX9" fmla="*/ 191145 w 2397071"/>
              <a:gd name="connsiteY9" fmla="*/ 247973 h 671593"/>
              <a:gd name="connsiteX10" fmla="*/ 222142 w 2397071"/>
              <a:gd name="connsiteY10" fmla="*/ 227308 h 671593"/>
              <a:gd name="connsiteX11" fmla="*/ 227308 w 2397071"/>
              <a:gd name="connsiteY11" fmla="*/ 211810 h 671593"/>
              <a:gd name="connsiteX12" fmla="*/ 237640 w 2397071"/>
              <a:gd name="connsiteY12" fmla="*/ 175647 h 671593"/>
              <a:gd name="connsiteX13" fmla="*/ 247972 w 2397071"/>
              <a:gd name="connsiteY13" fmla="*/ 160149 h 671593"/>
              <a:gd name="connsiteX14" fmla="*/ 278969 w 2397071"/>
              <a:gd name="connsiteY14" fmla="*/ 149817 h 671593"/>
              <a:gd name="connsiteX15" fmla="*/ 309966 w 2397071"/>
              <a:gd name="connsiteY15" fmla="*/ 139485 h 671593"/>
              <a:gd name="connsiteX16" fmla="*/ 325464 w 2397071"/>
              <a:gd name="connsiteY16" fmla="*/ 134319 h 671593"/>
              <a:gd name="connsiteX17" fmla="*/ 366793 w 2397071"/>
              <a:gd name="connsiteY17" fmla="*/ 123986 h 671593"/>
              <a:gd name="connsiteX18" fmla="*/ 459783 w 2397071"/>
              <a:gd name="connsiteY18" fmla="*/ 103322 h 671593"/>
              <a:gd name="connsiteX19" fmla="*/ 475281 w 2397071"/>
              <a:gd name="connsiteY19" fmla="*/ 98156 h 671593"/>
              <a:gd name="connsiteX20" fmla="*/ 506278 w 2397071"/>
              <a:gd name="connsiteY20" fmla="*/ 77491 h 671593"/>
              <a:gd name="connsiteX21" fmla="*/ 521776 w 2397071"/>
              <a:gd name="connsiteY21" fmla="*/ 67159 h 671593"/>
              <a:gd name="connsiteX22" fmla="*/ 568271 w 2397071"/>
              <a:gd name="connsiteY22" fmla="*/ 82658 h 671593"/>
              <a:gd name="connsiteX23" fmla="*/ 583769 w 2397071"/>
              <a:gd name="connsiteY23" fmla="*/ 87824 h 671593"/>
              <a:gd name="connsiteX24" fmla="*/ 666427 w 2397071"/>
              <a:gd name="connsiteY24" fmla="*/ 67159 h 671593"/>
              <a:gd name="connsiteX25" fmla="*/ 681925 w 2397071"/>
              <a:gd name="connsiteY25" fmla="*/ 61993 h 671593"/>
              <a:gd name="connsiteX26" fmla="*/ 697423 w 2397071"/>
              <a:gd name="connsiteY26" fmla="*/ 51661 h 671593"/>
              <a:gd name="connsiteX27" fmla="*/ 733586 w 2397071"/>
              <a:gd name="connsiteY27" fmla="*/ 41329 h 671593"/>
              <a:gd name="connsiteX28" fmla="*/ 785247 w 2397071"/>
              <a:gd name="connsiteY28" fmla="*/ 56827 h 671593"/>
              <a:gd name="connsiteX29" fmla="*/ 800745 w 2397071"/>
              <a:gd name="connsiteY29" fmla="*/ 61993 h 671593"/>
              <a:gd name="connsiteX30" fmla="*/ 997057 w 2397071"/>
              <a:gd name="connsiteY30" fmla="*/ 51661 h 671593"/>
              <a:gd name="connsiteX31" fmla="*/ 1022888 w 2397071"/>
              <a:gd name="connsiteY31" fmla="*/ 46495 h 671593"/>
              <a:gd name="connsiteX32" fmla="*/ 1043552 w 2397071"/>
              <a:gd name="connsiteY32" fmla="*/ 41329 h 671593"/>
              <a:gd name="connsiteX33" fmla="*/ 1136542 w 2397071"/>
              <a:gd name="connsiteY33" fmla="*/ 36163 h 671593"/>
              <a:gd name="connsiteX34" fmla="*/ 1183037 w 2397071"/>
              <a:gd name="connsiteY34" fmla="*/ 30997 h 671593"/>
              <a:gd name="connsiteX35" fmla="*/ 1374183 w 2397071"/>
              <a:gd name="connsiteY35" fmla="*/ 25830 h 671593"/>
              <a:gd name="connsiteX36" fmla="*/ 1394847 w 2397071"/>
              <a:gd name="connsiteY36" fmla="*/ 20664 h 671593"/>
              <a:gd name="connsiteX37" fmla="*/ 1410345 w 2397071"/>
              <a:gd name="connsiteY37" fmla="*/ 10332 h 671593"/>
              <a:gd name="connsiteX38" fmla="*/ 1436176 w 2397071"/>
              <a:gd name="connsiteY38" fmla="*/ 5166 h 671593"/>
              <a:gd name="connsiteX39" fmla="*/ 1456840 w 2397071"/>
              <a:gd name="connsiteY39" fmla="*/ 0 h 671593"/>
              <a:gd name="connsiteX40" fmla="*/ 1534332 w 2397071"/>
              <a:gd name="connsiteY40" fmla="*/ 10332 h 671593"/>
              <a:gd name="connsiteX41" fmla="*/ 1601491 w 2397071"/>
              <a:gd name="connsiteY41" fmla="*/ 20664 h 671593"/>
              <a:gd name="connsiteX42" fmla="*/ 1616989 w 2397071"/>
              <a:gd name="connsiteY42" fmla="*/ 25830 h 671593"/>
              <a:gd name="connsiteX43" fmla="*/ 1658318 w 2397071"/>
              <a:gd name="connsiteY43" fmla="*/ 36163 h 671593"/>
              <a:gd name="connsiteX44" fmla="*/ 1678983 w 2397071"/>
              <a:gd name="connsiteY44" fmla="*/ 46495 h 671593"/>
              <a:gd name="connsiteX45" fmla="*/ 1730644 w 2397071"/>
              <a:gd name="connsiteY45" fmla="*/ 61993 h 671593"/>
              <a:gd name="connsiteX46" fmla="*/ 1911457 w 2397071"/>
              <a:gd name="connsiteY46" fmla="*/ 51661 h 671593"/>
              <a:gd name="connsiteX47" fmla="*/ 1942454 w 2397071"/>
              <a:gd name="connsiteY47" fmla="*/ 41329 h 671593"/>
              <a:gd name="connsiteX48" fmla="*/ 1978617 w 2397071"/>
              <a:gd name="connsiteY48" fmla="*/ 20664 h 671593"/>
              <a:gd name="connsiteX49" fmla="*/ 2004447 w 2397071"/>
              <a:gd name="connsiteY49" fmla="*/ 15498 h 671593"/>
              <a:gd name="connsiteX50" fmla="*/ 2019945 w 2397071"/>
              <a:gd name="connsiteY50" fmla="*/ 10332 h 671593"/>
              <a:gd name="connsiteX51" fmla="*/ 2128433 w 2397071"/>
              <a:gd name="connsiteY51" fmla="*/ 15498 h 671593"/>
              <a:gd name="connsiteX52" fmla="*/ 2169762 w 2397071"/>
              <a:gd name="connsiteY52" fmla="*/ 20664 h 671593"/>
              <a:gd name="connsiteX53" fmla="*/ 2298915 w 2397071"/>
              <a:gd name="connsiteY53" fmla="*/ 15498 h 671593"/>
              <a:gd name="connsiteX54" fmla="*/ 2324745 w 2397071"/>
              <a:gd name="connsiteY54" fmla="*/ 10332 h 671593"/>
              <a:gd name="connsiteX55" fmla="*/ 2345410 w 2397071"/>
              <a:gd name="connsiteY55" fmla="*/ 5166 h 671593"/>
              <a:gd name="connsiteX56" fmla="*/ 2391905 w 2397071"/>
              <a:gd name="connsiteY56" fmla="*/ 0 h 671593"/>
              <a:gd name="connsiteX57" fmla="*/ 2397071 w 2397071"/>
              <a:gd name="connsiteY57" fmla="*/ 15498 h 671593"/>
              <a:gd name="connsiteX58" fmla="*/ 2397071 w 2397071"/>
              <a:gd name="connsiteY58" fmla="*/ 671593 h 671593"/>
              <a:gd name="connsiteX59" fmla="*/ 5166 w 2397071"/>
              <a:gd name="connsiteY59" fmla="*/ 671593 h 671593"/>
              <a:gd name="connsiteX60" fmla="*/ 0 w 2397071"/>
              <a:gd name="connsiteY60" fmla="*/ 439119 h 671593"/>
              <a:gd name="connsiteX0" fmla="*/ 0 w 2397071"/>
              <a:gd name="connsiteY0" fmla="*/ 439119 h 671593"/>
              <a:gd name="connsiteX1" fmla="*/ 0 w 2397071"/>
              <a:gd name="connsiteY1" fmla="*/ 439119 h 671593"/>
              <a:gd name="connsiteX2" fmla="*/ 15498 w 2397071"/>
              <a:gd name="connsiteY2" fmla="*/ 397790 h 671593"/>
              <a:gd name="connsiteX3" fmla="*/ 30996 w 2397071"/>
              <a:gd name="connsiteY3" fmla="*/ 361627 h 671593"/>
              <a:gd name="connsiteX4" fmla="*/ 41328 w 2397071"/>
              <a:gd name="connsiteY4" fmla="*/ 330630 h 671593"/>
              <a:gd name="connsiteX5" fmla="*/ 51661 w 2397071"/>
              <a:gd name="connsiteY5" fmla="*/ 309966 h 671593"/>
              <a:gd name="connsiteX6" fmla="*/ 56827 w 2397071"/>
              <a:gd name="connsiteY6" fmla="*/ 294468 h 671593"/>
              <a:gd name="connsiteX7" fmla="*/ 98156 w 2397071"/>
              <a:gd name="connsiteY7" fmla="*/ 263471 h 671593"/>
              <a:gd name="connsiteX8" fmla="*/ 165315 w 2397071"/>
              <a:gd name="connsiteY8" fmla="*/ 253139 h 671593"/>
              <a:gd name="connsiteX9" fmla="*/ 191145 w 2397071"/>
              <a:gd name="connsiteY9" fmla="*/ 247973 h 671593"/>
              <a:gd name="connsiteX10" fmla="*/ 222142 w 2397071"/>
              <a:gd name="connsiteY10" fmla="*/ 227308 h 671593"/>
              <a:gd name="connsiteX11" fmla="*/ 227308 w 2397071"/>
              <a:gd name="connsiteY11" fmla="*/ 211810 h 671593"/>
              <a:gd name="connsiteX12" fmla="*/ 237640 w 2397071"/>
              <a:gd name="connsiteY12" fmla="*/ 175647 h 671593"/>
              <a:gd name="connsiteX13" fmla="*/ 247972 w 2397071"/>
              <a:gd name="connsiteY13" fmla="*/ 160149 h 671593"/>
              <a:gd name="connsiteX14" fmla="*/ 278969 w 2397071"/>
              <a:gd name="connsiteY14" fmla="*/ 149817 h 671593"/>
              <a:gd name="connsiteX15" fmla="*/ 309966 w 2397071"/>
              <a:gd name="connsiteY15" fmla="*/ 139485 h 671593"/>
              <a:gd name="connsiteX16" fmla="*/ 325464 w 2397071"/>
              <a:gd name="connsiteY16" fmla="*/ 134319 h 671593"/>
              <a:gd name="connsiteX17" fmla="*/ 366793 w 2397071"/>
              <a:gd name="connsiteY17" fmla="*/ 123986 h 671593"/>
              <a:gd name="connsiteX18" fmla="*/ 459783 w 2397071"/>
              <a:gd name="connsiteY18" fmla="*/ 103322 h 671593"/>
              <a:gd name="connsiteX19" fmla="*/ 475281 w 2397071"/>
              <a:gd name="connsiteY19" fmla="*/ 98156 h 671593"/>
              <a:gd name="connsiteX20" fmla="*/ 506278 w 2397071"/>
              <a:gd name="connsiteY20" fmla="*/ 77491 h 671593"/>
              <a:gd name="connsiteX21" fmla="*/ 521776 w 2397071"/>
              <a:gd name="connsiteY21" fmla="*/ 67159 h 671593"/>
              <a:gd name="connsiteX22" fmla="*/ 568271 w 2397071"/>
              <a:gd name="connsiteY22" fmla="*/ 82658 h 671593"/>
              <a:gd name="connsiteX23" fmla="*/ 583769 w 2397071"/>
              <a:gd name="connsiteY23" fmla="*/ 87824 h 671593"/>
              <a:gd name="connsiteX24" fmla="*/ 666427 w 2397071"/>
              <a:gd name="connsiteY24" fmla="*/ 67159 h 671593"/>
              <a:gd name="connsiteX25" fmla="*/ 681925 w 2397071"/>
              <a:gd name="connsiteY25" fmla="*/ 61993 h 671593"/>
              <a:gd name="connsiteX26" fmla="*/ 697423 w 2397071"/>
              <a:gd name="connsiteY26" fmla="*/ 51661 h 671593"/>
              <a:gd name="connsiteX27" fmla="*/ 733586 w 2397071"/>
              <a:gd name="connsiteY27" fmla="*/ 41329 h 671593"/>
              <a:gd name="connsiteX28" fmla="*/ 785247 w 2397071"/>
              <a:gd name="connsiteY28" fmla="*/ 56827 h 671593"/>
              <a:gd name="connsiteX29" fmla="*/ 800745 w 2397071"/>
              <a:gd name="connsiteY29" fmla="*/ 61993 h 671593"/>
              <a:gd name="connsiteX30" fmla="*/ 997057 w 2397071"/>
              <a:gd name="connsiteY30" fmla="*/ 51661 h 671593"/>
              <a:gd name="connsiteX31" fmla="*/ 1022888 w 2397071"/>
              <a:gd name="connsiteY31" fmla="*/ 46495 h 671593"/>
              <a:gd name="connsiteX32" fmla="*/ 1043552 w 2397071"/>
              <a:gd name="connsiteY32" fmla="*/ 41329 h 671593"/>
              <a:gd name="connsiteX33" fmla="*/ 1136542 w 2397071"/>
              <a:gd name="connsiteY33" fmla="*/ 36163 h 671593"/>
              <a:gd name="connsiteX34" fmla="*/ 1183037 w 2397071"/>
              <a:gd name="connsiteY34" fmla="*/ 30997 h 671593"/>
              <a:gd name="connsiteX35" fmla="*/ 1374183 w 2397071"/>
              <a:gd name="connsiteY35" fmla="*/ 25830 h 671593"/>
              <a:gd name="connsiteX36" fmla="*/ 1394847 w 2397071"/>
              <a:gd name="connsiteY36" fmla="*/ 20664 h 671593"/>
              <a:gd name="connsiteX37" fmla="*/ 1410345 w 2397071"/>
              <a:gd name="connsiteY37" fmla="*/ 10332 h 671593"/>
              <a:gd name="connsiteX38" fmla="*/ 1436176 w 2397071"/>
              <a:gd name="connsiteY38" fmla="*/ 5166 h 671593"/>
              <a:gd name="connsiteX39" fmla="*/ 1456840 w 2397071"/>
              <a:gd name="connsiteY39" fmla="*/ 0 h 671593"/>
              <a:gd name="connsiteX40" fmla="*/ 1534332 w 2397071"/>
              <a:gd name="connsiteY40" fmla="*/ 10332 h 671593"/>
              <a:gd name="connsiteX41" fmla="*/ 1601491 w 2397071"/>
              <a:gd name="connsiteY41" fmla="*/ 20664 h 671593"/>
              <a:gd name="connsiteX42" fmla="*/ 1616989 w 2397071"/>
              <a:gd name="connsiteY42" fmla="*/ 25830 h 671593"/>
              <a:gd name="connsiteX43" fmla="*/ 1658318 w 2397071"/>
              <a:gd name="connsiteY43" fmla="*/ 36163 h 671593"/>
              <a:gd name="connsiteX44" fmla="*/ 1678983 w 2397071"/>
              <a:gd name="connsiteY44" fmla="*/ 46495 h 671593"/>
              <a:gd name="connsiteX45" fmla="*/ 1730644 w 2397071"/>
              <a:gd name="connsiteY45" fmla="*/ 61993 h 671593"/>
              <a:gd name="connsiteX46" fmla="*/ 1911457 w 2397071"/>
              <a:gd name="connsiteY46" fmla="*/ 51661 h 671593"/>
              <a:gd name="connsiteX47" fmla="*/ 1942454 w 2397071"/>
              <a:gd name="connsiteY47" fmla="*/ 41329 h 671593"/>
              <a:gd name="connsiteX48" fmla="*/ 1978617 w 2397071"/>
              <a:gd name="connsiteY48" fmla="*/ 20664 h 671593"/>
              <a:gd name="connsiteX49" fmla="*/ 2004447 w 2397071"/>
              <a:gd name="connsiteY49" fmla="*/ 15498 h 671593"/>
              <a:gd name="connsiteX50" fmla="*/ 2019945 w 2397071"/>
              <a:gd name="connsiteY50" fmla="*/ 10332 h 671593"/>
              <a:gd name="connsiteX51" fmla="*/ 2128433 w 2397071"/>
              <a:gd name="connsiteY51" fmla="*/ 15498 h 671593"/>
              <a:gd name="connsiteX52" fmla="*/ 2169762 w 2397071"/>
              <a:gd name="connsiteY52" fmla="*/ 20664 h 671593"/>
              <a:gd name="connsiteX53" fmla="*/ 2298915 w 2397071"/>
              <a:gd name="connsiteY53" fmla="*/ 15498 h 671593"/>
              <a:gd name="connsiteX54" fmla="*/ 2324745 w 2397071"/>
              <a:gd name="connsiteY54" fmla="*/ 10332 h 671593"/>
              <a:gd name="connsiteX55" fmla="*/ 2345410 w 2397071"/>
              <a:gd name="connsiteY55" fmla="*/ 5166 h 671593"/>
              <a:gd name="connsiteX56" fmla="*/ 2391905 w 2397071"/>
              <a:gd name="connsiteY56" fmla="*/ 0 h 671593"/>
              <a:gd name="connsiteX57" fmla="*/ 2397071 w 2397071"/>
              <a:gd name="connsiteY57" fmla="*/ 15498 h 671593"/>
              <a:gd name="connsiteX58" fmla="*/ 2397071 w 2397071"/>
              <a:gd name="connsiteY58" fmla="*/ 671593 h 671593"/>
              <a:gd name="connsiteX59" fmla="*/ 330295 w 2397071"/>
              <a:gd name="connsiteY59" fmla="*/ 671593 h 671593"/>
              <a:gd name="connsiteX60" fmla="*/ 0 w 2397071"/>
              <a:gd name="connsiteY60" fmla="*/ 439119 h 671593"/>
              <a:gd name="connsiteX0" fmla="*/ 330295 w 2397071"/>
              <a:gd name="connsiteY0" fmla="*/ 671593 h 671593"/>
              <a:gd name="connsiteX1" fmla="*/ 0 w 2397071"/>
              <a:gd name="connsiteY1" fmla="*/ 439119 h 671593"/>
              <a:gd name="connsiteX2" fmla="*/ 15498 w 2397071"/>
              <a:gd name="connsiteY2" fmla="*/ 397790 h 671593"/>
              <a:gd name="connsiteX3" fmla="*/ 30996 w 2397071"/>
              <a:gd name="connsiteY3" fmla="*/ 361627 h 671593"/>
              <a:gd name="connsiteX4" fmla="*/ 41328 w 2397071"/>
              <a:gd name="connsiteY4" fmla="*/ 330630 h 671593"/>
              <a:gd name="connsiteX5" fmla="*/ 51661 w 2397071"/>
              <a:gd name="connsiteY5" fmla="*/ 309966 h 671593"/>
              <a:gd name="connsiteX6" fmla="*/ 56827 w 2397071"/>
              <a:gd name="connsiteY6" fmla="*/ 294468 h 671593"/>
              <a:gd name="connsiteX7" fmla="*/ 98156 w 2397071"/>
              <a:gd name="connsiteY7" fmla="*/ 263471 h 671593"/>
              <a:gd name="connsiteX8" fmla="*/ 165315 w 2397071"/>
              <a:gd name="connsiteY8" fmla="*/ 253139 h 671593"/>
              <a:gd name="connsiteX9" fmla="*/ 191145 w 2397071"/>
              <a:gd name="connsiteY9" fmla="*/ 247973 h 671593"/>
              <a:gd name="connsiteX10" fmla="*/ 222142 w 2397071"/>
              <a:gd name="connsiteY10" fmla="*/ 227308 h 671593"/>
              <a:gd name="connsiteX11" fmla="*/ 227308 w 2397071"/>
              <a:gd name="connsiteY11" fmla="*/ 211810 h 671593"/>
              <a:gd name="connsiteX12" fmla="*/ 237640 w 2397071"/>
              <a:gd name="connsiteY12" fmla="*/ 175647 h 671593"/>
              <a:gd name="connsiteX13" fmla="*/ 247972 w 2397071"/>
              <a:gd name="connsiteY13" fmla="*/ 160149 h 671593"/>
              <a:gd name="connsiteX14" fmla="*/ 278969 w 2397071"/>
              <a:gd name="connsiteY14" fmla="*/ 149817 h 671593"/>
              <a:gd name="connsiteX15" fmla="*/ 309966 w 2397071"/>
              <a:gd name="connsiteY15" fmla="*/ 139485 h 671593"/>
              <a:gd name="connsiteX16" fmla="*/ 325464 w 2397071"/>
              <a:gd name="connsiteY16" fmla="*/ 134319 h 671593"/>
              <a:gd name="connsiteX17" fmla="*/ 366793 w 2397071"/>
              <a:gd name="connsiteY17" fmla="*/ 123986 h 671593"/>
              <a:gd name="connsiteX18" fmla="*/ 459783 w 2397071"/>
              <a:gd name="connsiteY18" fmla="*/ 103322 h 671593"/>
              <a:gd name="connsiteX19" fmla="*/ 475281 w 2397071"/>
              <a:gd name="connsiteY19" fmla="*/ 98156 h 671593"/>
              <a:gd name="connsiteX20" fmla="*/ 506278 w 2397071"/>
              <a:gd name="connsiteY20" fmla="*/ 77491 h 671593"/>
              <a:gd name="connsiteX21" fmla="*/ 521776 w 2397071"/>
              <a:gd name="connsiteY21" fmla="*/ 67159 h 671593"/>
              <a:gd name="connsiteX22" fmla="*/ 568271 w 2397071"/>
              <a:gd name="connsiteY22" fmla="*/ 82658 h 671593"/>
              <a:gd name="connsiteX23" fmla="*/ 583769 w 2397071"/>
              <a:gd name="connsiteY23" fmla="*/ 87824 h 671593"/>
              <a:gd name="connsiteX24" fmla="*/ 666427 w 2397071"/>
              <a:gd name="connsiteY24" fmla="*/ 67159 h 671593"/>
              <a:gd name="connsiteX25" fmla="*/ 681925 w 2397071"/>
              <a:gd name="connsiteY25" fmla="*/ 61993 h 671593"/>
              <a:gd name="connsiteX26" fmla="*/ 697423 w 2397071"/>
              <a:gd name="connsiteY26" fmla="*/ 51661 h 671593"/>
              <a:gd name="connsiteX27" fmla="*/ 733586 w 2397071"/>
              <a:gd name="connsiteY27" fmla="*/ 41329 h 671593"/>
              <a:gd name="connsiteX28" fmla="*/ 785247 w 2397071"/>
              <a:gd name="connsiteY28" fmla="*/ 56827 h 671593"/>
              <a:gd name="connsiteX29" fmla="*/ 800745 w 2397071"/>
              <a:gd name="connsiteY29" fmla="*/ 61993 h 671593"/>
              <a:gd name="connsiteX30" fmla="*/ 997057 w 2397071"/>
              <a:gd name="connsiteY30" fmla="*/ 51661 h 671593"/>
              <a:gd name="connsiteX31" fmla="*/ 1022888 w 2397071"/>
              <a:gd name="connsiteY31" fmla="*/ 46495 h 671593"/>
              <a:gd name="connsiteX32" fmla="*/ 1043552 w 2397071"/>
              <a:gd name="connsiteY32" fmla="*/ 41329 h 671593"/>
              <a:gd name="connsiteX33" fmla="*/ 1136542 w 2397071"/>
              <a:gd name="connsiteY33" fmla="*/ 36163 h 671593"/>
              <a:gd name="connsiteX34" fmla="*/ 1183037 w 2397071"/>
              <a:gd name="connsiteY34" fmla="*/ 30997 h 671593"/>
              <a:gd name="connsiteX35" fmla="*/ 1374183 w 2397071"/>
              <a:gd name="connsiteY35" fmla="*/ 25830 h 671593"/>
              <a:gd name="connsiteX36" fmla="*/ 1394847 w 2397071"/>
              <a:gd name="connsiteY36" fmla="*/ 20664 h 671593"/>
              <a:gd name="connsiteX37" fmla="*/ 1410345 w 2397071"/>
              <a:gd name="connsiteY37" fmla="*/ 10332 h 671593"/>
              <a:gd name="connsiteX38" fmla="*/ 1436176 w 2397071"/>
              <a:gd name="connsiteY38" fmla="*/ 5166 h 671593"/>
              <a:gd name="connsiteX39" fmla="*/ 1456840 w 2397071"/>
              <a:gd name="connsiteY39" fmla="*/ 0 h 671593"/>
              <a:gd name="connsiteX40" fmla="*/ 1534332 w 2397071"/>
              <a:gd name="connsiteY40" fmla="*/ 10332 h 671593"/>
              <a:gd name="connsiteX41" fmla="*/ 1601491 w 2397071"/>
              <a:gd name="connsiteY41" fmla="*/ 20664 h 671593"/>
              <a:gd name="connsiteX42" fmla="*/ 1616989 w 2397071"/>
              <a:gd name="connsiteY42" fmla="*/ 25830 h 671593"/>
              <a:gd name="connsiteX43" fmla="*/ 1658318 w 2397071"/>
              <a:gd name="connsiteY43" fmla="*/ 36163 h 671593"/>
              <a:gd name="connsiteX44" fmla="*/ 1678983 w 2397071"/>
              <a:gd name="connsiteY44" fmla="*/ 46495 h 671593"/>
              <a:gd name="connsiteX45" fmla="*/ 1730644 w 2397071"/>
              <a:gd name="connsiteY45" fmla="*/ 61993 h 671593"/>
              <a:gd name="connsiteX46" fmla="*/ 1911457 w 2397071"/>
              <a:gd name="connsiteY46" fmla="*/ 51661 h 671593"/>
              <a:gd name="connsiteX47" fmla="*/ 1942454 w 2397071"/>
              <a:gd name="connsiteY47" fmla="*/ 41329 h 671593"/>
              <a:gd name="connsiteX48" fmla="*/ 1978617 w 2397071"/>
              <a:gd name="connsiteY48" fmla="*/ 20664 h 671593"/>
              <a:gd name="connsiteX49" fmla="*/ 2004447 w 2397071"/>
              <a:gd name="connsiteY49" fmla="*/ 15498 h 671593"/>
              <a:gd name="connsiteX50" fmla="*/ 2019945 w 2397071"/>
              <a:gd name="connsiteY50" fmla="*/ 10332 h 671593"/>
              <a:gd name="connsiteX51" fmla="*/ 2128433 w 2397071"/>
              <a:gd name="connsiteY51" fmla="*/ 15498 h 671593"/>
              <a:gd name="connsiteX52" fmla="*/ 2169762 w 2397071"/>
              <a:gd name="connsiteY52" fmla="*/ 20664 h 671593"/>
              <a:gd name="connsiteX53" fmla="*/ 2298915 w 2397071"/>
              <a:gd name="connsiteY53" fmla="*/ 15498 h 671593"/>
              <a:gd name="connsiteX54" fmla="*/ 2324745 w 2397071"/>
              <a:gd name="connsiteY54" fmla="*/ 10332 h 671593"/>
              <a:gd name="connsiteX55" fmla="*/ 2345410 w 2397071"/>
              <a:gd name="connsiteY55" fmla="*/ 5166 h 671593"/>
              <a:gd name="connsiteX56" fmla="*/ 2391905 w 2397071"/>
              <a:gd name="connsiteY56" fmla="*/ 0 h 671593"/>
              <a:gd name="connsiteX57" fmla="*/ 2397071 w 2397071"/>
              <a:gd name="connsiteY57" fmla="*/ 15498 h 671593"/>
              <a:gd name="connsiteX58" fmla="*/ 2397071 w 2397071"/>
              <a:gd name="connsiteY58" fmla="*/ 671593 h 671593"/>
              <a:gd name="connsiteX59" fmla="*/ 330295 w 2397071"/>
              <a:gd name="connsiteY59" fmla="*/ 671593 h 671593"/>
              <a:gd name="connsiteX0" fmla="*/ 330295 w 2397071"/>
              <a:gd name="connsiteY0" fmla="*/ 671593 h 671593"/>
              <a:gd name="connsiteX1" fmla="*/ 0 w 2397071"/>
              <a:gd name="connsiteY1" fmla="*/ 439119 h 671593"/>
              <a:gd name="connsiteX2" fmla="*/ 15498 w 2397071"/>
              <a:gd name="connsiteY2" fmla="*/ 397790 h 671593"/>
              <a:gd name="connsiteX3" fmla="*/ 41328 w 2397071"/>
              <a:gd name="connsiteY3" fmla="*/ 330630 h 671593"/>
              <a:gd name="connsiteX4" fmla="*/ 51661 w 2397071"/>
              <a:gd name="connsiteY4" fmla="*/ 309966 h 671593"/>
              <a:gd name="connsiteX5" fmla="*/ 56827 w 2397071"/>
              <a:gd name="connsiteY5" fmla="*/ 294468 h 671593"/>
              <a:gd name="connsiteX6" fmla="*/ 98156 w 2397071"/>
              <a:gd name="connsiteY6" fmla="*/ 263471 h 671593"/>
              <a:gd name="connsiteX7" fmla="*/ 165315 w 2397071"/>
              <a:gd name="connsiteY7" fmla="*/ 253139 h 671593"/>
              <a:gd name="connsiteX8" fmla="*/ 191145 w 2397071"/>
              <a:gd name="connsiteY8" fmla="*/ 247973 h 671593"/>
              <a:gd name="connsiteX9" fmla="*/ 222142 w 2397071"/>
              <a:gd name="connsiteY9" fmla="*/ 227308 h 671593"/>
              <a:gd name="connsiteX10" fmla="*/ 227308 w 2397071"/>
              <a:gd name="connsiteY10" fmla="*/ 211810 h 671593"/>
              <a:gd name="connsiteX11" fmla="*/ 237640 w 2397071"/>
              <a:gd name="connsiteY11" fmla="*/ 175647 h 671593"/>
              <a:gd name="connsiteX12" fmla="*/ 247972 w 2397071"/>
              <a:gd name="connsiteY12" fmla="*/ 160149 h 671593"/>
              <a:gd name="connsiteX13" fmla="*/ 278969 w 2397071"/>
              <a:gd name="connsiteY13" fmla="*/ 149817 h 671593"/>
              <a:gd name="connsiteX14" fmla="*/ 309966 w 2397071"/>
              <a:gd name="connsiteY14" fmla="*/ 139485 h 671593"/>
              <a:gd name="connsiteX15" fmla="*/ 325464 w 2397071"/>
              <a:gd name="connsiteY15" fmla="*/ 134319 h 671593"/>
              <a:gd name="connsiteX16" fmla="*/ 366793 w 2397071"/>
              <a:gd name="connsiteY16" fmla="*/ 123986 h 671593"/>
              <a:gd name="connsiteX17" fmla="*/ 459783 w 2397071"/>
              <a:gd name="connsiteY17" fmla="*/ 103322 h 671593"/>
              <a:gd name="connsiteX18" fmla="*/ 475281 w 2397071"/>
              <a:gd name="connsiteY18" fmla="*/ 98156 h 671593"/>
              <a:gd name="connsiteX19" fmla="*/ 506278 w 2397071"/>
              <a:gd name="connsiteY19" fmla="*/ 77491 h 671593"/>
              <a:gd name="connsiteX20" fmla="*/ 521776 w 2397071"/>
              <a:gd name="connsiteY20" fmla="*/ 67159 h 671593"/>
              <a:gd name="connsiteX21" fmla="*/ 568271 w 2397071"/>
              <a:gd name="connsiteY21" fmla="*/ 82658 h 671593"/>
              <a:gd name="connsiteX22" fmla="*/ 583769 w 2397071"/>
              <a:gd name="connsiteY22" fmla="*/ 87824 h 671593"/>
              <a:gd name="connsiteX23" fmla="*/ 666427 w 2397071"/>
              <a:gd name="connsiteY23" fmla="*/ 67159 h 671593"/>
              <a:gd name="connsiteX24" fmla="*/ 681925 w 2397071"/>
              <a:gd name="connsiteY24" fmla="*/ 61993 h 671593"/>
              <a:gd name="connsiteX25" fmla="*/ 697423 w 2397071"/>
              <a:gd name="connsiteY25" fmla="*/ 51661 h 671593"/>
              <a:gd name="connsiteX26" fmla="*/ 733586 w 2397071"/>
              <a:gd name="connsiteY26" fmla="*/ 41329 h 671593"/>
              <a:gd name="connsiteX27" fmla="*/ 785247 w 2397071"/>
              <a:gd name="connsiteY27" fmla="*/ 56827 h 671593"/>
              <a:gd name="connsiteX28" fmla="*/ 800745 w 2397071"/>
              <a:gd name="connsiteY28" fmla="*/ 61993 h 671593"/>
              <a:gd name="connsiteX29" fmla="*/ 997057 w 2397071"/>
              <a:gd name="connsiteY29" fmla="*/ 51661 h 671593"/>
              <a:gd name="connsiteX30" fmla="*/ 1022888 w 2397071"/>
              <a:gd name="connsiteY30" fmla="*/ 46495 h 671593"/>
              <a:gd name="connsiteX31" fmla="*/ 1043552 w 2397071"/>
              <a:gd name="connsiteY31" fmla="*/ 41329 h 671593"/>
              <a:gd name="connsiteX32" fmla="*/ 1136542 w 2397071"/>
              <a:gd name="connsiteY32" fmla="*/ 36163 h 671593"/>
              <a:gd name="connsiteX33" fmla="*/ 1183037 w 2397071"/>
              <a:gd name="connsiteY33" fmla="*/ 30997 h 671593"/>
              <a:gd name="connsiteX34" fmla="*/ 1374183 w 2397071"/>
              <a:gd name="connsiteY34" fmla="*/ 25830 h 671593"/>
              <a:gd name="connsiteX35" fmla="*/ 1394847 w 2397071"/>
              <a:gd name="connsiteY35" fmla="*/ 20664 h 671593"/>
              <a:gd name="connsiteX36" fmla="*/ 1410345 w 2397071"/>
              <a:gd name="connsiteY36" fmla="*/ 10332 h 671593"/>
              <a:gd name="connsiteX37" fmla="*/ 1436176 w 2397071"/>
              <a:gd name="connsiteY37" fmla="*/ 5166 h 671593"/>
              <a:gd name="connsiteX38" fmla="*/ 1456840 w 2397071"/>
              <a:gd name="connsiteY38" fmla="*/ 0 h 671593"/>
              <a:gd name="connsiteX39" fmla="*/ 1534332 w 2397071"/>
              <a:gd name="connsiteY39" fmla="*/ 10332 h 671593"/>
              <a:gd name="connsiteX40" fmla="*/ 1601491 w 2397071"/>
              <a:gd name="connsiteY40" fmla="*/ 20664 h 671593"/>
              <a:gd name="connsiteX41" fmla="*/ 1616989 w 2397071"/>
              <a:gd name="connsiteY41" fmla="*/ 25830 h 671593"/>
              <a:gd name="connsiteX42" fmla="*/ 1658318 w 2397071"/>
              <a:gd name="connsiteY42" fmla="*/ 36163 h 671593"/>
              <a:gd name="connsiteX43" fmla="*/ 1678983 w 2397071"/>
              <a:gd name="connsiteY43" fmla="*/ 46495 h 671593"/>
              <a:gd name="connsiteX44" fmla="*/ 1730644 w 2397071"/>
              <a:gd name="connsiteY44" fmla="*/ 61993 h 671593"/>
              <a:gd name="connsiteX45" fmla="*/ 1911457 w 2397071"/>
              <a:gd name="connsiteY45" fmla="*/ 51661 h 671593"/>
              <a:gd name="connsiteX46" fmla="*/ 1942454 w 2397071"/>
              <a:gd name="connsiteY46" fmla="*/ 41329 h 671593"/>
              <a:gd name="connsiteX47" fmla="*/ 1978617 w 2397071"/>
              <a:gd name="connsiteY47" fmla="*/ 20664 h 671593"/>
              <a:gd name="connsiteX48" fmla="*/ 2004447 w 2397071"/>
              <a:gd name="connsiteY48" fmla="*/ 15498 h 671593"/>
              <a:gd name="connsiteX49" fmla="*/ 2019945 w 2397071"/>
              <a:gd name="connsiteY49" fmla="*/ 10332 h 671593"/>
              <a:gd name="connsiteX50" fmla="*/ 2128433 w 2397071"/>
              <a:gd name="connsiteY50" fmla="*/ 15498 h 671593"/>
              <a:gd name="connsiteX51" fmla="*/ 2169762 w 2397071"/>
              <a:gd name="connsiteY51" fmla="*/ 20664 h 671593"/>
              <a:gd name="connsiteX52" fmla="*/ 2298915 w 2397071"/>
              <a:gd name="connsiteY52" fmla="*/ 15498 h 671593"/>
              <a:gd name="connsiteX53" fmla="*/ 2324745 w 2397071"/>
              <a:gd name="connsiteY53" fmla="*/ 10332 h 671593"/>
              <a:gd name="connsiteX54" fmla="*/ 2345410 w 2397071"/>
              <a:gd name="connsiteY54" fmla="*/ 5166 h 671593"/>
              <a:gd name="connsiteX55" fmla="*/ 2391905 w 2397071"/>
              <a:gd name="connsiteY55" fmla="*/ 0 h 671593"/>
              <a:gd name="connsiteX56" fmla="*/ 2397071 w 2397071"/>
              <a:gd name="connsiteY56" fmla="*/ 15498 h 671593"/>
              <a:gd name="connsiteX57" fmla="*/ 2397071 w 2397071"/>
              <a:gd name="connsiteY57" fmla="*/ 671593 h 671593"/>
              <a:gd name="connsiteX58" fmla="*/ 330295 w 2397071"/>
              <a:gd name="connsiteY58" fmla="*/ 671593 h 671593"/>
              <a:gd name="connsiteX0" fmla="*/ 345499 w 2412275"/>
              <a:gd name="connsiteY0" fmla="*/ 671593 h 671593"/>
              <a:gd name="connsiteX1" fmla="*/ 15204 w 2412275"/>
              <a:gd name="connsiteY1" fmla="*/ 439119 h 671593"/>
              <a:gd name="connsiteX2" fmla="*/ 56532 w 2412275"/>
              <a:gd name="connsiteY2" fmla="*/ 330630 h 671593"/>
              <a:gd name="connsiteX3" fmla="*/ 66865 w 2412275"/>
              <a:gd name="connsiteY3" fmla="*/ 309966 h 671593"/>
              <a:gd name="connsiteX4" fmla="*/ 72031 w 2412275"/>
              <a:gd name="connsiteY4" fmla="*/ 294468 h 671593"/>
              <a:gd name="connsiteX5" fmla="*/ 113360 w 2412275"/>
              <a:gd name="connsiteY5" fmla="*/ 263471 h 671593"/>
              <a:gd name="connsiteX6" fmla="*/ 180519 w 2412275"/>
              <a:gd name="connsiteY6" fmla="*/ 253139 h 671593"/>
              <a:gd name="connsiteX7" fmla="*/ 206349 w 2412275"/>
              <a:gd name="connsiteY7" fmla="*/ 247973 h 671593"/>
              <a:gd name="connsiteX8" fmla="*/ 237346 w 2412275"/>
              <a:gd name="connsiteY8" fmla="*/ 227308 h 671593"/>
              <a:gd name="connsiteX9" fmla="*/ 242512 w 2412275"/>
              <a:gd name="connsiteY9" fmla="*/ 211810 h 671593"/>
              <a:gd name="connsiteX10" fmla="*/ 252844 w 2412275"/>
              <a:gd name="connsiteY10" fmla="*/ 175647 h 671593"/>
              <a:gd name="connsiteX11" fmla="*/ 263176 w 2412275"/>
              <a:gd name="connsiteY11" fmla="*/ 160149 h 671593"/>
              <a:gd name="connsiteX12" fmla="*/ 294173 w 2412275"/>
              <a:gd name="connsiteY12" fmla="*/ 149817 h 671593"/>
              <a:gd name="connsiteX13" fmla="*/ 325170 w 2412275"/>
              <a:gd name="connsiteY13" fmla="*/ 139485 h 671593"/>
              <a:gd name="connsiteX14" fmla="*/ 340668 w 2412275"/>
              <a:gd name="connsiteY14" fmla="*/ 134319 h 671593"/>
              <a:gd name="connsiteX15" fmla="*/ 381997 w 2412275"/>
              <a:gd name="connsiteY15" fmla="*/ 123986 h 671593"/>
              <a:gd name="connsiteX16" fmla="*/ 474987 w 2412275"/>
              <a:gd name="connsiteY16" fmla="*/ 103322 h 671593"/>
              <a:gd name="connsiteX17" fmla="*/ 490485 w 2412275"/>
              <a:gd name="connsiteY17" fmla="*/ 98156 h 671593"/>
              <a:gd name="connsiteX18" fmla="*/ 521482 w 2412275"/>
              <a:gd name="connsiteY18" fmla="*/ 77491 h 671593"/>
              <a:gd name="connsiteX19" fmla="*/ 536980 w 2412275"/>
              <a:gd name="connsiteY19" fmla="*/ 67159 h 671593"/>
              <a:gd name="connsiteX20" fmla="*/ 583475 w 2412275"/>
              <a:gd name="connsiteY20" fmla="*/ 82658 h 671593"/>
              <a:gd name="connsiteX21" fmla="*/ 598973 w 2412275"/>
              <a:gd name="connsiteY21" fmla="*/ 87824 h 671593"/>
              <a:gd name="connsiteX22" fmla="*/ 681631 w 2412275"/>
              <a:gd name="connsiteY22" fmla="*/ 67159 h 671593"/>
              <a:gd name="connsiteX23" fmla="*/ 697129 w 2412275"/>
              <a:gd name="connsiteY23" fmla="*/ 61993 h 671593"/>
              <a:gd name="connsiteX24" fmla="*/ 712627 w 2412275"/>
              <a:gd name="connsiteY24" fmla="*/ 51661 h 671593"/>
              <a:gd name="connsiteX25" fmla="*/ 748790 w 2412275"/>
              <a:gd name="connsiteY25" fmla="*/ 41329 h 671593"/>
              <a:gd name="connsiteX26" fmla="*/ 800451 w 2412275"/>
              <a:gd name="connsiteY26" fmla="*/ 56827 h 671593"/>
              <a:gd name="connsiteX27" fmla="*/ 815949 w 2412275"/>
              <a:gd name="connsiteY27" fmla="*/ 61993 h 671593"/>
              <a:gd name="connsiteX28" fmla="*/ 1012261 w 2412275"/>
              <a:gd name="connsiteY28" fmla="*/ 51661 h 671593"/>
              <a:gd name="connsiteX29" fmla="*/ 1038092 w 2412275"/>
              <a:gd name="connsiteY29" fmla="*/ 46495 h 671593"/>
              <a:gd name="connsiteX30" fmla="*/ 1058756 w 2412275"/>
              <a:gd name="connsiteY30" fmla="*/ 41329 h 671593"/>
              <a:gd name="connsiteX31" fmla="*/ 1151746 w 2412275"/>
              <a:gd name="connsiteY31" fmla="*/ 36163 h 671593"/>
              <a:gd name="connsiteX32" fmla="*/ 1198241 w 2412275"/>
              <a:gd name="connsiteY32" fmla="*/ 30997 h 671593"/>
              <a:gd name="connsiteX33" fmla="*/ 1389387 w 2412275"/>
              <a:gd name="connsiteY33" fmla="*/ 25830 h 671593"/>
              <a:gd name="connsiteX34" fmla="*/ 1410051 w 2412275"/>
              <a:gd name="connsiteY34" fmla="*/ 20664 h 671593"/>
              <a:gd name="connsiteX35" fmla="*/ 1425549 w 2412275"/>
              <a:gd name="connsiteY35" fmla="*/ 10332 h 671593"/>
              <a:gd name="connsiteX36" fmla="*/ 1451380 w 2412275"/>
              <a:gd name="connsiteY36" fmla="*/ 5166 h 671593"/>
              <a:gd name="connsiteX37" fmla="*/ 1472044 w 2412275"/>
              <a:gd name="connsiteY37" fmla="*/ 0 h 671593"/>
              <a:gd name="connsiteX38" fmla="*/ 1549536 w 2412275"/>
              <a:gd name="connsiteY38" fmla="*/ 10332 h 671593"/>
              <a:gd name="connsiteX39" fmla="*/ 1616695 w 2412275"/>
              <a:gd name="connsiteY39" fmla="*/ 20664 h 671593"/>
              <a:gd name="connsiteX40" fmla="*/ 1632193 w 2412275"/>
              <a:gd name="connsiteY40" fmla="*/ 25830 h 671593"/>
              <a:gd name="connsiteX41" fmla="*/ 1673522 w 2412275"/>
              <a:gd name="connsiteY41" fmla="*/ 36163 h 671593"/>
              <a:gd name="connsiteX42" fmla="*/ 1694187 w 2412275"/>
              <a:gd name="connsiteY42" fmla="*/ 46495 h 671593"/>
              <a:gd name="connsiteX43" fmla="*/ 1745848 w 2412275"/>
              <a:gd name="connsiteY43" fmla="*/ 61993 h 671593"/>
              <a:gd name="connsiteX44" fmla="*/ 1926661 w 2412275"/>
              <a:gd name="connsiteY44" fmla="*/ 51661 h 671593"/>
              <a:gd name="connsiteX45" fmla="*/ 1957658 w 2412275"/>
              <a:gd name="connsiteY45" fmla="*/ 41329 h 671593"/>
              <a:gd name="connsiteX46" fmla="*/ 1993821 w 2412275"/>
              <a:gd name="connsiteY46" fmla="*/ 20664 h 671593"/>
              <a:gd name="connsiteX47" fmla="*/ 2019651 w 2412275"/>
              <a:gd name="connsiteY47" fmla="*/ 15498 h 671593"/>
              <a:gd name="connsiteX48" fmla="*/ 2035149 w 2412275"/>
              <a:gd name="connsiteY48" fmla="*/ 10332 h 671593"/>
              <a:gd name="connsiteX49" fmla="*/ 2143637 w 2412275"/>
              <a:gd name="connsiteY49" fmla="*/ 15498 h 671593"/>
              <a:gd name="connsiteX50" fmla="*/ 2184966 w 2412275"/>
              <a:gd name="connsiteY50" fmla="*/ 20664 h 671593"/>
              <a:gd name="connsiteX51" fmla="*/ 2314119 w 2412275"/>
              <a:gd name="connsiteY51" fmla="*/ 15498 h 671593"/>
              <a:gd name="connsiteX52" fmla="*/ 2339949 w 2412275"/>
              <a:gd name="connsiteY52" fmla="*/ 10332 h 671593"/>
              <a:gd name="connsiteX53" fmla="*/ 2360614 w 2412275"/>
              <a:gd name="connsiteY53" fmla="*/ 5166 h 671593"/>
              <a:gd name="connsiteX54" fmla="*/ 2407109 w 2412275"/>
              <a:gd name="connsiteY54" fmla="*/ 0 h 671593"/>
              <a:gd name="connsiteX55" fmla="*/ 2412275 w 2412275"/>
              <a:gd name="connsiteY55" fmla="*/ 15498 h 671593"/>
              <a:gd name="connsiteX56" fmla="*/ 2412275 w 2412275"/>
              <a:gd name="connsiteY56" fmla="*/ 671593 h 671593"/>
              <a:gd name="connsiteX57" fmla="*/ 345499 w 2412275"/>
              <a:gd name="connsiteY57" fmla="*/ 671593 h 671593"/>
              <a:gd name="connsiteX0" fmla="*/ 288967 w 2355743"/>
              <a:gd name="connsiteY0" fmla="*/ 671593 h 671593"/>
              <a:gd name="connsiteX1" fmla="*/ 0 w 2355743"/>
              <a:gd name="connsiteY1" fmla="*/ 330630 h 671593"/>
              <a:gd name="connsiteX2" fmla="*/ 10333 w 2355743"/>
              <a:gd name="connsiteY2" fmla="*/ 309966 h 671593"/>
              <a:gd name="connsiteX3" fmla="*/ 15499 w 2355743"/>
              <a:gd name="connsiteY3" fmla="*/ 294468 h 671593"/>
              <a:gd name="connsiteX4" fmla="*/ 56828 w 2355743"/>
              <a:gd name="connsiteY4" fmla="*/ 263471 h 671593"/>
              <a:gd name="connsiteX5" fmla="*/ 123987 w 2355743"/>
              <a:gd name="connsiteY5" fmla="*/ 253139 h 671593"/>
              <a:gd name="connsiteX6" fmla="*/ 149817 w 2355743"/>
              <a:gd name="connsiteY6" fmla="*/ 247973 h 671593"/>
              <a:gd name="connsiteX7" fmla="*/ 180814 w 2355743"/>
              <a:gd name="connsiteY7" fmla="*/ 227308 h 671593"/>
              <a:gd name="connsiteX8" fmla="*/ 185980 w 2355743"/>
              <a:gd name="connsiteY8" fmla="*/ 211810 h 671593"/>
              <a:gd name="connsiteX9" fmla="*/ 196312 w 2355743"/>
              <a:gd name="connsiteY9" fmla="*/ 175647 h 671593"/>
              <a:gd name="connsiteX10" fmla="*/ 206644 w 2355743"/>
              <a:gd name="connsiteY10" fmla="*/ 160149 h 671593"/>
              <a:gd name="connsiteX11" fmla="*/ 237641 w 2355743"/>
              <a:gd name="connsiteY11" fmla="*/ 149817 h 671593"/>
              <a:gd name="connsiteX12" fmla="*/ 268638 w 2355743"/>
              <a:gd name="connsiteY12" fmla="*/ 139485 h 671593"/>
              <a:gd name="connsiteX13" fmla="*/ 284136 w 2355743"/>
              <a:gd name="connsiteY13" fmla="*/ 134319 h 671593"/>
              <a:gd name="connsiteX14" fmla="*/ 325465 w 2355743"/>
              <a:gd name="connsiteY14" fmla="*/ 123986 h 671593"/>
              <a:gd name="connsiteX15" fmla="*/ 418455 w 2355743"/>
              <a:gd name="connsiteY15" fmla="*/ 103322 h 671593"/>
              <a:gd name="connsiteX16" fmla="*/ 433953 w 2355743"/>
              <a:gd name="connsiteY16" fmla="*/ 98156 h 671593"/>
              <a:gd name="connsiteX17" fmla="*/ 464950 w 2355743"/>
              <a:gd name="connsiteY17" fmla="*/ 77491 h 671593"/>
              <a:gd name="connsiteX18" fmla="*/ 480448 w 2355743"/>
              <a:gd name="connsiteY18" fmla="*/ 67159 h 671593"/>
              <a:gd name="connsiteX19" fmla="*/ 526943 w 2355743"/>
              <a:gd name="connsiteY19" fmla="*/ 82658 h 671593"/>
              <a:gd name="connsiteX20" fmla="*/ 542441 w 2355743"/>
              <a:gd name="connsiteY20" fmla="*/ 87824 h 671593"/>
              <a:gd name="connsiteX21" fmla="*/ 625099 w 2355743"/>
              <a:gd name="connsiteY21" fmla="*/ 67159 h 671593"/>
              <a:gd name="connsiteX22" fmla="*/ 640597 w 2355743"/>
              <a:gd name="connsiteY22" fmla="*/ 61993 h 671593"/>
              <a:gd name="connsiteX23" fmla="*/ 656095 w 2355743"/>
              <a:gd name="connsiteY23" fmla="*/ 51661 h 671593"/>
              <a:gd name="connsiteX24" fmla="*/ 692258 w 2355743"/>
              <a:gd name="connsiteY24" fmla="*/ 41329 h 671593"/>
              <a:gd name="connsiteX25" fmla="*/ 743919 w 2355743"/>
              <a:gd name="connsiteY25" fmla="*/ 56827 h 671593"/>
              <a:gd name="connsiteX26" fmla="*/ 759417 w 2355743"/>
              <a:gd name="connsiteY26" fmla="*/ 61993 h 671593"/>
              <a:gd name="connsiteX27" fmla="*/ 955729 w 2355743"/>
              <a:gd name="connsiteY27" fmla="*/ 51661 h 671593"/>
              <a:gd name="connsiteX28" fmla="*/ 981560 w 2355743"/>
              <a:gd name="connsiteY28" fmla="*/ 46495 h 671593"/>
              <a:gd name="connsiteX29" fmla="*/ 1002224 w 2355743"/>
              <a:gd name="connsiteY29" fmla="*/ 41329 h 671593"/>
              <a:gd name="connsiteX30" fmla="*/ 1095214 w 2355743"/>
              <a:gd name="connsiteY30" fmla="*/ 36163 h 671593"/>
              <a:gd name="connsiteX31" fmla="*/ 1141709 w 2355743"/>
              <a:gd name="connsiteY31" fmla="*/ 30997 h 671593"/>
              <a:gd name="connsiteX32" fmla="*/ 1332855 w 2355743"/>
              <a:gd name="connsiteY32" fmla="*/ 25830 h 671593"/>
              <a:gd name="connsiteX33" fmla="*/ 1353519 w 2355743"/>
              <a:gd name="connsiteY33" fmla="*/ 20664 h 671593"/>
              <a:gd name="connsiteX34" fmla="*/ 1369017 w 2355743"/>
              <a:gd name="connsiteY34" fmla="*/ 10332 h 671593"/>
              <a:gd name="connsiteX35" fmla="*/ 1394848 w 2355743"/>
              <a:gd name="connsiteY35" fmla="*/ 5166 h 671593"/>
              <a:gd name="connsiteX36" fmla="*/ 1415512 w 2355743"/>
              <a:gd name="connsiteY36" fmla="*/ 0 h 671593"/>
              <a:gd name="connsiteX37" fmla="*/ 1493004 w 2355743"/>
              <a:gd name="connsiteY37" fmla="*/ 10332 h 671593"/>
              <a:gd name="connsiteX38" fmla="*/ 1560163 w 2355743"/>
              <a:gd name="connsiteY38" fmla="*/ 20664 h 671593"/>
              <a:gd name="connsiteX39" fmla="*/ 1575661 w 2355743"/>
              <a:gd name="connsiteY39" fmla="*/ 25830 h 671593"/>
              <a:gd name="connsiteX40" fmla="*/ 1616990 w 2355743"/>
              <a:gd name="connsiteY40" fmla="*/ 36163 h 671593"/>
              <a:gd name="connsiteX41" fmla="*/ 1637655 w 2355743"/>
              <a:gd name="connsiteY41" fmla="*/ 46495 h 671593"/>
              <a:gd name="connsiteX42" fmla="*/ 1689316 w 2355743"/>
              <a:gd name="connsiteY42" fmla="*/ 61993 h 671593"/>
              <a:gd name="connsiteX43" fmla="*/ 1870129 w 2355743"/>
              <a:gd name="connsiteY43" fmla="*/ 51661 h 671593"/>
              <a:gd name="connsiteX44" fmla="*/ 1901126 w 2355743"/>
              <a:gd name="connsiteY44" fmla="*/ 41329 h 671593"/>
              <a:gd name="connsiteX45" fmla="*/ 1937289 w 2355743"/>
              <a:gd name="connsiteY45" fmla="*/ 20664 h 671593"/>
              <a:gd name="connsiteX46" fmla="*/ 1963119 w 2355743"/>
              <a:gd name="connsiteY46" fmla="*/ 15498 h 671593"/>
              <a:gd name="connsiteX47" fmla="*/ 1978617 w 2355743"/>
              <a:gd name="connsiteY47" fmla="*/ 10332 h 671593"/>
              <a:gd name="connsiteX48" fmla="*/ 2087105 w 2355743"/>
              <a:gd name="connsiteY48" fmla="*/ 15498 h 671593"/>
              <a:gd name="connsiteX49" fmla="*/ 2128434 w 2355743"/>
              <a:gd name="connsiteY49" fmla="*/ 20664 h 671593"/>
              <a:gd name="connsiteX50" fmla="*/ 2257587 w 2355743"/>
              <a:gd name="connsiteY50" fmla="*/ 15498 h 671593"/>
              <a:gd name="connsiteX51" fmla="*/ 2283417 w 2355743"/>
              <a:gd name="connsiteY51" fmla="*/ 10332 h 671593"/>
              <a:gd name="connsiteX52" fmla="*/ 2304082 w 2355743"/>
              <a:gd name="connsiteY52" fmla="*/ 5166 h 671593"/>
              <a:gd name="connsiteX53" fmla="*/ 2350577 w 2355743"/>
              <a:gd name="connsiteY53" fmla="*/ 0 h 671593"/>
              <a:gd name="connsiteX54" fmla="*/ 2355743 w 2355743"/>
              <a:gd name="connsiteY54" fmla="*/ 15498 h 671593"/>
              <a:gd name="connsiteX55" fmla="*/ 2355743 w 2355743"/>
              <a:gd name="connsiteY55" fmla="*/ 671593 h 671593"/>
              <a:gd name="connsiteX56" fmla="*/ 288967 w 2355743"/>
              <a:gd name="connsiteY56" fmla="*/ 671593 h 671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355743" h="671593">
                <a:moveTo>
                  <a:pt x="288967" y="671593"/>
                </a:moveTo>
                <a:lnTo>
                  <a:pt x="0" y="330630"/>
                </a:lnTo>
                <a:cubicBezTo>
                  <a:pt x="8610" y="309105"/>
                  <a:pt x="7299" y="317044"/>
                  <a:pt x="10333" y="309966"/>
                </a:cubicBezTo>
                <a:cubicBezTo>
                  <a:pt x="12478" y="304961"/>
                  <a:pt x="12697" y="299137"/>
                  <a:pt x="15499" y="294468"/>
                </a:cubicBezTo>
                <a:cubicBezTo>
                  <a:pt x="21575" y="284341"/>
                  <a:pt x="55014" y="263925"/>
                  <a:pt x="56828" y="263471"/>
                </a:cubicBezTo>
                <a:cubicBezTo>
                  <a:pt x="99845" y="252717"/>
                  <a:pt x="54568" y="263056"/>
                  <a:pt x="123987" y="253139"/>
                </a:cubicBezTo>
                <a:cubicBezTo>
                  <a:pt x="132679" y="251897"/>
                  <a:pt x="141207" y="249695"/>
                  <a:pt x="149817" y="247973"/>
                </a:cubicBezTo>
                <a:cubicBezTo>
                  <a:pt x="160149" y="241085"/>
                  <a:pt x="176887" y="239089"/>
                  <a:pt x="180814" y="227308"/>
                </a:cubicBezTo>
                <a:cubicBezTo>
                  <a:pt x="182536" y="222142"/>
                  <a:pt x="184484" y="217046"/>
                  <a:pt x="185980" y="211810"/>
                </a:cubicBezTo>
                <a:cubicBezTo>
                  <a:pt x="188186" y="204087"/>
                  <a:pt x="192184" y="183903"/>
                  <a:pt x="196312" y="175647"/>
                </a:cubicBezTo>
                <a:cubicBezTo>
                  <a:pt x="199089" y="170094"/>
                  <a:pt x="201379" y="163440"/>
                  <a:pt x="206644" y="160149"/>
                </a:cubicBezTo>
                <a:cubicBezTo>
                  <a:pt x="215880" y="154377"/>
                  <a:pt x="227309" y="153261"/>
                  <a:pt x="237641" y="149817"/>
                </a:cubicBezTo>
                <a:lnTo>
                  <a:pt x="268638" y="139485"/>
                </a:lnTo>
                <a:cubicBezTo>
                  <a:pt x="273804" y="137763"/>
                  <a:pt x="278853" y="135640"/>
                  <a:pt x="284136" y="134319"/>
                </a:cubicBezTo>
                <a:cubicBezTo>
                  <a:pt x="297912" y="130875"/>
                  <a:pt x="311540" y="126771"/>
                  <a:pt x="325465" y="123986"/>
                </a:cubicBezTo>
                <a:cubicBezTo>
                  <a:pt x="345936" y="119892"/>
                  <a:pt x="396569" y="110617"/>
                  <a:pt x="418455" y="103322"/>
                </a:cubicBezTo>
                <a:cubicBezTo>
                  <a:pt x="423621" y="101600"/>
                  <a:pt x="429193" y="100801"/>
                  <a:pt x="433953" y="98156"/>
                </a:cubicBezTo>
                <a:cubicBezTo>
                  <a:pt x="444808" y="92125"/>
                  <a:pt x="454618" y="84379"/>
                  <a:pt x="464950" y="77491"/>
                </a:cubicBezTo>
                <a:lnTo>
                  <a:pt x="480448" y="67159"/>
                </a:lnTo>
                <a:lnTo>
                  <a:pt x="526943" y="82658"/>
                </a:lnTo>
                <a:lnTo>
                  <a:pt x="542441" y="87824"/>
                </a:lnTo>
                <a:cubicBezTo>
                  <a:pt x="604780" y="75355"/>
                  <a:pt x="577443" y="83044"/>
                  <a:pt x="625099" y="67159"/>
                </a:cubicBezTo>
                <a:cubicBezTo>
                  <a:pt x="630265" y="65437"/>
                  <a:pt x="636066" y="65014"/>
                  <a:pt x="640597" y="61993"/>
                </a:cubicBezTo>
                <a:cubicBezTo>
                  <a:pt x="645763" y="58549"/>
                  <a:pt x="650542" y="54438"/>
                  <a:pt x="656095" y="51661"/>
                </a:cubicBezTo>
                <a:cubicBezTo>
                  <a:pt x="663505" y="47956"/>
                  <a:pt x="685639" y="42984"/>
                  <a:pt x="692258" y="41329"/>
                </a:cubicBezTo>
                <a:cubicBezTo>
                  <a:pt x="723487" y="49136"/>
                  <a:pt x="706188" y="44250"/>
                  <a:pt x="743919" y="56827"/>
                </a:cubicBezTo>
                <a:lnTo>
                  <a:pt x="759417" y="61993"/>
                </a:lnTo>
                <a:cubicBezTo>
                  <a:pt x="826484" y="59598"/>
                  <a:pt x="890093" y="60412"/>
                  <a:pt x="955729" y="51661"/>
                </a:cubicBezTo>
                <a:cubicBezTo>
                  <a:pt x="964433" y="50501"/>
                  <a:pt x="972988" y="48400"/>
                  <a:pt x="981560" y="46495"/>
                </a:cubicBezTo>
                <a:cubicBezTo>
                  <a:pt x="988491" y="44955"/>
                  <a:pt x="995153" y="41972"/>
                  <a:pt x="1002224" y="41329"/>
                </a:cubicBezTo>
                <a:cubicBezTo>
                  <a:pt x="1033141" y="38518"/>
                  <a:pt x="1064254" y="38456"/>
                  <a:pt x="1095214" y="36163"/>
                </a:cubicBezTo>
                <a:cubicBezTo>
                  <a:pt x="1110765" y="35011"/>
                  <a:pt x="1126130" y="31674"/>
                  <a:pt x="1141709" y="30997"/>
                </a:cubicBezTo>
                <a:cubicBezTo>
                  <a:pt x="1205387" y="28228"/>
                  <a:pt x="1269140" y="27552"/>
                  <a:pt x="1332855" y="25830"/>
                </a:cubicBezTo>
                <a:cubicBezTo>
                  <a:pt x="1339743" y="24108"/>
                  <a:pt x="1346993" y="23461"/>
                  <a:pt x="1353519" y="20664"/>
                </a:cubicBezTo>
                <a:cubicBezTo>
                  <a:pt x="1359226" y="18218"/>
                  <a:pt x="1363204" y="12512"/>
                  <a:pt x="1369017" y="10332"/>
                </a:cubicBezTo>
                <a:cubicBezTo>
                  <a:pt x="1377239" y="7249"/>
                  <a:pt x="1386276" y="7071"/>
                  <a:pt x="1394848" y="5166"/>
                </a:cubicBezTo>
                <a:cubicBezTo>
                  <a:pt x="1401779" y="3626"/>
                  <a:pt x="1408624" y="1722"/>
                  <a:pt x="1415512" y="0"/>
                </a:cubicBezTo>
                <a:cubicBezTo>
                  <a:pt x="1518088" y="10257"/>
                  <a:pt x="1428803" y="-368"/>
                  <a:pt x="1493004" y="10332"/>
                </a:cubicBezTo>
                <a:cubicBezTo>
                  <a:pt x="1509484" y="13079"/>
                  <a:pt x="1543007" y="16852"/>
                  <a:pt x="1560163" y="20664"/>
                </a:cubicBezTo>
                <a:cubicBezTo>
                  <a:pt x="1565479" y="21845"/>
                  <a:pt x="1570407" y="24397"/>
                  <a:pt x="1575661" y="25830"/>
                </a:cubicBezTo>
                <a:cubicBezTo>
                  <a:pt x="1589361" y="29567"/>
                  <a:pt x="1603518" y="31672"/>
                  <a:pt x="1616990" y="36163"/>
                </a:cubicBezTo>
                <a:cubicBezTo>
                  <a:pt x="1624296" y="38598"/>
                  <a:pt x="1630617" y="43367"/>
                  <a:pt x="1637655" y="46495"/>
                </a:cubicBezTo>
                <a:cubicBezTo>
                  <a:pt x="1665460" y="58853"/>
                  <a:pt x="1660241" y="56178"/>
                  <a:pt x="1689316" y="61993"/>
                </a:cubicBezTo>
                <a:cubicBezTo>
                  <a:pt x="1697294" y="61613"/>
                  <a:pt x="1844911" y="55444"/>
                  <a:pt x="1870129" y="51661"/>
                </a:cubicBezTo>
                <a:cubicBezTo>
                  <a:pt x="1880900" y="50045"/>
                  <a:pt x="1892064" y="47370"/>
                  <a:pt x="1901126" y="41329"/>
                </a:cubicBezTo>
                <a:cubicBezTo>
                  <a:pt x="1912463" y="33771"/>
                  <a:pt x="1924181" y="25033"/>
                  <a:pt x="1937289" y="20664"/>
                </a:cubicBezTo>
                <a:cubicBezTo>
                  <a:pt x="1945619" y="17887"/>
                  <a:pt x="1954601" y="17628"/>
                  <a:pt x="1963119" y="15498"/>
                </a:cubicBezTo>
                <a:cubicBezTo>
                  <a:pt x="1968402" y="14177"/>
                  <a:pt x="1973451" y="12054"/>
                  <a:pt x="1978617" y="10332"/>
                </a:cubicBezTo>
                <a:cubicBezTo>
                  <a:pt x="2014780" y="12054"/>
                  <a:pt x="2050987" y="13007"/>
                  <a:pt x="2087105" y="15498"/>
                </a:cubicBezTo>
                <a:cubicBezTo>
                  <a:pt x="2100956" y="16453"/>
                  <a:pt x="2114550" y="20664"/>
                  <a:pt x="2128434" y="20664"/>
                </a:cubicBezTo>
                <a:cubicBezTo>
                  <a:pt x="2171519" y="20664"/>
                  <a:pt x="2214536" y="17220"/>
                  <a:pt x="2257587" y="15498"/>
                </a:cubicBezTo>
                <a:cubicBezTo>
                  <a:pt x="2266197" y="13776"/>
                  <a:pt x="2274846" y="12237"/>
                  <a:pt x="2283417" y="10332"/>
                </a:cubicBezTo>
                <a:cubicBezTo>
                  <a:pt x="2290348" y="8792"/>
                  <a:pt x="2297064" y="6246"/>
                  <a:pt x="2304082" y="5166"/>
                </a:cubicBezTo>
                <a:cubicBezTo>
                  <a:pt x="2319494" y="2795"/>
                  <a:pt x="2335079" y="1722"/>
                  <a:pt x="2350577" y="0"/>
                </a:cubicBezTo>
                <a:lnTo>
                  <a:pt x="2355743" y="15498"/>
                </a:lnTo>
                <a:lnTo>
                  <a:pt x="2355743" y="671593"/>
                </a:lnTo>
                <a:lnTo>
                  <a:pt x="288967" y="671593"/>
                </a:lnTo>
                <a:close/>
              </a:path>
            </a:pathLst>
          </a:custGeom>
          <a:gradFill flip="none" rotWithShape="1">
            <a:gsLst>
              <a:gs pos="0">
                <a:schemeClr val="tx2"/>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97" name="Freeform 1396"/>
          <p:cNvSpPr/>
          <p:nvPr/>
        </p:nvSpPr>
        <p:spPr bwMode="auto">
          <a:xfrm>
            <a:off x="7614778" y="4338084"/>
            <a:ext cx="538400" cy="292953"/>
          </a:xfrm>
          <a:custGeom>
            <a:avLst/>
            <a:gdLst>
              <a:gd name="connsiteX0" fmla="*/ 206644 w 702590"/>
              <a:gd name="connsiteY0" fmla="*/ 5166 h 382292"/>
              <a:gd name="connsiteX1" fmla="*/ 0 w 702590"/>
              <a:gd name="connsiteY1" fmla="*/ 294468 h 382292"/>
              <a:gd name="connsiteX2" fmla="*/ 702590 w 702590"/>
              <a:gd name="connsiteY2" fmla="*/ 382292 h 382292"/>
              <a:gd name="connsiteX3" fmla="*/ 418454 w 702590"/>
              <a:gd name="connsiteY3" fmla="*/ 0 h 382292"/>
              <a:gd name="connsiteX4" fmla="*/ 206644 w 702590"/>
              <a:gd name="connsiteY4" fmla="*/ 5166 h 382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590" h="382292">
                <a:moveTo>
                  <a:pt x="206644" y="5166"/>
                </a:moveTo>
                <a:lnTo>
                  <a:pt x="0" y="294468"/>
                </a:lnTo>
                <a:lnTo>
                  <a:pt x="702590" y="382292"/>
                </a:lnTo>
                <a:lnTo>
                  <a:pt x="418454" y="0"/>
                </a:lnTo>
                <a:lnTo>
                  <a:pt x="206644" y="5166"/>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398" name="Group 1397"/>
          <p:cNvGrpSpPr/>
          <p:nvPr/>
        </p:nvGrpSpPr>
        <p:grpSpPr>
          <a:xfrm>
            <a:off x="7137675" y="4568619"/>
            <a:ext cx="1583618" cy="176700"/>
            <a:chOff x="331395" y="2887517"/>
            <a:chExt cx="1413224" cy="230586"/>
          </a:xfrm>
        </p:grpSpPr>
        <p:sp>
          <p:nvSpPr>
            <p:cNvPr id="1415" name="Freeform 98"/>
            <p:cNvSpPr>
              <a:spLocks/>
            </p:cNvSpPr>
            <p:nvPr/>
          </p:nvSpPr>
          <p:spPr bwMode="auto">
            <a:xfrm>
              <a:off x="331395" y="2887517"/>
              <a:ext cx="1413224" cy="208205"/>
            </a:xfrm>
            <a:custGeom>
              <a:avLst/>
              <a:gdLst>
                <a:gd name="T0" fmla="*/ 0 w 3636"/>
                <a:gd name="T1" fmla="*/ 455 h 458"/>
                <a:gd name="T2" fmla="*/ 3535 w 3636"/>
                <a:gd name="T3" fmla="*/ 458 h 458"/>
                <a:gd name="T4" fmla="*/ 3535 w 3636"/>
                <a:gd name="T5" fmla="*/ 458 h 458"/>
                <a:gd name="T6" fmla="*/ 3557 w 3636"/>
                <a:gd name="T7" fmla="*/ 457 h 458"/>
                <a:gd name="T8" fmla="*/ 3576 w 3636"/>
                <a:gd name="T9" fmla="*/ 453 h 458"/>
                <a:gd name="T10" fmla="*/ 3593 w 3636"/>
                <a:gd name="T11" fmla="*/ 447 h 458"/>
                <a:gd name="T12" fmla="*/ 3601 w 3636"/>
                <a:gd name="T13" fmla="*/ 444 h 458"/>
                <a:gd name="T14" fmla="*/ 3608 w 3636"/>
                <a:gd name="T15" fmla="*/ 440 h 458"/>
                <a:gd name="T16" fmla="*/ 3613 w 3636"/>
                <a:gd name="T17" fmla="*/ 435 h 458"/>
                <a:gd name="T18" fmla="*/ 3619 w 3636"/>
                <a:gd name="T19" fmla="*/ 430 h 458"/>
                <a:gd name="T20" fmla="*/ 3624 w 3636"/>
                <a:gd name="T21" fmla="*/ 425 h 458"/>
                <a:gd name="T22" fmla="*/ 3628 w 3636"/>
                <a:gd name="T23" fmla="*/ 419 h 458"/>
                <a:gd name="T24" fmla="*/ 3630 w 3636"/>
                <a:gd name="T25" fmla="*/ 413 h 458"/>
                <a:gd name="T26" fmla="*/ 3633 w 3636"/>
                <a:gd name="T27" fmla="*/ 406 h 458"/>
                <a:gd name="T28" fmla="*/ 3635 w 3636"/>
                <a:gd name="T29" fmla="*/ 398 h 458"/>
                <a:gd name="T30" fmla="*/ 3636 w 3636"/>
                <a:gd name="T31" fmla="*/ 391 h 458"/>
                <a:gd name="T32" fmla="*/ 3636 w 3636"/>
                <a:gd name="T33" fmla="*/ 375 h 458"/>
                <a:gd name="T34" fmla="*/ 3634 w 3636"/>
                <a:gd name="T35" fmla="*/ 357 h 458"/>
                <a:gd name="T36" fmla="*/ 3628 w 3636"/>
                <a:gd name="T37" fmla="*/ 338 h 458"/>
                <a:gd name="T38" fmla="*/ 3619 w 3636"/>
                <a:gd name="T39" fmla="*/ 319 h 458"/>
                <a:gd name="T40" fmla="*/ 3608 w 3636"/>
                <a:gd name="T41" fmla="*/ 298 h 458"/>
                <a:gd name="T42" fmla="*/ 3595 w 3636"/>
                <a:gd name="T43" fmla="*/ 276 h 458"/>
                <a:gd name="T44" fmla="*/ 3577 w 3636"/>
                <a:gd name="T45" fmla="*/ 252 h 458"/>
                <a:gd name="T46" fmla="*/ 3557 w 3636"/>
                <a:gd name="T47" fmla="*/ 229 h 458"/>
                <a:gd name="T48" fmla="*/ 3557 w 3636"/>
                <a:gd name="T49" fmla="*/ 229 h 458"/>
                <a:gd name="T50" fmla="*/ 3535 w 3636"/>
                <a:gd name="T51" fmla="*/ 206 h 458"/>
                <a:gd name="T52" fmla="*/ 3511 w 3636"/>
                <a:gd name="T53" fmla="*/ 183 h 458"/>
                <a:gd name="T54" fmla="*/ 3486 w 3636"/>
                <a:gd name="T55" fmla="*/ 161 h 458"/>
                <a:gd name="T56" fmla="*/ 3459 w 3636"/>
                <a:gd name="T57" fmla="*/ 140 h 458"/>
                <a:gd name="T58" fmla="*/ 3432 w 3636"/>
                <a:gd name="T59" fmla="*/ 120 h 458"/>
                <a:gd name="T60" fmla="*/ 3402 w 3636"/>
                <a:gd name="T61" fmla="*/ 102 h 458"/>
                <a:gd name="T62" fmla="*/ 3374 w 3636"/>
                <a:gd name="T63" fmla="*/ 83 h 458"/>
                <a:gd name="T64" fmla="*/ 3345 w 3636"/>
                <a:gd name="T65" fmla="*/ 67 h 458"/>
                <a:gd name="T66" fmla="*/ 3314 w 3636"/>
                <a:gd name="T67" fmla="*/ 53 h 458"/>
                <a:gd name="T68" fmla="*/ 3285 w 3636"/>
                <a:gd name="T69" fmla="*/ 39 h 458"/>
                <a:gd name="T70" fmla="*/ 3257 w 3636"/>
                <a:gd name="T71" fmla="*/ 28 h 458"/>
                <a:gd name="T72" fmla="*/ 3227 w 3636"/>
                <a:gd name="T73" fmla="*/ 18 h 458"/>
                <a:gd name="T74" fmla="*/ 3199 w 3636"/>
                <a:gd name="T75" fmla="*/ 11 h 458"/>
                <a:gd name="T76" fmla="*/ 3172 w 3636"/>
                <a:gd name="T77" fmla="*/ 5 h 458"/>
                <a:gd name="T78" fmla="*/ 3146 w 3636"/>
                <a:gd name="T79" fmla="*/ 1 h 458"/>
                <a:gd name="T80" fmla="*/ 3122 w 3636"/>
                <a:gd name="T81" fmla="*/ 0 h 458"/>
                <a:gd name="T82" fmla="*/ 502 w 3636"/>
                <a:gd name="T83" fmla="*/ 0 h 458"/>
                <a:gd name="T84" fmla="*/ 0 w 3636"/>
                <a:gd name="T85" fmla="*/ 455 h 458"/>
                <a:gd name="connsiteX0" fmla="*/ 0 w 10000"/>
                <a:gd name="connsiteY0" fmla="*/ 9934 h 10000"/>
                <a:gd name="connsiteX1" fmla="*/ 9722 w 10000"/>
                <a:gd name="connsiteY1" fmla="*/ 10000 h 10000"/>
                <a:gd name="connsiteX2" fmla="*/ 9722 w 10000"/>
                <a:gd name="connsiteY2" fmla="*/ 10000 h 10000"/>
                <a:gd name="connsiteX3" fmla="*/ 9783 w 10000"/>
                <a:gd name="connsiteY3" fmla="*/ 9978 h 10000"/>
                <a:gd name="connsiteX4" fmla="*/ 9835 w 10000"/>
                <a:gd name="connsiteY4" fmla="*/ 9891 h 10000"/>
                <a:gd name="connsiteX5" fmla="*/ 9882 w 10000"/>
                <a:gd name="connsiteY5" fmla="*/ 9760 h 10000"/>
                <a:gd name="connsiteX6" fmla="*/ 9904 w 10000"/>
                <a:gd name="connsiteY6" fmla="*/ 9694 h 10000"/>
                <a:gd name="connsiteX7" fmla="*/ 9923 w 10000"/>
                <a:gd name="connsiteY7" fmla="*/ 9607 h 10000"/>
                <a:gd name="connsiteX8" fmla="*/ 9937 w 10000"/>
                <a:gd name="connsiteY8" fmla="*/ 9498 h 10000"/>
                <a:gd name="connsiteX9" fmla="*/ 9953 w 10000"/>
                <a:gd name="connsiteY9" fmla="*/ 9389 h 10000"/>
                <a:gd name="connsiteX10" fmla="*/ 9967 w 10000"/>
                <a:gd name="connsiteY10" fmla="*/ 9279 h 10000"/>
                <a:gd name="connsiteX11" fmla="*/ 9978 w 10000"/>
                <a:gd name="connsiteY11" fmla="*/ 9148 h 10000"/>
                <a:gd name="connsiteX12" fmla="*/ 9983 w 10000"/>
                <a:gd name="connsiteY12" fmla="*/ 9017 h 10000"/>
                <a:gd name="connsiteX13" fmla="*/ 9992 w 10000"/>
                <a:gd name="connsiteY13" fmla="*/ 8865 h 10000"/>
                <a:gd name="connsiteX14" fmla="*/ 9997 w 10000"/>
                <a:gd name="connsiteY14" fmla="*/ 8690 h 10000"/>
                <a:gd name="connsiteX15" fmla="*/ 10000 w 10000"/>
                <a:gd name="connsiteY15" fmla="*/ 8537 h 10000"/>
                <a:gd name="connsiteX16" fmla="*/ 10000 w 10000"/>
                <a:gd name="connsiteY16" fmla="*/ 8188 h 10000"/>
                <a:gd name="connsiteX17" fmla="*/ 9994 w 10000"/>
                <a:gd name="connsiteY17" fmla="*/ 7795 h 10000"/>
                <a:gd name="connsiteX18" fmla="*/ 9978 w 10000"/>
                <a:gd name="connsiteY18" fmla="*/ 7380 h 10000"/>
                <a:gd name="connsiteX19" fmla="*/ 9953 w 10000"/>
                <a:gd name="connsiteY19" fmla="*/ 6965 h 10000"/>
                <a:gd name="connsiteX20" fmla="*/ 9923 w 10000"/>
                <a:gd name="connsiteY20" fmla="*/ 6507 h 10000"/>
                <a:gd name="connsiteX21" fmla="*/ 9887 w 10000"/>
                <a:gd name="connsiteY21" fmla="*/ 6026 h 10000"/>
                <a:gd name="connsiteX22" fmla="*/ 9838 w 10000"/>
                <a:gd name="connsiteY22" fmla="*/ 5502 h 10000"/>
                <a:gd name="connsiteX23" fmla="*/ 9783 w 10000"/>
                <a:gd name="connsiteY23" fmla="*/ 5000 h 10000"/>
                <a:gd name="connsiteX24" fmla="*/ 9783 w 10000"/>
                <a:gd name="connsiteY24" fmla="*/ 5000 h 10000"/>
                <a:gd name="connsiteX25" fmla="*/ 9722 w 10000"/>
                <a:gd name="connsiteY25" fmla="*/ 4498 h 10000"/>
                <a:gd name="connsiteX26" fmla="*/ 9656 w 10000"/>
                <a:gd name="connsiteY26" fmla="*/ 3996 h 10000"/>
                <a:gd name="connsiteX27" fmla="*/ 9587 w 10000"/>
                <a:gd name="connsiteY27" fmla="*/ 3515 h 10000"/>
                <a:gd name="connsiteX28" fmla="*/ 9513 w 10000"/>
                <a:gd name="connsiteY28" fmla="*/ 3057 h 10000"/>
                <a:gd name="connsiteX29" fmla="*/ 9439 w 10000"/>
                <a:gd name="connsiteY29" fmla="*/ 2620 h 10000"/>
                <a:gd name="connsiteX30" fmla="*/ 9356 w 10000"/>
                <a:gd name="connsiteY30" fmla="*/ 2227 h 10000"/>
                <a:gd name="connsiteX31" fmla="*/ 9279 w 10000"/>
                <a:gd name="connsiteY31" fmla="*/ 1812 h 10000"/>
                <a:gd name="connsiteX32" fmla="*/ 9200 w 10000"/>
                <a:gd name="connsiteY32" fmla="*/ 1463 h 10000"/>
                <a:gd name="connsiteX33" fmla="*/ 9114 w 10000"/>
                <a:gd name="connsiteY33" fmla="*/ 1157 h 10000"/>
                <a:gd name="connsiteX34" fmla="*/ 9035 w 10000"/>
                <a:gd name="connsiteY34" fmla="*/ 852 h 10000"/>
                <a:gd name="connsiteX35" fmla="*/ 8958 w 10000"/>
                <a:gd name="connsiteY35" fmla="*/ 611 h 10000"/>
                <a:gd name="connsiteX36" fmla="*/ 8875 w 10000"/>
                <a:gd name="connsiteY36" fmla="*/ 393 h 10000"/>
                <a:gd name="connsiteX37" fmla="*/ 8798 w 10000"/>
                <a:gd name="connsiteY37" fmla="*/ 240 h 10000"/>
                <a:gd name="connsiteX38" fmla="*/ 8724 w 10000"/>
                <a:gd name="connsiteY38" fmla="*/ 109 h 10000"/>
                <a:gd name="connsiteX39" fmla="*/ 8652 w 10000"/>
                <a:gd name="connsiteY39" fmla="*/ 22 h 10000"/>
                <a:gd name="connsiteX40" fmla="*/ 8586 w 10000"/>
                <a:gd name="connsiteY40" fmla="*/ 0 h 10000"/>
                <a:gd name="connsiteX41" fmla="*/ 36 w 10000"/>
                <a:gd name="connsiteY41" fmla="*/ 0 h 10000"/>
                <a:gd name="connsiteX42" fmla="*/ 0 w 10000"/>
                <a:gd name="connsiteY42" fmla="*/ 9934 h 10000"/>
                <a:gd name="connsiteX0" fmla="*/ 1337 w 9965"/>
                <a:gd name="connsiteY0" fmla="*/ 9934 h 10000"/>
                <a:gd name="connsiteX1" fmla="*/ 9687 w 9965"/>
                <a:gd name="connsiteY1" fmla="*/ 10000 h 10000"/>
                <a:gd name="connsiteX2" fmla="*/ 9687 w 9965"/>
                <a:gd name="connsiteY2" fmla="*/ 10000 h 10000"/>
                <a:gd name="connsiteX3" fmla="*/ 9748 w 9965"/>
                <a:gd name="connsiteY3" fmla="*/ 9978 h 10000"/>
                <a:gd name="connsiteX4" fmla="*/ 9800 w 9965"/>
                <a:gd name="connsiteY4" fmla="*/ 9891 h 10000"/>
                <a:gd name="connsiteX5" fmla="*/ 9847 w 9965"/>
                <a:gd name="connsiteY5" fmla="*/ 9760 h 10000"/>
                <a:gd name="connsiteX6" fmla="*/ 9869 w 9965"/>
                <a:gd name="connsiteY6" fmla="*/ 9694 h 10000"/>
                <a:gd name="connsiteX7" fmla="*/ 9888 w 9965"/>
                <a:gd name="connsiteY7" fmla="*/ 9607 h 10000"/>
                <a:gd name="connsiteX8" fmla="*/ 9902 w 9965"/>
                <a:gd name="connsiteY8" fmla="*/ 9498 h 10000"/>
                <a:gd name="connsiteX9" fmla="*/ 9918 w 9965"/>
                <a:gd name="connsiteY9" fmla="*/ 9389 h 10000"/>
                <a:gd name="connsiteX10" fmla="*/ 9932 w 9965"/>
                <a:gd name="connsiteY10" fmla="*/ 9279 h 10000"/>
                <a:gd name="connsiteX11" fmla="*/ 9943 w 9965"/>
                <a:gd name="connsiteY11" fmla="*/ 9148 h 10000"/>
                <a:gd name="connsiteX12" fmla="*/ 9948 w 9965"/>
                <a:gd name="connsiteY12" fmla="*/ 9017 h 10000"/>
                <a:gd name="connsiteX13" fmla="*/ 9957 w 9965"/>
                <a:gd name="connsiteY13" fmla="*/ 8865 h 10000"/>
                <a:gd name="connsiteX14" fmla="*/ 9962 w 9965"/>
                <a:gd name="connsiteY14" fmla="*/ 8690 h 10000"/>
                <a:gd name="connsiteX15" fmla="*/ 9965 w 9965"/>
                <a:gd name="connsiteY15" fmla="*/ 8537 h 10000"/>
                <a:gd name="connsiteX16" fmla="*/ 9965 w 9965"/>
                <a:gd name="connsiteY16" fmla="*/ 8188 h 10000"/>
                <a:gd name="connsiteX17" fmla="*/ 9959 w 9965"/>
                <a:gd name="connsiteY17" fmla="*/ 7795 h 10000"/>
                <a:gd name="connsiteX18" fmla="*/ 9943 w 9965"/>
                <a:gd name="connsiteY18" fmla="*/ 7380 h 10000"/>
                <a:gd name="connsiteX19" fmla="*/ 9918 w 9965"/>
                <a:gd name="connsiteY19" fmla="*/ 6965 h 10000"/>
                <a:gd name="connsiteX20" fmla="*/ 9888 w 9965"/>
                <a:gd name="connsiteY20" fmla="*/ 6507 h 10000"/>
                <a:gd name="connsiteX21" fmla="*/ 9852 w 9965"/>
                <a:gd name="connsiteY21" fmla="*/ 6026 h 10000"/>
                <a:gd name="connsiteX22" fmla="*/ 9803 w 9965"/>
                <a:gd name="connsiteY22" fmla="*/ 5502 h 10000"/>
                <a:gd name="connsiteX23" fmla="*/ 9748 w 9965"/>
                <a:gd name="connsiteY23" fmla="*/ 5000 h 10000"/>
                <a:gd name="connsiteX24" fmla="*/ 9748 w 9965"/>
                <a:gd name="connsiteY24" fmla="*/ 5000 h 10000"/>
                <a:gd name="connsiteX25" fmla="*/ 9687 w 9965"/>
                <a:gd name="connsiteY25" fmla="*/ 4498 h 10000"/>
                <a:gd name="connsiteX26" fmla="*/ 9621 w 9965"/>
                <a:gd name="connsiteY26" fmla="*/ 3996 h 10000"/>
                <a:gd name="connsiteX27" fmla="*/ 9552 w 9965"/>
                <a:gd name="connsiteY27" fmla="*/ 3515 h 10000"/>
                <a:gd name="connsiteX28" fmla="*/ 9478 w 9965"/>
                <a:gd name="connsiteY28" fmla="*/ 3057 h 10000"/>
                <a:gd name="connsiteX29" fmla="*/ 9404 w 9965"/>
                <a:gd name="connsiteY29" fmla="*/ 2620 h 10000"/>
                <a:gd name="connsiteX30" fmla="*/ 9321 w 9965"/>
                <a:gd name="connsiteY30" fmla="*/ 2227 h 10000"/>
                <a:gd name="connsiteX31" fmla="*/ 9244 w 9965"/>
                <a:gd name="connsiteY31" fmla="*/ 1812 h 10000"/>
                <a:gd name="connsiteX32" fmla="*/ 9165 w 9965"/>
                <a:gd name="connsiteY32" fmla="*/ 1463 h 10000"/>
                <a:gd name="connsiteX33" fmla="*/ 9079 w 9965"/>
                <a:gd name="connsiteY33" fmla="*/ 1157 h 10000"/>
                <a:gd name="connsiteX34" fmla="*/ 9000 w 9965"/>
                <a:gd name="connsiteY34" fmla="*/ 852 h 10000"/>
                <a:gd name="connsiteX35" fmla="*/ 8923 w 9965"/>
                <a:gd name="connsiteY35" fmla="*/ 611 h 10000"/>
                <a:gd name="connsiteX36" fmla="*/ 8840 w 9965"/>
                <a:gd name="connsiteY36" fmla="*/ 393 h 10000"/>
                <a:gd name="connsiteX37" fmla="*/ 8763 w 9965"/>
                <a:gd name="connsiteY37" fmla="*/ 240 h 10000"/>
                <a:gd name="connsiteX38" fmla="*/ 8689 w 9965"/>
                <a:gd name="connsiteY38" fmla="*/ 109 h 10000"/>
                <a:gd name="connsiteX39" fmla="*/ 8617 w 9965"/>
                <a:gd name="connsiteY39" fmla="*/ 22 h 10000"/>
                <a:gd name="connsiteX40" fmla="*/ 8551 w 9965"/>
                <a:gd name="connsiteY40" fmla="*/ 0 h 10000"/>
                <a:gd name="connsiteX41" fmla="*/ 1 w 9965"/>
                <a:gd name="connsiteY41" fmla="*/ 0 h 10000"/>
                <a:gd name="connsiteX42" fmla="*/ 1337 w 9965"/>
                <a:gd name="connsiteY42" fmla="*/ 9934 h 10000"/>
                <a:gd name="connsiteX0" fmla="*/ 522 w 9180"/>
                <a:gd name="connsiteY0" fmla="*/ 9934 h 10000"/>
                <a:gd name="connsiteX1" fmla="*/ 8901 w 9180"/>
                <a:gd name="connsiteY1" fmla="*/ 10000 h 10000"/>
                <a:gd name="connsiteX2" fmla="*/ 8901 w 9180"/>
                <a:gd name="connsiteY2" fmla="*/ 10000 h 10000"/>
                <a:gd name="connsiteX3" fmla="*/ 8962 w 9180"/>
                <a:gd name="connsiteY3" fmla="*/ 9978 h 10000"/>
                <a:gd name="connsiteX4" fmla="*/ 9014 w 9180"/>
                <a:gd name="connsiteY4" fmla="*/ 9891 h 10000"/>
                <a:gd name="connsiteX5" fmla="*/ 9062 w 9180"/>
                <a:gd name="connsiteY5" fmla="*/ 9760 h 10000"/>
                <a:gd name="connsiteX6" fmla="*/ 9084 w 9180"/>
                <a:gd name="connsiteY6" fmla="*/ 9694 h 10000"/>
                <a:gd name="connsiteX7" fmla="*/ 9103 w 9180"/>
                <a:gd name="connsiteY7" fmla="*/ 9607 h 10000"/>
                <a:gd name="connsiteX8" fmla="*/ 9117 w 9180"/>
                <a:gd name="connsiteY8" fmla="*/ 9498 h 10000"/>
                <a:gd name="connsiteX9" fmla="*/ 9133 w 9180"/>
                <a:gd name="connsiteY9" fmla="*/ 9389 h 10000"/>
                <a:gd name="connsiteX10" fmla="*/ 9147 w 9180"/>
                <a:gd name="connsiteY10" fmla="*/ 9279 h 10000"/>
                <a:gd name="connsiteX11" fmla="*/ 9158 w 9180"/>
                <a:gd name="connsiteY11" fmla="*/ 9148 h 10000"/>
                <a:gd name="connsiteX12" fmla="*/ 9163 w 9180"/>
                <a:gd name="connsiteY12" fmla="*/ 9017 h 10000"/>
                <a:gd name="connsiteX13" fmla="*/ 9172 w 9180"/>
                <a:gd name="connsiteY13" fmla="*/ 8865 h 10000"/>
                <a:gd name="connsiteX14" fmla="*/ 9177 w 9180"/>
                <a:gd name="connsiteY14" fmla="*/ 8690 h 10000"/>
                <a:gd name="connsiteX15" fmla="*/ 9180 w 9180"/>
                <a:gd name="connsiteY15" fmla="*/ 8537 h 10000"/>
                <a:gd name="connsiteX16" fmla="*/ 9180 w 9180"/>
                <a:gd name="connsiteY16" fmla="*/ 8188 h 10000"/>
                <a:gd name="connsiteX17" fmla="*/ 9174 w 9180"/>
                <a:gd name="connsiteY17" fmla="*/ 7795 h 10000"/>
                <a:gd name="connsiteX18" fmla="*/ 9158 w 9180"/>
                <a:gd name="connsiteY18" fmla="*/ 7380 h 10000"/>
                <a:gd name="connsiteX19" fmla="*/ 9133 w 9180"/>
                <a:gd name="connsiteY19" fmla="*/ 6965 h 10000"/>
                <a:gd name="connsiteX20" fmla="*/ 9103 w 9180"/>
                <a:gd name="connsiteY20" fmla="*/ 6507 h 10000"/>
                <a:gd name="connsiteX21" fmla="*/ 9067 w 9180"/>
                <a:gd name="connsiteY21" fmla="*/ 6026 h 10000"/>
                <a:gd name="connsiteX22" fmla="*/ 9017 w 9180"/>
                <a:gd name="connsiteY22" fmla="*/ 5502 h 10000"/>
                <a:gd name="connsiteX23" fmla="*/ 8962 w 9180"/>
                <a:gd name="connsiteY23" fmla="*/ 5000 h 10000"/>
                <a:gd name="connsiteX24" fmla="*/ 8962 w 9180"/>
                <a:gd name="connsiteY24" fmla="*/ 5000 h 10000"/>
                <a:gd name="connsiteX25" fmla="*/ 8901 w 9180"/>
                <a:gd name="connsiteY25" fmla="*/ 4498 h 10000"/>
                <a:gd name="connsiteX26" fmla="*/ 8835 w 9180"/>
                <a:gd name="connsiteY26" fmla="*/ 3996 h 10000"/>
                <a:gd name="connsiteX27" fmla="*/ 8766 w 9180"/>
                <a:gd name="connsiteY27" fmla="*/ 3515 h 10000"/>
                <a:gd name="connsiteX28" fmla="*/ 8691 w 9180"/>
                <a:gd name="connsiteY28" fmla="*/ 3057 h 10000"/>
                <a:gd name="connsiteX29" fmla="*/ 8617 w 9180"/>
                <a:gd name="connsiteY29" fmla="*/ 2620 h 10000"/>
                <a:gd name="connsiteX30" fmla="*/ 8534 w 9180"/>
                <a:gd name="connsiteY30" fmla="*/ 2227 h 10000"/>
                <a:gd name="connsiteX31" fmla="*/ 8456 w 9180"/>
                <a:gd name="connsiteY31" fmla="*/ 1812 h 10000"/>
                <a:gd name="connsiteX32" fmla="*/ 8377 w 9180"/>
                <a:gd name="connsiteY32" fmla="*/ 1463 h 10000"/>
                <a:gd name="connsiteX33" fmla="*/ 8291 w 9180"/>
                <a:gd name="connsiteY33" fmla="*/ 1157 h 10000"/>
                <a:gd name="connsiteX34" fmla="*/ 8212 w 9180"/>
                <a:gd name="connsiteY34" fmla="*/ 852 h 10000"/>
                <a:gd name="connsiteX35" fmla="*/ 8134 w 9180"/>
                <a:gd name="connsiteY35" fmla="*/ 611 h 10000"/>
                <a:gd name="connsiteX36" fmla="*/ 8051 w 9180"/>
                <a:gd name="connsiteY36" fmla="*/ 393 h 10000"/>
                <a:gd name="connsiteX37" fmla="*/ 7974 w 9180"/>
                <a:gd name="connsiteY37" fmla="*/ 240 h 10000"/>
                <a:gd name="connsiteX38" fmla="*/ 7900 w 9180"/>
                <a:gd name="connsiteY38" fmla="*/ 109 h 10000"/>
                <a:gd name="connsiteX39" fmla="*/ 7827 w 9180"/>
                <a:gd name="connsiteY39" fmla="*/ 22 h 10000"/>
                <a:gd name="connsiteX40" fmla="*/ 7761 w 9180"/>
                <a:gd name="connsiteY40" fmla="*/ 0 h 10000"/>
                <a:gd name="connsiteX41" fmla="*/ 1 w 9180"/>
                <a:gd name="connsiteY41" fmla="*/ 0 h 10000"/>
                <a:gd name="connsiteX42" fmla="*/ 522 w 9180"/>
                <a:gd name="connsiteY42" fmla="*/ 993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180" h="10000">
                  <a:moveTo>
                    <a:pt x="522" y="9934"/>
                  </a:moveTo>
                  <a:lnTo>
                    <a:pt x="8901" y="10000"/>
                  </a:lnTo>
                  <a:lnTo>
                    <a:pt x="8901" y="10000"/>
                  </a:lnTo>
                  <a:cubicBezTo>
                    <a:pt x="8921" y="9993"/>
                    <a:pt x="8942" y="9985"/>
                    <a:pt x="8962" y="9978"/>
                  </a:cubicBezTo>
                  <a:cubicBezTo>
                    <a:pt x="8979" y="9949"/>
                    <a:pt x="8997" y="9920"/>
                    <a:pt x="9014" y="9891"/>
                  </a:cubicBezTo>
                  <a:cubicBezTo>
                    <a:pt x="9030" y="9847"/>
                    <a:pt x="9046" y="9804"/>
                    <a:pt x="9062" y="9760"/>
                  </a:cubicBezTo>
                  <a:cubicBezTo>
                    <a:pt x="9069" y="9738"/>
                    <a:pt x="9077" y="9716"/>
                    <a:pt x="9084" y="9694"/>
                  </a:cubicBezTo>
                  <a:cubicBezTo>
                    <a:pt x="9090" y="9665"/>
                    <a:pt x="9097" y="9636"/>
                    <a:pt x="9103" y="9607"/>
                  </a:cubicBezTo>
                  <a:cubicBezTo>
                    <a:pt x="9108" y="9571"/>
                    <a:pt x="9112" y="9534"/>
                    <a:pt x="9117" y="9498"/>
                  </a:cubicBezTo>
                  <a:cubicBezTo>
                    <a:pt x="9122" y="9462"/>
                    <a:pt x="9128" y="9425"/>
                    <a:pt x="9133" y="9389"/>
                  </a:cubicBezTo>
                  <a:cubicBezTo>
                    <a:pt x="9138" y="9352"/>
                    <a:pt x="9142" y="9316"/>
                    <a:pt x="9147" y="9279"/>
                  </a:cubicBezTo>
                  <a:cubicBezTo>
                    <a:pt x="9151" y="9235"/>
                    <a:pt x="9154" y="9192"/>
                    <a:pt x="9158" y="9148"/>
                  </a:cubicBezTo>
                  <a:cubicBezTo>
                    <a:pt x="9160" y="9104"/>
                    <a:pt x="9161" y="9061"/>
                    <a:pt x="9163" y="9017"/>
                  </a:cubicBezTo>
                  <a:cubicBezTo>
                    <a:pt x="9166" y="8966"/>
                    <a:pt x="9169" y="8916"/>
                    <a:pt x="9172" y="8865"/>
                  </a:cubicBezTo>
                  <a:cubicBezTo>
                    <a:pt x="9174" y="8807"/>
                    <a:pt x="9175" y="8748"/>
                    <a:pt x="9177" y="8690"/>
                  </a:cubicBezTo>
                  <a:lnTo>
                    <a:pt x="9180" y="8537"/>
                  </a:lnTo>
                  <a:lnTo>
                    <a:pt x="9180" y="8188"/>
                  </a:lnTo>
                  <a:lnTo>
                    <a:pt x="9174" y="7795"/>
                  </a:lnTo>
                  <a:cubicBezTo>
                    <a:pt x="9169" y="7657"/>
                    <a:pt x="9163" y="7518"/>
                    <a:pt x="9158" y="7380"/>
                  </a:cubicBezTo>
                  <a:cubicBezTo>
                    <a:pt x="9150" y="7242"/>
                    <a:pt x="9141" y="7103"/>
                    <a:pt x="9133" y="6965"/>
                  </a:cubicBezTo>
                  <a:cubicBezTo>
                    <a:pt x="9123" y="6812"/>
                    <a:pt x="9113" y="6660"/>
                    <a:pt x="9103" y="6507"/>
                  </a:cubicBezTo>
                  <a:cubicBezTo>
                    <a:pt x="9091" y="6347"/>
                    <a:pt x="9079" y="6186"/>
                    <a:pt x="9067" y="6026"/>
                  </a:cubicBezTo>
                  <a:cubicBezTo>
                    <a:pt x="9051" y="5851"/>
                    <a:pt x="9033" y="5677"/>
                    <a:pt x="9017" y="5502"/>
                  </a:cubicBezTo>
                  <a:cubicBezTo>
                    <a:pt x="8999" y="5335"/>
                    <a:pt x="8980" y="5167"/>
                    <a:pt x="8962" y="5000"/>
                  </a:cubicBezTo>
                  <a:lnTo>
                    <a:pt x="8962" y="5000"/>
                  </a:lnTo>
                  <a:cubicBezTo>
                    <a:pt x="8942" y="4833"/>
                    <a:pt x="8921" y="4665"/>
                    <a:pt x="8901" y="4498"/>
                  </a:cubicBezTo>
                  <a:cubicBezTo>
                    <a:pt x="8879" y="4331"/>
                    <a:pt x="8857" y="4163"/>
                    <a:pt x="8835" y="3996"/>
                  </a:cubicBezTo>
                  <a:cubicBezTo>
                    <a:pt x="8812" y="3836"/>
                    <a:pt x="8789" y="3675"/>
                    <a:pt x="8766" y="3515"/>
                  </a:cubicBezTo>
                  <a:cubicBezTo>
                    <a:pt x="8740" y="3362"/>
                    <a:pt x="8716" y="3210"/>
                    <a:pt x="8691" y="3057"/>
                  </a:cubicBezTo>
                  <a:cubicBezTo>
                    <a:pt x="8666" y="2911"/>
                    <a:pt x="8642" y="2766"/>
                    <a:pt x="8617" y="2620"/>
                  </a:cubicBezTo>
                  <a:cubicBezTo>
                    <a:pt x="8589" y="2489"/>
                    <a:pt x="8562" y="2358"/>
                    <a:pt x="8534" y="2227"/>
                  </a:cubicBezTo>
                  <a:cubicBezTo>
                    <a:pt x="8508" y="2089"/>
                    <a:pt x="8483" y="1950"/>
                    <a:pt x="8456" y="1812"/>
                  </a:cubicBezTo>
                  <a:cubicBezTo>
                    <a:pt x="8430" y="1696"/>
                    <a:pt x="8403" y="1579"/>
                    <a:pt x="8377" y="1463"/>
                  </a:cubicBezTo>
                  <a:cubicBezTo>
                    <a:pt x="8348" y="1361"/>
                    <a:pt x="8320" y="1259"/>
                    <a:pt x="8291" y="1157"/>
                  </a:cubicBezTo>
                  <a:cubicBezTo>
                    <a:pt x="8265" y="1055"/>
                    <a:pt x="8238" y="954"/>
                    <a:pt x="8212" y="852"/>
                  </a:cubicBezTo>
                  <a:cubicBezTo>
                    <a:pt x="8186" y="772"/>
                    <a:pt x="8160" y="691"/>
                    <a:pt x="8134" y="611"/>
                  </a:cubicBezTo>
                  <a:cubicBezTo>
                    <a:pt x="8106" y="538"/>
                    <a:pt x="8079" y="466"/>
                    <a:pt x="8051" y="393"/>
                  </a:cubicBezTo>
                  <a:cubicBezTo>
                    <a:pt x="8025" y="342"/>
                    <a:pt x="8000" y="291"/>
                    <a:pt x="7974" y="240"/>
                  </a:cubicBezTo>
                  <a:cubicBezTo>
                    <a:pt x="7949" y="196"/>
                    <a:pt x="7925" y="153"/>
                    <a:pt x="7900" y="109"/>
                  </a:cubicBezTo>
                  <a:cubicBezTo>
                    <a:pt x="7876" y="80"/>
                    <a:pt x="7851" y="51"/>
                    <a:pt x="7827" y="22"/>
                  </a:cubicBezTo>
                  <a:cubicBezTo>
                    <a:pt x="7805" y="15"/>
                    <a:pt x="7783" y="7"/>
                    <a:pt x="7761" y="0"/>
                  </a:cubicBezTo>
                  <a:lnTo>
                    <a:pt x="1" y="0"/>
                  </a:lnTo>
                  <a:cubicBezTo>
                    <a:pt x="-11" y="3311"/>
                    <a:pt x="534" y="6623"/>
                    <a:pt x="522" y="9934"/>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6" name="Freeform 99"/>
            <p:cNvSpPr>
              <a:spLocks/>
            </p:cNvSpPr>
            <p:nvPr/>
          </p:nvSpPr>
          <p:spPr bwMode="auto">
            <a:xfrm>
              <a:off x="1738255" y="3034823"/>
              <a:ext cx="4546" cy="14547"/>
            </a:xfrm>
            <a:custGeom>
              <a:avLst/>
              <a:gdLst>
                <a:gd name="T0" fmla="*/ 11 w 11"/>
                <a:gd name="T1" fmla="*/ 32 h 32"/>
                <a:gd name="T2" fmla="*/ 11 w 11"/>
                <a:gd name="T3" fmla="*/ 32 h 32"/>
                <a:gd name="T4" fmla="*/ 11 w 11"/>
                <a:gd name="T5" fmla="*/ 32 h 32"/>
                <a:gd name="T6" fmla="*/ 11 w 11"/>
                <a:gd name="T7" fmla="*/ 32 h 32"/>
                <a:gd name="T8" fmla="*/ 6 w 11"/>
                <a:gd name="T9" fmla="*/ 16 h 32"/>
                <a:gd name="T10" fmla="*/ 0 w 11"/>
                <a:gd name="T11" fmla="*/ 0 h 32"/>
                <a:gd name="T12" fmla="*/ 0 w 11"/>
                <a:gd name="T13" fmla="*/ 0 h 32"/>
                <a:gd name="T14" fmla="*/ 6 w 11"/>
                <a:gd name="T15" fmla="*/ 17 h 32"/>
                <a:gd name="T16" fmla="*/ 11 w 11"/>
                <a:gd name="T17" fmla="*/ 32 h 32"/>
                <a:gd name="T18" fmla="*/ 11 w 11"/>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2">
                  <a:moveTo>
                    <a:pt x="11" y="32"/>
                  </a:moveTo>
                  <a:lnTo>
                    <a:pt x="11" y="32"/>
                  </a:lnTo>
                  <a:lnTo>
                    <a:pt x="11" y="32"/>
                  </a:lnTo>
                  <a:lnTo>
                    <a:pt x="11" y="32"/>
                  </a:lnTo>
                  <a:lnTo>
                    <a:pt x="6" y="16"/>
                  </a:lnTo>
                  <a:lnTo>
                    <a:pt x="0" y="0"/>
                  </a:lnTo>
                  <a:lnTo>
                    <a:pt x="0" y="0"/>
                  </a:lnTo>
                  <a:lnTo>
                    <a:pt x="6" y="17"/>
                  </a:lnTo>
                  <a:lnTo>
                    <a:pt x="11" y="32"/>
                  </a:lnTo>
                  <a:lnTo>
                    <a:pt x="11" y="32"/>
                  </a:lnTo>
                  <a:close/>
                </a:path>
              </a:pathLst>
            </a:custGeom>
            <a:solidFill>
              <a:srgbClr val="5690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7" name="Freeform 100"/>
            <p:cNvSpPr>
              <a:spLocks/>
            </p:cNvSpPr>
            <p:nvPr/>
          </p:nvSpPr>
          <p:spPr bwMode="auto">
            <a:xfrm>
              <a:off x="471248" y="3058442"/>
              <a:ext cx="1273371" cy="59661"/>
            </a:xfrm>
            <a:custGeom>
              <a:avLst/>
              <a:gdLst>
                <a:gd name="T0" fmla="*/ 3636 w 3637"/>
                <a:gd name="T1" fmla="*/ 0 h 132"/>
                <a:gd name="T2" fmla="*/ 3636 w 3637"/>
                <a:gd name="T3" fmla="*/ 0 h 132"/>
                <a:gd name="T4" fmla="*/ 3636 w 3637"/>
                <a:gd name="T5" fmla="*/ 10 h 132"/>
                <a:gd name="T6" fmla="*/ 3635 w 3637"/>
                <a:gd name="T7" fmla="*/ 19 h 132"/>
                <a:gd name="T8" fmla="*/ 3634 w 3637"/>
                <a:gd name="T9" fmla="*/ 27 h 132"/>
                <a:gd name="T10" fmla="*/ 3631 w 3637"/>
                <a:gd name="T11" fmla="*/ 34 h 132"/>
                <a:gd name="T12" fmla="*/ 3628 w 3637"/>
                <a:gd name="T13" fmla="*/ 42 h 132"/>
                <a:gd name="T14" fmla="*/ 3624 w 3637"/>
                <a:gd name="T15" fmla="*/ 48 h 132"/>
                <a:gd name="T16" fmla="*/ 3619 w 3637"/>
                <a:gd name="T17" fmla="*/ 54 h 132"/>
                <a:gd name="T18" fmla="*/ 3613 w 3637"/>
                <a:gd name="T19" fmla="*/ 60 h 132"/>
                <a:gd name="T20" fmla="*/ 3606 w 3637"/>
                <a:gd name="T21" fmla="*/ 65 h 132"/>
                <a:gd name="T22" fmla="*/ 3598 w 3637"/>
                <a:gd name="T23" fmla="*/ 69 h 132"/>
                <a:gd name="T24" fmla="*/ 3590 w 3637"/>
                <a:gd name="T25" fmla="*/ 72 h 132"/>
                <a:gd name="T26" fmla="*/ 3580 w 3637"/>
                <a:gd name="T27" fmla="*/ 76 h 132"/>
                <a:gd name="T28" fmla="*/ 3570 w 3637"/>
                <a:gd name="T29" fmla="*/ 79 h 132"/>
                <a:gd name="T30" fmla="*/ 3559 w 3637"/>
                <a:gd name="T31" fmla="*/ 81 h 132"/>
                <a:gd name="T32" fmla="*/ 3547 w 3637"/>
                <a:gd name="T33" fmla="*/ 81 h 132"/>
                <a:gd name="T34" fmla="*/ 3535 w 3637"/>
                <a:gd name="T35" fmla="*/ 82 h 132"/>
                <a:gd name="T36" fmla="*/ 0 w 3637"/>
                <a:gd name="T37" fmla="*/ 79 h 132"/>
                <a:gd name="T38" fmla="*/ 2 w 3637"/>
                <a:gd name="T39" fmla="*/ 132 h 132"/>
                <a:gd name="T40" fmla="*/ 3586 w 3637"/>
                <a:gd name="T41" fmla="*/ 132 h 132"/>
                <a:gd name="T42" fmla="*/ 3586 w 3637"/>
                <a:gd name="T43" fmla="*/ 132 h 132"/>
                <a:gd name="T44" fmla="*/ 3577 w 3637"/>
                <a:gd name="T45" fmla="*/ 131 h 132"/>
                <a:gd name="T46" fmla="*/ 3576 w 3637"/>
                <a:gd name="T47" fmla="*/ 131 h 132"/>
                <a:gd name="T48" fmla="*/ 3579 w 3637"/>
                <a:gd name="T49" fmla="*/ 130 h 132"/>
                <a:gd name="T50" fmla="*/ 3587 w 3637"/>
                <a:gd name="T51" fmla="*/ 125 h 132"/>
                <a:gd name="T52" fmla="*/ 3593 w 3637"/>
                <a:gd name="T53" fmla="*/ 121 h 132"/>
                <a:gd name="T54" fmla="*/ 3601 w 3637"/>
                <a:gd name="T55" fmla="*/ 115 h 132"/>
                <a:gd name="T56" fmla="*/ 3608 w 3637"/>
                <a:gd name="T57" fmla="*/ 108 h 132"/>
                <a:gd name="T58" fmla="*/ 3615 w 3637"/>
                <a:gd name="T59" fmla="*/ 99 h 132"/>
                <a:gd name="T60" fmla="*/ 3623 w 3637"/>
                <a:gd name="T61" fmla="*/ 90 h 132"/>
                <a:gd name="T62" fmla="*/ 3629 w 3637"/>
                <a:gd name="T63" fmla="*/ 76 h 132"/>
                <a:gd name="T64" fmla="*/ 3634 w 3637"/>
                <a:gd name="T65" fmla="*/ 61 h 132"/>
                <a:gd name="T66" fmla="*/ 3636 w 3637"/>
                <a:gd name="T67" fmla="*/ 44 h 132"/>
                <a:gd name="T68" fmla="*/ 3637 w 3637"/>
                <a:gd name="T69" fmla="*/ 23 h 132"/>
                <a:gd name="T70" fmla="*/ 3636 w 3637"/>
                <a:gd name="T71" fmla="*/ 0 h 132"/>
                <a:gd name="T72" fmla="*/ 3636 w 3637"/>
                <a:gd name="T7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37" h="132">
                  <a:moveTo>
                    <a:pt x="3636" y="0"/>
                  </a:moveTo>
                  <a:lnTo>
                    <a:pt x="3636" y="0"/>
                  </a:lnTo>
                  <a:lnTo>
                    <a:pt x="3636" y="10"/>
                  </a:lnTo>
                  <a:lnTo>
                    <a:pt x="3635" y="19"/>
                  </a:lnTo>
                  <a:lnTo>
                    <a:pt x="3634" y="27"/>
                  </a:lnTo>
                  <a:lnTo>
                    <a:pt x="3631" y="34"/>
                  </a:lnTo>
                  <a:lnTo>
                    <a:pt x="3628" y="42"/>
                  </a:lnTo>
                  <a:lnTo>
                    <a:pt x="3624" y="48"/>
                  </a:lnTo>
                  <a:lnTo>
                    <a:pt x="3619" y="54"/>
                  </a:lnTo>
                  <a:lnTo>
                    <a:pt x="3613" y="60"/>
                  </a:lnTo>
                  <a:lnTo>
                    <a:pt x="3606" y="65"/>
                  </a:lnTo>
                  <a:lnTo>
                    <a:pt x="3598" y="69"/>
                  </a:lnTo>
                  <a:lnTo>
                    <a:pt x="3590" y="72"/>
                  </a:lnTo>
                  <a:lnTo>
                    <a:pt x="3580" y="76"/>
                  </a:lnTo>
                  <a:lnTo>
                    <a:pt x="3570" y="79"/>
                  </a:lnTo>
                  <a:lnTo>
                    <a:pt x="3559" y="81"/>
                  </a:lnTo>
                  <a:lnTo>
                    <a:pt x="3547" y="81"/>
                  </a:lnTo>
                  <a:lnTo>
                    <a:pt x="3535" y="82"/>
                  </a:lnTo>
                  <a:lnTo>
                    <a:pt x="0" y="79"/>
                  </a:lnTo>
                  <a:lnTo>
                    <a:pt x="2" y="132"/>
                  </a:lnTo>
                  <a:lnTo>
                    <a:pt x="3586" y="132"/>
                  </a:lnTo>
                  <a:lnTo>
                    <a:pt x="3586" y="132"/>
                  </a:lnTo>
                  <a:lnTo>
                    <a:pt x="3577" y="131"/>
                  </a:lnTo>
                  <a:lnTo>
                    <a:pt x="3576" y="131"/>
                  </a:lnTo>
                  <a:lnTo>
                    <a:pt x="3579" y="130"/>
                  </a:lnTo>
                  <a:lnTo>
                    <a:pt x="3587" y="125"/>
                  </a:lnTo>
                  <a:lnTo>
                    <a:pt x="3593" y="121"/>
                  </a:lnTo>
                  <a:lnTo>
                    <a:pt x="3601" y="115"/>
                  </a:lnTo>
                  <a:lnTo>
                    <a:pt x="3608" y="108"/>
                  </a:lnTo>
                  <a:lnTo>
                    <a:pt x="3615" y="99"/>
                  </a:lnTo>
                  <a:lnTo>
                    <a:pt x="3623" y="90"/>
                  </a:lnTo>
                  <a:lnTo>
                    <a:pt x="3629" y="76"/>
                  </a:lnTo>
                  <a:lnTo>
                    <a:pt x="3634" y="61"/>
                  </a:lnTo>
                  <a:lnTo>
                    <a:pt x="3636" y="44"/>
                  </a:lnTo>
                  <a:lnTo>
                    <a:pt x="3637" y="23"/>
                  </a:lnTo>
                  <a:lnTo>
                    <a:pt x="3636" y="0"/>
                  </a:lnTo>
                  <a:lnTo>
                    <a:pt x="3636" y="0"/>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399" name="Rectangle 169"/>
          <p:cNvSpPr/>
          <p:nvPr/>
        </p:nvSpPr>
        <p:spPr bwMode="auto">
          <a:xfrm>
            <a:off x="6930159" y="3877457"/>
            <a:ext cx="314797" cy="45092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400" name="Group 1399"/>
          <p:cNvGrpSpPr/>
          <p:nvPr/>
        </p:nvGrpSpPr>
        <p:grpSpPr>
          <a:xfrm flipH="1">
            <a:off x="7180957" y="3428549"/>
            <a:ext cx="1276841" cy="917309"/>
            <a:chOff x="2626804" y="1721609"/>
            <a:chExt cx="1666227" cy="1197051"/>
          </a:xfrm>
        </p:grpSpPr>
        <p:grpSp>
          <p:nvGrpSpPr>
            <p:cNvPr id="1401" name="Group 1400"/>
            <p:cNvGrpSpPr/>
            <p:nvPr/>
          </p:nvGrpSpPr>
          <p:grpSpPr>
            <a:xfrm>
              <a:off x="2626804" y="1721609"/>
              <a:ext cx="1287178" cy="1197051"/>
              <a:chOff x="2626804" y="1721609"/>
              <a:chExt cx="1287178" cy="1197051"/>
            </a:xfrm>
          </p:grpSpPr>
          <p:sp>
            <p:nvSpPr>
              <p:cNvPr id="1410" name="Rectangle 1409"/>
              <p:cNvSpPr/>
              <p:nvPr/>
            </p:nvSpPr>
            <p:spPr bwMode="auto">
              <a:xfrm>
                <a:off x="3265512" y="2350826"/>
                <a:ext cx="306606" cy="567834"/>
              </a:xfrm>
              <a:prstGeom prst="rect">
                <a:avLst/>
              </a:prstGeom>
              <a:solidFill>
                <a:schemeClr val="bg2">
                  <a:lumMod val="2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411" name="Group 1410"/>
              <p:cNvGrpSpPr>
                <a:grpSpLocks noChangeAspect="1"/>
              </p:cNvGrpSpPr>
              <p:nvPr/>
            </p:nvGrpSpPr>
            <p:grpSpPr>
              <a:xfrm>
                <a:off x="2626804" y="1721609"/>
                <a:ext cx="1287178" cy="1197051"/>
                <a:chOff x="-2841625" y="799815"/>
                <a:chExt cx="884238" cy="822325"/>
              </a:xfrm>
            </p:grpSpPr>
            <p:sp>
              <p:nvSpPr>
                <p:cNvPr id="1412" name="Freeform 6"/>
                <p:cNvSpPr>
                  <a:spLocks/>
                </p:cNvSpPr>
                <p:nvPr/>
              </p:nvSpPr>
              <p:spPr bwMode="auto">
                <a:xfrm>
                  <a:off x="-2735263" y="958565"/>
                  <a:ext cx="671513" cy="663575"/>
                </a:xfrm>
                <a:custGeom>
                  <a:avLst/>
                  <a:gdLst/>
                  <a:ahLst/>
                  <a:cxnLst/>
                  <a:rect l="l" t="t" r="r" b="b"/>
                  <a:pathLst>
                    <a:path w="671513" h="663575">
                      <a:moveTo>
                        <a:pt x="339333" y="0"/>
                      </a:moveTo>
                      <a:lnTo>
                        <a:pt x="671513" y="289271"/>
                      </a:lnTo>
                      <a:lnTo>
                        <a:pt x="671513" y="645297"/>
                      </a:lnTo>
                      <a:lnTo>
                        <a:pt x="671513" y="648476"/>
                      </a:lnTo>
                      <a:lnTo>
                        <a:pt x="670718" y="652449"/>
                      </a:lnTo>
                      <a:lnTo>
                        <a:pt x="668334" y="655628"/>
                      </a:lnTo>
                      <a:lnTo>
                        <a:pt x="666745" y="658807"/>
                      </a:lnTo>
                      <a:lnTo>
                        <a:pt x="663566" y="661191"/>
                      </a:lnTo>
                      <a:lnTo>
                        <a:pt x="660387" y="662780"/>
                      </a:lnTo>
                      <a:lnTo>
                        <a:pt x="656414" y="663575"/>
                      </a:lnTo>
                      <a:lnTo>
                        <a:pt x="651646" y="663575"/>
                      </a:lnTo>
                      <a:lnTo>
                        <a:pt x="508001" y="663575"/>
                      </a:lnTo>
                      <a:lnTo>
                        <a:pt x="508001" y="347633"/>
                      </a:lnTo>
                      <a:lnTo>
                        <a:pt x="506423" y="342880"/>
                      </a:lnTo>
                      <a:lnTo>
                        <a:pt x="504845" y="337336"/>
                      </a:lnTo>
                      <a:lnTo>
                        <a:pt x="501688" y="334959"/>
                      </a:lnTo>
                      <a:lnTo>
                        <a:pt x="497743" y="333375"/>
                      </a:lnTo>
                      <a:lnTo>
                        <a:pt x="383321" y="333375"/>
                      </a:lnTo>
                      <a:lnTo>
                        <a:pt x="379376" y="334959"/>
                      </a:lnTo>
                      <a:lnTo>
                        <a:pt x="376219" y="337336"/>
                      </a:lnTo>
                      <a:lnTo>
                        <a:pt x="374641" y="342880"/>
                      </a:lnTo>
                      <a:lnTo>
                        <a:pt x="373063" y="347633"/>
                      </a:lnTo>
                      <a:lnTo>
                        <a:pt x="373063" y="663575"/>
                      </a:lnTo>
                      <a:lnTo>
                        <a:pt x="19867" y="663575"/>
                      </a:lnTo>
                      <a:lnTo>
                        <a:pt x="15894" y="663575"/>
                      </a:lnTo>
                      <a:lnTo>
                        <a:pt x="11920" y="662780"/>
                      </a:lnTo>
                      <a:lnTo>
                        <a:pt x="8742" y="661191"/>
                      </a:lnTo>
                      <a:lnTo>
                        <a:pt x="5563" y="658807"/>
                      </a:lnTo>
                      <a:lnTo>
                        <a:pt x="3179" y="655628"/>
                      </a:lnTo>
                      <a:lnTo>
                        <a:pt x="1589" y="652449"/>
                      </a:lnTo>
                      <a:lnTo>
                        <a:pt x="0" y="648476"/>
                      </a:lnTo>
                      <a:lnTo>
                        <a:pt x="0" y="645297"/>
                      </a:lnTo>
                      <a:lnTo>
                        <a:pt x="0" y="29562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3" name="Freeform 119"/>
                <p:cNvSpPr>
                  <a:spLocks/>
                </p:cNvSpPr>
                <p:nvPr/>
              </p:nvSpPr>
              <p:spPr bwMode="auto">
                <a:xfrm>
                  <a:off x="-2613025" y="1312577"/>
                  <a:ext cx="146050" cy="127000"/>
                </a:xfrm>
                <a:custGeom>
                  <a:avLst/>
                  <a:gdLst>
                    <a:gd name="T0" fmla="*/ 185 w 185"/>
                    <a:gd name="T1" fmla="*/ 146 h 160"/>
                    <a:gd name="T2" fmla="*/ 185 w 185"/>
                    <a:gd name="T3" fmla="*/ 146 h 160"/>
                    <a:gd name="T4" fmla="*/ 184 w 185"/>
                    <a:gd name="T5" fmla="*/ 152 h 160"/>
                    <a:gd name="T6" fmla="*/ 181 w 185"/>
                    <a:gd name="T7" fmla="*/ 156 h 160"/>
                    <a:gd name="T8" fmla="*/ 176 w 185"/>
                    <a:gd name="T9" fmla="*/ 160 h 160"/>
                    <a:gd name="T10" fmla="*/ 171 w 185"/>
                    <a:gd name="T11" fmla="*/ 160 h 160"/>
                    <a:gd name="T12" fmla="*/ 14 w 185"/>
                    <a:gd name="T13" fmla="*/ 160 h 160"/>
                    <a:gd name="T14" fmla="*/ 14 w 185"/>
                    <a:gd name="T15" fmla="*/ 160 h 160"/>
                    <a:gd name="T16" fmla="*/ 9 w 185"/>
                    <a:gd name="T17" fmla="*/ 160 h 160"/>
                    <a:gd name="T18" fmla="*/ 4 w 185"/>
                    <a:gd name="T19" fmla="*/ 156 h 160"/>
                    <a:gd name="T20" fmla="*/ 1 w 185"/>
                    <a:gd name="T21" fmla="*/ 152 h 160"/>
                    <a:gd name="T22" fmla="*/ 0 w 185"/>
                    <a:gd name="T23" fmla="*/ 146 h 160"/>
                    <a:gd name="T24" fmla="*/ 0 w 185"/>
                    <a:gd name="T25" fmla="*/ 14 h 160"/>
                    <a:gd name="T26" fmla="*/ 0 w 185"/>
                    <a:gd name="T27" fmla="*/ 14 h 160"/>
                    <a:gd name="T28" fmla="*/ 1 w 185"/>
                    <a:gd name="T29" fmla="*/ 8 h 160"/>
                    <a:gd name="T30" fmla="*/ 4 w 185"/>
                    <a:gd name="T31" fmla="*/ 4 h 160"/>
                    <a:gd name="T32" fmla="*/ 9 w 185"/>
                    <a:gd name="T33" fmla="*/ 0 h 160"/>
                    <a:gd name="T34" fmla="*/ 14 w 185"/>
                    <a:gd name="T35" fmla="*/ 0 h 160"/>
                    <a:gd name="T36" fmla="*/ 171 w 185"/>
                    <a:gd name="T37" fmla="*/ 0 h 160"/>
                    <a:gd name="T38" fmla="*/ 171 w 185"/>
                    <a:gd name="T39" fmla="*/ 0 h 160"/>
                    <a:gd name="T40" fmla="*/ 176 w 185"/>
                    <a:gd name="T41" fmla="*/ 0 h 160"/>
                    <a:gd name="T42" fmla="*/ 181 w 185"/>
                    <a:gd name="T43" fmla="*/ 4 h 160"/>
                    <a:gd name="T44" fmla="*/ 184 w 185"/>
                    <a:gd name="T45" fmla="*/ 8 h 160"/>
                    <a:gd name="T46" fmla="*/ 185 w 185"/>
                    <a:gd name="T47" fmla="*/ 14 h 160"/>
                    <a:gd name="T48" fmla="*/ 185 w 185"/>
                    <a:gd name="T49" fmla="*/ 14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 h="160">
                      <a:moveTo>
                        <a:pt x="185" y="146"/>
                      </a:moveTo>
                      <a:lnTo>
                        <a:pt x="185" y="146"/>
                      </a:lnTo>
                      <a:lnTo>
                        <a:pt x="184" y="152"/>
                      </a:lnTo>
                      <a:lnTo>
                        <a:pt x="181" y="156"/>
                      </a:lnTo>
                      <a:lnTo>
                        <a:pt x="176" y="160"/>
                      </a:lnTo>
                      <a:lnTo>
                        <a:pt x="171" y="160"/>
                      </a:lnTo>
                      <a:lnTo>
                        <a:pt x="14" y="160"/>
                      </a:lnTo>
                      <a:lnTo>
                        <a:pt x="14" y="160"/>
                      </a:lnTo>
                      <a:lnTo>
                        <a:pt x="9" y="160"/>
                      </a:lnTo>
                      <a:lnTo>
                        <a:pt x="4" y="156"/>
                      </a:lnTo>
                      <a:lnTo>
                        <a:pt x="1" y="152"/>
                      </a:lnTo>
                      <a:lnTo>
                        <a:pt x="0" y="146"/>
                      </a:lnTo>
                      <a:lnTo>
                        <a:pt x="0" y="14"/>
                      </a:lnTo>
                      <a:lnTo>
                        <a:pt x="0" y="14"/>
                      </a:lnTo>
                      <a:lnTo>
                        <a:pt x="1" y="8"/>
                      </a:lnTo>
                      <a:lnTo>
                        <a:pt x="4" y="4"/>
                      </a:lnTo>
                      <a:lnTo>
                        <a:pt x="9" y="0"/>
                      </a:lnTo>
                      <a:lnTo>
                        <a:pt x="14" y="0"/>
                      </a:lnTo>
                      <a:lnTo>
                        <a:pt x="171" y="0"/>
                      </a:lnTo>
                      <a:lnTo>
                        <a:pt x="171" y="0"/>
                      </a:lnTo>
                      <a:lnTo>
                        <a:pt x="176" y="0"/>
                      </a:lnTo>
                      <a:lnTo>
                        <a:pt x="181" y="4"/>
                      </a:lnTo>
                      <a:lnTo>
                        <a:pt x="184" y="8"/>
                      </a:lnTo>
                      <a:lnTo>
                        <a:pt x="185" y="14"/>
                      </a:lnTo>
                      <a:lnTo>
                        <a:pt x="185" y="146"/>
                      </a:lnTo>
                      <a:close/>
                    </a:path>
                  </a:pathLst>
                </a:custGeom>
                <a:solidFill>
                  <a:schemeClr val="bg2">
                    <a:lumMod val="2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14" name="Freeform 121"/>
                <p:cNvSpPr>
                  <a:spLocks/>
                </p:cNvSpPr>
                <p:nvPr/>
              </p:nvSpPr>
              <p:spPr bwMode="auto">
                <a:xfrm>
                  <a:off x="-2841625" y="799815"/>
                  <a:ext cx="884238" cy="392113"/>
                </a:xfrm>
                <a:custGeom>
                  <a:avLst/>
                  <a:gdLst>
                    <a:gd name="T0" fmla="*/ 561 w 1113"/>
                    <a:gd name="T1" fmla="*/ 129 h 493"/>
                    <a:gd name="T2" fmla="*/ 979 w 1113"/>
                    <a:gd name="T3" fmla="*/ 493 h 493"/>
                    <a:gd name="T4" fmla="*/ 979 w 1113"/>
                    <a:gd name="T5" fmla="*/ 492 h 493"/>
                    <a:gd name="T6" fmla="*/ 1100 w 1113"/>
                    <a:gd name="T7" fmla="*/ 492 h 493"/>
                    <a:gd name="T8" fmla="*/ 1100 w 1113"/>
                    <a:gd name="T9" fmla="*/ 492 h 493"/>
                    <a:gd name="T10" fmla="*/ 1106 w 1113"/>
                    <a:gd name="T11" fmla="*/ 492 h 493"/>
                    <a:gd name="T12" fmla="*/ 1108 w 1113"/>
                    <a:gd name="T13" fmla="*/ 490 h 493"/>
                    <a:gd name="T14" fmla="*/ 1111 w 1113"/>
                    <a:gd name="T15" fmla="*/ 489 h 493"/>
                    <a:gd name="T16" fmla="*/ 1112 w 1113"/>
                    <a:gd name="T17" fmla="*/ 488 h 493"/>
                    <a:gd name="T18" fmla="*/ 1113 w 1113"/>
                    <a:gd name="T19" fmla="*/ 485 h 493"/>
                    <a:gd name="T20" fmla="*/ 1112 w 1113"/>
                    <a:gd name="T21" fmla="*/ 483 h 493"/>
                    <a:gd name="T22" fmla="*/ 1109 w 1113"/>
                    <a:gd name="T23" fmla="*/ 479 h 493"/>
                    <a:gd name="T24" fmla="*/ 1107 w 1113"/>
                    <a:gd name="T25" fmla="*/ 476 h 493"/>
                    <a:gd name="T26" fmla="*/ 970 w 1113"/>
                    <a:gd name="T27" fmla="*/ 355 h 493"/>
                    <a:gd name="T28" fmla="*/ 970 w 1113"/>
                    <a:gd name="T29" fmla="*/ 237 h 493"/>
                    <a:gd name="T30" fmla="*/ 970 w 1113"/>
                    <a:gd name="T31" fmla="*/ 237 h 493"/>
                    <a:gd name="T32" fmla="*/ 970 w 1113"/>
                    <a:gd name="T33" fmla="*/ 232 h 493"/>
                    <a:gd name="T34" fmla="*/ 969 w 1113"/>
                    <a:gd name="T35" fmla="*/ 228 h 493"/>
                    <a:gd name="T36" fmla="*/ 966 w 1113"/>
                    <a:gd name="T37" fmla="*/ 224 h 493"/>
                    <a:gd name="T38" fmla="*/ 964 w 1113"/>
                    <a:gd name="T39" fmla="*/ 220 h 493"/>
                    <a:gd name="T40" fmla="*/ 960 w 1113"/>
                    <a:gd name="T41" fmla="*/ 218 h 493"/>
                    <a:gd name="T42" fmla="*/ 956 w 1113"/>
                    <a:gd name="T43" fmla="*/ 215 h 493"/>
                    <a:gd name="T44" fmla="*/ 951 w 1113"/>
                    <a:gd name="T45" fmla="*/ 214 h 493"/>
                    <a:gd name="T46" fmla="*/ 945 w 1113"/>
                    <a:gd name="T47" fmla="*/ 213 h 493"/>
                    <a:gd name="T48" fmla="*/ 810 w 1113"/>
                    <a:gd name="T49" fmla="*/ 213 h 493"/>
                    <a:gd name="T50" fmla="*/ 575 w 1113"/>
                    <a:gd name="T51" fmla="*/ 6 h 493"/>
                    <a:gd name="T52" fmla="*/ 575 w 1113"/>
                    <a:gd name="T53" fmla="*/ 6 h 493"/>
                    <a:gd name="T54" fmla="*/ 571 w 1113"/>
                    <a:gd name="T55" fmla="*/ 4 h 493"/>
                    <a:gd name="T56" fmla="*/ 566 w 1113"/>
                    <a:gd name="T57" fmla="*/ 1 h 493"/>
                    <a:gd name="T58" fmla="*/ 562 w 1113"/>
                    <a:gd name="T59" fmla="*/ 0 h 493"/>
                    <a:gd name="T60" fmla="*/ 557 w 1113"/>
                    <a:gd name="T61" fmla="*/ 0 h 493"/>
                    <a:gd name="T62" fmla="*/ 552 w 1113"/>
                    <a:gd name="T63" fmla="*/ 0 h 493"/>
                    <a:gd name="T64" fmla="*/ 546 w 1113"/>
                    <a:gd name="T65" fmla="*/ 1 h 493"/>
                    <a:gd name="T66" fmla="*/ 543 w 1113"/>
                    <a:gd name="T67" fmla="*/ 4 h 493"/>
                    <a:gd name="T68" fmla="*/ 539 w 1113"/>
                    <a:gd name="T69" fmla="*/ 6 h 493"/>
                    <a:gd name="T70" fmla="*/ 7 w 1113"/>
                    <a:gd name="T71" fmla="*/ 476 h 493"/>
                    <a:gd name="T72" fmla="*/ 7 w 1113"/>
                    <a:gd name="T73" fmla="*/ 476 h 493"/>
                    <a:gd name="T74" fmla="*/ 4 w 1113"/>
                    <a:gd name="T75" fmla="*/ 479 h 493"/>
                    <a:gd name="T76" fmla="*/ 1 w 1113"/>
                    <a:gd name="T77" fmla="*/ 483 h 493"/>
                    <a:gd name="T78" fmla="*/ 0 w 1113"/>
                    <a:gd name="T79" fmla="*/ 485 h 493"/>
                    <a:gd name="T80" fmla="*/ 1 w 1113"/>
                    <a:gd name="T81" fmla="*/ 488 h 493"/>
                    <a:gd name="T82" fmla="*/ 3 w 1113"/>
                    <a:gd name="T83" fmla="*/ 489 h 493"/>
                    <a:gd name="T84" fmla="*/ 5 w 1113"/>
                    <a:gd name="T85" fmla="*/ 490 h 493"/>
                    <a:gd name="T86" fmla="*/ 8 w 1113"/>
                    <a:gd name="T87" fmla="*/ 492 h 493"/>
                    <a:gd name="T88" fmla="*/ 13 w 1113"/>
                    <a:gd name="T89" fmla="*/ 492 h 493"/>
                    <a:gd name="T90" fmla="*/ 134 w 1113"/>
                    <a:gd name="T91" fmla="*/ 492 h 493"/>
                    <a:gd name="T92" fmla="*/ 561 w 1113"/>
                    <a:gd name="T93" fmla="*/ 12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3" h="493">
                      <a:moveTo>
                        <a:pt x="561" y="129"/>
                      </a:moveTo>
                      <a:lnTo>
                        <a:pt x="979" y="493"/>
                      </a:lnTo>
                      <a:lnTo>
                        <a:pt x="979" y="492"/>
                      </a:lnTo>
                      <a:lnTo>
                        <a:pt x="1100" y="492"/>
                      </a:lnTo>
                      <a:lnTo>
                        <a:pt x="1100" y="492"/>
                      </a:lnTo>
                      <a:lnTo>
                        <a:pt x="1106" y="492"/>
                      </a:lnTo>
                      <a:lnTo>
                        <a:pt x="1108" y="490"/>
                      </a:lnTo>
                      <a:lnTo>
                        <a:pt x="1111" y="489"/>
                      </a:lnTo>
                      <a:lnTo>
                        <a:pt x="1112" y="488"/>
                      </a:lnTo>
                      <a:lnTo>
                        <a:pt x="1113" y="485"/>
                      </a:lnTo>
                      <a:lnTo>
                        <a:pt x="1112" y="483"/>
                      </a:lnTo>
                      <a:lnTo>
                        <a:pt x="1109" y="479"/>
                      </a:lnTo>
                      <a:lnTo>
                        <a:pt x="1107" y="476"/>
                      </a:lnTo>
                      <a:lnTo>
                        <a:pt x="970" y="355"/>
                      </a:lnTo>
                      <a:lnTo>
                        <a:pt x="970" y="237"/>
                      </a:lnTo>
                      <a:lnTo>
                        <a:pt x="970" y="237"/>
                      </a:lnTo>
                      <a:lnTo>
                        <a:pt x="970" y="232"/>
                      </a:lnTo>
                      <a:lnTo>
                        <a:pt x="969" y="228"/>
                      </a:lnTo>
                      <a:lnTo>
                        <a:pt x="966" y="224"/>
                      </a:lnTo>
                      <a:lnTo>
                        <a:pt x="964" y="220"/>
                      </a:lnTo>
                      <a:lnTo>
                        <a:pt x="960" y="218"/>
                      </a:lnTo>
                      <a:lnTo>
                        <a:pt x="956" y="215"/>
                      </a:lnTo>
                      <a:lnTo>
                        <a:pt x="951" y="214"/>
                      </a:lnTo>
                      <a:lnTo>
                        <a:pt x="945" y="213"/>
                      </a:lnTo>
                      <a:lnTo>
                        <a:pt x="810" y="213"/>
                      </a:lnTo>
                      <a:lnTo>
                        <a:pt x="575" y="6"/>
                      </a:lnTo>
                      <a:lnTo>
                        <a:pt x="575" y="6"/>
                      </a:lnTo>
                      <a:lnTo>
                        <a:pt x="571" y="4"/>
                      </a:lnTo>
                      <a:lnTo>
                        <a:pt x="566" y="1"/>
                      </a:lnTo>
                      <a:lnTo>
                        <a:pt x="562" y="0"/>
                      </a:lnTo>
                      <a:lnTo>
                        <a:pt x="557" y="0"/>
                      </a:lnTo>
                      <a:lnTo>
                        <a:pt x="552" y="0"/>
                      </a:lnTo>
                      <a:lnTo>
                        <a:pt x="546" y="1"/>
                      </a:lnTo>
                      <a:lnTo>
                        <a:pt x="543" y="4"/>
                      </a:lnTo>
                      <a:lnTo>
                        <a:pt x="539" y="6"/>
                      </a:lnTo>
                      <a:lnTo>
                        <a:pt x="7" y="476"/>
                      </a:lnTo>
                      <a:lnTo>
                        <a:pt x="7" y="476"/>
                      </a:lnTo>
                      <a:lnTo>
                        <a:pt x="4" y="479"/>
                      </a:lnTo>
                      <a:lnTo>
                        <a:pt x="1" y="483"/>
                      </a:lnTo>
                      <a:lnTo>
                        <a:pt x="0" y="485"/>
                      </a:lnTo>
                      <a:lnTo>
                        <a:pt x="1" y="488"/>
                      </a:lnTo>
                      <a:lnTo>
                        <a:pt x="3" y="489"/>
                      </a:lnTo>
                      <a:lnTo>
                        <a:pt x="5" y="490"/>
                      </a:lnTo>
                      <a:lnTo>
                        <a:pt x="8" y="492"/>
                      </a:lnTo>
                      <a:lnTo>
                        <a:pt x="13" y="492"/>
                      </a:lnTo>
                      <a:lnTo>
                        <a:pt x="134" y="492"/>
                      </a:lnTo>
                      <a:lnTo>
                        <a:pt x="561" y="129"/>
                      </a:lnTo>
                      <a:close/>
                    </a:path>
                  </a:pathLst>
                </a:custGeom>
                <a:solidFill>
                  <a:srgbClr val="213F4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1402" name="Rectangle 1401"/>
            <p:cNvSpPr/>
            <p:nvPr/>
          </p:nvSpPr>
          <p:spPr bwMode="auto">
            <a:xfrm>
              <a:off x="3708624" y="2364312"/>
              <a:ext cx="584407" cy="554348"/>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grpSp>
          <p:nvGrpSpPr>
            <p:cNvPr id="1403" name="Group 1402"/>
            <p:cNvGrpSpPr/>
            <p:nvPr/>
          </p:nvGrpSpPr>
          <p:grpSpPr>
            <a:xfrm>
              <a:off x="3689595" y="2484118"/>
              <a:ext cx="488624" cy="341971"/>
              <a:chOff x="3608728" y="2453351"/>
              <a:chExt cx="650359" cy="412019"/>
            </a:xfrm>
            <a:solidFill>
              <a:schemeClr val="tx1">
                <a:lumMod val="90000"/>
                <a:lumOff val="10000"/>
              </a:schemeClr>
            </a:solidFill>
          </p:grpSpPr>
          <p:grpSp>
            <p:nvGrpSpPr>
              <p:cNvPr id="1404" name="Group 1403"/>
              <p:cNvGrpSpPr/>
              <p:nvPr/>
            </p:nvGrpSpPr>
            <p:grpSpPr>
              <a:xfrm>
                <a:off x="3608728" y="2453351"/>
                <a:ext cx="649996" cy="199554"/>
                <a:chOff x="3608728" y="2453351"/>
                <a:chExt cx="649996" cy="199554"/>
              </a:xfrm>
              <a:grpFill/>
            </p:grpSpPr>
            <p:sp>
              <p:nvSpPr>
                <p:cNvPr id="1408" name="Rectangle 1407"/>
                <p:cNvSpPr/>
                <p:nvPr/>
              </p:nvSpPr>
              <p:spPr bwMode="auto">
                <a:xfrm>
                  <a:off x="3608728" y="2453351"/>
                  <a:ext cx="316443" cy="199554"/>
                </a:xfrm>
                <a:prstGeom prst="rect">
                  <a:avLst/>
                </a:prstGeom>
                <a:solidFill>
                  <a:schemeClr val="bg2">
                    <a:lumMod val="2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09" name="Rectangle 1408"/>
                <p:cNvSpPr/>
                <p:nvPr/>
              </p:nvSpPr>
              <p:spPr bwMode="auto">
                <a:xfrm>
                  <a:off x="3942281" y="2453351"/>
                  <a:ext cx="316443" cy="199554"/>
                </a:xfrm>
                <a:prstGeom prst="rect">
                  <a:avLst/>
                </a:prstGeom>
                <a:solidFill>
                  <a:schemeClr val="bg2">
                    <a:lumMod val="2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405" name="Group 1404"/>
              <p:cNvGrpSpPr/>
              <p:nvPr/>
            </p:nvGrpSpPr>
            <p:grpSpPr>
              <a:xfrm>
                <a:off x="3608728" y="2665816"/>
                <a:ext cx="650359" cy="199554"/>
                <a:chOff x="3608365" y="2453351"/>
                <a:chExt cx="650359" cy="199554"/>
              </a:xfrm>
              <a:grpFill/>
            </p:grpSpPr>
            <p:sp>
              <p:nvSpPr>
                <p:cNvPr id="1406" name="Rectangle 1405"/>
                <p:cNvSpPr/>
                <p:nvPr/>
              </p:nvSpPr>
              <p:spPr bwMode="auto">
                <a:xfrm>
                  <a:off x="3608365" y="2453351"/>
                  <a:ext cx="316443" cy="199554"/>
                </a:xfrm>
                <a:prstGeom prst="rect">
                  <a:avLst/>
                </a:prstGeom>
                <a:solidFill>
                  <a:schemeClr val="bg2">
                    <a:lumMod val="2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07" name="Rectangle 1406"/>
                <p:cNvSpPr/>
                <p:nvPr/>
              </p:nvSpPr>
              <p:spPr bwMode="auto">
                <a:xfrm>
                  <a:off x="3942281" y="2453351"/>
                  <a:ext cx="316443" cy="199554"/>
                </a:xfrm>
                <a:prstGeom prst="rect">
                  <a:avLst/>
                </a:prstGeom>
                <a:solidFill>
                  <a:schemeClr val="bg2">
                    <a:lumMod val="2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sp>
        <p:nvSpPr>
          <p:cNvPr id="1385" name="Rectangle 169"/>
          <p:cNvSpPr/>
          <p:nvPr/>
        </p:nvSpPr>
        <p:spPr bwMode="auto">
          <a:xfrm>
            <a:off x="8448005" y="3225650"/>
            <a:ext cx="635422" cy="91018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E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86" name="Rectangle 169"/>
          <p:cNvSpPr/>
          <p:nvPr/>
        </p:nvSpPr>
        <p:spPr bwMode="auto">
          <a:xfrm>
            <a:off x="8236452" y="3592207"/>
            <a:ext cx="533805" cy="764632"/>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87" name="Rectangle 169"/>
          <p:cNvSpPr/>
          <p:nvPr/>
        </p:nvSpPr>
        <p:spPr bwMode="auto">
          <a:xfrm>
            <a:off x="8564506" y="3853844"/>
            <a:ext cx="546833" cy="783293"/>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88" name="Freeform 144"/>
          <p:cNvSpPr>
            <a:spLocks noEditPoints="1"/>
          </p:cNvSpPr>
          <p:nvPr/>
        </p:nvSpPr>
        <p:spPr bwMode="black">
          <a:xfrm flipH="1">
            <a:off x="7821965" y="4161690"/>
            <a:ext cx="160652" cy="283623"/>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72" name="Rectangle 7"/>
          <p:cNvSpPr/>
          <p:nvPr/>
        </p:nvSpPr>
        <p:spPr bwMode="auto">
          <a:xfrm flipH="1">
            <a:off x="3166278" y="2369708"/>
            <a:ext cx="2813953" cy="1172324"/>
          </a:xfrm>
          <a:custGeom>
            <a:avLst/>
            <a:gdLst>
              <a:gd name="connsiteX0" fmla="*/ 0 w 2813942"/>
              <a:gd name="connsiteY0" fmla="*/ 0 h 1079931"/>
              <a:gd name="connsiteX1" fmla="*/ 2813942 w 2813942"/>
              <a:gd name="connsiteY1" fmla="*/ 0 h 1079931"/>
              <a:gd name="connsiteX2" fmla="*/ 2813942 w 2813942"/>
              <a:gd name="connsiteY2" fmla="*/ 1079931 h 1079931"/>
              <a:gd name="connsiteX3" fmla="*/ 0 w 2813942"/>
              <a:gd name="connsiteY3" fmla="*/ 1079931 h 1079931"/>
              <a:gd name="connsiteX4" fmla="*/ 0 w 2813942"/>
              <a:gd name="connsiteY4" fmla="*/ 0 h 1079931"/>
              <a:gd name="connsiteX0" fmla="*/ 0 w 2813953"/>
              <a:gd name="connsiteY0" fmla="*/ 0 h 1079931"/>
              <a:gd name="connsiteX1" fmla="*/ 2813942 w 2813953"/>
              <a:gd name="connsiteY1" fmla="*/ 0 h 1079931"/>
              <a:gd name="connsiteX2" fmla="*/ 2813953 w 2813953"/>
              <a:gd name="connsiteY2" fmla="*/ 465857 h 1079931"/>
              <a:gd name="connsiteX3" fmla="*/ 2813942 w 2813953"/>
              <a:gd name="connsiteY3" fmla="*/ 1079931 h 1079931"/>
              <a:gd name="connsiteX4" fmla="*/ 0 w 2813953"/>
              <a:gd name="connsiteY4" fmla="*/ 1079931 h 1079931"/>
              <a:gd name="connsiteX5" fmla="*/ 0 w 2813953"/>
              <a:gd name="connsiteY5" fmla="*/ 0 h 1079931"/>
              <a:gd name="connsiteX0" fmla="*/ 0 w 2813953"/>
              <a:gd name="connsiteY0" fmla="*/ 0 h 1079931"/>
              <a:gd name="connsiteX1" fmla="*/ 2813942 w 2813953"/>
              <a:gd name="connsiteY1" fmla="*/ 0 h 1079931"/>
              <a:gd name="connsiteX2" fmla="*/ 2813953 w 2813953"/>
              <a:gd name="connsiteY2" fmla="*/ 465857 h 1079931"/>
              <a:gd name="connsiteX3" fmla="*/ 2813942 w 2813953"/>
              <a:gd name="connsiteY3" fmla="*/ 1079931 h 1079931"/>
              <a:gd name="connsiteX4" fmla="*/ 919836 w 2813953"/>
              <a:gd name="connsiteY4" fmla="*/ 1078806 h 1079931"/>
              <a:gd name="connsiteX5" fmla="*/ 0 w 2813953"/>
              <a:gd name="connsiteY5" fmla="*/ 1079931 h 1079931"/>
              <a:gd name="connsiteX6" fmla="*/ 0 w 2813953"/>
              <a:gd name="connsiteY6" fmla="*/ 0 h 1079931"/>
              <a:gd name="connsiteX0" fmla="*/ 0 w 2813953"/>
              <a:gd name="connsiteY0" fmla="*/ 0 h 1079931"/>
              <a:gd name="connsiteX1" fmla="*/ 2813942 w 2813953"/>
              <a:gd name="connsiteY1" fmla="*/ 0 h 1079931"/>
              <a:gd name="connsiteX2" fmla="*/ 2813953 w 2813953"/>
              <a:gd name="connsiteY2" fmla="*/ 465857 h 1079931"/>
              <a:gd name="connsiteX3" fmla="*/ 919836 w 2813953"/>
              <a:gd name="connsiteY3" fmla="*/ 1078806 h 1079931"/>
              <a:gd name="connsiteX4" fmla="*/ 0 w 2813953"/>
              <a:gd name="connsiteY4" fmla="*/ 1079931 h 1079931"/>
              <a:gd name="connsiteX5" fmla="*/ 0 w 2813953"/>
              <a:gd name="connsiteY5" fmla="*/ 0 h 1079931"/>
              <a:gd name="connsiteX0" fmla="*/ 0 w 2813953"/>
              <a:gd name="connsiteY0" fmla="*/ 0 h 1079931"/>
              <a:gd name="connsiteX1" fmla="*/ 2813942 w 2813953"/>
              <a:gd name="connsiteY1" fmla="*/ 0 h 1079931"/>
              <a:gd name="connsiteX2" fmla="*/ 2813953 w 2813953"/>
              <a:gd name="connsiteY2" fmla="*/ 465857 h 1079931"/>
              <a:gd name="connsiteX3" fmla="*/ 919836 w 2813953"/>
              <a:gd name="connsiteY3" fmla="*/ 1078806 h 1079931"/>
              <a:gd name="connsiteX4" fmla="*/ 0 w 2813953"/>
              <a:gd name="connsiteY4" fmla="*/ 1079931 h 1079931"/>
              <a:gd name="connsiteX5" fmla="*/ 0 w 2813953"/>
              <a:gd name="connsiteY5" fmla="*/ 0 h 1079931"/>
              <a:gd name="connsiteX0" fmla="*/ 0 w 2813953"/>
              <a:gd name="connsiteY0" fmla="*/ 0 h 1172324"/>
              <a:gd name="connsiteX1" fmla="*/ 2813942 w 2813953"/>
              <a:gd name="connsiteY1" fmla="*/ 0 h 1172324"/>
              <a:gd name="connsiteX2" fmla="*/ 2813953 w 2813953"/>
              <a:gd name="connsiteY2" fmla="*/ 465857 h 1172324"/>
              <a:gd name="connsiteX3" fmla="*/ 670454 w 2813953"/>
              <a:gd name="connsiteY3" fmla="*/ 1172324 h 1172324"/>
              <a:gd name="connsiteX4" fmla="*/ 0 w 2813953"/>
              <a:gd name="connsiteY4" fmla="*/ 1079931 h 1172324"/>
              <a:gd name="connsiteX5" fmla="*/ 0 w 2813953"/>
              <a:gd name="connsiteY5" fmla="*/ 0 h 117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3953" h="1172324">
                <a:moveTo>
                  <a:pt x="0" y="0"/>
                </a:moveTo>
                <a:lnTo>
                  <a:pt x="2813942" y="0"/>
                </a:lnTo>
                <a:cubicBezTo>
                  <a:pt x="2813946" y="155286"/>
                  <a:pt x="2813949" y="310571"/>
                  <a:pt x="2813953" y="465857"/>
                </a:cubicBezTo>
                <a:cubicBezTo>
                  <a:pt x="2463099" y="600440"/>
                  <a:pt x="1139446" y="1069978"/>
                  <a:pt x="670454" y="1172324"/>
                </a:cubicBezTo>
                <a:lnTo>
                  <a:pt x="0" y="1079931"/>
                </a:lnTo>
                <a:lnTo>
                  <a:pt x="0" y="0"/>
                </a:lnTo>
                <a:close/>
              </a:path>
            </a:pathLst>
          </a:custGeom>
          <a:gradFill>
            <a:gsLst>
              <a:gs pos="0">
                <a:schemeClr val="accent1">
                  <a:lumMod val="50000"/>
                </a:schemeClr>
              </a:gs>
              <a:gs pos="100000">
                <a:srgbClr val="005F70">
                  <a:alpha val="0"/>
                </a:srgbClr>
              </a:gs>
            </a:gsLst>
            <a:lin ang="16200000" scaled="0"/>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74" name="Freeform 2051"/>
          <p:cNvSpPr>
            <a:spLocks/>
          </p:cNvSpPr>
          <p:nvPr/>
        </p:nvSpPr>
        <p:spPr bwMode="auto">
          <a:xfrm flipH="1">
            <a:off x="4508921" y="2656007"/>
            <a:ext cx="6039" cy="24145"/>
          </a:xfrm>
          <a:custGeom>
            <a:avLst/>
            <a:gdLst>
              <a:gd name="T0" fmla="*/ 0 w 4"/>
              <a:gd name="T1" fmla="*/ 1 h 20"/>
              <a:gd name="T2" fmla="*/ 0 w 4"/>
              <a:gd name="T3" fmla="*/ 1 h 20"/>
              <a:gd name="T4" fmla="*/ 0 w 4"/>
              <a:gd name="T5" fmla="*/ 20 h 20"/>
              <a:gd name="T6" fmla="*/ 0 w 4"/>
              <a:gd name="T7" fmla="*/ 20 h 20"/>
              <a:gd name="T8" fmla="*/ 1 w 4"/>
              <a:gd name="T9" fmla="*/ 10 h 20"/>
              <a:gd name="T10" fmla="*/ 4 w 4"/>
              <a:gd name="T11" fmla="*/ 0 h 20"/>
              <a:gd name="T12" fmla="*/ 4 w 4"/>
              <a:gd name="T13" fmla="*/ 0 h 20"/>
              <a:gd name="T14" fmla="*/ 0 w 4"/>
              <a:gd name="T15" fmla="*/ 1 h 20"/>
              <a:gd name="T16" fmla="*/ 0 w 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0">
                <a:moveTo>
                  <a:pt x="0" y="1"/>
                </a:moveTo>
                <a:lnTo>
                  <a:pt x="0" y="1"/>
                </a:lnTo>
                <a:lnTo>
                  <a:pt x="0" y="20"/>
                </a:lnTo>
                <a:lnTo>
                  <a:pt x="0" y="20"/>
                </a:lnTo>
                <a:lnTo>
                  <a:pt x="1" y="10"/>
                </a:lnTo>
                <a:lnTo>
                  <a:pt x="4" y="0"/>
                </a:lnTo>
                <a:lnTo>
                  <a:pt x="4" y="0"/>
                </a:lnTo>
                <a:lnTo>
                  <a:pt x="0" y="1"/>
                </a:lnTo>
                <a:lnTo>
                  <a:pt x="0" y="1"/>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475" name="Group 1474"/>
          <p:cNvGrpSpPr/>
          <p:nvPr/>
        </p:nvGrpSpPr>
        <p:grpSpPr>
          <a:xfrm>
            <a:off x="4550740" y="1136793"/>
            <a:ext cx="1513999" cy="1968507"/>
            <a:chOff x="8375040" y="3297341"/>
            <a:chExt cx="541133" cy="703583"/>
          </a:xfrm>
          <a:solidFill>
            <a:schemeClr val="accent5">
              <a:alpha val="46000"/>
            </a:schemeClr>
          </a:solidFill>
        </p:grpSpPr>
        <p:sp>
          <p:nvSpPr>
            <p:cNvPr id="1487" name="Trapezoid 302"/>
            <p:cNvSpPr/>
            <p:nvPr/>
          </p:nvSpPr>
          <p:spPr bwMode="auto">
            <a:xfrm rot="16200000">
              <a:off x="8229290" y="3443091"/>
              <a:ext cx="501763" cy="210264"/>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88" name="Trapezoid 302"/>
            <p:cNvSpPr/>
            <p:nvPr/>
          </p:nvSpPr>
          <p:spPr bwMode="auto">
            <a:xfrm rot="16200000">
              <a:off x="8412910" y="3497661"/>
              <a:ext cx="703583" cy="302943"/>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 name="connsiteX0" fmla="*/ 0 w 2234394"/>
                <a:gd name="connsiteY0" fmla="*/ 302584 h 302584"/>
                <a:gd name="connsiteX1" fmla="*/ 610683 w 2234394"/>
                <a:gd name="connsiteY1" fmla="*/ 0 h 302584"/>
                <a:gd name="connsiteX2" fmla="*/ 2234394 w 2234394"/>
                <a:gd name="connsiteY2" fmla="*/ 2165 h 302584"/>
                <a:gd name="connsiteX3" fmla="*/ 2232737 w 2234394"/>
                <a:gd name="connsiteY3" fmla="*/ 302584 h 302584"/>
                <a:gd name="connsiteX4" fmla="*/ 0 w 2234394"/>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4" h="302584">
                  <a:moveTo>
                    <a:pt x="0" y="302584"/>
                  </a:moveTo>
                  <a:lnTo>
                    <a:pt x="610683" y="0"/>
                  </a:lnTo>
                  <a:lnTo>
                    <a:pt x="2234394" y="2165"/>
                  </a:lnTo>
                  <a:cubicBezTo>
                    <a:pt x="2233841" y="100824"/>
                    <a:pt x="2233290" y="203925"/>
                    <a:pt x="2232737" y="302584"/>
                  </a:cubicBezTo>
                  <a:lnTo>
                    <a:pt x="0" y="30258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476" name="Group 1475"/>
          <p:cNvGrpSpPr/>
          <p:nvPr/>
        </p:nvGrpSpPr>
        <p:grpSpPr>
          <a:xfrm>
            <a:off x="5118770" y="1131395"/>
            <a:ext cx="110464" cy="1451874"/>
            <a:chOff x="8587227" y="1748312"/>
            <a:chExt cx="67827" cy="544915"/>
          </a:xfrm>
        </p:grpSpPr>
        <p:sp>
          <p:nvSpPr>
            <p:cNvPr id="1485" name="Rectangle 1484"/>
            <p:cNvSpPr/>
            <p:nvPr/>
          </p:nvSpPr>
          <p:spPr bwMode="auto">
            <a:xfrm>
              <a:off x="8587227" y="1748312"/>
              <a:ext cx="64008" cy="54491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86" name="Rectangle 1485"/>
            <p:cNvSpPr/>
            <p:nvPr/>
          </p:nvSpPr>
          <p:spPr bwMode="auto">
            <a:xfrm>
              <a:off x="8609335" y="1748312"/>
              <a:ext cx="45719" cy="544915"/>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2087" name="Rectangle 2086"/>
          <p:cNvSpPr/>
          <p:nvPr/>
        </p:nvSpPr>
        <p:spPr bwMode="auto">
          <a:xfrm rot="10800000">
            <a:off x="9255252" y="5513727"/>
            <a:ext cx="2750791" cy="1129251"/>
          </a:xfrm>
          <a:prstGeom prst="rect">
            <a:avLst/>
          </a:prstGeom>
          <a:gradFill flip="none" rotWithShape="1">
            <a:gsLst>
              <a:gs pos="0">
                <a:schemeClr val="accent6">
                  <a:lumMod val="50000"/>
                  <a:alpha val="42000"/>
                </a:scheme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 name="Rectangle 16"/>
          <p:cNvSpPr/>
          <p:nvPr/>
        </p:nvSpPr>
        <p:spPr bwMode="auto">
          <a:xfrm>
            <a:off x="3195224" y="1127925"/>
            <a:ext cx="1380179" cy="1041896"/>
          </a:xfrm>
          <a:prstGeom prst="rect">
            <a:avLst/>
          </a:prstGeom>
          <a:gradFill flip="none" rotWithShape="1">
            <a:gsLst>
              <a:gs pos="0">
                <a:schemeClr val="accent6">
                  <a:lumMod val="75000"/>
                </a:schemeClr>
              </a:gs>
              <a:gs pos="100000">
                <a:srgbClr val="00465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61" name="Group 60"/>
          <p:cNvGrpSpPr/>
          <p:nvPr/>
        </p:nvGrpSpPr>
        <p:grpSpPr>
          <a:xfrm rot="10800000">
            <a:off x="9267864" y="3194149"/>
            <a:ext cx="2725760" cy="335523"/>
            <a:chOff x="6272502" y="2627213"/>
            <a:chExt cx="2725760" cy="335523"/>
          </a:xfrm>
        </p:grpSpPr>
        <p:sp>
          <p:nvSpPr>
            <p:cNvPr id="1810" name="Rectangle 1809"/>
            <p:cNvSpPr/>
            <p:nvPr/>
          </p:nvSpPr>
          <p:spPr bwMode="auto">
            <a:xfrm>
              <a:off x="6272502" y="2627213"/>
              <a:ext cx="2725760" cy="335523"/>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813" name="Group 1812"/>
            <p:cNvGrpSpPr/>
            <p:nvPr/>
          </p:nvGrpSpPr>
          <p:grpSpPr>
            <a:xfrm>
              <a:off x="6287684" y="2775892"/>
              <a:ext cx="1650684" cy="16680"/>
              <a:chOff x="257212" y="4550934"/>
              <a:chExt cx="2283201" cy="31011"/>
            </a:xfrm>
          </p:grpSpPr>
          <p:sp>
            <p:nvSpPr>
              <p:cNvPr id="1814" name="Rectangle 135"/>
              <p:cNvSpPr>
                <a:spLocks noChangeArrowheads="1"/>
              </p:cNvSpPr>
              <p:nvPr/>
            </p:nvSpPr>
            <p:spPr bwMode="auto">
              <a:xfrm>
                <a:off x="257212" y="4550934"/>
                <a:ext cx="313764"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15" name="Rectangle 136"/>
              <p:cNvSpPr>
                <a:spLocks noChangeArrowheads="1"/>
              </p:cNvSpPr>
              <p:nvPr/>
            </p:nvSpPr>
            <p:spPr bwMode="auto">
              <a:xfrm>
                <a:off x="742900" y="4550934"/>
                <a:ext cx="569502"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16" name="Rectangle 137"/>
              <p:cNvSpPr>
                <a:spLocks noChangeArrowheads="1"/>
              </p:cNvSpPr>
              <p:nvPr/>
            </p:nvSpPr>
            <p:spPr bwMode="auto">
              <a:xfrm>
                <a:off x="1484326" y="4550934"/>
                <a:ext cx="571650"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17" name="Rectangle 138"/>
              <p:cNvSpPr>
                <a:spLocks noChangeArrowheads="1"/>
              </p:cNvSpPr>
              <p:nvPr/>
            </p:nvSpPr>
            <p:spPr bwMode="auto">
              <a:xfrm>
                <a:off x="2217731" y="4550934"/>
                <a:ext cx="322682" cy="31011"/>
              </a:xfrm>
              <a:prstGeom prst="rect">
                <a:avLst/>
              </a:prstGeom>
              <a:solidFill>
                <a:schemeClr val="accent5">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56" name="Title 55"/>
          <p:cNvSpPr>
            <a:spLocks noGrp="1"/>
          </p:cNvSpPr>
          <p:nvPr>
            <p:ph type="title"/>
          </p:nvPr>
        </p:nvSpPr>
        <p:spPr/>
        <p:txBody>
          <a:bodyPr/>
          <a:lstStyle/>
          <a:p>
            <a:endParaRPr lang="en-US" dirty="0"/>
          </a:p>
        </p:txBody>
      </p:sp>
      <p:sp>
        <p:nvSpPr>
          <p:cNvPr id="1147" name="Title 3"/>
          <p:cNvSpPr txBox="1">
            <a:spLocks/>
          </p:cNvSpPr>
          <p:nvPr/>
        </p:nvSpPr>
        <p:spPr>
          <a:xfrm>
            <a:off x="158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rPr>
              <a:t>The Internet of Things – Auto</a:t>
            </a:r>
          </a:p>
        </p:txBody>
      </p:sp>
      <p:sp>
        <p:nvSpPr>
          <p:cNvPr id="1148" name="Rectangle 1147"/>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78" name="TextBox 1277"/>
          <p:cNvSpPr txBox="1"/>
          <p:nvPr/>
        </p:nvSpPr>
        <p:spPr>
          <a:xfrm>
            <a:off x="357702" y="1637862"/>
            <a:ext cx="1182622" cy="161583"/>
          </a:xfrm>
          <a:prstGeom prst="rect">
            <a:avLst/>
          </a:prstGeom>
          <a:noFill/>
          <a:ln>
            <a:noFill/>
            <a:headEnd type="none" w="med" len="med"/>
            <a:tailEnd type="none" w="med" len="med"/>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38" normalizeH="0" baseline="0" noProof="0" dirty="0">
                <a:ln>
                  <a:noFill/>
                </a:ln>
                <a:solidFill>
                  <a:srgbClr val="FF8C00"/>
                </a:solidFill>
                <a:effectLst/>
                <a:uLnTx/>
                <a:uFillTx/>
                <a:ea typeface="Segoe UI" pitchFamily="34" charset="0"/>
                <a:cs typeface="Segoe UI" pitchFamily="34" charset="0"/>
              </a:rPr>
              <a:t>R&amp;D</a:t>
            </a:r>
          </a:p>
        </p:txBody>
      </p:sp>
      <p:grpSp>
        <p:nvGrpSpPr>
          <p:cNvPr id="1158" name="Group 1157"/>
          <p:cNvGrpSpPr/>
          <p:nvPr/>
        </p:nvGrpSpPr>
        <p:grpSpPr>
          <a:xfrm>
            <a:off x="3194458" y="2872477"/>
            <a:ext cx="5909480" cy="3791299"/>
            <a:chOff x="3043451" y="2861988"/>
            <a:chExt cx="5909480" cy="3791299"/>
          </a:xfrm>
        </p:grpSpPr>
        <p:cxnSp>
          <p:nvCxnSpPr>
            <p:cNvPr id="1159" name="Straight Connector 1158"/>
            <p:cNvCxnSpPr>
              <a:endCxn id="1652" idx="2"/>
            </p:cNvCxnSpPr>
            <p:nvPr/>
          </p:nvCxnSpPr>
          <p:spPr>
            <a:xfrm>
              <a:off x="3043451" y="2861988"/>
              <a:ext cx="2017608" cy="694984"/>
            </a:xfrm>
            <a:prstGeom prst="line">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160" name="Group 1159"/>
            <p:cNvGrpSpPr/>
            <p:nvPr/>
          </p:nvGrpSpPr>
          <p:grpSpPr>
            <a:xfrm>
              <a:off x="3043451" y="4187853"/>
              <a:ext cx="5909480" cy="2465434"/>
              <a:chOff x="2969583" y="4121390"/>
              <a:chExt cx="5909480" cy="2105711"/>
            </a:xfrm>
          </p:grpSpPr>
          <p:cxnSp>
            <p:nvCxnSpPr>
              <p:cNvPr id="1161" name="Straight Connector 1160"/>
              <p:cNvCxnSpPr>
                <a:stCxn id="1652" idx="5"/>
              </p:cNvCxnSpPr>
              <p:nvPr/>
            </p:nvCxnSpPr>
            <p:spPr>
              <a:xfrm>
                <a:off x="6521610" y="4121390"/>
                <a:ext cx="2357453" cy="2105709"/>
              </a:xfrm>
              <a:prstGeom prst="line">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62" name="Straight Connector 1161"/>
              <p:cNvCxnSpPr>
                <a:endCxn id="1652" idx="3"/>
              </p:cNvCxnSpPr>
              <p:nvPr/>
            </p:nvCxnSpPr>
            <p:spPr>
              <a:xfrm flipV="1">
                <a:off x="2969583" y="4121392"/>
                <a:ext cx="2280873" cy="2105709"/>
              </a:xfrm>
              <a:prstGeom prst="line">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356" name="Rectangle 1355"/>
          <p:cNvSpPr/>
          <p:nvPr/>
        </p:nvSpPr>
        <p:spPr bwMode="auto">
          <a:xfrm>
            <a:off x="6496051" y="4875739"/>
            <a:ext cx="732466" cy="570208"/>
          </a:xfrm>
          <a:prstGeom prst="rect">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w="3175">
                  <a:noFill/>
                </a:ln>
                <a:solidFill>
                  <a:srgbClr val="00BCF2"/>
                </a:solidFill>
                <a:effectLst/>
                <a:uLnTx/>
                <a:uFillTx/>
                <a:cs typeface="Arial" charset="0"/>
              </a:rPr>
              <a:t>REPLACE BRAKES</a:t>
            </a:r>
          </a:p>
          <a:p>
            <a:pPr marL="0" marR="0" lvl="0" indent="0" algn="ctr" defTabSz="89563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00BCF2"/>
                </a:solidFill>
                <a:effectLst/>
                <a:uLnTx/>
                <a:uFillTx/>
                <a:cs typeface="Arial" charset="0"/>
              </a:rPr>
              <a:t>Discounted service available</a:t>
            </a:r>
          </a:p>
        </p:txBody>
      </p:sp>
      <p:grpSp>
        <p:nvGrpSpPr>
          <p:cNvPr id="1358" name="Group 1357"/>
          <p:cNvGrpSpPr/>
          <p:nvPr/>
        </p:nvGrpSpPr>
        <p:grpSpPr>
          <a:xfrm flipH="1">
            <a:off x="6888746" y="5591032"/>
            <a:ext cx="1075945" cy="395981"/>
            <a:chOff x="-120317" y="2227654"/>
            <a:chExt cx="12842245" cy="4296675"/>
          </a:xfrm>
        </p:grpSpPr>
        <p:grpSp>
          <p:nvGrpSpPr>
            <p:cNvPr id="1359" name="Group 1358"/>
            <p:cNvGrpSpPr/>
            <p:nvPr/>
          </p:nvGrpSpPr>
          <p:grpSpPr>
            <a:xfrm>
              <a:off x="-120317" y="2227654"/>
              <a:ext cx="12842245" cy="4296675"/>
              <a:chOff x="-120316" y="1299411"/>
              <a:chExt cx="12842243" cy="4296675"/>
            </a:xfrm>
          </p:grpSpPr>
          <p:sp>
            <p:nvSpPr>
              <p:cNvPr id="1361" name="Freeform 1360"/>
              <p:cNvSpPr/>
              <p:nvPr/>
            </p:nvSpPr>
            <p:spPr bwMode="auto">
              <a:xfrm>
                <a:off x="-112861" y="1299411"/>
                <a:ext cx="12828018" cy="3773269"/>
              </a:xfrm>
              <a:custGeom>
                <a:avLst/>
                <a:gdLst>
                  <a:gd name="connsiteX0" fmla="*/ 1259872 w 12828018"/>
                  <a:gd name="connsiteY0" fmla="*/ 3489157 h 3773269"/>
                  <a:gd name="connsiteX1" fmla="*/ 1275914 w 12828018"/>
                  <a:gd name="connsiteY1" fmla="*/ 3312694 h 3773269"/>
                  <a:gd name="connsiteX2" fmla="*/ 1307998 w 12828018"/>
                  <a:gd name="connsiteY2" fmla="*/ 3072063 h 3773269"/>
                  <a:gd name="connsiteX3" fmla="*/ 1380187 w 12828018"/>
                  <a:gd name="connsiteY3" fmla="*/ 2863515 h 3773269"/>
                  <a:gd name="connsiteX4" fmla="*/ 1476440 w 12828018"/>
                  <a:gd name="connsiteY4" fmla="*/ 2687052 h 3773269"/>
                  <a:gd name="connsiteX5" fmla="*/ 1668945 w 12828018"/>
                  <a:gd name="connsiteY5" fmla="*/ 2486526 h 3773269"/>
                  <a:gd name="connsiteX6" fmla="*/ 1885514 w 12828018"/>
                  <a:gd name="connsiteY6" fmla="*/ 2350168 h 3773269"/>
                  <a:gd name="connsiteX7" fmla="*/ 2126145 w 12828018"/>
                  <a:gd name="connsiteY7" fmla="*/ 2261936 h 3773269"/>
                  <a:gd name="connsiteX8" fmla="*/ 2471050 w 12828018"/>
                  <a:gd name="connsiteY8" fmla="*/ 2221831 h 3773269"/>
                  <a:gd name="connsiteX9" fmla="*/ 2775850 w 12828018"/>
                  <a:gd name="connsiteY9" fmla="*/ 2277978 h 3773269"/>
                  <a:gd name="connsiteX10" fmla="*/ 3112735 w 12828018"/>
                  <a:gd name="connsiteY10" fmla="*/ 2454442 h 3773269"/>
                  <a:gd name="connsiteX11" fmla="*/ 3353366 w 12828018"/>
                  <a:gd name="connsiteY11" fmla="*/ 2751221 h 3773269"/>
                  <a:gd name="connsiteX12" fmla="*/ 3433577 w 12828018"/>
                  <a:gd name="connsiteY12" fmla="*/ 2943726 h 3773269"/>
                  <a:gd name="connsiteX13" fmla="*/ 3481703 w 12828018"/>
                  <a:gd name="connsiteY13" fmla="*/ 3200400 h 3773269"/>
                  <a:gd name="connsiteX14" fmla="*/ 3513787 w 12828018"/>
                  <a:gd name="connsiteY14" fmla="*/ 3449052 h 3773269"/>
                  <a:gd name="connsiteX15" fmla="*/ 3505766 w 12828018"/>
                  <a:gd name="connsiteY15" fmla="*/ 3625515 h 3773269"/>
                  <a:gd name="connsiteX16" fmla="*/ 3505766 w 12828018"/>
                  <a:gd name="connsiteY16" fmla="*/ 3761873 h 3773269"/>
                  <a:gd name="connsiteX17" fmla="*/ 3561914 w 12828018"/>
                  <a:gd name="connsiteY17" fmla="*/ 3761873 h 3773269"/>
                  <a:gd name="connsiteX18" fmla="*/ 3722335 w 12828018"/>
                  <a:gd name="connsiteY18" fmla="*/ 3729789 h 3773269"/>
                  <a:gd name="connsiteX19" fmla="*/ 4043177 w 12828018"/>
                  <a:gd name="connsiteY19" fmla="*/ 3713747 h 3773269"/>
                  <a:gd name="connsiteX20" fmla="*/ 4596629 w 12828018"/>
                  <a:gd name="connsiteY20" fmla="*/ 3721768 h 3773269"/>
                  <a:gd name="connsiteX21" fmla="*/ 6040419 w 12828018"/>
                  <a:gd name="connsiteY21" fmla="*/ 3713747 h 3773269"/>
                  <a:gd name="connsiteX22" fmla="*/ 7572440 w 12828018"/>
                  <a:gd name="connsiteY22" fmla="*/ 3729789 h 3773269"/>
                  <a:gd name="connsiteX23" fmla="*/ 8623198 w 12828018"/>
                  <a:gd name="connsiteY23" fmla="*/ 3721768 h 3773269"/>
                  <a:gd name="connsiteX24" fmla="*/ 8960082 w 12828018"/>
                  <a:gd name="connsiteY24" fmla="*/ 3729789 h 3773269"/>
                  <a:gd name="connsiteX25" fmla="*/ 9072377 w 12828018"/>
                  <a:gd name="connsiteY25" fmla="*/ 3729789 h 3773269"/>
                  <a:gd name="connsiteX26" fmla="*/ 9128524 w 12828018"/>
                  <a:gd name="connsiteY26" fmla="*/ 3729789 h 3773269"/>
                  <a:gd name="connsiteX27" fmla="*/ 9136545 w 12828018"/>
                  <a:gd name="connsiteY27" fmla="*/ 3609473 h 3773269"/>
                  <a:gd name="connsiteX28" fmla="*/ 9128524 w 12828018"/>
                  <a:gd name="connsiteY28" fmla="*/ 3441031 h 3773269"/>
                  <a:gd name="connsiteX29" fmla="*/ 9192693 w 12828018"/>
                  <a:gd name="connsiteY29" fmla="*/ 3072063 h 3773269"/>
                  <a:gd name="connsiteX30" fmla="*/ 9313008 w 12828018"/>
                  <a:gd name="connsiteY30" fmla="*/ 2743200 h 3773269"/>
                  <a:gd name="connsiteX31" fmla="*/ 9545619 w 12828018"/>
                  <a:gd name="connsiteY31" fmla="*/ 2470484 h 3773269"/>
                  <a:gd name="connsiteX32" fmla="*/ 9898545 w 12828018"/>
                  <a:gd name="connsiteY32" fmla="*/ 2286000 h 3773269"/>
                  <a:gd name="connsiteX33" fmla="*/ 10227408 w 12828018"/>
                  <a:gd name="connsiteY33" fmla="*/ 2237873 h 3773269"/>
                  <a:gd name="connsiteX34" fmla="*/ 10652524 w 12828018"/>
                  <a:gd name="connsiteY34" fmla="*/ 2302042 h 3773269"/>
                  <a:gd name="connsiteX35" fmla="*/ 10949303 w 12828018"/>
                  <a:gd name="connsiteY35" fmla="*/ 2462463 h 3773269"/>
                  <a:gd name="connsiteX36" fmla="*/ 11165872 w 12828018"/>
                  <a:gd name="connsiteY36" fmla="*/ 2695073 h 3773269"/>
                  <a:gd name="connsiteX37" fmla="*/ 11286187 w 12828018"/>
                  <a:gd name="connsiteY37" fmla="*/ 2903621 h 3773269"/>
                  <a:gd name="connsiteX38" fmla="*/ 11318272 w 12828018"/>
                  <a:gd name="connsiteY38" fmla="*/ 3064042 h 3773269"/>
                  <a:gd name="connsiteX39" fmla="*/ 11334314 w 12828018"/>
                  <a:gd name="connsiteY39" fmla="*/ 3328736 h 3773269"/>
                  <a:gd name="connsiteX40" fmla="*/ 11318272 w 12828018"/>
                  <a:gd name="connsiteY40" fmla="*/ 3569368 h 3773269"/>
                  <a:gd name="connsiteX41" fmla="*/ 11334314 w 12828018"/>
                  <a:gd name="connsiteY41" fmla="*/ 3617494 h 3773269"/>
                  <a:gd name="connsiteX42" fmla="*/ 11462650 w 12828018"/>
                  <a:gd name="connsiteY42" fmla="*/ 3593431 h 3773269"/>
                  <a:gd name="connsiteX43" fmla="*/ 11663177 w 12828018"/>
                  <a:gd name="connsiteY43" fmla="*/ 3513221 h 3773269"/>
                  <a:gd name="connsiteX44" fmla="*/ 11951935 w 12828018"/>
                  <a:gd name="connsiteY44" fmla="*/ 3441031 h 3773269"/>
                  <a:gd name="connsiteX45" fmla="*/ 12296840 w 12828018"/>
                  <a:gd name="connsiteY45" fmla="*/ 3392905 h 3773269"/>
                  <a:gd name="connsiteX46" fmla="*/ 12601640 w 12828018"/>
                  <a:gd name="connsiteY46" fmla="*/ 3328736 h 3773269"/>
                  <a:gd name="connsiteX47" fmla="*/ 12681850 w 12828018"/>
                  <a:gd name="connsiteY47" fmla="*/ 3240505 h 3773269"/>
                  <a:gd name="connsiteX48" fmla="*/ 12721956 w 12828018"/>
                  <a:gd name="connsiteY48" fmla="*/ 3200400 h 3773269"/>
                  <a:gd name="connsiteX49" fmla="*/ 12737998 w 12828018"/>
                  <a:gd name="connsiteY49" fmla="*/ 3096126 h 3773269"/>
                  <a:gd name="connsiteX50" fmla="*/ 12810187 w 12828018"/>
                  <a:gd name="connsiteY50" fmla="*/ 2943726 h 3773269"/>
                  <a:gd name="connsiteX51" fmla="*/ 12818208 w 12828018"/>
                  <a:gd name="connsiteY51" fmla="*/ 2751221 h 3773269"/>
                  <a:gd name="connsiteX52" fmla="*/ 12818208 w 12828018"/>
                  <a:gd name="connsiteY52" fmla="*/ 2294021 h 3773269"/>
                  <a:gd name="connsiteX53" fmla="*/ 12689872 w 12828018"/>
                  <a:gd name="connsiteY53" fmla="*/ 2061410 h 3773269"/>
                  <a:gd name="connsiteX54" fmla="*/ 12593619 w 12828018"/>
                  <a:gd name="connsiteY54" fmla="*/ 1933073 h 3773269"/>
                  <a:gd name="connsiteX55" fmla="*/ 12529450 w 12828018"/>
                  <a:gd name="connsiteY55" fmla="*/ 1676400 h 3773269"/>
                  <a:gd name="connsiteX56" fmla="*/ 12417156 w 12828018"/>
                  <a:gd name="connsiteY56" fmla="*/ 1363578 h 3773269"/>
                  <a:gd name="connsiteX57" fmla="*/ 12280798 w 12828018"/>
                  <a:gd name="connsiteY57" fmla="*/ 1163052 h 3773269"/>
                  <a:gd name="connsiteX58" fmla="*/ 12248714 w 12828018"/>
                  <a:gd name="connsiteY58" fmla="*/ 1114926 h 3773269"/>
                  <a:gd name="connsiteX59" fmla="*/ 12144440 w 12828018"/>
                  <a:gd name="connsiteY59" fmla="*/ 1098884 h 3773269"/>
                  <a:gd name="connsiteX60" fmla="*/ 11695261 w 12828018"/>
                  <a:gd name="connsiteY60" fmla="*/ 1058778 h 3773269"/>
                  <a:gd name="connsiteX61" fmla="*/ 11470672 w 12828018"/>
                  <a:gd name="connsiteY61" fmla="*/ 1018673 h 3773269"/>
                  <a:gd name="connsiteX62" fmla="*/ 11085661 w 12828018"/>
                  <a:gd name="connsiteY62" fmla="*/ 874294 h 3773269"/>
                  <a:gd name="connsiteX63" fmla="*/ 10612419 w 12828018"/>
                  <a:gd name="connsiteY63" fmla="*/ 665747 h 3773269"/>
                  <a:gd name="connsiteX64" fmla="*/ 10034903 w 12828018"/>
                  <a:gd name="connsiteY64" fmla="*/ 433136 h 3773269"/>
                  <a:gd name="connsiteX65" fmla="*/ 9617808 w 12828018"/>
                  <a:gd name="connsiteY65" fmla="*/ 272715 h 3773269"/>
                  <a:gd name="connsiteX66" fmla="*/ 9160608 w 12828018"/>
                  <a:gd name="connsiteY66" fmla="*/ 152400 h 3773269"/>
                  <a:gd name="connsiteX67" fmla="*/ 8631219 w 12828018"/>
                  <a:gd name="connsiteY67" fmla="*/ 64168 h 3773269"/>
                  <a:gd name="connsiteX68" fmla="*/ 7965472 w 12828018"/>
                  <a:gd name="connsiteY68" fmla="*/ 16042 h 3773269"/>
                  <a:gd name="connsiteX69" fmla="*/ 7403998 w 12828018"/>
                  <a:gd name="connsiteY69" fmla="*/ 0 h 3773269"/>
                  <a:gd name="connsiteX70" fmla="*/ 6754293 w 12828018"/>
                  <a:gd name="connsiteY70" fmla="*/ 8021 h 3773269"/>
                  <a:gd name="connsiteX71" fmla="*/ 6208861 w 12828018"/>
                  <a:gd name="connsiteY71" fmla="*/ 56147 h 3773269"/>
                  <a:gd name="connsiteX72" fmla="*/ 5623324 w 12828018"/>
                  <a:gd name="connsiteY72" fmla="*/ 184484 h 3773269"/>
                  <a:gd name="connsiteX73" fmla="*/ 5254356 w 12828018"/>
                  <a:gd name="connsiteY73" fmla="*/ 336884 h 3773269"/>
                  <a:gd name="connsiteX74" fmla="*/ 4468293 w 12828018"/>
                  <a:gd name="connsiteY74" fmla="*/ 762000 h 3773269"/>
                  <a:gd name="connsiteX75" fmla="*/ 3834629 w 12828018"/>
                  <a:gd name="connsiteY75" fmla="*/ 1138989 h 3773269"/>
                  <a:gd name="connsiteX76" fmla="*/ 3642124 w 12828018"/>
                  <a:gd name="connsiteY76" fmla="*/ 1251284 h 3773269"/>
                  <a:gd name="connsiteX77" fmla="*/ 3457640 w 12828018"/>
                  <a:gd name="connsiteY77" fmla="*/ 1275347 h 3773269"/>
                  <a:gd name="connsiteX78" fmla="*/ 2815956 w 12828018"/>
                  <a:gd name="connsiteY78" fmla="*/ 1331494 h 3773269"/>
                  <a:gd name="connsiteX79" fmla="*/ 2158229 w 12828018"/>
                  <a:gd name="connsiteY79" fmla="*/ 1411705 h 3773269"/>
                  <a:gd name="connsiteX80" fmla="*/ 1580714 w 12828018"/>
                  <a:gd name="connsiteY80" fmla="*/ 1499936 h 3773269"/>
                  <a:gd name="connsiteX81" fmla="*/ 1075387 w 12828018"/>
                  <a:gd name="connsiteY81" fmla="*/ 1596189 h 3773269"/>
                  <a:gd name="connsiteX82" fmla="*/ 650272 w 12828018"/>
                  <a:gd name="connsiteY82" fmla="*/ 1748589 h 3773269"/>
                  <a:gd name="connsiteX83" fmla="*/ 457766 w 12828018"/>
                  <a:gd name="connsiteY83" fmla="*/ 1868905 h 3773269"/>
                  <a:gd name="connsiteX84" fmla="*/ 273282 w 12828018"/>
                  <a:gd name="connsiteY84" fmla="*/ 2101515 h 3773269"/>
                  <a:gd name="connsiteX85" fmla="*/ 169008 w 12828018"/>
                  <a:gd name="connsiteY85" fmla="*/ 2326105 h 3773269"/>
                  <a:gd name="connsiteX86" fmla="*/ 88798 w 12828018"/>
                  <a:gd name="connsiteY86" fmla="*/ 2454442 h 3773269"/>
                  <a:gd name="connsiteX87" fmla="*/ 8587 w 12828018"/>
                  <a:gd name="connsiteY87" fmla="*/ 2855494 h 3773269"/>
                  <a:gd name="connsiteX88" fmla="*/ 8587 w 12828018"/>
                  <a:gd name="connsiteY88" fmla="*/ 3080084 h 3773269"/>
                  <a:gd name="connsiteX89" fmla="*/ 64735 w 12828018"/>
                  <a:gd name="connsiteY89" fmla="*/ 3232484 h 3773269"/>
                  <a:gd name="connsiteX90" fmla="*/ 64735 w 12828018"/>
                  <a:gd name="connsiteY90" fmla="*/ 3433010 h 3773269"/>
                  <a:gd name="connsiteX91" fmla="*/ 120882 w 12828018"/>
                  <a:gd name="connsiteY91" fmla="*/ 3481136 h 3773269"/>
                  <a:gd name="connsiteX92" fmla="*/ 345472 w 12828018"/>
                  <a:gd name="connsiteY92" fmla="*/ 3601452 h 3773269"/>
                  <a:gd name="connsiteX93" fmla="*/ 706419 w 12828018"/>
                  <a:gd name="connsiteY93" fmla="*/ 3673642 h 3773269"/>
                  <a:gd name="connsiteX94" fmla="*/ 1051324 w 12828018"/>
                  <a:gd name="connsiteY94" fmla="*/ 3697705 h 3773269"/>
                  <a:gd name="connsiteX95" fmla="*/ 1251850 w 12828018"/>
                  <a:gd name="connsiteY95" fmla="*/ 3729789 h 3773269"/>
                  <a:gd name="connsiteX96" fmla="*/ 1275914 w 12828018"/>
                  <a:gd name="connsiteY96" fmla="*/ 3697705 h 3773269"/>
                  <a:gd name="connsiteX97" fmla="*/ 1259872 w 12828018"/>
                  <a:gd name="connsiteY97" fmla="*/ 3489157 h 377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28018" h="3773269">
                    <a:moveTo>
                      <a:pt x="1259872" y="3489157"/>
                    </a:moveTo>
                    <a:cubicBezTo>
                      <a:pt x="1259872" y="3424989"/>
                      <a:pt x="1267893" y="3382210"/>
                      <a:pt x="1275914" y="3312694"/>
                    </a:cubicBezTo>
                    <a:cubicBezTo>
                      <a:pt x="1283935" y="3243178"/>
                      <a:pt x="1290619" y="3146926"/>
                      <a:pt x="1307998" y="3072063"/>
                    </a:cubicBezTo>
                    <a:cubicBezTo>
                      <a:pt x="1325377" y="2997200"/>
                      <a:pt x="1352113" y="2927683"/>
                      <a:pt x="1380187" y="2863515"/>
                    </a:cubicBezTo>
                    <a:cubicBezTo>
                      <a:pt x="1408261" y="2799346"/>
                      <a:pt x="1428314" y="2749884"/>
                      <a:pt x="1476440" y="2687052"/>
                    </a:cubicBezTo>
                    <a:cubicBezTo>
                      <a:pt x="1524566" y="2624220"/>
                      <a:pt x="1600766" y="2542673"/>
                      <a:pt x="1668945" y="2486526"/>
                    </a:cubicBezTo>
                    <a:cubicBezTo>
                      <a:pt x="1737124" y="2430379"/>
                      <a:pt x="1809314" y="2387600"/>
                      <a:pt x="1885514" y="2350168"/>
                    </a:cubicBezTo>
                    <a:cubicBezTo>
                      <a:pt x="1961714" y="2312736"/>
                      <a:pt x="2028556" y="2283325"/>
                      <a:pt x="2126145" y="2261936"/>
                    </a:cubicBezTo>
                    <a:cubicBezTo>
                      <a:pt x="2223734" y="2240547"/>
                      <a:pt x="2362766" y="2219157"/>
                      <a:pt x="2471050" y="2221831"/>
                    </a:cubicBezTo>
                    <a:cubicBezTo>
                      <a:pt x="2579334" y="2224505"/>
                      <a:pt x="2668903" y="2239210"/>
                      <a:pt x="2775850" y="2277978"/>
                    </a:cubicBezTo>
                    <a:cubicBezTo>
                      <a:pt x="2882797" y="2316746"/>
                      <a:pt x="3016482" y="2375568"/>
                      <a:pt x="3112735" y="2454442"/>
                    </a:cubicBezTo>
                    <a:cubicBezTo>
                      <a:pt x="3208988" y="2533316"/>
                      <a:pt x="3299892" y="2669674"/>
                      <a:pt x="3353366" y="2751221"/>
                    </a:cubicBezTo>
                    <a:cubicBezTo>
                      <a:pt x="3406840" y="2832768"/>
                      <a:pt x="3412188" y="2868863"/>
                      <a:pt x="3433577" y="2943726"/>
                    </a:cubicBezTo>
                    <a:cubicBezTo>
                      <a:pt x="3454966" y="3018589"/>
                      <a:pt x="3468335" y="3116179"/>
                      <a:pt x="3481703" y="3200400"/>
                    </a:cubicBezTo>
                    <a:cubicBezTo>
                      <a:pt x="3495071" y="3284621"/>
                      <a:pt x="3509777" y="3378200"/>
                      <a:pt x="3513787" y="3449052"/>
                    </a:cubicBezTo>
                    <a:cubicBezTo>
                      <a:pt x="3517797" y="3519904"/>
                      <a:pt x="3507103" y="3573378"/>
                      <a:pt x="3505766" y="3625515"/>
                    </a:cubicBezTo>
                    <a:cubicBezTo>
                      <a:pt x="3504429" y="3677652"/>
                      <a:pt x="3496408" y="3739147"/>
                      <a:pt x="3505766" y="3761873"/>
                    </a:cubicBezTo>
                    <a:cubicBezTo>
                      <a:pt x="3515124" y="3784599"/>
                      <a:pt x="3525819" y="3767220"/>
                      <a:pt x="3561914" y="3761873"/>
                    </a:cubicBezTo>
                    <a:cubicBezTo>
                      <a:pt x="3598009" y="3756526"/>
                      <a:pt x="3642125" y="3737810"/>
                      <a:pt x="3722335" y="3729789"/>
                    </a:cubicBezTo>
                    <a:cubicBezTo>
                      <a:pt x="3802546" y="3721768"/>
                      <a:pt x="4043177" y="3713747"/>
                      <a:pt x="4043177" y="3713747"/>
                    </a:cubicBezTo>
                    <a:lnTo>
                      <a:pt x="4596629" y="3721768"/>
                    </a:lnTo>
                    <a:lnTo>
                      <a:pt x="6040419" y="3713747"/>
                    </a:lnTo>
                    <a:lnTo>
                      <a:pt x="7572440" y="3729789"/>
                    </a:lnTo>
                    <a:lnTo>
                      <a:pt x="8623198" y="3721768"/>
                    </a:lnTo>
                    <a:cubicBezTo>
                      <a:pt x="8854472" y="3721768"/>
                      <a:pt x="8885219" y="3728452"/>
                      <a:pt x="8960082" y="3729789"/>
                    </a:cubicBezTo>
                    <a:cubicBezTo>
                      <a:pt x="9034945" y="3731126"/>
                      <a:pt x="9072377" y="3729789"/>
                      <a:pt x="9072377" y="3729789"/>
                    </a:cubicBezTo>
                    <a:cubicBezTo>
                      <a:pt x="9100451" y="3729789"/>
                      <a:pt x="9117829" y="3749842"/>
                      <a:pt x="9128524" y="3729789"/>
                    </a:cubicBezTo>
                    <a:cubicBezTo>
                      <a:pt x="9139219" y="3709736"/>
                      <a:pt x="9136545" y="3657599"/>
                      <a:pt x="9136545" y="3609473"/>
                    </a:cubicBezTo>
                    <a:cubicBezTo>
                      <a:pt x="9136545" y="3561347"/>
                      <a:pt x="9119166" y="3530599"/>
                      <a:pt x="9128524" y="3441031"/>
                    </a:cubicBezTo>
                    <a:cubicBezTo>
                      <a:pt x="9137882" y="3351463"/>
                      <a:pt x="9161946" y="3188368"/>
                      <a:pt x="9192693" y="3072063"/>
                    </a:cubicBezTo>
                    <a:cubicBezTo>
                      <a:pt x="9223440" y="2955758"/>
                      <a:pt x="9254187" y="2843463"/>
                      <a:pt x="9313008" y="2743200"/>
                    </a:cubicBezTo>
                    <a:cubicBezTo>
                      <a:pt x="9371829" y="2642937"/>
                      <a:pt x="9448030" y="2546684"/>
                      <a:pt x="9545619" y="2470484"/>
                    </a:cubicBezTo>
                    <a:cubicBezTo>
                      <a:pt x="9643209" y="2394284"/>
                      <a:pt x="9784914" y="2324768"/>
                      <a:pt x="9898545" y="2286000"/>
                    </a:cubicBezTo>
                    <a:cubicBezTo>
                      <a:pt x="10012176" y="2247232"/>
                      <a:pt x="10101745" y="2235199"/>
                      <a:pt x="10227408" y="2237873"/>
                    </a:cubicBezTo>
                    <a:cubicBezTo>
                      <a:pt x="10353071" y="2240547"/>
                      <a:pt x="10532208" y="2264610"/>
                      <a:pt x="10652524" y="2302042"/>
                    </a:cubicBezTo>
                    <a:cubicBezTo>
                      <a:pt x="10772840" y="2339474"/>
                      <a:pt x="10863745" y="2396958"/>
                      <a:pt x="10949303" y="2462463"/>
                    </a:cubicBezTo>
                    <a:cubicBezTo>
                      <a:pt x="11034861" y="2527968"/>
                      <a:pt x="11109725" y="2621547"/>
                      <a:pt x="11165872" y="2695073"/>
                    </a:cubicBezTo>
                    <a:cubicBezTo>
                      <a:pt x="11222019" y="2768599"/>
                      <a:pt x="11260787" y="2842126"/>
                      <a:pt x="11286187" y="2903621"/>
                    </a:cubicBezTo>
                    <a:cubicBezTo>
                      <a:pt x="11311587" y="2965116"/>
                      <a:pt x="11310251" y="2993189"/>
                      <a:pt x="11318272" y="3064042"/>
                    </a:cubicBezTo>
                    <a:cubicBezTo>
                      <a:pt x="11326293" y="3134894"/>
                      <a:pt x="11334314" y="3244515"/>
                      <a:pt x="11334314" y="3328736"/>
                    </a:cubicBezTo>
                    <a:cubicBezTo>
                      <a:pt x="11334314" y="3412957"/>
                      <a:pt x="11318272" y="3521242"/>
                      <a:pt x="11318272" y="3569368"/>
                    </a:cubicBezTo>
                    <a:cubicBezTo>
                      <a:pt x="11318272" y="3617494"/>
                      <a:pt x="11310251" y="3613484"/>
                      <a:pt x="11334314" y="3617494"/>
                    </a:cubicBezTo>
                    <a:cubicBezTo>
                      <a:pt x="11358377" y="3621505"/>
                      <a:pt x="11407840" y="3610810"/>
                      <a:pt x="11462650" y="3593431"/>
                    </a:cubicBezTo>
                    <a:cubicBezTo>
                      <a:pt x="11517461" y="3576052"/>
                      <a:pt x="11581629" y="3538621"/>
                      <a:pt x="11663177" y="3513221"/>
                    </a:cubicBezTo>
                    <a:cubicBezTo>
                      <a:pt x="11744725" y="3487821"/>
                      <a:pt x="11846325" y="3461084"/>
                      <a:pt x="11951935" y="3441031"/>
                    </a:cubicBezTo>
                    <a:cubicBezTo>
                      <a:pt x="12057546" y="3420978"/>
                      <a:pt x="12188556" y="3411621"/>
                      <a:pt x="12296840" y="3392905"/>
                    </a:cubicBezTo>
                    <a:cubicBezTo>
                      <a:pt x="12405124" y="3374189"/>
                      <a:pt x="12537472" y="3354136"/>
                      <a:pt x="12601640" y="3328736"/>
                    </a:cubicBezTo>
                    <a:cubicBezTo>
                      <a:pt x="12665808" y="3303336"/>
                      <a:pt x="12661797" y="3261894"/>
                      <a:pt x="12681850" y="3240505"/>
                    </a:cubicBezTo>
                    <a:cubicBezTo>
                      <a:pt x="12701903" y="3219116"/>
                      <a:pt x="12712598" y="3224463"/>
                      <a:pt x="12721956" y="3200400"/>
                    </a:cubicBezTo>
                    <a:cubicBezTo>
                      <a:pt x="12731314" y="3176337"/>
                      <a:pt x="12723293" y="3138905"/>
                      <a:pt x="12737998" y="3096126"/>
                    </a:cubicBezTo>
                    <a:cubicBezTo>
                      <a:pt x="12752703" y="3053347"/>
                      <a:pt x="12796819" y="3001210"/>
                      <a:pt x="12810187" y="2943726"/>
                    </a:cubicBezTo>
                    <a:cubicBezTo>
                      <a:pt x="12823555" y="2886242"/>
                      <a:pt x="12816871" y="2859505"/>
                      <a:pt x="12818208" y="2751221"/>
                    </a:cubicBezTo>
                    <a:cubicBezTo>
                      <a:pt x="12819545" y="2642937"/>
                      <a:pt x="12839597" y="2408989"/>
                      <a:pt x="12818208" y="2294021"/>
                    </a:cubicBezTo>
                    <a:cubicBezTo>
                      <a:pt x="12796819" y="2179053"/>
                      <a:pt x="12727304" y="2121568"/>
                      <a:pt x="12689872" y="2061410"/>
                    </a:cubicBezTo>
                    <a:cubicBezTo>
                      <a:pt x="12652440" y="2001252"/>
                      <a:pt x="12620356" y="1997241"/>
                      <a:pt x="12593619" y="1933073"/>
                    </a:cubicBezTo>
                    <a:cubicBezTo>
                      <a:pt x="12566882" y="1868905"/>
                      <a:pt x="12558860" y="1771316"/>
                      <a:pt x="12529450" y="1676400"/>
                    </a:cubicBezTo>
                    <a:cubicBezTo>
                      <a:pt x="12500040" y="1581484"/>
                      <a:pt x="12458598" y="1449136"/>
                      <a:pt x="12417156" y="1363578"/>
                    </a:cubicBezTo>
                    <a:cubicBezTo>
                      <a:pt x="12375714" y="1278020"/>
                      <a:pt x="12308872" y="1204494"/>
                      <a:pt x="12280798" y="1163052"/>
                    </a:cubicBezTo>
                    <a:cubicBezTo>
                      <a:pt x="12252724" y="1121610"/>
                      <a:pt x="12271440" y="1125621"/>
                      <a:pt x="12248714" y="1114926"/>
                    </a:cubicBezTo>
                    <a:cubicBezTo>
                      <a:pt x="12225988" y="1104231"/>
                      <a:pt x="12236682" y="1108242"/>
                      <a:pt x="12144440" y="1098884"/>
                    </a:cubicBezTo>
                    <a:cubicBezTo>
                      <a:pt x="12052198" y="1089526"/>
                      <a:pt x="11807556" y="1072147"/>
                      <a:pt x="11695261" y="1058778"/>
                    </a:cubicBezTo>
                    <a:cubicBezTo>
                      <a:pt x="11582966" y="1045409"/>
                      <a:pt x="11572272" y="1049420"/>
                      <a:pt x="11470672" y="1018673"/>
                    </a:cubicBezTo>
                    <a:cubicBezTo>
                      <a:pt x="11369072" y="987926"/>
                      <a:pt x="11228703" y="933115"/>
                      <a:pt x="11085661" y="874294"/>
                    </a:cubicBezTo>
                    <a:cubicBezTo>
                      <a:pt x="10942619" y="815473"/>
                      <a:pt x="10787545" y="739273"/>
                      <a:pt x="10612419" y="665747"/>
                    </a:cubicBezTo>
                    <a:cubicBezTo>
                      <a:pt x="10437293" y="592221"/>
                      <a:pt x="10200671" y="498641"/>
                      <a:pt x="10034903" y="433136"/>
                    </a:cubicBezTo>
                    <a:cubicBezTo>
                      <a:pt x="9869135" y="367631"/>
                      <a:pt x="9763524" y="319504"/>
                      <a:pt x="9617808" y="272715"/>
                    </a:cubicBezTo>
                    <a:cubicBezTo>
                      <a:pt x="9472092" y="225926"/>
                      <a:pt x="9325040" y="187158"/>
                      <a:pt x="9160608" y="152400"/>
                    </a:cubicBezTo>
                    <a:cubicBezTo>
                      <a:pt x="8996177" y="117642"/>
                      <a:pt x="8830408" y="86894"/>
                      <a:pt x="8631219" y="64168"/>
                    </a:cubicBezTo>
                    <a:cubicBezTo>
                      <a:pt x="8432030" y="41442"/>
                      <a:pt x="8170009" y="26737"/>
                      <a:pt x="7965472" y="16042"/>
                    </a:cubicBezTo>
                    <a:cubicBezTo>
                      <a:pt x="7760935" y="5347"/>
                      <a:pt x="7403998" y="0"/>
                      <a:pt x="7403998" y="0"/>
                    </a:cubicBezTo>
                    <a:lnTo>
                      <a:pt x="6754293" y="8021"/>
                    </a:lnTo>
                    <a:cubicBezTo>
                      <a:pt x="6555104" y="17379"/>
                      <a:pt x="6397356" y="26736"/>
                      <a:pt x="6208861" y="56147"/>
                    </a:cubicBezTo>
                    <a:cubicBezTo>
                      <a:pt x="6020366" y="85558"/>
                      <a:pt x="5782408" y="137695"/>
                      <a:pt x="5623324" y="184484"/>
                    </a:cubicBezTo>
                    <a:cubicBezTo>
                      <a:pt x="5464240" y="231273"/>
                      <a:pt x="5446861" y="240631"/>
                      <a:pt x="5254356" y="336884"/>
                    </a:cubicBezTo>
                    <a:cubicBezTo>
                      <a:pt x="5061851" y="433137"/>
                      <a:pt x="4704914" y="628316"/>
                      <a:pt x="4468293" y="762000"/>
                    </a:cubicBezTo>
                    <a:cubicBezTo>
                      <a:pt x="4231672" y="895684"/>
                      <a:pt x="3834629" y="1138989"/>
                      <a:pt x="3834629" y="1138989"/>
                    </a:cubicBezTo>
                    <a:cubicBezTo>
                      <a:pt x="3696934" y="1220536"/>
                      <a:pt x="3704956" y="1228558"/>
                      <a:pt x="3642124" y="1251284"/>
                    </a:cubicBezTo>
                    <a:cubicBezTo>
                      <a:pt x="3579293" y="1274010"/>
                      <a:pt x="3457640" y="1275347"/>
                      <a:pt x="3457640" y="1275347"/>
                    </a:cubicBezTo>
                    <a:lnTo>
                      <a:pt x="2815956" y="1331494"/>
                    </a:lnTo>
                    <a:cubicBezTo>
                      <a:pt x="2599388" y="1354220"/>
                      <a:pt x="2364103" y="1383631"/>
                      <a:pt x="2158229" y="1411705"/>
                    </a:cubicBezTo>
                    <a:cubicBezTo>
                      <a:pt x="1952355" y="1439779"/>
                      <a:pt x="1761188" y="1469189"/>
                      <a:pt x="1580714" y="1499936"/>
                    </a:cubicBezTo>
                    <a:cubicBezTo>
                      <a:pt x="1400240" y="1530683"/>
                      <a:pt x="1230461" y="1554747"/>
                      <a:pt x="1075387" y="1596189"/>
                    </a:cubicBezTo>
                    <a:cubicBezTo>
                      <a:pt x="920313" y="1637631"/>
                      <a:pt x="753209" y="1703136"/>
                      <a:pt x="650272" y="1748589"/>
                    </a:cubicBezTo>
                    <a:cubicBezTo>
                      <a:pt x="547335" y="1794042"/>
                      <a:pt x="520597" y="1810084"/>
                      <a:pt x="457766" y="1868905"/>
                    </a:cubicBezTo>
                    <a:cubicBezTo>
                      <a:pt x="394935" y="1927726"/>
                      <a:pt x="321408" y="2025315"/>
                      <a:pt x="273282" y="2101515"/>
                    </a:cubicBezTo>
                    <a:cubicBezTo>
                      <a:pt x="225156" y="2177715"/>
                      <a:pt x="199755" y="2267284"/>
                      <a:pt x="169008" y="2326105"/>
                    </a:cubicBezTo>
                    <a:cubicBezTo>
                      <a:pt x="138261" y="2384926"/>
                      <a:pt x="115535" y="2366211"/>
                      <a:pt x="88798" y="2454442"/>
                    </a:cubicBezTo>
                    <a:cubicBezTo>
                      <a:pt x="62061" y="2542673"/>
                      <a:pt x="21956" y="2751220"/>
                      <a:pt x="8587" y="2855494"/>
                    </a:cubicBezTo>
                    <a:cubicBezTo>
                      <a:pt x="-4782" y="2959768"/>
                      <a:pt x="-771" y="3017253"/>
                      <a:pt x="8587" y="3080084"/>
                    </a:cubicBezTo>
                    <a:cubicBezTo>
                      <a:pt x="17945" y="3142915"/>
                      <a:pt x="55377" y="3173663"/>
                      <a:pt x="64735" y="3232484"/>
                    </a:cubicBezTo>
                    <a:cubicBezTo>
                      <a:pt x="74093" y="3291305"/>
                      <a:pt x="55377" y="3391568"/>
                      <a:pt x="64735" y="3433010"/>
                    </a:cubicBezTo>
                    <a:cubicBezTo>
                      <a:pt x="74093" y="3474452"/>
                      <a:pt x="74092" y="3453062"/>
                      <a:pt x="120882" y="3481136"/>
                    </a:cubicBezTo>
                    <a:cubicBezTo>
                      <a:pt x="167671" y="3509210"/>
                      <a:pt x="247883" y="3569368"/>
                      <a:pt x="345472" y="3601452"/>
                    </a:cubicBezTo>
                    <a:cubicBezTo>
                      <a:pt x="443061" y="3633536"/>
                      <a:pt x="588777" y="3657600"/>
                      <a:pt x="706419" y="3673642"/>
                    </a:cubicBezTo>
                    <a:cubicBezTo>
                      <a:pt x="824061" y="3689684"/>
                      <a:pt x="960419" y="3688347"/>
                      <a:pt x="1051324" y="3697705"/>
                    </a:cubicBezTo>
                    <a:cubicBezTo>
                      <a:pt x="1142229" y="3707063"/>
                      <a:pt x="1214418" y="3729789"/>
                      <a:pt x="1251850" y="3729789"/>
                    </a:cubicBezTo>
                    <a:cubicBezTo>
                      <a:pt x="1289282" y="3729789"/>
                      <a:pt x="1273240" y="3739147"/>
                      <a:pt x="1275914" y="3697705"/>
                    </a:cubicBezTo>
                    <a:cubicBezTo>
                      <a:pt x="1278588" y="3656263"/>
                      <a:pt x="1259872" y="3553325"/>
                      <a:pt x="1259872" y="348915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2" name="Oval 1361"/>
              <p:cNvSpPr/>
              <p:nvPr/>
            </p:nvSpPr>
            <p:spPr bwMode="auto">
              <a:xfrm>
                <a:off x="1367928"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3" name="Oval 1362"/>
              <p:cNvSpPr/>
              <p:nvPr/>
            </p:nvSpPr>
            <p:spPr bwMode="auto">
              <a:xfrm>
                <a:off x="9163831"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4" name="Oval 1363"/>
              <p:cNvSpPr/>
              <p:nvPr/>
            </p:nvSpPr>
            <p:spPr bwMode="auto">
              <a:xfrm>
                <a:off x="1677434"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5" name="Oval 1364"/>
              <p:cNvSpPr/>
              <p:nvPr/>
            </p:nvSpPr>
            <p:spPr bwMode="auto">
              <a:xfrm>
                <a:off x="9493068"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6" name="Freeform 1365"/>
              <p:cNvSpPr/>
              <p:nvPr/>
            </p:nvSpPr>
            <p:spPr bwMode="auto">
              <a:xfrm>
                <a:off x="6023811" y="3064042"/>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7" name="Freeform 1366"/>
              <p:cNvSpPr/>
              <p:nvPr/>
            </p:nvSpPr>
            <p:spPr bwMode="auto">
              <a:xfrm>
                <a:off x="8857759" y="2942649"/>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8" name="Freeform 1367"/>
              <p:cNvSpPr/>
              <p:nvPr/>
            </p:nvSpPr>
            <p:spPr bwMode="auto">
              <a:xfrm>
                <a:off x="3745051" y="1498174"/>
                <a:ext cx="6253764" cy="1405533"/>
              </a:xfrm>
              <a:custGeom>
                <a:avLst/>
                <a:gdLst>
                  <a:gd name="connsiteX0" fmla="*/ 193076 w 6255901"/>
                  <a:gd name="connsiteY0" fmla="*/ 1164815 h 1405533"/>
                  <a:gd name="connsiteX1" fmla="*/ 393602 w 6255901"/>
                  <a:gd name="connsiteY1" fmla="*/ 1004394 h 1405533"/>
                  <a:gd name="connsiteX2" fmla="*/ 690381 w 6255901"/>
                  <a:gd name="connsiteY2" fmla="*/ 827931 h 1405533"/>
                  <a:gd name="connsiteX3" fmla="*/ 1059350 w 6255901"/>
                  <a:gd name="connsiteY3" fmla="*/ 611363 h 1405533"/>
                  <a:gd name="connsiteX4" fmla="*/ 1468423 w 6255901"/>
                  <a:gd name="connsiteY4" fmla="*/ 378752 h 1405533"/>
                  <a:gd name="connsiteX5" fmla="*/ 1749160 w 6255901"/>
                  <a:gd name="connsiteY5" fmla="*/ 250415 h 1405533"/>
                  <a:gd name="connsiteX6" fmla="*/ 2158234 w 6255901"/>
                  <a:gd name="connsiteY6" fmla="*/ 138121 h 1405533"/>
                  <a:gd name="connsiteX7" fmla="*/ 2799918 w 6255901"/>
                  <a:gd name="connsiteY7" fmla="*/ 33847 h 1405533"/>
                  <a:gd name="connsiteX8" fmla="*/ 3305244 w 6255901"/>
                  <a:gd name="connsiteY8" fmla="*/ 9784 h 1405533"/>
                  <a:gd name="connsiteX9" fmla="*/ 3834634 w 6255901"/>
                  <a:gd name="connsiteY9" fmla="*/ 1763 h 1405533"/>
                  <a:gd name="connsiteX10" fmla="*/ 4508402 w 6255901"/>
                  <a:gd name="connsiteY10" fmla="*/ 41868 h 1405533"/>
                  <a:gd name="connsiteX11" fmla="*/ 5206234 w 6255901"/>
                  <a:gd name="connsiteY11" fmla="*/ 146142 h 1405533"/>
                  <a:gd name="connsiteX12" fmla="*/ 5687497 w 6255901"/>
                  <a:gd name="connsiteY12" fmla="*/ 298542 h 1405533"/>
                  <a:gd name="connsiteX13" fmla="*/ 6088550 w 6255901"/>
                  <a:gd name="connsiteY13" fmla="*/ 475005 h 1405533"/>
                  <a:gd name="connsiteX14" fmla="*/ 6224907 w 6255901"/>
                  <a:gd name="connsiteY14" fmla="*/ 563237 h 1405533"/>
                  <a:gd name="connsiteX15" fmla="*/ 6248971 w 6255901"/>
                  <a:gd name="connsiteY15" fmla="*/ 707615 h 1405533"/>
                  <a:gd name="connsiteX16" fmla="*/ 6128655 w 6255901"/>
                  <a:gd name="connsiteY16" fmla="*/ 1044500 h 1405533"/>
                  <a:gd name="connsiteX17" fmla="*/ 6120634 w 6255901"/>
                  <a:gd name="connsiteY17" fmla="*/ 1100647 h 1405533"/>
                  <a:gd name="connsiteX18" fmla="*/ 6032402 w 6255901"/>
                  <a:gd name="connsiteY18" fmla="*/ 1108668 h 1405533"/>
                  <a:gd name="connsiteX19" fmla="*/ 5326550 w 6255901"/>
                  <a:gd name="connsiteY19" fmla="*/ 1148773 h 1405533"/>
                  <a:gd name="connsiteX20" fmla="*/ 3979013 w 6255901"/>
                  <a:gd name="connsiteY20" fmla="*/ 1196900 h 1405533"/>
                  <a:gd name="connsiteX21" fmla="*/ 3192950 w 6255901"/>
                  <a:gd name="connsiteY21" fmla="*/ 1237005 h 1405533"/>
                  <a:gd name="connsiteX22" fmla="*/ 2053960 w 6255901"/>
                  <a:gd name="connsiteY22" fmla="*/ 1285131 h 1405533"/>
                  <a:gd name="connsiteX23" fmla="*/ 1059350 w 6255901"/>
                  <a:gd name="connsiteY23" fmla="*/ 1341279 h 1405533"/>
                  <a:gd name="connsiteX24" fmla="*/ 489855 w 6255901"/>
                  <a:gd name="connsiteY24" fmla="*/ 1373363 h 1405533"/>
                  <a:gd name="connsiteX25" fmla="*/ 120886 w 6255901"/>
                  <a:gd name="connsiteY25" fmla="*/ 1397426 h 1405533"/>
                  <a:gd name="connsiteX26" fmla="*/ 571 w 6255901"/>
                  <a:gd name="connsiteY26" fmla="*/ 1397426 h 1405533"/>
                  <a:gd name="connsiteX27" fmla="*/ 80781 w 6255901"/>
                  <a:gd name="connsiteY27" fmla="*/ 1301173 h 1405533"/>
                  <a:gd name="connsiteX28" fmla="*/ 193076 w 6255901"/>
                  <a:gd name="connsiteY28" fmla="*/ 1164815 h 1405533"/>
                  <a:gd name="connsiteX0" fmla="*/ 193286 w 6256111"/>
                  <a:gd name="connsiteY0" fmla="*/ 1164815 h 1405533"/>
                  <a:gd name="connsiteX1" fmla="*/ 393812 w 6256111"/>
                  <a:gd name="connsiteY1" fmla="*/ 1004394 h 1405533"/>
                  <a:gd name="connsiteX2" fmla="*/ 690591 w 6256111"/>
                  <a:gd name="connsiteY2" fmla="*/ 827931 h 1405533"/>
                  <a:gd name="connsiteX3" fmla="*/ 1059560 w 6256111"/>
                  <a:gd name="connsiteY3" fmla="*/ 611363 h 1405533"/>
                  <a:gd name="connsiteX4" fmla="*/ 1468633 w 6256111"/>
                  <a:gd name="connsiteY4" fmla="*/ 378752 h 1405533"/>
                  <a:gd name="connsiteX5" fmla="*/ 1749370 w 6256111"/>
                  <a:gd name="connsiteY5" fmla="*/ 250415 h 1405533"/>
                  <a:gd name="connsiteX6" fmla="*/ 2158444 w 6256111"/>
                  <a:gd name="connsiteY6" fmla="*/ 138121 h 1405533"/>
                  <a:gd name="connsiteX7" fmla="*/ 2800128 w 6256111"/>
                  <a:gd name="connsiteY7" fmla="*/ 33847 h 1405533"/>
                  <a:gd name="connsiteX8" fmla="*/ 3305454 w 6256111"/>
                  <a:gd name="connsiteY8" fmla="*/ 9784 h 1405533"/>
                  <a:gd name="connsiteX9" fmla="*/ 3834844 w 6256111"/>
                  <a:gd name="connsiteY9" fmla="*/ 1763 h 1405533"/>
                  <a:gd name="connsiteX10" fmla="*/ 4508612 w 6256111"/>
                  <a:gd name="connsiteY10" fmla="*/ 41868 h 1405533"/>
                  <a:gd name="connsiteX11" fmla="*/ 5206444 w 6256111"/>
                  <a:gd name="connsiteY11" fmla="*/ 146142 h 1405533"/>
                  <a:gd name="connsiteX12" fmla="*/ 5687707 w 6256111"/>
                  <a:gd name="connsiteY12" fmla="*/ 298542 h 1405533"/>
                  <a:gd name="connsiteX13" fmla="*/ 6088760 w 6256111"/>
                  <a:gd name="connsiteY13" fmla="*/ 475005 h 1405533"/>
                  <a:gd name="connsiteX14" fmla="*/ 6225117 w 6256111"/>
                  <a:gd name="connsiteY14" fmla="*/ 563237 h 1405533"/>
                  <a:gd name="connsiteX15" fmla="*/ 6249181 w 6256111"/>
                  <a:gd name="connsiteY15" fmla="*/ 707615 h 1405533"/>
                  <a:gd name="connsiteX16" fmla="*/ 6128865 w 6256111"/>
                  <a:gd name="connsiteY16" fmla="*/ 1044500 h 1405533"/>
                  <a:gd name="connsiteX17" fmla="*/ 6120844 w 6256111"/>
                  <a:gd name="connsiteY17" fmla="*/ 1100647 h 1405533"/>
                  <a:gd name="connsiteX18" fmla="*/ 6032612 w 6256111"/>
                  <a:gd name="connsiteY18" fmla="*/ 1108668 h 1405533"/>
                  <a:gd name="connsiteX19" fmla="*/ 5326760 w 6256111"/>
                  <a:gd name="connsiteY19" fmla="*/ 1148773 h 1405533"/>
                  <a:gd name="connsiteX20" fmla="*/ 3979223 w 6256111"/>
                  <a:gd name="connsiteY20" fmla="*/ 1196900 h 1405533"/>
                  <a:gd name="connsiteX21" fmla="*/ 3193160 w 6256111"/>
                  <a:gd name="connsiteY21" fmla="*/ 1237005 h 1405533"/>
                  <a:gd name="connsiteX22" fmla="*/ 2054170 w 6256111"/>
                  <a:gd name="connsiteY22" fmla="*/ 1285131 h 1405533"/>
                  <a:gd name="connsiteX23" fmla="*/ 1059560 w 6256111"/>
                  <a:gd name="connsiteY23" fmla="*/ 1341279 h 1405533"/>
                  <a:gd name="connsiteX24" fmla="*/ 490065 w 6256111"/>
                  <a:gd name="connsiteY24" fmla="*/ 1373363 h 1405533"/>
                  <a:gd name="connsiteX25" fmla="*/ 121096 w 6256111"/>
                  <a:gd name="connsiteY25" fmla="*/ 1397426 h 1405533"/>
                  <a:gd name="connsiteX26" fmla="*/ 781 w 6256111"/>
                  <a:gd name="connsiteY26" fmla="*/ 1397426 h 1405533"/>
                  <a:gd name="connsiteX27" fmla="*/ 64949 w 6256111"/>
                  <a:gd name="connsiteY27" fmla="*/ 1277110 h 1405533"/>
                  <a:gd name="connsiteX28" fmla="*/ 193286 w 6256111"/>
                  <a:gd name="connsiteY28" fmla="*/ 1164815 h 1405533"/>
                  <a:gd name="connsiteX0" fmla="*/ 193286 w 6253764"/>
                  <a:gd name="connsiteY0" fmla="*/ 1164815 h 1405533"/>
                  <a:gd name="connsiteX1" fmla="*/ 393812 w 6253764"/>
                  <a:gd name="connsiteY1" fmla="*/ 1004394 h 1405533"/>
                  <a:gd name="connsiteX2" fmla="*/ 690591 w 6253764"/>
                  <a:gd name="connsiteY2" fmla="*/ 827931 h 1405533"/>
                  <a:gd name="connsiteX3" fmla="*/ 1059560 w 6253764"/>
                  <a:gd name="connsiteY3" fmla="*/ 611363 h 1405533"/>
                  <a:gd name="connsiteX4" fmla="*/ 1468633 w 6253764"/>
                  <a:gd name="connsiteY4" fmla="*/ 378752 h 1405533"/>
                  <a:gd name="connsiteX5" fmla="*/ 1749370 w 6253764"/>
                  <a:gd name="connsiteY5" fmla="*/ 250415 h 1405533"/>
                  <a:gd name="connsiteX6" fmla="*/ 2158444 w 6253764"/>
                  <a:gd name="connsiteY6" fmla="*/ 138121 h 1405533"/>
                  <a:gd name="connsiteX7" fmla="*/ 2800128 w 6253764"/>
                  <a:gd name="connsiteY7" fmla="*/ 33847 h 1405533"/>
                  <a:gd name="connsiteX8" fmla="*/ 3305454 w 6253764"/>
                  <a:gd name="connsiteY8" fmla="*/ 9784 h 1405533"/>
                  <a:gd name="connsiteX9" fmla="*/ 3834844 w 6253764"/>
                  <a:gd name="connsiteY9" fmla="*/ 1763 h 1405533"/>
                  <a:gd name="connsiteX10" fmla="*/ 4508612 w 6253764"/>
                  <a:gd name="connsiteY10" fmla="*/ 41868 h 1405533"/>
                  <a:gd name="connsiteX11" fmla="*/ 5206444 w 6253764"/>
                  <a:gd name="connsiteY11" fmla="*/ 146142 h 1405533"/>
                  <a:gd name="connsiteX12" fmla="*/ 5687707 w 6253764"/>
                  <a:gd name="connsiteY12" fmla="*/ 298542 h 1405533"/>
                  <a:gd name="connsiteX13" fmla="*/ 6088760 w 6253764"/>
                  <a:gd name="connsiteY13" fmla="*/ 475005 h 1405533"/>
                  <a:gd name="connsiteX14" fmla="*/ 6225117 w 6253764"/>
                  <a:gd name="connsiteY14" fmla="*/ 563237 h 1405533"/>
                  <a:gd name="connsiteX15" fmla="*/ 6249181 w 6253764"/>
                  <a:gd name="connsiteY15" fmla="*/ 707615 h 1405533"/>
                  <a:gd name="connsiteX16" fmla="*/ 6160949 w 6253764"/>
                  <a:gd name="connsiteY16" fmla="*/ 1020437 h 1405533"/>
                  <a:gd name="connsiteX17" fmla="*/ 6120844 w 6253764"/>
                  <a:gd name="connsiteY17" fmla="*/ 1100647 h 1405533"/>
                  <a:gd name="connsiteX18" fmla="*/ 6032612 w 6253764"/>
                  <a:gd name="connsiteY18" fmla="*/ 1108668 h 1405533"/>
                  <a:gd name="connsiteX19" fmla="*/ 5326760 w 6253764"/>
                  <a:gd name="connsiteY19" fmla="*/ 1148773 h 1405533"/>
                  <a:gd name="connsiteX20" fmla="*/ 3979223 w 6253764"/>
                  <a:gd name="connsiteY20" fmla="*/ 1196900 h 1405533"/>
                  <a:gd name="connsiteX21" fmla="*/ 3193160 w 6253764"/>
                  <a:gd name="connsiteY21" fmla="*/ 1237005 h 1405533"/>
                  <a:gd name="connsiteX22" fmla="*/ 2054170 w 6253764"/>
                  <a:gd name="connsiteY22" fmla="*/ 1285131 h 1405533"/>
                  <a:gd name="connsiteX23" fmla="*/ 1059560 w 6253764"/>
                  <a:gd name="connsiteY23" fmla="*/ 1341279 h 1405533"/>
                  <a:gd name="connsiteX24" fmla="*/ 490065 w 6253764"/>
                  <a:gd name="connsiteY24" fmla="*/ 1373363 h 1405533"/>
                  <a:gd name="connsiteX25" fmla="*/ 121096 w 6253764"/>
                  <a:gd name="connsiteY25" fmla="*/ 1397426 h 1405533"/>
                  <a:gd name="connsiteX26" fmla="*/ 781 w 6253764"/>
                  <a:gd name="connsiteY26" fmla="*/ 1397426 h 1405533"/>
                  <a:gd name="connsiteX27" fmla="*/ 64949 w 6253764"/>
                  <a:gd name="connsiteY27" fmla="*/ 1277110 h 1405533"/>
                  <a:gd name="connsiteX28" fmla="*/ 193286 w 6253764"/>
                  <a:gd name="connsiteY28" fmla="*/ 1164815 h 140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53764" h="1405533">
                    <a:moveTo>
                      <a:pt x="193286" y="1164815"/>
                    </a:moveTo>
                    <a:cubicBezTo>
                      <a:pt x="248096" y="1119362"/>
                      <a:pt x="310928" y="1060541"/>
                      <a:pt x="393812" y="1004394"/>
                    </a:cubicBezTo>
                    <a:cubicBezTo>
                      <a:pt x="476696" y="948247"/>
                      <a:pt x="690591" y="827931"/>
                      <a:pt x="690591" y="827931"/>
                    </a:cubicBezTo>
                    <a:lnTo>
                      <a:pt x="1059560" y="611363"/>
                    </a:lnTo>
                    <a:cubicBezTo>
                      <a:pt x="1189234" y="536500"/>
                      <a:pt x="1353665" y="438910"/>
                      <a:pt x="1468633" y="378752"/>
                    </a:cubicBezTo>
                    <a:cubicBezTo>
                      <a:pt x="1583601" y="318594"/>
                      <a:pt x="1634402" y="290520"/>
                      <a:pt x="1749370" y="250415"/>
                    </a:cubicBezTo>
                    <a:cubicBezTo>
                      <a:pt x="1864339" y="210310"/>
                      <a:pt x="1983318" y="174216"/>
                      <a:pt x="2158444" y="138121"/>
                    </a:cubicBezTo>
                    <a:cubicBezTo>
                      <a:pt x="2333570" y="102026"/>
                      <a:pt x="2608960" y="55236"/>
                      <a:pt x="2800128" y="33847"/>
                    </a:cubicBezTo>
                    <a:cubicBezTo>
                      <a:pt x="2991296" y="12457"/>
                      <a:pt x="3133001" y="15131"/>
                      <a:pt x="3305454" y="9784"/>
                    </a:cubicBezTo>
                    <a:cubicBezTo>
                      <a:pt x="3477907" y="4437"/>
                      <a:pt x="3634318" y="-3584"/>
                      <a:pt x="3834844" y="1763"/>
                    </a:cubicBezTo>
                    <a:cubicBezTo>
                      <a:pt x="4035370" y="7110"/>
                      <a:pt x="4280012" y="17805"/>
                      <a:pt x="4508612" y="41868"/>
                    </a:cubicBezTo>
                    <a:cubicBezTo>
                      <a:pt x="4737212" y="65931"/>
                      <a:pt x="5009928" y="103363"/>
                      <a:pt x="5206444" y="146142"/>
                    </a:cubicBezTo>
                    <a:cubicBezTo>
                      <a:pt x="5402960" y="188921"/>
                      <a:pt x="5540654" y="243731"/>
                      <a:pt x="5687707" y="298542"/>
                    </a:cubicBezTo>
                    <a:cubicBezTo>
                      <a:pt x="5834760" y="353352"/>
                      <a:pt x="5999192" y="430889"/>
                      <a:pt x="6088760" y="475005"/>
                    </a:cubicBezTo>
                    <a:cubicBezTo>
                      <a:pt x="6178328" y="519121"/>
                      <a:pt x="6198380" y="524469"/>
                      <a:pt x="6225117" y="563237"/>
                    </a:cubicBezTo>
                    <a:cubicBezTo>
                      <a:pt x="6251854" y="602005"/>
                      <a:pt x="6259876" y="631415"/>
                      <a:pt x="6249181" y="707615"/>
                    </a:cubicBezTo>
                    <a:cubicBezTo>
                      <a:pt x="6238486" y="783815"/>
                      <a:pt x="6182338" y="954932"/>
                      <a:pt x="6160949" y="1020437"/>
                    </a:cubicBezTo>
                    <a:cubicBezTo>
                      <a:pt x="6139560" y="1085942"/>
                      <a:pt x="6142234" y="1085942"/>
                      <a:pt x="6120844" y="1100647"/>
                    </a:cubicBezTo>
                    <a:cubicBezTo>
                      <a:pt x="6099455" y="1115352"/>
                      <a:pt x="6032612" y="1108668"/>
                      <a:pt x="6032612" y="1108668"/>
                    </a:cubicBezTo>
                    <a:lnTo>
                      <a:pt x="5326760" y="1148773"/>
                    </a:lnTo>
                    <a:lnTo>
                      <a:pt x="3979223" y="1196900"/>
                    </a:lnTo>
                    <a:lnTo>
                      <a:pt x="3193160" y="1237005"/>
                    </a:lnTo>
                    <a:lnTo>
                      <a:pt x="2054170" y="1285131"/>
                    </a:lnTo>
                    <a:lnTo>
                      <a:pt x="1059560" y="1341279"/>
                    </a:lnTo>
                    <a:lnTo>
                      <a:pt x="490065" y="1373363"/>
                    </a:lnTo>
                    <a:lnTo>
                      <a:pt x="121096" y="1397426"/>
                    </a:lnTo>
                    <a:cubicBezTo>
                      <a:pt x="39549" y="1401437"/>
                      <a:pt x="7465" y="1413468"/>
                      <a:pt x="781" y="1397426"/>
                    </a:cubicBezTo>
                    <a:cubicBezTo>
                      <a:pt x="-5903" y="1381384"/>
                      <a:pt x="31528" y="1313205"/>
                      <a:pt x="64949" y="1277110"/>
                    </a:cubicBezTo>
                    <a:cubicBezTo>
                      <a:pt x="98370" y="1241015"/>
                      <a:pt x="138476" y="1210268"/>
                      <a:pt x="193286" y="1164815"/>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9" name="Freeform 1368"/>
              <p:cNvSpPr/>
              <p:nvPr/>
            </p:nvSpPr>
            <p:spPr bwMode="auto">
              <a:xfrm>
                <a:off x="6637401" y="1501234"/>
                <a:ext cx="601973" cy="1247984"/>
              </a:xfrm>
              <a:custGeom>
                <a:avLst/>
                <a:gdLst>
                  <a:gd name="connsiteX0" fmla="*/ 0 w 572756"/>
                  <a:gd name="connsiteY0" fmla="*/ 1175657 h 1175657"/>
                  <a:gd name="connsiteX1" fmla="*/ 502417 w 572756"/>
                  <a:gd name="connsiteY1" fmla="*/ 1145512 h 1175657"/>
                  <a:gd name="connsiteX2" fmla="*/ 572756 w 572756"/>
                  <a:gd name="connsiteY2" fmla="*/ 0 h 1175657"/>
                  <a:gd name="connsiteX3" fmla="*/ 291402 w 572756"/>
                  <a:gd name="connsiteY3" fmla="*/ 0 h 1175657"/>
                  <a:gd name="connsiteX4" fmla="*/ 0 w 572756"/>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56" h="1175657">
                    <a:moveTo>
                      <a:pt x="0" y="1175657"/>
                    </a:moveTo>
                    <a:lnTo>
                      <a:pt x="502417" y="1145512"/>
                    </a:lnTo>
                    <a:lnTo>
                      <a:pt x="572756" y="0"/>
                    </a:lnTo>
                    <a:lnTo>
                      <a:pt x="291402" y="0"/>
                    </a:lnTo>
                    <a:lnTo>
                      <a:pt x="0" y="1175657"/>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70" name="Freeform 1369"/>
              <p:cNvSpPr/>
              <p:nvPr/>
            </p:nvSpPr>
            <p:spPr bwMode="auto">
              <a:xfrm>
                <a:off x="11132993" y="3577312"/>
                <a:ext cx="1588934" cy="1341534"/>
              </a:xfrm>
              <a:custGeom>
                <a:avLst/>
                <a:gdLst>
                  <a:gd name="connsiteX0" fmla="*/ 64396 w 1588934"/>
                  <a:gd name="connsiteY0" fmla="*/ 1339593 h 1341534"/>
                  <a:gd name="connsiteX1" fmla="*/ 208775 w 1588934"/>
                  <a:gd name="connsiteY1" fmla="*/ 1307509 h 1341534"/>
                  <a:gd name="connsiteX2" fmla="*/ 329091 w 1588934"/>
                  <a:gd name="connsiteY2" fmla="*/ 1251362 h 1341534"/>
                  <a:gd name="connsiteX3" fmla="*/ 561702 w 1588934"/>
                  <a:gd name="connsiteY3" fmla="*/ 1179172 h 1341534"/>
                  <a:gd name="connsiteX4" fmla="*/ 890565 w 1588934"/>
                  <a:gd name="connsiteY4" fmla="*/ 1131046 h 1341534"/>
                  <a:gd name="connsiteX5" fmla="*/ 1123175 w 1588934"/>
                  <a:gd name="connsiteY5" fmla="*/ 1098962 h 1341534"/>
                  <a:gd name="connsiteX6" fmla="*/ 1355786 w 1588934"/>
                  <a:gd name="connsiteY6" fmla="*/ 1058856 h 1341534"/>
                  <a:gd name="connsiteX7" fmla="*/ 1419954 w 1588934"/>
                  <a:gd name="connsiteY7" fmla="*/ 1010730 h 1341534"/>
                  <a:gd name="connsiteX8" fmla="*/ 1444018 w 1588934"/>
                  <a:gd name="connsiteY8" fmla="*/ 946562 h 1341534"/>
                  <a:gd name="connsiteX9" fmla="*/ 1484123 w 1588934"/>
                  <a:gd name="connsiteY9" fmla="*/ 930520 h 1341534"/>
                  <a:gd name="connsiteX10" fmla="*/ 1508186 w 1588934"/>
                  <a:gd name="connsiteY10" fmla="*/ 818225 h 1341534"/>
                  <a:gd name="connsiteX11" fmla="*/ 1564333 w 1588934"/>
                  <a:gd name="connsiteY11" fmla="*/ 697909 h 1341534"/>
                  <a:gd name="connsiteX12" fmla="*/ 1588396 w 1588934"/>
                  <a:gd name="connsiteY12" fmla="*/ 401130 h 1341534"/>
                  <a:gd name="connsiteX13" fmla="*/ 1580375 w 1588934"/>
                  <a:gd name="connsiteY13" fmla="*/ 56225 h 1341534"/>
                  <a:gd name="connsiteX14" fmla="*/ 1572354 w 1588934"/>
                  <a:gd name="connsiteY14" fmla="*/ 77 h 1341534"/>
                  <a:gd name="connsiteX15" fmla="*/ 1532249 w 1588934"/>
                  <a:gd name="connsiteY15" fmla="*/ 48204 h 1341534"/>
                  <a:gd name="connsiteX16" fmla="*/ 1395891 w 1588934"/>
                  <a:gd name="connsiteY16" fmla="*/ 72267 h 1341534"/>
                  <a:gd name="connsiteX17" fmla="*/ 1099112 w 1588934"/>
                  <a:gd name="connsiteY17" fmla="*/ 96330 h 1341534"/>
                  <a:gd name="connsiteX18" fmla="*/ 770249 w 1588934"/>
                  <a:gd name="connsiteY18" fmla="*/ 104351 h 1341534"/>
                  <a:gd name="connsiteX19" fmla="*/ 553681 w 1588934"/>
                  <a:gd name="connsiteY19" fmla="*/ 120393 h 1341534"/>
                  <a:gd name="connsiteX20" fmla="*/ 409302 w 1588934"/>
                  <a:gd name="connsiteY20" fmla="*/ 144456 h 1341534"/>
                  <a:gd name="connsiteX21" fmla="*/ 369196 w 1588934"/>
                  <a:gd name="connsiteY21" fmla="*/ 224667 h 1341534"/>
                  <a:gd name="connsiteX22" fmla="*/ 353154 w 1588934"/>
                  <a:gd name="connsiteY22" fmla="*/ 296856 h 1341534"/>
                  <a:gd name="connsiteX23" fmla="*/ 345133 w 1588934"/>
                  <a:gd name="connsiteY23" fmla="*/ 361025 h 1341534"/>
                  <a:gd name="connsiteX24" fmla="*/ 224818 w 1588934"/>
                  <a:gd name="connsiteY24" fmla="*/ 401130 h 1341534"/>
                  <a:gd name="connsiteX25" fmla="*/ 136586 w 1588934"/>
                  <a:gd name="connsiteY25" fmla="*/ 409151 h 1341534"/>
                  <a:gd name="connsiteX26" fmla="*/ 48354 w 1588934"/>
                  <a:gd name="connsiteY26" fmla="*/ 457277 h 1341534"/>
                  <a:gd name="connsiteX27" fmla="*/ 228 w 1588934"/>
                  <a:gd name="connsiteY27" fmla="*/ 529467 h 1341534"/>
                  <a:gd name="connsiteX28" fmla="*/ 32312 w 1588934"/>
                  <a:gd name="connsiteY28" fmla="*/ 569572 h 1341534"/>
                  <a:gd name="connsiteX29" fmla="*/ 80439 w 1588934"/>
                  <a:gd name="connsiteY29" fmla="*/ 786141 h 1341534"/>
                  <a:gd name="connsiteX30" fmla="*/ 96481 w 1588934"/>
                  <a:gd name="connsiteY30" fmla="*/ 1090941 h 1341534"/>
                  <a:gd name="connsiteX31" fmla="*/ 80439 w 1588934"/>
                  <a:gd name="connsiteY31" fmla="*/ 1251362 h 1341534"/>
                  <a:gd name="connsiteX32" fmla="*/ 64396 w 1588934"/>
                  <a:gd name="connsiteY32" fmla="*/ 1339593 h 13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8934" h="1341534">
                    <a:moveTo>
                      <a:pt x="64396" y="1339593"/>
                    </a:moveTo>
                    <a:cubicBezTo>
                      <a:pt x="85785" y="1348951"/>
                      <a:pt x="164659" y="1322214"/>
                      <a:pt x="208775" y="1307509"/>
                    </a:cubicBezTo>
                    <a:cubicBezTo>
                      <a:pt x="252891" y="1292804"/>
                      <a:pt x="270270" y="1272751"/>
                      <a:pt x="329091" y="1251362"/>
                    </a:cubicBezTo>
                    <a:cubicBezTo>
                      <a:pt x="387912" y="1229973"/>
                      <a:pt x="468123" y="1199225"/>
                      <a:pt x="561702" y="1179172"/>
                    </a:cubicBezTo>
                    <a:cubicBezTo>
                      <a:pt x="655281" y="1159119"/>
                      <a:pt x="890565" y="1131046"/>
                      <a:pt x="890565" y="1131046"/>
                    </a:cubicBezTo>
                    <a:lnTo>
                      <a:pt x="1123175" y="1098962"/>
                    </a:lnTo>
                    <a:cubicBezTo>
                      <a:pt x="1200712" y="1086930"/>
                      <a:pt x="1306323" y="1073561"/>
                      <a:pt x="1355786" y="1058856"/>
                    </a:cubicBezTo>
                    <a:cubicBezTo>
                      <a:pt x="1405249" y="1044151"/>
                      <a:pt x="1405249" y="1029446"/>
                      <a:pt x="1419954" y="1010730"/>
                    </a:cubicBezTo>
                    <a:cubicBezTo>
                      <a:pt x="1434659" y="992014"/>
                      <a:pt x="1433323" y="959930"/>
                      <a:pt x="1444018" y="946562"/>
                    </a:cubicBezTo>
                    <a:cubicBezTo>
                      <a:pt x="1454713" y="933194"/>
                      <a:pt x="1473428" y="951909"/>
                      <a:pt x="1484123" y="930520"/>
                    </a:cubicBezTo>
                    <a:cubicBezTo>
                      <a:pt x="1494818" y="909131"/>
                      <a:pt x="1494818" y="856993"/>
                      <a:pt x="1508186" y="818225"/>
                    </a:cubicBezTo>
                    <a:cubicBezTo>
                      <a:pt x="1521554" y="779457"/>
                      <a:pt x="1550965" y="767425"/>
                      <a:pt x="1564333" y="697909"/>
                    </a:cubicBezTo>
                    <a:cubicBezTo>
                      <a:pt x="1577701" y="628393"/>
                      <a:pt x="1585722" y="508077"/>
                      <a:pt x="1588396" y="401130"/>
                    </a:cubicBezTo>
                    <a:cubicBezTo>
                      <a:pt x="1591070" y="294183"/>
                      <a:pt x="1583049" y="123067"/>
                      <a:pt x="1580375" y="56225"/>
                    </a:cubicBezTo>
                    <a:cubicBezTo>
                      <a:pt x="1577701" y="-10617"/>
                      <a:pt x="1580375" y="1414"/>
                      <a:pt x="1572354" y="77"/>
                    </a:cubicBezTo>
                    <a:cubicBezTo>
                      <a:pt x="1564333" y="-1260"/>
                      <a:pt x="1561660" y="36172"/>
                      <a:pt x="1532249" y="48204"/>
                    </a:cubicBezTo>
                    <a:cubicBezTo>
                      <a:pt x="1502839" y="60236"/>
                      <a:pt x="1468080" y="64246"/>
                      <a:pt x="1395891" y="72267"/>
                    </a:cubicBezTo>
                    <a:cubicBezTo>
                      <a:pt x="1323702" y="80288"/>
                      <a:pt x="1203386" y="90983"/>
                      <a:pt x="1099112" y="96330"/>
                    </a:cubicBezTo>
                    <a:cubicBezTo>
                      <a:pt x="994838" y="101677"/>
                      <a:pt x="861154" y="100340"/>
                      <a:pt x="770249" y="104351"/>
                    </a:cubicBezTo>
                    <a:cubicBezTo>
                      <a:pt x="679344" y="108361"/>
                      <a:pt x="613839" y="113709"/>
                      <a:pt x="553681" y="120393"/>
                    </a:cubicBezTo>
                    <a:cubicBezTo>
                      <a:pt x="493523" y="127077"/>
                      <a:pt x="440050" y="127077"/>
                      <a:pt x="409302" y="144456"/>
                    </a:cubicBezTo>
                    <a:cubicBezTo>
                      <a:pt x="378555" y="161835"/>
                      <a:pt x="378554" y="199267"/>
                      <a:pt x="369196" y="224667"/>
                    </a:cubicBezTo>
                    <a:cubicBezTo>
                      <a:pt x="359838" y="250067"/>
                      <a:pt x="357164" y="274130"/>
                      <a:pt x="353154" y="296856"/>
                    </a:cubicBezTo>
                    <a:cubicBezTo>
                      <a:pt x="349144" y="319582"/>
                      <a:pt x="366522" y="343646"/>
                      <a:pt x="345133" y="361025"/>
                    </a:cubicBezTo>
                    <a:cubicBezTo>
                      <a:pt x="323744" y="378404"/>
                      <a:pt x="259576" y="393109"/>
                      <a:pt x="224818" y="401130"/>
                    </a:cubicBezTo>
                    <a:cubicBezTo>
                      <a:pt x="190060" y="409151"/>
                      <a:pt x="165997" y="399793"/>
                      <a:pt x="136586" y="409151"/>
                    </a:cubicBezTo>
                    <a:cubicBezTo>
                      <a:pt x="107175" y="418509"/>
                      <a:pt x="71080" y="437224"/>
                      <a:pt x="48354" y="457277"/>
                    </a:cubicBezTo>
                    <a:cubicBezTo>
                      <a:pt x="25628" y="477330"/>
                      <a:pt x="2902" y="510751"/>
                      <a:pt x="228" y="529467"/>
                    </a:cubicBezTo>
                    <a:cubicBezTo>
                      <a:pt x="-2446" y="548183"/>
                      <a:pt x="18944" y="526793"/>
                      <a:pt x="32312" y="569572"/>
                    </a:cubicBezTo>
                    <a:cubicBezTo>
                      <a:pt x="45680" y="612351"/>
                      <a:pt x="69744" y="699246"/>
                      <a:pt x="80439" y="786141"/>
                    </a:cubicBezTo>
                    <a:cubicBezTo>
                      <a:pt x="91134" y="873036"/>
                      <a:pt x="96481" y="1013404"/>
                      <a:pt x="96481" y="1090941"/>
                    </a:cubicBezTo>
                    <a:cubicBezTo>
                      <a:pt x="96481" y="1168478"/>
                      <a:pt x="83113" y="1211257"/>
                      <a:pt x="80439" y="1251362"/>
                    </a:cubicBezTo>
                    <a:cubicBezTo>
                      <a:pt x="77765" y="1291467"/>
                      <a:pt x="43007" y="1330235"/>
                      <a:pt x="64396" y="1339593"/>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71" name="Freeform 1370"/>
              <p:cNvSpPr/>
              <p:nvPr/>
            </p:nvSpPr>
            <p:spPr bwMode="auto">
              <a:xfrm>
                <a:off x="3304674" y="3416969"/>
                <a:ext cx="6023811" cy="1668380"/>
              </a:xfrm>
              <a:custGeom>
                <a:avLst/>
                <a:gdLst>
                  <a:gd name="connsiteX0" fmla="*/ 914400 w 6023810"/>
                  <a:gd name="connsiteY0" fmla="*/ 1588169 h 1668379"/>
                  <a:gd name="connsiteX1" fmla="*/ 3248526 w 6023810"/>
                  <a:gd name="connsiteY1" fmla="*/ 1604211 h 1668379"/>
                  <a:gd name="connsiteX2" fmla="*/ 5069305 w 6023810"/>
                  <a:gd name="connsiteY2" fmla="*/ 1612232 h 1668379"/>
                  <a:gd name="connsiteX3" fmla="*/ 5670884 w 6023810"/>
                  <a:gd name="connsiteY3" fmla="*/ 1620253 h 1668379"/>
                  <a:gd name="connsiteX4" fmla="*/ 5719010 w 6023810"/>
                  <a:gd name="connsiteY4" fmla="*/ 1620253 h 1668379"/>
                  <a:gd name="connsiteX5" fmla="*/ 5719010 w 6023810"/>
                  <a:gd name="connsiteY5" fmla="*/ 1499937 h 1668379"/>
                  <a:gd name="connsiteX6" fmla="*/ 5719010 w 6023810"/>
                  <a:gd name="connsiteY6" fmla="*/ 1307432 h 1668379"/>
                  <a:gd name="connsiteX7" fmla="*/ 5759115 w 6023810"/>
                  <a:gd name="connsiteY7" fmla="*/ 1034716 h 1668379"/>
                  <a:gd name="connsiteX8" fmla="*/ 5839326 w 6023810"/>
                  <a:gd name="connsiteY8" fmla="*/ 770021 h 1668379"/>
                  <a:gd name="connsiteX9" fmla="*/ 5919537 w 6023810"/>
                  <a:gd name="connsiteY9" fmla="*/ 609600 h 1668379"/>
                  <a:gd name="connsiteX10" fmla="*/ 6023810 w 6023810"/>
                  <a:gd name="connsiteY10" fmla="*/ 473243 h 1668379"/>
                  <a:gd name="connsiteX11" fmla="*/ 5895473 w 6023810"/>
                  <a:gd name="connsiteY11" fmla="*/ 481264 h 1668379"/>
                  <a:gd name="connsiteX12" fmla="*/ 5791200 w 6023810"/>
                  <a:gd name="connsiteY12" fmla="*/ 473243 h 1668379"/>
                  <a:gd name="connsiteX13" fmla="*/ 5686926 w 6023810"/>
                  <a:gd name="connsiteY13" fmla="*/ 425116 h 1668379"/>
                  <a:gd name="connsiteX14" fmla="*/ 5614737 w 6023810"/>
                  <a:gd name="connsiteY14" fmla="*/ 409074 h 1668379"/>
                  <a:gd name="connsiteX15" fmla="*/ 5566610 w 6023810"/>
                  <a:gd name="connsiteY15" fmla="*/ 457200 h 1668379"/>
                  <a:gd name="connsiteX16" fmla="*/ 5542547 w 6023810"/>
                  <a:gd name="connsiteY16" fmla="*/ 425116 h 1668379"/>
                  <a:gd name="connsiteX17" fmla="*/ 5542547 w 6023810"/>
                  <a:gd name="connsiteY17" fmla="*/ 144379 h 1668379"/>
                  <a:gd name="connsiteX18" fmla="*/ 5534526 w 6023810"/>
                  <a:gd name="connsiteY18" fmla="*/ 16043 h 1668379"/>
                  <a:gd name="connsiteX19" fmla="*/ 5430252 w 6023810"/>
                  <a:gd name="connsiteY19" fmla="*/ 0 h 1668379"/>
                  <a:gd name="connsiteX20" fmla="*/ 4267200 w 6023810"/>
                  <a:gd name="connsiteY20" fmla="*/ 40106 h 1668379"/>
                  <a:gd name="connsiteX21" fmla="*/ 2069431 w 6023810"/>
                  <a:gd name="connsiteY21" fmla="*/ 112295 h 1668379"/>
                  <a:gd name="connsiteX22" fmla="*/ 497305 w 6023810"/>
                  <a:gd name="connsiteY22" fmla="*/ 168443 h 1668379"/>
                  <a:gd name="connsiteX23" fmla="*/ 328863 w 6023810"/>
                  <a:gd name="connsiteY23" fmla="*/ 168443 h 1668379"/>
                  <a:gd name="connsiteX24" fmla="*/ 328863 w 6023810"/>
                  <a:gd name="connsiteY24" fmla="*/ 168443 h 1668379"/>
                  <a:gd name="connsiteX25" fmla="*/ 304800 w 6023810"/>
                  <a:gd name="connsiteY25" fmla="*/ 280737 h 1668379"/>
                  <a:gd name="connsiteX26" fmla="*/ 320842 w 6023810"/>
                  <a:gd name="connsiteY26" fmla="*/ 425116 h 1668379"/>
                  <a:gd name="connsiteX27" fmla="*/ 256673 w 6023810"/>
                  <a:gd name="connsiteY27" fmla="*/ 553453 h 1668379"/>
                  <a:gd name="connsiteX28" fmla="*/ 104273 w 6023810"/>
                  <a:gd name="connsiteY28" fmla="*/ 665748 h 1668379"/>
                  <a:gd name="connsiteX29" fmla="*/ 0 w 6023810"/>
                  <a:gd name="connsiteY29" fmla="*/ 729916 h 1668379"/>
                  <a:gd name="connsiteX30" fmla="*/ 24063 w 6023810"/>
                  <a:gd name="connsiteY30" fmla="*/ 802106 h 1668379"/>
                  <a:gd name="connsiteX31" fmla="*/ 72189 w 6023810"/>
                  <a:gd name="connsiteY31" fmla="*/ 1147011 h 1668379"/>
                  <a:gd name="connsiteX32" fmla="*/ 88231 w 6023810"/>
                  <a:gd name="connsiteY32" fmla="*/ 1347537 h 1668379"/>
                  <a:gd name="connsiteX33" fmla="*/ 80210 w 6023810"/>
                  <a:gd name="connsiteY33" fmla="*/ 1499937 h 1668379"/>
                  <a:gd name="connsiteX34" fmla="*/ 80210 w 6023810"/>
                  <a:gd name="connsiteY34" fmla="*/ 1628274 h 1668379"/>
                  <a:gd name="connsiteX35" fmla="*/ 80210 w 6023810"/>
                  <a:gd name="connsiteY35" fmla="*/ 1668379 h 1668379"/>
                  <a:gd name="connsiteX36" fmla="*/ 248652 w 6023810"/>
                  <a:gd name="connsiteY36" fmla="*/ 1620253 h 1668379"/>
                  <a:gd name="connsiteX37" fmla="*/ 441158 w 6023810"/>
                  <a:gd name="connsiteY37" fmla="*/ 1604211 h 1668379"/>
                  <a:gd name="connsiteX38" fmla="*/ 673768 w 6023810"/>
                  <a:gd name="connsiteY38" fmla="*/ 1588169 h 1668379"/>
                  <a:gd name="connsiteX39" fmla="*/ 914400 w 6023810"/>
                  <a:gd name="connsiteY39" fmla="*/ 1588169 h 166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23810" h="1668379">
                    <a:moveTo>
                      <a:pt x="914400" y="1588169"/>
                    </a:moveTo>
                    <a:lnTo>
                      <a:pt x="3248526" y="1604211"/>
                    </a:lnTo>
                    <a:lnTo>
                      <a:pt x="5069305" y="1612232"/>
                    </a:lnTo>
                    <a:lnTo>
                      <a:pt x="5670884" y="1620253"/>
                    </a:lnTo>
                    <a:lnTo>
                      <a:pt x="5719010" y="1620253"/>
                    </a:lnTo>
                    <a:lnTo>
                      <a:pt x="5719010" y="1499937"/>
                    </a:lnTo>
                    <a:lnTo>
                      <a:pt x="5719010" y="1307432"/>
                    </a:lnTo>
                    <a:lnTo>
                      <a:pt x="5759115" y="1034716"/>
                    </a:lnTo>
                    <a:lnTo>
                      <a:pt x="5839326" y="770021"/>
                    </a:lnTo>
                    <a:lnTo>
                      <a:pt x="5919537" y="609600"/>
                    </a:lnTo>
                    <a:lnTo>
                      <a:pt x="6023810" y="473243"/>
                    </a:lnTo>
                    <a:lnTo>
                      <a:pt x="5895473" y="481264"/>
                    </a:lnTo>
                    <a:lnTo>
                      <a:pt x="5791200" y="473243"/>
                    </a:lnTo>
                    <a:lnTo>
                      <a:pt x="5686926" y="425116"/>
                    </a:lnTo>
                    <a:lnTo>
                      <a:pt x="5614737" y="409074"/>
                    </a:lnTo>
                    <a:lnTo>
                      <a:pt x="5566610" y="457200"/>
                    </a:lnTo>
                    <a:lnTo>
                      <a:pt x="5542547" y="425116"/>
                    </a:lnTo>
                    <a:lnTo>
                      <a:pt x="5542547" y="144379"/>
                    </a:lnTo>
                    <a:lnTo>
                      <a:pt x="5534526" y="16043"/>
                    </a:lnTo>
                    <a:lnTo>
                      <a:pt x="5430252" y="0"/>
                    </a:lnTo>
                    <a:lnTo>
                      <a:pt x="4267200" y="40106"/>
                    </a:lnTo>
                    <a:lnTo>
                      <a:pt x="2069431" y="112295"/>
                    </a:lnTo>
                    <a:lnTo>
                      <a:pt x="497305" y="168443"/>
                    </a:lnTo>
                    <a:lnTo>
                      <a:pt x="328863" y="168443"/>
                    </a:lnTo>
                    <a:lnTo>
                      <a:pt x="328863" y="168443"/>
                    </a:lnTo>
                    <a:lnTo>
                      <a:pt x="304800" y="280737"/>
                    </a:lnTo>
                    <a:lnTo>
                      <a:pt x="320842" y="425116"/>
                    </a:lnTo>
                    <a:lnTo>
                      <a:pt x="256673" y="553453"/>
                    </a:lnTo>
                    <a:lnTo>
                      <a:pt x="104273" y="665748"/>
                    </a:lnTo>
                    <a:lnTo>
                      <a:pt x="0" y="729916"/>
                    </a:lnTo>
                    <a:lnTo>
                      <a:pt x="24063" y="802106"/>
                    </a:lnTo>
                    <a:lnTo>
                      <a:pt x="72189" y="1147011"/>
                    </a:lnTo>
                    <a:lnTo>
                      <a:pt x="88231" y="1347537"/>
                    </a:lnTo>
                    <a:lnTo>
                      <a:pt x="80210" y="1499937"/>
                    </a:lnTo>
                    <a:lnTo>
                      <a:pt x="80210" y="1628274"/>
                    </a:lnTo>
                    <a:lnTo>
                      <a:pt x="80210" y="1668379"/>
                    </a:lnTo>
                    <a:lnTo>
                      <a:pt x="248652" y="1620253"/>
                    </a:lnTo>
                    <a:lnTo>
                      <a:pt x="441158" y="1604211"/>
                    </a:lnTo>
                    <a:lnTo>
                      <a:pt x="673768" y="1588169"/>
                    </a:lnTo>
                    <a:lnTo>
                      <a:pt x="914400" y="1588169"/>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72" name="Freeform 1371"/>
              <p:cNvSpPr/>
              <p:nvPr/>
            </p:nvSpPr>
            <p:spPr bwMode="auto">
              <a:xfrm>
                <a:off x="11565391" y="2662073"/>
                <a:ext cx="935571" cy="603883"/>
              </a:xfrm>
              <a:custGeom>
                <a:avLst/>
                <a:gdLst>
                  <a:gd name="connsiteX0" fmla="*/ 714841 w 935571"/>
                  <a:gd name="connsiteY0" fmla="*/ 586453 h 603883"/>
                  <a:gd name="connsiteX1" fmla="*/ 923388 w 935571"/>
                  <a:gd name="connsiteY1" fmla="*/ 578432 h 603883"/>
                  <a:gd name="connsiteX2" fmla="*/ 899325 w 935571"/>
                  <a:gd name="connsiteY2" fmla="*/ 498222 h 603883"/>
                  <a:gd name="connsiteX3" fmla="*/ 803072 w 935571"/>
                  <a:gd name="connsiteY3" fmla="*/ 137274 h 603883"/>
                  <a:gd name="connsiteX4" fmla="*/ 746925 w 935571"/>
                  <a:gd name="connsiteY4" fmla="*/ 16959 h 603883"/>
                  <a:gd name="connsiteX5" fmla="*/ 690777 w 935571"/>
                  <a:gd name="connsiteY5" fmla="*/ 916 h 603883"/>
                  <a:gd name="connsiteX6" fmla="*/ 313788 w 935571"/>
                  <a:gd name="connsiteY6" fmla="*/ 8938 h 603883"/>
                  <a:gd name="connsiteX7" fmla="*/ 73156 w 935571"/>
                  <a:gd name="connsiteY7" fmla="*/ 24980 h 603883"/>
                  <a:gd name="connsiteX8" fmla="*/ 49093 w 935571"/>
                  <a:gd name="connsiteY8" fmla="*/ 81127 h 603883"/>
                  <a:gd name="connsiteX9" fmla="*/ 967 w 935571"/>
                  <a:gd name="connsiteY9" fmla="*/ 217485 h 603883"/>
                  <a:gd name="connsiteX10" fmla="*/ 97220 w 935571"/>
                  <a:gd name="connsiteY10" fmla="*/ 281653 h 603883"/>
                  <a:gd name="connsiteX11" fmla="*/ 658693 w 935571"/>
                  <a:gd name="connsiteY11" fmla="*/ 578432 h 603883"/>
                  <a:gd name="connsiteX12" fmla="*/ 714841 w 935571"/>
                  <a:gd name="connsiteY12" fmla="*/ 586453 h 60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571" h="603883">
                    <a:moveTo>
                      <a:pt x="714841" y="586453"/>
                    </a:moveTo>
                    <a:cubicBezTo>
                      <a:pt x="758957" y="586453"/>
                      <a:pt x="892641" y="593137"/>
                      <a:pt x="923388" y="578432"/>
                    </a:cubicBezTo>
                    <a:cubicBezTo>
                      <a:pt x="954135" y="563727"/>
                      <a:pt x="919378" y="571748"/>
                      <a:pt x="899325" y="498222"/>
                    </a:cubicBezTo>
                    <a:cubicBezTo>
                      <a:pt x="879272" y="424696"/>
                      <a:pt x="828472" y="217484"/>
                      <a:pt x="803072" y="137274"/>
                    </a:cubicBezTo>
                    <a:cubicBezTo>
                      <a:pt x="777672" y="57063"/>
                      <a:pt x="765641" y="39685"/>
                      <a:pt x="746925" y="16959"/>
                    </a:cubicBezTo>
                    <a:cubicBezTo>
                      <a:pt x="728209" y="-5767"/>
                      <a:pt x="690777" y="916"/>
                      <a:pt x="690777" y="916"/>
                    </a:cubicBezTo>
                    <a:lnTo>
                      <a:pt x="313788" y="8938"/>
                    </a:lnTo>
                    <a:cubicBezTo>
                      <a:pt x="210851" y="12949"/>
                      <a:pt x="117272" y="12949"/>
                      <a:pt x="73156" y="24980"/>
                    </a:cubicBezTo>
                    <a:cubicBezTo>
                      <a:pt x="29040" y="37011"/>
                      <a:pt x="61124" y="49043"/>
                      <a:pt x="49093" y="81127"/>
                    </a:cubicBezTo>
                    <a:cubicBezTo>
                      <a:pt x="37062" y="113211"/>
                      <a:pt x="-7054" y="184064"/>
                      <a:pt x="967" y="217485"/>
                    </a:cubicBezTo>
                    <a:cubicBezTo>
                      <a:pt x="8988" y="250906"/>
                      <a:pt x="-12401" y="221495"/>
                      <a:pt x="97220" y="281653"/>
                    </a:cubicBezTo>
                    <a:cubicBezTo>
                      <a:pt x="206841" y="341811"/>
                      <a:pt x="549072" y="526295"/>
                      <a:pt x="658693" y="578432"/>
                    </a:cubicBezTo>
                    <a:cubicBezTo>
                      <a:pt x="768314" y="630569"/>
                      <a:pt x="670725" y="586453"/>
                      <a:pt x="714841" y="586453"/>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73" name="Freeform 1372"/>
              <p:cNvSpPr/>
              <p:nvPr/>
            </p:nvSpPr>
            <p:spPr bwMode="auto">
              <a:xfrm>
                <a:off x="-120316" y="3777916"/>
                <a:ext cx="1483895" cy="1275347"/>
              </a:xfrm>
              <a:custGeom>
                <a:avLst/>
                <a:gdLst>
                  <a:gd name="connsiteX0" fmla="*/ 1267327 w 1483895"/>
                  <a:gd name="connsiteY0" fmla="*/ 1147010 h 1275347"/>
                  <a:gd name="connsiteX1" fmla="*/ 1275348 w 1483895"/>
                  <a:gd name="connsiteY1" fmla="*/ 850231 h 1275347"/>
                  <a:gd name="connsiteX2" fmla="*/ 1323474 w 1483895"/>
                  <a:gd name="connsiteY2" fmla="*/ 585537 h 1275347"/>
                  <a:gd name="connsiteX3" fmla="*/ 1387642 w 1483895"/>
                  <a:gd name="connsiteY3" fmla="*/ 409073 h 1275347"/>
                  <a:gd name="connsiteX4" fmla="*/ 1443790 w 1483895"/>
                  <a:gd name="connsiteY4" fmla="*/ 264695 h 1275347"/>
                  <a:gd name="connsiteX5" fmla="*/ 1483895 w 1483895"/>
                  <a:gd name="connsiteY5" fmla="*/ 200526 h 1275347"/>
                  <a:gd name="connsiteX6" fmla="*/ 1411705 w 1483895"/>
                  <a:gd name="connsiteY6" fmla="*/ 192505 h 1275347"/>
                  <a:gd name="connsiteX7" fmla="*/ 1323474 w 1483895"/>
                  <a:gd name="connsiteY7" fmla="*/ 192505 h 1275347"/>
                  <a:gd name="connsiteX8" fmla="*/ 1299411 w 1483895"/>
                  <a:gd name="connsiteY8" fmla="*/ 272716 h 1275347"/>
                  <a:gd name="connsiteX9" fmla="*/ 1259305 w 1483895"/>
                  <a:gd name="connsiteY9" fmla="*/ 240631 h 1275347"/>
                  <a:gd name="connsiteX10" fmla="*/ 1179095 w 1483895"/>
                  <a:gd name="connsiteY10" fmla="*/ 192505 h 1275347"/>
                  <a:gd name="connsiteX11" fmla="*/ 1098884 w 1483895"/>
                  <a:gd name="connsiteY11" fmla="*/ 208547 h 1275347"/>
                  <a:gd name="connsiteX12" fmla="*/ 954505 w 1483895"/>
                  <a:gd name="connsiteY12" fmla="*/ 136358 h 1275347"/>
                  <a:gd name="connsiteX13" fmla="*/ 786063 w 1483895"/>
                  <a:gd name="connsiteY13" fmla="*/ 152400 h 1275347"/>
                  <a:gd name="connsiteX14" fmla="*/ 505327 w 1483895"/>
                  <a:gd name="connsiteY14" fmla="*/ 224589 h 1275347"/>
                  <a:gd name="connsiteX15" fmla="*/ 352927 w 1483895"/>
                  <a:gd name="connsiteY15" fmla="*/ 184484 h 1275347"/>
                  <a:gd name="connsiteX16" fmla="*/ 200527 w 1483895"/>
                  <a:gd name="connsiteY16" fmla="*/ 120316 h 1275347"/>
                  <a:gd name="connsiteX17" fmla="*/ 88232 w 1483895"/>
                  <a:gd name="connsiteY17" fmla="*/ 0 h 1275347"/>
                  <a:gd name="connsiteX18" fmla="*/ 80211 w 1483895"/>
                  <a:gd name="connsiteY18" fmla="*/ 72189 h 1275347"/>
                  <a:gd name="connsiteX19" fmla="*/ 0 w 1483895"/>
                  <a:gd name="connsiteY19" fmla="*/ 393031 h 1275347"/>
                  <a:gd name="connsiteX20" fmla="*/ 0 w 1483895"/>
                  <a:gd name="connsiteY20" fmla="*/ 521368 h 1275347"/>
                  <a:gd name="connsiteX21" fmla="*/ 8021 w 1483895"/>
                  <a:gd name="connsiteY21" fmla="*/ 617621 h 1275347"/>
                  <a:gd name="connsiteX22" fmla="*/ 80211 w 1483895"/>
                  <a:gd name="connsiteY22" fmla="*/ 737937 h 1275347"/>
                  <a:gd name="connsiteX23" fmla="*/ 64169 w 1483895"/>
                  <a:gd name="connsiteY23" fmla="*/ 914400 h 1275347"/>
                  <a:gd name="connsiteX24" fmla="*/ 112295 w 1483895"/>
                  <a:gd name="connsiteY24" fmla="*/ 994610 h 1275347"/>
                  <a:gd name="connsiteX25" fmla="*/ 328863 w 1483895"/>
                  <a:gd name="connsiteY25" fmla="*/ 1122947 h 1275347"/>
                  <a:gd name="connsiteX26" fmla="*/ 585537 w 1483895"/>
                  <a:gd name="connsiteY26" fmla="*/ 1187116 h 1275347"/>
                  <a:gd name="connsiteX27" fmla="*/ 978569 w 1483895"/>
                  <a:gd name="connsiteY27" fmla="*/ 1219200 h 1275347"/>
                  <a:gd name="connsiteX28" fmla="*/ 1147011 w 1483895"/>
                  <a:gd name="connsiteY28" fmla="*/ 1235242 h 1275347"/>
                  <a:gd name="connsiteX29" fmla="*/ 1291390 w 1483895"/>
                  <a:gd name="connsiteY29" fmla="*/ 1275347 h 1275347"/>
                  <a:gd name="connsiteX30" fmla="*/ 1267327 w 1483895"/>
                  <a:gd name="connsiteY30" fmla="*/ 1147010 h 12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83895" h="1275347">
                    <a:moveTo>
                      <a:pt x="1267327" y="1147010"/>
                    </a:moveTo>
                    <a:lnTo>
                      <a:pt x="1275348" y="850231"/>
                    </a:lnTo>
                    <a:lnTo>
                      <a:pt x="1323474" y="585537"/>
                    </a:lnTo>
                    <a:lnTo>
                      <a:pt x="1387642" y="409073"/>
                    </a:lnTo>
                    <a:lnTo>
                      <a:pt x="1443790" y="264695"/>
                    </a:lnTo>
                    <a:lnTo>
                      <a:pt x="1483895" y="200526"/>
                    </a:lnTo>
                    <a:lnTo>
                      <a:pt x="1411705" y="192505"/>
                    </a:lnTo>
                    <a:lnTo>
                      <a:pt x="1323474" y="192505"/>
                    </a:lnTo>
                    <a:lnTo>
                      <a:pt x="1299411" y="272716"/>
                    </a:lnTo>
                    <a:lnTo>
                      <a:pt x="1259305" y="240631"/>
                    </a:lnTo>
                    <a:lnTo>
                      <a:pt x="1179095" y="192505"/>
                    </a:lnTo>
                    <a:lnTo>
                      <a:pt x="1098884" y="208547"/>
                    </a:lnTo>
                    <a:lnTo>
                      <a:pt x="954505" y="136358"/>
                    </a:lnTo>
                    <a:lnTo>
                      <a:pt x="786063" y="152400"/>
                    </a:lnTo>
                    <a:lnTo>
                      <a:pt x="505327" y="224589"/>
                    </a:lnTo>
                    <a:lnTo>
                      <a:pt x="352927" y="184484"/>
                    </a:lnTo>
                    <a:lnTo>
                      <a:pt x="200527" y="120316"/>
                    </a:lnTo>
                    <a:lnTo>
                      <a:pt x="88232" y="0"/>
                    </a:lnTo>
                    <a:lnTo>
                      <a:pt x="80211" y="72189"/>
                    </a:lnTo>
                    <a:lnTo>
                      <a:pt x="0" y="393031"/>
                    </a:lnTo>
                    <a:lnTo>
                      <a:pt x="0" y="521368"/>
                    </a:lnTo>
                    <a:lnTo>
                      <a:pt x="8021" y="617621"/>
                    </a:lnTo>
                    <a:lnTo>
                      <a:pt x="80211" y="737937"/>
                    </a:lnTo>
                    <a:lnTo>
                      <a:pt x="64169" y="914400"/>
                    </a:lnTo>
                    <a:lnTo>
                      <a:pt x="112295" y="994610"/>
                    </a:lnTo>
                    <a:lnTo>
                      <a:pt x="328863" y="1122947"/>
                    </a:lnTo>
                    <a:lnTo>
                      <a:pt x="585537" y="1187116"/>
                    </a:lnTo>
                    <a:lnTo>
                      <a:pt x="978569" y="1219200"/>
                    </a:lnTo>
                    <a:lnTo>
                      <a:pt x="1147011" y="1235242"/>
                    </a:lnTo>
                    <a:lnTo>
                      <a:pt x="1291390" y="1275347"/>
                    </a:lnTo>
                    <a:lnTo>
                      <a:pt x="1267327" y="114701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74" name="Freeform 1373"/>
              <p:cNvSpPr/>
              <p:nvPr/>
            </p:nvSpPr>
            <p:spPr bwMode="auto">
              <a:xfrm>
                <a:off x="10953" y="2973210"/>
                <a:ext cx="1397980" cy="734980"/>
              </a:xfrm>
              <a:custGeom>
                <a:avLst/>
                <a:gdLst>
                  <a:gd name="connsiteX0" fmla="*/ 3426 w 1396318"/>
                  <a:gd name="connsiteY0" fmla="*/ 684390 h 734979"/>
                  <a:gd name="connsiteX1" fmla="*/ 260100 w 1396318"/>
                  <a:gd name="connsiteY1" fmla="*/ 724495 h 734979"/>
                  <a:gd name="connsiteX2" fmla="*/ 813552 w 1396318"/>
                  <a:gd name="connsiteY2" fmla="*/ 515948 h 734979"/>
                  <a:gd name="connsiteX3" fmla="*/ 1350963 w 1396318"/>
                  <a:gd name="connsiteY3" fmla="*/ 58748 h 734979"/>
                  <a:gd name="connsiteX4" fmla="*/ 1350963 w 1396318"/>
                  <a:gd name="connsiteY4" fmla="*/ 2601 h 734979"/>
                  <a:gd name="connsiteX5" fmla="*/ 1214605 w 1396318"/>
                  <a:gd name="connsiteY5" fmla="*/ 26664 h 734979"/>
                  <a:gd name="connsiteX6" fmla="*/ 709279 w 1396318"/>
                  <a:gd name="connsiteY6" fmla="*/ 171043 h 734979"/>
                  <a:gd name="connsiteX7" fmla="*/ 276142 w 1396318"/>
                  <a:gd name="connsiteY7" fmla="*/ 427716 h 734979"/>
                  <a:gd name="connsiteX8" fmla="*/ 163847 w 1396318"/>
                  <a:gd name="connsiteY8" fmla="*/ 427716 h 734979"/>
                  <a:gd name="connsiteX9" fmla="*/ 115721 w 1396318"/>
                  <a:gd name="connsiteY9" fmla="*/ 515948 h 734979"/>
                  <a:gd name="connsiteX10" fmla="*/ 3426 w 1396318"/>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77804 w 1397980"/>
                  <a:gd name="connsiteY7" fmla="*/ 427716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396241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38862 h 734979"/>
                  <a:gd name="connsiteX8" fmla="*/ 165509 w 1397980"/>
                  <a:gd name="connsiteY8" fmla="*/ 396241 h 734979"/>
                  <a:gd name="connsiteX9" fmla="*/ 96399 w 1397980"/>
                  <a:gd name="connsiteY9" fmla="*/ 515948 h 734979"/>
                  <a:gd name="connsiteX10" fmla="*/ 5088 w 1397980"/>
                  <a:gd name="connsiteY10" fmla="*/ 684390 h 73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7980" h="734979">
                    <a:moveTo>
                      <a:pt x="5088" y="684390"/>
                    </a:moveTo>
                    <a:cubicBezTo>
                      <a:pt x="32649" y="719148"/>
                      <a:pt x="126741" y="752569"/>
                      <a:pt x="261762" y="724495"/>
                    </a:cubicBezTo>
                    <a:cubicBezTo>
                      <a:pt x="396783" y="696421"/>
                      <a:pt x="633404" y="626906"/>
                      <a:pt x="815214" y="515948"/>
                    </a:cubicBezTo>
                    <a:cubicBezTo>
                      <a:pt x="997024" y="404990"/>
                      <a:pt x="1263057" y="144306"/>
                      <a:pt x="1352625" y="58748"/>
                    </a:cubicBezTo>
                    <a:cubicBezTo>
                      <a:pt x="1442193" y="-26810"/>
                      <a:pt x="1375351" y="7948"/>
                      <a:pt x="1352625" y="2601"/>
                    </a:cubicBezTo>
                    <a:cubicBezTo>
                      <a:pt x="1329899" y="-2746"/>
                      <a:pt x="1330209" y="7334"/>
                      <a:pt x="1216267" y="26664"/>
                    </a:cubicBezTo>
                    <a:cubicBezTo>
                      <a:pt x="1102325" y="45994"/>
                      <a:pt x="823635" y="83217"/>
                      <a:pt x="668973" y="118583"/>
                    </a:cubicBezTo>
                    <a:cubicBezTo>
                      <a:pt x="514311" y="153949"/>
                      <a:pt x="372207" y="192586"/>
                      <a:pt x="288296" y="238862"/>
                    </a:cubicBezTo>
                    <a:cubicBezTo>
                      <a:pt x="204385" y="285138"/>
                      <a:pt x="192246" y="381536"/>
                      <a:pt x="165509" y="396241"/>
                    </a:cubicBezTo>
                    <a:cubicBezTo>
                      <a:pt x="138772" y="410946"/>
                      <a:pt x="123136" y="467923"/>
                      <a:pt x="96399" y="515948"/>
                    </a:cubicBezTo>
                    <a:cubicBezTo>
                      <a:pt x="69662" y="563973"/>
                      <a:pt x="-22473" y="649632"/>
                      <a:pt x="5088" y="684390"/>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360" name="Freeform 1359"/>
            <p:cNvSpPr/>
            <p:nvPr/>
          </p:nvSpPr>
          <p:spPr bwMode="auto">
            <a:xfrm rot="271620">
              <a:off x="3993004" y="3376093"/>
              <a:ext cx="521758" cy="457462"/>
            </a:xfrm>
            <a:custGeom>
              <a:avLst/>
              <a:gdLst>
                <a:gd name="connsiteX0" fmla="*/ 49366 w 521758"/>
                <a:gd name="connsiteY0" fmla="*/ 361980 h 459200"/>
                <a:gd name="connsiteX1" fmla="*/ 169682 w 521758"/>
                <a:gd name="connsiteY1" fmla="*/ 442191 h 459200"/>
                <a:gd name="connsiteX2" fmla="*/ 410314 w 521758"/>
                <a:gd name="connsiteY2" fmla="*/ 458233 h 459200"/>
                <a:gd name="connsiteX3" fmla="*/ 498545 w 521758"/>
                <a:gd name="connsiteY3" fmla="*/ 434170 h 459200"/>
                <a:gd name="connsiteX4" fmla="*/ 514587 w 521758"/>
                <a:gd name="connsiteY4" fmla="*/ 249686 h 459200"/>
                <a:gd name="connsiteX5" fmla="*/ 514587 w 521758"/>
                <a:gd name="connsiteY5" fmla="*/ 105307 h 459200"/>
                <a:gd name="connsiteX6" fmla="*/ 426356 w 521758"/>
                <a:gd name="connsiteY6" fmla="*/ 41138 h 459200"/>
                <a:gd name="connsiteX7" fmla="*/ 265935 w 521758"/>
                <a:gd name="connsiteY7" fmla="*/ 9054 h 459200"/>
                <a:gd name="connsiteX8" fmla="*/ 217808 w 521758"/>
                <a:gd name="connsiteY8" fmla="*/ 9054 h 459200"/>
                <a:gd name="connsiteX9" fmla="*/ 105514 w 521758"/>
                <a:gd name="connsiteY9" fmla="*/ 113328 h 459200"/>
                <a:gd name="connsiteX10" fmla="*/ 9261 w 521758"/>
                <a:gd name="connsiteY10" fmla="*/ 185517 h 459200"/>
                <a:gd name="connsiteX11" fmla="*/ 9261 w 521758"/>
                <a:gd name="connsiteY11" fmla="*/ 257707 h 459200"/>
                <a:gd name="connsiteX12" fmla="*/ 49366 w 521758"/>
                <a:gd name="connsiteY12" fmla="*/ 361980 h 459200"/>
                <a:gd name="connsiteX0" fmla="*/ 49366 w 521758"/>
                <a:gd name="connsiteY0" fmla="*/ 360242 h 457462"/>
                <a:gd name="connsiteX1" fmla="*/ 169682 w 521758"/>
                <a:gd name="connsiteY1" fmla="*/ 440453 h 457462"/>
                <a:gd name="connsiteX2" fmla="*/ 410314 w 521758"/>
                <a:gd name="connsiteY2" fmla="*/ 456495 h 457462"/>
                <a:gd name="connsiteX3" fmla="*/ 498545 w 521758"/>
                <a:gd name="connsiteY3" fmla="*/ 432432 h 457462"/>
                <a:gd name="connsiteX4" fmla="*/ 514587 w 521758"/>
                <a:gd name="connsiteY4" fmla="*/ 247948 h 457462"/>
                <a:gd name="connsiteX5" fmla="*/ 514587 w 521758"/>
                <a:gd name="connsiteY5" fmla="*/ 103569 h 457462"/>
                <a:gd name="connsiteX6" fmla="*/ 426356 w 521758"/>
                <a:gd name="connsiteY6" fmla="*/ 39400 h 457462"/>
                <a:gd name="connsiteX7" fmla="*/ 265935 w 521758"/>
                <a:gd name="connsiteY7" fmla="*/ 7316 h 457462"/>
                <a:gd name="connsiteX8" fmla="*/ 217808 w 521758"/>
                <a:gd name="connsiteY8" fmla="*/ 7316 h 457462"/>
                <a:gd name="connsiteX9" fmla="*/ 105514 w 521758"/>
                <a:gd name="connsiteY9" fmla="*/ 87527 h 457462"/>
                <a:gd name="connsiteX10" fmla="*/ 9261 w 521758"/>
                <a:gd name="connsiteY10" fmla="*/ 183779 h 457462"/>
                <a:gd name="connsiteX11" fmla="*/ 9261 w 521758"/>
                <a:gd name="connsiteY11" fmla="*/ 255969 h 457462"/>
                <a:gd name="connsiteX12" fmla="*/ 49366 w 521758"/>
                <a:gd name="connsiteY12" fmla="*/ 360242 h 45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758" h="457462">
                  <a:moveTo>
                    <a:pt x="49366" y="360242"/>
                  </a:moveTo>
                  <a:cubicBezTo>
                    <a:pt x="76103" y="390989"/>
                    <a:pt x="109524" y="424411"/>
                    <a:pt x="169682" y="440453"/>
                  </a:cubicBezTo>
                  <a:cubicBezTo>
                    <a:pt x="229840" y="456495"/>
                    <a:pt x="355504" y="457832"/>
                    <a:pt x="410314" y="456495"/>
                  </a:cubicBezTo>
                  <a:cubicBezTo>
                    <a:pt x="465125" y="455158"/>
                    <a:pt x="481166" y="467190"/>
                    <a:pt x="498545" y="432432"/>
                  </a:cubicBezTo>
                  <a:cubicBezTo>
                    <a:pt x="515924" y="397674"/>
                    <a:pt x="511913" y="302758"/>
                    <a:pt x="514587" y="247948"/>
                  </a:cubicBezTo>
                  <a:cubicBezTo>
                    <a:pt x="517261" y="193138"/>
                    <a:pt x="529292" y="138327"/>
                    <a:pt x="514587" y="103569"/>
                  </a:cubicBezTo>
                  <a:cubicBezTo>
                    <a:pt x="499882" y="68811"/>
                    <a:pt x="467798" y="55442"/>
                    <a:pt x="426356" y="39400"/>
                  </a:cubicBezTo>
                  <a:cubicBezTo>
                    <a:pt x="384914" y="23358"/>
                    <a:pt x="300693" y="12663"/>
                    <a:pt x="265935" y="7316"/>
                  </a:cubicBezTo>
                  <a:cubicBezTo>
                    <a:pt x="231177" y="1969"/>
                    <a:pt x="244545" y="-6052"/>
                    <a:pt x="217808" y="7316"/>
                  </a:cubicBezTo>
                  <a:cubicBezTo>
                    <a:pt x="191071" y="20684"/>
                    <a:pt x="140272" y="58117"/>
                    <a:pt x="105514" y="87527"/>
                  </a:cubicBezTo>
                  <a:cubicBezTo>
                    <a:pt x="70756" y="116937"/>
                    <a:pt x="25303" y="159716"/>
                    <a:pt x="9261" y="183779"/>
                  </a:cubicBezTo>
                  <a:cubicBezTo>
                    <a:pt x="-6781" y="207842"/>
                    <a:pt x="1240" y="225222"/>
                    <a:pt x="9261" y="255969"/>
                  </a:cubicBezTo>
                  <a:cubicBezTo>
                    <a:pt x="17282" y="286716"/>
                    <a:pt x="22629" y="329495"/>
                    <a:pt x="49366" y="360242"/>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75" name="Group 1374"/>
          <p:cNvGrpSpPr/>
          <p:nvPr/>
        </p:nvGrpSpPr>
        <p:grpSpPr>
          <a:xfrm>
            <a:off x="6897897" y="5999117"/>
            <a:ext cx="1429387" cy="554557"/>
            <a:chOff x="831806" y="3524519"/>
            <a:chExt cx="752119" cy="1279274"/>
          </a:xfrm>
        </p:grpSpPr>
        <p:sp>
          <p:nvSpPr>
            <p:cNvPr id="1376" name="Rectangle 1375"/>
            <p:cNvSpPr/>
            <p:nvPr/>
          </p:nvSpPr>
          <p:spPr bwMode="auto">
            <a:xfrm>
              <a:off x="831806" y="3541922"/>
              <a:ext cx="752119" cy="12618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Provide customers with peace of mind regarding vehicle functionality</a:t>
              </a:r>
            </a:p>
          </p:txBody>
        </p:sp>
        <p:cxnSp>
          <p:nvCxnSpPr>
            <p:cNvPr id="1377" name="Straight Connector 1376"/>
            <p:cNvCxnSpPr/>
            <p:nvPr/>
          </p:nvCxnSpPr>
          <p:spPr>
            <a:xfrm flipV="1">
              <a:off x="831806" y="3524519"/>
              <a:ext cx="0" cy="1261872"/>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489" name="Group 1488"/>
          <p:cNvGrpSpPr/>
          <p:nvPr/>
        </p:nvGrpSpPr>
        <p:grpSpPr>
          <a:xfrm>
            <a:off x="3302153" y="1429355"/>
            <a:ext cx="1114318" cy="1083300"/>
            <a:chOff x="831806" y="3541920"/>
            <a:chExt cx="752119" cy="1261873"/>
          </a:xfrm>
        </p:grpSpPr>
        <p:sp>
          <p:nvSpPr>
            <p:cNvPr id="1490" name="Rectangle 1489"/>
            <p:cNvSpPr/>
            <p:nvPr/>
          </p:nvSpPr>
          <p:spPr bwMode="auto">
            <a:xfrm>
              <a:off x="831806" y="3541922"/>
              <a:ext cx="752119" cy="12618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Improve brand loyalty with an ongoing customer relationship and differentiated services</a:t>
              </a:r>
            </a:p>
          </p:txBody>
        </p:sp>
        <p:cxnSp>
          <p:nvCxnSpPr>
            <p:cNvPr id="1491" name="Straight Connector 1490"/>
            <p:cNvCxnSpPr/>
            <p:nvPr/>
          </p:nvCxnSpPr>
          <p:spPr>
            <a:xfrm flipV="1">
              <a:off x="831806" y="3541920"/>
              <a:ext cx="0" cy="1261873"/>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493" name="Group 1492"/>
          <p:cNvGrpSpPr/>
          <p:nvPr/>
        </p:nvGrpSpPr>
        <p:grpSpPr>
          <a:xfrm>
            <a:off x="6183220" y="1201158"/>
            <a:ext cx="2827493" cy="1066967"/>
            <a:chOff x="265104" y="5471217"/>
            <a:chExt cx="2559623" cy="965884"/>
          </a:xfrm>
        </p:grpSpPr>
        <p:sp>
          <p:nvSpPr>
            <p:cNvPr id="1494" name="Rectangle 6"/>
            <p:cNvSpPr>
              <a:spLocks noChangeArrowheads="1"/>
            </p:cNvSpPr>
            <p:nvPr/>
          </p:nvSpPr>
          <p:spPr bwMode="auto">
            <a:xfrm>
              <a:off x="265104" y="5473542"/>
              <a:ext cx="2558252" cy="330097"/>
            </a:xfrm>
            <a:prstGeom prst="rect">
              <a:avLst/>
            </a:prstGeom>
            <a:gradFill flip="none" rotWithShape="1">
              <a:gsLst>
                <a:gs pos="79000">
                  <a:schemeClr val="tx1">
                    <a:lumMod val="75000"/>
                    <a:lumOff val="25000"/>
                  </a:schemeClr>
                </a:gs>
                <a:gs pos="0">
                  <a:schemeClr val="tx1">
                    <a:alpha val="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5" name="Freeform 7"/>
            <p:cNvSpPr>
              <a:spLocks/>
            </p:cNvSpPr>
            <p:nvPr/>
          </p:nvSpPr>
          <p:spPr bwMode="auto">
            <a:xfrm>
              <a:off x="2304964" y="5702518"/>
              <a:ext cx="476549" cy="202243"/>
            </a:xfrm>
            <a:custGeom>
              <a:avLst/>
              <a:gdLst>
                <a:gd name="T0" fmla="*/ 0 w 820"/>
                <a:gd name="T1" fmla="*/ 152 h 348"/>
                <a:gd name="T2" fmla="*/ 450 w 820"/>
                <a:gd name="T3" fmla="*/ 0 h 348"/>
                <a:gd name="T4" fmla="*/ 820 w 820"/>
                <a:gd name="T5" fmla="*/ 48 h 348"/>
                <a:gd name="T6" fmla="*/ 820 w 820"/>
                <a:gd name="T7" fmla="*/ 348 h 348"/>
                <a:gd name="T8" fmla="*/ 378 w 820"/>
                <a:gd name="T9" fmla="*/ 348 h 348"/>
                <a:gd name="T10" fmla="*/ 24 w 820"/>
                <a:gd name="T11" fmla="*/ 276 h 348"/>
                <a:gd name="T12" fmla="*/ 0 w 820"/>
                <a:gd name="T13" fmla="*/ 152 h 348"/>
              </a:gdLst>
              <a:ahLst/>
              <a:cxnLst>
                <a:cxn ang="0">
                  <a:pos x="T0" y="T1"/>
                </a:cxn>
                <a:cxn ang="0">
                  <a:pos x="T2" y="T3"/>
                </a:cxn>
                <a:cxn ang="0">
                  <a:pos x="T4" y="T5"/>
                </a:cxn>
                <a:cxn ang="0">
                  <a:pos x="T6" y="T7"/>
                </a:cxn>
                <a:cxn ang="0">
                  <a:pos x="T8" y="T9"/>
                </a:cxn>
                <a:cxn ang="0">
                  <a:pos x="T10" y="T11"/>
                </a:cxn>
                <a:cxn ang="0">
                  <a:pos x="T12" y="T13"/>
                </a:cxn>
              </a:cxnLst>
              <a:rect l="0" t="0" r="r" b="b"/>
              <a:pathLst>
                <a:path w="820" h="348">
                  <a:moveTo>
                    <a:pt x="0" y="152"/>
                  </a:moveTo>
                  <a:lnTo>
                    <a:pt x="450" y="0"/>
                  </a:lnTo>
                  <a:lnTo>
                    <a:pt x="820" y="48"/>
                  </a:lnTo>
                  <a:lnTo>
                    <a:pt x="820" y="348"/>
                  </a:lnTo>
                  <a:lnTo>
                    <a:pt x="378" y="348"/>
                  </a:lnTo>
                  <a:lnTo>
                    <a:pt x="24" y="276"/>
                  </a:lnTo>
                  <a:lnTo>
                    <a:pt x="0" y="152"/>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6" name="Freeform 8"/>
            <p:cNvSpPr>
              <a:spLocks/>
            </p:cNvSpPr>
            <p:nvPr/>
          </p:nvSpPr>
          <p:spPr bwMode="auto">
            <a:xfrm>
              <a:off x="2504882" y="5722277"/>
              <a:ext cx="259196" cy="162724"/>
            </a:xfrm>
            <a:custGeom>
              <a:avLst/>
              <a:gdLst>
                <a:gd name="T0" fmla="*/ 0 w 446"/>
                <a:gd name="T1" fmla="*/ 108 h 280"/>
                <a:gd name="T2" fmla="*/ 0 w 446"/>
                <a:gd name="T3" fmla="*/ 108 h 280"/>
                <a:gd name="T4" fmla="*/ 24 w 446"/>
                <a:gd name="T5" fmla="*/ 84 h 280"/>
                <a:gd name="T6" fmla="*/ 64 w 446"/>
                <a:gd name="T7" fmla="*/ 48 h 280"/>
                <a:gd name="T8" fmla="*/ 118 w 446"/>
                <a:gd name="T9" fmla="*/ 0 h 280"/>
                <a:gd name="T10" fmla="*/ 446 w 446"/>
                <a:gd name="T11" fmla="*/ 54 h 280"/>
                <a:gd name="T12" fmla="*/ 446 w 446"/>
                <a:gd name="T13" fmla="*/ 280 h 280"/>
                <a:gd name="T14" fmla="*/ 54 w 446"/>
                <a:gd name="T15" fmla="*/ 280 h 280"/>
                <a:gd name="T16" fmla="*/ 0 w 446"/>
                <a:gd name="T17" fmla="*/ 10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6" h="280">
                  <a:moveTo>
                    <a:pt x="0" y="108"/>
                  </a:moveTo>
                  <a:lnTo>
                    <a:pt x="0" y="108"/>
                  </a:lnTo>
                  <a:lnTo>
                    <a:pt x="24" y="84"/>
                  </a:lnTo>
                  <a:lnTo>
                    <a:pt x="64" y="48"/>
                  </a:lnTo>
                  <a:lnTo>
                    <a:pt x="118" y="0"/>
                  </a:lnTo>
                  <a:lnTo>
                    <a:pt x="446" y="54"/>
                  </a:lnTo>
                  <a:lnTo>
                    <a:pt x="446" y="280"/>
                  </a:lnTo>
                  <a:lnTo>
                    <a:pt x="54" y="280"/>
                  </a:lnTo>
                  <a:lnTo>
                    <a:pt x="0" y="108"/>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7" name="Freeform 9"/>
            <p:cNvSpPr>
              <a:spLocks/>
            </p:cNvSpPr>
            <p:nvPr/>
          </p:nvSpPr>
          <p:spPr bwMode="auto">
            <a:xfrm>
              <a:off x="324141" y="5718582"/>
              <a:ext cx="438192" cy="202243"/>
            </a:xfrm>
            <a:custGeom>
              <a:avLst/>
              <a:gdLst>
                <a:gd name="T0" fmla="*/ 754 w 754"/>
                <a:gd name="T1" fmla="*/ 152 h 348"/>
                <a:gd name="T2" fmla="*/ 340 w 754"/>
                <a:gd name="T3" fmla="*/ 0 h 348"/>
                <a:gd name="T4" fmla="*/ 0 w 754"/>
                <a:gd name="T5" fmla="*/ 48 h 348"/>
                <a:gd name="T6" fmla="*/ 0 w 754"/>
                <a:gd name="T7" fmla="*/ 348 h 348"/>
                <a:gd name="T8" fmla="*/ 406 w 754"/>
                <a:gd name="T9" fmla="*/ 348 h 348"/>
                <a:gd name="T10" fmla="*/ 732 w 754"/>
                <a:gd name="T11" fmla="*/ 276 h 348"/>
                <a:gd name="T12" fmla="*/ 754 w 754"/>
                <a:gd name="T13" fmla="*/ 152 h 348"/>
              </a:gdLst>
              <a:ahLst/>
              <a:cxnLst>
                <a:cxn ang="0">
                  <a:pos x="T0" y="T1"/>
                </a:cxn>
                <a:cxn ang="0">
                  <a:pos x="T2" y="T3"/>
                </a:cxn>
                <a:cxn ang="0">
                  <a:pos x="T4" y="T5"/>
                </a:cxn>
                <a:cxn ang="0">
                  <a:pos x="T6" y="T7"/>
                </a:cxn>
                <a:cxn ang="0">
                  <a:pos x="T8" y="T9"/>
                </a:cxn>
                <a:cxn ang="0">
                  <a:pos x="T10" y="T11"/>
                </a:cxn>
                <a:cxn ang="0">
                  <a:pos x="T12" y="T13"/>
                </a:cxn>
              </a:cxnLst>
              <a:rect l="0" t="0" r="r" b="b"/>
              <a:pathLst>
                <a:path w="754" h="348">
                  <a:moveTo>
                    <a:pt x="754" y="152"/>
                  </a:moveTo>
                  <a:lnTo>
                    <a:pt x="340" y="0"/>
                  </a:lnTo>
                  <a:lnTo>
                    <a:pt x="0" y="48"/>
                  </a:lnTo>
                  <a:lnTo>
                    <a:pt x="0" y="348"/>
                  </a:lnTo>
                  <a:lnTo>
                    <a:pt x="406" y="348"/>
                  </a:lnTo>
                  <a:lnTo>
                    <a:pt x="732" y="276"/>
                  </a:lnTo>
                  <a:lnTo>
                    <a:pt x="754" y="152"/>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8" name="Freeform 10"/>
            <p:cNvSpPr>
              <a:spLocks/>
            </p:cNvSpPr>
            <p:nvPr/>
          </p:nvSpPr>
          <p:spPr bwMode="auto">
            <a:xfrm>
              <a:off x="340413" y="5738341"/>
              <a:ext cx="238274" cy="162724"/>
            </a:xfrm>
            <a:custGeom>
              <a:avLst/>
              <a:gdLst>
                <a:gd name="T0" fmla="*/ 410 w 410"/>
                <a:gd name="T1" fmla="*/ 108 h 280"/>
                <a:gd name="T2" fmla="*/ 410 w 410"/>
                <a:gd name="T3" fmla="*/ 108 h 280"/>
                <a:gd name="T4" fmla="*/ 388 w 410"/>
                <a:gd name="T5" fmla="*/ 84 h 280"/>
                <a:gd name="T6" fmla="*/ 352 w 410"/>
                <a:gd name="T7" fmla="*/ 48 h 280"/>
                <a:gd name="T8" fmla="*/ 302 w 410"/>
                <a:gd name="T9" fmla="*/ 0 h 280"/>
                <a:gd name="T10" fmla="*/ 0 w 410"/>
                <a:gd name="T11" fmla="*/ 54 h 280"/>
                <a:gd name="T12" fmla="*/ 0 w 410"/>
                <a:gd name="T13" fmla="*/ 280 h 280"/>
                <a:gd name="T14" fmla="*/ 360 w 410"/>
                <a:gd name="T15" fmla="*/ 280 h 280"/>
                <a:gd name="T16" fmla="*/ 410 w 410"/>
                <a:gd name="T17" fmla="*/ 10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280">
                  <a:moveTo>
                    <a:pt x="410" y="108"/>
                  </a:moveTo>
                  <a:lnTo>
                    <a:pt x="410" y="108"/>
                  </a:lnTo>
                  <a:lnTo>
                    <a:pt x="388" y="84"/>
                  </a:lnTo>
                  <a:lnTo>
                    <a:pt x="352" y="48"/>
                  </a:lnTo>
                  <a:lnTo>
                    <a:pt x="302" y="0"/>
                  </a:lnTo>
                  <a:lnTo>
                    <a:pt x="0" y="54"/>
                  </a:lnTo>
                  <a:lnTo>
                    <a:pt x="0" y="280"/>
                  </a:lnTo>
                  <a:lnTo>
                    <a:pt x="360" y="280"/>
                  </a:lnTo>
                  <a:lnTo>
                    <a:pt x="410" y="108"/>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99" name="Freeform 11"/>
            <p:cNvSpPr>
              <a:spLocks/>
            </p:cNvSpPr>
            <p:nvPr/>
          </p:nvSpPr>
          <p:spPr bwMode="auto">
            <a:xfrm>
              <a:off x="265104" y="5746686"/>
              <a:ext cx="2557090" cy="690415"/>
            </a:xfrm>
            <a:custGeom>
              <a:avLst/>
              <a:gdLst>
                <a:gd name="T0" fmla="*/ 0 w 4400"/>
                <a:gd name="T1" fmla="*/ 400 h 1188"/>
                <a:gd name="T2" fmla="*/ 1190 w 4400"/>
                <a:gd name="T3" fmla="*/ 72 h 1188"/>
                <a:gd name="T4" fmla="*/ 1190 w 4400"/>
                <a:gd name="T5" fmla="*/ 72 h 1188"/>
                <a:gd name="T6" fmla="*/ 1236 w 4400"/>
                <a:gd name="T7" fmla="*/ 66 h 1188"/>
                <a:gd name="T8" fmla="*/ 1366 w 4400"/>
                <a:gd name="T9" fmla="*/ 50 h 1188"/>
                <a:gd name="T10" fmla="*/ 1460 w 4400"/>
                <a:gd name="T11" fmla="*/ 40 h 1188"/>
                <a:gd name="T12" fmla="*/ 1570 w 4400"/>
                <a:gd name="T13" fmla="*/ 28 h 1188"/>
                <a:gd name="T14" fmla="*/ 1694 w 4400"/>
                <a:gd name="T15" fmla="*/ 20 h 1188"/>
                <a:gd name="T16" fmla="*/ 1834 w 4400"/>
                <a:gd name="T17" fmla="*/ 10 h 1188"/>
                <a:gd name="T18" fmla="*/ 1986 w 4400"/>
                <a:gd name="T19" fmla="*/ 4 h 1188"/>
                <a:gd name="T20" fmla="*/ 2148 w 4400"/>
                <a:gd name="T21" fmla="*/ 0 h 1188"/>
                <a:gd name="T22" fmla="*/ 2320 w 4400"/>
                <a:gd name="T23" fmla="*/ 0 h 1188"/>
                <a:gd name="T24" fmla="*/ 2500 w 4400"/>
                <a:gd name="T25" fmla="*/ 2 h 1188"/>
                <a:gd name="T26" fmla="*/ 2592 w 4400"/>
                <a:gd name="T27" fmla="*/ 6 h 1188"/>
                <a:gd name="T28" fmla="*/ 2686 w 4400"/>
                <a:gd name="T29" fmla="*/ 12 h 1188"/>
                <a:gd name="T30" fmla="*/ 2782 w 4400"/>
                <a:gd name="T31" fmla="*/ 18 h 1188"/>
                <a:gd name="T32" fmla="*/ 2878 w 4400"/>
                <a:gd name="T33" fmla="*/ 26 h 1188"/>
                <a:gd name="T34" fmla="*/ 2974 w 4400"/>
                <a:gd name="T35" fmla="*/ 34 h 1188"/>
                <a:gd name="T36" fmla="*/ 3072 w 4400"/>
                <a:gd name="T37" fmla="*/ 46 h 1188"/>
                <a:gd name="T38" fmla="*/ 3172 w 4400"/>
                <a:gd name="T39" fmla="*/ 58 h 1188"/>
                <a:gd name="T40" fmla="*/ 3270 w 4400"/>
                <a:gd name="T41" fmla="*/ 72 h 1188"/>
                <a:gd name="T42" fmla="*/ 4400 w 4400"/>
                <a:gd name="T43" fmla="*/ 376 h 1188"/>
                <a:gd name="T44" fmla="*/ 4400 w 4400"/>
                <a:gd name="T45" fmla="*/ 1188 h 1188"/>
                <a:gd name="T46" fmla="*/ 0 w 4400"/>
                <a:gd name="T47" fmla="*/ 1188 h 1188"/>
                <a:gd name="T48" fmla="*/ 0 w 4400"/>
                <a:gd name="T49" fmla="*/ 400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00" h="1188">
                  <a:moveTo>
                    <a:pt x="0" y="400"/>
                  </a:moveTo>
                  <a:lnTo>
                    <a:pt x="1190" y="72"/>
                  </a:lnTo>
                  <a:lnTo>
                    <a:pt x="1190" y="72"/>
                  </a:lnTo>
                  <a:lnTo>
                    <a:pt x="1236" y="66"/>
                  </a:lnTo>
                  <a:lnTo>
                    <a:pt x="1366" y="50"/>
                  </a:lnTo>
                  <a:lnTo>
                    <a:pt x="1460" y="40"/>
                  </a:lnTo>
                  <a:lnTo>
                    <a:pt x="1570" y="28"/>
                  </a:lnTo>
                  <a:lnTo>
                    <a:pt x="1694" y="20"/>
                  </a:lnTo>
                  <a:lnTo>
                    <a:pt x="1834" y="10"/>
                  </a:lnTo>
                  <a:lnTo>
                    <a:pt x="1986" y="4"/>
                  </a:lnTo>
                  <a:lnTo>
                    <a:pt x="2148" y="0"/>
                  </a:lnTo>
                  <a:lnTo>
                    <a:pt x="2320" y="0"/>
                  </a:lnTo>
                  <a:lnTo>
                    <a:pt x="2500" y="2"/>
                  </a:lnTo>
                  <a:lnTo>
                    <a:pt x="2592" y="6"/>
                  </a:lnTo>
                  <a:lnTo>
                    <a:pt x="2686" y="12"/>
                  </a:lnTo>
                  <a:lnTo>
                    <a:pt x="2782" y="18"/>
                  </a:lnTo>
                  <a:lnTo>
                    <a:pt x="2878" y="26"/>
                  </a:lnTo>
                  <a:lnTo>
                    <a:pt x="2974" y="34"/>
                  </a:lnTo>
                  <a:lnTo>
                    <a:pt x="3072" y="46"/>
                  </a:lnTo>
                  <a:lnTo>
                    <a:pt x="3172" y="58"/>
                  </a:lnTo>
                  <a:lnTo>
                    <a:pt x="3270" y="72"/>
                  </a:lnTo>
                  <a:lnTo>
                    <a:pt x="4400" y="376"/>
                  </a:lnTo>
                  <a:lnTo>
                    <a:pt x="4400" y="1188"/>
                  </a:lnTo>
                  <a:lnTo>
                    <a:pt x="0" y="1188"/>
                  </a:lnTo>
                  <a:lnTo>
                    <a:pt x="0" y="40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500" name="Group 1499"/>
            <p:cNvGrpSpPr>
              <a:grpSpLocks noChangeAspect="1"/>
            </p:cNvGrpSpPr>
            <p:nvPr/>
          </p:nvGrpSpPr>
          <p:grpSpPr>
            <a:xfrm rot="20838061">
              <a:off x="858418" y="5873222"/>
              <a:ext cx="120760" cy="83087"/>
              <a:chOff x="3933826" y="3522663"/>
              <a:chExt cx="742950" cy="511175"/>
            </a:xfrm>
            <a:solidFill>
              <a:schemeClr val="accent1"/>
            </a:solidFill>
          </p:grpSpPr>
          <p:sp>
            <p:nvSpPr>
              <p:cNvPr id="1608" name="Freeform 31"/>
              <p:cNvSpPr>
                <a:spLocks noEditPoints="1"/>
              </p:cNvSpPr>
              <p:nvPr/>
            </p:nvSpPr>
            <p:spPr bwMode="auto">
              <a:xfrm>
                <a:off x="3933826" y="3522663"/>
                <a:ext cx="742950" cy="481013"/>
              </a:xfrm>
              <a:custGeom>
                <a:avLst/>
                <a:gdLst>
                  <a:gd name="T0" fmla="*/ 703 w 1873"/>
                  <a:gd name="T1" fmla="*/ 29 h 1216"/>
                  <a:gd name="T2" fmla="*/ 414 w 1873"/>
                  <a:gd name="T3" fmla="*/ 160 h 1216"/>
                  <a:gd name="T4" fmla="*/ 186 w 1873"/>
                  <a:gd name="T5" fmla="*/ 376 h 1216"/>
                  <a:gd name="T6" fmla="*/ 42 w 1873"/>
                  <a:gd name="T7" fmla="*/ 658 h 1216"/>
                  <a:gd name="T8" fmla="*/ 0 w 1873"/>
                  <a:gd name="T9" fmla="*/ 1082 h 1216"/>
                  <a:gd name="T10" fmla="*/ 22 w 1873"/>
                  <a:gd name="T11" fmla="*/ 1156 h 1216"/>
                  <a:gd name="T12" fmla="*/ 94 w 1873"/>
                  <a:gd name="T13" fmla="*/ 1210 h 1216"/>
                  <a:gd name="T14" fmla="*/ 670 w 1873"/>
                  <a:gd name="T15" fmla="*/ 1183 h 1216"/>
                  <a:gd name="T16" fmla="*/ 690 w 1873"/>
                  <a:gd name="T17" fmla="*/ 1092 h 1216"/>
                  <a:gd name="T18" fmla="*/ 767 w 1873"/>
                  <a:gd name="T19" fmla="*/ 991 h 1216"/>
                  <a:gd name="T20" fmla="*/ 857 w 1873"/>
                  <a:gd name="T21" fmla="*/ 942 h 1216"/>
                  <a:gd name="T22" fmla="*/ 936 w 1873"/>
                  <a:gd name="T23" fmla="*/ 930 h 1216"/>
                  <a:gd name="T24" fmla="*/ 1161 w 1873"/>
                  <a:gd name="T25" fmla="*/ 1054 h 1216"/>
                  <a:gd name="T26" fmla="*/ 1203 w 1873"/>
                  <a:gd name="T27" fmla="*/ 1196 h 1216"/>
                  <a:gd name="T28" fmla="*/ 1791 w 1873"/>
                  <a:gd name="T29" fmla="*/ 1205 h 1216"/>
                  <a:gd name="T30" fmla="*/ 1857 w 1873"/>
                  <a:gd name="T31" fmla="*/ 1145 h 1216"/>
                  <a:gd name="T32" fmla="*/ 1873 w 1873"/>
                  <a:gd name="T33" fmla="*/ 936 h 1216"/>
                  <a:gd name="T34" fmla="*/ 1815 w 1873"/>
                  <a:gd name="T35" fmla="*/ 615 h 1216"/>
                  <a:gd name="T36" fmla="*/ 1659 w 1873"/>
                  <a:gd name="T37" fmla="*/ 341 h 1216"/>
                  <a:gd name="T38" fmla="*/ 1421 w 1873"/>
                  <a:gd name="T39" fmla="*/ 135 h 1216"/>
                  <a:gd name="T40" fmla="*/ 1125 w 1873"/>
                  <a:gd name="T41" fmla="*/ 19 h 1216"/>
                  <a:gd name="T42" fmla="*/ 326 w 1873"/>
                  <a:gd name="T43" fmla="*/ 970 h 1216"/>
                  <a:gd name="T44" fmla="*/ 310 w 1873"/>
                  <a:gd name="T45" fmla="*/ 992 h 1216"/>
                  <a:gd name="T46" fmla="*/ 120 w 1873"/>
                  <a:gd name="T47" fmla="*/ 985 h 1216"/>
                  <a:gd name="T48" fmla="*/ 114 w 1873"/>
                  <a:gd name="T49" fmla="*/ 902 h 1216"/>
                  <a:gd name="T50" fmla="*/ 136 w 1873"/>
                  <a:gd name="T51" fmla="*/ 886 h 1216"/>
                  <a:gd name="T52" fmla="*/ 323 w 1873"/>
                  <a:gd name="T53" fmla="*/ 895 h 1216"/>
                  <a:gd name="T54" fmla="*/ 392 w 1873"/>
                  <a:gd name="T55" fmla="*/ 663 h 1216"/>
                  <a:gd name="T56" fmla="*/ 366 w 1873"/>
                  <a:gd name="T57" fmla="*/ 672 h 1216"/>
                  <a:gd name="T58" fmla="*/ 206 w 1873"/>
                  <a:gd name="T59" fmla="*/ 573 h 1216"/>
                  <a:gd name="T60" fmla="*/ 242 w 1873"/>
                  <a:gd name="T61" fmla="*/ 499 h 1216"/>
                  <a:gd name="T62" fmla="*/ 268 w 1873"/>
                  <a:gd name="T63" fmla="*/ 494 h 1216"/>
                  <a:gd name="T64" fmla="*/ 426 w 1873"/>
                  <a:gd name="T65" fmla="*/ 596 h 1216"/>
                  <a:gd name="T66" fmla="*/ 602 w 1873"/>
                  <a:gd name="T67" fmla="*/ 430 h 1216"/>
                  <a:gd name="T68" fmla="*/ 575 w 1873"/>
                  <a:gd name="T69" fmla="*/ 425 h 1216"/>
                  <a:gd name="T70" fmla="*/ 486 w 1873"/>
                  <a:gd name="T71" fmla="*/ 259 h 1216"/>
                  <a:gd name="T72" fmla="*/ 555 w 1873"/>
                  <a:gd name="T73" fmla="*/ 212 h 1216"/>
                  <a:gd name="T74" fmla="*/ 579 w 1873"/>
                  <a:gd name="T75" fmla="*/ 222 h 1216"/>
                  <a:gd name="T76" fmla="*/ 666 w 1873"/>
                  <a:gd name="T77" fmla="*/ 388 h 1216"/>
                  <a:gd name="T78" fmla="*/ 985 w 1873"/>
                  <a:gd name="T79" fmla="*/ 315 h 1216"/>
                  <a:gd name="T80" fmla="*/ 964 w 1873"/>
                  <a:gd name="T81" fmla="*/ 332 h 1216"/>
                  <a:gd name="T82" fmla="*/ 883 w 1873"/>
                  <a:gd name="T83" fmla="*/ 323 h 1216"/>
                  <a:gd name="T84" fmla="*/ 881 w 1873"/>
                  <a:gd name="T85" fmla="*/ 133 h 1216"/>
                  <a:gd name="T86" fmla="*/ 964 w 1873"/>
                  <a:gd name="T87" fmla="*/ 120 h 1216"/>
                  <a:gd name="T88" fmla="*/ 984 w 1873"/>
                  <a:gd name="T89" fmla="*/ 133 h 1216"/>
                  <a:gd name="T90" fmla="*/ 1290 w 1873"/>
                  <a:gd name="T91" fmla="*/ 425 h 1216"/>
                  <a:gd name="T92" fmla="*/ 1263 w 1873"/>
                  <a:gd name="T93" fmla="*/ 430 h 1216"/>
                  <a:gd name="T94" fmla="*/ 1198 w 1873"/>
                  <a:gd name="T95" fmla="*/ 380 h 1216"/>
                  <a:gd name="T96" fmla="*/ 1291 w 1873"/>
                  <a:gd name="T97" fmla="*/ 216 h 1216"/>
                  <a:gd name="T98" fmla="*/ 1370 w 1873"/>
                  <a:gd name="T99" fmla="*/ 245 h 1216"/>
                  <a:gd name="T100" fmla="*/ 1380 w 1873"/>
                  <a:gd name="T101" fmla="*/ 267 h 1216"/>
                  <a:gd name="T102" fmla="*/ 1440 w 1873"/>
                  <a:gd name="T103" fmla="*/ 604 h 1216"/>
                  <a:gd name="T104" fmla="*/ 1449 w 1873"/>
                  <a:gd name="T105" fmla="*/ 579 h 1216"/>
                  <a:gd name="T106" fmla="*/ 1616 w 1873"/>
                  <a:gd name="T107" fmla="*/ 493 h 1216"/>
                  <a:gd name="T108" fmla="*/ 1660 w 1873"/>
                  <a:gd name="T109" fmla="*/ 564 h 1216"/>
                  <a:gd name="T110" fmla="*/ 1503 w 1873"/>
                  <a:gd name="T111" fmla="*/ 670 h 1216"/>
                  <a:gd name="T112" fmla="*/ 1479 w 1873"/>
                  <a:gd name="T113" fmla="*/ 669 h 1216"/>
                  <a:gd name="T114" fmla="*/ 1750 w 1873"/>
                  <a:gd name="T115" fmla="*/ 978 h 1216"/>
                  <a:gd name="T116" fmla="*/ 1560 w 1873"/>
                  <a:gd name="T117" fmla="*/ 992 h 1216"/>
                  <a:gd name="T118" fmla="*/ 1541 w 1873"/>
                  <a:gd name="T119" fmla="*/ 978 h 1216"/>
                  <a:gd name="T120" fmla="*/ 1543 w 1873"/>
                  <a:gd name="T121" fmla="*/ 895 h 1216"/>
                  <a:gd name="T122" fmla="*/ 1730 w 1873"/>
                  <a:gd name="T123" fmla="*/ 886 h 1216"/>
                  <a:gd name="T124" fmla="*/ 1751 w 1873"/>
                  <a:gd name="T125" fmla="*/ 902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3" h="1216">
                    <a:moveTo>
                      <a:pt x="936" y="0"/>
                    </a:moveTo>
                    <a:lnTo>
                      <a:pt x="936" y="0"/>
                    </a:lnTo>
                    <a:lnTo>
                      <a:pt x="888" y="1"/>
                    </a:lnTo>
                    <a:lnTo>
                      <a:pt x="841" y="5"/>
                    </a:lnTo>
                    <a:lnTo>
                      <a:pt x="794" y="11"/>
                    </a:lnTo>
                    <a:lnTo>
                      <a:pt x="748" y="19"/>
                    </a:lnTo>
                    <a:lnTo>
                      <a:pt x="703" y="29"/>
                    </a:lnTo>
                    <a:lnTo>
                      <a:pt x="659" y="43"/>
                    </a:lnTo>
                    <a:lnTo>
                      <a:pt x="614" y="57"/>
                    </a:lnTo>
                    <a:lnTo>
                      <a:pt x="572" y="73"/>
                    </a:lnTo>
                    <a:lnTo>
                      <a:pt x="531" y="92"/>
                    </a:lnTo>
                    <a:lnTo>
                      <a:pt x="491" y="114"/>
                    </a:lnTo>
                    <a:lnTo>
                      <a:pt x="451" y="135"/>
                    </a:lnTo>
                    <a:lnTo>
                      <a:pt x="414" y="160"/>
                    </a:lnTo>
                    <a:lnTo>
                      <a:pt x="377" y="187"/>
                    </a:lnTo>
                    <a:lnTo>
                      <a:pt x="342" y="214"/>
                    </a:lnTo>
                    <a:lnTo>
                      <a:pt x="307" y="243"/>
                    </a:lnTo>
                    <a:lnTo>
                      <a:pt x="275" y="274"/>
                    </a:lnTo>
                    <a:lnTo>
                      <a:pt x="244" y="307"/>
                    </a:lnTo>
                    <a:lnTo>
                      <a:pt x="214" y="341"/>
                    </a:lnTo>
                    <a:lnTo>
                      <a:pt x="186" y="376"/>
                    </a:lnTo>
                    <a:lnTo>
                      <a:pt x="160" y="413"/>
                    </a:lnTo>
                    <a:lnTo>
                      <a:pt x="136" y="451"/>
                    </a:lnTo>
                    <a:lnTo>
                      <a:pt x="113" y="490"/>
                    </a:lnTo>
                    <a:lnTo>
                      <a:pt x="92" y="530"/>
                    </a:lnTo>
                    <a:lnTo>
                      <a:pt x="74" y="573"/>
                    </a:lnTo>
                    <a:lnTo>
                      <a:pt x="56" y="615"/>
                    </a:lnTo>
                    <a:lnTo>
                      <a:pt x="42" y="658"/>
                    </a:lnTo>
                    <a:lnTo>
                      <a:pt x="30" y="702"/>
                    </a:lnTo>
                    <a:lnTo>
                      <a:pt x="19" y="748"/>
                    </a:lnTo>
                    <a:lnTo>
                      <a:pt x="11" y="794"/>
                    </a:lnTo>
                    <a:lnTo>
                      <a:pt x="5" y="840"/>
                    </a:lnTo>
                    <a:lnTo>
                      <a:pt x="1" y="889"/>
                    </a:lnTo>
                    <a:lnTo>
                      <a:pt x="0" y="936"/>
                    </a:lnTo>
                    <a:lnTo>
                      <a:pt x="0" y="1082"/>
                    </a:lnTo>
                    <a:lnTo>
                      <a:pt x="0" y="1082"/>
                    </a:lnTo>
                    <a:lnTo>
                      <a:pt x="1" y="1096"/>
                    </a:lnTo>
                    <a:lnTo>
                      <a:pt x="3" y="1109"/>
                    </a:lnTo>
                    <a:lnTo>
                      <a:pt x="6" y="1121"/>
                    </a:lnTo>
                    <a:lnTo>
                      <a:pt x="10" y="1134"/>
                    </a:lnTo>
                    <a:lnTo>
                      <a:pt x="16" y="1145"/>
                    </a:lnTo>
                    <a:lnTo>
                      <a:pt x="22" y="1156"/>
                    </a:lnTo>
                    <a:lnTo>
                      <a:pt x="31" y="1167"/>
                    </a:lnTo>
                    <a:lnTo>
                      <a:pt x="39" y="1176"/>
                    </a:lnTo>
                    <a:lnTo>
                      <a:pt x="49" y="1185"/>
                    </a:lnTo>
                    <a:lnTo>
                      <a:pt x="59" y="1192"/>
                    </a:lnTo>
                    <a:lnTo>
                      <a:pt x="70" y="1199"/>
                    </a:lnTo>
                    <a:lnTo>
                      <a:pt x="82" y="1205"/>
                    </a:lnTo>
                    <a:lnTo>
                      <a:pt x="94" y="1210"/>
                    </a:lnTo>
                    <a:lnTo>
                      <a:pt x="107" y="1213"/>
                    </a:lnTo>
                    <a:lnTo>
                      <a:pt x="120" y="1215"/>
                    </a:lnTo>
                    <a:lnTo>
                      <a:pt x="134" y="1216"/>
                    </a:lnTo>
                    <a:lnTo>
                      <a:pt x="670" y="1216"/>
                    </a:lnTo>
                    <a:lnTo>
                      <a:pt x="670" y="1196"/>
                    </a:lnTo>
                    <a:lnTo>
                      <a:pt x="670" y="1196"/>
                    </a:lnTo>
                    <a:lnTo>
                      <a:pt x="670" y="1183"/>
                    </a:lnTo>
                    <a:lnTo>
                      <a:pt x="671" y="1170"/>
                    </a:lnTo>
                    <a:lnTo>
                      <a:pt x="673" y="1156"/>
                    </a:lnTo>
                    <a:lnTo>
                      <a:pt x="675" y="1143"/>
                    </a:lnTo>
                    <a:lnTo>
                      <a:pt x="678" y="1129"/>
                    </a:lnTo>
                    <a:lnTo>
                      <a:pt x="681" y="1117"/>
                    </a:lnTo>
                    <a:lnTo>
                      <a:pt x="685" y="1105"/>
                    </a:lnTo>
                    <a:lnTo>
                      <a:pt x="690" y="1092"/>
                    </a:lnTo>
                    <a:lnTo>
                      <a:pt x="696" y="1081"/>
                    </a:lnTo>
                    <a:lnTo>
                      <a:pt x="702" y="1070"/>
                    </a:lnTo>
                    <a:lnTo>
                      <a:pt x="708" y="1058"/>
                    </a:lnTo>
                    <a:lnTo>
                      <a:pt x="715" y="1047"/>
                    </a:lnTo>
                    <a:lnTo>
                      <a:pt x="731" y="1027"/>
                    </a:lnTo>
                    <a:lnTo>
                      <a:pt x="748" y="1008"/>
                    </a:lnTo>
                    <a:lnTo>
                      <a:pt x="767" y="991"/>
                    </a:lnTo>
                    <a:lnTo>
                      <a:pt x="787" y="975"/>
                    </a:lnTo>
                    <a:lnTo>
                      <a:pt x="799" y="968"/>
                    </a:lnTo>
                    <a:lnTo>
                      <a:pt x="809" y="962"/>
                    </a:lnTo>
                    <a:lnTo>
                      <a:pt x="821" y="956"/>
                    </a:lnTo>
                    <a:lnTo>
                      <a:pt x="832" y="950"/>
                    </a:lnTo>
                    <a:lnTo>
                      <a:pt x="845" y="946"/>
                    </a:lnTo>
                    <a:lnTo>
                      <a:pt x="857" y="942"/>
                    </a:lnTo>
                    <a:lnTo>
                      <a:pt x="870" y="938"/>
                    </a:lnTo>
                    <a:lnTo>
                      <a:pt x="883" y="935"/>
                    </a:lnTo>
                    <a:lnTo>
                      <a:pt x="895" y="933"/>
                    </a:lnTo>
                    <a:lnTo>
                      <a:pt x="909" y="931"/>
                    </a:lnTo>
                    <a:lnTo>
                      <a:pt x="923" y="930"/>
                    </a:lnTo>
                    <a:lnTo>
                      <a:pt x="936" y="930"/>
                    </a:lnTo>
                    <a:lnTo>
                      <a:pt x="936" y="930"/>
                    </a:lnTo>
                    <a:lnTo>
                      <a:pt x="948" y="931"/>
                    </a:lnTo>
                    <a:lnTo>
                      <a:pt x="959" y="932"/>
                    </a:lnTo>
                    <a:lnTo>
                      <a:pt x="1316" y="515"/>
                    </a:lnTo>
                    <a:lnTo>
                      <a:pt x="1351" y="537"/>
                    </a:lnTo>
                    <a:lnTo>
                      <a:pt x="1148" y="1037"/>
                    </a:lnTo>
                    <a:lnTo>
                      <a:pt x="1148" y="1037"/>
                    </a:lnTo>
                    <a:lnTo>
                      <a:pt x="1161" y="1054"/>
                    </a:lnTo>
                    <a:lnTo>
                      <a:pt x="1171" y="1072"/>
                    </a:lnTo>
                    <a:lnTo>
                      <a:pt x="1180" y="1091"/>
                    </a:lnTo>
                    <a:lnTo>
                      <a:pt x="1189" y="1111"/>
                    </a:lnTo>
                    <a:lnTo>
                      <a:pt x="1195" y="1132"/>
                    </a:lnTo>
                    <a:lnTo>
                      <a:pt x="1199" y="1152"/>
                    </a:lnTo>
                    <a:lnTo>
                      <a:pt x="1202" y="1174"/>
                    </a:lnTo>
                    <a:lnTo>
                      <a:pt x="1203" y="1196"/>
                    </a:lnTo>
                    <a:lnTo>
                      <a:pt x="1203" y="1216"/>
                    </a:lnTo>
                    <a:lnTo>
                      <a:pt x="1739" y="1216"/>
                    </a:lnTo>
                    <a:lnTo>
                      <a:pt x="1739" y="1216"/>
                    </a:lnTo>
                    <a:lnTo>
                      <a:pt x="1753" y="1215"/>
                    </a:lnTo>
                    <a:lnTo>
                      <a:pt x="1766" y="1213"/>
                    </a:lnTo>
                    <a:lnTo>
                      <a:pt x="1778" y="1210"/>
                    </a:lnTo>
                    <a:lnTo>
                      <a:pt x="1791" y="1205"/>
                    </a:lnTo>
                    <a:lnTo>
                      <a:pt x="1803" y="1199"/>
                    </a:lnTo>
                    <a:lnTo>
                      <a:pt x="1813" y="1192"/>
                    </a:lnTo>
                    <a:lnTo>
                      <a:pt x="1824" y="1185"/>
                    </a:lnTo>
                    <a:lnTo>
                      <a:pt x="1834" y="1176"/>
                    </a:lnTo>
                    <a:lnTo>
                      <a:pt x="1842" y="1167"/>
                    </a:lnTo>
                    <a:lnTo>
                      <a:pt x="1850" y="1156"/>
                    </a:lnTo>
                    <a:lnTo>
                      <a:pt x="1857" y="1145"/>
                    </a:lnTo>
                    <a:lnTo>
                      <a:pt x="1863" y="1134"/>
                    </a:lnTo>
                    <a:lnTo>
                      <a:pt x="1867" y="1121"/>
                    </a:lnTo>
                    <a:lnTo>
                      <a:pt x="1870" y="1109"/>
                    </a:lnTo>
                    <a:lnTo>
                      <a:pt x="1872" y="1096"/>
                    </a:lnTo>
                    <a:lnTo>
                      <a:pt x="1873" y="1082"/>
                    </a:lnTo>
                    <a:lnTo>
                      <a:pt x="1873" y="936"/>
                    </a:lnTo>
                    <a:lnTo>
                      <a:pt x="1873" y="936"/>
                    </a:lnTo>
                    <a:lnTo>
                      <a:pt x="1872" y="889"/>
                    </a:lnTo>
                    <a:lnTo>
                      <a:pt x="1868" y="840"/>
                    </a:lnTo>
                    <a:lnTo>
                      <a:pt x="1862" y="794"/>
                    </a:lnTo>
                    <a:lnTo>
                      <a:pt x="1854" y="748"/>
                    </a:lnTo>
                    <a:lnTo>
                      <a:pt x="1843" y="702"/>
                    </a:lnTo>
                    <a:lnTo>
                      <a:pt x="1831" y="658"/>
                    </a:lnTo>
                    <a:lnTo>
                      <a:pt x="1815" y="615"/>
                    </a:lnTo>
                    <a:lnTo>
                      <a:pt x="1799" y="573"/>
                    </a:lnTo>
                    <a:lnTo>
                      <a:pt x="1780" y="530"/>
                    </a:lnTo>
                    <a:lnTo>
                      <a:pt x="1760" y="490"/>
                    </a:lnTo>
                    <a:lnTo>
                      <a:pt x="1737" y="451"/>
                    </a:lnTo>
                    <a:lnTo>
                      <a:pt x="1713" y="413"/>
                    </a:lnTo>
                    <a:lnTo>
                      <a:pt x="1687" y="376"/>
                    </a:lnTo>
                    <a:lnTo>
                      <a:pt x="1659" y="341"/>
                    </a:lnTo>
                    <a:lnTo>
                      <a:pt x="1629" y="307"/>
                    </a:lnTo>
                    <a:lnTo>
                      <a:pt x="1598" y="274"/>
                    </a:lnTo>
                    <a:lnTo>
                      <a:pt x="1565" y="243"/>
                    </a:lnTo>
                    <a:lnTo>
                      <a:pt x="1531" y="214"/>
                    </a:lnTo>
                    <a:lnTo>
                      <a:pt x="1496" y="187"/>
                    </a:lnTo>
                    <a:lnTo>
                      <a:pt x="1459" y="160"/>
                    </a:lnTo>
                    <a:lnTo>
                      <a:pt x="1421" y="135"/>
                    </a:lnTo>
                    <a:lnTo>
                      <a:pt x="1382" y="114"/>
                    </a:lnTo>
                    <a:lnTo>
                      <a:pt x="1342" y="92"/>
                    </a:lnTo>
                    <a:lnTo>
                      <a:pt x="1301" y="73"/>
                    </a:lnTo>
                    <a:lnTo>
                      <a:pt x="1259" y="57"/>
                    </a:lnTo>
                    <a:lnTo>
                      <a:pt x="1214" y="43"/>
                    </a:lnTo>
                    <a:lnTo>
                      <a:pt x="1170" y="29"/>
                    </a:lnTo>
                    <a:lnTo>
                      <a:pt x="1125" y="19"/>
                    </a:lnTo>
                    <a:lnTo>
                      <a:pt x="1078" y="11"/>
                    </a:lnTo>
                    <a:lnTo>
                      <a:pt x="1032" y="5"/>
                    </a:lnTo>
                    <a:lnTo>
                      <a:pt x="985" y="1"/>
                    </a:lnTo>
                    <a:lnTo>
                      <a:pt x="936" y="0"/>
                    </a:lnTo>
                    <a:lnTo>
                      <a:pt x="936" y="0"/>
                    </a:lnTo>
                    <a:close/>
                    <a:moveTo>
                      <a:pt x="326" y="970"/>
                    </a:moveTo>
                    <a:lnTo>
                      <a:pt x="326" y="970"/>
                    </a:lnTo>
                    <a:lnTo>
                      <a:pt x="326" y="975"/>
                    </a:lnTo>
                    <a:lnTo>
                      <a:pt x="324" y="978"/>
                    </a:lnTo>
                    <a:lnTo>
                      <a:pt x="323" y="982"/>
                    </a:lnTo>
                    <a:lnTo>
                      <a:pt x="320" y="985"/>
                    </a:lnTo>
                    <a:lnTo>
                      <a:pt x="317" y="987"/>
                    </a:lnTo>
                    <a:lnTo>
                      <a:pt x="313" y="990"/>
                    </a:lnTo>
                    <a:lnTo>
                      <a:pt x="310" y="992"/>
                    </a:lnTo>
                    <a:lnTo>
                      <a:pt x="304" y="992"/>
                    </a:lnTo>
                    <a:lnTo>
                      <a:pt x="136" y="992"/>
                    </a:lnTo>
                    <a:lnTo>
                      <a:pt x="136" y="992"/>
                    </a:lnTo>
                    <a:lnTo>
                      <a:pt x="131" y="992"/>
                    </a:lnTo>
                    <a:lnTo>
                      <a:pt x="127" y="990"/>
                    </a:lnTo>
                    <a:lnTo>
                      <a:pt x="123" y="987"/>
                    </a:lnTo>
                    <a:lnTo>
                      <a:pt x="120" y="985"/>
                    </a:lnTo>
                    <a:lnTo>
                      <a:pt x="118" y="982"/>
                    </a:lnTo>
                    <a:lnTo>
                      <a:pt x="116" y="978"/>
                    </a:lnTo>
                    <a:lnTo>
                      <a:pt x="114" y="975"/>
                    </a:lnTo>
                    <a:lnTo>
                      <a:pt x="114" y="970"/>
                    </a:lnTo>
                    <a:lnTo>
                      <a:pt x="114" y="907"/>
                    </a:lnTo>
                    <a:lnTo>
                      <a:pt x="114" y="907"/>
                    </a:lnTo>
                    <a:lnTo>
                      <a:pt x="114" y="902"/>
                    </a:lnTo>
                    <a:lnTo>
                      <a:pt x="116" y="899"/>
                    </a:lnTo>
                    <a:lnTo>
                      <a:pt x="118" y="895"/>
                    </a:lnTo>
                    <a:lnTo>
                      <a:pt x="120" y="892"/>
                    </a:lnTo>
                    <a:lnTo>
                      <a:pt x="123" y="889"/>
                    </a:lnTo>
                    <a:lnTo>
                      <a:pt x="127" y="888"/>
                    </a:lnTo>
                    <a:lnTo>
                      <a:pt x="131" y="886"/>
                    </a:lnTo>
                    <a:lnTo>
                      <a:pt x="136" y="886"/>
                    </a:lnTo>
                    <a:lnTo>
                      <a:pt x="304" y="886"/>
                    </a:lnTo>
                    <a:lnTo>
                      <a:pt x="304" y="886"/>
                    </a:lnTo>
                    <a:lnTo>
                      <a:pt x="310" y="886"/>
                    </a:lnTo>
                    <a:lnTo>
                      <a:pt x="313" y="888"/>
                    </a:lnTo>
                    <a:lnTo>
                      <a:pt x="317" y="889"/>
                    </a:lnTo>
                    <a:lnTo>
                      <a:pt x="320" y="892"/>
                    </a:lnTo>
                    <a:lnTo>
                      <a:pt x="323" y="895"/>
                    </a:lnTo>
                    <a:lnTo>
                      <a:pt x="324" y="899"/>
                    </a:lnTo>
                    <a:lnTo>
                      <a:pt x="326" y="902"/>
                    </a:lnTo>
                    <a:lnTo>
                      <a:pt x="326" y="907"/>
                    </a:lnTo>
                    <a:lnTo>
                      <a:pt x="326" y="970"/>
                    </a:lnTo>
                    <a:close/>
                    <a:moveTo>
                      <a:pt x="423" y="608"/>
                    </a:moveTo>
                    <a:lnTo>
                      <a:pt x="392" y="663"/>
                    </a:lnTo>
                    <a:lnTo>
                      <a:pt x="392" y="663"/>
                    </a:lnTo>
                    <a:lnTo>
                      <a:pt x="389" y="666"/>
                    </a:lnTo>
                    <a:lnTo>
                      <a:pt x="386" y="669"/>
                    </a:lnTo>
                    <a:lnTo>
                      <a:pt x="383" y="671"/>
                    </a:lnTo>
                    <a:lnTo>
                      <a:pt x="379" y="672"/>
                    </a:lnTo>
                    <a:lnTo>
                      <a:pt x="374" y="674"/>
                    </a:lnTo>
                    <a:lnTo>
                      <a:pt x="370" y="674"/>
                    </a:lnTo>
                    <a:lnTo>
                      <a:pt x="366" y="672"/>
                    </a:lnTo>
                    <a:lnTo>
                      <a:pt x="362" y="670"/>
                    </a:lnTo>
                    <a:lnTo>
                      <a:pt x="216" y="586"/>
                    </a:lnTo>
                    <a:lnTo>
                      <a:pt x="216" y="586"/>
                    </a:lnTo>
                    <a:lnTo>
                      <a:pt x="212" y="583"/>
                    </a:lnTo>
                    <a:lnTo>
                      <a:pt x="210" y="580"/>
                    </a:lnTo>
                    <a:lnTo>
                      <a:pt x="207" y="577"/>
                    </a:lnTo>
                    <a:lnTo>
                      <a:pt x="206" y="573"/>
                    </a:lnTo>
                    <a:lnTo>
                      <a:pt x="205" y="569"/>
                    </a:lnTo>
                    <a:lnTo>
                      <a:pt x="205" y="564"/>
                    </a:lnTo>
                    <a:lnTo>
                      <a:pt x="206" y="561"/>
                    </a:lnTo>
                    <a:lnTo>
                      <a:pt x="208" y="557"/>
                    </a:lnTo>
                    <a:lnTo>
                      <a:pt x="240" y="502"/>
                    </a:lnTo>
                    <a:lnTo>
                      <a:pt x="240" y="502"/>
                    </a:lnTo>
                    <a:lnTo>
                      <a:pt x="242" y="499"/>
                    </a:lnTo>
                    <a:lnTo>
                      <a:pt x="245" y="495"/>
                    </a:lnTo>
                    <a:lnTo>
                      <a:pt x="249" y="493"/>
                    </a:lnTo>
                    <a:lnTo>
                      <a:pt x="252" y="492"/>
                    </a:lnTo>
                    <a:lnTo>
                      <a:pt x="256" y="491"/>
                    </a:lnTo>
                    <a:lnTo>
                      <a:pt x="260" y="491"/>
                    </a:lnTo>
                    <a:lnTo>
                      <a:pt x="264" y="492"/>
                    </a:lnTo>
                    <a:lnTo>
                      <a:pt x="268" y="494"/>
                    </a:lnTo>
                    <a:lnTo>
                      <a:pt x="416" y="579"/>
                    </a:lnTo>
                    <a:lnTo>
                      <a:pt x="416" y="579"/>
                    </a:lnTo>
                    <a:lnTo>
                      <a:pt x="419" y="582"/>
                    </a:lnTo>
                    <a:lnTo>
                      <a:pt x="422" y="584"/>
                    </a:lnTo>
                    <a:lnTo>
                      <a:pt x="424" y="588"/>
                    </a:lnTo>
                    <a:lnTo>
                      <a:pt x="425" y="592"/>
                    </a:lnTo>
                    <a:lnTo>
                      <a:pt x="426" y="596"/>
                    </a:lnTo>
                    <a:lnTo>
                      <a:pt x="426" y="600"/>
                    </a:lnTo>
                    <a:lnTo>
                      <a:pt x="425" y="604"/>
                    </a:lnTo>
                    <a:lnTo>
                      <a:pt x="423" y="608"/>
                    </a:lnTo>
                    <a:lnTo>
                      <a:pt x="423" y="608"/>
                    </a:lnTo>
                    <a:close/>
                    <a:moveTo>
                      <a:pt x="656" y="398"/>
                    </a:moveTo>
                    <a:lnTo>
                      <a:pt x="602" y="430"/>
                    </a:lnTo>
                    <a:lnTo>
                      <a:pt x="602" y="430"/>
                    </a:lnTo>
                    <a:lnTo>
                      <a:pt x="598" y="432"/>
                    </a:lnTo>
                    <a:lnTo>
                      <a:pt x="594" y="432"/>
                    </a:lnTo>
                    <a:lnTo>
                      <a:pt x="590" y="433"/>
                    </a:lnTo>
                    <a:lnTo>
                      <a:pt x="585" y="432"/>
                    </a:lnTo>
                    <a:lnTo>
                      <a:pt x="582" y="431"/>
                    </a:lnTo>
                    <a:lnTo>
                      <a:pt x="578" y="428"/>
                    </a:lnTo>
                    <a:lnTo>
                      <a:pt x="575" y="425"/>
                    </a:lnTo>
                    <a:lnTo>
                      <a:pt x="573" y="421"/>
                    </a:lnTo>
                    <a:lnTo>
                      <a:pt x="488" y="274"/>
                    </a:lnTo>
                    <a:lnTo>
                      <a:pt x="488" y="274"/>
                    </a:lnTo>
                    <a:lnTo>
                      <a:pt x="486" y="271"/>
                    </a:lnTo>
                    <a:lnTo>
                      <a:pt x="486" y="267"/>
                    </a:lnTo>
                    <a:lnTo>
                      <a:pt x="486" y="263"/>
                    </a:lnTo>
                    <a:lnTo>
                      <a:pt x="486" y="259"/>
                    </a:lnTo>
                    <a:lnTo>
                      <a:pt x="488" y="255"/>
                    </a:lnTo>
                    <a:lnTo>
                      <a:pt x="490" y="252"/>
                    </a:lnTo>
                    <a:lnTo>
                      <a:pt x="492" y="248"/>
                    </a:lnTo>
                    <a:lnTo>
                      <a:pt x="496" y="245"/>
                    </a:lnTo>
                    <a:lnTo>
                      <a:pt x="550" y="213"/>
                    </a:lnTo>
                    <a:lnTo>
                      <a:pt x="550" y="213"/>
                    </a:lnTo>
                    <a:lnTo>
                      <a:pt x="555" y="212"/>
                    </a:lnTo>
                    <a:lnTo>
                      <a:pt x="559" y="211"/>
                    </a:lnTo>
                    <a:lnTo>
                      <a:pt x="563" y="211"/>
                    </a:lnTo>
                    <a:lnTo>
                      <a:pt x="567" y="211"/>
                    </a:lnTo>
                    <a:lnTo>
                      <a:pt x="571" y="213"/>
                    </a:lnTo>
                    <a:lnTo>
                      <a:pt x="574" y="216"/>
                    </a:lnTo>
                    <a:lnTo>
                      <a:pt x="577" y="219"/>
                    </a:lnTo>
                    <a:lnTo>
                      <a:pt x="579" y="222"/>
                    </a:lnTo>
                    <a:lnTo>
                      <a:pt x="665" y="369"/>
                    </a:lnTo>
                    <a:lnTo>
                      <a:pt x="665" y="369"/>
                    </a:lnTo>
                    <a:lnTo>
                      <a:pt x="667" y="373"/>
                    </a:lnTo>
                    <a:lnTo>
                      <a:pt x="667" y="377"/>
                    </a:lnTo>
                    <a:lnTo>
                      <a:pt x="668" y="381"/>
                    </a:lnTo>
                    <a:lnTo>
                      <a:pt x="667" y="384"/>
                    </a:lnTo>
                    <a:lnTo>
                      <a:pt x="666" y="388"/>
                    </a:lnTo>
                    <a:lnTo>
                      <a:pt x="663" y="393"/>
                    </a:lnTo>
                    <a:lnTo>
                      <a:pt x="661" y="396"/>
                    </a:lnTo>
                    <a:lnTo>
                      <a:pt x="656" y="398"/>
                    </a:lnTo>
                    <a:lnTo>
                      <a:pt x="656" y="398"/>
                    </a:lnTo>
                    <a:close/>
                    <a:moveTo>
                      <a:pt x="986" y="311"/>
                    </a:moveTo>
                    <a:lnTo>
                      <a:pt x="986" y="311"/>
                    </a:lnTo>
                    <a:lnTo>
                      <a:pt x="985" y="315"/>
                    </a:lnTo>
                    <a:lnTo>
                      <a:pt x="984" y="319"/>
                    </a:lnTo>
                    <a:lnTo>
                      <a:pt x="982" y="323"/>
                    </a:lnTo>
                    <a:lnTo>
                      <a:pt x="980" y="326"/>
                    </a:lnTo>
                    <a:lnTo>
                      <a:pt x="976" y="329"/>
                    </a:lnTo>
                    <a:lnTo>
                      <a:pt x="972" y="331"/>
                    </a:lnTo>
                    <a:lnTo>
                      <a:pt x="968" y="332"/>
                    </a:lnTo>
                    <a:lnTo>
                      <a:pt x="964" y="332"/>
                    </a:lnTo>
                    <a:lnTo>
                      <a:pt x="900" y="332"/>
                    </a:lnTo>
                    <a:lnTo>
                      <a:pt x="900" y="332"/>
                    </a:lnTo>
                    <a:lnTo>
                      <a:pt x="896" y="332"/>
                    </a:lnTo>
                    <a:lnTo>
                      <a:pt x="892" y="331"/>
                    </a:lnTo>
                    <a:lnTo>
                      <a:pt x="889" y="329"/>
                    </a:lnTo>
                    <a:lnTo>
                      <a:pt x="886" y="326"/>
                    </a:lnTo>
                    <a:lnTo>
                      <a:pt x="883" y="323"/>
                    </a:lnTo>
                    <a:lnTo>
                      <a:pt x="881" y="319"/>
                    </a:lnTo>
                    <a:lnTo>
                      <a:pt x="880" y="315"/>
                    </a:lnTo>
                    <a:lnTo>
                      <a:pt x="880" y="311"/>
                    </a:lnTo>
                    <a:lnTo>
                      <a:pt x="880" y="141"/>
                    </a:lnTo>
                    <a:lnTo>
                      <a:pt x="880" y="141"/>
                    </a:lnTo>
                    <a:lnTo>
                      <a:pt x="880" y="137"/>
                    </a:lnTo>
                    <a:lnTo>
                      <a:pt x="881" y="133"/>
                    </a:lnTo>
                    <a:lnTo>
                      <a:pt x="883" y="129"/>
                    </a:lnTo>
                    <a:lnTo>
                      <a:pt x="886" y="126"/>
                    </a:lnTo>
                    <a:lnTo>
                      <a:pt x="889" y="124"/>
                    </a:lnTo>
                    <a:lnTo>
                      <a:pt x="892" y="122"/>
                    </a:lnTo>
                    <a:lnTo>
                      <a:pt x="896" y="121"/>
                    </a:lnTo>
                    <a:lnTo>
                      <a:pt x="900" y="120"/>
                    </a:lnTo>
                    <a:lnTo>
                      <a:pt x="964" y="120"/>
                    </a:lnTo>
                    <a:lnTo>
                      <a:pt x="964" y="120"/>
                    </a:lnTo>
                    <a:lnTo>
                      <a:pt x="968" y="121"/>
                    </a:lnTo>
                    <a:lnTo>
                      <a:pt x="972" y="122"/>
                    </a:lnTo>
                    <a:lnTo>
                      <a:pt x="976" y="124"/>
                    </a:lnTo>
                    <a:lnTo>
                      <a:pt x="980" y="126"/>
                    </a:lnTo>
                    <a:lnTo>
                      <a:pt x="982" y="129"/>
                    </a:lnTo>
                    <a:lnTo>
                      <a:pt x="984" y="133"/>
                    </a:lnTo>
                    <a:lnTo>
                      <a:pt x="985" y="137"/>
                    </a:lnTo>
                    <a:lnTo>
                      <a:pt x="986" y="141"/>
                    </a:lnTo>
                    <a:lnTo>
                      <a:pt x="986" y="311"/>
                    </a:lnTo>
                    <a:close/>
                    <a:moveTo>
                      <a:pt x="1377" y="274"/>
                    </a:moveTo>
                    <a:lnTo>
                      <a:pt x="1292" y="421"/>
                    </a:lnTo>
                    <a:lnTo>
                      <a:pt x="1292" y="421"/>
                    </a:lnTo>
                    <a:lnTo>
                      <a:pt x="1290" y="425"/>
                    </a:lnTo>
                    <a:lnTo>
                      <a:pt x="1286" y="428"/>
                    </a:lnTo>
                    <a:lnTo>
                      <a:pt x="1283" y="430"/>
                    </a:lnTo>
                    <a:lnTo>
                      <a:pt x="1279" y="432"/>
                    </a:lnTo>
                    <a:lnTo>
                      <a:pt x="1275" y="432"/>
                    </a:lnTo>
                    <a:lnTo>
                      <a:pt x="1271" y="432"/>
                    </a:lnTo>
                    <a:lnTo>
                      <a:pt x="1267" y="432"/>
                    </a:lnTo>
                    <a:lnTo>
                      <a:pt x="1263" y="430"/>
                    </a:lnTo>
                    <a:lnTo>
                      <a:pt x="1208" y="398"/>
                    </a:lnTo>
                    <a:lnTo>
                      <a:pt x="1208" y="398"/>
                    </a:lnTo>
                    <a:lnTo>
                      <a:pt x="1204" y="395"/>
                    </a:lnTo>
                    <a:lnTo>
                      <a:pt x="1202" y="393"/>
                    </a:lnTo>
                    <a:lnTo>
                      <a:pt x="1200" y="388"/>
                    </a:lnTo>
                    <a:lnTo>
                      <a:pt x="1198" y="384"/>
                    </a:lnTo>
                    <a:lnTo>
                      <a:pt x="1198" y="380"/>
                    </a:lnTo>
                    <a:lnTo>
                      <a:pt x="1198" y="376"/>
                    </a:lnTo>
                    <a:lnTo>
                      <a:pt x="1199" y="373"/>
                    </a:lnTo>
                    <a:lnTo>
                      <a:pt x="1200" y="369"/>
                    </a:lnTo>
                    <a:lnTo>
                      <a:pt x="1285" y="222"/>
                    </a:lnTo>
                    <a:lnTo>
                      <a:pt x="1285" y="222"/>
                    </a:lnTo>
                    <a:lnTo>
                      <a:pt x="1287" y="219"/>
                    </a:lnTo>
                    <a:lnTo>
                      <a:pt x="1291" y="216"/>
                    </a:lnTo>
                    <a:lnTo>
                      <a:pt x="1295" y="213"/>
                    </a:lnTo>
                    <a:lnTo>
                      <a:pt x="1298" y="211"/>
                    </a:lnTo>
                    <a:lnTo>
                      <a:pt x="1302" y="211"/>
                    </a:lnTo>
                    <a:lnTo>
                      <a:pt x="1306" y="211"/>
                    </a:lnTo>
                    <a:lnTo>
                      <a:pt x="1310" y="212"/>
                    </a:lnTo>
                    <a:lnTo>
                      <a:pt x="1314" y="213"/>
                    </a:lnTo>
                    <a:lnTo>
                      <a:pt x="1370" y="245"/>
                    </a:lnTo>
                    <a:lnTo>
                      <a:pt x="1370" y="245"/>
                    </a:lnTo>
                    <a:lnTo>
                      <a:pt x="1373" y="248"/>
                    </a:lnTo>
                    <a:lnTo>
                      <a:pt x="1376" y="252"/>
                    </a:lnTo>
                    <a:lnTo>
                      <a:pt x="1378" y="255"/>
                    </a:lnTo>
                    <a:lnTo>
                      <a:pt x="1379" y="259"/>
                    </a:lnTo>
                    <a:lnTo>
                      <a:pt x="1380" y="263"/>
                    </a:lnTo>
                    <a:lnTo>
                      <a:pt x="1380" y="267"/>
                    </a:lnTo>
                    <a:lnTo>
                      <a:pt x="1379" y="271"/>
                    </a:lnTo>
                    <a:lnTo>
                      <a:pt x="1377" y="274"/>
                    </a:lnTo>
                    <a:lnTo>
                      <a:pt x="1377" y="274"/>
                    </a:lnTo>
                    <a:close/>
                    <a:moveTo>
                      <a:pt x="1474" y="663"/>
                    </a:moveTo>
                    <a:lnTo>
                      <a:pt x="1442" y="608"/>
                    </a:lnTo>
                    <a:lnTo>
                      <a:pt x="1442" y="608"/>
                    </a:lnTo>
                    <a:lnTo>
                      <a:pt x="1440" y="604"/>
                    </a:lnTo>
                    <a:lnTo>
                      <a:pt x="1439" y="599"/>
                    </a:lnTo>
                    <a:lnTo>
                      <a:pt x="1439" y="595"/>
                    </a:lnTo>
                    <a:lnTo>
                      <a:pt x="1440" y="592"/>
                    </a:lnTo>
                    <a:lnTo>
                      <a:pt x="1441" y="588"/>
                    </a:lnTo>
                    <a:lnTo>
                      <a:pt x="1443" y="584"/>
                    </a:lnTo>
                    <a:lnTo>
                      <a:pt x="1446" y="581"/>
                    </a:lnTo>
                    <a:lnTo>
                      <a:pt x="1449" y="579"/>
                    </a:lnTo>
                    <a:lnTo>
                      <a:pt x="1596" y="494"/>
                    </a:lnTo>
                    <a:lnTo>
                      <a:pt x="1596" y="494"/>
                    </a:lnTo>
                    <a:lnTo>
                      <a:pt x="1600" y="492"/>
                    </a:lnTo>
                    <a:lnTo>
                      <a:pt x="1604" y="491"/>
                    </a:lnTo>
                    <a:lnTo>
                      <a:pt x="1609" y="491"/>
                    </a:lnTo>
                    <a:lnTo>
                      <a:pt x="1613" y="492"/>
                    </a:lnTo>
                    <a:lnTo>
                      <a:pt x="1616" y="493"/>
                    </a:lnTo>
                    <a:lnTo>
                      <a:pt x="1620" y="495"/>
                    </a:lnTo>
                    <a:lnTo>
                      <a:pt x="1623" y="499"/>
                    </a:lnTo>
                    <a:lnTo>
                      <a:pt x="1625" y="502"/>
                    </a:lnTo>
                    <a:lnTo>
                      <a:pt x="1657" y="557"/>
                    </a:lnTo>
                    <a:lnTo>
                      <a:pt x="1657" y="557"/>
                    </a:lnTo>
                    <a:lnTo>
                      <a:pt x="1659" y="560"/>
                    </a:lnTo>
                    <a:lnTo>
                      <a:pt x="1660" y="564"/>
                    </a:lnTo>
                    <a:lnTo>
                      <a:pt x="1660" y="569"/>
                    </a:lnTo>
                    <a:lnTo>
                      <a:pt x="1659" y="573"/>
                    </a:lnTo>
                    <a:lnTo>
                      <a:pt x="1658" y="577"/>
                    </a:lnTo>
                    <a:lnTo>
                      <a:pt x="1656" y="580"/>
                    </a:lnTo>
                    <a:lnTo>
                      <a:pt x="1653" y="583"/>
                    </a:lnTo>
                    <a:lnTo>
                      <a:pt x="1650" y="586"/>
                    </a:lnTo>
                    <a:lnTo>
                      <a:pt x="1503" y="670"/>
                    </a:lnTo>
                    <a:lnTo>
                      <a:pt x="1503" y="670"/>
                    </a:lnTo>
                    <a:lnTo>
                      <a:pt x="1498" y="672"/>
                    </a:lnTo>
                    <a:lnTo>
                      <a:pt x="1494" y="674"/>
                    </a:lnTo>
                    <a:lnTo>
                      <a:pt x="1490" y="674"/>
                    </a:lnTo>
                    <a:lnTo>
                      <a:pt x="1486" y="672"/>
                    </a:lnTo>
                    <a:lnTo>
                      <a:pt x="1483" y="671"/>
                    </a:lnTo>
                    <a:lnTo>
                      <a:pt x="1479" y="669"/>
                    </a:lnTo>
                    <a:lnTo>
                      <a:pt x="1476" y="666"/>
                    </a:lnTo>
                    <a:lnTo>
                      <a:pt x="1474" y="663"/>
                    </a:lnTo>
                    <a:lnTo>
                      <a:pt x="1474" y="663"/>
                    </a:lnTo>
                    <a:close/>
                    <a:moveTo>
                      <a:pt x="1751" y="970"/>
                    </a:moveTo>
                    <a:lnTo>
                      <a:pt x="1751" y="970"/>
                    </a:lnTo>
                    <a:lnTo>
                      <a:pt x="1751" y="975"/>
                    </a:lnTo>
                    <a:lnTo>
                      <a:pt x="1750" y="978"/>
                    </a:lnTo>
                    <a:lnTo>
                      <a:pt x="1748" y="982"/>
                    </a:lnTo>
                    <a:lnTo>
                      <a:pt x="1744" y="985"/>
                    </a:lnTo>
                    <a:lnTo>
                      <a:pt x="1741" y="987"/>
                    </a:lnTo>
                    <a:lnTo>
                      <a:pt x="1738" y="990"/>
                    </a:lnTo>
                    <a:lnTo>
                      <a:pt x="1734" y="992"/>
                    </a:lnTo>
                    <a:lnTo>
                      <a:pt x="1730" y="992"/>
                    </a:lnTo>
                    <a:lnTo>
                      <a:pt x="1560" y="992"/>
                    </a:lnTo>
                    <a:lnTo>
                      <a:pt x="1560" y="992"/>
                    </a:lnTo>
                    <a:lnTo>
                      <a:pt x="1556" y="992"/>
                    </a:lnTo>
                    <a:lnTo>
                      <a:pt x="1552" y="990"/>
                    </a:lnTo>
                    <a:lnTo>
                      <a:pt x="1548" y="987"/>
                    </a:lnTo>
                    <a:lnTo>
                      <a:pt x="1545" y="985"/>
                    </a:lnTo>
                    <a:lnTo>
                      <a:pt x="1543" y="982"/>
                    </a:lnTo>
                    <a:lnTo>
                      <a:pt x="1541" y="978"/>
                    </a:lnTo>
                    <a:lnTo>
                      <a:pt x="1540" y="975"/>
                    </a:lnTo>
                    <a:lnTo>
                      <a:pt x="1539" y="970"/>
                    </a:lnTo>
                    <a:lnTo>
                      <a:pt x="1539" y="907"/>
                    </a:lnTo>
                    <a:lnTo>
                      <a:pt x="1539" y="907"/>
                    </a:lnTo>
                    <a:lnTo>
                      <a:pt x="1540" y="902"/>
                    </a:lnTo>
                    <a:lnTo>
                      <a:pt x="1541" y="899"/>
                    </a:lnTo>
                    <a:lnTo>
                      <a:pt x="1543" y="895"/>
                    </a:lnTo>
                    <a:lnTo>
                      <a:pt x="1545" y="892"/>
                    </a:lnTo>
                    <a:lnTo>
                      <a:pt x="1548" y="889"/>
                    </a:lnTo>
                    <a:lnTo>
                      <a:pt x="1552" y="888"/>
                    </a:lnTo>
                    <a:lnTo>
                      <a:pt x="1556" y="886"/>
                    </a:lnTo>
                    <a:lnTo>
                      <a:pt x="1560" y="886"/>
                    </a:lnTo>
                    <a:lnTo>
                      <a:pt x="1730" y="886"/>
                    </a:lnTo>
                    <a:lnTo>
                      <a:pt x="1730" y="886"/>
                    </a:lnTo>
                    <a:lnTo>
                      <a:pt x="1734" y="886"/>
                    </a:lnTo>
                    <a:lnTo>
                      <a:pt x="1738" y="888"/>
                    </a:lnTo>
                    <a:lnTo>
                      <a:pt x="1741" y="889"/>
                    </a:lnTo>
                    <a:lnTo>
                      <a:pt x="1744" y="892"/>
                    </a:lnTo>
                    <a:lnTo>
                      <a:pt x="1748" y="895"/>
                    </a:lnTo>
                    <a:lnTo>
                      <a:pt x="1750" y="899"/>
                    </a:lnTo>
                    <a:lnTo>
                      <a:pt x="1751" y="902"/>
                    </a:lnTo>
                    <a:lnTo>
                      <a:pt x="1751" y="907"/>
                    </a:lnTo>
                    <a:lnTo>
                      <a:pt x="1751" y="9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09" name="Freeform 32"/>
              <p:cNvSpPr>
                <a:spLocks/>
              </p:cNvSpPr>
              <p:nvPr/>
            </p:nvSpPr>
            <p:spPr bwMode="auto">
              <a:xfrm>
                <a:off x="4262438" y="3946525"/>
                <a:ext cx="87313" cy="87313"/>
              </a:xfrm>
              <a:custGeom>
                <a:avLst/>
                <a:gdLst>
                  <a:gd name="T0" fmla="*/ 82 w 221"/>
                  <a:gd name="T1" fmla="*/ 3 h 220"/>
                  <a:gd name="T2" fmla="*/ 61 w 221"/>
                  <a:gd name="T3" fmla="*/ 11 h 220"/>
                  <a:gd name="T4" fmla="*/ 43 w 221"/>
                  <a:gd name="T5" fmla="*/ 22 h 220"/>
                  <a:gd name="T6" fmla="*/ 27 w 221"/>
                  <a:gd name="T7" fmla="*/ 37 h 220"/>
                  <a:gd name="T8" fmla="*/ 15 w 221"/>
                  <a:gd name="T9" fmla="*/ 54 h 220"/>
                  <a:gd name="T10" fmla="*/ 6 w 221"/>
                  <a:gd name="T11" fmla="*/ 74 h 220"/>
                  <a:gd name="T12" fmla="*/ 1 w 221"/>
                  <a:gd name="T13" fmla="*/ 94 h 220"/>
                  <a:gd name="T14" fmla="*/ 0 w 221"/>
                  <a:gd name="T15" fmla="*/ 116 h 220"/>
                  <a:gd name="T16" fmla="*/ 4 w 221"/>
                  <a:gd name="T17" fmla="*/ 139 h 220"/>
                  <a:gd name="T18" fmla="*/ 8 w 221"/>
                  <a:gd name="T19" fmla="*/ 149 h 220"/>
                  <a:gd name="T20" fmla="*/ 17 w 221"/>
                  <a:gd name="T21" fmla="*/ 169 h 220"/>
                  <a:gd name="T22" fmla="*/ 30 w 221"/>
                  <a:gd name="T23" fmla="*/ 185 h 220"/>
                  <a:gd name="T24" fmla="*/ 47 w 221"/>
                  <a:gd name="T25" fmla="*/ 199 h 220"/>
                  <a:gd name="T26" fmla="*/ 65 w 221"/>
                  <a:gd name="T27" fmla="*/ 210 h 220"/>
                  <a:gd name="T28" fmla="*/ 85 w 221"/>
                  <a:gd name="T29" fmla="*/ 217 h 220"/>
                  <a:gd name="T30" fmla="*/ 106 w 221"/>
                  <a:gd name="T31" fmla="*/ 220 h 220"/>
                  <a:gd name="T32" fmla="*/ 128 w 221"/>
                  <a:gd name="T33" fmla="*/ 218 h 220"/>
                  <a:gd name="T34" fmla="*/ 139 w 221"/>
                  <a:gd name="T35" fmla="*/ 216 h 220"/>
                  <a:gd name="T36" fmla="*/ 160 w 221"/>
                  <a:gd name="T37" fmla="*/ 208 h 220"/>
                  <a:gd name="T38" fmla="*/ 178 w 221"/>
                  <a:gd name="T39" fmla="*/ 196 h 220"/>
                  <a:gd name="T40" fmla="*/ 194 w 221"/>
                  <a:gd name="T41" fmla="*/ 182 h 220"/>
                  <a:gd name="T42" fmla="*/ 206 w 221"/>
                  <a:gd name="T43" fmla="*/ 164 h 220"/>
                  <a:gd name="T44" fmla="*/ 214 w 221"/>
                  <a:gd name="T45" fmla="*/ 145 h 220"/>
                  <a:gd name="T46" fmla="*/ 220 w 221"/>
                  <a:gd name="T47" fmla="*/ 124 h 220"/>
                  <a:gd name="T48" fmla="*/ 221 w 221"/>
                  <a:gd name="T49" fmla="*/ 103 h 220"/>
                  <a:gd name="T50" fmla="*/ 216 w 221"/>
                  <a:gd name="T51" fmla="*/ 81 h 220"/>
                  <a:gd name="T52" fmla="*/ 213 w 221"/>
                  <a:gd name="T53" fmla="*/ 70 h 220"/>
                  <a:gd name="T54" fmla="*/ 203 w 221"/>
                  <a:gd name="T55" fmla="*/ 50 h 220"/>
                  <a:gd name="T56" fmla="*/ 191 w 221"/>
                  <a:gd name="T57" fmla="*/ 34 h 220"/>
                  <a:gd name="T58" fmla="*/ 174 w 221"/>
                  <a:gd name="T59" fmla="*/ 19 h 220"/>
                  <a:gd name="T60" fmla="*/ 156 w 221"/>
                  <a:gd name="T61" fmla="*/ 9 h 220"/>
                  <a:gd name="T62" fmla="*/ 136 w 221"/>
                  <a:gd name="T63" fmla="*/ 2 h 220"/>
                  <a:gd name="T64" fmla="*/ 115 w 221"/>
                  <a:gd name="T65" fmla="*/ 0 h 220"/>
                  <a:gd name="T66" fmla="*/ 93 w 221"/>
                  <a:gd name="T67" fmla="*/ 1 h 220"/>
                  <a:gd name="T68" fmla="*/ 82 w 221"/>
                  <a:gd name="T69" fmla="*/ 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220">
                    <a:moveTo>
                      <a:pt x="82" y="3"/>
                    </a:moveTo>
                    <a:lnTo>
                      <a:pt x="82" y="3"/>
                    </a:lnTo>
                    <a:lnTo>
                      <a:pt x="71" y="7"/>
                    </a:lnTo>
                    <a:lnTo>
                      <a:pt x="61" y="11"/>
                    </a:lnTo>
                    <a:lnTo>
                      <a:pt x="52" y="16"/>
                    </a:lnTo>
                    <a:lnTo>
                      <a:pt x="43" y="22"/>
                    </a:lnTo>
                    <a:lnTo>
                      <a:pt x="34" y="30"/>
                    </a:lnTo>
                    <a:lnTo>
                      <a:pt x="27" y="37"/>
                    </a:lnTo>
                    <a:lnTo>
                      <a:pt x="21" y="45"/>
                    </a:lnTo>
                    <a:lnTo>
                      <a:pt x="15" y="54"/>
                    </a:lnTo>
                    <a:lnTo>
                      <a:pt x="10" y="64"/>
                    </a:lnTo>
                    <a:lnTo>
                      <a:pt x="6" y="74"/>
                    </a:lnTo>
                    <a:lnTo>
                      <a:pt x="3" y="84"/>
                    </a:lnTo>
                    <a:lnTo>
                      <a:pt x="1" y="94"/>
                    </a:lnTo>
                    <a:lnTo>
                      <a:pt x="0" y="105"/>
                    </a:lnTo>
                    <a:lnTo>
                      <a:pt x="0" y="116"/>
                    </a:lnTo>
                    <a:lnTo>
                      <a:pt x="1" y="127"/>
                    </a:lnTo>
                    <a:lnTo>
                      <a:pt x="4" y="139"/>
                    </a:lnTo>
                    <a:lnTo>
                      <a:pt x="4" y="139"/>
                    </a:lnTo>
                    <a:lnTo>
                      <a:pt x="8" y="149"/>
                    </a:lnTo>
                    <a:lnTo>
                      <a:pt x="12" y="159"/>
                    </a:lnTo>
                    <a:lnTo>
                      <a:pt x="17" y="169"/>
                    </a:lnTo>
                    <a:lnTo>
                      <a:pt x="23" y="178"/>
                    </a:lnTo>
                    <a:lnTo>
                      <a:pt x="30" y="185"/>
                    </a:lnTo>
                    <a:lnTo>
                      <a:pt x="38" y="193"/>
                    </a:lnTo>
                    <a:lnTo>
                      <a:pt x="47" y="199"/>
                    </a:lnTo>
                    <a:lnTo>
                      <a:pt x="56" y="205"/>
                    </a:lnTo>
                    <a:lnTo>
                      <a:pt x="65" y="210"/>
                    </a:lnTo>
                    <a:lnTo>
                      <a:pt x="74" y="214"/>
                    </a:lnTo>
                    <a:lnTo>
                      <a:pt x="85" y="217"/>
                    </a:lnTo>
                    <a:lnTo>
                      <a:pt x="95" y="219"/>
                    </a:lnTo>
                    <a:lnTo>
                      <a:pt x="106" y="220"/>
                    </a:lnTo>
                    <a:lnTo>
                      <a:pt x="118" y="220"/>
                    </a:lnTo>
                    <a:lnTo>
                      <a:pt x="128" y="218"/>
                    </a:lnTo>
                    <a:lnTo>
                      <a:pt x="139" y="216"/>
                    </a:lnTo>
                    <a:lnTo>
                      <a:pt x="139" y="216"/>
                    </a:lnTo>
                    <a:lnTo>
                      <a:pt x="150" y="213"/>
                    </a:lnTo>
                    <a:lnTo>
                      <a:pt x="160" y="208"/>
                    </a:lnTo>
                    <a:lnTo>
                      <a:pt x="169" y="203"/>
                    </a:lnTo>
                    <a:lnTo>
                      <a:pt x="178" y="196"/>
                    </a:lnTo>
                    <a:lnTo>
                      <a:pt x="187" y="189"/>
                    </a:lnTo>
                    <a:lnTo>
                      <a:pt x="194" y="182"/>
                    </a:lnTo>
                    <a:lnTo>
                      <a:pt x="200" y="174"/>
                    </a:lnTo>
                    <a:lnTo>
                      <a:pt x="206" y="164"/>
                    </a:lnTo>
                    <a:lnTo>
                      <a:pt x="211" y="155"/>
                    </a:lnTo>
                    <a:lnTo>
                      <a:pt x="214" y="145"/>
                    </a:lnTo>
                    <a:lnTo>
                      <a:pt x="217" y="135"/>
                    </a:lnTo>
                    <a:lnTo>
                      <a:pt x="220" y="124"/>
                    </a:lnTo>
                    <a:lnTo>
                      <a:pt x="221" y="114"/>
                    </a:lnTo>
                    <a:lnTo>
                      <a:pt x="221" y="103"/>
                    </a:lnTo>
                    <a:lnTo>
                      <a:pt x="220" y="91"/>
                    </a:lnTo>
                    <a:lnTo>
                      <a:pt x="216" y="81"/>
                    </a:lnTo>
                    <a:lnTo>
                      <a:pt x="216" y="81"/>
                    </a:lnTo>
                    <a:lnTo>
                      <a:pt x="213" y="70"/>
                    </a:lnTo>
                    <a:lnTo>
                      <a:pt x="209" y="59"/>
                    </a:lnTo>
                    <a:lnTo>
                      <a:pt x="203" y="50"/>
                    </a:lnTo>
                    <a:lnTo>
                      <a:pt x="197" y="42"/>
                    </a:lnTo>
                    <a:lnTo>
                      <a:pt x="191" y="34"/>
                    </a:lnTo>
                    <a:lnTo>
                      <a:pt x="183" y="27"/>
                    </a:lnTo>
                    <a:lnTo>
                      <a:pt x="174" y="19"/>
                    </a:lnTo>
                    <a:lnTo>
                      <a:pt x="165" y="14"/>
                    </a:lnTo>
                    <a:lnTo>
                      <a:pt x="156" y="9"/>
                    </a:lnTo>
                    <a:lnTo>
                      <a:pt x="146" y="5"/>
                    </a:lnTo>
                    <a:lnTo>
                      <a:pt x="136" y="2"/>
                    </a:lnTo>
                    <a:lnTo>
                      <a:pt x="126" y="0"/>
                    </a:lnTo>
                    <a:lnTo>
                      <a:pt x="115" y="0"/>
                    </a:lnTo>
                    <a:lnTo>
                      <a:pt x="104" y="0"/>
                    </a:lnTo>
                    <a:lnTo>
                      <a:pt x="93" y="1"/>
                    </a:lnTo>
                    <a:lnTo>
                      <a:pt x="82" y="3"/>
                    </a:lnTo>
                    <a:lnTo>
                      <a:pt x="8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01" name="Group 1500"/>
            <p:cNvGrpSpPr>
              <a:grpSpLocks noChangeAspect="1"/>
            </p:cNvGrpSpPr>
            <p:nvPr/>
          </p:nvGrpSpPr>
          <p:grpSpPr>
            <a:xfrm rot="1501763">
              <a:off x="1106621" y="5873222"/>
              <a:ext cx="120760" cy="83087"/>
              <a:chOff x="3933826" y="3522663"/>
              <a:chExt cx="742950" cy="511175"/>
            </a:xfrm>
            <a:solidFill>
              <a:schemeClr val="accent1"/>
            </a:solidFill>
          </p:grpSpPr>
          <p:sp>
            <p:nvSpPr>
              <p:cNvPr id="1606" name="Freeform 31"/>
              <p:cNvSpPr>
                <a:spLocks noEditPoints="1"/>
              </p:cNvSpPr>
              <p:nvPr/>
            </p:nvSpPr>
            <p:spPr bwMode="auto">
              <a:xfrm>
                <a:off x="3933826" y="3522663"/>
                <a:ext cx="742950" cy="481013"/>
              </a:xfrm>
              <a:custGeom>
                <a:avLst/>
                <a:gdLst>
                  <a:gd name="T0" fmla="*/ 703 w 1873"/>
                  <a:gd name="T1" fmla="*/ 29 h 1216"/>
                  <a:gd name="T2" fmla="*/ 414 w 1873"/>
                  <a:gd name="T3" fmla="*/ 160 h 1216"/>
                  <a:gd name="T4" fmla="*/ 186 w 1873"/>
                  <a:gd name="T5" fmla="*/ 376 h 1216"/>
                  <a:gd name="T6" fmla="*/ 42 w 1873"/>
                  <a:gd name="T7" fmla="*/ 658 h 1216"/>
                  <a:gd name="T8" fmla="*/ 0 w 1873"/>
                  <a:gd name="T9" fmla="*/ 1082 h 1216"/>
                  <a:gd name="T10" fmla="*/ 22 w 1873"/>
                  <a:gd name="T11" fmla="*/ 1156 h 1216"/>
                  <a:gd name="T12" fmla="*/ 94 w 1873"/>
                  <a:gd name="T13" fmla="*/ 1210 h 1216"/>
                  <a:gd name="T14" fmla="*/ 670 w 1873"/>
                  <a:gd name="T15" fmla="*/ 1183 h 1216"/>
                  <a:gd name="T16" fmla="*/ 690 w 1873"/>
                  <a:gd name="T17" fmla="*/ 1092 h 1216"/>
                  <a:gd name="T18" fmla="*/ 767 w 1873"/>
                  <a:gd name="T19" fmla="*/ 991 h 1216"/>
                  <a:gd name="T20" fmla="*/ 857 w 1873"/>
                  <a:gd name="T21" fmla="*/ 942 h 1216"/>
                  <a:gd name="T22" fmla="*/ 936 w 1873"/>
                  <a:gd name="T23" fmla="*/ 930 h 1216"/>
                  <a:gd name="T24" fmla="*/ 1161 w 1873"/>
                  <a:gd name="T25" fmla="*/ 1054 h 1216"/>
                  <a:gd name="T26" fmla="*/ 1203 w 1873"/>
                  <a:gd name="T27" fmla="*/ 1196 h 1216"/>
                  <a:gd name="T28" fmla="*/ 1791 w 1873"/>
                  <a:gd name="T29" fmla="*/ 1205 h 1216"/>
                  <a:gd name="T30" fmla="*/ 1857 w 1873"/>
                  <a:gd name="T31" fmla="*/ 1145 h 1216"/>
                  <a:gd name="T32" fmla="*/ 1873 w 1873"/>
                  <a:gd name="T33" fmla="*/ 936 h 1216"/>
                  <a:gd name="T34" fmla="*/ 1815 w 1873"/>
                  <a:gd name="T35" fmla="*/ 615 h 1216"/>
                  <a:gd name="T36" fmla="*/ 1659 w 1873"/>
                  <a:gd name="T37" fmla="*/ 341 h 1216"/>
                  <a:gd name="T38" fmla="*/ 1421 w 1873"/>
                  <a:gd name="T39" fmla="*/ 135 h 1216"/>
                  <a:gd name="T40" fmla="*/ 1125 w 1873"/>
                  <a:gd name="T41" fmla="*/ 19 h 1216"/>
                  <a:gd name="T42" fmla="*/ 326 w 1873"/>
                  <a:gd name="T43" fmla="*/ 970 h 1216"/>
                  <a:gd name="T44" fmla="*/ 310 w 1873"/>
                  <a:gd name="T45" fmla="*/ 992 h 1216"/>
                  <a:gd name="T46" fmla="*/ 120 w 1873"/>
                  <a:gd name="T47" fmla="*/ 985 h 1216"/>
                  <a:gd name="T48" fmla="*/ 114 w 1873"/>
                  <a:gd name="T49" fmla="*/ 902 h 1216"/>
                  <a:gd name="T50" fmla="*/ 136 w 1873"/>
                  <a:gd name="T51" fmla="*/ 886 h 1216"/>
                  <a:gd name="T52" fmla="*/ 323 w 1873"/>
                  <a:gd name="T53" fmla="*/ 895 h 1216"/>
                  <a:gd name="T54" fmla="*/ 392 w 1873"/>
                  <a:gd name="T55" fmla="*/ 663 h 1216"/>
                  <a:gd name="T56" fmla="*/ 366 w 1873"/>
                  <a:gd name="T57" fmla="*/ 672 h 1216"/>
                  <a:gd name="T58" fmla="*/ 206 w 1873"/>
                  <a:gd name="T59" fmla="*/ 573 h 1216"/>
                  <a:gd name="T60" fmla="*/ 242 w 1873"/>
                  <a:gd name="T61" fmla="*/ 499 h 1216"/>
                  <a:gd name="T62" fmla="*/ 268 w 1873"/>
                  <a:gd name="T63" fmla="*/ 494 h 1216"/>
                  <a:gd name="T64" fmla="*/ 426 w 1873"/>
                  <a:gd name="T65" fmla="*/ 596 h 1216"/>
                  <a:gd name="T66" fmla="*/ 602 w 1873"/>
                  <a:gd name="T67" fmla="*/ 430 h 1216"/>
                  <a:gd name="T68" fmla="*/ 575 w 1873"/>
                  <a:gd name="T69" fmla="*/ 425 h 1216"/>
                  <a:gd name="T70" fmla="*/ 486 w 1873"/>
                  <a:gd name="T71" fmla="*/ 259 h 1216"/>
                  <a:gd name="T72" fmla="*/ 555 w 1873"/>
                  <a:gd name="T73" fmla="*/ 212 h 1216"/>
                  <a:gd name="T74" fmla="*/ 579 w 1873"/>
                  <a:gd name="T75" fmla="*/ 222 h 1216"/>
                  <a:gd name="T76" fmla="*/ 666 w 1873"/>
                  <a:gd name="T77" fmla="*/ 388 h 1216"/>
                  <a:gd name="T78" fmla="*/ 985 w 1873"/>
                  <a:gd name="T79" fmla="*/ 315 h 1216"/>
                  <a:gd name="T80" fmla="*/ 964 w 1873"/>
                  <a:gd name="T81" fmla="*/ 332 h 1216"/>
                  <a:gd name="T82" fmla="*/ 883 w 1873"/>
                  <a:gd name="T83" fmla="*/ 323 h 1216"/>
                  <a:gd name="T84" fmla="*/ 881 w 1873"/>
                  <a:gd name="T85" fmla="*/ 133 h 1216"/>
                  <a:gd name="T86" fmla="*/ 964 w 1873"/>
                  <a:gd name="T87" fmla="*/ 120 h 1216"/>
                  <a:gd name="T88" fmla="*/ 984 w 1873"/>
                  <a:gd name="T89" fmla="*/ 133 h 1216"/>
                  <a:gd name="T90" fmla="*/ 1290 w 1873"/>
                  <a:gd name="T91" fmla="*/ 425 h 1216"/>
                  <a:gd name="T92" fmla="*/ 1263 w 1873"/>
                  <a:gd name="T93" fmla="*/ 430 h 1216"/>
                  <a:gd name="T94" fmla="*/ 1198 w 1873"/>
                  <a:gd name="T95" fmla="*/ 380 h 1216"/>
                  <a:gd name="T96" fmla="*/ 1291 w 1873"/>
                  <a:gd name="T97" fmla="*/ 216 h 1216"/>
                  <a:gd name="T98" fmla="*/ 1370 w 1873"/>
                  <a:gd name="T99" fmla="*/ 245 h 1216"/>
                  <a:gd name="T100" fmla="*/ 1380 w 1873"/>
                  <a:gd name="T101" fmla="*/ 267 h 1216"/>
                  <a:gd name="T102" fmla="*/ 1440 w 1873"/>
                  <a:gd name="T103" fmla="*/ 604 h 1216"/>
                  <a:gd name="T104" fmla="*/ 1449 w 1873"/>
                  <a:gd name="T105" fmla="*/ 579 h 1216"/>
                  <a:gd name="T106" fmla="*/ 1616 w 1873"/>
                  <a:gd name="T107" fmla="*/ 493 h 1216"/>
                  <a:gd name="T108" fmla="*/ 1660 w 1873"/>
                  <a:gd name="T109" fmla="*/ 564 h 1216"/>
                  <a:gd name="T110" fmla="*/ 1503 w 1873"/>
                  <a:gd name="T111" fmla="*/ 670 h 1216"/>
                  <a:gd name="T112" fmla="*/ 1479 w 1873"/>
                  <a:gd name="T113" fmla="*/ 669 h 1216"/>
                  <a:gd name="T114" fmla="*/ 1750 w 1873"/>
                  <a:gd name="T115" fmla="*/ 978 h 1216"/>
                  <a:gd name="T116" fmla="*/ 1560 w 1873"/>
                  <a:gd name="T117" fmla="*/ 992 h 1216"/>
                  <a:gd name="T118" fmla="*/ 1541 w 1873"/>
                  <a:gd name="T119" fmla="*/ 978 h 1216"/>
                  <a:gd name="T120" fmla="*/ 1543 w 1873"/>
                  <a:gd name="T121" fmla="*/ 895 h 1216"/>
                  <a:gd name="T122" fmla="*/ 1730 w 1873"/>
                  <a:gd name="T123" fmla="*/ 886 h 1216"/>
                  <a:gd name="T124" fmla="*/ 1751 w 1873"/>
                  <a:gd name="T125" fmla="*/ 902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3" h="1216">
                    <a:moveTo>
                      <a:pt x="936" y="0"/>
                    </a:moveTo>
                    <a:lnTo>
                      <a:pt x="936" y="0"/>
                    </a:lnTo>
                    <a:lnTo>
                      <a:pt x="888" y="1"/>
                    </a:lnTo>
                    <a:lnTo>
                      <a:pt x="841" y="5"/>
                    </a:lnTo>
                    <a:lnTo>
                      <a:pt x="794" y="11"/>
                    </a:lnTo>
                    <a:lnTo>
                      <a:pt x="748" y="19"/>
                    </a:lnTo>
                    <a:lnTo>
                      <a:pt x="703" y="29"/>
                    </a:lnTo>
                    <a:lnTo>
                      <a:pt x="659" y="43"/>
                    </a:lnTo>
                    <a:lnTo>
                      <a:pt x="614" y="57"/>
                    </a:lnTo>
                    <a:lnTo>
                      <a:pt x="572" y="73"/>
                    </a:lnTo>
                    <a:lnTo>
                      <a:pt x="531" y="92"/>
                    </a:lnTo>
                    <a:lnTo>
                      <a:pt x="491" y="114"/>
                    </a:lnTo>
                    <a:lnTo>
                      <a:pt x="451" y="135"/>
                    </a:lnTo>
                    <a:lnTo>
                      <a:pt x="414" y="160"/>
                    </a:lnTo>
                    <a:lnTo>
                      <a:pt x="377" y="187"/>
                    </a:lnTo>
                    <a:lnTo>
                      <a:pt x="342" y="214"/>
                    </a:lnTo>
                    <a:lnTo>
                      <a:pt x="307" y="243"/>
                    </a:lnTo>
                    <a:lnTo>
                      <a:pt x="275" y="274"/>
                    </a:lnTo>
                    <a:lnTo>
                      <a:pt x="244" y="307"/>
                    </a:lnTo>
                    <a:lnTo>
                      <a:pt x="214" y="341"/>
                    </a:lnTo>
                    <a:lnTo>
                      <a:pt x="186" y="376"/>
                    </a:lnTo>
                    <a:lnTo>
                      <a:pt x="160" y="413"/>
                    </a:lnTo>
                    <a:lnTo>
                      <a:pt x="136" y="451"/>
                    </a:lnTo>
                    <a:lnTo>
                      <a:pt x="113" y="490"/>
                    </a:lnTo>
                    <a:lnTo>
                      <a:pt x="92" y="530"/>
                    </a:lnTo>
                    <a:lnTo>
                      <a:pt x="74" y="573"/>
                    </a:lnTo>
                    <a:lnTo>
                      <a:pt x="56" y="615"/>
                    </a:lnTo>
                    <a:lnTo>
                      <a:pt x="42" y="658"/>
                    </a:lnTo>
                    <a:lnTo>
                      <a:pt x="30" y="702"/>
                    </a:lnTo>
                    <a:lnTo>
                      <a:pt x="19" y="748"/>
                    </a:lnTo>
                    <a:lnTo>
                      <a:pt x="11" y="794"/>
                    </a:lnTo>
                    <a:lnTo>
                      <a:pt x="5" y="840"/>
                    </a:lnTo>
                    <a:lnTo>
                      <a:pt x="1" y="889"/>
                    </a:lnTo>
                    <a:lnTo>
                      <a:pt x="0" y="936"/>
                    </a:lnTo>
                    <a:lnTo>
                      <a:pt x="0" y="1082"/>
                    </a:lnTo>
                    <a:lnTo>
                      <a:pt x="0" y="1082"/>
                    </a:lnTo>
                    <a:lnTo>
                      <a:pt x="1" y="1096"/>
                    </a:lnTo>
                    <a:lnTo>
                      <a:pt x="3" y="1109"/>
                    </a:lnTo>
                    <a:lnTo>
                      <a:pt x="6" y="1121"/>
                    </a:lnTo>
                    <a:lnTo>
                      <a:pt x="10" y="1134"/>
                    </a:lnTo>
                    <a:lnTo>
                      <a:pt x="16" y="1145"/>
                    </a:lnTo>
                    <a:lnTo>
                      <a:pt x="22" y="1156"/>
                    </a:lnTo>
                    <a:lnTo>
                      <a:pt x="31" y="1167"/>
                    </a:lnTo>
                    <a:lnTo>
                      <a:pt x="39" y="1176"/>
                    </a:lnTo>
                    <a:lnTo>
                      <a:pt x="49" y="1185"/>
                    </a:lnTo>
                    <a:lnTo>
                      <a:pt x="59" y="1192"/>
                    </a:lnTo>
                    <a:lnTo>
                      <a:pt x="70" y="1199"/>
                    </a:lnTo>
                    <a:lnTo>
                      <a:pt x="82" y="1205"/>
                    </a:lnTo>
                    <a:lnTo>
                      <a:pt x="94" y="1210"/>
                    </a:lnTo>
                    <a:lnTo>
                      <a:pt x="107" y="1213"/>
                    </a:lnTo>
                    <a:lnTo>
                      <a:pt x="120" y="1215"/>
                    </a:lnTo>
                    <a:lnTo>
                      <a:pt x="134" y="1216"/>
                    </a:lnTo>
                    <a:lnTo>
                      <a:pt x="670" y="1216"/>
                    </a:lnTo>
                    <a:lnTo>
                      <a:pt x="670" y="1196"/>
                    </a:lnTo>
                    <a:lnTo>
                      <a:pt x="670" y="1196"/>
                    </a:lnTo>
                    <a:lnTo>
                      <a:pt x="670" y="1183"/>
                    </a:lnTo>
                    <a:lnTo>
                      <a:pt x="671" y="1170"/>
                    </a:lnTo>
                    <a:lnTo>
                      <a:pt x="673" y="1156"/>
                    </a:lnTo>
                    <a:lnTo>
                      <a:pt x="675" y="1143"/>
                    </a:lnTo>
                    <a:lnTo>
                      <a:pt x="678" y="1129"/>
                    </a:lnTo>
                    <a:lnTo>
                      <a:pt x="681" y="1117"/>
                    </a:lnTo>
                    <a:lnTo>
                      <a:pt x="685" y="1105"/>
                    </a:lnTo>
                    <a:lnTo>
                      <a:pt x="690" y="1092"/>
                    </a:lnTo>
                    <a:lnTo>
                      <a:pt x="696" y="1081"/>
                    </a:lnTo>
                    <a:lnTo>
                      <a:pt x="702" y="1070"/>
                    </a:lnTo>
                    <a:lnTo>
                      <a:pt x="708" y="1058"/>
                    </a:lnTo>
                    <a:lnTo>
                      <a:pt x="715" y="1047"/>
                    </a:lnTo>
                    <a:lnTo>
                      <a:pt x="731" y="1027"/>
                    </a:lnTo>
                    <a:lnTo>
                      <a:pt x="748" y="1008"/>
                    </a:lnTo>
                    <a:lnTo>
                      <a:pt x="767" y="991"/>
                    </a:lnTo>
                    <a:lnTo>
                      <a:pt x="787" y="975"/>
                    </a:lnTo>
                    <a:lnTo>
                      <a:pt x="799" y="968"/>
                    </a:lnTo>
                    <a:lnTo>
                      <a:pt x="809" y="962"/>
                    </a:lnTo>
                    <a:lnTo>
                      <a:pt x="821" y="956"/>
                    </a:lnTo>
                    <a:lnTo>
                      <a:pt x="832" y="950"/>
                    </a:lnTo>
                    <a:lnTo>
                      <a:pt x="845" y="946"/>
                    </a:lnTo>
                    <a:lnTo>
                      <a:pt x="857" y="942"/>
                    </a:lnTo>
                    <a:lnTo>
                      <a:pt x="870" y="938"/>
                    </a:lnTo>
                    <a:lnTo>
                      <a:pt x="883" y="935"/>
                    </a:lnTo>
                    <a:lnTo>
                      <a:pt x="895" y="933"/>
                    </a:lnTo>
                    <a:lnTo>
                      <a:pt x="909" y="931"/>
                    </a:lnTo>
                    <a:lnTo>
                      <a:pt x="923" y="930"/>
                    </a:lnTo>
                    <a:lnTo>
                      <a:pt x="936" y="930"/>
                    </a:lnTo>
                    <a:lnTo>
                      <a:pt x="936" y="930"/>
                    </a:lnTo>
                    <a:lnTo>
                      <a:pt x="948" y="931"/>
                    </a:lnTo>
                    <a:lnTo>
                      <a:pt x="959" y="932"/>
                    </a:lnTo>
                    <a:lnTo>
                      <a:pt x="1316" y="515"/>
                    </a:lnTo>
                    <a:lnTo>
                      <a:pt x="1351" y="537"/>
                    </a:lnTo>
                    <a:lnTo>
                      <a:pt x="1148" y="1037"/>
                    </a:lnTo>
                    <a:lnTo>
                      <a:pt x="1148" y="1037"/>
                    </a:lnTo>
                    <a:lnTo>
                      <a:pt x="1161" y="1054"/>
                    </a:lnTo>
                    <a:lnTo>
                      <a:pt x="1171" y="1072"/>
                    </a:lnTo>
                    <a:lnTo>
                      <a:pt x="1180" y="1091"/>
                    </a:lnTo>
                    <a:lnTo>
                      <a:pt x="1189" y="1111"/>
                    </a:lnTo>
                    <a:lnTo>
                      <a:pt x="1195" y="1132"/>
                    </a:lnTo>
                    <a:lnTo>
                      <a:pt x="1199" y="1152"/>
                    </a:lnTo>
                    <a:lnTo>
                      <a:pt x="1202" y="1174"/>
                    </a:lnTo>
                    <a:lnTo>
                      <a:pt x="1203" y="1196"/>
                    </a:lnTo>
                    <a:lnTo>
                      <a:pt x="1203" y="1216"/>
                    </a:lnTo>
                    <a:lnTo>
                      <a:pt x="1739" y="1216"/>
                    </a:lnTo>
                    <a:lnTo>
                      <a:pt x="1739" y="1216"/>
                    </a:lnTo>
                    <a:lnTo>
                      <a:pt x="1753" y="1215"/>
                    </a:lnTo>
                    <a:lnTo>
                      <a:pt x="1766" y="1213"/>
                    </a:lnTo>
                    <a:lnTo>
                      <a:pt x="1778" y="1210"/>
                    </a:lnTo>
                    <a:lnTo>
                      <a:pt x="1791" y="1205"/>
                    </a:lnTo>
                    <a:lnTo>
                      <a:pt x="1803" y="1199"/>
                    </a:lnTo>
                    <a:lnTo>
                      <a:pt x="1813" y="1192"/>
                    </a:lnTo>
                    <a:lnTo>
                      <a:pt x="1824" y="1185"/>
                    </a:lnTo>
                    <a:lnTo>
                      <a:pt x="1834" y="1176"/>
                    </a:lnTo>
                    <a:lnTo>
                      <a:pt x="1842" y="1167"/>
                    </a:lnTo>
                    <a:lnTo>
                      <a:pt x="1850" y="1156"/>
                    </a:lnTo>
                    <a:lnTo>
                      <a:pt x="1857" y="1145"/>
                    </a:lnTo>
                    <a:lnTo>
                      <a:pt x="1863" y="1134"/>
                    </a:lnTo>
                    <a:lnTo>
                      <a:pt x="1867" y="1121"/>
                    </a:lnTo>
                    <a:lnTo>
                      <a:pt x="1870" y="1109"/>
                    </a:lnTo>
                    <a:lnTo>
                      <a:pt x="1872" y="1096"/>
                    </a:lnTo>
                    <a:lnTo>
                      <a:pt x="1873" y="1082"/>
                    </a:lnTo>
                    <a:lnTo>
                      <a:pt x="1873" y="936"/>
                    </a:lnTo>
                    <a:lnTo>
                      <a:pt x="1873" y="936"/>
                    </a:lnTo>
                    <a:lnTo>
                      <a:pt x="1872" y="889"/>
                    </a:lnTo>
                    <a:lnTo>
                      <a:pt x="1868" y="840"/>
                    </a:lnTo>
                    <a:lnTo>
                      <a:pt x="1862" y="794"/>
                    </a:lnTo>
                    <a:lnTo>
                      <a:pt x="1854" y="748"/>
                    </a:lnTo>
                    <a:lnTo>
                      <a:pt x="1843" y="702"/>
                    </a:lnTo>
                    <a:lnTo>
                      <a:pt x="1831" y="658"/>
                    </a:lnTo>
                    <a:lnTo>
                      <a:pt x="1815" y="615"/>
                    </a:lnTo>
                    <a:lnTo>
                      <a:pt x="1799" y="573"/>
                    </a:lnTo>
                    <a:lnTo>
                      <a:pt x="1780" y="530"/>
                    </a:lnTo>
                    <a:lnTo>
                      <a:pt x="1760" y="490"/>
                    </a:lnTo>
                    <a:lnTo>
                      <a:pt x="1737" y="451"/>
                    </a:lnTo>
                    <a:lnTo>
                      <a:pt x="1713" y="413"/>
                    </a:lnTo>
                    <a:lnTo>
                      <a:pt x="1687" y="376"/>
                    </a:lnTo>
                    <a:lnTo>
                      <a:pt x="1659" y="341"/>
                    </a:lnTo>
                    <a:lnTo>
                      <a:pt x="1629" y="307"/>
                    </a:lnTo>
                    <a:lnTo>
                      <a:pt x="1598" y="274"/>
                    </a:lnTo>
                    <a:lnTo>
                      <a:pt x="1565" y="243"/>
                    </a:lnTo>
                    <a:lnTo>
                      <a:pt x="1531" y="214"/>
                    </a:lnTo>
                    <a:lnTo>
                      <a:pt x="1496" y="187"/>
                    </a:lnTo>
                    <a:lnTo>
                      <a:pt x="1459" y="160"/>
                    </a:lnTo>
                    <a:lnTo>
                      <a:pt x="1421" y="135"/>
                    </a:lnTo>
                    <a:lnTo>
                      <a:pt x="1382" y="114"/>
                    </a:lnTo>
                    <a:lnTo>
                      <a:pt x="1342" y="92"/>
                    </a:lnTo>
                    <a:lnTo>
                      <a:pt x="1301" y="73"/>
                    </a:lnTo>
                    <a:lnTo>
                      <a:pt x="1259" y="57"/>
                    </a:lnTo>
                    <a:lnTo>
                      <a:pt x="1214" y="43"/>
                    </a:lnTo>
                    <a:lnTo>
                      <a:pt x="1170" y="29"/>
                    </a:lnTo>
                    <a:lnTo>
                      <a:pt x="1125" y="19"/>
                    </a:lnTo>
                    <a:lnTo>
                      <a:pt x="1078" y="11"/>
                    </a:lnTo>
                    <a:lnTo>
                      <a:pt x="1032" y="5"/>
                    </a:lnTo>
                    <a:lnTo>
                      <a:pt x="985" y="1"/>
                    </a:lnTo>
                    <a:lnTo>
                      <a:pt x="936" y="0"/>
                    </a:lnTo>
                    <a:lnTo>
                      <a:pt x="936" y="0"/>
                    </a:lnTo>
                    <a:close/>
                    <a:moveTo>
                      <a:pt x="326" y="970"/>
                    </a:moveTo>
                    <a:lnTo>
                      <a:pt x="326" y="970"/>
                    </a:lnTo>
                    <a:lnTo>
                      <a:pt x="326" y="975"/>
                    </a:lnTo>
                    <a:lnTo>
                      <a:pt x="324" y="978"/>
                    </a:lnTo>
                    <a:lnTo>
                      <a:pt x="323" y="982"/>
                    </a:lnTo>
                    <a:lnTo>
                      <a:pt x="320" y="985"/>
                    </a:lnTo>
                    <a:lnTo>
                      <a:pt x="317" y="987"/>
                    </a:lnTo>
                    <a:lnTo>
                      <a:pt x="313" y="990"/>
                    </a:lnTo>
                    <a:lnTo>
                      <a:pt x="310" y="992"/>
                    </a:lnTo>
                    <a:lnTo>
                      <a:pt x="304" y="992"/>
                    </a:lnTo>
                    <a:lnTo>
                      <a:pt x="136" y="992"/>
                    </a:lnTo>
                    <a:lnTo>
                      <a:pt x="136" y="992"/>
                    </a:lnTo>
                    <a:lnTo>
                      <a:pt x="131" y="992"/>
                    </a:lnTo>
                    <a:lnTo>
                      <a:pt x="127" y="990"/>
                    </a:lnTo>
                    <a:lnTo>
                      <a:pt x="123" y="987"/>
                    </a:lnTo>
                    <a:lnTo>
                      <a:pt x="120" y="985"/>
                    </a:lnTo>
                    <a:lnTo>
                      <a:pt x="118" y="982"/>
                    </a:lnTo>
                    <a:lnTo>
                      <a:pt x="116" y="978"/>
                    </a:lnTo>
                    <a:lnTo>
                      <a:pt x="114" y="975"/>
                    </a:lnTo>
                    <a:lnTo>
                      <a:pt x="114" y="970"/>
                    </a:lnTo>
                    <a:lnTo>
                      <a:pt x="114" y="907"/>
                    </a:lnTo>
                    <a:lnTo>
                      <a:pt x="114" y="907"/>
                    </a:lnTo>
                    <a:lnTo>
                      <a:pt x="114" y="902"/>
                    </a:lnTo>
                    <a:lnTo>
                      <a:pt x="116" y="899"/>
                    </a:lnTo>
                    <a:lnTo>
                      <a:pt x="118" y="895"/>
                    </a:lnTo>
                    <a:lnTo>
                      <a:pt x="120" y="892"/>
                    </a:lnTo>
                    <a:lnTo>
                      <a:pt x="123" y="889"/>
                    </a:lnTo>
                    <a:lnTo>
                      <a:pt x="127" y="888"/>
                    </a:lnTo>
                    <a:lnTo>
                      <a:pt x="131" y="886"/>
                    </a:lnTo>
                    <a:lnTo>
                      <a:pt x="136" y="886"/>
                    </a:lnTo>
                    <a:lnTo>
                      <a:pt x="304" y="886"/>
                    </a:lnTo>
                    <a:lnTo>
                      <a:pt x="304" y="886"/>
                    </a:lnTo>
                    <a:lnTo>
                      <a:pt x="310" y="886"/>
                    </a:lnTo>
                    <a:lnTo>
                      <a:pt x="313" y="888"/>
                    </a:lnTo>
                    <a:lnTo>
                      <a:pt x="317" y="889"/>
                    </a:lnTo>
                    <a:lnTo>
                      <a:pt x="320" y="892"/>
                    </a:lnTo>
                    <a:lnTo>
                      <a:pt x="323" y="895"/>
                    </a:lnTo>
                    <a:lnTo>
                      <a:pt x="324" y="899"/>
                    </a:lnTo>
                    <a:lnTo>
                      <a:pt x="326" y="902"/>
                    </a:lnTo>
                    <a:lnTo>
                      <a:pt x="326" y="907"/>
                    </a:lnTo>
                    <a:lnTo>
                      <a:pt x="326" y="970"/>
                    </a:lnTo>
                    <a:close/>
                    <a:moveTo>
                      <a:pt x="423" y="608"/>
                    </a:moveTo>
                    <a:lnTo>
                      <a:pt x="392" y="663"/>
                    </a:lnTo>
                    <a:lnTo>
                      <a:pt x="392" y="663"/>
                    </a:lnTo>
                    <a:lnTo>
                      <a:pt x="389" y="666"/>
                    </a:lnTo>
                    <a:lnTo>
                      <a:pt x="386" y="669"/>
                    </a:lnTo>
                    <a:lnTo>
                      <a:pt x="383" y="671"/>
                    </a:lnTo>
                    <a:lnTo>
                      <a:pt x="379" y="672"/>
                    </a:lnTo>
                    <a:lnTo>
                      <a:pt x="374" y="674"/>
                    </a:lnTo>
                    <a:lnTo>
                      <a:pt x="370" y="674"/>
                    </a:lnTo>
                    <a:lnTo>
                      <a:pt x="366" y="672"/>
                    </a:lnTo>
                    <a:lnTo>
                      <a:pt x="362" y="670"/>
                    </a:lnTo>
                    <a:lnTo>
                      <a:pt x="216" y="586"/>
                    </a:lnTo>
                    <a:lnTo>
                      <a:pt x="216" y="586"/>
                    </a:lnTo>
                    <a:lnTo>
                      <a:pt x="212" y="583"/>
                    </a:lnTo>
                    <a:lnTo>
                      <a:pt x="210" y="580"/>
                    </a:lnTo>
                    <a:lnTo>
                      <a:pt x="207" y="577"/>
                    </a:lnTo>
                    <a:lnTo>
                      <a:pt x="206" y="573"/>
                    </a:lnTo>
                    <a:lnTo>
                      <a:pt x="205" y="569"/>
                    </a:lnTo>
                    <a:lnTo>
                      <a:pt x="205" y="564"/>
                    </a:lnTo>
                    <a:lnTo>
                      <a:pt x="206" y="561"/>
                    </a:lnTo>
                    <a:lnTo>
                      <a:pt x="208" y="557"/>
                    </a:lnTo>
                    <a:lnTo>
                      <a:pt x="240" y="502"/>
                    </a:lnTo>
                    <a:lnTo>
                      <a:pt x="240" y="502"/>
                    </a:lnTo>
                    <a:lnTo>
                      <a:pt x="242" y="499"/>
                    </a:lnTo>
                    <a:lnTo>
                      <a:pt x="245" y="495"/>
                    </a:lnTo>
                    <a:lnTo>
                      <a:pt x="249" y="493"/>
                    </a:lnTo>
                    <a:lnTo>
                      <a:pt x="252" y="492"/>
                    </a:lnTo>
                    <a:lnTo>
                      <a:pt x="256" y="491"/>
                    </a:lnTo>
                    <a:lnTo>
                      <a:pt x="260" y="491"/>
                    </a:lnTo>
                    <a:lnTo>
                      <a:pt x="264" y="492"/>
                    </a:lnTo>
                    <a:lnTo>
                      <a:pt x="268" y="494"/>
                    </a:lnTo>
                    <a:lnTo>
                      <a:pt x="416" y="579"/>
                    </a:lnTo>
                    <a:lnTo>
                      <a:pt x="416" y="579"/>
                    </a:lnTo>
                    <a:lnTo>
                      <a:pt x="419" y="582"/>
                    </a:lnTo>
                    <a:lnTo>
                      <a:pt x="422" y="584"/>
                    </a:lnTo>
                    <a:lnTo>
                      <a:pt x="424" y="588"/>
                    </a:lnTo>
                    <a:lnTo>
                      <a:pt x="425" y="592"/>
                    </a:lnTo>
                    <a:lnTo>
                      <a:pt x="426" y="596"/>
                    </a:lnTo>
                    <a:lnTo>
                      <a:pt x="426" y="600"/>
                    </a:lnTo>
                    <a:lnTo>
                      <a:pt x="425" y="604"/>
                    </a:lnTo>
                    <a:lnTo>
                      <a:pt x="423" y="608"/>
                    </a:lnTo>
                    <a:lnTo>
                      <a:pt x="423" y="608"/>
                    </a:lnTo>
                    <a:close/>
                    <a:moveTo>
                      <a:pt x="656" y="398"/>
                    </a:moveTo>
                    <a:lnTo>
                      <a:pt x="602" y="430"/>
                    </a:lnTo>
                    <a:lnTo>
                      <a:pt x="602" y="430"/>
                    </a:lnTo>
                    <a:lnTo>
                      <a:pt x="598" y="432"/>
                    </a:lnTo>
                    <a:lnTo>
                      <a:pt x="594" y="432"/>
                    </a:lnTo>
                    <a:lnTo>
                      <a:pt x="590" y="433"/>
                    </a:lnTo>
                    <a:lnTo>
                      <a:pt x="585" y="432"/>
                    </a:lnTo>
                    <a:lnTo>
                      <a:pt x="582" y="431"/>
                    </a:lnTo>
                    <a:lnTo>
                      <a:pt x="578" y="428"/>
                    </a:lnTo>
                    <a:lnTo>
                      <a:pt x="575" y="425"/>
                    </a:lnTo>
                    <a:lnTo>
                      <a:pt x="573" y="421"/>
                    </a:lnTo>
                    <a:lnTo>
                      <a:pt x="488" y="274"/>
                    </a:lnTo>
                    <a:lnTo>
                      <a:pt x="488" y="274"/>
                    </a:lnTo>
                    <a:lnTo>
                      <a:pt x="486" y="271"/>
                    </a:lnTo>
                    <a:lnTo>
                      <a:pt x="486" y="267"/>
                    </a:lnTo>
                    <a:lnTo>
                      <a:pt x="486" y="263"/>
                    </a:lnTo>
                    <a:lnTo>
                      <a:pt x="486" y="259"/>
                    </a:lnTo>
                    <a:lnTo>
                      <a:pt x="488" y="255"/>
                    </a:lnTo>
                    <a:lnTo>
                      <a:pt x="490" y="252"/>
                    </a:lnTo>
                    <a:lnTo>
                      <a:pt x="492" y="248"/>
                    </a:lnTo>
                    <a:lnTo>
                      <a:pt x="496" y="245"/>
                    </a:lnTo>
                    <a:lnTo>
                      <a:pt x="550" y="213"/>
                    </a:lnTo>
                    <a:lnTo>
                      <a:pt x="550" y="213"/>
                    </a:lnTo>
                    <a:lnTo>
                      <a:pt x="555" y="212"/>
                    </a:lnTo>
                    <a:lnTo>
                      <a:pt x="559" y="211"/>
                    </a:lnTo>
                    <a:lnTo>
                      <a:pt x="563" y="211"/>
                    </a:lnTo>
                    <a:lnTo>
                      <a:pt x="567" y="211"/>
                    </a:lnTo>
                    <a:lnTo>
                      <a:pt x="571" y="213"/>
                    </a:lnTo>
                    <a:lnTo>
                      <a:pt x="574" y="216"/>
                    </a:lnTo>
                    <a:lnTo>
                      <a:pt x="577" y="219"/>
                    </a:lnTo>
                    <a:lnTo>
                      <a:pt x="579" y="222"/>
                    </a:lnTo>
                    <a:lnTo>
                      <a:pt x="665" y="369"/>
                    </a:lnTo>
                    <a:lnTo>
                      <a:pt x="665" y="369"/>
                    </a:lnTo>
                    <a:lnTo>
                      <a:pt x="667" y="373"/>
                    </a:lnTo>
                    <a:lnTo>
                      <a:pt x="667" y="377"/>
                    </a:lnTo>
                    <a:lnTo>
                      <a:pt x="668" y="381"/>
                    </a:lnTo>
                    <a:lnTo>
                      <a:pt x="667" y="384"/>
                    </a:lnTo>
                    <a:lnTo>
                      <a:pt x="666" y="388"/>
                    </a:lnTo>
                    <a:lnTo>
                      <a:pt x="663" y="393"/>
                    </a:lnTo>
                    <a:lnTo>
                      <a:pt x="661" y="396"/>
                    </a:lnTo>
                    <a:lnTo>
                      <a:pt x="656" y="398"/>
                    </a:lnTo>
                    <a:lnTo>
                      <a:pt x="656" y="398"/>
                    </a:lnTo>
                    <a:close/>
                    <a:moveTo>
                      <a:pt x="986" y="311"/>
                    </a:moveTo>
                    <a:lnTo>
                      <a:pt x="986" y="311"/>
                    </a:lnTo>
                    <a:lnTo>
                      <a:pt x="985" y="315"/>
                    </a:lnTo>
                    <a:lnTo>
                      <a:pt x="984" y="319"/>
                    </a:lnTo>
                    <a:lnTo>
                      <a:pt x="982" y="323"/>
                    </a:lnTo>
                    <a:lnTo>
                      <a:pt x="980" y="326"/>
                    </a:lnTo>
                    <a:lnTo>
                      <a:pt x="976" y="329"/>
                    </a:lnTo>
                    <a:lnTo>
                      <a:pt x="972" y="331"/>
                    </a:lnTo>
                    <a:lnTo>
                      <a:pt x="968" y="332"/>
                    </a:lnTo>
                    <a:lnTo>
                      <a:pt x="964" y="332"/>
                    </a:lnTo>
                    <a:lnTo>
                      <a:pt x="900" y="332"/>
                    </a:lnTo>
                    <a:lnTo>
                      <a:pt x="900" y="332"/>
                    </a:lnTo>
                    <a:lnTo>
                      <a:pt x="896" y="332"/>
                    </a:lnTo>
                    <a:lnTo>
                      <a:pt x="892" y="331"/>
                    </a:lnTo>
                    <a:lnTo>
                      <a:pt x="889" y="329"/>
                    </a:lnTo>
                    <a:lnTo>
                      <a:pt x="886" y="326"/>
                    </a:lnTo>
                    <a:lnTo>
                      <a:pt x="883" y="323"/>
                    </a:lnTo>
                    <a:lnTo>
                      <a:pt x="881" y="319"/>
                    </a:lnTo>
                    <a:lnTo>
                      <a:pt x="880" y="315"/>
                    </a:lnTo>
                    <a:lnTo>
                      <a:pt x="880" y="311"/>
                    </a:lnTo>
                    <a:lnTo>
                      <a:pt x="880" y="141"/>
                    </a:lnTo>
                    <a:lnTo>
                      <a:pt x="880" y="141"/>
                    </a:lnTo>
                    <a:lnTo>
                      <a:pt x="880" y="137"/>
                    </a:lnTo>
                    <a:lnTo>
                      <a:pt x="881" y="133"/>
                    </a:lnTo>
                    <a:lnTo>
                      <a:pt x="883" y="129"/>
                    </a:lnTo>
                    <a:lnTo>
                      <a:pt x="886" y="126"/>
                    </a:lnTo>
                    <a:lnTo>
                      <a:pt x="889" y="124"/>
                    </a:lnTo>
                    <a:lnTo>
                      <a:pt x="892" y="122"/>
                    </a:lnTo>
                    <a:lnTo>
                      <a:pt x="896" y="121"/>
                    </a:lnTo>
                    <a:lnTo>
                      <a:pt x="900" y="120"/>
                    </a:lnTo>
                    <a:lnTo>
                      <a:pt x="964" y="120"/>
                    </a:lnTo>
                    <a:lnTo>
                      <a:pt x="964" y="120"/>
                    </a:lnTo>
                    <a:lnTo>
                      <a:pt x="968" y="121"/>
                    </a:lnTo>
                    <a:lnTo>
                      <a:pt x="972" y="122"/>
                    </a:lnTo>
                    <a:lnTo>
                      <a:pt x="976" y="124"/>
                    </a:lnTo>
                    <a:lnTo>
                      <a:pt x="980" y="126"/>
                    </a:lnTo>
                    <a:lnTo>
                      <a:pt x="982" y="129"/>
                    </a:lnTo>
                    <a:lnTo>
                      <a:pt x="984" y="133"/>
                    </a:lnTo>
                    <a:lnTo>
                      <a:pt x="985" y="137"/>
                    </a:lnTo>
                    <a:lnTo>
                      <a:pt x="986" y="141"/>
                    </a:lnTo>
                    <a:lnTo>
                      <a:pt x="986" y="311"/>
                    </a:lnTo>
                    <a:close/>
                    <a:moveTo>
                      <a:pt x="1377" y="274"/>
                    </a:moveTo>
                    <a:lnTo>
                      <a:pt x="1292" y="421"/>
                    </a:lnTo>
                    <a:lnTo>
                      <a:pt x="1292" y="421"/>
                    </a:lnTo>
                    <a:lnTo>
                      <a:pt x="1290" y="425"/>
                    </a:lnTo>
                    <a:lnTo>
                      <a:pt x="1286" y="428"/>
                    </a:lnTo>
                    <a:lnTo>
                      <a:pt x="1283" y="430"/>
                    </a:lnTo>
                    <a:lnTo>
                      <a:pt x="1279" y="432"/>
                    </a:lnTo>
                    <a:lnTo>
                      <a:pt x="1275" y="432"/>
                    </a:lnTo>
                    <a:lnTo>
                      <a:pt x="1271" y="432"/>
                    </a:lnTo>
                    <a:lnTo>
                      <a:pt x="1267" y="432"/>
                    </a:lnTo>
                    <a:lnTo>
                      <a:pt x="1263" y="430"/>
                    </a:lnTo>
                    <a:lnTo>
                      <a:pt x="1208" y="398"/>
                    </a:lnTo>
                    <a:lnTo>
                      <a:pt x="1208" y="398"/>
                    </a:lnTo>
                    <a:lnTo>
                      <a:pt x="1204" y="395"/>
                    </a:lnTo>
                    <a:lnTo>
                      <a:pt x="1202" y="393"/>
                    </a:lnTo>
                    <a:lnTo>
                      <a:pt x="1200" y="388"/>
                    </a:lnTo>
                    <a:lnTo>
                      <a:pt x="1198" y="384"/>
                    </a:lnTo>
                    <a:lnTo>
                      <a:pt x="1198" y="380"/>
                    </a:lnTo>
                    <a:lnTo>
                      <a:pt x="1198" y="376"/>
                    </a:lnTo>
                    <a:lnTo>
                      <a:pt x="1199" y="373"/>
                    </a:lnTo>
                    <a:lnTo>
                      <a:pt x="1200" y="369"/>
                    </a:lnTo>
                    <a:lnTo>
                      <a:pt x="1285" y="222"/>
                    </a:lnTo>
                    <a:lnTo>
                      <a:pt x="1285" y="222"/>
                    </a:lnTo>
                    <a:lnTo>
                      <a:pt x="1287" y="219"/>
                    </a:lnTo>
                    <a:lnTo>
                      <a:pt x="1291" y="216"/>
                    </a:lnTo>
                    <a:lnTo>
                      <a:pt x="1295" y="213"/>
                    </a:lnTo>
                    <a:lnTo>
                      <a:pt x="1298" y="211"/>
                    </a:lnTo>
                    <a:lnTo>
                      <a:pt x="1302" y="211"/>
                    </a:lnTo>
                    <a:lnTo>
                      <a:pt x="1306" y="211"/>
                    </a:lnTo>
                    <a:lnTo>
                      <a:pt x="1310" y="212"/>
                    </a:lnTo>
                    <a:lnTo>
                      <a:pt x="1314" y="213"/>
                    </a:lnTo>
                    <a:lnTo>
                      <a:pt x="1370" y="245"/>
                    </a:lnTo>
                    <a:lnTo>
                      <a:pt x="1370" y="245"/>
                    </a:lnTo>
                    <a:lnTo>
                      <a:pt x="1373" y="248"/>
                    </a:lnTo>
                    <a:lnTo>
                      <a:pt x="1376" y="252"/>
                    </a:lnTo>
                    <a:lnTo>
                      <a:pt x="1378" y="255"/>
                    </a:lnTo>
                    <a:lnTo>
                      <a:pt x="1379" y="259"/>
                    </a:lnTo>
                    <a:lnTo>
                      <a:pt x="1380" y="263"/>
                    </a:lnTo>
                    <a:lnTo>
                      <a:pt x="1380" y="267"/>
                    </a:lnTo>
                    <a:lnTo>
                      <a:pt x="1379" y="271"/>
                    </a:lnTo>
                    <a:lnTo>
                      <a:pt x="1377" y="274"/>
                    </a:lnTo>
                    <a:lnTo>
                      <a:pt x="1377" y="274"/>
                    </a:lnTo>
                    <a:close/>
                    <a:moveTo>
                      <a:pt x="1474" y="663"/>
                    </a:moveTo>
                    <a:lnTo>
                      <a:pt x="1442" y="608"/>
                    </a:lnTo>
                    <a:lnTo>
                      <a:pt x="1442" y="608"/>
                    </a:lnTo>
                    <a:lnTo>
                      <a:pt x="1440" y="604"/>
                    </a:lnTo>
                    <a:lnTo>
                      <a:pt x="1439" y="599"/>
                    </a:lnTo>
                    <a:lnTo>
                      <a:pt x="1439" y="595"/>
                    </a:lnTo>
                    <a:lnTo>
                      <a:pt x="1440" y="592"/>
                    </a:lnTo>
                    <a:lnTo>
                      <a:pt x="1441" y="588"/>
                    </a:lnTo>
                    <a:lnTo>
                      <a:pt x="1443" y="584"/>
                    </a:lnTo>
                    <a:lnTo>
                      <a:pt x="1446" y="581"/>
                    </a:lnTo>
                    <a:lnTo>
                      <a:pt x="1449" y="579"/>
                    </a:lnTo>
                    <a:lnTo>
                      <a:pt x="1596" y="494"/>
                    </a:lnTo>
                    <a:lnTo>
                      <a:pt x="1596" y="494"/>
                    </a:lnTo>
                    <a:lnTo>
                      <a:pt x="1600" y="492"/>
                    </a:lnTo>
                    <a:lnTo>
                      <a:pt x="1604" y="491"/>
                    </a:lnTo>
                    <a:lnTo>
                      <a:pt x="1609" y="491"/>
                    </a:lnTo>
                    <a:lnTo>
                      <a:pt x="1613" y="492"/>
                    </a:lnTo>
                    <a:lnTo>
                      <a:pt x="1616" y="493"/>
                    </a:lnTo>
                    <a:lnTo>
                      <a:pt x="1620" y="495"/>
                    </a:lnTo>
                    <a:lnTo>
                      <a:pt x="1623" y="499"/>
                    </a:lnTo>
                    <a:lnTo>
                      <a:pt x="1625" y="502"/>
                    </a:lnTo>
                    <a:lnTo>
                      <a:pt x="1657" y="557"/>
                    </a:lnTo>
                    <a:lnTo>
                      <a:pt x="1657" y="557"/>
                    </a:lnTo>
                    <a:lnTo>
                      <a:pt x="1659" y="560"/>
                    </a:lnTo>
                    <a:lnTo>
                      <a:pt x="1660" y="564"/>
                    </a:lnTo>
                    <a:lnTo>
                      <a:pt x="1660" y="569"/>
                    </a:lnTo>
                    <a:lnTo>
                      <a:pt x="1659" y="573"/>
                    </a:lnTo>
                    <a:lnTo>
                      <a:pt x="1658" y="577"/>
                    </a:lnTo>
                    <a:lnTo>
                      <a:pt x="1656" y="580"/>
                    </a:lnTo>
                    <a:lnTo>
                      <a:pt x="1653" y="583"/>
                    </a:lnTo>
                    <a:lnTo>
                      <a:pt x="1650" y="586"/>
                    </a:lnTo>
                    <a:lnTo>
                      <a:pt x="1503" y="670"/>
                    </a:lnTo>
                    <a:lnTo>
                      <a:pt x="1503" y="670"/>
                    </a:lnTo>
                    <a:lnTo>
                      <a:pt x="1498" y="672"/>
                    </a:lnTo>
                    <a:lnTo>
                      <a:pt x="1494" y="674"/>
                    </a:lnTo>
                    <a:lnTo>
                      <a:pt x="1490" y="674"/>
                    </a:lnTo>
                    <a:lnTo>
                      <a:pt x="1486" y="672"/>
                    </a:lnTo>
                    <a:lnTo>
                      <a:pt x="1483" y="671"/>
                    </a:lnTo>
                    <a:lnTo>
                      <a:pt x="1479" y="669"/>
                    </a:lnTo>
                    <a:lnTo>
                      <a:pt x="1476" y="666"/>
                    </a:lnTo>
                    <a:lnTo>
                      <a:pt x="1474" y="663"/>
                    </a:lnTo>
                    <a:lnTo>
                      <a:pt x="1474" y="663"/>
                    </a:lnTo>
                    <a:close/>
                    <a:moveTo>
                      <a:pt x="1751" y="970"/>
                    </a:moveTo>
                    <a:lnTo>
                      <a:pt x="1751" y="970"/>
                    </a:lnTo>
                    <a:lnTo>
                      <a:pt x="1751" y="975"/>
                    </a:lnTo>
                    <a:lnTo>
                      <a:pt x="1750" y="978"/>
                    </a:lnTo>
                    <a:lnTo>
                      <a:pt x="1748" y="982"/>
                    </a:lnTo>
                    <a:lnTo>
                      <a:pt x="1744" y="985"/>
                    </a:lnTo>
                    <a:lnTo>
                      <a:pt x="1741" y="987"/>
                    </a:lnTo>
                    <a:lnTo>
                      <a:pt x="1738" y="990"/>
                    </a:lnTo>
                    <a:lnTo>
                      <a:pt x="1734" y="992"/>
                    </a:lnTo>
                    <a:lnTo>
                      <a:pt x="1730" y="992"/>
                    </a:lnTo>
                    <a:lnTo>
                      <a:pt x="1560" y="992"/>
                    </a:lnTo>
                    <a:lnTo>
                      <a:pt x="1560" y="992"/>
                    </a:lnTo>
                    <a:lnTo>
                      <a:pt x="1556" y="992"/>
                    </a:lnTo>
                    <a:lnTo>
                      <a:pt x="1552" y="990"/>
                    </a:lnTo>
                    <a:lnTo>
                      <a:pt x="1548" y="987"/>
                    </a:lnTo>
                    <a:lnTo>
                      <a:pt x="1545" y="985"/>
                    </a:lnTo>
                    <a:lnTo>
                      <a:pt x="1543" y="982"/>
                    </a:lnTo>
                    <a:lnTo>
                      <a:pt x="1541" y="978"/>
                    </a:lnTo>
                    <a:lnTo>
                      <a:pt x="1540" y="975"/>
                    </a:lnTo>
                    <a:lnTo>
                      <a:pt x="1539" y="970"/>
                    </a:lnTo>
                    <a:lnTo>
                      <a:pt x="1539" y="907"/>
                    </a:lnTo>
                    <a:lnTo>
                      <a:pt x="1539" y="907"/>
                    </a:lnTo>
                    <a:lnTo>
                      <a:pt x="1540" y="902"/>
                    </a:lnTo>
                    <a:lnTo>
                      <a:pt x="1541" y="899"/>
                    </a:lnTo>
                    <a:lnTo>
                      <a:pt x="1543" y="895"/>
                    </a:lnTo>
                    <a:lnTo>
                      <a:pt x="1545" y="892"/>
                    </a:lnTo>
                    <a:lnTo>
                      <a:pt x="1548" y="889"/>
                    </a:lnTo>
                    <a:lnTo>
                      <a:pt x="1552" y="888"/>
                    </a:lnTo>
                    <a:lnTo>
                      <a:pt x="1556" y="886"/>
                    </a:lnTo>
                    <a:lnTo>
                      <a:pt x="1560" y="886"/>
                    </a:lnTo>
                    <a:lnTo>
                      <a:pt x="1730" y="886"/>
                    </a:lnTo>
                    <a:lnTo>
                      <a:pt x="1730" y="886"/>
                    </a:lnTo>
                    <a:lnTo>
                      <a:pt x="1734" y="886"/>
                    </a:lnTo>
                    <a:lnTo>
                      <a:pt x="1738" y="888"/>
                    </a:lnTo>
                    <a:lnTo>
                      <a:pt x="1741" y="889"/>
                    </a:lnTo>
                    <a:lnTo>
                      <a:pt x="1744" y="892"/>
                    </a:lnTo>
                    <a:lnTo>
                      <a:pt x="1748" y="895"/>
                    </a:lnTo>
                    <a:lnTo>
                      <a:pt x="1750" y="899"/>
                    </a:lnTo>
                    <a:lnTo>
                      <a:pt x="1751" y="902"/>
                    </a:lnTo>
                    <a:lnTo>
                      <a:pt x="1751" y="907"/>
                    </a:lnTo>
                    <a:lnTo>
                      <a:pt x="1751" y="9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07" name="Freeform 32"/>
              <p:cNvSpPr>
                <a:spLocks/>
              </p:cNvSpPr>
              <p:nvPr/>
            </p:nvSpPr>
            <p:spPr bwMode="auto">
              <a:xfrm>
                <a:off x="4262438" y="3946525"/>
                <a:ext cx="87313" cy="87313"/>
              </a:xfrm>
              <a:custGeom>
                <a:avLst/>
                <a:gdLst>
                  <a:gd name="T0" fmla="*/ 82 w 221"/>
                  <a:gd name="T1" fmla="*/ 3 h 220"/>
                  <a:gd name="T2" fmla="*/ 61 w 221"/>
                  <a:gd name="T3" fmla="*/ 11 h 220"/>
                  <a:gd name="T4" fmla="*/ 43 w 221"/>
                  <a:gd name="T5" fmla="*/ 22 h 220"/>
                  <a:gd name="T6" fmla="*/ 27 w 221"/>
                  <a:gd name="T7" fmla="*/ 37 h 220"/>
                  <a:gd name="T8" fmla="*/ 15 w 221"/>
                  <a:gd name="T9" fmla="*/ 54 h 220"/>
                  <a:gd name="T10" fmla="*/ 6 w 221"/>
                  <a:gd name="T11" fmla="*/ 74 h 220"/>
                  <a:gd name="T12" fmla="*/ 1 w 221"/>
                  <a:gd name="T13" fmla="*/ 94 h 220"/>
                  <a:gd name="T14" fmla="*/ 0 w 221"/>
                  <a:gd name="T15" fmla="*/ 116 h 220"/>
                  <a:gd name="T16" fmla="*/ 4 w 221"/>
                  <a:gd name="T17" fmla="*/ 139 h 220"/>
                  <a:gd name="T18" fmla="*/ 8 w 221"/>
                  <a:gd name="T19" fmla="*/ 149 h 220"/>
                  <a:gd name="T20" fmla="*/ 17 w 221"/>
                  <a:gd name="T21" fmla="*/ 169 h 220"/>
                  <a:gd name="T22" fmla="*/ 30 w 221"/>
                  <a:gd name="T23" fmla="*/ 185 h 220"/>
                  <a:gd name="T24" fmla="*/ 47 w 221"/>
                  <a:gd name="T25" fmla="*/ 199 h 220"/>
                  <a:gd name="T26" fmla="*/ 65 w 221"/>
                  <a:gd name="T27" fmla="*/ 210 h 220"/>
                  <a:gd name="T28" fmla="*/ 85 w 221"/>
                  <a:gd name="T29" fmla="*/ 217 h 220"/>
                  <a:gd name="T30" fmla="*/ 106 w 221"/>
                  <a:gd name="T31" fmla="*/ 220 h 220"/>
                  <a:gd name="T32" fmla="*/ 128 w 221"/>
                  <a:gd name="T33" fmla="*/ 218 h 220"/>
                  <a:gd name="T34" fmla="*/ 139 w 221"/>
                  <a:gd name="T35" fmla="*/ 216 h 220"/>
                  <a:gd name="T36" fmla="*/ 160 w 221"/>
                  <a:gd name="T37" fmla="*/ 208 h 220"/>
                  <a:gd name="T38" fmla="*/ 178 w 221"/>
                  <a:gd name="T39" fmla="*/ 196 h 220"/>
                  <a:gd name="T40" fmla="*/ 194 w 221"/>
                  <a:gd name="T41" fmla="*/ 182 h 220"/>
                  <a:gd name="T42" fmla="*/ 206 w 221"/>
                  <a:gd name="T43" fmla="*/ 164 h 220"/>
                  <a:gd name="T44" fmla="*/ 214 w 221"/>
                  <a:gd name="T45" fmla="*/ 145 h 220"/>
                  <a:gd name="T46" fmla="*/ 220 w 221"/>
                  <a:gd name="T47" fmla="*/ 124 h 220"/>
                  <a:gd name="T48" fmla="*/ 221 w 221"/>
                  <a:gd name="T49" fmla="*/ 103 h 220"/>
                  <a:gd name="T50" fmla="*/ 216 w 221"/>
                  <a:gd name="T51" fmla="*/ 81 h 220"/>
                  <a:gd name="T52" fmla="*/ 213 w 221"/>
                  <a:gd name="T53" fmla="*/ 70 h 220"/>
                  <a:gd name="T54" fmla="*/ 203 w 221"/>
                  <a:gd name="T55" fmla="*/ 50 h 220"/>
                  <a:gd name="T56" fmla="*/ 191 w 221"/>
                  <a:gd name="T57" fmla="*/ 34 h 220"/>
                  <a:gd name="T58" fmla="*/ 174 w 221"/>
                  <a:gd name="T59" fmla="*/ 19 h 220"/>
                  <a:gd name="T60" fmla="*/ 156 w 221"/>
                  <a:gd name="T61" fmla="*/ 9 h 220"/>
                  <a:gd name="T62" fmla="*/ 136 w 221"/>
                  <a:gd name="T63" fmla="*/ 2 h 220"/>
                  <a:gd name="T64" fmla="*/ 115 w 221"/>
                  <a:gd name="T65" fmla="*/ 0 h 220"/>
                  <a:gd name="T66" fmla="*/ 93 w 221"/>
                  <a:gd name="T67" fmla="*/ 1 h 220"/>
                  <a:gd name="T68" fmla="*/ 82 w 221"/>
                  <a:gd name="T69" fmla="*/ 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220">
                    <a:moveTo>
                      <a:pt x="82" y="3"/>
                    </a:moveTo>
                    <a:lnTo>
                      <a:pt x="82" y="3"/>
                    </a:lnTo>
                    <a:lnTo>
                      <a:pt x="71" y="7"/>
                    </a:lnTo>
                    <a:lnTo>
                      <a:pt x="61" y="11"/>
                    </a:lnTo>
                    <a:lnTo>
                      <a:pt x="52" y="16"/>
                    </a:lnTo>
                    <a:lnTo>
                      <a:pt x="43" y="22"/>
                    </a:lnTo>
                    <a:lnTo>
                      <a:pt x="34" y="30"/>
                    </a:lnTo>
                    <a:lnTo>
                      <a:pt x="27" y="37"/>
                    </a:lnTo>
                    <a:lnTo>
                      <a:pt x="21" y="45"/>
                    </a:lnTo>
                    <a:lnTo>
                      <a:pt x="15" y="54"/>
                    </a:lnTo>
                    <a:lnTo>
                      <a:pt x="10" y="64"/>
                    </a:lnTo>
                    <a:lnTo>
                      <a:pt x="6" y="74"/>
                    </a:lnTo>
                    <a:lnTo>
                      <a:pt x="3" y="84"/>
                    </a:lnTo>
                    <a:lnTo>
                      <a:pt x="1" y="94"/>
                    </a:lnTo>
                    <a:lnTo>
                      <a:pt x="0" y="105"/>
                    </a:lnTo>
                    <a:lnTo>
                      <a:pt x="0" y="116"/>
                    </a:lnTo>
                    <a:lnTo>
                      <a:pt x="1" y="127"/>
                    </a:lnTo>
                    <a:lnTo>
                      <a:pt x="4" y="139"/>
                    </a:lnTo>
                    <a:lnTo>
                      <a:pt x="4" y="139"/>
                    </a:lnTo>
                    <a:lnTo>
                      <a:pt x="8" y="149"/>
                    </a:lnTo>
                    <a:lnTo>
                      <a:pt x="12" y="159"/>
                    </a:lnTo>
                    <a:lnTo>
                      <a:pt x="17" y="169"/>
                    </a:lnTo>
                    <a:lnTo>
                      <a:pt x="23" y="178"/>
                    </a:lnTo>
                    <a:lnTo>
                      <a:pt x="30" y="185"/>
                    </a:lnTo>
                    <a:lnTo>
                      <a:pt x="38" y="193"/>
                    </a:lnTo>
                    <a:lnTo>
                      <a:pt x="47" y="199"/>
                    </a:lnTo>
                    <a:lnTo>
                      <a:pt x="56" y="205"/>
                    </a:lnTo>
                    <a:lnTo>
                      <a:pt x="65" y="210"/>
                    </a:lnTo>
                    <a:lnTo>
                      <a:pt x="74" y="214"/>
                    </a:lnTo>
                    <a:lnTo>
                      <a:pt x="85" y="217"/>
                    </a:lnTo>
                    <a:lnTo>
                      <a:pt x="95" y="219"/>
                    </a:lnTo>
                    <a:lnTo>
                      <a:pt x="106" y="220"/>
                    </a:lnTo>
                    <a:lnTo>
                      <a:pt x="118" y="220"/>
                    </a:lnTo>
                    <a:lnTo>
                      <a:pt x="128" y="218"/>
                    </a:lnTo>
                    <a:lnTo>
                      <a:pt x="139" y="216"/>
                    </a:lnTo>
                    <a:lnTo>
                      <a:pt x="139" y="216"/>
                    </a:lnTo>
                    <a:lnTo>
                      <a:pt x="150" y="213"/>
                    </a:lnTo>
                    <a:lnTo>
                      <a:pt x="160" y="208"/>
                    </a:lnTo>
                    <a:lnTo>
                      <a:pt x="169" y="203"/>
                    </a:lnTo>
                    <a:lnTo>
                      <a:pt x="178" y="196"/>
                    </a:lnTo>
                    <a:lnTo>
                      <a:pt x="187" y="189"/>
                    </a:lnTo>
                    <a:lnTo>
                      <a:pt x="194" y="182"/>
                    </a:lnTo>
                    <a:lnTo>
                      <a:pt x="200" y="174"/>
                    </a:lnTo>
                    <a:lnTo>
                      <a:pt x="206" y="164"/>
                    </a:lnTo>
                    <a:lnTo>
                      <a:pt x="211" y="155"/>
                    </a:lnTo>
                    <a:lnTo>
                      <a:pt x="214" y="145"/>
                    </a:lnTo>
                    <a:lnTo>
                      <a:pt x="217" y="135"/>
                    </a:lnTo>
                    <a:lnTo>
                      <a:pt x="220" y="124"/>
                    </a:lnTo>
                    <a:lnTo>
                      <a:pt x="221" y="114"/>
                    </a:lnTo>
                    <a:lnTo>
                      <a:pt x="221" y="103"/>
                    </a:lnTo>
                    <a:lnTo>
                      <a:pt x="220" y="91"/>
                    </a:lnTo>
                    <a:lnTo>
                      <a:pt x="216" y="81"/>
                    </a:lnTo>
                    <a:lnTo>
                      <a:pt x="216" y="81"/>
                    </a:lnTo>
                    <a:lnTo>
                      <a:pt x="213" y="70"/>
                    </a:lnTo>
                    <a:lnTo>
                      <a:pt x="209" y="59"/>
                    </a:lnTo>
                    <a:lnTo>
                      <a:pt x="203" y="50"/>
                    </a:lnTo>
                    <a:lnTo>
                      <a:pt x="197" y="42"/>
                    </a:lnTo>
                    <a:lnTo>
                      <a:pt x="191" y="34"/>
                    </a:lnTo>
                    <a:lnTo>
                      <a:pt x="183" y="27"/>
                    </a:lnTo>
                    <a:lnTo>
                      <a:pt x="174" y="19"/>
                    </a:lnTo>
                    <a:lnTo>
                      <a:pt x="165" y="14"/>
                    </a:lnTo>
                    <a:lnTo>
                      <a:pt x="156" y="9"/>
                    </a:lnTo>
                    <a:lnTo>
                      <a:pt x="146" y="5"/>
                    </a:lnTo>
                    <a:lnTo>
                      <a:pt x="136" y="2"/>
                    </a:lnTo>
                    <a:lnTo>
                      <a:pt x="126" y="0"/>
                    </a:lnTo>
                    <a:lnTo>
                      <a:pt x="115" y="0"/>
                    </a:lnTo>
                    <a:lnTo>
                      <a:pt x="104" y="0"/>
                    </a:lnTo>
                    <a:lnTo>
                      <a:pt x="93" y="1"/>
                    </a:lnTo>
                    <a:lnTo>
                      <a:pt x="82" y="3"/>
                    </a:lnTo>
                    <a:lnTo>
                      <a:pt x="8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502" name="Freeform 12"/>
            <p:cNvSpPr>
              <a:spLocks/>
            </p:cNvSpPr>
            <p:nvPr/>
          </p:nvSpPr>
          <p:spPr bwMode="auto">
            <a:xfrm>
              <a:off x="265104" y="6023317"/>
              <a:ext cx="1135580" cy="413784"/>
            </a:xfrm>
            <a:custGeom>
              <a:avLst/>
              <a:gdLst>
                <a:gd name="T0" fmla="*/ 0 w 1954"/>
                <a:gd name="T1" fmla="*/ 242 h 712"/>
                <a:gd name="T2" fmla="*/ 880 w 1954"/>
                <a:gd name="T3" fmla="*/ 0 h 712"/>
                <a:gd name="T4" fmla="*/ 1808 w 1954"/>
                <a:gd name="T5" fmla="*/ 0 h 712"/>
                <a:gd name="T6" fmla="*/ 1954 w 1954"/>
                <a:gd name="T7" fmla="*/ 368 h 712"/>
                <a:gd name="T8" fmla="*/ 1954 w 1954"/>
                <a:gd name="T9" fmla="*/ 712 h 712"/>
                <a:gd name="T10" fmla="*/ 0 w 1954"/>
                <a:gd name="T11" fmla="*/ 712 h 712"/>
                <a:gd name="T12" fmla="*/ 0 w 1954"/>
                <a:gd name="T13" fmla="*/ 242 h 712"/>
              </a:gdLst>
              <a:ahLst/>
              <a:cxnLst>
                <a:cxn ang="0">
                  <a:pos x="T0" y="T1"/>
                </a:cxn>
                <a:cxn ang="0">
                  <a:pos x="T2" y="T3"/>
                </a:cxn>
                <a:cxn ang="0">
                  <a:pos x="T4" y="T5"/>
                </a:cxn>
                <a:cxn ang="0">
                  <a:pos x="T6" y="T7"/>
                </a:cxn>
                <a:cxn ang="0">
                  <a:pos x="T8" y="T9"/>
                </a:cxn>
                <a:cxn ang="0">
                  <a:pos x="T10" y="T11"/>
                </a:cxn>
                <a:cxn ang="0">
                  <a:pos x="T12" y="T13"/>
                </a:cxn>
              </a:cxnLst>
              <a:rect l="0" t="0" r="r" b="b"/>
              <a:pathLst>
                <a:path w="1954" h="712">
                  <a:moveTo>
                    <a:pt x="0" y="242"/>
                  </a:moveTo>
                  <a:lnTo>
                    <a:pt x="880" y="0"/>
                  </a:lnTo>
                  <a:lnTo>
                    <a:pt x="1808" y="0"/>
                  </a:lnTo>
                  <a:lnTo>
                    <a:pt x="1954" y="368"/>
                  </a:lnTo>
                  <a:lnTo>
                    <a:pt x="1954" y="712"/>
                  </a:lnTo>
                  <a:lnTo>
                    <a:pt x="0" y="712"/>
                  </a:lnTo>
                  <a:lnTo>
                    <a:pt x="0" y="242"/>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3" name="Freeform 13"/>
            <p:cNvSpPr>
              <a:spLocks/>
            </p:cNvSpPr>
            <p:nvPr/>
          </p:nvSpPr>
          <p:spPr bwMode="auto">
            <a:xfrm>
              <a:off x="838125" y="5847807"/>
              <a:ext cx="167373" cy="167373"/>
            </a:xfrm>
            <a:custGeom>
              <a:avLst/>
              <a:gdLst>
                <a:gd name="T0" fmla="*/ 288 w 288"/>
                <a:gd name="T1" fmla="*/ 144 h 288"/>
                <a:gd name="T2" fmla="*/ 284 w 288"/>
                <a:gd name="T3" fmla="*/ 174 h 288"/>
                <a:gd name="T4" fmla="*/ 276 w 288"/>
                <a:gd name="T5" fmla="*/ 200 h 288"/>
                <a:gd name="T6" fmla="*/ 264 w 288"/>
                <a:gd name="T7" fmla="*/ 224 h 288"/>
                <a:gd name="T8" fmla="*/ 246 w 288"/>
                <a:gd name="T9" fmla="*/ 246 h 288"/>
                <a:gd name="T10" fmla="*/ 224 w 288"/>
                <a:gd name="T11" fmla="*/ 264 h 288"/>
                <a:gd name="T12" fmla="*/ 200 w 288"/>
                <a:gd name="T13" fmla="*/ 276 h 288"/>
                <a:gd name="T14" fmla="*/ 172 w 288"/>
                <a:gd name="T15" fmla="*/ 286 h 288"/>
                <a:gd name="T16" fmla="*/ 144 w 288"/>
                <a:gd name="T17" fmla="*/ 288 h 288"/>
                <a:gd name="T18" fmla="*/ 130 w 288"/>
                <a:gd name="T19" fmla="*/ 288 h 288"/>
                <a:gd name="T20" fmla="*/ 102 w 288"/>
                <a:gd name="T21" fmla="*/ 282 h 288"/>
                <a:gd name="T22" fmla="*/ 76 w 288"/>
                <a:gd name="T23" fmla="*/ 270 h 288"/>
                <a:gd name="T24" fmla="*/ 52 w 288"/>
                <a:gd name="T25" fmla="*/ 256 h 288"/>
                <a:gd name="T26" fmla="*/ 32 w 288"/>
                <a:gd name="T27" fmla="*/ 236 h 288"/>
                <a:gd name="T28" fmla="*/ 18 w 288"/>
                <a:gd name="T29" fmla="*/ 212 h 288"/>
                <a:gd name="T30" fmla="*/ 6 w 288"/>
                <a:gd name="T31" fmla="*/ 186 h 288"/>
                <a:gd name="T32" fmla="*/ 0 w 288"/>
                <a:gd name="T33" fmla="*/ 158 h 288"/>
                <a:gd name="T34" fmla="*/ 0 w 288"/>
                <a:gd name="T35" fmla="*/ 144 h 288"/>
                <a:gd name="T36" fmla="*/ 2 w 288"/>
                <a:gd name="T37" fmla="*/ 114 h 288"/>
                <a:gd name="T38" fmla="*/ 12 w 288"/>
                <a:gd name="T39" fmla="*/ 88 h 288"/>
                <a:gd name="T40" fmla="*/ 24 w 288"/>
                <a:gd name="T41" fmla="*/ 64 h 288"/>
                <a:gd name="T42" fmla="*/ 42 w 288"/>
                <a:gd name="T43" fmla="*/ 42 h 288"/>
                <a:gd name="T44" fmla="*/ 64 w 288"/>
                <a:gd name="T45" fmla="*/ 24 h 288"/>
                <a:gd name="T46" fmla="*/ 88 w 288"/>
                <a:gd name="T47" fmla="*/ 12 h 288"/>
                <a:gd name="T48" fmla="*/ 114 w 288"/>
                <a:gd name="T49" fmla="*/ 2 h 288"/>
                <a:gd name="T50" fmla="*/ 144 w 288"/>
                <a:gd name="T51" fmla="*/ 0 h 288"/>
                <a:gd name="T52" fmla="*/ 158 w 288"/>
                <a:gd name="T53" fmla="*/ 0 h 288"/>
                <a:gd name="T54" fmla="*/ 186 w 288"/>
                <a:gd name="T55" fmla="*/ 6 h 288"/>
                <a:gd name="T56" fmla="*/ 212 w 288"/>
                <a:gd name="T57" fmla="*/ 18 h 288"/>
                <a:gd name="T58" fmla="*/ 236 w 288"/>
                <a:gd name="T59" fmla="*/ 32 h 288"/>
                <a:gd name="T60" fmla="*/ 256 w 288"/>
                <a:gd name="T61" fmla="*/ 52 h 288"/>
                <a:gd name="T62" fmla="*/ 270 w 288"/>
                <a:gd name="T63" fmla="*/ 76 h 288"/>
                <a:gd name="T64" fmla="*/ 282 w 288"/>
                <a:gd name="T65" fmla="*/ 102 h 288"/>
                <a:gd name="T66" fmla="*/ 288 w 288"/>
                <a:gd name="T67" fmla="*/ 130 h 288"/>
                <a:gd name="T68" fmla="*/ 288 w 288"/>
                <a:gd name="T69" fmla="*/ 1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8" h="288">
                  <a:moveTo>
                    <a:pt x="288" y="144"/>
                  </a:moveTo>
                  <a:lnTo>
                    <a:pt x="288" y="144"/>
                  </a:lnTo>
                  <a:lnTo>
                    <a:pt x="288" y="158"/>
                  </a:lnTo>
                  <a:lnTo>
                    <a:pt x="284" y="174"/>
                  </a:lnTo>
                  <a:lnTo>
                    <a:pt x="282" y="186"/>
                  </a:lnTo>
                  <a:lnTo>
                    <a:pt x="276" y="200"/>
                  </a:lnTo>
                  <a:lnTo>
                    <a:pt x="270" y="212"/>
                  </a:lnTo>
                  <a:lnTo>
                    <a:pt x="264" y="224"/>
                  </a:lnTo>
                  <a:lnTo>
                    <a:pt x="256" y="236"/>
                  </a:lnTo>
                  <a:lnTo>
                    <a:pt x="246" y="246"/>
                  </a:lnTo>
                  <a:lnTo>
                    <a:pt x="236" y="256"/>
                  </a:lnTo>
                  <a:lnTo>
                    <a:pt x="224" y="264"/>
                  </a:lnTo>
                  <a:lnTo>
                    <a:pt x="212" y="270"/>
                  </a:lnTo>
                  <a:lnTo>
                    <a:pt x="200" y="276"/>
                  </a:lnTo>
                  <a:lnTo>
                    <a:pt x="186" y="282"/>
                  </a:lnTo>
                  <a:lnTo>
                    <a:pt x="172" y="286"/>
                  </a:lnTo>
                  <a:lnTo>
                    <a:pt x="158" y="288"/>
                  </a:lnTo>
                  <a:lnTo>
                    <a:pt x="144" y="288"/>
                  </a:lnTo>
                  <a:lnTo>
                    <a:pt x="144" y="288"/>
                  </a:lnTo>
                  <a:lnTo>
                    <a:pt x="130" y="288"/>
                  </a:lnTo>
                  <a:lnTo>
                    <a:pt x="114" y="286"/>
                  </a:lnTo>
                  <a:lnTo>
                    <a:pt x="102" y="282"/>
                  </a:lnTo>
                  <a:lnTo>
                    <a:pt x="88" y="276"/>
                  </a:lnTo>
                  <a:lnTo>
                    <a:pt x="76" y="270"/>
                  </a:lnTo>
                  <a:lnTo>
                    <a:pt x="64" y="264"/>
                  </a:lnTo>
                  <a:lnTo>
                    <a:pt x="52" y="256"/>
                  </a:lnTo>
                  <a:lnTo>
                    <a:pt x="42" y="246"/>
                  </a:lnTo>
                  <a:lnTo>
                    <a:pt x="32" y="236"/>
                  </a:lnTo>
                  <a:lnTo>
                    <a:pt x="24" y="224"/>
                  </a:lnTo>
                  <a:lnTo>
                    <a:pt x="18" y="212"/>
                  </a:lnTo>
                  <a:lnTo>
                    <a:pt x="12" y="200"/>
                  </a:lnTo>
                  <a:lnTo>
                    <a:pt x="6" y="186"/>
                  </a:lnTo>
                  <a:lnTo>
                    <a:pt x="2" y="174"/>
                  </a:lnTo>
                  <a:lnTo>
                    <a:pt x="0" y="158"/>
                  </a:lnTo>
                  <a:lnTo>
                    <a:pt x="0" y="144"/>
                  </a:lnTo>
                  <a:lnTo>
                    <a:pt x="0" y="144"/>
                  </a:lnTo>
                  <a:lnTo>
                    <a:pt x="0" y="130"/>
                  </a:lnTo>
                  <a:lnTo>
                    <a:pt x="2" y="114"/>
                  </a:lnTo>
                  <a:lnTo>
                    <a:pt x="6" y="102"/>
                  </a:lnTo>
                  <a:lnTo>
                    <a:pt x="12" y="88"/>
                  </a:lnTo>
                  <a:lnTo>
                    <a:pt x="18" y="76"/>
                  </a:lnTo>
                  <a:lnTo>
                    <a:pt x="24" y="64"/>
                  </a:lnTo>
                  <a:lnTo>
                    <a:pt x="32" y="52"/>
                  </a:lnTo>
                  <a:lnTo>
                    <a:pt x="42" y="42"/>
                  </a:lnTo>
                  <a:lnTo>
                    <a:pt x="52" y="32"/>
                  </a:lnTo>
                  <a:lnTo>
                    <a:pt x="64" y="24"/>
                  </a:lnTo>
                  <a:lnTo>
                    <a:pt x="76" y="18"/>
                  </a:lnTo>
                  <a:lnTo>
                    <a:pt x="88" y="12"/>
                  </a:lnTo>
                  <a:lnTo>
                    <a:pt x="102" y="6"/>
                  </a:lnTo>
                  <a:lnTo>
                    <a:pt x="114" y="2"/>
                  </a:lnTo>
                  <a:lnTo>
                    <a:pt x="130" y="0"/>
                  </a:lnTo>
                  <a:lnTo>
                    <a:pt x="144" y="0"/>
                  </a:lnTo>
                  <a:lnTo>
                    <a:pt x="144" y="0"/>
                  </a:lnTo>
                  <a:lnTo>
                    <a:pt x="158" y="0"/>
                  </a:lnTo>
                  <a:lnTo>
                    <a:pt x="172" y="2"/>
                  </a:lnTo>
                  <a:lnTo>
                    <a:pt x="186" y="6"/>
                  </a:lnTo>
                  <a:lnTo>
                    <a:pt x="200" y="12"/>
                  </a:lnTo>
                  <a:lnTo>
                    <a:pt x="212" y="18"/>
                  </a:lnTo>
                  <a:lnTo>
                    <a:pt x="224" y="24"/>
                  </a:lnTo>
                  <a:lnTo>
                    <a:pt x="236" y="32"/>
                  </a:lnTo>
                  <a:lnTo>
                    <a:pt x="246" y="42"/>
                  </a:lnTo>
                  <a:lnTo>
                    <a:pt x="256" y="52"/>
                  </a:lnTo>
                  <a:lnTo>
                    <a:pt x="264" y="64"/>
                  </a:lnTo>
                  <a:lnTo>
                    <a:pt x="270" y="76"/>
                  </a:lnTo>
                  <a:lnTo>
                    <a:pt x="276" y="88"/>
                  </a:lnTo>
                  <a:lnTo>
                    <a:pt x="282" y="102"/>
                  </a:lnTo>
                  <a:lnTo>
                    <a:pt x="284" y="114"/>
                  </a:lnTo>
                  <a:lnTo>
                    <a:pt x="288" y="130"/>
                  </a:lnTo>
                  <a:lnTo>
                    <a:pt x="288" y="144"/>
                  </a:lnTo>
                  <a:lnTo>
                    <a:pt x="288" y="144"/>
                  </a:lnTo>
                  <a:close/>
                </a:path>
              </a:pathLst>
            </a:custGeom>
            <a:solidFill>
              <a:schemeClr val="accent1">
                <a:alpha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4" name="Freeform 14"/>
            <p:cNvSpPr>
              <a:spLocks/>
            </p:cNvSpPr>
            <p:nvPr/>
          </p:nvSpPr>
          <p:spPr bwMode="auto">
            <a:xfrm>
              <a:off x="955518" y="5847807"/>
              <a:ext cx="167373" cy="167373"/>
            </a:xfrm>
            <a:custGeom>
              <a:avLst/>
              <a:gdLst>
                <a:gd name="T0" fmla="*/ 288 w 288"/>
                <a:gd name="T1" fmla="*/ 144 h 288"/>
                <a:gd name="T2" fmla="*/ 286 w 288"/>
                <a:gd name="T3" fmla="*/ 174 h 288"/>
                <a:gd name="T4" fmla="*/ 278 w 288"/>
                <a:gd name="T5" fmla="*/ 200 h 288"/>
                <a:gd name="T6" fmla="*/ 264 w 288"/>
                <a:gd name="T7" fmla="*/ 224 h 288"/>
                <a:gd name="T8" fmla="*/ 246 w 288"/>
                <a:gd name="T9" fmla="*/ 246 h 288"/>
                <a:gd name="T10" fmla="*/ 224 w 288"/>
                <a:gd name="T11" fmla="*/ 264 h 288"/>
                <a:gd name="T12" fmla="*/ 200 w 288"/>
                <a:gd name="T13" fmla="*/ 276 h 288"/>
                <a:gd name="T14" fmla="*/ 174 w 288"/>
                <a:gd name="T15" fmla="*/ 286 h 288"/>
                <a:gd name="T16" fmla="*/ 144 w 288"/>
                <a:gd name="T17" fmla="*/ 288 h 288"/>
                <a:gd name="T18" fmla="*/ 130 w 288"/>
                <a:gd name="T19" fmla="*/ 288 h 288"/>
                <a:gd name="T20" fmla="*/ 102 w 288"/>
                <a:gd name="T21" fmla="*/ 282 h 288"/>
                <a:gd name="T22" fmla="*/ 76 w 288"/>
                <a:gd name="T23" fmla="*/ 270 h 288"/>
                <a:gd name="T24" fmla="*/ 52 w 288"/>
                <a:gd name="T25" fmla="*/ 256 h 288"/>
                <a:gd name="T26" fmla="*/ 34 w 288"/>
                <a:gd name="T27" fmla="*/ 236 h 288"/>
                <a:gd name="T28" fmla="*/ 18 w 288"/>
                <a:gd name="T29" fmla="*/ 212 h 288"/>
                <a:gd name="T30" fmla="*/ 6 w 288"/>
                <a:gd name="T31" fmla="*/ 186 h 288"/>
                <a:gd name="T32" fmla="*/ 2 w 288"/>
                <a:gd name="T33" fmla="*/ 158 h 288"/>
                <a:gd name="T34" fmla="*/ 0 w 288"/>
                <a:gd name="T35" fmla="*/ 144 h 288"/>
                <a:gd name="T36" fmla="*/ 4 w 288"/>
                <a:gd name="T37" fmla="*/ 114 h 288"/>
                <a:gd name="T38" fmla="*/ 12 w 288"/>
                <a:gd name="T39" fmla="*/ 88 h 288"/>
                <a:gd name="T40" fmla="*/ 26 w 288"/>
                <a:gd name="T41" fmla="*/ 64 h 288"/>
                <a:gd name="T42" fmla="*/ 42 w 288"/>
                <a:gd name="T43" fmla="*/ 42 h 288"/>
                <a:gd name="T44" fmla="*/ 64 w 288"/>
                <a:gd name="T45" fmla="*/ 24 h 288"/>
                <a:gd name="T46" fmla="*/ 88 w 288"/>
                <a:gd name="T47" fmla="*/ 12 h 288"/>
                <a:gd name="T48" fmla="*/ 116 w 288"/>
                <a:gd name="T49" fmla="*/ 2 h 288"/>
                <a:gd name="T50" fmla="*/ 144 w 288"/>
                <a:gd name="T51" fmla="*/ 0 h 288"/>
                <a:gd name="T52" fmla="*/ 160 w 288"/>
                <a:gd name="T53" fmla="*/ 0 h 288"/>
                <a:gd name="T54" fmla="*/ 188 w 288"/>
                <a:gd name="T55" fmla="*/ 6 h 288"/>
                <a:gd name="T56" fmla="*/ 214 w 288"/>
                <a:gd name="T57" fmla="*/ 18 h 288"/>
                <a:gd name="T58" fmla="*/ 236 w 288"/>
                <a:gd name="T59" fmla="*/ 32 h 288"/>
                <a:gd name="T60" fmla="*/ 256 w 288"/>
                <a:gd name="T61" fmla="*/ 52 h 288"/>
                <a:gd name="T62" fmla="*/ 272 w 288"/>
                <a:gd name="T63" fmla="*/ 76 h 288"/>
                <a:gd name="T64" fmla="*/ 282 w 288"/>
                <a:gd name="T65" fmla="*/ 102 h 288"/>
                <a:gd name="T66" fmla="*/ 288 w 288"/>
                <a:gd name="T67" fmla="*/ 130 h 288"/>
                <a:gd name="T68" fmla="*/ 288 w 288"/>
                <a:gd name="T69" fmla="*/ 1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8" h="288">
                  <a:moveTo>
                    <a:pt x="288" y="144"/>
                  </a:moveTo>
                  <a:lnTo>
                    <a:pt x="288" y="144"/>
                  </a:lnTo>
                  <a:lnTo>
                    <a:pt x="288" y="158"/>
                  </a:lnTo>
                  <a:lnTo>
                    <a:pt x="286" y="174"/>
                  </a:lnTo>
                  <a:lnTo>
                    <a:pt x="282" y="186"/>
                  </a:lnTo>
                  <a:lnTo>
                    <a:pt x="278" y="200"/>
                  </a:lnTo>
                  <a:lnTo>
                    <a:pt x="272" y="212"/>
                  </a:lnTo>
                  <a:lnTo>
                    <a:pt x="264" y="224"/>
                  </a:lnTo>
                  <a:lnTo>
                    <a:pt x="256" y="236"/>
                  </a:lnTo>
                  <a:lnTo>
                    <a:pt x="246" y="246"/>
                  </a:lnTo>
                  <a:lnTo>
                    <a:pt x="236" y="256"/>
                  </a:lnTo>
                  <a:lnTo>
                    <a:pt x="224" y="264"/>
                  </a:lnTo>
                  <a:lnTo>
                    <a:pt x="214" y="270"/>
                  </a:lnTo>
                  <a:lnTo>
                    <a:pt x="200" y="276"/>
                  </a:lnTo>
                  <a:lnTo>
                    <a:pt x="188" y="282"/>
                  </a:lnTo>
                  <a:lnTo>
                    <a:pt x="174" y="286"/>
                  </a:lnTo>
                  <a:lnTo>
                    <a:pt x="160" y="288"/>
                  </a:lnTo>
                  <a:lnTo>
                    <a:pt x="144" y="288"/>
                  </a:lnTo>
                  <a:lnTo>
                    <a:pt x="144" y="288"/>
                  </a:lnTo>
                  <a:lnTo>
                    <a:pt x="130" y="288"/>
                  </a:lnTo>
                  <a:lnTo>
                    <a:pt x="116" y="286"/>
                  </a:lnTo>
                  <a:lnTo>
                    <a:pt x="102" y="282"/>
                  </a:lnTo>
                  <a:lnTo>
                    <a:pt x="88" y="276"/>
                  </a:lnTo>
                  <a:lnTo>
                    <a:pt x="76" y="270"/>
                  </a:lnTo>
                  <a:lnTo>
                    <a:pt x="64" y="264"/>
                  </a:lnTo>
                  <a:lnTo>
                    <a:pt x="52" y="256"/>
                  </a:lnTo>
                  <a:lnTo>
                    <a:pt x="42" y="246"/>
                  </a:lnTo>
                  <a:lnTo>
                    <a:pt x="34" y="236"/>
                  </a:lnTo>
                  <a:lnTo>
                    <a:pt x="26" y="224"/>
                  </a:lnTo>
                  <a:lnTo>
                    <a:pt x="18" y="212"/>
                  </a:lnTo>
                  <a:lnTo>
                    <a:pt x="12" y="200"/>
                  </a:lnTo>
                  <a:lnTo>
                    <a:pt x="6" y="186"/>
                  </a:lnTo>
                  <a:lnTo>
                    <a:pt x="4" y="174"/>
                  </a:lnTo>
                  <a:lnTo>
                    <a:pt x="2" y="158"/>
                  </a:lnTo>
                  <a:lnTo>
                    <a:pt x="0" y="144"/>
                  </a:lnTo>
                  <a:lnTo>
                    <a:pt x="0" y="144"/>
                  </a:lnTo>
                  <a:lnTo>
                    <a:pt x="2" y="130"/>
                  </a:lnTo>
                  <a:lnTo>
                    <a:pt x="4" y="114"/>
                  </a:lnTo>
                  <a:lnTo>
                    <a:pt x="6" y="102"/>
                  </a:lnTo>
                  <a:lnTo>
                    <a:pt x="12" y="88"/>
                  </a:lnTo>
                  <a:lnTo>
                    <a:pt x="18" y="76"/>
                  </a:lnTo>
                  <a:lnTo>
                    <a:pt x="26" y="64"/>
                  </a:lnTo>
                  <a:lnTo>
                    <a:pt x="34" y="52"/>
                  </a:lnTo>
                  <a:lnTo>
                    <a:pt x="42" y="42"/>
                  </a:lnTo>
                  <a:lnTo>
                    <a:pt x="52" y="32"/>
                  </a:lnTo>
                  <a:lnTo>
                    <a:pt x="64" y="24"/>
                  </a:lnTo>
                  <a:lnTo>
                    <a:pt x="76" y="18"/>
                  </a:lnTo>
                  <a:lnTo>
                    <a:pt x="88" y="12"/>
                  </a:lnTo>
                  <a:lnTo>
                    <a:pt x="102" y="6"/>
                  </a:lnTo>
                  <a:lnTo>
                    <a:pt x="116" y="2"/>
                  </a:lnTo>
                  <a:lnTo>
                    <a:pt x="130" y="0"/>
                  </a:lnTo>
                  <a:lnTo>
                    <a:pt x="144" y="0"/>
                  </a:lnTo>
                  <a:lnTo>
                    <a:pt x="144" y="0"/>
                  </a:lnTo>
                  <a:lnTo>
                    <a:pt x="160" y="0"/>
                  </a:lnTo>
                  <a:lnTo>
                    <a:pt x="174" y="2"/>
                  </a:lnTo>
                  <a:lnTo>
                    <a:pt x="188" y="6"/>
                  </a:lnTo>
                  <a:lnTo>
                    <a:pt x="200" y="12"/>
                  </a:lnTo>
                  <a:lnTo>
                    <a:pt x="214" y="18"/>
                  </a:lnTo>
                  <a:lnTo>
                    <a:pt x="224" y="24"/>
                  </a:lnTo>
                  <a:lnTo>
                    <a:pt x="236" y="32"/>
                  </a:lnTo>
                  <a:lnTo>
                    <a:pt x="246" y="42"/>
                  </a:lnTo>
                  <a:lnTo>
                    <a:pt x="256" y="52"/>
                  </a:lnTo>
                  <a:lnTo>
                    <a:pt x="264" y="64"/>
                  </a:lnTo>
                  <a:lnTo>
                    <a:pt x="272" y="76"/>
                  </a:lnTo>
                  <a:lnTo>
                    <a:pt x="278" y="88"/>
                  </a:lnTo>
                  <a:lnTo>
                    <a:pt x="282" y="102"/>
                  </a:lnTo>
                  <a:lnTo>
                    <a:pt x="286" y="114"/>
                  </a:lnTo>
                  <a:lnTo>
                    <a:pt x="288" y="130"/>
                  </a:lnTo>
                  <a:lnTo>
                    <a:pt x="288" y="144"/>
                  </a:lnTo>
                  <a:lnTo>
                    <a:pt x="288" y="144"/>
                  </a:lnTo>
                  <a:close/>
                </a:path>
              </a:pathLst>
            </a:custGeom>
            <a:solidFill>
              <a:schemeClr val="accent1">
                <a:alpha val="7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5" name="Freeform 15"/>
            <p:cNvSpPr>
              <a:spLocks/>
            </p:cNvSpPr>
            <p:nvPr/>
          </p:nvSpPr>
          <p:spPr bwMode="auto">
            <a:xfrm>
              <a:off x="1074074" y="5847807"/>
              <a:ext cx="167373" cy="167373"/>
            </a:xfrm>
            <a:custGeom>
              <a:avLst/>
              <a:gdLst>
                <a:gd name="T0" fmla="*/ 288 w 288"/>
                <a:gd name="T1" fmla="*/ 144 h 288"/>
                <a:gd name="T2" fmla="*/ 284 w 288"/>
                <a:gd name="T3" fmla="*/ 174 h 288"/>
                <a:gd name="T4" fmla="*/ 276 w 288"/>
                <a:gd name="T5" fmla="*/ 200 h 288"/>
                <a:gd name="T6" fmla="*/ 262 w 288"/>
                <a:gd name="T7" fmla="*/ 224 h 288"/>
                <a:gd name="T8" fmla="*/ 244 w 288"/>
                <a:gd name="T9" fmla="*/ 246 h 288"/>
                <a:gd name="T10" fmla="*/ 224 w 288"/>
                <a:gd name="T11" fmla="*/ 264 h 288"/>
                <a:gd name="T12" fmla="*/ 200 w 288"/>
                <a:gd name="T13" fmla="*/ 276 h 288"/>
                <a:gd name="T14" fmla="*/ 172 w 288"/>
                <a:gd name="T15" fmla="*/ 286 h 288"/>
                <a:gd name="T16" fmla="*/ 144 w 288"/>
                <a:gd name="T17" fmla="*/ 288 h 288"/>
                <a:gd name="T18" fmla="*/ 128 w 288"/>
                <a:gd name="T19" fmla="*/ 288 h 288"/>
                <a:gd name="T20" fmla="*/ 100 w 288"/>
                <a:gd name="T21" fmla="*/ 282 h 288"/>
                <a:gd name="T22" fmla="*/ 74 w 288"/>
                <a:gd name="T23" fmla="*/ 270 h 288"/>
                <a:gd name="T24" fmla="*/ 52 w 288"/>
                <a:gd name="T25" fmla="*/ 256 h 288"/>
                <a:gd name="T26" fmla="*/ 32 w 288"/>
                <a:gd name="T27" fmla="*/ 236 h 288"/>
                <a:gd name="T28" fmla="*/ 16 w 288"/>
                <a:gd name="T29" fmla="*/ 212 h 288"/>
                <a:gd name="T30" fmla="*/ 6 w 288"/>
                <a:gd name="T31" fmla="*/ 186 h 288"/>
                <a:gd name="T32" fmla="*/ 0 w 288"/>
                <a:gd name="T33" fmla="*/ 158 h 288"/>
                <a:gd name="T34" fmla="*/ 0 w 288"/>
                <a:gd name="T35" fmla="*/ 144 h 288"/>
                <a:gd name="T36" fmla="*/ 2 w 288"/>
                <a:gd name="T37" fmla="*/ 114 h 288"/>
                <a:gd name="T38" fmla="*/ 10 w 288"/>
                <a:gd name="T39" fmla="*/ 88 h 288"/>
                <a:gd name="T40" fmla="*/ 24 w 288"/>
                <a:gd name="T41" fmla="*/ 64 h 288"/>
                <a:gd name="T42" fmla="*/ 42 w 288"/>
                <a:gd name="T43" fmla="*/ 42 h 288"/>
                <a:gd name="T44" fmla="*/ 62 w 288"/>
                <a:gd name="T45" fmla="*/ 24 h 288"/>
                <a:gd name="T46" fmla="*/ 86 w 288"/>
                <a:gd name="T47" fmla="*/ 12 h 288"/>
                <a:gd name="T48" fmla="*/ 114 w 288"/>
                <a:gd name="T49" fmla="*/ 2 h 288"/>
                <a:gd name="T50" fmla="*/ 144 w 288"/>
                <a:gd name="T51" fmla="*/ 0 h 288"/>
                <a:gd name="T52" fmla="*/ 158 w 288"/>
                <a:gd name="T53" fmla="*/ 0 h 288"/>
                <a:gd name="T54" fmla="*/ 186 w 288"/>
                <a:gd name="T55" fmla="*/ 6 h 288"/>
                <a:gd name="T56" fmla="*/ 212 w 288"/>
                <a:gd name="T57" fmla="*/ 18 h 288"/>
                <a:gd name="T58" fmla="*/ 234 w 288"/>
                <a:gd name="T59" fmla="*/ 32 h 288"/>
                <a:gd name="T60" fmla="*/ 254 w 288"/>
                <a:gd name="T61" fmla="*/ 52 h 288"/>
                <a:gd name="T62" fmla="*/ 270 w 288"/>
                <a:gd name="T63" fmla="*/ 76 h 288"/>
                <a:gd name="T64" fmla="*/ 280 w 288"/>
                <a:gd name="T65" fmla="*/ 102 h 288"/>
                <a:gd name="T66" fmla="*/ 286 w 288"/>
                <a:gd name="T67" fmla="*/ 130 h 288"/>
                <a:gd name="T68" fmla="*/ 288 w 288"/>
                <a:gd name="T69" fmla="*/ 1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8" h="288">
                  <a:moveTo>
                    <a:pt x="288" y="144"/>
                  </a:moveTo>
                  <a:lnTo>
                    <a:pt x="288" y="144"/>
                  </a:lnTo>
                  <a:lnTo>
                    <a:pt x="286" y="158"/>
                  </a:lnTo>
                  <a:lnTo>
                    <a:pt x="284" y="174"/>
                  </a:lnTo>
                  <a:lnTo>
                    <a:pt x="280" y="186"/>
                  </a:lnTo>
                  <a:lnTo>
                    <a:pt x="276" y="200"/>
                  </a:lnTo>
                  <a:lnTo>
                    <a:pt x="270" y="212"/>
                  </a:lnTo>
                  <a:lnTo>
                    <a:pt x="262" y="224"/>
                  </a:lnTo>
                  <a:lnTo>
                    <a:pt x="254" y="236"/>
                  </a:lnTo>
                  <a:lnTo>
                    <a:pt x="244" y="246"/>
                  </a:lnTo>
                  <a:lnTo>
                    <a:pt x="234" y="256"/>
                  </a:lnTo>
                  <a:lnTo>
                    <a:pt x="224" y="264"/>
                  </a:lnTo>
                  <a:lnTo>
                    <a:pt x="212" y="270"/>
                  </a:lnTo>
                  <a:lnTo>
                    <a:pt x="200" y="276"/>
                  </a:lnTo>
                  <a:lnTo>
                    <a:pt x="186" y="282"/>
                  </a:lnTo>
                  <a:lnTo>
                    <a:pt x="172" y="286"/>
                  </a:lnTo>
                  <a:lnTo>
                    <a:pt x="158" y="288"/>
                  </a:lnTo>
                  <a:lnTo>
                    <a:pt x="144" y="288"/>
                  </a:lnTo>
                  <a:lnTo>
                    <a:pt x="144" y="288"/>
                  </a:lnTo>
                  <a:lnTo>
                    <a:pt x="128" y="288"/>
                  </a:lnTo>
                  <a:lnTo>
                    <a:pt x="114" y="286"/>
                  </a:lnTo>
                  <a:lnTo>
                    <a:pt x="100" y="282"/>
                  </a:lnTo>
                  <a:lnTo>
                    <a:pt x="86" y="276"/>
                  </a:lnTo>
                  <a:lnTo>
                    <a:pt x="74" y="270"/>
                  </a:lnTo>
                  <a:lnTo>
                    <a:pt x="62" y="264"/>
                  </a:lnTo>
                  <a:lnTo>
                    <a:pt x="52" y="256"/>
                  </a:lnTo>
                  <a:lnTo>
                    <a:pt x="42" y="246"/>
                  </a:lnTo>
                  <a:lnTo>
                    <a:pt x="32" y="236"/>
                  </a:lnTo>
                  <a:lnTo>
                    <a:pt x="24" y="224"/>
                  </a:lnTo>
                  <a:lnTo>
                    <a:pt x="16" y="212"/>
                  </a:lnTo>
                  <a:lnTo>
                    <a:pt x="10" y="200"/>
                  </a:lnTo>
                  <a:lnTo>
                    <a:pt x="6" y="186"/>
                  </a:lnTo>
                  <a:lnTo>
                    <a:pt x="2" y="174"/>
                  </a:lnTo>
                  <a:lnTo>
                    <a:pt x="0" y="158"/>
                  </a:lnTo>
                  <a:lnTo>
                    <a:pt x="0" y="144"/>
                  </a:lnTo>
                  <a:lnTo>
                    <a:pt x="0" y="144"/>
                  </a:lnTo>
                  <a:lnTo>
                    <a:pt x="0" y="130"/>
                  </a:lnTo>
                  <a:lnTo>
                    <a:pt x="2" y="114"/>
                  </a:lnTo>
                  <a:lnTo>
                    <a:pt x="6" y="102"/>
                  </a:lnTo>
                  <a:lnTo>
                    <a:pt x="10" y="88"/>
                  </a:lnTo>
                  <a:lnTo>
                    <a:pt x="16" y="76"/>
                  </a:lnTo>
                  <a:lnTo>
                    <a:pt x="24" y="64"/>
                  </a:lnTo>
                  <a:lnTo>
                    <a:pt x="32" y="52"/>
                  </a:lnTo>
                  <a:lnTo>
                    <a:pt x="42" y="42"/>
                  </a:lnTo>
                  <a:lnTo>
                    <a:pt x="52" y="32"/>
                  </a:lnTo>
                  <a:lnTo>
                    <a:pt x="62" y="24"/>
                  </a:lnTo>
                  <a:lnTo>
                    <a:pt x="74" y="18"/>
                  </a:lnTo>
                  <a:lnTo>
                    <a:pt x="86" y="12"/>
                  </a:lnTo>
                  <a:lnTo>
                    <a:pt x="100" y="6"/>
                  </a:lnTo>
                  <a:lnTo>
                    <a:pt x="114" y="2"/>
                  </a:lnTo>
                  <a:lnTo>
                    <a:pt x="128" y="0"/>
                  </a:lnTo>
                  <a:lnTo>
                    <a:pt x="144" y="0"/>
                  </a:lnTo>
                  <a:lnTo>
                    <a:pt x="144" y="0"/>
                  </a:lnTo>
                  <a:lnTo>
                    <a:pt x="158" y="0"/>
                  </a:lnTo>
                  <a:lnTo>
                    <a:pt x="172" y="2"/>
                  </a:lnTo>
                  <a:lnTo>
                    <a:pt x="186" y="6"/>
                  </a:lnTo>
                  <a:lnTo>
                    <a:pt x="200" y="12"/>
                  </a:lnTo>
                  <a:lnTo>
                    <a:pt x="212" y="18"/>
                  </a:lnTo>
                  <a:lnTo>
                    <a:pt x="224" y="24"/>
                  </a:lnTo>
                  <a:lnTo>
                    <a:pt x="234" y="32"/>
                  </a:lnTo>
                  <a:lnTo>
                    <a:pt x="244" y="42"/>
                  </a:lnTo>
                  <a:lnTo>
                    <a:pt x="254" y="52"/>
                  </a:lnTo>
                  <a:lnTo>
                    <a:pt x="262" y="64"/>
                  </a:lnTo>
                  <a:lnTo>
                    <a:pt x="270" y="76"/>
                  </a:lnTo>
                  <a:lnTo>
                    <a:pt x="276" y="88"/>
                  </a:lnTo>
                  <a:lnTo>
                    <a:pt x="280" y="102"/>
                  </a:lnTo>
                  <a:lnTo>
                    <a:pt x="284" y="114"/>
                  </a:lnTo>
                  <a:lnTo>
                    <a:pt x="286" y="130"/>
                  </a:lnTo>
                  <a:lnTo>
                    <a:pt x="288" y="144"/>
                  </a:lnTo>
                  <a:lnTo>
                    <a:pt x="288" y="144"/>
                  </a:lnTo>
                  <a:close/>
                </a:path>
              </a:pathLst>
            </a:custGeom>
            <a:solidFill>
              <a:schemeClr val="accent1">
                <a:alpha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6" name="Freeform 16"/>
            <p:cNvSpPr>
              <a:spLocks/>
            </p:cNvSpPr>
            <p:nvPr/>
          </p:nvSpPr>
          <p:spPr bwMode="auto">
            <a:xfrm>
              <a:off x="1686613" y="6023317"/>
              <a:ext cx="1135580" cy="413784"/>
            </a:xfrm>
            <a:custGeom>
              <a:avLst/>
              <a:gdLst>
                <a:gd name="T0" fmla="*/ 1954 w 1954"/>
                <a:gd name="T1" fmla="*/ 242 h 712"/>
                <a:gd name="T2" fmla="*/ 1072 w 1954"/>
                <a:gd name="T3" fmla="*/ 0 h 712"/>
                <a:gd name="T4" fmla="*/ 146 w 1954"/>
                <a:gd name="T5" fmla="*/ 0 h 712"/>
                <a:gd name="T6" fmla="*/ 0 w 1954"/>
                <a:gd name="T7" fmla="*/ 368 h 712"/>
                <a:gd name="T8" fmla="*/ 0 w 1954"/>
                <a:gd name="T9" fmla="*/ 712 h 712"/>
                <a:gd name="T10" fmla="*/ 1954 w 1954"/>
                <a:gd name="T11" fmla="*/ 712 h 712"/>
                <a:gd name="T12" fmla="*/ 1954 w 1954"/>
                <a:gd name="T13" fmla="*/ 242 h 712"/>
              </a:gdLst>
              <a:ahLst/>
              <a:cxnLst>
                <a:cxn ang="0">
                  <a:pos x="T0" y="T1"/>
                </a:cxn>
                <a:cxn ang="0">
                  <a:pos x="T2" y="T3"/>
                </a:cxn>
                <a:cxn ang="0">
                  <a:pos x="T4" y="T5"/>
                </a:cxn>
                <a:cxn ang="0">
                  <a:pos x="T6" y="T7"/>
                </a:cxn>
                <a:cxn ang="0">
                  <a:pos x="T8" y="T9"/>
                </a:cxn>
                <a:cxn ang="0">
                  <a:pos x="T10" y="T11"/>
                </a:cxn>
                <a:cxn ang="0">
                  <a:pos x="T12" y="T13"/>
                </a:cxn>
              </a:cxnLst>
              <a:rect l="0" t="0" r="r" b="b"/>
              <a:pathLst>
                <a:path w="1954" h="712">
                  <a:moveTo>
                    <a:pt x="1954" y="242"/>
                  </a:moveTo>
                  <a:lnTo>
                    <a:pt x="1072" y="0"/>
                  </a:lnTo>
                  <a:lnTo>
                    <a:pt x="146" y="0"/>
                  </a:lnTo>
                  <a:lnTo>
                    <a:pt x="0" y="368"/>
                  </a:lnTo>
                  <a:lnTo>
                    <a:pt x="0" y="712"/>
                  </a:lnTo>
                  <a:lnTo>
                    <a:pt x="1954" y="712"/>
                  </a:lnTo>
                  <a:lnTo>
                    <a:pt x="1954" y="242"/>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7" name="Freeform 17"/>
            <p:cNvSpPr>
              <a:spLocks/>
            </p:cNvSpPr>
            <p:nvPr/>
          </p:nvSpPr>
          <p:spPr bwMode="auto">
            <a:xfrm>
              <a:off x="2309613" y="5845483"/>
              <a:ext cx="512580" cy="591618"/>
            </a:xfrm>
            <a:custGeom>
              <a:avLst/>
              <a:gdLst>
                <a:gd name="T0" fmla="*/ 116 w 882"/>
                <a:gd name="T1" fmla="*/ 0 h 1018"/>
                <a:gd name="T2" fmla="*/ 0 w 882"/>
                <a:gd name="T3" fmla="*/ 306 h 1018"/>
                <a:gd name="T4" fmla="*/ 0 w 882"/>
                <a:gd name="T5" fmla="*/ 1018 h 1018"/>
                <a:gd name="T6" fmla="*/ 882 w 882"/>
                <a:gd name="T7" fmla="*/ 1018 h 1018"/>
                <a:gd name="T8" fmla="*/ 882 w 882"/>
                <a:gd name="T9" fmla="*/ 206 h 1018"/>
                <a:gd name="T10" fmla="*/ 116 w 882"/>
                <a:gd name="T11" fmla="*/ 0 h 1018"/>
              </a:gdLst>
              <a:ahLst/>
              <a:cxnLst>
                <a:cxn ang="0">
                  <a:pos x="T0" y="T1"/>
                </a:cxn>
                <a:cxn ang="0">
                  <a:pos x="T2" y="T3"/>
                </a:cxn>
                <a:cxn ang="0">
                  <a:pos x="T4" y="T5"/>
                </a:cxn>
                <a:cxn ang="0">
                  <a:pos x="T6" y="T7"/>
                </a:cxn>
                <a:cxn ang="0">
                  <a:pos x="T8" y="T9"/>
                </a:cxn>
                <a:cxn ang="0">
                  <a:pos x="T10" y="T11"/>
                </a:cxn>
              </a:cxnLst>
              <a:rect l="0" t="0" r="r" b="b"/>
              <a:pathLst>
                <a:path w="882" h="1018">
                  <a:moveTo>
                    <a:pt x="116" y="0"/>
                  </a:moveTo>
                  <a:lnTo>
                    <a:pt x="0" y="306"/>
                  </a:lnTo>
                  <a:lnTo>
                    <a:pt x="0" y="1018"/>
                  </a:lnTo>
                  <a:lnTo>
                    <a:pt x="882" y="1018"/>
                  </a:lnTo>
                  <a:lnTo>
                    <a:pt x="882" y="206"/>
                  </a:lnTo>
                  <a:lnTo>
                    <a:pt x="116"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8" name="Freeform 18"/>
            <p:cNvSpPr>
              <a:spLocks/>
            </p:cNvSpPr>
            <p:nvPr/>
          </p:nvSpPr>
          <p:spPr bwMode="auto">
            <a:xfrm>
              <a:off x="265104" y="5857106"/>
              <a:ext cx="511418" cy="579995"/>
            </a:xfrm>
            <a:custGeom>
              <a:avLst/>
              <a:gdLst>
                <a:gd name="T0" fmla="*/ 766 w 880"/>
                <a:gd name="T1" fmla="*/ 0 h 998"/>
                <a:gd name="T2" fmla="*/ 880 w 880"/>
                <a:gd name="T3" fmla="*/ 310 h 998"/>
                <a:gd name="T4" fmla="*/ 880 w 880"/>
                <a:gd name="T5" fmla="*/ 998 h 998"/>
                <a:gd name="T6" fmla="*/ 0 w 880"/>
                <a:gd name="T7" fmla="*/ 998 h 998"/>
                <a:gd name="T8" fmla="*/ 0 w 880"/>
                <a:gd name="T9" fmla="*/ 214 h 998"/>
                <a:gd name="T10" fmla="*/ 766 w 880"/>
                <a:gd name="T11" fmla="*/ 0 h 998"/>
              </a:gdLst>
              <a:ahLst/>
              <a:cxnLst>
                <a:cxn ang="0">
                  <a:pos x="T0" y="T1"/>
                </a:cxn>
                <a:cxn ang="0">
                  <a:pos x="T2" y="T3"/>
                </a:cxn>
                <a:cxn ang="0">
                  <a:pos x="T4" y="T5"/>
                </a:cxn>
                <a:cxn ang="0">
                  <a:pos x="T6" y="T7"/>
                </a:cxn>
                <a:cxn ang="0">
                  <a:pos x="T8" y="T9"/>
                </a:cxn>
                <a:cxn ang="0">
                  <a:pos x="T10" y="T11"/>
                </a:cxn>
              </a:cxnLst>
              <a:rect l="0" t="0" r="r" b="b"/>
              <a:pathLst>
                <a:path w="880" h="998">
                  <a:moveTo>
                    <a:pt x="766" y="0"/>
                  </a:moveTo>
                  <a:lnTo>
                    <a:pt x="880" y="310"/>
                  </a:lnTo>
                  <a:lnTo>
                    <a:pt x="880" y="998"/>
                  </a:lnTo>
                  <a:lnTo>
                    <a:pt x="0" y="998"/>
                  </a:lnTo>
                  <a:lnTo>
                    <a:pt x="0" y="214"/>
                  </a:lnTo>
                  <a:lnTo>
                    <a:pt x="766"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09" name="Freeform 19"/>
            <p:cNvSpPr>
              <a:spLocks/>
            </p:cNvSpPr>
            <p:nvPr/>
          </p:nvSpPr>
          <p:spPr bwMode="auto">
            <a:xfrm>
              <a:off x="265104" y="5474167"/>
              <a:ext cx="691577" cy="374265"/>
            </a:xfrm>
            <a:custGeom>
              <a:avLst/>
              <a:gdLst>
                <a:gd name="T0" fmla="*/ 842 w 1190"/>
                <a:gd name="T1" fmla="*/ 644 h 644"/>
                <a:gd name="T2" fmla="*/ 842 w 1190"/>
                <a:gd name="T3" fmla="*/ 644 h 644"/>
                <a:gd name="T4" fmla="*/ 752 w 1190"/>
                <a:gd name="T5" fmla="*/ 586 h 644"/>
                <a:gd name="T6" fmla="*/ 654 w 1190"/>
                <a:gd name="T7" fmla="*/ 522 h 644"/>
                <a:gd name="T8" fmla="*/ 532 w 1190"/>
                <a:gd name="T9" fmla="*/ 448 h 644"/>
                <a:gd name="T10" fmla="*/ 398 w 1190"/>
                <a:gd name="T11" fmla="*/ 368 h 644"/>
                <a:gd name="T12" fmla="*/ 328 w 1190"/>
                <a:gd name="T13" fmla="*/ 328 h 644"/>
                <a:gd name="T14" fmla="*/ 258 w 1190"/>
                <a:gd name="T15" fmla="*/ 290 h 644"/>
                <a:gd name="T16" fmla="*/ 188 w 1190"/>
                <a:gd name="T17" fmla="*/ 254 h 644"/>
                <a:gd name="T18" fmla="*/ 122 w 1190"/>
                <a:gd name="T19" fmla="*/ 220 h 644"/>
                <a:gd name="T20" fmla="*/ 58 w 1190"/>
                <a:gd name="T21" fmla="*/ 192 h 644"/>
                <a:gd name="T22" fmla="*/ 0 w 1190"/>
                <a:gd name="T23" fmla="*/ 168 h 644"/>
                <a:gd name="T24" fmla="*/ 0 w 1190"/>
                <a:gd name="T25" fmla="*/ 0 h 644"/>
                <a:gd name="T26" fmla="*/ 450 w 1190"/>
                <a:gd name="T27" fmla="*/ 0 h 644"/>
                <a:gd name="T28" fmla="*/ 1102 w 1190"/>
                <a:gd name="T29" fmla="*/ 384 h 644"/>
                <a:gd name="T30" fmla="*/ 1102 w 1190"/>
                <a:gd name="T31" fmla="*/ 384 h 644"/>
                <a:gd name="T32" fmla="*/ 1116 w 1190"/>
                <a:gd name="T33" fmla="*/ 396 h 644"/>
                <a:gd name="T34" fmla="*/ 1132 w 1190"/>
                <a:gd name="T35" fmla="*/ 412 h 644"/>
                <a:gd name="T36" fmla="*/ 1150 w 1190"/>
                <a:gd name="T37" fmla="*/ 432 h 644"/>
                <a:gd name="T38" fmla="*/ 1166 w 1190"/>
                <a:gd name="T39" fmla="*/ 456 h 644"/>
                <a:gd name="T40" fmla="*/ 1174 w 1190"/>
                <a:gd name="T41" fmla="*/ 470 h 644"/>
                <a:gd name="T42" fmla="*/ 1180 w 1190"/>
                <a:gd name="T43" fmla="*/ 484 h 644"/>
                <a:gd name="T44" fmla="*/ 1184 w 1190"/>
                <a:gd name="T45" fmla="*/ 498 h 644"/>
                <a:gd name="T46" fmla="*/ 1188 w 1190"/>
                <a:gd name="T47" fmla="*/ 514 h 644"/>
                <a:gd name="T48" fmla="*/ 1190 w 1190"/>
                <a:gd name="T49" fmla="*/ 530 h 644"/>
                <a:gd name="T50" fmla="*/ 1190 w 1190"/>
                <a:gd name="T51" fmla="*/ 548 h 644"/>
                <a:gd name="T52" fmla="*/ 842 w 1190"/>
                <a:gd name="T53" fmla="*/ 64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90" h="644">
                  <a:moveTo>
                    <a:pt x="842" y="644"/>
                  </a:moveTo>
                  <a:lnTo>
                    <a:pt x="842" y="644"/>
                  </a:lnTo>
                  <a:lnTo>
                    <a:pt x="752" y="586"/>
                  </a:lnTo>
                  <a:lnTo>
                    <a:pt x="654" y="522"/>
                  </a:lnTo>
                  <a:lnTo>
                    <a:pt x="532" y="448"/>
                  </a:lnTo>
                  <a:lnTo>
                    <a:pt x="398" y="368"/>
                  </a:lnTo>
                  <a:lnTo>
                    <a:pt x="328" y="328"/>
                  </a:lnTo>
                  <a:lnTo>
                    <a:pt x="258" y="290"/>
                  </a:lnTo>
                  <a:lnTo>
                    <a:pt x="188" y="254"/>
                  </a:lnTo>
                  <a:lnTo>
                    <a:pt x="122" y="220"/>
                  </a:lnTo>
                  <a:lnTo>
                    <a:pt x="58" y="192"/>
                  </a:lnTo>
                  <a:lnTo>
                    <a:pt x="0" y="168"/>
                  </a:lnTo>
                  <a:lnTo>
                    <a:pt x="0" y="0"/>
                  </a:lnTo>
                  <a:lnTo>
                    <a:pt x="450" y="0"/>
                  </a:lnTo>
                  <a:lnTo>
                    <a:pt x="1102" y="384"/>
                  </a:lnTo>
                  <a:lnTo>
                    <a:pt x="1102" y="384"/>
                  </a:lnTo>
                  <a:lnTo>
                    <a:pt x="1116" y="396"/>
                  </a:lnTo>
                  <a:lnTo>
                    <a:pt x="1132" y="412"/>
                  </a:lnTo>
                  <a:lnTo>
                    <a:pt x="1150" y="432"/>
                  </a:lnTo>
                  <a:lnTo>
                    <a:pt x="1166" y="456"/>
                  </a:lnTo>
                  <a:lnTo>
                    <a:pt x="1174" y="470"/>
                  </a:lnTo>
                  <a:lnTo>
                    <a:pt x="1180" y="484"/>
                  </a:lnTo>
                  <a:lnTo>
                    <a:pt x="1184" y="498"/>
                  </a:lnTo>
                  <a:lnTo>
                    <a:pt x="1188" y="514"/>
                  </a:lnTo>
                  <a:lnTo>
                    <a:pt x="1190" y="530"/>
                  </a:lnTo>
                  <a:lnTo>
                    <a:pt x="1190" y="548"/>
                  </a:lnTo>
                  <a:lnTo>
                    <a:pt x="842" y="644"/>
                  </a:lnTo>
                  <a:close/>
                </a:path>
              </a:pathLst>
            </a:cu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0" name="Freeform 20"/>
            <p:cNvSpPr>
              <a:spLocks/>
            </p:cNvSpPr>
            <p:nvPr/>
          </p:nvSpPr>
          <p:spPr bwMode="auto">
            <a:xfrm>
              <a:off x="265104" y="5474167"/>
              <a:ext cx="609052" cy="374265"/>
            </a:xfrm>
            <a:custGeom>
              <a:avLst/>
              <a:gdLst>
                <a:gd name="T0" fmla="*/ 0 w 1048"/>
                <a:gd name="T1" fmla="*/ 0 h 644"/>
                <a:gd name="T2" fmla="*/ 0 w 1048"/>
                <a:gd name="T3" fmla="*/ 0 h 644"/>
                <a:gd name="T4" fmla="*/ 164 w 1048"/>
                <a:gd name="T5" fmla="*/ 74 h 644"/>
                <a:gd name="T6" fmla="*/ 330 w 1048"/>
                <a:gd name="T7" fmla="*/ 152 h 644"/>
                <a:gd name="T8" fmla="*/ 524 w 1048"/>
                <a:gd name="T9" fmla="*/ 246 h 644"/>
                <a:gd name="T10" fmla="*/ 620 w 1048"/>
                <a:gd name="T11" fmla="*/ 296 h 644"/>
                <a:gd name="T12" fmla="*/ 716 w 1048"/>
                <a:gd name="T13" fmla="*/ 344 h 644"/>
                <a:gd name="T14" fmla="*/ 804 w 1048"/>
                <a:gd name="T15" fmla="*/ 394 h 644"/>
                <a:gd name="T16" fmla="*/ 884 w 1048"/>
                <a:gd name="T17" fmla="*/ 442 h 644"/>
                <a:gd name="T18" fmla="*/ 950 w 1048"/>
                <a:gd name="T19" fmla="*/ 486 h 644"/>
                <a:gd name="T20" fmla="*/ 978 w 1048"/>
                <a:gd name="T21" fmla="*/ 506 h 644"/>
                <a:gd name="T22" fmla="*/ 1002 w 1048"/>
                <a:gd name="T23" fmla="*/ 524 h 644"/>
                <a:gd name="T24" fmla="*/ 1022 w 1048"/>
                <a:gd name="T25" fmla="*/ 542 h 644"/>
                <a:gd name="T26" fmla="*/ 1036 w 1048"/>
                <a:gd name="T27" fmla="*/ 560 h 644"/>
                <a:gd name="T28" fmla="*/ 1044 w 1048"/>
                <a:gd name="T29" fmla="*/ 574 h 644"/>
                <a:gd name="T30" fmla="*/ 1048 w 1048"/>
                <a:gd name="T31" fmla="*/ 580 h 644"/>
                <a:gd name="T32" fmla="*/ 1048 w 1048"/>
                <a:gd name="T33" fmla="*/ 588 h 644"/>
                <a:gd name="T34" fmla="*/ 842 w 1048"/>
                <a:gd name="T35" fmla="*/ 644 h 644"/>
                <a:gd name="T36" fmla="*/ 0 w 1048"/>
                <a:gd name="T37" fmla="*/ 168 h 644"/>
                <a:gd name="T38" fmla="*/ 0 w 1048"/>
                <a:gd name="T39"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8" h="644">
                  <a:moveTo>
                    <a:pt x="0" y="0"/>
                  </a:moveTo>
                  <a:lnTo>
                    <a:pt x="0" y="0"/>
                  </a:lnTo>
                  <a:lnTo>
                    <a:pt x="164" y="74"/>
                  </a:lnTo>
                  <a:lnTo>
                    <a:pt x="330" y="152"/>
                  </a:lnTo>
                  <a:lnTo>
                    <a:pt x="524" y="246"/>
                  </a:lnTo>
                  <a:lnTo>
                    <a:pt x="620" y="296"/>
                  </a:lnTo>
                  <a:lnTo>
                    <a:pt x="716" y="344"/>
                  </a:lnTo>
                  <a:lnTo>
                    <a:pt x="804" y="394"/>
                  </a:lnTo>
                  <a:lnTo>
                    <a:pt x="884" y="442"/>
                  </a:lnTo>
                  <a:lnTo>
                    <a:pt x="950" y="486"/>
                  </a:lnTo>
                  <a:lnTo>
                    <a:pt x="978" y="506"/>
                  </a:lnTo>
                  <a:lnTo>
                    <a:pt x="1002" y="524"/>
                  </a:lnTo>
                  <a:lnTo>
                    <a:pt x="1022" y="542"/>
                  </a:lnTo>
                  <a:lnTo>
                    <a:pt x="1036" y="560"/>
                  </a:lnTo>
                  <a:lnTo>
                    <a:pt x="1044" y="574"/>
                  </a:lnTo>
                  <a:lnTo>
                    <a:pt x="1048" y="580"/>
                  </a:lnTo>
                  <a:lnTo>
                    <a:pt x="1048" y="588"/>
                  </a:lnTo>
                  <a:lnTo>
                    <a:pt x="842" y="644"/>
                  </a:lnTo>
                  <a:lnTo>
                    <a:pt x="0" y="168"/>
                  </a:lnTo>
                  <a:lnTo>
                    <a:pt x="0"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1" name="Freeform 21"/>
            <p:cNvSpPr>
              <a:spLocks/>
            </p:cNvSpPr>
            <p:nvPr/>
          </p:nvSpPr>
          <p:spPr bwMode="auto">
            <a:xfrm>
              <a:off x="265104" y="5857523"/>
              <a:ext cx="510256" cy="450978"/>
            </a:xfrm>
            <a:custGeom>
              <a:avLst/>
              <a:gdLst>
                <a:gd name="T0" fmla="*/ 810 w 878"/>
                <a:gd name="T1" fmla="*/ 490 h 776"/>
                <a:gd name="T2" fmla="*/ 810 w 878"/>
                <a:gd name="T3" fmla="*/ 490 h 776"/>
                <a:gd name="T4" fmla="*/ 684 w 878"/>
                <a:gd name="T5" fmla="*/ 536 h 776"/>
                <a:gd name="T6" fmla="*/ 406 w 878"/>
                <a:gd name="T7" fmla="*/ 634 h 776"/>
                <a:gd name="T8" fmla="*/ 0 w 878"/>
                <a:gd name="T9" fmla="*/ 776 h 776"/>
                <a:gd name="T10" fmla="*/ 0 w 878"/>
                <a:gd name="T11" fmla="*/ 214 h 776"/>
                <a:gd name="T12" fmla="*/ 766 w 878"/>
                <a:gd name="T13" fmla="*/ 0 h 776"/>
                <a:gd name="T14" fmla="*/ 878 w 878"/>
                <a:gd name="T15" fmla="*/ 276 h 776"/>
                <a:gd name="T16" fmla="*/ 810 w 878"/>
                <a:gd name="T17" fmla="*/ 49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8" h="776">
                  <a:moveTo>
                    <a:pt x="810" y="490"/>
                  </a:moveTo>
                  <a:lnTo>
                    <a:pt x="810" y="490"/>
                  </a:lnTo>
                  <a:lnTo>
                    <a:pt x="684" y="536"/>
                  </a:lnTo>
                  <a:lnTo>
                    <a:pt x="406" y="634"/>
                  </a:lnTo>
                  <a:lnTo>
                    <a:pt x="0" y="776"/>
                  </a:lnTo>
                  <a:lnTo>
                    <a:pt x="0" y="214"/>
                  </a:lnTo>
                  <a:lnTo>
                    <a:pt x="766" y="0"/>
                  </a:lnTo>
                  <a:lnTo>
                    <a:pt x="878" y="276"/>
                  </a:lnTo>
                  <a:lnTo>
                    <a:pt x="810" y="490"/>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2" name="Freeform 22"/>
            <p:cNvSpPr>
              <a:spLocks/>
            </p:cNvSpPr>
            <p:nvPr/>
          </p:nvSpPr>
          <p:spPr bwMode="auto">
            <a:xfrm>
              <a:off x="2135475" y="5471217"/>
              <a:ext cx="689252" cy="374265"/>
            </a:xfrm>
            <a:custGeom>
              <a:avLst/>
              <a:gdLst>
                <a:gd name="T0" fmla="*/ 348 w 1186"/>
                <a:gd name="T1" fmla="*/ 644 h 644"/>
                <a:gd name="T2" fmla="*/ 348 w 1186"/>
                <a:gd name="T3" fmla="*/ 644 h 644"/>
                <a:gd name="T4" fmla="*/ 436 w 1186"/>
                <a:gd name="T5" fmla="*/ 586 h 644"/>
                <a:gd name="T6" fmla="*/ 534 w 1186"/>
                <a:gd name="T7" fmla="*/ 522 h 644"/>
                <a:gd name="T8" fmla="*/ 656 w 1186"/>
                <a:gd name="T9" fmla="*/ 448 h 644"/>
                <a:gd name="T10" fmla="*/ 790 w 1186"/>
                <a:gd name="T11" fmla="*/ 368 h 644"/>
                <a:gd name="T12" fmla="*/ 860 w 1186"/>
                <a:gd name="T13" fmla="*/ 328 h 644"/>
                <a:gd name="T14" fmla="*/ 930 w 1186"/>
                <a:gd name="T15" fmla="*/ 290 h 644"/>
                <a:gd name="T16" fmla="*/ 998 w 1186"/>
                <a:gd name="T17" fmla="*/ 254 h 644"/>
                <a:gd name="T18" fmla="*/ 1066 w 1186"/>
                <a:gd name="T19" fmla="*/ 220 h 644"/>
                <a:gd name="T20" fmla="*/ 1128 w 1186"/>
                <a:gd name="T21" fmla="*/ 192 h 644"/>
                <a:gd name="T22" fmla="*/ 1186 w 1186"/>
                <a:gd name="T23" fmla="*/ 168 h 644"/>
                <a:gd name="T24" fmla="*/ 1186 w 1186"/>
                <a:gd name="T25" fmla="*/ 0 h 644"/>
                <a:gd name="T26" fmla="*/ 738 w 1186"/>
                <a:gd name="T27" fmla="*/ 0 h 644"/>
                <a:gd name="T28" fmla="*/ 88 w 1186"/>
                <a:gd name="T29" fmla="*/ 384 h 644"/>
                <a:gd name="T30" fmla="*/ 88 w 1186"/>
                <a:gd name="T31" fmla="*/ 384 h 644"/>
                <a:gd name="T32" fmla="*/ 74 w 1186"/>
                <a:gd name="T33" fmla="*/ 396 h 644"/>
                <a:gd name="T34" fmla="*/ 58 w 1186"/>
                <a:gd name="T35" fmla="*/ 412 h 644"/>
                <a:gd name="T36" fmla="*/ 42 w 1186"/>
                <a:gd name="T37" fmla="*/ 432 h 644"/>
                <a:gd name="T38" fmla="*/ 24 w 1186"/>
                <a:gd name="T39" fmla="*/ 456 h 644"/>
                <a:gd name="T40" fmla="*/ 18 w 1186"/>
                <a:gd name="T41" fmla="*/ 470 h 644"/>
                <a:gd name="T42" fmla="*/ 10 w 1186"/>
                <a:gd name="T43" fmla="*/ 484 h 644"/>
                <a:gd name="T44" fmla="*/ 6 w 1186"/>
                <a:gd name="T45" fmla="*/ 498 h 644"/>
                <a:gd name="T46" fmla="*/ 2 w 1186"/>
                <a:gd name="T47" fmla="*/ 514 h 644"/>
                <a:gd name="T48" fmla="*/ 0 w 1186"/>
                <a:gd name="T49" fmla="*/ 530 h 644"/>
                <a:gd name="T50" fmla="*/ 0 w 1186"/>
                <a:gd name="T51" fmla="*/ 548 h 644"/>
                <a:gd name="T52" fmla="*/ 348 w 1186"/>
                <a:gd name="T53" fmla="*/ 64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6" h="644">
                  <a:moveTo>
                    <a:pt x="348" y="644"/>
                  </a:moveTo>
                  <a:lnTo>
                    <a:pt x="348" y="644"/>
                  </a:lnTo>
                  <a:lnTo>
                    <a:pt x="436" y="586"/>
                  </a:lnTo>
                  <a:lnTo>
                    <a:pt x="534" y="522"/>
                  </a:lnTo>
                  <a:lnTo>
                    <a:pt x="656" y="448"/>
                  </a:lnTo>
                  <a:lnTo>
                    <a:pt x="790" y="368"/>
                  </a:lnTo>
                  <a:lnTo>
                    <a:pt x="860" y="328"/>
                  </a:lnTo>
                  <a:lnTo>
                    <a:pt x="930" y="290"/>
                  </a:lnTo>
                  <a:lnTo>
                    <a:pt x="998" y="254"/>
                  </a:lnTo>
                  <a:lnTo>
                    <a:pt x="1066" y="220"/>
                  </a:lnTo>
                  <a:lnTo>
                    <a:pt x="1128" y="192"/>
                  </a:lnTo>
                  <a:lnTo>
                    <a:pt x="1186" y="168"/>
                  </a:lnTo>
                  <a:lnTo>
                    <a:pt x="1186" y="0"/>
                  </a:lnTo>
                  <a:lnTo>
                    <a:pt x="738" y="0"/>
                  </a:lnTo>
                  <a:lnTo>
                    <a:pt x="88" y="384"/>
                  </a:lnTo>
                  <a:lnTo>
                    <a:pt x="88" y="384"/>
                  </a:lnTo>
                  <a:lnTo>
                    <a:pt x="74" y="396"/>
                  </a:lnTo>
                  <a:lnTo>
                    <a:pt x="58" y="412"/>
                  </a:lnTo>
                  <a:lnTo>
                    <a:pt x="42" y="432"/>
                  </a:lnTo>
                  <a:lnTo>
                    <a:pt x="24" y="456"/>
                  </a:lnTo>
                  <a:lnTo>
                    <a:pt x="18" y="470"/>
                  </a:lnTo>
                  <a:lnTo>
                    <a:pt x="10" y="484"/>
                  </a:lnTo>
                  <a:lnTo>
                    <a:pt x="6" y="498"/>
                  </a:lnTo>
                  <a:lnTo>
                    <a:pt x="2" y="514"/>
                  </a:lnTo>
                  <a:lnTo>
                    <a:pt x="0" y="530"/>
                  </a:lnTo>
                  <a:lnTo>
                    <a:pt x="0" y="548"/>
                  </a:lnTo>
                  <a:lnTo>
                    <a:pt x="348" y="644"/>
                  </a:lnTo>
                  <a:close/>
                </a:path>
              </a:pathLst>
            </a:cu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3" name="Freeform 23"/>
            <p:cNvSpPr>
              <a:spLocks/>
            </p:cNvSpPr>
            <p:nvPr/>
          </p:nvSpPr>
          <p:spPr bwMode="auto">
            <a:xfrm>
              <a:off x="2217999" y="5471217"/>
              <a:ext cx="606728" cy="374265"/>
            </a:xfrm>
            <a:custGeom>
              <a:avLst/>
              <a:gdLst>
                <a:gd name="T0" fmla="*/ 1044 w 1044"/>
                <a:gd name="T1" fmla="*/ 0 h 644"/>
                <a:gd name="T2" fmla="*/ 1044 w 1044"/>
                <a:gd name="T3" fmla="*/ 0 h 644"/>
                <a:gd name="T4" fmla="*/ 882 w 1044"/>
                <a:gd name="T5" fmla="*/ 74 h 644"/>
                <a:gd name="T6" fmla="*/ 714 w 1044"/>
                <a:gd name="T7" fmla="*/ 152 h 644"/>
                <a:gd name="T8" fmla="*/ 522 w 1044"/>
                <a:gd name="T9" fmla="*/ 246 h 644"/>
                <a:gd name="T10" fmla="*/ 426 w 1044"/>
                <a:gd name="T11" fmla="*/ 296 h 644"/>
                <a:gd name="T12" fmla="*/ 332 w 1044"/>
                <a:gd name="T13" fmla="*/ 344 h 644"/>
                <a:gd name="T14" fmla="*/ 244 w 1044"/>
                <a:gd name="T15" fmla="*/ 394 h 644"/>
                <a:gd name="T16" fmla="*/ 164 w 1044"/>
                <a:gd name="T17" fmla="*/ 442 h 644"/>
                <a:gd name="T18" fmla="*/ 98 w 1044"/>
                <a:gd name="T19" fmla="*/ 486 h 644"/>
                <a:gd name="T20" fmla="*/ 70 w 1044"/>
                <a:gd name="T21" fmla="*/ 506 h 644"/>
                <a:gd name="T22" fmla="*/ 46 w 1044"/>
                <a:gd name="T23" fmla="*/ 524 h 644"/>
                <a:gd name="T24" fmla="*/ 26 w 1044"/>
                <a:gd name="T25" fmla="*/ 542 h 644"/>
                <a:gd name="T26" fmla="*/ 12 w 1044"/>
                <a:gd name="T27" fmla="*/ 560 h 644"/>
                <a:gd name="T28" fmla="*/ 4 w 1044"/>
                <a:gd name="T29" fmla="*/ 574 h 644"/>
                <a:gd name="T30" fmla="*/ 0 w 1044"/>
                <a:gd name="T31" fmla="*/ 580 h 644"/>
                <a:gd name="T32" fmla="*/ 0 w 1044"/>
                <a:gd name="T33" fmla="*/ 588 h 644"/>
                <a:gd name="T34" fmla="*/ 206 w 1044"/>
                <a:gd name="T35" fmla="*/ 644 h 644"/>
                <a:gd name="T36" fmla="*/ 1044 w 1044"/>
                <a:gd name="T37" fmla="*/ 168 h 644"/>
                <a:gd name="T38" fmla="*/ 1044 w 1044"/>
                <a:gd name="T39"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4" h="644">
                  <a:moveTo>
                    <a:pt x="1044" y="0"/>
                  </a:moveTo>
                  <a:lnTo>
                    <a:pt x="1044" y="0"/>
                  </a:lnTo>
                  <a:lnTo>
                    <a:pt x="882" y="74"/>
                  </a:lnTo>
                  <a:lnTo>
                    <a:pt x="714" y="152"/>
                  </a:lnTo>
                  <a:lnTo>
                    <a:pt x="522" y="246"/>
                  </a:lnTo>
                  <a:lnTo>
                    <a:pt x="426" y="296"/>
                  </a:lnTo>
                  <a:lnTo>
                    <a:pt x="332" y="344"/>
                  </a:lnTo>
                  <a:lnTo>
                    <a:pt x="244" y="394"/>
                  </a:lnTo>
                  <a:lnTo>
                    <a:pt x="164" y="442"/>
                  </a:lnTo>
                  <a:lnTo>
                    <a:pt x="98" y="486"/>
                  </a:lnTo>
                  <a:lnTo>
                    <a:pt x="70" y="506"/>
                  </a:lnTo>
                  <a:lnTo>
                    <a:pt x="46" y="524"/>
                  </a:lnTo>
                  <a:lnTo>
                    <a:pt x="26" y="542"/>
                  </a:lnTo>
                  <a:lnTo>
                    <a:pt x="12" y="560"/>
                  </a:lnTo>
                  <a:lnTo>
                    <a:pt x="4" y="574"/>
                  </a:lnTo>
                  <a:lnTo>
                    <a:pt x="0" y="580"/>
                  </a:lnTo>
                  <a:lnTo>
                    <a:pt x="0" y="588"/>
                  </a:lnTo>
                  <a:lnTo>
                    <a:pt x="206" y="644"/>
                  </a:lnTo>
                  <a:lnTo>
                    <a:pt x="1044" y="168"/>
                  </a:lnTo>
                  <a:lnTo>
                    <a:pt x="1044"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4" name="Freeform 24"/>
            <p:cNvSpPr>
              <a:spLocks/>
            </p:cNvSpPr>
            <p:nvPr/>
          </p:nvSpPr>
          <p:spPr bwMode="auto">
            <a:xfrm>
              <a:off x="1285615" y="5510736"/>
              <a:ext cx="513743" cy="162724"/>
            </a:xfrm>
            <a:custGeom>
              <a:avLst/>
              <a:gdLst>
                <a:gd name="T0" fmla="*/ 768 w 884"/>
                <a:gd name="T1" fmla="*/ 0 h 280"/>
                <a:gd name="T2" fmla="*/ 446 w 884"/>
                <a:gd name="T3" fmla="*/ 0 h 280"/>
                <a:gd name="T4" fmla="*/ 438 w 884"/>
                <a:gd name="T5" fmla="*/ 0 h 280"/>
                <a:gd name="T6" fmla="*/ 116 w 884"/>
                <a:gd name="T7" fmla="*/ 0 h 280"/>
                <a:gd name="T8" fmla="*/ 116 w 884"/>
                <a:gd name="T9" fmla="*/ 0 h 280"/>
                <a:gd name="T10" fmla="*/ 96 w 884"/>
                <a:gd name="T11" fmla="*/ 2 h 280"/>
                <a:gd name="T12" fmla="*/ 78 w 884"/>
                <a:gd name="T13" fmla="*/ 6 h 280"/>
                <a:gd name="T14" fmla="*/ 62 w 884"/>
                <a:gd name="T15" fmla="*/ 12 h 280"/>
                <a:gd name="T16" fmla="*/ 48 w 884"/>
                <a:gd name="T17" fmla="*/ 20 h 280"/>
                <a:gd name="T18" fmla="*/ 36 w 884"/>
                <a:gd name="T19" fmla="*/ 28 h 280"/>
                <a:gd name="T20" fmla="*/ 28 w 884"/>
                <a:gd name="T21" fmla="*/ 40 h 280"/>
                <a:gd name="T22" fmla="*/ 20 w 884"/>
                <a:gd name="T23" fmla="*/ 50 h 280"/>
                <a:gd name="T24" fmla="*/ 14 w 884"/>
                <a:gd name="T25" fmla="*/ 62 h 280"/>
                <a:gd name="T26" fmla="*/ 6 w 884"/>
                <a:gd name="T27" fmla="*/ 84 h 280"/>
                <a:gd name="T28" fmla="*/ 2 w 884"/>
                <a:gd name="T29" fmla="*/ 104 h 280"/>
                <a:gd name="T30" fmla="*/ 0 w 884"/>
                <a:gd name="T31" fmla="*/ 124 h 280"/>
                <a:gd name="T32" fmla="*/ 0 w 884"/>
                <a:gd name="T33" fmla="*/ 124 h 280"/>
                <a:gd name="T34" fmla="*/ 2 w 884"/>
                <a:gd name="T35" fmla="*/ 144 h 280"/>
                <a:gd name="T36" fmla="*/ 4 w 884"/>
                <a:gd name="T37" fmla="*/ 160 h 280"/>
                <a:gd name="T38" fmla="*/ 8 w 884"/>
                <a:gd name="T39" fmla="*/ 176 h 280"/>
                <a:gd name="T40" fmla="*/ 12 w 884"/>
                <a:gd name="T41" fmla="*/ 188 h 280"/>
                <a:gd name="T42" fmla="*/ 18 w 884"/>
                <a:gd name="T43" fmla="*/ 200 h 280"/>
                <a:gd name="T44" fmla="*/ 24 w 884"/>
                <a:gd name="T45" fmla="*/ 208 h 280"/>
                <a:gd name="T46" fmla="*/ 32 w 884"/>
                <a:gd name="T47" fmla="*/ 216 h 280"/>
                <a:gd name="T48" fmla="*/ 38 w 884"/>
                <a:gd name="T49" fmla="*/ 222 h 280"/>
                <a:gd name="T50" fmla="*/ 52 w 884"/>
                <a:gd name="T51" fmla="*/ 230 h 280"/>
                <a:gd name="T52" fmla="*/ 64 w 884"/>
                <a:gd name="T53" fmla="*/ 234 h 280"/>
                <a:gd name="T54" fmla="*/ 76 w 884"/>
                <a:gd name="T55" fmla="*/ 236 h 280"/>
                <a:gd name="T56" fmla="*/ 344 w 884"/>
                <a:gd name="T57" fmla="*/ 236 h 280"/>
                <a:gd name="T58" fmla="*/ 344 w 884"/>
                <a:gd name="T59" fmla="*/ 280 h 280"/>
                <a:gd name="T60" fmla="*/ 438 w 884"/>
                <a:gd name="T61" fmla="*/ 280 h 280"/>
                <a:gd name="T62" fmla="*/ 446 w 884"/>
                <a:gd name="T63" fmla="*/ 280 h 280"/>
                <a:gd name="T64" fmla="*/ 540 w 884"/>
                <a:gd name="T65" fmla="*/ 280 h 280"/>
                <a:gd name="T66" fmla="*/ 540 w 884"/>
                <a:gd name="T67" fmla="*/ 236 h 280"/>
                <a:gd name="T68" fmla="*/ 808 w 884"/>
                <a:gd name="T69" fmla="*/ 236 h 280"/>
                <a:gd name="T70" fmla="*/ 808 w 884"/>
                <a:gd name="T71" fmla="*/ 236 h 280"/>
                <a:gd name="T72" fmla="*/ 820 w 884"/>
                <a:gd name="T73" fmla="*/ 234 h 280"/>
                <a:gd name="T74" fmla="*/ 832 w 884"/>
                <a:gd name="T75" fmla="*/ 230 h 280"/>
                <a:gd name="T76" fmla="*/ 846 w 884"/>
                <a:gd name="T77" fmla="*/ 222 h 280"/>
                <a:gd name="T78" fmla="*/ 854 w 884"/>
                <a:gd name="T79" fmla="*/ 216 h 280"/>
                <a:gd name="T80" fmla="*/ 860 w 884"/>
                <a:gd name="T81" fmla="*/ 208 h 280"/>
                <a:gd name="T82" fmla="*/ 866 w 884"/>
                <a:gd name="T83" fmla="*/ 200 h 280"/>
                <a:gd name="T84" fmla="*/ 872 w 884"/>
                <a:gd name="T85" fmla="*/ 188 h 280"/>
                <a:gd name="T86" fmla="*/ 878 w 884"/>
                <a:gd name="T87" fmla="*/ 176 h 280"/>
                <a:gd name="T88" fmla="*/ 882 w 884"/>
                <a:gd name="T89" fmla="*/ 160 h 280"/>
                <a:gd name="T90" fmla="*/ 884 w 884"/>
                <a:gd name="T91" fmla="*/ 144 h 280"/>
                <a:gd name="T92" fmla="*/ 884 w 884"/>
                <a:gd name="T93" fmla="*/ 124 h 280"/>
                <a:gd name="T94" fmla="*/ 884 w 884"/>
                <a:gd name="T95" fmla="*/ 124 h 280"/>
                <a:gd name="T96" fmla="*/ 884 w 884"/>
                <a:gd name="T97" fmla="*/ 104 h 280"/>
                <a:gd name="T98" fmla="*/ 880 w 884"/>
                <a:gd name="T99" fmla="*/ 84 h 280"/>
                <a:gd name="T100" fmla="*/ 872 w 884"/>
                <a:gd name="T101" fmla="*/ 62 h 280"/>
                <a:gd name="T102" fmla="*/ 866 w 884"/>
                <a:gd name="T103" fmla="*/ 50 h 280"/>
                <a:gd name="T104" fmla="*/ 858 w 884"/>
                <a:gd name="T105" fmla="*/ 40 h 280"/>
                <a:gd name="T106" fmla="*/ 848 w 884"/>
                <a:gd name="T107" fmla="*/ 28 h 280"/>
                <a:gd name="T108" fmla="*/ 838 w 884"/>
                <a:gd name="T109" fmla="*/ 20 h 280"/>
                <a:gd name="T110" fmla="*/ 824 w 884"/>
                <a:gd name="T111" fmla="*/ 12 h 280"/>
                <a:gd name="T112" fmla="*/ 808 w 884"/>
                <a:gd name="T113" fmla="*/ 6 h 280"/>
                <a:gd name="T114" fmla="*/ 790 w 884"/>
                <a:gd name="T115" fmla="*/ 2 h 280"/>
                <a:gd name="T116" fmla="*/ 768 w 884"/>
                <a:gd name="T117" fmla="*/ 0 h 280"/>
                <a:gd name="T118" fmla="*/ 768 w 884"/>
                <a:gd name="T11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280">
                  <a:moveTo>
                    <a:pt x="768" y="0"/>
                  </a:moveTo>
                  <a:lnTo>
                    <a:pt x="446" y="0"/>
                  </a:lnTo>
                  <a:lnTo>
                    <a:pt x="438" y="0"/>
                  </a:lnTo>
                  <a:lnTo>
                    <a:pt x="116" y="0"/>
                  </a:lnTo>
                  <a:lnTo>
                    <a:pt x="116" y="0"/>
                  </a:lnTo>
                  <a:lnTo>
                    <a:pt x="96" y="2"/>
                  </a:lnTo>
                  <a:lnTo>
                    <a:pt x="78" y="6"/>
                  </a:lnTo>
                  <a:lnTo>
                    <a:pt x="62" y="12"/>
                  </a:lnTo>
                  <a:lnTo>
                    <a:pt x="48" y="20"/>
                  </a:lnTo>
                  <a:lnTo>
                    <a:pt x="36" y="28"/>
                  </a:lnTo>
                  <a:lnTo>
                    <a:pt x="28" y="40"/>
                  </a:lnTo>
                  <a:lnTo>
                    <a:pt x="20" y="50"/>
                  </a:lnTo>
                  <a:lnTo>
                    <a:pt x="14" y="62"/>
                  </a:lnTo>
                  <a:lnTo>
                    <a:pt x="6" y="84"/>
                  </a:lnTo>
                  <a:lnTo>
                    <a:pt x="2" y="104"/>
                  </a:lnTo>
                  <a:lnTo>
                    <a:pt x="0" y="124"/>
                  </a:lnTo>
                  <a:lnTo>
                    <a:pt x="0" y="124"/>
                  </a:lnTo>
                  <a:lnTo>
                    <a:pt x="2" y="144"/>
                  </a:lnTo>
                  <a:lnTo>
                    <a:pt x="4" y="160"/>
                  </a:lnTo>
                  <a:lnTo>
                    <a:pt x="8" y="176"/>
                  </a:lnTo>
                  <a:lnTo>
                    <a:pt x="12" y="188"/>
                  </a:lnTo>
                  <a:lnTo>
                    <a:pt x="18" y="200"/>
                  </a:lnTo>
                  <a:lnTo>
                    <a:pt x="24" y="208"/>
                  </a:lnTo>
                  <a:lnTo>
                    <a:pt x="32" y="216"/>
                  </a:lnTo>
                  <a:lnTo>
                    <a:pt x="38" y="222"/>
                  </a:lnTo>
                  <a:lnTo>
                    <a:pt x="52" y="230"/>
                  </a:lnTo>
                  <a:lnTo>
                    <a:pt x="64" y="234"/>
                  </a:lnTo>
                  <a:lnTo>
                    <a:pt x="76" y="236"/>
                  </a:lnTo>
                  <a:lnTo>
                    <a:pt x="344" y="236"/>
                  </a:lnTo>
                  <a:lnTo>
                    <a:pt x="344" y="280"/>
                  </a:lnTo>
                  <a:lnTo>
                    <a:pt x="438" y="280"/>
                  </a:lnTo>
                  <a:lnTo>
                    <a:pt x="446" y="280"/>
                  </a:lnTo>
                  <a:lnTo>
                    <a:pt x="540" y="280"/>
                  </a:lnTo>
                  <a:lnTo>
                    <a:pt x="540" y="236"/>
                  </a:lnTo>
                  <a:lnTo>
                    <a:pt x="808" y="236"/>
                  </a:lnTo>
                  <a:lnTo>
                    <a:pt x="808" y="236"/>
                  </a:lnTo>
                  <a:lnTo>
                    <a:pt x="820" y="234"/>
                  </a:lnTo>
                  <a:lnTo>
                    <a:pt x="832" y="230"/>
                  </a:lnTo>
                  <a:lnTo>
                    <a:pt x="846" y="222"/>
                  </a:lnTo>
                  <a:lnTo>
                    <a:pt x="854" y="216"/>
                  </a:lnTo>
                  <a:lnTo>
                    <a:pt x="860" y="208"/>
                  </a:lnTo>
                  <a:lnTo>
                    <a:pt x="866" y="200"/>
                  </a:lnTo>
                  <a:lnTo>
                    <a:pt x="872" y="188"/>
                  </a:lnTo>
                  <a:lnTo>
                    <a:pt x="878" y="176"/>
                  </a:lnTo>
                  <a:lnTo>
                    <a:pt x="882" y="160"/>
                  </a:lnTo>
                  <a:lnTo>
                    <a:pt x="884" y="144"/>
                  </a:lnTo>
                  <a:lnTo>
                    <a:pt x="884" y="124"/>
                  </a:lnTo>
                  <a:lnTo>
                    <a:pt x="884" y="124"/>
                  </a:lnTo>
                  <a:lnTo>
                    <a:pt x="884" y="104"/>
                  </a:lnTo>
                  <a:lnTo>
                    <a:pt x="880" y="84"/>
                  </a:lnTo>
                  <a:lnTo>
                    <a:pt x="872" y="62"/>
                  </a:lnTo>
                  <a:lnTo>
                    <a:pt x="866" y="50"/>
                  </a:lnTo>
                  <a:lnTo>
                    <a:pt x="858" y="40"/>
                  </a:lnTo>
                  <a:lnTo>
                    <a:pt x="848" y="28"/>
                  </a:lnTo>
                  <a:lnTo>
                    <a:pt x="838" y="20"/>
                  </a:lnTo>
                  <a:lnTo>
                    <a:pt x="824" y="12"/>
                  </a:lnTo>
                  <a:lnTo>
                    <a:pt x="808" y="6"/>
                  </a:lnTo>
                  <a:lnTo>
                    <a:pt x="790" y="2"/>
                  </a:lnTo>
                  <a:lnTo>
                    <a:pt x="768" y="0"/>
                  </a:lnTo>
                  <a:lnTo>
                    <a:pt x="76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5" name="Freeform 25"/>
            <p:cNvSpPr>
              <a:spLocks/>
            </p:cNvSpPr>
            <p:nvPr/>
          </p:nvSpPr>
          <p:spPr bwMode="auto">
            <a:xfrm>
              <a:off x="1304212" y="5531658"/>
              <a:ext cx="477711" cy="94148"/>
            </a:xfrm>
            <a:custGeom>
              <a:avLst/>
              <a:gdLst>
                <a:gd name="T0" fmla="*/ 742 w 822"/>
                <a:gd name="T1" fmla="*/ 0 h 162"/>
                <a:gd name="T2" fmla="*/ 306 w 822"/>
                <a:gd name="T3" fmla="*/ 0 h 162"/>
                <a:gd name="T4" fmla="*/ 300 w 822"/>
                <a:gd name="T5" fmla="*/ 0 h 162"/>
                <a:gd name="T6" fmla="*/ 78 w 822"/>
                <a:gd name="T7" fmla="*/ 0 h 162"/>
                <a:gd name="T8" fmla="*/ 78 w 822"/>
                <a:gd name="T9" fmla="*/ 0 h 162"/>
                <a:gd name="T10" fmla="*/ 64 w 822"/>
                <a:gd name="T11" fmla="*/ 0 h 162"/>
                <a:gd name="T12" fmla="*/ 52 w 822"/>
                <a:gd name="T13" fmla="*/ 4 h 162"/>
                <a:gd name="T14" fmla="*/ 42 w 822"/>
                <a:gd name="T15" fmla="*/ 8 h 162"/>
                <a:gd name="T16" fmla="*/ 32 w 822"/>
                <a:gd name="T17" fmla="*/ 14 h 162"/>
                <a:gd name="T18" fmla="*/ 24 w 822"/>
                <a:gd name="T19" fmla="*/ 20 h 162"/>
                <a:gd name="T20" fmla="*/ 18 w 822"/>
                <a:gd name="T21" fmla="*/ 26 h 162"/>
                <a:gd name="T22" fmla="*/ 8 w 822"/>
                <a:gd name="T23" fmla="*/ 42 h 162"/>
                <a:gd name="T24" fmla="*/ 2 w 822"/>
                <a:gd name="T25" fmla="*/ 58 h 162"/>
                <a:gd name="T26" fmla="*/ 0 w 822"/>
                <a:gd name="T27" fmla="*/ 72 h 162"/>
                <a:gd name="T28" fmla="*/ 0 w 822"/>
                <a:gd name="T29" fmla="*/ 86 h 162"/>
                <a:gd name="T30" fmla="*/ 0 w 822"/>
                <a:gd name="T31" fmla="*/ 86 h 162"/>
                <a:gd name="T32" fmla="*/ 0 w 822"/>
                <a:gd name="T33" fmla="*/ 98 h 162"/>
                <a:gd name="T34" fmla="*/ 2 w 822"/>
                <a:gd name="T35" fmla="*/ 110 h 162"/>
                <a:gd name="T36" fmla="*/ 4 w 822"/>
                <a:gd name="T37" fmla="*/ 120 h 162"/>
                <a:gd name="T38" fmla="*/ 8 w 822"/>
                <a:gd name="T39" fmla="*/ 130 h 162"/>
                <a:gd name="T40" fmla="*/ 16 w 822"/>
                <a:gd name="T41" fmla="*/ 144 h 162"/>
                <a:gd name="T42" fmla="*/ 26 w 822"/>
                <a:gd name="T43" fmla="*/ 152 h 162"/>
                <a:gd name="T44" fmla="*/ 36 w 822"/>
                <a:gd name="T45" fmla="*/ 158 h 162"/>
                <a:gd name="T46" fmla="*/ 44 w 822"/>
                <a:gd name="T47" fmla="*/ 160 h 162"/>
                <a:gd name="T48" fmla="*/ 52 w 822"/>
                <a:gd name="T49" fmla="*/ 162 h 162"/>
                <a:gd name="T50" fmla="*/ 236 w 822"/>
                <a:gd name="T51" fmla="*/ 162 h 162"/>
                <a:gd name="T52" fmla="*/ 370 w 822"/>
                <a:gd name="T53" fmla="*/ 162 h 162"/>
                <a:gd name="T54" fmla="*/ 770 w 822"/>
                <a:gd name="T55" fmla="*/ 162 h 162"/>
                <a:gd name="T56" fmla="*/ 770 w 822"/>
                <a:gd name="T57" fmla="*/ 162 h 162"/>
                <a:gd name="T58" fmla="*/ 778 w 822"/>
                <a:gd name="T59" fmla="*/ 160 h 162"/>
                <a:gd name="T60" fmla="*/ 786 w 822"/>
                <a:gd name="T61" fmla="*/ 158 h 162"/>
                <a:gd name="T62" fmla="*/ 796 w 822"/>
                <a:gd name="T63" fmla="*/ 152 h 162"/>
                <a:gd name="T64" fmla="*/ 804 w 822"/>
                <a:gd name="T65" fmla="*/ 144 h 162"/>
                <a:gd name="T66" fmla="*/ 814 w 822"/>
                <a:gd name="T67" fmla="*/ 130 h 162"/>
                <a:gd name="T68" fmla="*/ 816 w 822"/>
                <a:gd name="T69" fmla="*/ 120 h 162"/>
                <a:gd name="T70" fmla="*/ 820 w 822"/>
                <a:gd name="T71" fmla="*/ 110 h 162"/>
                <a:gd name="T72" fmla="*/ 820 w 822"/>
                <a:gd name="T73" fmla="*/ 98 h 162"/>
                <a:gd name="T74" fmla="*/ 822 w 822"/>
                <a:gd name="T75" fmla="*/ 86 h 162"/>
                <a:gd name="T76" fmla="*/ 822 w 822"/>
                <a:gd name="T77" fmla="*/ 86 h 162"/>
                <a:gd name="T78" fmla="*/ 820 w 822"/>
                <a:gd name="T79" fmla="*/ 72 h 162"/>
                <a:gd name="T80" fmla="*/ 818 w 822"/>
                <a:gd name="T81" fmla="*/ 58 h 162"/>
                <a:gd name="T82" fmla="*/ 812 w 822"/>
                <a:gd name="T83" fmla="*/ 42 h 162"/>
                <a:gd name="T84" fmla="*/ 804 w 822"/>
                <a:gd name="T85" fmla="*/ 26 h 162"/>
                <a:gd name="T86" fmla="*/ 796 w 822"/>
                <a:gd name="T87" fmla="*/ 20 h 162"/>
                <a:gd name="T88" fmla="*/ 790 w 822"/>
                <a:gd name="T89" fmla="*/ 14 h 162"/>
                <a:gd name="T90" fmla="*/ 780 w 822"/>
                <a:gd name="T91" fmla="*/ 8 h 162"/>
                <a:gd name="T92" fmla="*/ 768 w 822"/>
                <a:gd name="T93" fmla="*/ 4 h 162"/>
                <a:gd name="T94" fmla="*/ 756 w 822"/>
                <a:gd name="T95" fmla="*/ 0 h 162"/>
                <a:gd name="T96" fmla="*/ 742 w 822"/>
                <a:gd name="T97" fmla="*/ 0 h 162"/>
                <a:gd name="T98" fmla="*/ 742 w 822"/>
                <a:gd name="T99"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2" h="162">
                  <a:moveTo>
                    <a:pt x="742" y="0"/>
                  </a:moveTo>
                  <a:lnTo>
                    <a:pt x="306" y="0"/>
                  </a:lnTo>
                  <a:lnTo>
                    <a:pt x="300" y="0"/>
                  </a:lnTo>
                  <a:lnTo>
                    <a:pt x="78" y="0"/>
                  </a:lnTo>
                  <a:lnTo>
                    <a:pt x="78" y="0"/>
                  </a:lnTo>
                  <a:lnTo>
                    <a:pt x="64" y="0"/>
                  </a:lnTo>
                  <a:lnTo>
                    <a:pt x="52" y="4"/>
                  </a:lnTo>
                  <a:lnTo>
                    <a:pt x="42" y="8"/>
                  </a:lnTo>
                  <a:lnTo>
                    <a:pt x="32" y="14"/>
                  </a:lnTo>
                  <a:lnTo>
                    <a:pt x="24" y="20"/>
                  </a:lnTo>
                  <a:lnTo>
                    <a:pt x="18" y="26"/>
                  </a:lnTo>
                  <a:lnTo>
                    <a:pt x="8" y="42"/>
                  </a:lnTo>
                  <a:lnTo>
                    <a:pt x="2" y="58"/>
                  </a:lnTo>
                  <a:lnTo>
                    <a:pt x="0" y="72"/>
                  </a:lnTo>
                  <a:lnTo>
                    <a:pt x="0" y="86"/>
                  </a:lnTo>
                  <a:lnTo>
                    <a:pt x="0" y="86"/>
                  </a:lnTo>
                  <a:lnTo>
                    <a:pt x="0" y="98"/>
                  </a:lnTo>
                  <a:lnTo>
                    <a:pt x="2" y="110"/>
                  </a:lnTo>
                  <a:lnTo>
                    <a:pt x="4" y="120"/>
                  </a:lnTo>
                  <a:lnTo>
                    <a:pt x="8" y="130"/>
                  </a:lnTo>
                  <a:lnTo>
                    <a:pt x="16" y="144"/>
                  </a:lnTo>
                  <a:lnTo>
                    <a:pt x="26" y="152"/>
                  </a:lnTo>
                  <a:lnTo>
                    <a:pt x="36" y="158"/>
                  </a:lnTo>
                  <a:lnTo>
                    <a:pt x="44" y="160"/>
                  </a:lnTo>
                  <a:lnTo>
                    <a:pt x="52" y="162"/>
                  </a:lnTo>
                  <a:lnTo>
                    <a:pt x="236" y="162"/>
                  </a:lnTo>
                  <a:lnTo>
                    <a:pt x="370" y="162"/>
                  </a:lnTo>
                  <a:lnTo>
                    <a:pt x="770" y="162"/>
                  </a:lnTo>
                  <a:lnTo>
                    <a:pt x="770" y="162"/>
                  </a:lnTo>
                  <a:lnTo>
                    <a:pt x="778" y="160"/>
                  </a:lnTo>
                  <a:lnTo>
                    <a:pt x="786" y="158"/>
                  </a:lnTo>
                  <a:lnTo>
                    <a:pt x="796" y="152"/>
                  </a:lnTo>
                  <a:lnTo>
                    <a:pt x="804" y="144"/>
                  </a:lnTo>
                  <a:lnTo>
                    <a:pt x="814" y="130"/>
                  </a:lnTo>
                  <a:lnTo>
                    <a:pt x="816" y="120"/>
                  </a:lnTo>
                  <a:lnTo>
                    <a:pt x="820" y="110"/>
                  </a:lnTo>
                  <a:lnTo>
                    <a:pt x="820" y="98"/>
                  </a:lnTo>
                  <a:lnTo>
                    <a:pt x="822" y="86"/>
                  </a:lnTo>
                  <a:lnTo>
                    <a:pt x="822" y="86"/>
                  </a:lnTo>
                  <a:lnTo>
                    <a:pt x="820" y="72"/>
                  </a:lnTo>
                  <a:lnTo>
                    <a:pt x="818" y="58"/>
                  </a:lnTo>
                  <a:lnTo>
                    <a:pt x="812" y="42"/>
                  </a:lnTo>
                  <a:lnTo>
                    <a:pt x="804" y="26"/>
                  </a:lnTo>
                  <a:lnTo>
                    <a:pt x="796" y="20"/>
                  </a:lnTo>
                  <a:lnTo>
                    <a:pt x="790" y="14"/>
                  </a:lnTo>
                  <a:lnTo>
                    <a:pt x="780" y="8"/>
                  </a:lnTo>
                  <a:lnTo>
                    <a:pt x="768" y="4"/>
                  </a:lnTo>
                  <a:lnTo>
                    <a:pt x="756" y="0"/>
                  </a:lnTo>
                  <a:lnTo>
                    <a:pt x="742" y="0"/>
                  </a:lnTo>
                  <a:lnTo>
                    <a:pt x="742"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6" name="Freeform 28"/>
            <p:cNvSpPr>
              <a:spLocks/>
            </p:cNvSpPr>
            <p:nvPr/>
          </p:nvSpPr>
          <p:spPr bwMode="auto">
            <a:xfrm>
              <a:off x="775360" y="5976824"/>
              <a:ext cx="546287" cy="140640"/>
            </a:xfrm>
            <a:custGeom>
              <a:avLst/>
              <a:gdLst>
                <a:gd name="T0" fmla="*/ 0 w 940"/>
                <a:gd name="T1" fmla="*/ 70 h 242"/>
                <a:gd name="T2" fmla="*/ 0 w 940"/>
                <a:gd name="T3" fmla="*/ 70 h 242"/>
                <a:gd name="T4" fmla="*/ 20 w 940"/>
                <a:gd name="T5" fmla="*/ 64 h 242"/>
                <a:gd name="T6" fmla="*/ 76 w 940"/>
                <a:gd name="T7" fmla="*/ 50 h 242"/>
                <a:gd name="T8" fmla="*/ 116 w 940"/>
                <a:gd name="T9" fmla="*/ 42 h 242"/>
                <a:gd name="T10" fmla="*/ 164 w 940"/>
                <a:gd name="T11" fmla="*/ 32 h 242"/>
                <a:gd name="T12" fmla="*/ 218 w 940"/>
                <a:gd name="T13" fmla="*/ 22 h 242"/>
                <a:gd name="T14" fmla="*/ 280 w 940"/>
                <a:gd name="T15" fmla="*/ 14 h 242"/>
                <a:gd name="T16" fmla="*/ 346 w 940"/>
                <a:gd name="T17" fmla="*/ 8 h 242"/>
                <a:gd name="T18" fmla="*/ 420 w 940"/>
                <a:gd name="T19" fmla="*/ 2 h 242"/>
                <a:gd name="T20" fmla="*/ 496 w 940"/>
                <a:gd name="T21" fmla="*/ 0 h 242"/>
                <a:gd name="T22" fmla="*/ 578 w 940"/>
                <a:gd name="T23" fmla="*/ 0 h 242"/>
                <a:gd name="T24" fmla="*/ 664 w 940"/>
                <a:gd name="T25" fmla="*/ 6 h 242"/>
                <a:gd name="T26" fmla="*/ 754 w 940"/>
                <a:gd name="T27" fmla="*/ 14 h 242"/>
                <a:gd name="T28" fmla="*/ 800 w 940"/>
                <a:gd name="T29" fmla="*/ 20 h 242"/>
                <a:gd name="T30" fmla="*/ 846 w 940"/>
                <a:gd name="T31" fmla="*/ 28 h 242"/>
                <a:gd name="T32" fmla="*/ 892 w 940"/>
                <a:gd name="T33" fmla="*/ 36 h 242"/>
                <a:gd name="T34" fmla="*/ 940 w 940"/>
                <a:gd name="T35" fmla="*/ 46 h 242"/>
                <a:gd name="T36" fmla="*/ 940 w 940"/>
                <a:gd name="T37" fmla="*/ 218 h 242"/>
                <a:gd name="T38" fmla="*/ 940 w 940"/>
                <a:gd name="T39" fmla="*/ 218 h 242"/>
                <a:gd name="T40" fmla="*/ 920 w 940"/>
                <a:gd name="T41" fmla="*/ 208 h 242"/>
                <a:gd name="T42" fmla="*/ 894 w 940"/>
                <a:gd name="T43" fmla="*/ 198 h 242"/>
                <a:gd name="T44" fmla="*/ 860 w 940"/>
                <a:gd name="T45" fmla="*/ 184 h 242"/>
                <a:gd name="T46" fmla="*/ 818 w 940"/>
                <a:gd name="T47" fmla="*/ 170 h 242"/>
                <a:gd name="T48" fmla="*/ 770 w 940"/>
                <a:gd name="T49" fmla="*/ 156 h 242"/>
                <a:gd name="T50" fmla="*/ 712 w 940"/>
                <a:gd name="T51" fmla="*/ 142 h 242"/>
                <a:gd name="T52" fmla="*/ 650 w 940"/>
                <a:gd name="T53" fmla="*/ 132 h 242"/>
                <a:gd name="T54" fmla="*/ 582 w 940"/>
                <a:gd name="T55" fmla="*/ 122 h 242"/>
                <a:gd name="T56" fmla="*/ 546 w 940"/>
                <a:gd name="T57" fmla="*/ 120 h 242"/>
                <a:gd name="T58" fmla="*/ 508 w 940"/>
                <a:gd name="T59" fmla="*/ 118 h 242"/>
                <a:gd name="T60" fmla="*/ 470 w 940"/>
                <a:gd name="T61" fmla="*/ 118 h 242"/>
                <a:gd name="T62" fmla="*/ 430 w 940"/>
                <a:gd name="T63" fmla="*/ 120 h 242"/>
                <a:gd name="T64" fmla="*/ 390 w 940"/>
                <a:gd name="T65" fmla="*/ 122 h 242"/>
                <a:gd name="T66" fmla="*/ 350 w 940"/>
                <a:gd name="T67" fmla="*/ 126 h 242"/>
                <a:gd name="T68" fmla="*/ 308 w 940"/>
                <a:gd name="T69" fmla="*/ 134 h 242"/>
                <a:gd name="T70" fmla="*/ 264 w 940"/>
                <a:gd name="T71" fmla="*/ 142 h 242"/>
                <a:gd name="T72" fmla="*/ 222 w 940"/>
                <a:gd name="T73" fmla="*/ 152 h 242"/>
                <a:gd name="T74" fmla="*/ 178 w 940"/>
                <a:gd name="T75" fmla="*/ 166 h 242"/>
                <a:gd name="T76" fmla="*/ 134 w 940"/>
                <a:gd name="T77" fmla="*/ 180 h 242"/>
                <a:gd name="T78" fmla="*/ 90 w 940"/>
                <a:gd name="T79" fmla="*/ 198 h 242"/>
                <a:gd name="T80" fmla="*/ 44 w 940"/>
                <a:gd name="T81" fmla="*/ 218 h 242"/>
                <a:gd name="T82" fmla="*/ 0 w 940"/>
                <a:gd name="T83" fmla="*/ 242 h 242"/>
                <a:gd name="T84" fmla="*/ 0 w 940"/>
                <a:gd name="T85" fmla="*/ 7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0" h="242">
                  <a:moveTo>
                    <a:pt x="0" y="70"/>
                  </a:moveTo>
                  <a:lnTo>
                    <a:pt x="0" y="70"/>
                  </a:lnTo>
                  <a:lnTo>
                    <a:pt x="20" y="64"/>
                  </a:lnTo>
                  <a:lnTo>
                    <a:pt x="76" y="50"/>
                  </a:lnTo>
                  <a:lnTo>
                    <a:pt x="116" y="42"/>
                  </a:lnTo>
                  <a:lnTo>
                    <a:pt x="164" y="32"/>
                  </a:lnTo>
                  <a:lnTo>
                    <a:pt x="218" y="22"/>
                  </a:lnTo>
                  <a:lnTo>
                    <a:pt x="280" y="14"/>
                  </a:lnTo>
                  <a:lnTo>
                    <a:pt x="346" y="8"/>
                  </a:lnTo>
                  <a:lnTo>
                    <a:pt x="420" y="2"/>
                  </a:lnTo>
                  <a:lnTo>
                    <a:pt x="496" y="0"/>
                  </a:lnTo>
                  <a:lnTo>
                    <a:pt x="578" y="0"/>
                  </a:lnTo>
                  <a:lnTo>
                    <a:pt x="664" y="6"/>
                  </a:lnTo>
                  <a:lnTo>
                    <a:pt x="754" y="14"/>
                  </a:lnTo>
                  <a:lnTo>
                    <a:pt x="800" y="20"/>
                  </a:lnTo>
                  <a:lnTo>
                    <a:pt x="846" y="28"/>
                  </a:lnTo>
                  <a:lnTo>
                    <a:pt x="892" y="36"/>
                  </a:lnTo>
                  <a:lnTo>
                    <a:pt x="940" y="46"/>
                  </a:lnTo>
                  <a:lnTo>
                    <a:pt x="940" y="218"/>
                  </a:lnTo>
                  <a:lnTo>
                    <a:pt x="940" y="218"/>
                  </a:lnTo>
                  <a:lnTo>
                    <a:pt x="920" y="208"/>
                  </a:lnTo>
                  <a:lnTo>
                    <a:pt x="894" y="198"/>
                  </a:lnTo>
                  <a:lnTo>
                    <a:pt x="860" y="184"/>
                  </a:lnTo>
                  <a:lnTo>
                    <a:pt x="818" y="170"/>
                  </a:lnTo>
                  <a:lnTo>
                    <a:pt x="770" y="156"/>
                  </a:lnTo>
                  <a:lnTo>
                    <a:pt x="712" y="142"/>
                  </a:lnTo>
                  <a:lnTo>
                    <a:pt x="650" y="132"/>
                  </a:lnTo>
                  <a:lnTo>
                    <a:pt x="582" y="122"/>
                  </a:lnTo>
                  <a:lnTo>
                    <a:pt x="546" y="120"/>
                  </a:lnTo>
                  <a:lnTo>
                    <a:pt x="508" y="118"/>
                  </a:lnTo>
                  <a:lnTo>
                    <a:pt x="470" y="118"/>
                  </a:lnTo>
                  <a:lnTo>
                    <a:pt x="430" y="120"/>
                  </a:lnTo>
                  <a:lnTo>
                    <a:pt x="390" y="122"/>
                  </a:lnTo>
                  <a:lnTo>
                    <a:pt x="350" y="126"/>
                  </a:lnTo>
                  <a:lnTo>
                    <a:pt x="308" y="134"/>
                  </a:lnTo>
                  <a:lnTo>
                    <a:pt x="264" y="142"/>
                  </a:lnTo>
                  <a:lnTo>
                    <a:pt x="222" y="152"/>
                  </a:lnTo>
                  <a:lnTo>
                    <a:pt x="178" y="166"/>
                  </a:lnTo>
                  <a:lnTo>
                    <a:pt x="134" y="180"/>
                  </a:lnTo>
                  <a:lnTo>
                    <a:pt x="90" y="198"/>
                  </a:lnTo>
                  <a:lnTo>
                    <a:pt x="44" y="218"/>
                  </a:lnTo>
                  <a:lnTo>
                    <a:pt x="0" y="242"/>
                  </a:lnTo>
                  <a:lnTo>
                    <a:pt x="0" y="7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7" name="Freeform 29"/>
            <p:cNvSpPr>
              <a:spLocks/>
            </p:cNvSpPr>
            <p:nvPr/>
          </p:nvSpPr>
          <p:spPr bwMode="auto">
            <a:xfrm>
              <a:off x="989225" y="6163957"/>
              <a:ext cx="111582" cy="153426"/>
            </a:xfrm>
            <a:custGeom>
              <a:avLst/>
              <a:gdLst>
                <a:gd name="T0" fmla="*/ 0 w 192"/>
                <a:gd name="T1" fmla="*/ 32 h 264"/>
                <a:gd name="T2" fmla="*/ 0 w 192"/>
                <a:gd name="T3" fmla="*/ 264 h 264"/>
                <a:gd name="T4" fmla="*/ 192 w 192"/>
                <a:gd name="T5" fmla="*/ 264 h 264"/>
                <a:gd name="T6" fmla="*/ 192 w 192"/>
                <a:gd name="T7" fmla="*/ 0 h 264"/>
                <a:gd name="T8" fmla="*/ 0 w 192"/>
                <a:gd name="T9" fmla="*/ 32 h 264"/>
              </a:gdLst>
              <a:ahLst/>
              <a:cxnLst>
                <a:cxn ang="0">
                  <a:pos x="T0" y="T1"/>
                </a:cxn>
                <a:cxn ang="0">
                  <a:pos x="T2" y="T3"/>
                </a:cxn>
                <a:cxn ang="0">
                  <a:pos x="T4" y="T5"/>
                </a:cxn>
                <a:cxn ang="0">
                  <a:pos x="T6" y="T7"/>
                </a:cxn>
                <a:cxn ang="0">
                  <a:pos x="T8" y="T9"/>
                </a:cxn>
              </a:cxnLst>
              <a:rect l="0" t="0" r="r" b="b"/>
              <a:pathLst>
                <a:path w="192" h="264">
                  <a:moveTo>
                    <a:pt x="0" y="32"/>
                  </a:moveTo>
                  <a:lnTo>
                    <a:pt x="0" y="264"/>
                  </a:lnTo>
                  <a:lnTo>
                    <a:pt x="192" y="264"/>
                  </a:lnTo>
                  <a:lnTo>
                    <a:pt x="192" y="0"/>
                  </a:lnTo>
                  <a:lnTo>
                    <a:pt x="0" y="32"/>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8" name="Rectangle 30"/>
            <p:cNvSpPr>
              <a:spLocks noChangeArrowheads="1"/>
            </p:cNvSpPr>
            <p:nvPr/>
          </p:nvSpPr>
          <p:spPr bwMode="auto">
            <a:xfrm>
              <a:off x="1426672" y="6284629"/>
              <a:ext cx="58116" cy="6276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9" name="Rectangle 31"/>
            <p:cNvSpPr>
              <a:spLocks noChangeArrowheads="1"/>
            </p:cNvSpPr>
            <p:nvPr/>
          </p:nvSpPr>
          <p:spPr bwMode="auto">
            <a:xfrm>
              <a:off x="1426672" y="6358392"/>
              <a:ext cx="58116" cy="6276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0" name="Freeform 32"/>
            <p:cNvSpPr>
              <a:spLocks/>
            </p:cNvSpPr>
            <p:nvPr/>
          </p:nvSpPr>
          <p:spPr bwMode="auto">
            <a:xfrm>
              <a:off x="1514591" y="6359226"/>
              <a:ext cx="109257" cy="62765"/>
            </a:xfrm>
            <a:custGeom>
              <a:avLst/>
              <a:gdLst>
                <a:gd name="T0" fmla="*/ 188 w 188"/>
                <a:gd name="T1" fmla="*/ 108 h 108"/>
                <a:gd name="T2" fmla="*/ 0 w 188"/>
                <a:gd name="T3" fmla="*/ 108 h 108"/>
                <a:gd name="T4" fmla="*/ 24 w 188"/>
                <a:gd name="T5" fmla="*/ 0 h 108"/>
                <a:gd name="T6" fmla="*/ 156 w 188"/>
                <a:gd name="T7" fmla="*/ 0 h 108"/>
                <a:gd name="T8" fmla="*/ 188 w 188"/>
                <a:gd name="T9" fmla="*/ 108 h 108"/>
              </a:gdLst>
              <a:ahLst/>
              <a:cxnLst>
                <a:cxn ang="0">
                  <a:pos x="T0" y="T1"/>
                </a:cxn>
                <a:cxn ang="0">
                  <a:pos x="T2" y="T3"/>
                </a:cxn>
                <a:cxn ang="0">
                  <a:pos x="T4" y="T5"/>
                </a:cxn>
                <a:cxn ang="0">
                  <a:pos x="T6" y="T7"/>
                </a:cxn>
                <a:cxn ang="0">
                  <a:pos x="T8" y="T9"/>
                </a:cxn>
              </a:cxnLst>
              <a:rect l="0" t="0" r="r" b="b"/>
              <a:pathLst>
                <a:path w="188" h="108">
                  <a:moveTo>
                    <a:pt x="188" y="108"/>
                  </a:moveTo>
                  <a:lnTo>
                    <a:pt x="0" y="108"/>
                  </a:lnTo>
                  <a:lnTo>
                    <a:pt x="24" y="0"/>
                  </a:lnTo>
                  <a:lnTo>
                    <a:pt x="156" y="0"/>
                  </a:lnTo>
                  <a:lnTo>
                    <a:pt x="188" y="10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1" name="Rectangle 34"/>
            <p:cNvSpPr>
              <a:spLocks noChangeArrowheads="1"/>
            </p:cNvSpPr>
            <p:nvPr/>
          </p:nvSpPr>
          <p:spPr bwMode="auto">
            <a:xfrm>
              <a:off x="1554110" y="6308084"/>
              <a:ext cx="27896" cy="91823"/>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2" name="Freeform 35"/>
            <p:cNvSpPr>
              <a:spLocks/>
            </p:cNvSpPr>
            <p:nvPr/>
          </p:nvSpPr>
          <p:spPr bwMode="auto">
            <a:xfrm>
              <a:off x="2309613" y="5845483"/>
              <a:ext cx="512580" cy="462601"/>
            </a:xfrm>
            <a:custGeom>
              <a:avLst/>
              <a:gdLst>
                <a:gd name="T0" fmla="*/ 68 w 882"/>
                <a:gd name="T1" fmla="*/ 510 h 796"/>
                <a:gd name="T2" fmla="*/ 68 w 882"/>
                <a:gd name="T3" fmla="*/ 510 h 796"/>
                <a:gd name="T4" fmla="*/ 196 w 882"/>
                <a:gd name="T5" fmla="*/ 556 h 796"/>
                <a:gd name="T6" fmla="*/ 476 w 882"/>
                <a:gd name="T7" fmla="*/ 654 h 796"/>
                <a:gd name="T8" fmla="*/ 882 w 882"/>
                <a:gd name="T9" fmla="*/ 796 h 796"/>
                <a:gd name="T10" fmla="*/ 882 w 882"/>
                <a:gd name="T11" fmla="*/ 206 h 796"/>
                <a:gd name="T12" fmla="*/ 116 w 882"/>
                <a:gd name="T13" fmla="*/ 0 h 796"/>
                <a:gd name="T14" fmla="*/ 0 w 882"/>
                <a:gd name="T15" fmla="*/ 296 h 796"/>
                <a:gd name="T16" fmla="*/ 68 w 882"/>
                <a:gd name="T17" fmla="*/ 51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2" h="796">
                  <a:moveTo>
                    <a:pt x="68" y="510"/>
                  </a:moveTo>
                  <a:lnTo>
                    <a:pt x="68" y="510"/>
                  </a:lnTo>
                  <a:lnTo>
                    <a:pt x="196" y="556"/>
                  </a:lnTo>
                  <a:lnTo>
                    <a:pt x="476" y="654"/>
                  </a:lnTo>
                  <a:lnTo>
                    <a:pt x="882" y="796"/>
                  </a:lnTo>
                  <a:lnTo>
                    <a:pt x="882" y="206"/>
                  </a:lnTo>
                  <a:lnTo>
                    <a:pt x="116" y="0"/>
                  </a:lnTo>
                  <a:lnTo>
                    <a:pt x="0" y="296"/>
                  </a:lnTo>
                  <a:lnTo>
                    <a:pt x="68" y="510"/>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3" name="Freeform 36"/>
            <p:cNvSpPr>
              <a:spLocks/>
            </p:cNvSpPr>
            <p:nvPr/>
          </p:nvSpPr>
          <p:spPr bwMode="auto">
            <a:xfrm>
              <a:off x="370875" y="6046563"/>
              <a:ext cx="240599" cy="70901"/>
            </a:xfrm>
            <a:custGeom>
              <a:avLst/>
              <a:gdLst>
                <a:gd name="T0" fmla="*/ 0 w 414"/>
                <a:gd name="T1" fmla="*/ 44 h 122"/>
                <a:gd name="T2" fmla="*/ 108 w 414"/>
                <a:gd name="T3" fmla="*/ 122 h 122"/>
                <a:gd name="T4" fmla="*/ 414 w 414"/>
                <a:gd name="T5" fmla="*/ 38 h 122"/>
                <a:gd name="T6" fmla="*/ 356 w 414"/>
                <a:gd name="T7" fmla="*/ 0 h 122"/>
                <a:gd name="T8" fmla="*/ 140 w 414"/>
                <a:gd name="T9" fmla="*/ 44 h 122"/>
                <a:gd name="T10" fmla="*/ 80 w 414"/>
                <a:gd name="T11" fmla="*/ 0 h 122"/>
                <a:gd name="T12" fmla="*/ 0 w 414"/>
                <a:gd name="T13" fmla="*/ 44 h 122"/>
              </a:gdLst>
              <a:ahLst/>
              <a:cxnLst>
                <a:cxn ang="0">
                  <a:pos x="T0" y="T1"/>
                </a:cxn>
                <a:cxn ang="0">
                  <a:pos x="T2" y="T3"/>
                </a:cxn>
                <a:cxn ang="0">
                  <a:pos x="T4" y="T5"/>
                </a:cxn>
                <a:cxn ang="0">
                  <a:pos x="T6" y="T7"/>
                </a:cxn>
                <a:cxn ang="0">
                  <a:pos x="T8" y="T9"/>
                </a:cxn>
                <a:cxn ang="0">
                  <a:pos x="T10" y="T11"/>
                </a:cxn>
                <a:cxn ang="0">
                  <a:pos x="T12" y="T13"/>
                </a:cxn>
              </a:cxnLst>
              <a:rect l="0" t="0" r="r" b="b"/>
              <a:pathLst>
                <a:path w="414" h="122">
                  <a:moveTo>
                    <a:pt x="0" y="44"/>
                  </a:moveTo>
                  <a:lnTo>
                    <a:pt x="108" y="122"/>
                  </a:lnTo>
                  <a:lnTo>
                    <a:pt x="414" y="38"/>
                  </a:lnTo>
                  <a:lnTo>
                    <a:pt x="356" y="0"/>
                  </a:lnTo>
                  <a:lnTo>
                    <a:pt x="140" y="44"/>
                  </a:lnTo>
                  <a:lnTo>
                    <a:pt x="80" y="0"/>
                  </a:lnTo>
                  <a:lnTo>
                    <a:pt x="0"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4" name="Freeform 37"/>
            <p:cNvSpPr>
              <a:spLocks/>
            </p:cNvSpPr>
            <p:nvPr/>
          </p:nvSpPr>
          <p:spPr bwMode="auto">
            <a:xfrm>
              <a:off x="2504882" y="6046563"/>
              <a:ext cx="240599" cy="70901"/>
            </a:xfrm>
            <a:custGeom>
              <a:avLst/>
              <a:gdLst>
                <a:gd name="T0" fmla="*/ 414 w 414"/>
                <a:gd name="T1" fmla="*/ 44 h 122"/>
                <a:gd name="T2" fmla="*/ 304 w 414"/>
                <a:gd name="T3" fmla="*/ 122 h 122"/>
                <a:gd name="T4" fmla="*/ 0 w 414"/>
                <a:gd name="T5" fmla="*/ 38 h 122"/>
                <a:gd name="T6" fmla="*/ 58 w 414"/>
                <a:gd name="T7" fmla="*/ 0 h 122"/>
                <a:gd name="T8" fmla="*/ 274 w 414"/>
                <a:gd name="T9" fmla="*/ 44 h 122"/>
                <a:gd name="T10" fmla="*/ 334 w 414"/>
                <a:gd name="T11" fmla="*/ 0 h 122"/>
                <a:gd name="T12" fmla="*/ 414 w 414"/>
                <a:gd name="T13" fmla="*/ 44 h 122"/>
              </a:gdLst>
              <a:ahLst/>
              <a:cxnLst>
                <a:cxn ang="0">
                  <a:pos x="T0" y="T1"/>
                </a:cxn>
                <a:cxn ang="0">
                  <a:pos x="T2" y="T3"/>
                </a:cxn>
                <a:cxn ang="0">
                  <a:pos x="T4" y="T5"/>
                </a:cxn>
                <a:cxn ang="0">
                  <a:pos x="T6" y="T7"/>
                </a:cxn>
                <a:cxn ang="0">
                  <a:pos x="T8" y="T9"/>
                </a:cxn>
                <a:cxn ang="0">
                  <a:pos x="T10" y="T11"/>
                </a:cxn>
                <a:cxn ang="0">
                  <a:pos x="T12" y="T13"/>
                </a:cxn>
              </a:cxnLst>
              <a:rect l="0" t="0" r="r" b="b"/>
              <a:pathLst>
                <a:path w="414" h="122">
                  <a:moveTo>
                    <a:pt x="414" y="44"/>
                  </a:moveTo>
                  <a:lnTo>
                    <a:pt x="304" y="122"/>
                  </a:lnTo>
                  <a:lnTo>
                    <a:pt x="0" y="38"/>
                  </a:lnTo>
                  <a:lnTo>
                    <a:pt x="58" y="0"/>
                  </a:lnTo>
                  <a:lnTo>
                    <a:pt x="274" y="44"/>
                  </a:lnTo>
                  <a:lnTo>
                    <a:pt x="334" y="0"/>
                  </a:lnTo>
                  <a:lnTo>
                    <a:pt x="414"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5" name="Freeform 38"/>
            <p:cNvSpPr>
              <a:spLocks/>
            </p:cNvSpPr>
            <p:nvPr/>
          </p:nvSpPr>
          <p:spPr bwMode="auto">
            <a:xfrm>
              <a:off x="1308862" y="5803639"/>
              <a:ext cx="1000752" cy="374265"/>
            </a:xfrm>
            <a:custGeom>
              <a:avLst/>
              <a:gdLst>
                <a:gd name="T0" fmla="*/ 422 w 1722"/>
                <a:gd name="T1" fmla="*/ 0 h 644"/>
                <a:gd name="T2" fmla="*/ 0 w 1722"/>
                <a:gd name="T3" fmla="*/ 32 h 644"/>
                <a:gd name="T4" fmla="*/ 62 w 1722"/>
                <a:gd name="T5" fmla="*/ 206 h 644"/>
                <a:gd name="T6" fmla="*/ 230 w 1722"/>
                <a:gd name="T7" fmla="*/ 644 h 644"/>
                <a:gd name="T8" fmla="*/ 610 w 1722"/>
                <a:gd name="T9" fmla="*/ 644 h 644"/>
                <a:gd name="T10" fmla="*/ 748 w 1722"/>
                <a:gd name="T11" fmla="*/ 298 h 644"/>
                <a:gd name="T12" fmla="*/ 1654 w 1722"/>
                <a:gd name="T13" fmla="*/ 298 h 644"/>
                <a:gd name="T14" fmla="*/ 1722 w 1722"/>
                <a:gd name="T15" fmla="*/ 140 h 644"/>
                <a:gd name="T16" fmla="*/ 1722 w 1722"/>
                <a:gd name="T17" fmla="*/ 140 h 644"/>
                <a:gd name="T18" fmla="*/ 1700 w 1722"/>
                <a:gd name="T19" fmla="*/ 134 h 644"/>
                <a:gd name="T20" fmla="*/ 1632 w 1722"/>
                <a:gd name="T21" fmla="*/ 118 h 644"/>
                <a:gd name="T22" fmla="*/ 1524 w 1722"/>
                <a:gd name="T23" fmla="*/ 96 h 644"/>
                <a:gd name="T24" fmla="*/ 1454 w 1722"/>
                <a:gd name="T25" fmla="*/ 84 h 644"/>
                <a:gd name="T26" fmla="*/ 1374 w 1722"/>
                <a:gd name="T27" fmla="*/ 70 h 644"/>
                <a:gd name="T28" fmla="*/ 1286 w 1722"/>
                <a:gd name="T29" fmla="*/ 56 h 644"/>
                <a:gd name="T30" fmla="*/ 1186 w 1722"/>
                <a:gd name="T31" fmla="*/ 44 h 644"/>
                <a:gd name="T32" fmla="*/ 1080 w 1722"/>
                <a:gd name="T33" fmla="*/ 32 h 644"/>
                <a:gd name="T34" fmla="*/ 964 w 1722"/>
                <a:gd name="T35" fmla="*/ 22 h 644"/>
                <a:gd name="T36" fmla="*/ 840 w 1722"/>
                <a:gd name="T37" fmla="*/ 12 h 644"/>
                <a:gd name="T38" fmla="*/ 708 w 1722"/>
                <a:gd name="T39" fmla="*/ 6 h 644"/>
                <a:gd name="T40" fmla="*/ 570 w 1722"/>
                <a:gd name="T41" fmla="*/ 2 h 644"/>
                <a:gd name="T42" fmla="*/ 422 w 1722"/>
                <a:gd name="T43" fmla="*/ 0 h 644"/>
                <a:gd name="T44" fmla="*/ 422 w 1722"/>
                <a:gd name="T4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2" h="644">
                  <a:moveTo>
                    <a:pt x="422" y="0"/>
                  </a:moveTo>
                  <a:lnTo>
                    <a:pt x="0" y="32"/>
                  </a:lnTo>
                  <a:lnTo>
                    <a:pt x="62" y="206"/>
                  </a:lnTo>
                  <a:lnTo>
                    <a:pt x="230" y="644"/>
                  </a:lnTo>
                  <a:lnTo>
                    <a:pt x="610" y="644"/>
                  </a:lnTo>
                  <a:lnTo>
                    <a:pt x="748" y="298"/>
                  </a:lnTo>
                  <a:lnTo>
                    <a:pt x="1654" y="298"/>
                  </a:lnTo>
                  <a:lnTo>
                    <a:pt x="1722" y="140"/>
                  </a:lnTo>
                  <a:lnTo>
                    <a:pt x="1722" y="140"/>
                  </a:lnTo>
                  <a:lnTo>
                    <a:pt x="1700" y="134"/>
                  </a:lnTo>
                  <a:lnTo>
                    <a:pt x="1632" y="118"/>
                  </a:lnTo>
                  <a:lnTo>
                    <a:pt x="1524" y="96"/>
                  </a:lnTo>
                  <a:lnTo>
                    <a:pt x="1454" y="84"/>
                  </a:lnTo>
                  <a:lnTo>
                    <a:pt x="1374" y="70"/>
                  </a:lnTo>
                  <a:lnTo>
                    <a:pt x="1286" y="56"/>
                  </a:lnTo>
                  <a:lnTo>
                    <a:pt x="1186" y="44"/>
                  </a:lnTo>
                  <a:lnTo>
                    <a:pt x="1080" y="32"/>
                  </a:lnTo>
                  <a:lnTo>
                    <a:pt x="964" y="22"/>
                  </a:lnTo>
                  <a:lnTo>
                    <a:pt x="840" y="12"/>
                  </a:lnTo>
                  <a:lnTo>
                    <a:pt x="708" y="6"/>
                  </a:lnTo>
                  <a:lnTo>
                    <a:pt x="570" y="2"/>
                  </a:lnTo>
                  <a:lnTo>
                    <a:pt x="422" y="0"/>
                  </a:lnTo>
                  <a:lnTo>
                    <a:pt x="422" y="0"/>
                  </a:lnTo>
                  <a:close/>
                </a:path>
              </a:pathLst>
            </a:custGeom>
            <a:solidFill>
              <a:schemeClr val="tx1">
                <a:lumMod val="90000"/>
                <a:lumOff val="1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6" name="Freeform 39"/>
            <p:cNvSpPr>
              <a:spLocks/>
            </p:cNvSpPr>
            <p:nvPr/>
          </p:nvSpPr>
          <p:spPr bwMode="auto">
            <a:xfrm>
              <a:off x="2287529" y="5742037"/>
              <a:ext cx="80200" cy="81362"/>
            </a:xfrm>
            <a:custGeom>
              <a:avLst/>
              <a:gdLst>
                <a:gd name="T0" fmla="*/ 138 w 138"/>
                <a:gd name="T1" fmla="*/ 70 h 140"/>
                <a:gd name="T2" fmla="*/ 138 w 138"/>
                <a:gd name="T3" fmla="*/ 70 h 140"/>
                <a:gd name="T4" fmla="*/ 136 w 138"/>
                <a:gd name="T5" fmla="*/ 84 h 140"/>
                <a:gd name="T6" fmla="*/ 132 w 138"/>
                <a:gd name="T7" fmla="*/ 96 h 140"/>
                <a:gd name="T8" fmla="*/ 126 w 138"/>
                <a:gd name="T9" fmla="*/ 108 h 140"/>
                <a:gd name="T10" fmla="*/ 118 w 138"/>
                <a:gd name="T11" fmla="*/ 118 h 140"/>
                <a:gd name="T12" fmla="*/ 108 w 138"/>
                <a:gd name="T13" fmla="*/ 128 h 140"/>
                <a:gd name="T14" fmla="*/ 96 w 138"/>
                <a:gd name="T15" fmla="*/ 134 h 140"/>
                <a:gd name="T16" fmla="*/ 82 w 138"/>
                <a:gd name="T17" fmla="*/ 138 h 140"/>
                <a:gd name="T18" fmla="*/ 68 w 138"/>
                <a:gd name="T19" fmla="*/ 140 h 140"/>
                <a:gd name="T20" fmla="*/ 68 w 138"/>
                <a:gd name="T21" fmla="*/ 140 h 140"/>
                <a:gd name="T22" fmla="*/ 54 w 138"/>
                <a:gd name="T23" fmla="*/ 138 h 140"/>
                <a:gd name="T24" fmla="*/ 42 w 138"/>
                <a:gd name="T25" fmla="*/ 134 h 140"/>
                <a:gd name="T26" fmla="*/ 30 w 138"/>
                <a:gd name="T27" fmla="*/ 128 h 140"/>
                <a:gd name="T28" fmla="*/ 20 w 138"/>
                <a:gd name="T29" fmla="*/ 118 h 140"/>
                <a:gd name="T30" fmla="*/ 12 w 138"/>
                <a:gd name="T31" fmla="*/ 108 h 140"/>
                <a:gd name="T32" fmla="*/ 4 w 138"/>
                <a:gd name="T33" fmla="*/ 96 h 140"/>
                <a:gd name="T34" fmla="*/ 0 w 138"/>
                <a:gd name="T35" fmla="*/ 84 h 140"/>
                <a:gd name="T36" fmla="*/ 0 w 138"/>
                <a:gd name="T37" fmla="*/ 70 h 140"/>
                <a:gd name="T38" fmla="*/ 0 w 138"/>
                <a:gd name="T39" fmla="*/ 70 h 140"/>
                <a:gd name="T40" fmla="*/ 0 w 138"/>
                <a:gd name="T41" fmla="*/ 56 h 140"/>
                <a:gd name="T42" fmla="*/ 4 w 138"/>
                <a:gd name="T43" fmla="*/ 42 h 140"/>
                <a:gd name="T44" fmla="*/ 12 w 138"/>
                <a:gd name="T45" fmla="*/ 32 h 140"/>
                <a:gd name="T46" fmla="*/ 20 w 138"/>
                <a:gd name="T47" fmla="*/ 20 h 140"/>
                <a:gd name="T48" fmla="*/ 30 w 138"/>
                <a:gd name="T49" fmla="*/ 12 h 140"/>
                <a:gd name="T50" fmla="*/ 42 w 138"/>
                <a:gd name="T51" fmla="*/ 6 h 140"/>
                <a:gd name="T52" fmla="*/ 54 w 138"/>
                <a:gd name="T53" fmla="*/ 2 h 140"/>
                <a:gd name="T54" fmla="*/ 68 w 138"/>
                <a:gd name="T55" fmla="*/ 0 h 140"/>
                <a:gd name="T56" fmla="*/ 68 w 138"/>
                <a:gd name="T57" fmla="*/ 0 h 140"/>
                <a:gd name="T58" fmla="*/ 82 w 138"/>
                <a:gd name="T59" fmla="*/ 2 h 140"/>
                <a:gd name="T60" fmla="*/ 96 w 138"/>
                <a:gd name="T61" fmla="*/ 6 h 140"/>
                <a:gd name="T62" fmla="*/ 108 w 138"/>
                <a:gd name="T63" fmla="*/ 12 h 140"/>
                <a:gd name="T64" fmla="*/ 118 w 138"/>
                <a:gd name="T65" fmla="*/ 20 h 140"/>
                <a:gd name="T66" fmla="*/ 126 w 138"/>
                <a:gd name="T67" fmla="*/ 32 h 140"/>
                <a:gd name="T68" fmla="*/ 132 w 138"/>
                <a:gd name="T69" fmla="*/ 42 h 140"/>
                <a:gd name="T70" fmla="*/ 136 w 138"/>
                <a:gd name="T71" fmla="*/ 56 h 140"/>
                <a:gd name="T72" fmla="*/ 138 w 138"/>
                <a:gd name="T73" fmla="*/ 70 h 140"/>
                <a:gd name="T74" fmla="*/ 138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138" y="70"/>
                  </a:moveTo>
                  <a:lnTo>
                    <a:pt x="138" y="70"/>
                  </a:lnTo>
                  <a:lnTo>
                    <a:pt x="136" y="84"/>
                  </a:lnTo>
                  <a:lnTo>
                    <a:pt x="132" y="96"/>
                  </a:lnTo>
                  <a:lnTo>
                    <a:pt x="126" y="108"/>
                  </a:lnTo>
                  <a:lnTo>
                    <a:pt x="118" y="118"/>
                  </a:lnTo>
                  <a:lnTo>
                    <a:pt x="108" y="128"/>
                  </a:lnTo>
                  <a:lnTo>
                    <a:pt x="96" y="134"/>
                  </a:lnTo>
                  <a:lnTo>
                    <a:pt x="82" y="138"/>
                  </a:lnTo>
                  <a:lnTo>
                    <a:pt x="68" y="140"/>
                  </a:lnTo>
                  <a:lnTo>
                    <a:pt x="68" y="140"/>
                  </a:lnTo>
                  <a:lnTo>
                    <a:pt x="54" y="138"/>
                  </a:lnTo>
                  <a:lnTo>
                    <a:pt x="42" y="134"/>
                  </a:lnTo>
                  <a:lnTo>
                    <a:pt x="30" y="128"/>
                  </a:lnTo>
                  <a:lnTo>
                    <a:pt x="20" y="118"/>
                  </a:lnTo>
                  <a:lnTo>
                    <a:pt x="12" y="108"/>
                  </a:lnTo>
                  <a:lnTo>
                    <a:pt x="4" y="96"/>
                  </a:lnTo>
                  <a:lnTo>
                    <a:pt x="0" y="84"/>
                  </a:lnTo>
                  <a:lnTo>
                    <a:pt x="0" y="70"/>
                  </a:lnTo>
                  <a:lnTo>
                    <a:pt x="0" y="70"/>
                  </a:lnTo>
                  <a:lnTo>
                    <a:pt x="0" y="56"/>
                  </a:lnTo>
                  <a:lnTo>
                    <a:pt x="4" y="42"/>
                  </a:lnTo>
                  <a:lnTo>
                    <a:pt x="12" y="32"/>
                  </a:lnTo>
                  <a:lnTo>
                    <a:pt x="20" y="20"/>
                  </a:lnTo>
                  <a:lnTo>
                    <a:pt x="30" y="12"/>
                  </a:lnTo>
                  <a:lnTo>
                    <a:pt x="42" y="6"/>
                  </a:lnTo>
                  <a:lnTo>
                    <a:pt x="54" y="2"/>
                  </a:lnTo>
                  <a:lnTo>
                    <a:pt x="68" y="0"/>
                  </a:lnTo>
                  <a:lnTo>
                    <a:pt x="68" y="0"/>
                  </a:lnTo>
                  <a:lnTo>
                    <a:pt x="82" y="2"/>
                  </a:lnTo>
                  <a:lnTo>
                    <a:pt x="96" y="6"/>
                  </a:lnTo>
                  <a:lnTo>
                    <a:pt x="108" y="12"/>
                  </a:lnTo>
                  <a:lnTo>
                    <a:pt x="118" y="20"/>
                  </a:lnTo>
                  <a:lnTo>
                    <a:pt x="126" y="32"/>
                  </a:lnTo>
                  <a:lnTo>
                    <a:pt x="132" y="42"/>
                  </a:lnTo>
                  <a:lnTo>
                    <a:pt x="136" y="56"/>
                  </a:lnTo>
                  <a:lnTo>
                    <a:pt x="138" y="70"/>
                  </a:lnTo>
                  <a:lnTo>
                    <a:pt x="138" y="7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7" name="Freeform 40"/>
            <p:cNvSpPr>
              <a:spLocks/>
            </p:cNvSpPr>
            <p:nvPr/>
          </p:nvSpPr>
          <p:spPr bwMode="auto">
            <a:xfrm>
              <a:off x="699689" y="5742037"/>
              <a:ext cx="80200" cy="81362"/>
            </a:xfrm>
            <a:custGeom>
              <a:avLst/>
              <a:gdLst>
                <a:gd name="T0" fmla="*/ 138 w 138"/>
                <a:gd name="T1" fmla="*/ 70 h 140"/>
                <a:gd name="T2" fmla="*/ 138 w 138"/>
                <a:gd name="T3" fmla="*/ 70 h 140"/>
                <a:gd name="T4" fmla="*/ 136 w 138"/>
                <a:gd name="T5" fmla="*/ 84 h 140"/>
                <a:gd name="T6" fmla="*/ 132 w 138"/>
                <a:gd name="T7" fmla="*/ 96 h 140"/>
                <a:gd name="T8" fmla="*/ 126 w 138"/>
                <a:gd name="T9" fmla="*/ 108 h 140"/>
                <a:gd name="T10" fmla="*/ 118 w 138"/>
                <a:gd name="T11" fmla="*/ 118 h 140"/>
                <a:gd name="T12" fmla="*/ 108 w 138"/>
                <a:gd name="T13" fmla="*/ 128 h 140"/>
                <a:gd name="T14" fmla="*/ 96 w 138"/>
                <a:gd name="T15" fmla="*/ 134 h 140"/>
                <a:gd name="T16" fmla="*/ 82 w 138"/>
                <a:gd name="T17" fmla="*/ 138 h 140"/>
                <a:gd name="T18" fmla="*/ 68 w 138"/>
                <a:gd name="T19" fmla="*/ 140 h 140"/>
                <a:gd name="T20" fmla="*/ 68 w 138"/>
                <a:gd name="T21" fmla="*/ 140 h 140"/>
                <a:gd name="T22" fmla="*/ 54 w 138"/>
                <a:gd name="T23" fmla="*/ 138 h 140"/>
                <a:gd name="T24" fmla="*/ 42 w 138"/>
                <a:gd name="T25" fmla="*/ 134 h 140"/>
                <a:gd name="T26" fmla="*/ 30 w 138"/>
                <a:gd name="T27" fmla="*/ 128 h 140"/>
                <a:gd name="T28" fmla="*/ 20 w 138"/>
                <a:gd name="T29" fmla="*/ 118 h 140"/>
                <a:gd name="T30" fmla="*/ 12 w 138"/>
                <a:gd name="T31" fmla="*/ 108 h 140"/>
                <a:gd name="T32" fmla="*/ 6 w 138"/>
                <a:gd name="T33" fmla="*/ 96 h 140"/>
                <a:gd name="T34" fmla="*/ 2 w 138"/>
                <a:gd name="T35" fmla="*/ 84 h 140"/>
                <a:gd name="T36" fmla="*/ 0 w 138"/>
                <a:gd name="T37" fmla="*/ 70 h 140"/>
                <a:gd name="T38" fmla="*/ 0 w 138"/>
                <a:gd name="T39" fmla="*/ 70 h 140"/>
                <a:gd name="T40" fmla="*/ 2 w 138"/>
                <a:gd name="T41" fmla="*/ 56 h 140"/>
                <a:gd name="T42" fmla="*/ 6 w 138"/>
                <a:gd name="T43" fmla="*/ 42 h 140"/>
                <a:gd name="T44" fmla="*/ 12 w 138"/>
                <a:gd name="T45" fmla="*/ 32 h 140"/>
                <a:gd name="T46" fmla="*/ 20 w 138"/>
                <a:gd name="T47" fmla="*/ 20 h 140"/>
                <a:gd name="T48" fmla="*/ 30 w 138"/>
                <a:gd name="T49" fmla="*/ 12 h 140"/>
                <a:gd name="T50" fmla="*/ 42 w 138"/>
                <a:gd name="T51" fmla="*/ 6 h 140"/>
                <a:gd name="T52" fmla="*/ 54 w 138"/>
                <a:gd name="T53" fmla="*/ 2 h 140"/>
                <a:gd name="T54" fmla="*/ 68 w 138"/>
                <a:gd name="T55" fmla="*/ 0 h 140"/>
                <a:gd name="T56" fmla="*/ 68 w 138"/>
                <a:gd name="T57" fmla="*/ 0 h 140"/>
                <a:gd name="T58" fmla="*/ 82 w 138"/>
                <a:gd name="T59" fmla="*/ 2 h 140"/>
                <a:gd name="T60" fmla="*/ 96 w 138"/>
                <a:gd name="T61" fmla="*/ 6 h 140"/>
                <a:gd name="T62" fmla="*/ 108 w 138"/>
                <a:gd name="T63" fmla="*/ 12 h 140"/>
                <a:gd name="T64" fmla="*/ 118 w 138"/>
                <a:gd name="T65" fmla="*/ 20 h 140"/>
                <a:gd name="T66" fmla="*/ 126 w 138"/>
                <a:gd name="T67" fmla="*/ 32 h 140"/>
                <a:gd name="T68" fmla="*/ 132 w 138"/>
                <a:gd name="T69" fmla="*/ 42 h 140"/>
                <a:gd name="T70" fmla="*/ 136 w 138"/>
                <a:gd name="T71" fmla="*/ 56 h 140"/>
                <a:gd name="T72" fmla="*/ 138 w 138"/>
                <a:gd name="T73" fmla="*/ 70 h 140"/>
                <a:gd name="T74" fmla="*/ 138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138" y="70"/>
                  </a:moveTo>
                  <a:lnTo>
                    <a:pt x="138" y="70"/>
                  </a:lnTo>
                  <a:lnTo>
                    <a:pt x="136" y="84"/>
                  </a:lnTo>
                  <a:lnTo>
                    <a:pt x="132" y="96"/>
                  </a:lnTo>
                  <a:lnTo>
                    <a:pt x="126" y="108"/>
                  </a:lnTo>
                  <a:lnTo>
                    <a:pt x="118" y="118"/>
                  </a:lnTo>
                  <a:lnTo>
                    <a:pt x="108" y="128"/>
                  </a:lnTo>
                  <a:lnTo>
                    <a:pt x="96" y="134"/>
                  </a:lnTo>
                  <a:lnTo>
                    <a:pt x="82" y="138"/>
                  </a:lnTo>
                  <a:lnTo>
                    <a:pt x="68" y="140"/>
                  </a:lnTo>
                  <a:lnTo>
                    <a:pt x="68" y="140"/>
                  </a:lnTo>
                  <a:lnTo>
                    <a:pt x="54" y="138"/>
                  </a:lnTo>
                  <a:lnTo>
                    <a:pt x="42" y="134"/>
                  </a:lnTo>
                  <a:lnTo>
                    <a:pt x="30" y="128"/>
                  </a:lnTo>
                  <a:lnTo>
                    <a:pt x="20" y="118"/>
                  </a:lnTo>
                  <a:lnTo>
                    <a:pt x="12" y="108"/>
                  </a:lnTo>
                  <a:lnTo>
                    <a:pt x="6" y="96"/>
                  </a:lnTo>
                  <a:lnTo>
                    <a:pt x="2" y="84"/>
                  </a:lnTo>
                  <a:lnTo>
                    <a:pt x="0" y="70"/>
                  </a:lnTo>
                  <a:lnTo>
                    <a:pt x="0" y="70"/>
                  </a:lnTo>
                  <a:lnTo>
                    <a:pt x="2" y="56"/>
                  </a:lnTo>
                  <a:lnTo>
                    <a:pt x="6" y="42"/>
                  </a:lnTo>
                  <a:lnTo>
                    <a:pt x="12" y="32"/>
                  </a:lnTo>
                  <a:lnTo>
                    <a:pt x="20" y="20"/>
                  </a:lnTo>
                  <a:lnTo>
                    <a:pt x="30" y="12"/>
                  </a:lnTo>
                  <a:lnTo>
                    <a:pt x="42" y="6"/>
                  </a:lnTo>
                  <a:lnTo>
                    <a:pt x="54" y="2"/>
                  </a:lnTo>
                  <a:lnTo>
                    <a:pt x="68" y="0"/>
                  </a:lnTo>
                  <a:lnTo>
                    <a:pt x="68" y="0"/>
                  </a:lnTo>
                  <a:lnTo>
                    <a:pt x="82" y="2"/>
                  </a:lnTo>
                  <a:lnTo>
                    <a:pt x="96" y="6"/>
                  </a:lnTo>
                  <a:lnTo>
                    <a:pt x="108" y="12"/>
                  </a:lnTo>
                  <a:lnTo>
                    <a:pt x="118" y="20"/>
                  </a:lnTo>
                  <a:lnTo>
                    <a:pt x="126" y="32"/>
                  </a:lnTo>
                  <a:lnTo>
                    <a:pt x="132" y="42"/>
                  </a:lnTo>
                  <a:lnTo>
                    <a:pt x="136" y="56"/>
                  </a:lnTo>
                  <a:lnTo>
                    <a:pt x="138" y="70"/>
                  </a:lnTo>
                  <a:lnTo>
                    <a:pt x="138" y="7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8" name="Freeform 41"/>
            <p:cNvSpPr>
              <a:spLocks/>
            </p:cNvSpPr>
            <p:nvPr/>
          </p:nvSpPr>
          <p:spPr bwMode="auto">
            <a:xfrm>
              <a:off x="810848" y="6023447"/>
              <a:ext cx="84532" cy="38424"/>
            </a:xfrm>
            <a:custGeom>
              <a:avLst/>
              <a:gdLst>
                <a:gd name="T0" fmla="*/ 176 w 176"/>
                <a:gd name="T1" fmla="*/ 30 h 80"/>
                <a:gd name="T2" fmla="*/ 8 w 176"/>
                <a:gd name="T3" fmla="*/ 80 h 80"/>
                <a:gd name="T4" fmla="*/ 0 w 176"/>
                <a:gd name="T5" fmla="*/ 50 h 80"/>
                <a:gd name="T6" fmla="*/ 168 w 176"/>
                <a:gd name="T7" fmla="*/ 0 h 80"/>
                <a:gd name="T8" fmla="*/ 176 w 176"/>
                <a:gd name="T9" fmla="*/ 30 h 80"/>
              </a:gdLst>
              <a:ahLst/>
              <a:cxnLst>
                <a:cxn ang="0">
                  <a:pos x="T0" y="T1"/>
                </a:cxn>
                <a:cxn ang="0">
                  <a:pos x="T2" y="T3"/>
                </a:cxn>
                <a:cxn ang="0">
                  <a:pos x="T4" y="T5"/>
                </a:cxn>
                <a:cxn ang="0">
                  <a:pos x="T6" y="T7"/>
                </a:cxn>
                <a:cxn ang="0">
                  <a:pos x="T8" y="T9"/>
                </a:cxn>
              </a:cxnLst>
              <a:rect l="0" t="0" r="r" b="b"/>
              <a:pathLst>
                <a:path w="176" h="80">
                  <a:moveTo>
                    <a:pt x="176" y="30"/>
                  </a:moveTo>
                  <a:lnTo>
                    <a:pt x="8" y="80"/>
                  </a:lnTo>
                  <a:lnTo>
                    <a:pt x="0" y="50"/>
                  </a:lnTo>
                  <a:lnTo>
                    <a:pt x="168" y="0"/>
                  </a:lnTo>
                  <a:lnTo>
                    <a:pt x="176" y="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9" name="Freeform 42"/>
            <p:cNvSpPr>
              <a:spLocks/>
            </p:cNvSpPr>
            <p:nvPr/>
          </p:nvSpPr>
          <p:spPr bwMode="auto">
            <a:xfrm>
              <a:off x="1249584" y="6012856"/>
              <a:ext cx="32545" cy="44168"/>
            </a:xfrm>
            <a:custGeom>
              <a:avLst/>
              <a:gdLst>
                <a:gd name="T0" fmla="*/ 10 w 56"/>
                <a:gd name="T1" fmla="*/ 0 h 76"/>
                <a:gd name="T2" fmla="*/ 0 w 56"/>
                <a:gd name="T3" fmla="*/ 76 h 76"/>
                <a:gd name="T4" fmla="*/ 56 w 56"/>
                <a:gd name="T5" fmla="*/ 44 h 76"/>
                <a:gd name="T6" fmla="*/ 10 w 56"/>
                <a:gd name="T7" fmla="*/ 0 h 76"/>
              </a:gdLst>
              <a:ahLst/>
              <a:cxnLst>
                <a:cxn ang="0">
                  <a:pos x="T0" y="T1"/>
                </a:cxn>
                <a:cxn ang="0">
                  <a:pos x="T2" y="T3"/>
                </a:cxn>
                <a:cxn ang="0">
                  <a:pos x="T4" y="T5"/>
                </a:cxn>
                <a:cxn ang="0">
                  <a:pos x="T6" y="T7"/>
                </a:cxn>
              </a:cxnLst>
              <a:rect l="0" t="0" r="r" b="b"/>
              <a:pathLst>
                <a:path w="56" h="76">
                  <a:moveTo>
                    <a:pt x="10" y="0"/>
                  </a:moveTo>
                  <a:lnTo>
                    <a:pt x="0" y="76"/>
                  </a:lnTo>
                  <a:lnTo>
                    <a:pt x="56" y="44"/>
                  </a:lnTo>
                  <a:lnTo>
                    <a:pt x="1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530" name="Group 1529"/>
            <p:cNvGrpSpPr/>
            <p:nvPr/>
          </p:nvGrpSpPr>
          <p:grpSpPr>
            <a:xfrm>
              <a:off x="982870" y="5866980"/>
              <a:ext cx="112475" cy="106980"/>
              <a:chOff x="2745978" y="4803978"/>
              <a:chExt cx="181144" cy="172293"/>
            </a:xfrm>
            <a:solidFill>
              <a:schemeClr val="bg2">
                <a:lumMod val="25000"/>
              </a:schemeClr>
            </a:solidFill>
          </p:grpSpPr>
          <p:sp>
            <p:nvSpPr>
              <p:cNvPr id="1604" name="Freeform 173"/>
              <p:cNvSpPr>
                <a:spLocks/>
              </p:cNvSpPr>
              <p:nvPr/>
            </p:nvSpPr>
            <p:spPr bwMode="auto">
              <a:xfrm>
                <a:off x="2782561" y="4841741"/>
                <a:ext cx="109158" cy="99718"/>
              </a:xfrm>
              <a:custGeom>
                <a:avLst/>
                <a:gdLst>
                  <a:gd name="T0" fmla="*/ 201 w 368"/>
                  <a:gd name="T1" fmla="*/ 1 h 338"/>
                  <a:gd name="T2" fmla="*/ 254 w 368"/>
                  <a:gd name="T3" fmla="*/ 15 h 338"/>
                  <a:gd name="T4" fmla="*/ 300 w 368"/>
                  <a:gd name="T5" fmla="*/ 42 h 338"/>
                  <a:gd name="T6" fmla="*/ 336 w 368"/>
                  <a:gd name="T7" fmla="*/ 82 h 338"/>
                  <a:gd name="T8" fmla="*/ 359 w 368"/>
                  <a:gd name="T9" fmla="*/ 131 h 338"/>
                  <a:gd name="T10" fmla="*/ 368 w 368"/>
                  <a:gd name="T11" fmla="*/ 186 h 338"/>
                  <a:gd name="T12" fmla="*/ 366 w 368"/>
                  <a:gd name="T13" fmla="*/ 210 h 338"/>
                  <a:gd name="T14" fmla="*/ 358 w 368"/>
                  <a:gd name="T15" fmla="*/ 243 h 338"/>
                  <a:gd name="T16" fmla="*/ 344 w 368"/>
                  <a:gd name="T17" fmla="*/ 274 h 338"/>
                  <a:gd name="T18" fmla="*/ 324 w 368"/>
                  <a:gd name="T19" fmla="*/ 302 h 338"/>
                  <a:gd name="T20" fmla="*/ 300 w 368"/>
                  <a:gd name="T21" fmla="*/ 325 h 338"/>
                  <a:gd name="T22" fmla="*/ 281 w 368"/>
                  <a:gd name="T23" fmla="*/ 338 h 338"/>
                  <a:gd name="T24" fmla="*/ 278 w 368"/>
                  <a:gd name="T25" fmla="*/ 320 h 338"/>
                  <a:gd name="T26" fmla="*/ 289 w 368"/>
                  <a:gd name="T27" fmla="*/ 304 h 338"/>
                  <a:gd name="T28" fmla="*/ 318 w 368"/>
                  <a:gd name="T29" fmla="*/ 264 h 338"/>
                  <a:gd name="T30" fmla="*/ 333 w 368"/>
                  <a:gd name="T31" fmla="*/ 215 h 338"/>
                  <a:gd name="T32" fmla="*/ 333 w 368"/>
                  <a:gd name="T33" fmla="*/ 182 h 338"/>
                  <a:gd name="T34" fmla="*/ 322 w 368"/>
                  <a:gd name="T35" fmla="*/ 139 h 338"/>
                  <a:gd name="T36" fmla="*/ 299 w 368"/>
                  <a:gd name="T37" fmla="*/ 102 h 338"/>
                  <a:gd name="T38" fmla="*/ 267 w 368"/>
                  <a:gd name="T39" fmla="*/ 74 h 338"/>
                  <a:gd name="T40" fmla="*/ 227 w 368"/>
                  <a:gd name="T41" fmla="*/ 56 h 338"/>
                  <a:gd name="T42" fmla="*/ 182 w 368"/>
                  <a:gd name="T43" fmla="*/ 49 h 338"/>
                  <a:gd name="T44" fmla="*/ 151 w 368"/>
                  <a:gd name="T45" fmla="*/ 52 h 338"/>
                  <a:gd name="T46" fmla="*/ 111 w 368"/>
                  <a:gd name="T47" fmla="*/ 66 h 338"/>
                  <a:gd name="T48" fmla="*/ 77 w 368"/>
                  <a:gd name="T49" fmla="*/ 92 h 338"/>
                  <a:gd name="T50" fmla="*/ 52 w 368"/>
                  <a:gd name="T51" fmla="*/ 126 h 338"/>
                  <a:gd name="T52" fmla="*/ 37 w 368"/>
                  <a:gd name="T53" fmla="*/ 167 h 338"/>
                  <a:gd name="T54" fmla="*/ 34 w 368"/>
                  <a:gd name="T55" fmla="*/ 197 h 338"/>
                  <a:gd name="T56" fmla="*/ 42 w 368"/>
                  <a:gd name="T57" fmla="*/ 249 h 338"/>
                  <a:gd name="T58" fmla="*/ 64 w 368"/>
                  <a:gd name="T59" fmla="*/ 292 h 338"/>
                  <a:gd name="T60" fmla="*/ 87 w 368"/>
                  <a:gd name="T61" fmla="*/ 314 h 338"/>
                  <a:gd name="T62" fmla="*/ 84 w 368"/>
                  <a:gd name="T63" fmla="*/ 332 h 338"/>
                  <a:gd name="T64" fmla="*/ 74 w 368"/>
                  <a:gd name="T65" fmla="*/ 332 h 338"/>
                  <a:gd name="T66" fmla="*/ 50 w 368"/>
                  <a:gd name="T67" fmla="*/ 310 h 338"/>
                  <a:gd name="T68" fmla="*/ 29 w 368"/>
                  <a:gd name="T69" fmla="*/ 284 h 338"/>
                  <a:gd name="T70" fmla="*/ 14 w 368"/>
                  <a:gd name="T71" fmla="*/ 254 h 338"/>
                  <a:gd name="T72" fmla="*/ 4 w 368"/>
                  <a:gd name="T73" fmla="*/ 221 h 338"/>
                  <a:gd name="T74" fmla="*/ 0 w 368"/>
                  <a:gd name="T75" fmla="*/ 186 h 338"/>
                  <a:gd name="T76" fmla="*/ 4 w 368"/>
                  <a:gd name="T77" fmla="*/ 149 h 338"/>
                  <a:gd name="T78" fmla="*/ 22 w 368"/>
                  <a:gd name="T79" fmla="*/ 97 h 338"/>
                  <a:gd name="T80" fmla="*/ 53 w 368"/>
                  <a:gd name="T81" fmla="*/ 54 h 338"/>
                  <a:gd name="T82" fmla="*/ 94 w 368"/>
                  <a:gd name="T83" fmla="*/ 22 h 338"/>
                  <a:gd name="T84" fmla="*/ 144 w 368"/>
                  <a:gd name="T85" fmla="*/ 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8" h="338">
                    <a:moveTo>
                      <a:pt x="182" y="0"/>
                    </a:moveTo>
                    <a:lnTo>
                      <a:pt x="182" y="0"/>
                    </a:lnTo>
                    <a:lnTo>
                      <a:pt x="201" y="1"/>
                    </a:lnTo>
                    <a:lnTo>
                      <a:pt x="220" y="4"/>
                    </a:lnTo>
                    <a:lnTo>
                      <a:pt x="237" y="8"/>
                    </a:lnTo>
                    <a:lnTo>
                      <a:pt x="254" y="15"/>
                    </a:lnTo>
                    <a:lnTo>
                      <a:pt x="271" y="22"/>
                    </a:lnTo>
                    <a:lnTo>
                      <a:pt x="286" y="32"/>
                    </a:lnTo>
                    <a:lnTo>
                      <a:pt x="300" y="42"/>
                    </a:lnTo>
                    <a:lnTo>
                      <a:pt x="313" y="54"/>
                    </a:lnTo>
                    <a:lnTo>
                      <a:pt x="325" y="67"/>
                    </a:lnTo>
                    <a:lnTo>
                      <a:pt x="336" y="82"/>
                    </a:lnTo>
                    <a:lnTo>
                      <a:pt x="345" y="97"/>
                    </a:lnTo>
                    <a:lnTo>
                      <a:pt x="353" y="113"/>
                    </a:lnTo>
                    <a:lnTo>
                      <a:pt x="359" y="131"/>
                    </a:lnTo>
                    <a:lnTo>
                      <a:pt x="364" y="149"/>
                    </a:lnTo>
                    <a:lnTo>
                      <a:pt x="367" y="167"/>
                    </a:lnTo>
                    <a:lnTo>
                      <a:pt x="368" y="186"/>
                    </a:lnTo>
                    <a:lnTo>
                      <a:pt x="368" y="186"/>
                    </a:lnTo>
                    <a:lnTo>
                      <a:pt x="367" y="198"/>
                    </a:lnTo>
                    <a:lnTo>
                      <a:pt x="366" y="210"/>
                    </a:lnTo>
                    <a:lnTo>
                      <a:pt x="364" y="221"/>
                    </a:lnTo>
                    <a:lnTo>
                      <a:pt x="362" y="232"/>
                    </a:lnTo>
                    <a:lnTo>
                      <a:pt x="358" y="243"/>
                    </a:lnTo>
                    <a:lnTo>
                      <a:pt x="354" y="254"/>
                    </a:lnTo>
                    <a:lnTo>
                      <a:pt x="349" y="264"/>
                    </a:lnTo>
                    <a:lnTo>
                      <a:pt x="344" y="274"/>
                    </a:lnTo>
                    <a:lnTo>
                      <a:pt x="338" y="284"/>
                    </a:lnTo>
                    <a:lnTo>
                      <a:pt x="331" y="293"/>
                    </a:lnTo>
                    <a:lnTo>
                      <a:pt x="324" y="302"/>
                    </a:lnTo>
                    <a:lnTo>
                      <a:pt x="317" y="310"/>
                    </a:lnTo>
                    <a:lnTo>
                      <a:pt x="308" y="317"/>
                    </a:lnTo>
                    <a:lnTo>
                      <a:pt x="300" y="325"/>
                    </a:lnTo>
                    <a:lnTo>
                      <a:pt x="290" y="332"/>
                    </a:lnTo>
                    <a:lnTo>
                      <a:pt x="281" y="338"/>
                    </a:lnTo>
                    <a:lnTo>
                      <a:pt x="281" y="338"/>
                    </a:lnTo>
                    <a:lnTo>
                      <a:pt x="280" y="332"/>
                    </a:lnTo>
                    <a:lnTo>
                      <a:pt x="279" y="326"/>
                    </a:lnTo>
                    <a:lnTo>
                      <a:pt x="278" y="320"/>
                    </a:lnTo>
                    <a:lnTo>
                      <a:pt x="277" y="314"/>
                    </a:lnTo>
                    <a:lnTo>
                      <a:pt x="277" y="314"/>
                    </a:lnTo>
                    <a:lnTo>
                      <a:pt x="289" y="304"/>
                    </a:lnTo>
                    <a:lnTo>
                      <a:pt x="300" y="292"/>
                    </a:lnTo>
                    <a:lnTo>
                      <a:pt x="310" y="279"/>
                    </a:lnTo>
                    <a:lnTo>
                      <a:pt x="318" y="264"/>
                    </a:lnTo>
                    <a:lnTo>
                      <a:pt x="325" y="249"/>
                    </a:lnTo>
                    <a:lnTo>
                      <a:pt x="330" y="233"/>
                    </a:lnTo>
                    <a:lnTo>
                      <a:pt x="333" y="215"/>
                    </a:lnTo>
                    <a:lnTo>
                      <a:pt x="334" y="197"/>
                    </a:lnTo>
                    <a:lnTo>
                      <a:pt x="334" y="197"/>
                    </a:lnTo>
                    <a:lnTo>
                      <a:pt x="333" y="182"/>
                    </a:lnTo>
                    <a:lnTo>
                      <a:pt x="331" y="167"/>
                    </a:lnTo>
                    <a:lnTo>
                      <a:pt x="327" y="153"/>
                    </a:lnTo>
                    <a:lnTo>
                      <a:pt x="322" y="139"/>
                    </a:lnTo>
                    <a:lnTo>
                      <a:pt x="315" y="126"/>
                    </a:lnTo>
                    <a:lnTo>
                      <a:pt x="308" y="113"/>
                    </a:lnTo>
                    <a:lnTo>
                      <a:pt x="299" y="102"/>
                    </a:lnTo>
                    <a:lnTo>
                      <a:pt x="289" y="92"/>
                    </a:lnTo>
                    <a:lnTo>
                      <a:pt x="278" y="82"/>
                    </a:lnTo>
                    <a:lnTo>
                      <a:pt x="267" y="74"/>
                    </a:lnTo>
                    <a:lnTo>
                      <a:pt x="254" y="66"/>
                    </a:lnTo>
                    <a:lnTo>
                      <a:pt x="241" y="60"/>
                    </a:lnTo>
                    <a:lnTo>
                      <a:pt x="227" y="56"/>
                    </a:lnTo>
                    <a:lnTo>
                      <a:pt x="213" y="52"/>
                    </a:lnTo>
                    <a:lnTo>
                      <a:pt x="198" y="50"/>
                    </a:lnTo>
                    <a:lnTo>
                      <a:pt x="182" y="49"/>
                    </a:lnTo>
                    <a:lnTo>
                      <a:pt x="182" y="49"/>
                    </a:lnTo>
                    <a:lnTo>
                      <a:pt x="166" y="50"/>
                    </a:lnTo>
                    <a:lnTo>
                      <a:pt x="151" y="52"/>
                    </a:lnTo>
                    <a:lnTo>
                      <a:pt x="137" y="56"/>
                    </a:lnTo>
                    <a:lnTo>
                      <a:pt x="123" y="60"/>
                    </a:lnTo>
                    <a:lnTo>
                      <a:pt x="111" y="66"/>
                    </a:lnTo>
                    <a:lnTo>
                      <a:pt x="98" y="74"/>
                    </a:lnTo>
                    <a:lnTo>
                      <a:pt x="87" y="82"/>
                    </a:lnTo>
                    <a:lnTo>
                      <a:pt x="77" y="92"/>
                    </a:lnTo>
                    <a:lnTo>
                      <a:pt x="67" y="102"/>
                    </a:lnTo>
                    <a:lnTo>
                      <a:pt x="59" y="113"/>
                    </a:lnTo>
                    <a:lnTo>
                      <a:pt x="52" y="126"/>
                    </a:lnTo>
                    <a:lnTo>
                      <a:pt x="46" y="139"/>
                    </a:lnTo>
                    <a:lnTo>
                      <a:pt x="41" y="153"/>
                    </a:lnTo>
                    <a:lnTo>
                      <a:pt x="37" y="167"/>
                    </a:lnTo>
                    <a:lnTo>
                      <a:pt x="35" y="182"/>
                    </a:lnTo>
                    <a:lnTo>
                      <a:pt x="34" y="197"/>
                    </a:lnTo>
                    <a:lnTo>
                      <a:pt x="34" y="197"/>
                    </a:lnTo>
                    <a:lnTo>
                      <a:pt x="35" y="215"/>
                    </a:lnTo>
                    <a:lnTo>
                      <a:pt x="38" y="233"/>
                    </a:lnTo>
                    <a:lnTo>
                      <a:pt x="42" y="249"/>
                    </a:lnTo>
                    <a:lnTo>
                      <a:pt x="48" y="264"/>
                    </a:lnTo>
                    <a:lnTo>
                      <a:pt x="55" y="279"/>
                    </a:lnTo>
                    <a:lnTo>
                      <a:pt x="64" y="292"/>
                    </a:lnTo>
                    <a:lnTo>
                      <a:pt x="75" y="304"/>
                    </a:lnTo>
                    <a:lnTo>
                      <a:pt x="87" y="314"/>
                    </a:lnTo>
                    <a:lnTo>
                      <a:pt x="87" y="314"/>
                    </a:lnTo>
                    <a:lnTo>
                      <a:pt x="87" y="320"/>
                    </a:lnTo>
                    <a:lnTo>
                      <a:pt x="85" y="326"/>
                    </a:lnTo>
                    <a:lnTo>
                      <a:pt x="84" y="332"/>
                    </a:lnTo>
                    <a:lnTo>
                      <a:pt x="83" y="338"/>
                    </a:lnTo>
                    <a:lnTo>
                      <a:pt x="83" y="338"/>
                    </a:lnTo>
                    <a:lnTo>
                      <a:pt x="74" y="332"/>
                    </a:lnTo>
                    <a:lnTo>
                      <a:pt x="66" y="325"/>
                    </a:lnTo>
                    <a:lnTo>
                      <a:pt x="57" y="317"/>
                    </a:lnTo>
                    <a:lnTo>
                      <a:pt x="50" y="310"/>
                    </a:lnTo>
                    <a:lnTo>
                      <a:pt x="42" y="302"/>
                    </a:lnTo>
                    <a:lnTo>
                      <a:pt x="35" y="293"/>
                    </a:lnTo>
                    <a:lnTo>
                      <a:pt x="29" y="284"/>
                    </a:lnTo>
                    <a:lnTo>
                      <a:pt x="23" y="274"/>
                    </a:lnTo>
                    <a:lnTo>
                      <a:pt x="18" y="264"/>
                    </a:lnTo>
                    <a:lnTo>
                      <a:pt x="14" y="254"/>
                    </a:lnTo>
                    <a:lnTo>
                      <a:pt x="10" y="243"/>
                    </a:lnTo>
                    <a:lnTo>
                      <a:pt x="6" y="232"/>
                    </a:lnTo>
                    <a:lnTo>
                      <a:pt x="4" y="221"/>
                    </a:lnTo>
                    <a:lnTo>
                      <a:pt x="2" y="210"/>
                    </a:lnTo>
                    <a:lnTo>
                      <a:pt x="1" y="198"/>
                    </a:lnTo>
                    <a:lnTo>
                      <a:pt x="0" y="186"/>
                    </a:lnTo>
                    <a:lnTo>
                      <a:pt x="0" y="186"/>
                    </a:lnTo>
                    <a:lnTo>
                      <a:pt x="1" y="167"/>
                    </a:lnTo>
                    <a:lnTo>
                      <a:pt x="4" y="149"/>
                    </a:lnTo>
                    <a:lnTo>
                      <a:pt x="8" y="131"/>
                    </a:lnTo>
                    <a:lnTo>
                      <a:pt x="14" y="113"/>
                    </a:lnTo>
                    <a:lnTo>
                      <a:pt x="22" y="97"/>
                    </a:lnTo>
                    <a:lnTo>
                      <a:pt x="31" y="82"/>
                    </a:lnTo>
                    <a:lnTo>
                      <a:pt x="41" y="67"/>
                    </a:lnTo>
                    <a:lnTo>
                      <a:pt x="53" y="54"/>
                    </a:lnTo>
                    <a:lnTo>
                      <a:pt x="65" y="42"/>
                    </a:lnTo>
                    <a:lnTo>
                      <a:pt x="79" y="32"/>
                    </a:lnTo>
                    <a:lnTo>
                      <a:pt x="94" y="22"/>
                    </a:lnTo>
                    <a:lnTo>
                      <a:pt x="110" y="15"/>
                    </a:lnTo>
                    <a:lnTo>
                      <a:pt x="127" y="8"/>
                    </a:lnTo>
                    <a:lnTo>
                      <a:pt x="144" y="4"/>
                    </a:lnTo>
                    <a:lnTo>
                      <a:pt x="163" y="1"/>
                    </a:lnTo>
                    <a:lnTo>
                      <a:pt x="18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05" name="Freeform 174"/>
              <p:cNvSpPr>
                <a:spLocks/>
              </p:cNvSpPr>
              <p:nvPr/>
            </p:nvSpPr>
            <p:spPr bwMode="auto">
              <a:xfrm>
                <a:off x="2745978" y="4803978"/>
                <a:ext cx="181144" cy="172293"/>
              </a:xfrm>
              <a:custGeom>
                <a:avLst/>
                <a:gdLst>
                  <a:gd name="T0" fmla="*/ 339 w 615"/>
                  <a:gd name="T1" fmla="*/ 1 h 584"/>
                  <a:gd name="T2" fmla="*/ 399 w 615"/>
                  <a:gd name="T3" fmla="*/ 14 h 584"/>
                  <a:gd name="T4" fmla="*/ 454 w 615"/>
                  <a:gd name="T5" fmla="*/ 38 h 584"/>
                  <a:gd name="T6" fmla="*/ 503 w 615"/>
                  <a:gd name="T7" fmla="*/ 71 h 584"/>
                  <a:gd name="T8" fmla="*/ 545 w 615"/>
                  <a:gd name="T9" fmla="*/ 113 h 584"/>
                  <a:gd name="T10" fmla="*/ 578 w 615"/>
                  <a:gd name="T11" fmla="*/ 162 h 584"/>
                  <a:gd name="T12" fmla="*/ 601 w 615"/>
                  <a:gd name="T13" fmla="*/ 217 h 584"/>
                  <a:gd name="T14" fmla="*/ 613 w 615"/>
                  <a:gd name="T15" fmla="*/ 277 h 584"/>
                  <a:gd name="T16" fmla="*/ 614 w 615"/>
                  <a:gd name="T17" fmla="*/ 330 h 584"/>
                  <a:gd name="T18" fmla="*/ 596 w 615"/>
                  <a:gd name="T19" fmla="*/ 415 h 584"/>
                  <a:gd name="T20" fmla="*/ 557 w 615"/>
                  <a:gd name="T21" fmla="*/ 491 h 584"/>
                  <a:gd name="T22" fmla="*/ 499 w 615"/>
                  <a:gd name="T23" fmla="*/ 551 h 584"/>
                  <a:gd name="T24" fmla="*/ 447 w 615"/>
                  <a:gd name="T25" fmla="*/ 584 h 584"/>
                  <a:gd name="T26" fmla="*/ 467 w 615"/>
                  <a:gd name="T27" fmla="*/ 543 h 584"/>
                  <a:gd name="T28" fmla="*/ 520 w 615"/>
                  <a:gd name="T29" fmla="*/ 493 h 584"/>
                  <a:gd name="T30" fmla="*/ 558 w 615"/>
                  <a:gd name="T31" fmla="*/ 431 h 584"/>
                  <a:gd name="T32" fmla="*/ 578 w 615"/>
                  <a:gd name="T33" fmla="*/ 360 h 584"/>
                  <a:gd name="T34" fmla="*/ 580 w 615"/>
                  <a:gd name="T35" fmla="*/ 309 h 584"/>
                  <a:gd name="T36" fmla="*/ 572 w 615"/>
                  <a:gd name="T37" fmla="*/ 254 h 584"/>
                  <a:gd name="T38" fmla="*/ 554 w 615"/>
                  <a:gd name="T39" fmla="*/ 203 h 584"/>
                  <a:gd name="T40" fmla="*/ 526 w 615"/>
                  <a:gd name="T41" fmla="*/ 158 h 584"/>
                  <a:gd name="T42" fmla="*/ 491 w 615"/>
                  <a:gd name="T43" fmla="*/ 120 h 584"/>
                  <a:gd name="T44" fmla="*/ 449 w 615"/>
                  <a:gd name="T45" fmla="*/ 89 h 584"/>
                  <a:gd name="T46" fmla="*/ 401 w 615"/>
                  <a:gd name="T47" fmla="*/ 66 h 584"/>
                  <a:gd name="T48" fmla="*/ 349 w 615"/>
                  <a:gd name="T49" fmla="*/ 53 h 584"/>
                  <a:gd name="T50" fmla="*/ 307 w 615"/>
                  <a:gd name="T51" fmla="*/ 50 h 584"/>
                  <a:gd name="T52" fmla="*/ 253 w 615"/>
                  <a:gd name="T53" fmla="*/ 55 h 584"/>
                  <a:gd name="T54" fmla="*/ 202 w 615"/>
                  <a:gd name="T55" fmla="*/ 71 h 584"/>
                  <a:gd name="T56" fmla="*/ 157 w 615"/>
                  <a:gd name="T57" fmla="*/ 96 h 584"/>
                  <a:gd name="T58" fmla="*/ 117 w 615"/>
                  <a:gd name="T59" fmla="*/ 129 h 584"/>
                  <a:gd name="T60" fmla="*/ 83 w 615"/>
                  <a:gd name="T61" fmla="*/ 169 h 584"/>
                  <a:gd name="T62" fmla="*/ 59 w 615"/>
                  <a:gd name="T63" fmla="*/ 215 h 584"/>
                  <a:gd name="T64" fmla="*/ 43 w 615"/>
                  <a:gd name="T65" fmla="*/ 268 h 584"/>
                  <a:gd name="T66" fmla="*/ 37 w 615"/>
                  <a:gd name="T67" fmla="*/ 323 h 584"/>
                  <a:gd name="T68" fmla="*/ 43 w 615"/>
                  <a:gd name="T69" fmla="*/ 379 h 584"/>
                  <a:gd name="T70" fmla="*/ 67 w 615"/>
                  <a:gd name="T71" fmla="*/ 447 h 584"/>
                  <a:gd name="T72" fmla="*/ 109 w 615"/>
                  <a:gd name="T73" fmla="*/ 507 h 584"/>
                  <a:gd name="T74" fmla="*/ 163 w 615"/>
                  <a:gd name="T75" fmla="*/ 553 h 584"/>
                  <a:gd name="T76" fmla="*/ 174 w 615"/>
                  <a:gd name="T77" fmla="*/ 573 h 584"/>
                  <a:gd name="T78" fmla="*/ 152 w 615"/>
                  <a:gd name="T79" fmla="*/ 574 h 584"/>
                  <a:gd name="T80" fmla="*/ 85 w 615"/>
                  <a:gd name="T81" fmla="*/ 523 h 584"/>
                  <a:gd name="T82" fmla="*/ 36 w 615"/>
                  <a:gd name="T83" fmla="*/ 454 h 584"/>
                  <a:gd name="T84" fmla="*/ 7 w 615"/>
                  <a:gd name="T85" fmla="*/ 374 h 584"/>
                  <a:gd name="T86" fmla="*/ 0 w 615"/>
                  <a:gd name="T87" fmla="*/ 307 h 584"/>
                  <a:gd name="T88" fmla="*/ 6 w 615"/>
                  <a:gd name="T89" fmla="*/ 247 h 584"/>
                  <a:gd name="T90" fmla="*/ 23 w 615"/>
                  <a:gd name="T91" fmla="*/ 189 h 584"/>
                  <a:gd name="T92" fmla="*/ 52 w 615"/>
                  <a:gd name="T93" fmla="*/ 137 h 584"/>
                  <a:gd name="T94" fmla="*/ 89 w 615"/>
                  <a:gd name="T95" fmla="*/ 91 h 584"/>
                  <a:gd name="T96" fmla="*/ 135 w 615"/>
                  <a:gd name="T97" fmla="*/ 54 h 584"/>
                  <a:gd name="T98" fmla="*/ 187 w 615"/>
                  <a:gd name="T99" fmla="*/ 24 h 584"/>
                  <a:gd name="T100" fmla="*/ 245 w 615"/>
                  <a:gd name="T101" fmla="*/ 6 h 584"/>
                  <a:gd name="T102" fmla="*/ 307 w 615"/>
                  <a:gd name="T103"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15" h="584">
                    <a:moveTo>
                      <a:pt x="307" y="0"/>
                    </a:moveTo>
                    <a:lnTo>
                      <a:pt x="307" y="0"/>
                    </a:lnTo>
                    <a:lnTo>
                      <a:pt x="323" y="0"/>
                    </a:lnTo>
                    <a:lnTo>
                      <a:pt x="339" y="1"/>
                    </a:lnTo>
                    <a:lnTo>
                      <a:pt x="354" y="3"/>
                    </a:lnTo>
                    <a:lnTo>
                      <a:pt x="369" y="6"/>
                    </a:lnTo>
                    <a:lnTo>
                      <a:pt x="384" y="9"/>
                    </a:lnTo>
                    <a:lnTo>
                      <a:pt x="399" y="14"/>
                    </a:lnTo>
                    <a:lnTo>
                      <a:pt x="413" y="18"/>
                    </a:lnTo>
                    <a:lnTo>
                      <a:pt x="427" y="24"/>
                    </a:lnTo>
                    <a:lnTo>
                      <a:pt x="441" y="31"/>
                    </a:lnTo>
                    <a:lnTo>
                      <a:pt x="454" y="38"/>
                    </a:lnTo>
                    <a:lnTo>
                      <a:pt x="467" y="45"/>
                    </a:lnTo>
                    <a:lnTo>
                      <a:pt x="479" y="54"/>
                    </a:lnTo>
                    <a:lnTo>
                      <a:pt x="491" y="62"/>
                    </a:lnTo>
                    <a:lnTo>
                      <a:pt x="503" y="71"/>
                    </a:lnTo>
                    <a:lnTo>
                      <a:pt x="514" y="81"/>
                    </a:lnTo>
                    <a:lnTo>
                      <a:pt x="524" y="91"/>
                    </a:lnTo>
                    <a:lnTo>
                      <a:pt x="535" y="102"/>
                    </a:lnTo>
                    <a:lnTo>
                      <a:pt x="545" y="113"/>
                    </a:lnTo>
                    <a:lnTo>
                      <a:pt x="554" y="125"/>
                    </a:lnTo>
                    <a:lnTo>
                      <a:pt x="563" y="137"/>
                    </a:lnTo>
                    <a:lnTo>
                      <a:pt x="570" y="149"/>
                    </a:lnTo>
                    <a:lnTo>
                      <a:pt x="578" y="162"/>
                    </a:lnTo>
                    <a:lnTo>
                      <a:pt x="585" y="175"/>
                    </a:lnTo>
                    <a:lnTo>
                      <a:pt x="591" y="189"/>
                    </a:lnTo>
                    <a:lnTo>
                      <a:pt x="596" y="202"/>
                    </a:lnTo>
                    <a:lnTo>
                      <a:pt x="601" y="217"/>
                    </a:lnTo>
                    <a:lnTo>
                      <a:pt x="605" y="231"/>
                    </a:lnTo>
                    <a:lnTo>
                      <a:pt x="608" y="247"/>
                    </a:lnTo>
                    <a:lnTo>
                      <a:pt x="611" y="262"/>
                    </a:lnTo>
                    <a:lnTo>
                      <a:pt x="613" y="277"/>
                    </a:lnTo>
                    <a:lnTo>
                      <a:pt x="614" y="292"/>
                    </a:lnTo>
                    <a:lnTo>
                      <a:pt x="615" y="307"/>
                    </a:lnTo>
                    <a:lnTo>
                      <a:pt x="615" y="307"/>
                    </a:lnTo>
                    <a:lnTo>
                      <a:pt x="614" y="330"/>
                    </a:lnTo>
                    <a:lnTo>
                      <a:pt x="611" y="352"/>
                    </a:lnTo>
                    <a:lnTo>
                      <a:pt x="608" y="374"/>
                    </a:lnTo>
                    <a:lnTo>
                      <a:pt x="602" y="395"/>
                    </a:lnTo>
                    <a:lnTo>
                      <a:pt x="596" y="415"/>
                    </a:lnTo>
                    <a:lnTo>
                      <a:pt x="588" y="435"/>
                    </a:lnTo>
                    <a:lnTo>
                      <a:pt x="579" y="454"/>
                    </a:lnTo>
                    <a:lnTo>
                      <a:pt x="568" y="473"/>
                    </a:lnTo>
                    <a:lnTo>
                      <a:pt x="557" y="491"/>
                    </a:lnTo>
                    <a:lnTo>
                      <a:pt x="544" y="507"/>
                    </a:lnTo>
                    <a:lnTo>
                      <a:pt x="529" y="523"/>
                    </a:lnTo>
                    <a:lnTo>
                      <a:pt x="515" y="537"/>
                    </a:lnTo>
                    <a:lnTo>
                      <a:pt x="499" y="551"/>
                    </a:lnTo>
                    <a:lnTo>
                      <a:pt x="483" y="563"/>
                    </a:lnTo>
                    <a:lnTo>
                      <a:pt x="465" y="574"/>
                    </a:lnTo>
                    <a:lnTo>
                      <a:pt x="447" y="584"/>
                    </a:lnTo>
                    <a:lnTo>
                      <a:pt x="447" y="584"/>
                    </a:lnTo>
                    <a:lnTo>
                      <a:pt x="436" y="562"/>
                    </a:lnTo>
                    <a:lnTo>
                      <a:pt x="436" y="562"/>
                    </a:lnTo>
                    <a:lnTo>
                      <a:pt x="452" y="553"/>
                    </a:lnTo>
                    <a:lnTo>
                      <a:pt x="467" y="543"/>
                    </a:lnTo>
                    <a:lnTo>
                      <a:pt x="481" y="532"/>
                    </a:lnTo>
                    <a:lnTo>
                      <a:pt x="495" y="520"/>
                    </a:lnTo>
                    <a:lnTo>
                      <a:pt x="508" y="507"/>
                    </a:lnTo>
                    <a:lnTo>
                      <a:pt x="520" y="493"/>
                    </a:lnTo>
                    <a:lnTo>
                      <a:pt x="530" y="479"/>
                    </a:lnTo>
                    <a:lnTo>
                      <a:pt x="541" y="464"/>
                    </a:lnTo>
                    <a:lnTo>
                      <a:pt x="550" y="447"/>
                    </a:lnTo>
                    <a:lnTo>
                      <a:pt x="558" y="431"/>
                    </a:lnTo>
                    <a:lnTo>
                      <a:pt x="565" y="414"/>
                    </a:lnTo>
                    <a:lnTo>
                      <a:pt x="570" y="396"/>
                    </a:lnTo>
                    <a:lnTo>
                      <a:pt x="575" y="379"/>
                    </a:lnTo>
                    <a:lnTo>
                      <a:pt x="578" y="360"/>
                    </a:lnTo>
                    <a:lnTo>
                      <a:pt x="580" y="342"/>
                    </a:lnTo>
                    <a:lnTo>
                      <a:pt x="581" y="323"/>
                    </a:lnTo>
                    <a:lnTo>
                      <a:pt x="581" y="323"/>
                    </a:lnTo>
                    <a:lnTo>
                      <a:pt x="580" y="309"/>
                    </a:lnTo>
                    <a:lnTo>
                      <a:pt x="579" y="295"/>
                    </a:lnTo>
                    <a:lnTo>
                      <a:pt x="577" y="281"/>
                    </a:lnTo>
                    <a:lnTo>
                      <a:pt x="575" y="268"/>
                    </a:lnTo>
                    <a:lnTo>
                      <a:pt x="572" y="254"/>
                    </a:lnTo>
                    <a:lnTo>
                      <a:pt x="568" y="240"/>
                    </a:lnTo>
                    <a:lnTo>
                      <a:pt x="564" y="228"/>
                    </a:lnTo>
                    <a:lnTo>
                      <a:pt x="559" y="215"/>
                    </a:lnTo>
                    <a:lnTo>
                      <a:pt x="554" y="203"/>
                    </a:lnTo>
                    <a:lnTo>
                      <a:pt x="548" y="192"/>
                    </a:lnTo>
                    <a:lnTo>
                      <a:pt x="541" y="180"/>
                    </a:lnTo>
                    <a:lnTo>
                      <a:pt x="534" y="169"/>
                    </a:lnTo>
                    <a:lnTo>
                      <a:pt x="526" y="158"/>
                    </a:lnTo>
                    <a:lnTo>
                      <a:pt x="518" y="148"/>
                    </a:lnTo>
                    <a:lnTo>
                      <a:pt x="509" y="138"/>
                    </a:lnTo>
                    <a:lnTo>
                      <a:pt x="500" y="129"/>
                    </a:lnTo>
                    <a:lnTo>
                      <a:pt x="491" y="120"/>
                    </a:lnTo>
                    <a:lnTo>
                      <a:pt x="481" y="111"/>
                    </a:lnTo>
                    <a:lnTo>
                      <a:pt x="471" y="103"/>
                    </a:lnTo>
                    <a:lnTo>
                      <a:pt x="460" y="96"/>
                    </a:lnTo>
                    <a:lnTo>
                      <a:pt x="449" y="89"/>
                    </a:lnTo>
                    <a:lnTo>
                      <a:pt x="438" y="82"/>
                    </a:lnTo>
                    <a:lnTo>
                      <a:pt x="426" y="76"/>
                    </a:lnTo>
                    <a:lnTo>
                      <a:pt x="414" y="71"/>
                    </a:lnTo>
                    <a:lnTo>
                      <a:pt x="401" y="66"/>
                    </a:lnTo>
                    <a:lnTo>
                      <a:pt x="389" y="62"/>
                    </a:lnTo>
                    <a:lnTo>
                      <a:pt x="376" y="58"/>
                    </a:lnTo>
                    <a:lnTo>
                      <a:pt x="363" y="55"/>
                    </a:lnTo>
                    <a:lnTo>
                      <a:pt x="349" y="53"/>
                    </a:lnTo>
                    <a:lnTo>
                      <a:pt x="335" y="51"/>
                    </a:lnTo>
                    <a:lnTo>
                      <a:pt x="322" y="50"/>
                    </a:lnTo>
                    <a:lnTo>
                      <a:pt x="307" y="50"/>
                    </a:lnTo>
                    <a:lnTo>
                      <a:pt x="307" y="50"/>
                    </a:lnTo>
                    <a:lnTo>
                      <a:pt x="293" y="50"/>
                    </a:lnTo>
                    <a:lnTo>
                      <a:pt x="279" y="51"/>
                    </a:lnTo>
                    <a:lnTo>
                      <a:pt x="266" y="53"/>
                    </a:lnTo>
                    <a:lnTo>
                      <a:pt x="253" y="55"/>
                    </a:lnTo>
                    <a:lnTo>
                      <a:pt x="240" y="58"/>
                    </a:lnTo>
                    <a:lnTo>
                      <a:pt x="227" y="62"/>
                    </a:lnTo>
                    <a:lnTo>
                      <a:pt x="215" y="66"/>
                    </a:lnTo>
                    <a:lnTo>
                      <a:pt x="202" y="71"/>
                    </a:lnTo>
                    <a:lnTo>
                      <a:pt x="191" y="76"/>
                    </a:lnTo>
                    <a:lnTo>
                      <a:pt x="179" y="82"/>
                    </a:lnTo>
                    <a:lnTo>
                      <a:pt x="168" y="89"/>
                    </a:lnTo>
                    <a:lnTo>
                      <a:pt x="157" y="96"/>
                    </a:lnTo>
                    <a:lnTo>
                      <a:pt x="146" y="103"/>
                    </a:lnTo>
                    <a:lnTo>
                      <a:pt x="136" y="111"/>
                    </a:lnTo>
                    <a:lnTo>
                      <a:pt x="127" y="120"/>
                    </a:lnTo>
                    <a:lnTo>
                      <a:pt x="117" y="129"/>
                    </a:lnTo>
                    <a:lnTo>
                      <a:pt x="108" y="138"/>
                    </a:lnTo>
                    <a:lnTo>
                      <a:pt x="100" y="148"/>
                    </a:lnTo>
                    <a:lnTo>
                      <a:pt x="91" y="158"/>
                    </a:lnTo>
                    <a:lnTo>
                      <a:pt x="83" y="169"/>
                    </a:lnTo>
                    <a:lnTo>
                      <a:pt x="76" y="180"/>
                    </a:lnTo>
                    <a:lnTo>
                      <a:pt x="70" y="192"/>
                    </a:lnTo>
                    <a:lnTo>
                      <a:pt x="64" y="203"/>
                    </a:lnTo>
                    <a:lnTo>
                      <a:pt x="59" y="215"/>
                    </a:lnTo>
                    <a:lnTo>
                      <a:pt x="54" y="228"/>
                    </a:lnTo>
                    <a:lnTo>
                      <a:pt x="49" y="240"/>
                    </a:lnTo>
                    <a:lnTo>
                      <a:pt x="46" y="254"/>
                    </a:lnTo>
                    <a:lnTo>
                      <a:pt x="43" y="268"/>
                    </a:lnTo>
                    <a:lnTo>
                      <a:pt x="40" y="281"/>
                    </a:lnTo>
                    <a:lnTo>
                      <a:pt x="39" y="295"/>
                    </a:lnTo>
                    <a:lnTo>
                      <a:pt x="38" y="309"/>
                    </a:lnTo>
                    <a:lnTo>
                      <a:pt x="37" y="323"/>
                    </a:lnTo>
                    <a:lnTo>
                      <a:pt x="37" y="323"/>
                    </a:lnTo>
                    <a:lnTo>
                      <a:pt x="38" y="342"/>
                    </a:lnTo>
                    <a:lnTo>
                      <a:pt x="40" y="360"/>
                    </a:lnTo>
                    <a:lnTo>
                      <a:pt x="43" y="379"/>
                    </a:lnTo>
                    <a:lnTo>
                      <a:pt x="47" y="396"/>
                    </a:lnTo>
                    <a:lnTo>
                      <a:pt x="53" y="414"/>
                    </a:lnTo>
                    <a:lnTo>
                      <a:pt x="60" y="431"/>
                    </a:lnTo>
                    <a:lnTo>
                      <a:pt x="67" y="447"/>
                    </a:lnTo>
                    <a:lnTo>
                      <a:pt x="76" y="464"/>
                    </a:lnTo>
                    <a:lnTo>
                      <a:pt x="86" y="479"/>
                    </a:lnTo>
                    <a:lnTo>
                      <a:pt x="96" y="493"/>
                    </a:lnTo>
                    <a:lnTo>
                      <a:pt x="109" y="507"/>
                    </a:lnTo>
                    <a:lnTo>
                      <a:pt x="121" y="520"/>
                    </a:lnTo>
                    <a:lnTo>
                      <a:pt x="134" y="532"/>
                    </a:lnTo>
                    <a:lnTo>
                      <a:pt x="148" y="543"/>
                    </a:lnTo>
                    <a:lnTo>
                      <a:pt x="163" y="553"/>
                    </a:lnTo>
                    <a:lnTo>
                      <a:pt x="178" y="562"/>
                    </a:lnTo>
                    <a:lnTo>
                      <a:pt x="178" y="562"/>
                    </a:lnTo>
                    <a:lnTo>
                      <a:pt x="176" y="567"/>
                    </a:lnTo>
                    <a:lnTo>
                      <a:pt x="174" y="573"/>
                    </a:lnTo>
                    <a:lnTo>
                      <a:pt x="173" y="579"/>
                    </a:lnTo>
                    <a:lnTo>
                      <a:pt x="171" y="584"/>
                    </a:lnTo>
                    <a:lnTo>
                      <a:pt x="171" y="584"/>
                    </a:lnTo>
                    <a:lnTo>
                      <a:pt x="152" y="574"/>
                    </a:lnTo>
                    <a:lnTo>
                      <a:pt x="134" y="563"/>
                    </a:lnTo>
                    <a:lnTo>
                      <a:pt x="117" y="551"/>
                    </a:lnTo>
                    <a:lnTo>
                      <a:pt x="101" y="537"/>
                    </a:lnTo>
                    <a:lnTo>
                      <a:pt x="85" y="523"/>
                    </a:lnTo>
                    <a:lnTo>
                      <a:pt x="71" y="507"/>
                    </a:lnTo>
                    <a:lnTo>
                      <a:pt x="58" y="491"/>
                    </a:lnTo>
                    <a:lnTo>
                      <a:pt x="46" y="473"/>
                    </a:lnTo>
                    <a:lnTo>
                      <a:pt x="36" y="454"/>
                    </a:lnTo>
                    <a:lnTo>
                      <a:pt x="26" y="435"/>
                    </a:lnTo>
                    <a:lnTo>
                      <a:pt x="18" y="415"/>
                    </a:lnTo>
                    <a:lnTo>
                      <a:pt x="12" y="395"/>
                    </a:lnTo>
                    <a:lnTo>
                      <a:pt x="7" y="374"/>
                    </a:lnTo>
                    <a:lnTo>
                      <a:pt x="3" y="352"/>
                    </a:lnTo>
                    <a:lnTo>
                      <a:pt x="0" y="330"/>
                    </a:lnTo>
                    <a:lnTo>
                      <a:pt x="0" y="307"/>
                    </a:lnTo>
                    <a:lnTo>
                      <a:pt x="0" y="307"/>
                    </a:lnTo>
                    <a:lnTo>
                      <a:pt x="0" y="292"/>
                    </a:lnTo>
                    <a:lnTo>
                      <a:pt x="1" y="277"/>
                    </a:lnTo>
                    <a:lnTo>
                      <a:pt x="3" y="262"/>
                    </a:lnTo>
                    <a:lnTo>
                      <a:pt x="6" y="247"/>
                    </a:lnTo>
                    <a:lnTo>
                      <a:pt x="9" y="231"/>
                    </a:lnTo>
                    <a:lnTo>
                      <a:pt x="13" y="217"/>
                    </a:lnTo>
                    <a:lnTo>
                      <a:pt x="18" y="202"/>
                    </a:lnTo>
                    <a:lnTo>
                      <a:pt x="23" y="189"/>
                    </a:lnTo>
                    <a:lnTo>
                      <a:pt x="30" y="175"/>
                    </a:lnTo>
                    <a:lnTo>
                      <a:pt x="36" y="162"/>
                    </a:lnTo>
                    <a:lnTo>
                      <a:pt x="44" y="149"/>
                    </a:lnTo>
                    <a:lnTo>
                      <a:pt x="52" y="137"/>
                    </a:lnTo>
                    <a:lnTo>
                      <a:pt x="60" y="125"/>
                    </a:lnTo>
                    <a:lnTo>
                      <a:pt x="69" y="113"/>
                    </a:lnTo>
                    <a:lnTo>
                      <a:pt x="79" y="102"/>
                    </a:lnTo>
                    <a:lnTo>
                      <a:pt x="89" y="91"/>
                    </a:lnTo>
                    <a:lnTo>
                      <a:pt x="100" y="81"/>
                    </a:lnTo>
                    <a:lnTo>
                      <a:pt x="111" y="71"/>
                    </a:lnTo>
                    <a:lnTo>
                      <a:pt x="123" y="62"/>
                    </a:lnTo>
                    <a:lnTo>
                      <a:pt x="135" y="54"/>
                    </a:lnTo>
                    <a:lnTo>
                      <a:pt x="147" y="45"/>
                    </a:lnTo>
                    <a:lnTo>
                      <a:pt x="160" y="38"/>
                    </a:lnTo>
                    <a:lnTo>
                      <a:pt x="173" y="31"/>
                    </a:lnTo>
                    <a:lnTo>
                      <a:pt x="187" y="24"/>
                    </a:lnTo>
                    <a:lnTo>
                      <a:pt x="201" y="18"/>
                    </a:lnTo>
                    <a:lnTo>
                      <a:pt x="215" y="14"/>
                    </a:lnTo>
                    <a:lnTo>
                      <a:pt x="230" y="9"/>
                    </a:lnTo>
                    <a:lnTo>
                      <a:pt x="245" y="6"/>
                    </a:lnTo>
                    <a:lnTo>
                      <a:pt x="260" y="3"/>
                    </a:lnTo>
                    <a:lnTo>
                      <a:pt x="275" y="1"/>
                    </a:lnTo>
                    <a:lnTo>
                      <a:pt x="291" y="0"/>
                    </a:lnTo>
                    <a:lnTo>
                      <a:pt x="30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531" name="Freeform 43"/>
            <p:cNvSpPr>
              <a:spLocks/>
            </p:cNvSpPr>
            <p:nvPr/>
          </p:nvSpPr>
          <p:spPr bwMode="auto">
            <a:xfrm>
              <a:off x="1199604" y="6010531"/>
              <a:ext cx="31382" cy="44168"/>
            </a:xfrm>
            <a:custGeom>
              <a:avLst/>
              <a:gdLst>
                <a:gd name="T0" fmla="*/ 46 w 54"/>
                <a:gd name="T1" fmla="*/ 76 h 76"/>
                <a:gd name="T2" fmla="*/ 54 w 54"/>
                <a:gd name="T3" fmla="*/ 0 h 76"/>
                <a:gd name="T4" fmla="*/ 0 w 54"/>
                <a:gd name="T5" fmla="*/ 32 h 76"/>
                <a:gd name="T6" fmla="*/ 46 w 54"/>
                <a:gd name="T7" fmla="*/ 76 h 76"/>
              </a:gdLst>
              <a:ahLst/>
              <a:cxnLst>
                <a:cxn ang="0">
                  <a:pos x="T0" y="T1"/>
                </a:cxn>
                <a:cxn ang="0">
                  <a:pos x="T2" y="T3"/>
                </a:cxn>
                <a:cxn ang="0">
                  <a:pos x="T4" y="T5"/>
                </a:cxn>
                <a:cxn ang="0">
                  <a:pos x="T6" y="T7"/>
                </a:cxn>
              </a:cxnLst>
              <a:rect l="0" t="0" r="r" b="b"/>
              <a:pathLst>
                <a:path w="54" h="76">
                  <a:moveTo>
                    <a:pt x="46" y="76"/>
                  </a:moveTo>
                  <a:lnTo>
                    <a:pt x="54" y="0"/>
                  </a:lnTo>
                  <a:lnTo>
                    <a:pt x="0" y="32"/>
                  </a:lnTo>
                  <a:lnTo>
                    <a:pt x="46" y="7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2" name="Freeform 26"/>
            <p:cNvSpPr>
              <a:spLocks noEditPoints="1"/>
            </p:cNvSpPr>
            <p:nvPr/>
          </p:nvSpPr>
          <p:spPr bwMode="auto">
            <a:xfrm>
              <a:off x="735841" y="5743199"/>
              <a:ext cx="606728" cy="606728"/>
            </a:xfrm>
            <a:custGeom>
              <a:avLst/>
              <a:gdLst>
                <a:gd name="T0" fmla="*/ 470 w 1044"/>
                <a:gd name="T1" fmla="*/ 4 h 1044"/>
                <a:gd name="T2" fmla="*/ 368 w 1044"/>
                <a:gd name="T3" fmla="*/ 24 h 1044"/>
                <a:gd name="T4" fmla="*/ 274 w 1044"/>
                <a:gd name="T5" fmla="*/ 64 h 1044"/>
                <a:gd name="T6" fmla="*/ 190 w 1044"/>
                <a:gd name="T7" fmla="*/ 120 h 1044"/>
                <a:gd name="T8" fmla="*/ 90 w 1044"/>
                <a:gd name="T9" fmla="*/ 230 h 1044"/>
                <a:gd name="T10" fmla="*/ 42 w 1044"/>
                <a:gd name="T11" fmla="*/ 318 h 1044"/>
                <a:gd name="T12" fmla="*/ 12 w 1044"/>
                <a:gd name="T13" fmla="*/ 416 h 1044"/>
                <a:gd name="T14" fmla="*/ 0 w 1044"/>
                <a:gd name="T15" fmla="*/ 522 h 1044"/>
                <a:gd name="T16" fmla="*/ 6 w 1044"/>
                <a:gd name="T17" fmla="*/ 602 h 1044"/>
                <a:gd name="T18" fmla="*/ 32 w 1044"/>
                <a:gd name="T19" fmla="*/ 702 h 1044"/>
                <a:gd name="T20" fmla="*/ 76 w 1044"/>
                <a:gd name="T21" fmla="*/ 792 h 1044"/>
                <a:gd name="T22" fmla="*/ 154 w 1044"/>
                <a:gd name="T23" fmla="*/ 890 h 1044"/>
                <a:gd name="T24" fmla="*/ 252 w 1044"/>
                <a:gd name="T25" fmla="*/ 968 h 1044"/>
                <a:gd name="T26" fmla="*/ 344 w 1044"/>
                <a:gd name="T27" fmla="*/ 1012 h 1044"/>
                <a:gd name="T28" fmla="*/ 444 w 1044"/>
                <a:gd name="T29" fmla="*/ 1038 h 1044"/>
                <a:gd name="T30" fmla="*/ 522 w 1044"/>
                <a:gd name="T31" fmla="*/ 1044 h 1044"/>
                <a:gd name="T32" fmla="*/ 628 w 1044"/>
                <a:gd name="T33" fmla="*/ 1032 h 1044"/>
                <a:gd name="T34" fmla="*/ 726 w 1044"/>
                <a:gd name="T35" fmla="*/ 1002 h 1044"/>
                <a:gd name="T36" fmla="*/ 814 w 1044"/>
                <a:gd name="T37" fmla="*/ 954 h 1044"/>
                <a:gd name="T38" fmla="*/ 924 w 1044"/>
                <a:gd name="T39" fmla="*/ 854 h 1044"/>
                <a:gd name="T40" fmla="*/ 982 w 1044"/>
                <a:gd name="T41" fmla="*/ 770 h 1044"/>
                <a:gd name="T42" fmla="*/ 1020 w 1044"/>
                <a:gd name="T43" fmla="*/ 678 h 1044"/>
                <a:gd name="T44" fmla="*/ 1042 w 1044"/>
                <a:gd name="T45" fmla="*/ 576 h 1044"/>
                <a:gd name="T46" fmla="*/ 1044 w 1044"/>
                <a:gd name="T47" fmla="*/ 496 h 1044"/>
                <a:gd name="T48" fmla="*/ 1028 w 1044"/>
                <a:gd name="T49" fmla="*/ 392 h 1044"/>
                <a:gd name="T50" fmla="*/ 992 w 1044"/>
                <a:gd name="T51" fmla="*/ 296 h 1044"/>
                <a:gd name="T52" fmla="*/ 940 w 1044"/>
                <a:gd name="T53" fmla="*/ 210 h 1044"/>
                <a:gd name="T54" fmla="*/ 834 w 1044"/>
                <a:gd name="T55" fmla="*/ 104 h 1044"/>
                <a:gd name="T56" fmla="*/ 748 w 1044"/>
                <a:gd name="T57" fmla="*/ 52 h 1044"/>
                <a:gd name="T58" fmla="*/ 652 w 1044"/>
                <a:gd name="T59" fmla="*/ 16 h 1044"/>
                <a:gd name="T60" fmla="*/ 550 w 1044"/>
                <a:gd name="T61" fmla="*/ 2 h 1044"/>
                <a:gd name="T62" fmla="*/ 522 w 1044"/>
                <a:gd name="T63" fmla="*/ 952 h 1044"/>
                <a:gd name="T64" fmla="*/ 356 w 1044"/>
                <a:gd name="T65" fmla="*/ 918 h 1044"/>
                <a:gd name="T66" fmla="*/ 218 w 1044"/>
                <a:gd name="T67" fmla="*/ 826 h 1044"/>
                <a:gd name="T68" fmla="*/ 126 w 1044"/>
                <a:gd name="T69" fmla="*/ 690 h 1044"/>
                <a:gd name="T70" fmla="*/ 92 w 1044"/>
                <a:gd name="T71" fmla="*/ 522 h 1044"/>
                <a:gd name="T72" fmla="*/ 112 w 1044"/>
                <a:gd name="T73" fmla="*/ 394 h 1044"/>
                <a:gd name="T74" fmla="*/ 192 w 1044"/>
                <a:gd name="T75" fmla="*/ 248 h 1044"/>
                <a:gd name="T76" fmla="*/ 318 w 1044"/>
                <a:gd name="T77" fmla="*/ 144 h 1044"/>
                <a:gd name="T78" fmla="*/ 478 w 1044"/>
                <a:gd name="T79" fmla="*/ 94 h 1044"/>
                <a:gd name="T80" fmla="*/ 610 w 1044"/>
                <a:gd name="T81" fmla="*/ 102 h 1044"/>
                <a:gd name="T82" fmla="*/ 762 w 1044"/>
                <a:gd name="T83" fmla="*/ 166 h 1044"/>
                <a:gd name="T84" fmla="*/ 878 w 1044"/>
                <a:gd name="T85" fmla="*/ 282 h 1044"/>
                <a:gd name="T86" fmla="*/ 944 w 1044"/>
                <a:gd name="T87" fmla="*/ 436 h 1044"/>
                <a:gd name="T88" fmla="*/ 950 w 1044"/>
                <a:gd name="T89" fmla="*/ 566 h 1044"/>
                <a:gd name="T90" fmla="*/ 900 w 1044"/>
                <a:gd name="T91" fmla="*/ 726 h 1044"/>
                <a:gd name="T92" fmla="*/ 796 w 1044"/>
                <a:gd name="T93" fmla="*/ 854 h 1044"/>
                <a:gd name="T94" fmla="*/ 650 w 1044"/>
                <a:gd name="T95" fmla="*/ 932 h 1044"/>
                <a:gd name="T96" fmla="*/ 522 w 1044"/>
                <a:gd name="T97" fmla="*/ 95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4" h="1044">
                  <a:moveTo>
                    <a:pt x="522" y="0"/>
                  </a:moveTo>
                  <a:lnTo>
                    <a:pt x="522" y="0"/>
                  </a:lnTo>
                  <a:lnTo>
                    <a:pt x="496" y="2"/>
                  </a:lnTo>
                  <a:lnTo>
                    <a:pt x="470" y="4"/>
                  </a:lnTo>
                  <a:lnTo>
                    <a:pt x="444" y="6"/>
                  </a:lnTo>
                  <a:lnTo>
                    <a:pt x="418" y="12"/>
                  </a:lnTo>
                  <a:lnTo>
                    <a:pt x="392" y="16"/>
                  </a:lnTo>
                  <a:lnTo>
                    <a:pt x="368" y="24"/>
                  </a:lnTo>
                  <a:lnTo>
                    <a:pt x="344" y="32"/>
                  </a:lnTo>
                  <a:lnTo>
                    <a:pt x="320" y="42"/>
                  </a:lnTo>
                  <a:lnTo>
                    <a:pt x="296" y="52"/>
                  </a:lnTo>
                  <a:lnTo>
                    <a:pt x="274" y="64"/>
                  </a:lnTo>
                  <a:lnTo>
                    <a:pt x="252" y="76"/>
                  </a:lnTo>
                  <a:lnTo>
                    <a:pt x="230" y="90"/>
                  </a:lnTo>
                  <a:lnTo>
                    <a:pt x="210" y="104"/>
                  </a:lnTo>
                  <a:lnTo>
                    <a:pt x="190" y="120"/>
                  </a:lnTo>
                  <a:lnTo>
                    <a:pt x="154" y="154"/>
                  </a:lnTo>
                  <a:lnTo>
                    <a:pt x="120" y="190"/>
                  </a:lnTo>
                  <a:lnTo>
                    <a:pt x="104" y="210"/>
                  </a:lnTo>
                  <a:lnTo>
                    <a:pt x="90" y="230"/>
                  </a:lnTo>
                  <a:lnTo>
                    <a:pt x="76" y="252"/>
                  </a:lnTo>
                  <a:lnTo>
                    <a:pt x="64" y="274"/>
                  </a:lnTo>
                  <a:lnTo>
                    <a:pt x="52" y="296"/>
                  </a:lnTo>
                  <a:lnTo>
                    <a:pt x="42" y="318"/>
                  </a:lnTo>
                  <a:lnTo>
                    <a:pt x="32" y="342"/>
                  </a:lnTo>
                  <a:lnTo>
                    <a:pt x="24" y="366"/>
                  </a:lnTo>
                  <a:lnTo>
                    <a:pt x="18" y="392"/>
                  </a:lnTo>
                  <a:lnTo>
                    <a:pt x="12" y="416"/>
                  </a:lnTo>
                  <a:lnTo>
                    <a:pt x="6" y="442"/>
                  </a:lnTo>
                  <a:lnTo>
                    <a:pt x="4" y="468"/>
                  </a:lnTo>
                  <a:lnTo>
                    <a:pt x="2" y="496"/>
                  </a:lnTo>
                  <a:lnTo>
                    <a:pt x="0" y="522"/>
                  </a:lnTo>
                  <a:lnTo>
                    <a:pt x="0" y="522"/>
                  </a:lnTo>
                  <a:lnTo>
                    <a:pt x="2" y="548"/>
                  </a:lnTo>
                  <a:lnTo>
                    <a:pt x="4" y="576"/>
                  </a:lnTo>
                  <a:lnTo>
                    <a:pt x="6" y="602"/>
                  </a:lnTo>
                  <a:lnTo>
                    <a:pt x="12" y="628"/>
                  </a:lnTo>
                  <a:lnTo>
                    <a:pt x="18" y="652"/>
                  </a:lnTo>
                  <a:lnTo>
                    <a:pt x="24" y="678"/>
                  </a:lnTo>
                  <a:lnTo>
                    <a:pt x="32" y="702"/>
                  </a:lnTo>
                  <a:lnTo>
                    <a:pt x="42" y="726"/>
                  </a:lnTo>
                  <a:lnTo>
                    <a:pt x="52" y="748"/>
                  </a:lnTo>
                  <a:lnTo>
                    <a:pt x="64" y="770"/>
                  </a:lnTo>
                  <a:lnTo>
                    <a:pt x="76" y="792"/>
                  </a:lnTo>
                  <a:lnTo>
                    <a:pt x="90" y="814"/>
                  </a:lnTo>
                  <a:lnTo>
                    <a:pt x="104" y="834"/>
                  </a:lnTo>
                  <a:lnTo>
                    <a:pt x="120" y="854"/>
                  </a:lnTo>
                  <a:lnTo>
                    <a:pt x="154" y="890"/>
                  </a:lnTo>
                  <a:lnTo>
                    <a:pt x="190" y="924"/>
                  </a:lnTo>
                  <a:lnTo>
                    <a:pt x="210" y="940"/>
                  </a:lnTo>
                  <a:lnTo>
                    <a:pt x="230" y="954"/>
                  </a:lnTo>
                  <a:lnTo>
                    <a:pt x="252" y="968"/>
                  </a:lnTo>
                  <a:lnTo>
                    <a:pt x="274" y="980"/>
                  </a:lnTo>
                  <a:lnTo>
                    <a:pt x="296" y="992"/>
                  </a:lnTo>
                  <a:lnTo>
                    <a:pt x="320" y="1002"/>
                  </a:lnTo>
                  <a:lnTo>
                    <a:pt x="344" y="1012"/>
                  </a:lnTo>
                  <a:lnTo>
                    <a:pt x="368" y="1020"/>
                  </a:lnTo>
                  <a:lnTo>
                    <a:pt x="392" y="1028"/>
                  </a:lnTo>
                  <a:lnTo>
                    <a:pt x="418" y="1032"/>
                  </a:lnTo>
                  <a:lnTo>
                    <a:pt x="444" y="1038"/>
                  </a:lnTo>
                  <a:lnTo>
                    <a:pt x="470" y="1040"/>
                  </a:lnTo>
                  <a:lnTo>
                    <a:pt x="496" y="1042"/>
                  </a:lnTo>
                  <a:lnTo>
                    <a:pt x="522" y="1044"/>
                  </a:lnTo>
                  <a:lnTo>
                    <a:pt x="522" y="1044"/>
                  </a:lnTo>
                  <a:lnTo>
                    <a:pt x="550" y="1042"/>
                  </a:lnTo>
                  <a:lnTo>
                    <a:pt x="576" y="1040"/>
                  </a:lnTo>
                  <a:lnTo>
                    <a:pt x="602" y="1038"/>
                  </a:lnTo>
                  <a:lnTo>
                    <a:pt x="628" y="1032"/>
                  </a:lnTo>
                  <a:lnTo>
                    <a:pt x="652" y="1028"/>
                  </a:lnTo>
                  <a:lnTo>
                    <a:pt x="678" y="1020"/>
                  </a:lnTo>
                  <a:lnTo>
                    <a:pt x="702" y="1012"/>
                  </a:lnTo>
                  <a:lnTo>
                    <a:pt x="726" y="1002"/>
                  </a:lnTo>
                  <a:lnTo>
                    <a:pt x="748" y="992"/>
                  </a:lnTo>
                  <a:lnTo>
                    <a:pt x="772" y="980"/>
                  </a:lnTo>
                  <a:lnTo>
                    <a:pt x="792" y="968"/>
                  </a:lnTo>
                  <a:lnTo>
                    <a:pt x="814" y="954"/>
                  </a:lnTo>
                  <a:lnTo>
                    <a:pt x="834" y="940"/>
                  </a:lnTo>
                  <a:lnTo>
                    <a:pt x="854" y="924"/>
                  </a:lnTo>
                  <a:lnTo>
                    <a:pt x="892" y="890"/>
                  </a:lnTo>
                  <a:lnTo>
                    <a:pt x="924" y="854"/>
                  </a:lnTo>
                  <a:lnTo>
                    <a:pt x="940" y="834"/>
                  </a:lnTo>
                  <a:lnTo>
                    <a:pt x="954" y="814"/>
                  </a:lnTo>
                  <a:lnTo>
                    <a:pt x="968" y="792"/>
                  </a:lnTo>
                  <a:lnTo>
                    <a:pt x="982" y="770"/>
                  </a:lnTo>
                  <a:lnTo>
                    <a:pt x="992" y="748"/>
                  </a:lnTo>
                  <a:lnTo>
                    <a:pt x="1004" y="726"/>
                  </a:lnTo>
                  <a:lnTo>
                    <a:pt x="1012" y="702"/>
                  </a:lnTo>
                  <a:lnTo>
                    <a:pt x="1020" y="678"/>
                  </a:lnTo>
                  <a:lnTo>
                    <a:pt x="1028" y="652"/>
                  </a:lnTo>
                  <a:lnTo>
                    <a:pt x="1034" y="628"/>
                  </a:lnTo>
                  <a:lnTo>
                    <a:pt x="1038" y="602"/>
                  </a:lnTo>
                  <a:lnTo>
                    <a:pt x="1042" y="576"/>
                  </a:lnTo>
                  <a:lnTo>
                    <a:pt x="1044" y="548"/>
                  </a:lnTo>
                  <a:lnTo>
                    <a:pt x="1044" y="522"/>
                  </a:lnTo>
                  <a:lnTo>
                    <a:pt x="1044" y="522"/>
                  </a:lnTo>
                  <a:lnTo>
                    <a:pt x="1044" y="496"/>
                  </a:lnTo>
                  <a:lnTo>
                    <a:pt x="1042" y="468"/>
                  </a:lnTo>
                  <a:lnTo>
                    <a:pt x="1038" y="442"/>
                  </a:lnTo>
                  <a:lnTo>
                    <a:pt x="1034" y="416"/>
                  </a:lnTo>
                  <a:lnTo>
                    <a:pt x="1028" y="392"/>
                  </a:lnTo>
                  <a:lnTo>
                    <a:pt x="1020" y="366"/>
                  </a:lnTo>
                  <a:lnTo>
                    <a:pt x="1012" y="342"/>
                  </a:lnTo>
                  <a:lnTo>
                    <a:pt x="1004" y="318"/>
                  </a:lnTo>
                  <a:lnTo>
                    <a:pt x="992" y="296"/>
                  </a:lnTo>
                  <a:lnTo>
                    <a:pt x="982" y="274"/>
                  </a:lnTo>
                  <a:lnTo>
                    <a:pt x="968" y="252"/>
                  </a:lnTo>
                  <a:lnTo>
                    <a:pt x="954" y="230"/>
                  </a:lnTo>
                  <a:lnTo>
                    <a:pt x="940" y="210"/>
                  </a:lnTo>
                  <a:lnTo>
                    <a:pt x="924" y="190"/>
                  </a:lnTo>
                  <a:lnTo>
                    <a:pt x="892" y="154"/>
                  </a:lnTo>
                  <a:lnTo>
                    <a:pt x="854" y="120"/>
                  </a:lnTo>
                  <a:lnTo>
                    <a:pt x="834" y="104"/>
                  </a:lnTo>
                  <a:lnTo>
                    <a:pt x="814" y="90"/>
                  </a:lnTo>
                  <a:lnTo>
                    <a:pt x="792" y="76"/>
                  </a:lnTo>
                  <a:lnTo>
                    <a:pt x="772" y="64"/>
                  </a:lnTo>
                  <a:lnTo>
                    <a:pt x="748" y="52"/>
                  </a:lnTo>
                  <a:lnTo>
                    <a:pt x="726" y="42"/>
                  </a:lnTo>
                  <a:lnTo>
                    <a:pt x="702" y="32"/>
                  </a:lnTo>
                  <a:lnTo>
                    <a:pt x="678" y="24"/>
                  </a:lnTo>
                  <a:lnTo>
                    <a:pt x="652" y="16"/>
                  </a:lnTo>
                  <a:lnTo>
                    <a:pt x="628" y="12"/>
                  </a:lnTo>
                  <a:lnTo>
                    <a:pt x="602" y="6"/>
                  </a:lnTo>
                  <a:lnTo>
                    <a:pt x="576" y="4"/>
                  </a:lnTo>
                  <a:lnTo>
                    <a:pt x="550" y="2"/>
                  </a:lnTo>
                  <a:lnTo>
                    <a:pt x="522" y="0"/>
                  </a:lnTo>
                  <a:lnTo>
                    <a:pt x="522" y="0"/>
                  </a:lnTo>
                  <a:close/>
                  <a:moveTo>
                    <a:pt x="522" y="952"/>
                  </a:moveTo>
                  <a:lnTo>
                    <a:pt x="522" y="952"/>
                  </a:lnTo>
                  <a:lnTo>
                    <a:pt x="478" y="950"/>
                  </a:lnTo>
                  <a:lnTo>
                    <a:pt x="436" y="942"/>
                  </a:lnTo>
                  <a:lnTo>
                    <a:pt x="394" y="932"/>
                  </a:lnTo>
                  <a:lnTo>
                    <a:pt x="356" y="918"/>
                  </a:lnTo>
                  <a:lnTo>
                    <a:pt x="318" y="900"/>
                  </a:lnTo>
                  <a:lnTo>
                    <a:pt x="282" y="878"/>
                  </a:lnTo>
                  <a:lnTo>
                    <a:pt x="250" y="854"/>
                  </a:lnTo>
                  <a:lnTo>
                    <a:pt x="218" y="826"/>
                  </a:lnTo>
                  <a:lnTo>
                    <a:pt x="192" y="796"/>
                  </a:lnTo>
                  <a:lnTo>
                    <a:pt x="166" y="762"/>
                  </a:lnTo>
                  <a:lnTo>
                    <a:pt x="144" y="726"/>
                  </a:lnTo>
                  <a:lnTo>
                    <a:pt x="126" y="690"/>
                  </a:lnTo>
                  <a:lnTo>
                    <a:pt x="112" y="650"/>
                  </a:lnTo>
                  <a:lnTo>
                    <a:pt x="102" y="608"/>
                  </a:lnTo>
                  <a:lnTo>
                    <a:pt x="96" y="566"/>
                  </a:lnTo>
                  <a:lnTo>
                    <a:pt x="92" y="522"/>
                  </a:lnTo>
                  <a:lnTo>
                    <a:pt x="92" y="522"/>
                  </a:lnTo>
                  <a:lnTo>
                    <a:pt x="96" y="478"/>
                  </a:lnTo>
                  <a:lnTo>
                    <a:pt x="102" y="436"/>
                  </a:lnTo>
                  <a:lnTo>
                    <a:pt x="112" y="394"/>
                  </a:lnTo>
                  <a:lnTo>
                    <a:pt x="126" y="354"/>
                  </a:lnTo>
                  <a:lnTo>
                    <a:pt x="144" y="318"/>
                  </a:lnTo>
                  <a:lnTo>
                    <a:pt x="166" y="282"/>
                  </a:lnTo>
                  <a:lnTo>
                    <a:pt x="192" y="248"/>
                  </a:lnTo>
                  <a:lnTo>
                    <a:pt x="218" y="218"/>
                  </a:lnTo>
                  <a:lnTo>
                    <a:pt x="250" y="190"/>
                  </a:lnTo>
                  <a:lnTo>
                    <a:pt x="282" y="166"/>
                  </a:lnTo>
                  <a:lnTo>
                    <a:pt x="318" y="144"/>
                  </a:lnTo>
                  <a:lnTo>
                    <a:pt x="356" y="126"/>
                  </a:lnTo>
                  <a:lnTo>
                    <a:pt x="394" y="112"/>
                  </a:lnTo>
                  <a:lnTo>
                    <a:pt x="436" y="102"/>
                  </a:lnTo>
                  <a:lnTo>
                    <a:pt x="478" y="94"/>
                  </a:lnTo>
                  <a:lnTo>
                    <a:pt x="522" y="92"/>
                  </a:lnTo>
                  <a:lnTo>
                    <a:pt x="522" y="92"/>
                  </a:lnTo>
                  <a:lnTo>
                    <a:pt x="566" y="94"/>
                  </a:lnTo>
                  <a:lnTo>
                    <a:pt x="610" y="102"/>
                  </a:lnTo>
                  <a:lnTo>
                    <a:pt x="650" y="112"/>
                  </a:lnTo>
                  <a:lnTo>
                    <a:pt x="690" y="126"/>
                  </a:lnTo>
                  <a:lnTo>
                    <a:pt x="728" y="144"/>
                  </a:lnTo>
                  <a:lnTo>
                    <a:pt x="762" y="166"/>
                  </a:lnTo>
                  <a:lnTo>
                    <a:pt x="796" y="190"/>
                  </a:lnTo>
                  <a:lnTo>
                    <a:pt x="826" y="218"/>
                  </a:lnTo>
                  <a:lnTo>
                    <a:pt x="854" y="248"/>
                  </a:lnTo>
                  <a:lnTo>
                    <a:pt x="878" y="282"/>
                  </a:lnTo>
                  <a:lnTo>
                    <a:pt x="900" y="318"/>
                  </a:lnTo>
                  <a:lnTo>
                    <a:pt x="918" y="354"/>
                  </a:lnTo>
                  <a:lnTo>
                    <a:pt x="932" y="394"/>
                  </a:lnTo>
                  <a:lnTo>
                    <a:pt x="944" y="436"/>
                  </a:lnTo>
                  <a:lnTo>
                    <a:pt x="950" y="478"/>
                  </a:lnTo>
                  <a:lnTo>
                    <a:pt x="952" y="522"/>
                  </a:lnTo>
                  <a:lnTo>
                    <a:pt x="952" y="522"/>
                  </a:lnTo>
                  <a:lnTo>
                    <a:pt x="950" y="566"/>
                  </a:lnTo>
                  <a:lnTo>
                    <a:pt x="944" y="608"/>
                  </a:lnTo>
                  <a:lnTo>
                    <a:pt x="932" y="650"/>
                  </a:lnTo>
                  <a:lnTo>
                    <a:pt x="918" y="690"/>
                  </a:lnTo>
                  <a:lnTo>
                    <a:pt x="900" y="726"/>
                  </a:lnTo>
                  <a:lnTo>
                    <a:pt x="878" y="762"/>
                  </a:lnTo>
                  <a:lnTo>
                    <a:pt x="854" y="796"/>
                  </a:lnTo>
                  <a:lnTo>
                    <a:pt x="826" y="826"/>
                  </a:lnTo>
                  <a:lnTo>
                    <a:pt x="796" y="854"/>
                  </a:lnTo>
                  <a:lnTo>
                    <a:pt x="762" y="878"/>
                  </a:lnTo>
                  <a:lnTo>
                    <a:pt x="728" y="900"/>
                  </a:lnTo>
                  <a:lnTo>
                    <a:pt x="690" y="918"/>
                  </a:lnTo>
                  <a:lnTo>
                    <a:pt x="650" y="932"/>
                  </a:lnTo>
                  <a:lnTo>
                    <a:pt x="610" y="942"/>
                  </a:lnTo>
                  <a:lnTo>
                    <a:pt x="566" y="950"/>
                  </a:lnTo>
                  <a:lnTo>
                    <a:pt x="522" y="952"/>
                  </a:lnTo>
                  <a:lnTo>
                    <a:pt x="522" y="952"/>
                  </a:lnTo>
                  <a:close/>
                </a:path>
              </a:pathLst>
            </a:custGeom>
            <a:solidFill>
              <a:schemeClr val="tx1">
                <a:lumMod val="90000"/>
                <a:lumOff val="1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3" name="Freeform 27"/>
            <p:cNvSpPr>
              <a:spLocks/>
            </p:cNvSpPr>
            <p:nvPr/>
          </p:nvSpPr>
          <p:spPr bwMode="auto">
            <a:xfrm>
              <a:off x="907863" y="5939630"/>
              <a:ext cx="273144" cy="263845"/>
            </a:xfrm>
            <a:custGeom>
              <a:avLst/>
              <a:gdLst>
                <a:gd name="T0" fmla="*/ 0 w 470"/>
                <a:gd name="T1" fmla="*/ 70 h 454"/>
                <a:gd name="T2" fmla="*/ 0 w 470"/>
                <a:gd name="T3" fmla="*/ 70 h 454"/>
                <a:gd name="T4" fmla="*/ 8 w 470"/>
                <a:gd name="T5" fmla="*/ 64 h 454"/>
                <a:gd name="T6" fmla="*/ 34 w 470"/>
                <a:gd name="T7" fmla="*/ 50 h 454"/>
                <a:gd name="T8" fmla="*/ 52 w 470"/>
                <a:gd name="T9" fmla="*/ 42 h 454"/>
                <a:gd name="T10" fmla="*/ 74 w 470"/>
                <a:gd name="T11" fmla="*/ 32 h 454"/>
                <a:gd name="T12" fmla="*/ 100 w 470"/>
                <a:gd name="T13" fmla="*/ 22 h 454"/>
                <a:gd name="T14" fmla="*/ 130 w 470"/>
                <a:gd name="T15" fmla="*/ 14 h 454"/>
                <a:gd name="T16" fmla="*/ 162 w 470"/>
                <a:gd name="T17" fmla="*/ 8 h 454"/>
                <a:gd name="T18" fmla="*/ 198 w 470"/>
                <a:gd name="T19" fmla="*/ 2 h 454"/>
                <a:gd name="T20" fmla="*/ 236 w 470"/>
                <a:gd name="T21" fmla="*/ 0 h 454"/>
                <a:gd name="T22" fmla="*/ 276 w 470"/>
                <a:gd name="T23" fmla="*/ 0 h 454"/>
                <a:gd name="T24" fmla="*/ 322 w 470"/>
                <a:gd name="T25" fmla="*/ 6 h 454"/>
                <a:gd name="T26" fmla="*/ 368 w 470"/>
                <a:gd name="T27" fmla="*/ 14 h 454"/>
                <a:gd name="T28" fmla="*/ 416 w 470"/>
                <a:gd name="T29" fmla="*/ 28 h 454"/>
                <a:gd name="T30" fmla="*/ 468 w 470"/>
                <a:gd name="T31" fmla="*/ 46 h 454"/>
                <a:gd name="T32" fmla="*/ 468 w 470"/>
                <a:gd name="T33" fmla="*/ 46 h 454"/>
                <a:gd name="T34" fmla="*/ 470 w 470"/>
                <a:gd name="T35" fmla="*/ 64 h 454"/>
                <a:gd name="T36" fmla="*/ 470 w 470"/>
                <a:gd name="T37" fmla="*/ 110 h 454"/>
                <a:gd name="T38" fmla="*/ 470 w 470"/>
                <a:gd name="T39" fmla="*/ 140 h 454"/>
                <a:gd name="T40" fmla="*/ 466 w 470"/>
                <a:gd name="T41" fmla="*/ 176 h 454"/>
                <a:gd name="T42" fmla="*/ 460 w 470"/>
                <a:gd name="T43" fmla="*/ 212 h 454"/>
                <a:gd name="T44" fmla="*/ 452 w 470"/>
                <a:gd name="T45" fmla="*/ 250 h 454"/>
                <a:gd name="T46" fmla="*/ 440 w 470"/>
                <a:gd name="T47" fmla="*/ 288 h 454"/>
                <a:gd name="T48" fmla="*/ 432 w 470"/>
                <a:gd name="T49" fmla="*/ 306 h 454"/>
                <a:gd name="T50" fmla="*/ 424 w 470"/>
                <a:gd name="T51" fmla="*/ 324 h 454"/>
                <a:gd name="T52" fmla="*/ 414 w 470"/>
                <a:gd name="T53" fmla="*/ 342 h 454"/>
                <a:gd name="T54" fmla="*/ 404 w 470"/>
                <a:gd name="T55" fmla="*/ 360 h 454"/>
                <a:gd name="T56" fmla="*/ 392 w 470"/>
                <a:gd name="T57" fmla="*/ 376 h 454"/>
                <a:gd name="T58" fmla="*/ 378 w 470"/>
                <a:gd name="T59" fmla="*/ 390 h 454"/>
                <a:gd name="T60" fmla="*/ 362 w 470"/>
                <a:gd name="T61" fmla="*/ 404 h 454"/>
                <a:gd name="T62" fmla="*/ 346 w 470"/>
                <a:gd name="T63" fmla="*/ 416 h 454"/>
                <a:gd name="T64" fmla="*/ 328 w 470"/>
                <a:gd name="T65" fmla="*/ 428 h 454"/>
                <a:gd name="T66" fmla="*/ 308 w 470"/>
                <a:gd name="T67" fmla="*/ 436 h 454"/>
                <a:gd name="T68" fmla="*/ 286 w 470"/>
                <a:gd name="T69" fmla="*/ 444 h 454"/>
                <a:gd name="T70" fmla="*/ 262 w 470"/>
                <a:gd name="T71" fmla="*/ 450 h 454"/>
                <a:gd name="T72" fmla="*/ 236 w 470"/>
                <a:gd name="T73" fmla="*/ 452 h 454"/>
                <a:gd name="T74" fmla="*/ 208 w 470"/>
                <a:gd name="T75" fmla="*/ 454 h 454"/>
                <a:gd name="T76" fmla="*/ 208 w 470"/>
                <a:gd name="T77" fmla="*/ 454 h 454"/>
                <a:gd name="T78" fmla="*/ 200 w 470"/>
                <a:gd name="T79" fmla="*/ 454 h 454"/>
                <a:gd name="T80" fmla="*/ 190 w 470"/>
                <a:gd name="T81" fmla="*/ 454 h 454"/>
                <a:gd name="T82" fmla="*/ 176 w 470"/>
                <a:gd name="T83" fmla="*/ 454 h 454"/>
                <a:gd name="T84" fmla="*/ 160 w 470"/>
                <a:gd name="T85" fmla="*/ 450 h 454"/>
                <a:gd name="T86" fmla="*/ 142 w 470"/>
                <a:gd name="T87" fmla="*/ 444 h 454"/>
                <a:gd name="T88" fmla="*/ 124 w 470"/>
                <a:gd name="T89" fmla="*/ 434 h 454"/>
                <a:gd name="T90" fmla="*/ 104 w 470"/>
                <a:gd name="T91" fmla="*/ 422 h 454"/>
                <a:gd name="T92" fmla="*/ 84 w 470"/>
                <a:gd name="T93" fmla="*/ 402 h 454"/>
                <a:gd name="T94" fmla="*/ 66 w 470"/>
                <a:gd name="T95" fmla="*/ 378 h 454"/>
                <a:gd name="T96" fmla="*/ 56 w 470"/>
                <a:gd name="T97" fmla="*/ 364 h 454"/>
                <a:gd name="T98" fmla="*/ 48 w 470"/>
                <a:gd name="T99" fmla="*/ 346 h 454"/>
                <a:gd name="T100" fmla="*/ 40 w 470"/>
                <a:gd name="T101" fmla="*/ 328 h 454"/>
                <a:gd name="T102" fmla="*/ 32 w 470"/>
                <a:gd name="T103" fmla="*/ 308 h 454"/>
                <a:gd name="T104" fmla="*/ 26 w 470"/>
                <a:gd name="T105" fmla="*/ 286 h 454"/>
                <a:gd name="T106" fmla="*/ 20 w 470"/>
                <a:gd name="T107" fmla="*/ 262 h 454"/>
                <a:gd name="T108" fmla="*/ 14 w 470"/>
                <a:gd name="T109" fmla="*/ 236 h 454"/>
                <a:gd name="T110" fmla="*/ 8 w 470"/>
                <a:gd name="T111" fmla="*/ 208 h 454"/>
                <a:gd name="T112" fmla="*/ 6 w 470"/>
                <a:gd name="T113" fmla="*/ 178 h 454"/>
                <a:gd name="T114" fmla="*/ 2 w 470"/>
                <a:gd name="T115" fmla="*/ 144 h 454"/>
                <a:gd name="T116" fmla="*/ 0 w 470"/>
                <a:gd name="T117" fmla="*/ 108 h 454"/>
                <a:gd name="T118" fmla="*/ 0 w 470"/>
                <a:gd name="T119" fmla="*/ 70 h 454"/>
                <a:gd name="T120" fmla="*/ 0 w 470"/>
                <a:gd name="T121"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0" h="454">
                  <a:moveTo>
                    <a:pt x="0" y="70"/>
                  </a:moveTo>
                  <a:lnTo>
                    <a:pt x="0" y="70"/>
                  </a:lnTo>
                  <a:lnTo>
                    <a:pt x="8" y="64"/>
                  </a:lnTo>
                  <a:lnTo>
                    <a:pt x="34" y="50"/>
                  </a:lnTo>
                  <a:lnTo>
                    <a:pt x="52" y="42"/>
                  </a:lnTo>
                  <a:lnTo>
                    <a:pt x="74" y="32"/>
                  </a:lnTo>
                  <a:lnTo>
                    <a:pt x="100" y="22"/>
                  </a:lnTo>
                  <a:lnTo>
                    <a:pt x="130" y="14"/>
                  </a:lnTo>
                  <a:lnTo>
                    <a:pt x="162" y="8"/>
                  </a:lnTo>
                  <a:lnTo>
                    <a:pt x="198" y="2"/>
                  </a:lnTo>
                  <a:lnTo>
                    <a:pt x="236" y="0"/>
                  </a:lnTo>
                  <a:lnTo>
                    <a:pt x="276" y="0"/>
                  </a:lnTo>
                  <a:lnTo>
                    <a:pt x="322" y="6"/>
                  </a:lnTo>
                  <a:lnTo>
                    <a:pt x="368" y="14"/>
                  </a:lnTo>
                  <a:lnTo>
                    <a:pt x="416" y="28"/>
                  </a:lnTo>
                  <a:lnTo>
                    <a:pt x="468" y="46"/>
                  </a:lnTo>
                  <a:lnTo>
                    <a:pt x="468" y="46"/>
                  </a:lnTo>
                  <a:lnTo>
                    <a:pt x="470" y="64"/>
                  </a:lnTo>
                  <a:lnTo>
                    <a:pt x="470" y="110"/>
                  </a:lnTo>
                  <a:lnTo>
                    <a:pt x="470" y="140"/>
                  </a:lnTo>
                  <a:lnTo>
                    <a:pt x="466" y="176"/>
                  </a:lnTo>
                  <a:lnTo>
                    <a:pt x="460" y="212"/>
                  </a:lnTo>
                  <a:lnTo>
                    <a:pt x="452" y="250"/>
                  </a:lnTo>
                  <a:lnTo>
                    <a:pt x="440" y="288"/>
                  </a:lnTo>
                  <a:lnTo>
                    <a:pt x="432" y="306"/>
                  </a:lnTo>
                  <a:lnTo>
                    <a:pt x="424" y="324"/>
                  </a:lnTo>
                  <a:lnTo>
                    <a:pt x="414" y="342"/>
                  </a:lnTo>
                  <a:lnTo>
                    <a:pt x="404" y="360"/>
                  </a:lnTo>
                  <a:lnTo>
                    <a:pt x="392" y="376"/>
                  </a:lnTo>
                  <a:lnTo>
                    <a:pt x="378" y="390"/>
                  </a:lnTo>
                  <a:lnTo>
                    <a:pt x="362" y="404"/>
                  </a:lnTo>
                  <a:lnTo>
                    <a:pt x="346" y="416"/>
                  </a:lnTo>
                  <a:lnTo>
                    <a:pt x="328" y="428"/>
                  </a:lnTo>
                  <a:lnTo>
                    <a:pt x="308" y="436"/>
                  </a:lnTo>
                  <a:lnTo>
                    <a:pt x="286" y="444"/>
                  </a:lnTo>
                  <a:lnTo>
                    <a:pt x="262" y="450"/>
                  </a:lnTo>
                  <a:lnTo>
                    <a:pt x="236" y="452"/>
                  </a:lnTo>
                  <a:lnTo>
                    <a:pt x="208" y="454"/>
                  </a:lnTo>
                  <a:lnTo>
                    <a:pt x="208" y="454"/>
                  </a:lnTo>
                  <a:lnTo>
                    <a:pt x="200" y="454"/>
                  </a:lnTo>
                  <a:lnTo>
                    <a:pt x="190" y="454"/>
                  </a:lnTo>
                  <a:lnTo>
                    <a:pt x="176" y="454"/>
                  </a:lnTo>
                  <a:lnTo>
                    <a:pt x="160" y="450"/>
                  </a:lnTo>
                  <a:lnTo>
                    <a:pt x="142" y="444"/>
                  </a:lnTo>
                  <a:lnTo>
                    <a:pt x="124" y="434"/>
                  </a:lnTo>
                  <a:lnTo>
                    <a:pt x="104" y="422"/>
                  </a:lnTo>
                  <a:lnTo>
                    <a:pt x="84" y="402"/>
                  </a:lnTo>
                  <a:lnTo>
                    <a:pt x="66" y="378"/>
                  </a:lnTo>
                  <a:lnTo>
                    <a:pt x="56" y="364"/>
                  </a:lnTo>
                  <a:lnTo>
                    <a:pt x="48" y="346"/>
                  </a:lnTo>
                  <a:lnTo>
                    <a:pt x="40" y="328"/>
                  </a:lnTo>
                  <a:lnTo>
                    <a:pt x="32" y="308"/>
                  </a:lnTo>
                  <a:lnTo>
                    <a:pt x="26" y="286"/>
                  </a:lnTo>
                  <a:lnTo>
                    <a:pt x="20" y="262"/>
                  </a:lnTo>
                  <a:lnTo>
                    <a:pt x="14" y="236"/>
                  </a:lnTo>
                  <a:lnTo>
                    <a:pt x="8" y="208"/>
                  </a:lnTo>
                  <a:lnTo>
                    <a:pt x="6" y="178"/>
                  </a:lnTo>
                  <a:lnTo>
                    <a:pt x="2" y="144"/>
                  </a:lnTo>
                  <a:lnTo>
                    <a:pt x="0" y="108"/>
                  </a:lnTo>
                  <a:lnTo>
                    <a:pt x="0" y="70"/>
                  </a:lnTo>
                  <a:lnTo>
                    <a:pt x="0" y="70"/>
                  </a:lnTo>
                  <a:close/>
                </a:path>
              </a:pathLst>
            </a:custGeom>
            <a:solidFill>
              <a:schemeClr val="tx1">
                <a:lumMod val="90000"/>
                <a:lumOff val="1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4" name="Freeform 33"/>
            <p:cNvSpPr>
              <a:spLocks/>
            </p:cNvSpPr>
            <p:nvPr/>
          </p:nvSpPr>
          <p:spPr bwMode="auto">
            <a:xfrm>
              <a:off x="1523890" y="6240670"/>
              <a:ext cx="92985" cy="92985"/>
            </a:xfrm>
            <a:custGeom>
              <a:avLst/>
              <a:gdLst>
                <a:gd name="T0" fmla="*/ 160 w 160"/>
                <a:gd name="T1" fmla="*/ 80 h 160"/>
                <a:gd name="T2" fmla="*/ 160 w 160"/>
                <a:gd name="T3" fmla="*/ 80 h 160"/>
                <a:gd name="T4" fmla="*/ 158 w 160"/>
                <a:gd name="T5" fmla="*/ 96 h 160"/>
                <a:gd name="T6" fmla="*/ 154 w 160"/>
                <a:gd name="T7" fmla="*/ 112 h 160"/>
                <a:gd name="T8" fmla="*/ 146 w 160"/>
                <a:gd name="T9" fmla="*/ 124 h 160"/>
                <a:gd name="T10" fmla="*/ 138 w 160"/>
                <a:gd name="T11" fmla="*/ 136 h 160"/>
                <a:gd name="T12" fmla="*/ 126 w 160"/>
                <a:gd name="T13" fmla="*/ 146 h 160"/>
                <a:gd name="T14" fmla="*/ 112 w 160"/>
                <a:gd name="T15" fmla="*/ 154 h 160"/>
                <a:gd name="T16" fmla="*/ 96 w 160"/>
                <a:gd name="T17" fmla="*/ 158 h 160"/>
                <a:gd name="T18" fmla="*/ 80 w 160"/>
                <a:gd name="T19" fmla="*/ 160 h 160"/>
                <a:gd name="T20" fmla="*/ 80 w 160"/>
                <a:gd name="T21" fmla="*/ 160 h 160"/>
                <a:gd name="T22" fmla="*/ 64 w 160"/>
                <a:gd name="T23" fmla="*/ 158 h 160"/>
                <a:gd name="T24" fmla="*/ 50 w 160"/>
                <a:gd name="T25" fmla="*/ 154 h 160"/>
                <a:gd name="T26" fmla="*/ 36 w 160"/>
                <a:gd name="T27" fmla="*/ 146 h 160"/>
                <a:gd name="T28" fmla="*/ 24 w 160"/>
                <a:gd name="T29" fmla="*/ 136 h 160"/>
                <a:gd name="T30" fmla="*/ 14 w 160"/>
                <a:gd name="T31" fmla="*/ 124 h 160"/>
                <a:gd name="T32" fmla="*/ 6 w 160"/>
                <a:gd name="T33" fmla="*/ 112 h 160"/>
                <a:gd name="T34" fmla="*/ 2 w 160"/>
                <a:gd name="T35" fmla="*/ 96 h 160"/>
                <a:gd name="T36" fmla="*/ 0 w 160"/>
                <a:gd name="T37" fmla="*/ 80 h 160"/>
                <a:gd name="T38" fmla="*/ 0 w 160"/>
                <a:gd name="T39" fmla="*/ 80 h 160"/>
                <a:gd name="T40" fmla="*/ 2 w 160"/>
                <a:gd name="T41" fmla="*/ 64 h 160"/>
                <a:gd name="T42" fmla="*/ 6 w 160"/>
                <a:gd name="T43" fmla="*/ 48 h 160"/>
                <a:gd name="T44" fmla="*/ 14 w 160"/>
                <a:gd name="T45" fmla="*/ 36 h 160"/>
                <a:gd name="T46" fmla="*/ 24 w 160"/>
                <a:gd name="T47" fmla="*/ 24 h 160"/>
                <a:gd name="T48" fmla="*/ 36 w 160"/>
                <a:gd name="T49" fmla="*/ 14 h 160"/>
                <a:gd name="T50" fmla="*/ 50 w 160"/>
                <a:gd name="T51" fmla="*/ 6 h 160"/>
                <a:gd name="T52" fmla="*/ 64 w 160"/>
                <a:gd name="T53" fmla="*/ 2 h 160"/>
                <a:gd name="T54" fmla="*/ 80 w 160"/>
                <a:gd name="T55" fmla="*/ 0 h 160"/>
                <a:gd name="T56" fmla="*/ 80 w 160"/>
                <a:gd name="T57" fmla="*/ 0 h 160"/>
                <a:gd name="T58" fmla="*/ 96 w 160"/>
                <a:gd name="T59" fmla="*/ 2 h 160"/>
                <a:gd name="T60" fmla="*/ 112 w 160"/>
                <a:gd name="T61" fmla="*/ 6 h 160"/>
                <a:gd name="T62" fmla="*/ 126 w 160"/>
                <a:gd name="T63" fmla="*/ 14 h 160"/>
                <a:gd name="T64" fmla="*/ 138 w 160"/>
                <a:gd name="T65" fmla="*/ 24 h 160"/>
                <a:gd name="T66" fmla="*/ 146 w 160"/>
                <a:gd name="T67" fmla="*/ 36 h 160"/>
                <a:gd name="T68" fmla="*/ 154 w 160"/>
                <a:gd name="T69" fmla="*/ 48 h 160"/>
                <a:gd name="T70" fmla="*/ 158 w 160"/>
                <a:gd name="T71" fmla="*/ 64 h 160"/>
                <a:gd name="T72" fmla="*/ 160 w 160"/>
                <a:gd name="T73" fmla="*/ 80 h 160"/>
                <a:gd name="T74" fmla="*/ 160 w 160"/>
                <a:gd name="T75"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0">
                  <a:moveTo>
                    <a:pt x="160" y="80"/>
                  </a:moveTo>
                  <a:lnTo>
                    <a:pt x="160" y="80"/>
                  </a:lnTo>
                  <a:lnTo>
                    <a:pt x="158" y="96"/>
                  </a:lnTo>
                  <a:lnTo>
                    <a:pt x="154" y="112"/>
                  </a:lnTo>
                  <a:lnTo>
                    <a:pt x="146" y="124"/>
                  </a:lnTo>
                  <a:lnTo>
                    <a:pt x="138" y="136"/>
                  </a:lnTo>
                  <a:lnTo>
                    <a:pt x="126" y="146"/>
                  </a:lnTo>
                  <a:lnTo>
                    <a:pt x="112" y="154"/>
                  </a:lnTo>
                  <a:lnTo>
                    <a:pt x="96" y="158"/>
                  </a:lnTo>
                  <a:lnTo>
                    <a:pt x="80" y="160"/>
                  </a:lnTo>
                  <a:lnTo>
                    <a:pt x="80" y="160"/>
                  </a:lnTo>
                  <a:lnTo>
                    <a:pt x="64" y="158"/>
                  </a:lnTo>
                  <a:lnTo>
                    <a:pt x="50" y="154"/>
                  </a:lnTo>
                  <a:lnTo>
                    <a:pt x="36" y="146"/>
                  </a:lnTo>
                  <a:lnTo>
                    <a:pt x="24" y="136"/>
                  </a:lnTo>
                  <a:lnTo>
                    <a:pt x="14" y="124"/>
                  </a:lnTo>
                  <a:lnTo>
                    <a:pt x="6" y="112"/>
                  </a:lnTo>
                  <a:lnTo>
                    <a:pt x="2" y="96"/>
                  </a:lnTo>
                  <a:lnTo>
                    <a:pt x="0" y="80"/>
                  </a:lnTo>
                  <a:lnTo>
                    <a:pt x="0" y="80"/>
                  </a:lnTo>
                  <a:lnTo>
                    <a:pt x="2" y="64"/>
                  </a:lnTo>
                  <a:lnTo>
                    <a:pt x="6" y="48"/>
                  </a:lnTo>
                  <a:lnTo>
                    <a:pt x="14" y="36"/>
                  </a:lnTo>
                  <a:lnTo>
                    <a:pt x="24" y="24"/>
                  </a:lnTo>
                  <a:lnTo>
                    <a:pt x="36" y="14"/>
                  </a:lnTo>
                  <a:lnTo>
                    <a:pt x="50" y="6"/>
                  </a:lnTo>
                  <a:lnTo>
                    <a:pt x="64" y="2"/>
                  </a:lnTo>
                  <a:lnTo>
                    <a:pt x="80" y="0"/>
                  </a:lnTo>
                  <a:lnTo>
                    <a:pt x="80" y="0"/>
                  </a:lnTo>
                  <a:lnTo>
                    <a:pt x="96" y="2"/>
                  </a:lnTo>
                  <a:lnTo>
                    <a:pt x="112" y="6"/>
                  </a:lnTo>
                  <a:lnTo>
                    <a:pt x="126" y="14"/>
                  </a:lnTo>
                  <a:lnTo>
                    <a:pt x="138" y="24"/>
                  </a:lnTo>
                  <a:lnTo>
                    <a:pt x="146" y="36"/>
                  </a:lnTo>
                  <a:lnTo>
                    <a:pt x="154" y="48"/>
                  </a:lnTo>
                  <a:lnTo>
                    <a:pt x="158" y="64"/>
                  </a:lnTo>
                  <a:lnTo>
                    <a:pt x="160" y="80"/>
                  </a:lnTo>
                  <a:lnTo>
                    <a:pt x="160" y="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535" name="Group 1534"/>
            <p:cNvGrpSpPr/>
            <p:nvPr/>
          </p:nvGrpSpPr>
          <p:grpSpPr>
            <a:xfrm>
              <a:off x="1673225" y="5537066"/>
              <a:ext cx="83330" cy="83330"/>
              <a:chOff x="7498080" y="3108960"/>
              <a:chExt cx="634366" cy="634366"/>
            </a:xfrm>
            <a:solidFill>
              <a:schemeClr val="accent1"/>
            </a:solidFill>
          </p:grpSpPr>
          <p:sp>
            <p:nvSpPr>
              <p:cNvPr id="1601" name="Freeform 177"/>
              <p:cNvSpPr>
                <a:spLocks noEditPoints="1"/>
              </p:cNvSpPr>
              <p:nvPr/>
            </p:nvSpPr>
            <p:spPr bwMode="auto">
              <a:xfrm>
                <a:off x="7498080" y="3108960"/>
                <a:ext cx="634366" cy="634366"/>
              </a:xfrm>
              <a:custGeom>
                <a:avLst/>
                <a:gdLst>
                  <a:gd name="T0" fmla="*/ 357 w 666"/>
                  <a:gd name="T1" fmla="*/ 11 h 667"/>
                  <a:gd name="T2" fmla="*/ 352 w 666"/>
                  <a:gd name="T3" fmla="*/ 7 h 667"/>
                  <a:gd name="T4" fmla="*/ 340 w 666"/>
                  <a:gd name="T5" fmla="*/ 1 h 667"/>
                  <a:gd name="T6" fmla="*/ 327 w 666"/>
                  <a:gd name="T7" fmla="*/ 1 h 667"/>
                  <a:gd name="T8" fmla="*/ 315 w 666"/>
                  <a:gd name="T9" fmla="*/ 7 h 667"/>
                  <a:gd name="T10" fmla="*/ 11 w 666"/>
                  <a:gd name="T11" fmla="*/ 309 h 667"/>
                  <a:gd name="T12" fmla="*/ 6 w 666"/>
                  <a:gd name="T13" fmla="*/ 315 h 667"/>
                  <a:gd name="T14" fmla="*/ 1 w 666"/>
                  <a:gd name="T15" fmla="*/ 327 h 667"/>
                  <a:gd name="T16" fmla="*/ 1 w 666"/>
                  <a:gd name="T17" fmla="*/ 340 h 667"/>
                  <a:gd name="T18" fmla="*/ 6 w 666"/>
                  <a:gd name="T19" fmla="*/ 353 h 667"/>
                  <a:gd name="T20" fmla="*/ 310 w 666"/>
                  <a:gd name="T21" fmla="*/ 657 h 667"/>
                  <a:gd name="T22" fmla="*/ 315 w 666"/>
                  <a:gd name="T23" fmla="*/ 661 h 667"/>
                  <a:gd name="T24" fmla="*/ 327 w 666"/>
                  <a:gd name="T25" fmla="*/ 666 h 667"/>
                  <a:gd name="T26" fmla="*/ 340 w 666"/>
                  <a:gd name="T27" fmla="*/ 666 h 667"/>
                  <a:gd name="T28" fmla="*/ 352 w 666"/>
                  <a:gd name="T29" fmla="*/ 661 h 667"/>
                  <a:gd name="T30" fmla="*/ 657 w 666"/>
                  <a:gd name="T31" fmla="*/ 359 h 667"/>
                  <a:gd name="T32" fmla="*/ 661 w 666"/>
                  <a:gd name="T33" fmla="*/ 353 h 667"/>
                  <a:gd name="T34" fmla="*/ 666 w 666"/>
                  <a:gd name="T35" fmla="*/ 340 h 667"/>
                  <a:gd name="T36" fmla="*/ 666 w 666"/>
                  <a:gd name="T37" fmla="*/ 327 h 667"/>
                  <a:gd name="T38" fmla="*/ 661 w 666"/>
                  <a:gd name="T39" fmla="*/ 315 h 667"/>
                  <a:gd name="T40" fmla="*/ 582 w 666"/>
                  <a:gd name="T41" fmla="*/ 352 h 667"/>
                  <a:gd name="T42" fmla="*/ 353 w 666"/>
                  <a:gd name="T43" fmla="*/ 582 h 667"/>
                  <a:gd name="T44" fmla="*/ 345 w 666"/>
                  <a:gd name="T45" fmla="*/ 588 h 667"/>
                  <a:gd name="T46" fmla="*/ 335 w 666"/>
                  <a:gd name="T47" fmla="*/ 589 h 667"/>
                  <a:gd name="T48" fmla="*/ 325 w 666"/>
                  <a:gd name="T49" fmla="*/ 588 h 667"/>
                  <a:gd name="T50" fmla="*/ 316 w 666"/>
                  <a:gd name="T51" fmla="*/ 582 h 667"/>
                  <a:gd name="T52" fmla="*/ 87 w 666"/>
                  <a:gd name="T53" fmla="*/ 352 h 667"/>
                  <a:gd name="T54" fmla="*/ 81 w 666"/>
                  <a:gd name="T55" fmla="*/ 344 h 667"/>
                  <a:gd name="T56" fmla="*/ 79 w 666"/>
                  <a:gd name="T57" fmla="*/ 334 h 667"/>
                  <a:gd name="T58" fmla="*/ 81 w 666"/>
                  <a:gd name="T59" fmla="*/ 324 h 667"/>
                  <a:gd name="T60" fmla="*/ 87 w 666"/>
                  <a:gd name="T61" fmla="*/ 315 h 667"/>
                  <a:gd name="T62" fmla="*/ 316 w 666"/>
                  <a:gd name="T63" fmla="*/ 86 h 667"/>
                  <a:gd name="T64" fmla="*/ 325 w 666"/>
                  <a:gd name="T65" fmla="*/ 80 h 667"/>
                  <a:gd name="T66" fmla="*/ 335 w 666"/>
                  <a:gd name="T67" fmla="*/ 78 h 667"/>
                  <a:gd name="T68" fmla="*/ 345 w 666"/>
                  <a:gd name="T69" fmla="*/ 80 h 667"/>
                  <a:gd name="T70" fmla="*/ 353 w 666"/>
                  <a:gd name="T71" fmla="*/ 86 h 667"/>
                  <a:gd name="T72" fmla="*/ 582 w 666"/>
                  <a:gd name="T73" fmla="*/ 315 h 667"/>
                  <a:gd name="T74" fmla="*/ 588 w 666"/>
                  <a:gd name="T75" fmla="*/ 324 h 667"/>
                  <a:gd name="T76" fmla="*/ 590 w 666"/>
                  <a:gd name="T77" fmla="*/ 334 h 667"/>
                  <a:gd name="T78" fmla="*/ 588 w 666"/>
                  <a:gd name="T79" fmla="*/ 344 h 667"/>
                  <a:gd name="T80" fmla="*/ 582 w 666"/>
                  <a:gd name="T81" fmla="*/ 352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6" h="667">
                    <a:moveTo>
                      <a:pt x="657" y="309"/>
                    </a:moveTo>
                    <a:lnTo>
                      <a:pt x="357" y="11"/>
                    </a:lnTo>
                    <a:lnTo>
                      <a:pt x="357" y="11"/>
                    </a:lnTo>
                    <a:lnTo>
                      <a:pt x="352" y="7"/>
                    </a:lnTo>
                    <a:lnTo>
                      <a:pt x="346" y="3"/>
                    </a:lnTo>
                    <a:lnTo>
                      <a:pt x="340" y="1"/>
                    </a:lnTo>
                    <a:lnTo>
                      <a:pt x="334" y="0"/>
                    </a:lnTo>
                    <a:lnTo>
                      <a:pt x="327" y="1"/>
                    </a:lnTo>
                    <a:lnTo>
                      <a:pt x="321" y="3"/>
                    </a:lnTo>
                    <a:lnTo>
                      <a:pt x="315" y="7"/>
                    </a:lnTo>
                    <a:lnTo>
                      <a:pt x="310" y="11"/>
                    </a:lnTo>
                    <a:lnTo>
                      <a:pt x="11" y="309"/>
                    </a:lnTo>
                    <a:lnTo>
                      <a:pt x="11" y="309"/>
                    </a:lnTo>
                    <a:lnTo>
                      <a:pt x="6" y="315"/>
                    </a:lnTo>
                    <a:lnTo>
                      <a:pt x="3" y="321"/>
                    </a:lnTo>
                    <a:lnTo>
                      <a:pt x="1" y="327"/>
                    </a:lnTo>
                    <a:lnTo>
                      <a:pt x="0" y="334"/>
                    </a:lnTo>
                    <a:lnTo>
                      <a:pt x="1" y="340"/>
                    </a:lnTo>
                    <a:lnTo>
                      <a:pt x="3" y="347"/>
                    </a:lnTo>
                    <a:lnTo>
                      <a:pt x="6" y="353"/>
                    </a:lnTo>
                    <a:lnTo>
                      <a:pt x="11" y="359"/>
                    </a:lnTo>
                    <a:lnTo>
                      <a:pt x="310" y="657"/>
                    </a:lnTo>
                    <a:lnTo>
                      <a:pt x="310" y="657"/>
                    </a:lnTo>
                    <a:lnTo>
                      <a:pt x="315" y="661"/>
                    </a:lnTo>
                    <a:lnTo>
                      <a:pt x="321" y="664"/>
                    </a:lnTo>
                    <a:lnTo>
                      <a:pt x="327" y="666"/>
                    </a:lnTo>
                    <a:lnTo>
                      <a:pt x="334" y="667"/>
                    </a:lnTo>
                    <a:lnTo>
                      <a:pt x="340" y="666"/>
                    </a:lnTo>
                    <a:lnTo>
                      <a:pt x="346" y="664"/>
                    </a:lnTo>
                    <a:lnTo>
                      <a:pt x="352" y="661"/>
                    </a:lnTo>
                    <a:lnTo>
                      <a:pt x="357" y="657"/>
                    </a:lnTo>
                    <a:lnTo>
                      <a:pt x="657" y="359"/>
                    </a:lnTo>
                    <a:lnTo>
                      <a:pt x="657" y="359"/>
                    </a:lnTo>
                    <a:lnTo>
                      <a:pt x="661" y="353"/>
                    </a:lnTo>
                    <a:lnTo>
                      <a:pt x="664" y="347"/>
                    </a:lnTo>
                    <a:lnTo>
                      <a:pt x="666" y="340"/>
                    </a:lnTo>
                    <a:lnTo>
                      <a:pt x="666" y="334"/>
                    </a:lnTo>
                    <a:lnTo>
                      <a:pt x="666" y="327"/>
                    </a:lnTo>
                    <a:lnTo>
                      <a:pt x="664" y="321"/>
                    </a:lnTo>
                    <a:lnTo>
                      <a:pt x="661" y="315"/>
                    </a:lnTo>
                    <a:lnTo>
                      <a:pt x="657" y="309"/>
                    </a:lnTo>
                    <a:close/>
                    <a:moveTo>
                      <a:pt x="582" y="352"/>
                    </a:moveTo>
                    <a:lnTo>
                      <a:pt x="353" y="582"/>
                    </a:lnTo>
                    <a:lnTo>
                      <a:pt x="353" y="582"/>
                    </a:lnTo>
                    <a:lnTo>
                      <a:pt x="349" y="585"/>
                    </a:lnTo>
                    <a:lnTo>
                      <a:pt x="345" y="588"/>
                    </a:lnTo>
                    <a:lnTo>
                      <a:pt x="340" y="589"/>
                    </a:lnTo>
                    <a:lnTo>
                      <a:pt x="335" y="589"/>
                    </a:lnTo>
                    <a:lnTo>
                      <a:pt x="330" y="589"/>
                    </a:lnTo>
                    <a:lnTo>
                      <a:pt x="325" y="588"/>
                    </a:lnTo>
                    <a:lnTo>
                      <a:pt x="320" y="585"/>
                    </a:lnTo>
                    <a:lnTo>
                      <a:pt x="316" y="582"/>
                    </a:lnTo>
                    <a:lnTo>
                      <a:pt x="87" y="352"/>
                    </a:lnTo>
                    <a:lnTo>
                      <a:pt x="87" y="352"/>
                    </a:lnTo>
                    <a:lnTo>
                      <a:pt x="83" y="348"/>
                    </a:lnTo>
                    <a:lnTo>
                      <a:pt x="81" y="344"/>
                    </a:lnTo>
                    <a:lnTo>
                      <a:pt x="79" y="339"/>
                    </a:lnTo>
                    <a:lnTo>
                      <a:pt x="79" y="334"/>
                    </a:lnTo>
                    <a:lnTo>
                      <a:pt x="79" y="329"/>
                    </a:lnTo>
                    <a:lnTo>
                      <a:pt x="81" y="324"/>
                    </a:lnTo>
                    <a:lnTo>
                      <a:pt x="83" y="319"/>
                    </a:lnTo>
                    <a:lnTo>
                      <a:pt x="87" y="315"/>
                    </a:lnTo>
                    <a:lnTo>
                      <a:pt x="316" y="86"/>
                    </a:lnTo>
                    <a:lnTo>
                      <a:pt x="316" y="86"/>
                    </a:lnTo>
                    <a:lnTo>
                      <a:pt x="320" y="83"/>
                    </a:lnTo>
                    <a:lnTo>
                      <a:pt x="325" y="80"/>
                    </a:lnTo>
                    <a:lnTo>
                      <a:pt x="330" y="79"/>
                    </a:lnTo>
                    <a:lnTo>
                      <a:pt x="335" y="78"/>
                    </a:lnTo>
                    <a:lnTo>
                      <a:pt x="340" y="79"/>
                    </a:lnTo>
                    <a:lnTo>
                      <a:pt x="345" y="80"/>
                    </a:lnTo>
                    <a:lnTo>
                      <a:pt x="349" y="83"/>
                    </a:lnTo>
                    <a:lnTo>
                      <a:pt x="353" y="86"/>
                    </a:lnTo>
                    <a:lnTo>
                      <a:pt x="582" y="315"/>
                    </a:lnTo>
                    <a:lnTo>
                      <a:pt x="582" y="315"/>
                    </a:lnTo>
                    <a:lnTo>
                      <a:pt x="586" y="319"/>
                    </a:lnTo>
                    <a:lnTo>
                      <a:pt x="588" y="324"/>
                    </a:lnTo>
                    <a:lnTo>
                      <a:pt x="590" y="329"/>
                    </a:lnTo>
                    <a:lnTo>
                      <a:pt x="590" y="334"/>
                    </a:lnTo>
                    <a:lnTo>
                      <a:pt x="590" y="339"/>
                    </a:lnTo>
                    <a:lnTo>
                      <a:pt x="588" y="344"/>
                    </a:lnTo>
                    <a:lnTo>
                      <a:pt x="586" y="348"/>
                    </a:lnTo>
                    <a:lnTo>
                      <a:pt x="582" y="3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02" name="Freeform 180"/>
              <p:cNvSpPr>
                <a:spLocks/>
              </p:cNvSpPr>
              <p:nvPr/>
            </p:nvSpPr>
            <p:spPr bwMode="auto">
              <a:xfrm>
                <a:off x="7789545" y="3280410"/>
                <a:ext cx="72390" cy="200026"/>
              </a:xfrm>
              <a:custGeom>
                <a:avLst/>
                <a:gdLst>
                  <a:gd name="T0" fmla="*/ 56 w 74"/>
                  <a:gd name="T1" fmla="*/ 211 h 211"/>
                  <a:gd name="T2" fmla="*/ 74 w 74"/>
                  <a:gd name="T3" fmla="*/ 80 h 211"/>
                  <a:gd name="T4" fmla="*/ 74 w 74"/>
                  <a:gd name="T5" fmla="*/ 0 h 211"/>
                  <a:gd name="T6" fmla="*/ 0 w 74"/>
                  <a:gd name="T7" fmla="*/ 0 h 211"/>
                  <a:gd name="T8" fmla="*/ 0 w 74"/>
                  <a:gd name="T9" fmla="*/ 80 h 211"/>
                  <a:gd name="T10" fmla="*/ 18 w 74"/>
                  <a:gd name="T11" fmla="*/ 211 h 211"/>
                  <a:gd name="T12" fmla="*/ 56 w 74"/>
                  <a:gd name="T13" fmla="*/ 211 h 211"/>
                </a:gdLst>
                <a:ahLst/>
                <a:cxnLst>
                  <a:cxn ang="0">
                    <a:pos x="T0" y="T1"/>
                  </a:cxn>
                  <a:cxn ang="0">
                    <a:pos x="T2" y="T3"/>
                  </a:cxn>
                  <a:cxn ang="0">
                    <a:pos x="T4" y="T5"/>
                  </a:cxn>
                  <a:cxn ang="0">
                    <a:pos x="T6" y="T7"/>
                  </a:cxn>
                  <a:cxn ang="0">
                    <a:pos x="T8" y="T9"/>
                  </a:cxn>
                  <a:cxn ang="0">
                    <a:pos x="T10" y="T11"/>
                  </a:cxn>
                  <a:cxn ang="0">
                    <a:pos x="T12" y="T13"/>
                  </a:cxn>
                </a:cxnLst>
                <a:rect l="0" t="0" r="r" b="b"/>
                <a:pathLst>
                  <a:path w="74" h="211">
                    <a:moveTo>
                      <a:pt x="56" y="211"/>
                    </a:moveTo>
                    <a:lnTo>
                      <a:pt x="74" y="80"/>
                    </a:lnTo>
                    <a:lnTo>
                      <a:pt x="74" y="0"/>
                    </a:lnTo>
                    <a:lnTo>
                      <a:pt x="0" y="0"/>
                    </a:lnTo>
                    <a:lnTo>
                      <a:pt x="0" y="80"/>
                    </a:lnTo>
                    <a:lnTo>
                      <a:pt x="18" y="211"/>
                    </a:lnTo>
                    <a:lnTo>
                      <a:pt x="5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03" name="Rectangle 181"/>
              <p:cNvSpPr>
                <a:spLocks noChangeArrowheads="1"/>
              </p:cNvSpPr>
              <p:nvPr/>
            </p:nvSpPr>
            <p:spPr bwMode="auto">
              <a:xfrm>
                <a:off x="7785735" y="3503296"/>
                <a:ext cx="8001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36" name="Group 1535"/>
            <p:cNvGrpSpPr/>
            <p:nvPr/>
          </p:nvGrpSpPr>
          <p:grpSpPr>
            <a:xfrm>
              <a:off x="1447450" y="5850761"/>
              <a:ext cx="204314" cy="310061"/>
              <a:chOff x="2533864" y="-2671763"/>
              <a:chExt cx="1323976" cy="1660525"/>
            </a:xfrm>
            <a:solidFill>
              <a:schemeClr val="tx1">
                <a:lumMod val="75000"/>
                <a:lumOff val="25000"/>
              </a:schemeClr>
            </a:solidFill>
          </p:grpSpPr>
          <p:sp>
            <p:nvSpPr>
              <p:cNvPr id="1588" name="Freeform 7"/>
              <p:cNvSpPr>
                <a:spLocks/>
              </p:cNvSpPr>
              <p:nvPr/>
            </p:nvSpPr>
            <p:spPr bwMode="auto">
              <a:xfrm>
                <a:off x="3264114" y="-2671763"/>
                <a:ext cx="587375" cy="603250"/>
              </a:xfrm>
              <a:custGeom>
                <a:avLst/>
                <a:gdLst>
                  <a:gd name="T0" fmla="*/ 736 w 740"/>
                  <a:gd name="T1" fmla="*/ 0 h 759"/>
                  <a:gd name="T2" fmla="*/ 740 w 740"/>
                  <a:gd name="T3" fmla="*/ 270 h 759"/>
                  <a:gd name="T4" fmla="*/ 0 w 740"/>
                  <a:gd name="T5" fmla="*/ 759 h 759"/>
                  <a:gd name="T6" fmla="*/ 0 w 740"/>
                  <a:gd name="T7" fmla="*/ 759 h 759"/>
                  <a:gd name="T8" fmla="*/ 1 w 740"/>
                  <a:gd name="T9" fmla="*/ 274 h 759"/>
                  <a:gd name="T10" fmla="*/ 1 w 740"/>
                  <a:gd name="T11" fmla="*/ 274 h 759"/>
                  <a:gd name="T12" fmla="*/ 187 w 740"/>
                  <a:gd name="T13" fmla="*/ 208 h 759"/>
                  <a:gd name="T14" fmla="*/ 374 w 740"/>
                  <a:gd name="T15" fmla="*/ 143 h 759"/>
                  <a:gd name="T16" fmla="*/ 466 w 740"/>
                  <a:gd name="T17" fmla="*/ 108 h 759"/>
                  <a:gd name="T18" fmla="*/ 557 w 740"/>
                  <a:gd name="T19" fmla="*/ 74 h 759"/>
                  <a:gd name="T20" fmla="*/ 646 w 740"/>
                  <a:gd name="T21" fmla="*/ 38 h 759"/>
                  <a:gd name="T22" fmla="*/ 736 w 740"/>
                  <a:gd name="T23" fmla="*/ 0 h 759"/>
                  <a:gd name="T24" fmla="*/ 736 w 740"/>
                  <a:gd name="T25" fmla="*/ 0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0" h="759">
                    <a:moveTo>
                      <a:pt x="736" y="0"/>
                    </a:moveTo>
                    <a:lnTo>
                      <a:pt x="740" y="270"/>
                    </a:lnTo>
                    <a:lnTo>
                      <a:pt x="0" y="759"/>
                    </a:lnTo>
                    <a:lnTo>
                      <a:pt x="0" y="759"/>
                    </a:lnTo>
                    <a:lnTo>
                      <a:pt x="1" y="274"/>
                    </a:lnTo>
                    <a:lnTo>
                      <a:pt x="1" y="274"/>
                    </a:lnTo>
                    <a:lnTo>
                      <a:pt x="187" y="208"/>
                    </a:lnTo>
                    <a:lnTo>
                      <a:pt x="374" y="143"/>
                    </a:lnTo>
                    <a:lnTo>
                      <a:pt x="466" y="108"/>
                    </a:lnTo>
                    <a:lnTo>
                      <a:pt x="557" y="74"/>
                    </a:lnTo>
                    <a:lnTo>
                      <a:pt x="646" y="38"/>
                    </a:lnTo>
                    <a:lnTo>
                      <a:pt x="736" y="0"/>
                    </a:lnTo>
                    <a:lnTo>
                      <a:pt x="7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89" name="Freeform 8"/>
              <p:cNvSpPr>
                <a:spLocks/>
              </p:cNvSpPr>
              <p:nvPr/>
            </p:nvSpPr>
            <p:spPr bwMode="auto">
              <a:xfrm>
                <a:off x="2533864" y="-2662238"/>
                <a:ext cx="631825" cy="593725"/>
              </a:xfrm>
              <a:custGeom>
                <a:avLst/>
                <a:gdLst>
                  <a:gd name="T0" fmla="*/ 0 w 796"/>
                  <a:gd name="T1" fmla="*/ 0 h 747"/>
                  <a:gd name="T2" fmla="*/ 0 w 796"/>
                  <a:gd name="T3" fmla="*/ 0 h 747"/>
                  <a:gd name="T4" fmla="*/ 197 w 796"/>
                  <a:gd name="T5" fmla="*/ 74 h 747"/>
                  <a:gd name="T6" fmla="*/ 393 w 796"/>
                  <a:gd name="T7" fmla="*/ 148 h 747"/>
                  <a:gd name="T8" fmla="*/ 492 w 796"/>
                  <a:gd name="T9" fmla="*/ 184 h 747"/>
                  <a:gd name="T10" fmla="*/ 593 w 796"/>
                  <a:gd name="T11" fmla="*/ 219 h 747"/>
                  <a:gd name="T12" fmla="*/ 693 w 796"/>
                  <a:gd name="T13" fmla="*/ 254 h 747"/>
                  <a:gd name="T14" fmla="*/ 796 w 796"/>
                  <a:gd name="T15" fmla="*/ 287 h 747"/>
                  <a:gd name="T16" fmla="*/ 796 w 796"/>
                  <a:gd name="T17" fmla="*/ 287 h 747"/>
                  <a:gd name="T18" fmla="*/ 796 w 796"/>
                  <a:gd name="T19" fmla="*/ 747 h 747"/>
                  <a:gd name="T20" fmla="*/ 796 w 796"/>
                  <a:gd name="T21" fmla="*/ 747 h 747"/>
                  <a:gd name="T22" fmla="*/ 595 w 796"/>
                  <a:gd name="T23" fmla="*/ 714 h 747"/>
                  <a:gd name="T24" fmla="*/ 397 w 796"/>
                  <a:gd name="T25" fmla="*/ 680 h 747"/>
                  <a:gd name="T26" fmla="*/ 198 w 796"/>
                  <a:gd name="T27" fmla="*/ 645 h 747"/>
                  <a:gd name="T28" fmla="*/ 0 w 796"/>
                  <a:gd name="T29" fmla="*/ 610 h 747"/>
                  <a:gd name="T30" fmla="*/ 0 w 796"/>
                  <a:gd name="T31" fmla="*/ 610 h 747"/>
                  <a:gd name="T32" fmla="*/ 0 w 796"/>
                  <a:gd name="T33" fmla="*/ 0 h 747"/>
                  <a:gd name="T34" fmla="*/ 0 w 796"/>
                  <a:gd name="T35"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6" h="747">
                    <a:moveTo>
                      <a:pt x="0" y="0"/>
                    </a:moveTo>
                    <a:lnTo>
                      <a:pt x="0" y="0"/>
                    </a:lnTo>
                    <a:lnTo>
                      <a:pt x="197" y="74"/>
                    </a:lnTo>
                    <a:lnTo>
                      <a:pt x="393" y="148"/>
                    </a:lnTo>
                    <a:lnTo>
                      <a:pt x="492" y="184"/>
                    </a:lnTo>
                    <a:lnTo>
                      <a:pt x="593" y="219"/>
                    </a:lnTo>
                    <a:lnTo>
                      <a:pt x="693" y="254"/>
                    </a:lnTo>
                    <a:lnTo>
                      <a:pt x="796" y="287"/>
                    </a:lnTo>
                    <a:lnTo>
                      <a:pt x="796" y="287"/>
                    </a:lnTo>
                    <a:lnTo>
                      <a:pt x="796" y="747"/>
                    </a:lnTo>
                    <a:lnTo>
                      <a:pt x="796" y="747"/>
                    </a:lnTo>
                    <a:lnTo>
                      <a:pt x="595" y="714"/>
                    </a:lnTo>
                    <a:lnTo>
                      <a:pt x="397" y="680"/>
                    </a:lnTo>
                    <a:lnTo>
                      <a:pt x="198" y="645"/>
                    </a:lnTo>
                    <a:lnTo>
                      <a:pt x="0" y="610"/>
                    </a:lnTo>
                    <a:lnTo>
                      <a:pt x="0" y="61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0" name="Freeform 10"/>
              <p:cNvSpPr>
                <a:spLocks/>
              </p:cNvSpPr>
              <p:nvPr/>
            </p:nvSpPr>
            <p:spPr bwMode="auto">
              <a:xfrm>
                <a:off x="3275227" y="-1890713"/>
                <a:ext cx="1588" cy="3175"/>
              </a:xfrm>
              <a:custGeom>
                <a:avLst/>
                <a:gdLst>
                  <a:gd name="T0" fmla="*/ 0 w 3"/>
                  <a:gd name="T1" fmla="*/ 5 h 5"/>
                  <a:gd name="T2" fmla="*/ 3 w 3"/>
                  <a:gd name="T3" fmla="*/ 4 h 5"/>
                  <a:gd name="T4" fmla="*/ 3 w 3"/>
                  <a:gd name="T5" fmla="*/ 4 h 5"/>
                  <a:gd name="T6" fmla="*/ 3 w 3"/>
                  <a:gd name="T7" fmla="*/ 0 h 5"/>
                  <a:gd name="T8" fmla="*/ 0 w 3"/>
                  <a:gd name="T9" fmla="*/ 5 h 5"/>
                  <a:gd name="T10" fmla="*/ 0 w 3"/>
                  <a:gd name="T11" fmla="*/ 5 h 5"/>
                </a:gdLst>
                <a:ahLst/>
                <a:cxnLst>
                  <a:cxn ang="0">
                    <a:pos x="T0" y="T1"/>
                  </a:cxn>
                  <a:cxn ang="0">
                    <a:pos x="T2" y="T3"/>
                  </a:cxn>
                  <a:cxn ang="0">
                    <a:pos x="T4" y="T5"/>
                  </a:cxn>
                  <a:cxn ang="0">
                    <a:pos x="T6" y="T7"/>
                  </a:cxn>
                  <a:cxn ang="0">
                    <a:pos x="T8" y="T9"/>
                  </a:cxn>
                  <a:cxn ang="0">
                    <a:pos x="T10" y="T11"/>
                  </a:cxn>
                </a:cxnLst>
                <a:rect l="0" t="0" r="r" b="b"/>
                <a:pathLst>
                  <a:path w="3" h="5">
                    <a:moveTo>
                      <a:pt x="0" y="5"/>
                    </a:moveTo>
                    <a:lnTo>
                      <a:pt x="3" y="4"/>
                    </a:lnTo>
                    <a:lnTo>
                      <a:pt x="3" y="4"/>
                    </a:lnTo>
                    <a:lnTo>
                      <a:pt x="3" y="0"/>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1" name="Freeform 11"/>
              <p:cNvSpPr>
                <a:spLocks/>
              </p:cNvSpPr>
              <p:nvPr/>
            </p:nvSpPr>
            <p:spPr bwMode="auto">
              <a:xfrm>
                <a:off x="3264114" y="-2325688"/>
                <a:ext cx="593725" cy="503238"/>
              </a:xfrm>
              <a:custGeom>
                <a:avLst/>
                <a:gdLst>
                  <a:gd name="T0" fmla="*/ 736 w 748"/>
                  <a:gd name="T1" fmla="*/ 0 h 634"/>
                  <a:gd name="T2" fmla="*/ 17 w 748"/>
                  <a:gd name="T3" fmla="*/ 551 h 634"/>
                  <a:gd name="T4" fmla="*/ 17 w 748"/>
                  <a:gd name="T5" fmla="*/ 551 h 634"/>
                  <a:gd name="T6" fmla="*/ 12 w 748"/>
                  <a:gd name="T7" fmla="*/ 565 h 634"/>
                  <a:gd name="T8" fmla="*/ 6 w 748"/>
                  <a:gd name="T9" fmla="*/ 588 h 634"/>
                  <a:gd name="T10" fmla="*/ 1 w 748"/>
                  <a:gd name="T11" fmla="*/ 614 h 634"/>
                  <a:gd name="T12" fmla="*/ 0 w 748"/>
                  <a:gd name="T13" fmla="*/ 626 h 634"/>
                  <a:gd name="T14" fmla="*/ 1 w 748"/>
                  <a:gd name="T15" fmla="*/ 634 h 634"/>
                  <a:gd name="T16" fmla="*/ 1 w 748"/>
                  <a:gd name="T17" fmla="*/ 634 h 634"/>
                  <a:gd name="T18" fmla="*/ 125 w 748"/>
                  <a:gd name="T19" fmla="*/ 565 h 634"/>
                  <a:gd name="T20" fmla="*/ 380 w 748"/>
                  <a:gd name="T21" fmla="*/ 420 h 634"/>
                  <a:gd name="T22" fmla="*/ 748 w 748"/>
                  <a:gd name="T23" fmla="*/ 212 h 634"/>
                  <a:gd name="T24" fmla="*/ 736 w 748"/>
                  <a:gd name="T25"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8" h="634">
                    <a:moveTo>
                      <a:pt x="736" y="0"/>
                    </a:moveTo>
                    <a:lnTo>
                      <a:pt x="17" y="551"/>
                    </a:lnTo>
                    <a:lnTo>
                      <a:pt x="17" y="551"/>
                    </a:lnTo>
                    <a:lnTo>
                      <a:pt x="12" y="565"/>
                    </a:lnTo>
                    <a:lnTo>
                      <a:pt x="6" y="588"/>
                    </a:lnTo>
                    <a:lnTo>
                      <a:pt x="1" y="614"/>
                    </a:lnTo>
                    <a:lnTo>
                      <a:pt x="0" y="626"/>
                    </a:lnTo>
                    <a:lnTo>
                      <a:pt x="1" y="634"/>
                    </a:lnTo>
                    <a:lnTo>
                      <a:pt x="1" y="634"/>
                    </a:lnTo>
                    <a:lnTo>
                      <a:pt x="125" y="565"/>
                    </a:lnTo>
                    <a:lnTo>
                      <a:pt x="380" y="420"/>
                    </a:lnTo>
                    <a:lnTo>
                      <a:pt x="748" y="212"/>
                    </a:lnTo>
                    <a:lnTo>
                      <a:pt x="7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2" name="Freeform 12"/>
              <p:cNvSpPr>
                <a:spLocks/>
              </p:cNvSpPr>
              <p:nvPr/>
            </p:nvSpPr>
            <p:spPr bwMode="auto">
              <a:xfrm>
                <a:off x="3668927" y="-2049463"/>
                <a:ext cx="188913" cy="563563"/>
              </a:xfrm>
              <a:custGeom>
                <a:avLst/>
                <a:gdLst>
                  <a:gd name="T0" fmla="*/ 237 w 237"/>
                  <a:gd name="T1" fmla="*/ 610 h 709"/>
                  <a:gd name="T2" fmla="*/ 0 w 237"/>
                  <a:gd name="T3" fmla="*/ 709 h 709"/>
                  <a:gd name="T4" fmla="*/ 0 w 237"/>
                  <a:gd name="T5" fmla="*/ 709 h 709"/>
                  <a:gd name="T6" fmla="*/ 0 w 237"/>
                  <a:gd name="T7" fmla="*/ 124 h 709"/>
                  <a:gd name="T8" fmla="*/ 0 w 237"/>
                  <a:gd name="T9" fmla="*/ 124 h 709"/>
                  <a:gd name="T10" fmla="*/ 1 w 237"/>
                  <a:gd name="T11" fmla="*/ 125 h 709"/>
                  <a:gd name="T12" fmla="*/ 3 w 237"/>
                  <a:gd name="T13" fmla="*/ 125 h 709"/>
                  <a:gd name="T14" fmla="*/ 11 w 237"/>
                  <a:gd name="T15" fmla="*/ 123 h 709"/>
                  <a:gd name="T16" fmla="*/ 21 w 237"/>
                  <a:gd name="T17" fmla="*/ 118 h 709"/>
                  <a:gd name="T18" fmla="*/ 37 w 237"/>
                  <a:gd name="T19" fmla="*/ 112 h 709"/>
                  <a:gd name="T20" fmla="*/ 75 w 237"/>
                  <a:gd name="T21" fmla="*/ 92 h 709"/>
                  <a:gd name="T22" fmla="*/ 118 w 237"/>
                  <a:gd name="T23" fmla="*/ 69 h 709"/>
                  <a:gd name="T24" fmla="*/ 199 w 237"/>
                  <a:gd name="T25" fmla="*/ 21 h 709"/>
                  <a:gd name="T26" fmla="*/ 237 w 237"/>
                  <a:gd name="T27" fmla="*/ 0 h 709"/>
                  <a:gd name="T28" fmla="*/ 237 w 237"/>
                  <a:gd name="T29" fmla="*/ 61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 h="709">
                    <a:moveTo>
                      <a:pt x="237" y="610"/>
                    </a:moveTo>
                    <a:lnTo>
                      <a:pt x="0" y="709"/>
                    </a:lnTo>
                    <a:lnTo>
                      <a:pt x="0" y="709"/>
                    </a:lnTo>
                    <a:lnTo>
                      <a:pt x="0" y="124"/>
                    </a:lnTo>
                    <a:lnTo>
                      <a:pt x="0" y="124"/>
                    </a:lnTo>
                    <a:lnTo>
                      <a:pt x="1" y="125"/>
                    </a:lnTo>
                    <a:lnTo>
                      <a:pt x="3" y="125"/>
                    </a:lnTo>
                    <a:lnTo>
                      <a:pt x="11" y="123"/>
                    </a:lnTo>
                    <a:lnTo>
                      <a:pt x="21" y="118"/>
                    </a:lnTo>
                    <a:lnTo>
                      <a:pt x="37" y="112"/>
                    </a:lnTo>
                    <a:lnTo>
                      <a:pt x="75" y="92"/>
                    </a:lnTo>
                    <a:lnTo>
                      <a:pt x="118" y="69"/>
                    </a:lnTo>
                    <a:lnTo>
                      <a:pt x="199" y="21"/>
                    </a:lnTo>
                    <a:lnTo>
                      <a:pt x="237" y="0"/>
                    </a:lnTo>
                    <a:lnTo>
                      <a:pt x="237" y="6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3" name="Freeform 13"/>
              <p:cNvSpPr>
                <a:spLocks/>
              </p:cNvSpPr>
              <p:nvPr/>
            </p:nvSpPr>
            <p:spPr bwMode="auto">
              <a:xfrm>
                <a:off x="2533864" y="-2000251"/>
                <a:ext cx="631825" cy="198438"/>
              </a:xfrm>
              <a:custGeom>
                <a:avLst/>
                <a:gdLst>
                  <a:gd name="T0" fmla="*/ 0 w 796"/>
                  <a:gd name="T1" fmla="*/ 0 h 250"/>
                  <a:gd name="T2" fmla="*/ 0 w 796"/>
                  <a:gd name="T3" fmla="*/ 0 h 250"/>
                  <a:gd name="T4" fmla="*/ 99 w 796"/>
                  <a:gd name="T5" fmla="*/ 16 h 250"/>
                  <a:gd name="T6" fmla="*/ 197 w 796"/>
                  <a:gd name="T7" fmla="*/ 34 h 250"/>
                  <a:gd name="T8" fmla="*/ 392 w 796"/>
                  <a:gd name="T9" fmla="*/ 69 h 250"/>
                  <a:gd name="T10" fmla="*/ 490 w 796"/>
                  <a:gd name="T11" fmla="*/ 86 h 250"/>
                  <a:gd name="T12" fmla="*/ 590 w 796"/>
                  <a:gd name="T13" fmla="*/ 101 h 250"/>
                  <a:gd name="T14" fmla="*/ 692 w 796"/>
                  <a:gd name="T15" fmla="*/ 114 h 250"/>
                  <a:gd name="T16" fmla="*/ 744 w 796"/>
                  <a:gd name="T17" fmla="*/ 120 h 250"/>
                  <a:gd name="T18" fmla="*/ 796 w 796"/>
                  <a:gd name="T19" fmla="*/ 125 h 250"/>
                  <a:gd name="T20" fmla="*/ 796 w 796"/>
                  <a:gd name="T21" fmla="*/ 125 h 250"/>
                  <a:gd name="T22" fmla="*/ 796 w 796"/>
                  <a:gd name="T23" fmla="*/ 250 h 250"/>
                  <a:gd name="T24" fmla="*/ 796 w 796"/>
                  <a:gd name="T25" fmla="*/ 250 h 250"/>
                  <a:gd name="T26" fmla="*/ 698 w 796"/>
                  <a:gd name="T27" fmla="*/ 230 h 250"/>
                  <a:gd name="T28" fmla="*/ 601 w 796"/>
                  <a:gd name="T29" fmla="*/ 211 h 250"/>
                  <a:gd name="T30" fmla="*/ 505 w 796"/>
                  <a:gd name="T31" fmla="*/ 192 h 250"/>
                  <a:gd name="T32" fmla="*/ 406 w 796"/>
                  <a:gd name="T33" fmla="*/ 172 h 250"/>
                  <a:gd name="T34" fmla="*/ 308 w 796"/>
                  <a:gd name="T35" fmla="*/ 154 h 250"/>
                  <a:gd name="T36" fmla="*/ 208 w 796"/>
                  <a:gd name="T37" fmla="*/ 137 h 250"/>
                  <a:gd name="T38" fmla="*/ 157 w 796"/>
                  <a:gd name="T39" fmla="*/ 130 h 250"/>
                  <a:gd name="T40" fmla="*/ 105 w 796"/>
                  <a:gd name="T41" fmla="*/ 124 h 250"/>
                  <a:gd name="T42" fmla="*/ 53 w 796"/>
                  <a:gd name="T43" fmla="*/ 118 h 250"/>
                  <a:gd name="T44" fmla="*/ 0 w 796"/>
                  <a:gd name="T45" fmla="*/ 113 h 250"/>
                  <a:gd name="T46" fmla="*/ 0 w 796"/>
                  <a:gd name="T47" fmla="*/ 113 h 250"/>
                  <a:gd name="T48" fmla="*/ 0 w 796"/>
                  <a:gd name="T49" fmla="*/ 0 h 250"/>
                  <a:gd name="T50" fmla="*/ 0 w 796"/>
                  <a:gd name="T51"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6" h="250">
                    <a:moveTo>
                      <a:pt x="0" y="0"/>
                    </a:moveTo>
                    <a:lnTo>
                      <a:pt x="0" y="0"/>
                    </a:lnTo>
                    <a:lnTo>
                      <a:pt x="99" y="16"/>
                    </a:lnTo>
                    <a:lnTo>
                      <a:pt x="197" y="34"/>
                    </a:lnTo>
                    <a:lnTo>
                      <a:pt x="392" y="69"/>
                    </a:lnTo>
                    <a:lnTo>
                      <a:pt x="490" y="86"/>
                    </a:lnTo>
                    <a:lnTo>
                      <a:pt x="590" y="101"/>
                    </a:lnTo>
                    <a:lnTo>
                      <a:pt x="692" y="114"/>
                    </a:lnTo>
                    <a:lnTo>
                      <a:pt x="744" y="120"/>
                    </a:lnTo>
                    <a:lnTo>
                      <a:pt x="796" y="125"/>
                    </a:lnTo>
                    <a:lnTo>
                      <a:pt x="796" y="125"/>
                    </a:lnTo>
                    <a:lnTo>
                      <a:pt x="796" y="250"/>
                    </a:lnTo>
                    <a:lnTo>
                      <a:pt x="796" y="250"/>
                    </a:lnTo>
                    <a:lnTo>
                      <a:pt x="698" y="230"/>
                    </a:lnTo>
                    <a:lnTo>
                      <a:pt x="601" y="211"/>
                    </a:lnTo>
                    <a:lnTo>
                      <a:pt x="505" y="192"/>
                    </a:lnTo>
                    <a:lnTo>
                      <a:pt x="406" y="172"/>
                    </a:lnTo>
                    <a:lnTo>
                      <a:pt x="308" y="154"/>
                    </a:lnTo>
                    <a:lnTo>
                      <a:pt x="208" y="137"/>
                    </a:lnTo>
                    <a:lnTo>
                      <a:pt x="157" y="130"/>
                    </a:lnTo>
                    <a:lnTo>
                      <a:pt x="105" y="124"/>
                    </a:lnTo>
                    <a:lnTo>
                      <a:pt x="53" y="118"/>
                    </a:lnTo>
                    <a:lnTo>
                      <a:pt x="0" y="113"/>
                    </a:lnTo>
                    <a:lnTo>
                      <a:pt x="0" y="11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4" name="Freeform 15"/>
              <p:cNvSpPr>
                <a:spLocks/>
              </p:cNvSpPr>
              <p:nvPr/>
            </p:nvSpPr>
            <p:spPr bwMode="auto">
              <a:xfrm>
                <a:off x="3273639" y="-1911351"/>
                <a:ext cx="319088" cy="593725"/>
              </a:xfrm>
              <a:custGeom>
                <a:avLst/>
                <a:gdLst>
                  <a:gd name="T0" fmla="*/ 387 w 402"/>
                  <a:gd name="T1" fmla="*/ 0 h 747"/>
                  <a:gd name="T2" fmla="*/ 387 w 402"/>
                  <a:gd name="T3" fmla="*/ 0 h 747"/>
                  <a:gd name="T4" fmla="*/ 392 w 402"/>
                  <a:gd name="T5" fmla="*/ 33 h 747"/>
                  <a:gd name="T6" fmla="*/ 396 w 402"/>
                  <a:gd name="T7" fmla="*/ 66 h 747"/>
                  <a:gd name="T8" fmla="*/ 398 w 402"/>
                  <a:gd name="T9" fmla="*/ 100 h 747"/>
                  <a:gd name="T10" fmla="*/ 401 w 402"/>
                  <a:gd name="T11" fmla="*/ 137 h 747"/>
                  <a:gd name="T12" fmla="*/ 402 w 402"/>
                  <a:gd name="T13" fmla="*/ 209 h 747"/>
                  <a:gd name="T14" fmla="*/ 401 w 402"/>
                  <a:gd name="T15" fmla="*/ 284 h 747"/>
                  <a:gd name="T16" fmla="*/ 398 w 402"/>
                  <a:gd name="T17" fmla="*/ 437 h 747"/>
                  <a:gd name="T18" fmla="*/ 398 w 402"/>
                  <a:gd name="T19" fmla="*/ 512 h 747"/>
                  <a:gd name="T20" fmla="*/ 399 w 402"/>
                  <a:gd name="T21" fmla="*/ 585 h 747"/>
                  <a:gd name="T22" fmla="*/ 1 w 402"/>
                  <a:gd name="T23" fmla="*/ 747 h 747"/>
                  <a:gd name="T24" fmla="*/ 1 w 402"/>
                  <a:gd name="T25" fmla="*/ 747 h 747"/>
                  <a:gd name="T26" fmla="*/ 0 w 402"/>
                  <a:gd name="T27" fmla="*/ 633 h 747"/>
                  <a:gd name="T28" fmla="*/ 1 w 402"/>
                  <a:gd name="T29" fmla="*/ 543 h 747"/>
                  <a:gd name="T30" fmla="*/ 4 w 402"/>
                  <a:gd name="T31" fmla="*/ 414 h 747"/>
                  <a:gd name="T32" fmla="*/ 4 w 402"/>
                  <a:gd name="T33" fmla="*/ 363 h 747"/>
                  <a:gd name="T34" fmla="*/ 5 w 402"/>
                  <a:gd name="T35" fmla="*/ 313 h 747"/>
                  <a:gd name="T36" fmla="*/ 4 w 402"/>
                  <a:gd name="T37" fmla="*/ 261 h 747"/>
                  <a:gd name="T38" fmla="*/ 1 w 402"/>
                  <a:gd name="T39" fmla="*/ 198 h 747"/>
                  <a:gd name="T40" fmla="*/ 1 w 402"/>
                  <a:gd name="T41" fmla="*/ 198 h 747"/>
                  <a:gd name="T42" fmla="*/ 50 w 402"/>
                  <a:gd name="T43" fmla="*/ 174 h 747"/>
                  <a:gd name="T44" fmla="*/ 98 w 402"/>
                  <a:gd name="T45" fmla="*/ 150 h 747"/>
                  <a:gd name="T46" fmla="*/ 197 w 402"/>
                  <a:gd name="T47" fmla="*/ 102 h 747"/>
                  <a:gd name="T48" fmla="*/ 246 w 402"/>
                  <a:gd name="T49" fmla="*/ 77 h 747"/>
                  <a:gd name="T50" fmla="*/ 294 w 402"/>
                  <a:gd name="T51" fmla="*/ 53 h 747"/>
                  <a:gd name="T52" fmla="*/ 341 w 402"/>
                  <a:gd name="T53" fmla="*/ 26 h 747"/>
                  <a:gd name="T54" fmla="*/ 387 w 402"/>
                  <a:gd name="T55" fmla="*/ 0 h 747"/>
                  <a:gd name="T56" fmla="*/ 387 w 402"/>
                  <a:gd name="T57"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2" h="747">
                    <a:moveTo>
                      <a:pt x="387" y="0"/>
                    </a:moveTo>
                    <a:lnTo>
                      <a:pt x="387" y="0"/>
                    </a:lnTo>
                    <a:lnTo>
                      <a:pt x="392" y="33"/>
                    </a:lnTo>
                    <a:lnTo>
                      <a:pt x="396" y="66"/>
                    </a:lnTo>
                    <a:lnTo>
                      <a:pt x="398" y="100"/>
                    </a:lnTo>
                    <a:lnTo>
                      <a:pt x="401" y="137"/>
                    </a:lnTo>
                    <a:lnTo>
                      <a:pt x="402" y="209"/>
                    </a:lnTo>
                    <a:lnTo>
                      <a:pt x="401" y="284"/>
                    </a:lnTo>
                    <a:lnTo>
                      <a:pt x="398" y="437"/>
                    </a:lnTo>
                    <a:lnTo>
                      <a:pt x="398" y="512"/>
                    </a:lnTo>
                    <a:lnTo>
                      <a:pt x="399" y="585"/>
                    </a:lnTo>
                    <a:lnTo>
                      <a:pt x="1" y="747"/>
                    </a:lnTo>
                    <a:lnTo>
                      <a:pt x="1" y="747"/>
                    </a:lnTo>
                    <a:lnTo>
                      <a:pt x="0" y="633"/>
                    </a:lnTo>
                    <a:lnTo>
                      <a:pt x="1" y="543"/>
                    </a:lnTo>
                    <a:lnTo>
                      <a:pt x="4" y="414"/>
                    </a:lnTo>
                    <a:lnTo>
                      <a:pt x="4" y="363"/>
                    </a:lnTo>
                    <a:lnTo>
                      <a:pt x="5" y="313"/>
                    </a:lnTo>
                    <a:lnTo>
                      <a:pt x="4" y="261"/>
                    </a:lnTo>
                    <a:lnTo>
                      <a:pt x="1" y="198"/>
                    </a:lnTo>
                    <a:lnTo>
                      <a:pt x="1" y="198"/>
                    </a:lnTo>
                    <a:lnTo>
                      <a:pt x="50" y="174"/>
                    </a:lnTo>
                    <a:lnTo>
                      <a:pt x="98" y="150"/>
                    </a:lnTo>
                    <a:lnTo>
                      <a:pt x="197" y="102"/>
                    </a:lnTo>
                    <a:lnTo>
                      <a:pt x="246" y="77"/>
                    </a:lnTo>
                    <a:lnTo>
                      <a:pt x="294" y="53"/>
                    </a:lnTo>
                    <a:lnTo>
                      <a:pt x="341" y="26"/>
                    </a:lnTo>
                    <a:lnTo>
                      <a:pt x="387" y="0"/>
                    </a:lnTo>
                    <a:lnTo>
                      <a:pt x="3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5" name="Freeform 16"/>
              <p:cNvSpPr>
                <a:spLocks/>
              </p:cNvSpPr>
              <p:nvPr/>
            </p:nvSpPr>
            <p:spPr bwMode="auto">
              <a:xfrm>
                <a:off x="2533864" y="-1822451"/>
                <a:ext cx="376238" cy="444500"/>
              </a:xfrm>
              <a:custGeom>
                <a:avLst/>
                <a:gdLst>
                  <a:gd name="T0" fmla="*/ 0 w 473"/>
                  <a:gd name="T1" fmla="*/ 0 h 561"/>
                  <a:gd name="T2" fmla="*/ 0 w 473"/>
                  <a:gd name="T3" fmla="*/ 0 h 561"/>
                  <a:gd name="T4" fmla="*/ 122 w 473"/>
                  <a:gd name="T5" fmla="*/ 15 h 561"/>
                  <a:gd name="T6" fmla="*/ 182 w 473"/>
                  <a:gd name="T7" fmla="*/ 23 h 561"/>
                  <a:gd name="T8" fmla="*/ 242 w 473"/>
                  <a:gd name="T9" fmla="*/ 32 h 561"/>
                  <a:gd name="T10" fmla="*/ 301 w 473"/>
                  <a:gd name="T11" fmla="*/ 41 h 561"/>
                  <a:gd name="T12" fmla="*/ 359 w 473"/>
                  <a:gd name="T13" fmla="*/ 52 h 561"/>
                  <a:gd name="T14" fmla="*/ 416 w 473"/>
                  <a:gd name="T15" fmla="*/ 63 h 561"/>
                  <a:gd name="T16" fmla="*/ 473 w 473"/>
                  <a:gd name="T17" fmla="*/ 75 h 561"/>
                  <a:gd name="T18" fmla="*/ 473 w 473"/>
                  <a:gd name="T19" fmla="*/ 75 h 561"/>
                  <a:gd name="T20" fmla="*/ 473 w 473"/>
                  <a:gd name="T21" fmla="*/ 561 h 561"/>
                  <a:gd name="T22" fmla="*/ 473 w 473"/>
                  <a:gd name="T23" fmla="*/ 561 h 561"/>
                  <a:gd name="T24" fmla="*/ 357 w 473"/>
                  <a:gd name="T25" fmla="*/ 528 h 561"/>
                  <a:gd name="T26" fmla="*/ 239 w 473"/>
                  <a:gd name="T27" fmla="*/ 495 h 561"/>
                  <a:gd name="T28" fmla="*/ 120 w 473"/>
                  <a:gd name="T29" fmla="*/ 465 h 561"/>
                  <a:gd name="T30" fmla="*/ 0 w 473"/>
                  <a:gd name="T31" fmla="*/ 436 h 561"/>
                  <a:gd name="T32" fmla="*/ 0 w 473"/>
                  <a:gd name="T33" fmla="*/ 436 h 561"/>
                  <a:gd name="T34" fmla="*/ 0 w 473"/>
                  <a:gd name="T35" fmla="*/ 0 h 561"/>
                  <a:gd name="T36" fmla="*/ 0 w 473"/>
                  <a:gd name="T37"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3" h="561">
                    <a:moveTo>
                      <a:pt x="0" y="0"/>
                    </a:moveTo>
                    <a:lnTo>
                      <a:pt x="0" y="0"/>
                    </a:lnTo>
                    <a:lnTo>
                      <a:pt x="122" y="15"/>
                    </a:lnTo>
                    <a:lnTo>
                      <a:pt x="182" y="23"/>
                    </a:lnTo>
                    <a:lnTo>
                      <a:pt x="242" y="32"/>
                    </a:lnTo>
                    <a:lnTo>
                      <a:pt x="301" y="41"/>
                    </a:lnTo>
                    <a:lnTo>
                      <a:pt x="359" y="52"/>
                    </a:lnTo>
                    <a:lnTo>
                      <a:pt x="416" y="63"/>
                    </a:lnTo>
                    <a:lnTo>
                      <a:pt x="473" y="75"/>
                    </a:lnTo>
                    <a:lnTo>
                      <a:pt x="473" y="75"/>
                    </a:lnTo>
                    <a:lnTo>
                      <a:pt x="473" y="561"/>
                    </a:lnTo>
                    <a:lnTo>
                      <a:pt x="473" y="561"/>
                    </a:lnTo>
                    <a:lnTo>
                      <a:pt x="357" y="528"/>
                    </a:lnTo>
                    <a:lnTo>
                      <a:pt x="239" y="495"/>
                    </a:lnTo>
                    <a:lnTo>
                      <a:pt x="120" y="465"/>
                    </a:lnTo>
                    <a:lnTo>
                      <a:pt x="0" y="436"/>
                    </a:lnTo>
                    <a:lnTo>
                      <a:pt x="0" y="43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6" name="Freeform 18"/>
              <p:cNvSpPr>
                <a:spLocks/>
              </p:cNvSpPr>
              <p:nvPr/>
            </p:nvSpPr>
            <p:spPr bwMode="auto">
              <a:xfrm>
                <a:off x="2997414" y="-1743076"/>
                <a:ext cx="168275" cy="434975"/>
              </a:xfrm>
              <a:custGeom>
                <a:avLst/>
                <a:gdLst>
                  <a:gd name="T0" fmla="*/ 0 w 212"/>
                  <a:gd name="T1" fmla="*/ 0 h 547"/>
                  <a:gd name="T2" fmla="*/ 0 w 212"/>
                  <a:gd name="T3" fmla="*/ 0 h 547"/>
                  <a:gd name="T4" fmla="*/ 26 w 212"/>
                  <a:gd name="T5" fmla="*/ 6 h 547"/>
                  <a:gd name="T6" fmla="*/ 53 w 212"/>
                  <a:gd name="T7" fmla="*/ 9 h 547"/>
                  <a:gd name="T8" fmla="*/ 80 w 212"/>
                  <a:gd name="T9" fmla="*/ 13 h 547"/>
                  <a:gd name="T10" fmla="*/ 108 w 212"/>
                  <a:gd name="T11" fmla="*/ 15 h 547"/>
                  <a:gd name="T12" fmla="*/ 137 w 212"/>
                  <a:gd name="T13" fmla="*/ 19 h 547"/>
                  <a:gd name="T14" fmla="*/ 164 w 212"/>
                  <a:gd name="T15" fmla="*/ 23 h 547"/>
                  <a:gd name="T16" fmla="*/ 189 w 212"/>
                  <a:gd name="T17" fmla="*/ 29 h 547"/>
                  <a:gd name="T18" fmla="*/ 201 w 212"/>
                  <a:gd name="T19" fmla="*/ 32 h 547"/>
                  <a:gd name="T20" fmla="*/ 212 w 212"/>
                  <a:gd name="T21" fmla="*/ 37 h 547"/>
                  <a:gd name="T22" fmla="*/ 212 w 212"/>
                  <a:gd name="T23" fmla="*/ 37 h 547"/>
                  <a:gd name="T24" fmla="*/ 212 w 212"/>
                  <a:gd name="T25" fmla="*/ 547 h 547"/>
                  <a:gd name="T26" fmla="*/ 212 w 212"/>
                  <a:gd name="T27" fmla="*/ 547 h 547"/>
                  <a:gd name="T28" fmla="*/ 188 w 212"/>
                  <a:gd name="T29" fmla="*/ 538 h 547"/>
                  <a:gd name="T30" fmla="*/ 163 w 212"/>
                  <a:gd name="T31" fmla="*/ 531 h 547"/>
                  <a:gd name="T32" fmla="*/ 137 w 212"/>
                  <a:gd name="T33" fmla="*/ 524 h 547"/>
                  <a:gd name="T34" fmla="*/ 111 w 212"/>
                  <a:gd name="T35" fmla="*/ 518 h 547"/>
                  <a:gd name="T36" fmla="*/ 56 w 212"/>
                  <a:gd name="T37" fmla="*/ 507 h 547"/>
                  <a:gd name="T38" fmla="*/ 0 w 212"/>
                  <a:gd name="T39" fmla="*/ 497 h 547"/>
                  <a:gd name="T40" fmla="*/ 0 w 212"/>
                  <a:gd name="T41" fmla="*/ 497 h 547"/>
                  <a:gd name="T42" fmla="*/ 0 w 212"/>
                  <a:gd name="T43" fmla="*/ 0 h 547"/>
                  <a:gd name="T44" fmla="*/ 0 w 212"/>
                  <a:gd name="T4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547">
                    <a:moveTo>
                      <a:pt x="0" y="0"/>
                    </a:moveTo>
                    <a:lnTo>
                      <a:pt x="0" y="0"/>
                    </a:lnTo>
                    <a:lnTo>
                      <a:pt x="26" y="6"/>
                    </a:lnTo>
                    <a:lnTo>
                      <a:pt x="53" y="9"/>
                    </a:lnTo>
                    <a:lnTo>
                      <a:pt x="80" y="13"/>
                    </a:lnTo>
                    <a:lnTo>
                      <a:pt x="108" y="15"/>
                    </a:lnTo>
                    <a:lnTo>
                      <a:pt x="137" y="19"/>
                    </a:lnTo>
                    <a:lnTo>
                      <a:pt x="164" y="23"/>
                    </a:lnTo>
                    <a:lnTo>
                      <a:pt x="189" y="29"/>
                    </a:lnTo>
                    <a:lnTo>
                      <a:pt x="201" y="32"/>
                    </a:lnTo>
                    <a:lnTo>
                      <a:pt x="212" y="37"/>
                    </a:lnTo>
                    <a:lnTo>
                      <a:pt x="212" y="37"/>
                    </a:lnTo>
                    <a:lnTo>
                      <a:pt x="212" y="547"/>
                    </a:lnTo>
                    <a:lnTo>
                      <a:pt x="212" y="547"/>
                    </a:lnTo>
                    <a:lnTo>
                      <a:pt x="188" y="538"/>
                    </a:lnTo>
                    <a:lnTo>
                      <a:pt x="163" y="531"/>
                    </a:lnTo>
                    <a:lnTo>
                      <a:pt x="137" y="524"/>
                    </a:lnTo>
                    <a:lnTo>
                      <a:pt x="111" y="518"/>
                    </a:lnTo>
                    <a:lnTo>
                      <a:pt x="56" y="507"/>
                    </a:lnTo>
                    <a:lnTo>
                      <a:pt x="0" y="497"/>
                    </a:lnTo>
                    <a:lnTo>
                      <a:pt x="0" y="49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7" name="Freeform 19"/>
              <p:cNvSpPr>
                <a:spLocks/>
              </p:cNvSpPr>
              <p:nvPr/>
            </p:nvSpPr>
            <p:spPr bwMode="auto">
              <a:xfrm>
                <a:off x="3668927" y="-1465263"/>
                <a:ext cx="188913" cy="276225"/>
              </a:xfrm>
              <a:custGeom>
                <a:avLst/>
                <a:gdLst>
                  <a:gd name="T0" fmla="*/ 237 w 237"/>
                  <a:gd name="T1" fmla="*/ 262 h 349"/>
                  <a:gd name="T2" fmla="*/ 237 w 237"/>
                  <a:gd name="T3" fmla="*/ 262 h 349"/>
                  <a:gd name="T4" fmla="*/ 180 w 237"/>
                  <a:gd name="T5" fmla="*/ 286 h 349"/>
                  <a:gd name="T6" fmla="*/ 123 w 237"/>
                  <a:gd name="T7" fmla="*/ 310 h 349"/>
                  <a:gd name="T8" fmla="*/ 94 w 237"/>
                  <a:gd name="T9" fmla="*/ 321 h 349"/>
                  <a:gd name="T10" fmla="*/ 64 w 237"/>
                  <a:gd name="T11" fmla="*/ 331 h 349"/>
                  <a:gd name="T12" fmla="*/ 32 w 237"/>
                  <a:gd name="T13" fmla="*/ 341 h 349"/>
                  <a:gd name="T14" fmla="*/ 0 w 237"/>
                  <a:gd name="T15" fmla="*/ 349 h 349"/>
                  <a:gd name="T16" fmla="*/ 0 w 237"/>
                  <a:gd name="T17" fmla="*/ 349 h 349"/>
                  <a:gd name="T18" fmla="*/ 0 w 237"/>
                  <a:gd name="T19" fmla="*/ 100 h 349"/>
                  <a:gd name="T20" fmla="*/ 0 w 237"/>
                  <a:gd name="T21" fmla="*/ 100 h 349"/>
                  <a:gd name="T22" fmla="*/ 30 w 237"/>
                  <a:gd name="T23" fmla="*/ 90 h 349"/>
                  <a:gd name="T24" fmla="*/ 60 w 237"/>
                  <a:gd name="T25" fmla="*/ 79 h 349"/>
                  <a:gd name="T26" fmla="*/ 92 w 237"/>
                  <a:gd name="T27" fmla="*/ 67 h 349"/>
                  <a:gd name="T28" fmla="*/ 123 w 237"/>
                  <a:gd name="T29" fmla="*/ 54 h 349"/>
                  <a:gd name="T30" fmla="*/ 183 w 237"/>
                  <a:gd name="T31" fmla="*/ 26 h 349"/>
                  <a:gd name="T32" fmla="*/ 237 w 237"/>
                  <a:gd name="T33" fmla="*/ 0 h 349"/>
                  <a:gd name="T34" fmla="*/ 237 w 237"/>
                  <a:gd name="T35" fmla="*/ 26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349">
                    <a:moveTo>
                      <a:pt x="237" y="262"/>
                    </a:moveTo>
                    <a:lnTo>
                      <a:pt x="237" y="262"/>
                    </a:lnTo>
                    <a:lnTo>
                      <a:pt x="180" y="286"/>
                    </a:lnTo>
                    <a:lnTo>
                      <a:pt x="123" y="310"/>
                    </a:lnTo>
                    <a:lnTo>
                      <a:pt x="94" y="321"/>
                    </a:lnTo>
                    <a:lnTo>
                      <a:pt x="64" y="331"/>
                    </a:lnTo>
                    <a:lnTo>
                      <a:pt x="32" y="341"/>
                    </a:lnTo>
                    <a:lnTo>
                      <a:pt x="0" y="349"/>
                    </a:lnTo>
                    <a:lnTo>
                      <a:pt x="0" y="349"/>
                    </a:lnTo>
                    <a:lnTo>
                      <a:pt x="0" y="100"/>
                    </a:lnTo>
                    <a:lnTo>
                      <a:pt x="0" y="100"/>
                    </a:lnTo>
                    <a:lnTo>
                      <a:pt x="30" y="90"/>
                    </a:lnTo>
                    <a:lnTo>
                      <a:pt x="60" y="79"/>
                    </a:lnTo>
                    <a:lnTo>
                      <a:pt x="92" y="67"/>
                    </a:lnTo>
                    <a:lnTo>
                      <a:pt x="123" y="54"/>
                    </a:lnTo>
                    <a:lnTo>
                      <a:pt x="183" y="26"/>
                    </a:lnTo>
                    <a:lnTo>
                      <a:pt x="237" y="0"/>
                    </a:lnTo>
                    <a:lnTo>
                      <a:pt x="237"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8" name="Freeform 20"/>
              <p:cNvSpPr>
                <a:spLocks/>
              </p:cNvSpPr>
              <p:nvPr/>
            </p:nvSpPr>
            <p:spPr bwMode="auto">
              <a:xfrm>
                <a:off x="2533864" y="-1377951"/>
                <a:ext cx="376238" cy="268288"/>
              </a:xfrm>
              <a:custGeom>
                <a:avLst/>
                <a:gdLst>
                  <a:gd name="T0" fmla="*/ 0 w 473"/>
                  <a:gd name="T1" fmla="*/ 0 h 336"/>
                  <a:gd name="T2" fmla="*/ 0 w 473"/>
                  <a:gd name="T3" fmla="*/ 0 h 336"/>
                  <a:gd name="T4" fmla="*/ 31 w 473"/>
                  <a:gd name="T5" fmla="*/ 5 h 336"/>
                  <a:gd name="T6" fmla="*/ 63 w 473"/>
                  <a:gd name="T7" fmla="*/ 11 h 336"/>
                  <a:gd name="T8" fmla="*/ 92 w 473"/>
                  <a:gd name="T9" fmla="*/ 17 h 336"/>
                  <a:gd name="T10" fmla="*/ 122 w 473"/>
                  <a:gd name="T11" fmla="*/ 24 h 336"/>
                  <a:gd name="T12" fmla="*/ 180 w 473"/>
                  <a:gd name="T13" fmla="*/ 40 h 336"/>
                  <a:gd name="T14" fmla="*/ 237 w 473"/>
                  <a:gd name="T15" fmla="*/ 55 h 336"/>
                  <a:gd name="T16" fmla="*/ 293 w 473"/>
                  <a:gd name="T17" fmla="*/ 72 h 336"/>
                  <a:gd name="T18" fmla="*/ 351 w 473"/>
                  <a:gd name="T19" fmla="*/ 88 h 336"/>
                  <a:gd name="T20" fmla="*/ 380 w 473"/>
                  <a:gd name="T21" fmla="*/ 94 h 336"/>
                  <a:gd name="T22" fmla="*/ 410 w 473"/>
                  <a:gd name="T23" fmla="*/ 101 h 336"/>
                  <a:gd name="T24" fmla="*/ 442 w 473"/>
                  <a:gd name="T25" fmla="*/ 107 h 336"/>
                  <a:gd name="T26" fmla="*/ 473 w 473"/>
                  <a:gd name="T27" fmla="*/ 112 h 336"/>
                  <a:gd name="T28" fmla="*/ 473 w 473"/>
                  <a:gd name="T29" fmla="*/ 112 h 336"/>
                  <a:gd name="T30" fmla="*/ 473 w 473"/>
                  <a:gd name="T31" fmla="*/ 336 h 336"/>
                  <a:gd name="T32" fmla="*/ 473 w 473"/>
                  <a:gd name="T33" fmla="*/ 336 h 336"/>
                  <a:gd name="T34" fmla="*/ 411 w 473"/>
                  <a:gd name="T35" fmla="*/ 316 h 336"/>
                  <a:gd name="T36" fmla="*/ 352 w 473"/>
                  <a:gd name="T37" fmla="*/ 295 h 336"/>
                  <a:gd name="T38" fmla="*/ 291 w 473"/>
                  <a:gd name="T39" fmla="*/ 273 h 336"/>
                  <a:gd name="T40" fmla="*/ 233 w 473"/>
                  <a:gd name="T41" fmla="*/ 252 h 336"/>
                  <a:gd name="T42" fmla="*/ 116 w 473"/>
                  <a:gd name="T43" fmla="*/ 207 h 336"/>
                  <a:gd name="T44" fmla="*/ 0 w 473"/>
                  <a:gd name="T45" fmla="*/ 162 h 336"/>
                  <a:gd name="T46" fmla="*/ 0 w 473"/>
                  <a:gd name="T47" fmla="*/ 162 h 336"/>
                  <a:gd name="T48" fmla="*/ 0 w 473"/>
                  <a:gd name="T49" fmla="*/ 0 h 336"/>
                  <a:gd name="T50" fmla="*/ 0 w 473"/>
                  <a:gd name="T5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3" h="336">
                    <a:moveTo>
                      <a:pt x="0" y="0"/>
                    </a:moveTo>
                    <a:lnTo>
                      <a:pt x="0" y="0"/>
                    </a:lnTo>
                    <a:lnTo>
                      <a:pt x="31" y="5"/>
                    </a:lnTo>
                    <a:lnTo>
                      <a:pt x="63" y="11"/>
                    </a:lnTo>
                    <a:lnTo>
                      <a:pt x="92" y="17"/>
                    </a:lnTo>
                    <a:lnTo>
                      <a:pt x="122" y="24"/>
                    </a:lnTo>
                    <a:lnTo>
                      <a:pt x="180" y="40"/>
                    </a:lnTo>
                    <a:lnTo>
                      <a:pt x="237" y="55"/>
                    </a:lnTo>
                    <a:lnTo>
                      <a:pt x="293" y="72"/>
                    </a:lnTo>
                    <a:lnTo>
                      <a:pt x="351" y="88"/>
                    </a:lnTo>
                    <a:lnTo>
                      <a:pt x="380" y="94"/>
                    </a:lnTo>
                    <a:lnTo>
                      <a:pt x="410" y="101"/>
                    </a:lnTo>
                    <a:lnTo>
                      <a:pt x="442" y="107"/>
                    </a:lnTo>
                    <a:lnTo>
                      <a:pt x="473" y="112"/>
                    </a:lnTo>
                    <a:lnTo>
                      <a:pt x="473" y="112"/>
                    </a:lnTo>
                    <a:lnTo>
                      <a:pt x="473" y="336"/>
                    </a:lnTo>
                    <a:lnTo>
                      <a:pt x="473" y="336"/>
                    </a:lnTo>
                    <a:lnTo>
                      <a:pt x="411" y="316"/>
                    </a:lnTo>
                    <a:lnTo>
                      <a:pt x="352" y="295"/>
                    </a:lnTo>
                    <a:lnTo>
                      <a:pt x="291" y="273"/>
                    </a:lnTo>
                    <a:lnTo>
                      <a:pt x="233" y="252"/>
                    </a:lnTo>
                    <a:lnTo>
                      <a:pt x="116" y="207"/>
                    </a:lnTo>
                    <a:lnTo>
                      <a:pt x="0" y="162"/>
                    </a:lnTo>
                    <a:lnTo>
                      <a:pt x="0" y="16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599" name="Freeform 22"/>
              <p:cNvSpPr>
                <a:spLocks/>
              </p:cNvSpPr>
              <p:nvPr/>
            </p:nvSpPr>
            <p:spPr bwMode="auto">
              <a:xfrm>
                <a:off x="3275227" y="-1347788"/>
                <a:ext cx="315913" cy="325438"/>
              </a:xfrm>
              <a:custGeom>
                <a:avLst/>
                <a:gdLst>
                  <a:gd name="T0" fmla="*/ 398 w 398"/>
                  <a:gd name="T1" fmla="*/ 0 h 411"/>
                  <a:gd name="T2" fmla="*/ 398 w 398"/>
                  <a:gd name="T3" fmla="*/ 0 h 411"/>
                  <a:gd name="T4" fmla="*/ 398 w 398"/>
                  <a:gd name="T5" fmla="*/ 262 h 411"/>
                  <a:gd name="T6" fmla="*/ 398 w 398"/>
                  <a:gd name="T7" fmla="*/ 262 h 411"/>
                  <a:gd name="T8" fmla="*/ 299 w 398"/>
                  <a:gd name="T9" fmla="*/ 296 h 411"/>
                  <a:gd name="T10" fmla="*/ 250 w 398"/>
                  <a:gd name="T11" fmla="*/ 313 h 411"/>
                  <a:gd name="T12" fmla="*/ 200 w 398"/>
                  <a:gd name="T13" fmla="*/ 331 h 411"/>
                  <a:gd name="T14" fmla="*/ 151 w 398"/>
                  <a:gd name="T15" fmla="*/ 350 h 411"/>
                  <a:gd name="T16" fmla="*/ 104 w 398"/>
                  <a:gd name="T17" fmla="*/ 370 h 411"/>
                  <a:gd name="T18" fmla="*/ 58 w 398"/>
                  <a:gd name="T19" fmla="*/ 390 h 411"/>
                  <a:gd name="T20" fmla="*/ 12 w 398"/>
                  <a:gd name="T21" fmla="*/ 411 h 411"/>
                  <a:gd name="T22" fmla="*/ 12 w 398"/>
                  <a:gd name="T23" fmla="*/ 411 h 411"/>
                  <a:gd name="T24" fmla="*/ 10 w 398"/>
                  <a:gd name="T25" fmla="*/ 307 h 411"/>
                  <a:gd name="T26" fmla="*/ 6 w 398"/>
                  <a:gd name="T27" fmla="*/ 217 h 411"/>
                  <a:gd name="T28" fmla="*/ 3 w 398"/>
                  <a:gd name="T29" fmla="*/ 175 h 411"/>
                  <a:gd name="T30" fmla="*/ 0 w 398"/>
                  <a:gd name="T31" fmla="*/ 137 h 411"/>
                  <a:gd name="T32" fmla="*/ 0 w 398"/>
                  <a:gd name="T33" fmla="*/ 137 h 411"/>
                  <a:gd name="T34" fmla="*/ 50 w 398"/>
                  <a:gd name="T35" fmla="*/ 120 h 411"/>
                  <a:gd name="T36" fmla="*/ 99 w 398"/>
                  <a:gd name="T37" fmla="*/ 102 h 411"/>
                  <a:gd name="T38" fmla="*/ 196 w 398"/>
                  <a:gd name="T39" fmla="*/ 66 h 411"/>
                  <a:gd name="T40" fmla="*/ 246 w 398"/>
                  <a:gd name="T41" fmla="*/ 47 h 411"/>
                  <a:gd name="T42" fmla="*/ 296 w 398"/>
                  <a:gd name="T43" fmla="*/ 31 h 411"/>
                  <a:gd name="T44" fmla="*/ 346 w 398"/>
                  <a:gd name="T45" fmla="*/ 15 h 411"/>
                  <a:gd name="T46" fmla="*/ 398 w 398"/>
                  <a:gd name="T47" fmla="*/ 0 h 411"/>
                  <a:gd name="T48" fmla="*/ 398 w 398"/>
                  <a:gd name="T49"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8" h="411">
                    <a:moveTo>
                      <a:pt x="398" y="0"/>
                    </a:moveTo>
                    <a:lnTo>
                      <a:pt x="398" y="0"/>
                    </a:lnTo>
                    <a:lnTo>
                      <a:pt x="398" y="262"/>
                    </a:lnTo>
                    <a:lnTo>
                      <a:pt x="398" y="262"/>
                    </a:lnTo>
                    <a:lnTo>
                      <a:pt x="299" y="296"/>
                    </a:lnTo>
                    <a:lnTo>
                      <a:pt x="250" y="313"/>
                    </a:lnTo>
                    <a:lnTo>
                      <a:pt x="200" y="331"/>
                    </a:lnTo>
                    <a:lnTo>
                      <a:pt x="151" y="350"/>
                    </a:lnTo>
                    <a:lnTo>
                      <a:pt x="104" y="370"/>
                    </a:lnTo>
                    <a:lnTo>
                      <a:pt x="58" y="390"/>
                    </a:lnTo>
                    <a:lnTo>
                      <a:pt x="12" y="411"/>
                    </a:lnTo>
                    <a:lnTo>
                      <a:pt x="12" y="411"/>
                    </a:lnTo>
                    <a:lnTo>
                      <a:pt x="10" y="307"/>
                    </a:lnTo>
                    <a:lnTo>
                      <a:pt x="6" y="217"/>
                    </a:lnTo>
                    <a:lnTo>
                      <a:pt x="3" y="175"/>
                    </a:lnTo>
                    <a:lnTo>
                      <a:pt x="0" y="137"/>
                    </a:lnTo>
                    <a:lnTo>
                      <a:pt x="0" y="137"/>
                    </a:lnTo>
                    <a:lnTo>
                      <a:pt x="50" y="120"/>
                    </a:lnTo>
                    <a:lnTo>
                      <a:pt x="99" y="102"/>
                    </a:lnTo>
                    <a:lnTo>
                      <a:pt x="196" y="66"/>
                    </a:lnTo>
                    <a:lnTo>
                      <a:pt x="246" y="47"/>
                    </a:lnTo>
                    <a:lnTo>
                      <a:pt x="296" y="31"/>
                    </a:lnTo>
                    <a:lnTo>
                      <a:pt x="346" y="15"/>
                    </a:lnTo>
                    <a:lnTo>
                      <a:pt x="398" y="0"/>
                    </a:lnTo>
                    <a:lnTo>
                      <a:pt x="3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600" name="Freeform 23"/>
              <p:cNvSpPr>
                <a:spLocks/>
              </p:cNvSpPr>
              <p:nvPr/>
            </p:nvSpPr>
            <p:spPr bwMode="auto">
              <a:xfrm>
                <a:off x="2997414" y="-1258888"/>
                <a:ext cx="168275" cy="247650"/>
              </a:xfrm>
              <a:custGeom>
                <a:avLst/>
                <a:gdLst>
                  <a:gd name="T0" fmla="*/ 0 w 212"/>
                  <a:gd name="T1" fmla="*/ 0 h 311"/>
                  <a:gd name="T2" fmla="*/ 0 w 212"/>
                  <a:gd name="T3" fmla="*/ 0 h 311"/>
                  <a:gd name="T4" fmla="*/ 51 w 212"/>
                  <a:gd name="T5" fmla="*/ 14 h 311"/>
                  <a:gd name="T6" fmla="*/ 102 w 212"/>
                  <a:gd name="T7" fmla="*/ 29 h 311"/>
                  <a:gd name="T8" fmla="*/ 128 w 212"/>
                  <a:gd name="T9" fmla="*/ 35 h 311"/>
                  <a:gd name="T10" fmla="*/ 155 w 212"/>
                  <a:gd name="T11" fmla="*/ 41 h 311"/>
                  <a:gd name="T12" fmla="*/ 183 w 212"/>
                  <a:gd name="T13" fmla="*/ 46 h 311"/>
                  <a:gd name="T14" fmla="*/ 212 w 212"/>
                  <a:gd name="T15" fmla="*/ 50 h 311"/>
                  <a:gd name="T16" fmla="*/ 212 w 212"/>
                  <a:gd name="T17" fmla="*/ 50 h 311"/>
                  <a:gd name="T18" fmla="*/ 212 w 212"/>
                  <a:gd name="T19" fmla="*/ 311 h 311"/>
                  <a:gd name="T20" fmla="*/ 212 w 212"/>
                  <a:gd name="T21" fmla="*/ 311 h 311"/>
                  <a:gd name="T22" fmla="*/ 163 w 212"/>
                  <a:gd name="T23" fmla="*/ 292 h 311"/>
                  <a:gd name="T24" fmla="*/ 112 w 212"/>
                  <a:gd name="T25" fmla="*/ 275 h 311"/>
                  <a:gd name="T26" fmla="*/ 85 w 212"/>
                  <a:gd name="T27" fmla="*/ 266 h 311"/>
                  <a:gd name="T28" fmla="*/ 59 w 212"/>
                  <a:gd name="T29" fmla="*/ 259 h 311"/>
                  <a:gd name="T30" fmla="*/ 30 w 212"/>
                  <a:gd name="T31" fmla="*/ 253 h 311"/>
                  <a:gd name="T32" fmla="*/ 0 w 212"/>
                  <a:gd name="T33" fmla="*/ 248 h 311"/>
                  <a:gd name="T34" fmla="*/ 0 w 212"/>
                  <a:gd name="T35" fmla="*/ 248 h 311"/>
                  <a:gd name="T36" fmla="*/ 0 w 212"/>
                  <a:gd name="T37" fmla="*/ 0 h 311"/>
                  <a:gd name="T38" fmla="*/ 0 w 212"/>
                  <a:gd name="T3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2" h="311">
                    <a:moveTo>
                      <a:pt x="0" y="0"/>
                    </a:moveTo>
                    <a:lnTo>
                      <a:pt x="0" y="0"/>
                    </a:lnTo>
                    <a:lnTo>
                      <a:pt x="51" y="14"/>
                    </a:lnTo>
                    <a:lnTo>
                      <a:pt x="102" y="29"/>
                    </a:lnTo>
                    <a:lnTo>
                      <a:pt x="128" y="35"/>
                    </a:lnTo>
                    <a:lnTo>
                      <a:pt x="155" y="41"/>
                    </a:lnTo>
                    <a:lnTo>
                      <a:pt x="183" y="46"/>
                    </a:lnTo>
                    <a:lnTo>
                      <a:pt x="212" y="50"/>
                    </a:lnTo>
                    <a:lnTo>
                      <a:pt x="212" y="50"/>
                    </a:lnTo>
                    <a:lnTo>
                      <a:pt x="212" y="311"/>
                    </a:lnTo>
                    <a:lnTo>
                      <a:pt x="212" y="311"/>
                    </a:lnTo>
                    <a:lnTo>
                      <a:pt x="163" y="292"/>
                    </a:lnTo>
                    <a:lnTo>
                      <a:pt x="112" y="275"/>
                    </a:lnTo>
                    <a:lnTo>
                      <a:pt x="85" y="266"/>
                    </a:lnTo>
                    <a:lnTo>
                      <a:pt x="59" y="259"/>
                    </a:lnTo>
                    <a:lnTo>
                      <a:pt x="30" y="253"/>
                    </a:lnTo>
                    <a:lnTo>
                      <a:pt x="0" y="248"/>
                    </a:lnTo>
                    <a:lnTo>
                      <a:pt x="0" y="24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grpSp>
        <p:sp>
          <p:nvSpPr>
            <p:cNvPr id="1537" name="Freeform 224"/>
            <p:cNvSpPr>
              <a:spLocks/>
            </p:cNvSpPr>
            <p:nvPr/>
          </p:nvSpPr>
          <p:spPr bwMode="auto">
            <a:xfrm>
              <a:off x="1573167" y="5844666"/>
              <a:ext cx="46055" cy="76159"/>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8" name="Freeform 90"/>
            <p:cNvSpPr>
              <a:spLocks/>
            </p:cNvSpPr>
            <p:nvPr/>
          </p:nvSpPr>
          <p:spPr bwMode="auto">
            <a:xfrm flipV="1">
              <a:off x="1325576" y="5545356"/>
              <a:ext cx="45719" cy="62540"/>
            </a:xfrm>
            <a:custGeom>
              <a:avLst/>
              <a:gdLst>
                <a:gd name="T0" fmla="*/ 168 w 449"/>
                <a:gd name="T1" fmla="*/ 205 h 607"/>
                <a:gd name="T2" fmla="*/ 0 w 449"/>
                <a:gd name="T3" fmla="*/ 383 h 607"/>
                <a:gd name="T4" fmla="*/ 0 w 449"/>
                <a:gd name="T5" fmla="*/ 239 h 607"/>
                <a:gd name="T6" fmla="*/ 225 w 449"/>
                <a:gd name="T7" fmla="*/ 0 h 607"/>
                <a:gd name="T8" fmla="*/ 449 w 449"/>
                <a:gd name="T9" fmla="*/ 238 h 607"/>
                <a:gd name="T10" fmla="*/ 449 w 449"/>
                <a:gd name="T11" fmla="*/ 382 h 607"/>
                <a:gd name="T12" fmla="*/ 282 w 449"/>
                <a:gd name="T13" fmla="*/ 205 h 607"/>
                <a:gd name="T14" fmla="*/ 282 w 449"/>
                <a:gd name="T15" fmla="*/ 607 h 607"/>
                <a:gd name="T16" fmla="*/ 168 w 449"/>
                <a:gd name="T17" fmla="*/ 607 h 607"/>
                <a:gd name="T18" fmla="*/ 168 w 449"/>
                <a:gd name="T19" fmla="*/ 20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9" h="607">
                  <a:moveTo>
                    <a:pt x="168" y="205"/>
                  </a:moveTo>
                  <a:lnTo>
                    <a:pt x="0" y="383"/>
                  </a:lnTo>
                  <a:lnTo>
                    <a:pt x="0" y="239"/>
                  </a:lnTo>
                  <a:lnTo>
                    <a:pt x="225" y="0"/>
                  </a:lnTo>
                  <a:lnTo>
                    <a:pt x="449" y="238"/>
                  </a:lnTo>
                  <a:lnTo>
                    <a:pt x="449" y="382"/>
                  </a:lnTo>
                  <a:lnTo>
                    <a:pt x="282" y="205"/>
                  </a:lnTo>
                  <a:lnTo>
                    <a:pt x="282" y="607"/>
                  </a:lnTo>
                  <a:lnTo>
                    <a:pt x="168" y="607"/>
                  </a:lnTo>
                  <a:lnTo>
                    <a:pt x="168" y="20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9" name="Freeform 102"/>
            <p:cNvSpPr>
              <a:spLocks noEditPoints="1"/>
            </p:cNvSpPr>
            <p:nvPr/>
          </p:nvSpPr>
          <p:spPr bwMode="auto">
            <a:xfrm>
              <a:off x="1349166" y="5841256"/>
              <a:ext cx="79316" cy="80304"/>
            </a:xfrm>
            <a:custGeom>
              <a:avLst/>
              <a:gdLst>
                <a:gd name="T0" fmla="*/ 383 w 707"/>
                <a:gd name="T1" fmla="*/ 13 h 706"/>
                <a:gd name="T2" fmla="*/ 376 w 707"/>
                <a:gd name="T3" fmla="*/ 7 h 706"/>
                <a:gd name="T4" fmla="*/ 362 w 707"/>
                <a:gd name="T5" fmla="*/ 1 h 706"/>
                <a:gd name="T6" fmla="*/ 346 w 707"/>
                <a:gd name="T7" fmla="*/ 1 h 706"/>
                <a:gd name="T8" fmla="*/ 331 w 707"/>
                <a:gd name="T9" fmla="*/ 7 h 706"/>
                <a:gd name="T10" fmla="*/ 12 w 707"/>
                <a:gd name="T11" fmla="*/ 325 h 706"/>
                <a:gd name="T12" fmla="*/ 7 w 707"/>
                <a:gd name="T13" fmla="*/ 331 h 706"/>
                <a:gd name="T14" fmla="*/ 1 w 707"/>
                <a:gd name="T15" fmla="*/ 346 h 706"/>
                <a:gd name="T16" fmla="*/ 1 w 707"/>
                <a:gd name="T17" fmla="*/ 362 h 706"/>
                <a:gd name="T18" fmla="*/ 7 w 707"/>
                <a:gd name="T19" fmla="*/ 376 h 706"/>
                <a:gd name="T20" fmla="*/ 325 w 707"/>
                <a:gd name="T21" fmla="*/ 694 h 706"/>
                <a:gd name="T22" fmla="*/ 331 w 707"/>
                <a:gd name="T23" fmla="*/ 700 h 706"/>
                <a:gd name="T24" fmla="*/ 346 w 707"/>
                <a:gd name="T25" fmla="*/ 706 h 706"/>
                <a:gd name="T26" fmla="*/ 362 w 707"/>
                <a:gd name="T27" fmla="*/ 706 h 706"/>
                <a:gd name="T28" fmla="*/ 376 w 707"/>
                <a:gd name="T29" fmla="*/ 700 h 706"/>
                <a:gd name="T30" fmla="*/ 695 w 707"/>
                <a:gd name="T31" fmla="*/ 383 h 706"/>
                <a:gd name="T32" fmla="*/ 701 w 707"/>
                <a:gd name="T33" fmla="*/ 376 h 706"/>
                <a:gd name="T34" fmla="*/ 707 w 707"/>
                <a:gd name="T35" fmla="*/ 362 h 706"/>
                <a:gd name="T36" fmla="*/ 707 w 707"/>
                <a:gd name="T37" fmla="*/ 346 h 706"/>
                <a:gd name="T38" fmla="*/ 701 w 707"/>
                <a:gd name="T39" fmla="*/ 331 h 706"/>
                <a:gd name="T40" fmla="*/ 468 w 707"/>
                <a:gd name="T41" fmla="*/ 532 h 706"/>
                <a:gd name="T42" fmla="*/ 459 w 707"/>
                <a:gd name="T43" fmla="*/ 524 h 706"/>
                <a:gd name="T44" fmla="*/ 433 w 707"/>
                <a:gd name="T45" fmla="*/ 498 h 706"/>
                <a:gd name="T46" fmla="*/ 421 w 707"/>
                <a:gd name="T47" fmla="*/ 483 h 706"/>
                <a:gd name="T48" fmla="*/ 401 w 707"/>
                <a:gd name="T49" fmla="*/ 453 h 706"/>
                <a:gd name="T50" fmla="*/ 392 w 707"/>
                <a:gd name="T51" fmla="*/ 566 h 706"/>
                <a:gd name="T52" fmla="*/ 302 w 707"/>
                <a:gd name="T53" fmla="*/ 250 h 706"/>
                <a:gd name="T54" fmla="*/ 245 w 707"/>
                <a:gd name="T55" fmla="*/ 250 h 706"/>
                <a:gd name="T56" fmla="*/ 236 w 707"/>
                <a:gd name="T57" fmla="*/ 247 h 706"/>
                <a:gd name="T58" fmla="*/ 232 w 707"/>
                <a:gd name="T59" fmla="*/ 239 h 706"/>
                <a:gd name="T60" fmla="*/ 233 w 707"/>
                <a:gd name="T61" fmla="*/ 235 h 706"/>
                <a:gd name="T62" fmla="*/ 344 w 707"/>
                <a:gd name="T63" fmla="*/ 84 h 706"/>
                <a:gd name="T64" fmla="*/ 458 w 707"/>
                <a:gd name="T65" fmla="*/ 231 h 706"/>
                <a:gd name="T66" fmla="*/ 462 w 707"/>
                <a:gd name="T67" fmla="*/ 239 h 706"/>
                <a:gd name="T68" fmla="*/ 460 w 707"/>
                <a:gd name="T69" fmla="*/ 243 h 706"/>
                <a:gd name="T70" fmla="*/ 453 w 707"/>
                <a:gd name="T71" fmla="*/ 249 h 706"/>
                <a:gd name="T72" fmla="*/ 392 w 707"/>
                <a:gd name="T73" fmla="*/ 250 h 706"/>
                <a:gd name="T74" fmla="*/ 392 w 707"/>
                <a:gd name="T75" fmla="*/ 263 h 706"/>
                <a:gd name="T76" fmla="*/ 394 w 707"/>
                <a:gd name="T77" fmla="*/ 271 h 706"/>
                <a:gd name="T78" fmla="*/ 402 w 707"/>
                <a:gd name="T79" fmla="*/ 297 h 706"/>
                <a:gd name="T80" fmla="*/ 412 w 707"/>
                <a:gd name="T81" fmla="*/ 327 h 706"/>
                <a:gd name="T82" fmla="*/ 424 w 707"/>
                <a:gd name="T83" fmla="*/ 360 h 706"/>
                <a:gd name="T84" fmla="*/ 440 w 707"/>
                <a:gd name="T85" fmla="*/ 394 h 706"/>
                <a:gd name="T86" fmla="*/ 459 w 707"/>
                <a:gd name="T87" fmla="*/ 428 h 706"/>
                <a:gd name="T88" fmla="*/ 482 w 707"/>
                <a:gd name="T89" fmla="*/ 457 h 706"/>
                <a:gd name="T90" fmla="*/ 498 w 707"/>
                <a:gd name="T91" fmla="*/ 473 h 706"/>
                <a:gd name="T92" fmla="*/ 514 w 707"/>
                <a:gd name="T93" fmla="*/ 48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7" h="706">
                  <a:moveTo>
                    <a:pt x="695" y="325"/>
                  </a:moveTo>
                  <a:lnTo>
                    <a:pt x="383" y="13"/>
                  </a:lnTo>
                  <a:lnTo>
                    <a:pt x="383" y="13"/>
                  </a:lnTo>
                  <a:lnTo>
                    <a:pt x="376" y="7"/>
                  </a:lnTo>
                  <a:lnTo>
                    <a:pt x="369" y="3"/>
                  </a:lnTo>
                  <a:lnTo>
                    <a:pt x="362" y="1"/>
                  </a:lnTo>
                  <a:lnTo>
                    <a:pt x="354" y="0"/>
                  </a:lnTo>
                  <a:lnTo>
                    <a:pt x="346" y="1"/>
                  </a:lnTo>
                  <a:lnTo>
                    <a:pt x="338" y="3"/>
                  </a:lnTo>
                  <a:lnTo>
                    <a:pt x="331" y="7"/>
                  </a:lnTo>
                  <a:lnTo>
                    <a:pt x="325" y="13"/>
                  </a:lnTo>
                  <a:lnTo>
                    <a:pt x="12" y="325"/>
                  </a:lnTo>
                  <a:lnTo>
                    <a:pt x="12" y="325"/>
                  </a:lnTo>
                  <a:lnTo>
                    <a:pt x="7" y="331"/>
                  </a:lnTo>
                  <a:lnTo>
                    <a:pt x="3" y="339"/>
                  </a:lnTo>
                  <a:lnTo>
                    <a:pt x="1" y="346"/>
                  </a:lnTo>
                  <a:lnTo>
                    <a:pt x="0" y="354"/>
                  </a:lnTo>
                  <a:lnTo>
                    <a:pt x="1" y="362"/>
                  </a:lnTo>
                  <a:lnTo>
                    <a:pt x="3" y="369"/>
                  </a:lnTo>
                  <a:lnTo>
                    <a:pt x="7" y="376"/>
                  </a:lnTo>
                  <a:lnTo>
                    <a:pt x="12" y="383"/>
                  </a:lnTo>
                  <a:lnTo>
                    <a:pt x="325" y="694"/>
                  </a:lnTo>
                  <a:lnTo>
                    <a:pt x="325" y="694"/>
                  </a:lnTo>
                  <a:lnTo>
                    <a:pt x="331" y="700"/>
                  </a:lnTo>
                  <a:lnTo>
                    <a:pt x="338" y="703"/>
                  </a:lnTo>
                  <a:lnTo>
                    <a:pt x="346" y="706"/>
                  </a:lnTo>
                  <a:lnTo>
                    <a:pt x="354" y="706"/>
                  </a:lnTo>
                  <a:lnTo>
                    <a:pt x="362" y="706"/>
                  </a:lnTo>
                  <a:lnTo>
                    <a:pt x="369" y="703"/>
                  </a:lnTo>
                  <a:lnTo>
                    <a:pt x="376" y="700"/>
                  </a:lnTo>
                  <a:lnTo>
                    <a:pt x="383" y="694"/>
                  </a:lnTo>
                  <a:lnTo>
                    <a:pt x="695" y="383"/>
                  </a:lnTo>
                  <a:lnTo>
                    <a:pt x="695" y="383"/>
                  </a:lnTo>
                  <a:lnTo>
                    <a:pt x="701" y="376"/>
                  </a:lnTo>
                  <a:lnTo>
                    <a:pt x="704" y="369"/>
                  </a:lnTo>
                  <a:lnTo>
                    <a:pt x="707" y="362"/>
                  </a:lnTo>
                  <a:lnTo>
                    <a:pt x="707" y="354"/>
                  </a:lnTo>
                  <a:lnTo>
                    <a:pt x="707" y="346"/>
                  </a:lnTo>
                  <a:lnTo>
                    <a:pt x="704" y="339"/>
                  </a:lnTo>
                  <a:lnTo>
                    <a:pt x="701" y="331"/>
                  </a:lnTo>
                  <a:lnTo>
                    <a:pt x="695" y="325"/>
                  </a:lnTo>
                  <a:close/>
                  <a:moveTo>
                    <a:pt x="468" y="532"/>
                  </a:moveTo>
                  <a:lnTo>
                    <a:pt x="468" y="532"/>
                  </a:lnTo>
                  <a:lnTo>
                    <a:pt x="459" y="524"/>
                  </a:lnTo>
                  <a:lnTo>
                    <a:pt x="450" y="516"/>
                  </a:lnTo>
                  <a:lnTo>
                    <a:pt x="433" y="498"/>
                  </a:lnTo>
                  <a:lnTo>
                    <a:pt x="433" y="498"/>
                  </a:lnTo>
                  <a:lnTo>
                    <a:pt x="421" y="483"/>
                  </a:lnTo>
                  <a:lnTo>
                    <a:pt x="411" y="469"/>
                  </a:lnTo>
                  <a:lnTo>
                    <a:pt x="401" y="453"/>
                  </a:lnTo>
                  <a:lnTo>
                    <a:pt x="392" y="438"/>
                  </a:lnTo>
                  <a:lnTo>
                    <a:pt x="392" y="566"/>
                  </a:lnTo>
                  <a:lnTo>
                    <a:pt x="302" y="566"/>
                  </a:lnTo>
                  <a:lnTo>
                    <a:pt x="302" y="250"/>
                  </a:lnTo>
                  <a:lnTo>
                    <a:pt x="245" y="250"/>
                  </a:lnTo>
                  <a:lnTo>
                    <a:pt x="245" y="250"/>
                  </a:lnTo>
                  <a:lnTo>
                    <a:pt x="240" y="249"/>
                  </a:lnTo>
                  <a:lnTo>
                    <a:pt x="236" y="247"/>
                  </a:lnTo>
                  <a:lnTo>
                    <a:pt x="233" y="243"/>
                  </a:lnTo>
                  <a:lnTo>
                    <a:pt x="232" y="239"/>
                  </a:lnTo>
                  <a:lnTo>
                    <a:pt x="232" y="239"/>
                  </a:lnTo>
                  <a:lnTo>
                    <a:pt x="233" y="235"/>
                  </a:lnTo>
                  <a:lnTo>
                    <a:pt x="234" y="232"/>
                  </a:lnTo>
                  <a:lnTo>
                    <a:pt x="344" y="84"/>
                  </a:lnTo>
                  <a:lnTo>
                    <a:pt x="458" y="231"/>
                  </a:lnTo>
                  <a:lnTo>
                    <a:pt x="458" y="231"/>
                  </a:lnTo>
                  <a:lnTo>
                    <a:pt x="461" y="234"/>
                  </a:lnTo>
                  <a:lnTo>
                    <a:pt x="462" y="239"/>
                  </a:lnTo>
                  <a:lnTo>
                    <a:pt x="462" y="239"/>
                  </a:lnTo>
                  <a:lnTo>
                    <a:pt x="460" y="243"/>
                  </a:lnTo>
                  <a:lnTo>
                    <a:pt x="458" y="247"/>
                  </a:lnTo>
                  <a:lnTo>
                    <a:pt x="453" y="249"/>
                  </a:lnTo>
                  <a:lnTo>
                    <a:pt x="449" y="250"/>
                  </a:lnTo>
                  <a:lnTo>
                    <a:pt x="392" y="250"/>
                  </a:lnTo>
                  <a:lnTo>
                    <a:pt x="392" y="263"/>
                  </a:lnTo>
                  <a:lnTo>
                    <a:pt x="392" y="263"/>
                  </a:lnTo>
                  <a:lnTo>
                    <a:pt x="393" y="266"/>
                  </a:lnTo>
                  <a:lnTo>
                    <a:pt x="394" y="271"/>
                  </a:lnTo>
                  <a:lnTo>
                    <a:pt x="394" y="271"/>
                  </a:lnTo>
                  <a:lnTo>
                    <a:pt x="402" y="297"/>
                  </a:lnTo>
                  <a:lnTo>
                    <a:pt x="406" y="311"/>
                  </a:lnTo>
                  <a:lnTo>
                    <a:pt x="412" y="327"/>
                  </a:lnTo>
                  <a:lnTo>
                    <a:pt x="412" y="327"/>
                  </a:lnTo>
                  <a:lnTo>
                    <a:pt x="424" y="360"/>
                  </a:lnTo>
                  <a:lnTo>
                    <a:pt x="432" y="377"/>
                  </a:lnTo>
                  <a:lnTo>
                    <a:pt x="440" y="394"/>
                  </a:lnTo>
                  <a:lnTo>
                    <a:pt x="449" y="411"/>
                  </a:lnTo>
                  <a:lnTo>
                    <a:pt x="459" y="428"/>
                  </a:lnTo>
                  <a:lnTo>
                    <a:pt x="471" y="443"/>
                  </a:lnTo>
                  <a:lnTo>
                    <a:pt x="482" y="457"/>
                  </a:lnTo>
                  <a:lnTo>
                    <a:pt x="482" y="457"/>
                  </a:lnTo>
                  <a:lnTo>
                    <a:pt x="498" y="473"/>
                  </a:lnTo>
                  <a:lnTo>
                    <a:pt x="506" y="480"/>
                  </a:lnTo>
                  <a:lnTo>
                    <a:pt x="514" y="486"/>
                  </a:lnTo>
                  <a:lnTo>
                    <a:pt x="468" y="5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540" name="Group 1539"/>
            <p:cNvGrpSpPr/>
            <p:nvPr/>
          </p:nvGrpSpPr>
          <p:grpSpPr>
            <a:xfrm>
              <a:off x="1440086" y="6014851"/>
              <a:ext cx="67178" cy="67178"/>
              <a:chOff x="5968365" y="3118486"/>
              <a:chExt cx="615316" cy="615316"/>
            </a:xfrm>
            <a:solidFill>
              <a:schemeClr val="accent1"/>
            </a:solidFill>
          </p:grpSpPr>
          <p:sp>
            <p:nvSpPr>
              <p:cNvPr id="1584" name="Freeform 146"/>
              <p:cNvSpPr>
                <a:spLocks noEditPoints="1"/>
              </p:cNvSpPr>
              <p:nvPr/>
            </p:nvSpPr>
            <p:spPr bwMode="auto">
              <a:xfrm>
                <a:off x="5968365" y="3118486"/>
                <a:ext cx="615316" cy="615316"/>
              </a:xfrm>
              <a:custGeom>
                <a:avLst/>
                <a:gdLst>
                  <a:gd name="T0" fmla="*/ 356 w 646"/>
                  <a:gd name="T1" fmla="*/ 645 h 647"/>
                  <a:gd name="T2" fmla="*/ 419 w 646"/>
                  <a:gd name="T3" fmla="*/ 632 h 647"/>
                  <a:gd name="T4" fmla="*/ 477 w 646"/>
                  <a:gd name="T5" fmla="*/ 607 h 647"/>
                  <a:gd name="T6" fmla="*/ 528 w 646"/>
                  <a:gd name="T7" fmla="*/ 572 h 647"/>
                  <a:gd name="T8" fmla="*/ 573 w 646"/>
                  <a:gd name="T9" fmla="*/ 529 h 647"/>
                  <a:gd name="T10" fmla="*/ 607 w 646"/>
                  <a:gd name="T11" fmla="*/ 477 h 647"/>
                  <a:gd name="T12" fmla="*/ 632 w 646"/>
                  <a:gd name="T13" fmla="*/ 420 h 647"/>
                  <a:gd name="T14" fmla="*/ 645 w 646"/>
                  <a:gd name="T15" fmla="*/ 356 h 647"/>
                  <a:gd name="T16" fmla="*/ 646 w 646"/>
                  <a:gd name="T17" fmla="*/ 307 h 647"/>
                  <a:gd name="T18" fmla="*/ 636 w 646"/>
                  <a:gd name="T19" fmla="*/ 243 h 647"/>
                  <a:gd name="T20" fmla="*/ 615 w 646"/>
                  <a:gd name="T21" fmla="*/ 183 h 647"/>
                  <a:gd name="T22" fmla="*/ 582 w 646"/>
                  <a:gd name="T23" fmla="*/ 130 h 647"/>
                  <a:gd name="T24" fmla="*/ 540 w 646"/>
                  <a:gd name="T25" fmla="*/ 84 h 647"/>
                  <a:gd name="T26" fmla="*/ 490 w 646"/>
                  <a:gd name="T27" fmla="*/ 47 h 647"/>
                  <a:gd name="T28" fmla="*/ 434 w 646"/>
                  <a:gd name="T29" fmla="*/ 20 h 647"/>
                  <a:gd name="T30" fmla="*/ 372 w 646"/>
                  <a:gd name="T31" fmla="*/ 4 h 647"/>
                  <a:gd name="T32" fmla="*/ 322 w 646"/>
                  <a:gd name="T33" fmla="*/ 0 h 647"/>
                  <a:gd name="T34" fmla="*/ 258 w 646"/>
                  <a:gd name="T35" fmla="*/ 7 h 647"/>
                  <a:gd name="T36" fmla="*/ 197 w 646"/>
                  <a:gd name="T37" fmla="*/ 26 h 647"/>
                  <a:gd name="T38" fmla="*/ 143 w 646"/>
                  <a:gd name="T39" fmla="*/ 55 h 647"/>
                  <a:gd name="T40" fmla="*/ 94 w 646"/>
                  <a:gd name="T41" fmla="*/ 95 h 647"/>
                  <a:gd name="T42" fmla="*/ 55 w 646"/>
                  <a:gd name="T43" fmla="*/ 142 h 647"/>
                  <a:gd name="T44" fmla="*/ 25 w 646"/>
                  <a:gd name="T45" fmla="*/ 197 h 647"/>
                  <a:gd name="T46" fmla="*/ 6 w 646"/>
                  <a:gd name="T47" fmla="*/ 258 h 647"/>
                  <a:gd name="T48" fmla="*/ 0 w 646"/>
                  <a:gd name="T49" fmla="*/ 323 h 647"/>
                  <a:gd name="T50" fmla="*/ 3 w 646"/>
                  <a:gd name="T51" fmla="*/ 372 h 647"/>
                  <a:gd name="T52" fmla="*/ 19 w 646"/>
                  <a:gd name="T53" fmla="*/ 435 h 647"/>
                  <a:gd name="T54" fmla="*/ 46 w 646"/>
                  <a:gd name="T55" fmla="*/ 491 h 647"/>
                  <a:gd name="T56" fmla="*/ 83 w 646"/>
                  <a:gd name="T57" fmla="*/ 540 h 647"/>
                  <a:gd name="T58" fmla="*/ 130 w 646"/>
                  <a:gd name="T59" fmla="*/ 582 h 647"/>
                  <a:gd name="T60" fmla="*/ 183 w 646"/>
                  <a:gd name="T61" fmla="*/ 614 h 647"/>
                  <a:gd name="T62" fmla="*/ 242 w 646"/>
                  <a:gd name="T63" fmla="*/ 637 h 647"/>
                  <a:gd name="T64" fmla="*/ 306 w 646"/>
                  <a:gd name="T65" fmla="*/ 646 h 647"/>
                  <a:gd name="T66" fmla="*/ 336 w 646"/>
                  <a:gd name="T67" fmla="*/ 72 h 647"/>
                  <a:gd name="T68" fmla="*/ 386 w 646"/>
                  <a:gd name="T69" fmla="*/ 79 h 647"/>
                  <a:gd name="T70" fmla="*/ 443 w 646"/>
                  <a:gd name="T71" fmla="*/ 102 h 647"/>
                  <a:gd name="T72" fmla="*/ 517 w 646"/>
                  <a:gd name="T73" fmla="*/ 163 h 647"/>
                  <a:gd name="T74" fmla="*/ 560 w 646"/>
                  <a:gd name="T75" fmla="*/ 237 h 647"/>
                  <a:gd name="T76" fmla="*/ 572 w 646"/>
                  <a:gd name="T77" fmla="*/ 285 h 647"/>
                  <a:gd name="T78" fmla="*/ 575 w 646"/>
                  <a:gd name="T79" fmla="*/ 323 h 647"/>
                  <a:gd name="T80" fmla="*/ 570 w 646"/>
                  <a:gd name="T81" fmla="*/ 374 h 647"/>
                  <a:gd name="T82" fmla="*/ 555 w 646"/>
                  <a:gd name="T83" fmla="*/ 422 h 647"/>
                  <a:gd name="T84" fmla="*/ 501 w 646"/>
                  <a:gd name="T85" fmla="*/ 501 h 647"/>
                  <a:gd name="T86" fmla="*/ 421 w 646"/>
                  <a:gd name="T87" fmla="*/ 555 h 647"/>
                  <a:gd name="T88" fmla="*/ 374 w 646"/>
                  <a:gd name="T89" fmla="*/ 570 h 647"/>
                  <a:gd name="T90" fmla="*/ 322 w 646"/>
                  <a:gd name="T91" fmla="*/ 575 h 647"/>
                  <a:gd name="T92" fmla="*/ 284 w 646"/>
                  <a:gd name="T93" fmla="*/ 572 h 647"/>
                  <a:gd name="T94" fmla="*/ 236 w 646"/>
                  <a:gd name="T95" fmla="*/ 559 h 647"/>
                  <a:gd name="T96" fmla="*/ 163 w 646"/>
                  <a:gd name="T97" fmla="*/ 517 h 647"/>
                  <a:gd name="T98" fmla="*/ 101 w 646"/>
                  <a:gd name="T99" fmla="*/ 443 h 647"/>
                  <a:gd name="T100" fmla="*/ 79 w 646"/>
                  <a:gd name="T101" fmla="*/ 386 h 647"/>
                  <a:gd name="T102" fmla="*/ 71 w 646"/>
                  <a:gd name="T103" fmla="*/ 336 h 647"/>
                  <a:gd name="T104" fmla="*/ 72 w 646"/>
                  <a:gd name="T105" fmla="*/ 298 h 647"/>
                  <a:gd name="T106" fmla="*/ 82 w 646"/>
                  <a:gd name="T107" fmla="*/ 249 h 647"/>
                  <a:gd name="T108" fmla="*/ 115 w 646"/>
                  <a:gd name="T109" fmla="*/ 182 h 647"/>
                  <a:gd name="T110" fmla="*/ 183 w 646"/>
                  <a:gd name="T111" fmla="*/ 114 h 647"/>
                  <a:gd name="T112" fmla="*/ 248 w 646"/>
                  <a:gd name="T113" fmla="*/ 83 h 647"/>
                  <a:gd name="T114" fmla="*/ 297 w 646"/>
                  <a:gd name="T115" fmla="*/ 73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6" h="647">
                    <a:moveTo>
                      <a:pt x="322" y="647"/>
                    </a:moveTo>
                    <a:lnTo>
                      <a:pt x="322" y="647"/>
                    </a:lnTo>
                    <a:lnTo>
                      <a:pt x="340" y="646"/>
                    </a:lnTo>
                    <a:lnTo>
                      <a:pt x="356" y="645"/>
                    </a:lnTo>
                    <a:lnTo>
                      <a:pt x="372" y="643"/>
                    </a:lnTo>
                    <a:lnTo>
                      <a:pt x="388" y="640"/>
                    </a:lnTo>
                    <a:lnTo>
                      <a:pt x="404" y="637"/>
                    </a:lnTo>
                    <a:lnTo>
                      <a:pt x="419" y="632"/>
                    </a:lnTo>
                    <a:lnTo>
                      <a:pt x="434" y="626"/>
                    </a:lnTo>
                    <a:lnTo>
                      <a:pt x="449" y="621"/>
                    </a:lnTo>
                    <a:lnTo>
                      <a:pt x="463" y="614"/>
                    </a:lnTo>
                    <a:lnTo>
                      <a:pt x="477" y="607"/>
                    </a:lnTo>
                    <a:lnTo>
                      <a:pt x="490" y="599"/>
                    </a:lnTo>
                    <a:lnTo>
                      <a:pt x="503" y="591"/>
                    </a:lnTo>
                    <a:lnTo>
                      <a:pt x="516" y="582"/>
                    </a:lnTo>
                    <a:lnTo>
                      <a:pt x="528" y="572"/>
                    </a:lnTo>
                    <a:lnTo>
                      <a:pt x="540" y="562"/>
                    </a:lnTo>
                    <a:lnTo>
                      <a:pt x="552" y="551"/>
                    </a:lnTo>
                    <a:lnTo>
                      <a:pt x="563" y="540"/>
                    </a:lnTo>
                    <a:lnTo>
                      <a:pt x="573" y="529"/>
                    </a:lnTo>
                    <a:lnTo>
                      <a:pt x="582" y="516"/>
                    </a:lnTo>
                    <a:lnTo>
                      <a:pt x="591" y="504"/>
                    </a:lnTo>
                    <a:lnTo>
                      <a:pt x="600" y="491"/>
                    </a:lnTo>
                    <a:lnTo>
                      <a:pt x="607" y="477"/>
                    </a:lnTo>
                    <a:lnTo>
                      <a:pt x="615" y="463"/>
                    </a:lnTo>
                    <a:lnTo>
                      <a:pt x="621" y="449"/>
                    </a:lnTo>
                    <a:lnTo>
                      <a:pt x="627" y="435"/>
                    </a:lnTo>
                    <a:lnTo>
                      <a:pt x="632" y="420"/>
                    </a:lnTo>
                    <a:lnTo>
                      <a:pt x="636" y="403"/>
                    </a:lnTo>
                    <a:lnTo>
                      <a:pt x="640" y="388"/>
                    </a:lnTo>
                    <a:lnTo>
                      <a:pt x="643" y="372"/>
                    </a:lnTo>
                    <a:lnTo>
                      <a:pt x="645" y="356"/>
                    </a:lnTo>
                    <a:lnTo>
                      <a:pt x="646" y="340"/>
                    </a:lnTo>
                    <a:lnTo>
                      <a:pt x="646" y="323"/>
                    </a:lnTo>
                    <a:lnTo>
                      <a:pt x="646" y="323"/>
                    </a:lnTo>
                    <a:lnTo>
                      <a:pt x="646" y="307"/>
                    </a:lnTo>
                    <a:lnTo>
                      <a:pt x="645" y="290"/>
                    </a:lnTo>
                    <a:lnTo>
                      <a:pt x="643" y="274"/>
                    </a:lnTo>
                    <a:lnTo>
                      <a:pt x="640" y="258"/>
                    </a:lnTo>
                    <a:lnTo>
                      <a:pt x="636" y="243"/>
                    </a:lnTo>
                    <a:lnTo>
                      <a:pt x="632" y="228"/>
                    </a:lnTo>
                    <a:lnTo>
                      <a:pt x="627" y="213"/>
                    </a:lnTo>
                    <a:lnTo>
                      <a:pt x="621" y="197"/>
                    </a:lnTo>
                    <a:lnTo>
                      <a:pt x="615" y="183"/>
                    </a:lnTo>
                    <a:lnTo>
                      <a:pt x="607" y="169"/>
                    </a:lnTo>
                    <a:lnTo>
                      <a:pt x="600" y="155"/>
                    </a:lnTo>
                    <a:lnTo>
                      <a:pt x="591" y="142"/>
                    </a:lnTo>
                    <a:lnTo>
                      <a:pt x="582" y="130"/>
                    </a:lnTo>
                    <a:lnTo>
                      <a:pt x="573" y="117"/>
                    </a:lnTo>
                    <a:lnTo>
                      <a:pt x="563" y="106"/>
                    </a:lnTo>
                    <a:lnTo>
                      <a:pt x="552" y="95"/>
                    </a:lnTo>
                    <a:lnTo>
                      <a:pt x="540" y="84"/>
                    </a:lnTo>
                    <a:lnTo>
                      <a:pt x="528" y="74"/>
                    </a:lnTo>
                    <a:lnTo>
                      <a:pt x="516" y="64"/>
                    </a:lnTo>
                    <a:lnTo>
                      <a:pt x="503" y="55"/>
                    </a:lnTo>
                    <a:lnTo>
                      <a:pt x="490" y="47"/>
                    </a:lnTo>
                    <a:lnTo>
                      <a:pt x="477" y="39"/>
                    </a:lnTo>
                    <a:lnTo>
                      <a:pt x="463" y="32"/>
                    </a:lnTo>
                    <a:lnTo>
                      <a:pt x="449" y="26"/>
                    </a:lnTo>
                    <a:lnTo>
                      <a:pt x="434" y="20"/>
                    </a:lnTo>
                    <a:lnTo>
                      <a:pt x="419" y="15"/>
                    </a:lnTo>
                    <a:lnTo>
                      <a:pt x="404" y="10"/>
                    </a:lnTo>
                    <a:lnTo>
                      <a:pt x="388" y="7"/>
                    </a:lnTo>
                    <a:lnTo>
                      <a:pt x="372" y="4"/>
                    </a:lnTo>
                    <a:lnTo>
                      <a:pt x="356" y="2"/>
                    </a:lnTo>
                    <a:lnTo>
                      <a:pt x="340" y="1"/>
                    </a:lnTo>
                    <a:lnTo>
                      <a:pt x="322" y="0"/>
                    </a:lnTo>
                    <a:lnTo>
                      <a:pt x="322" y="0"/>
                    </a:lnTo>
                    <a:lnTo>
                      <a:pt x="306" y="1"/>
                    </a:lnTo>
                    <a:lnTo>
                      <a:pt x="290" y="2"/>
                    </a:lnTo>
                    <a:lnTo>
                      <a:pt x="274" y="4"/>
                    </a:lnTo>
                    <a:lnTo>
                      <a:pt x="258" y="7"/>
                    </a:lnTo>
                    <a:lnTo>
                      <a:pt x="242" y="10"/>
                    </a:lnTo>
                    <a:lnTo>
                      <a:pt x="227" y="15"/>
                    </a:lnTo>
                    <a:lnTo>
                      <a:pt x="212" y="20"/>
                    </a:lnTo>
                    <a:lnTo>
                      <a:pt x="197" y="26"/>
                    </a:lnTo>
                    <a:lnTo>
                      <a:pt x="183" y="32"/>
                    </a:lnTo>
                    <a:lnTo>
                      <a:pt x="169" y="39"/>
                    </a:lnTo>
                    <a:lnTo>
                      <a:pt x="156" y="47"/>
                    </a:lnTo>
                    <a:lnTo>
                      <a:pt x="143" y="55"/>
                    </a:lnTo>
                    <a:lnTo>
                      <a:pt x="130" y="64"/>
                    </a:lnTo>
                    <a:lnTo>
                      <a:pt x="118" y="74"/>
                    </a:lnTo>
                    <a:lnTo>
                      <a:pt x="105" y="84"/>
                    </a:lnTo>
                    <a:lnTo>
                      <a:pt x="94" y="95"/>
                    </a:lnTo>
                    <a:lnTo>
                      <a:pt x="83" y="106"/>
                    </a:lnTo>
                    <a:lnTo>
                      <a:pt x="73" y="117"/>
                    </a:lnTo>
                    <a:lnTo>
                      <a:pt x="64" y="130"/>
                    </a:lnTo>
                    <a:lnTo>
                      <a:pt x="55" y="142"/>
                    </a:lnTo>
                    <a:lnTo>
                      <a:pt x="46" y="155"/>
                    </a:lnTo>
                    <a:lnTo>
                      <a:pt x="39" y="169"/>
                    </a:lnTo>
                    <a:lnTo>
                      <a:pt x="32" y="183"/>
                    </a:lnTo>
                    <a:lnTo>
                      <a:pt x="25" y="197"/>
                    </a:lnTo>
                    <a:lnTo>
                      <a:pt x="19" y="213"/>
                    </a:lnTo>
                    <a:lnTo>
                      <a:pt x="14" y="228"/>
                    </a:lnTo>
                    <a:lnTo>
                      <a:pt x="10" y="243"/>
                    </a:lnTo>
                    <a:lnTo>
                      <a:pt x="6" y="258"/>
                    </a:lnTo>
                    <a:lnTo>
                      <a:pt x="3" y="274"/>
                    </a:lnTo>
                    <a:lnTo>
                      <a:pt x="1" y="290"/>
                    </a:lnTo>
                    <a:lnTo>
                      <a:pt x="0" y="307"/>
                    </a:lnTo>
                    <a:lnTo>
                      <a:pt x="0" y="323"/>
                    </a:lnTo>
                    <a:lnTo>
                      <a:pt x="0" y="323"/>
                    </a:lnTo>
                    <a:lnTo>
                      <a:pt x="0" y="340"/>
                    </a:lnTo>
                    <a:lnTo>
                      <a:pt x="1" y="356"/>
                    </a:lnTo>
                    <a:lnTo>
                      <a:pt x="3" y="372"/>
                    </a:lnTo>
                    <a:lnTo>
                      <a:pt x="6" y="388"/>
                    </a:lnTo>
                    <a:lnTo>
                      <a:pt x="10" y="403"/>
                    </a:lnTo>
                    <a:lnTo>
                      <a:pt x="14" y="420"/>
                    </a:lnTo>
                    <a:lnTo>
                      <a:pt x="19" y="435"/>
                    </a:lnTo>
                    <a:lnTo>
                      <a:pt x="25" y="449"/>
                    </a:lnTo>
                    <a:lnTo>
                      <a:pt x="32" y="463"/>
                    </a:lnTo>
                    <a:lnTo>
                      <a:pt x="39" y="477"/>
                    </a:lnTo>
                    <a:lnTo>
                      <a:pt x="46" y="491"/>
                    </a:lnTo>
                    <a:lnTo>
                      <a:pt x="55" y="504"/>
                    </a:lnTo>
                    <a:lnTo>
                      <a:pt x="64" y="516"/>
                    </a:lnTo>
                    <a:lnTo>
                      <a:pt x="73" y="529"/>
                    </a:lnTo>
                    <a:lnTo>
                      <a:pt x="83" y="540"/>
                    </a:lnTo>
                    <a:lnTo>
                      <a:pt x="94" y="551"/>
                    </a:lnTo>
                    <a:lnTo>
                      <a:pt x="105" y="562"/>
                    </a:lnTo>
                    <a:lnTo>
                      <a:pt x="118" y="572"/>
                    </a:lnTo>
                    <a:lnTo>
                      <a:pt x="130" y="582"/>
                    </a:lnTo>
                    <a:lnTo>
                      <a:pt x="143" y="591"/>
                    </a:lnTo>
                    <a:lnTo>
                      <a:pt x="156" y="599"/>
                    </a:lnTo>
                    <a:lnTo>
                      <a:pt x="169" y="607"/>
                    </a:lnTo>
                    <a:lnTo>
                      <a:pt x="183" y="614"/>
                    </a:lnTo>
                    <a:lnTo>
                      <a:pt x="197" y="621"/>
                    </a:lnTo>
                    <a:lnTo>
                      <a:pt x="212" y="626"/>
                    </a:lnTo>
                    <a:lnTo>
                      <a:pt x="227" y="632"/>
                    </a:lnTo>
                    <a:lnTo>
                      <a:pt x="242" y="637"/>
                    </a:lnTo>
                    <a:lnTo>
                      <a:pt x="258" y="640"/>
                    </a:lnTo>
                    <a:lnTo>
                      <a:pt x="274" y="643"/>
                    </a:lnTo>
                    <a:lnTo>
                      <a:pt x="290" y="645"/>
                    </a:lnTo>
                    <a:lnTo>
                      <a:pt x="306" y="646"/>
                    </a:lnTo>
                    <a:lnTo>
                      <a:pt x="322" y="647"/>
                    </a:lnTo>
                    <a:close/>
                    <a:moveTo>
                      <a:pt x="322" y="71"/>
                    </a:moveTo>
                    <a:lnTo>
                      <a:pt x="322" y="71"/>
                    </a:lnTo>
                    <a:lnTo>
                      <a:pt x="336" y="72"/>
                    </a:lnTo>
                    <a:lnTo>
                      <a:pt x="349" y="73"/>
                    </a:lnTo>
                    <a:lnTo>
                      <a:pt x="362" y="74"/>
                    </a:lnTo>
                    <a:lnTo>
                      <a:pt x="374" y="77"/>
                    </a:lnTo>
                    <a:lnTo>
                      <a:pt x="386" y="79"/>
                    </a:lnTo>
                    <a:lnTo>
                      <a:pt x="398" y="83"/>
                    </a:lnTo>
                    <a:lnTo>
                      <a:pt x="410" y="87"/>
                    </a:lnTo>
                    <a:lnTo>
                      <a:pt x="421" y="91"/>
                    </a:lnTo>
                    <a:lnTo>
                      <a:pt x="443" y="102"/>
                    </a:lnTo>
                    <a:lnTo>
                      <a:pt x="464" y="114"/>
                    </a:lnTo>
                    <a:lnTo>
                      <a:pt x="483" y="129"/>
                    </a:lnTo>
                    <a:lnTo>
                      <a:pt x="501" y="145"/>
                    </a:lnTo>
                    <a:lnTo>
                      <a:pt x="517" y="163"/>
                    </a:lnTo>
                    <a:lnTo>
                      <a:pt x="531" y="182"/>
                    </a:lnTo>
                    <a:lnTo>
                      <a:pt x="544" y="204"/>
                    </a:lnTo>
                    <a:lnTo>
                      <a:pt x="555" y="226"/>
                    </a:lnTo>
                    <a:lnTo>
                      <a:pt x="560" y="237"/>
                    </a:lnTo>
                    <a:lnTo>
                      <a:pt x="564" y="249"/>
                    </a:lnTo>
                    <a:lnTo>
                      <a:pt x="567" y="261"/>
                    </a:lnTo>
                    <a:lnTo>
                      <a:pt x="570" y="273"/>
                    </a:lnTo>
                    <a:lnTo>
                      <a:pt x="572" y="285"/>
                    </a:lnTo>
                    <a:lnTo>
                      <a:pt x="574" y="298"/>
                    </a:lnTo>
                    <a:lnTo>
                      <a:pt x="575" y="310"/>
                    </a:lnTo>
                    <a:lnTo>
                      <a:pt x="575" y="323"/>
                    </a:lnTo>
                    <a:lnTo>
                      <a:pt x="575" y="323"/>
                    </a:lnTo>
                    <a:lnTo>
                      <a:pt x="575" y="336"/>
                    </a:lnTo>
                    <a:lnTo>
                      <a:pt x="574" y="349"/>
                    </a:lnTo>
                    <a:lnTo>
                      <a:pt x="572" y="361"/>
                    </a:lnTo>
                    <a:lnTo>
                      <a:pt x="570" y="374"/>
                    </a:lnTo>
                    <a:lnTo>
                      <a:pt x="567" y="386"/>
                    </a:lnTo>
                    <a:lnTo>
                      <a:pt x="564" y="398"/>
                    </a:lnTo>
                    <a:lnTo>
                      <a:pt x="560" y="409"/>
                    </a:lnTo>
                    <a:lnTo>
                      <a:pt x="555" y="422"/>
                    </a:lnTo>
                    <a:lnTo>
                      <a:pt x="544" y="443"/>
                    </a:lnTo>
                    <a:lnTo>
                      <a:pt x="531" y="464"/>
                    </a:lnTo>
                    <a:lnTo>
                      <a:pt x="517" y="483"/>
                    </a:lnTo>
                    <a:lnTo>
                      <a:pt x="501" y="501"/>
                    </a:lnTo>
                    <a:lnTo>
                      <a:pt x="483" y="517"/>
                    </a:lnTo>
                    <a:lnTo>
                      <a:pt x="464" y="532"/>
                    </a:lnTo>
                    <a:lnTo>
                      <a:pt x="443" y="544"/>
                    </a:lnTo>
                    <a:lnTo>
                      <a:pt x="421" y="555"/>
                    </a:lnTo>
                    <a:lnTo>
                      <a:pt x="410" y="559"/>
                    </a:lnTo>
                    <a:lnTo>
                      <a:pt x="398" y="563"/>
                    </a:lnTo>
                    <a:lnTo>
                      <a:pt x="386" y="567"/>
                    </a:lnTo>
                    <a:lnTo>
                      <a:pt x="374" y="570"/>
                    </a:lnTo>
                    <a:lnTo>
                      <a:pt x="362" y="572"/>
                    </a:lnTo>
                    <a:lnTo>
                      <a:pt x="349" y="573"/>
                    </a:lnTo>
                    <a:lnTo>
                      <a:pt x="336" y="574"/>
                    </a:lnTo>
                    <a:lnTo>
                      <a:pt x="322" y="575"/>
                    </a:lnTo>
                    <a:lnTo>
                      <a:pt x="322" y="575"/>
                    </a:lnTo>
                    <a:lnTo>
                      <a:pt x="310" y="574"/>
                    </a:lnTo>
                    <a:lnTo>
                      <a:pt x="297" y="573"/>
                    </a:lnTo>
                    <a:lnTo>
                      <a:pt x="284" y="572"/>
                    </a:lnTo>
                    <a:lnTo>
                      <a:pt x="272" y="570"/>
                    </a:lnTo>
                    <a:lnTo>
                      <a:pt x="260" y="567"/>
                    </a:lnTo>
                    <a:lnTo>
                      <a:pt x="248" y="563"/>
                    </a:lnTo>
                    <a:lnTo>
                      <a:pt x="236" y="559"/>
                    </a:lnTo>
                    <a:lnTo>
                      <a:pt x="225" y="555"/>
                    </a:lnTo>
                    <a:lnTo>
                      <a:pt x="203" y="544"/>
                    </a:lnTo>
                    <a:lnTo>
                      <a:pt x="183" y="532"/>
                    </a:lnTo>
                    <a:lnTo>
                      <a:pt x="163" y="517"/>
                    </a:lnTo>
                    <a:lnTo>
                      <a:pt x="145" y="501"/>
                    </a:lnTo>
                    <a:lnTo>
                      <a:pt x="129" y="483"/>
                    </a:lnTo>
                    <a:lnTo>
                      <a:pt x="115" y="464"/>
                    </a:lnTo>
                    <a:lnTo>
                      <a:pt x="101" y="443"/>
                    </a:lnTo>
                    <a:lnTo>
                      <a:pt x="91" y="422"/>
                    </a:lnTo>
                    <a:lnTo>
                      <a:pt x="86" y="409"/>
                    </a:lnTo>
                    <a:lnTo>
                      <a:pt x="82" y="398"/>
                    </a:lnTo>
                    <a:lnTo>
                      <a:pt x="79" y="386"/>
                    </a:lnTo>
                    <a:lnTo>
                      <a:pt x="76" y="374"/>
                    </a:lnTo>
                    <a:lnTo>
                      <a:pt x="74" y="361"/>
                    </a:lnTo>
                    <a:lnTo>
                      <a:pt x="72" y="349"/>
                    </a:lnTo>
                    <a:lnTo>
                      <a:pt x="71" y="336"/>
                    </a:lnTo>
                    <a:lnTo>
                      <a:pt x="71" y="323"/>
                    </a:lnTo>
                    <a:lnTo>
                      <a:pt x="71" y="323"/>
                    </a:lnTo>
                    <a:lnTo>
                      <a:pt x="71" y="310"/>
                    </a:lnTo>
                    <a:lnTo>
                      <a:pt x="72" y="298"/>
                    </a:lnTo>
                    <a:lnTo>
                      <a:pt x="74" y="285"/>
                    </a:lnTo>
                    <a:lnTo>
                      <a:pt x="76" y="273"/>
                    </a:lnTo>
                    <a:lnTo>
                      <a:pt x="79" y="261"/>
                    </a:lnTo>
                    <a:lnTo>
                      <a:pt x="82" y="249"/>
                    </a:lnTo>
                    <a:lnTo>
                      <a:pt x="86" y="237"/>
                    </a:lnTo>
                    <a:lnTo>
                      <a:pt x="91" y="226"/>
                    </a:lnTo>
                    <a:lnTo>
                      <a:pt x="101" y="204"/>
                    </a:lnTo>
                    <a:lnTo>
                      <a:pt x="115" y="182"/>
                    </a:lnTo>
                    <a:lnTo>
                      <a:pt x="129" y="163"/>
                    </a:lnTo>
                    <a:lnTo>
                      <a:pt x="145" y="145"/>
                    </a:lnTo>
                    <a:lnTo>
                      <a:pt x="163" y="129"/>
                    </a:lnTo>
                    <a:lnTo>
                      <a:pt x="183" y="114"/>
                    </a:lnTo>
                    <a:lnTo>
                      <a:pt x="203" y="102"/>
                    </a:lnTo>
                    <a:lnTo>
                      <a:pt x="225" y="91"/>
                    </a:lnTo>
                    <a:lnTo>
                      <a:pt x="236" y="87"/>
                    </a:lnTo>
                    <a:lnTo>
                      <a:pt x="248" y="83"/>
                    </a:lnTo>
                    <a:lnTo>
                      <a:pt x="260" y="79"/>
                    </a:lnTo>
                    <a:lnTo>
                      <a:pt x="272" y="77"/>
                    </a:lnTo>
                    <a:lnTo>
                      <a:pt x="284" y="74"/>
                    </a:lnTo>
                    <a:lnTo>
                      <a:pt x="297" y="73"/>
                    </a:lnTo>
                    <a:lnTo>
                      <a:pt x="310" y="72"/>
                    </a:lnTo>
                    <a:lnTo>
                      <a:pt x="322"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85" name="Freeform 149"/>
              <p:cNvSpPr>
                <a:spLocks noEditPoints="1"/>
              </p:cNvSpPr>
              <p:nvPr/>
            </p:nvSpPr>
            <p:spPr bwMode="auto">
              <a:xfrm>
                <a:off x="6229350" y="3246120"/>
                <a:ext cx="93346" cy="360046"/>
              </a:xfrm>
              <a:custGeom>
                <a:avLst/>
                <a:gdLst>
                  <a:gd name="T0" fmla="*/ 100 w 100"/>
                  <a:gd name="T1" fmla="*/ 44 h 378"/>
                  <a:gd name="T2" fmla="*/ 100 w 100"/>
                  <a:gd name="T3" fmla="*/ 44 h 378"/>
                  <a:gd name="T4" fmla="*/ 99 w 100"/>
                  <a:gd name="T5" fmla="*/ 35 h 378"/>
                  <a:gd name="T6" fmla="*/ 96 w 100"/>
                  <a:gd name="T7" fmla="*/ 26 h 378"/>
                  <a:gd name="T8" fmla="*/ 92 w 100"/>
                  <a:gd name="T9" fmla="*/ 19 h 378"/>
                  <a:gd name="T10" fmla="*/ 86 w 100"/>
                  <a:gd name="T11" fmla="*/ 13 h 378"/>
                  <a:gd name="T12" fmla="*/ 86 w 100"/>
                  <a:gd name="T13" fmla="*/ 13 h 378"/>
                  <a:gd name="T14" fmla="*/ 78 w 100"/>
                  <a:gd name="T15" fmla="*/ 7 h 378"/>
                  <a:gd name="T16" fmla="*/ 70 w 100"/>
                  <a:gd name="T17" fmla="*/ 3 h 378"/>
                  <a:gd name="T18" fmla="*/ 61 w 100"/>
                  <a:gd name="T19" fmla="*/ 1 h 378"/>
                  <a:gd name="T20" fmla="*/ 49 w 100"/>
                  <a:gd name="T21" fmla="*/ 0 h 378"/>
                  <a:gd name="T22" fmla="*/ 49 w 100"/>
                  <a:gd name="T23" fmla="*/ 0 h 378"/>
                  <a:gd name="T24" fmla="*/ 39 w 100"/>
                  <a:gd name="T25" fmla="*/ 1 h 378"/>
                  <a:gd name="T26" fmla="*/ 30 w 100"/>
                  <a:gd name="T27" fmla="*/ 3 h 378"/>
                  <a:gd name="T28" fmla="*/ 22 w 100"/>
                  <a:gd name="T29" fmla="*/ 7 h 378"/>
                  <a:gd name="T30" fmla="*/ 14 w 100"/>
                  <a:gd name="T31" fmla="*/ 12 h 378"/>
                  <a:gd name="T32" fmla="*/ 14 w 100"/>
                  <a:gd name="T33" fmla="*/ 12 h 378"/>
                  <a:gd name="T34" fmla="*/ 8 w 100"/>
                  <a:gd name="T35" fmla="*/ 19 h 378"/>
                  <a:gd name="T36" fmla="*/ 4 w 100"/>
                  <a:gd name="T37" fmla="*/ 26 h 378"/>
                  <a:gd name="T38" fmla="*/ 1 w 100"/>
                  <a:gd name="T39" fmla="*/ 34 h 378"/>
                  <a:gd name="T40" fmla="*/ 0 w 100"/>
                  <a:gd name="T41" fmla="*/ 44 h 378"/>
                  <a:gd name="T42" fmla="*/ 0 w 100"/>
                  <a:gd name="T43" fmla="*/ 44 h 378"/>
                  <a:gd name="T44" fmla="*/ 1 w 100"/>
                  <a:gd name="T45" fmla="*/ 52 h 378"/>
                  <a:gd name="T46" fmla="*/ 4 w 100"/>
                  <a:gd name="T47" fmla="*/ 61 h 378"/>
                  <a:gd name="T48" fmla="*/ 8 w 100"/>
                  <a:gd name="T49" fmla="*/ 69 h 378"/>
                  <a:gd name="T50" fmla="*/ 14 w 100"/>
                  <a:gd name="T51" fmla="*/ 76 h 378"/>
                  <a:gd name="T52" fmla="*/ 14 w 100"/>
                  <a:gd name="T53" fmla="*/ 76 h 378"/>
                  <a:gd name="T54" fmla="*/ 21 w 100"/>
                  <a:gd name="T55" fmla="*/ 82 h 378"/>
                  <a:gd name="T56" fmla="*/ 30 w 100"/>
                  <a:gd name="T57" fmla="*/ 86 h 378"/>
                  <a:gd name="T58" fmla="*/ 39 w 100"/>
                  <a:gd name="T59" fmla="*/ 88 h 378"/>
                  <a:gd name="T60" fmla="*/ 49 w 100"/>
                  <a:gd name="T61" fmla="*/ 89 h 378"/>
                  <a:gd name="T62" fmla="*/ 49 w 100"/>
                  <a:gd name="T63" fmla="*/ 89 h 378"/>
                  <a:gd name="T64" fmla="*/ 61 w 100"/>
                  <a:gd name="T65" fmla="*/ 88 h 378"/>
                  <a:gd name="T66" fmla="*/ 70 w 100"/>
                  <a:gd name="T67" fmla="*/ 86 h 378"/>
                  <a:gd name="T68" fmla="*/ 79 w 100"/>
                  <a:gd name="T69" fmla="*/ 82 h 378"/>
                  <a:gd name="T70" fmla="*/ 86 w 100"/>
                  <a:gd name="T71" fmla="*/ 76 h 378"/>
                  <a:gd name="T72" fmla="*/ 86 w 100"/>
                  <a:gd name="T73" fmla="*/ 76 h 378"/>
                  <a:gd name="T74" fmla="*/ 92 w 100"/>
                  <a:gd name="T75" fmla="*/ 70 h 378"/>
                  <a:gd name="T76" fmla="*/ 96 w 100"/>
                  <a:gd name="T77" fmla="*/ 61 h 378"/>
                  <a:gd name="T78" fmla="*/ 99 w 100"/>
                  <a:gd name="T79" fmla="*/ 53 h 378"/>
                  <a:gd name="T80" fmla="*/ 100 w 100"/>
                  <a:gd name="T81" fmla="*/ 44 h 378"/>
                  <a:gd name="T82" fmla="*/ 7 w 100"/>
                  <a:gd name="T83" fmla="*/ 130 h 378"/>
                  <a:gd name="T84" fmla="*/ 93 w 100"/>
                  <a:gd name="T85" fmla="*/ 130 h 378"/>
                  <a:gd name="T86" fmla="*/ 93 w 100"/>
                  <a:gd name="T87" fmla="*/ 378 h 378"/>
                  <a:gd name="T88" fmla="*/ 7 w 100"/>
                  <a:gd name="T89" fmla="*/ 378 h 378"/>
                  <a:gd name="T90" fmla="*/ 7 w 100"/>
                  <a:gd name="T91" fmla="*/ 13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0" h="378">
                    <a:moveTo>
                      <a:pt x="100" y="44"/>
                    </a:moveTo>
                    <a:lnTo>
                      <a:pt x="100" y="44"/>
                    </a:lnTo>
                    <a:lnTo>
                      <a:pt x="99" y="35"/>
                    </a:lnTo>
                    <a:lnTo>
                      <a:pt x="96" y="26"/>
                    </a:lnTo>
                    <a:lnTo>
                      <a:pt x="92" y="19"/>
                    </a:lnTo>
                    <a:lnTo>
                      <a:pt x="86" y="13"/>
                    </a:lnTo>
                    <a:lnTo>
                      <a:pt x="86" y="13"/>
                    </a:lnTo>
                    <a:lnTo>
                      <a:pt x="78" y="7"/>
                    </a:lnTo>
                    <a:lnTo>
                      <a:pt x="70" y="3"/>
                    </a:lnTo>
                    <a:lnTo>
                      <a:pt x="61" y="1"/>
                    </a:lnTo>
                    <a:lnTo>
                      <a:pt x="49" y="0"/>
                    </a:lnTo>
                    <a:lnTo>
                      <a:pt x="49" y="0"/>
                    </a:lnTo>
                    <a:lnTo>
                      <a:pt x="39" y="1"/>
                    </a:lnTo>
                    <a:lnTo>
                      <a:pt x="30" y="3"/>
                    </a:lnTo>
                    <a:lnTo>
                      <a:pt x="22" y="7"/>
                    </a:lnTo>
                    <a:lnTo>
                      <a:pt x="14" y="12"/>
                    </a:lnTo>
                    <a:lnTo>
                      <a:pt x="14" y="12"/>
                    </a:lnTo>
                    <a:lnTo>
                      <a:pt x="8" y="19"/>
                    </a:lnTo>
                    <a:lnTo>
                      <a:pt x="4" y="26"/>
                    </a:lnTo>
                    <a:lnTo>
                      <a:pt x="1" y="34"/>
                    </a:lnTo>
                    <a:lnTo>
                      <a:pt x="0" y="44"/>
                    </a:lnTo>
                    <a:lnTo>
                      <a:pt x="0" y="44"/>
                    </a:lnTo>
                    <a:lnTo>
                      <a:pt x="1" y="52"/>
                    </a:lnTo>
                    <a:lnTo>
                      <a:pt x="4" y="61"/>
                    </a:lnTo>
                    <a:lnTo>
                      <a:pt x="8" y="69"/>
                    </a:lnTo>
                    <a:lnTo>
                      <a:pt x="14" y="76"/>
                    </a:lnTo>
                    <a:lnTo>
                      <a:pt x="14" y="76"/>
                    </a:lnTo>
                    <a:lnTo>
                      <a:pt x="21" y="82"/>
                    </a:lnTo>
                    <a:lnTo>
                      <a:pt x="30" y="86"/>
                    </a:lnTo>
                    <a:lnTo>
                      <a:pt x="39" y="88"/>
                    </a:lnTo>
                    <a:lnTo>
                      <a:pt x="49" y="89"/>
                    </a:lnTo>
                    <a:lnTo>
                      <a:pt x="49" y="89"/>
                    </a:lnTo>
                    <a:lnTo>
                      <a:pt x="61" y="88"/>
                    </a:lnTo>
                    <a:lnTo>
                      <a:pt x="70" y="86"/>
                    </a:lnTo>
                    <a:lnTo>
                      <a:pt x="79" y="82"/>
                    </a:lnTo>
                    <a:lnTo>
                      <a:pt x="86" y="76"/>
                    </a:lnTo>
                    <a:lnTo>
                      <a:pt x="86" y="76"/>
                    </a:lnTo>
                    <a:lnTo>
                      <a:pt x="92" y="70"/>
                    </a:lnTo>
                    <a:lnTo>
                      <a:pt x="96" y="61"/>
                    </a:lnTo>
                    <a:lnTo>
                      <a:pt x="99" y="53"/>
                    </a:lnTo>
                    <a:lnTo>
                      <a:pt x="100" y="44"/>
                    </a:lnTo>
                    <a:close/>
                    <a:moveTo>
                      <a:pt x="7" y="130"/>
                    </a:moveTo>
                    <a:lnTo>
                      <a:pt x="93" y="130"/>
                    </a:lnTo>
                    <a:lnTo>
                      <a:pt x="93" y="378"/>
                    </a:lnTo>
                    <a:lnTo>
                      <a:pt x="7" y="378"/>
                    </a:lnTo>
                    <a:lnTo>
                      <a:pt x="7"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86" name="Freeform 150"/>
              <p:cNvSpPr>
                <a:spLocks/>
              </p:cNvSpPr>
              <p:nvPr/>
            </p:nvSpPr>
            <p:spPr bwMode="auto">
              <a:xfrm>
                <a:off x="6229350" y="3246120"/>
                <a:ext cx="93346" cy="83820"/>
              </a:xfrm>
              <a:custGeom>
                <a:avLst/>
                <a:gdLst>
                  <a:gd name="T0" fmla="*/ 100 w 100"/>
                  <a:gd name="T1" fmla="*/ 44 h 89"/>
                  <a:gd name="T2" fmla="*/ 100 w 100"/>
                  <a:gd name="T3" fmla="*/ 44 h 89"/>
                  <a:gd name="T4" fmla="*/ 99 w 100"/>
                  <a:gd name="T5" fmla="*/ 35 h 89"/>
                  <a:gd name="T6" fmla="*/ 96 w 100"/>
                  <a:gd name="T7" fmla="*/ 26 h 89"/>
                  <a:gd name="T8" fmla="*/ 92 w 100"/>
                  <a:gd name="T9" fmla="*/ 19 h 89"/>
                  <a:gd name="T10" fmla="*/ 86 w 100"/>
                  <a:gd name="T11" fmla="*/ 13 h 89"/>
                  <a:gd name="T12" fmla="*/ 86 w 100"/>
                  <a:gd name="T13" fmla="*/ 13 h 89"/>
                  <a:gd name="T14" fmla="*/ 78 w 100"/>
                  <a:gd name="T15" fmla="*/ 7 h 89"/>
                  <a:gd name="T16" fmla="*/ 70 w 100"/>
                  <a:gd name="T17" fmla="*/ 3 h 89"/>
                  <a:gd name="T18" fmla="*/ 61 w 100"/>
                  <a:gd name="T19" fmla="*/ 1 h 89"/>
                  <a:gd name="T20" fmla="*/ 49 w 100"/>
                  <a:gd name="T21" fmla="*/ 0 h 89"/>
                  <a:gd name="T22" fmla="*/ 49 w 100"/>
                  <a:gd name="T23" fmla="*/ 0 h 89"/>
                  <a:gd name="T24" fmla="*/ 39 w 100"/>
                  <a:gd name="T25" fmla="*/ 1 h 89"/>
                  <a:gd name="T26" fmla="*/ 30 w 100"/>
                  <a:gd name="T27" fmla="*/ 3 h 89"/>
                  <a:gd name="T28" fmla="*/ 22 w 100"/>
                  <a:gd name="T29" fmla="*/ 7 h 89"/>
                  <a:gd name="T30" fmla="*/ 14 w 100"/>
                  <a:gd name="T31" fmla="*/ 12 h 89"/>
                  <a:gd name="T32" fmla="*/ 14 w 100"/>
                  <a:gd name="T33" fmla="*/ 12 h 89"/>
                  <a:gd name="T34" fmla="*/ 8 w 100"/>
                  <a:gd name="T35" fmla="*/ 19 h 89"/>
                  <a:gd name="T36" fmla="*/ 4 w 100"/>
                  <a:gd name="T37" fmla="*/ 26 h 89"/>
                  <a:gd name="T38" fmla="*/ 1 w 100"/>
                  <a:gd name="T39" fmla="*/ 34 h 89"/>
                  <a:gd name="T40" fmla="*/ 0 w 100"/>
                  <a:gd name="T41" fmla="*/ 44 h 89"/>
                  <a:gd name="T42" fmla="*/ 0 w 100"/>
                  <a:gd name="T43" fmla="*/ 44 h 89"/>
                  <a:gd name="T44" fmla="*/ 1 w 100"/>
                  <a:gd name="T45" fmla="*/ 52 h 89"/>
                  <a:gd name="T46" fmla="*/ 4 w 100"/>
                  <a:gd name="T47" fmla="*/ 61 h 89"/>
                  <a:gd name="T48" fmla="*/ 8 w 100"/>
                  <a:gd name="T49" fmla="*/ 69 h 89"/>
                  <a:gd name="T50" fmla="*/ 14 w 100"/>
                  <a:gd name="T51" fmla="*/ 76 h 89"/>
                  <a:gd name="T52" fmla="*/ 14 w 100"/>
                  <a:gd name="T53" fmla="*/ 76 h 89"/>
                  <a:gd name="T54" fmla="*/ 21 w 100"/>
                  <a:gd name="T55" fmla="*/ 82 h 89"/>
                  <a:gd name="T56" fmla="*/ 30 w 100"/>
                  <a:gd name="T57" fmla="*/ 86 h 89"/>
                  <a:gd name="T58" fmla="*/ 39 w 100"/>
                  <a:gd name="T59" fmla="*/ 88 h 89"/>
                  <a:gd name="T60" fmla="*/ 49 w 100"/>
                  <a:gd name="T61" fmla="*/ 89 h 89"/>
                  <a:gd name="T62" fmla="*/ 49 w 100"/>
                  <a:gd name="T63" fmla="*/ 89 h 89"/>
                  <a:gd name="T64" fmla="*/ 61 w 100"/>
                  <a:gd name="T65" fmla="*/ 88 h 89"/>
                  <a:gd name="T66" fmla="*/ 70 w 100"/>
                  <a:gd name="T67" fmla="*/ 86 h 89"/>
                  <a:gd name="T68" fmla="*/ 79 w 100"/>
                  <a:gd name="T69" fmla="*/ 82 h 89"/>
                  <a:gd name="T70" fmla="*/ 86 w 100"/>
                  <a:gd name="T71" fmla="*/ 76 h 89"/>
                  <a:gd name="T72" fmla="*/ 86 w 100"/>
                  <a:gd name="T73" fmla="*/ 76 h 89"/>
                  <a:gd name="T74" fmla="*/ 92 w 100"/>
                  <a:gd name="T75" fmla="*/ 70 h 89"/>
                  <a:gd name="T76" fmla="*/ 96 w 100"/>
                  <a:gd name="T77" fmla="*/ 61 h 89"/>
                  <a:gd name="T78" fmla="*/ 99 w 100"/>
                  <a:gd name="T79" fmla="*/ 53 h 89"/>
                  <a:gd name="T80" fmla="*/ 100 w 100"/>
                  <a:gd name="T8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89">
                    <a:moveTo>
                      <a:pt x="100" y="44"/>
                    </a:moveTo>
                    <a:lnTo>
                      <a:pt x="100" y="44"/>
                    </a:lnTo>
                    <a:lnTo>
                      <a:pt x="99" y="35"/>
                    </a:lnTo>
                    <a:lnTo>
                      <a:pt x="96" y="26"/>
                    </a:lnTo>
                    <a:lnTo>
                      <a:pt x="92" y="19"/>
                    </a:lnTo>
                    <a:lnTo>
                      <a:pt x="86" y="13"/>
                    </a:lnTo>
                    <a:lnTo>
                      <a:pt x="86" y="13"/>
                    </a:lnTo>
                    <a:lnTo>
                      <a:pt x="78" y="7"/>
                    </a:lnTo>
                    <a:lnTo>
                      <a:pt x="70" y="3"/>
                    </a:lnTo>
                    <a:lnTo>
                      <a:pt x="61" y="1"/>
                    </a:lnTo>
                    <a:lnTo>
                      <a:pt x="49" y="0"/>
                    </a:lnTo>
                    <a:lnTo>
                      <a:pt x="49" y="0"/>
                    </a:lnTo>
                    <a:lnTo>
                      <a:pt x="39" y="1"/>
                    </a:lnTo>
                    <a:lnTo>
                      <a:pt x="30" y="3"/>
                    </a:lnTo>
                    <a:lnTo>
                      <a:pt x="22" y="7"/>
                    </a:lnTo>
                    <a:lnTo>
                      <a:pt x="14" y="12"/>
                    </a:lnTo>
                    <a:lnTo>
                      <a:pt x="14" y="12"/>
                    </a:lnTo>
                    <a:lnTo>
                      <a:pt x="8" y="19"/>
                    </a:lnTo>
                    <a:lnTo>
                      <a:pt x="4" y="26"/>
                    </a:lnTo>
                    <a:lnTo>
                      <a:pt x="1" y="34"/>
                    </a:lnTo>
                    <a:lnTo>
                      <a:pt x="0" y="44"/>
                    </a:lnTo>
                    <a:lnTo>
                      <a:pt x="0" y="44"/>
                    </a:lnTo>
                    <a:lnTo>
                      <a:pt x="1" y="52"/>
                    </a:lnTo>
                    <a:lnTo>
                      <a:pt x="4" y="61"/>
                    </a:lnTo>
                    <a:lnTo>
                      <a:pt x="8" y="69"/>
                    </a:lnTo>
                    <a:lnTo>
                      <a:pt x="14" y="76"/>
                    </a:lnTo>
                    <a:lnTo>
                      <a:pt x="14" y="76"/>
                    </a:lnTo>
                    <a:lnTo>
                      <a:pt x="21" y="82"/>
                    </a:lnTo>
                    <a:lnTo>
                      <a:pt x="30" y="86"/>
                    </a:lnTo>
                    <a:lnTo>
                      <a:pt x="39" y="88"/>
                    </a:lnTo>
                    <a:lnTo>
                      <a:pt x="49" y="89"/>
                    </a:lnTo>
                    <a:lnTo>
                      <a:pt x="49" y="89"/>
                    </a:lnTo>
                    <a:lnTo>
                      <a:pt x="61" y="88"/>
                    </a:lnTo>
                    <a:lnTo>
                      <a:pt x="70" y="86"/>
                    </a:lnTo>
                    <a:lnTo>
                      <a:pt x="79" y="82"/>
                    </a:lnTo>
                    <a:lnTo>
                      <a:pt x="86" y="76"/>
                    </a:lnTo>
                    <a:lnTo>
                      <a:pt x="86" y="76"/>
                    </a:lnTo>
                    <a:lnTo>
                      <a:pt x="92" y="70"/>
                    </a:lnTo>
                    <a:lnTo>
                      <a:pt x="96" y="61"/>
                    </a:lnTo>
                    <a:lnTo>
                      <a:pt x="99" y="53"/>
                    </a:lnTo>
                    <a:lnTo>
                      <a:pt x="100" y="4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87" name="Rectangle 151"/>
              <p:cNvSpPr>
                <a:spLocks noChangeArrowheads="1"/>
              </p:cNvSpPr>
              <p:nvPr/>
            </p:nvSpPr>
            <p:spPr bwMode="auto">
              <a:xfrm>
                <a:off x="6235065" y="3369946"/>
                <a:ext cx="81916" cy="2362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541" name="Freeform 72"/>
            <p:cNvSpPr>
              <a:spLocks noEditPoints="1"/>
            </p:cNvSpPr>
            <p:nvPr/>
          </p:nvSpPr>
          <p:spPr bwMode="auto">
            <a:xfrm>
              <a:off x="2298701" y="5761464"/>
              <a:ext cx="46154" cy="49374"/>
            </a:xfrm>
            <a:custGeom>
              <a:avLst/>
              <a:gdLst>
                <a:gd name="T0" fmla="*/ 220 w 516"/>
                <a:gd name="T1" fmla="*/ 71 h 551"/>
                <a:gd name="T2" fmla="*/ 209 w 516"/>
                <a:gd name="T3" fmla="*/ 63 h 551"/>
                <a:gd name="T4" fmla="*/ 209 w 516"/>
                <a:gd name="T5" fmla="*/ 53 h 551"/>
                <a:gd name="T6" fmla="*/ 220 w 516"/>
                <a:gd name="T7" fmla="*/ 46 h 551"/>
                <a:gd name="T8" fmla="*/ 470 w 516"/>
                <a:gd name="T9" fmla="*/ 47 h 551"/>
                <a:gd name="T10" fmla="*/ 477 w 516"/>
                <a:gd name="T11" fmla="*/ 58 h 551"/>
                <a:gd name="T12" fmla="*/ 473 w 516"/>
                <a:gd name="T13" fmla="*/ 67 h 551"/>
                <a:gd name="T14" fmla="*/ 513 w 516"/>
                <a:gd name="T15" fmla="*/ 15 h 551"/>
                <a:gd name="T16" fmla="*/ 511 w 516"/>
                <a:gd name="T17" fmla="*/ 9 h 551"/>
                <a:gd name="T18" fmla="*/ 503 w 516"/>
                <a:gd name="T19" fmla="*/ 2 h 551"/>
                <a:gd name="T20" fmla="*/ 491 w 516"/>
                <a:gd name="T21" fmla="*/ 0 h 551"/>
                <a:gd name="T22" fmla="*/ 187 w 516"/>
                <a:gd name="T23" fmla="*/ 0 h 551"/>
                <a:gd name="T24" fmla="*/ 175 w 516"/>
                <a:gd name="T25" fmla="*/ 4 h 551"/>
                <a:gd name="T26" fmla="*/ 169 w 516"/>
                <a:gd name="T27" fmla="*/ 12 h 551"/>
                <a:gd name="T28" fmla="*/ 169 w 516"/>
                <a:gd name="T29" fmla="*/ 83 h 551"/>
                <a:gd name="T30" fmla="*/ 169 w 516"/>
                <a:gd name="T31" fmla="*/ 88 h 551"/>
                <a:gd name="T32" fmla="*/ 172 w 516"/>
                <a:gd name="T33" fmla="*/ 400 h 551"/>
                <a:gd name="T34" fmla="*/ 140 w 516"/>
                <a:gd name="T35" fmla="*/ 391 h 551"/>
                <a:gd name="T36" fmla="*/ 103 w 516"/>
                <a:gd name="T37" fmla="*/ 394 h 551"/>
                <a:gd name="T38" fmla="*/ 76 w 516"/>
                <a:gd name="T39" fmla="*/ 403 h 551"/>
                <a:gd name="T40" fmla="*/ 47 w 516"/>
                <a:gd name="T41" fmla="*/ 418 h 551"/>
                <a:gd name="T42" fmla="*/ 24 w 516"/>
                <a:gd name="T43" fmla="*/ 437 h 551"/>
                <a:gd name="T44" fmla="*/ 8 w 516"/>
                <a:gd name="T45" fmla="*/ 459 h 551"/>
                <a:gd name="T46" fmla="*/ 0 w 516"/>
                <a:gd name="T47" fmla="*/ 483 h 551"/>
                <a:gd name="T48" fmla="*/ 2 w 516"/>
                <a:gd name="T49" fmla="*/ 507 h 551"/>
                <a:gd name="T50" fmla="*/ 9 w 516"/>
                <a:gd name="T51" fmla="*/ 522 h 551"/>
                <a:gd name="T52" fmla="*/ 26 w 516"/>
                <a:gd name="T53" fmla="*/ 538 h 551"/>
                <a:gd name="T54" fmla="*/ 48 w 516"/>
                <a:gd name="T55" fmla="*/ 548 h 551"/>
                <a:gd name="T56" fmla="*/ 74 w 516"/>
                <a:gd name="T57" fmla="*/ 551 h 551"/>
                <a:gd name="T58" fmla="*/ 103 w 516"/>
                <a:gd name="T59" fmla="*/ 548 h 551"/>
                <a:gd name="T60" fmla="*/ 132 w 516"/>
                <a:gd name="T61" fmla="*/ 538 h 551"/>
                <a:gd name="T62" fmla="*/ 169 w 516"/>
                <a:gd name="T63" fmla="*/ 515 h 551"/>
                <a:gd name="T64" fmla="*/ 195 w 516"/>
                <a:gd name="T65" fmla="*/ 490 h 551"/>
                <a:gd name="T66" fmla="*/ 207 w 516"/>
                <a:gd name="T67" fmla="*/ 470 h 551"/>
                <a:gd name="T68" fmla="*/ 213 w 516"/>
                <a:gd name="T69" fmla="*/ 449 h 551"/>
                <a:gd name="T70" fmla="*/ 214 w 516"/>
                <a:gd name="T71" fmla="*/ 434 h 551"/>
                <a:gd name="T72" fmla="*/ 211 w 516"/>
                <a:gd name="T73" fmla="*/ 120 h 551"/>
                <a:gd name="T74" fmla="*/ 210 w 516"/>
                <a:gd name="T75" fmla="*/ 104 h 551"/>
                <a:gd name="T76" fmla="*/ 474 w 516"/>
                <a:gd name="T77" fmla="*/ 312 h 551"/>
                <a:gd name="T78" fmla="*/ 442 w 516"/>
                <a:gd name="T79" fmla="*/ 304 h 551"/>
                <a:gd name="T80" fmla="*/ 404 w 516"/>
                <a:gd name="T81" fmla="*/ 307 h 551"/>
                <a:gd name="T82" fmla="*/ 378 w 516"/>
                <a:gd name="T83" fmla="*/ 315 h 551"/>
                <a:gd name="T84" fmla="*/ 349 w 516"/>
                <a:gd name="T85" fmla="*/ 331 h 551"/>
                <a:gd name="T86" fmla="*/ 326 w 516"/>
                <a:gd name="T87" fmla="*/ 350 h 551"/>
                <a:gd name="T88" fmla="*/ 310 w 516"/>
                <a:gd name="T89" fmla="*/ 372 h 551"/>
                <a:gd name="T90" fmla="*/ 303 w 516"/>
                <a:gd name="T91" fmla="*/ 396 h 551"/>
                <a:gd name="T92" fmla="*/ 305 w 516"/>
                <a:gd name="T93" fmla="*/ 420 h 551"/>
                <a:gd name="T94" fmla="*/ 312 w 516"/>
                <a:gd name="T95" fmla="*/ 435 h 551"/>
                <a:gd name="T96" fmla="*/ 328 w 516"/>
                <a:gd name="T97" fmla="*/ 452 h 551"/>
                <a:gd name="T98" fmla="*/ 350 w 516"/>
                <a:gd name="T99" fmla="*/ 461 h 551"/>
                <a:gd name="T100" fmla="*/ 376 w 516"/>
                <a:gd name="T101" fmla="*/ 465 h 551"/>
                <a:gd name="T102" fmla="*/ 404 w 516"/>
                <a:gd name="T103" fmla="*/ 461 h 551"/>
                <a:gd name="T104" fmla="*/ 433 w 516"/>
                <a:gd name="T105" fmla="*/ 451 h 551"/>
                <a:gd name="T106" fmla="*/ 472 w 516"/>
                <a:gd name="T107" fmla="*/ 429 h 551"/>
                <a:gd name="T108" fmla="*/ 497 w 516"/>
                <a:gd name="T109" fmla="*/ 404 h 551"/>
                <a:gd name="T110" fmla="*/ 509 w 516"/>
                <a:gd name="T111" fmla="*/ 383 h 551"/>
                <a:gd name="T112" fmla="*/ 515 w 516"/>
                <a:gd name="T113" fmla="*/ 361 h 551"/>
                <a:gd name="T114" fmla="*/ 513 w 516"/>
                <a:gd name="T115" fmla="*/ 15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 h="551">
                  <a:moveTo>
                    <a:pt x="465" y="71"/>
                  </a:moveTo>
                  <a:lnTo>
                    <a:pt x="220" y="71"/>
                  </a:lnTo>
                  <a:lnTo>
                    <a:pt x="220" y="71"/>
                  </a:lnTo>
                  <a:lnTo>
                    <a:pt x="216" y="70"/>
                  </a:lnTo>
                  <a:lnTo>
                    <a:pt x="212" y="67"/>
                  </a:lnTo>
                  <a:lnTo>
                    <a:pt x="209" y="63"/>
                  </a:lnTo>
                  <a:lnTo>
                    <a:pt x="208" y="58"/>
                  </a:lnTo>
                  <a:lnTo>
                    <a:pt x="208" y="58"/>
                  </a:lnTo>
                  <a:lnTo>
                    <a:pt x="209" y="53"/>
                  </a:lnTo>
                  <a:lnTo>
                    <a:pt x="212" y="49"/>
                  </a:lnTo>
                  <a:lnTo>
                    <a:pt x="216" y="47"/>
                  </a:lnTo>
                  <a:lnTo>
                    <a:pt x="220" y="46"/>
                  </a:lnTo>
                  <a:lnTo>
                    <a:pt x="465" y="46"/>
                  </a:lnTo>
                  <a:lnTo>
                    <a:pt x="465" y="46"/>
                  </a:lnTo>
                  <a:lnTo>
                    <a:pt x="470" y="47"/>
                  </a:lnTo>
                  <a:lnTo>
                    <a:pt x="473" y="49"/>
                  </a:lnTo>
                  <a:lnTo>
                    <a:pt x="476" y="53"/>
                  </a:lnTo>
                  <a:lnTo>
                    <a:pt x="477" y="58"/>
                  </a:lnTo>
                  <a:lnTo>
                    <a:pt x="477" y="58"/>
                  </a:lnTo>
                  <a:lnTo>
                    <a:pt x="476" y="63"/>
                  </a:lnTo>
                  <a:lnTo>
                    <a:pt x="473" y="67"/>
                  </a:lnTo>
                  <a:lnTo>
                    <a:pt x="470" y="70"/>
                  </a:lnTo>
                  <a:lnTo>
                    <a:pt x="465" y="71"/>
                  </a:lnTo>
                  <a:close/>
                  <a:moveTo>
                    <a:pt x="513" y="15"/>
                  </a:moveTo>
                  <a:lnTo>
                    <a:pt x="513" y="15"/>
                  </a:lnTo>
                  <a:lnTo>
                    <a:pt x="513" y="12"/>
                  </a:lnTo>
                  <a:lnTo>
                    <a:pt x="511" y="9"/>
                  </a:lnTo>
                  <a:lnTo>
                    <a:pt x="509" y="7"/>
                  </a:lnTo>
                  <a:lnTo>
                    <a:pt x="507" y="4"/>
                  </a:lnTo>
                  <a:lnTo>
                    <a:pt x="503" y="2"/>
                  </a:lnTo>
                  <a:lnTo>
                    <a:pt x="500" y="1"/>
                  </a:lnTo>
                  <a:lnTo>
                    <a:pt x="495" y="0"/>
                  </a:lnTo>
                  <a:lnTo>
                    <a:pt x="491" y="0"/>
                  </a:lnTo>
                  <a:lnTo>
                    <a:pt x="191" y="0"/>
                  </a:lnTo>
                  <a:lnTo>
                    <a:pt x="191" y="0"/>
                  </a:lnTo>
                  <a:lnTo>
                    <a:pt x="187" y="0"/>
                  </a:lnTo>
                  <a:lnTo>
                    <a:pt x="183" y="1"/>
                  </a:lnTo>
                  <a:lnTo>
                    <a:pt x="179" y="2"/>
                  </a:lnTo>
                  <a:lnTo>
                    <a:pt x="175" y="4"/>
                  </a:lnTo>
                  <a:lnTo>
                    <a:pt x="173" y="7"/>
                  </a:lnTo>
                  <a:lnTo>
                    <a:pt x="171" y="9"/>
                  </a:lnTo>
                  <a:lnTo>
                    <a:pt x="169" y="12"/>
                  </a:lnTo>
                  <a:lnTo>
                    <a:pt x="169" y="15"/>
                  </a:lnTo>
                  <a:lnTo>
                    <a:pt x="169" y="83"/>
                  </a:lnTo>
                  <a:lnTo>
                    <a:pt x="169" y="83"/>
                  </a:lnTo>
                  <a:lnTo>
                    <a:pt x="169" y="84"/>
                  </a:lnTo>
                  <a:lnTo>
                    <a:pt x="169" y="88"/>
                  </a:lnTo>
                  <a:lnTo>
                    <a:pt x="169" y="88"/>
                  </a:lnTo>
                  <a:lnTo>
                    <a:pt x="169" y="89"/>
                  </a:lnTo>
                  <a:lnTo>
                    <a:pt x="172" y="400"/>
                  </a:lnTo>
                  <a:lnTo>
                    <a:pt x="172" y="400"/>
                  </a:lnTo>
                  <a:lnTo>
                    <a:pt x="162" y="396"/>
                  </a:lnTo>
                  <a:lnTo>
                    <a:pt x="152" y="393"/>
                  </a:lnTo>
                  <a:lnTo>
                    <a:pt x="140" y="391"/>
                  </a:lnTo>
                  <a:lnTo>
                    <a:pt x="128" y="391"/>
                  </a:lnTo>
                  <a:lnTo>
                    <a:pt x="116" y="392"/>
                  </a:lnTo>
                  <a:lnTo>
                    <a:pt x="103" y="394"/>
                  </a:lnTo>
                  <a:lnTo>
                    <a:pt x="89" y="398"/>
                  </a:lnTo>
                  <a:lnTo>
                    <a:pt x="76" y="403"/>
                  </a:lnTo>
                  <a:lnTo>
                    <a:pt x="76" y="403"/>
                  </a:lnTo>
                  <a:lnTo>
                    <a:pt x="66" y="408"/>
                  </a:lnTo>
                  <a:lnTo>
                    <a:pt x="56" y="413"/>
                  </a:lnTo>
                  <a:lnTo>
                    <a:pt x="47" y="418"/>
                  </a:lnTo>
                  <a:lnTo>
                    <a:pt x="39" y="424"/>
                  </a:lnTo>
                  <a:lnTo>
                    <a:pt x="31" y="431"/>
                  </a:lnTo>
                  <a:lnTo>
                    <a:pt x="24" y="437"/>
                  </a:lnTo>
                  <a:lnTo>
                    <a:pt x="18" y="444"/>
                  </a:lnTo>
                  <a:lnTo>
                    <a:pt x="13" y="452"/>
                  </a:lnTo>
                  <a:lnTo>
                    <a:pt x="8" y="459"/>
                  </a:lnTo>
                  <a:lnTo>
                    <a:pt x="4" y="467"/>
                  </a:lnTo>
                  <a:lnTo>
                    <a:pt x="2" y="475"/>
                  </a:lnTo>
                  <a:lnTo>
                    <a:pt x="0" y="483"/>
                  </a:lnTo>
                  <a:lnTo>
                    <a:pt x="0" y="491"/>
                  </a:lnTo>
                  <a:lnTo>
                    <a:pt x="1" y="499"/>
                  </a:lnTo>
                  <a:lnTo>
                    <a:pt x="2" y="507"/>
                  </a:lnTo>
                  <a:lnTo>
                    <a:pt x="5" y="515"/>
                  </a:lnTo>
                  <a:lnTo>
                    <a:pt x="5" y="515"/>
                  </a:lnTo>
                  <a:lnTo>
                    <a:pt x="9" y="522"/>
                  </a:lnTo>
                  <a:lnTo>
                    <a:pt x="15" y="528"/>
                  </a:lnTo>
                  <a:lnTo>
                    <a:pt x="20" y="533"/>
                  </a:lnTo>
                  <a:lnTo>
                    <a:pt x="26" y="538"/>
                  </a:lnTo>
                  <a:lnTo>
                    <a:pt x="33" y="542"/>
                  </a:lnTo>
                  <a:lnTo>
                    <a:pt x="40" y="545"/>
                  </a:lnTo>
                  <a:lnTo>
                    <a:pt x="48" y="548"/>
                  </a:lnTo>
                  <a:lnTo>
                    <a:pt x="57" y="550"/>
                  </a:lnTo>
                  <a:lnTo>
                    <a:pt x="65" y="551"/>
                  </a:lnTo>
                  <a:lnTo>
                    <a:pt x="74" y="551"/>
                  </a:lnTo>
                  <a:lnTo>
                    <a:pt x="84" y="551"/>
                  </a:lnTo>
                  <a:lnTo>
                    <a:pt x="93" y="550"/>
                  </a:lnTo>
                  <a:lnTo>
                    <a:pt x="103" y="548"/>
                  </a:lnTo>
                  <a:lnTo>
                    <a:pt x="112" y="545"/>
                  </a:lnTo>
                  <a:lnTo>
                    <a:pt x="122" y="542"/>
                  </a:lnTo>
                  <a:lnTo>
                    <a:pt x="132" y="538"/>
                  </a:lnTo>
                  <a:lnTo>
                    <a:pt x="132" y="538"/>
                  </a:lnTo>
                  <a:lnTo>
                    <a:pt x="152" y="527"/>
                  </a:lnTo>
                  <a:lnTo>
                    <a:pt x="169" y="515"/>
                  </a:lnTo>
                  <a:lnTo>
                    <a:pt x="183" y="503"/>
                  </a:lnTo>
                  <a:lnTo>
                    <a:pt x="189" y="497"/>
                  </a:lnTo>
                  <a:lnTo>
                    <a:pt x="195" y="490"/>
                  </a:lnTo>
                  <a:lnTo>
                    <a:pt x="199" y="484"/>
                  </a:lnTo>
                  <a:lnTo>
                    <a:pt x="203" y="477"/>
                  </a:lnTo>
                  <a:lnTo>
                    <a:pt x="207" y="470"/>
                  </a:lnTo>
                  <a:lnTo>
                    <a:pt x="209" y="463"/>
                  </a:lnTo>
                  <a:lnTo>
                    <a:pt x="211" y="456"/>
                  </a:lnTo>
                  <a:lnTo>
                    <a:pt x="213" y="449"/>
                  </a:lnTo>
                  <a:lnTo>
                    <a:pt x="214" y="441"/>
                  </a:lnTo>
                  <a:lnTo>
                    <a:pt x="214" y="434"/>
                  </a:lnTo>
                  <a:lnTo>
                    <a:pt x="214" y="434"/>
                  </a:lnTo>
                  <a:lnTo>
                    <a:pt x="212" y="216"/>
                  </a:lnTo>
                  <a:lnTo>
                    <a:pt x="211" y="120"/>
                  </a:lnTo>
                  <a:lnTo>
                    <a:pt x="211" y="120"/>
                  </a:lnTo>
                  <a:lnTo>
                    <a:pt x="211" y="106"/>
                  </a:lnTo>
                  <a:lnTo>
                    <a:pt x="211" y="106"/>
                  </a:lnTo>
                  <a:lnTo>
                    <a:pt x="210" y="104"/>
                  </a:lnTo>
                  <a:lnTo>
                    <a:pt x="472" y="104"/>
                  </a:lnTo>
                  <a:lnTo>
                    <a:pt x="474" y="312"/>
                  </a:lnTo>
                  <a:lnTo>
                    <a:pt x="474" y="312"/>
                  </a:lnTo>
                  <a:lnTo>
                    <a:pt x="465" y="308"/>
                  </a:lnTo>
                  <a:lnTo>
                    <a:pt x="454" y="305"/>
                  </a:lnTo>
                  <a:lnTo>
                    <a:pt x="442" y="304"/>
                  </a:lnTo>
                  <a:lnTo>
                    <a:pt x="430" y="303"/>
                  </a:lnTo>
                  <a:lnTo>
                    <a:pt x="417" y="304"/>
                  </a:lnTo>
                  <a:lnTo>
                    <a:pt x="404" y="307"/>
                  </a:lnTo>
                  <a:lnTo>
                    <a:pt x="391" y="310"/>
                  </a:lnTo>
                  <a:lnTo>
                    <a:pt x="378" y="315"/>
                  </a:lnTo>
                  <a:lnTo>
                    <a:pt x="378" y="315"/>
                  </a:lnTo>
                  <a:lnTo>
                    <a:pt x="367" y="320"/>
                  </a:lnTo>
                  <a:lnTo>
                    <a:pt x="358" y="325"/>
                  </a:lnTo>
                  <a:lnTo>
                    <a:pt x="349" y="331"/>
                  </a:lnTo>
                  <a:lnTo>
                    <a:pt x="340" y="337"/>
                  </a:lnTo>
                  <a:lnTo>
                    <a:pt x="333" y="343"/>
                  </a:lnTo>
                  <a:lnTo>
                    <a:pt x="326" y="350"/>
                  </a:lnTo>
                  <a:lnTo>
                    <a:pt x="320" y="357"/>
                  </a:lnTo>
                  <a:lnTo>
                    <a:pt x="315" y="364"/>
                  </a:lnTo>
                  <a:lnTo>
                    <a:pt x="310" y="372"/>
                  </a:lnTo>
                  <a:lnTo>
                    <a:pt x="307" y="379"/>
                  </a:lnTo>
                  <a:lnTo>
                    <a:pt x="304" y="388"/>
                  </a:lnTo>
                  <a:lnTo>
                    <a:pt x="303" y="396"/>
                  </a:lnTo>
                  <a:lnTo>
                    <a:pt x="302" y="404"/>
                  </a:lnTo>
                  <a:lnTo>
                    <a:pt x="303" y="412"/>
                  </a:lnTo>
                  <a:lnTo>
                    <a:pt x="305" y="420"/>
                  </a:lnTo>
                  <a:lnTo>
                    <a:pt x="308" y="428"/>
                  </a:lnTo>
                  <a:lnTo>
                    <a:pt x="308" y="428"/>
                  </a:lnTo>
                  <a:lnTo>
                    <a:pt x="312" y="435"/>
                  </a:lnTo>
                  <a:lnTo>
                    <a:pt x="316" y="441"/>
                  </a:lnTo>
                  <a:lnTo>
                    <a:pt x="322" y="447"/>
                  </a:lnTo>
                  <a:lnTo>
                    <a:pt x="328" y="452"/>
                  </a:lnTo>
                  <a:lnTo>
                    <a:pt x="334" y="456"/>
                  </a:lnTo>
                  <a:lnTo>
                    <a:pt x="342" y="459"/>
                  </a:lnTo>
                  <a:lnTo>
                    <a:pt x="350" y="461"/>
                  </a:lnTo>
                  <a:lnTo>
                    <a:pt x="358" y="463"/>
                  </a:lnTo>
                  <a:lnTo>
                    <a:pt x="367" y="464"/>
                  </a:lnTo>
                  <a:lnTo>
                    <a:pt x="376" y="465"/>
                  </a:lnTo>
                  <a:lnTo>
                    <a:pt x="385" y="464"/>
                  </a:lnTo>
                  <a:lnTo>
                    <a:pt x="395" y="463"/>
                  </a:lnTo>
                  <a:lnTo>
                    <a:pt x="404" y="461"/>
                  </a:lnTo>
                  <a:lnTo>
                    <a:pt x="414" y="459"/>
                  </a:lnTo>
                  <a:lnTo>
                    <a:pt x="424" y="455"/>
                  </a:lnTo>
                  <a:lnTo>
                    <a:pt x="433" y="451"/>
                  </a:lnTo>
                  <a:lnTo>
                    <a:pt x="433" y="451"/>
                  </a:lnTo>
                  <a:lnTo>
                    <a:pt x="454" y="440"/>
                  </a:lnTo>
                  <a:lnTo>
                    <a:pt x="472" y="429"/>
                  </a:lnTo>
                  <a:lnTo>
                    <a:pt x="486" y="416"/>
                  </a:lnTo>
                  <a:lnTo>
                    <a:pt x="492" y="410"/>
                  </a:lnTo>
                  <a:lnTo>
                    <a:pt x="497" y="404"/>
                  </a:lnTo>
                  <a:lnTo>
                    <a:pt x="502" y="397"/>
                  </a:lnTo>
                  <a:lnTo>
                    <a:pt x="506" y="390"/>
                  </a:lnTo>
                  <a:lnTo>
                    <a:pt x="509" y="383"/>
                  </a:lnTo>
                  <a:lnTo>
                    <a:pt x="512" y="376"/>
                  </a:lnTo>
                  <a:lnTo>
                    <a:pt x="514" y="368"/>
                  </a:lnTo>
                  <a:lnTo>
                    <a:pt x="515" y="361"/>
                  </a:lnTo>
                  <a:lnTo>
                    <a:pt x="516" y="354"/>
                  </a:lnTo>
                  <a:lnTo>
                    <a:pt x="516" y="346"/>
                  </a:lnTo>
                  <a:lnTo>
                    <a:pt x="513" y="1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2" name="Freeform 72"/>
            <p:cNvSpPr>
              <a:spLocks noEditPoints="1"/>
            </p:cNvSpPr>
            <p:nvPr/>
          </p:nvSpPr>
          <p:spPr bwMode="auto">
            <a:xfrm>
              <a:off x="712719" y="5758031"/>
              <a:ext cx="46154" cy="49374"/>
            </a:xfrm>
            <a:custGeom>
              <a:avLst/>
              <a:gdLst>
                <a:gd name="T0" fmla="*/ 220 w 516"/>
                <a:gd name="T1" fmla="*/ 71 h 551"/>
                <a:gd name="T2" fmla="*/ 209 w 516"/>
                <a:gd name="T3" fmla="*/ 63 h 551"/>
                <a:gd name="T4" fmla="*/ 209 w 516"/>
                <a:gd name="T5" fmla="*/ 53 h 551"/>
                <a:gd name="T6" fmla="*/ 220 w 516"/>
                <a:gd name="T7" fmla="*/ 46 h 551"/>
                <a:gd name="T8" fmla="*/ 470 w 516"/>
                <a:gd name="T9" fmla="*/ 47 h 551"/>
                <a:gd name="T10" fmla="*/ 477 w 516"/>
                <a:gd name="T11" fmla="*/ 58 h 551"/>
                <a:gd name="T12" fmla="*/ 473 w 516"/>
                <a:gd name="T13" fmla="*/ 67 h 551"/>
                <a:gd name="T14" fmla="*/ 513 w 516"/>
                <a:gd name="T15" fmla="*/ 15 h 551"/>
                <a:gd name="T16" fmla="*/ 511 w 516"/>
                <a:gd name="T17" fmla="*/ 9 h 551"/>
                <a:gd name="T18" fmla="*/ 503 w 516"/>
                <a:gd name="T19" fmla="*/ 2 h 551"/>
                <a:gd name="T20" fmla="*/ 491 w 516"/>
                <a:gd name="T21" fmla="*/ 0 h 551"/>
                <a:gd name="T22" fmla="*/ 187 w 516"/>
                <a:gd name="T23" fmla="*/ 0 h 551"/>
                <a:gd name="T24" fmla="*/ 175 w 516"/>
                <a:gd name="T25" fmla="*/ 4 h 551"/>
                <a:gd name="T26" fmla="*/ 169 w 516"/>
                <a:gd name="T27" fmla="*/ 12 h 551"/>
                <a:gd name="T28" fmla="*/ 169 w 516"/>
                <a:gd name="T29" fmla="*/ 83 h 551"/>
                <a:gd name="T30" fmla="*/ 169 w 516"/>
                <a:gd name="T31" fmla="*/ 88 h 551"/>
                <a:gd name="T32" fmla="*/ 172 w 516"/>
                <a:gd name="T33" fmla="*/ 400 h 551"/>
                <a:gd name="T34" fmla="*/ 140 w 516"/>
                <a:gd name="T35" fmla="*/ 391 h 551"/>
                <a:gd name="T36" fmla="*/ 103 w 516"/>
                <a:gd name="T37" fmla="*/ 394 h 551"/>
                <a:gd name="T38" fmla="*/ 76 w 516"/>
                <a:gd name="T39" fmla="*/ 403 h 551"/>
                <a:gd name="T40" fmla="*/ 47 w 516"/>
                <a:gd name="T41" fmla="*/ 418 h 551"/>
                <a:gd name="T42" fmla="*/ 24 w 516"/>
                <a:gd name="T43" fmla="*/ 437 h 551"/>
                <a:gd name="T44" fmla="*/ 8 w 516"/>
                <a:gd name="T45" fmla="*/ 459 h 551"/>
                <a:gd name="T46" fmla="*/ 0 w 516"/>
                <a:gd name="T47" fmla="*/ 483 h 551"/>
                <a:gd name="T48" fmla="*/ 2 w 516"/>
                <a:gd name="T49" fmla="*/ 507 h 551"/>
                <a:gd name="T50" fmla="*/ 9 w 516"/>
                <a:gd name="T51" fmla="*/ 522 h 551"/>
                <a:gd name="T52" fmla="*/ 26 w 516"/>
                <a:gd name="T53" fmla="*/ 538 h 551"/>
                <a:gd name="T54" fmla="*/ 48 w 516"/>
                <a:gd name="T55" fmla="*/ 548 h 551"/>
                <a:gd name="T56" fmla="*/ 74 w 516"/>
                <a:gd name="T57" fmla="*/ 551 h 551"/>
                <a:gd name="T58" fmla="*/ 103 w 516"/>
                <a:gd name="T59" fmla="*/ 548 h 551"/>
                <a:gd name="T60" fmla="*/ 132 w 516"/>
                <a:gd name="T61" fmla="*/ 538 h 551"/>
                <a:gd name="T62" fmla="*/ 169 w 516"/>
                <a:gd name="T63" fmla="*/ 515 h 551"/>
                <a:gd name="T64" fmla="*/ 195 w 516"/>
                <a:gd name="T65" fmla="*/ 490 h 551"/>
                <a:gd name="T66" fmla="*/ 207 w 516"/>
                <a:gd name="T67" fmla="*/ 470 h 551"/>
                <a:gd name="T68" fmla="*/ 213 w 516"/>
                <a:gd name="T69" fmla="*/ 449 h 551"/>
                <a:gd name="T70" fmla="*/ 214 w 516"/>
                <a:gd name="T71" fmla="*/ 434 h 551"/>
                <a:gd name="T72" fmla="*/ 211 w 516"/>
                <a:gd name="T73" fmla="*/ 120 h 551"/>
                <a:gd name="T74" fmla="*/ 210 w 516"/>
                <a:gd name="T75" fmla="*/ 104 h 551"/>
                <a:gd name="T76" fmla="*/ 474 w 516"/>
                <a:gd name="T77" fmla="*/ 312 h 551"/>
                <a:gd name="T78" fmla="*/ 442 w 516"/>
                <a:gd name="T79" fmla="*/ 304 h 551"/>
                <a:gd name="T80" fmla="*/ 404 w 516"/>
                <a:gd name="T81" fmla="*/ 307 h 551"/>
                <a:gd name="T82" fmla="*/ 378 w 516"/>
                <a:gd name="T83" fmla="*/ 315 h 551"/>
                <a:gd name="T84" fmla="*/ 349 w 516"/>
                <a:gd name="T85" fmla="*/ 331 h 551"/>
                <a:gd name="T86" fmla="*/ 326 w 516"/>
                <a:gd name="T87" fmla="*/ 350 h 551"/>
                <a:gd name="T88" fmla="*/ 310 w 516"/>
                <a:gd name="T89" fmla="*/ 372 h 551"/>
                <a:gd name="T90" fmla="*/ 303 w 516"/>
                <a:gd name="T91" fmla="*/ 396 h 551"/>
                <a:gd name="T92" fmla="*/ 305 w 516"/>
                <a:gd name="T93" fmla="*/ 420 h 551"/>
                <a:gd name="T94" fmla="*/ 312 w 516"/>
                <a:gd name="T95" fmla="*/ 435 h 551"/>
                <a:gd name="T96" fmla="*/ 328 w 516"/>
                <a:gd name="T97" fmla="*/ 452 h 551"/>
                <a:gd name="T98" fmla="*/ 350 w 516"/>
                <a:gd name="T99" fmla="*/ 461 h 551"/>
                <a:gd name="T100" fmla="*/ 376 w 516"/>
                <a:gd name="T101" fmla="*/ 465 h 551"/>
                <a:gd name="T102" fmla="*/ 404 w 516"/>
                <a:gd name="T103" fmla="*/ 461 h 551"/>
                <a:gd name="T104" fmla="*/ 433 w 516"/>
                <a:gd name="T105" fmla="*/ 451 h 551"/>
                <a:gd name="T106" fmla="*/ 472 w 516"/>
                <a:gd name="T107" fmla="*/ 429 h 551"/>
                <a:gd name="T108" fmla="*/ 497 w 516"/>
                <a:gd name="T109" fmla="*/ 404 h 551"/>
                <a:gd name="T110" fmla="*/ 509 w 516"/>
                <a:gd name="T111" fmla="*/ 383 h 551"/>
                <a:gd name="T112" fmla="*/ 515 w 516"/>
                <a:gd name="T113" fmla="*/ 361 h 551"/>
                <a:gd name="T114" fmla="*/ 513 w 516"/>
                <a:gd name="T115" fmla="*/ 15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 h="551">
                  <a:moveTo>
                    <a:pt x="465" y="71"/>
                  </a:moveTo>
                  <a:lnTo>
                    <a:pt x="220" y="71"/>
                  </a:lnTo>
                  <a:lnTo>
                    <a:pt x="220" y="71"/>
                  </a:lnTo>
                  <a:lnTo>
                    <a:pt x="216" y="70"/>
                  </a:lnTo>
                  <a:lnTo>
                    <a:pt x="212" y="67"/>
                  </a:lnTo>
                  <a:lnTo>
                    <a:pt x="209" y="63"/>
                  </a:lnTo>
                  <a:lnTo>
                    <a:pt x="208" y="58"/>
                  </a:lnTo>
                  <a:lnTo>
                    <a:pt x="208" y="58"/>
                  </a:lnTo>
                  <a:lnTo>
                    <a:pt x="209" y="53"/>
                  </a:lnTo>
                  <a:lnTo>
                    <a:pt x="212" y="49"/>
                  </a:lnTo>
                  <a:lnTo>
                    <a:pt x="216" y="47"/>
                  </a:lnTo>
                  <a:lnTo>
                    <a:pt x="220" y="46"/>
                  </a:lnTo>
                  <a:lnTo>
                    <a:pt x="465" y="46"/>
                  </a:lnTo>
                  <a:lnTo>
                    <a:pt x="465" y="46"/>
                  </a:lnTo>
                  <a:lnTo>
                    <a:pt x="470" y="47"/>
                  </a:lnTo>
                  <a:lnTo>
                    <a:pt x="473" y="49"/>
                  </a:lnTo>
                  <a:lnTo>
                    <a:pt x="476" y="53"/>
                  </a:lnTo>
                  <a:lnTo>
                    <a:pt x="477" y="58"/>
                  </a:lnTo>
                  <a:lnTo>
                    <a:pt x="477" y="58"/>
                  </a:lnTo>
                  <a:lnTo>
                    <a:pt x="476" y="63"/>
                  </a:lnTo>
                  <a:lnTo>
                    <a:pt x="473" y="67"/>
                  </a:lnTo>
                  <a:lnTo>
                    <a:pt x="470" y="70"/>
                  </a:lnTo>
                  <a:lnTo>
                    <a:pt x="465" y="71"/>
                  </a:lnTo>
                  <a:close/>
                  <a:moveTo>
                    <a:pt x="513" y="15"/>
                  </a:moveTo>
                  <a:lnTo>
                    <a:pt x="513" y="15"/>
                  </a:lnTo>
                  <a:lnTo>
                    <a:pt x="513" y="12"/>
                  </a:lnTo>
                  <a:lnTo>
                    <a:pt x="511" y="9"/>
                  </a:lnTo>
                  <a:lnTo>
                    <a:pt x="509" y="7"/>
                  </a:lnTo>
                  <a:lnTo>
                    <a:pt x="507" y="4"/>
                  </a:lnTo>
                  <a:lnTo>
                    <a:pt x="503" y="2"/>
                  </a:lnTo>
                  <a:lnTo>
                    <a:pt x="500" y="1"/>
                  </a:lnTo>
                  <a:lnTo>
                    <a:pt x="495" y="0"/>
                  </a:lnTo>
                  <a:lnTo>
                    <a:pt x="491" y="0"/>
                  </a:lnTo>
                  <a:lnTo>
                    <a:pt x="191" y="0"/>
                  </a:lnTo>
                  <a:lnTo>
                    <a:pt x="191" y="0"/>
                  </a:lnTo>
                  <a:lnTo>
                    <a:pt x="187" y="0"/>
                  </a:lnTo>
                  <a:lnTo>
                    <a:pt x="183" y="1"/>
                  </a:lnTo>
                  <a:lnTo>
                    <a:pt x="179" y="2"/>
                  </a:lnTo>
                  <a:lnTo>
                    <a:pt x="175" y="4"/>
                  </a:lnTo>
                  <a:lnTo>
                    <a:pt x="173" y="7"/>
                  </a:lnTo>
                  <a:lnTo>
                    <a:pt x="171" y="9"/>
                  </a:lnTo>
                  <a:lnTo>
                    <a:pt x="169" y="12"/>
                  </a:lnTo>
                  <a:lnTo>
                    <a:pt x="169" y="15"/>
                  </a:lnTo>
                  <a:lnTo>
                    <a:pt x="169" y="83"/>
                  </a:lnTo>
                  <a:lnTo>
                    <a:pt x="169" y="83"/>
                  </a:lnTo>
                  <a:lnTo>
                    <a:pt x="169" y="84"/>
                  </a:lnTo>
                  <a:lnTo>
                    <a:pt x="169" y="88"/>
                  </a:lnTo>
                  <a:lnTo>
                    <a:pt x="169" y="88"/>
                  </a:lnTo>
                  <a:lnTo>
                    <a:pt x="169" y="89"/>
                  </a:lnTo>
                  <a:lnTo>
                    <a:pt x="172" y="400"/>
                  </a:lnTo>
                  <a:lnTo>
                    <a:pt x="172" y="400"/>
                  </a:lnTo>
                  <a:lnTo>
                    <a:pt x="162" y="396"/>
                  </a:lnTo>
                  <a:lnTo>
                    <a:pt x="152" y="393"/>
                  </a:lnTo>
                  <a:lnTo>
                    <a:pt x="140" y="391"/>
                  </a:lnTo>
                  <a:lnTo>
                    <a:pt x="128" y="391"/>
                  </a:lnTo>
                  <a:lnTo>
                    <a:pt x="116" y="392"/>
                  </a:lnTo>
                  <a:lnTo>
                    <a:pt x="103" y="394"/>
                  </a:lnTo>
                  <a:lnTo>
                    <a:pt x="89" y="398"/>
                  </a:lnTo>
                  <a:lnTo>
                    <a:pt x="76" y="403"/>
                  </a:lnTo>
                  <a:lnTo>
                    <a:pt x="76" y="403"/>
                  </a:lnTo>
                  <a:lnTo>
                    <a:pt x="66" y="408"/>
                  </a:lnTo>
                  <a:lnTo>
                    <a:pt x="56" y="413"/>
                  </a:lnTo>
                  <a:lnTo>
                    <a:pt x="47" y="418"/>
                  </a:lnTo>
                  <a:lnTo>
                    <a:pt x="39" y="424"/>
                  </a:lnTo>
                  <a:lnTo>
                    <a:pt x="31" y="431"/>
                  </a:lnTo>
                  <a:lnTo>
                    <a:pt x="24" y="437"/>
                  </a:lnTo>
                  <a:lnTo>
                    <a:pt x="18" y="444"/>
                  </a:lnTo>
                  <a:lnTo>
                    <a:pt x="13" y="452"/>
                  </a:lnTo>
                  <a:lnTo>
                    <a:pt x="8" y="459"/>
                  </a:lnTo>
                  <a:lnTo>
                    <a:pt x="4" y="467"/>
                  </a:lnTo>
                  <a:lnTo>
                    <a:pt x="2" y="475"/>
                  </a:lnTo>
                  <a:lnTo>
                    <a:pt x="0" y="483"/>
                  </a:lnTo>
                  <a:lnTo>
                    <a:pt x="0" y="491"/>
                  </a:lnTo>
                  <a:lnTo>
                    <a:pt x="1" y="499"/>
                  </a:lnTo>
                  <a:lnTo>
                    <a:pt x="2" y="507"/>
                  </a:lnTo>
                  <a:lnTo>
                    <a:pt x="5" y="515"/>
                  </a:lnTo>
                  <a:lnTo>
                    <a:pt x="5" y="515"/>
                  </a:lnTo>
                  <a:lnTo>
                    <a:pt x="9" y="522"/>
                  </a:lnTo>
                  <a:lnTo>
                    <a:pt x="15" y="528"/>
                  </a:lnTo>
                  <a:lnTo>
                    <a:pt x="20" y="533"/>
                  </a:lnTo>
                  <a:lnTo>
                    <a:pt x="26" y="538"/>
                  </a:lnTo>
                  <a:lnTo>
                    <a:pt x="33" y="542"/>
                  </a:lnTo>
                  <a:lnTo>
                    <a:pt x="40" y="545"/>
                  </a:lnTo>
                  <a:lnTo>
                    <a:pt x="48" y="548"/>
                  </a:lnTo>
                  <a:lnTo>
                    <a:pt x="57" y="550"/>
                  </a:lnTo>
                  <a:lnTo>
                    <a:pt x="65" y="551"/>
                  </a:lnTo>
                  <a:lnTo>
                    <a:pt x="74" y="551"/>
                  </a:lnTo>
                  <a:lnTo>
                    <a:pt x="84" y="551"/>
                  </a:lnTo>
                  <a:lnTo>
                    <a:pt x="93" y="550"/>
                  </a:lnTo>
                  <a:lnTo>
                    <a:pt x="103" y="548"/>
                  </a:lnTo>
                  <a:lnTo>
                    <a:pt x="112" y="545"/>
                  </a:lnTo>
                  <a:lnTo>
                    <a:pt x="122" y="542"/>
                  </a:lnTo>
                  <a:lnTo>
                    <a:pt x="132" y="538"/>
                  </a:lnTo>
                  <a:lnTo>
                    <a:pt x="132" y="538"/>
                  </a:lnTo>
                  <a:lnTo>
                    <a:pt x="152" y="527"/>
                  </a:lnTo>
                  <a:lnTo>
                    <a:pt x="169" y="515"/>
                  </a:lnTo>
                  <a:lnTo>
                    <a:pt x="183" y="503"/>
                  </a:lnTo>
                  <a:lnTo>
                    <a:pt x="189" y="497"/>
                  </a:lnTo>
                  <a:lnTo>
                    <a:pt x="195" y="490"/>
                  </a:lnTo>
                  <a:lnTo>
                    <a:pt x="199" y="484"/>
                  </a:lnTo>
                  <a:lnTo>
                    <a:pt x="203" y="477"/>
                  </a:lnTo>
                  <a:lnTo>
                    <a:pt x="207" y="470"/>
                  </a:lnTo>
                  <a:lnTo>
                    <a:pt x="209" y="463"/>
                  </a:lnTo>
                  <a:lnTo>
                    <a:pt x="211" y="456"/>
                  </a:lnTo>
                  <a:lnTo>
                    <a:pt x="213" y="449"/>
                  </a:lnTo>
                  <a:lnTo>
                    <a:pt x="214" y="441"/>
                  </a:lnTo>
                  <a:lnTo>
                    <a:pt x="214" y="434"/>
                  </a:lnTo>
                  <a:lnTo>
                    <a:pt x="214" y="434"/>
                  </a:lnTo>
                  <a:lnTo>
                    <a:pt x="212" y="216"/>
                  </a:lnTo>
                  <a:lnTo>
                    <a:pt x="211" y="120"/>
                  </a:lnTo>
                  <a:lnTo>
                    <a:pt x="211" y="120"/>
                  </a:lnTo>
                  <a:lnTo>
                    <a:pt x="211" y="106"/>
                  </a:lnTo>
                  <a:lnTo>
                    <a:pt x="211" y="106"/>
                  </a:lnTo>
                  <a:lnTo>
                    <a:pt x="210" y="104"/>
                  </a:lnTo>
                  <a:lnTo>
                    <a:pt x="472" y="104"/>
                  </a:lnTo>
                  <a:lnTo>
                    <a:pt x="474" y="312"/>
                  </a:lnTo>
                  <a:lnTo>
                    <a:pt x="474" y="312"/>
                  </a:lnTo>
                  <a:lnTo>
                    <a:pt x="465" y="308"/>
                  </a:lnTo>
                  <a:lnTo>
                    <a:pt x="454" y="305"/>
                  </a:lnTo>
                  <a:lnTo>
                    <a:pt x="442" y="304"/>
                  </a:lnTo>
                  <a:lnTo>
                    <a:pt x="430" y="303"/>
                  </a:lnTo>
                  <a:lnTo>
                    <a:pt x="417" y="304"/>
                  </a:lnTo>
                  <a:lnTo>
                    <a:pt x="404" y="307"/>
                  </a:lnTo>
                  <a:lnTo>
                    <a:pt x="391" y="310"/>
                  </a:lnTo>
                  <a:lnTo>
                    <a:pt x="378" y="315"/>
                  </a:lnTo>
                  <a:lnTo>
                    <a:pt x="378" y="315"/>
                  </a:lnTo>
                  <a:lnTo>
                    <a:pt x="367" y="320"/>
                  </a:lnTo>
                  <a:lnTo>
                    <a:pt x="358" y="325"/>
                  </a:lnTo>
                  <a:lnTo>
                    <a:pt x="349" y="331"/>
                  </a:lnTo>
                  <a:lnTo>
                    <a:pt x="340" y="337"/>
                  </a:lnTo>
                  <a:lnTo>
                    <a:pt x="333" y="343"/>
                  </a:lnTo>
                  <a:lnTo>
                    <a:pt x="326" y="350"/>
                  </a:lnTo>
                  <a:lnTo>
                    <a:pt x="320" y="357"/>
                  </a:lnTo>
                  <a:lnTo>
                    <a:pt x="315" y="364"/>
                  </a:lnTo>
                  <a:lnTo>
                    <a:pt x="310" y="372"/>
                  </a:lnTo>
                  <a:lnTo>
                    <a:pt x="307" y="379"/>
                  </a:lnTo>
                  <a:lnTo>
                    <a:pt x="304" y="388"/>
                  </a:lnTo>
                  <a:lnTo>
                    <a:pt x="303" y="396"/>
                  </a:lnTo>
                  <a:lnTo>
                    <a:pt x="302" y="404"/>
                  </a:lnTo>
                  <a:lnTo>
                    <a:pt x="303" y="412"/>
                  </a:lnTo>
                  <a:lnTo>
                    <a:pt x="305" y="420"/>
                  </a:lnTo>
                  <a:lnTo>
                    <a:pt x="308" y="428"/>
                  </a:lnTo>
                  <a:lnTo>
                    <a:pt x="308" y="428"/>
                  </a:lnTo>
                  <a:lnTo>
                    <a:pt x="312" y="435"/>
                  </a:lnTo>
                  <a:lnTo>
                    <a:pt x="316" y="441"/>
                  </a:lnTo>
                  <a:lnTo>
                    <a:pt x="322" y="447"/>
                  </a:lnTo>
                  <a:lnTo>
                    <a:pt x="328" y="452"/>
                  </a:lnTo>
                  <a:lnTo>
                    <a:pt x="334" y="456"/>
                  </a:lnTo>
                  <a:lnTo>
                    <a:pt x="342" y="459"/>
                  </a:lnTo>
                  <a:lnTo>
                    <a:pt x="350" y="461"/>
                  </a:lnTo>
                  <a:lnTo>
                    <a:pt x="358" y="463"/>
                  </a:lnTo>
                  <a:lnTo>
                    <a:pt x="367" y="464"/>
                  </a:lnTo>
                  <a:lnTo>
                    <a:pt x="376" y="465"/>
                  </a:lnTo>
                  <a:lnTo>
                    <a:pt x="385" y="464"/>
                  </a:lnTo>
                  <a:lnTo>
                    <a:pt x="395" y="463"/>
                  </a:lnTo>
                  <a:lnTo>
                    <a:pt x="404" y="461"/>
                  </a:lnTo>
                  <a:lnTo>
                    <a:pt x="414" y="459"/>
                  </a:lnTo>
                  <a:lnTo>
                    <a:pt x="424" y="455"/>
                  </a:lnTo>
                  <a:lnTo>
                    <a:pt x="433" y="451"/>
                  </a:lnTo>
                  <a:lnTo>
                    <a:pt x="433" y="451"/>
                  </a:lnTo>
                  <a:lnTo>
                    <a:pt x="454" y="440"/>
                  </a:lnTo>
                  <a:lnTo>
                    <a:pt x="472" y="429"/>
                  </a:lnTo>
                  <a:lnTo>
                    <a:pt x="486" y="416"/>
                  </a:lnTo>
                  <a:lnTo>
                    <a:pt x="492" y="410"/>
                  </a:lnTo>
                  <a:lnTo>
                    <a:pt x="497" y="404"/>
                  </a:lnTo>
                  <a:lnTo>
                    <a:pt x="502" y="397"/>
                  </a:lnTo>
                  <a:lnTo>
                    <a:pt x="506" y="390"/>
                  </a:lnTo>
                  <a:lnTo>
                    <a:pt x="509" y="383"/>
                  </a:lnTo>
                  <a:lnTo>
                    <a:pt x="512" y="376"/>
                  </a:lnTo>
                  <a:lnTo>
                    <a:pt x="514" y="368"/>
                  </a:lnTo>
                  <a:lnTo>
                    <a:pt x="515" y="361"/>
                  </a:lnTo>
                  <a:lnTo>
                    <a:pt x="516" y="354"/>
                  </a:lnTo>
                  <a:lnTo>
                    <a:pt x="516" y="346"/>
                  </a:lnTo>
                  <a:lnTo>
                    <a:pt x="513" y="1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43" name="Freeform 67"/>
            <p:cNvSpPr>
              <a:spLocks noEditPoints="1"/>
            </p:cNvSpPr>
            <p:nvPr/>
          </p:nvSpPr>
          <p:spPr bwMode="auto">
            <a:xfrm>
              <a:off x="1013843" y="6038181"/>
              <a:ext cx="57343" cy="44745"/>
            </a:xfrm>
            <a:custGeom>
              <a:avLst/>
              <a:gdLst>
                <a:gd name="T0" fmla="*/ 302 w 611"/>
                <a:gd name="T1" fmla="*/ 0 h 475"/>
                <a:gd name="T2" fmla="*/ 315 w 611"/>
                <a:gd name="T3" fmla="*/ 21 h 475"/>
                <a:gd name="T4" fmla="*/ 309 w 611"/>
                <a:gd name="T5" fmla="*/ 471 h 475"/>
                <a:gd name="T6" fmla="*/ 284 w 611"/>
                <a:gd name="T7" fmla="*/ 469 h 475"/>
                <a:gd name="T8" fmla="*/ 9 w 611"/>
                <a:gd name="T9" fmla="*/ 365 h 475"/>
                <a:gd name="T10" fmla="*/ 0 w 611"/>
                <a:gd name="T11" fmla="*/ 118 h 475"/>
                <a:gd name="T12" fmla="*/ 9 w 611"/>
                <a:gd name="T13" fmla="*/ 109 h 475"/>
                <a:gd name="T14" fmla="*/ 526 w 611"/>
                <a:gd name="T15" fmla="*/ 34 h 475"/>
                <a:gd name="T16" fmla="*/ 562 w 611"/>
                <a:gd name="T17" fmla="*/ 78 h 475"/>
                <a:gd name="T18" fmla="*/ 593 w 611"/>
                <a:gd name="T19" fmla="*/ 141 h 475"/>
                <a:gd name="T20" fmla="*/ 610 w 611"/>
                <a:gd name="T21" fmla="*/ 209 h 475"/>
                <a:gd name="T22" fmla="*/ 610 w 611"/>
                <a:gd name="T23" fmla="*/ 266 h 475"/>
                <a:gd name="T24" fmla="*/ 593 w 611"/>
                <a:gd name="T25" fmla="*/ 334 h 475"/>
                <a:gd name="T26" fmla="*/ 562 w 611"/>
                <a:gd name="T27" fmla="*/ 397 h 475"/>
                <a:gd name="T28" fmla="*/ 526 w 611"/>
                <a:gd name="T29" fmla="*/ 440 h 475"/>
                <a:gd name="T30" fmla="*/ 512 w 611"/>
                <a:gd name="T31" fmla="*/ 446 h 475"/>
                <a:gd name="T32" fmla="*/ 497 w 611"/>
                <a:gd name="T33" fmla="*/ 440 h 475"/>
                <a:gd name="T34" fmla="*/ 491 w 611"/>
                <a:gd name="T35" fmla="*/ 422 h 475"/>
                <a:gd name="T36" fmla="*/ 513 w 611"/>
                <a:gd name="T37" fmla="*/ 393 h 475"/>
                <a:gd name="T38" fmla="*/ 564 w 611"/>
                <a:gd name="T39" fmla="*/ 285 h 475"/>
                <a:gd name="T40" fmla="*/ 564 w 611"/>
                <a:gd name="T41" fmla="*/ 189 h 475"/>
                <a:gd name="T42" fmla="*/ 513 w 611"/>
                <a:gd name="T43" fmla="*/ 82 h 475"/>
                <a:gd name="T44" fmla="*/ 491 w 611"/>
                <a:gd name="T45" fmla="*/ 53 h 475"/>
                <a:gd name="T46" fmla="*/ 497 w 611"/>
                <a:gd name="T47" fmla="*/ 34 h 475"/>
                <a:gd name="T48" fmla="*/ 512 w 611"/>
                <a:gd name="T49" fmla="*/ 28 h 475"/>
                <a:gd name="T50" fmla="*/ 384 w 611"/>
                <a:gd name="T51" fmla="*/ 142 h 475"/>
                <a:gd name="T52" fmla="*/ 415 w 611"/>
                <a:gd name="T53" fmla="*/ 186 h 475"/>
                <a:gd name="T54" fmla="*/ 425 w 611"/>
                <a:gd name="T55" fmla="*/ 237 h 475"/>
                <a:gd name="T56" fmla="*/ 409 w 611"/>
                <a:gd name="T57" fmla="*/ 301 h 475"/>
                <a:gd name="T58" fmla="*/ 381 w 611"/>
                <a:gd name="T59" fmla="*/ 336 h 475"/>
                <a:gd name="T60" fmla="*/ 366 w 611"/>
                <a:gd name="T61" fmla="*/ 339 h 475"/>
                <a:gd name="T62" fmla="*/ 352 w 611"/>
                <a:gd name="T63" fmla="*/ 330 h 475"/>
                <a:gd name="T64" fmla="*/ 350 w 611"/>
                <a:gd name="T65" fmla="*/ 310 h 475"/>
                <a:gd name="T66" fmla="*/ 367 w 611"/>
                <a:gd name="T67" fmla="*/ 289 h 475"/>
                <a:gd name="T68" fmla="*/ 382 w 611"/>
                <a:gd name="T69" fmla="*/ 247 h 475"/>
                <a:gd name="T70" fmla="*/ 378 w 611"/>
                <a:gd name="T71" fmla="*/ 210 h 475"/>
                <a:gd name="T72" fmla="*/ 355 w 611"/>
                <a:gd name="T73" fmla="*/ 171 h 475"/>
                <a:gd name="T74" fmla="*/ 349 w 611"/>
                <a:gd name="T75" fmla="*/ 157 h 475"/>
                <a:gd name="T76" fmla="*/ 355 w 611"/>
                <a:gd name="T77" fmla="*/ 142 h 475"/>
                <a:gd name="T78" fmla="*/ 374 w 611"/>
                <a:gd name="T79" fmla="*/ 136 h 475"/>
                <a:gd name="T80" fmla="*/ 457 w 611"/>
                <a:gd name="T81" fmla="*/ 87 h 475"/>
                <a:gd name="T82" fmla="*/ 510 w 611"/>
                <a:gd name="T83" fmla="*/ 177 h 475"/>
                <a:gd name="T84" fmla="*/ 515 w 611"/>
                <a:gd name="T85" fmla="*/ 278 h 475"/>
                <a:gd name="T86" fmla="*/ 471 w 611"/>
                <a:gd name="T87" fmla="*/ 372 h 475"/>
                <a:gd name="T88" fmla="*/ 446 w 611"/>
                <a:gd name="T89" fmla="*/ 394 h 475"/>
                <a:gd name="T90" fmla="*/ 431 w 611"/>
                <a:gd name="T91" fmla="*/ 391 h 475"/>
                <a:gd name="T92" fmla="*/ 422 w 611"/>
                <a:gd name="T93" fmla="*/ 377 h 475"/>
                <a:gd name="T94" fmla="*/ 427 w 611"/>
                <a:gd name="T95" fmla="*/ 359 h 475"/>
                <a:gd name="T96" fmla="*/ 465 w 611"/>
                <a:gd name="T97" fmla="*/ 301 h 475"/>
                <a:gd name="T98" fmla="*/ 476 w 611"/>
                <a:gd name="T99" fmla="*/ 221 h 475"/>
                <a:gd name="T100" fmla="*/ 449 w 611"/>
                <a:gd name="T101" fmla="*/ 144 h 475"/>
                <a:gd name="T102" fmla="*/ 423 w 611"/>
                <a:gd name="T103" fmla="*/ 109 h 475"/>
                <a:gd name="T104" fmla="*/ 425 w 611"/>
                <a:gd name="T105" fmla="*/ 90 h 475"/>
                <a:gd name="T106" fmla="*/ 438 w 611"/>
                <a:gd name="T107" fmla="*/ 81 h 475"/>
                <a:gd name="T108" fmla="*/ 457 w 611"/>
                <a:gd name="T109" fmla="*/ 87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1" h="475">
                  <a:moveTo>
                    <a:pt x="284" y="6"/>
                  </a:moveTo>
                  <a:lnTo>
                    <a:pt x="284" y="6"/>
                  </a:lnTo>
                  <a:lnTo>
                    <a:pt x="291" y="2"/>
                  </a:lnTo>
                  <a:lnTo>
                    <a:pt x="296" y="0"/>
                  </a:lnTo>
                  <a:lnTo>
                    <a:pt x="302" y="0"/>
                  </a:lnTo>
                  <a:lnTo>
                    <a:pt x="306" y="1"/>
                  </a:lnTo>
                  <a:lnTo>
                    <a:pt x="310" y="4"/>
                  </a:lnTo>
                  <a:lnTo>
                    <a:pt x="313" y="8"/>
                  </a:lnTo>
                  <a:lnTo>
                    <a:pt x="314" y="14"/>
                  </a:lnTo>
                  <a:lnTo>
                    <a:pt x="315" y="21"/>
                  </a:lnTo>
                  <a:lnTo>
                    <a:pt x="314" y="453"/>
                  </a:lnTo>
                  <a:lnTo>
                    <a:pt x="314" y="453"/>
                  </a:lnTo>
                  <a:lnTo>
                    <a:pt x="314" y="461"/>
                  </a:lnTo>
                  <a:lnTo>
                    <a:pt x="312" y="467"/>
                  </a:lnTo>
                  <a:lnTo>
                    <a:pt x="309" y="471"/>
                  </a:lnTo>
                  <a:lnTo>
                    <a:pt x="305" y="474"/>
                  </a:lnTo>
                  <a:lnTo>
                    <a:pt x="301" y="475"/>
                  </a:lnTo>
                  <a:lnTo>
                    <a:pt x="296" y="475"/>
                  </a:lnTo>
                  <a:lnTo>
                    <a:pt x="290" y="472"/>
                  </a:lnTo>
                  <a:lnTo>
                    <a:pt x="284" y="469"/>
                  </a:lnTo>
                  <a:lnTo>
                    <a:pt x="154" y="370"/>
                  </a:lnTo>
                  <a:lnTo>
                    <a:pt x="154" y="370"/>
                  </a:lnTo>
                  <a:lnTo>
                    <a:pt x="149" y="365"/>
                  </a:lnTo>
                  <a:lnTo>
                    <a:pt x="9" y="365"/>
                  </a:lnTo>
                  <a:lnTo>
                    <a:pt x="9" y="365"/>
                  </a:lnTo>
                  <a:lnTo>
                    <a:pt x="6" y="364"/>
                  </a:lnTo>
                  <a:lnTo>
                    <a:pt x="3" y="363"/>
                  </a:lnTo>
                  <a:lnTo>
                    <a:pt x="1" y="360"/>
                  </a:lnTo>
                  <a:lnTo>
                    <a:pt x="0" y="356"/>
                  </a:lnTo>
                  <a:lnTo>
                    <a:pt x="0" y="118"/>
                  </a:lnTo>
                  <a:lnTo>
                    <a:pt x="0" y="118"/>
                  </a:lnTo>
                  <a:lnTo>
                    <a:pt x="1" y="115"/>
                  </a:lnTo>
                  <a:lnTo>
                    <a:pt x="3" y="112"/>
                  </a:lnTo>
                  <a:lnTo>
                    <a:pt x="6" y="110"/>
                  </a:lnTo>
                  <a:lnTo>
                    <a:pt x="9" y="109"/>
                  </a:lnTo>
                  <a:lnTo>
                    <a:pt x="151" y="109"/>
                  </a:lnTo>
                  <a:lnTo>
                    <a:pt x="151" y="109"/>
                  </a:lnTo>
                  <a:lnTo>
                    <a:pt x="155" y="105"/>
                  </a:lnTo>
                  <a:lnTo>
                    <a:pt x="284" y="6"/>
                  </a:lnTo>
                  <a:close/>
                  <a:moveTo>
                    <a:pt x="526" y="34"/>
                  </a:moveTo>
                  <a:lnTo>
                    <a:pt x="526" y="34"/>
                  </a:lnTo>
                  <a:lnTo>
                    <a:pt x="536" y="45"/>
                  </a:lnTo>
                  <a:lnTo>
                    <a:pt x="545" y="56"/>
                  </a:lnTo>
                  <a:lnTo>
                    <a:pt x="554" y="67"/>
                  </a:lnTo>
                  <a:lnTo>
                    <a:pt x="562" y="78"/>
                  </a:lnTo>
                  <a:lnTo>
                    <a:pt x="570" y="90"/>
                  </a:lnTo>
                  <a:lnTo>
                    <a:pt x="577" y="102"/>
                  </a:lnTo>
                  <a:lnTo>
                    <a:pt x="583" y="114"/>
                  </a:lnTo>
                  <a:lnTo>
                    <a:pt x="588" y="128"/>
                  </a:lnTo>
                  <a:lnTo>
                    <a:pt x="593" y="141"/>
                  </a:lnTo>
                  <a:lnTo>
                    <a:pt x="598" y="154"/>
                  </a:lnTo>
                  <a:lnTo>
                    <a:pt x="602" y="168"/>
                  </a:lnTo>
                  <a:lnTo>
                    <a:pt x="606" y="181"/>
                  </a:lnTo>
                  <a:lnTo>
                    <a:pt x="608" y="195"/>
                  </a:lnTo>
                  <a:lnTo>
                    <a:pt x="610" y="209"/>
                  </a:lnTo>
                  <a:lnTo>
                    <a:pt x="611" y="223"/>
                  </a:lnTo>
                  <a:lnTo>
                    <a:pt x="611" y="237"/>
                  </a:lnTo>
                  <a:lnTo>
                    <a:pt x="611" y="237"/>
                  </a:lnTo>
                  <a:lnTo>
                    <a:pt x="611" y="252"/>
                  </a:lnTo>
                  <a:lnTo>
                    <a:pt x="610" y="266"/>
                  </a:lnTo>
                  <a:lnTo>
                    <a:pt x="608" y="280"/>
                  </a:lnTo>
                  <a:lnTo>
                    <a:pt x="606" y="294"/>
                  </a:lnTo>
                  <a:lnTo>
                    <a:pt x="602" y="307"/>
                  </a:lnTo>
                  <a:lnTo>
                    <a:pt x="598" y="321"/>
                  </a:lnTo>
                  <a:lnTo>
                    <a:pt x="593" y="334"/>
                  </a:lnTo>
                  <a:lnTo>
                    <a:pt x="588" y="347"/>
                  </a:lnTo>
                  <a:lnTo>
                    <a:pt x="583" y="360"/>
                  </a:lnTo>
                  <a:lnTo>
                    <a:pt x="577" y="373"/>
                  </a:lnTo>
                  <a:lnTo>
                    <a:pt x="570" y="385"/>
                  </a:lnTo>
                  <a:lnTo>
                    <a:pt x="562" y="397"/>
                  </a:lnTo>
                  <a:lnTo>
                    <a:pt x="554" y="408"/>
                  </a:lnTo>
                  <a:lnTo>
                    <a:pt x="545" y="419"/>
                  </a:lnTo>
                  <a:lnTo>
                    <a:pt x="536" y="430"/>
                  </a:lnTo>
                  <a:lnTo>
                    <a:pt x="526" y="440"/>
                  </a:lnTo>
                  <a:lnTo>
                    <a:pt x="526" y="440"/>
                  </a:lnTo>
                  <a:lnTo>
                    <a:pt x="523" y="443"/>
                  </a:lnTo>
                  <a:lnTo>
                    <a:pt x="520" y="445"/>
                  </a:lnTo>
                  <a:lnTo>
                    <a:pt x="516" y="446"/>
                  </a:lnTo>
                  <a:lnTo>
                    <a:pt x="512" y="446"/>
                  </a:lnTo>
                  <a:lnTo>
                    <a:pt x="512" y="446"/>
                  </a:lnTo>
                  <a:lnTo>
                    <a:pt x="508" y="446"/>
                  </a:lnTo>
                  <a:lnTo>
                    <a:pt x="504" y="445"/>
                  </a:lnTo>
                  <a:lnTo>
                    <a:pt x="500" y="443"/>
                  </a:lnTo>
                  <a:lnTo>
                    <a:pt x="497" y="440"/>
                  </a:lnTo>
                  <a:lnTo>
                    <a:pt x="497" y="440"/>
                  </a:lnTo>
                  <a:lnTo>
                    <a:pt x="494" y="437"/>
                  </a:lnTo>
                  <a:lnTo>
                    <a:pt x="492" y="433"/>
                  </a:lnTo>
                  <a:lnTo>
                    <a:pt x="491" y="430"/>
                  </a:lnTo>
                  <a:lnTo>
                    <a:pt x="491" y="426"/>
                  </a:lnTo>
                  <a:lnTo>
                    <a:pt x="491" y="422"/>
                  </a:lnTo>
                  <a:lnTo>
                    <a:pt x="492" y="418"/>
                  </a:lnTo>
                  <a:lnTo>
                    <a:pt x="494" y="414"/>
                  </a:lnTo>
                  <a:lnTo>
                    <a:pt x="497" y="411"/>
                  </a:lnTo>
                  <a:lnTo>
                    <a:pt x="497" y="411"/>
                  </a:lnTo>
                  <a:lnTo>
                    <a:pt x="513" y="393"/>
                  </a:lnTo>
                  <a:lnTo>
                    <a:pt x="527" y="374"/>
                  </a:lnTo>
                  <a:lnTo>
                    <a:pt x="540" y="353"/>
                  </a:lnTo>
                  <a:lnTo>
                    <a:pt x="550" y="331"/>
                  </a:lnTo>
                  <a:lnTo>
                    <a:pt x="558" y="308"/>
                  </a:lnTo>
                  <a:lnTo>
                    <a:pt x="564" y="285"/>
                  </a:lnTo>
                  <a:lnTo>
                    <a:pt x="567" y="262"/>
                  </a:lnTo>
                  <a:lnTo>
                    <a:pt x="568" y="237"/>
                  </a:lnTo>
                  <a:lnTo>
                    <a:pt x="568" y="237"/>
                  </a:lnTo>
                  <a:lnTo>
                    <a:pt x="567" y="213"/>
                  </a:lnTo>
                  <a:lnTo>
                    <a:pt x="564" y="189"/>
                  </a:lnTo>
                  <a:lnTo>
                    <a:pt x="558" y="166"/>
                  </a:lnTo>
                  <a:lnTo>
                    <a:pt x="550" y="144"/>
                  </a:lnTo>
                  <a:lnTo>
                    <a:pt x="540" y="122"/>
                  </a:lnTo>
                  <a:lnTo>
                    <a:pt x="527" y="101"/>
                  </a:lnTo>
                  <a:lnTo>
                    <a:pt x="513" y="82"/>
                  </a:lnTo>
                  <a:lnTo>
                    <a:pt x="497" y="64"/>
                  </a:lnTo>
                  <a:lnTo>
                    <a:pt x="497" y="64"/>
                  </a:lnTo>
                  <a:lnTo>
                    <a:pt x="494" y="61"/>
                  </a:lnTo>
                  <a:lnTo>
                    <a:pt x="492" y="57"/>
                  </a:lnTo>
                  <a:lnTo>
                    <a:pt x="491" y="53"/>
                  </a:lnTo>
                  <a:lnTo>
                    <a:pt x="491" y="49"/>
                  </a:lnTo>
                  <a:lnTo>
                    <a:pt x="491" y="45"/>
                  </a:lnTo>
                  <a:lnTo>
                    <a:pt x="492" y="41"/>
                  </a:lnTo>
                  <a:lnTo>
                    <a:pt x="494" y="38"/>
                  </a:lnTo>
                  <a:lnTo>
                    <a:pt x="497" y="34"/>
                  </a:lnTo>
                  <a:lnTo>
                    <a:pt x="497" y="34"/>
                  </a:lnTo>
                  <a:lnTo>
                    <a:pt x="500" y="32"/>
                  </a:lnTo>
                  <a:lnTo>
                    <a:pt x="504" y="30"/>
                  </a:lnTo>
                  <a:lnTo>
                    <a:pt x="508" y="29"/>
                  </a:lnTo>
                  <a:lnTo>
                    <a:pt x="512" y="28"/>
                  </a:lnTo>
                  <a:lnTo>
                    <a:pt x="516" y="29"/>
                  </a:lnTo>
                  <a:lnTo>
                    <a:pt x="519" y="30"/>
                  </a:lnTo>
                  <a:lnTo>
                    <a:pt x="523" y="32"/>
                  </a:lnTo>
                  <a:lnTo>
                    <a:pt x="526" y="34"/>
                  </a:lnTo>
                  <a:close/>
                  <a:moveTo>
                    <a:pt x="384" y="142"/>
                  </a:moveTo>
                  <a:lnTo>
                    <a:pt x="384" y="142"/>
                  </a:lnTo>
                  <a:lnTo>
                    <a:pt x="394" y="152"/>
                  </a:lnTo>
                  <a:lnTo>
                    <a:pt x="402" y="162"/>
                  </a:lnTo>
                  <a:lnTo>
                    <a:pt x="409" y="174"/>
                  </a:lnTo>
                  <a:lnTo>
                    <a:pt x="415" y="186"/>
                  </a:lnTo>
                  <a:lnTo>
                    <a:pt x="419" y="198"/>
                  </a:lnTo>
                  <a:lnTo>
                    <a:pt x="422" y="211"/>
                  </a:lnTo>
                  <a:lnTo>
                    <a:pt x="424" y="224"/>
                  </a:lnTo>
                  <a:lnTo>
                    <a:pt x="425" y="237"/>
                  </a:lnTo>
                  <a:lnTo>
                    <a:pt x="425" y="237"/>
                  </a:lnTo>
                  <a:lnTo>
                    <a:pt x="424" y="251"/>
                  </a:lnTo>
                  <a:lnTo>
                    <a:pt x="422" y="264"/>
                  </a:lnTo>
                  <a:lnTo>
                    <a:pt x="419" y="277"/>
                  </a:lnTo>
                  <a:lnTo>
                    <a:pt x="415" y="289"/>
                  </a:lnTo>
                  <a:lnTo>
                    <a:pt x="409" y="301"/>
                  </a:lnTo>
                  <a:lnTo>
                    <a:pt x="402" y="312"/>
                  </a:lnTo>
                  <a:lnTo>
                    <a:pt x="394" y="323"/>
                  </a:lnTo>
                  <a:lnTo>
                    <a:pt x="384" y="333"/>
                  </a:lnTo>
                  <a:lnTo>
                    <a:pt x="384" y="333"/>
                  </a:lnTo>
                  <a:lnTo>
                    <a:pt x="381" y="336"/>
                  </a:lnTo>
                  <a:lnTo>
                    <a:pt x="378" y="338"/>
                  </a:lnTo>
                  <a:lnTo>
                    <a:pt x="374" y="339"/>
                  </a:lnTo>
                  <a:lnTo>
                    <a:pt x="370" y="339"/>
                  </a:lnTo>
                  <a:lnTo>
                    <a:pt x="370" y="339"/>
                  </a:lnTo>
                  <a:lnTo>
                    <a:pt x="366" y="339"/>
                  </a:lnTo>
                  <a:lnTo>
                    <a:pt x="362" y="338"/>
                  </a:lnTo>
                  <a:lnTo>
                    <a:pt x="358" y="336"/>
                  </a:lnTo>
                  <a:lnTo>
                    <a:pt x="355" y="333"/>
                  </a:lnTo>
                  <a:lnTo>
                    <a:pt x="355" y="333"/>
                  </a:lnTo>
                  <a:lnTo>
                    <a:pt x="352" y="330"/>
                  </a:lnTo>
                  <a:lnTo>
                    <a:pt x="350" y="326"/>
                  </a:lnTo>
                  <a:lnTo>
                    <a:pt x="349" y="322"/>
                  </a:lnTo>
                  <a:lnTo>
                    <a:pt x="349" y="318"/>
                  </a:lnTo>
                  <a:lnTo>
                    <a:pt x="349" y="314"/>
                  </a:lnTo>
                  <a:lnTo>
                    <a:pt x="350" y="310"/>
                  </a:lnTo>
                  <a:lnTo>
                    <a:pt x="352" y="307"/>
                  </a:lnTo>
                  <a:lnTo>
                    <a:pt x="355" y="303"/>
                  </a:lnTo>
                  <a:lnTo>
                    <a:pt x="355" y="303"/>
                  </a:lnTo>
                  <a:lnTo>
                    <a:pt x="361" y="297"/>
                  </a:lnTo>
                  <a:lnTo>
                    <a:pt x="367" y="289"/>
                  </a:lnTo>
                  <a:lnTo>
                    <a:pt x="371" y="281"/>
                  </a:lnTo>
                  <a:lnTo>
                    <a:pt x="375" y="273"/>
                  </a:lnTo>
                  <a:lnTo>
                    <a:pt x="378" y="265"/>
                  </a:lnTo>
                  <a:lnTo>
                    <a:pt x="380" y="256"/>
                  </a:lnTo>
                  <a:lnTo>
                    <a:pt x="382" y="247"/>
                  </a:lnTo>
                  <a:lnTo>
                    <a:pt x="382" y="237"/>
                  </a:lnTo>
                  <a:lnTo>
                    <a:pt x="382" y="237"/>
                  </a:lnTo>
                  <a:lnTo>
                    <a:pt x="382" y="228"/>
                  </a:lnTo>
                  <a:lnTo>
                    <a:pt x="380" y="219"/>
                  </a:lnTo>
                  <a:lnTo>
                    <a:pt x="378" y="210"/>
                  </a:lnTo>
                  <a:lnTo>
                    <a:pt x="375" y="202"/>
                  </a:lnTo>
                  <a:lnTo>
                    <a:pt x="371" y="193"/>
                  </a:lnTo>
                  <a:lnTo>
                    <a:pt x="367" y="186"/>
                  </a:lnTo>
                  <a:lnTo>
                    <a:pt x="361" y="178"/>
                  </a:lnTo>
                  <a:lnTo>
                    <a:pt x="355" y="171"/>
                  </a:lnTo>
                  <a:lnTo>
                    <a:pt x="355" y="171"/>
                  </a:lnTo>
                  <a:lnTo>
                    <a:pt x="352" y="168"/>
                  </a:lnTo>
                  <a:lnTo>
                    <a:pt x="350" y="165"/>
                  </a:lnTo>
                  <a:lnTo>
                    <a:pt x="349" y="161"/>
                  </a:lnTo>
                  <a:lnTo>
                    <a:pt x="349" y="157"/>
                  </a:lnTo>
                  <a:lnTo>
                    <a:pt x="349" y="153"/>
                  </a:lnTo>
                  <a:lnTo>
                    <a:pt x="350" y="149"/>
                  </a:lnTo>
                  <a:lnTo>
                    <a:pt x="352" y="145"/>
                  </a:lnTo>
                  <a:lnTo>
                    <a:pt x="355" y="142"/>
                  </a:lnTo>
                  <a:lnTo>
                    <a:pt x="355" y="142"/>
                  </a:lnTo>
                  <a:lnTo>
                    <a:pt x="358" y="139"/>
                  </a:lnTo>
                  <a:lnTo>
                    <a:pt x="362" y="137"/>
                  </a:lnTo>
                  <a:lnTo>
                    <a:pt x="366" y="136"/>
                  </a:lnTo>
                  <a:lnTo>
                    <a:pt x="370" y="136"/>
                  </a:lnTo>
                  <a:lnTo>
                    <a:pt x="374" y="136"/>
                  </a:lnTo>
                  <a:lnTo>
                    <a:pt x="378" y="137"/>
                  </a:lnTo>
                  <a:lnTo>
                    <a:pt x="381" y="139"/>
                  </a:lnTo>
                  <a:lnTo>
                    <a:pt x="384" y="142"/>
                  </a:lnTo>
                  <a:close/>
                  <a:moveTo>
                    <a:pt x="457" y="87"/>
                  </a:moveTo>
                  <a:lnTo>
                    <a:pt x="457" y="87"/>
                  </a:lnTo>
                  <a:lnTo>
                    <a:pt x="471" y="103"/>
                  </a:lnTo>
                  <a:lnTo>
                    <a:pt x="484" y="120"/>
                  </a:lnTo>
                  <a:lnTo>
                    <a:pt x="495" y="139"/>
                  </a:lnTo>
                  <a:lnTo>
                    <a:pt x="503" y="158"/>
                  </a:lnTo>
                  <a:lnTo>
                    <a:pt x="510" y="177"/>
                  </a:lnTo>
                  <a:lnTo>
                    <a:pt x="515" y="197"/>
                  </a:lnTo>
                  <a:lnTo>
                    <a:pt x="518" y="217"/>
                  </a:lnTo>
                  <a:lnTo>
                    <a:pt x="519" y="237"/>
                  </a:lnTo>
                  <a:lnTo>
                    <a:pt x="518" y="258"/>
                  </a:lnTo>
                  <a:lnTo>
                    <a:pt x="515" y="278"/>
                  </a:lnTo>
                  <a:lnTo>
                    <a:pt x="510" y="298"/>
                  </a:lnTo>
                  <a:lnTo>
                    <a:pt x="503" y="317"/>
                  </a:lnTo>
                  <a:lnTo>
                    <a:pt x="495" y="336"/>
                  </a:lnTo>
                  <a:lnTo>
                    <a:pt x="484" y="355"/>
                  </a:lnTo>
                  <a:lnTo>
                    <a:pt x="471" y="372"/>
                  </a:lnTo>
                  <a:lnTo>
                    <a:pt x="457" y="388"/>
                  </a:lnTo>
                  <a:lnTo>
                    <a:pt x="457" y="388"/>
                  </a:lnTo>
                  <a:lnTo>
                    <a:pt x="454" y="391"/>
                  </a:lnTo>
                  <a:lnTo>
                    <a:pt x="450" y="393"/>
                  </a:lnTo>
                  <a:lnTo>
                    <a:pt x="446" y="394"/>
                  </a:lnTo>
                  <a:lnTo>
                    <a:pt x="442" y="394"/>
                  </a:lnTo>
                  <a:lnTo>
                    <a:pt x="442" y="394"/>
                  </a:lnTo>
                  <a:lnTo>
                    <a:pt x="438" y="394"/>
                  </a:lnTo>
                  <a:lnTo>
                    <a:pt x="434" y="393"/>
                  </a:lnTo>
                  <a:lnTo>
                    <a:pt x="431" y="391"/>
                  </a:lnTo>
                  <a:lnTo>
                    <a:pt x="427" y="388"/>
                  </a:lnTo>
                  <a:lnTo>
                    <a:pt x="427" y="388"/>
                  </a:lnTo>
                  <a:lnTo>
                    <a:pt x="425" y="385"/>
                  </a:lnTo>
                  <a:lnTo>
                    <a:pt x="423" y="381"/>
                  </a:lnTo>
                  <a:lnTo>
                    <a:pt x="422" y="377"/>
                  </a:lnTo>
                  <a:lnTo>
                    <a:pt x="421" y="373"/>
                  </a:lnTo>
                  <a:lnTo>
                    <a:pt x="422" y="369"/>
                  </a:lnTo>
                  <a:lnTo>
                    <a:pt x="423" y="365"/>
                  </a:lnTo>
                  <a:lnTo>
                    <a:pt x="425" y="362"/>
                  </a:lnTo>
                  <a:lnTo>
                    <a:pt x="427" y="359"/>
                  </a:lnTo>
                  <a:lnTo>
                    <a:pt x="427" y="359"/>
                  </a:lnTo>
                  <a:lnTo>
                    <a:pt x="439" y="345"/>
                  </a:lnTo>
                  <a:lnTo>
                    <a:pt x="449" y="331"/>
                  </a:lnTo>
                  <a:lnTo>
                    <a:pt x="458" y="316"/>
                  </a:lnTo>
                  <a:lnTo>
                    <a:pt x="465" y="301"/>
                  </a:lnTo>
                  <a:lnTo>
                    <a:pt x="470" y="286"/>
                  </a:lnTo>
                  <a:lnTo>
                    <a:pt x="474" y="270"/>
                  </a:lnTo>
                  <a:lnTo>
                    <a:pt x="476" y="254"/>
                  </a:lnTo>
                  <a:lnTo>
                    <a:pt x="477" y="237"/>
                  </a:lnTo>
                  <a:lnTo>
                    <a:pt x="476" y="221"/>
                  </a:lnTo>
                  <a:lnTo>
                    <a:pt x="474" y="205"/>
                  </a:lnTo>
                  <a:lnTo>
                    <a:pt x="470" y="189"/>
                  </a:lnTo>
                  <a:lnTo>
                    <a:pt x="465" y="174"/>
                  </a:lnTo>
                  <a:lnTo>
                    <a:pt x="458" y="158"/>
                  </a:lnTo>
                  <a:lnTo>
                    <a:pt x="449" y="144"/>
                  </a:lnTo>
                  <a:lnTo>
                    <a:pt x="439" y="130"/>
                  </a:lnTo>
                  <a:lnTo>
                    <a:pt x="427" y="116"/>
                  </a:lnTo>
                  <a:lnTo>
                    <a:pt x="427" y="116"/>
                  </a:lnTo>
                  <a:lnTo>
                    <a:pt x="425" y="113"/>
                  </a:lnTo>
                  <a:lnTo>
                    <a:pt x="423" y="109"/>
                  </a:lnTo>
                  <a:lnTo>
                    <a:pt x="422" y="106"/>
                  </a:lnTo>
                  <a:lnTo>
                    <a:pt x="421" y="102"/>
                  </a:lnTo>
                  <a:lnTo>
                    <a:pt x="422" y="98"/>
                  </a:lnTo>
                  <a:lnTo>
                    <a:pt x="423" y="94"/>
                  </a:lnTo>
                  <a:lnTo>
                    <a:pt x="425" y="90"/>
                  </a:lnTo>
                  <a:lnTo>
                    <a:pt x="427" y="87"/>
                  </a:lnTo>
                  <a:lnTo>
                    <a:pt x="427" y="87"/>
                  </a:lnTo>
                  <a:lnTo>
                    <a:pt x="431" y="84"/>
                  </a:lnTo>
                  <a:lnTo>
                    <a:pt x="434" y="82"/>
                  </a:lnTo>
                  <a:lnTo>
                    <a:pt x="438" y="81"/>
                  </a:lnTo>
                  <a:lnTo>
                    <a:pt x="442" y="81"/>
                  </a:lnTo>
                  <a:lnTo>
                    <a:pt x="446" y="81"/>
                  </a:lnTo>
                  <a:lnTo>
                    <a:pt x="450" y="82"/>
                  </a:lnTo>
                  <a:lnTo>
                    <a:pt x="454" y="84"/>
                  </a:lnTo>
                  <a:lnTo>
                    <a:pt x="457" y="87"/>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544" name="Group 1543"/>
            <p:cNvGrpSpPr/>
            <p:nvPr/>
          </p:nvGrpSpPr>
          <p:grpSpPr>
            <a:xfrm>
              <a:off x="1674408" y="5855108"/>
              <a:ext cx="68435" cy="69287"/>
              <a:chOff x="5755705" y="3082290"/>
              <a:chExt cx="643500" cy="651510"/>
            </a:xfrm>
            <a:solidFill>
              <a:schemeClr val="accent1"/>
            </a:solidFill>
          </p:grpSpPr>
          <p:sp>
            <p:nvSpPr>
              <p:cNvPr id="1582" name="Freeform 176"/>
              <p:cNvSpPr>
                <a:spLocks noEditPoints="1"/>
              </p:cNvSpPr>
              <p:nvPr/>
            </p:nvSpPr>
            <p:spPr bwMode="auto">
              <a:xfrm>
                <a:off x="5755705" y="3082290"/>
                <a:ext cx="643500" cy="651510"/>
              </a:xfrm>
              <a:custGeom>
                <a:avLst/>
                <a:gdLst>
                  <a:gd name="T0" fmla="*/ 274 w 683"/>
                  <a:gd name="T1" fmla="*/ 7 h 683"/>
                  <a:gd name="T2" fmla="*/ 179 w 683"/>
                  <a:gd name="T3" fmla="*/ 42 h 683"/>
                  <a:gd name="T4" fmla="*/ 101 w 683"/>
                  <a:gd name="T5" fmla="*/ 101 h 683"/>
                  <a:gd name="T6" fmla="*/ 42 w 683"/>
                  <a:gd name="T7" fmla="*/ 179 h 683"/>
                  <a:gd name="T8" fmla="*/ 7 w 683"/>
                  <a:gd name="T9" fmla="*/ 274 h 683"/>
                  <a:gd name="T10" fmla="*/ 1 w 683"/>
                  <a:gd name="T11" fmla="*/ 360 h 683"/>
                  <a:gd name="T12" fmla="*/ 21 w 683"/>
                  <a:gd name="T13" fmla="*/ 459 h 683"/>
                  <a:gd name="T14" fmla="*/ 69 w 683"/>
                  <a:gd name="T15" fmla="*/ 546 h 683"/>
                  <a:gd name="T16" fmla="*/ 138 w 683"/>
                  <a:gd name="T17" fmla="*/ 615 h 683"/>
                  <a:gd name="T18" fmla="*/ 224 w 683"/>
                  <a:gd name="T19" fmla="*/ 662 h 683"/>
                  <a:gd name="T20" fmla="*/ 325 w 683"/>
                  <a:gd name="T21" fmla="*/ 682 h 683"/>
                  <a:gd name="T22" fmla="*/ 411 w 683"/>
                  <a:gd name="T23" fmla="*/ 676 h 683"/>
                  <a:gd name="T24" fmla="*/ 505 w 683"/>
                  <a:gd name="T25" fmla="*/ 642 h 683"/>
                  <a:gd name="T26" fmla="*/ 583 w 683"/>
                  <a:gd name="T27" fmla="*/ 583 h 683"/>
                  <a:gd name="T28" fmla="*/ 642 w 683"/>
                  <a:gd name="T29" fmla="*/ 505 h 683"/>
                  <a:gd name="T30" fmla="*/ 676 w 683"/>
                  <a:gd name="T31" fmla="*/ 411 h 683"/>
                  <a:gd name="T32" fmla="*/ 682 w 683"/>
                  <a:gd name="T33" fmla="*/ 325 h 683"/>
                  <a:gd name="T34" fmla="*/ 662 w 683"/>
                  <a:gd name="T35" fmla="*/ 224 h 683"/>
                  <a:gd name="T36" fmla="*/ 615 w 683"/>
                  <a:gd name="T37" fmla="*/ 138 h 683"/>
                  <a:gd name="T38" fmla="*/ 546 w 683"/>
                  <a:gd name="T39" fmla="*/ 69 h 683"/>
                  <a:gd name="T40" fmla="*/ 459 w 683"/>
                  <a:gd name="T41" fmla="*/ 21 h 683"/>
                  <a:gd name="T42" fmla="*/ 360 w 683"/>
                  <a:gd name="T43" fmla="*/ 1 h 683"/>
                  <a:gd name="T44" fmla="*/ 479 w 683"/>
                  <a:gd name="T45" fmla="*/ 597 h 683"/>
                  <a:gd name="T46" fmla="*/ 385 w 683"/>
                  <a:gd name="T47" fmla="*/ 627 h 683"/>
                  <a:gd name="T48" fmla="*/ 333 w 683"/>
                  <a:gd name="T49" fmla="*/ 631 h 683"/>
                  <a:gd name="T50" fmla="*/ 233 w 683"/>
                  <a:gd name="T51" fmla="*/ 610 h 683"/>
                  <a:gd name="T52" fmla="*/ 189 w 683"/>
                  <a:gd name="T53" fmla="*/ 588 h 683"/>
                  <a:gd name="T54" fmla="*/ 114 w 683"/>
                  <a:gd name="T55" fmla="*/ 521 h 683"/>
                  <a:gd name="T56" fmla="*/ 87 w 683"/>
                  <a:gd name="T57" fmla="*/ 479 h 683"/>
                  <a:gd name="T58" fmla="*/ 55 w 683"/>
                  <a:gd name="T59" fmla="*/ 384 h 683"/>
                  <a:gd name="T60" fmla="*/ 51 w 683"/>
                  <a:gd name="T61" fmla="*/ 333 h 683"/>
                  <a:gd name="T62" fmla="*/ 73 w 683"/>
                  <a:gd name="T63" fmla="*/ 233 h 683"/>
                  <a:gd name="T64" fmla="*/ 94 w 683"/>
                  <a:gd name="T65" fmla="*/ 189 h 683"/>
                  <a:gd name="T66" fmla="*/ 162 w 683"/>
                  <a:gd name="T67" fmla="*/ 114 h 683"/>
                  <a:gd name="T68" fmla="*/ 203 w 683"/>
                  <a:gd name="T69" fmla="*/ 85 h 683"/>
                  <a:gd name="T70" fmla="*/ 299 w 683"/>
                  <a:gd name="T71" fmla="*/ 55 h 683"/>
                  <a:gd name="T72" fmla="*/ 351 w 683"/>
                  <a:gd name="T73" fmla="*/ 51 h 683"/>
                  <a:gd name="T74" fmla="*/ 448 w 683"/>
                  <a:gd name="T75" fmla="*/ 72 h 683"/>
                  <a:gd name="T76" fmla="*/ 495 w 683"/>
                  <a:gd name="T77" fmla="*/ 94 h 683"/>
                  <a:gd name="T78" fmla="*/ 569 w 683"/>
                  <a:gd name="T79" fmla="*/ 162 h 683"/>
                  <a:gd name="T80" fmla="*/ 597 w 683"/>
                  <a:gd name="T81" fmla="*/ 203 h 683"/>
                  <a:gd name="T82" fmla="*/ 628 w 683"/>
                  <a:gd name="T83" fmla="*/ 298 h 683"/>
                  <a:gd name="T84" fmla="*/ 631 w 683"/>
                  <a:gd name="T85" fmla="*/ 349 h 683"/>
                  <a:gd name="T86" fmla="*/ 610 w 683"/>
                  <a:gd name="T87" fmla="*/ 448 h 683"/>
                  <a:gd name="T88" fmla="*/ 588 w 683"/>
                  <a:gd name="T89" fmla="*/ 495 h 683"/>
                  <a:gd name="T90" fmla="*/ 522 w 683"/>
                  <a:gd name="T91" fmla="*/ 569 h 683"/>
                  <a:gd name="T92" fmla="*/ 352 w 683"/>
                  <a:gd name="T93" fmla="*/ 367 h 683"/>
                  <a:gd name="T94" fmla="*/ 322 w 683"/>
                  <a:gd name="T95" fmla="*/ 360 h 683"/>
                  <a:gd name="T96" fmla="*/ 315 w 683"/>
                  <a:gd name="T97" fmla="*/ 336 h 683"/>
                  <a:gd name="T98" fmla="*/ 331 w 683"/>
                  <a:gd name="T99" fmla="*/ 317 h 683"/>
                  <a:gd name="T100" fmla="*/ 360 w 683"/>
                  <a:gd name="T101" fmla="*/ 322 h 683"/>
                  <a:gd name="T102" fmla="*/ 368 w 683"/>
                  <a:gd name="T103" fmla="*/ 347 h 683"/>
                  <a:gd name="T104" fmla="*/ 285 w 683"/>
                  <a:gd name="T105" fmla="*/ 301 h 683"/>
                  <a:gd name="T106" fmla="*/ 308 w 683"/>
                  <a:gd name="T107" fmla="*/ 376 h 683"/>
                  <a:gd name="T108" fmla="*/ 298 w 683"/>
                  <a:gd name="T109" fmla="*/ 323 h 683"/>
                  <a:gd name="T110" fmla="*/ 332 w 683"/>
                  <a:gd name="T111" fmla="*/ 295 h 683"/>
                  <a:gd name="T112" fmla="*/ 376 w 683"/>
                  <a:gd name="T113" fmla="*/ 308 h 683"/>
                  <a:gd name="T114" fmla="*/ 386 w 683"/>
                  <a:gd name="T115" fmla="*/ 359 h 683"/>
                  <a:gd name="T116" fmla="*/ 350 w 683"/>
                  <a:gd name="T117" fmla="*/ 389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683">
                    <a:moveTo>
                      <a:pt x="342" y="0"/>
                    </a:moveTo>
                    <a:lnTo>
                      <a:pt x="342" y="0"/>
                    </a:lnTo>
                    <a:lnTo>
                      <a:pt x="325" y="1"/>
                    </a:lnTo>
                    <a:lnTo>
                      <a:pt x="307" y="2"/>
                    </a:lnTo>
                    <a:lnTo>
                      <a:pt x="290" y="4"/>
                    </a:lnTo>
                    <a:lnTo>
                      <a:pt x="274" y="7"/>
                    </a:lnTo>
                    <a:lnTo>
                      <a:pt x="257" y="11"/>
                    </a:lnTo>
                    <a:lnTo>
                      <a:pt x="240" y="16"/>
                    </a:lnTo>
                    <a:lnTo>
                      <a:pt x="224" y="21"/>
                    </a:lnTo>
                    <a:lnTo>
                      <a:pt x="209" y="27"/>
                    </a:lnTo>
                    <a:lnTo>
                      <a:pt x="194" y="34"/>
                    </a:lnTo>
                    <a:lnTo>
                      <a:pt x="179" y="42"/>
                    </a:lnTo>
                    <a:lnTo>
                      <a:pt x="165" y="51"/>
                    </a:lnTo>
                    <a:lnTo>
                      <a:pt x="151" y="59"/>
                    </a:lnTo>
                    <a:lnTo>
                      <a:pt x="138" y="69"/>
                    </a:lnTo>
                    <a:lnTo>
                      <a:pt x="125" y="79"/>
                    </a:lnTo>
                    <a:lnTo>
                      <a:pt x="113" y="90"/>
                    </a:lnTo>
                    <a:lnTo>
                      <a:pt x="101" y="101"/>
                    </a:lnTo>
                    <a:lnTo>
                      <a:pt x="90" y="113"/>
                    </a:lnTo>
                    <a:lnTo>
                      <a:pt x="79" y="125"/>
                    </a:lnTo>
                    <a:lnTo>
                      <a:pt x="69" y="138"/>
                    </a:lnTo>
                    <a:lnTo>
                      <a:pt x="59" y="151"/>
                    </a:lnTo>
                    <a:lnTo>
                      <a:pt x="51" y="165"/>
                    </a:lnTo>
                    <a:lnTo>
                      <a:pt x="42" y="179"/>
                    </a:lnTo>
                    <a:lnTo>
                      <a:pt x="35" y="194"/>
                    </a:lnTo>
                    <a:lnTo>
                      <a:pt x="27" y="209"/>
                    </a:lnTo>
                    <a:lnTo>
                      <a:pt x="21" y="224"/>
                    </a:lnTo>
                    <a:lnTo>
                      <a:pt x="16" y="240"/>
                    </a:lnTo>
                    <a:lnTo>
                      <a:pt x="11" y="257"/>
                    </a:lnTo>
                    <a:lnTo>
                      <a:pt x="7" y="274"/>
                    </a:lnTo>
                    <a:lnTo>
                      <a:pt x="4" y="290"/>
                    </a:lnTo>
                    <a:lnTo>
                      <a:pt x="2" y="307"/>
                    </a:lnTo>
                    <a:lnTo>
                      <a:pt x="1" y="325"/>
                    </a:lnTo>
                    <a:lnTo>
                      <a:pt x="0" y="342"/>
                    </a:lnTo>
                    <a:lnTo>
                      <a:pt x="0" y="342"/>
                    </a:lnTo>
                    <a:lnTo>
                      <a:pt x="1" y="360"/>
                    </a:lnTo>
                    <a:lnTo>
                      <a:pt x="2" y="377"/>
                    </a:lnTo>
                    <a:lnTo>
                      <a:pt x="4" y="394"/>
                    </a:lnTo>
                    <a:lnTo>
                      <a:pt x="7" y="411"/>
                    </a:lnTo>
                    <a:lnTo>
                      <a:pt x="11" y="427"/>
                    </a:lnTo>
                    <a:lnTo>
                      <a:pt x="16" y="443"/>
                    </a:lnTo>
                    <a:lnTo>
                      <a:pt x="21" y="459"/>
                    </a:lnTo>
                    <a:lnTo>
                      <a:pt x="27" y="475"/>
                    </a:lnTo>
                    <a:lnTo>
                      <a:pt x="35" y="490"/>
                    </a:lnTo>
                    <a:lnTo>
                      <a:pt x="42" y="505"/>
                    </a:lnTo>
                    <a:lnTo>
                      <a:pt x="51" y="519"/>
                    </a:lnTo>
                    <a:lnTo>
                      <a:pt x="59" y="533"/>
                    </a:lnTo>
                    <a:lnTo>
                      <a:pt x="69" y="546"/>
                    </a:lnTo>
                    <a:lnTo>
                      <a:pt x="79" y="559"/>
                    </a:lnTo>
                    <a:lnTo>
                      <a:pt x="90" y="572"/>
                    </a:lnTo>
                    <a:lnTo>
                      <a:pt x="101" y="583"/>
                    </a:lnTo>
                    <a:lnTo>
                      <a:pt x="113" y="595"/>
                    </a:lnTo>
                    <a:lnTo>
                      <a:pt x="125" y="605"/>
                    </a:lnTo>
                    <a:lnTo>
                      <a:pt x="138" y="615"/>
                    </a:lnTo>
                    <a:lnTo>
                      <a:pt x="151" y="625"/>
                    </a:lnTo>
                    <a:lnTo>
                      <a:pt x="165" y="634"/>
                    </a:lnTo>
                    <a:lnTo>
                      <a:pt x="179" y="642"/>
                    </a:lnTo>
                    <a:lnTo>
                      <a:pt x="194" y="649"/>
                    </a:lnTo>
                    <a:lnTo>
                      <a:pt x="209" y="656"/>
                    </a:lnTo>
                    <a:lnTo>
                      <a:pt x="224" y="662"/>
                    </a:lnTo>
                    <a:lnTo>
                      <a:pt x="240" y="667"/>
                    </a:lnTo>
                    <a:lnTo>
                      <a:pt x="257" y="672"/>
                    </a:lnTo>
                    <a:lnTo>
                      <a:pt x="274" y="676"/>
                    </a:lnTo>
                    <a:lnTo>
                      <a:pt x="290" y="679"/>
                    </a:lnTo>
                    <a:lnTo>
                      <a:pt x="307" y="681"/>
                    </a:lnTo>
                    <a:lnTo>
                      <a:pt x="325" y="682"/>
                    </a:lnTo>
                    <a:lnTo>
                      <a:pt x="342" y="683"/>
                    </a:lnTo>
                    <a:lnTo>
                      <a:pt x="342" y="683"/>
                    </a:lnTo>
                    <a:lnTo>
                      <a:pt x="360" y="682"/>
                    </a:lnTo>
                    <a:lnTo>
                      <a:pt x="377" y="681"/>
                    </a:lnTo>
                    <a:lnTo>
                      <a:pt x="394" y="679"/>
                    </a:lnTo>
                    <a:lnTo>
                      <a:pt x="411" y="676"/>
                    </a:lnTo>
                    <a:lnTo>
                      <a:pt x="427" y="672"/>
                    </a:lnTo>
                    <a:lnTo>
                      <a:pt x="443" y="667"/>
                    </a:lnTo>
                    <a:lnTo>
                      <a:pt x="459" y="662"/>
                    </a:lnTo>
                    <a:lnTo>
                      <a:pt x="475" y="656"/>
                    </a:lnTo>
                    <a:lnTo>
                      <a:pt x="491" y="649"/>
                    </a:lnTo>
                    <a:lnTo>
                      <a:pt x="505" y="642"/>
                    </a:lnTo>
                    <a:lnTo>
                      <a:pt x="519" y="634"/>
                    </a:lnTo>
                    <a:lnTo>
                      <a:pt x="533" y="625"/>
                    </a:lnTo>
                    <a:lnTo>
                      <a:pt x="546" y="615"/>
                    </a:lnTo>
                    <a:lnTo>
                      <a:pt x="559" y="605"/>
                    </a:lnTo>
                    <a:lnTo>
                      <a:pt x="572" y="595"/>
                    </a:lnTo>
                    <a:lnTo>
                      <a:pt x="583" y="583"/>
                    </a:lnTo>
                    <a:lnTo>
                      <a:pt x="595" y="572"/>
                    </a:lnTo>
                    <a:lnTo>
                      <a:pt x="605" y="559"/>
                    </a:lnTo>
                    <a:lnTo>
                      <a:pt x="615" y="546"/>
                    </a:lnTo>
                    <a:lnTo>
                      <a:pt x="625" y="533"/>
                    </a:lnTo>
                    <a:lnTo>
                      <a:pt x="634" y="519"/>
                    </a:lnTo>
                    <a:lnTo>
                      <a:pt x="642" y="505"/>
                    </a:lnTo>
                    <a:lnTo>
                      <a:pt x="649" y="490"/>
                    </a:lnTo>
                    <a:lnTo>
                      <a:pt x="656" y="475"/>
                    </a:lnTo>
                    <a:lnTo>
                      <a:pt x="662" y="459"/>
                    </a:lnTo>
                    <a:lnTo>
                      <a:pt x="668" y="443"/>
                    </a:lnTo>
                    <a:lnTo>
                      <a:pt x="672" y="427"/>
                    </a:lnTo>
                    <a:lnTo>
                      <a:pt x="676" y="411"/>
                    </a:lnTo>
                    <a:lnTo>
                      <a:pt x="679" y="394"/>
                    </a:lnTo>
                    <a:lnTo>
                      <a:pt x="681" y="377"/>
                    </a:lnTo>
                    <a:lnTo>
                      <a:pt x="682" y="360"/>
                    </a:lnTo>
                    <a:lnTo>
                      <a:pt x="683" y="342"/>
                    </a:lnTo>
                    <a:lnTo>
                      <a:pt x="683" y="342"/>
                    </a:lnTo>
                    <a:lnTo>
                      <a:pt x="682" y="325"/>
                    </a:lnTo>
                    <a:lnTo>
                      <a:pt x="681" y="307"/>
                    </a:lnTo>
                    <a:lnTo>
                      <a:pt x="679" y="290"/>
                    </a:lnTo>
                    <a:lnTo>
                      <a:pt x="676" y="274"/>
                    </a:lnTo>
                    <a:lnTo>
                      <a:pt x="672" y="257"/>
                    </a:lnTo>
                    <a:lnTo>
                      <a:pt x="668" y="240"/>
                    </a:lnTo>
                    <a:lnTo>
                      <a:pt x="662" y="224"/>
                    </a:lnTo>
                    <a:lnTo>
                      <a:pt x="656" y="209"/>
                    </a:lnTo>
                    <a:lnTo>
                      <a:pt x="649" y="194"/>
                    </a:lnTo>
                    <a:lnTo>
                      <a:pt x="642" y="179"/>
                    </a:lnTo>
                    <a:lnTo>
                      <a:pt x="634" y="165"/>
                    </a:lnTo>
                    <a:lnTo>
                      <a:pt x="625" y="151"/>
                    </a:lnTo>
                    <a:lnTo>
                      <a:pt x="615" y="138"/>
                    </a:lnTo>
                    <a:lnTo>
                      <a:pt x="605" y="125"/>
                    </a:lnTo>
                    <a:lnTo>
                      <a:pt x="595" y="113"/>
                    </a:lnTo>
                    <a:lnTo>
                      <a:pt x="583" y="101"/>
                    </a:lnTo>
                    <a:lnTo>
                      <a:pt x="572" y="90"/>
                    </a:lnTo>
                    <a:lnTo>
                      <a:pt x="559" y="79"/>
                    </a:lnTo>
                    <a:lnTo>
                      <a:pt x="546" y="69"/>
                    </a:lnTo>
                    <a:lnTo>
                      <a:pt x="533" y="59"/>
                    </a:lnTo>
                    <a:lnTo>
                      <a:pt x="519" y="51"/>
                    </a:lnTo>
                    <a:lnTo>
                      <a:pt x="505" y="42"/>
                    </a:lnTo>
                    <a:lnTo>
                      <a:pt x="491" y="34"/>
                    </a:lnTo>
                    <a:lnTo>
                      <a:pt x="475" y="27"/>
                    </a:lnTo>
                    <a:lnTo>
                      <a:pt x="459" y="21"/>
                    </a:lnTo>
                    <a:lnTo>
                      <a:pt x="443" y="16"/>
                    </a:lnTo>
                    <a:lnTo>
                      <a:pt x="427" y="11"/>
                    </a:lnTo>
                    <a:lnTo>
                      <a:pt x="411" y="7"/>
                    </a:lnTo>
                    <a:lnTo>
                      <a:pt x="394" y="4"/>
                    </a:lnTo>
                    <a:lnTo>
                      <a:pt x="377" y="2"/>
                    </a:lnTo>
                    <a:lnTo>
                      <a:pt x="360" y="1"/>
                    </a:lnTo>
                    <a:lnTo>
                      <a:pt x="342" y="0"/>
                    </a:lnTo>
                    <a:close/>
                    <a:moveTo>
                      <a:pt x="495" y="588"/>
                    </a:moveTo>
                    <a:lnTo>
                      <a:pt x="486" y="574"/>
                    </a:lnTo>
                    <a:lnTo>
                      <a:pt x="472" y="583"/>
                    </a:lnTo>
                    <a:lnTo>
                      <a:pt x="479" y="597"/>
                    </a:lnTo>
                    <a:lnTo>
                      <a:pt x="479" y="597"/>
                    </a:lnTo>
                    <a:lnTo>
                      <a:pt x="463" y="604"/>
                    </a:lnTo>
                    <a:lnTo>
                      <a:pt x="448" y="610"/>
                    </a:lnTo>
                    <a:lnTo>
                      <a:pt x="433" y="616"/>
                    </a:lnTo>
                    <a:lnTo>
                      <a:pt x="417" y="620"/>
                    </a:lnTo>
                    <a:lnTo>
                      <a:pt x="401" y="624"/>
                    </a:lnTo>
                    <a:lnTo>
                      <a:pt x="385" y="627"/>
                    </a:lnTo>
                    <a:lnTo>
                      <a:pt x="368" y="629"/>
                    </a:lnTo>
                    <a:lnTo>
                      <a:pt x="351" y="631"/>
                    </a:lnTo>
                    <a:lnTo>
                      <a:pt x="351" y="581"/>
                    </a:lnTo>
                    <a:lnTo>
                      <a:pt x="333" y="581"/>
                    </a:lnTo>
                    <a:lnTo>
                      <a:pt x="333" y="631"/>
                    </a:lnTo>
                    <a:lnTo>
                      <a:pt x="333" y="631"/>
                    </a:lnTo>
                    <a:lnTo>
                      <a:pt x="316" y="629"/>
                    </a:lnTo>
                    <a:lnTo>
                      <a:pt x="299" y="627"/>
                    </a:lnTo>
                    <a:lnTo>
                      <a:pt x="282" y="624"/>
                    </a:lnTo>
                    <a:lnTo>
                      <a:pt x="266" y="620"/>
                    </a:lnTo>
                    <a:lnTo>
                      <a:pt x="249" y="616"/>
                    </a:lnTo>
                    <a:lnTo>
                      <a:pt x="233" y="610"/>
                    </a:lnTo>
                    <a:lnTo>
                      <a:pt x="218" y="604"/>
                    </a:lnTo>
                    <a:lnTo>
                      <a:pt x="203" y="597"/>
                    </a:lnTo>
                    <a:lnTo>
                      <a:pt x="212" y="583"/>
                    </a:lnTo>
                    <a:lnTo>
                      <a:pt x="198" y="574"/>
                    </a:lnTo>
                    <a:lnTo>
                      <a:pt x="189" y="588"/>
                    </a:lnTo>
                    <a:lnTo>
                      <a:pt x="189" y="588"/>
                    </a:lnTo>
                    <a:lnTo>
                      <a:pt x="175" y="579"/>
                    </a:lnTo>
                    <a:lnTo>
                      <a:pt x="162" y="569"/>
                    </a:lnTo>
                    <a:lnTo>
                      <a:pt x="149" y="558"/>
                    </a:lnTo>
                    <a:lnTo>
                      <a:pt x="137" y="546"/>
                    </a:lnTo>
                    <a:lnTo>
                      <a:pt x="125" y="534"/>
                    </a:lnTo>
                    <a:lnTo>
                      <a:pt x="114" y="521"/>
                    </a:lnTo>
                    <a:lnTo>
                      <a:pt x="104" y="508"/>
                    </a:lnTo>
                    <a:lnTo>
                      <a:pt x="94" y="495"/>
                    </a:lnTo>
                    <a:lnTo>
                      <a:pt x="110" y="486"/>
                    </a:lnTo>
                    <a:lnTo>
                      <a:pt x="101" y="470"/>
                    </a:lnTo>
                    <a:lnTo>
                      <a:pt x="87" y="479"/>
                    </a:lnTo>
                    <a:lnTo>
                      <a:pt x="87" y="479"/>
                    </a:lnTo>
                    <a:lnTo>
                      <a:pt x="79" y="463"/>
                    </a:lnTo>
                    <a:lnTo>
                      <a:pt x="73" y="448"/>
                    </a:lnTo>
                    <a:lnTo>
                      <a:pt x="67" y="433"/>
                    </a:lnTo>
                    <a:lnTo>
                      <a:pt x="62" y="417"/>
                    </a:lnTo>
                    <a:lnTo>
                      <a:pt x="58" y="400"/>
                    </a:lnTo>
                    <a:lnTo>
                      <a:pt x="55" y="384"/>
                    </a:lnTo>
                    <a:lnTo>
                      <a:pt x="53" y="366"/>
                    </a:lnTo>
                    <a:lnTo>
                      <a:pt x="51" y="349"/>
                    </a:lnTo>
                    <a:lnTo>
                      <a:pt x="117" y="349"/>
                    </a:lnTo>
                    <a:lnTo>
                      <a:pt x="117" y="333"/>
                    </a:lnTo>
                    <a:lnTo>
                      <a:pt x="51" y="333"/>
                    </a:lnTo>
                    <a:lnTo>
                      <a:pt x="51" y="333"/>
                    </a:lnTo>
                    <a:lnTo>
                      <a:pt x="53" y="315"/>
                    </a:lnTo>
                    <a:lnTo>
                      <a:pt x="55" y="298"/>
                    </a:lnTo>
                    <a:lnTo>
                      <a:pt x="58" y="281"/>
                    </a:lnTo>
                    <a:lnTo>
                      <a:pt x="62" y="265"/>
                    </a:lnTo>
                    <a:lnTo>
                      <a:pt x="67" y="248"/>
                    </a:lnTo>
                    <a:lnTo>
                      <a:pt x="73" y="233"/>
                    </a:lnTo>
                    <a:lnTo>
                      <a:pt x="79" y="218"/>
                    </a:lnTo>
                    <a:lnTo>
                      <a:pt x="87" y="203"/>
                    </a:lnTo>
                    <a:lnTo>
                      <a:pt x="101" y="212"/>
                    </a:lnTo>
                    <a:lnTo>
                      <a:pt x="110" y="196"/>
                    </a:lnTo>
                    <a:lnTo>
                      <a:pt x="94" y="189"/>
                    </a:lnTo>
                    <a:lnTo>
                      <a:pt x="94" y="189"/>
                    </a:lnTo>
                    <a:lnTo>
                      <a:pt x="104" y="175"/>
                    </a:lnTo>
                    <a:lnTo>
                      <a:pt x="114" y="162"/>
                    </a:lnTo>
                    <a:lnTo>
                      <a:pt x="125" y="149"/>
                    </a:lnTo>
                    <a:lnTo>
                      <a:pt x="137" y="137"/>
                    </a:lnTo>
                    <a:lnTo>
                      <a:pt x="149" y="125"/>
                    </a:lnTo>
                    <a:lnTo>
                      <a:pt x="162" y="114"/>
                    </a:lnTo>
                    <a:lnTo>
                      <a:pt x="175" y="104"/>
                    </a:lnTo>
                    <a:lnTo>
                      <a:pt x="189" y="94"/>
                    </a:lnTo>
                    <a:lnTo>
                      <a:pt x="198" y="110"/>
                    </a:lnTo>
                    <a:lnTo>
                      <a:pt x="212" y="101"/>
                    </a:lnTo>
                    <a:lnTo>
                      <a:pt x="203" y="85"/>
                    </a:lnTo>
                    <a:lnTo>
                      <a:pt x="203" y="85"/>
                    </a:lnTo>
                    <a:lnTo>
                      <a:pt x="218" y="78"/>
                    </a:lnTo>
                    <a:lnTo>
                      <a:pt x="233" y="72"/>
                    </a:lnTo>
                    <a:lnTo>
                      <a:pt x="249" y="66"/>
                    </a:lnTo>
                    <a:lnTo>
                      <a:pt x="266" y="61"/>
                    </a:lnTo>
                    <a:lnTo>
                      <a:pt x="282" y="58"/>
                    </a:lnTo>
                    <a:lnTo>
                      <a:pt x="299" y="55"/>
                    </a:lnTo>
                    <a:lnTo>
                      <a:pt x="316" y="53"/>
                    </a:lnTo>
                    <a:lnTo>
                      <a:pt x="333" y="51"/>
                    </a:lnTo>
                    <a:lnTo>
                      <a:pt x="333" y="103"/>
                    </a:lnTo>
                    <a:lnTo>
                      <a:pt x="351" y="103"/>
                    </a:lnTo>
                    <a:lnTo>
                      <a:pt x="351" y="51"/>
                    </a:lnTo>
                    <a:lnTo>
                      <a:pt x="351" y="51"/>
                    </a:lnTo>
                    <a:lnTo>
                      <a:pt x="368" y="53"/>
                    </a:lnTo>
                    <a:lnTo>
                      <a:pt x="385" y="55"/>
                    </a:lnTo>
                    <a:lnTo>
                      <a:pt x="401" y="58"/>
                    </a:lnTo>
                    <a:lnTo>
                      <a:pt x="417" y="61"/>
                    </a:lnTo>
                    <a:lnTo>
                      <a:pt x="433" y="66"/>
                    </a:lnTo>
                    <a:lnTo>
                      <a:pt x="448" y="72"/>
                    </a:lnTo>
                    <a:lnTo>
                      <a:pt x="463" y="78"/>
                    </a:lnTo>
                    <a:lnTo>
                      <a:pt x="479" y="85"/>
                    </a:lnTo>
                    <a:lnTo>
                      <a:pt x="472" y="101"/>
                    </a:lnTo>
                    <a:lnTo>
                      <a:pt x="486" y="110"/>
                    </a:lnTo>
                    <a:lnTo>
                      <a:pt x="495" y="94"/>
                    </a:lnTo>
                    <a:lnTo>
                      <a:pt x="495" y="94"/>
                    </a:lnTo>
                    <a:lnTo>
                      <a:pt x="509" y="104"/>
                    </a:lnTo>
                    <a:lnTo>
                      <a:pt x="522" y="114"/>
                    </a:lnTo>
                    <a:lnTo>
                      <a:pt x="535" y="125"/>
                    </a:lnTo>
                    <a:lnTo>
                      <a:pt x="547" y="137"/>
                    </a:lnTo>
                    <a:lnTo>
                      <a:pt x="558" y="149"/>
                    </a:lnTo>
                    <a:lnTo>
                      <a:pt x="569" y="162"/>
                    </a:lnTo>
                    <a:lnTo>
                      <a:pt x="579" y="175"/>
                    </a:lnTo>
                    <a:lnTo>
                      <a:pt x="588" y="189"/>
                    </a:lnTo>
                    <a:lnTo>
                      <a:pt x="574" y="196"/>
                    </a:lnTo>
                    <a:lnTo>
                      <a:pt x="583" y="212"/>
                    </a:lnTo>
                    <a:lnTo>
                      <a:pt x="597" y="203"/>
                    </a:lnTo>
                    <a:lnTo>
                      <a:pt x="597" y="203"/>
                    </a:lnTo>
                    <a:lnTo>
                      <a:pt x="604" y="218"/>
                    </a:lnTo>
                    <a:lnTo>
                      <a:pt x="611" y="233"/>
                    </a:lnTo>
                    <a:lnTo>
                      <a:pt x="616" y="248"/>
                    </a:lnTo>
                    <a:lnTo>
                      <a:pt x="621" y="265"/>
                    </a:lnTo>
                    <a:lnTo>
                      <a:pt x="625" y="281"/>
                    </a:lnTo>
                    <a:lnTo>
                      <a:pt x="628" y="298"/>
                    </a:lnTo>
                    <a:lnTo>
                      <a:pt x="630" y="315"/>
                    </a:lnTo>
                    <a:lnTo>
                      <a:pt x="631" y="333"/>
                    </a:lnTo>
                    <a:lnTo>
                      <a:pt x="581" y="333"/>
                    </a:lnTo>
                    <a:lnTo>
                      <a:pt x="581" y="349"/>
                    </a:lnTo>
                    <a:lnTo>
                      <a:pt x="631" y="349"/>
                    </a:lnTo>
                    <a:lnTo>
                      <a:pt x="631" y="349"/>
                    </a:lnTo>
                    <a:lnTo>
                      <a:pt x="629" y="366"/>
                    </a:lnTo>
                    <a:lnTo>
                      <a:pt x="627" y="384"/>
                    </a:lnTo>
                    <a:lnTo>
                      <a:pt x="624" y="400"/>
                    </a:lnTo>
                    <a:lnTo>
                      <a:pt x="620" y="417"/>
                    </a:lnTo>
                    <a:lnTo>
                      <a:pt x="616" y="433"/>
                    </a:lnTo>
                    <a:lnTo>
                      <a:pt x="610" y="448"/>
                    </a:lnTo>
                    <a:lnTo>
                      <a:pt x="604" y="463"/>
                    </a:lnTo>
                    <a:lnTo>
                      <a:pt x="597" y="479"/>
                    </a:lnTo>
                    <a:lnTo>
                      <a:pt x="583" y="470"/>
                    </a:lnTo>
                    <a:lnTo>
                      <a:pt x="574" y="486"/>
                    </a:lnTo>
                    <a:lnTo>
                      <a:pt x="588" y="495"/>
                    </a:lnTo>
                    <a:lnTo>
                      <a:pt x="588" y="495"/>
                    </a:lnTo>
                    <a:lnTo>
                      <a:pt x="579" y="508"/>
                    </a:lnTo>
                    <a:lnTo>
                      <a:pt x="569" y="521"/>
                    </a:lnTo>
                    <a:lnTo>
                      <a:pt x="558" y="534"/>
                    </a:lnTo>
                    <a:lnTo>
                      <a:pt x="547" y="546"/>
                    </a:lnTo>
                    <a:lnTo>
                      <a:pt x="535" y="558"/>
                    </a:lnTo>
                    <a:lnTo>
                      <a:pt x="522" y="569"/>
                    </a:lnTo>
                    <a:lnTo>
                      <a:pt x="509" y="579"/>
                    </a:lnTo>
                    <a:lnTo>
                      <a:pt x="495" y="588"/>
                    </a:lnTo>
                    <a:close/>
                    <a:moveTo>
                      <a:pt x="360" y="360"/>
                    </a:moveTo>
                    <a:lnTo>
                      <a:pt x="360" y="360"/>
                    </a:lnTo>
                    <a:lnTo>
                      <a:pt x="356" y="364"/>
                    </a:lnTo>
                    <a:lnTo>
                      <a:pt x="352" y="367"/>
                    </a:lnTo>
                    <a:lnTo>
                      <a:pt x="347" y="368"/>
                    </a:lnTo>
                    <a:lnTo>
                      <a:pt x="342" y="369"/>
                    </a:lnTo>
                    <a:lnTo>
                      <a:pt x="336" y="368"/>
                    </a:lnTo>
                    <a:lnTo>
                      <a:pt x="331" y="367"/>
                    </a:lnTo>
                    <a:lnTo>
                      <a:pt x="326" y="364"/>
                    </a:lnTo>
                    <a:lnTo>
                      <a:pt x="322" y="360"/>
                    </a:lnTo>
                    <a:lnTo>
                      <a:pt x="322" y="360"/>
                    </a:lnTo>
                    <a:lnTo>
                      <a:pt x="319" y="356"/>
                    </a:lnTo>
                    <a:lnTo>
                      <a:pt x="317" y="352"/>
                    </a:lnTo>
                    <a:lnTo>
                      <a:pt x="315" y="347"/>
                    </a:lnTo>
                    <a:lnTo>
                      <a:pt x="315" y="342"/>
                    </a:lnTo>
                    <a:lnTo>
                      <a:pt x="315" y="336"/>
                    </a:lnTo>
                    <a:lnTo>
                      <a:pt x="317" y="331"/>
                    </a:lnTo>
                    <a:lnTo>
                      <a:pt x="319" y="326"/>
                    </a:lnTo>
                    <a:lnTo>
                      <a:pt x="322" y="322"/>
                    </a:lnTo>
                    <a:lnTo>
                      <a:pt x="322" y="322"/>
                    </a:lnTo>
                    <a:lnTo>
                      <a:pt x="326" y="319"/>
                    </a:lnTo>
                    <a:lnTo>
                      <a:pt x="331" y="317"/>
                    </a:lnTo>
                    <a:lnTo>
                      <a:pt x="336" y="315"/>
                    </a:lnTo>
                    <a:lnTo>
                      <a:pt x="342" y="315"/>
                    </a:lnTo>
                    <a:lnTo>
                      <a:pt x="347" y="315"/>
                    </a:lnTo>
                    <a:lnTo>
                      <a:pt x="352" y="317"/>
                    </a:lnTo>
                    <a:lnTo>
                      <a:pt x="356" y="319"/>
                    </a:lnTo>
                    <a:lnTo>
                      <a:pt x="360" y="322"/>
                    </a:lnTo>
                    <a:lnTo>
                      <a:pt x="360" y="322"/>
                    </a:lnTo>
                    <a:lnTo>
                      <a:pt x="364" y="326"/>
                    </a:lnTo>
                    <a:lnTo>
                      <a:pt x="367" y="331"/>
                    </a:lnTo>
                    <a:lnTo>
                      <a:pt x="368" y="336"/>
                    </a:lnTo>
                    <a:lnTo>
                      <a:pt x="369" y="342"/>
                    </a:lnTo>
                    <a:lnTo>
                      <a:pt x="368" y="347"/>
                    </a:lnTo>
                    <a:lnTo>
                      <a:pt x="367" y="352"/>
                    </a:lnTo>
                    <a:lnTo>
                      <a:pt x="364" y="356"/>
                    </a:lnTo>
                    <a:lnTo>
                      <a:pt x="360" y="360"/>
                    </a:lnTo>
                    <a:close/>
                    <a:moveTo>
                      <a:pt x="481" y="201"/>
                    </a:moveTo>
                    <a:lnTo>
                      <a:pt x="306" y="281"/>
                    </a:lnTo>
                    <a:lnTo>
                      <a:pt x="285" y="301"/>
                    </a:lnTo>
                    <a:lnTo>
                      <a:pt x="201" y="481"/>
                    </a:lnTo>
                    <a:lnTo>
                      <a:pt x="383" y="396"/>
                    </a:lnTo>
                    <a:lnTo>
                      <a:pt x="401" y="378"/>
                    </a:lnTo>
                    <a:lnTo>
                      <a:pt x="481" y="201"/>
                    </a:lnTo>
                    <a:close/>
                    <a:moveTo>
                      <a:pt x="308" y="376"/>
                    </a:moveTo>
                    <a:lnTo>
                      <a:pt x="308" y="376"/>
                    </a:lnTo>
                    <a:lnTo>
                      <a:pt x="302" y="368"/>
                    </a:lnTo>
                    <a:lnTo>
                      <a:pt x="298" y="359"/>
                    </a:lnTo>
                    <a:lnTo>
                      <a:pt x="295" y="350"/>
                    </a:lnTo>
                    <a:lnTo>
                      <a:pt x="295" y="341"/>
                    </a:lnTo>
                    <a:lnTo>
                      <a:pt x="295" y="332"/>
                    </a:lnTo>
                    <a:lnTo>
                      <a:pt x="298" y="323"/>
                    </a:lnTo>
                    <a:lnTo>
                      <a:pt x="302" y="315"/>
                    </a:lnTo>
                    <a:lnTo>
                      <a:pt x="308" y="308"/>
                    </a:lnTo>
                    <a:lnTo>
                      <a:pt x="308" y="308"/>
                    </a:lnTo>
                    <a:lnTo>
                      <a:pt x="315" y="302"/>
                    </a:lnTo>
                    <a:lnTo>
                      <a:pt x="324" y="298"/>
                    </a:lnTo>
                    <a:lnTo>
                      <a:pt x="332" y="295"/>
                    </a:lnTo>
                    <a:lnTo>
                      <a:pt x="341" y="295"/>
                    </a:lnTo>
                    <a:lnTo>
                      <a:pt x="350" y="295"/>
                    </a:lnTo>
                    <a:lnTo>
                      <a:pt x="359" y="298"/>
                    </a:lnTo>
                    <a:lnTo>
                      <a:pt x="368" y="302"/>
                    </a:lnTo>
                    <a:lnTo>
                      <a:pt x="376" y="308"/>
                    </a:lnTo>
                    <a:lnTo>
                      <a:pt x="376" y="308"/>
                    </a:lnTo>
                    <a:lnTo>
                      <a:pt x="382" y="315"/>
                    </a:lnTo>
                    <a:lnTo>
                      <a:pt x="386" y="323"/>
                    </a:lnTo>
                    <a:lnTo>
                      <a:pt x="389" y="332"/>
                    </a:lnTo>
                    <a:lnTo>
                      <a:pt x="390" y="341"/>
                    </a:lnTo>
                    <a:lnTo>
                      <a:pt x="389" y="350"/>
                    </a:lnTo>
                    <a:lnTo>
                      <a:pt x="386" y="359"/>
                    </a:lnTo>
                    <a:lnTo>
                      <a:pt x="382" y="368"/>
                    </a:lnTo>
                    <a:lnTo>
                      <a:pt x="376" y="376"/>
                    </a:lnTo>
                    <a:lnTo>
                      <a:pt x="376" y="376"/>
                    </a:lnTo>
                    <a:lnTo>
                      <a:pt x="368" y="382"/>
                    </a:lnTo>
                    <a:lnTo>
                      <a:pt x="359" y="386"/>
                    </a:lnTo>
                    <a:lnTo>
                      <a:pt x="350" y="389"/>
                    </a:lnTo>
                    <a:lnTo>
                      <a:pt x="341" y="390"/>
                    </a:lnTo>
                    <a:lnTo>
                      <a:pt x="332" y="389"/>
                    </a:lnTo>
                    <a:lnTo>
                      <a:pt x="324" y="386"/>
                    </a:lnTo>
                    <a:lnTo>
                      <a:pt x="315" y="382"/>
                    </a:lnTo>
                    <a:lnTo>
                      <a:pt x="308"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83" name="Freeform 179"/>
              <p:cNvSpPr>
                <a:spLocks/>
              </p:cNvSpPr>
              <p:nvPr/>
            </p:nvSpPr>
            <p:spPr bwMode="auto">
              <a:xfrm>
                <a:off x="6051113" y="3381376"/>
                <a:ext cx="52684" cy="53340"/>
              </a:xfrm>
              <a:custGeom>
                <a:avLst/>
                <a:gdLst>
                  <a:gd name="T0" fmla="*/ 45 w 54"/>
                  <a:gd name="T1" fmla="*/ 45 h 54"/>
                  <a:gd name="T2" fmla="*/ 45 w 54"/>
                  <a:gd name="T3" fmla="*/ 45 h 54"/>
                  <a:gd name="T4" fmla="*/ 41 w 54"/>
                  <a:gd name="T5" fmla="*/ 49 h 54"/>
                  <a:gd name="T6" fmla="*/ 37 w 54"/>
                  <a:gd name="T7" fmla="*/ 52 h 54"/>
                  <a:gd name="T8" fmla="*/ 32 w 54"/>
                  <a:gd name="T9" fmla="*/ 53 h 54"/>
                  <a:gd name="T10" fmla="*/ 27 w 54"/>
                  <a:gd name="T11" fmla="*/ 54 h 54"/>
                  <a:gd name="T12" fmla="*/ 21 w 54"/>
                  <a:gd name="T13" fmla="*/ 53 h 54"/>
                  <a:gd name="T14" fmla="*/ 16 w 54"/>
                  <a:gd name="T15" fmla="*/ 52 h 54"/>
                  <a:gd name="T16" fmla="*/ 11 w 54"/>
                  <a:gd name="T17" fmla="*/ 49 h 54"/>
                  <a:gd name="T18" fmla="*/ 7 w 54"/>
                  <a:gd name="T19" fmla="*/ 45 h 54"/>
                  <a:gd name="T20" fmla="*/ 7 w 54"/>
                  <a:gd name="T21" fmla="*/ 45 h 54"/>
                  <a:gd name="T22" fmla="*/ 4 w 54"/>
                  <a:gd name="T23" fmla="*/ 41 h 54"/>
                  <a:gd name="T24" fmla="*/ 2 w 54"/>
                  <a:gd name="T25" fmla="*/ 37 h 54"/>
                  <a:gd name="T26" fmla="*/ 0 w 54"/>
                  <a:gd name="T27" fmla="*/ 32 h 54"/>
                  <a:gd name="T28" fmla="*/ 0 w 54"/>
                  <a:gd name="T29" fmla="*/ 27 h 54"/>
                  <a:gd name="T30" fmla="*/ 0 w 54"/>
                  <a:gd name="T31" fmla="*/ 21 h 54"/>
                  <a:gd name="T32" fmla="*/ 2 w 54"/>
                  <a:gd name="T33" fmla="*/ 16 h 54"/>
                  <a:gd name="T34" fmla="*/ 4 w 54"/>
                  <a:gd name="T35" fmla="*/ 11 h 54"/>
                  <a:gd name="T36" fmla="*/ 7 w 54"/>
                  <a:gd name="T37" fmla="*/ 7 h 54"/>
                  <a:gd name="T38" fmla="*/ 7 w 54"/>
                  <a:gd name="T39" fmla="*/ 7 h 54"/>
                  <a:gd name="T40" fmla="*/ 11 w 54"/>
                  <a:gd name="T41" fmla="*/ 4 h 54"/>
                  <a:gd name="T42" fmla="*/ 16 w 54"/>
                  <a:gd name="T43" fmla="*/ 2 h 54"/>
                  <a:gd name="T44" fmla="*/ 21 w 54"/>
                  <a:gd name="T45" fmla="*/ 0 h 54"/>
                  <a:gd name="T46" fmla="*/ 27 w 54"/>
                  <a:gd name="T47" fmla="*/ 0 h 54"/>
                  <a:gd name="T48" fmla="*/ 32 w 54"/>
                  <a:gd name="T49" fmla="*/ 0 h 54"/>
                  <a:gd name="T50" fmla="*/ 37 w 54"/>
                  <a:gd name="T51" fmla="*/ 2 h 54"/>
                  <a:gd name="T52" fmla="*/ 41 w 54"/>
                  <a:gd name="T53" fmla="*/ 4 h 54"/>
                  <a:gd name="T54" fmla="*/ 45 w 54"/>
                  <a:gd name="T55" fmla="*/ 7 h 54"/>
                  <a:gd name="T56" fmla="*/ 45 w 54"/>
                  <a:gd name="T57" fmla="*/ 7 h 54"/>
                  <a:gd name="T58" fmla="*/ 49 w 54"/>
                  <a:gd name="T59" fmla="*/ 11 h 54"/>
                  <a:gd name="T60" fmla="*/ 52 w 54"/>
                  <a:gd name="T61" fmla="*/ 16 h 54"/>
                  <a:gd name="T62" fmla="*/ 53 w 54"/>
                  <a:gd name="T63" fmla="*/ 21 h 54"/>
                  <a:gd name="T64" fmla="*/ 54 w 54"/>
                  <a:gd name="T65" fmla="*/ 27 h 54"/>
                  <a:gd name="T66" fmla="*/ 53 w 54"/>
                  <a:gd name="T67" fmla="*/ 32 h 54"/>
                  <a:gd name="T68" fmla="*/ 52 w 54"/>
                  <a:gd name="T69" fmla="*/ 37 h 54"/>
                  <a:gd name="T70" fmla="*/ 49 w 54"/>
                  <a:gd name="T71" fmla="*/ 41 h 54"/>
                  <a:gd name="T72" fmla="*/ 45 w 54"/>
                  <a:gd name="T73"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 h="54">
                    <a:moveTo>
                      <a:pt x="45" y="45"/>
                    </a:moveTo>
                    <a:lnTo>
                      <a:pt x="45" y="45"/>
                    </a:lnTo>
                    <a:lnTo>
                      <a:pt x="41" y="49"/>
                    </a:lnTo>
                    <a:lnTo>
                      <a:pt x="37" y="52"/>
                    </a:lnTo>
                    <a:lnTo>
                      <a:pt x="32" y="53"/>
                    </a:lnTo>
                    <a:lnTo>
                      <a:pt x="27" y="54"/>
                    </a:lnTo>
                    <a:lnTo>
                      <a:pt x="21" y="53"/>
                    </a:lnTo>
                    <a:lnTo>
                      <a:pt x="16" y="52"/>
                    </a:lnTo>
                    <a:lnTo>
                      <a:pt x="11" y="49"/>
                    </a:lnTo>
                    <a:lnTo>
                      <a:pt x="7" y="45"/>
                    </a:lnTo>
                    <a:lnTo>
                      <a:pt x="7" y="45"/>
                    </a:lnTo>
                    <a:lnTo>
                      <a:pt x="4" y="41"/>
                    </a:lnTo>
                    <a:lnTo>
                      <a:pt x="2" y="37"/>
                    </a:lnTo>
                    <a:lnTo>
                      <a:pt x="0" y="32"/>
                    </a:lnTo>
                    <a:lnTo>
                      <a:pt x="0" y="27"/>
                    </a:lnTo>
                    <a:lnTo>
                      <a:pt x="0" y="21"/>
                    </a:lnTo>
                    <a:lnTo>
                      <a:pt x="2" y="16"/>
                    </a:lnTo>
                    <a:lnTo>
                      <a:pt x="4" y="11"/>
                    </a:lnTo>
                    <a:lnTo>
                      <a:pt x="7" y="7"/>
                    </a:lnTo>
                    <a:lnTo>
                      <a:pt x="7" y="7"/>
                    </a:lnTo>
                    <a:lnTo>
                      <a:pt x="11" y="4"/>
                    </a:lnTo>
                    <a:lnTo>
                      <a:pt x="16" y="2"/>
                    </a:lnTo>
                    <a:lnTo>
                      <a:pt x="21" y="0"/>
                    </a:lnTo>
                    <a:lnTo>
                      <a:pt x="27" y="0"/>
                    </a:lnTo>
                    <a:lnTo>
                      <a:pt x="32" y="0"/>
                    </a:lnTo>
                    <a:lnTo>
                      <a:pt x="37" y="2"/>
                    </a:lnTo>
                    <a:lnTo>
                      <a:pt x="41" y="4"/>
                    </a:lnTo>
                    <a:lnTo>
                      <a:pt x="45" y="7"/>
                    </a:lnTo>
                    <a:lnTo>
                      <a:pt x="45" y="7"/>
                    </a:lnTo>
                    <a:lnTo>
                      <a:pt x="49" y="11"/>
                    </a:lnTo>
                    <a:lnTo>
                      <a:pt x="52" y="16"/>
                    </a:lnTo>
                    <a:lnTo>
                      <a:pt x="53" y="21"/>
                    </a:lnTo>
                    <a:lnTo>
                      <a:pt x="54" y="27"/>
                    </a:lnTo>
                    <a:lnTo>
                      <a:pt x="53" y="32"/>
                    </a:lnTo>
                    <a:lnTo>
                      <a:pt x="52" y="37"/>
                    </a:lnTo>
                    <a:lnTo>
                      <a:pt x="49" y="41"/>
                    </a:lnTo>
                    <a:lnTo>
                      <a:pt x="45" y="4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45" name="Group 1544"/>
            <p:cNvGrpSpPr/>
            <p:nvPr/>
          </p:nvGrpSpPr>
          <p:grpSpPr>
            <a:xfrm>
              <a:off x="1430538" y="6295296"/>
              <a:ext cx="50875" cy="46062"/>
              <a:chOff x="942974" y="3168016"/>
              <a:chExt cx="468630" cy="466726"/>
            </a:xfrm>
            <a:solidFill>
              <a:schemeClr val="tx2">
                <a:lumMod val="75000"/>
              </a:schemeClr>
            </a:solidFill>
          </p:grpSpPr>
          <p:sp>
            <p:nvSpPr>
              <p:cNvPr id="1579" name="Freeform 158"/>
              <p:cNvSpPr>
                <a:spLocks noEditPoints="1"/>
              </p:cNvSpPr>
              <p:nvPr/>
            </p:nvSpPr>
            <p:spPr bwMode="auto">
              <a:xfrm>
                <a:off x="942974" y="3168016"/>
                <a:ext cx="468630" cy="466726"/>
              </a:xfrm>
              <a:custGeom>
                <a:avLst/>
                <a:gdLst>
                  <a:gd name="T0" fmla="*/ 401 w 490"/>
                  <a:gd name="T1" fmla="*/ 149 h 489"/>
                  <a:gd name="T2" fmla="*/ 377 w 490"/>
                  <a:gd name="T3" fmla="*/ 117 h 489"/>
                  <a:gd name="T4" fmla="*/ 289 w 490"/>
                  <a:gd name="T5" fmla="*/ 66 h 489"/>
                  <a:gd name="T6" fmla="*/ 266 w 490"/>
                  <a:gd name="T7" fmla="*/ 62 h 489"/>
                  <a:gd name="T8" fmla="*/ 216 w 490"/>
                  <a:gd name="T9" fmla="*/ 0 h 489"/>
                  <a:gd name="T10" fmla="*/ 146 w 490"/>
                  <a:gd name="T11" fmla="*/ 88 h 489"/>
                  <a:gd name="T12" fmla="*/ 56 w 490"/>
                  <a:gd name="T13" fmla="*/ 86 h 489"/>
                  <a:gd name="T14" fmla="*/ 65 w 490"/>
                  <a:gd name="T15" fmla="*/ 198 h 489"/>
                  <a:gd name="T16" fmla="*/ 59 w 490"/>
                  <a:gd name="T17" fmla="*/ 230 h 489"/>
                  <a:gd name="T18" fmla="*/ 19 w 490"/>
                  <a:gd name="T19" fmla="*/ 345 h 489"/>
                  <a:gd name="T20" fmla="*/ 90 w 490"/>
                  <a:gd name="T21" fmla="*/ 348 h 489"/>
                  <a:gd name="T22" fmla="*/ 111 w 490"/>
                  <a:gd name="T23" fmla="*/ 374 h 489"/>
                  <a:gd name="T24" fmla="*/ 199 w 490"/>
                  <a:gd name="T25" fmla="*/ 424 h 489"/>
                  <a:gd name="T26" fmla="*/ 220 w 490"/>
                  <a:gd name="T27" fmla="*/ 428 h 489"/>
                  <a:gd name="T28" fmla="*/ 266 w 490"/>
                  <a:gd name="T29" fmla="*/ 489 h 489"/>
                  <a:gd name="T30" fmla="*/ 339 w 490"/>
                  <a:gd name="T31" fmla="*/ 403 h 489"/>
                  <a:gd name="T32" fmla="*/ 373 w 490"/>
                  <a:gd name="T33" fmla="*/ 377 h 489"/>
                  <a:gd name="T34" fmla="*/ 422 w 490"/>
                  <a:gd name="T35" fmla="*/ 288 h 489"/>
                  <a:gd name="T36" fmla="*/ 427 w 490"/>
                  <a:gd name="T37" fmla="*/ 258 h 489"/>
                  <a:gd name="T38" fmla="*/ 297 w 490"/>
                  <a:gd name="T39" fmla="*/ 345 h 489"/>
                  <a:gd name="T40" fmla="*/ 275 w 490"/>
                  <a:gd name="T41" fmla="*/ 354 h 489"/>
                  <a:gd name="T42" fmla="*/ 242 w 490"/>
                  <a:gd name="T43" fmla="*/ 358 h 489"/>
                  <a:gd name="T44" fmla="*/ 210 w 490"/>
                  <a:gd name="T45" fmla="*/ 352 h 489"/>
                  <a:gd name="T46" fmla="*/ 181 w 490"/>
                  <a:gd name="T47" fmla="*/ 338 h 489"/>
                  <a:gd name="T48" fmla="*/ 156 w 490"/>
                  <a:gd name="T49" fmla="*/ 315 h 489"/>
                  <a:gd name="T50" fmla="*/ 143 w 490"/>
                  <a:gd name="T51" fmla="*/ 296 h 489"/>
                  <a:gd name="T52" fmla="*/ 132 w 490"/>
                  <a:gd name="T53" fmla="*/ 263 h 489"/>
                  <a:gd name="T54" fmla="*/ 131 w 490"/>
                  <a:gd name="T55" fmla="*/ 230 h 489"/>
                  <a:gd name="T56" fmla="*/ 139 w 490"/>
                  <a:gd name="T57" fmla="*/ 199 h 489"/>
                  <a:gd name="T58" fmla="*/ 158 w 490"/>
                  <a:gd name="T59" fmla="*/ 171 h 489"/>
                  <a:gd name="T60" fmla="*/ 183 w 490"/>
                  <a:gd name="T61" fmla="*/ 148 h 489"/>
                  <a:gd name="T62" fmla="*/ 204 w 490"/>
                  <a:gd name="T63" fmla="*/ 137 h 489"/>
                  <a:gd name="T64" fmla="*/ 236 w 490"/>
                  <a:gd name="T65" fmla="*/ 129 h 489"/>
                  <a:gd name="T66" fmla="*/ 269 w 490"/>
                  <a:gd name="T67" fmla="*/ 132 h 489"/>
                  <a:gd name="T68" fmla="*/ 300 w 490"/>
                  <a:gd name="T69" fmla="*/ 143 h 489"/>
                  <a:gd name="T70" fmla="*/ 326 w 490"/>
                  <a:gd name="T71" fmla="*/ 164 h 489"/>
                  <a:gd name="T72" fmla="*/ 346 w 490"/>
                  <a:gd name="T73" fmla="*/ 192 h 489"/>
                  <a:gd name="T74" fmla="*/ 355 w 490"/>
                  <a:gd name="T75" fmla="*/ 214 h 489"/>
                  <a:gd name="T76" fmla="*/ 359 w 490"/>
                  <a:gd name="T77" fmla="*/ 247 h 489"/>
                  <a:gd name="T78" fmla="*/ 353 w 490"/>
                  <a:gd name="T79" fmla="*/ 279 h 489"/>
                  <a:gd name="T80" fmla="*/ 339 w 490"/>
                  <a:gd name="T81" fmla="*/ 308 h 489"/>
                  <a:gd name="T82" fmla="*/ 316 w 490"/>
                  <a:gd name="T83" fmla="*/ 333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0" h="489">
                    <a:moveTo>
                      <a:pt x="490" y="222"/>
                    </a:moveTo>
                    <a:lnTo>
                      <a:pt x="471" y="142"/>
                    </a:lnTo>
                    <a:lnTo>
                      <a:pt x="401" y="149"/>
                    </a:lnTo>
                    <a:lnTo>
                      <a:pt x="401" y="149"/>
                    </a:lnTo>
                    <a:lnTo>
                      <a:pt x="390" y="133"/>
                    </a:lnTo>
                    <a:lnTo>
                      <a:pt x="377" y="117"/>
                    </a:lnTo>
                    <a:lnTo>
                      <a:pt x="403" y="55"/>
                    </a:lnTo>
                    <a:lnTo>
                      <a:pt x="332" y="12"/>
                    </a:lnTo>
                    <a:lnTo>
                      <a:pt x="289" y="66"/>
                    </a:lnTo>
                    <a:lnTo>
                      <a:pt x="289" y="66"/>
                    </a:lnTo>
                    <a:lnTo>
                      <a:pt x="278" y="64"/>
                    </a:lnTo>
                    <a:lnTo>
                      <a:pt x="266" y="62"/>
                    </a:lnTo>
                    <a:lnTo>
                      <a:pt x="255" y="61"/>
                    </a:lnTo>
                    <a:lnTo>
                      <a:pt x="243" y="60"/>
                    </a:lnTo>
                    <a:lnTo>
                      <a:pt x="216" y="0"/>
                    </a:lnTo>
                    <a:lnTo>
                      <a:pt x="136" y="21"/>
                    </a:lnTo>
                    <a:lnTo>
                      <a:pt x="146" y="88"/>
                    </a:lnTo>
                    <a:lnTo>
                      <a:pt x="146" y="88"/>
                    </a:lnTo>
                    <a:lnTo>
                      <a:pt x="130" y="99"/>
                    </a:lnTo>
                    <a:lnTo>
                      <a:pt x="116" y="110"/>
                    </a:lnTo>
                    <a:lnTo>
                      <a:pt x="56" y="86"/>
                    </a:lnTo>
                    <a:lnTo>
                      <a:pt x="13" y="155"/>
                    </a:lnTo>
                    <a:lnTo>
                      <a:pt x="65" y="198"/>
                    </a:lnTo>
                    <a:lnTo>
                      <a:pt x="65" y="198"/>
                    </a:lnTo>
                    <a:lnTo>
                      <a:pt x="62" y="208"/>
                    </a:lnTo>
                    <a:lnTo>
                      <a:pt x="60" y="219"/>
                    </a:lnTo>
                    <a:lnTo>
                      <a:pt x="59" y="230"/>
                    </a:lnTo>
                    <a:lnTo>
                      <a:pt x="58" y="241"/>
                    </a:lnTo>
                    <a:lnTo>
                      <a:pt x="0" y="266"/>
                    </a:lnTo>
                    <a:lnTo>
                      <a:pt x="19" y="345"/>
                    </a:lnTo>
                    <a:lnTo>
                      <a:pt x="84" y="338"/>
                    </a:lnTo>
                    <a:lnTo>
                      <a:pt x="84" y="338"/>
                    </a:lnTo>
                    <a:lnTo>
                      <a:pt x="90" y="348"/>
                    </a:lnTo>
                    <a:lnTo>
                      <a:pt x="96" y="357"/>
                    </a:lnTo>
                    <a:lnTo>
                      <a:pt x="103" y="365"/>
                    </a:lnTo>
                    <a:lnTo>
                      <a:pt x="111" y="374"/>
                    </a:lnTo>
                    <a:lnTo>
                      <a:pt x="87" y="433"/>
                    </a:lnTo>
                    <a:lnTo>
                      <a:pt x="157" y="475"/>
                    </a:lnTo>
                    <a:lnTo>
                      <a:pt x="199" y="424"/>
                    </a:lnTo>
                    <a:lnTo>
                      <a:pt x="199" y="424"/>
                    </a:lnTo>
                    <a:lnTo>
                      <a:pt x="209" y="426"/>
                    </a:lnTo>
                    <a:lnTo>
                      <a:pt x="220" y="428"/>
                    </a:lnTo>
                    <a:lnTo>
                      <a:pt x="231" y="429"/>
                    </a:lnTo>
                    <a:lnTo>
                      <a:pt x="242" y="430"/>
                    </a:lnTo>
                    <a:lnTo>
                      <a:pt x="266" y="489"/>
                    </a:lnTo>
                    <a:lnTo>
                      <a:pt x="346" y="470"/>
                    </a:lnTo>
                    <a:lnTo>
                      <a:pt x="339" y="403"/>
                    </a:lnTo>
                    <a:lnTo>
                      <a:pt x="339" y="403"/>
                    </a:lnTo>
                    <a:lnTo>
                      <a:pt x="356" y="391"/>
                    </a:lnTo>
                    <a:lnTo>
                      <a:pt x="364" y="384"/>
                    </a:lnTo>
                    <a:lnTo>
                      <a:pt x="373" y="377"/>
                    </a:lnTo>
                    <a:lnTo>
                      <a:pt x="434" y="402"/>
                    </a:lnTo>
                    <a:lnTo>
                      <a:pt x="476" y="332"/>
                    </a:lnTo>
                    <a:lnTo>
                      <a:pt x="422" y="288"/>
                    </a:lnTo>
                    <a:lnTo>
                      <a:pt x="422" y="288"/>
                    </a:lnTo>
                    <a:lnTo>
                      <a:pt x="426" y="268"/>
                    </a:lnTo>
                    <a:lnTo>
                      <a:pt x="427" y="258"/>
                    </a:lnTo>
                    <a:lnTo>
                      <a:pt x="428" y="248"/>
                    </a:lnTo>
                    <a:lnTo>
                      <a:pt x="490" y="222"/>
                    </a:lnTo>
                    <a:close/>
                    <a:moveTo>
                      <a:pt x="297" y="345"/>
                    </a:moveTo>
                    <a:lnTo>
                      <a:pt x="297" y="345"/>
                    </a:lnTo>
                    <a:lnTo>
                      <a:pt x="286" y="350"/>
                    </a:lnTo>
                    <a:lnTo>
                      <a:pt x="275" y="354"/>
                    </a:lnTo>
                    <a:lnTo>
                      <a:pt x="264" y="356"/>
                    </a:lnTo>
                    <a:lnTo>
                      <a:pt x="253" y="358"/>
                    </a:lnTo>
                    <a:lnTo>
                      <a:pt x="242" y="358"/>
                    </a:lnTo>
                    <a:lnTo>
                      <a:pt x="231" y="357"/>
                    </a:lnTo>
                    <a:lnTo>
                      <a:pt x="220" y="355"/>
                    </a:lnTo>
                    <a:lnTo>
                      <a:pt x="210" y="352"/>
                    </a:lnTo>
                    <a:lnTo>
                      <a:pt x="200" y="348"/>
                    </a:lnTo>
                    <a:lnTo>
                      <a:pt x="190" y="344"/>
                    </a:lnTo>
                    <a:lnTo>
                      <a:pt x="181" y="338"/>
                    </a:lnTo>
                    <a:lnTo>
                      <a:pt x="172" y="331"/>
                    </a:lnTo>
                    <a:lnTo>
                      <a:pt x="164" y="324"/>
                    </a:lnTo>
                    <a:lnTo>
                      <a:pt x="156" y="315"/>
                    </a:lnTo>
                    <a:lnTo>
                      <a:pt x="148" y="306"/>
                    </a:lnTo>
                    <a:lnTo>
                      <a:pt x="143" y="296"/>
                    </a:lnTo>
                    <a:lnTo>
                      <a:pt x="143" y="296"/>
                    </a:lnTo>
                    <a:lnTo>
                      <a:pt x="138" y="285"/>
                    </a:lnTo>
                    <a:lnTo>
                      <a:pt x="134" y="274"/>
                    </a:lnTo>
                    <a:lnTo>
                      <a:pt x="132" y="263"/>
                    </a:lnTo>
                    <a:lnTo>
                      <a:pt x="130" y="252"/>
                    </a:lnTo>
                    <a:lnTo>
                      <a:pt x="130" y="241"/>
                    </a:lnTo>
                    <a:lnTo>
                      <a:pt x="131" y="230"/>
                    </a:lnTo>
                    <a:lnTo>
                      <a:pt x="133" y="220"/>
                    </a:lnTo>
                    <a:lnTo>
                      <a:pt x="135" y="209"/>
                    </a:lnTo>
                    <a:lnTo>
                      <a:pt x="139" y="199"/>
                    </a:lnTo>
                    <a:lnTo>
                      <a:pt x="144" y="189"/>
                    </a:lnTo>
                    <a:lnTo>
                      <a:pt x="151" y="180"/>
                    </a:lnTo>
                    <a:lnTo>
                      <a:pt x="158" y="171"/>
                    </a:lnTo>
                    <a:lnTo>
                      <a:pt x="165" y="163"/>
                    </a:lnTo>
                    <a:lnTo>
                      <a:pt x="174" y="154"/>
                    </a:lnTo>
                    <a:lnTo>
                      <a:pt x="183" y="148"/>
                    </a:lnTo>
                    <a:lnTo>
                      <a:pt x="193" y="142"/>
                    </a:lnTo>
                    <a:lnTo>
                      <a:pt x="193" y="142"/>
                    </a:lnTo>
                    <a:lnTo>
                      <a:pt x="204" y="137"/>
                    </a:lnTo>
                    <a:lnTo>
                      <a:pt x="214" y="133"/>
                    </a:lnTo>
                    <a:lnTo>
                      <a:pt x="225" y="131"/>
                    </a:lnTo>
                    <a:lnTo>
                      <a:pt x="236" y="129"/>
                    </a:lnTo>
                    <a:lnTo>
                      <a:pt x="247" y="129"/>
                    </a:lnTo>
                    <a:lnTo>
                      <a:pt x="258" y="130"/>
                    </a:lnTo>
                    <a:lnTo>
                      <a:pt x="269" y="132"/>
                    </a:lnTo>
                    <a:lnTo>
                      <a:pt x="280" y="135"/>
                    </a:lnTo>
                    <a:lnTo>
                      <a:pt x="290" y="139"/>
                    </a:lnTo>
                    <a:lnTo>
                      <a:pt x="300" y="143"/>
                    </a:lnTo>
                    <a:lnTo>
                      <a:pt x="309" y="149"/>
                    </a:lnTo>
                    <a:lnTo>
                      <a:pt x="318" y="156"/>
                    </a:lnTo>
                    <a:lnTo>
                      <a:pt x="326" y="164"/>
                    </a:lnTo>
                    <a:lnTo>
                      <a:pt x="334" y="173"/>
                    </a:lnTo>
                    <a:lnTo>
                      <a:pt x="340" y="182"/>
                    </a:lnTo>
                    <a:lnTo>
                      <a:pt x="346" y="192"/>
                    </a:lnTo>
                    <a:lnTo>
                      <a:pt x="346" y="192"/>
                    </a:lnTo>
                    <a:lnTo>
                      <a:pt x="351" y="203"/>
                    </a:lnTo>
                    <a:lnTo>
                      <a:pt x="355" y="214"/>
                    </a:lnTo>
                    <a:lnTo>
                      <a:pt x="357" y="225"/>
                    </a:lnTo>
                    <a:lnTo>
                      <a:pt x="358" y="236"/>
                    </a:lnTo>
                    <a:lnTo>
                      <a:pt x="359" y="247"/>
                    </a:lnTo>
                    <a:lnTo>
                      <a:pt x="358" y="258"/>
                    </a:lnTo>
                    <a:lnTo>
                      <a:pt x="356" y="268"/>
                    </a:lnTo>
                    <a:lnTo>
                      <a:pt x="353" y="279"/>
                    </a:lnTo>
                    <a:lnTo>
                      <a:pt x="349" y="289"/>
                    </a:lnTo>
                    <a:lnTo>
                      <a:pt x="344" y="299"/>
                    </a:lnTo>
                    <a:lnTo>
                      <a:pt x="339" y="308"/>
                    </a:lnTo>
                    <a:lnTo>
                      <a:pt x="332" y="317"/>
                    </a:lnTo>
                    <a:lnTo>
                      <a:pt x="325" y="325"/>
                    </a:lnTo>
                    <a:lnTo>
                      <a:pt x="316" y="333"/>
                    </a:lnTo>
                    <a:lnTo>
                      <a:pt x="307" y="339"/>
                    </a:lnTo>
                    <a:lnTo>
                      <a:pt x="297"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80" name="Freeform 161"/>
              <p:cNvSpPr>
                <a:spLocks/>
              </p:cNvSpPr>
              <p:nvPr/>
            </p:nvSpPr>
            <p:spPr bwMode="auto">
              <a:xfrm>
                <a:off x="1137284" y="3360420"/>
                <a:ext cx="80010" cy="80010"/>
              </a:xfrm>
              <a:custGeom>
                <a:avLst/>
                <a:gdLst>
                  <a:gd name="T0" fmla="*/ 79 w 83"/>
                  <a:gd name="T1" fmla="*/ 22 h 83"/>
                  <a:gd name="T2" fmla="*/ 79 w 83"/>
                  <a:gd name="T3" fmla="*/ 22 h 83"/>
                  <a:gd name="T4" fmla="*/ 82 w 83"/>
                  <a:gd name="T5" fmla="*/ 30 h 83"/>
                  <a:gd name="T6" fmla="*/ 83 w 83"/>
                  <a:gd name="T7" fmla="*/ 38 h 83"/>
                  <a:gd name="T8" fmla="*/ 83 w 83"/>
                  <a:gd name="T9" fmla="*/ 46 h 83"/>
                  <a:gd name="T10" fmla="*/ 81 w 83"/>
                  <a:gd name="T11" fmla="*/ 54 h 83"/>
                  <a:gd name="T12" fmla="*/ 78 w 83"/>
                  <a:gd name="T13" fmla="*/ 62 h 83"/>
                  <a:gd name="T14" fmla="*/ 74 w 83"/>
                  <a:gd name="T15" fmla="*/ 68 h 83"/>
                  <a:gd name="T16" fmla="*/ 68 w 83"/>
                  <a:gd name="T17" fmla="*/ 74 h 83"/>
                  <a:gd name="T18" fmla="*/ 61 w 83"/>
                  <a:gd name="T19" fmla="*/ 79 h 83"/>
                  <a:gd name="T20" fmla="*/ 61 w 83"/>
                  <a:gd name="T21" fmla="*/ 79 h 83"/>
                  <a:gd name="T22" fmla="*/ 53 w 83"/>
                  <a:gd name="T23" fmla="*/ 82 h 83"/>
                  <a:gd name="T24" fmla="*/ 45 w 83"/>
                  <a:gd name="T25" fmla="*/ 83 h 83"/>
                  <a:gd name="T26" fmla="*/ 37 w 83"/>
                  <a:gd name="T27" fmla="*/ 83 h 83"/>
                  <a:gd name="T28" fmla="*/ 29 w 83"/>
                  <a:gd name="T29" fmla="*/ 81 h 83"/>
                  <a:gd name="T30" fmla="*/ 22 w 83"/>
                  <a:gd name="T31" fmla="*/ 78 h 83"/>
                  <a:gd name="T32" fmla="*/ 15 w 83"/>
                  <a:gd name="T33" fmla="*/ 73 h 83"/>
                  <a:gd name="T34" fmla="*/ 9 w 83"/>
                  <a:gd name="T35" fmla="*/ 67 h 83"/>
                  <a:gd name="T36" fmla="*/ 5 w 83"/>
                  <a:gd name="T37" fmla="*/ 60 h 83"/>
                  <a:gd name="T38" fmla="*/ 5 w 83"/>
                  <a:gd name="T39" fmla="*/ 60 h 83"/>
                  <a:gd name="T40" fmla="*/ 2 w 83"/>
                  <a:gd name="T41" fmla="*/ 52 h 83"/>
                  <a:gd name="T42" fmla="*/ 0 w 83"/>
                  <a:gd name="T43" fmla="*/ 44 h 83"/>
                  <a:gd name="T44" fmla="*/ 0 w 83"/>
                  <a:gd name="T45" fmla="*/ 36 h 83"/>
                  <a:gd name="T46" fmla="*/ 2 w 83"/>
                  <a:gd name="T47" fmla="*/ 29 h 83"/>
                  <a:gd name="T48" fmla="*/ 5 w 83"/>
                  <a:gd name="T49" fmla="*/ 21 h 83"/>
                  <a:gd name="T50" fmla="*/ 10 w 83"/>
                  <a:gd name="T51" fmla="*/ 15 h 83"/>
                  <a:gd name="T52" fmla="*/ 16 w 83"/>
                  <a:gd name="T53" fmla="*/ 9 h 83"/>
                  <a:gd name="T54" fmla="*/ 23 w 83"/>
                  <a:gd name="T55" fmla="*/ 4 h 83"/>
                  <a:gd name="T56" fmla="*/ 23 w 83"/>
                  <a:gd name="T57" fmla="*/ 4 h 83"/>
                  <a:gd name="T58" fmla="*/ 31 w 83"/>
                  <a:gd name="T59" fmla="*/ 1 h 83"/>
                  <a:gd name="T60" fmla="*/ 39 w 83"/>
                  <a:gd name="T61" fmla="*/ 0 h 83"/>
                  <a:gd name="T62" fmla="*/ 47 w 83"/>
                  <a:gd name="T63" fmla="*/ 0 h 83"/>
                  <a:gd name="T64" fmla="*/ 55 w 83"/>
                  <a:gd name="T65" fmla="*/ 2 h 83"/>
                  <a:gd name="T66" fmla="*/ 62 w 83"/>
                  <a:gd name="T67" fmla="*/ 5 h 83"/>
                  <a:gd name="T68" fmla="*/ 69 w 83"/>
                  <a:gd name="T69" fmla="*/ 9 h 83"/>
                  <a:gd name="T70" fmla="*/ 74 w 83"/>
                  <a:gd name="T71" fmla="*/ 15 h 83"/>
                  <a:gd name="T72" fmla="*/ 79 w 83"/>
                  <a:gd name="T73" fmla="*/ 2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 h="83">
                    <a:moveTo>
                      <a:pt x="79" y="22"/>
                    </a:moveTo>
                    <a:lnTo>
                      <a:pt x="79" y="22"/>
                    </a:lnTo>
                    <a:lnTo>
                      <a:pt x="82" y="30"/>
                    </a:lnTo>
                    <a:lnTo>
                      <a:pt x="83" y="38"/>
                    </a:lnTo>
                    <a:lnTo>
                      <a:pt x="83" y="46"/>
                    </a:lnTo>
                    <a:lnTo>
                      <a:pt x="81" y="54"/>
                    </a:lnTo>
                    <a:lnTo>
                      <a:pt x="78" y="62"/>
                    </a:lnTo>
                    <a:lnTo>
                      <a:pt x="74" y="68"/>
                    </a:lnTo>
                    <a:lnTo>
                      <a:pt x="68" y="74"/>
                    </a:lnTo>
                    <a:lnTo>
                      <a:pt x="61" y="79"/>
                    </a:lnTo>
                    <a:lnTo>
                      <a:pt x="61" y="79"/>
                    </a:lnTo>
                    <a:lnTo>
                      <a:pt x="53" y="82"/>
                    </a:lnTo>
                    <a:lnTo>
                      <a:pt x="45" y="83"/>
                    </a:lnTo>
                    <a:lnTo>
                      <a:pt x="37" y="83"/>
                    </a:lnTo>
                    <a:lnTo>
                      <a:pt x="29" y="81"/>
                    </a:lnTo>
                    <a:lnTo>
                      <a:pt x="22" y="78"/>
                    </a:lnTo>
                    <a:lnTo>
                      <a:pt x="15" y="73"/>
                    </a:lnTo>
                    <a:lnTo>
                      <a:pt x="9" y="67"/>
                    </a:lnTo>
                    <a:lnTo>
                      <a:pt x="5" y="60"/>
                    </a:lnTo>
                    <a:lnTo>
                      <a:pt x="5" y="60"/>
                    </a:lnTo>
                    <a:lnTo>
                      <a:pt x="2" y="52"/>
                    </a:lnTo>
                    <a:lnTo>
                      <a:pt x="0" y="44"/>
                    </a:lnTo>
                    <a:lnTo>
                      <a:pt x="0" y="36"/>
                    </a:lnTo>
                    <a:lnTo>
                      <a:pt x="2" y="29"/>
                    </a:lnTo>
                    <a:lnTo>
                      <a:pt x="5" y="21"/>
                    </a:lnTo>
                    <a:lnTo>
                      <a:pt x="10" y="15"/>
                    </a:lnTo>
                    <a:lnTo>
                      <a:pt x="16" y="9"/>
                    </a:lnTo>
                    <a:lnTo>
                      <a:pt x="23" y="4"/>
                    </a:lnTo>
                    <a:lnTo>
                      <a:pt x="23" y="4"/>
                    </a:lnTo>
                    <a:lnTo>
                      <a:pt x="31" y="1"/>
                    </a:lnTo>
                    <a:lnTo>
                      <a:pt x="39" y="0"/>
                    </a:lnTo>
                    <a:lnTo>
                      <a:pt x="47" y="0"/>
                    </a:lnTo>
                    <a:lnTo>
                      <a:pt x="55" y="2"/>
                    </a:lnTo>
                    <a:lnTo>
                      <a:pt x="62" y="5"/>
                    </a:lnTo>
                    <a:lnTo>
                      <a:pt x="69" y="9"/>
                    </a:lnTo>
                    <a:lnTo>
                      <a:pt x="74" y="15"/>
                    </a:lnTo>
                    <a:lnTo>
                      <a:pt x="79"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81" name="Freeform 162"/>
              <p:cNvSpPr>
                <a:spLocks/>
              </p:cNvSpPr>
              <p:nvPr/>
            </p:nvSpPr>
            <p:spPr bwMode="auto">
              <a:xfrm>
                <a:off x="1137284" y="3360420"/>
                <a:ext cx="80010" cy="80010"/>
              </a:xfrm>
              <a:custGeom>
                <a:avLst/>
                <a:gdLst>
                  <a:gd name="T0" fmla="*/ 79 w 83"/>
                  <a:gd name="T1" fmla="*/ 22 h 83"/>
                  <a:gd name="T2" fmla="*/ 79 w 83"/>
                  <a:gd name="T3" fmla="*/ 22 h 83"/>
                  <a:gd name="T4" fmla="*/ 82 w 83"/>
                  <a:gd name="T5" fmla="*/ 30 h 83"/>
                  <a:gd name="T6" fmla="*/ 83 w 83"/>
                  <a:gd name="T7" fmla="*/ 38 h 83"/>
                  <a:gd name="T8" fmla="*/ 83 w 83"/>
                  <a:gd name="T9" fmla="*/ 46 h 83"/>
                  <a:gd name="T10" fmla="*/ 81 w 83"/>
                  <a:gd name="T11" fmla="*/ 54 h 83"/>
                  <a:gd name="T12" fmla="*/ 78 w 83"/>
                  <a:gd name="T13" fmla="*/ 62 h 83"/>
                  <a:gd name="T14" fmla="*/ 74 w 83"/>
                  <a:gd name="T15" fmla="*/ 68 h 83"/>
                  <a:gd name="T16" fmla="*/ 68 w 83"/>
                  <a:gd name="T17" fmla="*/ 74 h 83"/>
                  <a:gd name="T18" fmla="*/ 61 w 83"/>
                  <a:gd name="T19" fmla="*/ 79 h 83"/>
                  <a:gd name="T20" fmla="*/ 61 w 83"/>
                  <a:gd name="T21" fmla="*/ 79 h 83"/>
                  <a:gd name="T22" fmla="*/ 53 w 83"/>
                  <a:gd name="T23" fmla="*/ 82 h 83"/>
                  <a:gd name="T24" fmla="*/ 45 w 83"/>
                  <a:gd name="T25" fmla="*/ 83 h 83"/>
                  <a:gd name="T26" fmla="*/ 37 w 83"/>
                  <a:gd name="T27" fmla="*/ 83 h 83"/>
                  <a:gd name="T28" fmla="*/ 29 w 83"/>
                  <a:gd name="T29" fmla="*/ 81 h 83"/>
                  <a:gd name="T30" fmla="*/ 22 w 83"/>
                  <a:gd name="T31" fmla="*/ 78 h 83"/>
                  <a:gd name="T32" fmla="*/ 15 w 83"/>
                  <a:gd name="T33" fmla="*/ 73 h 83"/>
                  <a:gd name="T34" fmla="*/ 9 w 83"/>
                  <a:gd name="T35" fmla="*/ 67 h 83"/>
                  <a:gd name="T36" fmla="*/ 5 w 83"/>
                  <a:gd name="T37" fmla="*/ 60 h 83"/>
                  <a:gd name="T38" fmla="*/ 5 w 83"/>
                  <a:gd name="T39" fmla="*/ 60 h 83"/>
                  <a:gd name="T40" fmla="*/ 2 w 83"/>
                  <a:gd name="T41" fmla="*/ 52 h 83"/>
                  <a:gd name="T42" fmla="*/ 0 w 83"/>
                  <a:gd name="T43" fmla="*/ 44 h 83"/>
                  <a:gd name="T44" fmla="*/ 0 w 83"/>
                  <a:gd name="T45" fmla="*/ 36 h 83"/>
                  <a:gd name="T46" fmla="*/ 2 w 83"/>
                  <a:gd name="T47" fmla="*/ 29 h 83"/>
                  <a:gd name="T48" fmla="*/ 5 w 83"/>
                  <a:gd name="T49" fmla="*/ 21 h 83"/>
                  <a:gd name="T50" fmla="*/ 10 w 83"/>
                  <a:gd name="T51" fmla="*/ 15 h 83"/>
                  <a:gd name="T52" fmla="*/ 16 w 83"/>
                  <a:gd name="T53" fmla="*/ 9 h 83"/>
                  <a:gd name="T54" fmla="*/ 23 w 83"/>
                  <a:gd name="T55" fmla="*/ 4 h 83"/>
                  <a:gd name="T56" fmla="*/ 23 w 83"/>
                  <a:gd name="T57" fmla="*/ 4 h 83"/>
                  <a:gd name="T58" fmla="*/ 31 w 83"/>
                  <a:gd name="T59" fmla="*/ 1 h 83"/>
                  <a:gd name="T60" fmla="*/ 39 w 83"/>
                  <a:gd name="T61" fmla="*/ 0 h 83"/>
                  <a:gd name="T62" fmla="*/ 47 w 83"/>
                  <a:gd name="T63" fmla="*/ 0 h 83"/>
                  <a:gd name="T64" fmla="*/ 55 w 83"/>
                  <a:gd name="T65" fmla="*/ 2 h 83"/>
                  <a:gd name="T66" fmla="*/ 62 w 83"/>
                  <a:gd name="T67" fmla="*/ 5 h 83"/>
                  <a:gd name="T68" fmla="*/ 69 w 83"/>
                  <a:gd name="T69" fmla="*/ 9 h 83"/>
                  <a:gd name="T70" fmla="*/ 74 w 83"/>
                  <a:gd name="T71" fmla="*/ 15 h 83"/>
                  <a:gd name="T72" fmla="*/ 79 w 83"/>
                  <a:gd name="T73" fmla="*/ 2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 h="83">
                    <a:moveTo>
                      <a:pt x="79" y="22"/>
                    </a:moveTo>
                    <a:lnTo>
                      <a:pt x="79" y="22"/>
                    </a:lnTo>
                    <a:lnTo>
                      <a:pt x="82" y="30"/>
                    </a:lnTo>
                    <a:lnTo>
                      <a:pt x="83" y="38"/>
                    </a:lnTo>
                    <a:lnTo>
                      <a:pt x="83" y="46"/>
                    </a:lnTo>
                    <a:lnTo>
                      <a:pt x="81" y="54"/>
                    </a:lnTo>
                    <a:lnTo>
                      <a:pt x="78" y="62"/>
                    </a:lnTo>
                    <a:lnTo>
                      <a:pt x="74" y="68"/>
                    </a:lnTo>
                    <a:lnTo>
                      <a:pt x="68" y="74"/>
                    </a:lnTo>
                    <a:lnTo>
                      <a:pt x="61" y="79"/>
                    </a:lnTo>
                    <a:lnTo>
                      <a:pt x="61" y="79"/>
                    </a:lnTo>
                    <a:lnTo>
                      <a:pt x="53" y="82"/>
                    </a:lnTo>
                    <a:lnTo>
                      <a:pt x="45" y="83"/>
                    </a:lnTo>
                    <a:lnTo>
                      <a:pt x="37" y="83"/>
                    </a:lnTo>
                    <a:lnTo>
                      <a:pt x="29" y="81"/>
                    </a:lnTo>
                    <a:lnTo>
                      <a:pt x="22" y="78"/>
                    </a:lnTo>
                    <a:lnTo>
                      <a:pt x="15" y="73"/>
                    </a:lnTo>
                    <a:lnTo>
                      <a:pt x="9" y="67"/>
                    </a:lnTo>
                    <a:lnTo>
                      <a:pt x="5" y="60"/>
                    </a:lnTo>
                    <a:lnTo>
                      <a:pt x="5" y="60"/>
                    </a:lnTo>
                    <a:lnTo>
                      <a:pt x="2" y="52"/>
                    </a:lnTo>
                    <a:lnTo>
                      <a:pt x="0" y="44"/>
                    </a:lnTo>
                    <a:lnTo>
                      <a:pt x="0" y="36"/>
                    </a:lnTo>
                    <a:lnTo>
                      <a:pt x="2" y="29"/>
                    </a:lnTo>
                    <a:lnTo>
                      <a:pt x="5" y="21"/>
                    </a:lnTo>
                    <a:lnTo>
                      <a:pt x="10" y="15"/>
                    </a:lnTo>
                    <a:lnTo>
                      <a:pt x="16" y="9"/>
                    </a:lnTo>
                    <a:lnTo>
                      <a:pt x="23" y="4"/>
                    </a:lnTo>
                    <a:lnTo>
                      <a:pt x="23" y="4"/>
                    </a:lnTo>
                    <a:lnTo>
                      <a:pt x="31" y="1"/>
                    </a:lnTo>
                    <a:lnTo>
                      <a:pt x="39" y="0"/>
                    </a:lnTo>
                    <a:lnTo>
                      <a:pt x="47" y="0"/>
                    </a:lnTo>
                    <a:lnTo>
                      <a:pt x="55" y="2"/>
                    </a:lnTo>
                    <a:lnTo>
                      <a:pt x="62" y="5"/>
                    </a:lnTo>
                    <a:lnTo>
                      <a:pt x="69" y="9"/>
                    </a:lnTo>
                    <a:lnTo>
                      <a:pt x="74" y="15"/>
                    </a:lnTo>
                    <a:lnTo>
                      <a:pt x="79" y="2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46" name="Group 1545"/>
            <p:cNvGrpSpPr/>
            <p:nvPr/>
          </p:nvGrpSpPr>
          <p:grpSpPr>
            <a:xfrm>
              <a:off x="351963" y="5784498"/>
              <a:ext cx="83330" cy="83330"/>
              <a:chOff x="7498080" y="3108960"/>
              <a:chExt cx="634366" cy="634366"/>
            </a:xfrm>
            <a:solidFill>
              <a:schemeClr val="accent1"/>
            </a:solidFill>
          </p:grpSpPr>
          <p:sp>
            <p:nvSpPr>
              <p:cNvPr id="1576" name="Freeform 177"/>
              <p:cNvSpPr>
                <a:spLocks noEditPoints="1"/>
              </p:cNvSpPr>
              <p:nvPr/>
            </p:nvSpPr>
            <p:spPr bwMode="auto">
              <a:xfrm>
                <a:off x="7498080" y="3108960"/>
                <a:ext cx="634366" cy="634366"/>
              </a:xfrm>
              <a:custGeom>
                <a:avLst/>
                <a:gdLst>
                  <a:gd name="T0" fmla="*/ 357 w 666"/>
                  <a:gd name="T1" fmla="*/ 11 h 667"/>
                  <a:gd name="T2" fmla="*/ 352 w 666"/>
                  <a:gd name="T3" fmla="*/ 7 h 667"/>
                  <a:gd name="T4" fmla="*/ 340 w 666"/>
                  <a:gd name="T5" fmla="*/ 1 h 667"/>
                  <a:gd name="T6" fmla="*/ 327 w 666"/>
                  <a:gd name="T7" fmla="*/ 1 h 667"/>
                  <a:gd name="T8" fmla="*/ 315 w 666"/>
                  <a:gd name="T9" fmla="*/ 7 h 667"/>
                  <a:gd name="T10" fmla="*/ 11 w 666"/>
                  <a:gd name="T11" fmla="*/ 309 h 667"/>
                  <a:gd name="T12" fmla="*/ 6 w 666"/>
                  <a:gd name="T13" fmla="*/ 315 h 667"/>
                  <a:gd name="T14" fmla="*/ 1 w 666"/>
                  <a:gd name="T15" fmla="*/ 327 h 667"/>
                  <a:gd name="T16" fmla="*/ 1 w 666"/>
                  <a:gd name="T17" fmla="*/ 340 h 667"/>
                  <a:gd name="T18" fmla="*/ 6 w 666"/>
                  <a:gd name="T19" fmla="*/ 353 h 667"/>
                  <a:gd name="T20" fmla="*/ 310 w 666"/>
                  <a:gd name="T21" fmla="*/ 657 h 667"/>
                  <a:gd name="T22" fmla="*/ 315 w 666"/>
                  <a:gd name="T23" fmla="*/ 661 h 667"/>
                  <a:gd name="T24" fmla="*/ 327 w 666"/>
                  <a:gd name="T25" fmla="*/ 666 h 667"/>
                  <a:gd name="T26" fmla="*/ 340 w 666"/>
                  <a:gd name="T27" fmla="*/ 666 h 667"/>
                  <a:gd name="T28" fmla="*/ 352 w 666"/>
                  <a:gd name="T29" fmla="*/ 661 h 667"/>
                  <a:gd name="T30" fmla="*/ 657 w 666"/>
                  <a:gd name="T31" fmla="*/ 359 h 667"/>
                  <a:gd name="T32" fmla="*/ 661 w 666"/>
                  <a:gd name="T33" fmla="*/ 353 h 667"/>
                  <a:gd name="T34" fmla="*/ 666 w 666"/>
                  <a:gd name="T35" fmla="*/ 340 h 667"/>
                  <a:gd name="T36" fmla="*/ 666 w 666"/>
                  <a:gd name="T37" fmla="*/ 327 h 667"/>
                  <a:gd name="T38" fmla="*/ 661 w 666"/>
                  <a:gd name="T39" fmla="*/ 315 h 667"/>
                  <a:gd name="T40" fmla="*/ 582 w 666"/>
                  <a:gd name="T41" fmla="*/ 352 h 667"/>
                  <a:gd name="T42" fmla="*/ 353 w 666"/>
                  <a:gd name="T43" fmla="*/ 582 h 667"/>
                  <a:gd name="T44" fmla="*/ 345 w 666"/>
                  <a:gd name="T45" fmla="*/ 588 h 667"/>
                  <a:gd name="T46" fmla="*/ 335 w 666"/>
                  <a:gd name="T47" fmla="*/ 589 h 667"/>
                  <a:gd name="T48" fmla="*/ 325 w 666"/>
                  <a:gd name="T49" fmla="*/ 588 h 667"/>
                  <a:gd name="T50" fmla="*/ 316 w 666"/>
                  <a:gd name="T51" fmla="*/ 582 h 667"/>
                  <a:gd name="T52" fmla="*/ 87 w 666"/>
                  <a:gd name="T53" fmla="*/ 352 h 667"/>
                  <a:gd name="T54" fmla="*/ 81 w 666"/>
                  <a:gd name="T55" fmla="*/ 344 h 667"/>
                  <a:gd name="T56" fmla="*/ 79 w 666"/>
                  <a:gd name="T57" fmla="*/ 334 h 667"/>
                  <a:gd name="T58" fmla="*/ 81 w 666"/>
                  <a:gd name="T59" fmla="*/ 324 h 667"/>
                  <a:gd name="T60" fmla="*/ 87 w 666"/>
                  <a:gd name="T61" fmla="*/ 315 h 667"/>
                  <a:gd name="T62" fmla="*/ 316 w 666"/>
                  <a:gd name="T63" fmla="*/ 86 h 667"/>
                  <a:gd name="T64" fmla="*/ 325 w 666"/>
                  <a:gd name="T65" fmla="*/ 80 h 667"/>
                  <a:gd name="T66" fmla="*/ 335 w 666"/>
                  <a:gd name="T67" fmla="*/ 78 h 667"/>
                  <a:gd name="T68" fmla="*/ 345 w 666"/>
                  <a:gd name="T69" fmla="*/ 80 h 667"/>
                  <a:gd name="T70" fmla="*/ 353 w 666"/>
                  <a:gd name="T71" fmla="*/ 86 h 667"/>
                  <a:gd name="T72" fmla="*/ 582 w 666"/>
                  <a:gd name="T73" fmla="*/ 315 h 667"/>
                  <a:gd name="T74" fmla="*/ 588 w 666"/>
                  <a:gd name="T75" fmla="*/ 324 h 667"/>
                  <a:gd name="T76" fmla="*/ 590 w 666"/>
                  <a:gd name="T77" fmla="*/ 334 h 667"/>
                  <a:gd name="T78" fmla="*/ 588 w 666"/>
                  <a:gd name="T79" fmla="*/ 344 h 667"/>
                  <a:gd name="T80" fmla="*/ 582 w 666"/>
                  <a:gd name="T81" fmla="*/ 352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6" h="667">
                    <a:moveTo>
                      <a:pt x="657" y="309"/>
                    </a:moveTo>
                    <a:lnTo>
                      <a:pt x="357" y="11"/>
                    </a:lnTo>
                    <a:lnTo>
                      <a:pt x="357" y="11"/>
                    </a:lnTo>
                    <a:lnTo>
                      <a:pt x="352" y="7"/>
                    </a:lnTo>
                    <a:lnTo>
                      <a:pt x="346" y="3"/>
                    </a:lnTo>
                    <a:lnTo>
                      <a:pt x="340" y="1"/>
                    </a:lnTo>
                    <a:lnTo>
                      <a:pt x="334" y="0"/>
                    </a:lnTo>
                    <a:lnTo>
                      <a:pt x="327" y="1"/>
                    </a:lnTo>
                    <a:lnTo>
                      <a:pt x="321" y="3"/>
                    </a:lnTo>
                    <a:lnTo>
                      <a:pt x="315" y="7"/>
                    </a:lnTo>
                    <a:lnTo>
                      <a:pt x="310" y="11"/>
                    </a:lnTo>
                    <a:lnTo>
                      <a:pt x="11" y="309"/>
                    </a:lnTo>
                    <a:lnTo>
                      <a:pt x="11" y="309"/>
                    </a:lnTo>
                    <a:lnTo>
                      <a:pt x="6" y="315"/>
                    </a:lnTo>
                    <a:lnTo>
                      <a:pt x="3" y="321"/>
                    </a:lnTo>
                    <a:lnTo>
                      <a:pt x="1" y="327"/>
                    </a:lnTo>
                    <a:lnTo>
                      <a:pt x="0" y="334"/>
                    </a:lnTo>
                    <a:lnTo>
                      <a:pt x="1" y="340"/>
                    </a:lnTo>
                    <a:lnTo>
                      <a:pt x="3" y="347"/>
                    </a:lnTo>
                    <a:lnTo>
                      <a:pt x="6" y="353"/>
                    </a:lnTo>
                    <a:lnTo>
                      <a:pt x="11" y="359"/>
                    </a:lnTo>
                    <a:lnTo>
                      <a:pt x="310" y="657"/>
                    </a:lnTo>
                    <a:lnTo>
                      <a:pt x="310" y="657"/>
                    </a:lnTo>
                    <a:lnTo>
                      <a:pt x="315" y="661"/>
                    </a:lnTo>
                    <a:lnTo>
                      <a:pt x="321" y="664"/>
                    </a:lnTo>
                    <a:lnTo>
                      <a:pt x="327" y="666"/>
                    </a:lnTo>
                    <a:lnTo>
                      <a:pt x="334" y="667"/>
                    </a:lnTo>
                    <a:lnTo>
                      <a:pt x="340" y="666"/>
                    </a:lnTo>
                    <a:lnTo>
                      <a:pt x="346" y="664"/>
                    </a:lnTo>
                    <a:lnTo>
                      <a:pt x="352" y="661"/>
                    </a:lnTo>
                    <a:lnTo>
                      <a:pt x="357" y="657"/>
                    </a:lnTo>
                    <a:lnTo>
                      <a:pt x="657" y="359"/>
                    </a:lnTo>
                    <a:lnTo>
                      <a:pt x="657" y="359"/>
                    </a:lnTo>
                    <a:lnTo>
                      <a:pt x="661" y="353"/>
                    </a:lnTo>
                    <a:lnTo>
                      <a:pt x="664" y="347"/>
                    </a:lnTo>
                    <a:lnTo>
                      <a:pt x="666" y="340"/>
                    </a:lnTo>
                    <a:lnTo>
                      <a:pt x="666" y="334"/>
                    </a:lnTo>
                    <a:lnTo>
                      <a:pt x="666" y="327"/>
                    </a:lnTo>
                    <a:lnTo>
                      <a:pt x="664" y="321"/>
                    </a:lnTo>
                    <a:lnTo>
                      <a:pt x="661" y="315"/>
                    </a:lnTo>
                    <a:lnTo>
                      <a:pt x="657" y="309"/>
                    </a:lnTo>
                    <a:close/>
                    <a:moveTo>
                      <a:pt x="582" y="352"/>
                    </a:moveTo>
                    <a:lnTo>
                      <a:pt x="353" y="582"/>
                    </a:lnTo>
                    <a:lnTo>
                      <a:pt x="353" y="582"/>
                    </a:lnTo>
                    <a:lnTo>
                      <a:pt x="349" y="585"/>
                    </a:lnTo>
                    <a:lnTo>
                      <a:pt x="345" y="588"/>
                    </a:lnTo>
                    <a:lnTo>
                      <a:pt x="340" y="589"/>
                    </a:lnTo>
                    <a:lnTo>
                      <a:pt x="335" y="589"/>
                    </a:lnTo>
                    <a:lnTo>
                      <a:pt x="330" y="589"/>
                    </a:lnTo>
                    <a:lnTo>
                      <a:pt x="325" y="588"/>
                    </a:lnTo>
                    <a:lnTo>
                      <a:pt x="320" y="585"/>
                    </a:lnTo>
                    <a:lnTo>
                      <a:pt x="316" y="582"/>
                    </a:lnTo>
                    <a:lnTo>
                      <a:pt x="87" y="352"/>
                    </a:lnTo>
                    <a:lnTo>
                      <a:pt x="87" y="352"/>
                    </a:lnTo>
                    <a:lnTo>
                      <a:pt x="83" y="348"/>
                    </a:lnTo>
                    <a:lnTo>
                      <a:pt x="81" y="344"/>
                    </a:lnTo>
                    <a:lnTo>
                      <a:pt x="79" y="339"/>
                    </a:lnTo>
                    <a:lnTo>
                      <a:pt x="79" y="334"/>
                    </a:lnTo>
                    <a:lnTo>
                      <a:pt x="79" y="329"/>
                    </a:lnTo>
                    <a:lnTo>
                      <a:pt x="81" y="324"/>
                    </a:lnTo>
                    <a:lnTo>
                      <a:pt x="83" y="319"/>
                    </a:lnTo>
                    <a:lnTo>
                      <a:pt x="87" y="315"/>
                    </a:lnTo>
                    <a:lnTo>
                      <a:pt x="316" y="86"/>
                    </a:lnTo>
                    <a:lnTo>
                      <a:pt x="316" y="86"/>
                    </a:lnTo>
                    <a:lnTo>
                      <a:pt x="320" y="83"/>
                    </a:lnTo>
                    <a:lnTo>
                      <a:pt x="325" y="80"/>
                    </a:lnTo>
                    <a:lnTo>
                      <a:pt x="330" y="79"/>
                    </a:lnTo>
                    <a:lnTo>
                      <a:pt x="335" y="78"/>
                    </a:lnTo>
                    <a:lnTo>
                      <a:pt x="340" y="79"/>
                    </a:lnTo>
                    <a:lnTo>
                      <a:pt x="345" y="80"/>
                    </a:lnTo>
                    <a:lnTo>
                      <a:pt x="349" y="83"/>
                    </a:lnTo>
                    <a:lnTo>
                      <a:pt x="353" y="86"/>
                    </a:lnTo>
                    <a:lnTo>
                      <a:pt x="582" y="315"/>
                    </a:lnTo>
                    <a:lnTo>
                      <a:pt x="582" y="315"/>
                    </a:lnTo>
                    <a:lnTo>
                      <a:pt x="586" y="319"/>
                    </a:lnTo>
                    <a:lnTo>
                      <a:pt x="588" y="324"/>
                    </a:lnTo>
                    <a:lnTo>
                      <a:pt x="590" y="329"/>
                    </a:lnTo>
                    <a:lnTo>
                      <a:pt x="590" y="334"/>
                    </a:lnTo>
                    <a:lnTo>
                      <a:pt x="590" y="339"/>
                    </a:lnTo>
                    <a:lnTo>
                      <a:pt x="588" y="344"/>
                    </a:lnTo>
                    <a:lnTo>
                      <a:pt x="586" y="348"/>
                    </a:lnTo>
                    <a:lnTo>
                      <a:pt x="582" y="3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77" name="Freeform 180"/>
              <p:cNvSpPr>
                <a:spLocks/>
              </p:cNvSpPr>
              <p:nvPr/>
            </p:nvSpPr>
            <p:spPr bwMode="auto">
              <a:xfrm>
                <a:off x="7789545" y="3280410"/>
                <a:ext cx="72390" cy="200026"/>
              </a:xfrm>
              <a:custGeom>
                <a:avLst/>
                <a:gdLst>
                  <a:gd name="T0" fmla="*/ 56 w 74"/>
                  <a:gd name="T1" fmla="*/ 211 h 211"/>
                  <a:gd name="T2" fmla="*/ 74 w 74"/>
                  <a:gd name="T3" fmla="*/ 80 h 211"/>
                  <a:gd name="T4" fmla="*/ 74 w 74"/>
                  <a:gd name="T5" fmla="*/ 0 h 211"/>
                  <a:gd name="T6" fmla="*/ 0 w 74"/>
                  <a:gd name="T7" fmla="*/ 0 h 211"/>
                  <a:gd name="T8" fmla="*/ 0 w 74"/>
                  <a:gd name="T9" fmla="*/ 80 h 211"/>
                  <a:gd name="T10" fmla="*/ 18 w 74"/>
                  <a:gd name="T11" fmla="*/ 211 h 211"/>
                  <a:gd name="T12" fmla="*/ 56 w 74"/>
                  <a:gd name="T13" fmla="*/ 211 h 211"/>
                </a:gdLst>
                <a:ahLst/>
                <a:cxnLst>
                  <a:cxn ang="0">
                    <a:pos x="T0" y="T1"/>
                  </a:cxn>
                  <a:cxn ang="0">
                    <a:pos x="T2" y="T3"/>
                  </a:cxn>
                  <a:cxn ang="0">
                    <a:pos x="T4" y="T5"/>
                  </a:cxn>
                  <a:cxn ang="0">
                    <a:pos x="T6" y="T7"/>
                  </a:cxn>
                  <a:cxn ang="0">
                    <a:pos x="T8" y="T9"/>
                  </a:cxn>
                  <a:cxn ang="0">
                    <a:pos x="T10" y="T11"/>
                  </a:cxn>
                  <a:cxn ang="0">
                    <a:pos x="T12" y="T13"/>
                  </a:cxn>
                </a:cxnLst>
                <a:rect l="0" t="0" r="r" b="b"/>
                <a:pathLst>
                  <a:path w="74" h="211">
                    <a:moveTo>
                      <a:pt x="56" y="211"/>
                    </a:moveTo>
                    <a:lnTo>
                      <a:pt x="74" y="80"/>
                    </a:lnTo>
                    <a:lnTo>
                      <a:pt x="74" y="0"/>
                    </a:lnTo>
                    <a:lnTo>
                      <a:pt x="0" y="0"/>
                    </a:lnTo>
                    <a:lnTo>
                      <a:pt x="0" y="80"/>
                    </a:lnTo>
                    <a:lnTo>
                      <a:pt x="18" y="211"/>
                    </a:lnTo>
                    <a:lnTo>
                      <a:pt x="5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78" name="Rectangle 181"/>
              <p:cNvSpPr>
                <a:spLocks noChangeArrowheads="1"/>
              </p:cNvSpPr>
              <p:nvPr/>
            </p:nvSpPr>
            <p:spPr bwMode="auto">
              <a:xfrm>
                <a:off x="7785735" y="3503296"/>
                <a:ext cx="8001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548" name="Group 1547"/>
            <p:cNvGrpSpPr/>
            <p:nvPr/>
          </p:nvGrpSpPr>
          <p:grpSpPr>
            <a:xfrm rot="5400000" flipH="1" flipV="1">
              <a:off x="360629" y="5656380"/>
              <a:ext cx="77190" cy="126071"/>
              <a:chOff x="2658904" y="3122439"/>
              <a:chExt cx="81472" cy="132564"/>
            </a:xfrm>
            <a:solidFill>
              <a:schemeClr val="accent1"/>
            </a:solidFill>
          </p:grpSpPr>
          <p:sp>
            <p:nvSpPr>
              <p:cNvPr id="1573"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574"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57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549" name="Group 1548"/>
            <p:cNvGrpSpPr/>
            <p:nvPr/>
          </p:nvGrpSpPr>
          <p:grpSpPr>
            <a:xfrm rot="5400000" flipH="1" flipV="1">
              <a:off x="2291437" y="5597151"/>
              <a:ext cx="77190" cy="126071"/>
              <a:chOff x="2658904" y="3122439"/>
              <a:chExt cx="81472" cy="132564"/>
            </a:xfrm>
            <a:solidFill>
              <a:schemeClr val="accent1"/>
            </a:solidFill>
          </p:grpSpPr>
          <p:sp>
            <p:nvSpPr>
              <p:cNvPr id="1570"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571"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572"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550" name="Group 1549"/>
            <p:cNvGrpSpPr/>
            <p:nvPr/>
          </p:nvGrpSpPr>
          <p:grpSpPr>
            <a:xfrm rot="10470363" flipH="1" flipV="1">
              <a:off x="1824610" y="5506265"/>
              <a:ext cx="77190" cy="126071"/>
              <a:chOff x="2658904" y="3122439"/>
              <a:chExt cx="81472" cy="132564"/>
            </a:xfrm>
            <a:solidFill>
              <a:schemeClr val="accent1"/>
            </a:solidFill>
          </p:grpSpPr>
          <p:sp>
            <p:nvSpPr>
              <p:cNvPr id="1567"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568"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569"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551" name="Group 1550"/>
            <p:cNvGrpSpPr/>
            <p:nvPr/>
          </p:nvGrpSpPr>
          <p:grpSpPr>
            <a:xfrm rot="10470363" flipH="1" flipV="1">
              <a:off x="1763405" y="5814244"/>
              <a:ext cx="77190" cy="126071"/>
              <a:chOff x="2658904" y="3122439"/>
              <a:chExt cx="81472" cy="132564"/>
            </a:xfrm>
            <a:solidFill>
              <a:schemeClr val="accent1"/>
            </a:solidFill>
          </p:grpSpPr>
          <p:sp>
            <p:nvSpPr>
              <p:cNvPr id="1564"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565"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566"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552" name="Group 1551"/>
            <p:cNvGrpSpPr>
              <a:grpSpLocks noChangeAspect="1"/>
            </p:cNvGrpSpPr>
            <p:nvPr/>
          </p:nvGrpSpPr>
          <p:grpSpPr>
            <a:xfrm>
              <a:off x="458153" y="5789359"/>
              <a:ext cx="73035" cy="60071"/>
              <a:chOff x="8970859" y="2626225"/>
              <a:chExt cx="414001" cy="374572"/>
            </a:xfrm>
          </p:grpSpPr>
          <p:sp>
            <p:nvSpPr>
              <p:cNvPr id="1559" name="Rectangle 1558"/>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560" name="Group 1559"/>
              <p:cNvGrpSpPr/>
              <p:nvPr/>
            </p:nvGrpSpPr>
            <p:grpSpPr>
              <a:xfrm>
                <a:off x="8970859" y="2626225"/>
                <a:ext cx="414001" cy="374572"/>
                <a:chOff x="25455229" y="-39674"/>
                <a:chExt cx="806770" cy="729935"/>
              </a:xfrm>
            </p:grpSpPr>
            <p:sp>
              <p:nvSpPr>
                <p:cNvPr id="1561"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62"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63"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553" name="Group 1552"/>
            <p:cNvGrpSpPr>
              <a:grpSpLocks noChangeAspect="1"/>
            </p:cNvGrpSpPr>
            <p:nvPr/>
          </p:nvGrpSpPr>
          <p:grpSpPr>
            <a:xfrm>
              <a:off x="1509480" y="5542986"/>
              <a:ext cx="80338" cy="66078"/>
              <a:chOff x="8970859" y="2626225"/>
              <a:chExt cx="414001" cy="374572"/>
            </a:xfrm>
          </p:grpSpPr>
          <p:sp>
            <p:nvSpPr>
              <p:cNvPr id="1554" name="Rectangle 1553"/>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555" name="Group 1554"/>
              <p:cNvGrpSpPr/>
              <p:nvPr/>
            </p:nvGrpSpPr>
            <p:grpSpPr>
              <a:xfrm>
                <a:off x="8970859" y="2626225"/>
                <a:ext cx="414001" cy="374572"/>
                <a:chOff x="25455229" y="-39674"/>
                <a:chExt cx="806770" cy="729935"/>
              </a:xfrm>
            </p:grpSpPr>
            <p:sp>
              <p:nvSpPr>
                <p:cNvPr id="1556"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7"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58"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1547" name="Rectangle 1546"/>
            <p:cNvSpPr/>
            <p:nvPr/>
          </p:nvSpPr>
          <p:spPr bwMode="auto">
            <a:xfrm>
              <a:off x="265104" y="5471217"/>
              <a:ext cx="2559623" cy="965884"/>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610" name="Isosceles Triangle 1609"/>
          <p:cNvSpPr/>
          <p:nvPr/>
        </p:nvSpPr>
        <p:spPr bwMode="auto">
          <a:xfrm rot="10800000">
            <a:off x="6789912" y="2263988"/>
            <a:ext cx="238750" cy="134345"/>
          </a:xfrm>
          <a:prstGeom prst="triangle">
            <a:avLst>
              <a:gd name="adj" fmla="val 5019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21" name="Pentagon 128"/>
          <p:cNvSpPr/>
          <p:nvPr/>
        </p:nvSpPr>
        <p:spPr bwMode="auto">
          <a:xfrm rot="5221384">
            <a:off x="7584122" y="1557695"/>
            <a:ext cx="68972" cy="142950"/>
          </a:xfrm>
          <a:custGeom>
            <a:avLst/>
            <a:gdLst>
              <a:gd name="connsiteX0" fmla="*/ 0 w 39841"/>
              <a:gd name="connsiteY0" fmla="*/ 0 h 106508"/>
              <a:gd name="connsiteX1" fmla="*/ 19921 w 39841"/>
              <a:gd name="connsiteY1" fmla="*/ 0 h 106508"/>
              <a:gd name="connsiteX2" fmla="*/ 39841 w 39841"/>
              <a:gd name="connsiteY2" fmla="*/ 53254 h 106508"/>
              <a:gd name="connsiteX3" fmla="*/ 19921 w 39841"/>
              <a:gd name="connsiteY3" fmla="*/ 106508 h 106508"/>
              <a:gd name="connsiteX4" fmla="*/ 0 w 39841"/>
              <a:gd name="connsiteY4" fmla="*/ 106508 h 106508"/>
              <a:gd name="connsiteX5" fmla="*/ 0 w 39841"/>
              <a:gd name="connsiteY5" fmla="*/ 0 h 106508"/>
              <a:gd name="connsiteX0" fmla="*/ 7491 w 47332"/>
              <a:gd name="connsiteY0" fmla="*/ 0 h 108579"/>
              <a:gd name="connsiteX1" fmla="*/ 27412 w 47332"/>
              <a:gd name="connsiteY1" fmla="*/ 0 h 108579"/>
              <a:gd name="connsiteX2" fmla="*/ 47332 w 47332"/>
              <a:gd name="connsiteY2" fmla="*/ 53254 h 108579"/>
              <a:gd name="connsiteX3" fmla="*/ 27412 w 47332"/>
              <a:gd name="connsiteY3" fmla="*/ 106508 h 108579"/>
              <a:gd name="connsiteX4" fmla="*/ 0 w 47332"/>
              <a:gd name="connsiteY4" fmla="*/ 108579 h 108579"/>
              <a:gd name="connsiteX5" fmla="*/ 7491 w 47332"/>
              <a:gd name="connsiteY5" fmla="*/ 0 h 108579"/>
              <a:gd name="connsiteX0" fmla="*/ 3767 w 47332"/>
              <a:gd name="connsiteY0" fmla="*/ 0 h 109989"/>
              <a:gd name="connsiteX1" fmla="*/ 27412 w 47332"/>
              <a:gd name="connsiteY1" fmla="*/ 1410 h 109989"/>
              <a:gd name="connsiteX2" fmla="*/ 47332 w 47332"/>
              <a:gd name="connsiteY2" fmla="*/ 54664 h 109989"/>
              <a:gd name="connsiteX3" fmla="*/ 27412 w 47332"/>
              <a:gd name="connsiteY3" fmla="*/ 107918 h 109989"/>
              <a:gd name="connsiteX4" fmla="*/ 0 w 47332"/>
              <a:gd name="connsiteY4" fmla="*/ 109989 h 109989"/>
              <a:gd name="connsiteX5" fmla="*/ 3767 w 47332"/>
              <a:gd name="connsiteY5" fmla="*/ 0 h 109989"/>
              <a:gd name="connsiteX0" fmla="*/ 4084 w 47649"/>
              <a:gd name="connsiteY0" fmla="*/ 0 h 107918"/>
              <a:gd name="connsiteX1" fmla="*/ 27729 w 47649"/>
              <a:gd name="connsiteY1" fmla="*/ 1410 h 107918"/>
              <a:gd name="connsiteX2" fmla="*/ 47649 w 47649"/>
              <a:gd name="connsiteY2" fmla="*/ 54664 h 107918"/>
              <a:gd name="connsiteX3" fmla="*/ 27729 w 47649"/>
              <a:gd name="connsiteY3" fmla="*/ 107918 h 107918"/>
              <a:gd name="connsiteX4" fmla="*/ 0 w 47649"/>
              <a:gd name="connsiteY4" fmla="*/ 106783 h 107918"/>
              <a:gd name="connsiteX5" fmla="*/ 4084 w 47649"/>
              <a:gd name="connsiteY5" fmla="*/ 0 h 107918"/>
              <a:gd name="connsiteX0" fmla="*/ 3306 w 46871"/>
              <a:gd name="connsiteY0" fmla="*/ 0 h 107918"/>
              <a:gd name="connsiteX1" fmla="*/ 26951 w 46871"/>
              <a:gd name="connsiteY1" fmla="*/ 1410 h 107918"/>
              <a:gd name="connsiteX2" fmla="*/ 46871 w 46871"/>
              <a:gd name="connsiteY2" fmla="*/ 54664 h 107918"/>
              <a:gd name="connsiteX3" fmla="*/ 26951 w 46871"/>
              <a:gd name="connsiteY3" fmla="*/ 107918 h 107918"/>
              <a:gd name="connsiteX4" fmla="*/ 0 w 46871"/>
              <a:gd name="connsiteY4" fmla="*/ 98439 h 107918"/>
              <a:gd name="connsiteX5" fmla="*/ 3306 w 46871"/>
              <a:gd name="connsiteY5" fmla="*/ 0 h 107918"/>
              <a:gd name="connsiteX0" fmla="*/ 3147 w 46871"/>
              <a:gd name="connsiteY0" fmla="*/ 8134 h 106508"/>
              <a:gd name="connsiteX1" fmla="*/ 26951 w 46871"/>
              <a:gd name="connsiteY1" fmla="*/ 0 h 106508"/>
              <a:gd name="connsiteX2" fmla="*/ 46871 w 46871"/>
              <a:gd name="connsiteY2" fmla="*/ 53254 h 106508"/>
              <a:gd name="connsiteX3" fmla="*/ 26951 w 46871"/>
              <a:gd name="connsiteY3" fmla="*/ 106508 h 106508"/>
              <a:gd name="connsiteX4" fmla="*/ 0 w 46871"/>
              <a:gd name="connsiteY4" fmla="*/ 97029 h 106508"/>
              <a:gd name="connsiteX5" fmla="*/ 3147 w 46871"/>
              <a:gd name="connsiteY5" fmla="*/ 8134 h 106508"/>
              <a:gd name="connsiteX0" fmla="*/ 3147 w 46871"/>
              <a:gd name="connsiteY0" fmla="*/ 4702 h 103076"/>
              <a:gd name="connsiteX1" fmla="*/ 30594 w 46871"/>
              <a:gd name="connsiteY1" fmla="*/ 0 h 103076"/>
              <a:gd name="connsiteX2" fmla="*/ 46871 w 46871"/>
              <a:gd name="connsiteY2" fmla="*/ 49822 h 103076"/>
              <a:gd name="connsiteX3" fmla="*/ 26951 w 46871"/>
              <a:gd name="connsiteY3" fmla="*/ 103076 h 103076"/>
              <a:gd name="connsiteX4" fmla="*/ 0 w 46871"/>
              <a:gd name="connsiteY4" fmla="*/ 93597 h 103076"/>
              <a:gd name="connsiteX5" fmla="*/ 3147 w 46871"/>
              <a:gd name="connsiteY5" fmla="*/ 4702 h 103076"/>
              <a:gd name="connsiteX0" fmla="*/ 3147 w 46871"/>
              <a:gd name="connsiteY0" fmla="*/ 7878 h 106252"/>
              <a:gd name="connsiteX1" fmla="*/ 30721 w 46871"/>
              <a:gd name="connsiteY1" fmla="*/ 0 h 106252"/>
              <a:gd name="connsiteX2" fmla="*/ 46871 w 46871"/>
              <a:gd name="connsiteY2" fmla="*/ 52998 h 106252"/>
              <a:gd name="connsiteX3" fmla="*/ 26951 w 46871"/>
              <a:gd name="connsiteY3" fmla="*/ 106252 h 106252"/>
              <a:gd name="connsiteX4" fmla="*/ 0 w 46871"/>
              <a:gd name="connsiteY4" fmla="*/ 96773 h 106252"/>
              <a:gd name="connsiteX5" fmla="*/ 3147 w 46871"/>
              <a:gd name="connsiteY5" fmla="*/ 7878 h 106252"/>
              <a:gd name="connsiteX0" fmla="*/ 3020 w 46744"/>
              <a:gd name="connsiteY0" fmla="*/ 7878 h 106252"/>
              <a:gd name="connsiteX1" fmla="*/ 30594 w 46744"/>
              <a:gd name="connsiteY1" fmla="*/ 0 h 106252"/>
              <a:gd name="connsiteX2" fmla="*/ 46744 w 46744"/>
              <a:gd name="connsiteY2" fmla="*/ 52998 h 106252"/>
              <a:gd name="connsiteX3" fmla="*/ 26824 w 46744"/>
              <a:gd name="connsiteY3" fmla="*/ 106252 h 106252"/>
              <a:gd name="connsiteX4" fmla="*/ 0 w 46744"/>
              <a:gd name="connsiteY4" fmla="*/ 93597 h 106252"/>
              <a:gd name="connsiteX5" fmla="*/ 3020 w 46744"/>
              <a:gd name="connsiteY5" fmla="*/ 7878 h 106252"/>
              <a:gd name="connsiteX0" fmla="*/ 3020 w 46744"/>
              <a:gd name="connsiteY0" fmla="*/ 7878 h 104718"/>
              <a:gd name="connsiteX1" fmla="*/ 30594 w 46744"/>
              <a:gd name="connsiteY1" fmla="*/ 0 h 104718"/>
              <a:gd name="connsiteX2" fmla="*/ 46744 w 46744"/>
              <a:gd name="connsiteY2" fmla="*/ 52998 h 104718"/>
              <a:gd name="connsiteX3" fmla="*/ 25551 w 46744"/>
              <a:gd name="connsiteY3" fmla="*/ 104718 h 104718"/>
              <a:gd name="connsiteX4" fmla="*/ 0 w 46744"/>
              <a:gd name="connsiteY4" fmla="*/ 93597 h 104718"/>
              <a:gd name="connsiteX5" fmla="*/ 3020 w 46744"/>
              <a:gd name="connsiteY5" fmla="*/ 7878 h 104718"/>
              <a:gd name="connsiteX0" fmla="*/ 3020 w 46744"/>
              <a:gd name="connsiteY0" fmla="*/ 7878 h 104261"/>
              <a:gd name="connsiteX1" fmla="*/ 30594 w 46744"/>
              <a:gd name="connsiteY1" fmla="*/ 0 h 104261"/>
              <a:gd name="connsiteX2" fmla="*/ 46744 w 46744"/>
              <a:gd name="connsiteY2" fmla="*/ 52998 h 104261"/>
              <a:gd name="connsiteX3" fmla="*/ 27348 w 46744"/>
              <a:gd name="connsiteY3" fmla="*/ 104261 h 104261"/>
              <a:gd name="connsiteX4" fmla="*/ 0 w 46744"/>
              <a:gd name="connsiteY4" fmla="*/ 93597 h 104261"/>
              <a:gd name="connsiteX5" fmla="*/ 3020 w 46744"/>
              <a:gd name="connsiteY5" fmla="*/ 7878 h 104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744" h="104261">
                <a:moveTo>
                  <a:pt x="3020" y="7878"/>
                </a:moveTo>
                <a:lnTo>
                  <a:pt x="30594" y="0"/>
                </a:lnTo>
                <a:lnTo>
                  <a:pt x="46744" y="52998"/>
                </a:lnTo>
                <a:lnTo>
                  <a:pt x="27348" y="104261"/>
                </a:lnTo>
                <a:lnTo>
                  <a:pt x="0" y="93597"/>
                </a:lnTo>
                <a:lnTo>
                  <a:pt x="3020" y="7878"/>
                </a:lnTo>
                <a:close/>
              </a:path>
            </a:pathLst>
          </a:custGeom>
          <a:pattFill prst="smGrid">
            <a:fgClr>
              <a:schemeClr val="accent1"/>
            </a:fgClr>
            <a:bgClr>
              <a:schemeClr val="tx1"/>
            </a:bgClr>
          </a:patt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622" name="Group 1621"/>
          <p:cNvGrpSpPr>
            <a:grpSpLocks noChangeAspect="1"/>
          </p:cNvGrpSpPr>
          <p:nvPr/>
        </p:nvGrpSpPr>
        <p:grpSpPr>
          <a:xfrm>
            <a:off x="7550107" y="1518611"/>
            <a:ext cx="131019" cy="55066"/>
            <a:chOff x="6038850" y="1693544"/>
            <a:chExt cx="525780" cy="220982"/>
          </a:xfrm>
          <a:solidFill>
            <a:schemeClr val="accent1"/>
          </a:solidFill>
        </p:grpSpPr>
        <p:sp>
          <p:nvSpPr>
            <p:cNvPr id="1623" name="Freeform 397"/>
            <p:cNvSpPr>
              <a:spLocks/>
            </p:cNvSpPr>
            <p:nvPr/>
          </p:nvSpPr>
          <p:spPr bwMode="auto">
            <a:xfrm>
              <a:off x="6038850" y="1783080"/>
              <a:ext cx="131446" cy="131446"/>
            </a:xfrm>
            <a:custGeom>
              <a:avLst/>
              <a:gdLst>
                <a:gd name="T0" fmla="*/ 8 w 139"/>
                <a:gd name="T1" fmla="*/ 9 h 140"/>
                <a:gd name="T2" fmla="*/ 8 w 139"/>
                <a:gd name="T3" fmla="*/ 9 h 140"/>
                <a:gd name="T4" fmla="*/ 12 w 139"/>
                <a:gd name="T5" fmla="*/ 5 h 140"/>
                <a:gd name="T6" fmla="*/ 16 w 139"/>
                <a:gd name="T7" fmla="*/ 3 h 140"/>
                <a:gd name="T8" fmla="*/ 22 w 139"/>
                <a:gd name="T9" fmla="*/ 1 h 140"/>
                <a:gd name="T10" fmla="*/ 27 w 139"/>
                <a:gd name="T11" fmla="*/ 0 h 140"/>
                <a:gd name="T12" fmla="*/ 31 w 139"/>
                <a:gd name="T13" fmla="*/ 1 h 140"/>
                <a:gd name="T14" fmla="*/ 36 w 139"/>
                <a:gd name="T15" fmla="*/ 2 h 140"/>
                <a:gd name="T16" fmla="*/ 40 w 139"/>
                <a:gd name="T17" fmla="*/ 4 h 140"/>
                <a:gd name="T18" fmla="*/ 43 w 139"/>
                <a:gd name="T19" fmla="*/ 7 h 140"/>
                <a:gd name="T20" fmla="*/ 133 w 139"/>
                <a:gd name="T21" fmla="*/ 97 h 140"/>
                <a:gd name="T22" fmla="*/ 133 w 139"/>
                <a:gd name="T23" fmla="*/ 97 h 140"/>
                <a:gd name="T24" fmla="*/ 136 w 139"/>
                <a:gd name="T25" fmla="*/ 101 h 140"/>
                <a:gd name="T26" fmla="*/ 138 w 139"/>
                <a:gd name="T27" fmla="*/ 105 h 140"/>
                <a:gd name="T28" fmla="*/ 139 w 139"/>
                <a:gd name="T29" fmla="*/ 109 h 140"/>
                <a:gd name="T30" fmla="*/ 139 w 139"/>
                <a:gd name="T31" fmla="*/ 114 h 140"/>
                <a:gd name="T32" fmla="*/ 138 w 139"/>
                <a:gd name="T33" fmla="*/ 119 h 140"/>
                <a:gd name="T34" fmla="*/ 137 w 139"/>
                <a:gd name="T35" fmla="*/ 123 h 140"/>
                <a:gd name="T36" fmla="*/ 134 w 139"/>
                <a:gd name="T37" fmla="*/ 128 h 140"/>
                <a:gd name="T38" fmla="*/ 131 w 139"/>
                <a:gd name="T39" fmla="*/ 132 h 140"/>
                <a:gd name="T40" fmla="*/ 131 w 139"/>
                <a:gd name="T41" fmla="*/ 132 h 140"/>
                <a:gd name="T42" fmla="*/ 127 w 139"/>
                <a:gd name="T43" fmla="*/ 135 h 140"/>
                <a:gd name="T44" fmla="*/ 123 w 139"/>
                <a:gd name="T45" fmla="*/ 138 h 140"/>
                <a:gd name="T46" fmla="*/ 118 w 139"/>
                <a:gd name="T47" fmla="*/ 139 h 140"/>
                <a:gd name="T48" fmla="*/ 113 w 139"/>
                <a:gd name="T49" fmla="*/ 140 h 140"/>
                <a:gd name="T50" fmla="*/ 109 w 139"/>
                <a:gd name="T51" fmla="*/ 140 h 140"/>
                <a:gd name="T52" fmla="*/ 104 w 139"/>
                <a:gd name="T53" fmla="*/ 139 h 140"/>
                <a:gd name="T54" fmla="*/ 100 w 139"/>
                <a:gd name="T55" fmla="*/ 137 h 140"/>
                <a:gd name="T56" fmla="*/ 96 w 139"/>
                <a:gd name="T57" fmla="*/ 134 h 140"/>
                <a:gd name="T58" fmla="*/ 6 w 139"/>
                <a:gd name="T59" fmla="*/ 43 h 140"/>
                <a:gd name="T60" fmla="*/ 6 w 139"/>
                <a:gd name="T61" fmla="*/ 43 h 140"/>
                <a:gd name="T62" fmla="*/ 3 w 139"/>
                <a:gd name="T63" fmla="*/ 40 h 140"/>
                <a:gd name="T64" fmla="*/ 1 w 139"/>
                <a:gd name="T65" fmla="*/ 36 h 140"/>
                <a:gd name="T66" fmla="*/ 0 w 139"/>
                <a:gd name="T67" fmla="*/ 31 h 140"/>
                <a:gd name="T68" fmla="*/ 0 w 139"/>
                <a:gd name="T69" fmla="*/ 26 h 140"/>
                <a:gd name="T70" fmla="*/ 0 w 139"/>
                <a:gd name="T71" fmla="*/ 22 h 140"/>
                <a:gd name="T72" fmla="*/ 2 w 139"/>
                <a:gd name="T73" fmla="*/ 17 h 140"/>
                <a:gd name="T74" fmla="*/ 4 w 139"/>
                <a:gd name="T75" fmla="*/ 13 h 140"/>
                <a:gd name="T76" fmla="*/ 8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8" y="9"/>
                  </a:moveTo>
                  <a:lnTo>
                    <a:pt x="8" y="9"/>
                  </a:lnTo>
                  <a:lnTo>
                    <a:pt x="12" y="5"/>
                  </a:lnTo>
                  <a:lnTo>
                    <a:pt x="16" y="3"/>
                  </a:lnTo>
                  <a:lnTo>
                    <a:pt x="22" y="1"/>
                  </a:lnTo>
                  <a:lnTo>
                    <a:pt x="27" y="0"/>
                  </a:lnTo>
                  <a:lnTo>
                    <a:pt x="31" y="1"/>
                  </a:lnTo>
                  <a:lnTo>
                    <a:pt x="36" y="2"/>
                  </a:lnTo>
                  <a:lnTo>
                    <a:pt x="40" y="4"/>
                  </a:lnTo>
                  <a:lnTo>
                    <a:pt x="43" y="7"/>
                  </a:lnTo>
                  <a:lnTo>
                    <a:pt x="133" y="97"/>
                  </a:lnTo>
                  <a:lnTo>
                    <a:pt x="133" y="97"/>
                  </a:lnTo>
                  <a:lnTo>
                    <a:pt x="136" y="101"/>
                  </a:lnTo>
                  <a:lnTo>
                    <a:pt x="138" y="105"/>
                  </a:lnTo>
                  <a:lnTo>
                    <a:pt x="139" y="109"/>
                  </a:lnTo>
                  <a:lnTo>
                    <a:pt x="139" y="114"/>
                  </a:lnTo>
                  <a:lnTo>
                    <a:pt x="138" y="119"/>
                  </a:lnTo>
                  <a:lnTo>
                    <a:pt x="137" y="123"/>
                  </a:lnTo>
                  <a:lnTo>
                    <a:pt x="134" y="128"/>
                  </a:lnTo>
                  <a:lnTo>
                    <a:pt x="131" y="132"/>
                  </a:lnTo>
                  <a:lnTo>
                    <a:pt x="131" y="132"/>
                  </a:lnTo>
                  <a:lnTo>
                    <a:pt x="127" y="135"/>
                  </a:lnTo>
                  <a:lnTo>
                    <a:pt x="123" y="138"/>
                  </a:lnTo>
                  <a:lnTo>
                    <a:pt x="118" y="139"/>
                  </a:lnTo>
                  <a:lnTo>
                    <a:pt x="113" y="140"/>
                  </a:lnTo>
                  <a:lnTo>
                    <a:pt x="109" y="140"/>
                  </a:lnTo>
                  <a:lnTo>
                    <a:pt x="104" y="139"/>
                  </a:lnTo>
                  <a:lnTo>
                    <a:pt x="100" y="137"/>
                  </a:lnTo>
                  <a:lnTo>
                    <a:pt x="96" y="134"/>
                  </a:lnTo>
                  <a:lnTo>
                    <a:pt x="6" y="43"/>
                  </a:lnTo>
                  <a:lnTo>
                    <a:pt x="6" y="43"/>
                  </a:lnTo>
                  <a:lnTo>
                    <a:pt x="3" y="40"/>
                  </a:lnTo>
                  <a:lnTo>
                    <a:pt x="1" y="36"/>
                  </a:lnTo>
                  <a:lnTo>
                    <a:pt x="0" y="31"/>
                  </a:lnTo>
                  <a:lnTo>
                    <a:pt x="0" y="26"/>
                  </a:lnTo>
                  <a:lnTo>
                    <a:pt x="0" y="22"/>
                  </a:lnTo>
                  <a:lnTo>
                    <a:pt x="2" y="17"/>
                  </a:lnTo>
                  <a:lnTo>
                    <a:pt x="4" y="13"/>
                  </a:lnTo>
                  <a:lnTo>
                    <a:pt x="8"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24" name="Freeform 398"/>
            <p:cNvSpPr>
              <a:spLocks/>
            </p:cNvSpPr>
            <p:nvPr/>
          </p:nvSpPr>
          <p:spPr bwMode="auto">
            <a:xfrm>
              <a:off x="6276974" y="1693544"/>
              <a:ext cx="49530" cy="165736"/>
            </a:xfrm>
            <a:custGeom>
              <a:avLst/>
              <a:gdLst>
                <a:gd name="T0" fmla="*/ 25 w 53"/>
                <a:gd name="T1" fmla="*/ 0 h 173"/>
                <a:gd name="T2" fmla="*/ 25 w 53"/>
                <a:gd name="T3" fmla="*/ 0 h 173"/>
                <a:gd name="T4" fmla="*/ 31 w 53"/>
                <a:gd name="T5" fmla="*/ 0 h 173"/>
                <a:gd name="T6" fmla="*/ 36 w 53"/>
                <a:gd name="T7" fmla="*/ 1 h 173"/>
                <a:gd name="T8" fmla="*/ 40 w 53"/>
                <a:gd name="T9" fmla="*/ 3 h 173"/>
                <a:gd name="T10" fmla="*/ 44 w 53"/>
                <a:gd name="T11" fmla="*/ 6 h 173"/>
                <a:gd name="T12" fmla="*/ 47 w 53"/>
                <a:gd name="T13" fmla="*/ 10 h 173"/>
                <a:gd name="T14" fmla="*/ 49 w 53"/>
                <a:gd name="T15" fmla="*/ 13 h 173"/>
                <a:gd name="T16" fmla="*/ 51 w 53"/>
                <a:gd name="T17" fmla="*/ 18 h 173"/>
                <a:gd name="T18" fmla="*/ 52 w 53"/>
                <a:gd name="T19" fmla="*/ 22 h 173"/>
                <a:gd name="T20" fmla="*/ 53 w 53"/>
                <a:gd name="T21" fmla="*/ 149 h 173"/>
                <a:gd name="T22" fmla="*/ 53 w 53"/>
                <a:gd name="T23" fmla="*/ 149 h 173"/>
                <a:gd name="T24" fmla="*/ 53 w 53"/>
                <a:gd name="T25" fmla="*/ 154 h 173"/>
                <a:gd name="T26" fmla="*/ 51 w 53"/>
                <a:gd name="T27" fmla="*/ 158 h 173"/>
                <a:gd name="T28" fmla="*/ 49 w 53"/>
                <a:gd name="T29" fmla="*/ 162 h 173"/>
                <a:gd name="T30" fmla="*/ 46 w 53"/>
                <a:gd name="T31" fmla="*/ 166 h 173"/>
                <a:gd name="T32" fmla="*/ 42 w 53"/>
                <a:gd name="T33" fmla="*/ 168 h 173"/>
                <a:gd name="T34" fmla="*/ 37 w 53"/>
                <a:gd name="T35" fmla="*/ 171 h 173"/>
                <a:gd name="T36" fmla="*/ 33 w 53"/>
                <a:gd name="T37" fmla="*/ 172 h 173"/>
                <a:gd name="T38" fmla="*/ 27 w 53"/>
                <a:gd name="T39" fmla="*/ 173 h 173"/>
                <a:gd name="T40" fmla="*/ 27 w 53"/>
                <a:gd name="T41" fmla="*/ 173 h 173"/>
                <a:gd name="T42" fmla="*/ 22 w 53"/>
                <a:gd name="T43" fmla="*/ 172 h 173"/>
                <a:gd name="T44" fmla="*/ 17 w 53"/>
                <a:gd name="T45" fmla="*/ 171 h 173"/>
                <a:gd name="T46" fmla="*/ 13 w 53"/>
                <a:gd name="T47" fmla="*/ 169 h 173"/>
                <a:gd name="T48" fmla="*/ 9 w 53"/>
                <a:gd name="T49" fmla="*/ 166 h 173"/>
                <a:gd name="T50" fmla="*/ 6 w 53"/>
                <a:gd name="T51" fmla="*/ 163 h 173"/>
                <a:gd name="T52" fmla="*/ 3 w 53"/>
                <a:gd name="T53" fmla="*/ 159 h 173"/>
                <a:gd name="T54" fmla="*/ 2 w 53"/>
                <a:gd name="T55" fmla="*/ 154 h 173"/>
                <a:gd name="T56" fmla="*/ 1 w 53"/>
                <a:gd name="T57" fmla="*/ 150 h 173"/>
                <a:gd name="T58" fmla="*/ 0 w 53"/>
                <a:gd name="T59" fmla="*/ 23 h 173"/>
                <a:gd name="T60" fmla="*/ 0 w 53"/>
                <a:gd name="T61" fmla="*/ 23 h 173"/>
                <a:gd name="T62" fmla="*/ 0 w 53"/>
                <a:gd name="T63" fmla="*/ 18 h 173"/>
                <a:gd name="T64" fmla="*/ 2 w 53"/>
                <a:gd name="T65" fmla="*/ 14 h 173"/>
                <a:gd name="T66" fmla="*/ 4 w 53"/>
                <a:gd name="T67" fmla="*/ 10 h 173"/>
                <a:gd name="T68" fmla="*/ 7 w 53"/>
                <a:gd name="T69" fmla="*/ 7 h 173"/>
                <a:gd name="T70" fmla="*/ 11 w 53"/>
                <a:gd name="T71" fmla="*/ 4 h 173"/>
                <a:gd name="T72" fmla="*/ 15 w 53"/>
                <a:gd name="T73" fmla="*/ 2 h 173"/>
                <a:gd name="T74" fmla="*/ 20 w 53"/>
                <a:gd name="T75" fmla="*/ 0 h 173"/>
                <a:gd name="T76" fmla="*/ 25 w 53"/>
                <a:gd name="T7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173">
                  <a:moveTo>
                    <a:pt x="25" y="0"/>
                  </a:moveTo>
                  <a:lnTo>
                    <a:pt x="25" y="0"/>
                  </a:lnTo>
                  <a:lnTo>
                    <a:pt x="31" y="0"/>
                  </a:lnTo>
                  <a:lnTo>
                    <a:pt x="36" y="1"/>
                  </a:lnTo>
                  <a:lnTo>
                    <a:pt x="40" y="3"/>
                  </a:lnTo>
                  <a:lnTo>
                    <a:pt x="44" y="6"/>
                  </a:lnTo>
                  <a:lnTo>
                    <a:pt x="47" y="10"/>
                  </a:lnTo>
                  <a:lnTo>
                    <a:pt x="49" y="13"/>
                  </a:lnTo>
                  <a:lnTo>
                    <a:pt x="51" y="18"/>
                  </a:lnTo>
                  <a:lnTo>
                    <a:pt x="52" y="22"/>
                  </a:lnTo>
                  <a:lnTo>
                    <a:pt x="53" y="149"/>
                  </a:lnTo>
                  <a:lnTo>
                    <a:pt x="53" y="149"/>
                  </a:lnTo>
                  <a:lnTo>
                    <a:pt x="53" y="154"/>
                  </a:lnTo>
                  <a:lnTo>
                    <a:pt x="51" y="158"/>
                  </a:lnTo>
                  <a:lnTo>
                    <a:pt x="49" y="162"/>
                  </a:lnTo>
                  <a:lnTo>
                    <a:pt x="46" y="166"/>
                  </a:lnTo>
                  <a:lnTo>
                    <a:pt x="42" y="168"/>
                  </a:lnTo>
                  <a:lnTo>
                    <a:pt x="37" y="171"/>
                  </a:lnTo>
                  <a:lnTo>
                    <a:pt x="33" y="172"/>
                  </a:lnTo>
                  <a:lnTo>
                    <a:pt x="27" y="173"/>
                  </a:lnTo>
                  <a:lnTo>
                    <a:pt x="27" y="173"/>
                  </a:lnTo>
                  <a:lnTo>
                    <a:pt x="22" y="172"/>
                  </a:lnTo>
                  <a:lnTo>
                    <a:pt x="17" y="171"/>
                  </a:lnTo>
                  <a:lnTo>
                    <a:pt x="13" y="169"/>
                  </a:lnTo>
                  <a:lnTo>
                    <a:pt x="9" y="166"/>
                  </a:lnTo>
                  <a:lnTo>
                    <a:pt x="6" y="163"/>
                  </a:lnTo>
                  <a:lnTo>
                    <a:pt x="3" y="159"/>
                  </a:lnTo>
                  <a:lnTo>
                    <a:pt x="2" y="154"/>
                  </a:lnTo>
                  <a:lnTo>
                    <a:pt x="1" y="150"/>
                  </a:lnTo>
                  <a:lnTo>
                    <a:pt x="0" y="23"/>
                  </a:lnTo>
                  <a:lnTo>
                    <a:pt x="0" y="23"/>
                  </a:lnTo>
                  <a:lnTo>
                    <a:pt x="0" y="18"/>
                  </a:lnTo>
                  <a:lnTo>
                    <a:pt x="2" y="14"/>
                  </a:lnTo>
                  <a:lnTo>
                    <a:pt x="4" y="10"/>
                  </a:lnTo>
                  <a:lnTo>
                    <a:pt x="7" y="7"/>
                  </a:lnTo>
                  <a:lnTo>
                    <a:pt x="11" y="4"/>
                  </a:lnTo>
                  <a:lnTo>
                    <a:pt x="15" y="2"/>
                  </a:lnTo>
                  <a:lnTo>
                    <a:pt x="20" y="0"/>
                  </a:lnTo>
                  <a:lnTo>
                    <a:pt x="2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25" name="Freeform 399"/>
            <p:cNvSpPr>
              <a:spLocks/>
            </p:cNvSpPr>
            <p:nvPr/>
          </p:nvSpPr>
          <p:spPr bwMode="auto">
            <a:xfrm>
              <a:off x="6433184" y="1783080"/>
              <a:ext cx="131446" cy="131446"/>
            </a:xfrm>
            <a:custGeom>
              <a:avLst/>
              <a:gdLst>
                <a:gd name="T0" fmla="*/ 131 w 139"/>
                <a:gd name="T1" fmla="*/ 9 h 140"/>
                <a:gd name="T2" fmla="*/ 131 w 139"/>
                <a:gd name="T3" fmla="*/ 9 h 140"/>
                <a:gd name="T4" fmla="*/ 134 w 139"/>
                <a:gd name="T5" fmla="*/ 13 h 140"/>
                <a:gd name="T6" fmla="*/ 137 w 139"/>
                <a:gd name="T7" fmla="*/ 17 h 140"/>
                <a:gd name="T8" fmla="*/ 138 w 139"/>
                <a:gd name="T9" fmla="*/ 22 h 140"/>
                <a:gd name="T10" fmla="*/ 139 w 139"/>
                <a:gd name="T11" fmla="*/ 26 h 140"/>
                <a:gd name="T12" fmla="*/ 139 w 139"/>
                <a:gd name="T13" fmla="*/ 31 h 140"/>
                <a:gd name="T14" fmla="*/ 138 w 139"/>
                <a:gd name="T15" fmla="*/ 36 h 140"/>
                <a:gd name="T16" fmla="*/ 136 w 139"/>
                <a:gd name="T17" fmla="*/ 40 h 140"/>
                <a:gd name="T18" fmla="*/ 133 w 139"/>
                <a:gd name="T19" fmla="*/ 43 h 140"/>
                <a:gd name="T20" fmla="*/ 43 w 139"/>
                <a:gd name="T21" fmla="*/ 134 h 140"/>
                <a:gd name="T22" fmla="*/ 43 w 139"/>
                <a:gd name="T23" fmla="*/ 134 h 140"/>
                <a:gd name="T24" fmla="*/ 40 w 139"/>
                <a:gd name="T25" fmla="*/ 137 h 140"/>
                <a:gd name="T26" fmla="*/ 35 w 139"/>
                <a:gd name="T27" fmla="*/ 139 h 140"/>
                <a:gd name="T28" fmla="*/ 30 w 139"/>
                <a:gd name="T29" fmla="*/ 140 h 140"/>
                <a:gd name="T30" fmla="*/ 25 w 139"/>
                <a:gd name="T31" fmla="*/ 140 h 140"/>
                <a:gd name="T32" fmla="*/ 21 w 139"/>
                <a:gd name="T33" fmla="*/ 139 h 140"/>
                <a:gd name="T34" fmla="*/ 16 w 139"/>
                <a:gd name="T35" fmla="*/ 138 h 140"/>
                <a:gd name="T36" fmla="*/ 12 w 139"/>
                <a:gd name="T37" fmla="*/ 135 h 140"/>
                <a:gd name="T38" fmla="*/ 8 w 139"/>
                <a:gd name="T39" fmla="*/ 132 h 140"/>
                <a:gd name="T40" fmla="*/ 8 w 139"/>
                <a:gd name="T41" fmla="*/ 132 h 140"/>
                <a:gd name="T42" fmla="*/ 4 w 139"/>
                <a:gd name="T43" fmla="*/ 128 h 140"/>
                <a:gd name="T44" fmla="*/ 2 w 139"/>
                <a:gd name="T45" fmla="*/ 123 h 140"/>
                <a:gd name="T46" fmla="*/ 0 w 139"/>
                <a:gd name="T47" fmla="*/ 119 h 140"/>
                <a:gd name="T48" fmla="*/ 0 w 139"/>
                <a:gd name="T49" fmla="*/ 114 h 140"/>
                <a:gd name="T50" fmla="*/ 0 w 139"/>
                <a:gd name="T51" fmla="*/ 109 h 140"/>
                <a:gd name="T52" fmla="*/ 1 w 139"/>
                <a:gd name="T53" fmla="*/ 105 h 140"/>
                <a:gd name="T54" fmla="*/ 3 w 139"/>
                <a:gd name="T55" fmla="*/ 101 h 140"/>
                <a:gd name="T56" fmla="*/ 6 w 139"/>
                <a:gd name="T57" fmla="*/ 97 h 140"/>
                <a:gd name="T58" fmla="*/ 96 w 139"/>
                <a:gd name="T59" fmla="*/ 7 h 140"/>
                <a:gd name="T60" fmla="*/ 96 w 139"/>
                <a:gd name="T61" fmla="*/ 7 h 140"/>
                <a:gd name="T62" fmla="*/ 100 w 139"/>
                <a:gd name="T63" fmla="*/ 4 h 140"/>
                <a:gd name="T64" fmla="*/ 104 w 139"/>
                <a:gd name="T65" fmla="*/ 2 h 140"/>
                <a:gd name="T66" fmla="*/ 109 w 139"/>
                <a:gd name="T67" fmla="*/ 1 h 140"/>
                <a:gd name="T68" fmla="*/ 113 w 139"/>
                <a:gd name="T69" fmla="*/ 0 h 140"/>
                <a:gd name="T70" fmla="*/ 118 w 139"/>
                <a:gd name="T71" fmla="*/ 1 h 140"/>
                <a:gd name="T72" fmla="*/ 123 w 139"/>
                <a:gd name="T73" fmla="*/ 3 h 140"/>
                <a:gd name="T74" fmla="*/ 127 w 139"/>
                <a:gd name="T75" fmla="*/ 5 h 140"/>
                <a:gd name="T76" fmla="*/ 131 w 139"/>
                <a:gd name="T7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140">
                  <a:moveTo>
                    <a:pt x="131" y="9"/>
                  </a:moveTo>
                  <a:lnTo>
                    <a:pt x="131" y="9"/>
                  </a:lnTo>
                  <a:lnTo>
                    <a:pt x="134" y="13"/>
                  </a:lnTo>
                  <a:lnTo>
                    <a:pt x="137" y="17"/>
                  </a:lnTo>
                  <a:lnTo>
                    <a:pt x="138" y="22"/>
                  </a:lnTo>
                  <a:lnTo>
                    <a:pt x="139" y="26"/>
                  </a:lnTo>
                  <a:lnTo>
                    <a:pt x="139" y="31"/>
                  </a:lnTo>
                  <a:lnTo>
                    <a:pt x="138" y="36"/>
                  </a:lnTo>
                  <a:lnTo>
                    <a:pt x="136" y="40"/>
                  </a:lnTo>
                  <a:lnTo>
                    <a:pt x="133" y="43"/>
                  </a:lnTo>
                  <a:lnTo>
                    <a:pt x="43" y="134"/>
                  </a:lnTo>
                  <a:lnTo>
                    <a:pt x="43" y="134"/>
                  </a:lnTo>
                  <a:lnTo>
                    <a:pt x="40" y="137"/>
                  </a:lnTo>
                  <a:lnTo>
                    <a:pt x="35" y="139"/>
                  </a:lnTo>
                  <a:lnTo>
                    <a:pt x="30" y="140"/>
                  </a:lnTo>
                  <a:lnTo>
                    <a:pt x="25" y="140"/>
                  </a:lnTo>
                  <a:lnTo>
                    <a:pt x="21" y="139"/>
                  </a:lnTo>
                  <a:lnTo>
                    <a:pt x="16" y="138"/>
                  </a:lnTo>
                  <a:lnTo>
                    <a:pt x="12" y="135"/>
                  </a:lnTo>
                  <a:lnTo>
                    <a:pt x="8" y="132"/>
                  </a:lnTo>
                  <a:lnTo>
                    <a:pt x="8" y="132"/>
                  </a:lnTo>
                  <a:lnTo>
                    <a:pt x="4" y="128"/>
                  </a:lnTo>
                  <a:lnTo>
                    <a:pt x="2" y="123"/>
                  </a:lnTo>
                  <a:lnTo>
                    <a:pt x="0" y="119"/>
                  </a:lnTo>
                  <a:lnTo>
                    <a:pt x="0" y="114"/>
                  </a:lnTo>
                  <a:lnTo>
                    <a:pt x="0" y="109"/>
                  </a:lnTo>
                  <a:lnTo>
                    <a:pt x="1" y="105"/>
                  </a:lnTo>
                  <a:lnTo>
                    <a:pt x="3" y="101"/>
                  </a:lnTo>
                  <a:lnTo>
                    <a:pt x="6" y="97"/>
                  </a:lnTo>
                  <a:lnTo>
                    <a:pt x="96" y="7"/>
                  </a:lnTo>
                  <a:lnTo>
                    <a:pt x="96" y="7"/>
                  </a:lnTo>
                  <a:lnTo>
                    <a:pt x="100" y="4"/>
                  </a:lnTo>
                  <a:lnTo>
                    <a:pt x="104" y="2"/>
                  </a:lnTo>
                  <a:lnTo>
                    <a:pt x="109" y="1"/>
                  </a:lnTo>
                  <a:lnTo>
                    <a:pt x="113" y="0"/>
                  </a:lnTo>
                  <a:lnTo>
                    <a:pt x="118" y="1"/>
                  </a:lnTo>
                  <a:lnTo>
                    <a:pt x="123" y="3"/>
                  </a:lnTo>
                  <a:lnTo>
                    <a:pt x="127" y="5"/>
                  </a:lnTo>
                  <a:lnTo>
                    <a:pt x="131"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626" name="Oval Callout 1625"/>
          <p:cNvSpPr/>
          <p:nvPr/>
        </p:nvSpPr>
        <p:spPr bwMode="auto">
          <a:xfrm>
            <a:off x="6743253" y="1294159"/>
            <a:ext cx="358007" cy="166707"/>
          </a:xfrm>
          <a:prstGeom prst="wedgeEllipseCallout">
            <a:avLst>
              <a:gd name="adj1" fmla="val -23462"/>
              <a:gd name="adj2" fmla="val 11820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1B3B41"/>
                </a:solidFill>
                <a:effectLst/>
                <a:uLnTx/>
                <a:uFillTx/>
                <a:cs typeface="Arial" charset="0"/>
              </a:rPr>
              <a:t>Route</a:t>
            </a:r>
            <a:endParaRPr kumimoji="0" lang="en-US" sz="500" b="0" i="0" u="none" strike="noStrike" kern="0" cap="none" spc="0" normalizeH="0" baseline="0" noProof="0" dirty="0">
              <a:ln w="3175">
                <a:noFill/>
              </a:ln>
              <a:solidFill>
                <a:srgbClr val="1B3B41"/>
              </a:solidFill>
              <a:effectLst/>
              <a:uLnTx/>
              <a:uFillTx/>
              <a:cs typeface="Arial" charset="0"/>
            </a:endParaRPr>
          </a:p>
        </p:txBody>
      </p:sp>
      <p:grpSp>
        <p:nvGrpSpPr>
          <p:cNvPr id="19" name="Group 18"/>
          <p:cNvGrpSpPr/>
          <p:nvPr/>
        </p:nvGrpSpPr>
        <p:grpSpPr>
          <a:xfrm>
            <a:off x="6397608" y="1490498"/>
            <a:ext cx="987648" cy="779885"/>
            <a:chOff x="6396020" y="1521670"/>
            <a:chExt cx="987648" cy="779885"/>
          </a:xfrm>
        </p:grpSpPr>
        <p:sp>
          <p:nvSpPr>
            <p:cNvPr id="1619" name="Rounded Rectangle 815"/>
            <p:cNvSpPr/>
            <p:nvPr/>
          </p:nvSpPr>
          <p:spPr bwMode="auto">
            <a:xfrm>
              <a:off x="6396020" y="1957429"/>
              <a:ext cx="541754" cy="341867"/>
            </a:xfrm>
            <a:custGeom>
              <a:avLst/>
              <a:gdLst/>
              <a:ahLst/>
              <a:cxnLst/>
              <a:rect l="l" t="t" r="r" b="b"/>
              <a:pathLst>
                <a:path w="430128" h="271427">
                  <a:moveTo>
                    <a:pt x="215064" y="0"/>
                  </a:moveTo>
                  <a:cubicBezTo>
                    <a:pt x="330364" y="0"/>
                    <a:pt x="424594" y="120068"/>
                    <a:pt x="430128" y="271427"/>
                  </a:cubicBezTo>
                  <a:lnTo>
                    <a:pt x="0" y="271427"/>
                  </a:lnTo>
                  <a:cubicBezTo>
                    <a:pt x="5534" y="120068"/>
                    <a:pt x="99764" y="0"/>
                    <a:pt x="21506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20" name="Rounded Rectangle 1072"/>
            <p:cNvSpPr/>
            <p:nvPr/>
          </p:nvSpPr>
          <p:spPr bwMode="auto">
            <a:xfrm rot="1562965">
              <a:off x="6742486" y="1802810"/>
              <a:ext cx="641182" cy="498745"/>
            </a:xfrm>
            <a:custGeom>
              <a:avLst/>
              <a:gdLst/>
              <a:ahLst/>
              <a:cxnLst/>
              <a:rect l="l" t="t" r="r" b="b"/>
              <a:pathLst>
                <a:path w="509069" h="395981">
                  <a:moveTo>
                    <a:pt x="370123" y="9995"/>
                  </a:moveTo>
                  <a:lnTo>
                    <a:pt x="396918" y="666"/>
                  </a:lnTo>
                  <a:cubicBezTo>
                    <a:pt x="436014" y="-4676"/>
                    <a:pt x="472040" y="22687"/>
                    <a:pt x="477382" y="61783"/>
                  </a:cubicBezTo>
                  <a:lnTo>
                    <a:pt x="509069" y="293631"/>
                  </a:lnTo>
                  <a:lnTo>
                    <a:pt x="299678" y="395981"/>
                  </a:lnTo>
                  <a:lnTo>
                    <a:pt x="71449" y="395981"/>
                  </a:lnTo>
                  <a:cubicBezTo>
                    <a:pt x="31989" y="395981"/>
                    <a:pt x="1" y="363992"/>
                    <a:pt x="0" y="324532"/>
                  </a:cubicBezTo>
                  <a:cubicBezTo>
                    <a:pt x="1" y="285073"/>
                    <a:pt x="31989" y="253084"/>
                    <a:pt x="71449" y="253084"/>
                  </a:cubicBezTo>
                  <a:lnTo>
                    <a:pt x="359301" y="253084"/>
                  </a:lnTo>
                  <a:lnTo>
                    <a:pt x="335801" y="81131"/>
                  </a:lnTo>
                  <a:cubicBezTo>
                    <a:pt x="331794" y="51809"/>
                    <a:pt x="346184" y="24214"/>
                    <a:pt x="370123" y="999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31" name="Freeform 12"/>
            <p:cNvSpPr>
              <a:spLocks/>
            </p:cNvSpPr>
            <p:nvPr/>
          </p:nvSpPr>
          <p:spPr bwMode="auto">
            <a:xfrm flipH="1">
              <a:off x="6424169" y="1521670"/>
              <a:ext cx="463389" cy="477874"/>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8" name="Group 17"/>
          <p:cNvGrpSpPr/>
          <p:nvPr/>
        </p:nvGrpSpPr>
        <p:grpSpPr>
          <a:xfrm>
            <a:off x="6428571" y="2422554"/>
            <a:ext cx="756459" cy="256877"/>
            <a:chOff x="6209881" y="2359257"/>
            <a:chExt cx="1107533" cy="341904"/>
          </a:xfrm>
        </p:grpSpPr>
        <p:grpSp>
          <p:nvGrpSpPr>
            <p:cNvPr id="1627" name="Group 1626"/>
            <p:cNvGrpSpPr/>
            <p:nvPr/>
          </p:nvGrpSpPr>
          <p:grpSpPr>
            <a:xfrm rot="18024326">
              <a:off x="6175248" y="2393890"/>
              <a:ext cx="211348" cy="142081"/>
              <a:chOff x="3136655" y="5749640"/>
              <a:chExt cx="167801" cy="112806"/>
            </a:xfrm>
            <a:solidFill>
              <a:schemeClr val="accent1"/>
            </a:solidFill>
          </p:grpSpPr>
          <p:sp>
            <p:nvSpPr>
              <p:cNvPr id="1628"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29"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30"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632" name="Group 1631"/>
            <p:cNvGrpSpPr/>
            <p:nvPr/>
          </p:nvGrpSpPr>
          <p:grpSpPr>
            <a:xfrm>
              <a:off x="6346689" y="2376382"/>
              <a:ext cx="970725" cy="324779"/>
              <a:chOff x="-120317" y="2227654"/>
              <a:chExt cx="12842245" cy="4296675"/>
            </a:xfrm>
          </p:grpSpPr>
          <p:grpSp>
            <p:nvGrpSpPr>
              <p:cNvPr id="1633" name="Group 1632"/>
              <p:cNvGrpSpPr/>
              <p:nvPr/>
            </p:nvGrpSpPr>
            <p:grpSpPr>
              <a:xfrm>
                <a:off x="-120317" y="2227654"/>
                <a:ext cx="12842245" cy="4296675"/>
                <a:chOff x="-120316" y="1299411"/>
                <a:chExt cx="12842243" cy="4296675"/>
              </a:xfrm>
            </p:grpSpPr>
            <p:sp>
              <p:nvSpPr>
                <p:cNvPr id="1635" name="Freeform 1634"/>
                <p:cNvSpPr/>
                <p:nvPr/>
              </p:nvSpPr>
              <p:spPr bwMode="auto">
                <a:xfrm>
                  <a:off x="-112861" y="1299411"/>
                  <a:ext cx="12828018" cy="3773269"/>
                </a:xfrm>
                <a:custGeom>
                  <a:avLst/>
                  <a:gdLst>
                    <a:gd name="connsiteX0" fmla="*/ 1259872 w 12828018"/>
                    <a:gd name="connsiteY0" fmla="*/ 3489157 h 3773269"/>
                    <a:gd name="connsiteX1" fmla="*/ 1275914 w 12828018"/>
                    <a:gd name="connsiteY1" fmla="*/ 3312694 h 3773269"/>
                    <a:gd name="connsiteX2" fmla="*/ 1307998 w 12828018"/>
                    <a:gd name="connsiteY2" fmla="*/ 3072063 h 3773269"/>
                    <a:gd name="connsiteX3" fmla="*/ 1380187 w 12828018"/>
                    <a:gd name="connsiteY3" fmla="*/ 2863515 h 3773269"/>
                    <a:gd name="connsiteX4" fmla="*/ 1476440 w 12828018"/>
                    <a:gd name="connsiteY4" fmla="*/ 2687052 h 3773269"/>
                    <a:gd name="connsiteX5" fmla="*/ 1668945 w 12828018"/>
                    <a:gd name="connsiteY5" fmla="*/ 2486526 h 3773269"/>
                    <a:gd name="connsiteX6" fmla="*/ 1885514 w 12828018"/>
                    <a:gd name="connsiteY6" fmla="*/ 2350168 h 3773269"/>
                    <a:gd name="connsiteX7" fmla="*/ 2126145 w 12828018"/>
                    <a:gd name="connsiteY7" fmla="*/ 2261936 h 3773269"/>
                    <a:gd name="connsiteX8" fmla="*/ 2471050 w 12828018"/>
                    <a:gd name="connsiteY8" fmla="*/ 2221831 h 3773269"/>
                    <a:gd name="connsiteX9" fmla="*/ 2775850 w 12828018"/>
                    <a:gd name="connsiteY9" fmla="*/ 2277978 h 3773269"/>
                    <a:gd name="connsiteX10" fmla="*/ 3112735 w 12828018"/>
                    <a:gd name="connsiteY10" fmla="*/ 2454442 h 3773269"/>
                    <a:gd name="connsiteX11" fmla="*/ 3353366 w 12828018"/>
                    <a:gd name="connsiteY11" fmla="*/ 2751221 h 3773269"/>
                    <a:gd name="connsiteX12" fmla="*/ 3433577 w 12828018"/>
                    <a:gd name="connsiteY12" fmla="*/ 2943726 h 3773269"/>
                    <a:gd name="connsiteX13" fmla="*/ 3481703 w 12828018"/>
                    <a:gd name="connsiteY13" fmla="*/ 3200400 h 3773269"/>
                    <a:gd name="connsiteX14" fmla="*/ 3513787 w 12828018"/>
                    <a:gd name="connsiteY14" fmla="*/ 3449052 h 3773269"/>
                    <a:gd name="connsiteX15" fmla="*/ 3505766 w 12828018"/>
                    <a:gd name="connsiteY15" fmla="*/ 3625515 h 3773269"/>
                    <a:gd name="connsiteX16" fmla="*/ 3505766 w 12828018"/>
                    <a:gd name="connsiteY16" fmla="*/ 3761873 h 3773269"/>
                    <a:gd name="connsiteX17" fmla="*/ 3561914 w 12828018"/>
                    <a:gd name="connsiteY17" fmla="*/ 3761873 h 3773269"/>
                    <a:gd name="connsiteX18" fmla="*/ 3722335 w 12828018"/>
                    <a:gd name="connsiteY18" fmla="*/ 3729789 h 3773269"/>
                    <a:gd name="connsiteX19" fmla="*/ 4043177 w 12828018"/>
                    <a:gd name="connsiteY19" fmla="*/ 3713747 h 3773269"/>
                    <a:gd name="connsiteX20" fmla="*/ 4596629 w 12828018"/>
                    <a:gd name="connsiteY20" fmla="*/ 3721768 h 3773269"/>
                    <a:gd name="connsiteX21" fmla="*/ 6040419 w 12828018"/>
                    <a:gd name="connsiteY21" fmla="*/ 3713747 h 3773269"/>
                    <a:gd name="connsiteX22" fmla="*/ 7572440 w 12828018"/>
                    <a:gd name="connsiteY22" fmla="*/ 3729789 h 3773269"/>
                    <a:gd name="connsiteX23" fmla="*/ 8623198 w 12828018"/>
                    <a:gd name="connsiteY23" fmla="*/ 3721768 h 3773269"/>
                    <a:gd name="connsiteX24" fmla="*/ 8960082 w 12828018"/>
                    <a:gd name="connsiteY24" fmla="*/ 3729789 h 3773269"/>
                    <a:gd name="connsiteX25" fmla="*/ 9072377 w 12828018"/>
                    <a:gd name="connsiteY25" fmla="*/ 3729789 h 3773269"/>
                    <a:gd name="connsiteX26" fmla="*/ 9128524 w 12828018"/>
                    <a:gd name="connsiteY26" fmla="*/ 3729789 h 3773269"/>
                    <a:gd name="connsiteX27" fmla="*/ 9136545 w 12828018"/>
                    <a:gd name="connsiteY27" fmla="*/ 3609473 h 3773269"/>
                    <a:gd name="connsiteX28" fmla="*/ 9128524 w 12828018"/>
                    <a:gd name="connsiteY28" fmla="*/ 3441031 h 3773269"/>
                    <a:gd name="connsiteX29" fmla="*/ 9192693 w 12828018"/>
                    <a:gd name="connsiteY29" fmla="*/ 3072063 h 3773269"/>
                    <a:gd name="connsiteX30" fmla="*/ 9313008 w 12828018"/>
                    <a:gd name="connsiteY30" fmla="*/ 2743200 h 3773269"/>
                    <a:gd name="connsiteX31" fmla="*/ 9545619 w 12828018"/>
                    <a:gd name="connsiteY31" fmla="*/ 2470484 h 3773269"/>
                    <a:gd name="connsiteX32" fmla="*/ 9898545 w 12828018"/>
                    <a:gd name="connsiteY32" fmla="*/ 2286000 h 3773269"/>
                    <a:gd name="connsiteX33" fmla="*/ 10227408 w 12828018"/>
                    <a:gd name="connsiteY33" fmla="*/ 2237873 h 3773269"/>
                    <a:gd name="connsiteX34" fmla="*/ 10652524 w 12828018"/>
                    <a:gd name="connsiteY34" fmla="*/ 2302042 h 3773269"/>
                    <a:gd name="connsiteX35" fmla="*/ 10949303 w 12828018"/>
                    <a:gd name="connsiteY35" fmla="*/ 2462463 h 3773269"/>
                    <a:gd name="connsiteX36" fmla="*/ 11165872 w 12828018"/>
                    <a:gd name="connsiteY36" fmla="*/ 2695073 h 3773269"/>
                    <a:gd name="connsiteX37" fmla="*/ 11286187 w 12828018"/>
                    <a:gd name="connsiteY37" fmla="*/ 2903621 h 3773269"/>
                    <a:gd name="connsiteX38" fmla="*/ 11318272 w 12828018"/>
                    <a:gd name="connsiteY38" fmla="*/ 3064042 h 3773269"/>
                    <a:gd name="connsiteX39" fmla="*/ 11334314 w 12828018"/>
                    <a:gd name="connsiteY39" fmla="*/ 3328736 h 3773269"/>
                    <a:gd name="connsiteX40" fmla="*/ 11318272 w 12828018"/>
                    <a:gd name="connsiteY40" fmla="*/ 3569368 h 3773269"/>
                    <a:gd name="connsiteX41" fmla="*/ 11334314 w 12828018"/>
                    <a:gd name="connsiteY41" fmla="*/ 3617494 h 3773269"/>
                    <a:gd name="connsiteX42" fmla="*/ 11462650 w 12828018"/>
                    <a:gd name="connsiteY42" fmla="*/ 3593431 h 3773269"/>
                    <a:gd name="connsiteX43" fmla="*/ 11663177 w 12828018"/>
                    <a:gd name="connsiteY43" fmla="*/ 3513221 h 3773269"/>
                    <a:gd name="connsiteX44" fmla="*/ 11951935 w 12828018"/>
                    <a:gd name="connsiteY44" fmla="*/ 3441031 h 3773269"/>
                    <a:gd name="connsiteX45" fmla="*/ 12296840 w 12828018"/>
                    <a:gd name="connsiteY45" fmla="*/ 3392905 h 3773269"/>
                    <a:gd name="connsiteX46" fmla="*/ 12601640 w 12828018"/>
                    <a:gd name="connsiteY46" fmla="*/ 3328736 h 3773269"/>
                    <a:gd name="connsiteX47" fmla="*/ 12681850 w 12828018"/>
                    <a:gd name="connsiteY47" fmla="*/ 3240505 h 3773269"/>
                    <a:gd name="connsiteX48" fmla="*/ 12721956 w 12828018"/>
                    <a:gd name="connsiteY48" fmla="*/ 3200400 h 3773269"/>
                    <a:gd name="connsiteX49" fmla="*/ 12737998 w 12828018"/>
                    <a:gd name="connsiteY49" fmla="*/ 3096126 h 3773269"/>
                    <a:gd name="connsiteX50" fmla="*/ 12810187 w 12828018"/>
                    <a:gd name="connsiteY50" fmla="*/ 2943726 h 3773269"/>
                    <a:gd name="connsiteX51" fmla="*/ 12818208 w 12828018"/>
                    <a:gd name="connsiteY51" fmla="*/ 2751221 h 3773269"/>
                    <a:gd name="connsiteX52" fmla="*/ 12818208 w 12828018"/>
                    <a:gd name="connsiteY52" fmla="*/ 2294021 h 3773269"/>
                    <a:gd name="connsiteX53" fmla="*/ 12689872 w 12828018"/>
                    <a:gd name="connsiteY53" fmla="*/ 2061410 h 3773269"/>
                    <a:gd name="connsiteX54" fmla="*/ 12593619 w 12828018"/>
                    <a:gd name="connsiteY54" fmla="*/ 1933073 h 3773269"/>
                    <a:gd name="connsiteX55" fmla="*/ 12529450 w 12828018"/>
                    <a:gd name="connsiteY55" fmla="*/ 1676400 h 3773269"/>
                    <a:gd name="connsiteX56" fmla="*/ 12417156 w 12828018"/>
                    <a:gd name="connsiteY56" fmla="*/ 1363578 h 3773269"/>
                    <a:gd name="connsiteX57" fmla="*/ 12280798 w 12828018"/>
                    <a:gd name="connsiteY57" fmla="*/ 1163052 h 3773269"/>
                    <a:gd name="connsiteX58" fmla="*/ 12248714 w 12828018"/>
                    <a:gd name="connsiteY58" fmla="*/ 1114926 h 3773269"/>
                    <a:gd name="connsiteX59" fmla="*/ 12144440 w 12828018"/>
                    <a:gd name="connsiteY59" fmla="*/ 1098884 h 3773269"/>
                    <a:gd name="connsiteX60" fmla="*/ 11695261 w 12828018"/>
                    <a:gd name="connsiteY60" fmla="*/ 1058778 h 3773269"/>
                    <a:gd name="connsiteX61" fmla="*/ 11470672 w 12828018"/>
                    <a:gd name="connsiteY61" fmla="*/ 1018673 h 3773269"/>
                    <a:gd name="connsiteX62" fmla="*/ 11085661 w 12828018"/>
                    <a:gd name="connsiteY62" fmla="*/ 874294 h 3773269"/>
                    <a:gd name="connsiteX63" fmla="*/ 10612419 w 12828018"/>
                    <a:gd name="connsiteY63" fmla="*/ 665747 h 3773269"/>
                    <a:gd name="connsiteX64" fmla="*/ 10034903 w 12828018"/>
                    <a:gd name="connsiteY64" fmla="*/ 433136 h 3773269"/>
                    <a:gd name="connsiteX65" fmla="*/ 9617808 w 12828018"/>
                    <a:gd name="connsiteY65" fmla="*/ 272715 h 3773269"/>
                    <a:gd name="connsiteX66" fmla="*/ 9160608 w 12828018"/>
                    <a:gd name="connsiteY66" fmla="*/ 152400 h 3773269"/>
                    <a:gd name="connsiteX67" fmla="*/ 8631219 w 12828018"/>
                    <a:gd name="connsiteY67" fmla="*/ 64168 h 3773269"/>
                    <a:gd name="connsiteX68" fmla="*/ 7965472 w 12828018"/>
                    <a:gd name="connsiteY68" fmla="*/ 16042 h 3773269"/>
                    <a:gd name="connsiteX69" fmla="*/ 7403998 w 12828018"/>
                    <a:gd name="connsiteY69" fmla="*/ 0 h 3773269"/>
                    <a:gd name="connsiteX70" fmla="*/ 6754293 w 12828018"/>
                    <a:gd name="connsiteY70" fmla="*/ 8021 h 3773269"/>
                    <a:gd name="connsiteX71" fmla="*/ 6208861 w 12828018"/>
                    <a:gd name="connsiteY71" fmla="*/ 56147 h 3773269"/>
                    <a:gd name="connsiteX72" fmla="*/ 5623324 w 12828018"/>
                    <a:gd name="connsiteY72" fmla="*/ 184484 h 3773269"/>
                    <a:gd name="connsiteX73" fmla="*/ 5254356 w 12828018"/>
                    <a:gd name="connsiteY73" fmla="*/ 336884 h 3773269"/>
                    <a:gd name="connsiteX74" fmla="*/ 4468293 w 12828018"/>
                    <a:gd name="connsiteY74" fmla="*/ 762000 h 3773269"/>
                    <a:gd name="connsiteX75" fmla="*/ 3834629 w 12828018"/>
                    <a:gd name="connsiteY75" fmla="*/ 1138989 h 3773269"/>
                    <a:gd name="connsiteX76" fmla="*/ 3642124 w 12828018"/>
                    <a:gd name="connsiteY76" fmla="*/ 1251284 h 3773269"/>
                    <a:gd name="connsiteX77" fmla="*/ 3457640 w 12828018"/>
                    <a:gd name="connsiteY77" fmla="*/ 1275347 h 3773269"/>
                    <a:gd name="connsiteX78" fmla="*/ 2815956 w 12828018"/>
                    <a:gd name="connsiteY78" fmla="*/ 1331494 h 3773269"/>
                    <a:gd name="connsiteX79" fmla="*/ 2158229 w 12828018"/>
                    <a:gd name="connsiteY79" fmla="*/ 1411705 h 3773269"/>
                    <a:gd name="connsiteX80" fmla="*/ 1580714 w 12828018"/>
                    <a:gd name="connsiteY80" fmla="*/ 1499936 h 3773269"/>
                    <a:gd name="connsiteX81" fmla="*/ 1075387 w 12828018"/>
                    <a:gd name="connsiteY81" fmla="*/ 1596189 h 3773269"/>
                    <a:gd name="connsiteX82" fmla="*/ 650272 w 12828018"/>
                    <a:gd name="connsiteY82" fmla="*/ 1748589 h 3773269"/>
                    <a:gd name="connsiteX83" fmla="*/ 457766 w 12828018"/>
                    <a:gd name="connsiteY83" fmla="*/ 1868905 h 3773269"/>
                    <a:gd name="connsiteX84" fmla="*/ 273282 w 12828018"/>
                    <a:gd name="connsiteY84" fmla="*/ 2101515 h 3773269"/>
                    <a:gd name="connsiteX85" fmla="*/ 169008 w 12828018"/>
                    <a:gd name="connsiteY85" fmla="*/ 2326105 h 3773269"/>
                    <a:gd name="connsiteX86" fmla="*/ 88798 w 12828018"/>
                    <a:gd name="connsiteY86" fmla="*/ 2454442 h 3773269"/>
                    <a:gd name="connsiteX87" fmla="*/ 8587 w 12828018"/>
                    <a:gd name="connsiteY87" fmla="*/ 2855494 h 3773269"/>
                    <a:gd name="connsiteX88" fmla="*/ 8587 w 12828018"/>
                    <a:gd name="connsiteY88" fmla="*/ 3080084 h 3773269"/>
                    <a:gd name="connsiteX89" fmla="*/ 64735 w 12828018"/>
                    <a:gd name="connsiteY89" fmla="*/ 3232484 h 3773269"/>
                    <a:gd name="connsiteX90" fmla="*/ 64735 w 12828018"/>
                    <a:gd name="connsiteY90" fmla="*/ 3433010 h 3773269"/>
                    <a:gd name="connsiteX91" fmla="*/ 120882 w 12828018"/>
                    <a:gd name="connsiteY91" fmla="*/ 3481136 h 3773269"/>
                    <a:gd name="connsiteX92" fmla="*/ 345472 w 12828018"/>
                    <a:gd name="connsiteY92" fmla="*/ 3601452 h 3773269"/>
                    <a:gd name="connsiteX93" fmla="*/ 706419 w 12828018"/>
                    <a:gd name="connsiteY93" fmla="*/ 3673642 h 3773269"/>
                    <a:gd name="connsiteX94" fmla="*/ 1051324 w 12828018"/>
                    <a:gd name="connsiteY94" fmla="*/ 3697705 h 3773269"/>
                    <a:gd name="connsiteX95" fmla="*/ 1251850 w 12828018"/>
                    <a:gd name="connsiteY95" fmla="*/ 3729789 h 3773269"/>
                    <a:gd name="connsiteX96" fmla="*/ 1275914 w 12828018"/>
                    <a:gd name="connsiteY96" fmla="*/ 3697705 h 3773269"/>
                    <a:gd name="connsiteX97" fmla="*/ 1259872 w 12828018"/>
                    <a:gd name="connsiteY97" fmla="*/ 3489157 h 377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28018" h="3773269">
                      <a:moveTo>
                        <a:pt x="1259872" y="3489157"/>
                      </a:moveTo>
                      <a:cubicBezTo>
                        <a:pt x="1259872" y="3424989"/>
                        <a:pt x="1267893" y="3382210"/>
                        <a:pt x="1275914" y="3312694"/>
                      </a:cubicBezTo>
                      <a:cubicBezTo>
                        <a:pt x="1283935" y="3243178"/>
                        <a:pt x="1290619" y="3146926"/>
                        <a:pt x="1307998" y="3072063"/>
                      </a:cubicBezTo>
                      <a:cubicBezTo>
                        <a:pt x="1325377" y="2997200"/>
                        <a:pt x="1352113" y="2927683"/>
                        <a:pt x="1380187" y="2863515"/>
                      </a:cubicBezTo>
                      <a:cubicBezTo>
                        <a:pt x="1408261" y="2799346"/>
                        <a:pt x="1428314" y="2749884"/>
                        <a:pt x="1476440" y="2687052"/>
                      </a:cubicBezTo>
                      <a:cubicBezTo>
                        <a:pt x="1524566" y="2624220"/>
                        <a:pt x="1600766" y="2542673"/>
                        <a:pt x="1668945" y="2486526"/>
                      </a:cubicBezTo>
                      <a:cubicBezTo>
                        <a:pt x="1737124" y="2430379"/>
                        <a:pt x="1809314" y="2387600"/>
                        <a:pt x="1885514" y="2350168"/>
                      </a:cubicBezTo>
                      <a:cubicBezTo>
                        <a:pt x="1961714" y="2312736"/>
                        <a:pt x="2028556" y="2283325"/>
                        <a:pt x="2126145" y="2261936"/>
                      </a:cubicBezTo>
                      <a:cubicBezTo>
                        <a:pt x="2223734" y="2240547"/>
                        <a:pt x="2362766" y="2219157"/>
                        <a:pt x="2471050" y="2221831"/>
                      </a:cubicBezTo>
                      <a:cubicBezTo>
                        <a:pt x="2579334" y="2224505"/>
                        <a:pt x="2668903" y="2239210"/>
                        <a:pt x="2775850" y="2277978"/>
                      </a:cubicBezTo>
                      <a:cubicBezTo>
                        <a:pt x="2882797" y="2316746"/>
                        <a:pt x="3016482" y="2375568"/>
                        <a:pt x="3112735" y="2454442"/>
                      </a:cubicBezTo>
                      <a:cubicBezTo>
                        <a:pt x="3208988" y="2533316"/>
                        <a:pt x="3299892" y="2669674"/>
                        <a:pt x="3353366" y="2751221"/>
                      </a:cubicBezTo>
                      <a:cubicBezTo>
                        <a:pt x="3406840" y="2832768"/>
                        <a:pt x="3412188" y="2868863"/>
                        <a:pt x="3433577" y="2943726"/>
                      </a:cubicBezTo>
                      <a:cubicBezTo>
                        <a:pt x="3454966" y="3018589"/>
                        <a:pt x="3468335" y="3116179"/>
                        <a:pt x="3481703" y="3200400"/>
                      </a:cubicBezTo>
                      <a:cubicBezTo>
                        <a:pt x="3495071" y="3284621"/>
                        <a:pt x="3509777" y="3378200"/>
                        <a:pt x="3513787" y="3449052"/>
                      </a:cubicBezTo>
                      <a:cubicBezTo>
                        <a:pt x="3517797" y="3519904"/>
                        <a:pt x="3507103" y="3573378"/>
                        <a:pt x="3505766" y="3625515"/>
                      </a:cubicBezTo>
                      <a:cubicBezTo>
                        <a:pt x="3504429" y="3677652"/>
                        <a:pt x="3496408" y="3739147"/>
                        <a:pt x="3505766" y="3761873"/>
                      </a:cubicBezTo>
                      <a:cubicBezTo>
                        <a:pt x="3515124" y="3784599"/>
                        <a:pt x="3525819" y="3767220"/>
                        <a:pt x="3561914" y="3761873"/>
                      </a:cubicBezTo>
                      <a:cubicBezTo>
                        <a:pt x="3598009" y="3756526"/>
                        <a:pt x="3642125" y="3737810"/>
                        <a:pt x="3722335" y="3729789"/>
                      </a:cubicBezTo>
                      <a:cubicBezTo>
                        <a:pt x="3802546" y="3721768"/>
                        <a:pt x="4043177" y="3713747"/>
                        <a:pt x="4043177" y="3713747"/>
                      </a:cubicBezTo>
                      <a:lnTo>
                        <a:pt x="4596629" y="3721768"/>
                      </a:lnTo>
                      <a:lnTo>
                        <a:pt x="6040419" y="3713747"/>
                      </a:lnTo>
                      <a:lnTo>
                        <a:pt x="7572440" y="3729789"/>
                      </a:lnTo>
                      <a:lnTo>
                        <a:pt x="8623198" y="3721768"/>
                      </a:lnTo>
                      <a:cubicBezTo>
                        <a:pt x="8854472" y="3721768"/>
                        <a:pt x="8885219" y="3728452"/>
                        <a:pt x="8960082" y="3729789"/>
                      </a:cubicBezTo>
                      <a:cubicBezTo>
                        <a:pt x="9034945" y="3731126"/>
                        <a:pt x="9072377" y="3729789"/>
                        <a:pt x="9072377" y="3729789"/>
                      </a:cubicBezTo>
                      <a:cubicBezTo>
                        <a:pt x="9100451" y="3729789"/>
                        <a:pt x="9117829" y="3749842"/>
                        <a:pt x="9128524" y="3729789"/>
                      </a:cubicBezTo>
                      <a:cubicBezTo>
                        <a:pt x="9139219" y="3709736"/>
                        <a:pt x="9136545" y="3657599"/>
                        <a:pt x="9136545" y="3609473"/>
                      </a:cubicBezTo>
                      <a:cubicBezTo>
                        <a:pt x="9136545" y="3561347"/>
                        <a:pt x="9119166" y="3530599"/>
                        <a:pt x="9128524" y="3441031"/>
                      </a:cubicBezTo>
                      <a:cubicBezTo>
                        <a:pt x="9137882" y="3351463"/>
                        <a:pt x="9161946" y="3188368"/>
                        <a:pt x="9192693" y="3072063"/>
                      </a:cubicBezTo>
                      <a:cubicBezTo>
                        <a:pt x="9223440" y="2955758"/>
                        <a:pt x="9254187" y="2843463"/>
                        <a:pt x="9313008" y="2743200"/>
                      </a:cubicBezTo>
                      <a:cubicBezTo>
                        <a:pt x="9371829" y="2642937"/>
                        <a:pt x="9448030" y="2546684"/>
                        <a:pt x="9545619" y="2470484"/>
                      </a:cubicBezTo>
                      <a:cubicBezTo>
                        <a:pt x="9643209" y="2394284"/>
                        <a:pt x="9784914" y="2324768"/>
                        <a:pt x="9898545" y="2286000"/>
                      </a:cubicBezTo>
                      <a:cubicBezTo>
                        <a:pt x="10012176" y="2247232"/>
                        <a:pt x="10101745" y="2235199"/>
                        <a:pt x="10227408" y="2237873"/>
                      </a:cubicBezTo>
                      <a:cubicBezTo>
                        <a:pt x="10353071" y="2240547"/>
                        <a:pt x="10532208" y="2264610"/>
                        <a:pt x="10652524" y="2302042"/>
                      </a:cubicBezTo>
                      <a:cubicBezTo>
                        <a:pt x="10772840" y="2339474"/>
                        <a:pt x="10863745" y="2396958"/>
                        <a:pt x="10949303" y="2462463"/>
                      </a:cubicBezTo>
                      <a:cubicBezTo>
                        <a:pt x="11034861" y="2527968"/>
                        <a:pt x="11109725" y="2621547"/>
                        <a:pt x="11165872" y="2695073"/>
                      </a:cubicBezTo>
                      <a:cubicBezTo>
                        <a:pt x="11222019" y="2768599"/>
                        <a:pt x="11260787" y="2842126"/>
                        <a:pt x="11286187" y="2903621"/>
                      </a:cubicBezTo>
                      <a:cubicBezTo>
                        <a:pt x="11311587" y="2965116"/>
                        <a:pt x="11310251" y="2993189"/>
                        <a:pt x="11318272" y="3064042"/>
                      </a:cubicBezTo>
                      <a:cubicBezTo>
                        <a:pt x="11326293" y="3134894"/>
                        <a:pt x="11334314" y="3244515"/>
                        <a:pt x="11334314" y="3328736"/>
                      </a:cubicBezTo>
                      <a:cubicBezTo>
                        <a:pt x="11334314" y="3412957"/>
                        <a:pt x="11318272" y="3521242"/>
                        <a:pt x="11318272" y="3569368"/>
                      </a:cubicBezTo>
                      <a:cubicBezTo>
                        <a:pt x="11318272" y="3617494"/>
                        <a:pt x="11310251" y="3613484"/>
                        <a:pt x="11334314" y="3617494"/>
                      </a:cubicBezTo>
                      <a:cubicBezTo>
                        <a:pt x="11358377" y="3621505"/>
                        <a:pt x="11407840" y="3610810"/>
                        <a:pt x="11462650" y="3593431"/>
                      </a:cubicBezTo>
                      <a:cubicBezTo>
                        <a:pt x="11517461" y="3576052"/>
                        <a:pt x="11581629" y="3538621"/>
                        <a:pt x="11663177" y="3513221"/>
                      </a:cubicBezTo>
                      <a:cubicBezTo>
                        <a:pt x="11744725" y="3487821"/>
                        <a:pt x="11846325" y="3461084"/>
                        <a:pt x="11951935" y="3441031"/>
                      </a:cubicBezTo>
                      <a:cubicBezTo>
                        <a:pt x="12057546" y="3420978"/>
                        <a:pt x="12188556" y="3411621"/>
                        <a:pt x="12296840" y="3392905"/>
                      </a:cubicBezTo>
                      <a:cubicBezTo>
                        <a:pt x="12405124" y="3374189"/>
                        <a:pt x="12537472" y="3354136"/>
                        <a:pt x="12601640" y="3328736"/>
                      </a:cubicBezTo>
                      <a:cubicBezTo>
                        <a:pt x="12665808" y="3303336"/>
                        <a:pt x="12661797" y="3261894"/>
                        <a:pt x="12681850" y="3240505"/>
                      </a:cubicBezTo>
                      <a:cubicBezTo>
                        <a:pt x="12701903" y="3219116"/>
                        <a:pt x="12712598" y="3224463"/>
                        <a:pt x="12721956" y="3200400"/>
                      </a:cubicBezTo>
                      <a:cubicBezTo>
                        <a:pt x="12731314" y="3176337"/>
                        <a:pt x="12723293" y="3138905"/>
                        <a:pt x="12737998" y="3096126"/>
                      </a:cubicBezTo>
                      <a:cubicBezTo>
                        <a:pt x="12752703" y="3053347"/>
                        <a:pt x="12796819" y="3001210"/>
                        <a:pt x="12810187" y="2943726"/>
                      </a:cubicBezTo>
                      <a:cubicBezTo>
                        <a:pt x="12823555" y="2886242"/>
                        <a:pt x="12816871" y="2859505"/>
                        <a:pt x="12818208" y="2751221"/>
                      </a:cubicBezTo>
                      <a:cubicBezTo>
                        <a:pt x="12819545" y="2642937"/>
                        <a:pt x="12839597" y="2408989"/>
                        <a:pt x="12818208" y="2294021"/>
                      </a:cubicBezTo>
                      <a:cubicBezTo>
                        <a:pt x="12796819" y="2179053"/>
                        <a:pt x="12727304" y="2121568"/>
                        <a:pt x="12689872" y="2061410"/>
                      </a:cubicBezTo>
                      <a:cubicBezTo>
                        <a:pt x="12652440" y="2001252"/>
                        <a:pt x="12620356" y="1997241"/>
                        <a:pt x="12593619" y="1933073"/>
                      </a:cubicBezTo>
                      <a:cubicBezTo>
                        <a:pt x="12566882" y="1868905"/>
                        <a:pt x="12558860" y="1771316"/>
                        <a:pt x="12529450" y="1676400"/>
                      </a:cubicBezTo>
                      <a:cubicBezTo>
                        <a:pt x="12500040" y="1581484"/>
                        <a:pt x="12458598" y="1449136"/>
                        <a:pt x="12417156" y="1363578"/>
                      </a:cubicBezTo>
                      <a:cubicBezTo>
                        <a:pt x="12375714" y="1278020"/>
                        <a:pt x="12308872" y="1204494"/>
                        <a:pt x="12280798" y="1163052"/>
                      </a:cubicBezTo>
                      <a:cubicBezTo>
                        <a:pt x="12252724" y="1121610"/>
                        <a:pt x="12271440" y="1125621"/>
                        <a:pt x="12248714" y="1114926"/>
                      </a:cubicBezTo>
                      <a:cubicBezTo>
                        <a:pt x="12225988" y="1104231"/>
                        <a:pt x="12236682" y="1108242"/>
                        <a:pt x="12144440" y="1098884"/>
                      </a:cubicBezTo>
                      <a:cubicBezTo>
                        <a:pt x="12052198" y="1089526"/>
                        <a:pt x="11807556" y="1072147"/>
                        <a:pt x="11695261" y="1058778"/>
                      </a:cubicBezTo>
                      <a:cubicBezTo>
                        <a:pt x="11582966" y="1045409"/>
                        <a:pt x="11572272" y="1049420"/>
                        <a:pt x="11470672" y="1018673"/>
                      </a:cubicBezTo>
                      <a:cubicBezTo>
                        <a:pt x="11369072" y="987926"/>
                        <a:pt x="11228703" y="933115"/>
                        <a:pt x="11085661" y="874294"/>
                      </a:cubicBezTo>
                      <a:cubicBezTo>
                        <a:pt x="10942619" y="815473"/>
                        <a:pt x="10787545" y="739273"/>
                        <a:pt x="10612419" y="665747"/>
                      </a:cubicBezTo>
                      <a:cubicBezTo>
                        <a:pt x="10437293" y="592221"/>
                        <a:pt x="10200671" y="498641"/>
                        <a:pt x="10034903" y="433136"/>
                      </a:cubicBezTo>
                      <a:cubicBezTo>
                        <a:pt x="9869135" y="367631"/>
                        <a:pt x="9763524" y="319504"/>
                        <a:pt x="9617808" y="272715"/>
                      </a:cubicBezTo>
                      <a:cubicBezTo>
                        <a:pt x="9472092" y="225926"/>
                        <a:pt x="9325040" y="187158"/>
                        <a:pt x="9160608" y="152400"/>
                      </a:cubicBezTo>
                      <a:cubicBezTo>
                        <a:pt x="8996177" y="117642"/>
                        <a:pt x="8830408" y="86894"/>
                        <a:pt x="8631219" y="64168"/>
                      </a:cubicBezTo>
                      <a:cubicBezTo>
                        <a:pt x="8432030" y="41442"/>
                        <a:pt x="8170009" y="26737"/>
                        <a:pt x="7965472" y="16042"/>
                      </a:cubicBezTo>
                      <a:cubicBezTo>
                        <a:pt x="7760935" y="5347"/>
                        <a:pt x="7403998" y="0"/>
                        <a:pt x="7403998" y="0"/>
                      </a:cubicBezTo>
                      <a:lnTo>
                        <a:pt x="6754293" y="8021"/>
                      </a:lnTo>
                      <a:cubicBezTo>
                        <a:pt x="6555104" y="17379"/>
                        <a:pt x="6397356" y="26736"/>
                        <a:pt x="6208861" y="56147"/>
                      </a:cubicBezTo>
                      <a:cubicBezTo>
                        <a:pt x="6020366" y="85558"/>
                        <a:pt x="5782408" y="137695"/>
                        <a:pt x="5623324" y="184484"/>
                      </a:cubicBezTo>
                      <a:cubicBezTo>
                        <a:pt x="5464240" y="231273"/>
                        <a:pt x="5446861" y="240631"/>
                        <a:pt x="5254356" y="336884"/>
                      </a:cubicBezTo>
                      <a:cubicBezTo>
                        <a:pt x="5061851" y="433137"/>
                        <a:pt x="4704914" y="628316"/>
                        <a:pt x="4468293" y="762000"/>
                      </a:cubicBezTo>
                      <a:cubicBezTo>
                        <a:pt x="4231672" y="895684"/>
                        <a:pt x="3834629" y="1138989"/>
                        <a:pt x="3834629" y="1138989"/>
                      </a:cubicBezTo>
                      <a:cubicBezTo>
                        <a:pt x="3696934" y="1220536"/>
                        <a:pt x="3704956" y="1228558"/>
                        <a:pt x="3642124" y="1251284"/>
                      </a:cubicBezTo>
                      <a:cubicBezTo>
                        <a:pt x="3579293" y="1274010"/>
                        <a:pt x="3457640" y="1275347"/>
                        <a:pt x="3457640" y="1275347"/>
                      </a:cubicBezTo>
                      <a:lnTo>
                        <a:pt x="2815956" y="1331494"/>
                      </a:lnTo>
                      <a:cubicBezTo>
                        <a:pt x="2599388" y="1354220"/>
                        <a:pt x="2364103" y="1383631"/>
                        <a:pt x="2158229" y="1411705"/>
                      </a:cubicBezTo>
                      <a:cubicBezTo>
                        <a:pt x="1952355" y="1439779"/>
                        <a:pt x="1761188" y="1469189"/>
                        <a:pt x="1580714" y="1499936"/>
                      </a:cubicBezTo>
                      <a:cubicBezTo>
                        <a:pt x="1400240" y="1530683"/>
                        <a:pt x="1230461" y="1554747"/>
                        <a:pt x="1075387" y="1596189"/>
                      </a:cubicBezTo>
                      <a:cubicBezTo>
                        <a:pt x="920313" y="1637631"/>
                        <a:pt x="753209" y="1703136"/>
                        <a:pt x="650272" y="1748589"/>
                      </a:cubicBezTo>
                      <a:cubicBezTo>
                        <a:pt x="547335" y="1794042"/>
                        <a:pt x="520597" y="1810084"/>
                        <a:pt x="457766" y="1868905"/>
                      </a:cubicBezTo>
                      <a:cubicBezTo>
                        <a:pt x="394935" y="1927726"/>
                        <a:pt x="321408" y="2025315"/>
                        <a:pt x="273282" y="2101515"/>
                      </a:cubicBezTo>
                      <a:cubicBezTo>
                        <a:pt x="225156" y="2177715"/>
                        <a:pt x="199755" y="2267284"/>
                        <a:pt x="169008" y="2326105"/>
                      </a:cubicBezTo>
                      <a:cubicBezTo>
                        <a:pt x="138261" y="2384926"/>
                        <a:pt x="115535" y="2366211"/>
                        <a:pt x="88798" y="2454442"/>
                      </a:cubicBezTo>
                      <a:cubicBezTo>
                        <a:pt x="62061" y="2542673"/>
                        <a:pt x="21956" y="2751220"/>
                        <a:pt x="8587" y="2855494"/>
                      </a:cubicBezTo>
                      <a:cubicBezTo>
                        <a:pt x="-4782" y="2959768"/>
                        <a:pt x="-771" y="3017253"/>
                        <a:pt x="8587" y="3080084"/>
                      </a:cubicBezTo>
                      <a:cubicBezTo>
                        <a:pt x="17945" y="3142915"/>
                        <a:pt x="55377" y="3173663"/>
                        <a:pt x="64735" y="3232484"/>
                      </a:cubicBezTo>
                      <a:cubicBezTo>
                        <a:pt x="74093" y="3291305"/>
                        <a:pt x="55377" y="3391568"/>
                        <a:pt x="64735" y="3433010"/>
                      </a:cubicBezTo>
                      <a:cubicBezTo>
                        <a:pt x="74093" y="3474452"/>
                        <a:pt x="74092" y="3453062"/>
                        <a:pt x="120882" y="3481136"/>
                      </a:cubicBezTo>
                      <a:cubicBezTo>
                        <a:pt x="167671" y="3509210"/>
                        <a:pt x="247883" y="3569368"/>
                        <a:pt x="345472" y="3601452"/>
                      </a:cubicBezTo>
                      <a:cubicBezTo>
                        <a:pt x="443061" y="3633536"/>
                        <a:pt x="588777" y="3657600"/>
                        <a:pt x="706419" y="3673642"/>
                      </a:cubicBezTo>
                      <a:cubicBezTo>
                        <a:pt x="824061" y="3689684"/>
                        <a:pt x="960419" y="3688347"/>
                        <a:pt x="1051324" y="3697705"/>
                      </a:cubicBezTo>
                      <a:cubicBezTo>
                        <a:pt x="1142229" y="3707063"/>
                        <a:pt x="1214418" y="3729789"/>
                        <a:pt x="1251850" y="3729789"/>
                      </a:cubicBezTo>
                      <a:cubicBezTo>
                        <a:pt x="1289282" y="3729789"/>
                        <a:pt x="1273240" y="3739147"/>
                        <a:pt x="1275914" y="3697705"/>
                      </a:cubicBezTo>
                      <a:cubicBezTo>
                        <a:pt x="1278588" y="3656263"/>
                        <a:pt x="1259872" y="3553325"/>
                        <a:pt x="1259872" y="348915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36" name="Oval 1635"/>
                <p:cNvSpPr/>
                <p:nvPr/>
              </p:nvSpPr>
              <p:spPr bwMode="auto">
                <a:xfrm>
                  <a:off x="1367928"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37" name="Oval 1636"/>
                <p:cNvSpPr/>
                <p:nvPr/>
              </p:nvSpPr>
              <p:spPr bwMode="auto">
                <a:xfrm>
                  <a:off x="9163831"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38" name="Oval 1637"/>
                <p:cNvSpPr/>
                <p:nvPr/>
              </p:nvSpPr>
              <p:spPr bwMode="auto">
                <a:xfrm>
                  <a:off x="1677434"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39" name="Oval 1638"/>
                <p:cNvSpPr/>
                <p:nvPr/>
              </p:nvSpPr>
              <p:spPr bwMode="auto">
                <a:xfrm>
                  <a:off x="9493068"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0" name="Freeform 1639"/>
                <p:cNvSpPr/>
                <p:nvPr/>
              </p:nvSpPr>
              <p:spPr bwMode="auto">
                <a:xfrm>
                  <a:off x="6023811" y="3064042"/>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1" name="Freeform 1640"/>
                <p:cNvSpPr/>
                <p:nvPr/>
              </p:nvSpPr>
              <p:spPr bwMode="auto">
                <a:xfrm>
                  <a:off x="8857759" y="2942649"/>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2" name="Freeform 1641"/>
                <p:cNvSpPr/>
                <p:nvPr/>
              </p:nvSpPr>
              <p:spPr bwMode="auto">
                <a:xfrm>
                  <a:off x="3745051" y="1498174"/>
                  <a:ext cx="6253764" cy="1405533"/>
                </a:xfrm>
                <a:custGeom>
                  <a:avLst/>
                  <a:gdLst>
                    <a:gd name="connsiteX0" fmla="*/ 193076 w 6255901"/>
                    <a:gd name="connsiteY0" fmla="*/ 1164815 h 1405533"/>
                    <a:gd name="connsiteX1" fmla="*/ 393602 w 6255901"/>
                    <a:gd name="connsiteY1" fmla="*/ 1004394 h 1405533"/>
                    <a:gd name="connsiteX2" fmla="*/ 690381 w 6255901"/>
                    <a:gd name="connsiteY2" fmla="*/ 827931 h 1405533"/>
                    <a:gd name="connsiteX3" fmla="*/ 1059350 w 6255901"/>
                    <a:gd name="connsiteY3" fmla="*/ 611363 h 1405533"/>
                    <a:gd name="connsiteX4" fmla="*/ 1468423 w 6255901"/>
                    <a:gd name="connsiteY4" fmla="*/ 378752 h 1405533"/>
                    <a:gd name="connsiteX5" fmla="*/ 1749160 w 6255901"/>
                    <a:gd name="connsiteY5" fmla="*/ 250415 h 1405533"/>
                    <a:gd name="connsiteX6" fmla="*/ 2158234 w 6255901"/>
                    <a:gd name="connsiteY6" fmla="*/ 138121 h 1405533"/>
                    <a:gd name="connsiteX7" fmla="*/ 2799918 w 6255901"/>
                    <a:gd name="connsiteY7" fmla="*/ 33847 h 1405533"/>
                    <a:gd name="connsiteX8" fmla="*/ 3305244 w 6255901"/>
                    <a:gd name="connsiteY8" fmla="*/ 9784 h 1405533"/>
                    <a:gd name="connsiteX9" fmla="*/ 3834634 w 6255901"/>
                    <a:gd name="connsiteY9" fmla="*/ 1763 h 1405533"/>
                    <a:gd name="connsiteX10" fmla="*/ 4508402 w 6255901"/>
                    <a:gd name="connsiteY10" fmla="*/ 41868 h 1405533"/>
                    <a:gd name="connsiteX11" fmla="*/ 5206234 w 6255901"/>
                    <a:gd name="connsiteY11" fmla="*/ 146142 h 1405533"/>
                    <a:gd name="connsiteX12" fmla="*/ 5687497 w 6255901"/>
                    <a:gd name="connsiteY12" fmla="*/ 298542 h 1405533"/>
                    <a:gd name="connsiteX13" fmla="*/ 6088550 w 6255901"/>
                    <a:gd name="connsiteY13" fmla="*/ 475005 h 1405533"/>
                    <a:gd name="connsiteX14" fmla="*/ 6224907 w 6255901"/>
                    <a:gd name="connsiteY14" fmla="*/ 563237 h 1405533"/>
                    <a:gd name="connsiteX15" fmla="*/ 6248971 w 6255901"/>
                    <a:gd name="connsiteY15" fmla="*/ 707615 h 1405533"/>
                    <a:gd name="connsiteX16" fmla="*/ 6128655 w 6255901"/>
                    <a:gd name="connsiteY16" fmla="*/ 1044500 h 1405533"/>
                    <a:gd name="connsiteX17" fmla="*/ 6120634 w 6255901"/>
                    <a:gd name="connsiteY17" fmla="*/ 1100647 h 1405533"/>
                    <a:gd name="connsiteX18" fmla="*/ 6032402 w 6255901"/>
                    <a:gd name="connsiteY18" fmla="*/ 1108668 h 1405533"/>
                    <a:gd name="connsiteX19" fmla="*/ 5326550 w 6255901"/>
                    <a:gd name="connsiteY19" fmla="*/ 1148773 h 1405533"/>
                    <a:gd name="connsiteX20" fmla="*/ 3979013 w 6255901"/>
                    <a:gd name="connsiteY20" fmla="*/ 1196900 h 1405533"/>
                    <a:gd name="connsiteX21" fmla="*/ 3192950 w 6255901"/>
                    <a:gd name="connsiteY21" fmla="*/ 1237005 h 1405533"/>
                    <a:gd name="connsiteX22" fmla="*/ 2053960 w 6255901"/>
                    <a:gd name="connsiteY22" fmla="*/ 1285131 h 1405533"/>
                    <a:gd name="connsiteX23" fmla="*/ 1059350 w 6255901"/>
                    <a:gd name="connsiteY23" fmla="*/ 1341279 h 1405533"/>
                    <a:gd name="connsiteX24" fmla="*/ 489855 w 6255901"/>
                    <a:gd name="connsiteY24" fmla="*/ 1373363 h 1405533"/>
                    <a:gd name="connsiteX25" fmla="*/ 120886 w 6255901"/>
                    <a:gd name="connsiteY25" fmla="*/ 1397426 h 1405533"/>
                    <a:gd name="connsiteX26" fmla="*/ 571 w 6255901"/>
                    <a:gd name="connsiteY26" fmla="*/ 1397426 h 1405533"/>
                    <a:gd name="connsiteX27" fmla="*/ 80781 w 6255901"/>
                    <a:gd name="connsiteY27" fmla="*/ 1301173 h 1405533"/>
                    <a:gd name="connsiteX28" fmla="*/ 193076 w 6255901"/>
                    <a:gd name="connsiteY28" fmla="*/ 1164815 h 1405533"/>
                    <a:gd name="connsiteX0" fmla="*/ 193286 w 6256111"/>
                    <a:gd name="connsiteY0" fmla="*/ 1164815 h 1405533"/>
                    <a:gd name="connsiteX1" fmla="*/ 393812 w 6256111"/>
                    <a:gd name="connsiteY1" fmla="*/ 1004394 h 1405533"/>
                    <a:gd name="connsiteX2" fmla="*/ 690591 w 6256111"/>
                    <a:gd name="connsiteY2" fmla="*/ 827931 h 1405533"/>
                    <a:gd name="connsiteX3" fmla="*/ 1059560 w 6256111"/>
                    <a:gd name="connsiteY3" fmla="*/ 611363 h 1405533"/>
                    <a:gd name="connsiteX4" fmla="*/ 1468633 w 6256111"/>
                    <a:gd name="connsiteY4" fmla="*/ 378752 h 1405533"/>
                    <a:gd name="connsiteX5" fmla="*/ 1749370 w 6256111"/>
                    <a:gd name="connsiteY5" fmla="*/ 250415 h 1405533"/>
                    <a:gd name="connsiteX6" fmla="*/ 2158444 w 6256111"/>
                    <a:gd name="connsiteY6" fmla="*/ 138121 h 1405533"/>
                    <a:gd name="connsiteX7" fmla="*/ 2800128 w 6256111"/>
                    <a:gd name="connsiteY7" fmla="*/ 33847 h 1405533"/>
                    <a:gd name="connsiteX8" fmla="*/ 3305454 w 6256111"/>
                    <a:gd name="connsiteY8" fmla="*/ 9784 h 1405533"/>
                    <a:gd name="connsiteX9" fmla="*/ 3834844 w 6256111"/>
                    <a:gd name="connsiteY9" fmla="*/ 1763 h 1405533"/>
                    <a:gd name="connsiteX10" fmla="*/ 4508612 w 6256111"/>
                    <a:gd name="connsiteY10" fmla="*/ 41868 h 1405533"/>
                    <a:gd name="connsiteX11" fmla="*/ 5206444 w 6256111"/>
                    <a:gd name="connsiteY11" fmla="*/ 146142 h 1405533"/>
                    <a:gd name="connsiteX12" fmla="*/ 5687707 w 6256111"/>
                    <a:gd name="connsiteY12" fmla="*/ 298542 h 1405533"/>
                    <a:gd name="connsiteX13" fmla="*/ 6088760 w 6256111"/>
                    <a:gd name="connsiteY13" fmla="*/ 475005 h 1405533"/>
                    <a:gd name="connsiteX14" fmla="*/ 6225117 w 6256111"/>
                    <a:gd name="connsiteY14" fmla="*/ 563237 h 1405533"/>
                    <a:gd name="connsiteX15" fmla="*/ 6249181 w 6256111"/>
                    <a:gd name="connsiteY15" fmla="*/ 707615 h 1405533"/>
                    <a:gd name="connsiteX16" fmla="*/ 6128865 w 6256111"/>
                    <a:gd name="connsiteY16" fmla="*/ 1044500 h 1405533"/>
                    <a:gd name="connsiteX17" fmla="*/ 6120844 w 6256111"/>
                    <a:gd name="connsiteY17" fmla="*/ 1100647 h 1405533"/>
                    <a:gd name="connsiteX18" fmla="*/ 6032612 w 6256111"/>
                    <a:gd name="connsiteY18" fmla="*/ 1108668 h 1405533"/>
                    <a:gd name="connsiteX19" fmla="*/ 5326760 w 6256111"/>
                    <a:gd name="connsiteY19" fmla="*/ 1148773 h 1405533"/>
                    <a:gd name="connsiteX20" fmla="*/ 3979223 w 6256111"/>
                    <a:gd name="connsiteY20" fmla="*/ 1196900 h 1405533"/>
                    <a:gd name="connsiteX21" fmla="*/ 3193160 w 6256111"/>
                    <a:gd name="connsiteY21" fmla="*/ 1237005 h 1405533"/>
                    <a:gd name="connsiteX22" fmla="*/ 2054170 w 6256111"/>
                    <a:gd name="connsiteY22" fmla="*/ 1285131 h 1405533"/>
                    <a:gd name="connsiteX23" fmla="*/ 1059560 w 6256111"/>
                    <a:gd name="connsiteY23" fmla="*/ 1341279 h 1405533"/>
                    <a:gd name="connsiteX24" fmla="*/ 490065 w 6256111"/>
                    <a:gd name="connsiteY24" fmla="*/ 1373363 h 1405533"/>
                    <a:gd name="connsiteX25" fmla="*/ 121096 w 6256111"/>
                    <a:gd name="connsiteY25" fmla="*/ 1397426 h 1405533"/>
                    <a:gd name="connsiteX26" fmla="*/ 781 w 6256111"/>
                    <a:gd name="connsiteY26" fmla="*/ 1397426 h 1405533"/>
                    <a:gd name="connsiteX27" fmla="*/ 64949 w 6256111"/>
                    <a:gd name="connsiteY27" fmla="*/ 1277110 h 1405533"/>
                    <a:gd name="connsiteX28" fmla="*/ 193286 w 6256111"/>
                    <a:gd name="connsiteY28" fmla="*/ 1164815 h 1405533"/>
                    <a:gd name="connsiteX0" fmla="*/ 193286 w 6253764"/>
                    <a:gd name="connsiteY0" fmla="*/ 1164815 h 1405533"/>
                    <a:gd name="connsiteX1" fmla="*/ 393812 w 6253764"/>
                    <a:gd name="connsiteY1" fmla="*/ 1004394 h 1405533"/>
                    <a:gd name="connsiteX2" fmla="*/ 690591 w 6253764"/>
                    <a:gd name="connsiteY2" fmla="*/ 827931 h 1405533"/>
                    <a:gd name="connsiteX3" fmla="*/ 1059560 w 6253764"/>
                    <a:gd name="connsiteY3" fmla="*/ 611363 h 1405533"/>
                    <a:gd name="connsiteX4" fmla="*/ 1468633 w 6253764"/>
                    <a:gd name="connsiteY4" fmla="*/ 378752 h 1405533"/>
                    <a:gd name="connsiteX5" fmla="*/ 1749370 w 6253764"/>
                    <a:gd name="connsiteY5" fmla="*/ 250415 h 1405533"/>
                    <a:gd name="connsiteX6" fmla="*/ 2158444 w 6253764"/>
                    <a:gd name="connsiteY6" fmla="*/ 138121 h 1405533"/>
                    <a:gd name="connsiteX7" fmla="*/ 2800128 w 6253764"/>
                    <a:gd name="connsiteY7" fmla="*/ 33847 h 1405533"/>
                    <a:gd name="connsiteX8" fmla="*/ 3305454 w 6253764"/>
                    <a:gd name="connsiteY8" fmla="*/ 9784 h 1405533"/>
                    <a:gd name="connsiteX9" fmla="*/ 3834844 w 6253764"/>
                    <a:gd name="connsiteY9" fmla="*/ 1763 h 1405533"/>
                    <a:gd name="connsiteX10" fmla="*/ 4508612 w 6253764"/>
                    <a:gd name="connsiteY10" fmla="*/ 41868 h 1405533"/>
                    <a:gd name="connsiteX11" fmla="*/ 5206444 w 6253764"/>
                    <a:gd name="connsiteY11" fmla="*/ 146142 h 1405533"/>
                    <a:gd name="connsiteX12" fmla="*/ 5687707 w 6253764"/>
                    <a:gd name="connsiteY12" fmla="*/ 298542 h 1405533"/>
                    <a:gd name="connsiteX13" fmla="*/ 6088760 w 6253764"/>
                    <a:gd name="connsiteY13" fmla="*/ 475005 h 1405533"/>
                    <a:gd name="connsiteX14" fmla="*/ 6225117 w 6253764"/>
                    <a:gd name="connsiteY14" fmla="*/ 563237 h 1405533"/>
                    <a:gd name="connsiteX15" fmla="*/ 6249181 w 6253764"/>
                    <a:gd name="connsiteY15" fmla="*/ 707615 h 1405533"/>
                    <a:gd name="connsiteX16" fmla="*/ 6160949 w 6253764"/>
                    <a:gd name="connsiteY16" fmla="*/ 1020437 h 1405533"/>
                    <a:gd name="connsiteX17" fmla="*/ 6120844 w 6253764"/>
                    <a:gd name="connsiteY17" fmla="*/ 1100647 h 1405533"/>
                    <a:gd name="connsiteX18" fmla="*/ 6032612 w 6253764"/>
                    <a:gd name="connsiteY18" fmla="*/ 1108668 h 1405533"/>
                    <a:gd name="connsiteX19" fmla="*/ 5326760 w 6253764"/>
                    <a:gd name="connsiteY19" fmla="*/ 1148773 h 1405533"/>
                    <a:gd name="connsiteX20" fmla="*/ 3979223 w 6253764"/>
                    <a:gd name="connsiteY20" fmla="*/ 1196900 h 1405533"/>
                    <a:gd name="connsiteX21" fmla="*/ 3193160 w 6253764"/>
                    <a:gd name="connsiteY21" fmla="*/ 1237005 h 1405533"/>
                    <a:gd name="connsiteX22" fmla="*/ 2054170 w 6253764"/>
                    <a:gd name="connsiteY22" fmla="*/ 1285131 h 1405533"/>
                    <a:gd name="connsiteX23" fmla="*/ 1059560 w 6253764"/>
                    <a:gd name="connsiteY23" fmla="*/ 1341279 h 1405533"/>
                    <a:gd name="connsiteX24" fmla="*/ 490065 w 6253764"/>
                    <a:gd name="connsiteY24" fmla="*/ 1373363 h 1405533"/>
                    <a:gd name="connsiteX25" fmla="*/ 121096 w 6253764"/>
                    <a:gd name="connsiteY25" fmla="*/ 1397426 h 1405533"/>
                    <a:gd name="connsiteX26" fmla="*/ 781 w 6253764"/>
                    <a:gd name="connsiteY26" fmla="*/ 1397426 h 1405533"/>
                    <a:gd name="connsiteX27" fmla="*/ 64949 w 6253764"/>
                    <a:gd name="connsiteY27" fmla="*/ 1277110 h 1405533"/>
                    <a:gd name="connsiteX28" fmla="*/ 193286 w 6253764"/>
                    <a:gd name="connsiteY28" fmla="*/ 1164815 h 140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53764" h="1405533">
                      <a:moveTo>
                        <a:pt x="193286" y="1164815"/>
                      </a:moveTo>
                      <a:cubicBezTo>
                        <a:pt x="248096" y="1119362"/>
                        <a:pt x="310928" y="1060541"/>
                        <a:pt x="393812" y="1004394"/>
                      </a:cubicBezTo>
                      <a:cubicBezTo>
                        <a:pt x="476696" y="948247"/>
                        <a:pt x="690591" y="827931"/>
                        <a:pt x="690591" y="827931"/>
                      </a:cubicBezTo>
                      <a:lnTo>
                        <a:pt x="1059560" y="611363"/>
                      </a:lnTo>
                      <a:cubicBezTo>
                        <a:pt x="1189234" y="536500"/>
                        <a:pt x="1353665" y="438910"/>
                        <a:pt x="1468633" y="378752"/>
                      </a:cubicBezTo>
                      <a:cubicBezTo>
                        <a:pt x="1583601" y="318594"/>
                        <a:pt x="1634402" y="290520"/>
                        <a:pt x="1749370" y="250415"/>
                      </a:cubicBezTo>
                      <a:cubicBezTo>
                        <a:pt x="1864339" y="210310"/>
                        <a:pt x="1983318" y="174216"/>
                        <a:pt x="2158444" y="138121"/>
                      </a:cubicBezTo>
                      <a:cubicBezTo>
                        <a:pt x="2333570" y="102026"/>
                        <a:pt x="2608960" y="55236"/>
                        <a:pt x="2800128" y="33847"/>
                      </a:cubicBezTo>
                      <a:cubicBezTo>
                        <a:pt x="2991296" y="12457"/>
                        <a:pt x="3133001" y="15131"/>
                        <a:pt x="3305454" y="9784"/>
                      </a:cubicBezTo>
                      <a:cubicBezTo>
                        <a:pt x="3477907" y="4437"/>
                        <a:pt x="3634318" y="-3584"/>
                        <a:pt x="3834844" y="1763"/>
                      </a:cubicBezTo>
                      <a:cubicBezTo>
                        <a:pt x="4035370" y="7110"/>
                        <a:pt x="4280012" y="17805"/>
                        <a:pt x="4508612" y="41868"/>
                      </a:cubicBezTo>
                      <a:cubicBezTo>
                        <a:pt x="4737212" y="65931"/>
                        <a:pt x="5009928" y="103363"/>
                        <a:pt x="5206444" y="146142"/>
                      </a:cubicBezTo>
                      <a:cubicBezTo>
                        <a:pt x="5402960" y="188921"/>
                        <a:pt x="5540654" y="243731"/>
                        <a:pt x="5687707" y="298542"/>
                      </a:cubicBezTo>
                      <a:cubicBezTo>
                        <a:pt x="5834760" y="353352"/>
                        <a:pt x="5999192" y="430889"/>
                        <a:pt x="6088760" y="475005"/>
                      </a:cubicBezTo>
                      <a:cubicBezTo>
                        <a:pt x="6178328" y="519121"/>
                        <a:pt x="6198380" y="524469"/>
                        <a:pt x="6225117" y="563237"/>
                      </a:cubicBezTo>
                      <a:cubicBezTo>
                        <a:pt x="6251854" y="602005"/>
                        <a:pt x="6259876" y="631415"/>
                        <a:pt x="6249181" y="707615"/>
                      </a:cubicBezTo>
                      <a:cubicBezTo>
                        <a:pt x="6238486" y="783815"/>
                        <a:pt x="6182338" y="954932"/>
                        <a:pt x="6160949" y="1020437"/>
                      </a:cubicBezTo>
                      <a:cubicBezTo>
                        <a:pt x="6139560" y="1085942"/>
                        <a:pt x="6142234" y="1085942"/>
                        <a:pt x="6120844" y="1100647"/>
                      </a:cubicBezTo>
                      <a:cubicBezTo>
                        <a:pt x="6099455" y="1115352"/>
                        <a:pt x="6032612" y="1108668"/>
                        <a:pt x="6032612" y="1108668"/>
                      </a:cubicBezTo>
                      <a:lnTo>
                        <a:pt x="5326760" y="1148773"/>
                      </a:lnTo>
                      <a:lnTo>
                        <a:pt x="3979223" y="1196900"/>
                      </a:lnTo>
                      <a:lnTo>
                        <a:pt x="3193160" y="1237005"/>
                      </a:lnTo>
                      <a:lnTo>
                        <a:pt x="2054170" y="1285131"/>
                      </a:lnTo>
                      <a:lnTo>
                        <a:pt x="1059560" y="1341279"/>
                      </a:lnTo>
                      <a:lnTo>
                        <a:pt x="490065" y="1373363"/>
                      </a:lnTo>
                      <a:lnTo>
                        <a:pt x="121096" y="1397426"/>
                      </a:lnTo>
                      <a:cubicBezTo>
                        <a:pt x="39549" y="1401437"/>
                        <a:pt x="7465" y="1413468"/>
                        <a:pt x="781" y="1397426"/>
                      </a:cubicBezTo>
                      <a:cubicBezTo>
                        <a:pt x="-5903" y="1381384"/>
                        <a:pt x="31528" y="1313205"/>
                        <a:pt x="64949" y="1277110"/>
                      </a:cubicBezTo>
                      <a:cubicBezTo>
                        <a:pt x="98370" y="1241015"/>
                        <a:pt x="138476" y="1210268"/>
                        <a:pt x="193286" y="1164815"/>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3" name="Freeform 1642"/>
                <p:cNvSpPr/>
                <p:nvPr/>
              </p:nvSpPr>
              <p:spPr bwMode="auto">
                <a:xfrm>
                  <a:off x="6637401" y="1501234"/>
                  <a:ext cx="601973" cy="1247984"/>
                </a:xfrm>
                <a:custGeom>
                  <a:avLst/>
                  <a:gdLst>
                    <a:gd name="connsiteX0" fmla="*/ 0 w 572756"/>
                    <a:gd name="connsiteY0" fmla="*/ 1175657 h 1175657"/>
                    <a:gd name="connsiteX1" fmla="*/ 502417 w 572756"/>
                    <a:gd name="connsiteY1" fmla="*/ 1145512 h 1175657"/>
                    <a:gd name="connsiteX2" fmla="*/ 572756 w 572756"/>
                    <a:gd name="connsiteY2" fmla="*/ 0 h 1175657"/>
                    <a:gd name="connsiteX3" fmla="*/ 291402 w 572756"/>
                    <a:gd name="connsiteY3" fmla="*/ 0 h 1175657"/>
                    <a:gd name="connsiteX4" fmla="*/ 0 w 572756"/>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56" h="1175657">
                      <a:moveTo>
                        <a:pt x="0" y="1175657"/>
                      </a:moveTo>
                      <a:lnTo>
                        <a:pt x="502417" y="1145512"/>
                      </a:lnTo>
                      <a:lnTo>
                        <a:pt x="572756" y="0"/>
                      </a:lnTo>
                      <a:lnTo>
                        <a:pt x="291402" y="0"/>
                      </a:lnTo>
                      <a:lnTo>
                        <a:pt x="0" y="1175657"/>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4" name="Freeform 1643"/>
                <p:cNvSpPr/>
                <p:nvPr/>
              </p:nvSpPr>
              <p:spPr bwMode="auto">
                <a:xfrm>
                  <a:off x="11132993" y="3577312"/>
                  <a:ext cx="1588934" cy="1341534"/>
                </a:xfrm>
                <a:custGeom>
                  <a:avLst/>
                  <a:gdLst>
                    <a:gd name="connsiteX0" fmla="*/ 64396 w 1588934"/>
                    <a:gd name="connsiteY0" fmla="*/ 1339593 h 1341534"/>
                    <a:gd name="connsiteX1" fmla="*/ 208775 w 1588934"/>
                    <a:gd name="connsiteY1" fmla="*/ 1307509 h 1341534"/>
                    <a:gd name="connsiteX2" fmla="*/ 329091 w 1588934"/>
                    <a:gd name="connsiteY2" fmla="*/ 1251362 h 1341534"/>
                    <a:gd name="connsiteX3" fmla="*/ 561702 w 1588934"/>
                    <a:gd name="connsiteY3" fmla="*/ 1179172 h 1341534"/>
                    <a:gd name="connsiteX4" fmla="*/ 890565 w 1588934"/>
                    <a:gd name="connsiteY4" fmla="*/ 1131046 h 1341534"/>
                    <a:gd name="connsiteX5" fmla="*/ 1123175 w 1588934"/>
                    <a:gd name="connsiteY5" fmla="*/ 1098962 h 1341534"/>
                    <a:gd name="connsiteX6" fmla="*/ 1355786 w 1588934"/>
                    <a:gd name="connsiteY6" fmla="*/ 1058856 h 1341534"/>
                    <a:gd name="connsiteX7" fmla="*/ 1419954 w 1588934"/>
                    <a:gd name="connsiteY7" fmla="*/ 1010730 h 1341534"/>
                    <a:gd name="connsiteX8" fmla="*/ 1444018 w 1588934"/>
                    <a:gd name="connsiteY8" fmla="*/ 946562 h 1341534"/>
                    <a:gd name="connsiteX9" fmla="*/ 1484123 w 1588934"/>
                    <a:gd name="connsiteY9" fmla="*/ 930520 h 1341534"/>
                    <a:gd name="connsiteX10" fmla="*/ 1508186 w 1588934"/>
                    <a:gd name="connsiteY10" fmla="*/ 818225 h 1341534"/>
                    <a:gd name="connsiteX11" fmla="*/ 1564333 w 1588934"/>
                    <a:gd name="connsiteY11" fmla="*/ 697909 h 1341534"/>
                    <a:gd name="connsiteX12" fmla="*/ 1588396 w 1588934"/>
                    <a:gd name="connsiteY12" fmla="*/ 401130 h 1341534"/>
                    <a:gd name="connsiteX13" fmla="*/ 1580375 w 1588934"/>
                    <a:gd name="connsiteY13" fmla="*/ 56225 h 1341534"/>
                    <a:gd name="connsiteX14" fmla="*/ 1572354 w 1588934"/>
                    <a:gd name="connsiteY14" fmla="*/ 77 h 1341534"/>
                    <a:gd name="connsiteX15" fmla="*/ 1532249 w 1588934"/>
                    <a:gd name="connsiteY15" fmla="*/ 48204 h 1341534"/>
                    <a:gd name="connsiteX16" fmla="*/ 1395891 w 1588934"/>
                    <a:gd name="connsiteY16" fmla="*/ 72267 h 1341534"/>
                    <a:gd name="connsiteX17" fmla="*/ 1099112 w 1588934"/>
                    <a:gd name="connsiteY17" fmla="*/ 96330 h 1341534"/>
                    <a:gd name="connsiteX18" fmla="*/ 770249 w 1588934"/>
                    <a:gd name="connsiteY18" fmla="*/ 104351 h 1341534"/>
                    <a:gd name="connsiteX19" fmla="*/ 553681 w 1588934"/>
                    <a:gd name="connsiteY19" fmla="*/ 120393 h 1341534"/>
                    <a:gd name="connsiteX20" fmla="*/ 409302 w 1588934"/>
                    <a:gd name="connsiteY20" fmla="*/ 144456 h 1341534"/>
                    <a:gd name="connsiteX21" fmla="*/ 369196 w 1588934"/>
                    <a:gd name="connsiteY21" fmla="*/ 224667 h 1341534"/>
                    <a:gd name="connsiteX22" fmla="*/ 353154 w 1588934"/>
                    <a:gd name="connsiteY22" fmla="*/ 296856 h 1341534"/>
                    <a:gd name="connsiteX23" fmla="*/ 345133 w 1588934"/>
                    <a:gd name="connsiteY23" fmla="*/ 361025 h 1341534"/>
                    <a:gd name="connsiteX24" fmla="*/ 224818 w 1588934"/>
                    <a:gd name="connsiteY24" fmla="*/ 401130 h 1341534"/>
                    <a:gd name="connsiteX25" fmla="*/ 136586 w 1588934"/>
                    <a:gd name="connsiteY25" fmla="*/ 409151 h 1341534"/>
                    <a:gd name="connsiteX26" fmla="*/ 48354 w 1588934"/>
                    <a:gd name="connsiteY26" fmla="*/ 457277 h 1341534"/>
                    <a:gd name="connsiteX27" fmla="*/ 228 w 1588934"/>
                    <a:gd name="connsiteY27" fmla="*/ 529467 h 1341534"/>
                    <a:gd name="connsiteX28" fmla="*/ 32312 w 1588934"/>
                    <a:gd name="connsiteY28" fmla="*/ 569572 h 1341534"/>
                    <a:gd name="connsiteX29" fmla="*/ 80439 w 1588934"/>
                    <a:gd name="connsiteY29" fmla="*/ 786141 h 1341534"/>
                    <a:gd name="connsiteX30" fmla="*/ 96481 w 1588934"/>
                    <a:gd name="connsiteY30" fmla="*/ 1090941 h 1341534"/>
                    <a:gd name="connsiteX31" fmla="*/ 80439 w 1588934"/>
                    <a:gd name="connsiteY31" fmla="*/ 1251362 h 1341534"/>
                    <a:gd name="connsiteX32" fmla="*/ 64396 w 1588934"/>
                    <a:gd name="connsiteY32" fmla="*/ 1339593 h 13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8934" h="1341534">
                      <a:moveTo>
                        <a:pt x="64396" y="1339593"/>
                      </a:moveTo>
                      <a:cubicBezTo>
                        <a:pt x="85785" y="1348951"/>
                        <a:pt x="164659" y="1322214"/>
                        <a:pt x="208775" y="1307509"/>
                      </a:cubicBezTo>
                      <a:cubicBezTo>
                        <a:pt x="252891" y="1292804"/>
                        <a:pt x="270270" y="1272751"/>
                        <a:pt x="329091" y="1251362"/>
                      </a:cubicBezTo>
                      <a:cubicBezTo>
                        <a:pt x="387912" y="1229973"/>
                        <a:pt x="468123" y="1199225"/>
                        <a:pt x="561702" y="1179172"/>
                      </a:cubicBezTo>
                      <a:cubicBezTo>
                        <a:pt x="655281" y="1159119"/>
                        <a:pt x="890565" y="1131046"/>
                        <a:pt x="890565" y="1131046"/>
                      </a:cubicBezTo>
                      <a:lnTo>
                        <a:pt x="1123175" y="1098962"/>
                      </a:lnTo>
                      <a:cubicBezTo>
                        <a:pt x="1200712" y="1086930"/>
                        <a:pt x="1306323" y="1073561"/>
                        <a:pt x="1355786" y="1058856"/>
                      </a:cubicBezTo>
                      <a:cubicBezTo>
                        <a:pt x="1405249" y="1044151"/>
                        <a:pt x="1405249" y="1029446"/>
                        <a:pt x="1419954" y="1010730"/>
                      </a:cubicBezTo>
                      <a:cubicBezTo>
                        <a:pt x="1434659" y="992014"/>
                        <a:pt x="1433323" y="959930"/>
                        <a:pt x="1444018" y="946562"/>
                      </a:cubicBezTo>
                      <a:cubicBezTo>
                        <a:pt x="1454713" y="933194"/>
                        <a:pt x="1473428" y="951909"/>
                        <a:pt x="1484123" y="930520"/>
                      </a:cubicBezTo>
                      <a:cubicBezTo>
                        <a:pt x="1494818" y="909131"/>
                        <a:pt x="1494818" y="856993"/>
                        <a:pt x="1508186" y="818225"/>
                      </a:cubicBezTo>
                      <a:cubicBezTo>
                        <a:pt x="1521554" y="779457"/>
                        <a:pt x="1550965" y="767425"/>
                        <a:pt x="1564333" y="697909"/>
                      </a:cubicBezTo>
                      <a:cubicBezTo>
                        <a:pt x="1577701" y="628393"/>
                        <a:pt x="1585722" y="508077"/>
                        <a:pt x="1588396" y="401130"/>
                      </a:cubicBezTo>
                      <a:cubicBezTo>
                        <a:pt x="1591070" y="294183"/>
                        <a:pt x="1583049" y="123067"/>
                        <a:pt x="1580375" y="56225"/>
                      </a:cubicBezTo>
                      <a:cubicBezTo>
                        <a:pt x="1577701" y="-10617"/>
                        <a:pt x="1580375" y="1414"/>
                        <a:pt x="1572354" y="77"/>
                      </a:cubicBezTo>
                      <a:cubicBezTo>
                        <a:pt x="1564333" y="-1260"/>
                        <a:pt x="1561660" y="36172"/>
                        <a:pt x="1532249" y="48204"/>
                      </a:cubicBezTo>
                      <a:cubicBezTo>
                        <a:pt x="1502839" y="60236"/>
                        <a:pt x="1468080" y="64246"/>
                        <a:pt x="1395891" y="72267"/>
                      </a:cubicBezTo>
                      <a:cubicBezTo>
                        <a:pt x="1323702" y="80288"/>
                        <a:pt x="1203386" y="90983"/>
                        <a:pt x="1099112" y="96330"/>
                      </a:cubicBezTo>
                      <a:cubicBezTo>
                        <a:pt x="994838" y="101677"/>
                        <a:pt x="861154" y="100340"/>
                        <a:pt x="770249" y="104351"/>
                      </a:cubicBezTo>
                      <a:cubicBezTo>
                        <a:pt x="679344" y="108361"/>
                        <a:pt x="613839" y="113709"/>
                        <a:pt x="553681" y="120393"/>
                      </a:cubicBezTo>
                      <a:cubicBezTo>
                        <a:pt x="493523" y="127077"/>
                        <a:pt x="440050" y="127077"/>
                        <a:pt x="409302" y="144456"/>
                      </a:cubicBezTo>
                      <a:cubicBezTo>
                        <a:pt x="378555" y="161835"/>
                        <a:pt x="378554" y="199267"/>
                        <a:pt x="369196" y="224667"/>
                      </a:cubicBezTo>
                      <a:cubicBezTo>
                        <a:pt x="359838" y="250067"/>
                        <a:pt x="357164" y="274130"/>
                        <a:pt x="353154" y="296856"/>
                      </a:cubicBezTo>
                      <a:cubicBezTo>
                        <a:pt x="349144" y="319582"/>
                        <a:pt x="366522" y="343646"/>
                        <a:pt x="345133" y="361025"/>
                      </a:cubicBezTo>
                      <a:cubicBezTo>
                        <a:pt x="323744" y="378404"/>
                        <a:pt x="259576" y="393109"/>
                        <a:pt x="224818" y="401130"/>
                      </a:cubicBezTo>
                      <a:cubicBezTo>
                        <a:pt x="190060" y="409151"/>
                        <a:pt x="165997" y="399793"/>
                        <a:pt x="136586" y="409151"/>
                      </a:cubicBezTo>
                      <a:cubicBezTo>
                        <a:pt x="107175" y="418509"/>
                        <a:pt x="71080" y="437224"/>
                        <a:pt x="48354" y="457277"/>
                      </a:cubicBezTo>
                      <a:cubicBezTo>
                        <a:pt x="25628" y="477330"/>
                        <a:pt x="2902" y="510751"/>
                        <a:pt x="228" y="529467"/>
                      </a:cubicBezTo>
                      <a:cubicBezTo>
                        <a:pt x="-2446" y="548183"/>
                        <a:pt x="18944" y="526793"/>
                        <a:pt x="32312" y="569572"/>
                      </a:cubicBezTo>
                      <a:cubicBezTo>
                        <a:pt x="45680" y="612351"/>
                        <a:pt x="69744" y="699246"/>
                        <a:pt x="80439" y="786141"/>
                      </a:cubicBezTo>
                      <a:cubicBezTo>
                        <a:pt x="91134" y="873036"/>
                        <a:pt x="96481" y="1013404"/>
                        <a:pt x="96481" y="1090941"/>
                      </a:cubicBezTo>
                      <a:cubicBezTo>
                        <a:pt x="96481" y="1168478"/>
                        <a:pt x="83113" y="1211257"/>
                        <a:pt x="80439" y="1251362"/>
                      </a:cubicBezTo>
                      <a:cubicBezTo>
                        <a:pt x="77765" y="1291467"/>
                        <a:pt x="43007" y="1330235"/>
                        <a:pt x="64396" y="1339593"/>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5" name="Freeform 1644"/>
                <p:cNvSpPr/>
                <p:nvPr/>
              </p:nvSpPr>
              <p:spPr bwMode="auto">
                <a:xfrm>
                  <a:off x="3304674" y="3416969"/>
                  <a:ext cx="6023811" cy="1668380"/>
                </a:xfrm>
                <a:custGeom>
                  <a:avLst/>
                  <a:gdLst>
                    <a:gd name="connsiteX0" fmla="*/ 914400 w 6023810"/>
                    <a:gd name="connsiteY0" fmla="*/ 1588169 h 1668379"/>
                    <a:gd name="connsiteX1" fmla="*/ 3248526 w 6023810"/>
                    <a:gd name="connsiteY1" fmla="*/ 1604211 h 1668379"/>
                    <a:gd name="connsiteX2" fmla="*/ 5069305 w 6023810"/>
                    <a:gd name="connsiteY2" fmla="*/ 1612232 h 1668379"/>
                    <a:gd name="connsiteX3" fmla="*/ 5670884 w 6023810"/>
                    <a:gd name="connsiteY3" fmla="*/ 1620253 h 1668379"/>
                    <a:gd name="connsiteX4" fmla="*/ 5719010 w 6023810"/>
                    <a:gd name="connsiteY4" fmla="*/ 1620253 h 1668379"/>
                    <a:gd name="connsiteX5" fmla="*/ 5719010 w 6023810"/>
                    <a:gd name="connsiteY5" fmla="*/ 1499937 h 1668379"/>
                    <a:gd name="connsiteX6" fmla="*/ 5719010 w 6023810"/>
                    <a:gd name="connsiteY6" fmla="*/ 1307432 h 1668379"/>
                    <a:gd name="connsiteX7" fmla="*/ 5759115 w 6023810"/>
                    <a:gd name="connsiteY7" fmla="*/ 1034716 h 1668379"/>
                    <a:gd name="connsiteX8" fmla="*/ 5839326 w 6023810"/>
                    <a:gd name="connsiteY8" fmla="*/ 770021 h 1668379"/>
                    <a:gd name="connsiteX9" fmla="*/ 5919537 w 6023810"/>
                    <a:gd name="connsiteY9" fmla="*/ 609600 h 1668379"/>
                    <a:gd name="connsiteX10" fmla="*/ 6023810 w 6023810"/>
                    <a:gd name="connsiteY10" fmla="*/ 473243 h 1668379"/>
                    <a:gd name="connsiteX11" fmla="*/ 5895473 w 6023810"/>
                    <a:gd name="connsiteY11" fmla="*/ 481264 h 1668379"/>
                    <a:gd name="connsiteX12" fmla="*/ 5791200 w 6023810"/>
                    <a:gd name="connsiteY12" fmla="*/ 473243 h 1668379"/>
                    <a:gd name="connsiteX13" fmla="*/ 5686926 w 6023810"/>
                    <a:gd name="connsiteY13" fmla="*/ 425116 h 1668379"/>
                    <a:gd name="connsiteX14" fmla="*/ 5614737 w 6023810"/>
                    <a:gd name="connsiteY14" fmla="*/ 409074 h 1668379"/>
                    <a:gd name="connsiteX15" fmla="*/ 5566610 w 6023810"/>
                    <a:gd name="connsiteY15" fmla="*/ 457200 h 1668379"/>
                    <a:gd name="connsiteX16" fmla="*/ 5542547 w 6023810"/>
                    <a:gd name="connsiteY16" fmla="*/ 425116 h 1668379"/>
                    <a:gd name="connsiteX17" fmla="*/ 5542547 w 6023810"/>
                    <a:gd name="connsiteY17" fmla="*/ 144379 h 1668379"/>
                    <a:gd name="connsiteX18" fmla="*/ 5534526 w 6023810"/>
                    <a:gd name="connsiteY18" fmla="*/ 16043 h 1668379"/>
                    <a:gd name="connsiteX19" fmla="*/ 5430252 w 6023810"/>
                    <a:gd name="connsiteY19" fmla="*/ 0 h 1668379"/>
                    <a:gd name="connsiteX20" fmla="*/ 4267200 w 6023810"/>
                    <a:gd name="connsiteY20" fmla="*/ 40106 h 1668379"/>
                    <a:gd name="connsiteX21" fmla="*/ 2069431 w 6023810"/>
                    <a:gd name="connsiteY21" fmla="*/ 112295 h 1668379"/>
                    <a:gd name="connsiteX22" fmla="*/ 497305 w 6023810"/>
                    <a:gd name="connsiteY22" fmla="*/ 168443 h 1668379"/>
                    <a:gd name="connsiteX23" fmla="*/ 328863 w 6023810"/>
                    <a:gd name="connsiteY23" fmla="*/ 168443 h 1668379"/>
                    <a:gd name="connsiteX24" fmla="*/ 328863 w 6023810"/>
                    <a:gd name="connsiteY24" fmla="*/ 168443 h 1668379"/>
                    <a:gd name="connsiteX25" fmla="*/ 304800 w 6023810"/>
                    <a:gd name="connsiteY25" fmla="*/ 280737 h 1668379"/>
                    <a:gd name="connsiteX26" fmla="*/ 320842 w 6023810"/>
                    <a:gd name="connsiteY26" fmla="*/ 425116 h 1668379"/>
                    <a:gd name="connsiteX27" fmla="*/ 256673 w 6023810"/>
                    <a:gd name="connsiteY27" fmla="*/ 553453 h 1668379"/>
                    <a:gd name="connsiteX28" fmla="*/ 104273 w 6023810"/>
                    <a:gd name="connsiteY28" fmla="*/ 665748 h 1668379"/>
                    <a:gd name="connsiteX29" fmla="*/ 0 w 6023810"/>
                    <a:gd name="connsiteY29" fmla="*/ 729916 h 1668379"/>
                    <a:gd name="connsiteX30" fmla="*/ 24063 w 6023810"/>
                    <a:gd name="connsiteY30" fmla="*/ 802106 h 1668379"/>
                    <a:gd name="connsiteX31" fmla="*/ 72189 w 6023810"/>
                    <a:gd name="connsiteY31" fmla="*/ 1147011 h 1668379"/>
                    <a:gd name="connsiteX32" fmla="*/ 88231 w 6023810"/>
                    <a:gd name="connsiteY32" fmla="*/ 1347537 h 1668379"/>
                    <a:gd name="connsiteX33" fmla="*/ 80210 w 6023810"/>
                    <a:gd name="connsiteY33" fmla="*/ 1499937 h 1668379"/>
                    <a:gd name="connsiteX34" fmla="*/ 80210 w 6023810"/>
                    <a:gd name="connsiteY34" fmla="*/ 1628274 h 1668379"/>
                    <a:gd name="connsiteX35" fmla="*/ 80210 w 6023810"/>
                    <a:gd name="connsiteY35" fmla="*/ 1668379 h 1668379"/>
                    <a:gd name="connsiteX36" fmla="*/ 248652 w 6023810"/>
                    <a:gd name="connsiteY36" fmla="*/ 1620253 h 1668379"/>
                    <a:gd name="connsiteX37" fmla="*/ 441158 w 6023810"/>
                    <a:gd name="connsiteY37" fmla="*/ 1604211 h 1668379"/>
                    <a:gd name="connsiteX38" fmla="*/ 673768 w 6023810"/>
                    <a:gd name="connsiteY38" fmla="*/ 1588169 h 1668379"/>
                    <a:gd name="connsiteX39" fmla="*/ 914400 w 6023810"/>
                    <a:gd name="connsiteY39" fmla="*/ 1588169 h 166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23810" h="1668379">
                      <a:moveTo>
                        <a:pt x="914400" y="1588169"/>
                      </a:moveTo>
                      <a:lnTo>
                        <a:pt x="3248526" y="1604211"/>
                      </a:lnTo>
                      <a:lnTo>
                        <a:pt x="5069305" y="1612232"/>
                      </a:lnTo>
                      <a:lnTo>
                        <a:pt x="5670884" y="1620253"/>
                      </a:lnTo>
                      <a:lnTo>
                        <a:pt x="5719010" y="1620253"/>
                      </a:lnTo>
                      <a:lnTo>
                        <a:pt x="5719010" y="1499937"/>
                      </a:lnTo>
                      <a:lnTo>
                        <a:pt x="5719010" y="1307432"/>
                      </a:lnTo>
                      <a:lnTo>
                        <a:pt x="5759115" y="1034716"/>
                      </a:lnTo>
                      <a:lnTo>
                        <a:pt x="5839326" y="770021"/>
                      </a:lnTo>
                      <a:lnTo>
                        <a:pt x="5919537" y="609600"/>
                      </a:lnTo>
                      <a:lnTo>
                        <a:pt x="6023810" y="473243"/>
                      </a:lnTo>
                      <a:lnTo>
                        <a:pt x="5895473" y="481264"/>
                      </a:lnTo>
                      <a:lnTo>
                        <a:pt x="5791200" y="473243"/>
                      </a:lnTo>
                      <a:lnTo>
                        <a:pt x="5686926" y="425116"/>
                      </a:lnTo>
                      <a:lnTo>
                        <a:pt x="5614737" y="409074"/>
                      </a:lnTo>
                      <a:lnTo>
                        <a:pt x="5566610" y="457200"/>
                      </a:lnTo>
                      <a:lnTo>
                        <a:pt x="5542547" y="425116"/>
                      </a:lnTo>
                      <a:lnTo>
                        <a:pt x="5542547" y="144379"/>
                      </a:lnTo>
                      <a:lnTo>
                        <a:pt x="5534526" y="16043"/>
                      </a:lnTo>
                      <a:lnTo>
                        <a:pt x="5430252" y="0"/>
                      </a:lnTo>
                      <a:lnTo>
                        <a:pt x="4267200" y="40106"/>
                      </a:lnTo>
                      <a:lnTo>
                        <a:pt x="2069431" y="112295"/>
                      </a:lnTo>
                      <a:lnTo>
                        <a:pt x="497305" y="168443"/>
                      </a:lnTo>
                      <a:lnTo>
                        <a:pt x="328863" y="168443"/>
                      </a:lnTo>
                      <a:lnTo>
                        <a:pt x="328863" y="168443"/>
                      </a:lnTo>
                      <a:lnTo>
                        <a:pt x="304800" y="280737"/>
                      </a:lnTo>
                      <a:lnTo>
                        <a:pt x="320842" y="425116"/>
                      </a:lnTo>
                      <a:lnTo>
                        <a:pt x="256673" y="553453"/>
                      </a:lnTo>
                      <a:lnTo>
                        <a:pt x="104273" y="665748"/>
                      </a:lnTo>
                      <a:lnTo>
                        <a:pt x="0" y="729916"/>
                      </a:lnTo>
                      <a:lnTo>
                        <a:pt x="24063" y="802106"/>
                      </a:lnTo>
                      <a:lnTo>
                        <a:pt x="72189" y="1147011"/>
                      </a:lnTo>
                      <a:lnTo>
                        <a:pt x="88231" y="1347537"/>
                      </a:lnTo>
                      <a:lnTo>
                        <a:pt x="80210" y="1499937"/>
                      </a:lnTo>
                      <a:lnTo>
                        <a:pt x="80210" y="1628274"/>
                      </a:lnTo>
                      <a:lnTo>
                        <a:pt x="80210" y="1668379"/>
                      </a:lnTo>
                      <a:lnTo>
                        <a:pt x="248652" y="1620253"/>
                      </a:lnTo>
                      <a:lnTo>
                        <a:pt x="441158" y="1604211"/>
                      </a:lnTo>
                      <a:lnTo>
                        <a:pt x="673768" y="1588169"/>
                      </a:lnTo>
                      <a:lnTo>
                        <a:pt x="914400" y="1588169"/>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6" name="Freeform 1645"/>
                <p:cNvSpPr/>
                <p:nvPr/>
              </p:nvSpPr>
              <p:spPr bwMode="auto">
                <a:xfrm>
                  <a:off x="11565391" y="2662073"/>
                  <a:ext cx="935571" cy="603883"/>
                </a:xfrm>
                <a:custGeom>
                  <a:avLst/>
                  <a:gdLst>
                    <a:gd name="connsiteX0" fmla="*/ 714841 w 935571"/>
                    <a:gd name="connsiteY0" fmla="*/ 586453 h 603883"/>
                    <a:gd name="connsiteX1" fmla="*/ 923388 w 935571"/>
                    <a:gd name="connsiteY1" fmla="*/ 578432 h 603883"/>
                    <a:gd name="connsiteX2" fmla="*/ 899325 w 935571"/>
                    <a:gd name="connsiteY2" fmla="*/ 498222 h 603883"/>
                    <a:gd name="connsiteX3" fmla="*/ 803072 w 935571"/>
                    <a:gd name="connsiteY3" fmla="*/ 137274 h 603883"/>
                    <a:gd name="connsiteX4" fmla="*/ 746925 w 935571"/>
                    <a:gd name="connsiteY4" fmla="*/ 16959 h 603883"/>
                    <a:gd name="connsiteX5" fmla="*/ 690777 w 935571"/>
                    <a:gd name="connsiteY5" fmla="*/ 916 h 603883"/>
                    <a:gd name="connsiteX6" fmla="*/ 313788 w 935571"/>
                    <a:gd name="connsiteY6" fmla="*/ 8938 h 603883"/>
                    <a:gd name="connsiteX7" fmla="*/ 73156 w 935571"/>
                    <a:gd name="connsiteY7" fmla="*/ 24980 h 603883"/>
                    <a:gd name="connsiteX8" fmla="*/ 49093 w 935571"/>
                    <a:gd name="connsiteY8" fmla="*/ 81127 h 603883"/>
                    <a:gd name="connsiteX9" fmla="*/ 967 w 935571"/>
                    <a:gd name="connsiteY9" fmla="*/ 217485 h 603883"/>
                    <a:gd name="connsiteX10" fmla="*/ 97220 w 935571"/>
                    <a:gd name="connsiteY10" fmla="*/ 281653 h 603883"/>
                    <a:gd name="connsiteX11" fmla="*/ 658693 w 935571"/>
                    <a:gd name="connsiteY11" fmla="*/ 578432 h 603883"/>
                    <a:gd name="connsiteX12" fmla="*/ 714841 w 935571"/>
                    <a:gd name="connsiteY12" fmla="*/ 586453 h 60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571" h="603883">
                      <a:moveTo>
                        <a:pt x="714841" y="586453"/>
                      </a:moveTo>
                      <a:cubicBezTo>
                        <a:pt x="758957" y="586453"/>
                        <a:pt x="892641" y="593137"/>
                        <a:pt x="923388" y="578432"/>
                      </a:cubicBezTo>
                      <a:cubicBezTo>
                        <a:pt x="954135" y="563727"/>
                        <a:pt x="919378" y="571748"/>
                        <a:pt x="899325" y="498222"/>
                      </a:cubicBezTo>
                      <a:cubicBezTo>
                        <a:pt x="879272" y="424696"/>
                        <a:pt x="828472" y="217484"/>
                        <a:pt x="803072" y="137274"/>
                      </a:cubicBezTo>
                      <a:cubicBezTo>
                        <a:pt x="777672" y="57063"/>
                        <a:pt x="765641" y="39685"/>
                        <a:pt x="746925" y="16959"/>
                      </a:cubicBezTo>
                      <a:cubicBezTo>
                        <a:pt x="728209" y="-5767"/>
                        <a:pt x="690777" y="916"/>
                        <a:pt x="690777" y="916"/>
                      </a:cubicBezTo>
                      <a:lnTo>
                        <a:pt x="313788" y="8938"/>
                      </a:lnTo>
                      <a:cubicBezTo>
                        <a:pt x="210851" y="12949"/>
                        <a:pt x="117272" y="12949"/>
                        <a:pt x="73156" y="24980"/>
                      </a:cubicBezTo>
                      <a:cubicBezTo>
                        <a:pt x="29040" y="37011"/>
                        <a:pt x="61124" y="49043"/>
                        <a:pt x="49093" y="81127"/>
                      </a:cubicBezTo>
                      <a:cubicBezTo>
                        <a:pt x="37062" y="113211"/>
                        <a:pt x="-7054" y="184064"/>
                        <a:pt x="967" y="217485"/>
                      </a:cubicBezTo>
                      <a:cubicBezTo>
                        <a:pt x="8988" y="250906"/>
                        <a:pt x="-12401" y="221495"/>
                        <a:pt x="97220" y="281653"/>
                      </a:cubicBezTo>
                      <a:cubicBezTo>
                        <a:pt x="206841" y="341811"/>
                        <a:pt x="549072" y="526295"/>
                        <a:pt x="658693" y="578432"/>
                      </a:cubicBezTo>
                      <a:cubicBezTo>
                        <a:pt x="768314" y="630569"/>
                        <a:pt x="670725" y="586453"/>
                        <a:pt x="714841" y="586453"/>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7" name="Freeform 1646"/>
                <p:cNvSpPr/>
                <p:nvPr/>
              </p:nvSpPr>
              <p:spPr bwMode="auto">
                <a:xfrm>
                  <a:off x="-120316" y="3777916"/>
                  <a:ext cx="1483895" cy="1275347"/>
                </a:xfrm>
                <a:custGeom>
                  <a:avLst/>
                  <a:gdLst>
                    <a:gd name="connsiteX0" fmla="*/ 1267327 w 1483895"/>
                    <a:gd name="connsiteY0" fmla="*/ 1147010 h 1275347"/>
                    <a:gd name="connsiteX1" fmla="*/ 1275348 w 1483895"/>
                    <a:gd name="connsiteY1" fmla="*/ 850231 h 1275347"/>
                    <a:gd name="connsiteX2" fmla="*/ 1323474 w 1483895"/>
                    <a:gd name="connsiteY2" fmla="*/ 585537 h 1275347"/>
                    <a:gd name="connsiteX3" fmla="*/ 1387642 w 1483895"/>
                    <a:gd name="connsiteY3" fmla="*/ 409073 h 1275347"/>
                    <a:gd name="connsiteX4" fmla="*/ 1443790 w 1483895"/>
                    <a:gd name="connsiteY4" fmla="*/ 264695 h 1275347"/>
                    <a:gd name="connsiteX5" fmla="*/ 1483895 w 1483895"/>
                    <a:gd name="connsiteY5" fmla="*/ 200526 h 1275347"/>
                    <a:gd name="connsiteX6" fmla="*/ 1411705 w 1483895"/>
                    <a:gd name="connsiteY6" fmla="*/ 192505 h 1275347"/>
                    <a:gd name="connsiteX7" fmla="*/ 1323474 w 1483895"/>
                    <a:gd name="connsiteY7" fmla="*/ 192505 h 1275347"/>
                    <a:gd name="connsiteX8" fmla="*/ 1299411 w 1483895"/>
                    <a:gd name="connsiteY8" fmla="*/ 272716 h 1275347"/>
                    <a:gd name="connsiteX9" fmla="*/ 1259305 w 1483895"/>
                    <a:gd name="connsiteY9" fmla="*/ 240631 h 1275347"/>
                    <a:gd name="connsiteX10" fmla="*/ 1179095 w 1483895"/>
                    <a:gd name="connsiteY10" fmla="*/ 192505 h 1275347"/>
                    <a:gd name="connsiteX11" fmla="*/ 1098884 w 1483895"/>
                    <a:gd name="connsiteY11" fmla="*/ 208547 h 1275347"/>
                    <a:gd name="connsiteX12" fmla="*/ 954505 w 1483895"/>
                    <a:gd name="connsiteY12" fmla="*/ 136358 h 1275347"/>
                    <a:gd name="connsiteX13" fmla="*/ 786063 w 1483895"/>
                    <a:gd name="connsiteY13" fmla="*/ 152400 h 1275347"/>
                    <a:gd name="connsiteX14" fmla="*/ 505327 w 1483895"/>
                    <a:gd name="connsiteY14" fmla="*/ 224589 h 1275347"/>
                    <a:gd name="connsiteX15" fmla="*/ 352927 w 1483895"/>
                    <a:gd name="connsiteY15" fmla="*/ 184484 h 1275347"/>
                    <a:gd name="connsiteX16" fmla="*/ 200527 w 1483895"/>
                    <a:gd name="connsiteY16" fmla="*/ 120316 h 1275347"/>
                    <a:gd name="connsiteX17" fmla="*/ 88232 w 1483895"/>
                    <a:gd name="connsiteY17" fmla="*/ 0 h 1275347"/>
                    <a:gd name="connsiteX18" fmla="*/ 80211 w 1483895"/>
                    <a:gd name="connsiteY18" fmla="*/ 72189 h 1275347"/>
                    <a:gd name="connsiteX19" fmla="*/ 0 w 1483895"/>
                    <a:gd name="connsiteY19" fmla="*/ 393031 h 1275347"/>
                    <a:gd name="connsiteX20" fmla="*/ 0 w 1483895"/>
                    <a:gd name="connsiteY20" fmla="*/ 521368 h 1275347"/>
                    <a:gd name="connsiteX21" fmla="*/ 8021 w 1483895"/>
                    <a:gd name="connsiteY21" fmla="*/ 617621 h 1275347"/>
                    <a:gd name="connsiteX22" fmla="*/ 80211 w 1483895"/>
                    <a:gd name="connsiteY22" fmla="*/ 737937 h 1275347"/>
                    <a:gd name="connsiteX23" fmla="*/ 64169 w 1483895"/>
                    <a:gd name="connsiteY23" fmla="*/ 914400 h 1275347"/>
                    <a:gd name="connsiteX24" fmla="*/ 112295 w 1483895"/>
                    <a:gd name="connsiteY24" fmla="*/ 994610 h 1275347"/>
                    <a:gd name="connsiteX25" fmla="*/ 328863 w 1483895"/>
                    <a:gd name="connsiteY25" fmla="*/ 1122947 h 1275347"/>
                    <a:gd name="connsiteX26" fmla="*/ 585537 w 1483895"/>
                    <a:gd name="connsiteY26" fmla="*/ 1187116 h 1275347"/>
                    <a:gd name="connsiteX27" fmla="*/ 978569 w 1483895"/>
                    <a:gd name="connsiteY27" fmla="*/ 1219200 h 1275347"/>
                    <a:gd name="connsiteX28" fmla="*/ 1147011 w 1483895"/>
                    <a:gd name="connsiteY28" fmla="*/ 1235242 h 1275347"/>
                    <a:gd name="connsiteX29" fmla="*/ 1291390 w 1483895"/>
                    <a:gd name="connsiteY29" fmla="*/ 1275347 h 1275347"/>
                    <a:gd name="connsiteX30" fmla="*/ 1267327 w 1483895"/>
                    <a:gd name="connsiteY30" fmla="*/ 1147010 h 12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83895" h="1275347">
                      <a:moveTo>
                        <a:pt x="1267327" y="1147010"/>
                      </a:moveTo>
                      <a:lnTo>
                        <a:pt x="1275348" y="850231"/>
                      </a:lnTo>
                      <a:lnTo>
                        <a:pt x="1323474" y="585537"/>
                      </a:lnTo>
                      <a:lnTo>
                        <a:pt x="1387642" y="409073"/>
                      </a:lnTo>
                      <a:lnTo>
                        <a:pt x="1443790" y="264695"/>
                      </a:lnTo>
                      <a:lnTo>
                        <a:pt x="1483895" y="200526"/>
                      </a:lnTo>
                      <a:lnTo>
                        <a:pt x="1411705" y="192505"/>
                      </a:lnTo>
                      <a:lnTo>
                        <a:pt x="1323474" y="192505"/>
                      </a:lnTo>
                      <a:lnTo>
                        <a:pt x="1299411" y="272716"/>
                      </a:lnTo>
                      <a:lnTo>
                        <a:pt x="1259305" y="240631"/>
                      </a:lnTo>
                      <a:lnTo>
                        <a:pt x="1179095" y="192505"/>
                      </a:lnTo>
                      <a:lnTo>
                        <a:pt x="1098884" y="208547"/>
                      </a:lnTo>
                      <a:lnTo>
                        <a:pt x="954505" y="136358"/>
                      </a:lnTo>
                      <a:lnTo>
                        <a:pt x="786063" y="152400"/>
                      </a:lnTo>
                      <a:lnTo>
                        <a:pt x="505327" y="224589"/>
                      </a:lnTo>
                      <a:lnTo>
                        <a:pt x="352927" y="184484"/>
                      </a:lnTo>
                      <a:lnTo>
                        <a:pt x="200527" y="120316"/>
                      </a:lnTo>
                      <a:lnTo>
                        <a:pt x="88232" y="0"/>
                      </a:lnTo>
                      <a:lnTo>
                        <a:pt x="80211" y="72189"/>
                      </a:lnTo>
                      <a:lnTo>
                        <a:pt x="0" y="393031"/>
                      </a:lnTo>
                      <a:lnTo>
                        <a:pt x="0" y="521368"/>
                      </a:lnTo>
                      <a:lnTo>
                        <a:pt x="8021" y="617621"/>
                      </a:lnTo>
                      <a:lnTo>
                        <a:pt x="80211" y="737937"/>
                      </a:lnTo>
                      <a:lnTo>
                        <a:pt x="64169" y="914400"/>
                      </a:lnTo>
                      <a:lnTo>
                        <a:pt x="112295" y="994610"/>
                      </a:lnTo>
                      <a:lnTo>
                        <a:pt x="328863" y="1122947"/>
                      </a:lnTo>
                      <a:lnTo>
                        <a:pt x="585537" y="1187116"/>
                      </a:lnTo>
                      <a:lnTo>
                        <a:pt x="978569" y="1219200"/>
                      </a:lnTo>
                      <a:lnTo>
                        <a:pt x="1147011" y="1235242"/>
                      </a:lnTo>
                      <a:lnTo>
                        <a:pt x="1291390" y="1275347"/>
                      </a:lnTo>
                      <a:lnTo>
                        <a:pt x="1267327" y="114701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48" name="Freeform 1647"/>
                <p:cNvSpPr/>
                <p:nvPr/>
              </p:nvSpPr>
              <p:spPr bwMode="auto">
                <a:xfrm>
                  <a:off x="10953" y="2973210"/>
                  <a:ext cx="1397980" cy="734980"/>
                </a:xfrm>
                <a:custGeom>
                  <a:avLst/>
                  <a:gdLst>
                    <a:gd name="connsiteX0" fmla="*/ 3426 w 1396318"/>
                    <a:gd name="connsiteY0" fmla="*/ 684390 h 734979"/>
                    <a:gd name="connsiteX1" fmla="*/ 260100 w 1396318"/>
                    <a:gd name="connsiteY1" fmla="*/ 724495 h 734979"/>
                    <a:gd name="connsiteX2" fmla="*/ 813552 w 1396318"/>
                    <a:gd name="connsiteY2" fmla="*/ 515948 h 734979"/>
                    <a:gd name="connsiteX3" fmla="*/ 1350963 w 1396318"/>
                    <a:gd name="connsiteY3" fmla="*/ 58748 h 734979"/>
                    <a:gd name="connsiteX4" fmla="*/ 1350963 w 1396318"/>
                    <a:gd name="connsiteY4" fmla="*/ 2601 h 734979"/>
                    <a:gd name="connsiteX5" fmla="*/ 1214605 w 1396318"/>
                    <a:gd name="connsiteY5" fmla="*/ 26664 h 734979"/>
                    <a:gd name="connsiteX6" fmla="*/ 709279 w 1396318"/>
                    <a:gd name="connsiteY6" fmla="*/ 171043 h 734979"/>
                    <a:gd name="connsiteX7" fmla="*/ 276142 w 1396318"/>
                    <a:gd name="connsiteY7" fmla="*/ 427716 h 734979"/>
                    <a:gd name="connsiteX8" fmla="*/ 163847 w 1396318"/>
                    <a:gd name="connsiteY8" fmla="*/ 427716 h 734979"/>
                    <a:gd name="connsiteX9" fmla="*/ 115721 w 1396318"/>
                    <a:gd name="connsiteY9" fmla="*/ 515948 h 734979"/>
                    <a:gd name="connsiteX10" fmla="*/ 3426 w 1396318"/>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77804 w 1397980"/>
                    <a:gd name="connsiteY7" fmla="*/ 427716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396241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38862 h 734979"/>
                    <a:gd name="connsiteX8" fmla="*/ 165509 w 1397980"/>
                    <a:gd name="connsiteY8" fmla="*/ 396241 h 734979"/>
                    <a:gd name="connsiteX9" fmla="*/ 96399 w 1397980"/>
                    <a:gd name="connsiteY9" fmla="*/ 515948 h 734979"/>
                    <a:gd name="connsiteX10" fmla="*/ 5088 w 1397980"/>
                    <a:gd name="connsiteY10" fmla="*/ 684390 h 73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7980" h="734979">
                      <a:moveTo>
                        <a:pt x="5088" y="684390"/>
                      </a:moveTo>
                      <a:cubicBezTo>
                        <a:pt x="32649" y="719148"/>
                        <a:pt x="126741" y="752569"/>
                        <a:pt x="261762" y="724495"/>
                      </a:cubicBezTo>
                      <a:cubicBezTo>
                        <a:pt x="396783" y="696421"/>
                        <a:pt x="633404" y="626906"/>
                        <a:pt x="815214" y="515948"/>
                      </a:cubicBezTo>
                      <a:cubicBezTo>
                        <a:pt x="997024" y="404990"/>
                        <a:pt x="1263057" y="144306"/>
                        <a:pt x="1352625" y="58748"/>
                      </a:cubicBezTo>
                      <a:cubicBezTo>
                        <a:pt x="1442193" y="-26810"/>
                        <a:pt x="1375351" y="7948"/>
                        <a:pt x="1352625" y="2601"/>
                      </a:cubicBezTo>
                      <a:cubicBezTo>
                        <a:pt x="1329899" y="-2746"/>
                        <a:pt x="1330209" y="7334"/>
                        <a:pt x="1216267" y="26664"/>
                      </a:cubicBezTo>
                      <a:cubicBezTo>
                        <a:pt x="1102325" y="45994"/>
                        <a:pt x="823635" y="83217"/>
                        <a:pt x="668973" y="118583"/>
                      </a:cubicBezTo>
                      <a:cubicBezTo>
                        <a:pt x="514311" y="153949"/>
                        <a:pt x="372207" y="192586"/>
                        <a:pt x="288296" y="238862"/>
                      </a:cubicBezTo>
                      <a:cubicBezTo>
                        <a:pt x="204385" y="285138"/>
                        <a:pt x="192246" y="381536"/>
                        <a:pt x="165509" y="396241"/>
                      </a:cubicBezTo>
                      <a:cubicBezTo>
                        <a:pt x="138772" y="410946"/>
                        <a:pt x="123136" y="467923"/>
                        <a:pt x="96399" y="515948"/>
                      </a:cubicBezTo>
                      <a:cubicBezTo>
                        <a:pt x="69662" y="563973"/>
                        <a:pt x="-22473" y="649632"/>
                        <a:pt x="5088" y="684390"/>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634" name="Freeform 1633"/>
              <p:cNvSpPr/>
              <p:nvPr/>
            </p:nvSpPr>
            <p:spPr bwMode="auto">
              <a:xfrm rot="271620">
                <a:off x="3993004" y="3376093"/>
                <a:ext cx="521758" cy="457462"/>
              </a:xfrm>
              <a:custGeom>
                <a:avLst/>
                <a:gdLst>
                  <a:gd name="connsiteX0" fmla="*/ 49366 w 521758"/>
                  <a:gd name="connsiteY0" fmla="*/ 361980 h 459200"/>
                  <a:gd name="connsiteX1" fmla="*/ 169682 w 521758"/>
                  <a:gd name="connsiteY1" fmla="*/ 442191 h 459200"/>
                  <a:gd name="connsiteX2" fmla="*/ 410314 w 521758"/>
                  <a:gd name="connsiteY2" fmla="*/ 458233 h 459200"/>
                  <a:gd name="connsiteX3" fmla="*/ 498545 w 521758"/>
                  <a:gd name="connsiteY3" fmla="*/ 434170 h 459200"/>
                  <a:gd name="connsiteX4" fmla="*/ 514587 w 521758"/>
                  <a:gd name="connsiteY4" fmla="*/ 249686 h 459200"/>
                  <a:gd name="connsiteX5" fmla="*/ 514587 w 521758"/>
                  <a:gd name="connsiteY5" fmla="*/ 105307 h 459200"/>
                  <a:gd name="connsiteX6" fmla="*/ 426356 w 521758"/>
                  <a:gd name="connsiteY6" fmla="*/ 41138 h 459200"/>
                  <a:gd name="connsiteX7" fmla="*/ 265935 w 521758"/>
                  <a:gd name="connsiteY7" fmla="*/ 9054 h 459200"/>
                  <a:gd name="connsiteX8" fmla="*/ 217808 w 521758"/>
                  <a:gd name="connsiteY8" fmla="*/ 9054 h 459200"/>
                  <a:gd name="connsiteX9" fmla="*/ 105514 w 521758"/>
                  <a:gd name="connsiteY9" fmla="*/ 113328 h 459200"/>
                  <a:gd name="connsiteX10" fmla="*/ 9261 w 521758"/>
                  <a:gd name="connsiteY10" fmla="*/ 185517 h 459200"/>
                  <a:gd name="connsiteX11" fmla="*/ 9261 w 521758"/>
                  <a:gd name="connsiteY11" fmla="*/ 257707 h 459200"/>
                  <a:gd name="connsiteX12" fmla="*/ 49366 w 521758"/>
                  <a:gd name="connsiteY12" fmla="*/ 361980 h 459200"/>
                  <a:gd name="connsiteX0" fmla="*/ 49366 w 521758"/>
                  <a:gd name="connsiteY0" fmla="*/ 360242 h 457462"/>
                  <a:gd name="connsiteX1" fmla="*/ 169682 w 521758"/>
                  <a:gd name="connsiteY1" fmla="*/ 440453 h 457462"/>
                  <a:gd name="connsiteX2" fmla="*/ 410314 w 521758"/>
                  <a:gd name="connsiteY2" fmla="*/ 456495 h 457462"/>
                  <a:gd name="connsiteX3" fmla="*/ 498545 w 521758"/>
                  <a:gd name="connsiteY3" fmla="*/ 432432 h 457462"/>
                  <a:gd name="connsiteX4" fmla="*/ 514587 w 521758"/>
                  <a:gd name="connsiteY4" fmla="*/ 247948 h 457462"/>
                  <a:gd name="connsiteX5" fmla="*/ 514587 w 521758"/>
                  <a:gd name="connsiteY5" fmla="*/ 103569 h 457462"/>
                  <a:gd name="connsiteX6" fmla="*/ 426356 w 521758"/>
                  <a:gd name="connsiteY6" fmla="*/ 39400 h 457462"/>
                  <a:gd name="connsiteX7" fmla="*/ 265935 w 521758"/>
                  <a:gd name="connsiteY7" fmla="*/ 7316 h 457462"/>
                  <a:gd name="connsiteX8" fmla="*/ 217808 w 521758"/>
                  <a:gd name="connsiteY8" fmla="*/ 7316 h 457462"/>
                  <a:gd name="connsiteX9" fmla="*/ 105514 w 521758"/>
                  <a:gd name="connsiteY9" fmla="*/ 87527 h 457462"/>
                  <a:gd name="connsiteX10" fmla="*/ 9261 w 521758"/>
                  <a:gd name="connsiteY10" fmla="*/ 183779 h 457462"/>
                  <a:gd name="connsiteX11" fmla="*/ 9261 w 521758"/>
                  <a:gd name="connsiteY11" fmla="*/ 255969 h 457462"/>
                  <a:gd name="connsiteX12" fmla="*/ 49366 w 521758"/>
                  <a:gd name="connsiteY12" fmla="*/ 360242 h 45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758" h="457462">
                    <a:moveTo>
                      <a:pt x="49366" y="360242"/>
                    </a:moveTo>
                    <a:cubicBezTo>
                      <a:pt x="76103" y="390989"/>
                      <a:pt x="109524" y="424411"/>
                      <a:pt x="169682" y="440453"/>
                    </a:cubicBezTo>
                    <a:cubicBezTo>
                      <a:pt x="229840" y="456495"/>
                      <a:pt x="355504" y="457832"/>
                      <a:pt x="410314" y="456495"/>
                    </a:cubicBezTo>
                    <a:cubicBezTo>
                      <a:pt x="465125" y="455158"/>
                      <a:pt x="481166" y="467190"/>
                      <a:pt x="498545" y="432432"/>
                    </a:cubicBezTo>
                    <a:cubicBezTo>
                      <a:pt x="515924" y="397674"/>
                      <a:pt x="511913" y="302758"/>
                      <a:pt x="514587" y="247948"/>
                    </a:cubicBezTo>
                    <a:cubicBezTo>
                      <a:pt x="517261" y="193138"/>
                      <a:pt x="529292" y="138327"/>
                      <a:pt x="514587" y="103569"/>
                    </a:cubicBezTo>
                    <a:cubicBezTo>
                      <a:pt x="499882" y="68811"/>
                      <a:pt x="467798" y="55442"/>
                      <a:pt x="426356" y="39400"/>
                    </a:cubicBezTo>
                    <a:cubicBezTo>
                      <a:pt x="384914" y="23358"/>
                      <a:pt x="300693" y="12663"/>
                      <a:pt x="265935" y="7316"/>
                    </a:cubicBezTo>
                    <a:cubicBezTo>
                      <a:pt x="231177" y="1969"/>
                      <a:pt x="244545" y="-6052"/>
                      <a:pt x="217808" y="7316"/>
                    </a:cubicBezTo>
                    <a:cubicBezTo>
                      <a:pt x="191071" y="20684"/>
                      <a:pt x="140272" y="58117"/>
                      <a:pt x="105514" y="87527"/>
                    </a:cubicBezTo>
                    <a:cubicBezTo>
                      <a:pt x="70756" y="116937"/>
                      <a:pt x="25303" y="159716"/>
                      <a:pt x="9261" y="183779"/>
                    </a:cubicBezTo>
                    <a:cubicBezTo>
                      <a:pt x="-6781" y="207842"/>
                      <a:pt x="1240" y="225222"/>
                      <a:pt x="9261" y="255969"/>
                    </a:cubicBezTo>
                    <a:cubicBezTo>
                      <a:pt x="17282" y="286716"/>
                      <a:pt x="22629" y="329495"/>
                      <a:pt x="49366" y="360242"/>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1649" name="Group 1648"/>
          <p:cNvGrpSpPr/>
          <p:nvPr/>
        </p:nvGrpSpPr>
        <p:grpSpPr>
          <a:xfrm>
            <a:off x="7428484" y="2380386"/>
            <a:ext cx="1330613" cy="411480"/>
            <a:chOff x="831806" y="3541920"/>
            <a:chExt cx="752119" cy="1261873"/>
          </a:xfrm>
        </p:grpSpPr>
        <p:sp>
          <p:nvSpPr>
            <p:cNvPr id="1650" name="Rectangle 1649"/>
            <p:cNvSpPr/>
            <p:nvPr/>
          </p:nvSpPr>
          <p:spPr bwMode="auto">
            <a:xfrm>
              <a:off x="831806" y="3541922"/>
              <a:ext cx="752119" cy="12618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Offer rich connected consumer services</a:t>
              </a:r>
            </a:p>
          </p:txBody>
        </p:sp>
        <p:cxnSp>
          <p:nvCxnSpPr>
            <p:cNvPr id="1651" name="Straight Connector 1650"/>
            <p:cNvCxnSpPr/>
            <p:nvPr/>
          </p:nvCxnSpPr>
          <p:spPr>
            <a:xfrm flipV="1">
              <a:off x="831806" y="3541920"/>
              <a:ext cx="0" cy="1261873"/>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679" name="Group 1678"/>
          <p:cNvGrpSpPr/>
          <p:nvPr/>
        </p:nvGrpSpPr>
        <p:grpSpPr>
          <a:xfrm>
            <a:off x="392763" y="1050458"/>
            <a:ext cx="923142" cy="488158"/>
            <a:chOff x="303213" y="1264662"/>
            <a:chExt cx="1117002" cy="590671"/>
          </a:xfrm>
        </p:grpSpPr>
        <p:sp>
          <p:nvSpPr>
            <p:cNvPr id="1680" name="Rectangle 1679"/>
            <p:cNvSpPr/>
            <p:nvPr/>
          </p:nvSpPr>
          <p:spPr>
            <a:xfrm>
              <a:off x="828239" y="1453662"/>
              <a:ext cx="591976" cy="31654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OEM</a:t>
              </a:r>
            </a:p>
          </p:txBody>
        </p:sp>
        <p:cxnSp>
          <p:nvCxnSpPr>
            <p:cNvPr id="1681" name="Straight Connector 1680"/>
            <p:cNvCxnSpPr/>
            <p:nvPr/>
          </p:nvCxnSpPr>
          <p:spPr>
            <a:xfrm flipV="1">
              <a:off x="524988" y="1690741"/>
              <a:ext cx="0" cy="164592"/>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682" name="Group 1681"/>
            <p:cNvGrpSpPr/>
            <p:nvPr/>
          </p:nvGrpSpPr>
          <p:grpSpPr>
            <a:xfrm>
              <a:off x="303213" y="1264662"/>
              <a:ext cx="512081" cy="452886"/>
              <a:chOff x="303213" y="1264662"/>
              <a:chExt cx="512081" cy="452886"/>
            </a:xfrm>
          </p:grpSpPr>
          <p:sp>
            <p:nvSpPr>
              <p:cNvPr id="1683" name="Rectangle 97"/>
              <p:cNvSpPr/>
              <p:nvPr/>
            </p:nvSpPr>
            <p:spPr bwMode="auto">
              <a:xfrm>
                <a:off x="318287" y="1441384"/>
                <a:ext cx="492740" cy="276164"/>
              </a:xfrm>
              <a:custGeom>
                <a:avLst/>
                <a:gdLst/>
                <a:ahLst/>
                <a:cxnLst/>
                <a:rect l="l" t="t" r="r" b="b"/>
                <a:pathLst>
                  <a:path w="492740" h="276164">
                    <a:moveTo>
                      <a:pt x="0" y="0"/>
                    </a:moveTo>
                    <a:lnTo>
                      <a:pt x="492740" y="0"/>
                    </a:lnTo>
                    <a:lnTo>
                      <a:pt x="492740" y="276164"/>
                    </a:lnTo>
                    <a:lnTo>
                      <a:pt x="0" y="276164"/>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84" name="Rectangle 1683"/>
              <p:cNvSpPr/>
              <p:nvPr/>
            </p:nvSpPr>
            <p:spPr bwMode="auto">
              <a:xfrm>
                <a:off x="585284" y="1292086"/>
                <a:ext cx="225744" cy="277064"/>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85" name="Freeform 352"/>
              <p:cNvSpPr>
                <a:spLocks noChangeAspect="1" noEditPoints="1"/>
              </p:cNvSpPr>
              <p:nvPr/>
            </p:nvSpPr>
            <p:spPr bwMode="auto">
              <a:xfrm>
                <a:off x="303213" y="1264662"/>
                <a:ext cx="512081" cy="452849"/>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1755" name="Trapezoid 1754"/>
          <p:cNvSpPr/>
          <p:nvPr/>
        </p:nvSpPr>
        <p:spPr bwMode="auto">
          <a:xfrm>
            <a:off x="268463" y="6112229"/>
            <a:ext cx="2725818" cy="530194"/>
          </a:xfrm>
          <a:prstGeom prst="trapezoid">
            <a:avLst>
              <a:gd name="adj" fmla="val 58673"/>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745" name="Group 1744"/>
          <p:cNvGrpSpPr/>
          <p:nvPr/>
        </p:nvGrpSpPr>
        <p:grpSpPr>
          <a:xfrm>
            <a:off x="900956" y="6027529"/>
            <a:ext cx="564066" cy="612371"/>
            <a:chOff x="994191" y="3174739"/>
            <a:chExt cx="543810" cy="651882"/>
          </a:xfrm>
        </p:grpSpPr>
        <p:cxnSp>
          <p:nvCxnSpPr>
            <p:cNvPr id="1753" name="Straight Connector 1752"/>
            <p:cNvCxnSpPr/>
            <p:nvPr/>
          </p:nvCxnSpPr>
          <p:spPr>
            <a:xfrm>
              <a:off x="994191" y="3174739"/>
              <a:ext cx="0" cy="651882"/>
            </a:xfrm>
            <a:prstGeom prst="line">
              <a:avLst/>
            </a:prstGeom>
            <a:ln w="47625" cap="rnd">
              <a:solidFill>
                <a:srgbClr val="00708E"/>
              </a:solidFill>
            </a:ln>
          </p:spPr>
          <p:style>
            <a:lnRef idx="1">
              <a:schemeClr val="accent1"/>
            </a:lnRef>
            <a:fillRef idx="0">
              <a:schemeClr val="accent1"/>
            </a:fillRef>
            <a:effectRef idx="0">
              <a:schemeClr val="accent1"/>
            </a:effectRef>
            <a:fontRef idx="minor">
              <a:schemeClr val="tx1"/>
            </a:fontRef>
          </p:style>
        </p:cxnSp>
        <p:cxnSp>
          <p:nvCxnSpPr>
            <p:cNvPr id="1754" name="Straight Connector 1753"/>
            <p:cNvCxnSpPr/>
            <p:nvPr/>
          </p:nvCxnSpPr>
          <p:spPr>
            <a:xfrm>
              <a:off x="1538001" y="3174739"/>
              <a:ext cx="0" cy="651882"/>
            </a:xfrm>
            <a:prstGeom prst="line">
              <a:avLst/>
            </a:prstGeom>
            <a:ln w="47625" cap="rnd">
              <a:solidFill>
                <a:srgbClr val="00708E"/>
              </a:solidFill>
            </a:ln>
          </p:spPr>
          <p:style>
            <a:lnRef idx="1">
              <a:schemeClr val="accent1"/>
            </a:lnRef>
            <a:fillRef idx="0">
              <a:schemeClr val="accent1"/>
            </a:fillRef>
            <a:effectRef idx="0">
              <a:schemeClr val="accent1"/>
            </a:effectRef>
            <a:fontRef idx="minor">
              <a:schemeClr val="tx1"/>
            </a:fontRef>
          </p:style>
        </p:cxnSp>
      </p:grpSp>
      <p:sp>
        <p:nvSpPr>
          <p:cNvPr id="1746" name="Rectangle 1745"/>
          <p:cNvSpPr/>
          <p:nvPr/>
        </p:nvSpPr>
        <p:spPr bwMode="auto">
          <a:xfrm>
            <a:off x="996569" y="5265313"/>
            <a:ext cx="777699" cy="52961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47" name="Freeform 82"/>
          <p:cNvSpPr>
            <a:spLocks/>
          </p:cNvSpPr>
          <p:nvPr/>
        </p:nvSpPr>
        <p:spPr bwMode="auto">
          <a:xfrm flipH="1">
            <a:off x="615176" y="5858101"/>
            <a:ext cx="1660497" cy="169427"/>
          </a:xfrm>
          <a:custGeom>
            <a:avLst/>
            <a:gdLst>
              <a:gd name="T0" fmla="*/ 873 w 1740"/>
              <a:gd name="T1" fmla="*/ 192 h 192"/>
              <a:gd name="T2" fmla="*/ 0 w 1740"/>
              <a:gd name="T3" fmla="*/ 0 h 192"/>
              <a:gd name="T4" fmla="*/ 866 w 1740"/>
              <a:gd name="T5" fmla="*/ 0 h 192"/>
              <a:gd name="T6" fmla="*/ 1740 w 1740"/>
              <a:gd name="T7" fmla="*/ 185 h 192"/>
              <a:gd name="T8" fmla="*/ 873 w 1740"/>
              <a:gd name="T9" fmla="*/ 192 h 192"/>
              <a:gd name="connsiteX0" fmla="*/ 5017 w 10000"/>
              <a:gd name="connsiteY0" fmla="*/ 10000 h 10078"/>
              <a:gd name="connsiteX1" fmla="*/ 0 w 10000"/>
              <a:gd name="connsiteY1" fmla="*/ 0 h 10078"/>
              <a:gd name="connsiteX2" fmla="*/ 4977 w 10000"/>
              <a:gd name="connsiteY2" fmla="*/ 0 h 10078"/>
              <a:gd name="connsiteX3" fmla="*/ 10000 w 10000"/>
              <a:gd name="connsiteY3" fmla="*/ 10078 h 10078"/>
              <a:gd name="connsiteX4" fmla="*/ 5017 w 10000"/>
              <a:gd name="connsiteY4" fmla="*/ 10000 h 10078"/>
              <a:gd name="connsiteX0" fmla="*/ 5017 w 10000"/>
              <a:gd name="connsiteY0" fmla="*/ 10000 h 10078"/>
              <a:gd name="connsiteX1" fmla="*/ 0 w 10000"/>
              <a:gd name="connsiteY1" fmla="*/ 0 h 10078"/>
              <a:gd name="connsiteX2" fmla="*/ 4557 w 10000"/>
              <a:gd name="connsiteY2" fmla="*/ 0 h 10078"/>
              <a:gd name="connsiteX3" fmla="*/ 10000 w 10000"/>
              <a:gd name="connsiteY3" fmla="*/ 10078 h 10078"/>
              <a:gd name="connsiteX4" fmla="*/ 5017 w 10000"/>
              <a:gd name="connsiteY4" fmla="*/ 10000 h 10078"/>
              <a:gd name="connsiteX0" fmla="*/ 5017 w 10307"/>
              <a:gd name="connsiteY0" fmla="*/ 10000 h 10078"/>
              <a:gd name="connsiteX1" fmla="*/ 0 w 10307"/>
              <a:gd name="connsiteY1" fmla="*/ 0 h 10078"/>
              <a:gd name="connsiteX2" fmla="*/ 4557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0 h 10078"/>
              <a:gd name="connsiteX2" fmla="*/ 4941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0 h 10078"/>
              <a:gd name="connsiteX2" fmla="*/ 4404 w 10307"/>
              <a:gd name="connsiteY2" fmla="*/ 0 h 10078"/>
              <a:gd name="connsiteX3" fmla="*/ 10307 w 10307"/>
              <a:gd name="connsiteY3" fmla="*/ 10078 h 10078"/>
              <a:gd name="connsiteX4" fmla="*/ 5017 w 10307"/>
              <a:gd name="connsiteY4" fmla="*/ 10000 h 10078"/>
              <a:gd name="connsiteX0" fmla="*/ 5017 w 10307"/>
              <a:gd name="connsiteY0" fmla="*/ 10000 h 10078"/>
              <a:gd name="connsiteX1" fmla="*/ 0 w 10307"/>
              <a:gd name="connsiteY1" fmla="*/ 1012 h 10078"/>
              <a:gd name="connsiteX2" fmla="*/ 4404 w 10307"/>
              <a:gd name="connsiteY2" fmla="*/ 0 h 10078"/>
              <a:gd name="connsiteX3" fmla="*/ 10307 w 10307"/>
              <a:gd name="connsiteY3" fmla="*/ 10078 h 10078"/>
              <a:gd name="connsiteX4" fmla="*/ 5017 w 10307"/>
              <a:gd name="connsiteY4" fmla="*/ 10000 h 10078"/>
              <a:gd name="connsiteX0" fmla="*/ 5017 w 10307"/>
              <a:gd name="connsiteY0" fmla="*/ 9190 h 9268"/>
              <a:gd name="connsiteX1" fmla="*/ 0 w 10307"/>
              <a:gd name="connsiteY1" fmla="*/ 202 h 9268"/>
              <a:gd name="connsiteX2" fmla="*/ 4184 w 10307"/>
              <a:gd name="connsiteY2" fmla="*/ 0 h 9268"/>
              <a:gd name="connsiteX3" fmla="*/ 10307 w 10307"/>
              <a:gd name="connsiteY3" fmla="*/ 9268 h 9268"/>
              <a:gd name="connsiteX4" fmla="*/ 5017 w 10307"/>
              <a:gd name="connsiteY4" fmla="*/ 9190 h 9268"/>
              <a:gd name="connsiteX0" fmla="*/ 4868 w 13554"/>
              <a:gd name="connsiteY0" fmla="*/ 9916 h 10475"/>
              <a:gd name="connsiteX1" fmla="*/ 0 w 13554"/>
              <a:gd name="connsiteY1" fmla="*/ 218 h 10475"/>
              <a:gd name="connsiteX2" fmla="*/ 4059 w 13554"/>
              <a:gd name="connsiteY2" fmla="*/ 0 h 10475"/>
              <a:gd name="connsiteX3" fmla="*/ 13554 w 13554"/>
              <a:gd name="connsiteY3" fmla="*/ 10475 h 10475"/>
              <a:gd name="connsiteX4" fmla="*/ 4868 w 13554"/>
              <a:gd name="connsiteY4" fmla="*/ 9916 h 10475"/>
              <a:gd name="connsiteX0" fmla="*/ 4868 w 13554"/>
              <a:gd name="connsiteY0" fmla="*/ 9698 h 10257"/>
              <a:gd name="connsiteX1" fmla="*/ 0 w 13554"/>
              <a:gd name="connsiteY1" fmla="*/ 0 h 10257"/>
              <a:gd name="connsiteX2" fmla="*/ 8385 w 13554"/>
              <a:gd name="connsiteY2" fmla="*/ 732 h 10257"/>
              <a:gd name="connsiteX3" fmla="*/ 13554 w 13554"/>
              <a:gd name="connsiteY3" fmla="*/ 10257 h 10257"/>
              <a:gd name="connsiteX4" fmla="*/ 4868 w 13554"/>
              <a:gd name="connsiteY4" fmla="*/ 9698 h 10257"/>
              <a:gd name="connsiteX0" fmla="*/ 4868 w 13554"/>
              <a:gd name="connsiteY0" fmla="*/ 9698 h 10257"/>
              <a:gd name="connsiteX1" fmla="*/ 0 w 13554"/>
              <a:gd name="connsiteY1" fmla="*/ 0 h 10257"/>
              <a:gd name="connsiteX2" fmla="*/ 7921 w 13554"/>
              <a:gd name="connsiteY2" fmla="*/ 257 h 10257"/>
              <a:gd name="connsiteX3" fmla="*/ 13554 w 13554"/>
              <a:gd name="connsiteY3" fmla="*/ 10257 h 10257"/>
              <a:gd name="connsiteX4" fmla="*/ 4868 w 13554"/>
              <a:gd name="connsiteY4" fmla="*/ 9698 h 10257"/>
              <a:gd name="connsiteX0" fmla="*/ 4868 w 13399"/>
              <a:gd name="connsiteY0" fmla="*/ 9698 h 9782"/>
              <a:gd name="connsiteX1" fmla="*/ 0 w 13399"/>
              <a:gd name="connsiteY1" fmla="*/ 0 h 9782"/>
              <a:gd name="connsiteX2" fmla="*/ 7921 w 13399"/>
              <a:gd name="connsiteY2" fmla="*/ 257 h 9782"/>
              <a:gd name="connsiteX3" fmla="*/ 13399 w 13399"/>
              <a:gd name="connsiteY3" fmla="*/ 9782 h 9782"/>
              <a:gd name="connsiteX4" fmla="*/ 4868 w 13399"/>
              <a:gd name="connsiteY4" fmla="*/ 9698 h 9782"/>
              <a:gd name="connsiteX0" fmla="*/ 476 w 10000"/>
              <a:gd name="connsiteY0" fmla="*/ 10489 h 10489"/>
              <a:gd name="connsiteX1" fmla="*/ 0 w 10000"/>
              <a:gd name="connsiteY1" fmla="*/ 0 h 10489"/>
              <a:gd name="connsiteX2" fmla="*/ 5912 w 10000"/>
              <a:gd name="connsiteY2" fmla="*/ 263 h 10489"/>
              <a:gd name="connsiteX3" fmla="*/ 10000 w 10000"/>
              <a:gd name="connsiteY3" fmla="*/ 10000 h 10489"/>
              <a:gd name="connsiteX4" fmla="*/ 476 w 10000"/>
              <a:gd name="connsiteY4" fmla="*/ 10489 h 10489"/>
              <a:gd name="connsiteX0" fmla="*/ 448 w 10000"/>
              <a:gd name="connsiteY0" fmla="*/ 9627 h 10000"/>
              <a:gd name="connsiteX1" fmla="*/ 0 w 10000"/>
              <a:gd name="connsiteY1" fmla="*/ 0 h 10000"/>
              <a:gd name="connsiteX2" fmla="*/ 5912 w 10000"/>
              <a:gd name="connsiteY2" fmla="*/ 263 h 10000"/>
              <a:gd name="connsiteX3" fmla="*/ 10000 w 10000"/>
              <a:gd name="connsiteY3" fmla="*/ 10000 h 10000"/>
              <a:gd name="connsiteX4" fmla="*/ 448 w 10000"/>
              <a:gd name="connsiteY4" fmla="*/ 962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448" y="9627"/>
                </a:moveTo>
                <a:cubicBezTo>
                  <a:pt x="289" y="6131"/>
                  <a:pt x="159" y="3496"/>
                  <a:pt x="0" y="0"/>
                </a:cubicBezTo>
                <a:lnTo>
                  <a:pt x="5912" y="263"/>
                </a:lnTo>
                <a:lnTo>
                  <a:pt x="10000" y="10000"/>
                </a:lnTo>
                <a:lnTo>
                  <a:pt x="448" y="9627"/>
                </a:lnTo>
                <a:close/>
              </a:path>
            </a:pathLst>
          </a:custGeom>
          <a:solidFill>
            <a:srgbClr val="5B99AD"/>
          </a:solidFill>
          <a:ln w="19050">
            <a:solidFill>
              <a:srgbClr val="00708E"/>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1749" name="Freeform 11"/>
          <p:cNvSpPr>
            <a:spLocks/>
          </p:cNvSpPr>
          <p:nvPr/>
        </p:nvSpPr>
        <p:spPr bwMode="auto">
          <a:xfrm flipH="1">
            <a:off x="1549699" y="5574902"/>
            <a:ext cx="896354" cy="653484"/>
          </a:xfrm>
          <a:custGeom>
            <a:avLst/>
            <a:gdLst/>
            <a:ahLst/>
            <a:cxnLst/>
            <a:rect l="l" t="t" r="r" b="b"/>
            <a:pathLst>
              <a:path w="864165" h="630016">
                <a:moveTo>
                  <a:pt x="374087" y="0"/>
                </a:moveTo>
                <a:lnTo>
                  <a:pt x="364153" y="0"/>
                </a:lnTo>
                <a:lnTo>
                  <a:pt x="350908" y="0"/>
                </a:lnTo>
                <a:lnTo>
                  <a:pt x="340974" y="0"/>
                </a:lnTo>
                <a:lnTo>
                  <a:pt x="327729" y="6745"/>
                </a:lnTo>
                <a:lnTo>
                  <a:pt x="317795" y="13491"/>
                </a:lnTo>
                <a:lnTo>
                  <a:pt x="264813" y="64081"/>
                </a:lnTo>
                <a:lnTo>
                  <a:pt x="215143" y="114671"/>
                </a:lnTo>
                <a:lnTo>
                  <a:pt x="175407" y="168633"/>
                </a:lnTo>
                <a:lnTo>
                  <a:pt x="138982" y="222596"/>
                </a:lnTo>
                <a:lnTo>
                  <a:pt x="109180" y="276558"/>
                </a:lnTo>
                <a:lnTo>
                  <a:pt x="82690" y="327148"/>
                </a:lnTo>
                <a:lnTo>
                  <a:pt x="59510" y="377738"/>
                </a:lnTo>
                <a:lnTo>
                  <a:pt x="42954" y="424956"/>
                </a:lnTo>
                <a:lnTo>
                  <a:pt x="29708" y="472173"/>
                </a:lnTo>
                <a:lnTo>
                  <a:pt x="19774" y="512645"/>
                </a:lnTo>
                <a:lnTo>
                  <a:pt x="6529" y="583471"/>
                </a:lnTo>
                <a:lnTo>
                  <a:pt x="0" y="630016"/>
                </a:lnTo>
                <a:lnTo>
                  <a:pt x="533694" y="630016"/>
                </a:lnTo>
                <a:lnTo>
                  <a:pt x="533031" y="627315"/>
                </a:lnTo>
                <a:lnTo>
                  <a:pt x="526409" y="617197"/>
                </a:lnTo>
                <a:lnTo>
                  <a:pt x="519786" y="610452"/>
                </a:lnTo>
                <a:lnTo>
                  <a:pt x="509852" y="600334"/>
                </a:lnTo>
                <a:lnTo>
                  <a:pt x="499918" y="596961"/>
                </a:lnTo>
                <a:lnTo>
                  <a:pt x="486673" y="593589"/>
                </a:lnTo>
                <a:lnTo>
                  <a:pt x="476739" y="590216"/>
                </a:lnTo>
                <a:lnTo>
                  <a:pt x="221766" y="590216"/>
                </a:lnTo>
                <a:lnTo>
                  <a:pt x="221766" y="593589"/>
                </a:lnTo>
                <a:lnTo>
                  <a:pt x="218454" y="590216"/>
                </a:lnTo>
                <a:lnTo>
                  <a:pt x="221766" y="569980"/>
                </a:lnTo>
                <a:lnTo>
                  <a:pt x="228388" y="532881"/>
                </a:lnTo>
                <a:lnTo>
                  <a:pt x="241634" y="485663"/>
                </a:lnTo>
                <a:lnTo>
                  <a:pt x="261502" y="428328"/>
                </a:lnTo>
                <a:lnTo>
                  <a:pt x="274747" y="397974"/>
                </a:lnTo>
                <a:lnTo>
                  <a:pt x="291304" y="364248"/>
                </a:lnTo>
                <a:lnTo>
                  <a:pt x="311172" y="333894"/>
                </a:lnTo>
                <a:lnTo>
                  <a:pt x="334351" y="300167"/>
                </a:lnTo>
                <a:lnTo>
                  <a:pt x="357531" y="269813"/>
                </a:lnTo>
                <a:lnTo>
                  <a:pt x="387333" y="239459"/>
                </a:lnTo>
                <a:lnTo>
                  <a:pt x="430380" y="364248"/>
                </a:lnTo>
                <a:lnTo>
                  <a:pt x="437003" y="377738"/>
                </a:lnTo>
                <a:lnTo>
                  <a:pt x="450248" y="387856"/>
                </a:lnTo>
                <a:lnTo>
                  <a:pt x="460182" y="391229"/>
                </a:lnTo>
                <a:lnTo>
                  <a:pt x="476739" y="394602"/>
                </a:lnTo>
                <a:lnTo>
                  <a:pt x="817806" y="394602"/>
                </a:lnTo>
                <a:lnTo>
                  <a:pt x="834363" y="391229"/>
                </a:lnTo>
                <a:lnTo>
                  <a:pt x="850920" y="381111"/>
                </a:lnTo>
                <a:lnTo>
                  <a:pt x="860854" y="367620"/>
                </a:lnTo>
                <a:lnTo>
                  <a:pt x="864165" y="347384"/>
                </a:lnTo>
                <a:lnTo>
                  <a:pt x="860854" y="330521"/>
                </a:lnTo>
                <a:lnTo>
                  <a:pt x="850920" y="313658"/>
                </a:lnTo>
                <a:lnTo>
                  <a:pt x="834363" y="303540"/>
                </a:lnTo>
                <a:lnTo>
                  <a:pt x="817806" y="300167"/>
                </a:lnTo>
                <a:lnTo>
                  <a:pt x="506541" y="300167"/>
                </a:lnTo>
                <a:lnTo>
                  <a:pt x="417135" y="40472"/>
                </a:lnTo>
                <a:lnTo>
                  <a:pt x="410512" y="33727"/>
                </a:lnTo>
                <a:lnTo>
                  <a:pt x="403889" y="20236"/>
                </a:lnTo>
                <a:lnTo>
                  <a:pt x="397267" y="10118"/>
                </a:lnTo>
                <a:lnTo>
                  <a:pt x="384021" y="3373"/>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50" name="Freeform 73"/>
          <p:cNvSpPr>
            <a:spLocks/>
          </p:cNvSpPr>
          <p:nvPr/>
        </p:nvSpPr>
        <p:spPr bwMode="auto">
          <a:xfrm flipH="1">
            <a:off x="2393902" y="5789183"/>
            <a:ext cx="220135" cy="442304"/>
          </a:xfrm>
          <a:custGeom>
            <a:avLst/>
            <a:gdLst>
              <a:gd name="T0" fmla="*/ 0 w 651"/>
              <a:gd name="T1" fmla="*/ 212 h 1307"/>
              <a:gd name="T2" fmla="*/ 2 w 651"/>
              <a:gd name="T3" fmla="*/ 180 h 1307"/>
              <a:gd name="T4" fmla="*/ 7 w 651"/>
              <a:gd name="T5" fmla="*/ 150 h 1307"/>
              <a:gd name="T6" fmla="*/ 14 w 651"/>
              <a:gd name="T7" fmla="*/ 122 h 1307"/>
              <a:gd name="T8" fmla="*/ 26 w 651"/>
              <a:gd name="T9" fmla="*/ 97 h 1307"/>
              <a:gd name="T10" fmla="*/ 40 w 651"/>
              <a:gd name="T11" fmla="*/ 74 h 1307"/>
              <a:gd name="T12" fmla="*/ 55 w 651"/>
              <a:gd name="T13" fmla="*/ 55 h 1307"/>
              <a:gd name="T14" fmla="*/ 75 w 651"/>
              <a:gd name="T15" fmla="*/ 38 h 1307"/>
              <a:gd name="T16" fmla="*/ 96 w 651"/>
              <a:gd name="T17" fmla="*/ 24 h 1307"/>
              <a:gd name="T18" fmla="*/ 118 w 651"/>
              <a:gd name="T19" fmla="*/ 14 h 1307"/>
              <a:gd name="T20" fmla="*/ 144 w 651"/>
              <a:gd name="T21" fmla="*/ 6 h 1307"/>
              <a:gd name="T22" fmla="*/ 170 w 651"/>
              <a:gd name="T23" fmla="*/ 1 h 1307"/>
              <a:gd name="T24" fmla="*/ 199 w 651"/>
              <a:gd name="T25" fmla="*/ 0 h 1307"/>
              <a:gd name="T26" fmla="*/ 260 w 651"/>
              <a:gd name="T27" fmla="*/ 8 h 1307"/>
              <a:gd name="T28" fmla="*/ 325 w 651"/>
              <a:gd name="T29" fmla="*/ 29 h 1307"/>
              <a:gd name="T30" fmla="*/ 325 w 651"/>
              <a:gd name="T31" fmla="*/ 29 h 1307"/>
              <a:gd name="T32" fmla="*/ 391 w 651"/>
              <a:gd name="T33" fmla="*/ 65 h 1307"/>
              <a:gd name="T34" fmla="*/ 451 w 651"/>
              <a:gd name="T35" fmla="*/ 111 h 1307"/>
              <a:gd name="T36" fmla="*/ 508 w 651"/>
              <a:gd name="T37" fmla="*/ 164 h 1307"/>
              <a:gd name="T38" fmla="*/ 555 w 651"/>
              <a:gd name="T39" fmla="*/ 226 h 1307"/>
              <a:gd name="T40" fmla="*/ 595 w 651"/>
              <a:gd name="T41" fmla="*/ 291 h 1307"/>
              <a:gd name="T42" fmla="*/ 624 w 651"/>
              <a:gd name="T43" fmla="*/ 360 h 1307"/>
              <a:gd name="T44" fmla="*/ 644 w 651"/>
              <a:gd name="T45" fmla="*/ 429 h 1307"/>
              <a:gd name="T46" fmla="*/ 651 w 651"/>
              <a:gd name="T47" fmla="*/ 497 h 1307"/>
              <a:gd name="T48" fmla="*/ 651 w 651"/>
              <a:gd name="T49" fmla="*/ 1093 h 1307"/>
              <a:gd name="T50" fmla="*/ 648 w 651"/>
              <a:gd name="T51" fmla="*/ 1126 h 1307"/>
              <a:gd name="T52" fmla="*/ 644 w 651"/>
              <a:gd name="T53" fmla="*/ 1156 h 1307"/>
              <a:gd name="T54" fmla="*/ 636 w 651"/>
              <a:gd name="T55" fmla="*/ 1183 h 1307"/>
              <a:gd name="T56" fmla="*/ 624 w 651"/>
              <a:gd name="T57" fmla="*/ 1208 h 1307"/>
              <a:gd name="T58" fmla="*/ 612 w 651"/>
              <a:gd name="T59" fmla="*/ 1231 h 1307"/>
              <a:gd name="T60" fmla="*/ 595 w 651"/>
              <a:gd name="T61" fmla="*/ 1251 h 1307"/>
              <a:gd name="T62" fmla="*/ 577 w 651"/>
              <a:gd name="T63" fmla="*/ 1267 h 1307"/>
              <a:gd name="T64" fmla="*/ 555 w 651"/>
              <a:gd name="T65" fmla="*/ 1282 h 1307"/>
              <a:gd name="T66" fmla="*/ 532 w 651"/>
              <a:gd name="T67" fmla="*/ 1293 h 1307"/>
              <a:gd name="T68" fmla="*/ 508 w 651"/>
              <a:gd name="T69" fmla="*/ 1300 h 1307"/>
              <a:gd name="T70" fmla="*/ 481 w 651"/>
              <a:gd name="T71" fmla="*/ 1305 h 1307"/>
              <a:gd name="T72" fmla="*/ 451 w 651"/>
              <a:gd name="T73" fmla="*/ 1307 h 1307"/>
              <a:gd name="T74" fmla="*/ 391 w 651"/>
              <a:gd name="T75" fmla="*/ 1298 h 1307"/>
              <a:gd name="T76" fmla="*/ 325 w 651"/>
              <a:gd name="T77" fmla="*/ 1276 h 1307"/>
              <a:gd name="T78" fmla="*/ 325 w 651"/>
              <a:gd name="T79" fmla="*/ 1276 h 1307"/>
              <a:gd name="T80" fmla="*/ 260 w 651"/>
              <a:gd name="T81" fmla="*/ 1241 h 1307"/>
              <a:gd name="T82" fmla="*/ 199 w 651"/>
              <a:gd name="T83" fmla="*/ 1196 h 1307"/>
              <a:gd name="T84" fmla="*/ 144 w 651"/>
              <a:gd name="T85" fmla="*/ 1141 h 1307"/>
              <a:gd name="T86" fmla="*/ 96 w 651"/>
              <a:gd name="T87" fmla="*/ 1081 h 1307"/>
              <a:gd name="T88" fmla="*/ 55 w 651"/>
              <a:gd name="T89" fmla="*/ 1015 h 1307"/>
              <a:gd name="T90" fmla="*/ 26 w 651"/>
              <a:gd name="T91" fmla="*/ 947 h 1307"/>
              <a:gd name="T92" fmla="*/ 7 w 651"/>
              <a:gd name="T93" fmla="*/ 878 h 1307"/>
              <a:gd name="T94" fmla="*/ 0 w 651"/>
              <a:gd name="T95" fmla="*/ 809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1" h="1307">
                <a:moveTo>
                  <a:pt x="0" y="212"/>
                </a:moveTo>
                <a:lnTo>
                  <a:pt x="0" y="212"/>
                </a:lnTo>
                <a:lnTo>
                  <a:pt x="0" y="197"/>
                </a:lnTo>
                <a:lnTo>
                  <a:pt x="2" y="180"/>
                </a:lnTo>
                <a:lnTo>
                  <a:pt x="5" y="164"/>
                </a:lnTo>
                <a:lnTo>
                  <a:pt x="7" y="150"/>
                </a:lnTo>
                <a:lnTo>
                  <a:pt x="10" y="136"/>
                </a:lnTo>
                <a:lnTo>
                  <a:pt x="14" y="122"/>
                </a:lnTo>
                <a:lnTo>
                  <a:pt x="20" y="110"/>
                </a:lnTo>
                <a:lnTo>
                  <a:pt x="26" y="97"/>
                </a:lnTo>
                <a:lnTo>
                  <a:pt x="33" y="86"/>
                </a:lnTo>
                <a:lnTo>
                  <a:pt x="40" y="74"/>
                </a:lnTo>
                <a:lnTo>
                  <a:pt x="47" y="65"/>
                </a:lnTo>
                <a:lnTo>
                  <a:pt x="55" y="55"/>
                </a:lnTo>
                <a:lnTo>
                  <a:pt x="65" y="46"/>
                </a:lnTo>
                <a:lnTo>
                  <a:pt x="75" y="38"/>
                </a:lnTo>
                <a:lnTo>
                  <a:pt x="85" y="31"/>
                </a:lnTo>
                <a:lnTo>
                  <a:pt x="96" y="24"/>
                </a:lnTo>
                <a:lnTo>
                  <a:pt x="107" y="18"/>
                </a:lnTo>
                <a:lnTo>
                  <a:pt x="118" y="14"/>
                </a:lnTo>
                <a:lnTo>
                  <a:pt x="131" y="10"/>
                </a:lnTo>
                <a:lnTo>
                  <a:pt x="144" y="6"/>
                </a:lnTo>
                <a:lnTo>
                  <a:pt x="156" y="3"/>
                </a:lnTo>
                <a:lnTo>
                  <a:pt x="170" y="1"/>
                </a:lnTo>
                <a:lnTo>
                  <a:pt x="184" y="0"/>
                </a:lnTo>
                <a:lnTo>
                  <a:pt x="199" y="0"/>
                </a:lnTo>
                <a:lnTo>
                  <a:pt x="229" y="3"/>
                </a:lnTo>
                <a:lnTo>
                  <a:pt x="260" y="8"/>
                </a:lnTo>
                <a:lnTo>
                  <a:pt x="293" y="17"/>
                </a:lnTo>
                <a:lnTo>
                  <a:pt x="325" y="29"/>
                </a:lnTo>
                <a:lnTo>
                  <a:pt x="325" y="29"/>
                </a:lnTo>
                <a:lnTo>
                  <a:pt x="325" y="29"/>
                </a:lnTo>
                <a:lnTo>
                  <a:pt x="359" y="46"/>
                </a:lnTo>
                <a:lnTo>
                  <a:pt x="391" y="65"/>
                </a:lnTo>
                <a:lnTo>
                  <a:pt x="422" y="87"/>
                </a:lnTo>
                <a:lnTo>
                  <a:pt x="451" y="111"/>
                </a:lnTo>
                <a:lnTo>
                  <a:pt x="481" y="136"/>
                </a:lnTo>
                <a:lnTo>
                  <a:pt x="508" y="164"/>
                </a:lnTo>
                <a:lnTo>
                  <a:pt x="532" y="194"/>
                </a:lnTo>
                <a:lnTo>
                  <a:pt x="555" y="226"/>
                </a:lnTo>
                <a:lnTo>
                  <a:pt x="577" y="257"/>
                </a:lnTo>
                <a:lnTo>
                  <a:pt x="595" y="291"/>
                </a:lnTo>
                <a:lnTo>
                  <a:pt x="612" y="325"/>
                </a:lnTo>
                <a:lnTo>
                  <a:pt x="624" y="360"/>
                </a:lnTo>
                <a:lnTo>
                  <a:pt x="636" y="393"/>
                </a:lnTo>
                <a:lnTo>
                  <a:pt x="644" y="429"/>
                </a:lnTo>
                <a:lnTo>
                  <a:pt x="648" y="464"/>
                </a:lnTo>
                <a:lnTo>
                  <a:pt x="651" y="497"/>
                </a:lnTo>
                <a:lnTo>
                  <a:pt x="651" y="1093"/>
                </a:lnTo>
                <a:lnTo>
                  <a:pt x="651" y="1093"/>
                </a:lnTo>
                <a:lnTo>
                  <a:pt x="650" y="1110"/>
                </a:lnTo>
                <a:lnTo>
                  <a:pt x="648" y="1126"/>
                </a:lnTo>
                <a:lnTo>
                  <a:pt x="647" y="1141"/>
                </a:lnTo>
                <a:lnTo>
                  <a:pt x="644" y="1156"/>
                </a:lnTo>
                <a:lnTo>
                  <a:pt x="640" y="1171"/>
                </a:lnTo>
                <a:lnTo>
                  <a:pt x="636" y="1183"/>
                </a:lnTo>
                <a:lnTo>
                  <a:pt x="631" y="1197"/>
                </a:lnTo>
                <a:lnTo>
                  <a:pt x="624" y="1208"/>
                </a:lnTo>
                <a:lnTo>
                  <a:pt x="619" y="1220"/>
                </a:lnTo>
                <a:lnTo>
                  <a:pt x="612" y="1231"/>
                </a:lnTo>
                <a:lnTo>
                  <a:pt x="603" y="1241"/>
                </a:lnTo>
                <a:lnTo>
                  <a:pt x="595" y="1251"/>
                </a:lnTo>
                <a:lnTo>
                  <a:pt x="586" y="1259"/>
                </a:lnTo>
                <a:lnTo>
                  <a:pt x="577" y="1267"/>
                </a:lnTo>
                <a:lnTo>
                  <a:pt x="567" y="1275"/>
                </a:lnTo>
                <a:lnTo>
                  <a:pt x="555" y="1282"/>
                </a:lnTo>
                <a:lnTo>
                  <a:pt x="544" y="1287"/>
                </a:lnTo>
                <a:lnTo>
                  <a:pt x="532" y="1293"/>
                </a:lnTo>
                <a:lnTo>
                  <a:pt x="520" y="1297"/>
                </a:lnTo>
                <a:lnTo>
                  <a:pt x="508" y="1300"/>
                </a:lnTo>
                <a:lnTo>
                  <a:pt x="494" y="1303"/>
                </a:lnTo>
                <a:lnTo>
                  <a:pt x="481" y="1305"/>
                </a:lnTo>
                <a:lnTo>
                  <a:pt x="467" y="1305"/>
                </a:lnTo>
                <a:lnTo>
                  <a:pt x="451" y="1307"/>
                </a:lnTo>
                <a:lnTo>
                  <a:pt x="422" y="1304"/>
                </a:lnTo>
                <a:lnTo>
                  <a:pt x="391" y="1298"/>
                </a:lnTo>
                <a:lnTo>
                  <a:pt x="359" y="1289"/>
                </a:lnTo>
                <a:lnTo>
                  <a:pt x="325" y="1276"/>
                </a:lnTo>
                <a:lnTo>
                  <a:pt x="325" y="1276"/>
                </a:lnTo>
                <a:lnTo>
                  <a:pt x="325" y="1276"/>
                </a:lnTo>
                <a:lnTo>
                  <a:pt x="293" y="1260"/>
                </a:lnTo>
                <a:lnTo>
                  <a:pt x="260" y="1241"/>
                </a:lnTo>
                <a:lnTo>
                  <a:pt x="229" y="1220"/>
                </a:lnTo>
                <a:lnTo>
                  <a:pt x="199" y="1196"/>
                </a:lnTo>
                <a:lnTo>
                  <a:pt x="170" y="1169"/>
                </a:lnTo>
                <a:lnTo>
                  <a:pt x="144" y="1141"/>
                </a:lnTo>
                <a:lnTo>
                  <a:pt x="118" y="1112"/>
                </a:lnTo>
                <a:lnTo>
                  <a:pt x="96" y="1081"/>
                </a:lnTo>
                <a:lnTo>
                  <a:pt x="75" y="1048"/>
                </a:lnTo>
                <a:lnTo>
                  <a:pt x="55" y="1015"/>
                </a:lnTo>
                <a:lnTo>
                  <a:pt x="40" y="981"/>
                </a:lnTo>
                <a:lnTo>
                  <a:pt x="26" y="947"/>
                </a:lnTo>
                <a:lnTo>
                  <a:pt x="14" y="912"/>
                </a:lnTo>
                <a:lnTo>
                  <a:pt x="7" y="878"/>
                </a:lnTo>
                <a:lnTo>
                  <a:pt x="2" y="843"/>
                </a:lnTo>
                <a:lnTo>
                  <a:pt x="0" y="809"/>
                </a:lnTo>
                <a:lnTo>
                  <a:pt x="0" y="212"/>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51" name="Freeform 74"/>
          <p:cNvSpPr>
            <a:spLocks/>
          </p:cNvSpPr>
          <p:nvPr/>
        </p:nvSpPr>
        <p:spPr bwMode="auto">
          <a:xfrm flipH="1">
            <a:off x="2099242" y="6169415"/>
            <a:ext cx="403428" cy="65153"/>
          </a:xfrm>
          <a:custGeom>
            <a:avLst/>
            <a:gdLst/>
            <a:ahLst/>
            <a:cxnLst/>
            <a:rect l="l" t="t" r="r" b="b"/>
            <a:pathLst>
              <a:path w="388940" h="62813">
                <a:moveTo>
                  <a:pt x="264348" y="0"/>
                </a:moveTo>
                <a:lnTo>
                  <a:pt x="69273" y="0"/>
                </a:lnTo>
                <a:lnTo>
                  <a:pt x="64045" y="0"/>
                </a:lnTo>
                <a:lnTo>
                  <a:pt x="58490" y="327"/>
                </a:lnTo>
                <a:lnTo>
                  <a:pt x="53589" y="981"/>
                </a:lnTo>
                <a:lnTo>
                  <a:pt x="49014" y="2289"/>
                </a:lnTo>
                <a:lnTo>
                  <a:pt x="44439" y="3270"/>
                </a:lnTo>
                <a:lnTo>
                  <a:pt x="39865" y="4578"/>
                </a:lnTo>
                <a:lnTo>
                  <a:pt x="35617" y="6213"/>
                </a:lnTo>
                <a:lnTo>
                  <a:pt x="31696" y="8175"/>
                </a:lnTo>
                <a:lnTo>
                  <a:pt x="27775" y="10464"/>
                </a:lnTo>
                <a:lnTo>
                  <a:pt x="24180" y="12754"/>
                </a:lnTo>
                <a:lnTo>
                  <a:pt x="20913" y="15043"/>
                </a:lnTo>
                <a:lnTo>
                  <a:pt x="17645" y="17986"/>
                </a:lnTo>
                <a:lnTo>
                  <a:pt x="15031" y="20929"/>
                </a:lnTo>
                <a:lnTo>
                  <a:pt x="12417" y="24199"/>
                </a:lnTo>
                <a:lnTo>
                  <a:pt x="9803" y="27469"/>
                </a:lnTo>
                <a:lnTo>
                  <a:pt x="7516" y="31066"/>
                </a:lnTo>
                <a:lnTo>
                  <a:pt x="5882" y="34990"/>
                </a:lnTo>
                <a:lnTo>
                  <a:pt x="4575" y="38587"/>
                </a:lnTo>
                <a:lnTo>
                  <a:pt x="2941" y="42839"/>
                </a:lnTo>
                <a:lnTo>
                  <a:pt x="1634" y="46763"/>
                </a:lnTo>
                <a:lnTo>
                  <a:pt x="654" y="51014"/>
                </a:lnTo>
                <a:lnTo>
                  <a:pt x="327" y="55592"/>
                </a:lnTo>
                <a:lnTo>
                  <a:pt x="0" y="60170"/>
                </a:lnTo>
                <a:lnTo>
                  <a:pt x="0" y="62813"/>
                </a:lnTo>
                <a:lnTo>
                  <a:pt x="388940" y="62813"/>
                </a:lnTo>
                <a:lnTo>
                  <a:pt x="381982" y="55592"/>
                </a:lnTo>
                <a:lnTo>
                  <a:pt x="372833" y="46763"/>
                </a:lnTo>
                <a:lnTo>
                  <a:pt x="363030" y="38587"/>
                </a:lnTo>
                <a:lnTo>
                  <a:pt x="352900" y="31066"/>
                </a:lnTo>
                <a:lnTo>
                  <a:pt x="342444" y="24199"/>
                </a:lnTo>
                <a:lnTo>
                  <a:pt x="331334" y="17986"/>
                </a:lnTo>
                <a:lnTo>
                  <a:pt x="320224" y="12754"/>
                </a:lnTo>
                <a:lnTo>
                  <a:pt x="309441" y="8175"/>
                </a:lnTo>
                <a:lnTo>
                  <a:pt x="298005" y="4578"/>
                </a:lnTo>
                <a:lnTo>
                  <a:pt x="286241" y="2289"/>
                </a:lnTo>
                <a:lnTo>
                  <a:pt x="275458" y="327"/>
                </a:lnTo>
                <a:close/>
              </a:path>
            </a:pathLst>
          </a:custGeom>
          <a:solidFill>
            <a:srgbClr val="5998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52" name="Freeform 12"/>
          <p:cNvSpPr>
            <a:spLocks/>
          </p:cNvSpPr>
          <p:nvPr/>
        </p:nvSpPr>
        <p:spPr bwMode="auto">
          <a:xfrm flipH="1">
            <a:off x="1814906" y="5383830"/>
            <a:ext cx="274776" cy="283364"/>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57" name="TextBox 1756"/>
          <p:cNvSpPr txBox="1"/>
          <p:nvPr/>
        </p:nvSpPr>
        <p:spPr>
          <a:xfrm>
            <a:off x="357702" y="5186004"/>
            <a:ext cx="1182622" cy="161583"/>
          </a:xfrm>
          <a:prstGeom prst="rect">
            <a:avLst/>
          </a:prstGeom>
          <a:noFill/>
          <a:ln>
            <a:noFill/>
            <a:headEnd type="none" w="med" len="med"/>
            <a:tailEnd type="none" w="med" len="med"/>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38" normalizeH="0" baseline="0" noProof="0" dirty="0">
                <a:ln>
                  <a:noFill/>
                </a:ln>
                <a:solidFill>
                  <a:srgbClr val="FF8C00"/>
                </a:solidFill>
                <a:effectLst/>
                <a:uLnTx/>
                <a:uFillTx/>
                <a:ea typeface="Segoe UI" pitchFamily="34" charset="0"/>
                <a:cs typeface="Segoe UI" pitchFamily="34" charset="0"/>
              </a:rPr>
              <a:t>Marketing</a:t>
            </a:r>
          </a:p>
        </p:txBody>
      </p:sp>
      <p:grpSp>
        <p:nvGrpSpPr>
          <p:cNvPr id="1758" name="Group 1757"/>
          <p:cNvGrpSpPr/>
          <p:nvPr/>
        </p:nvGrpSpPr>
        <p:grpSpPr>
          <a:xfrm>
            <a:off x="1062962" y="6159835"/>
            <a:ext cx="1846820" cy="411480"/>
            <a:chOff x="831806" y="3541920"/>
            <a:chExt cx="752119" cy="1261873"/>
          </a:xfrm>
        </p:grpSpPr>
        <p:sp>
          <p:nvSpPr>
            <p:cNvPr id="1759" name="Rectangle 1758"/>
            <p:cNvSpPr/>
            <p:nvPr/>
          </p:nvSpPr>
          <p:spPr bwMode="auto">
            <a:xfrm>
              <a:off x="831806" y="3541922"/>
              <a:ext cx="752119" cy="12618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Customize marketing with advanced product usage data</a:t>
              </a:r>
            </a:p>
          </p:txBody>
        </p:sp>
        <p:cxnSp>
          <p:nvCxnSpPr>
            <p:cNvPr id="1760" name="Straight Connector 1759"/>
            <p:cNvCxnSpPr/>
            <p:nvPr/>
          </p:nvCxnSpPr>
          <p:spPr>
            <a:xfrm flipV="1">
              <a:off x="831806" y="3541920"/>
              <a:ext cx="0" cy="1261873"/>
            </a:xfrm>
            <a:prstGeom prst="line">
              <a:avLst/>
            </a:prstGeom>
            <a:solidFill>
              <a:srgbClr val="8DC548">
                <a:alpha val="50000"/>
              </a:srgbClr>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686" name="Group 1685"/>
          <p:cNvGrpSpPr/>
          <p:nvPr/>
        </p:nvGrpSpPr>
        <p:grpSpPr>
          <a:xfrm>
            <a:off x="9268526" y="1088416"/>
            <a:ext cx="2348163" cy="453571"/>
            <a:chOff x="3081130" y="1419725"/>
            <a:chExt cx="2348163" cy="453571"/>
          </a:xfrm>
        </p:grpSpPr>
        <p:sp>
          <p:nvSpPr>
            <p:cNvPr id="1687" name="Rectangle 1686"/>
            <p:cNvSpPr/>
            <p:nvPr/>
          </p:nvSpPr>
          <p:spPr>
            <a:xfrm>
              <a:off x="4468774" y="1529449"/>
              <a:ext cx="960519"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DEALERSHIP</a:t>
              </a:r>
            </a:p>
          </p:txBody>
        </p:sp>
        <p:cxnSp>
          <p:nvCxnSpPr>
            <p:cNvPr id="1688" name="Straight Connector 1687"/>
            <p:cNvCxnSpPr/>
            <p:nvPr/>
          </p:nvCxnSpPr>
          <p:spPr>
            <a:xfrm flipV="1">
              <a:off x="3395043" y="1708704"/>
              <a:ext cx="0" cy="164592"/>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689" name="Group 1688"/>
            <p:cNvGrpSpPr/>
            <p:nvPr/>
          </p:nvGrpSpPr>
          <p:grpSpPr>
            <a:xfrm>
              <a:off x="3081130" y="1419725"/>
              <a:ext cx="637984" cy="298723"/>
              <a:chOff x="4011879" y="1399100"/>
              <a:chExt cx="637984" cy="298723"/>
            </a:xfrm>
          </p:grpSpPr>
          <p:sp>
            <p:nvSpPr>
              <p:cNvPr id="1708" name="Rectangle 1707"/>
              <p:cNvSpPr/>
              <p:nvPr/>
            </p:nvSpPr>
            <p:spPr bwMode="auto">
              <a:xfrm>
                <a:off x="4065357" y="1491335"/>
                <a:ext cx="531029" cy="206488"/>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09" name="Rectangle 1024"/>
              <p:cNvSpPr/>
              <p:nvPr/>
            </p:nvSpPr>
            <p:spPr>
              <a:xfrm>
                <a:off x="4065357" y="1438610"/>
                <a:ext cx="531029" cy="259213"/>
              </a:xfrm>
              <a:custGeom>
                <a:avLst/>
                <a:gdLst/>
                <a:ahLst/>
                <a:cxnLst/>
                <a:rect l="l" t="t" r="r" b="b"/>
                <a:pathLst>
                  <a:path w="956142" h="466725">
                    <a:moveTo>
                      <a:pt x="608543" y="233362"/>
                    </a:moveTo>
                    <a:lnTo>
                      <a:pt x="608543" y="395287"/>
                    </a:lnTo>
                    <a:lnTo>
                      <a:pt x="902432" y="395287"/>
                    </a:lnTo>
                    <a:lnTo>
                      <a:pt x="902432" y="233362"/>
                    </a:lnTo>
                    <a:close/>
                    <a:moveTo>
                      <a:pt x="53711" y="233362"/>
                    </a:moveTo>
                    <a:lnTo>
                      <a:pt x="53711" y="395287"/>
                    </a:lnTo>
                    <a:lnTo>
                      <a:pt x="347600" y="395287"/>
                    </a:lnTo>
                    <a:lnTo>
                      <a:pt x="347600" y="233362"/>
                    </a:lnTo>
                    <a:close/>
                    <a:moveTo>
                      <a:pt x="0" y="0"/>
                    </a:moveTo>
                    <a:lnTo>
                      <a:pt x="956142" y="0"/>
                    </a:lnTo>
                    <a:lnTo>
                      <a:pt x="956142" y="466725"/>
                    </a:lnTo>
                    <a:lnTo>
                      <a:pt x="581019" y="466725"/>
                    </a:lnTo>
                    <a:lnTo>
                      <a:pt x="581019" y="233362"/>
                    </a:lnTo>
                    <a:lnTo>
                      <a:pt x="480452" y="233362"/>
                    </a:lnTo>
                    <a:lnTo>
                      <a:pt x="480452" y="466725"/>
                    </a:lnTo>
                    <a:lnTo>
                      <a:pt x="475690" y="466725"/>
                    </a:lnTo>
                    <a:lnTo>
                      <a:pt x="475690" y="233362"/>
                    </a:lnTo>
                    <a:lnTo>
                      <a:pt x="375123" y="233362"/>
                    </a:lnTo>
                    <a:lnTo>
                      <a:pt x="375123" y="466725"/>
                    </a:lnTo>
                    <a:lnTo>
                      <a:pt x="0" y="466725"/>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10" name="Trapezoid 1709"/>
              <p:cNvSpPr/>
              <p:nvPr/>
            </p:nvSpPr>
            <p:spPr bwMode="auto">
              <a:xfrm>
                <a:off x="4011879" y="1399100"/>
                <a:ext cx="637984" cy="119735"/>
              </a:xfrm>
              <a:prstGeom prst="trapezoid">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690" name="Group 1689"/>
            <p:cNvGrpSpPr>
              <a:grpSpLocks noChangeAspect="1"/>
            </p:cNvGrpSpPr>
            <p:nvPr/>
          </p:nvGrpSpPr>
          <p:grpSpPr>
            <a:xfrm>
              <a:off x="3749774" y="1568097"/>
              <a:ext cx="192516" cy="158347"/>
              <a:chOff x="8970859" y="2626225"/>
              <a:chExt cx="414001" cy="374575"/>
            </a:xfrm>
          </p:grpSpPr>
          <p:sp>
            <p:nvSpPr>
              <p:cNvPr id="1703" name="Rectangle 1702"/>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704" name="Group 1703"/>
              <p:cNvGrpSpPr/>
              <p:nvPr/>
            </p:nvGrpSpPr>
            <p:grpSpPr>
              <a:xfrm>
                <a:off x="8970859" y="2626225"/>
                <a:ext cx="414001" cy="374575"/>
                <a:chOff x="25455229" y="-39674"/>
                <a:chExt cx="806770" cy="729935"/>
              </a:xfrm>
            </p:grpSpPr>
            <p:sp>
              <p:nvSpPr>
                <p:cNvPr id="1705"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06"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07"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691" name="Group 1690"/>
            <p:cNvGrpSpPr>
              <a:grpSpLocks noChangeAspect="1"/>
            </p:cNvGrpSpPr>
            <p:nvPr/>
          </p:nvGrpSpPr>
          <p:grpSpPr>
            <a:xfrm>
              <a:off x="3998527" y="1568097"/>
              <a:ext cx="192516" cy="158347"/>
              <a:chOff x="8970859" y="2626225"/>
              <a:chExt cx="414001" cy="374575"/>
            </a:xfrm>
          </p:grpSpPr>
          <p:sp>
            <p:nvSpPr>
              <p:cNvPr id="1698" name="Rectangle 1697"/>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699" name="Group 1698"/>
              <p:cNvGrpSpPr/>
              <p:nvPr/>
            </p:nvGrpSpPr>
            <p:grpSpPr>
              <a:xfrm>
                <a:off x="8970859" y="2626225"/>
                <a:ext cx="414001" cy="374575"/>
                <a:chOff x="25455229" y="-39674"/>
                <a:chExt cx="806770" cy="729935"/>
              </a:xfrm>
            </p:grpSpPr>
            <p:sp>
              <p:nvSpPr>
                <p:cNvPr id="1700"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01"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02"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692" name="Group 1691"/>
            <p:cNvGrpSpPr>
              <a:grpSpLocks noChangeAspect="1"/>
            </p:cNvGrpSpPr>
            <p:nvPr/>
          </p:nvGrpSpPr>
          <p:grpSpPr>
            <a:xfrm>
              <a:off x="4250323" y="1568097"/>
              <a:ext cx="192516" cy="158347"/>
              <a:chOff x="8970859" y="2626225"/>
              <a:chExt cx="414001" cy="374575"/>
            </a:xfrm>
          </p:grpSpPr>
          <p:sp>
            <p:nvSpPr>
              <p:cNvPr id="1693" name="Rectangle 1692"/>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694" name="Group 1693"/>
              <p:cNvGrpSpPr/>
              <p:nvPr/>
            </p:nvGrpSpPr>
            <p:grpSpPr>
              <a:xfrm>
                <a:off x="8970859" y="2626225"/>
                <a:ext cx="414001" cy="374575"/>
                <a:chOff x="25455229" y="-39674"/>
                <a:chExt cx="806770" cy="729935"/>
              </a:xfrm>
            </p:grpSpPr>
            <p:sp>
              <p:nvSpPr>
                <p:cNvPr id="1695"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rgbClr val="42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96"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97"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grpSp>
        <p:nvGrpSpPr>
          <p:cNvPr id="1711" name="Group 1710"/>
          <p:cNvGrpSpPr/>
          <p:nvPr/>
        </p:nvGrpSpPr>
        <p:grpSpPr>
          <a:xfrm>
            <a:off x="9250327" y="3737946"/>
            <a:ext cx="2458201" cy="466916"/>
            <a:chOff x="8932986" y="1414544"/>
            <a:chExt cx="2458201" cy="466916"/>
          </a:xfrm>
        </p:grpSpPr>
        <p:sp>
          <p:nvSpPr>
            <p:cNvPr id="1712" name="Rectangle 1711"/>
            <p:cNvSpPr/>
            <p:nvPr/>
          </p:nvSpPr>
          <p:spPr>
            <a:xfrm>
              <a:off x="9718934" y="1491335"/>
              <a:ext cx="1672253"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THIRD-PARTY SERVICES</a:t>
              </a:r>
            </a:p>
          </p:txBody>
        </p:sp>
        <p:cxnSp>
          <p:nvCxnSpPr>
            <p:cNvPr id="1713" name="Straight Connector 1712"/>
            <p:cNvCxnSpPr/>
            <p:nvPr/>
          </p:nvCxnSpPr>
          <p:spPr>
            <a:xfrm flipV="1">
              <a:off x="9304093" y="1716868"/>
              <a:ext cx="0" cy="164592"/>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714" name="Group 1713"/>
            <p:cNvGrpSpPr/>
            <p:nvPr/>
          </p:nvGrpSpPr>
          <p:grpSpPr>
            <a:xfrm>
              <a:off x="9192719" y="1414544"/>
              <a:ext cx="223678" cy="324951"/>
              <a:chOff x="9055116" y="1170984"/>
              <a:chExt cx="409648" cy="595121"/>
            </a:xfrm>
          </p:grpSpPr>
          <p:sp>
            <p:nvSpPr>
              <p:cNvPr id="1721" name="Rectangle 1720"/>
              <p:cNvSpPr/>
              <p:nvPr/>
            </p:nvSpPr>
            <p:spPr bwMode="auto">
              <a:xfrm>
                <a:off x="9055116" y="1191333"/>
                <a:ext cx="409648" cy="57477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22" name="Freeform 8"/>
              <p:cNvSpPr>
                <a:spLocks noEditPoints="1"/>
              </p:cNvSpPr>
              <p:nvPr/>
            </p:nvSpPr>
            <p:spPr bwMode="auto">
              <a:xfrm>
                <a:off x="9055116" y="1170984"/>
                <a:ext cx="409648" cy="595121"/>
              </a:xfrm>
              <a:custGeom>
                <a:avLst/>
                <a:gdLst>
                  <a:gd name="T0" fmla="*/ 0 w 1736"/>
                  <a:gd name="T1" fmla="*/ 0 h 2522"/>
                  <a:gd name="T2" fmla="*/ 0 w 1736"/>
                  <a:gd name="T3" fmla="*/ 2522 h 2522"/>
                  <a:gd name="T4" fmla="*/ 604 w 1736"/>
                  <a:gd name="T5" fmla="*/ 2522 h 2522"/>
                  <a:gd name="T6" fmla="*/ 604 w 1736"/>
                  <a:gd name="T7" fmla="*/ 2110 h 2522"/>
                  <a:gd name="T8" fmla="*/ 604 w 1736"/>
                  <a:gd name="T9" fmla="*/ 2110 h 2522"/>
                  <a:gd name="T10" fmla="*/ 606 w 1736"/>
                  <a:gd name="T11" fmla="*/ 2092 h 2522"/>
                  <a:gd name="T12" fmla="*/ 610 w 1736"/>
                  <a:gd name="T13" fmla="*/ 2076 h 2522"/>
                  <a:gd name="T14" fmla="*/ 618 w 1736"/>
                  <a:gd name="T15" fmla="*/ 2062 h 2522"/>
                  <a:gd name="T16" fmla="*/ 630 w 1736"/>
                  <a:gd name="T17" fmla="*/ 2048 h 2522"/>
                  <a:gd name="T18" fmla="*/ 642 w 1736"/>
                  <a:gd name="T19" fmla="*/ 2038 h 2522"/>
                  <a:gd name="T20" fmla="*/ 656 w 1736"/>
                  <a:gd name="T21" fmla="*/ 2030 h 2522"/>
                  <a:gd name="T22" fmla="*/ 674 w 1736"/>
                  <a:gd name="T23" fmla="*/ 2024 h 2522"/>
                  <a:gd name="T24" fmla="*/ 690 w 1736"/>
                  <a:gd name="T25" fmla="*/ 2024 h 2522"/>
                  <a:gd name="T26" fmla="*/ 1026 w 1736"/>
                  <a:gd name="T27" fmla="*/ 2024 h 2522"/>
                  <a:gd name="T28" fmla="*/ 1026 w 1736"/>
                  <a:gd name="T29" fmla="*/ 2024 h 2522"/>
                  <a:gd name="T30" fmla="*/ 1044 w 1736"/>
                  <a:gd name="T31" fmla="*/ 2024 h 2522"/>
                  <a:gd name="T32" fmla="*/ 1060 w 1736"/>
                  <a:gd name="T33" fmla="*/ 2030 h 2522"/>
                  <a:gd name="T34" fmla="*/ 1076 w 1736"/>
                  <a:gd name="T35" fmla="*/ 2038 h 2522"/>
                  <a:gd name="T36" fmla="*/ 1088 w 1736"/>
                  <a:gd name="T37" fmla="*/ 2048 h 2522"/>
                  <a:gd name="T38" fmla="*/ 1098 w 1736"/>
                  <a:gd name="T39" fmla="*/ 2062 h 2522"/>
                  <a:gd name="T40" fmla="*/ 1106 w 1736"/>
                  <a:gd name="T41" fmla="*/ 2076 h 2522"/>
                  <a:gd name="T42" fmla="*/ 1112 w 1736"/>
                  <a:gd name="T43" fmla="*/ 2092 h 2522"/>
                  <a:gd name="T44" fmla="*/ 1114 w 1736"/>
                  <a:gd name="T45" fmla="*/ 2110 h 2522"/>
                  <a:gd name="T46" fmla="*/ 1114 w 1736"/>
                  <a:gd name="T47" fmla="*/ 2522 h 2522"/>
                  <a:gd name="T48" fmla="*/ 1734 w 1736"/>
                  <a:gd name="T49" fmla="*/ 2522 h 2522"/>
                  <a:gd name="T50" fmla="*/ 1734 w 1736"/>
                  <a:gd name="T51" fmla="*/ 1092 h 2522"/>
                  <a:gd name="T52" fmla="*/ 1736 w 1736"/>
                  <a:gd name="T53" fmla="*/ 2 h 2522"/>
                  <a:gd name="T54" fmla="*/ 0 w 1736"/>
                  <a:gd name="T55" fmla="*/ 0 h 2522"/>
                  <a:gd name="T56" fmla="*/ 728 w 1736"/>
                  <a:gd name="T57" fmla="*/ 1646 h 2522"/>
                  <a:gd name="T58" fmla="*/ 292 w 1736"/>
                  <a:gd name="T59" fmla="*/ 1646 h 2522"/>
                  <a:gd name="T60" fmla="*/ 292 w 1736"/>
                  <a:gd name="T61" fmla="*/ 1362 h 2522"/>
                  <a:gd name="T62" fmla="*/ 728 w 1736"/>
                  <a:gd name="T63" fmla="*/ 1362 h 2522"/>
                  <a:gd name="T64" fmla="*/ 728 w 1736"/>
                  <a:gd name="T65" fmla="*/ 1646 h 2522"/>
                  <a:gd name="T66" fmla="*/ 728 w 1736"/>
                  <a:gd name="T67" fmla="*/ 1144 h 2522"/>
                  <a:gd name="T68" fmla="*/ 292 w 1736"/>
                  <a:gd name="T69" fmla="*/ 1144 h 2522"/>
                  <a:gd name="T70" fmla="*/ 292 w 1736"/>
                  <a:gd name="T71" fmla="*/ 860 h 2522"/>
                  <a:gd name="T72" fmla="*/ 728 w 1736"/>
                  <a:gd name="T73" fmla="*/ 860 h 2522"/>
                  <a:gd name="T74" fmla="*/ 728 w 1736"/>
                  <a:gd name="T75" fmla="*/ 1144 h 2522"/>
                  <a:gd name="T76" fmla="*/ 728 w 1736"/>
                  <a:gd name="T77" fmla="*/ 644 h 2522"/>
                  <a:gd name="T78" fmla="*/ 292 w 1736"/>
                  <a:gd name="T79" fmla="*/ 644 h 2522"/>
                  <a:gd name="T80" fmla="*/ 292 w 1736"/>
                  <a:gd name="T81" fmla="*/ 360 h 2522"/>
                  <a:gd name="T82" fmla="*/ 728 w 1736"/>
                  <a:gd name="T83" fmla="*/ 360 h 2522"/>
                  <a:gd name="T84" fmla="*/ 728 w 1736"/>
                  <a:gd name="T85" fmla="*/ 644 h 2522"/>
                  <a:gd name="T86" fmla="*/ 1426 w 1736"/>
                  <a:gd name="T87" fmla="*/ 1646 h 2522"/>
                  <a:gd name="T88" fmla="*/ 990 w 1736"/>
                  <a:gd name="T89" fmla="*/ 1646 h 2522"/>
                  <a:gd name="T90" fmla="*/ 990 w 1736"/>
                  <a:gd name="T91" fmla="*/ 1362 h 2522"/>
                  <a:gd name="T92" fmla="*/ 1426 w 1736"/>
                  <a:gd name="T93" fmla="*/ 1362 h 2522"/>
                  <a:gd name="T94" fmla="*/ 1426 w 1736"/>
                  <a:gd name="T95" fmla="*/ 1646 h 2522"/>
                  <a:gd name="T96" fmla="*/ 1426 w 1736"/>
                  <a:gd name="T97" fmla="*/ 1144 h 2522"/>
                  <a:gd name="T98" fmla="*/ 990 w 1736"/>
                  <a:gd name="T99" fmla="*/ 1144 h 2522"/>
                  <a:gd name="T100" fmla="*/ 990 w 1736"/>
                  <a:gd name="T101" fmla="*/ 860 h 2522"/>
                  <a:gd name="T102" fmla="*/ 1426 w 1736"/>
                  <a:gd name="T103" fmla="*/ 860 h 2522"/>
                  <a:gd name="T104" fmla="*/ 1426 w 1736"/>
                  <a:gd name="T105" fmla="*/ 1144 h 2522"/>
                  <a:gd name="T106" fmla="*/ 1426 w 1736"/>
                  <a:gd name="T107" fmla="*/ 644 h 2522"/>
                  <a:gd name="T108" fmla="*/ 990 w 1736"/>
                  <a:gd name="T109" fmla="*/ 644 h 2522"/>
                  <a:gd name="T110" fmla="*/ 990 w 1736"/>
                  <a:gd name="T111" fmla="*/ 360 h 2522"/>
                  <a:gd name="T112" fmla="*/ 1426 w 1736"/>
                  <a:gd name="T113" fmla="*/ 360 h 2522"/>
                  <a:gd name="T114" fmla="*/ 1426 w 1736"/>
                  <a:gd name="T115" fmla="*/ 644 h 2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36" h="2522">
                    <a:moveTo>
                      <a:pt x="0" y="0"/>
                    </a:moveTo>
                    <a:lnTo>
                      <a:pt x="0" y="2522"/>
                    </a:lnTo>
                    <a:lnTo>
                      <a:pt x="604" y="2522"/>
                    </a:lnTo>
                    <a:lnTo>
                      <a:pt x="604" y="2110"/>
                    </a:lnTo>
                    <a:lnTo>
                      <a:pt x="604" y="2110"/>
                    </a:lnTo>
                    <a:lnTo>
                      <a:pt x="606" y="2092"/>
                    </a:lnTo>
                    <a:lnTo>
                      <a:pt x="610" y="2076"/>
                    </a:lnTo>
                    <a:lnTo>
                      <a:pt x="618" y="2062"/>
                    </a:lnTo>
                    <a:lnTo>
                      <a:pt x="630" y="2048"/>
                    </a:lnTo>
                    <a:lnTo>
                      <a:pt x="642" y="2038"/>
                    </a:lnTo>
                    <a:lnTo>
                      <a:pt x="656" y="2030"/>
                    </a:lnTo>
                    <a:lnTo>
                      <a:pt x="674" y="2024"/>
                    </a:lnTo>
                    <a:lnTo>
                      <a:pt x="690" y="2024"/>
                    </a:lnTo>
                    <a:lnTo>
                      <a:pt x="1026" y="2024"/>
                    </a:lnTo>
                    <a:lnTo>
                      <a:pt x="1026" y="2024"/>
                    </a:lnTo>
                    <a:lnTo>
                      <a:pt x="1044" y="2024"/>
                    </a:lnTo>
                    <a:lnTo>
                      <a:pt x="1060" y="2030"/>
                    </a:lnTo>
                    <a:lnTo>
                      <a:pt x="1076" y="2038"/>
                    </a:lnTo>
                    <a:lnTo>
                      <a:pt x="1088" y="2048"/>
                    </a:lnTo>
                    <a:lnTo>
                      <a:pt x="1098" y="2062"/>
                    </a:lnTo>
                    <a:lnTo>
                      <a:pt x="1106" y="2076"/>
                    </a:lnTo>
                    <a:lnTo>
                      <a:pt x="1112" y="2092"/>
                    </a:lnTo>
                    <a:lnTo>
                      <a:pt x="1114" y="2110"/>
                    </a:lnTo>
                    <a:lnTo>
                      <a:pt x="1114" y="2522"/>
                    </a:lnTo>
                    <a:lnTo>
                      <a:pt x="1734" y="2522"/>
                    </a:lnTo>
                    <a:lnTo>
                      <a:pt x="1734" y="1092"/>
                    </a:lnTo>
                    <a:lnTo>
                      <a:pt x="1736" y="2"/>
                    </a:lnTo>
                    <a:lnTo>
                      <a:pt x="0" y="0"/>
                    </a:lnTo>
                    <a:close/>
                    <a:moveTo>
                      <a:pt x="728" y="1646"/>
                    </a:moveTo>
                    <a:lnTo>
                      <a:pt x="292" y="1646"/>
                    </a:lnTo>
                    <a:lnTo>
                      <a:pt x="292" y="1362"/>
                    </a:lnTo>
                    <a:lnTo>
                      <a:pt x="728" y="1362"/>
                    </a:lnTo>
                    <a:lnTo>
                      <a:pt x="728" y="1646"/>
                    </a:lnTo>
                    <a:close/>
                    <a:moveTo>
                      <a:pt x="728" y="1144"/>
                    </a:moveTo>
                    <a:lnTo>
                      <a:pt x="292" y="1144"/>
                    </a:lnTo>
                    <a:lnTo>
                      <a:pt x="292" y="860"/>
                    </a:lnTo>
                    <a:lnTo>
                      <a:pt x="728" y="860"/>
                    </a:lnTo>
                    <a:lnTo>
                      <a:pt x="728" y="1144"/>
                    </a:lnTo>
                    <a:close/>
                    <a:moveTo>
                      <a:pt x="728" y="644"/>
                    </a:moveTo>
                    <a:lnTo>
                      <a:pt x="292" y="644"/>
                    </a:lnTo>
                    <a:lnTo>
                      <a:pt x="292" y="360"/>
                    </a:lnTo>
                    <a:lnTo>
                      <a:pt x="728" y="360"/>
                    </a:lnTo>
                    <a:lnTo>
                      <a:pt x="728" y="644"/>
                    </a:lnTo>
                    <a:close/>
                    <a:moveTo>
                      <a:pt x="1426" y="1646"/>
                    </a:moveTo>
                    <a:lnTo>
                      <a:pt x="990" y="1646"/>
                    </a:lnTo>
                    <a:lnTo>
                      <a:pt x="990" y="1362"/>
                    </a:lnTo>
                    <a:lnTo>
                      <a:pt x="1426" y="1362"/>
                    </a:lnTo>
                    <a:lnTo>
                      <a:pt x="1426" y="1646"/>
                    </a:lnTo>
                    <a:close/>
                    <a:moveTo>
                      <a:pt x="1426" y="1144"/>
                    </a:moveTo>
                    <a:lnTo>
                      <a:pt x="990" y="1144"/>
                    </a:lnTo>
                    <a:lnTo>
                      <a:pt x="990" y="860"/>
                    </a:lnTo>
                    <a:lnTo>
                      <a:pt x="1426" y="860"/>
                    </a:lnTo>
                    <a:lnTo>
                      <a:pt x="1426" y="1144"/>
                    </a:lnTo>
                    <a:close/>
                    <a:moveTo>
                      <a:pt x="1426" y="644"/>
                    </a:moveTo>
                    <a:lnTo>
                      <a:pt x="990" y="644"/>
                    </a:lnTo>
                    <a:lnTo>
                      <a:pt x="990" y="360"/>
                    </a:lnTo>
                    <a:lnTo>
                      <a:pt x="1426" y="360"/>
                    </a:lnTo>
                    <a:lnTo>
                      <a:pt x="1426" y="6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715" name="Group 1714"/>
            <p:cNvGrpSpPr/>
            <p:nvPr/>
          </p:nvGrpSpPr>
          <p:grpSpPr>
            <a:xfrm>
              <a:off x="9452451" y="1414544"/>
              <a:ext cx="223678" cy="324951"/>
              <a:chOff x="9055116" y="1170984"/>
              <a:chExt cx="409648" cy="595121"/>
            </a:xfrm>
          </p:grpSpPr>
          <p:sp>
            <p:nvSpPr>
              <p:cNvPr id="1719" name="Rectangle 1718"/>
              <p:cNvSpPr/>
              <p:nvPr/>
            </p:nvSpPr>
            <p:spPr bwMode="auto">
              <a:xfrm>
                <a:off x="9055116" y="1191333"/>
                <a:ext cx="409648" cy="57477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20" name="Freeform 8"/>
              <p:cNvSpPr>
                <a:spLocks noEditPoints="1"/>
              </p:cNvSpPr>
              <p:nvPr/>
            </p:nvSpPr>
            <p:spPr bwMode="auto">
              <a:xfrm>
                <a:off x="9055116" y="1170984"/>
                <a:ext cx="409648" cy="595121"/>
              </a:xfrm>
              <a:custGeom>
                <a:avLst/>
                <a:gdLst>
                  <a:gd name="T0" fmla="*/ 0 w 1736"/>
                  <a:gd name="T1" fmla="*/ 0 h 2522"/>
                  <a:gd name="T2" fmla="*/ 0 w 1736"/>
                  <a:gd name="T3" fmla="*/ 2522 h 2522"/>
                  <a:gd name="T4" fmla="*/ 604 w 1736"/>
                  <a:gd name="T5" fmla="*/ 2522 h 2522"/>
                  <a:gd name="T6" fmla="*/ 604 w 1736"/>
                  <a:gd name="T7" fmla="*/ 2110 h 2522"/>
                  <a:gd name="T8" fmla="*/ 604 w 1736"/>
                  <a:gd name="T9" fmla="*/ 2110 h 2522"/>
                  <a:gd name="T10" fmla="*/ 606 w 1736"/>
                  <a:gd name="T11" fmla="*/ 2092 h 2522"/>
                  <a:gd name="T12" fmla="*/ 610 w 1736"/>
                  <a:gd name="T13" fmla="*/ 2076 h 2522"/>
                  <a:gd name="T14" fmla="*/ 618 w 1736"/>
                  <a:gd name="T15" fmla="*/ 2062 h 2522"/>
                  <a:gd name="T16" fmla="*/ 630 w 1736"/>
                  <a:gd name="T17" fmla="*/ 2048 h 2522"/>
                  <a:gd name="T18" fmla="*/ 642 w 1736"/>
                  <a:gd name="T19" fmla="*/ 2038 h 2522"/>
                  <a:gd name="T20" fmla="*/ 656 w 1736"/>
                  <a:gd name="T21" fmla="*/ 2030 h 2522"/>
                  <a:gd name="T22" fmla="*/ 674 w 1736"/>
                  <a:gd name="T23" fmla="*/ 2024 h 2522"/>
                  <a:gd name="T24" fmla="*/ 690 w 1736"/>
                  <a:gd name="T25" fmla="*/ 2024 h 2522"/>
                  <a:gd name="T26" fmla="*/ 1026 w 1736"/>
                  <a:gd name="T27" fmla="*/ 2024 h 2522"/>
                  <a:gd name="T28" fmla="*/ 1026 w 1736"/>
                  <a:gd name="T29" fmla="*/ 2024 h 2522"/>
                  <a:gd name="T30" fmla="*/ 1044 w 1736"/>
                  <a:gd name="T31" fmla="*/ 2024 h 2522"/>
                  <a:gd name="T32" fmla="*/ 1060 w 1736"/>
                  <a:gd name="T33" fmla="*/ 2030 h 2522"/>
                  <a:gd name="T34" fmla="*/ 1076 w 1736"/>
                  <a:gd name="T35" fmla="*/ 2038 h 2522"/>
                  <a:gd name="T36" fmla="*/ 1088 w 1736"/>
                  <a:gd name="T37" fmla="*/ 2048 h 2522"/>
                  <a:gd name="T38" fmla="*/ 1098 w 1736"/>
                  <a:gd name="T39" fmla="*/ 2062 h 2522"/>
                  <a:gd name="T40" fmla="*/ 1106 w 1736"/>
                  <a:gd name="T41" fmla="*/ 2076 h 2522"/>
                  <a:gd name="T42" fmla="*/ 1112 w 1736"/>
                  <a:gd name="T43" fmla="*/ 2092 h 2522"/>
                  <a:gd name="T44" fmla="*/ 1114 w 1736"/>
                  <a:gd name="T45" fmla="*/ 2110 h 2522"/>
                  <a:gd name="T46" fmla="*/ 1114 w 1736"/>
                  <a:gd name="T47" fmla="*/ 2522 h 2522"/>
                  <a:gd name="T48" fmla="*/ 1734 w 1736"/>
                  <a:gd name="T49" fmla="*/ 2522 h 2522"/>
                  <a:gd name="T50" fmla="*/ 1734 w 1736"/>
                  <a:gd name="T51" fmla="*/ 1092 h 2522"/>
                  <a:gd name="T52" fmla="*/ 1736 w 1736"/>
                  <a:gd name="T53" fmla="*/ 2 h 2522"/>
                  <a:gd name="T54" fmla="*/ 0 w 1736"/>
                  <a:gd name="T55" fmla="*/ 0 h 2522"/>
                  <a:gd name="T56" fmla="*/ 728 w 1736"/>
                  <a:gd name="T57" fmla="*/ 1646 h 2522"/>
                  <a:gd name="T58" fmla="*/ 292 w 1736"/>
                  <a:gd name="T59" fmla="*/ 1646 h 2522"/>
                  <a:gd name="T60" fmla="*/ 292 w 1736"/>
                  <a:gd name="T61" fmla="*/ 1362 h 2522"/>
                  <a:gd name="T62" fmla="*/ 728 w 1736"/>
                  <a:gd name="T63" fmla="*/ 1362 h 2522"/>
                  <a:gd name="T64" fmla="*/ 728 w 1736"/>
                  <a:gd name="T65" fmla="*/ 1646 h 2522"/>
                  <a:gd name="T66" fmla="*/ 728 w 1736"/>
                  <a:gd name="T67" fmla="*/ 1144 h 2522"/>
                  <a:gd name="T68" fmla="*/ 292 w 1736"/>
                  <a:gd name="T69" fmla="*/ 1144 h 2522"/>
                  <a:gd name="T70" fmla="*/ 292 w 1736"/>
                  <a:gd name="T71" fmla="*/ 860 h 2522"/>
                  <a:gd name="T72" fmla="*/ 728 w 1736"/>
                  <a:gd name="T73" fmla="*/ 860 h 2522"/>
                  <a:gd name="T74" fmla="*/ 728 w 1736"/>
                  <a:gd name="T75" fmla="*/ 1144 h 2522"/>
                  <a:gd name="T76" fmla="*/ 728 w 1736"/>
                  <a:gd name="T77" fmla="*/ 644 h 2522"/>
                  <a:gd name="T78" fmla="*/ 292 w 1736"/>
                  <a:gd name="T79" fmla="*/ 644 h 2522"/>
                  <a:gd name="T80" fmla="*/ 292 w 1736"/>
                  <a:gd name="T81" fmla="*/ 360 h 2522"/>
                  <a:gd name="T82" fmla="*/ 728 w 1736"/>
                  <a:gd name="T83" fmla="*/ 360 h 2522"/>
                  <a:gd name="T84" fmla="*/ 728 w 1736"/>
                  <a:gd name="T85" fmla="*/ 644 h 2522"/>
                  <a:gd name="T86" fmla="*/ 1426 w 1736"/>
                  <a:gd name="T87" fmla="*/ 1646 h 2522"/>
                  <a:gd name="T88" fmla="*/ 990 w 1736"/>
                  <a:gd name="T89" fmla="*/ 1646 h 2522"/>
                  <a:gd name="T90" fmla="*/ 990 w 1736"/>
                  <a:gd name="T91" fmla="*/ 1362 h 2522"/>
                  <a:gd name="T92" fmla="*/ 1426 w 1736"/>
                  <a:gd name="T93" fmla="*/ 1362 h 2522"/>
                  <a:gd name="T94" fmla="*/ 1426 w 1736"/>
                  <a:gd name="T95" fmla="*/ 1646 h 2522"/>
                  <a:gd name="T96" fmla="*/ 1426 w 1736"/>
                  <a:gd name="T97" fmla="*/ 1144 h 2522"/>
                  <a:gd name="T98" fmla="*/ 990 w 1736"/>
                  <a:gd name="T99" fmla="*/ 1144 h 2522"/>
                  <a:gd name="T100" fmla="*/ 990 w 1736"/>
                  <a:gd name="T101" fmla="*/ 860 h 2522"/>
                  <a:gd name="T102" fmla="*/ 1426 w 1736"/>
                  <a:gd name="T103" fmla="*/ 860 h 2522"/>
                  <a:gd name="T104" fmla="*/ 1426 w 1736"/>
                  <a:gd name="T105" fmla="*/ 1144 h 2522"/>
                  <a:gd name="T106" fmla="*/ 1426 w 1736"/>
                  <a:gd name="T107" fmla="*/ 644 h 2522"/>
                  <a:gd name="T108" fmla="*/ 990 w 1736"/>
                  <a:gd name="T109" fmla="*/ 644 h 2522"/>
                  <a:gd name="T110" fmla="*/ 990 w 1736"/>
                  <a:gd name="T111" fmla="*/ 360 h 2522"/>
                  <a:gd name="T112" fmla="*/ 1426 w 1736"/>
                  <a:gd name="T113" fmla="*/ 360 h 2522"/>
                  <a:gd name="T114" fmla="*/ 1426 w 1736"/>
                  <a:gd name="T115" fmla="*/ 644 h 2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36" h="2522">
                    <a:moveTo>
                      <a:pt x="0" y="0"/>
                    </a:moveTo>
                    <a:lnTo>
                      <a:pt x="0" y="2522"/>
                    </a:lnTo>
                    <a:lnTo>
                      <a:pt x="604" y="2522"/>
                    </a:lnTo>
                    <a:lnTo>
                      <a:pt x="604" y="2110"/>
                    </a:lnTo>
                    <a:lnTo>
                      <a:pt x="604" y="2110"/>
                    </a:lnTo>
                    <a:lnTo>
                      <a:pt x="606" y="2092"/>
                    </a:lnTo>
                    <a:lnTo>
                      <a:pt x="610" y="2076"/>
                    </a:lnTo>
                    <a:lnTo>
                      <a:pt x="618" y="2062"/>
                    </a:lnTo>
                    <a:lnTo>
                      <a:pt x="630" y="2048"/>
                    </a:lnTo>
                    <a:lnTo>
                      <a:pt x="642" y="2038"/>
                    </a:lnTo>
                    <a:lnTo>
                      <a:pt x="656" y="2030"/>
                    </a:lnTo>
                    <a:lnTo>
                      <a:pt x="674" y="2024"/>
                    </a:lnTo>
                    <a:lnTo>
                      <a:pt x="690" y="2024"/>
                    </a:lnTo>
                    <a:lnTo>
                      <a:pt x="1026" y="2024"/>
                    </a:lnTo>
                    <a:lnTo>
                      <a:pt x="1026" y="2024"/>
                    </a:lnTo>
                    <a:lnTo>
                      <a:pt x="1044" y="2024"/>
                    </a:lnTo>
                    <a:lnTo>
                      <a:pt x="1060" y="2030"/>
                    </a:lnTo>
                    <a:lnTo>
                      <a:pt x="1076" y="2038"/>
                    </a:lnTo>
                    <a:lnTo>
                      <a:pt x="1088" y="2048"/>
                    </a:lnTo>
                    <a:lnTo>
                      <a:pt x="1098" y="2062"/>
                    </a:lnTo>
                    <a:lnTo>
                      <a:pt x="1106" y="2076"/>
                    </a:lnTo>
                    <a:lnTo>
                      <a:pt x="1112" y="2092"/>
                    </a:lnTo>
                    <a:lnTo>
                      <a:pt x="1114" y="2110"/>
                    </a:lnTo>
                    <a:lnTo>
                      <a:pt x="1114" y="2522"/>
                    </a:lnTo>
                    <a:lnTo>
                      <a:pt x="1734" y="2522"/>
                    </a:lnTo>
                    <a:lnTo>
                      <a:pt x="1734" y="1092"/>
                    </a:lnTo>
                    <a:lnTo>
                      <a:pt x="1736" y="2"/>
                    </a:lnTo>
                    <a:lnTo>
                      <a:pt x="0" y="0"/>
                    </a:lnTo>
                    <a:close/>
                    <a:moveTo>
                      <a:pt x="728" y="1646"/>
                    </a:moveTo>
                    <a:lnTo>
                      <a:pt x="292" y="1646"/>
                    </a:lnTo>
                    <a:lnTo>
                      <a:pt x="292" y="1362"/>
                    </a:lnTo>
                    <a:lnTo>
                      <a:pt x="728" y="1362"/>
                    </a:lnTo>
                    <a:lnTo>
                      <a:pt x="728" y="1646"/>
                    </a:lnTo>
                    <a:close/>
                    <a:moveTo>
                      <a:pt x="728" y="1144"/>
                    </a:moveTo>
                    <a:lnTo>
                      <a:pt x="292" y="1144"/>
                    </a:lnTo>
                    <a:lnTo>
                      <a:pt x="292" y="860"/>
                    </a:lnTo>
                    <a:lnTo>
                      <a:pt x="728" y="860"/>
                    </a:lnTo>
                    <a:lnTo>
                      <a:pt x="728" y="1144"/>
                    </a:lnTo>
                    <a:close/>
                    <a:moveTo>
                      <a:pt x="728" y="644"/>
                    </a:moveTo>
                    <a:lnTo>
                      <a:pt x="292" y="644"/>
                    </a:lnTo>
                    <a:lnTo>
                      <a:pt x="292" y="360"/>
                    </a:lnTo>
                    <a:lnTo>
                      <a:pt x="728" y="360"/>
                    </a:lnTo>
                    <a:lnTo>
                      <a:pt x="728" y="644"/>
                    </a:lnTo>
                    <a:close/>
                    <a:moveTo>
                      <a:pt x="1426" y="1646"/>
                    </a:moveTo>
                    <a:lnTo>
                      <a:pt x="990" y="1646"/>
                    </a:lnTo>
                    <a:lnTo>
                      <a:pt x="990" y="1362"/>
                    </a:lnTo>
                    <a:lnTo>
                      <a:pt x="1426" y="1362"/>
                    </a:lnTo>
                    <a:lnTo>
                      <a:pt x="1426" y="1646"/>
                    </a:lnTo>
                    <a:close/>
                    <a:moveTo>
                      <a:pt x="1426" y="1144"/>
                    </a:moveTo>
                    <a:lnTo>
                      <a:pt x="990" y="1144"/>
                    </a:lnTo>
                    <a:lnTo>
                      <a:pt x="990" y="860"/>
                    </a:lnTo>
                    <a:lnTo>
                      <a:pt x="1426" y="860"/>
                    </a:lnTo>
                    <a:lnTo>
                      <a:pt x="1426" y="1144"/>
                    </a:lnTo>
                    <a:close/>
                    <a:moveTo>
                      <a:pt x="1426" y="644"/>
                    </a:moveTo>
                    <a:lnTo>
                      <a:pt x="990" y="644"/>
                    </a:lnTo>
                    <a:lnTo>
                      <a:pt x="990" y="360"/>
                    </a:lnTo>
                    <a:lnTo>
                      <a:pt x="1426" y="360"/>
                    </a:lnTo>
                    <a:lnTo>
                      <a:pt x="1426" y="6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716" name="Group 1715"/>
            <p:cNvGrpSpPr/>
            <p:nvPr/>
          </p:nvGrpSpPr>
          <p:grpSpPr>
            <a:xfrm>
              <a:off x="8932986" y="1414544"/>
              <a:ext cx="223678" cy="324951"/>
              <a:chOff x="9055116" y="1170984"/>
              <a:chExt cx="409648" cy="595121"/>
            </a:xfrm>
          </p:grpSpPr>
          <p:sp>
            <p:nvSpPr>
              <p:cNvPr id="1717" name="Rectangle 1716"/>
              <p:cNvSpPr/>
              <p:nvPr/>
            </p:nvSpPr>
            <p:spPr bwMode="auto">
              <a:xfrm>
                <a:off x="9055116" y="1191333"/>
                <a:ext cx="409648" cy="57477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18" name="Freeform 8"/>
              <p:cNvSpPr>
                <a:spLocks noEditPoints="1"/>
              </p:cNvSpPr>
              <p:nvPr/>
            </p:nvSpPr>
            <p:spPr bwMode="auto">
              <a:xfrm>
                <a:off x="9055116" y="1170984"/>
                <a:ext cx="409648" cy="595121"/>
              </a:xfrm>
              <a:custGeom>
                <a:avLst/>
                <a:gdLst>
                  <a:gd name="T0" fmla="*/ 0 w 1736"/>
                  <a:gd name="T1" fmla="*/ 0 h 2522"/>
                  <a:gd name="T2" fmla="*/ 0 w 1736"/>
                  <a:gd name="T3" fmla="*/ 2522 h 2522"/>
                  <a:gd name="T4" fmla="*/ 604 w 1736"/>
                  <a:gd name="T5" fmla="*/ 2522 h 2522"/>
                  <a:gd name="T6" fmla="*/ 604 w 1736"/>
                  <a:gd name="T7" fmla="*/ 2110 h 2522"/>
                  <a:gd name="T8" fmla="*/ 604 w 1736"/>
                  <a:gd name="T9" fmla="*/ 2110 h 2522"/>
                  <a:gd name="T10" fmla="*/ 606 w 1736"/>
                  <a:gd name="T11" fmla="*/ 2092 h 2522"/>
                  <a:gd name="T12" fmla="*/ 610 w 1736"/>
                  <a:gd name="T13" fmla="*/ 2076 h 2522"/>
                  <a:gd name="T14" fmla="*/ 618 w 1736"/>
                  <a:gd name="T15" fmla="*/ 2062 h 2522"/>
                  <a:gd name="T16" fmla="*/ 630 w 1736"/>
                  <a:gd name="T17" fmla="*/ 2048 h 2522"/>
                  <a:gd name="T18" fmla="*/ 642 w 1736"/>
                  <a:gd name="T19" fmla="*/ 2038 h 2522"/>
                  <a:gd name="T20" fmla="*/ 656 w 1736"/>
                  <a:gd name="T21" fmla="*/ 2030 h 2522"/>
                  <a:gd name="T22" fmla="*/ 674 w 1736"/>
                  <a:gd name="T23" fmla="*/ 2024 h 2522"/>
                  <a:gd name="T24" fmla="*/ 690 w 1736"/>
                  <a:gd name="T25" fmla="*/ 2024 h 2522"/>
                  <a:gd name="T26" fmla="*/ 1026 w 1736"/>
                  <a:gd name="T27" fmla="*/ 2024 h 2522"/>
                  <a:gd name="T28" fmla="*/ 1026 w 1736"/>
                  <a:gd name="T29" fmla="*/ 2024 h 2522"/>
                  <a:gd name="T30" fmla="*/ 1044 w 1736"/>
                  <a:gd name="T31" fmla="*/ 2024 h 2522"/>
                  <a:gd name="T32" fmla="*/ 1060 w 1736"/>
                  <a:gd name="T33" fmla="*/ 2030 h 2522"/>
                  <a:gd name="T34" fmla="*/ 1076 w 1736"/>
                  <a:gd name="T35" fmla="*/ 2038 h 2522"/>
                  <a:gd name="T36" fmla="*/ 1088 w 1736"/>
                  <a:gd name="T37" fmla="*/ 2048 h 2522"/>
                  <a:gd name="T38" fmla="*/ 1098 w 1736"/>
                  <a:gd name="T39" fmla="*/ 2062 h 2522"/>
                  <a:gd name="T40" fmla="*/ 1106 w 1736"/>
                  <a:gd name="T41" fmla="*/ 2076 h 2522"/>
                  <a:gd name="T42" fmla="*/ 1112 w 1736"/>
                  <a:gd name="T43" fmla="*/ 2092 h 2522"/>
                  <a:gd name="T44" fmla="*/ 1114 w 1736"/>
                  <a:gd name="T45" fmla="*/ 2110 h 2522"/>
                  <a:gd name="T46" fmla="*/ 1114 w 1736"/>
                  <a:gd name="T47" fmla="*/ 2522 h 2522"/>
                  <a:gd name="T48" fmla="*/ 1734 w 1736"/>
                  <a:gd name="T49" fmla="*/ 2522 h 2522"/>
                  <a:gd name="T50" fmla="*/ 1734 w 1736"/>
                  <a:gd name="T51" fmla="*/ 1092 h 2522"/>
                  <a:gd name="T52" fmla="*/ 1736 w 1736"/>
                  <a:gd name="T53" fmla="*/ 2 h 2522"/>
                  <a:gd name="T54" fmla="*/ 0 w 1736"/>
                  <a:gd name="T55" fmla="*/ 0 h 2522"/>
                  <a:gd name="T56" fmla="*/ 728 w 1736"/>
                  <a:gd name="T57" fmla="*/ 1646 h 2522"/>
                  <a:gd name="T58" fmla="*/ 292 w 1736"/>
                  <a:gd name="T59" fmla="*/ 1646 h 2522"/>
                  <a:gd name="T60" fmla="*/ 292 w 1736"/>
                  <a:gd name="T61" fmla="*/ 1362 h 2522"/>
                  <a:gd name="T62" fmla="*/ 728 w 1736"/>
                  <a:gd name="T63" fmla="*/ 1362 h 2522"/>
                  <a:gd name="T64" fmla="*/ 728 w 1736"/>
                  <a:gd name="T65" fmla="*/ 1646 h 2522"/>
                  <a:gd name="T66" fmla="*/ 728 w 1736"/>
                  <a:gd name="T67" fmla="*/ 1144 h 2522"/>
                  <a:gd name="T68" fmla="*/ 292 w 1736"/>
                  <a:gd name="T69" fmla="*/ 1144 h 2522"/>
                  <a:gd name="T70" fmla="*/ 292 w 1736"/>
                  <a:gd name="T71" fmla="*/ 860 h 2522"/>
                  <a:gd name="T72" fmla="*/ 728 w 1736"/>
                  <a:gd name="T73" fmla="*/ 860 h 2522"/>
                  <a:gd name="T74" fmla="*/ 728 w 1736"/>
                  <a:gd name="T75" fmla="*/ 1144 h 2522"/>
                  <a:gd name="T76" fmla="*/ 728 w 1736"/>
                  <a:gd name="T77" fmla="*/ 644 h 2522"/>
                  <a:gd name="T78" fmla="*/ 292 w 1736"/>
                  <a:gd name="T79" fmla="*/ 644 h 2522"/>
                  <a:gd name="T80" fmla="*/ 292 w 1736"/>
                  <a:gd name="T81" fmla="*/ 360 h 2522"/>
                  <a:gd name="T82" fmla="*/ 728 w 1736"/>
                  <a:gd name="T83" fmla="*/ 360 h 2522"/>
                  <a:gd name="T84" fmla="*/ 728 w 1736"/>
                  <a:gd name="T85" fmla="*/ 644 h 2522"/>
                  <a:gd name="T86" fmla="*/ 1426 w 1736"/>
                  <a:gd name="T87" fmla="*/ 1646 h 2522"/>
                  <a:gd name="T88" fmla="*/ 990 w 1736"/>
                  <a:gd name="T89" fmla="*/ 1646 h 2522"/>
                  <a:gd name="T90" fmla="*/ 990 w 1736"/>
                  <a:gd name="T91" fmla="*/ 1362 h 2522"/>
                  <a:gd name="T92" fmla="*/ 1426 w 1736"/>
                  <a:gd name="T93" fmla="*/ 1362 h 2522"/>
                  <a:gd name="T94" fmla="*/ 1426 w 1736"/>
                  <a:gd name="T95" fmla="*/ 1646 h 2522"/>
                  <a:gd name="T96" fmla="*/ 1426 w 1736"/>
                  <a:gd name="T97" fmla="*/ 1144 h 2522"/>
                  <a:gd name="T98" fmla="*/ 990 w 1736"/>
                  <a:gd name="T99" fmla="*/ 1144 h 2522"/>
                  <a:gd name="T100" fmla="*/ 990 w 1736"/>
                  <a:gd name="T101" fmla="*/ 860 h 2522"/>
                  <a:gd name="T102" fmla="*/ 1426 w 1736"/>
                  <a:gd name="T103" fmla="*/ 860 h 2522"/>
                  <a:gd name="T104" fmla="*/ 1426 w 1736"/>
                  <a:gd name="T105" fmla="*/ 1144 h 2522"/>
                  <a:gd name="T106" fmla="*/ 1426 w 1736"/>
                  <a:gd name="T107" fmla="*/ 644 h 2522"/>
                  <a:gd name="T108" fmla="*/ 990 w 1736"/>
                  <a:gd name="T109" fmla="*/ 644 h 2522"/>
                  <a:gd name="T110" fmla="*/ 990 w 1736"/>
                  <a:gd name="T111" fmla="*/ 360 h 2522"/>
                  <a:gd name="T112" fmla="*/ 1426 w 1736"/>
                  <a:gd name="T113" fmla="*/ 360 h 2522"/>
                  <a:gd name="T114" fmla="*/ 1426 w 1736"/>
                  <a:gd name="T115" fmla="*/ 644 h 2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36" h="2522">
                    <a:moveTo>
                      <a:pt x="0" y="0"/>
                    </a:moveTo>
                    <a:lnTo>
                      <a:pt x="0" y="2522"/>
                    </a:lnTo>
                    <a:lnTo>
                      <a:pt x="604" y="2522"/>
                    </a:lnTo>
                    <a:lnTo>
                      <a:pt x="604" y="2110"/>
                    </a:lnTo>
                    <a:lnTo>
                      <a:pt x="604" y="2110"/>
                    </a:lnTo>
                    <a:lnTo>
                      <a:pt x="606" y="2092"/>
                    </a:lnTo>
                    <a:lnTo>
                      <a:pt x="610" y="2076"/>
                    </a:lnTo>
                    <a:lnTo>
                      <a:pt x="618" y="2062"/>
                    </a:lnTo>
                    <a:lnTo>
                      <a:pt x="630" y="2048"/>
                    </a:lnTo>
                    <a:lnTo>
                      <a:pt x="642" y="2038"/>
                    </a:lnTo>
                    <a:lnTo>
                      <a:pt x="656" y="2030"/>
                    </a:lnTo>
                    <a:lnTo>
                      <a:pt x="674" y="2024"/>
                    </a:lnTo>
                    <a:lnTo>
                      <a:pt x="690" y="2024"/>
                    </a:lnTo>
                    <a:lnTo>
                      <a:pt x="1026" y="2024"/>
                    </a:lnTo>
                    <a:lnTo>
                      <a:pt x="1026" y="2024"/>
                    </a:lnTo>
                    <a:lnTo>
                      <a:pt x="1044" y="2024"/>
                    </a:lnTo>
                    <a:lnTo>
                      <a:pt x="1060" y="2030"/>
                    </a:lnTo>
                    <a:lnTo>
                      <a:pt x="1076" y="2038"/>
                    </a:lnTo>
                    <a:lnTo>
                      <a:pt x="1088" y="2048"/>
                    </a:lnTo>
                    <a:lnTo>
                      <a:pt x="1098" y="2062"/>
                    </a:lnTo>
                    <a:lnTo>
                      <a:pt x="1106" y="2076"/>
                    </a:lnTo>
                    <a:lnTo>
                      <a:pt x="1112" y="2092"/>
                    </a:lnTo>
                    <a:lnTo>
                      <a:pt x="1114" y="2110"/>
                    </a:lnTo>
                    <a:lnTo>
                      <a:pt x="1114" y="2522"/>
                    </a:lnTo>
                    <a:lnTo>
                      <a:pt x="1734" y="2522"/>
                    </a:lnTo>
                    <a:lnTo>
                      <a:pt x="1734" y="1092"/>
                    </a:lnTo>
                    <a:lnTo>
                      <a:pt x="1736" y="2"/>
                    </a:lnTo>
                    <a:lnTo>
                      <a:pt x="0" y="0"/>
                    </a:lnTo>
                    <a:close/>
                    <a:moveTo>
                      <a:pt x="728" y="1646"/>
                    </a:moveTo>
                    <a:lnTo>
                      <a:pt x="292" y="1646"/>
                    </a:lnTo>
                    <a:lnTo>
                      <a:pt x="292" y="1362"/>
                    </a:lnTo>
                    <a:lnTo>
                      <a:pt x="728" y="1362"/>
                    </a:lnTo>
                    <a:lnTo>
                      <a:pt x="728" y="1646"/>
                    </a:lnTo>
                    <a:close/>
                    <a:moveTo>
                      <a:pt x="728" y="1144"/>
                    </a:moveTo>
                    <a:lnTo>
                      <a:pt x="292" y="1144"/>
                    </a:lnTo>
                    <a:lnTo>
                      <a:pt x="292" y="860"/>
                    </a:lnTo>
                    <a:lnTo>
                      <a:pt x="728" y="860"/>
                    </a:lnTo>
                    <a:lnTo>
                      <a:pt x="728" y="1144"/>
                    </a:lnTo>
                    <a:close/>
                    <a:moveTo>
                      <a:pt x="728" y="644"/>
                    </a:moveTo>
                    <a:lnTo>
                      <a:pt x="292" y="644"/>
                    </a:lnTo>
                    <a:lnTo>
                      <a:pt x="292" y="360"/>
                    </a:lnTo>
                    <a:lnTo>
                      <a:pt x="728" y="360"/>
                    </a:lnTo>
                    <a:lnTo>
                      <a:pt x="728" y="644"/>
                    </a:lnTo>
                    <a:close/>
                    <a:moveTo>
                      <a:pt x="1426" y="1646"/>
                    </a:moveTo>
                    <a:lnTo>
                      <a:pt x="990" y="1646"/>
                    </a:lnTo>
                    <a:lnTo>
                      <a:pt x="990" y="1362"/>
                    </a:lnTo>
                    <a:lnTo>
                      <a:pt x="1426" y="1362"/>
                    </a:lnTo>
                    <a:lnTo>
                      <a:pt x="1426" y="1646"/>
                    </a:lnTo>
                    <a:close/>
                    <a:moveTo>
                      <a:pt x="1426" y="1144"/>
                    </a:moveTo>
                    <a:lnTo>
                      <a:pt x="990" y="1144"/>
                    </a:lnTo>
                    <a:lnTo>
                      <a:pt x="990" y="860"/>
                    </a:lnTo>
                    <a:lnTo>
                      <a:pt x="1426" y="860"/>
                    </a:lnTo>
                    <a:lnTo>
                      <a:pt x="1426" y="1144"/>
                    </a:lnTo>
                    <a:close/>
                    <a:moveTo>
                      <a:pt x="1426" y="644"/>
                    </a:moveTo>
                    <a:lnTo>
                      <a:pt x="990" y="644"/>
                    </a:lnTo>
                    <a:lnTo>
                      <a:pt x="990" y="360"/>
                    </a:lnTo>
                    <a:lnTo>
                      <a:pt x="1426" y="360"/>
                    </a:lnTo>
                    <a:lnTo>
                      <a:pt x="1426" y="6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724" name="Group 1723"/>
          <p:cNvGrpSpPr/>
          <p:nvPr/>
        </p:nvGrpSpPr>
        <p:grpSpPr>
          <a:xfrm>
            <a:off x="10383112" y="4566974"/>
            <a:ext cx="1408604" cy="803955"/>
            <a:chOff x="831806" y="3541921"/>
            <a:chExt cx="1002800" cy="1261872"/>
          </a:xfrm>
        </p:grpSpPr>
        <p:sp>
          <p:nvSpPr>
            <p:cNvPr id="1740" name="Rectangle 1739"/>
            <p:cNvSpPr/>
            <p:nvPr/>
          </p:nvSpPr>
          <p:spPr bwMode="auto">
            <a:xfrm>
              <a:off x="831806" y="3541921"/>
              <a:ext cx="1002800"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Enable pay-as-you-go and other scenarios leveraging connected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car data</a:t>
              </a:r>
            </a:p>
          </p:txBody>
        </p:sp>
        <p:cxnSp>
          <p:nvCxnSpPr>
            <p:cNvPr id="1741" name="Straight Connector 1740"/>
            <p:cNvCxnSpPr/>
            <p:nvPr/>
          </p:nvCxnSpPr>
          <p:spPr>
            <a:xfrm flipV="1">
              <a:off x="831806" y="3541921"/>
              <a:ext cx="0" cy="1261872"/>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725" name="TextBox 1724"/>
          <p:cNvSpPr txBox="1"/>
          <p:nvPr/>
        </p:nvSpPr>
        <p:spPr>
          <a:xfrm>
            <a:off x="9363104" y="4286505"/>
            <a:ext cx="1330316" cy="161583"/>
          </a:xfrm>
          <a:prstGeom prst="rect">
            <a:avLst/>
          </a:prstGeom>
          <a:noFill/>
          <a:ln>
            <a:noFill/>
            <a:headEnd type="none" w="med" len="med"/>
            <a:tailEnd type="none" w="med" len="med"/>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38" normalizeH="0" baseline="0" noProof="0" dirty="0">
                <a:ln>
                  <a:noFill/>
                </a:ln>
                <a:solidFill>
                  <a:srgbClr val="8DC548"/>
                </a:solidFill>
                <a:effectLst/>
                <a:uLnTx/>
                <a:uFillTx/>
                <a:ea typeface="Segoe UI" pitchFamily="34" charset="0"/>
                <a:cs typeface="Segoe UI" pitchFamily="34" charset="0"/>
              </a:rPr>
              <a:t>Insurance Provider</a:t>
            </a:r>
          </a:p>
        </p:txBody>
      </p:sp>
      <p:grpSp>
        <p:nvGrpSpPr>
          <p:cNvPr id="1726" name="Group 1725"/>
          <p:cNvGrpSpPr/>
          <p:nvPr/>
        </p:nvGrpSpPr>
        <p:grpSpPr>
          <a:xfrm>
            <a:off x="9962234" y="4529625"/>
            <a:ext cx="305515" cy="879872"/>
            <a:chOff x="7977346" y="5496943"/>
            <a:chExt cx="305515" cy="879872"/>
          </a:xfrm>
        </p:grpSpPr>
        <p:grpSp>
          <p:nvGrpSpPr>
            <p:cNvPr id="1731" name="Group 1730"/>
            <p:cNvGrpSpPr/>
            <p:nvPr/>
          </p:nvGrpSpPr>
          <p:grpSpPr>
            <a:xfrm>
              <a:off x="7977346" y="5496943"/>
              <a:ext cx="305515" cy="879872"/>
              <a:chOff x="7977346" y="5496943"/>
              <a:chExt cx="330876" cy="952910"/>
            </a:xfrm>
          </p:grpSpPr>
          <p:sp>
            <p:nvSpPr>
              <p:cNvPr id="1736" name="Oval 1735"/>
              <p:cNvSpPr/>
              <p:nvPr/>
            </p:nvSpPr>
            <p:spPr bwMode="auto">
              <a:xfrm>
                <a:off x="7977346" y="5496943"/>
                <a:ext cx="330876" cy="330876"/>
              </a:xfrm>
              <a:prstGeom prst="ellipse">
                <a:avLst/>
              </a:prstGeom>
              <a:solidFill>
                <a:schemeClr val="accent5">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37" name="Oval 1736"/>
              <p:cNvSpPr/>
              <p:nvPr/>
            </p:nvSpPr>
            <p:spPr bwMode="auto">
              <a:xfrm>
                <a:off x="7977346" y="5704288"/>
                <a:ext cx="330876" cy="330876"/>
              </a:xfrm>
              <a:prstGeom prst="ellipse">
                <a:avLst/>
              </a:prstGeom>
              <a:solidFill>
                <a:schemeClr val="accent5">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38" name="Oval 1737"/>
              <p:cNvSpPr/>
              <p:nvPr/>
            </p:nvSpPr>
            <p:spPr bwMode="auto">
              <a:xfrm>
                <a:off x="7977346" y="5911633"/>
                <a:ext cx="330876" cy="330876"/>
              </a:xfrm>
              <a:prstGeom prst="ellipse">
                <a:avLst/>
              </a:prstGeom>
              <a:solidFill>
                <a:schemeClr val="accent5">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39" name="Oval 1738"/>
              <p:cNvSpPr/>
              <p:nvPr/>
            </p:nvSpPr>
            <p:spPr bwMode="auto">
              <a:xfrm>
                <a:off x="7977346" y="6118977"/>
                <a:ext cx="330876" cy="330876"/>
              </a:xfrm>
              <a:prstGeom prst="ellipse">
                <a:avLst/>
              </a:prstGeom>
              <a:solidFill>
                <a:schemeClr val="accent5">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732" name="Freeform 8"/>
            <p:cNvSpPr>
              <a:spLocks noEditPoints="1"/>
            </p:cNvSpPr>
            <p:nvPr/>
          </p:nvSpPr>
          <p:spPr bwMode="auto">
            <a:xfrm>
              <a:off x="8066657" y="6186315"/>
              <a:ext cx="137360" cy="114697"/>
            </a:xfrm>
            <a:custGeom>
              <a:avLst/>
              <a:gdLst>
                <a:gd name="T0" fmla="*/ 662 w 800"/>
                <a:gd name="T1" fmla="*/ 60 h 668"/>
                <a:gd name="T2" fmla="*/ 642 w 800"/>
                <a:gd name="T3" fmla="*/ 26 h 668"/>
                <a:gd name="T4" fmla="*/ 606 w 800"/>
                <a:gd name="T5" fmla="*/ 4 h 668"/>
                <a:gd name="T6" fmla="*/ 480 w 800"/>
                <a:gd name="T7" fmla="*/ 0 h 668"/>
                <a:gd name="T8" fmla="*/ 228 w 800"/>
                <a:gd name="T9" fmla="*/ 0 h 668"/>
                <a:gd name="T10" fmla="*/ 180 w 800"/>
                <a:gd name="T11" fmla="*/ 10 h 668"/>
                <a:gd name="T12" fmla="*/ 150 w 800"/>
                <a:gd name="T13" fmla="*/ 36 h 668"/>
                <a:gd name="T14" fmla="*/ 72 w 800"/>
                <a:gd name="T15" fmla="*/ 228 h 668"/>
                <a:gd name="T16" fmla="*/ 50 w 800"/>
                <a:gd name="T17" fmla="*/ 236 h 668"/>
                <a:gd name="T18" fmla="*/ 16 w 800"/>
                <a:gd name="T19" fmla="*/ 268 h 668"/>
                <a:gd name="T20" fmla="*/ 0 w 800"/>
                <a:gd name="T21" fmla="*/ 320 h 668"/>
                <a:gd name="T22" fmla="*/ 64 w 800"/>
                <a:gd name="T23" fmla="*/ 606 h 668"/>
                <a:gd name="T24" fmla="*/ 70 w 800"/>
                <a:gd name="T25" fmla="*/ 634 h 668"/>
                <a:gd name="T26" fmla="*/ 92 w 800"/>
                <a:gd name="T27" fmla="*/ 660 h 668"/>
                <a:gd name="T28" fmla="*/ 124 w 800"/>
                <a:gd name="T29" fmla="*/ 668 h 668"/>
                <a:gd name="T30" fmla="*/ 156 w 800"/>
                <a:gd name="T31" fmla="*/ 660 h 668"/>
                <a:gd name="T32" fmla="*/ 178 w 800"/>
                <a:gd name="T33" fmla="*/ 632 h 668"/>
                <a:gd name="T34" fmla="*/ 184 w 800"/>
                <a:gd name="T35" fmla="*/ 536 h 668"/>
                <a:gd name="T36" fmla="*/ 616 w 800"/>
                <a:gd name="T37" fmla="*/ 606 h 668"/>
                <a:gd name="T38" fmla="*/ 620 w 800"/>
                <a:gd name="T39" fmla="*/ 632 h 668"/>
                <a:gd name="T40" fmla="*/ 644 w 800"/>
                <a:gd name="T41" fmla="*/ 660 h 668"/>
                <a:gd name="T42" fmla="*/ 676 w 800"/>
                <a:gd name="T43" fmla="*/ 668 h 668"/>
                <a:gd name="T44" fmla="*/ 708 w 800"/>
                <a:gd name="T45" fmla="*/ 660 h 668"/>
                <a:gd name="T46" fmla="*/ 730 w 800"/>
                <a:gd name="T47" fmla="*/ 634 h 668"/>
                <a:gd name="T48" fmla="*/ 736 w 800"/>
                <a:gd name="T49" fmla="*/ 536 h 668"/>
                <a:gd name="T50" fmla="*/ 800 w 800"/>
                <a:gd name="T51" fmla="*/ 320 h 668"/>
                <a:gd name="T52" fmla="*/ 784 w 800"/>
                <a:gd name="T53" fmla="*/ 268 h 668"/>
                <a:gd name="T54" fmla="*/ 750 w 800"/>
                <a:gd name="T55" fmla="*/ 236 h 668"/>
                <a:gd name="T56" fmla="*/ 728 w 800"/>
                <a:gd name="T57" fmla="*/ 228 h 668"/>
                <a:gd name="T58" fmla="*/ 114 w 800"/>
                <a:gd name="T59" fmla="*/ 406 h 668"/>
                <a:gd name="T60" fmla="*/ 86 w 800"/>
                <a:gd name="T61" fmla="*/ 390 h 668"/>
                <a:gd name="T62" fmla="*/ 72 w 800"/>
                <a:gd name="T63" fmla="*/ 360 h 668"/>
                <a:gd name="T64" fmla="*/ 72 w 800"/>
                <a:gd name="T65" fmla="*/ 338 h 668"/>
                <a:gd name="T66" fmla="*/ 86 w 800"/>
                <a:gd name="T67" fmla="*/ 308 h 668"/>
                <a:gd name="T68" fmla="*/ 114 w 800"/>
                <a:gd name="T69" fmla="*/ 294 h 668"/>
                <a:gd name="T70" fmla="*/ 136 w 800"/>
                <a:gd name="T71" fmla="*/ 294 h 668"/>
                <a:gd name="T72" fmla="*/ 164 w 800"/>
                <a:gd name="T73" fmla="*/ 308 h 668"/>
                <a:gd name="T74" fmla="*/ 180 w 800"/>
                <a:gd name="T75" fmla="*/ 338 h 668"/>
                <a:gd name="T76" fmla="*/ 180 w 800"/>
                <a:gd name="T77" fmla="*/ 360 h 668"/>
                <a:gd name="T78" fmla="*/ 164 w 800"/>
                <a:gd name="T79" fmla="*/ 390 h 668"/>
                <a:gd name="T80" fmla="*/ 136 w 800"/>
                <a:gd name="T81" fmla="*/ 406 h 668"/>
                <a:gd name="T82" fmla="*/ 400 w 800"/>
                <a:gd name="T83" fmla="*/ 228 h 668"/>
                <a:gd name="T84" fmla="*/ 190 w 800"/>
                <a:gd name="T85" fmla="*/ 94 h 668"/>
                <a:gd name="T86" fmla="*/ 202 w 800"/>
                <a:gd name="T87" fmla="*/ 70 h 668"/>
                <a:gd name="T88" fmla="*/ 220 w 800"/>
                <a:gd name="T89" fmla="*/ 62 h 668"/>
                <a:gd name="T90" fmla="*/ 400 w 800"/>
                <a:gd name="T91" fmla="*/ 62 h 668"/>
                <a:gd name="T92" fmla="*/ 580 w 800"/>
                <a:gd name="T93" fmla="*/ 62 h 668"/>
                <a:gd name="T94" fmla="*/ 598 w 800"/>
                <a:gd name="T95" fmla="*/ 70 h 668"/>
                <a:gd name="T96" fmla="*/ 660 w 800"/>
                <a:gd name="T97" fmla="*/ 228 h 668"/>
                <a:gd name="T98" fmla="*/ 674 w 800"/>
                <a:gd name="T99" fmla="*/ 406 h 668"/>
                <a:gd name="T100" fmla="*/ 642 w 800"/>
                <a:gd name="T101" fmla="*/ 396 h 668"/>
                <a:gd name="T102" fmla="*/ 622 w 800"/>
                <a:gd name="T103" fmla="*/ 372 h 668"/>
                <a:gd name="T104" fmla="*/ 618 w 800"/>
                <a:gd name="T105" fmla="*/ 350 h 668"/>
                <a:gd name="T106" fmla="*/ 628 w 800"/>
                <a:gd name="T107" fmla="*/ 318 h 668"/>
                <a:gd name="T108" fmla="*/ 652 w 800"/>
                <a:gd name="T109" fmla="*/ 296 h 668"/>
                <a:gd name="T110" fmla="*/ 674 w 800"/>
                <a:gd name="T111" fmla="*/ 292 h 668"/>
                <a:gd name="T112" fmla="*/ 706 w 800"/>
                <a:gd name="T113" fmla="*/ 302 h 668"/>
                <a:gd name="T114" fmla="*/ 726 w 800"/>
                <a:gd name="T115" fmla="*/ 328 h 668"/>
                <a:gd name="T116" fmla="*/ 730 w 800"/>
                <a:gd name="T117" fmla="*/ 350 h 668"/>
                <a:gd name="T118" fmla="*/ 720 w 800"/>
                <a:gd name="T119" fmla="*/ 382 h 668"/>
                <a:gd name="T120" fmla="*/ 696 w 800"/>
                <a:gd name="T121" fmla="*/ 402 h 668"/>
                <a:gd name="T122" fmla="*/ 674 w 800"/>
                <a:gd name="T123" fmla="*/ 406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0" h="668">
                  <a:moveTo>
                    <a:pt x="728" y="228"/>
                  </a:moveTo>
                  <a:lnTo>
                    <a:pt x="662" y="60"/>
                  </a:lnTo>
                  <a:lnTo>
                    <a:pt x="662" y="60"/>
                  </a:lnTo>
                  <a:lnTo>
                    <a:pt x="656" y="48"/>
                  </a:lnTo>
                  <a:lnTo>
                    <a:pt x="650" y="36"/>
                  </a:lnTo>
                  <a:lnTo>
                    <a:pt x="642" y="26"/>
                  </a:lnTo>
                  <a:lnTo>
                    <a:pt x="632" y="18"/>
                  </a:lnTo>
                  <a:lnTo>
                    <a:pt x="620" y="10"/>
                  </a:lnTo>
                  <a:lnTo>
                    <a:pt x="606" y="4"/>
                  </a:lnTo>
                  <a:lnTo>
                    <a:pt x="590" y="0"/>
                  </a:lnTo>
                  <a:lnTo>
                    <a:pt x="572" y="0"/>
                  </a:lnTo>
                  <a:lnTo>
                    <a:pt x="480" y="0"/>
                  </a:lnTo>
                  <a:lnTo>
                    <a:pt x="322" y="0"/>
                  </a:lnTo>
                  <a:lnTo>
                    <a:pt x="228" y="0"/>
                  </a:lnTo>
                  <a:lnTo>
                    <a:pt x="228" y="0"/>
                  </a:lnTo>
                  <a:lnTo>
                    <a:pt x="210" y="0"/>
                  </a:lnTo>
                  <a:lnTo>
                    <a:pt x="194" y="4"/>
                  </a:lnTo>
                  <a:lnTo>
                    <a:pt x="180" y="10"/>
                  </a:lnTo>
                  <a:lnTo>
                    <a:pt x="168" y="18"/>
                  </a:lnTo>
                  <a:lnTo>
                    <a:pt x="158" y="26"/>
                  </a:lnTo>
                  <a:lnTo>
                    <a:pt x="150" y="36"/>
                  </a:lnTo>
                  <a:lnTo>
                    <a:pt x="144" y="48"/>
                  </a:lnTo>
                  <a:lnTo>
                    <a:pt x="138" y="60"/>
                  </a:lnTo>
                  <a:lnTo>
                    <a:pt x="72" y="228"/>
                  </a:lnTo>
                  <a:lnTo>
                    <a:pt x="72" y="228"/>
                  </a:lnTo>
                  <a:lnTo>
                    <a:pt x="62" y="232"/>
                  </a:lnTo>
                  <a:lnTo>
                    <a:pt x="50" y="236"/>
                  </a:lnTo>
                  <a:lnTo>
                    <a:pt x="38" y="244"/>
                  </a:lnTo>
                  <a:lnTo>
                    <a:pt x="26" y="254"/>
                  </a:lnTo>
                  <a:lnTo>
                    <a:pt x="16" y="268"/>
                  </a:lnTo>
                  <a:lnTo>
                    <a:pt x="8" y="282"/>
                  </a:lnTo>
                  <a:lnTo>
                    <a:pt x="2" y="300"/>
                  </a:lnTo>
                  <a:lnTo>
                    <a:pt x="0" y="320"/>
                  </a:lnTo>
                  <a:lnTo>
                    <a:pt x="0" y="536"/>
                  </a:lnTo>
                  <a:lnTo>
                    <a:pt x="64" y="536"/>
                  </a:lnTo>
                  <a:lnTo>
                    <a:pt x="64" y="606"/>
                  </a:lnTo>
                  <a:lnTo>
                    <a:pt x="64" y="606"/>
                  </a:lnTo>
                  <a:lnTo>
                    <a:pt x="66" y="620"/>
                  </a:lnTo>
                  <a:lnTo>
                    <a:pt x="70" y="634"/>
                  </a:lnTo>
                  <a:lnTo>
                    <a:pt x="74" y="644"/>
                  </a:lnTo>
                  <a:lnTo>
                    <a:pt x="82" y="652"/>
                  </a:lnTo>
                  <a:lnTo>
                    <a:pt x="92" y="660"/>
                  </a:lnTo>
                  <a:lnTo>
                    <a:pt x="102" y="664"/>
                  </a:lnTo>
                  <a:lnTo>
                    <a:pt x="112" y="668"/>
                  </a:lnTo>
                  <a:lnTo>
                    <a:pt x="124" y="668"/>
                  </a:lnTo>
                  <a:lnTo>
                    <a:pt x="136" y="668"/>
                  </a:lnTo>
                  <a:lnTo>
                    <a:pt x="146" y="664"/>
                  </a:lnTo>
                  <a:lnTo>
                    <a:pt x="156" y="660"/>
                  </a:lnTo>
                  <a:lnTo>
                    <a:pt x="166" y="652"/>
                  </a:lnTo>
                  <a:lnTo>
                    <a:pt x="172" y="644"/>
                  </a:lnTo>
                  <a:lnTo>
                    <a:pt x="178" y="632"/>
                  </a:lnTo>
                  <a:lnTo>
                    <a:pt x="182" y="620"/>
                  </a:lnTo>
                  <a:lnTo>
                    <a:pt x="184" y="606"/>
                  </a:lnTo>
                  <a:lnTo>
                    <a:pt x="184" y="536"/>
                  </a:lnTo>
                  <a:lnTo>
                    <a:pt x="400" y="536"/>
                  </a:lnTo>
                  <a:lnTo>
                    <a:pt x="616" y="536"/>
                  </a:lnTo>
                  <a:lnTo>
                    <a:pt x="616" y="606"/>
                  </a:lnTo>
                  <a:lnTo>
                    <a:pt x="616" y="606"/>
                  </a:lnTo>
                  <a:lnTo>
                    <a:pt x="616" y="620"/>
                  </a:lnTo>
                  <a:lnTo>
                    <a:pt x="620" y="632"/>
                  </a:lnTo>
                  <a:lnTo>
                    <a:pt x="626" y="644"/>
                  </a:lnTo>
                  <a:lnTo>
                    <a:pt x="634" y="652"/>
                  </a:lnTo>
                  <a:lnTo>
                    <a:pt x="644" y="660"/>
                  </a:lnTo>
                  <a:lnTo>
                    <a:pt x="654" y="664"/>
                  </a:lnTo>
                  <a:lnTo>
                    <a:pt x="664" y="668"/>
                  </a:lnTo>
                  <a:lnTo>
                    <a:pt x="676" y="668"/>
                  </a:lnTo>
                  <a:lnTo>
                    <a:pt x="688" y="668"/>
                  </a:lnTo>
                  <a:lnTo>
                    <a:pt x="698" y="664"/>
                  </a:lnTo>
                  <a:lnTo>
                    <a:pt x="708" y="660"/>
                  </a:lnTo>
                  <a:lnTo>
                    <a:pt x="718" y="652"/>
                  </a:lnTo>
                  <a:lnTo>
                    <a:pt x="724" y="644"/>
                  </a:lnTo>
                  <a:lnTo>
                    <a:pt x="730" y="634"/>
                  </a:lnTo>
                  <a:lnTo>
                    <a:pt x="734" y="620"/>
                  </a:lnTo>
                  <a:lnTo>
                    <a:pt x="736" y="606"/>
                  </a:lnTo>
                  <a:lnTo>
                    <a:pt x="736" y="536"/>
                  </a:lnTo>
                  <a:lnTo>
                    <a:pt x="800" y="536"/>
                  </a:lnTo>
                  <a:lnTo>
                    <a:pt x="800" y="320"/>
                  </a:lnTo>
                  <a:lnTo>
                    <a:pt x="800" y="320"/>
                  </a:lnTo>
                  <a:lnTo>
                    <a:pt x="798" y="300"/>
                  </a:lnTo>
                  <a:lnTo>
                    <a:pt x="792" y="282"/>
                  </a:lnTo>
                  <a:lnTo>
                    <a:pt x="784" y="268"/>
                  </a:lnTo>
                  <a:lnTo>
                    <a:pt x="774" y="254"/>
                  </a:lnTo>
                  <a:lnTo>
                    <a:pt x="762" y="244"/>
                  </a:lnTo>
                  <a:lnTo>
                    <a:pt x="750" y="236"/>
                  </a:lnTo>
                  <a:lnTo>
                    <a:pt x="738" y="232"/>
                  </a:lnTo>
                  <a:lnTo>
                    <a:pt x="728" y="228"/>
                  </a:lnTo>
                  <a:lnTo>
                    <a:pt x="728" y="228"/>
                  </a:lnTo>
                  <a:close/>
                  <a:moveTo>
                    <a:pt x="126" y="406"/>
                  </a:moveTo>
                  <a:lnTo>
                    <a:pt x="126" y="406"/>
                  </a:lnTo>
                  <a:lnTo>
                    <a:pt x="114" y="406"/>
                  </a:lnTo>
                  <a:lnTo>
                    <a:pt x="104" y="402"/>
                  </a:lnTo>
                  <a:lnTo>
                    <a:pt x="94" y="396"/>
                  </a:lnTo>
                  <a:lnTo>
                    <a:pt x="86" y="390"/>
                  </a:lnTo>
                  <a:lnTo>
                    <a:pt x="80" y="382"/>
                  </a:lnTo>
                  <a:lnTo>
                    <a:pt x="74" y="372"/>
                  </a:lnTo>
                  <a:lnTo>
                    <a:pt x="72" y="360"/>
                  </a:lnTo>
                  <a:lnTo>
                    <a:pt x="70" y="350"/>
                  </a:lnTo>
                  <a:lnTo>
                    <a:pt x="70" y="350"/>
                  </a:lnTo>
                  <a:lnTo>
                    <a:pt x="72" y="338"/>
                  </a:lnTo>
                  <a:lnTo>
                    <a:pt x="74" y="328"/>
                  </a:lnTo>
                  <a:lnTo>
                    <a:pt x="80" y="318"/>
                  </a:lnTo>
                  <a:lnTo>
                    <a:pt x="86" y="308"/>
                  </a:lnTo>
                  <a:lnTo>
                    <a:pt x="94" y="302"/>
                  </a:lnTo>
                  <a:lnTo>
                    <a:pt x="104" y="296"/>
                  </a:lnTo>
                  <a:lnTo>
                    <a:pt x="114" y="294"/>
                  </a:lnTo>
                  <a:lnTo>
                    <a:pt x="126" y="292"/>
                  </a:lnTo>
                  <a:lnTo>
                    <a:pt x="126" y="292"/>
                  </a:lnTo>
                  <a:lnTo>
                    <a:pt x="136" y="294"/>
                  </a:lnTo>
                  <a:lnTo>
                    <a:pt x="148" y="296"/>
                  </a:lnTo>
                  <a:lnTo>
                    <a:pt x="156" y="302"/>
                  </a:lnTo>
                  <a:lnTo>
                    <a:pt x="164" y="308"/>
                  </a:lnTo>
                  <a:lnTo>
                    <a:pt x="172" y="318"/>
                  </a:lnTo>
                  <a:lnTo>
                    <a:pt x="176" y="328"/>
                  </a:lnTo>
                  <a:lnTo>
                    <a:pt x="180" y="338"/>
                  </a:lnTo>
                  <a:lnTo>
                    <a:pt x="182" y="350"/>
                  </a:lnTo>
                  <a:lnTo>
                    <a:pt x="182" y="350"/>
                  </a:lnTo>
                  <a:lnTo>
                    <a:pt x="180" y="360"/>
                  </a:lnTo>
                  <a:lnTo>
                    <a:pt x="176" y="372"/>
                  </a:lnTo>
                  <a:lnTo>
                    <a:pt x="172" y="382"/>
                  </a:lnTo>
                  <a:lnTo>
                    <a:pt x="164" y="390"/>
                  </a:lnTo>
                  <a:lnTo>
                    <a:pt x="156" y="396"/>
                  </a:lnTo>
                  <a:lnTo>
                    <a:pt x="148" y="402"/>
                  </a:lnTo>
                  <a:lnTo>
                    <a:pt x="136" y="406"/>
                  </a:lnTo>
                  <a:lnTo>
                    <a:pt x="126" y="406"/>
                  </a:lnTo>
                  <a:lnTo>
                    <a:pt x="126" y="406"/>
                  </a:lnTo>
                  <a:close/>
                  <a:moveTo>
                    <a:pt x="400" y="228"/>
                  </a:moveTo>
                  <a:lnTo>
                    <a:pt x="400" y="228"/>
                  </a:lnTo>
                  <a:lnTo>
                    <a:pt x="140" y="228"/>
                  </a:lnTo>
                  <a:lnTo>
                    <a:pt x="190" y="94"/>
                  </a:lnTo>
                  <a:lnTo>
                    <a:pt x="190" y="94"/>
                  </a:lnTo>
                  <a:lnTo>
                    <a:pt x="196" y="80"/>
                  </a:lnTo>
                  <a:lnTo>
                    <a:pt x="202" y="70"/>
                  </a:lnTo>
                  <a:lnTo>
                    <a:pt x="208" y="66"/>
                  </a:lnTo>
                  <a:lnTo>
                    <a:pt x="212" y="64"/>
                  </a:lnTo>
                  <a:lnTo>
                    <a:pt x="220" y="62"/>
                  </a:lnTo>
                  <a:lnTo>
                    <a:pt x="226" y="62"/>
                  </a:lnTo>
                  <a:lnTo>
                    <a:pt x="400" y="62"/>
                  </a:lnTo>
                  <a:lnTo>
                    <a:pt x="400" y="62"/>
                  </a:lnTo>
                  <a:lnTo>
                    <a:pt x="574" y="62"/>
                  </a:lnTo>
                  <a:lnTo>
                    <a:pt x="574" y="62"/>
                  </a:lnTo>
                  <a:lnTo>
                    <a:pt x="580" y="62"/>
                  </a:lnTo>
                  <a:lnTo>
                    <a:pt x="588" y="64"/>
                  </a:lnTo>
                  <a:lnTo>
                    <a:pt x="592" y="66"/>
                  </a:lnTo>
                  <a:lnTo>
                    <a:pt x="598" y="70"/>
                  </a:lnTo>
                  <a:lnTo>
                    <a:pt x="604" y="80"/>
                  </a:lnTo>
                  <a:lnTo>
                    <a:pt x="610" y="94"/>
                  </a:lnTo>
                  <a:lnTo>
                    <a:pt x="660" y="228"/>
                  </a:lnTo>
                  <a:lnTo>
                    <a:pt x="400" y="228"/>
                  </a:lnTo>
                  <a:close/>
                  <a:moveTo>
                    <a:pt x="674" y="406"/>
                  </a:moveTo>
                  <a:lnTo>
                    <a:pt x="674" y="406"/>
                  </a:lnTo>
                  <a:lnTo>
                    <a:pt x="662" y="406"/>
                  </a:lnTo>
                  <a:lnTo>
                    <a:pt x="652" y="402"/>
                  </a:lnTo>
                  <a:lnTo>
                    <a:pt x="642" y="396"/>
                  </a:lnTo>
                  <a:lnTo>
                    <a:pt x="634" y="390"/>
                  </a:lnTo>
                  <a:lnTo>
                    <a:pt x="628" y="382"/>
                  </a:lnTo>
                  <a:lnTo>
                    <a:pt x="622" y="372"/>
                  </a:lnTo>
                  <a:lnTo>
                    <a:pt x="620" y="360"/>
                  </a:lnTo>
                  <a:lnTo>
                    <a:pt x="618" y="350"/>
                  </a:lnTo>
                  <a:lnTo>
                    <a:pt x="618" y="350"/>
                  </a:lnTo>
                  <a:lnTo>
                    <a:pt x="620" y="338"/>
                  </a:lnTo>
                  <a:lnTo>
                    <a:pt x="622" y="328"/>
                  </a:lnTo>
                  <a:lnTo>
                    <a:pt x="628" y="318"/>
                  </a:lnTo>
                  <a:lnTo>
                    <a:pt x="634" y="308"/>
                  </a:lnTo>
                  <a:lnTo>
                    <a:pt x="642" y="302"/>
                  </a:lnTo>
                  <a:lnTo>
                    <a:pt x="652" y="296"/>
                  </a:lnTo>
                  <a:lnTo>
                    <a:pt x="662" y="294"/>
                  </a:lnTo>
                  <a:lnTo>
                    <a:pt x="674" y="292"/>
                  </a:lnTo>
                  <a:lnTo>
                    <a:pt x="674" y="292"/>
                  </a:lnTo>
                  <a:lnTo>
                    <a:pt x="686" y="294"/>
                  </a:lnTo>
                  <a:lnTo>
                    <a:pt x="696" y="296"/>
                  </a:lnTo>
                  <a:lnTo>
                    <a:pt x="706" y="302"/>
                  </a:lnTo>
                  <a:lnTo>
                    <a:pt x="714" y="308"/>
                  </a:lnTo>
                  <a:lnTo>
                    <a:pt x="720" y="318"/>
                  </a:lnTo>
                  <a:lnTo>
                    <a:pt x="726" y="328"/>
                  </a:lnTo>
                  <a:lnTo>
                    <a:pt x="728" y="338"/>
                  </a:lnTo>
                  <a:lnTo>
                    <a:pt x="730" y="350"/>
                  </a:lnTo>
                  <a:lnTo>
                    <a:pt x="730" y="350"/>
                  </a:lnTo>
                  <a:lnTo>
                    <a:pt x="728" y="360"/>
                  </a:lnTo>
                  <a:lnTo>
                    <a:pt x="726" y="372"/>
                  </a:lnTo>
                  <a:lnTo>
                    <a:pt x="720" y="382"/>
                  </a:lnTo>
                  <a:lnTo>
                    <a:pt x="714" y="390"/>
                  </a:lnTo>
                  <a:lnTo>
                    <a:pt x="706" y="396"/>
                  </a:lnTo>
                  <a:lnTo>
                    <a:pt x="696" y="402"/>
                  </a:lnTo>
                  <a:lnTo>
                    <a:pt x="686" y="406"/>
                  </a:lnTo>
                  <a:lnTo>
                    <a:pt x="674" y="406"/>
                  </a:lnTo>
                  <a:lnTo>
                    <a:pt x="674" y="40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33" name="Freeform 47"/>
            <p:cNvSpPr>
              <a:spLocks noChangeAspect="1"/>
            </p:cNvSpPr>
            <p:nvPr/>
          </p:nvSpPr>
          <p:spPr bwMode="auto">
            <a:xfrm>
              <a:off x="8070373" y="5991014"/>
              <a:ext cx="119460" cy="99996"/>
            </a:xfrm>
            <a:custGeom>
              <a:avLst/>
              <a:gdLst>
                <a:gd name="T0" fmla="*/ 2081 w 2133"/>
                <a:gd name="T1" fmla="*/ 457 h 1785"/>
                <a:gd name="T2" fmla="*/ 1859 w 2133"/>
                <a:gd name="T3" fmla="*/ 147 h 1785"/>
                <a:gd name="T4" fmla="*/ 1608 w 2133"/>
                <a:gd name="T5" fmla="*/ 4 h 1785"/>
                <a:gd name="T6" fmla="*/ 1589 w 2133"/>
                <a:gd name="T7" fmla="*/ 105 h 1785"/>
                <a:gd name="T8" fmla="*/ 1828 w 2133"/>
                <a:gd name="T9" fmla="*/ 454 h 1785"/>
                <a:gd name="T10" fmla="*/ 1883 w 2133"/>
                <a:gd name="T11" fmla="*/ 788 h 1785"/>
                <a:gd name="T12" fmla="*/ 1763 w 2133"/>
                <a:gd name="T13" fmla="*/ 1179 h 1785"/>
                <a:gd name="T14" fmla="*/ 1519 w 2133"/>
                <a:gd name="T15" fmla="*/ 1407 h 1785"/>
                <a:gd name="T16" fmla="*/ 1214 w 2133"/>
                <a:gd name="T17" fmla="*/ 1487 h 1785"/>
                <a:gd name="T18" fmla="*/ 945 w 2133"/>
                <a:gd name="T19" fmla="*/ 1421 h 1785"/>
                <a:gd name="T20" fmla="*/ 753 w 2133"/>
                <a:gd name="T21" fmla="*/ 1225 h 1785"/>
                <a:gd name="T22" fmla="*/ 705 w 2133"/>
                <a:gd name="T23" fmla="*/ 991 h 1785"/>
                <a:gd name="T24" fmla="*/ 800 w 2133"/>
                <a:gd name="T25" fmla="*/ 804 h 1785"/>
                <a:gd name="T26" fmla="*/ 949 w 2133"/>
                <a:gd name="T27" fmla="*/ 750 h 1785"/>
                <a:gd name="T28" fmla="*/ 988 w 2133"/>
                <a:gd name="T29" fmla="*/ 791 h 1785"/>
                <a:gd name="T30" fmla="*/ 869 w 2133"/>
                <a:gd name="T31" fmla="*/ 920 h 1785"/>
                <a:gd name="T32" fmla="*/ 876 w 2133"/>
                <a:gd name="T33" fmla="*/ 1097 h 1785"/>
                <a:gd name="T34" fmla="*/ 1014 w 2133"/>
                <a:gd name="T35" fmla="*/ 1255 h 1785"/>
                <a:gd name="T36" fmla="*/ 1267 w 2133"/>
                <a:gd name="T37" fmla="*/ 1293 h 1785"/>
                <a:gd name="T38" fmla="*/ 1574 w 2133"/>
                <a:gd name="T39" fmla="*/ 1105 h 1785"/>
                <a:gd name="T40" fmla="*/ 1681 w 2133"/>
                <a:gd name="T41" fmla="*/ 758 h 1785"/>
                <a:gd name="T42" fmla="*/ 1602 w 2133"/>
                <a:gd name="T43" fmla="*/ 436 h 1785"/>
                <a:gd name="T44" fmla="*/ 1357 w 2133"/>
                <a:gd name="T45" fmla="*/ 185 h 1785"/>
                <a:gd name="T46" fmla="*/ 841 w 2133"/>
                <a:gd name="T47" fmla="*/ 61 h 1785"/>
                <a:gd name="T48" fmla="*/ 523 w 2133"/>
                <a:gd name="T49" fmla="*/ 155 h 1785"/>
                <a:gd name="T50" fmla="*/ 273 w 2133"/>
                <a:gd name="T51" fmla="*/ 345 h 1785"/>
                <a:gd name="T52" fmla="*/ 74 w 2133"/>
                <a:gd name="T53" fmla="*/ 654 h 1785"/>
                <a:gd name="T54" fmla="*/ 1 w 2133"/>
                <a:gd name="T55" fmla="*/ 971 h 1785"/>
                <a:gd name="T56" fmla="*/ 43 w 2133"/>
                <a:gd name="T57" fmla="*/ 1288 h 1785"/>
                <a:gd name="T58" fmla="*/ 211 w 2133"/>
                <a:gd name="T59" fmla="*/ 1567 h 1785"/>
                <a:gd name="T60" fmla="*/ 469 w 2133"/>
                <a:gd name="T61" fmla="*/ 1771 h 1785"/>
                <a:gd name="T62" fmla="*/ 558 w 2133"/>
                <a:gd name="T63" fmla="*/ 1752 h 1785"/>
                <a:gd name="T64" fmla="*/ 464 w 2133"/>
                <a:gd name="T65" fmla="*/ 1602 h 1785"/>
                <a:gd name="T66" fmla="*/ 298 w 2133"/>
                <a:gd name="T67" fmla="*/ 1310 h 1785"/>
                <a:gd name="T68" fmla="*/ 263 w 2133"/>
                <a:gd name="T69" fmla="*/ 907 h 1785"/>
                <a:gd name="T70" fmla="*/ 362 w 2133"/>
                <a:gd name="T71" fmla="*/ 640 h 1785"/>
                <a:gd name="T72" fmla="*/ 633 w 2133"/>
                <a:gd name="T73" fmla="*/ 388 h 1785"/>
                <a:gd name="T74" fmla="*/ 916 w 2133"/>
                <a:gd name="T75" fmla="*/ 310 h 1785"/>
                <a:gd name="T76" fmla="*/ 1225 w 2133"/>
                <a:gd name="T77" fmla="*/ 399 h 1785"/>
                <a:gd name="T78" fmla="*/ 1417 w 2133"/>
                <a:gd name="T79" fmla="*/ 654 h 1785"/>
                <a:gd name="T80" fmla="*/ 1417 w 2133"/>
                <a:gd name="T81" fmla="*/ 871 h 1785"/>
                <a:gd name="T82" fmla="*/ 1277 w 2133"/>
                <a:gd name="T83" fmla="*/ 1030 h 1785"/>
                <a:gd name="T84" fmla="*/ 1134 w 2133"/>
                <a:gd name="T85" fmla="*/ 1032 h 1785"/>
                <a:gd name="T86" fmla="*/ 1223 w 2133"/>
                <a:gd name="T87" fmla="*/ 956 h 1785"/>
                <a:gd name="T88" fmla="*/ 1282 w 2133"/>
                <a:gd name="T89" fmla="*/ 807 h 1785"/>
                <a:gd name="T90" fmla="*/ 1215 w 2133"/>
                <a:gd name="T91" fmla="*/ 617 h 1785"/>
                <a:gd name="T92" fmla="*/ 1067 w 2133"/>
                <a:gd name="T93" fmla="*/ 518 h 1785"/>
                <a:gd name="T94" fmla="*/ 842 w 2133"/>
                <a:gd name="T95" fmla="*/ 508 h 1785"/>
                <a:gd name="T96" fmla="*/ 601 w 2133"/>
                <a:gd name="T97" fmla="*/ 649 h 1785"/>
                <a:gd name="T98" fmla="*/ 487 w 2133"/>
                <a:gd name="T99" fmla="*/ 827 h 1785"/>
                <a:gd name="T100" fmla="*/ 458 w 2133"/>
                <a:gd name="T101" fmla="*/ 1145 h 1785"/>
                <a:gd name="T102" fmla="*/ 575 w 2133"/>
                <a:gd name="T103" fmla="*/ 1421 h 1785"/>
                <a:gd name="T104" fmla="*/ 807 w 2133"/>
                <a:gd name="T105" fmla="*/ 1634 h 1785"/>
                <a:gd name="T106" fmla="*/ 1153 w 2133"/>
                <a:gd name="T107" fmla="*/ 1738 h 1785"/>
                <a:gd name="T108" fmla="*/ 1445 w 2133"/>
                <a:gd name="T109" fmla="*/ 1711 h 1785"/>
                <a:gd name="T110" fmla="*/ 1740 w 2133"/>
                <a:gd name="T111" fmla="*/ 1566 h 1785"/>
                <a:gd name="T112" fmla="*/ 1969 w 2133"/>
                <a:gd name="T113" fmla="*/ 1325 h 1785"/>
                <a:gd name="T114" fmla="*/ 2095 w 2133"/>
                <a:gd name="T115" fmla="*/ 1057 h 1785"/>
                <a:gd name="T116" fmla="*/ 2132 w 2133"/>
                <a:gd name="T117" fmla="*/ 756 h 1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3" h="1785">
                  <a:moveTo>
                    <a:pt x="2132" y="756"/>
                  </a:moveTo>
                  <a:lnTo>
                    <a:pt x="2132" y="756"/>
                  </a:lnTo>
                  <a:lnTo>
                    <a:pt x="2133" y="723"/>
                  </a:lnTo>
                  <a:lnTo>
                    <a:pt x="2131" y="686"/>
                  </a:lnTo>
                  <a:lnTo>
                    <a:pt x="2127" y="645"/>
                  </a:lnTo>
                  <a:lnTo>
                    <a:pt x="2120" y="601"/>
                  </a:lnTo>
                  <a:lnTo>
                    <a:pt x="2117" y="579"/>
                  </a:lnTo>
                  <a:lnTo>
                    <a:pt x="2111" y="556"/>
                  </a:lnTo>
                  <a:lnTo>
                    <a:pt x="2105" y="531"/>
                  </a:lnTo>
                  <a:lnTo>
                    <a:pt x="2098" y="508"/>
                  </a:lnTo>
                  <a:lnTo>
                    <a:pt x="2090" y="482"/>
                  </a:lnTo>
                  <a:lnTo>
                    <a:pt x="2081" y="457"/>
                  </a:lnTo>
                  <a:lnTo>
                    <a:pt x="2070" y="432"/>
                  </a:lnTo>
                  <a:lnTo>
                    <a:pt x="2058" y="406"/>
                  </a:lnTo>
                  <a:lnTo>
                    <a:pt x="2044" y="380"/>
                  </a:lnTo>
                  <a:lnTo>
                    <a:pt x="2030" y="354"/>
                  </a:lnTo>
                  <a:lnTo>
                    <a:pt x="2015" y="329"/>
                  </a:lnTo>
                  <a:lnTo>
                    <a:pt x="1997" y="302"/>
                  </a:lnTo>
                  <a:lnTo>
                    <a:pt x="1979" y="276"/>
                  </a:lnTo>
                  <a:lnTo>
                    <a:pt x="1959" y="250"/>
                  </a:lnTo>
                  <a:lnTo>
                    <a:pt x="1937" y="223"/>
                  </a:lnTo>
                  <a:lnTo>
                    <a:pt x="1913" y="197"/>
                  </a:lnTo>
                  <a:lnTo>
                    <a:pt x="1887" y="173"/>
                  </a:lnTo>
                  <a:lnTo>
                    <a:pt x="1859" y="147"/>
                  </a:lnTo>
                  <a:lnTo>
                    <a:pt x="1830" y="123"/>
                  </a:lnTo>
                  <a:lnTo>
                    <a:pt x="1800" y="98"/>
                  </a:lnTo>
                  <a:lnTo>
                    <a:pt x="1767" y="73"/>
                  </a:lnTo>
                  <a:lnTo>
                    <a:pt x="1730" y="50"/>
                  </a:lnTo>
                  <a:lnTo>
                    <a:pt x="1694" y="28"/>
                  </a:lnTo>
                  <a:lnTo>
                    <a:pt x="1654" y="5"/>
                  </a:lnTo>
                  <a:lnTo>
                    <a:pt x="1654" y="5"/>
                  </a:lnTo>
                  <a:lnTo>
                    <a:pt x="1645" y="2"/>
                  </a:lnTo>
                  <a:lnTo>
                    <a:pt x="1636" y="0"/>
                  </a:lnTo>
                  <a:lnTo>
                    <a:pt x="1626" y="0"/>
                  </a:lnTo>
                  <a:lnTo>
                    <a:pt x="1617" y="1"/>
                  </a:lnTo>
                  <a:lnTo>
                    <a:pt x="1608" y="4"/>
                  </a:lnTo>
                  <a:lnTo>
                    <a:pt x="1599" y="8"/>
                  </a:lnTo>
                  <a:lnTo>
                    <a:pt x="1591" y="14"/>
                  </a:lnTo>
                  <a:lnTo>
                    <a:pt x="1584" y="21"/>
                  </a:lnTo>
                  <a:lnTo>
                    <a:pt x="1584" y="21"/>
                  </a:lnTo>
                  <a:lnTo>
                    <a:pt x="1578" y="29"/>
                  </a:lnTo>
                  <a:lnTo>
                    <a:pt x="1575" y="39"/>
                  </a:lnTo>
                  <a:lnTo>
                    <a:pt x="1572" y="50"/>
                  </a:lnTo>
                  <a:lnTo>
                    <a:pt x="1571" y="62"/>
                  </a:lnTo>
                  <a:lnTo>
                    <a:pt x="1572" y="73"/>
                  </a:lnTo>
                  <a:lnTo>
                    <a:pt x="1576" y="85"/>
                  </a:lnTo>
                  <a:lnTo>
                    <a:pt x="1582" y="96"/>
                  </a:lnTo>
                  <a:lnTo>
                    <a:pt x="1589" y="105"/>
                  </a:lnTo>
                  <a:lnTo>
                    <a:pt x="1589" y="105"/>
                  </a:lnTo>
                  <a:lnTo>
                    <a:pt x="1618" y="133"/>
                  </a:lnTo>
                  <a:lnTo>
                    <a:pt x="1646" y="161"/>
                  </a:lnTo>
                  <a:lnTo>
                    <a:pt x="1673" y="192"/>
                  </a:lnTo>
                  <a:lnTo>
                    <a:pt x="1698" y="221"/>
                  </a:lnTo>
                  <a:lnTo>
                    <a:pt x="1721" y="253"/>
                  </a:lnTo>
                  <a:lnTo>
                    <a:pt x="1742" y="284"/>
                  </a:lnTo>
                  <a:lnTo>
                    <a:pt x="1763" y="317"/>
                  </a:lnTo>
                  <a:lnTo>
                    <a:pt x="1782" y="350"/>
                  </a:lnTo>
                  <a:lnTo>
                    <a:pt x="1798" y="384"/>
                  </a:lnTo>
                  <a:lnTo>
                    <a:pt x="1814" y="419"/>
                  </a:lnTo>
                  <a:lnTo>
                    <a:pt x="1828" y="454"/>
                  </a:lnTo>
                  <a:lnTo>
                    <a:pt x="1841" y="489"/>
                  </a:lnTo>
                  <a:lnTo>
                    <a:pt x="1851" y="525"/>
                  </a:lnTo>
                  <a:lnTo>
                    <a:pt x="1860" y="563"/>
                  </a:lnTo>
                  <a:lnTo>
                    <a:pt x="1867" y="599"/>
                  </a:lnTo>
                  <a:lnTo>
                    <a:pt x="1873" y="638"/>
                  </a:lnTo>
                  <a:lnTo>
                    <a:pt x="1873" y="638"/>
                  </a:lnTo>
                  <a:lnTo>
                    <a:pt x="1873" y="639"/>
                  </a:lnTo>
                  <a:lnTo>
                    <a:pt x="1873" y="639"/>
                  </a:lnTo>
                  <a:lnTo>
                    <a:pt x="1878" y="676"/>
                  </a:lnTo>
                  <a:lnTo>
                    <a:pt x="1882" y="714"/>
                  </a:lnTo>
                  <a:lnTo>
                    <a:pt x="1883" y="751"/>
                  </a:lnTo>
                  <a:lnTo>
                    <a:pt x="1883" y="788"/>
                  </a:lnTo>
                  <a:lnTo>
                    <a:pt x="1882" y="823"/>
                  </a:lnTo>
                  <a:lnTo>
                    <a:pt x="1878" y="858"/>
                  </a:lnTo>
                  <a:lnTo>
                    <a:pt x="1873" y="892"/>
                  </a:lnTo>
                  <a:lnTo>
                    <a:pt x="1867" y="926"/>
                  </a:lnTo>
                  <a:lnTo>
                    <a:pt x="1859" y="959"/>
                  </a:lnTo>
                  <a:lnTo>
                    <a:pt x="1851" y="991"/>
                  </a:lnTo>
                  <a:lnTo>
                    <a:pt x="1841" y="1024"/>
                  </a:lnTo>
                  <a:lnTo>
                    <a:pt x="1828" y="1056"/>
                  </a:lnTo>
                  <a:lnTo>
                    <a:pt x="1814" y="1087"/>
                  </a:lnTo>
                  <a:lnTo>
                    <a:pt x="1798" y="1118"/>
                  </a:lnTo>
                  <a:lnTo>
                    <a:pt x="1782" y="1148"/>
                  </a:lnTo>
                  <a:lnTo>
                    <a:pt x="1763" y="1179"/>
                  </a:lnTo>
                  <a:lnTo>
                    <a:pt x="1763" y="1179"/>
                  </a:lnTo>
                  <a:lnTo>
                    <a:pt x="1745" y="1204"/>
                  </a:lnTo>
                  <a:lnTo>
                    <a:pt x="1726" y="1229"/>
                  </a:lnTo>
                  <a:lnTo>
                    <a:pt x="1706" y="1254"/>
                  </a:lnTo>
                  <a:lnTo>
                    <a:pt x="1685" y="1277"/>
                  </a:lnTo>
                  <a:lnTo>
                    <a:pt x="1664" y="1298"/>
                  </a:lnTo>
                  <a:lnTo>
                    <a:pt x="1641" y="1319"/>
                  </a:lnTo>
                  <a:lnTo>
                    <a:pt x="1618" y="1339"/>
                  </a:lnTo>
                  <a:lnTo>
                    <a:pt x="1595" y="1358"/>
                  </a:lnTo>
                  <a:lnTo>
                    <a:pt x="1570" y="1375"/>
                  </a:lnTo>
                  <a:lnTo>
                    <a:pt x="1544" y="1392"/>
                  </a:lnTo>
                  <a:lnTo>
                    <a:pt x="1519" y="1407"/>
                  </a:lnTo>
                  <a:lnTo>
                    <a:pt x="1492" y="1421"/>
                  </a:lnTo>
                  <a:lnTo>
                    <a:pt x="1464" y="1434"/>
                  </a:lnTo>
                  <a:lnTo>
                    <a:pt x="1435" y="1447"/>
                  </a:lnTo>
                  <a:lnTo>
                    <a:pt x="1406" y="1457"/>
                  </a:lnTo>
                  <a:lnTo>
                    <a:pt x="1376" y="1467"/>
                  </a:lnTo>
                  <a:lnTo>
                    <a:pt x="1376" y="1467"/>
                  </a:lnTo>
                  <a:lnTo>
                    <a:pt x="1348" y="1473"/>
                  </a:lnTo>
                  <a:lnTo>
                    <a:pt x="1321" y="1478"/>
                  </a:lnTo>
                  <a:lnTo>
                    <a:pt x="1294" y="1482"/>
                  </a:lnTo>
                  <a:lnTo>
                    <a:pt x="1267" y="1484"/>
                  </a:lnTo>
                  <a:lnTo>
                    <a:pt x="1241" y="1487"/>
                  </a:lnTo>
                  <a:lnTo>
                    <a:pt x="1214" y="1487"/>
                  </a:lnTo>
                  <a:lnTo>
                    <a:pt x="1188" y="1487"/>
                  </a:lnTo>
                  <a:lnTo>
                    <a:pt x="1163" y="1485"/>
                  </a:lnTo>
                  <a:lnTo>
                    <a:pt x="1138" y="1483"/>
                  </a:lnTo>
                  <a:lnTo>
                    <a:pt x="1112" y="1478"/>
                  </a:lnTo>
                  <a:lnTo>
                    <a:pt x="1088" y="1474"/>
                  </a:lnTo>
                  <a:lnTo>
                    <a:pt x="1063" y="1468"/>
                  </a:lnTo>
                  <a:lnTo>
                    <a:pt x="1040" y="1462"/>
                  </a:lnTo>
                  <a:lnTo>
                    <a:pt x="1015" y="1454"/>
                  </a:lnTo>
                  <a:lnTo>
                    <a:pt x="992" y="1444"/>
                  </a:lnTo>
                  <a:lnTo>
                    <a:pt x="968" y="1435"/>
                  </a:lnTo>
                  <a:lnTo>
                    <a:pt x="968" y="1435"/>
                  </a:lnTo>
                  <a:lnTo>
                    <a:pt x="945" y="1421"/>
                  </a:lnTo>
                  <a:lnTo>
                    <a:pt x="924" y="1408"/>
                  </a:lnTo>
                  <a:lnTo>
                    <a:pt x="904" y="1396"/>
                  </a:lnTo>
                  <a:lnTo>
                    <a:pt x="885" y="1382"/>
                  </a:lnTo>
                  <a:lnTo>
                    <a:pt x="869" y="1369"/>
                  </a:lnTo>
                  <a:lnTo>
                    <a:pt x="853" y="1357"/>
                  </a:lnTo>
                  <a:lnTo>
                    <a:pt x="838" y="1343"/>
                  </a:lnTo>
                  <a:lnTo>
                    <a:pt x="825" y="1329"/>
                  </a:lnTo>
                  <a:lnTo>
                    <a:pt x="825" y="1329"/>
                  </a:lnTo>
                  <a:lnTo>
                    <a:pt x="804" y="1304"/>
                  </a:lnTo>
                  <a:lnTo>
                    <a:pt x="786" y="1278"/>
                  </a:lnTo>
                  <a:lnTo>
                    <a:pt x="768" y="1252"/>
                  </a:lnTo>
                  <a:lnTo>
                    <a:pt x="753" y="1225"/>
                  </a:lnTo>
                  <a:lnTo>
                    <a:pt x="739" y="1197"/>
                  </a:lnTo>
                  <a:lnTo>
                    <a:pt x="727" y="1169"/>
                  </a:lnTo>
                  <a:lnTo>
                    <a:pt x="718" y="1140"/>
                  </a:lnTo>
                  <a:lnTo>
                    <a:pt x="708" y="1110"/>
                  </a:lnTo>
                  <a:lnTo>
                    <a:pt x="708" y="1110"/>
                  </a:lnTo>
                  <a:lnTo>
                    <a:pt x="706" y="1096"/>
                  </a:lnTo>
                  <a:lnTo>
                    <a:pt x="704" y="1081"/>
                  </a:lnTo>
                  <a:lnTo>
                    <a:pt x="701" y="1066"/>
                  </a:lnTo>
                  <a:lnTo>
                    <a:pt x="700" y="1052"/>
                  </a:lnTo>
                  <a:lnTo>
                    <a:pt x="700" y="1037"/>
                  </a:lnTo>
                  <a:lnTo>
                    <a:pt x="701" y="1022"/>
                  </a:lnTo>
                  <a:lnTo>
                    <a:pt x="705" y="991"/>
                  </a:lnTo>
                  <a:lnTo>
                    <a:pt x="711" y="961"/>
                  </a:lnTo>
                  <a:lnTo>
                    <a:pt x="719" y="932"/>
                  </a:lnTo>
                  <a:lnTo>
                    <a:pt x="725" y="916"/>
                  </a:lnTo>
                  <a:lnTo>
                    <a:pt x="731" y="902"/>
                  </a:lnTo>
                  <a:lnTo>
                    <a:pt x="736" y="888"/>
                  </a:lnTo>
                  <a:lnTo>
                    <a:pt x="743" y="875"/>
                  </a:lnTo>
                  <a:lnTo>
                    <a:pt x="752" y="861"/>
                  </a:lnTo>
                  <a:lnTo>
                    <a:pt x="760" y="850"/>
                  </a:lnTo>
                  <a:lnTo>
                    <a:pt x="769" y="837"/>
                  </a:lnTo>
                  <a:lnTo>
                    <a:pt x="779" y="826"/>
                  </a:lnTo>
                  <a:lnTo>
                    <a:pt x="789" y="815"/>
                  </a:lnTo>
                  <a:lnTo>
                    <a:pt x="800" y="804"/>
                  </a:lnTo>
                  <a:lnTo>
                    <a:pt x="811" y="795"/>
                  </a:lnTo>
                  <a:lnTo>
                    <a:pt x="823" y="786"/>
                  </a:lnTo>
                  <a:lnTo>
                    <a:pt x="836" y="778"/>
                  </a:lnTo>
                  <a:lnTo>
                    <a:pt x="849" y="771"/>
                  </a:lnTo>
                  <a:lnTo>
                    <a:pt x="862" y="765"/>
                  </a:lnTo>
                  <a:lnTo>
                    <a:pt x="876" y="761"/>
                  </a:lnTo>
                  <a:lnTo>
                    <a:pt x="890" y="756"/>
                  </a:lnTo>
                  <a:lnTo>
                    <a:pt x="905" y="752"/>
                  </a:lnTo>
                  <a:lnTo>
                    <a:pt x="921" y="751"/>
                  </a:lnTo>
                  <a:lnTo>
                    <a:pt x="937" y="750"/>
                  </a:lnTo>
                  <a:lnTo>
                    <a:pt x="937" y="750"/>
                  </a:lnTo>
                  <a:lnTo>
                    <a:pt x="949" y="750"/>
                  </a:lnTo>
                  <a:lnTo>
                    <a:pt x="961" y="752"/>
                  </a:lnTo>
                  <a:lnTo>
                    <a:pt x="972" y="754"/>
                  </a:lnTo>
                  <a:lnTo>
                    <a:pt x="983" y="757"/>
                  </a:lnTo>
                  <a:lnTo>
                    <a:pt x="993" y="762"/>
                  </a:lnTo>
                  <a:lnTo>
                    <a:pt x="1003" y="767"/>
                  </a:lnTo>
                  <a:lnTo>
                    <a:pt x="1013" y="774"/>
                  </a:lnTo>
                  <a:lnTo>
                    <a:pt x="1021" y="781"/>
                  </a:lnTo>
                  <a:lnTo>
                    <a:pt x="1021" y="781"/>
                  </a:lnTo>
                  <a:lnTo>
                    <a:pt x="1021" y="781"/>
                  </a:lnTo>
                  <a:lnTo>
                    <a:pt x="1021" y="781"/>
                  </a:lnTo>
                  <a:lnTo>
                    <a:pt x="1003" y="785"/>
                  </a:lnTo>
                  <a:lnTo>
                    <a:pt x="988" y="791"/>
                  </a:lnTo>
                  <a:lnTo>
                    <a:pt x="973" y="798"/>
                  </a:lnTo>
                  <a:lnTo>
                    <a:pt x="959" y="806"/>
                  </a:lnTo>
                  <a:lnTo>
                    <a:pt x="946" y="815"/>
                  </a:lnTo>
                  <a:lnTo>
                    <a:pt x="933" y="824"/>
                  </a:lnTo>
                  <a:lnTo>
                    <a:pt x="923" y="833"/>
                  </a:lnTo>
                  <a:lnTo>
                    <a:pt x="912" y="844"/>
                  </a:lnTo>
                  <a:lnTo>
                    <a:pt x="903" y="856"/>
                  </a:lnTo>
                  <a:lnTo>
                    <a:pt x="893" y="867"/>
                  </a:lnTo>
                  <a:lnTo>
                    <a:pt x="886" y="880"/>
                  </a:lnTo>
                  <a:lnTo>
                    <a:pt x="879" y="892"/>
                  </a:lnTo>
                  <a:lnTo>
                    <a:pt x="873" y="906"/>
                  </a:lnTo>
                  <a:lnTo>
                    <a:pt x="869" y="920"/>
                  </a:lnTo>
                  <a:lnTo>
                    <a:pt x="864" y="934"/>
                  </a:lnTo>
                  <a:lnTo>
                    <a:pt x="862" y="948"/>
                  </a:lnTo>
                  <a:lnTo>
                    <a:pt x="859" y="962"/>
                  </a:lnTo>
                  <a:lnTo>
                    <a:pt x="857" y="977"/>
                  </a:lnTo>
                  <a:lnTo>
                    <a:pt x="857" y="992"/>
                  </a:lnTo>
                  <a:lnTo>
                    <a:pt x="857" y="1007"/>
                  </a:lnTo>
                  <a:lnTo>
                    <a:pt x="858" y="1022"/>
                  </a:lnTo>
                  <a:lnTo>
                    <a:pt x="859" y="1037"/>
                  </a:lnTo>
                  <a:lnTo>
                    <a:pt x="863" y="1052"/>
                  </a:lnTo>
                  <a:lnTo>
                    <a:pt x="866" y="1067"/>
                  </a:lnTo>
                  <a:lnTo>
                    <a:pt x="870" y="1081"/>
                  </a:lnTo>
                  <a:lnTo>
                    <a:pt x="876" y="1097"/>
                  </a:lnTo>
                  <a:lnTo>
                    <a:pt x="882" y="1111"/>
                  </a:lnTo>
                  <a:lnTo>
                    <a:pt x="887" y="1125"/>
                  </a:lnTo>
                  <a:lnTo>
                    <a:pt x="896" y="1139"/>
                  </a:lnTo>
                  <a:lnTo>
                    <a:pt x="904" y="1152"/>
                  </a:lnTo>
                  <a:lnTo>
                    <a:pt x="912" y="1165"/>
                  </a:lnTo>
                  <a:lnTo>
                    <a:pt x="923" y="1177"/>
                  </a:lnTo>
                  <a:lnTo>
                    <a:pt x="923" y="1177"/>
                  </a:lnTo>
                  <a:lnTo>
                    <a:pt x="939" y="1196"/>
                  </a:lnTo>
                  <a:lnTo>
                    <a:pt x="957" y="1214"/>
                  </a:lnTo>
                  <a:lnTo>
                    <a:pt x="974" y="1229"/>
                  </a:lnTo>
                  <a:lnTo>
                    <a:pt x="994" y="1242"/>
                  </a:lnTo>
                  <a:lnTo>
                    <a:pt x="1014" y="1255"/>
                  </a:lnTo>
                  <a:lnTo>
                    <a:pt x="1035" y="1265"/>
                  </a:lnTo>
                  <a:lnTo>
                    <a:pt x="1056" y="1273"/>
                  </a:lnTo>
                  <a:lnTo>
                    <a:pt x="1078" y="1282"/>
                  </a:lnTo>
                  <a:lnTo>
                    <a:pt x="1102" y="1288"/>
                  </a:lnTo>
                  <a:lnTo>
                    <a:pt x="1124" y="1292"/>
                  </a:lnTo>
                  <a:lnTo>
                    <a:pt x="1147" y="1296"/>
                  </a:lnTo>
                  <a:lnTo>
                    <a:pt x="1172" y="1297"/>
                  </a:lnTo>
                  <a:lnTo>
                    <a:pt x="1195" y="1298"/>
                  </a:lnTo>
                  <a:lnTo>
                    <a:pt x="1219" y="1297"/>
                  </a:lnTo>
                  <a:lnTo>
                    <a:pt x="1243" y="1296"/>
                  </a:lnTo>
                  <a:lnTo>
                    <a:pt x="1267" y="1293"/>
                  </a:lnTo>
                  <a:lnTo>
                    <a:pt x="1267" y="1293"/>
                  </a:lnTo>
                  <a:lnTo>
                    <a:pt x="1301" y="1288"/>
                  </a:lnTo>
                  <a:lnTo>
                    <a:pt x="1332" y="1279"/>
                  </a:lnTo>
                  <a:lnTo>
                    <a:pt x="1362" y="1269"/>
                  </a:lnTo>
                  <a:lnTo>
                    <a:pt x="1391" y="1257"/>
                  </a:lnTo>
                  <a:lnTo>
                    <a:pt x="1419" y="1243"/>
                  </a:lnTo>
                  <a:lnTo>
                    <a:pt x="1445" y="1228"/>
                  </a:lnTo>
                  <a:lnTo>
                    <a:pt x="1469" y="1211"/>
                  </a:lnTo>
                  <a:lnTo>
                    <a:pt x="1494" y="1193"/>
                  </a:lnTo>
                  <a:lnTo>
                    <a:pt x="1515" y="1173"/>
                  </a:lnTo>
                  <a:lnTo>
                    <a:pt x="1536" y="1151"/>
                  </a:lnTo>
                  <a:lnTo>
                    <a:pt x="1556" y="1128"/>
                  </a:lnTo>
                  <a:lnTo>
                    <a:pt x="1574" y="1105"/>
                  </a:lnTo>
                  <a:lnTo>
                    <a:pt x="1590" y="1079"/>
                  </a:lnTo>
                  <a:lnTo>
                    <a:pt x="1605" y="1053"/>
                  </a:lnTo>
                  <a:lnTo>
                    <a:pt x="1619" y="1026"/>
                  </a:lnTo>
                  <a:lnTo>
                    <a:pt x="1632" y="998"/>
                  </a:lnTo>
                  <a:lnTo>
                    <a:pt x="1643" y="970"/>
                  </a:lnTo>
                  <a:lnTo>
                    <a:pt x="1653" y="941"/>
                  </a:lnTo>
                  <a:lnTo>
                    <a:pt x="1661" y="912"/>
                  </a:lnTo>
                  <a:lnTo>
                    <a:pt x="1668" y="881"/>
                  </a:lnTo>
                  <a:lnTo>
                    <a:pt x="1673" y="851"/>
                  </a:lnTo>
                  <a:lnTo>
                    <a:pt x="1678" y="820"/>
                  </a:lnTo>
                  <a:lnTo>
                    <a:pt x="1680" y="790"/>
                  </a:lnTo>
                  <a:lnTo>
                    <a:pt x="1681" y="758"/>
                  </a:lnTo>
                  <a:lnTo>
                    <a:pt x="1681" y="728"/>
                  </a:lnTo>
                  <a:lnTo>
                    <a:pt x="1680" y="696"/>
                  </a:lnTo>
                  <a:lnTo>
                    <a:pt x="1677" y="666"/>
                  </a:lnTo>
                  <a:lnTo>
                    <a:pt x="1672" y="635"/>
                  </a:lnTo>
                  <a:lnTo>
                    <a:pt x="1666" y="605"/>
                  </a:lnTo>
                  <a:lnTo>
                    <a:pt x="1659" y="576"/>
                  </a:lnTo>
                  <a:lnTo>
                    <a:pt x="1651" y="546"/>
                  </a:lnTo>
                  <a:lnTo>
                    <a:pt x="1640" y="517"/>
                  </a:lnTo>
                  <a:lnTo>
                    <a:pt x="1640" y="517"/>
                  </a:lnTo>
                  <a:lnTo>
                    <a:pt x="1629" y="490"/>
                  </a:lnTo>
                  <a:lnTo>
                    <a:pt x="1616" y="463"/>
                  </a:lnTo>
                  <a:lnTo>
                    <a:pt x="1602" y="436"/>
                  </a:lnTo>
                  <a:lnTo>
                    <a:pt x="1585" y="411"/>
                  </a:lnTo>
                  <a:lnTo>
                    <a:pt x="1568" y="384"/>
                  </a:lnTo>
                  <a:lnTo>
                    <a:pt x="1548" y="357"/>
                  </a:lnTo>
                  <a:lnTo>
                    <a:pt x="1527" y="331"/>
                  </a:lnTo>
                  <a:lnTo>
                    <a:pt x="1502" y="304"/>
                  </a:lnTo>
                  <a:lnTo>
                    <a:pt x="1502" y="304"/>
                  </a:lnTo>
                  <a:lnTo>
                    <a:pt x="1499" y="298"/>
                  </a:lnTo>
                  <a:lnTo>
                    <a:pt x="1499" y="298"/>
                  </a:lnTo>
                  <a:lnTo>
                    <a:pt x="1465" y="268"/>
                  </a:lnTo>
                  <a:lnTo>
                    <a:pt x="1431" y="237"/>
                  </a:lnTo>
                  <a:lnTo>
                    <a:pt x="1394" y="210"/>
                  </a:lnTo>
                  <a:lnTo>
                    <a:pt x="1357" y="185"/>
                  </a:lnTo>
                  <a:lnTo>
                    <a:pt x="1318" y="161"/>
                  </a:lnTo>
                  <a:lnTo>
                    <a:pt x="1279" y="140"/>
                  </a:lnTo>
                  <a:lnTo>
                    <a:pt x="1238" y="121"/>
                  </a:lnTo>
                  <a:lnTo>
                    <a:pt x="1197" y="105"/>
                  </a:lnTo>
                  <a:lnTo>
                    <a:pt x="1153" y="90"/>
                  </a:lnTo>
                  <a:lnTo>
                    <a:pt x="1110" y="78"/>
                  </a:lnTo>
                  <a:lnTo>
                    <a:pt x="1067" y="69"/>
                  </a:lnTo>
                  <a:lnTo>
                    <a:pt x="1022" y="62"/>
                  </a:lnTo>
                  <a:lnTo>
                    <a:pt x="976" y="57"/>
                  </a:lnTo>
                  <a:lnTo>
                    <a:pt x="932" y="56"/>
                  </a:lnTo>
                  <a:lnTo>
                    <a:pt x="886" y="57"/>
                  </a:lnTo>
                  <a:lnTo>
                    <a:pt x="841" y="61"/>
                  </a:lnTo>
                  <a:lnTo>
                    <a:pt x="841" y="61"/>
                  </a:lnTo>
                  <a:lnTo>
                    <a:pt x="810" y="64"/>
                  </a:lnTo>
                  <a:lnTo>
                    <a:pt x="781" y="69"/>
                  </a:lnTo>
                  <a:lnTo>
                    <a:pt x="752" y="75"/>
                  </a:lnTo>
                  <a:lnTo>
                    <a:pt x="722" y="82"/>
                  </a:lnTo>
                  <a:lnTo>
                    <a:pt x="693" y="90"/>
                  </a:lnTo>
                  <a:lnTo>
                    <a:pt x="664" y="98"/>
                  </a:lnTo>
                  <a:lnTo>
                    <a:pt x="636" y="107"/>
                  </a:lnTo>
                  <a:lnTo>
                    <a:pt x="606" y="118"/>
                  </a:lnTo>
                  <a:lnTo>
                    <a:pt x="578" y="130"/>
                  </a:lnTo>
                  <a:lnTo>
                    <a:pt x="551" y="142"/>
                  </a:lnTo>
                  <a:lnTo>
                    <a:pt x="523" y="155"/>
                  </a:lnTo>
                  <a:lnTo>
                    <a:pt x="498" y="169"/>
                  </a:lnTo>
                  <a:lnTo>
                    <a:pt x="471" y="185"/>
                  </a:lnTo>
                  <a:lnTo>
                    <a:pt x="445" y="200"/>
                  </a:lnTo>
                  <a:lnTo>
                    <a:pt x="420" y="217"/>
                  </a:lnTo>
                  <a:lnTo>
                    <a:pt x="397" y="234"/>
                  </a:lnTo>
                  <a:lnTo>
                    <a:pt x="397" y="234"/>
                  </a:lnTo>
                  <a:lnTo>
                    <a:pt x="396" y="235"/>
                  </a:lnTo>
                  <a:lnTo>
                    <a:pt x="396" y="235"/>
                  </a:lnTo>
                  <a:lnTo>
                    <a:pt x="362" y="262"/>
                  </a:lnTo>
                  <a:lnTo>
                    <a:pt x="330" y="290"/>
                  </a:lnTo>
                  <a:lnTo>
                    <a:pt x="301" y="317"/>
                  </a:lnTo>
                  <a:lnTo>
                    <a:pt x="273" y="345"/>
                  </a:lnTo>
                  <a:lnTo>
                    <a:pt x="273" y="345"/>
                  </a:lnTo>
                  <a:lnTo>
                    <a:pt x="250" y="370"/>
                  </a:lnTo>
                  <a:lnTo>
                    <a:pt x="228" y="394"/>
                  </a:lnTo>
                  <a:lnTo>
                    <a:pt x="207" y="421"/>
                  </a:lnTo>
                  <a:lnTo>
                    <a:pt x="187" y="448"/>
                  </a:lnTo>
                  <a:lnTo>
                    <a:pt x="167" y="475"/>
                  </a:lnTo>
                  <a:lnTo>
                    <a:pt x="150" y="503"/>
                  </a:lnTo>
                  <a:lnTo>
                    <a:pt x="132" y="532"/>
                  </a:lnTo>
                  <a:lnTo>
                    <a:pt x="117" y="563"/>
                  </a:lnTo>
                  <a:lnTo>
                    <a:pt x="102" y="592"/>
                  </a:lnTo>
                  <a:lnTo>
                    <a:pt x="88" y="623"/>
                  </a:lnTo>
                  <a:lnTo>
                    <a:pt x="74" y="654"/>
                  </a:lnTo>
                  <a:lnTo>
                    <a:pt x="62" y="686"/>
                  </a:lnTo>
                  <a:lnTo>
                    <a:pt x="50" y="717"/>
                  </a:lnTo>
                  <a:lnTo>
                    <a:pt x="40" y="749"/>
                  </a:lnTo>
                  <a:lnTo>
                    <a:pt x="30" y="781"/>
                  </a:lnTo>
                  <a:lnTo>
                    <a:pt x="22" y="813"/>
                  </a:lnTo>
                  <a:lnTo>
                    <a:pt x="22" y="813"/>
                  </a:lnTo>
                  <a:lnTo>
                    <a:pt x="21" y="822"/>
                  </a:lnTo>
                  <a:lnTo>
                    <a:pt x="21" y="822"/>
                  </a:lnTo>
                  <a:lnTo>
                    <a:pt x="13" y="867"/>
                  </a:lnTo>
                  <a:lnTo>
                    <a:pt x="7" y="906"/>
                  </a:lnTo>
                  <a:lnTo>
                    <a:pt x="2" y="940"/>
                  </a:lnTo>
                  <a:lnTo>
                    <a:pt x="1" y="971"/>
                  </a:lnTo>
                  <a:lnTo>
                    <a:pt x="0" y="1003"/>
                  </a:lnTo>
                  <a:lnTo>
                    <a:pt x="1" y="1036"/>
                  </a:lnTo>
                  <a:lnTo>
                    <a:pt x="2" y="1073"/>
                  </a:lnTo>
                  <a:lnTo>
                    <a:pt x="6" y="1118"/>
                  </a:lnTo>
                  <a:lnTo>
                    <a:pt x="6" y="1118"/>
                  </a:lnTo>
                  <a:lnTo>
                    <a:pt x="8" y="1142"/>
                  </a:lnTo>
                  <a:lnTo>
                    <a:pt x="12" y="1166"/>
                  </a:lnTo>
                  <a:lnTo>
                    <a:pt x="15" y="1190"/>
                  </a:lnTo>
                  <a:lnTo>
                    <a:pt x="21" y="1215"/>
                  </a:lnTo>
                  <a:lnTo>
                    <a:pt x="27" y="1240"/>
                  </a:lnTo>
                  <a:lnTo>
                    <a:pt x="35" y="1263"/>
                  </a:lnTo>
                  <a:lnTo>
                    <a:pt x="43" y="1288"/>
                  </a:lnTo>
                  <a:lnTo>
                    <a:pt x="53" y="1312"/>
                  </a:lnTo>
                  <a:lnTo>
                    <a:pt x="63" y="1337"/>
                  </a:lnTo>
                  <a:lnTo>
                    <a:pt x="74" y="1361"/>
                  </a:lnTo>
                  <a:lnTo>
                    <a:pt x="87" y="1385"/>
                  </a:lnTo>
                  <a:lnTo>
                    <a:pt x="99" y="1409"/>
                  </a:lnTo>
                  <a:lnTo>
                    <a:pt x="113" y="1433"/>
                  </a:lnTo>
                  <a:lnTo>
                    <a:pt x="128" y="1456"/>
                  </a:lnTo>
                  <a:lnTo>
                    <a:pt x="143" y="1478"/>
                  </a:lnTo>
                  <a:lnTo>
                    <a:pt x="159" y="1502"/>
                  </a:lnTo>
                  <a:lnTo>
                    <a:pt x="176" y="1524"/>
                  </a:lnTo>
                  <a:lnTo>
                    <a:pt x="193" y="1545"/>
                  </a:lnTo>
                  <a:lnTo>
                    <a:pt x="211" y="1567"/>
                  </a:lnTo>
                  <a:lnTo>
                    <a:pt x="229" y="1587"/>
                  </a:lnTo>
                  <a:lnTo>
                    <a:pt x="249" y="1608"/>
                  </a:lnTo>
                  <a:lnTo>
                    <a:pt x="269" y="1627"/>
                  </a:lnTo>
                  <a:lnTo>
                    <a:pt x="289" y="1647"/>
                  </a:lnTo>
                  <a:lnTo>
                    <a:pt x="310" y="1665"/>
                  </a:lnTo>
                  <a:lnTo>
                    <a:pt x="331" y="1682"/>
                  </a:lnTo>
                  <a:lnTo>
                    <a:pt x="353" y="1700"/>
                  </a:lnTo>
                  <a:lnTo>
                    <a:pt x="376" y="1716"/>
                  </a:lnTo>
                  <a:lnTo>
                    <a:pt x="399" y="1731"/>
                  </a:lnTo>
                  <a:lnTo>
                    <a:pt x="423" y="1745"/>
                  </a:lnTo>
                  <a:lnTo>
                    <a:pt x="446" y="1758"/>
                  </a:lnTo>
                  <a:lnTo>
                    <a:pt x="469" y="1771"/>
                  </a:lnTo>
                  <a:lnTo>
                    <a:pt x="494" y="1783"/>
                  </a:lnTo>
                  <a:lnTo>
                    <a:pt x="494" y="1783"/>
                  </a:lnTo>
                  <a:lnTo>
                    <a:pt x="502" y="1785"/>
                  </a:lnTo>
                  <a:lnTo>
                    <a:pt x="512" y="1785"/>
                  </a:lnTo>
                  <a:lnTo>
                    <a:pt x="520" y="1784"/>
                  </a:lnTo>
                  <a:lnTo>
                    <a:pt x="528" y="1782"/>
                  </a:lnTo>
                  <a:lnTo>
                    <a:pt x="536" y="1778"/>
                  </a:lnTo>
                  <a:lnTo>
                    <a:pt x="543" y="1773"/>
                  </a:lnTo>
                  <a:lnTo>
                    <a:pt x="549" y="1768"/>
                  </a:lnTo>
                  <a:lnTo>
                    <a:pt x="554" y="1761"/>
                  </a:lnTo>
                  <a:lnTo>
                    <a:pt x="554" y="1761"/>
                  </a:lnTo>
                  <a:lnTo>
                    <a:pt x="558" y="1752"/>
                  </a:lnTo>
                  <a:lnTo>
                    <a:pt x="562" y="1743"/>
                  </a:lnTo>
                  <a:lnTo>
                    <a:pt x="563" y="1734"/>
                  </a:lnTo>
                  <a:lnTo>
                    <a:pt x="563" y="1723"/>
                  </a:lnTo>
                  <a:lnTo>
                    <a:pt x="562" y="1713"/>
                  </a:lnTo>
                  <a:lnTo>
                    <a:pt x="558" y="1703"/>
                  </a:lnTo>
                  <a:lnTo>
                    <a:pt x="554" y="1695"/>
                  </a:lnTo>
                  <a:lnTo>
                    <a:pt x="548" y="1688"/>
                  </a:lnTo>
                  <a:lnTo>
                    <a:pt x="548" y="1688"/>
                  </a:lnTo>
                  <a:lnTo>
                    <a:pt x="526" y="1667"/>
                  </a:lnTo>
                  <a:lnTo>
                    <a:pt x="503" y="1646"/>
                  </a:lnTo>
                  <a:lnTo>
                    <a:pt x="483" y="1625"/>
                  </a:lnTo>
                  <a:lnTo>
                    <a:pt x="464" y="1602"/>
                  </a:lnTo>
                  <a:lnTo>
                    <a:pt x="445" y="1580"/>
                  </a:lnTo>
                  <a:lnTo>
                    <a:pt x="427" y="1558"/>
                  </a:lnTo>
                  <a:lnTo>
                    <a:pt x="410" y="1535"/>
                  </a:lnTo>
                  <a:lnTo>
                    <a:pt x="393" y="1511"/>
                  </a:lnTo>
                  <a:lnTo>
                    <a:pt x="379" y="1488"/>
                  </a:lnTo>
                  <a:lnTo>
                    <a:pt x="364" y="1463"/>
                  </a:lnTo>
                  <a:lnTo>
                    <a:pt x="351" y="1439"/>
                  </a:lnTo>
                  <a:lnTo>
                    <a:pt x="338" y="1414"/>
                  </a:lnTo>
                  <a:lnTo>
                    <a:pt x="328" y="1389"/>
                  </a:lnTo>
                  <a:lnTo>
                    <a:pt x="317" y="1364"/>
                  </a:lnTo>
                  <a:lnTo>
                    <a:pt x="307" y="1337"/>
                  </a:lnTo>
                  <a:lnTo>
                    <a:pt x="298" y="1310"/>
                  </a:lnTo>
                  <a:lnTo>
                    <a:pt x="298" y="1310"/>
                  </a:lnTo>
                  <a:lnTo>
                    <a:pt x="288" y="1273"/>
                  </a:lnTo>
                  <a:lnTo>
                    <a:pt x="280" y="1237"/>
                  </a:lnTo>
                  <a:lnTo>
                    <a:pt x="272" y="1201"/>
                  </a:lnTo>
                  <a:lnTo>
                    <a:pt x="265" y="1165"/>
                  </a:lnTo>
                  <a:lnTo>
                    <a:pt x="260" y="1127"/>
                  </a:lnTo>
                  <a:lnTo>
                    <a:pt x="255" y="1091"/>
                  </a:lnTo>
                  <a:lnTo>
                    <a:pt x="253" y="1053"/>
                  </a:lnTo>
                  <a:lnTo>
                    <a:pt x="252" y="1015"/>
                  </a:lnTo>
                  <a:lnTo>
                    <a:pt x="252" y="1015"/>
                  </a:lnTo>
                  <a:lnTo>
                    <a:pt x="259" y="942"/>
                  </a:lnTo>
                  <a:lnTo>
                    <a:pt x="263" y="907"/>
                  </a:lnTo>
                  <a:lnTo>
                    <a:pt x="269" y="871"/>
                  </a:lnTo>
                  <a:lnTo>
                    <a:pt x="269" y="871"/>
                  </a:lnTo>
                  <a:lnTo>
                    <a:pt x="274" y="847"/>
                  </a:lnTo>
                  <a:lnTo>
                    <a:pt x="280" y="824"/>
                  </a:lnTo>
                  <a:lnTo>
                    <a:pt x="287" y="800"/>
                  </a:lnTo>
                  <a:lnTo>
                    <a:pt x="295" y="777"/>
                  </a:lnTo>
                  <a:lnTo>
                    <a:pt x="303" y="754"/>
                  </a:lnTo>
                  <a:lnTo>
                    <a:pt x="314" y="730"/>
                  </a:lnTo>
                  <a:lnTo>
                    <a:pt x="324" y="707"/>
                  </a:lnTo>
                  <a:lnTo>
                    <a:pt x="336" y="685"/>
                  </a:lnTo>
                  <a:lnTo>
                    <a:pt x="348" y="662"/>
                  </a:lnTo>
                  <a:lnTo>
                    <a:pt x="362" y="640"/>
                  </a:lnTo>
                  <a:lnTo>
                    <a:pt x="375" y="619"/>
                  </a:lnTo>
                  <a:lnTo>
                    <a:pt x="390" y="599"/>
                  </a:lnTo>
                  <a:lnTo>
                    <a:pt x="404" y="579"/>
                  </a:lnTo>
                  <a:lnTo>
                    <a:pt x="420" y="559"/>
                  </a:lnTo>
                  <a:lnTo>
                    <a:pt x="435" y="542"/>
                  </a:lnTo>
                  <a:lnTo>
                    <a:pt x="452" y="524"/>
                  </a:lnTo>
                  <a:lnTo>
                    <a:pt x="452" y="524"/>
                  </a:lnTo>
                  <a:lnTo>
                    <a:pt x="487" y="491"/>
                  </a:lnTo>
                  <a:lnTo>
                    <a:pt x="522" y="462"/>
                  </a:lnTo>
                  <a:lnTo>
                    <a:pt x="557" y="435"/>
                  </a:lnTo>
                  <a:lnTo>
                    <a:pt x="595" y="411"/>
                  </a:lnTo>
                  <a:lnTo>
                    <a:pt x="633" y="388"/>
                  </a:lnTo>
                  <a:lnTo>
                    <a:pt x="674" y="368"/>
                  </a:lnTo>
                  <a:lnTo>
                    <a:pt x="716" y="350"/>
                  </a:lnTo>
                  <a:lnTo>
                    <a:pt x="761" y="333"/>
                  </a:lnTo>
                  <a:lnTo>
                    <a:pt x="761" y="333"/>
                  </a:lnTo>
                  <a:lnTo>
                    <a:pt x="780" y="329"/>
                  </a:lnTo>
                  <a:lnTo>
                    <a:pt x="798" y="323"/>
                  </a:lnTo>
                  <a:lnTo>
                    <a:pt x="817" y="319"/>
                  </a:lnTo>
                  <a:lnTo>
                    <a:pt x="837" y="316"/>
                  </a:lnTo>
                  <a:lnTo>
                    <a:pt x="857" y="313"/>
                  </a:lnTo>
                  <a:lnTo>
                    <a:pt x="876" y="311"/>
                  </a:lnTo>
                  <a:lnTo>
                    <a:pt x="896" y="310"/>
                  </a:lnTo>
                  <a:lnTo>
                    <a:pt x="916" y="310"/>
                  </a:lnTo>
                  <a:lnTo>
                    <a:pt x="955" y="311"/>
                  </a:lnTo>
                  <a:lnTo>
                    <a:pt x="995" y="315"/>
                  </a:lnTo>
                  <a:lnTo>
                    <a:pt x="1035" y="322"/>
                  </a:lnTo>
                  <a:lnTo>
                    <a:pt x="1074" y="329"/>
                  </a:lnTo>
                  <a:lnTo>
                    <a:pt x="1074" y="329"/>
                  </a:lnTo>
                  <a:lnTo>
                    <a:pt x="1098" y="338"/>
                  </a:lnTo>
                  <a:lnTo>
                    <a:pt x="1122" y="347"/>
                  </a:lnTo>
                  <a:lnTo>
                    <a:pt x="1144" y="357"/>
                  </a:lnTo>
                  <a:lnTo>
                    <a:pt x="1165" y="366"/>
                  </a:lnTo>
                  <a:lnTo>
                    <a:pt x="1186" y="377"/>
                  </a:lnTo>
                  <a:lnTo>
                    <a:pt x="1206" y="387"/>
                  </a:lnTo>
                  <a:lnTo>
                    <a:pt x="1225" y="399"/>
                  </a:lnTo>
                  <a:lnTo>
                    <a:pt x="1245" y="412"/>
                  </a:lnTo>
                  <a:lnTo>
                    <a:pt x="1245" y="412"/>
                  </a:lnTo>
                  <a:lnTo>
                    <a:pt x="1271" y="436"/>
                  </a:lnTo>
                  <a:lnTo>
                    <a:pt x="1298" y="463"/>
                  </a:lnTo>
                  <a:lnTo>
                    <a:pt x="1323" y="491"/>
                  </a:lnTo>
                  <a:lnTo>
                    <a:pt x="1346" y="522"/>
                  </a:lnTo>
                  <a:lnTo>
                    <a:pt x="1367" y="553"/>
                  </a:lnTo>
                  <a:lnTo>
                    <a:pt x="1387" y="586"/>
                  </a:lnTo>
                  <a:lnTo>
                    <a:pt x="1396" y="603"/>
                  </a:lnTo>
                  <a:lnTo>
                    <a:pt x="1404" y="620"/>
                  </a:lnTo>
                  <a:lnTo>
                    <a:pt x="1411" y="637"/>
                  </a:lnTo>
                  <a:lnTo>
                    <a:pt x="1417" y="654"/>
                  </a:lnTo>
                  <a:lnTo>
                    <a:pt x="1423" y="672"/>
                  </a:lnTo>
                  <a:lnTo>
                    <a:pt x="1426" y="690"/>
                  </a:lnTo>
                  <a:lnTo>
                    <a:pt x="1431" y="708"/>
                  </a:lnTo>
                  <a:lnTo>
                    <a:pt x="1433" y="726"/>
                  </a:lnTo>
                  <a:lnTo>
                    <a:pt x="1434" y="744"/>
                  </a:lnTo>
                  <a:lnTo>
                    <a:pt x="1435" y="762"/>
                  </a:lnTo>
                  <a:lnTo>
                    <a:pt x="1435" y="781"/>
                  </a:lnTo>
                  <a:lnTo>
                    <a:pt x="1434" y="798"/>
                  </a:lnTo>
                  <a:lnTo>
                    <a:pt x="1431" y="817"/>
                  </a:lnTo>
                  <a:lnTo>
                    <a:pt x="1427" y="834"/>
                  </a:lnTo>
                  <a:lnTo>
                    <a:pt x="1423" y="853"/>
                  </a:lnTo>
                  <a:lnTo>
                    <a:pt x="1417" y="871"/>
                  </a:lnTo>
                  <a:lnTo>
                    <a:pt x="1408" y="888"/>
                  </a:lnTo>
                  <a:lnTo>
                    <a:pt x="1400" y="906"/>
                  </a:lnTo>
                  <a:lnTo>
                    <a:pt x="1390" y="923"/>
                  </a:lnTo>
                  <a:lnTo>
                    <a:pt x="1378" y="940"/>
                  </a:lnTo>
                  <a:lnTo>
                    <a:pt x="1378" y="940"/>
                  </a:lnTo>
                  <a:lnTo>
                    <a:pt x="1367" y="954"/>
                  </a:lnTo>
                  <a:lnTo>
                    <a:pt x="1356" y="968"/>
                  </a:lnTo>
                  <a:lnTo>
                    <a:pt x="1343" y="982"/>
                  </a:lnTo>
                  <a:lnTo>
                    <a:pt x="1328" y="995"/>
                  </a:lnTo>
                  <a:lnTo>
                    <a:pt x="1312" y="1008"/>
                  </a:lnTo>
                  <a:lnTo>
                    <a:pt x="1295" y="1019"/>
                  </a:lnTo>
                  <a:lnTo>
                    <a:pt x="1277" y="1030"/>
                  </a:lnTo>
                  <a:lnTo>
                    <a:pt x="1260" y="1039"/>
                  </a:lnTo>
                  <a:lnTo>
                    <a:pt x="1241" y="1046"/>
                  </a:lnTo>
                  <a:lnTo>
                    <a:pt x="1223" y="1051"/>
                  </a:lnTo>
                  <a:lnTo>
                    <a:pt x="1205" y="1053"/>
                  </a:lnTo>
                  <a:lnTo>
                    <a:pt x="1195" y="1053"/>
                  </a:lnTo>
                  <a:lnTo>
                    <a:pt x="1186" y="1053"/>
                  </a:lnTo>
                  <a:lnTo>
                    <a:pt x="1178" y="1052"/>
                  </a:lnTo>
                  <a:lnTo>
                    <a:pt x="1168" y="1050"/>
                  </a:lnTo>
                  <a:lnTo>
                    <a:pt x="1160" y="1046"/>
                  </a:lnTo>
                  <a:lnTo>
                    <a:pt x="1151" y="1043"/>
                  </a:lnTo>
                  <a:lnTo>
                    <a:pt x="1143" y="1038"/>
                  </a:lnTo>
                  <a:lnTo>
                    <a:pt x="1134" y="1032"/>
                  </a:lnTo>
                  <a:lnTo>
                    <a:pt x="1126" y="1025"/>
                  </a:lnTo>
                  <a:lnTo>
                    <a:pt x="1119" y="1017"/>
                  </a:lnTo>
                  <a:lnTo>
                    <a:pt x="1119" y="1017"/>
                  </a:lnTo>
                  <a:lnTo>
                    <a:pt x="1132" y="1012"/>
                  </a:lnTo>
                  <a:lnTo>
                    <a:pt x="1145" y="1008"/>
                  </a:lnTo>
                  <a:lnTo>
                    <a:pt x="1158" y="1003"/>
                  </a:lnTo>
                  <a:lnTo>
                    <a:pt x="1170" y="996"/>
                  </a:lnTo>
                  <a:lnTo>
                    <a:pt x="1181" y="990"/>
                  </a:lnTo>
                  <a:lnTo>
                    <a:pt x="1193" y="982"/>
                  </a:lnTo>
                  <a:lnTo>
                    <a:pt x="1204" y="974"/>
                  </a:lnTo>
                  <a:lnTo>
                    <a:pt x="1214" y="966"/>
                  </a:lnTo>
                  <a:lnTo>
                    <a:pt x="1223" y="956"/>
                  </a:lnTo>
                  <a:lnTo>
                    <a:pt x="1232" y="947"/>
                  </a:lnTo>
                  <a:lnTo>
                    <a:pt x="1241" y="936"/>
                  </a:lnTo>
                  <a:lnTo>
                    <a:pt x="1248" y="925"/>
                  </a:lnTo>
                  <a:lnTo>
                    <a:pt x="1255" y="913"/>
                  </a:lnTo>
                  <a:lnTo>
                    <a:pt x="1261" y="901"/>
                  </a:lnTo>
                  <a:lnTo>
                    <a:pt x="1267" y="888"/>
                  </a:lnTo>
                  <a:lnTo>
                    <a:pt x="1271" y="875"/>
                  </a:lnTo>
                  <a:lnTo>
                    <a:pt x="1271" y="875"/>
                  </a:lnTo>
                  <a:lnTo>
                    <a:pt x="1275" y="858"/>
                  </a:lnTo>
                  <a:lnTo>
                    <a:pt x="1279" y="841"/>
                  </a:lnTo>
                  <a:lnTo>
                    <a:pt x="1281" y="824"/>
                  </a:lnTo>
                  <a:lnTo>
                    <a:pt x="1282" y="807"/>
                  </a:lnTo>
                  <a:lnTo>
                    <a:pt x="1282" y="790"/>
                  </a:lnTo>
                  <a:lnTo>
                    <a:pt x="1282" y="774"/>
                  </a:lnTo>
                  <a:lnTo>
                    <a:pt x="1280" y="756"/>
                  </a:lnTo>
                  <a:lnTo>
                    <a:pt x="1276" y="740"/>
                  </a:lnTo>
                  <a:lnTo>
                    <a:pt x="1273" y="723"/>
                  </a:lnTo>
                  <a:lnTo>
                    <a:pt x="1267" y="707"/>
                  </a:lnTo>
                  <a:lnTo>
                    <a:pt x="1261" y="690"/>
                  </a:lnTo>
                  <a:lnTo>
                    <a:pt x="1254" y="675"/>
                  </a:lnTo>
                  <a:lnTo>
                    <a:pt x="1246" y="660"/>
                  </a:lnTo>
                  <a:lnTo>
                    <a:pt x="1236" y="645"/>
                  </a:lnTo>
                  <a:lnTo>
                    <a:pt x="1226" y="631"/>
                  </a:lnTo>
                  <a:lnTo>
                    <a:pt x="1215" y="617"/>
                  </a:lnTo>
                  <a:lnTo>
                    <a:pt x="1215" y="617"/>
                  </a:lnTo>
                  <a:lnTo>
                    <a:pt x="1211" y="611"/>
                  </a:lnTo>
                  <a:lnTo>
                    <a:pt x="1211" y="611"/>
                  </a:lnTo>
                  <a:lnTo>
                    <a:pt x="1197" y="598"/>
                  </a:lnTo>
                  <a:lnTo>
                    <a:pt x="1182" y="585"/>
                  </a:lnTo>
                  <a:lnTo>
                    <a:pt x="1167" y="572"/>
                  </a:lnTo>
                  <a:lnTo>
                    <a:pt x="1152" y="562"/>
                  </a:lnTo>
                  <a:lnTo>
                    <a:pt x="1136" y="551"/>
                  </a:lnTo>
                  <a:lnTo>
                    <a:pt x="1119" y="542"/>
                  </a:lnTo>
                  <a:lnTo>
                    <a:pt x="1102" y="534"/>
                  </a:lnTo>
                  <a:lnTo>
                    <a:pt x="1085" y="525"/>
                  </a:lnTo>
                  <a:lnTo>
                    <a:pt x="1067" y="518"/>
                  </a:lnTo>
                  <a:lnTo>
                    <a:pt x="1049" y="512"/>
                  </a:lnTo>
                  <a:lnTo>
                    <a:pt x="1030" y="508"/>
                  </a:lnTo>
                  <a:lnTo>
                    <a:pt x="1012" y="503"/>
                  </a:lnTo>
                  <a:lnTo>
                    <a:pt x="993" y="501"/>
                  </a:lnTo>
                  <a:lnTo>
                    <a:pt x="973" y="498"/>
                  </a:lnTo>
                  <a:lnTo>
                    <a:pt x="953" y="497"/>
                  </a:lnTo>
                  <a:lnTo>
                    <a:pt x="934" y="497"/>
                  </a:lnTo>
                  <a:lnTo>
                    <a:pt x="934" y="497"/>
                  </a:lnTo>
                  <a:lnTo>
                    <a:pt x="911" y="497"/>
                  </a:lnTo>
                  <a:lnTo>
                    <a:pt x="887" y="500"/>
                  </a:lnTo>
                  <a:lnTo>
                    <a:pt x="865" y="503"/>
                  </a:lnTo>
                  <a:lnTo>
                    <a:pt x="842" y="508"/>
                  </a:lnTo>
                  <a:lnTo>
                    <a:pt x="820" y="514"/>
                  </a:lnTo>
                  <a:lnTo>
                    <a:pt x="797" y="521"/>
                  </a:lnTo>
                  <a:lnTo>
                    <a:pt x="775" y="529"/>
                  </a:lnTo>
                  <a:lnTo>
                    <a:pt x="754" y="538"/>
                  </a:lnTo>
                  <a:lnTo>
                    <a:pt x="732" y="549"/>
                  </a:lnTo>
                  <a:lnTo>
                    <a:pt x="712" y="560"/>
                  </a:lnTo>
                  <a:lnTo>
                    <a:pt x="691" y="573"/>
                  </a:lnTo>
                  <a:lnTo>
                    <a:pt x="672" y="586"/>
                  </a:lnTo>
                  <a:lnTo>
                    <a:pt x="653" y="600"/>
                  </a:lnTo>
                  <a:lnTo>
                    <a:pt x="635" y="617"/>
                  </a:lnTo>
                  <a:lnTo>
                    <a:pt x="617" y="632"/>
                  </a:lnTo>
                  <a:lnTo>
                    <a:pt x="601" y="649"/>
                  </a:lnTo>
                  <a:lnTo>
                    <a:pt x="601" y="649"/>
                  </a:lnTo>
                  <a:lnTo>
                    <a:pt x="598" y="652"/>
                  </a:lnTo>
                  <a:lnTo>
                    <a:pt x="598" y="652"/>
                  </a:lnTo>
                  <a:lnTo>
                    <a:pt x="569" y="687"/>
                  </a:lnTo>
                  <a:lnTo>
                    <a:pt x="555" y="706"/>
                  </a:lnTo>
                  <a:lnTo>
                    <a:pt x="540" y="727"/>
                  </a:lnTo>
                  <a:lnTo>
                    <a:pt x="526" y="748"/>
                  </a:lnTo>
                  <a:lnTo>
                    <a:pt x="513" y="771"/>
                  </a:lnTo>
                  <a:lnTo>
                    <a:pt x="500" y="796"/>
                  </a:lnTo>
                  <a:lnTo>
                    <a:pt x="488" y="823"/>
                  </a:lnTo>
                  <a:lnTo>
                    <a:pt x="488" y="823"/>
                  </a:lnTo>
                  <a:lnTo>
                    <a:pt x="487" y="827"/>
                  </a:lnTo>
                  <a:lnTo>
                    <a:pt x="487" y="827"/>
                  </a:lnTo>
                  <a:lnTo>
                    <a:pt x="475" y="860"/>
                  </a:lnTo>
                  <a:lnTo>
                    <a:pt x="466" y="894"/>
                  </a:lnTo>
                  <a:lnTo>
                    <a:pt x="459" y="928"/>
                  </a:lnTo>
                  <a:lnTo>
                    <a:pt x="453" y="962"/>
                  </a:lnTo>
                  <a:lnTo>
                    <a:pt x="450" y="997"/>
                  </a:lnTo>
                  <a:lnTo>
                    <a:pt x="447" y="1032"/>
                  </a:lnTo>
                  <a:lnTo>
                    <a:pt x="448" y="1066"/>
                  </a:lnTo>
                  <a:lnTo>
                    <a:pt x="451" y="1101"/>
                  </a:lnTo>
                  <a:lnTo>
                    <a:pt x="451" y="1101"/>
                  </a:lnTo>
                  <a:lnTo>
                    <a:pt x="454" y="1124"/>
                  </a:lnTo>
                  <a:lnTo>
                    <a:pt x="458" y="1145"/>
                  </a:lnTo>
                  <a:lnTo>
                    <a:pt x="462" y="1167"/>
                  </a:lnTo>
                  <a:lnTo>
                    <a:pt x="467" y="1188"/>
                  </a:lnTo>
                  <a:lnTo>
                    <a:pt x="473" y="1209"/>
                  </a:lnTo>
                  <a:lnTo>
                    <a:pt x="480" y="1230"/>
                  </a:lnTo>
                  <a:lnTo>
                    <a:pt x="487" y="1251"/>
                  </a:lnTo>
                  <a:lnTo>
                    <a:pt x="495" y="1272"/>
                  </a:lnTo>
                  <a:lnTo>
                    <a:pt x="495" y="1272"/>
                  </a:lnTo>
                  <a:lnTo>
                    <a:pt x="513" y="1311"/>
                  </a:lnTo>
                  <a:lnTo>
                    <a:pt x="531" y="1348"/>
                  </a:lnTo>
                  <a:lnTo>
                    <a:pt x="553" y="1385"/>
                  </a:lnTo>
                  <a:lnTo>
                    <a:pt x="563" y="1403"/>
                  </a:lnTo>
                  <a:lnTo>
                    <a:pt x="575" y="1421"/>
                  </a:lnTo>
                  <a:lnTo>
                    <a:pt x="575" y="1421"/>
                  </a:lnTo>
                  <a:lnTo>
                    <a:pt x="597" y="1450"/>
                  </a:lnTo>
                  <a:lnTo>
                    <a:pt x="620" y="1480"/>
                  </a:lnTo>
                  <a:lnTo>
                    <a:pt x="644" y="1506"/>
                  </a:lnTo>
                  <a:lnTo>
                    <a:pt x="671" y="1533"/>
                  </a:lnTo>
                  <a:lnTo>
                    <a:pt x="671" y="1533"/>
                  </a:lnTo>
                  <a:lnTo>
                    <a:pt x="695" y="1556"/>
                  </a:lnTo>
                  <a:lnTo>
                    <a:pt x="722" y="1577"/>
                  </a:lnTo>
                  <a:lnTo>
                    <a:pt x="749" y="1598"/>
                  </a:lnTo>
                  <a:lnTo>
                    <a:pt x="779" y="1617"/>
                  </a:lnTo>
                  <a:lnTo>
                    <a:pt x="779" y="1617"/>
                  </a:lnTo>
                  <a:lnTo>
                    <a:pt x="807" y="1634"/>
                  </a:lnTo>
                  <a:lnTo>
                    <a:pt x="835" y="1649"/>
                  </a:lnTo>
                  <a:lnTo>
                    <a:pt x="865" y="1665"/>
                  </a:lnTo>
                  <a:lnTo>
                    <a:pt x="896" y="1679"/>
                  </a:lnTo>
                  <a:lnTo>
                    <a:pt x="926" y="1691"/>
                  </a:lnTo>
                  <a:lnTo>
                    <a:pt x="958" y="1702"/>
                  </a:lnTo>
                  <a:lnTo>
                    <a:pt x="989" y="1711"/>
                  </a:lnTo>
                  <a:lnTo>
                    <a:pt x="1021" y="1720"/>
                  </a:lnTo>
                  <a:lnTo>
                    <a:pt x="1021" y="1720"/>
                  </a:lnTo>
                  <a:lnTo>
                    <a:pt x="1054" y="1725"/>
                  </a:lnTo>
                  <a:lnTo>
                    <a:pt x="1086" y="1731"/>
                  </a:lnTo>
                  <a:lnTo>
                    <a:pt x="1119" y="1735"/>
                  </a:lnTo>
                  <a:lnTo>
                    <a:pt x="1153" y="1738"/>
                  </a:lnTo>
                  <a:lnTo>
                    <a:pt x="1186" y="1739"/>
                  </a:lnTo>
                  <a:lnTo>
                    <a:pt x="1220" y="1741"/>
                  </a:lnTo>
                  <a:lnTo>
                    <a:pt x="1253" y="1739"/>
                  </a:lnTo>
                  <a:lnTo>
                    <a:pt x="1286" y="1737"/>
                  </a:lnTo>
                  <a:lnTo>
                    <a:pt x="1286" y="1737"/>
                  </a:lnTo>
                  <a:lnTo>
                    <a:pt x="1324" y="1734"/>
                  </a:lnTo>
                  <a:lnTo>
                    <a:pt x="1363" y="1728"/>
                  </a:lnTo>
                  <a:lnTo>
                    <a:pt x="1400" y="1721"/>
                  </a:lnTo>
                  <a:lnTo>
                    <a:pt x="1439" y="1713"/>
                  </a:lnTo>
                  <a:lnTo>
                    <a:pt x="1439" y="1713"/>
                  </a:lnTo>
                  <a:lnTo>
                    <a:pt x="1445" y="1711"/>
                  </a:lnTo>
                  <a:lnTo>
                    <a:pt x="1445" y="1711"/>
                  </a:lnTo>
                  <a:lnTo>
                    <a:pt x="1476" y="1701"/>
                  </a:lnTo>
                  <a:lnTo>
                    <a:pt x="1508" y="1689"/>
                  </a:lnTo>
                  <a:lnTo>
                    <a:pt x="1538" y="1676"/>
                  </a:lnTo>
                  <a:lnTo>
                    <a:pt x="1570" y="1663"/>
                  </a:lnTo>
                  <a:lnTo>
                    <a:pt x="1570" y="1663"/>
                  </a:lnTo>
                  <a:lnTo>
                    <a:pt x="1599" y="1650"/>
                  </a:lnTo>
                  <a:lnTo>
                    <a:pt x="1629" y="1635"/>
                  </a:lnTo>
                  <a:lnTo>
                    <a:pt x="1658" y="1620"/>
                  </a:lnTo>
                  <a:lnTo>
                    <a:pt x="1686" y="1602"/>
                  </a:lnTo>
                  <a:lnTo>
                    <a:pt x="1686" y="1602"/>
                  </a:lnTo>
                  <a:lnTo>
                    <a:pt x="1714" y="1585"/>
                  </a:lnTo>
                  <a:lnTo>
                    <a:pt x="1740" y="1566"/>
                  </a:lnTo>
                  <a:lnTo>
                    <a:pt x="1767" y="1546"/>
                  </a:lnTo>
                  <a:lnTo>
                    <a:pt x="1791" y="1525"/>
                  </a:lnTo>
                  <a:lnTo>
                    <a:pt x="1791" y="1525"/>
                  </a:lnTo>
                  <a:lnTo>
                    <a:pt x="1817" y="1504"/>
                  </a:lnTo>
                  <a:lnTo>
                    <a:pt x="1841" y="1481"/>
                  </a:lnTo>
                  <a:lnTo>
                    <a:pt x="1864" y="1457"/>
                  </a:lnTo>
                  <a:lnTo>
                    <a:pt x="1885" y="1433"/>
                  </a:lnTo>
                  <a:lnTo>
                    <a:pt x="1885" y="1433"/>
                  </a:lnTo>
                  <a:lnTo>
                    <a:pt x="1907" y="1407"/>
                  </a:lnTo>
                  <a:lnTo>
                    <a:pt x="1928" y="1380"/>
                  </a:lnTo>
                  <a:lnTo>
                    <a:pt x="1969" y="1325"/>
                  </a:lnTo>
                  <a:lnTo>
                    <a:pt x="1969" y="1325"/>
                  </a:lnTo>
                  <a:lnTo>
                    <a:pt x="1986" y="1302"/>
                  </a:lnTo>
                  <a:lnTo>
                    <a:pt x="2001" y="1276"/>
                  </a:lnTo>
                  <a:lnTo>
                    <a:pt x="2015" y="1249"/>
                  </a:lnTo>
                  <a:lnTo>
                    <a:pt x="2029" y="1223"/>
                  </a:lnTo>
                  <a:lnTo>
                    <a:pt x="2029" y="1223"/>
                  </a:lnTo>
                  <a:lnTo>
                    <a:pt x="2042" y="1196"/>
                  </a:lnTo>
                  <a:lnTo>
                    <a:pt x="2055" y="1169"/>
                  </a:lnTo>
                  <a:lnTo>
                    <a:pt x="2067" y="1141"/>
                  </a:lnTo>
                  <a:lnTo>
                    <a:pt x="2076" y="1113"/>
                  </a:lnTo>
                  <a:lnTo>
                    <a:pt x="2076" y="1113"/>
                  </a:lnTo>
                  <a:lnTo>
                    <a:pt x="2085" y="1085"/>
                  </a:lnTo>
                  <a:lnTo>
                    <a:pt x="2095" y="1057"/>
                  </a:lnTo>
                  <a:lnTo>
                    <a:pt x="2102" y="1028"/>
                  </a:lnTo>
                  <a:lnTo>
                    <a:pt x="2109" y="998"/>
                  </a:lnTo>
                  <a:lnTo>
                    <a:pt x="2115" y="969"/>
                  </a:lnTo>
                  <a:lnTo>
                    <a:pt x="2120" y="940"/>
                  </a:lnTo>
                  <a:lnTo>
                    <a:pt x="2124" y="911"/>
                  </a:lnTo>
                  <a:lnTo>
                    <a:pt x="2127" y="880"/>
                  </a:lnTo>
                  <a:lnTo>
                    <a:pt x="2127" y="880"/>
                  </a:lnTo>
                  <a:lnTo>
                    <a:pt x="2131" y="848"/>
                  </a:lnTo>
                  <a:lnTo>
                    <a:pt x="2132" y="818"/>
                  </a:lnTo>
                  <a:lnTo>
                    <a:pt x="2132" y="788"/>
                  </a:lnTo>
                  <a:lnTo>
                    <a:pt x="2132" y="756"/>
                  </a:lnTo>
                  <a:lnTo>
                    <a:pt x="2132" y="75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34" name="Rectangle 54"/>
            <p:cNvSpPr>
              <a:spLocks noChangeAspect="1"/>
            </p:cNvSpPr>
            <p:nvPr/>
          </p:nvSpPr>
          <p:spPr bwMode="auto">
            <a:xfrm>
              <a:off x="8054863" y="5572407"/>
              <a:ext cx="150453" cy="128396"/>
            </a:xfrm>
            <a:custGeom>
              <a:avLst/>
              <a:gdLst/>
              <a:ahLst/>
              <a:cxnLst/>
              <a:rect l="l" t="t" r="r" b="b"/>
              <a:pathLst>
                <a:path w="3961748" h="3381467">
                  <a:moveTo>
                    <a:pt x="541147" y="1565297"/>
                  </a:moveTo>
                  <a:lnTo>
                    <a:pt x="3479089" y="1565297"/>
                  </a:lnTo>
                  <a:lnTo>
                    <a:pt x="3479089" y="3381467"/>
                  </a:lnTo>
                  <a:lnTo>
                    <a:pt x="2442856" y="3381467"/>
                  </a:lnTo>
                  <a:lnTo>
                    <a:pt x="2442856" y="2176803"/>
                  </a:lnTo>
                  <a:cubicBezTo>
                    <a:pt x="2442856" y="2097134"/>
                    <a:pt x="2378275" y="2032554"/>
                    <a:pt x="2298607" y="2032554"/>
                  </a:cubicBezTo>
                  <a:lnTo>
                    <a:pt x="1721629" y="2032554"/>
                  </a:lnTo>
                  <a:cubicBezTo>
                    <a:pt x="1641961" y="2032554"/>
                    <a:pt x="1577381" y="2097134"/>
                    <a:pt x="1577381" y="2176803"/>
                  </a:cubicBezTo>
                  <a:lnTo>
                    <a:pt x="1577381" y="3381467"/>
                  </a:lnTo>
                  <a:lnTo>
                    <a:pt x="541147" y="3381467"/>
                  </a:lnTo>
                  <a:close/>
                  <a:moveTo>
                    <a:pt x="2010118" y="719918"/>
                  </a:moveTo>
                  <a:lnTo>
                    <a:pt x="3479089" y="1564763"/>
                  </a:lnTo>
                  <a:lnTo>
                    <a:pt x="541147" y="1564763"/>
                  </a:lnTo>
                  <a:close/>
                  <a:moveTo>
                    <a:pt x="2012261" y="0"/>
                  </a:moveTo>
                  <a:lnTo>
                    <a:pt x="2790841" y="472939"/>
                  </a:lnTo>
                  <a:lnTo>
                    <a:pt x="2790841" y="267921"/>
                  </a:lnTo>
                  <a:lnTo>
                    <a:pt x="3376760" y="267921"/>
                  </a:lnTo>
                  <a:lnTo>
                    <a:pt x="3376760" y="828849"/>
                  </a:lnTo>
                  <a:lnTo>
                    <a:pt x="3856301" y="1120140"/>
                  </a:lnTo>
                  <a:cubicBezTo>
                    <a:pt x="3999811" y="1333500"/>
                    <a:pt x="3979491" y="1501140"/>
                    <a:pt x="3898211" y="1691640"/>
                  </a:cubicBezTo>
                  <a:lnTo>
                    <a:pt x="2035121" y="556260"/>
                  </a:lnTo>
                  <a:lnTo>
                    <a:pt x="57731" y="1687830"/>
                  </a:lnTo>
                  <a:cubicBezTo>
                    <a:pt x="10741" y="1578610"/>
                    <a:pt x="-70539" y="1362710"/>
                    <a:pt x="122501" y="112014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44810" bIns="89619" numCol="1" spcCol="0" rtlCol="0" fromWordArt="0" anchor="b" anchorCtr="0" forceAA="0" compatLnSpc="1">
              <a:prstTxWarp prst="textNoShape">
                <a:avLst/>
              </a:prstTxWarp>
              <a:noAutofit/>
            </a:bodyPr>
            <a:lstStyle/>
            <a:p>
              <a:pPr marL="0" marR="0" lvl="0" indent="0" algn="ctr" defTabSz="913740" eaLnBrk="1" fontAlgn="base" latinLnBrk="0" hangingPunct="1">
                <a:lnSpc>
                  <a:spcPct val="100000"/>
                </a:lnSpc>
                <a:spcBef>
                  <a:spcPct val="0"/>
                </a:spcBef>
                <a:spcAft>
                  <a:spcPct val="0"/>
                </a:spcAft>
                <a:buClrTx/>
                <a:buSzTx/>
                <a:buFontTx/>
                <a:buNone/>
                <a:tabLst/>
                <a:defRPr/>
              </a:pPr>
              <a:endParaRPr kumimoji="0" lang="en-US" sz="1764" b="0" i="0" u="none" strike="noStrike" kern="0" cap="none" spc="-50" normalizeH="0" baseline="0" noProof="0" dirty="0" err="1">
                <a:ln>
                  <a:noFill/>
                </a:ln>
                <a:solidFill>
                  <a:srgbClr val="00188F"/>
                </a:solidFill>
                <a:effectLst/>
                <a:uLnTx/>
                <a:uFillTx/>
                <a:ea typeface="Segoe UI" pitchFamily="34" charset="0"/>
                <a:cs typeface="Segoe UI" pitchFamily="34" charset="0"/>
              </a:endParaRPr>
            </a:p>
          </p:txBody>
        </p:sp>
        <p:sp>
          <p:nvSpPr>
            <p:cNvPr id="1735" name="Freeform 393"/>
            <p:cNvSpPr>
              <a:spLocks noChangeAspect="1"/>
            </p:cNvSpPr>
            <p:nvPr/>
          </p:nvSpPr>
          <p:spPr bwMode="auto">
            <a:xfrm>
              <a:off x="8074240" y="5764423"/>
              <a:ext cx="111725" cy="138351"/>
            </a:xfrm>
            <a:custGeom>
              <a:avLst/>
              <a:gdLst>
                <a:gd name="T0" fmla="*/ 1118 w 1499"/>
                <a:gd name="T1" fmla="*/ 622 h 1857"/>
                <a:gd name="T2" fmla="*/ 1044 w 1499"/>
                <a:gd name="T3" fmla="*/ 719 h 1857"/>
                <a:gd name="T4" fmla="*/ 955 w 1499"/>
                <a:gd name="T5" fmla="*/ 773 h 1857"/>
                <a:gd name="T6" fmla="*/ 909 w 1499"/>
                <a:gd name="T7" fmla="*/ 777 h 1857"/>
                <a:gd name="T8" fmla="*/ 950 w 1499"/>
                <a:gd name="T9" fmla="*/ 696 h 1857"/>
                <a:gd name="T10" fmla="*/ 976 w 1499"/>
                <a:gd name="T11" fmla="*/ 573 h 1857"/>
                <a:gd name="T12" fmla="*/ 975 w 1499"/>
                <a:gd name="T13" fmla="*/ 426 h 1857"/>
                <a:gd name="T14" fmla="*/ 933 w 1499"/>
                <a:gd name="T15" fmla="*/ 272 h 1857"/>
                <a:gd name="T16" fmla="*/ 872 w 1499"/>
                <a:gd name="T17" fmla="*/ 170 h 1857"/>
                <a:gd name="T18" fmla="*/ 809 w 1499"/>
                <a:gd name="T19" fmla="*/ 104 h 1857"/>
                <a:gd name="T20" fmla="*/ 730 w 1499"/>
                <a:gd name="T21" fmla="*/ 47 h 1857"/>
                <a:gd name="T22" fmla="*/ 631 w 1499"/>
                <a:gd name="T23" fmla="*/ 0 h 1857"/>
                <a:gd name="T24" fmla="*/ 643 w 1499"/>
                <a:gd name="T25" fmla="*/ 79 h 1857"/>
                <a:gd name="T26" fmla="*/ 631 w 1499"/>
                <a:gd name="T27" fmla="*/ 174 h 1857"/>
                <a:gd name="T28" fmla="*/ 594 w 1499"/>
                <a:gd name="T29" fmla="*/ 268 h 1857"/>
                <a:gd name="T30" fmla="*/ 496 w 1499"/>
                <a:gd name="T31" fmla="*/ 412 h 1857"/>
                <a:gd name="T32" fmla="*/ 268 w 1499"/>
                <a:gd name="T33" fmla="*/ 670 h 1857"/>
                <a:gd name="T34" fmla="*/ 114 w 1499"/>
                <a:gd name="T35" fmla="*/ 868 h 1857"/>
                <a:gd name="T36" fmla="*/ 56 w 1499"/>
                <a:gd name="T37" fmla="*/ 975 h 1857"/>
                <a:gd name="T38" fmla="*/ 16 w 1499"/>
                <a:gd name="T39" fmla="*/ 1090 h 1857"/>
                <a:gd name="T40" fmla="*/ 0 w 1499"/>
                <a:gd name="T41" fmla="*/ 1213 h 1857"/>
                <a:gd name="T42" fmla="*/ 8 w 1499"/>
                <a:gd name="T43" fmla="*/ 1315 h 1857"/>
                <a:gd name="T44" fmla="*/ 46 w 1499"/>
                <a:gd name="T45" fmla="*/ 1433 h 1857"/>
                <a:gd name="T46" fmla="*/ 113 w 1499"/>
                <a:gd name="T47" fmla="*/ 1547 h 1857"/>
                <a:gd name="T48" fmla="*/ 207 w 1499"/>
                <a:gd name="T49" fmla="*/ 1650 h 1857"/>
                <a:gd name="T50" fmla="*/ 321 w 1499"/>
                <a:gd name="T51" fmla="*/ 1740 h 1857"/>
                <a:gd name="T52" fmla="*/ 450 w 1499"/>
                <a:gd name="T53" fmla="*/ 1808 h 1857"/>
                <a:gd name="T54" fmla="*/ 588 w 1499"/>
                <a:gd name="T55" fmla="*/ 1852 h 1857"/>
                <a:gd name="T56" fmla="*/ 565 w 1499"/>
                <a:gd name="T57" fmla="*/ 1797 h 1857"/>
                <a:gd name="T58" fmla="*/ 521 w 1499"/>
                <a:gd name="T59" fmla="*/ 1733 h 1857"/>
                <a:gd name="T60" fmla="*/ 500 w 1499"/>
                <a:gd name="T61" fmla="*/ 1662 h 1857"/>
                <a:gd name="T62" fmla="*/ 494 w 1499"/>
                <a:gd name="T63" fmla="*/ 1574 h 1857"/>
                <a:gd name="T64" fmla="*/ 512 w 1499"/>
                <a:gd name="T65" fmla="*/ 1487 h 1857"/>
                <a:gd name="T66" fmla="*/ 551 w 1499"/>
                <a:gd name="T67" fmla="*/ 1406 h 1857"/>
                <a:gd name="T68" fmla="*/ 610 w 1499"/>
                <a:gd name="T69" fmla="*/ 1332 h 1857"/>
                <a:gd name="T70" fmla="*/ 688 w 1499"/>
                <a:gd name="T71" fmla="*/ 1268 h 1857"/>
                <a:gd name="T72" fmla="*/ 783 w 1499"/>
                <a:gd name="T73" fmla="*/ 1214 h 1857"/>
                <a:gd name="T74" fmla="*/ 823 w 1499"/>
                <a:gd name="T75" fmla="*/ 1249 h 1857"/>
                <a:gd name="T76" fmla="*/ 840 w 1499"/>
                <a:gd name="T77" fmla="*/ 1358 h 1857"/>
                <a:gd name="T78" fmla="*/ 878 w 1499"/>
                <a:gd name="T79" fmla="*/ 1442 h 1857"/>
                <a:gd name="T80" fmla="*/ 972 w 1499"/>
                <a:gd name="T81" fmla="*/ 1581 h 1857"/>
                <a:gd name="T82" fmla="*/ 1003 w 1499"/>
                <a:gd name="T83" fmla="*/ 1656 h 1857"/>
                <a:gd name="T84" fmla="*/ 1006 w 1499"/>
                <a:gd name="T85" fmla="*/ 1747 h 1857"/>
                <a:gd name="T86" fmla="*/ 985 w 1499"/>
                <a:gd name="T87" fmla="*/ 1831 h 1857"/>
                <a:gd name="T88" fmla="*/ 1149 w 1499"/>
                <a:gd name="T89" fmla="*/ 1772 h 1857"/>
                <a:gd name="T90" fmla="*/ 1256 w 1499"/>
                <a:gd name="T91" fmla="*/ 1707 h 1857"/>
                <a:gd name="T92" fmla="*/ 1334 w 1499"/>
                <a:gd name="T93" fmla="*/ 1640 h 1857"/>
                <a:gd name="T94" fmla="*/ 1399 w 1499"/>
                <a:gd name="T95" fmla="*/ 1561 h 1857"/>
                <a:gd name="T96" fmla="*/ 1448 w 1499"/>
                <a:gd name="T97" fmla="*/ 1471 h 1857"/>
                <a:gd name="T98" fmla="*/ 1477 w 1499"/>
                <a:gd name="T99" fmla="*/ 1381 h 1857"/>
                <a:gd name="T100" fmla="*/ 1498 w 1499"/>
                <a:gd name="T101" fmla="*/ 1229 h 1857"/>
                <a:gd name="T102" fmla="*/ 1488 w 1499"/>
                <a:gd name="T103" fmla="*/ 1073 h 1857"/>
                <a:gd name="T104" fmla="*/ 1450 w 1499"/>
                <a:gd name="T105" fmla="*/ 920 h 1857"/>
                <a:gd name="T106" fmla="*/ 1384 w 1499"/>
                <a:gd name="T107" fmla="*/ 779 h 1857"/>
                <a:gd name="T108" fmla="*/ 1291 w 1499"/>
                <a:gd name="T109" fmla="*/ 655 h 1857"/>
                <a:gd name="T110" fmla="*/ 1174 w 1499"/>
                <a:gd name="T111" fmla="*/ 557 h 1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99" h="1857">
                  <a:moveTo>
                    <a:pt x="1148" y="541"/>
                  </a:moveTo>
                  <a:lnTo>
                    <a:pt x="1148" y="541"/>
                  </a:lnTo>
                  <a:lnTo>
                    <a:pt x="1139" y="570"/>
                  </a:lnTo>
                  <a:lnTo>
                    <a:pt x="1129" y="597"/>
                  </a:lnTo>
                  <a:lnTo>
                    <a:pt x="1118" y="622"/>
                  </a:lnTo>
                  <a:lnTo>
                    <a:pt x="1106" y="645"/>
                  </a:lnTo>
                  <a:lnTo>
                    <a:pt x="1091" y="666"/>
                  </a:lnTo>
                  <a:lnTo>
                    <a:pt x="1077" y="685"/>
                  </a:lnTo>
                  <a:lnTo>
                    <a:pt x="1060" y="703"/>
                  </a:lnTo>
                  <a:lnTo>
                    <a:pt x="1044" y="719"/>
                  </a:lnTo>
                  <a:lnTo>
                    <a:pt x="1027" y="733"/>
                  </a:lnTo>
                  <a:lnTo>
                    <a:pt x="1009" y="746"/>
                  </a:lnTo>
                  <a:lnTo>
                    <a:pt x="992" y="756"/>
                  </a:lnTo>
                  <a:lnTo>
                    <a:pt x="973" y="765"/>
                  </a:lnTo>
                  <a:lnTo>
                    <a:pt x="955" y="773"/>
                  </a:lnTo>
                  <a:lnTo>
                    <a:pt x="936" y="779"/>
                  </a:lnTo>
                  <a:lnTo>
                    <a:pt x="918" y="784"/>
                  </a:lnTo>
                  <a:lnTo>
                    <a:pt x="899" y="787"/>
                  </a:lnTo>
                  <a:lnTo>
                    <a:pt x="899" y="787"/>
                  </a:lnTo>
                  <a:lnTo>
                    <a:pt x="909" y="777"/>
                  </a:lnTo>
                  <a:lnTo>
                    <a:pt x="918" y="765"/>
                  </a:lnTo>
                  <a:lnTo>
                    <a:pt x="926" y="752"/>
                  </a:lnTo>
                  <a:lnTo>
                    <a:pt x="934" y="735"/>
                  </a:lnTo>
                  <a:lnTo>
                    <a:pt x="942" y="717"/>
                  </a:lnTo>
                  <a:lnTo>
                    <a:pt x="950" y="696"/>
                  </a:lnTo>
                  <a:lnTo>
                    <a:pt x="957" y="675"/>
                  </a:lnTo>
                  <a:lnTo>
                    <a:pt x="963" y="651"/>
                  </a:lnTo>
                  <a:lnTo>
                    <a:pt x="968" y="627"/>
                  </a:lnTo>
                  <a:lnTo>
                    <a:pt x="973" y="601"/>
                  </a:lnTo>
                  <a:lnTo>
                    <a:pt x="976" y="573"/>
                  </a:lnTo>
                  <a:lnTo>
                    <a:pt x="979" y="546"/>
                  </a:lnTo>
                  <a:lnTo>
                    <a:pt x="980" y="517"/>
                  </a:lnTo>
                  <a:lnTo>
                    <a:pt x="980" y="487"/>
                  </a:lnTo>
                  <a:lnTo>
                    <a:pt x="978" y="456"/>
                  </a:lnTo>
                  <a:lnTo>
                    <a:pt x="975" y="426"/>
                  </a:lnTo>
                  <a:lnTo>
                    <a:pt x="970" y="395"/>
                  </a:lnTo>
                  <a:lnTo>
                    <a:pt x="964" y="364"/>
                  </a:lnTo>
                  <a:lnTo>
                    <a:pt x="956" y="333"/>
                  </a:lnTo>
                  <a:lnTo>
                    <a:pt x="946" y="302"/>
                  </a:lnTo>
                  <a:lnTo>
                    <a:pt x="933" y="272"/>
                  </a:lnTo>
                  <a:lnTo>
                    <a:pt x="919" y="242"/>
                  </a:lnTo>
                  <a:lnTo>
                    <a:pt x="901" y="213"/>
                  </a:lnTo>
                  <a:lnTo>
                    <a:pt x="892" y="199"/>
                  </a:lnTo>
                  <a:lnTo>
                    <a:pt x="882" y="184"/>
                  </a:lnTo>
                  <a:lnTo>
                    <a:pt x="872" y="170"/>
                  </a:lnTo>
                  <a:lnTo>
                    <a:pt x="860" y="157"/>
                  </a:lnTo>
                  <a:lnTo>
                    <a:pt x="849" y="143"/>
                  </a:lnTo>
                  <a:lnTo>
                    <a:pt x="837" y="130"/>
                  </a:lnTo>
                  <a:lnTo>
                    <a:pt x="823" y="117"/>
                  </a:lnTo>
                  <a:lnTo>
                    <a:pt x="809" y="104"/>
                  </a:lnTo>
                  <a:lnTo>
                    <a:pt x="795" y="92"/>
                  </a:lnTo>
                  <a:lnTo>
                    <a:pt x="779" y="80"/>
                  </a:lnTo>
                  <a:lnTo>
                    <a:pt x="764" y="69"/>
                  </a:lnTo>
                  <a:lnTo>
                    <a:pt x="748" y="57"/>
                  </a:lnTo>
                  <a:lnTo>
                    <a:pt x="730" y="47"/>
                  </a:lnTo>
                  <a:lnTo>
                    <a:pt x="712" y="37"/>
                  </a:lnTo>
                  <a:lnTo>
                    <a:pt x="692" y="26"/>
                  </a:lnTo>
                  <a:lnTo>
                    <a:pt x="673" y="17"/>
                  </a:lnTo>
                  <a:lnTo>
                    <a:pt x="652" y="8"/>
                  </a:lnTo>
                  <a:lnTo>
                    <a:pt x="631" y="0"/>
                  </a:lnTo>
                  <a:lnTo>
                    <a:pt x="631" y="0"/>
                  </a:lnTo>
                  <a:lnTo>
                    <a:pt x="636" y="20"/>
                  </a:lnTo>
                  <a:lnTo>
                    <a:pt x="640" y="40"/>
                  </a:lnTo>
                  <a:lnTo>
                    <a:pt x="642" y="59"/>
                  </a:lnTo>
                  <a:lnTo>
                    <a:pt x="643" y="79"/>
                  </a:lnTo>
                  <a:lnTo>
                    <a:pt x="643" y="98"/>
                  </a:lnTo>
                  <a:lnTo>
                    <a:pt x="641" y="118"/>
                  </a:lnTo>
                  <a:lnTo>
                    <a:pt x="639" y="137"/>
                  </a:lnTo>
                  <a:lnTo>
                    <a:pt x="635" y="156"/>
                  </a:lnTo>
                  <a:lnTo>
                    <a:pt x="631" y="174"/>
                  </a:lnTo>
                  <a:lnTo>
                    <a:pt x="625" y="194"/>
                  </a:lnTo>
                  <a:lnTo>
                    <a:pt x="618" y="212"/>
                  </a:lnTo>
                  <a:lnTo>
                    <a:pt x="611" y="231"/>
                  </a:lnTo>
                  <a:lnTo>
                    <a:pt x="603" y="249"/>
                  </a:lnTo>
                  <a:lnTo>
                    <a:pt x="594" y="268"/>
                  </a:lnTo>
                  <a:lnTo>
                    <a:pt x="583" y="285"/>
                  </a:lnTo>
                  <a:lnTo>
                    <a:pt x="573" y="303"/>
                  </a:lnTo>
                  <a:lnTo>
                    <a:pt x="550" y="339"/>
                  </a:lnTo>
                  <a:lnTo>
                    <a:pt x="524" y="376"/>
                  </a:lnTo>
                  <a:lnTo>
                    <a:pt x="496" y="412"/>
                  </a:lnTo>
                  <a:lnTo>
                    <a:pt x="466" y="448"/>
                  </a:lnTo>
                  <a:lnTo>
                    <a:pt x="436" y="484"/>
                  </a:lnTo>
                  <a:lnTo>
                    <a:pt x="403" y="521"/>
                  </a:lnTo>
                  <a:lnTo>
                    <a:pt x="336" y="594"/>
                  </a:lnTo>
                  <a:lnTo>
                    <a:pt x="268" y="670"/>
                  </a:lnTo>
                  <a:lnTo>
                    <a:pt x="236" y="708"/>
                  </a:lnTo>
                  <a:lnTo>
                    <a:pt x="204" y="747"/>
                  </a:lnTo>
                  <a:lnTo>
                    <a:pt x="172" y="787"/>
                  </a:lnTo>
                  <a:lnTo>
                    <a:pt x="142" y="827"/>
                  </a:lnTo>
                  <a:lnTo>
                    <a:pt x="114" y="868"/>
                  </a:lnTo>
                  <a:lnTo>
                    <a:pt x="102" y="889"/>
                  </a:lnTo>
                  <a:lnTo>
                    <a:pt x="90" y="911"/>
                  </a:lnTo>
                  <a:lnTo>
                    <a:pt x="78" y="932"/>
                  </a:lnTo>
                  <a:lnTo>
                    <a:pt x="66" y="954"/>
                  </a:lnTo>
                  <a:lnTo>
                    <a:pt x="56" y="975"/>
                  </a:lnTo>
                  <a:lnTo>
                    <a:pt x="47" y="998"/>
                  </a:lnTo>
                  <a:lnTo>
                    <a:pt x="37" y="1021"/>
                  </a:lnTo>
                  <a:lnTo>
                    <a:pt x="29" y="1044"/>
                  </a:lnTo>
                  <a:lnTo>
                    <a:pt x="22" y="1067"/>
                  </a:lnTo>
                  <a:lnTo>
                    <a:pt x="16" y="1090"/>
                  </a:lnTo>
                  <a:lnTo>
                    <a:pt x="11" y="1114"/>
                  </a:lnTo>
                  <a:lnTo>
                    <a:pt x="7" y="1139"/>
                  </a:lnTo>
                  <a:lnTo>
                    <a:pt x="3" y="1163"/>
                  </a:lnTo>
                  <a:lnTo>
                    <a:pt x="1" y="1188"/>
                  </a:lnTo>
                  <a:lnTo>
                    <a:pt x="0" y="1213"/>
                  </a:lnTo>
                  <a:lnTo>
                    <a:pt x="0" y="1239"/>
                  </a:lnTo>
                  <a:lnTo>
                    <a:pt x="2" y="1265"/>
                  </a:lnTo>
                  <a:lnTo>
                    <a:pt x="4" y="1291"/>
                  </a:lnTo>
                  <a:lnTo>
                    <a:pt x="4" y="1291"/>
                  </a:lnTo>
                  <a:lnTo>
                    <a:pt x="8" y="1315"/>
                  </a:lnTo>
                  <a:lnTo>
                    <a:pt x="12" y="1339"/>
                  </a:lnTo>
                  <a:lnTo>
                    <a:pt x="19" y="1362"/>
                  </a:lnTo>
                  <a:lnTo>
                    <a:pt x="26" y="1386"/>
                  </a:lnTo>
                  <a:lnTo>
                    <a:pt x="35" y="1409"/>
                  </a:lnTo>
                  <a:lnTo>
                    <a:pt x="46" y="1433"/>
                  </a:lnTo>
                  <a:lnTo>
                    <a:pt x="57" y="1456"/>
                  </a:lnTo>
                  <a:lnTo>
                    <a:pt x="69" y="1479"/>
                  </a:lnTo>
                  <a:lnTo>
                    <a:pt x="83" y="1502"/>
                  </a:lnTo>
                  <a:lnTo>
                    <a:pt x="98" y="1524"/>
                  </a:lnTo>
                  <a:lnTo>
                    <a:pt x="113" y="1547"/>
                  </a:lnTo>
                  <a:lnTo>
                    <a:pt x="131" y="1568"/>
                  </a:lnTo>
                  <a:lnTo>
                    <a:pt x="148" y="1589"/>
                  </a:lnTo>
                  <a:lnTo>
                    <a:pt x="167" y="1610"/>
                  </a:lnTo>
                  <a:lnTo>
                    <a:pt x="186" y="1631"/>
                  </a:lnTo>
                  <a:lnTo>
                    <a:pt x="207" y="1650"/>
                  </a:lnTo>
                  <a:lnTo>
                    <a:pt x="228" y="1670"/>
                  </a:lnTo>
                  <a:lnTo>
                    <a:pt x="251" y="1688"/>
                  </a:lnTo>
                  <a:lnTo>
                    <a:pt x="273" y="1706"/>
                  </a:lnTo>
                  <a:lnTo>
                    <a:pt x="297" y="1723"/>
                  </a:lnTo>
                  <a:lnTo>
                    <a:pt x="321" y="1740"/>
                  </a:lnTo>
                  <a:lnTo>
                    <a:pt x="345" y="1755"/>
                  </a:lnTo>
                  <a:lnTo>
                    <a:pt x="371" y="1769"/>
                  </a:lnTo>
                  <a:lnTo>
                    <a:pt x="397" y="1784"/>
                  </a:lnTo>
                  <a:lnTo>
                    <a:pt x="423" y="1796"/>
                  </a:lnTo>
                  <a:lnTo>
                    <a:pt x="450" y="1808"/>
                  </a:lnTo>
                  <a:lnTo>
                    <a:pt x="477" y="1819"/>
                  </a:lnTo>
                  <a:lnTo>
                    <a:pt x="504" y="1829"/>
                  </a:lnTo>
                  <a:lnTo>
                    <a:pt x="532" y="1837"/>
                  </a:lnTo>
                  <a:lnTo>
                    <a:pt x="560" y="1845"/>
                  </a:lnTo>
                  <a:lnTo>
                    <a:pt x="588" y="1852"/>
                  </a:lnTo>
                  <a:lnTo>
                    <a:pt x="617" y="1857"/>
                  </a:lnTo>
                  <a:lnTo>
                    <a:pt x="617" y="1857"/>
                  </a:lnTo>
                  <a:lnTo>
                    <a:pt x="599" y="1834"/>
                  </a:lnTo>
                  <a:lnTo>
                    <a:pt x="581" y="1816"/>
                  </a:lnTo>
                  <a:lnTo>
                    <a:pt x="565" y="1797"/>
                  </a:lnTo>
                  <a:lnTo>
                    <a:pt x="548" y="1779"/>
                  </a:lnTo>
                  <a:lnTo>
                    <a:pt x="541" y="1768"/>
                  </a:lnTo>
                  <a:lnTo>
                    <a:pt x="534" y="1757"/>
                  </a:lnTo>
                  <a:lnTo>
                    <a:pt x="528" y="1746"/>
                  </a:lnTo>
                  <a:lnTo>
                    <a:pt x="521" y="1733"/>
                  </a:lnTo>
                  <a:lnTo>
                    <a:pt x="516" y="1717"/>
                  </a:lnTo>
                  <a:lnTo>
                    <a:pt x="509" y="1701"/>
                  </a:lnTo>
                  <a:lnTo>
                    <a:pt x="504" y="1682"/>
                  </a:lnTo>
                  <a:lnTo>
                    <a:pt x="500" y="1662"/>
                  </a:lnTo>
                  <a:lnTo>
                    <a:pt x="500" y="1662"/>
                  </a:lnTo>
                  <a:lnTo>
                    <a:pt x="497" y="1644"/>
                  </a:lnTo>
                  <a:lnTo>
                    <a:pt x="495" y="1626"/>
                  </a:lnTo>
                  <a:lnTo>
                    <a:pt x="494" y="1608"/>
                  </a:lnTo>
                  <a:lnTo>
                    <a:pt x="494" y="1591"/>
                  </a:lnTo>
                  <a:lnTo>
                    <a:pt x="494" y="1574"/>
                  </a:lnTo>
                  <a:lnTo>
                    <a:pt x="496" y="1556"/>
                  </a:lnTo>
                  <a:lnTo>
                    <a:pt x="498" y="1539"/>
                  </a:lnTo>
                  <a:lnTo>
                    <a:pt x="502" y="1521"/>
                  </a:lnTo>
                  <a:lnTo>
                    <a:pt x="506" y="1504"/>
                  </a:lnTo>
                  <a:lnTo>
                    <a:pt x="512" y="1487"/>
                  </a:lnTo>
                  <a:lnTo>
                    <a:pt x="518" y="1471"/>
                  </a:lnTo>
                  <a:lnTo>
                    <a:pt x="525" y="1455"/>
                  </a:lnTo>
                  <a:lnTo>
                    <a:pt x="532" y="1438"/>
                  </a:lnTo>
                  <a:lnTo>
                    <a:pt x="541" y="1422"/>
                  </a:lnTo>
                  <a:lnTo>
                    <a:pt x="551" y="1406"/>
                  </a:lnTo>
                  <a:lnTo>
                    <a:pt x="561" y="1391"/>
                  </a:lnTo>
                  <a:lnTo>
                    <a:pt x="572" y="1376"/>
                  </a:lnTo>
                  <a:lnTo>
                    <a:pt x="583" y="1361"/>
                  </a:lnTo>
                  <a:lnTo>
                    <a:pt x="596" y="1347"/>
                  </a:lnTo>
                  <a:lnTo>
                    <a:pt x="610" y="1332"/>
                  </a:lnTo>
                  <a:lnTo>
                    <a:pt x="623" y="1318"/>
                  </a:lnTo>
                  <a:lnTo>
                    <a:pt x="639" y="1305"/>
                  </a:lnTo>
                  <a:lnTo>
                    <a:pt x="654" y="1292"/>
                  </a:lnTo>
                  <a:lnTo>
                    <a:pt x="671" y="1280"/>
                  </a:lnTo>
                  <a:lnTo>
                    <a:pt x="688" y="1268"/>
                  </a:lnTo>
                  <a:lnTo>
                    <a:pt x="705" y="1256"/>
                  </a:lnTo>
                  <a:lnTo>
                    <a:pt x="724" y="1245"/>
                  </a:lnTo>
                  <a:lnTo>
                    <a:pt x="743" y="1234"/>
                  </a:lnTo>
                  <a:lnTo>
                    <a:pt x="763" y="1224"/>
                  </a:lnTo>
                  <a:lnTo>
                    <a:pt x="783" y="1214"/>
                  </a:lnTo>
                  <a:lnTo>
                    <a:pt x="805" y="1205"/>
                  </a:lnTo>
                  <a:lnTo>
                    <a:pt x="827" y="1197"/>
                  </a:lnTo>
                  <a:lnTo>
                    <a:pt x="827" y="1197"/>
                  </a:lnTo>
                  <a:lnTo>
                    <a:pt x="824" y="1224"/>
                  </a:lnTo>
                  <a:lnTo>
                    <a:pt x="823" y="1249"/>
                  </a:lnTo>
                  <a:lnTo>
                    <a:pt x="824" y="1273"/>
                  </a:lnTo>
                  <a:lnTo>
                    <a:pt x="827" y="1297"/>
                  </a:lnTo>
                  <a:lnTo>
                    <a:pt x="830" y="1318"/>
                  </a:lnTo>
                  <a:lnTo>
                    <a:pt x="834" y="1339"/>
                  </a:lnTo>
                  <a:lnTo>
                    <a:pt x="840" y="1358"/>
                  </a:lnTo>
                  <a:lnTo>
                    <a:pt x="846" y="1377"/>
                  </a:lnTo>
                  <a:lnTo>
                    <a:pt x="853" y="1394"/>
                  </a:lnTo>
                  <a:lnTo>
                    <a:pt x="860" y="1410"/>
                  </a:lnTo>
                  <a:lnTo>
                    <a:pt x="869" y="1427"/>
                  </a:lnTo>
                  <a:lnTo>
                    <a:pt x="878" y="1442"/>
                  </a:lnTo>
                  <a:lnTo>
                    <a:pt x="896" y="1472"/>
                  </a:lnTo>
                  <a:lnTo>
                    <a:pt x="916" y="1500"/>
                  </a:lnTo>
                  <a:lnTo>
                    <a:pt x="936" y="1526"/>
                  </a:lnTo>
                  <a:lnTo>
                    <a:pt x="955" y="1554"/>
                  </a:lnTo>
                  <a:lnTo>
                    <a:pt x="972" y="1581"/>
                  </a:lnTo>
                  <a:lnTo>
                    <a:pt x="979" y="1595"/>
                  </a:lnTo>
                  <a:lnTo>
                    <a:pt x="987" y="1609"/>
                  </a:lnTo>
                  <a:lnTo>
                    <a:pt x="993" y="1624"/>
                  </a:lnTo>
                  <a:lnTo>
                    <a:pt x="999" y="1639"/>
                  </a:lnTo>
                  <a:lnTo>
                    <a:pt x="1003" y="1656"/>
                  </a:lnTo>
                  <a:lnTo>
                    <a:pt x="1006" y="1672"/>
                  </a:lnTo>
                  <a:lnTo>
                    <a:pt x="1008" y="1689"/>
                  </a:lnTo>
                  <a:lnTo>
                    <a:pt x="1009" y="1708"/>
                  </a:lnTo>
                  <a:lnTo>
                    <a:pt x="1008" y="1726"/>
                  </a:lnTo>
                  <a:lnTo>
                    <a:pt x="1006" y="1747"/>
                  </a:lnTo>
                  <a:lnTo>
                    <a:pt x="1006" y="1747"/>
                  </a:lnTo>
                  <a:lnTo>
                    <a:pt x="1002" y="1768"/>
                  </a:lnTo>
                  <a:lnTo>
                    <a:pt x="997" y="1789"/>
                  </a:lnTo>
                  <a:lnTo>
                    <a:pt x="992" y="1811"/>
                  </a:lnTo>
                  <a:lnTo>
                    <a:pt x="985" y="1831"/>
                  </a:lnTo>
                  <a:lnTo>
                    <a:pt x="985" y="1831"/>
                  </a:lnTo>
                  <a:lnTo>
                    <a:pt x="1028" y="1819"/>
                  </a:lnTo>
                  <a:lnTo>
                    <a:pt x="1069" y="1805"/>
                  </a:lnTo>
                  <a:lnTo>
                    <a:pt x="1110" y="1789"/>
                  </a:lnTo>
                  <a:lnTo>
                    <a:pt x="1149" y="1772"/>
                  </a:lnTo>
                  <a:lnTo>
                    <a:pt x="1187" y="1752"/>
                  </a:lnTo>
                  <a:lnTo>
                    <a:pt x="1204" y="1741"/>
                  </a:lnTo>
                  <a:lnTo>
                    <a:pt x="1223" y="1730"/>
                  </a:lnTo>
                  <a:lnTo>
                    <a:pt x="1240" y="1719"/>
                  </a:lnTo>
                  <a:lnTo>
                    <a:pt x="1256" y="1707"/>
                  </a:lnTo>
                  <a:lnTo>
                    <a:pt x="1274" y="1695"/>
                  </a:lnTo>
                  <a:lnTo>
                    <a:pt x="1289" y="1681"/>
                  </a:lnTo>
                  <a:lnTo>
                    <a:pt x="1305" y="1668"/>
                  </a:lnTo>
                  <a:lnTo>
                    <a:pt x="1320" y="1655"/>
                  </a:lnTo>
                  <a:lnTo>
                    <a:pt x="1334" y="1640"/>
                  </a:lnTo>
                  <a:lnTo>
                    <a:pt x="1349" y="1625"/>
                  </a:lnTo>
                  <a:lnTo>
                    <a:pt x="1362" y="1610"/>
                  </a:lnTo>
                  <a:lnTo>
                    <a:pt x="1375" y="1594"/>
                  </a:lnTo>
                  <a:lnTo>
                    <a:pt x="1388" y="1578"/>
                  </a:lnTo>
                  <a:lnTo>
                    <a:pt x="1399" y="1561"/>
                  </a:lnTo>
                  <a:lnTo>
                    <a:pt x="1410" y="1544"/>
                  </a:lnTo>
                  <a:lnTo>
                    <a:pt x="1421" y="1526"/>
                  </a:lnTo>
                  <a:lnTo>
                    <a:pt x="1431" y="1508"/>
                  </a:lnTo>
                  <a:lnTo>
                    <a:pt x="1440" y="1489"/>
                  </a:lnTo>
                  <a:lnTo>
                    <a:pt x="1448" y="1471"/>
                  </a:lnTo>
                  <a:lnTo>
                    <a:pt x="1456" y="1451"/>
                  </a:lnTo>
                  <a:lnTo>
                    <a:pt x="1463" y="1431"/>
                  </a:lnTo>
                  <a:lnTo>
                    <a:pt x="1470" y="1410"/>
                  </a:lnTo>
                  <a:lnTo>
                    <a:pt x="1470" y="1410"/>
                  </a:lnTo>
                  <a:lnTo>
                    <a:pt x="1477" y="1381"/>
                  </a:lnTo>
                  <a:lnTo>
                    <a:pt x="1484" y="1351"/>
                  </a:lnTo>
                  <a:lnTo>
                    <a:pt x="1489" y="1321"/>
                  </a:lnTo>
                  <a:lnTo>
                    <a:pt x="1493" y="1290"/>
                  </a:lnTo>
                  <a:lnTo>
                    <a:pt x="1496" y="1260"/>
                  </a:lnTo>
                  <a:lnTo>
                    <a:pt x="1498" y="1229"/>
                  </a:lnTo>
                  <a:lnTo>
                    <a:pt x="1499" y="1197"/>
                  </a:lnTo>
                  <a:lnTo>
                    <a:pt x="1498" y="1166"/>
                  </a:lnTo>
                  <a:lnTo>
                    <a:pt x="1496" y="1135"/>
                  </a:lnTo>
                  <a:lnTo>
                    <a:pt x="1492" y="1104"/>
                  </a:lnTo>
                  <a:lnTo>
                    <a:pt x="1488" y="1073"/>
                  </a:lnTo>
                  <a:lnTo>
                    <a:pt x="1483" y="1042"/>
                  </a:lnTo>
                  <a:lnTo>
                    <a:pt x="1476" y="1011"/>
                  </a:lnTo>
                  <a:lnTo>
                    <a:pt x="1469" y="981"/>
                  </a:lnTo>
                  <a:lnTo>
                    <a:pt x="1460" y="951"/>
                  </a:lnTo>
                  <a:lnTo>
                    <a:pt x="1450" y="920"/>
                  </a:lnTo>
                  <a:lnTo>
                    <a:pt x="1439" y="891"/>
                  </a:lnTo>
                  <a:lnTo>
                    <a:pt x="1427" y="863"/>
                  </a:lnTo>
                  <a:lnTo>
                    <a:pt x="1413" y="834"/>
                  </a:lnTo>
                  <a:lnTo>
                    <a:pt x="1399" y="806"/>
                  </a:lnTo>
                  <a:lnTo>
                    <a:pt x="1384" y="779"/>
                  </a:lnTo>
                  <a:lnTo>
                    <a:pt x="1368" y="753"/>
                  </a:lnTo>
                  <a:lnTo>
                    <a:pt x="1351" y="727"/>
                  </a:lnTo>
                  <a:lnTo>
                    <a:pt x="1332" y="703"/>
                  </a:lnTo>
                  <a:lnTo>
                    <a:pt x="1312" y="679"/>
                  </a:lnTo>
                  <a:lnTo>
                    <a:pt x="1291" y="655"/>
                  </a:lnTo>
                  <a:lnTo>
                    <a:pt x="1270" y="634"/>
                  </a:lnTo>
                  <a:lnTo>
                    <a:pt x="1247" y="613"/>
                  </a:lnTo>
                  <a:lnTo>
                    <a:pt x="1224" y="593"/>
                  </a:lnTo>
                  <a:lnTo>
                    <a:pt x="1200" y="574"/>
                  </a:lnTo>
                  <a:lnTo>
                    <a:pt x="1174" y="557"/>
                  </a:lnTo>
                  <a:lnTo>
                    <a:pt x="1148" y="541"/>
                  </a:lnTo>
                  <a:lnTo>
                    <a:pt x="1148" y="54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727" name="Group 1726"/>
          <p:cNvGrpSpPr>
            <a:grpSpLocks noChangeAspect="1"/>
          </p:cNvGrpSpPr>
          <p:nvPr/>
        </p:nvGrpSpPr>
        <p:grpSpPr>
          <a:xfrm>
            <a:off x="9536483" y="4547648"/>
            <a:ext cx="341128" cy="872335"/>
            <a:chOff x="-8477250" y="673101"/>
            <a:chExt cx="2441575" cy="6243638"/>
          </a:xfrm>
          <a:solidFill>
            <a:schemeClr val="bg1"/>
          </a:solidFill>
        </p:grpSpPr>
        <p:sp>
          <p:nvSpPr>
            <p:cNvPr id="1728" name="Freeform 44"/>
            <p:cNvSpPr>
              <a:spLocks/>
            </p:cNvSpPr>
            <p:nvPr/>
          </p:nvSpPr>
          <p:spPr bwMode="auto">
            <a:xfrm>
              <a:off x="-8477250" y="1711326"/>
              <a:ext cx="2441575" cy="5205413"/>
            </a:xfrm>
            <a:custGeom>
              <a:avLst/>
              <a:gdLst>
                <a:gd name="T0" fmla="*/ 1538 w 1538"/>
                <a:gd name="T1" fmla="*/ 217 h 3279"/>
                <a:gd name="T2" fmla="*/ 1508 w 1538"/>
                <a:gd name="T3" fmla="*/ 154 h 3279"/>
                <a:gd name="T4" fmla="*/ 1452 w 1538"/>
                <a:gd name="T5" fmla="*/ 103 h 3279"/>
                <a:gd name="T6" fmla="*/ 1380 w 1538"/>
                <a:gd name="T7" fmla="*/ 73 h 3279"/>
                <a:gd name="T8" fmla="*/ 1065 w 1538"/>
                <a:gd name="T9" fmla="*/ 0 h 3279"/>
                <a:gd name="T10" fmla="*/ 492 w 1538"/>
                <a:gd name="T11" fmla="*/ 45 h 3279"/>
                <a:gd name="T12" fmla="*/ 175 w 1538"/>
                <a:gd name="T13" fmla="*/ 63 h 3279"/>
                <a:gd name="T14" fmla="*/ 109 w 1538"/>
                <a:gd name="T15" fmla="*/ 78 h 3279"/>
                <a:gd name="T16" fmla="*/ 54 w 1538"/>
                <a:gd name="T17" fmla="*/ 114 h 3279"/>
                <a:gd name="T18" fmla="*/ 17 w 1538"/>
                <a:gd name="T19" fmla="*/ 169 h 3279"/>
                <a:gd name="T20" fmla="*/ 4 w 1538"/>
                <a:gd name="T21" fmla="*/ 234 h 3279"/>
                <a:gd name="T22" fmla="*/ 2 w 1538"/>
                <a:gd name="T23" fmla="*/ 428 h 3279"/>
                <a:gd name="T24" fmla="*/ 2 w 1538"/>
                <a:gd name="T25" fmla="*/ 1489 h 3279"/>
                <a:gd name="T26" fmla="*/ 8 w 1538"/>
                <a:gd name="T27" fmla="*/ 1538 h 3279"/>
                <a:gd name="T28" fmla="*/ 45 w 1538"/>
                <a:gd name="T29" fmla="*/ 1600 h 3279"/>
                <a:gd name="T30" fmla="*/ 86 w 1538"/>
                <a:gd name="T31" fmla="*/ 1622 h 3279"/>
                <a:gd name="T32" fmla="*/ 131 w 1538"/>
                <a:gd name="T33" fmla="*/ 1628 h 3279"/>
                <a:gd name="T34" fmla="*/ 201 w 1538"/>
                <a:gd name="T35" fmla="*/ 1607 h 3279"/>
                <a:gd name="T36" fmla="*/ 244 w 1538"/>
                <a:gd name="T37" fmla="*/ 1547 h 3279"/>
                <a:gd name="T38" fmla="*/ 269 w 1538"/>
                <a:gd name="T39" fmla="*/ 1472 h 3279"/>
                <a:gd name="T40" fmla="*/ 274 w 1538"/>
                <a:gd name="T41" fmla="*/ 1207 h 3279"/>
                <a:gd name="T42" fmla="*/ 274 w 1538"/>
                <a:gd name="T43" fmla="*/ 578 h 3279"/>
                <a:gd name="T44" fmla="*/ 355 w 1538"/>
                <a:gd name="T45" fmla="*/ 1842 h 3279"/>
                <a:gd name="T46" fmla="*/ 359 w 1538"/>
                <a:gd name="T47" fmla="*/ 3106 h 3279"/>
                <a:gd name="T48" fmla="*/ 366 w 1538"/>
                <a:gd name="T49" fmla="*/ 3164 h 3279"/>
                <a:gd name="T50" fmla="*/ 391 w 1538"/>
                <a:gd name="T51" fmla="*/ 3211 h 3279"/>
                <a:gd name="T52" fmla="*/ 475 w 1538"/>
                <a:gd name="T53" fmla="*/ 3268 h 3279"/>
                <a:gd name="T54" fmla="*/ 584 w 1538"/>
                <a:gd name="T55" fmla="*/ 3275 h 3279"/>
                <a:gd name="T56" fmla="*/ 684 w 1538"/>
                <a:gd name="T57" fmla="*/ 3230 h 3279"/>
                <a:gd name="T58" fmla="*/ 714 w 1538"/>
                <a:gd name="T59" fmla="*/ 3127 h 3279"/>
                <a:gd name="T60" fmla="*/ 729 w 1538"/>
                <a:gd name="T61" fmla="*/ 2947 h 3279"/>
                <a:gd name="T62" fmla="*/ 727 w 1538"/>
                <a:gd name="T63" fmla="*/ 1622 h 3279"/>
                <a:gd name="T64" fmla="*/ 809 w 1538"/>
                <a:gd name="T65" fmla="*/ 2381 h 3279"/>
                <a:gd name="T66" fmla="*/ 813 w 1538"/>
                <a:gd name="T67" fmla="*/ 3142 h 3279"/>
                <a:gd name="T68" fmla="*/ 834 w 1538"/>
                <a:gd name="T69" fmla="*/ 3208 h 3279"/>
                <a:gd name="T70" fmla="*/ 877 w 1538"/>
                <a:gd name="T71" fmla="*/ 3251 h 3279"/>
                <a:gd name="T72" fmla="*/ 937 w 1538"/>
                <a:gd name="T73" fmla="*/ 3273 h 3279"/>
                <a:gd name="T74" fmla="*/ 1003 w 1538"/>
                <a:gd name="T75" fmla="*/ 3275 h 3279"/>
                <a:gd name="T76" fmla="*/ 1065 w 1538"/>
                <a:gd name="T77" fmla="*/ 3258 h 3279"/>
                <a:gd name="T78" fmla="*/ 1119 w 1538"/>
                <a:gd name="T79" fmla="*/ 3223 h 3279"/>
                <a:gd name="T80" fmla="*/ 1155 w 1538"/>
                <a:gd name="T81" fmla="*/ 3170 h 3279"/>
                <a:gd name="T82" fmla="*/ 1163 w 1538"/>
                <a:gd name="T83" fmla="*/ 3102 h 3279"/>
                <a:gd name="T84" fmla="*/ 1164 w 1538"/>
                <a:gd name="T85" fmla="*/ 1207 h 3279"/>
                <a:gd name="T86" fmla="*/ 1264 w 1538"/>
                <a:gd name="T87" fmla="*/ 574 h 3279"/>
                <a:gd name="T88" fmla="*/ 1266 w 1538"/>
                <a:gd name="T89" fmla="*/ 1472 h 3279"/>
                <a:gd name="T90" fmla="*/ 1281 w 1538"/>
                <a:gd name="T91" fmla="*/ 1538 h 3279"/>
                <a:gd name="T92" fmla="*/ 1318 w 1538"/>
                <a:gd name="T93" fmla="*/ 1594 h 3279"/>
                <a:gd name="T94" fmla="*/ 1375 w 1538"/>
                <a:gd name="T95" fmla="*/ 1624 h 3279"/>
                <a:gd name="T96" fmla="*/ 1427 w 1538"/>
                <a:gd name="T97" fmla="*/ 1624 h 3279"/>
                <a:gd name="T98" fmla="*/ 1480 w 1538"/>
                <a:gd name="T99" fmla="*/ 1609 h 3279"/>
                <a:gd name="T100" fmla="*/ 1514 w 1538"/>
                <a:gd name="T101" fmla="*/ 1566 h 3279"/>
                <a:gd name="T102" fmla="*/ 1536 w 1538"/>
                <a:gd name="T103" fmla="*/ 1482 h 3279"/>
                <a:gd name="T104" fmla="*/ 1536 w 1538"/>
                <a:gd name="T105" fmla="*/ 1080 h 3279"/>
                <a:gd name="T106" fmla="*/ 1538 w 1538"/>
                <a:gd name="T107" fmla="*/ 695 h 3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38" h="3279">
                  <a:moveTo>
                    <a:pt x="1538" y="695"/>
                  </a:moveTo>
                  <a:lnTo>
                    <a:pt x="1538" y="234"/>
                  </a:lnTo>
                  <a:lnTo>
                    <a:pt x="1538" y="234"/>
                  </a:lnTo>
                  <a:lnTo>
                    <a:pt x="1538" y="217"/>
                  </a:lnTo>
                  <a:lnTo>
                    <a:pt x="1534" y="201"/>
                  </a:lnTo>
                  <a:lnTo>
                    <a:pt x="1527" y="184"/>
                  </a:lnTo>
                  <a:lnTo>
                    <a:pt x="1519" y="169"/>
                  </a:lnTo>
                  <a:lnTo>
                    <a:pt x="1508" y="154"/>
                  </a:lnTo>
                  <a:lnTo>
                    <a:pt x="1497" y="139"/>
                  </a:lnTo>
                  <a:lnTo>
                    <a:pt x="1484" y="125"/>
                  </a:lnTo>
                  <a:lnTo>
                    <a:pt x="1469" y="114"/>
                  </a:lnTo>
                  <a:lnTo>
                    <a:pt x="1452" y="103"/>
                  </a:lnTo>
                  <a:lnTo>
                    <a:pt x="1435" y="93"/>
                  </a:lnTo>
                  <a:lnTo>
                    <a:pt x="1418" y="84"/>
                  </a:lnTo>
                  <a:lnTo>
                    <a:pt x="1399" y="78"/>
                  </a:lnTo>
                  <a:lnTo>
                    <a:pt x="1380" y="73"/>
                  </a:lnTo>
                  <a:lnTo>
                    <a:pt x="1362" y="67"/>
                  </a:lnTo>
                  <a:lnTo>
                    <a:pt x="1345" y="65"/>
                  </a:lnTo>
                  <a:lnTo>
                    <a:pt x="1326" y="63"/>
                  </a:lnTo>
                  <a:lnTo>
                    <a:pt x="1065" y="0"/>
                  </a:lnTo>
                  <a:lnTo>
                    <a:pt x="1016" y="225"/>
                  </a:lnTo>
                  <a:lnTo>
                    <a:pt x="781" y="972"/>
                  </a:lnTo>
                  <a:lnTo>
                    <a:pt x="492" y="45"/>
                  </a:lnTo>
                  <a:lnTo>
                    <a:pt x="492" y="45"/>
                  </a:lnTo>
                  <a:lnTo>
                    <a:pt x="492" y="45"/>
                  </a:lnTo>
                  <a:lnTo>
                    <a:pt x="479" y="0"/>
                  </a:lnTo>
                  <a:lnTo>
                    <a:pt x="175" y="63"/>
                  </a:lnTo>
                  <a:lnTo>
                    <a:pt x="175" y="63"/>
                  </a:lnTo>
                  <a:lnTo>
                    <a:pt x="156" y="65"/>
                  </a:lnTo>
                  <a:lnTo>
                    <a:pt x="139" y="67"/>
                  </a:lnTo>
                  <a:lnTo>
                    <a:pt x="124" y="73"/>
                  </a:lnTo>
                  <a:lnTo>
                    <a:pt x="109" y="78"/>
                  </a:lnTo>
                  <a:lnTo>
                    <a:pt x="94" y="84"/>
                  </a:lnTo>
                  <a:lnTo>
                    <a:pt x="79" y="93"/>
                  </a:lnTo>
                  <a:lnTo>
                    <a:pt x="66" y="103"/>
                  </a:lnTo>
                  <a:lnTo>
                    <a:pt x="54" y="114"/>
                  </a:lnTo>
                  <a:lnTo>
                    <a:pt x="43" y="125"/>
                  </a:lnTo>
                  <a:lnTo>
                    <a:pt x="34" y="139"/>
                  </a:lnTo>
                  <a:lnTo>
                    <a:pt x="24" y="154"/>
                  </a:lnTo>
                  <a:lnTo>
                    <a:pt x="17" y="169"/>
                  </a:lnTo>
                  <a:lnTo>
                    <a:pt x="11" y="184"/>
                  </a:lnTo>
                  <a:lnTo>
                    <a:pt x="8" y="201"/>
                  </a:lnTo>
                  <a:lnTo>
                    <a:pt x="6" y="217"/>
                  </a:lnTo>
                  <a:lnTo>
                    <a:pt x="4" y="234"/>
                  </a:lnTo>
                  <a:lnTo>
                    <a:pt x="4" y="375"/>
                  </a:lnTo>
                  <a:lnTo>
                    <a:pt x="4" y="375"/>
                  </a:lnTo>
                  <a:lnTo>
                    <a:pt x="2" y="402"/>
                  </a:lnTo>
                  <a:lnTo>
                    <a:pt x="2" y="428"/>
                  </a:lnTo>
                  <a:lnTo>
                    <a:pt x="2" y="428"/>
                  </a:lnTo>
                  <a:lnTo>
                    <a:pt x="0" y="959"/>
                  </a:lnTo>
                  <a:lnTo>
                    <a:pt x="2" y="1224"/>
                  </a:lnTo>
                  <a:lnTo>
                    <a:pt x="2" y="1489"/>
                  </a:lnTo>
                  <a:lnTo>
                    <a:pt x="2" y="1489"/>
                  </a:lnTo>
                  <a:lnTo>
                    <a:pt x="2" y="1502"/>
                  </a:lnTo>
                  <a:lnTo>
                    <a:pt x="4" y="1513"/>
                  </a:lnTo>
                  <a:lnTo>
                    <a:pt x="8" y="1538"/>
                  </a:lnTo>
                  <a:lnTo>
                    <a:pt x="17" y="1560"/>
                  </a:lnTo>
                  <a:lnTo>
                    <a:pt x="28" y="1583"/>
                  </a:lnTo>
                  <a:lnTo>
                    <a:pt x="36" y="1592"/>
                  </a:lnTo>
                  <a:lnTo>
                    <a:pt x="45" y="1600"/>
                  </a:lnTo>
                  <a:lnTo>
                    <a:pt x="54" y="1607"/>
                  </a:lnTo>
                  <a:lnTo>
                    <a:pt x="64" y="1615"/>
                  </a:lnTo>
                  <a:lnTo>
                    <a:pt x="75" y="1619"/>
                  </a:lnTo>
                  <a:lnTo>
                    <a:pt x="86" y="1622"/>
                  </a:lnTo>
                  <a:lnTo>
                    <a:pt x="98" y="1624"/>
                  </a:lnTo>
                  <a:lnTo>
                    <a:pt x="111" y="1624"/>
                  </a:lnTo>
                  <a:lnTo>
                    <a:pt x="111" y="1624"/>
                  </a:lnTo>
                  <a:lnTo>
                    <a:pt x="131" y="1628"/>
                  </a:lnTo>
                  <a:lnTo>
                    <a:pt x="150" y="1626"/>
                  </a:lnTo>
                  <a:lnTo>
                    <a:pt x="169" y="1622"/>
                  </a:lnTo>
                  <a:lnTo>
                    <a:pt x="186" y="1617"/>
                  </a:lnTo>
                  <a:lnTo>
                    <a:pt x="201" y="1607"/>
                  </a:lnTo>
                  <a:lnTo>
                    <a:pt x="214" y="1594"/>
                  </a:lnTo>
                  <a:lnTo>
                    <a:pt x="225" y="1581"/>
                  </a:lnTo>
                  <a:lnTo>
                    <a:pt x="237" y="1564"/>
                  </a:lnTo>
                  <a:lnTo>
                    <a:pt x="244" y="1547"/>
                  </a:lnTo>
                  <a:lnTo>
                    <a:pt x="254" y="1530"/>
                  </a:lnTo>
                  <a:lnTo>
                    <a:pt x="259" y="1512"/>
                  </a:lnTo>
                  <a:lnTo>
                    <a:pt x="265" y="1491"/>
                  </a:lnTo>
                  <a:lnTo>
                    <a:pt x="269" y="1472"/>
                  </a:lnTo>
                  <a:lnTo>
                    <a:pt x="270" y="1453"/>
                  </a:lnTo>
                  <a:lnTo>
                    <a:pt x="272" y="1416"/>
                  </a:lnTo>
                  <a:lnTo>
                    <a:pt x="272" y="1416"/>
                  </a:lnTo>
                  <a:lnTo>
                    <a:pt x="274" y="1207"/>
                  </a:lnTo>
                  <a:lnTo>
                    <a:pt x="272" y="997"/>
                  </a:lnTo>
                  <a:lnTo>
                    <a:pt x="272" y="788"/>
                  </a:lnTo>
                  <a:lnTo>
                    <a:pt x="274" y="578"/>
                  </a:lnTo>
                  <a:lnTo>
                    <a:pt x="274" y="578"/>
                  </a:lnTo>
                  <a:lnTo>
                    <a:pt x="355" y="578"/>
                  </a:lnTo>
                  <a:lnTo>
                    <a:pt x="355" y="578"/>
                  </a:lnTo>
                  <a:lnTo>
                    <a:pt x="357" y="1211"/>
                  </a:lnTo>
                  <a:lnTo>
                    <a:pt x="355" y="1842"/>
                  </a:lnTo>
                  <a:lnTo>
                    <a:pt x="355" y="2473"/>
                  </a:lnTo>
                  <a:lnTo>
                    <a:pt x="357" y="2791"/>
                  </a:lnTo>
                  <a:lnTo>
                    <a:pt x="359" y="3106"/>
                  </a:lnTo>
                  <a:lnTo>
                    <a:pt x="359" y="3106"/>
                  </a:lnTo>
                  <a:lnTo>
                    <a:pt x="359" y="3121"/>
                  </a:lnTo>
                  <a:lnTo>
                    <a:pt x="359" y="3136"/>
                  </a:lnTo>
                  <a:lnTo>
                    <a:pt x="362" y="3151"/>
                  </a:lnTo>
                  <a:lnTo>
                    <a:pt x="366" y="3164"/>
                  </a:lnTo>
                  <a:lnTo>
                    <a:pt x="370" y="3178"/>
                  </a:lnTo>
                  <a:lnTo>
                    <a:pt x="376" y="3189"/>
                  </a:lnTo>
                  <a:lnTo>
                    <a:pt x="383" y="3200"/>
                  </a:lnTo>
                  <a:lnTo>
                    <a:pt x="391" y="3211"/>
                  </a:lnTo>
                  <a:lnTo>
                    <a:pt x="408" y="3230"/>
                  </a:lnTo>
                  <a:lnTo>
                    <a:pt x="428" y="3245"/>
                  </a:lnTo>
                  <a:lnTo>
                    <a:pt x="451" y="3258"/>
                  </a:lnTo>
                  <a:lnTo>
                    <a:pt x="475" y="3268"/>
                  </a:lnTo>
                  <a:lnTo>
                    <a:pt x="501" y="3275"/>
                  </a:lnTo>
                  <a:lnTo>
                    <a:pt x="530" y="3277"/>
                  </a:lnTo>
                  <a:lnTo>
                    <a:pt x="556" y="3279"/>
                  </a:lnTo>
                  <a:lnTo>
                    <a:pt x="584" y="3275"/>
                  </a:lnTo>
                  <a:lnTo>
                    <a:pt x="610" y="3270"/>
                  </a:lnTo>
                  <a:lnTo>
                    <a:pt x="637" y="3260"/>
                  </a:lnTo>
                  <a:lnTo>
                    <a:pt x="661" y="3247"/>
                  </a:lnTo>
                  <a:lnTo>
                    <a:pt x="684" y="3230"/>
                  </a:lnTo>
                  <a:lnTo>
                    <a:pt x="684" y="3230"/>
                  </a:lnTo>
                  <a:lnTo>
                    <a:pt x="697" y="3196"/>
                  </a:lnTo>
                  <a:lnTo>
                    <a:pt x="706" y="3163"/>
                  </a:lnTo>
                  <a:lnTo>
                    <a:pt x="714" y="3127"/>
                  </a:lnTo>
                  <a:lnTo>
                    <a:pt x="719" y="3091"/>
                  </a:lnTo>
                  <a:lnTo>
                    <a:pt x="725" y="3055"/>
                  </a:lnTo>
                  <a:lnTo>
                    <a:pt x="727" y="3018"/>
                  </a:lnTo>
                  <a:lnTo>
                    <a:pt x="729" y="2947"/>
                  </a:lnTo>
                  <a:lnTo>
                    <a:pt x="729" y="2947"/>
                  </a:lnTo>
                  <a:lnTo>
                    <a:pt x="727" y="2285"/>
                  </a:lnTo>
                  <a:lnTo>
                    <a:pt x="727" y="1622"/>
                  </a:lnTo>
                  <a:lnTo>
                    <a:pt x="727" y="1622"/>
                  </a:lnTo>
                  <a:lnTo>
                    <a:pt x="809" y="1622"/>
                  </a:lnTo>
                  <a:lnTo>
                    <a:pt x="809" y="1622"/>
                  </a:lnTo>
                  <a:lnTo>
                    <a:pt x="811" y="2002"/>
                  </a:lnTo>
                  <a:lnTo>
                    <a:pt x="809" y="2381"/>
                  </a:lnTo>
                  <a:lnTo>
                    <a:pt x="809" y="2762"/>
                  </a:lnTo>
                  <a:lnTo>
                    <a:pt x="811" y="2952"/>
                  </a:lnTo>
                  <a:lnTo>
                    <a:pt x="813" y="3142"/>
                  </a:lnTo>
                  <a:lnTo>
                    <a:pt x="813" y="3142"/>
                  </a:lnTo>
                  <a:lnTo>
                    <a:pt x="815" y="3161"/>
                  </a:lnTo>
                  <a:lnTo>
                    <a:pt x="821" y="3178"/>
                  </a:lnTo>
                  <a:lnTo>
                    <a:pt x="826" y="3193"/>
                  </a:lnTo>
                  <a:lnTo>
                    <a:pt x="834" y="3208"/>
                  </a:lnTo>
                  <a:lnTo>
                    <a:pt x="843" y="3221"/>
                  </a:lnTo>
                  <a:lnTo>
                    <a:pt x="853" y="3232"/>
                  </a:lnTo>
                  <a:lnTo>
                    <a:pt x="866" y="3243"/>
                  </a:lnTo>
                  <a:lnTo>
                    <a:pt x="877" y="3251"/>
                  </a:lnTo>
                  <a:lnTo>
                    <a:pt x="892" y="3258"/>
                  </a:lnTo>
                  <a:lnTo>
                    <a:pt x="905" y="3266"/>
                  </a:lnTo>
                  <a:lnTo>
                    <a:pt x="920" y="3270"/>
                  </a:lnTo>
                  <a:lnTo>
                    <a:pt x="937" y="3273"/>
                  </a:lnTo>
                  <a:lnTo>
                    <a:pt x="952" y="3275"/>
                  </a:lnTo>
                  <a:lnTo>
                    <a:pt x="969" y="3277"/>
                  </a:lnTo>
                  <a:lnTo>
                    <a:pt x="986" y="3277"/>
                  </a:lnTo>
                  <a:lnTo>
                    <a:pt x="1003" y="3275"/>
                  </a:lnTo>
                  <a:lnTo>
                    <a:pt x="1018" y="3273"/>
                  </a:lnTo>
                  <a:lnTo>
                    <a:pt x="1035" y="3270"/>
                  </a:lnTo>
                  <a:lnTo>
                    <a:pt x="1050" y="3264"/>
                  </a:lnTo>
                  <a:lnTo>
                    <a:pt x="1065" y="3258"/>
                  </a:lnTo>
                  <a:lnTo>
                    <a:pt x="1080" y="3251"/>
                  </a:lnTo>
                  <a:lnTo>
                    <a:pt x="1095" y="3241"/>
                  </a:lnTo>
                  <a:lnTo>
                    <a:pt x="1108" y="3232"/>
                  </a:lnTo>
                  <a:lnTo>
                    <a:pt x="1119" y="3223"/>
                  </a:lnTo>
                  <a:lnTo>
                    <a:pt x="1131" y="3211"/>
                  </a:lnTo>
                  <a:lnTo>
                    <a:pt x="1140" y="3198"/>
                  </a:lnTo>
                  <a:lnTo>
                    <a:pt x="1148" y="3185"/>
                  </a:lnTo>
                  <a:lnTo>
                    <a:pt x="1155" y="3170"/>
                  </a:lnTo>
                  <a:lnTo>
                    <a:pt x="1159" y="3155"/>
                  </a:lnTo>
                  <a:lnTo>
                    <a:pt x="1163" y="3138"/>
                  </a:lnTo>
                  <a:lnTo>
                    <a:pt x="1163" y="3119"/>
                  </a:lnTo>
                  <a:lnTo>
                    <a:pt x="1163" y="3102"/>
                  </a:lnTo>
                  <a:lnTo>
                    <a:pt x="1163" y="3102"/>
                  </a:lnTo>
                  <a:lnTo>
                    <a:pt x="1164" y="2469"/>
                  </a:lnTo>
                  <a:lnTo>
                    <a:pt x="1164" y="1838"/>
                  </a:lnTo>
                  <a:lnTo>
                    <a:pt x="1164" y="1207"/>
                  </a:lnTo>
                  <a:lnTo>
                    <a:pt x="1166" y="574"/>
                  </a:lnTo>
                  <a:lnTo>
                    <a:pt x="1166" y="574"/>
                  </a:lnTo>
                  <a:lnTo>
                    <a:pt x="1264" y="574"/>
                  </a:lnTo>
                  <a:lnTo>
                    <a:pt x="1264" y="574"/>
                  </a:lnTo>
                  <a:lnTo>
                    <a:pt x="1264" y="1014"/>
                  </a:lnTo>
                  <a:lnTo>
                    <a:pt x="1264" y="1455"/>
                  </a:lnTo>
                  <a:lnTo>
                    <a:pt x="1264" y="1455"/>
                  </a:lnTo>
                  <a:lnTo>
                    <a:pt x="1266" y="1472"/>
                  </a:lnTo>
                  <a:lnTo>
                    <a:pt x="1268" y="1487"/>
                  </a:lnTo>
                  <a:lnTo>
                    <a:pt x="1270" y="1504"/>
                  </a:lnTo>
                  <a:lnTo>
                    <a:pt x="1275" y="1521"/>
                  </a:lnTo>
                  <a:lnTo>
                    <a:pt x="1281" y="1538"/>
                  </a:lnTo>
                  <a:lnTo>
                    <a:pt x="1288" y="1553"/>
                  </a:lnTo>
                  <a:lnTo>
                    <a:pt x="1298" y="1568"/>
                  </a:lnTo>
                  <a:lnTo>
                    <a:pt x="1307" y="1581"/>
                  </a:lnTo>
                  <a:lnTo>
                    <a:pt x="1318" y="1594"/>
                  </a:lnTo>
                  <a:lnTo>
                    <a:pt x="1332" y="1604"/>
                  </a:lnTo>
                  <a:lnTo>
                    <a:pt x="1345" y="1613"/>
                  </a:lnTo>
                  <a:lnTo>
                    <a:pt x="1360" y="1620"/>
                  </a:lnTo>
                  <a:lnTo>
                    <a:pt x="1375" y="1624"/>
                  </a:lnTo>
                  <a:lnTo>
                    <a:pt x="1392" y="1628"/>
                  </a:lnTo>
                  <a:lnTo>
                    <a:pt x="1409" y="1628"/>
                  </a:lnTo>
                  <a:lnTo>
                    <a:pt x="1427" y="1624"/>
                  </a:lnTo>
                  <a:lnTo>
                    <a:pt x="1427" y="1624"/>
                  </a:lnTo>
                  <a:lnTo>
                    <a:pt x="1442" y="1624"/>
                  </a:lnTo>
                  <a:lnTo>
                    <a:pt x="1456" y="1620"/>
                  </a:lnTo>
                  <a:lnTo>
                    <a:pt x="1469" y="1615"/>
                  </a:lnTo>
                  <a:lnTo>
                    <a:pt x="1480" y="1609"/>
                  </a:lnTo>
                  <a:lnTo>
                    <a:pt x="1489" y="1600"/>
                  </a:lnTo>
                  <a:lnTo>
                    <a:pt x="1499" y="1590"/>
                  </a:lnTo>
                  <a:lnTo>
                    <a:pt x="1506" y="1579"/>
                  </a:lnTo>
                  <a:lnTo>
                    <a:pt x="1514" y="1566"/>
                  </a:lnTo>
                  <a:lnTo>
                    <a:pt x="1519" y="1553"/>
                  </a:lnTo>
                  <a:lnTo>
                    <a:pt x="1525" y="1540"/>
                  </a:lnTo>
                  <a:lnTo>
                    <a:pt x="1533" y="1510"/>
                  </a:lnTo>
                  <a:lnTo>
                    <a:pt x="1536" y="1482"/>
                  </a:lnTo>
                  <a:lnTo>
                    <a:pt x="1536" y="1455"/>
                  </a:lnTo>
                  <a:lnTo>
                    <a:pt x="1536" y="1455"/>
                  </a:lnTo>
                  <a:lnTo>
                    <a:pt x="1536" y="1267"/>
                  </a:lnTo>
                  <a:lnTo>
                    <a:pt x="1536" y="1080"/>
                  </a:lnTo>
                  <a:lnTo>
                    <a:pt x="1536" y="706"/>
                  </a:lnTo>
                  <a:lnTo>
                    <a:pt x="1536" y="706"/>
                  </a:lnTo>
                  <a:lnTo>
                    <a:pt x="1538" y="702"/>
                  </a:lnTo>
                  <a:lnTo>
                    <a:pt x="1538" y="695"/>
                  </a:lnTo>
                  <a:lnTo>
                    <a:pt x="1538" y="69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29" name="Freeform 45"/>
            <p:cNvSpPr>
              <a:spLocks/>
            </p:cNvSpPr>
            <p:nvPr/>
          </p:nvSpPr>
          <p:spPr bwMode="auto">
            <a:xfrm>
              <a:off x="-7743825" y="673101"/>
              <a:ext cx="1014412" cy="1022350"/>
            </a:xfrm>
            <a:custGeom>
              <a:avLst/>
              <a:gdLst>
                <a:gd name="T0" fmla="*/ 237 w 639"/>
                <a:gd name="T1" fmla="*/ 13 h 644"/>
                <a:gd name="T2" fmla="*/ 199 w 639"/>
                <a:gd name="T3" fmla="*/ 24 h 644"/>
                <a:gd name="T4" fmla="*/ 163 w 639"/>
                <a:gd name="T5" fmla="*/ 39 h 644"/>
                <a:gd name="T6" fmla="*/ 131 w 639"/>
                <a:gd name="T7" fmla="*/ 60 h 644"/>
                <a:gd name="T8" fmla="*/ 101 w 639"/>
                <a:gd name="T9" fmla="*/ 84 h 644"/>
                <a:gd name="T10" fmla="*/ 75 w 639"/>
                <a:gd name="T11" fmla="*/ 113 h 644"/>
                <a:gd name="T12" fmla="*/ 53 w 639"/>
                <a:gd name="T13" fmla="*/ 145 h 644"/>
                <a:gd name="T14" fmla="*/ 21 w 639"/>
                <a:gd name="T15" fmla="*/ 212 h 644"/>
                <a:gd name="T16" fmla="*/ 4 w 639"/>
                <a:gd name="T17" fmla="*/ 287 h 644"/>
                <a:gd name="T18" fmla="*/ 2 w 639"/>
                <a:gd name="T19" fmla="*/ 346 h 644"/>
                <a:gd name="T20" fmla="*/ 6 w 639"/>
                <a:gd name="T21" fmla="*/ 383 h 644"/>
                <a:gd name="T22" fmla="*/ 15 w 639"/>
                <a:gd name="T23" fmla="*/ 421 h 644"/>
                <a:gd name="T24" fmla="*/ 30 w 639"/>
                <a:gd name="T25" fmla="*/ 456 h 644"/>
                <a:gd name="T26" fmla="*/ 49 w 639"/>
                <a:gd name="T27" fmla="*/ 490 h 644"/>
                <a:gd name="T28" fmla="*/ 60 w 639"/>
                <a:gd name="T29" fmla="*/ 505 h 644"/>
                <a:gd name="T30" fmla="*/ 83 w 639"/>
                <a:gd name="T31" fmla="*/ 535 h 644"/>
                <a:gd name="T32" fmla="*/ 109 w 639"/>
                <a:gd name="T33" fmla="*/ 563 h 644"/>
                <a:gd name="T34" fmla="*/ 139 w 639"/>
                <a:gd name="T35" fmla="*/ 586 h 644"/>
                <a:gd name="T36" fmla="*/ 171 w 639"/>
                <a:gd name="T37" fmla="*/ 607 h 644"/>
                <a:gd name="T38" fmla="*/ 205 w 639"/>
                <a:gd name="T39" fmla="*/ 624 h 644"/>
                <a:gd name="T40" fmla="*/ 242 w 639"/>
                <a:gd name="T41" fmla="*/ 635 h 644"/>
                <a:gd name="T42" fmla="*/ 280 w 639"/>
                <a:gd name="T43" fmla="*/ 642 h 644"/>
                <a:gd name="T44" fmla="*/ 321 w 639"/>
                <a:gd name="T45" fmla="*/ 644 h 644"/>
                <a:gd name="T46" fmla="*/ 349 w 639"/>
                <a:gd name="T47" fmla="*/ 644 h 644"/>
                <a:gd name="T48" fmla="*/ 402 w 639"/>
                <a:gd name="T49" fmla="*/ 635 h 644"/>
                <a:gd name="T50" fmla="*/ 453 w 639"/>
                <a:gd name="T51" fmla="*/ 616 h 644"/>
                <a:gd name="T52" fmla="*/ 500 w 639"/>
                <a:gd name="T53" fmla="*/ 588 h 644"/>
                <a:gd name="T54" fmla="*/ 541 w 639"/>
                <a:gd name="T55" fmla="*/ 556 h 644"/>
                <a:gd name="T56" fmla="*/ 575 w 639"/>
                <a:gd name="T57" fmla="*/ 515 h 644"/>
                <a:gd name="T58" fmla="*/ 603 w 639"/>
                <a:gd name="T59" fmla="*/ 469 h 644"/>
                <a:gd name="T60" fmla="*/ 622 w 639"/>
                <a:gd name="T61" fmla="*/ 419 h 644"/>
                <a:gd name="T62" fmla="*/ 627 w 639"/>
                <a:gd name="T63" fmla="*/ 392 h 644"/>
                <a:gd name="T64" fmla="*/ 637 w 639"/>
                <a:gd name="T65" fmla="*/ 353 h 644"/>
                <a:gd name="T66" fmla="*/ 639 w 639"/>
                <a:gd name="T67" fmla="*/ 312 h 644"/>
                <a:gd name="T68" fmla="*/ 635 w 639"/>
                <a:gd name="T69" fmla="*/ 272 h 644"/>
                <a:gd name="T70" fmla="*/ 625 w 639"/>
                <a:gd name="T71" fmla="*/ 233 h 644"/>
                <a:gd name="T72" fmla="*/ 610 w 639"/>
                <a:gd name="T73" fmla="*/ 195 h 644"/>
                <a:gd name="T74" fmla="*/ 590 w 639"/>
                <a:gd name="T75" fmla="*/ 160 h 644"/>
                <a:gd name="T76" fmla="*/ 565 w 639"/>
                <a:gd name="T77" fmla="*/ 128 h 644"/>
                <a:gd name="T78" fmla="*/ 539 w 639"/>
                <a:gd name="T79" fmla="*/ 96 h 644"/>
                <a:gd name="T80" fmla="*/ 507 w 639"/>
                <a:gd name="T81" fmla="*/ 69 h 644"/>
                <a:gd name="T82" fmla="*/ 473 w 639"/>
                <a:gd name="T83" fmla="*/ 47 h 644"/>
                <a:gd name="T84" fmla="*/ 438 w 639"/>
                <a:gd name="T85" fmla="*/ 28 h 644"/>
                <a:gd name="T86" fmla="*/ 398 w 639"/>
                <a:gd name="T87" fmla="*/ 13 h 644"/>
                <a:gd name="T88" fmla="*/ 359 w 639"/>
                <a:gd name="T89" fmla="*/ 4 h 644"/>
                <a:gd name="T90" fmla="*/ 319 w 639"/>
                <a:gd name="T91" fmla="*/ 0 h 644"/>
                <a:gd name="T92" fmla="*/ 278 w 639"/>
                <a:gd name="T93" fmla="*/ 4 h 644"/>
                <a:gd name="T94" fmla="*/ 237 w 639"/>
                <a:gd name="T95" fmla="*/ 1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9" h="644">
                  <a:moveTo>
                    <a:pt x="237" y="13"/>
                  </a:moveTo>
                  <a:lnTo>
                    <a:pt x="237" y="13"/>
                  </a:lnTo>
                  <a:lnTo>
                    <a:pt x="218" y="17"/>
                  </a:lnTo>
                  <a:lnTo>
                    <a:pt x="199" y="24"/>
                  </a:lnTo>
                  <a:lnTo>
                    <a:pt x="180" y="32"/>
                  </a:lnTo>
                  <a:lnTo>
                    <a:pt x="163" y="39"/>
                  </a:lnTo>
                  <a:lnTo>
                    <a:pt x="147" y="49"/>
                  </a:lnTo>
                  <a:lnTo>
                    <a:pt x="131" y="60"/>
                  </a:lnTo>
                  <a:lnTo>
                    <a:pt x="116" y="71"/>
                  </a:lnTo>
                  <a:lnTo>
                    <a:pt x="101" y="84"/>
                  </a:lnTo>
                  <a:lnTo>
                    <a:pt x="88" y="98"/>
                  </a:lnTo>
                  <a:lnTo>
                    <a:pt x="75" y="113"/>
                  </a:lnTo>
                  <a:lnTo>
                    <a:pt x="64" y="128"/>
                  </a:lnTo>
                  <a:lnTo>
                    <a:pt x="53" y="145"/>
                  </a:lnTo>
                  <a:lnTo>
                    <a:pt x="36" y="176"/>
                  </a:lnTo>
                  <a:lnTo>
                    <a:pt x="21" y="212"/>
                  </a:lnTo>
                  <a:lnTo>
                    <a:pt x="9" y="250"/>
                  </a:lnTo>
                  <a:lnTo>
                    <a:pt x="4" y="287"/>
                  </a:lnTo>
                  <a:lnTo>
                    <a:pt x="0" y="327"/>
                  </a:lnTo>
                  <a:lnTo>
                    <a:pt x="2" y="346"/>
                  </a:lnTo>
                  <a:lnTo>
                    <a:pt x="4" y="364"/>
                  </a:lnTo>
                  <a:lnTo>
                    <a:pt x="6" y="383"/>
                  </a:lnTo>
                  <a:lnTo>
                    <a:pt x="9" y="402"/>
                  </a:lnTo>
                  <a:lnTo>
                    <a:pt x="15" y="421"/>
                  </a:lnTo>
                  <a:lnTo>
                    <a:pt x="23" y="438"/>
                  </a:lnTo>
                  <a:lnTo>
                    <a:pt x="30" y="456"/>
                  </a:lnTo>
                  <a:lnTo>
                    <a:pt x="38" y="473"/>
                  </a:lnTo>
                  <a:lnTo>
                    <a:pt x="49" y="490"/>
                  </a:lnTo>
                  <a:lnTo>
                    <a:pt x="60" y="505"/>
                  </a:lnTo>
                  <a:lnTo>
                    <a:pt x="60" y="505"/>
                  </a:lnTo>
                  <a:lnTo>
                    <a:pt x="71" y="520"/>
                  </a:lnTo>
                  <a:lnTo>
                    <a:pt x="83" y="535"/>
                  </a:lnTo>
                  <a:lnTo>
                    <a:pt x="96" y="550"/>
                  </a:lnTo>
                  <a:lnTo>
                    <a:pt x="109" y="563"/>
                  </a:lnTo>
                  <a:lnTo>
                    <a:pt x="124" y="575"/>
                  </a:lnTo>
                  <a:lnTo>
                    <a:pt x="139" y="586"/>
                  </a:lnTo>
                  <a:lnTo>
                    <a:pt x="154" y="597"/>
                  </a:lnTo>
                  <a:lnTo>
                    <a:pt x="171" y="607"/>
                  </a:lnTo>
                  <a:lnTo>
                    <a:pt x="188" y="616"/>
                  </a:lnTo>
                  <a:lnTo>
                    <a:pt x="205" y="624"/>
                  </a:lnTo>
                  <a:lnTo>
                    <a:pt x="224" y="629"/>
                  </a:lnTo>
                  <a:lnTo>
                    <a:pt x="242" y="635"/>
                  </a:lnTo>
                  <a:lnTo>
                    <a:pt x="261" y="639"/>
                  </a:lnTo>
                  <a:lnTo>
                    <a:pt x="280" y="642"/>
                  </a:lnTo>
                  <a:lnTo>
                    <a:pt x="301" y="644"/>
                  </a:lnTo>
                  <a:lnTo>
                    <a:pt x="321" y="644"/>
                  </a:lnTo>
                  <a:lnTo>
                    <a:pt x="321" y="644"/>
                  </a:lnTo>
                  <a:lnTo>
                    <a:pt x="349" y="644"/>
                  </a:lnTo>
                  <a:lnTo>
                    <a:pt x="376" y="640"/>
                  </a:lnTo>
                  <a:lnTo>
                    <a:pt x="402" y="635"/>
                  </a:lnTo>
                  <a:lnTo>
                    <a:pt x="428" y="625"/>
                  </a:lnTo>
                  <a:lnTo>
                    <a:pt x="453" y="616"/>
                  </a:lnTo>
                  <a:lnTo>
                    <a:pt x="477" y="603"/>
                  </a:lnTo>
                  <a:lnTo>
                    <a:pt x="500" y="588"/>
                  </a:lnTo>
                  <a:lnTo>
                    <a:pt x="520" y="573"/>
                  </a:lnTo>
                  <a:lnTo>
                    <a:pt x="541" y="556"/>
                  </a:lnTo>
                  <a:lnTo>
                    <a:pt x="558" y="535"/>
                  </a:lnTo>
                  <a:lnTo>
                    <a:pt x="575" y="515"/>
                  </a:lnTo>
                  <a:lnTo>
                    <a:pt x="590" y="492"/>
                  </a:lnTo>
                  <a:lnTo>
                    <a:pt x="603" y="469"/>
                  </a:lnTo>
                  <a:lnTo>
                    <a:pt x="612" y="445"/>
                  </a:lnTo>
                  <a:lnTo>
                    <a:pt x="622" y="419"/>
                  </a:lnTo>
                  <a:lnTo>
                    <a:pt x="627" y="392"/>
                  </a:lnTo>
                  <a:lnTo>
                    <a:pt x="627" y="392"/>
                  </a:lnTo>
                  <a:lnTo>
                    <a:pt x="633" y="372"/>
                  </a:lnTo>
                  <a:lnTo>
                    <a:pt x="637" y="353"/>
                  </a:lnTo>
                  <a:lnTo>
                    <a:pt x="639" y="332"/>
                  </a:lnTo>
                  <a:lnTo>
                    <a:pt x="639" y="312"/>
                  </a:lnTo>
                  <a:lnTo>
                    <a:pt x="637" y="291"/>
                  </a:lnTo>
                  <a:lnTo>
                    <a:pt x="635" y="272"/>
                  </a:lnTo>
                  <a:lnTo>
                    <a:pt x="631" y="252"/>
                  </a:lnTo>
                  <a:lnTo>
                    <a:pt x="625" y="233"/>
                  </a:lnTo>
                  <a:lnTo>
                    <a:pt x="618" y="214"/>
                  </a:lnTo>
                  <a:lnTo>
                    <a:pt x="610" y="195"/>
                  </a:lnTo>
                  <a:lnTo>
                    <a:pt x="601" y="178"/>
                  </a:lnTo>
                  <a:lnTo>
                    <a:pt x="590" y="160"/>
                  </a:lnTo>
                  <a:lnTo>
                    <a:pt x="578" y="143"/>
                  </a:lnTo>
                  <a:lnTo>
                    <a:pt x="565" y="128"/>
                  </a:lnTo>
                  <a:lnTo>
                    <a:pt x="552" y="111"/>
                  </a:lnTo>
                  <a:lnTo>
                    <a:pt x="539" y="96"/>
                  </a:lnTo>
                  <a:lnTo>
                    <a:pt x="524" y="83"/>
                  </a:lnTo>
                  <a:lnTo>
                    <a:pt x="507" y="69"/>
                  </a:lnTo>
                  <a:lnTo>
                    <a:pt x="490" y="58"/>
                  </a:lnTo>
                  <a:lnTo>
                    <a:pt x="473" y="47"/>
                  </a:lnTo>
                  <a:lnTo>
                    <a:pt x="455" y="36"/>
                  </a:lnTo>
                  <a:lnTo>
                    <a:pt x="438" y="28"/>
                  </a:lnTo>
                  <a:lnTo>
                    <a:pt x="419" y="21"/>
                  </a:lnTo>
                  <a:lnTo>
                    <a:pt x="398" y="13"/>
                  </a:lnTo>
                  <a:lnTo>
                    <a:pt x="379" y="7"/>
                  </a:lnTo>
                  <a:lnTo>
                    <a:pt x="359" y="4"/>
                  </a:lnTo>
                  <a:lnTo>
                    <a:pt x="340" y="2"/>
                  </a:lnTo>
                  <a:lnTo>
                    <a:pt x="319" y="0"/>
                  </a:lnTo>
                  <a:lnTo>
                    <a:pt x="299" y="2"/>
                  </a:lnTo>
                  <a:lnTo>
                    <a:pt x="278" y="4"/>
                  </a:lnTo>
                  <a:lnTo>
                    <a:pt x="257" y="7"/>
                  </a:lnTo>
                  <a:lnTo>
                    <a:pt x="237" y="13"/>
                  </a:lnTo>
                  <a:lnTo>
                    <a:pt x="237" y="1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30" name="Freeform 46"/>
            <p:cNvSpPr>
              <a:spLocks/>
            </p:cNvSpPr>
            <p:nvPr/>
          </p:nvSpPr>
          <p:spPr bwMode="auto">
            <a:xfrm>
              <a:off x="-7478713" y="1758951"/>
              <a:ext cx="485775" cy="1177925"/>
            </a:xfrm>
            <a:custGeom>
              <a:avLst/>
              <a:gdLst>
                <a:gd name="T0" fmla="*/ 154 w 306"/>
                <a:gd name="T1" fmla="*/ 0 h 742"/>
                <a:gd name="T2" fmla="*/ 0 w 306"/>
                <a:gd name="T3" fmla="*/ 157 h 742"/>
                <a:gd name="T4" fmla="*/ 154 w 306"/>
                <a:gd name="T5" fmla="*/ 742 h 742"/>
                <a:gd name="T6" fmla="*/ 306 w 306"/>
                <a:gd name="T7" fmla="*/ 157 h 742"/>
                <a:gd name="T8" fmla="*/ 154 w 306"/>
                <a:gd name="T9" fmla="*/ 0 h 742"/>
              </a:gdLst>
              <a:ahLst/>
              <a:cxnLst>
                <a:cxn ang="0">
                  <a:pos x="T0" y="T1"/>
                </a:cxn>
                <a:cxn ang="0">
                  <a:pos x="T2" y="T3"/>
                </a:cxn>
                <a:cxn ang="0">
                  <a:pos x="T4" y="T5"/>
                </a:cxn>
                <a:cxn ang="0">
                  <a:pos x="T6" y="T7"/>
                </a:cxn>
                <a:cxn ang="0">
                  <a:pos x="T8" y="T9"/>
                </a:cxn>
              </a:cxnLst>
              <a:rect l="0" t="0" r="r" b="b"/>
              <a:pathLst>
                <a:path w="306" h="742">
                  <a:moveTo>
                    <a:pt x="154" y="0"/>
                  </a:moveTo>
                  <a:lnTo>
                    <a:pt x="0" y="157"/>
                  </a:lnTo>
                  <a:lnTo>
                    <a:pt x="154" y="742"/>
                  </a:lnTo>
                  <a:lnTo>
                    <a:pt x="306" y="157"/>
                  </a:lnTo>
                  <a:lnTo>
                    <a:pt x="154"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79" name="Group 78"/>
          <p:cNvGrpSpPr/>
          <p:nvPr/>
        </p:nvGrpSpPr>
        <p:grpSpPr>
          <a:xfrm>
            <a:off x="9993714" y="2351961"/>
            <a:ext cx="1928787" cy="764862"/>
            <a:chOff x="9992125" y="2351961"/>
            <a:chExt cx="1928787" cy="764862"/>
          </a:xfrm>
        </p:grpSpPr>
        <p:grpSp>
          <p:nvGrpSpPr>
            <p:cNvPr id="936" name="Group 935"/>
            <p:cNvGrpSpPr/>
            <p:nvPr/>
          </p:nvGrpSpPr>
          <p:grpSpPr>
            <a:xfrm>
              <a:off x="9992125" y="2527279"/>
              <a:ext cx="1928787" cy="589544"/>
              <a:chOff x="6828478" y="3359851"/>
              <a:chExt cx="2105549" cy="643572"/>
            </a:xfrm>
          </p:grpSpPr>
          <p:sp>
            <p:nvSpPr>
              <p:cNvPr id="937" name="Rectangle 936"/>
              <p:cNvSpPr/>
              <p:nvPr/>
            </p:nvSpPr>
            <p:spPr bwMode="auto">
              <a:xfrm>
                <a:off x="6912231" y="3585741"/>
                <a:ext cx="1948900" cy="413966"/>
              </a:xfrm>
              <a:prstGeom prst="rect">
                <a:avLst/>
              </a:prstGeom>
              <a:solidFill>
                <a:srgbClr val="0040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938" name="Group 937"/>
              <p:cNvGrpSpPr/>
              <p:nvPr/>
            </p:nvGrpSpPr>
            <p:grpSpPr>
              <a:xfrm>
                <a:off x="6828478" y="3359851"/>
                <a:ext cx="2105549" cy="643572"/>
                <a:chOff x="512496" y="2974109"/>
                <a:chExt cx="2267031" cy="692930"/>
              </a:xfrm>
            </p:grpSpPr>
            <p:grpSp>
              <p:nvGrpSpPr>
                <p:cNvPr id="939" name="Group 938"/>
                <p:cNvGrpSpPr/>
                <p:nvPr/>
              </p:nvGrpSpPr>
              <p:grpSpPr>
                <a:xfrm>
                  <a:off x="589053" y="3154960"/>
                  <a:ext cx="2113917" cy="512079"/>
                  <a:chOff x="640727" y="3242384"/>
                  <a:chExt cx="2113917" cy="465526"/>
                </a:xfrm>
              </p:grpSpPr>
              <p:sp>
                <p:nvSpPr>
                  <p:cNvPr id="944" name="Rectangle 943"/>
                  <p:cNvSpPr/>
                  <p:nvPr/>
                </p:nvSpPr>
                <p:spPr bwMode="auto">
                  <a:xfrm>
                    <a:off x="640727"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5" name="Rectangle 944"/>
                  <p:cNvSpPr/>
                  <p:nvPr/>
                </p:nvSpPr>
                <p:spPr bwMode="auto">
                  <a:xfrm>
                    <a:off x="1231247"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6" name="Rectangle 945"/>
                  <p:cNvSpPr/>
                  <p:nvPr/>
                </p:nvSpPr>
                <p:spPr bwMode="auto">
                  <a:xfrm>
                    <a:off x="2036575"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7" name="Rectangle 946"/>
                  <p:cNvSpPr/>
                  <p:nvPr/>
                </p:nvSpPr>
                <p:spPr bwMode="auto">
                  <a:xfrm>
                    <a:off x="2627095"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8" name="Rectangle 947"/>
                  <p:cNvSpPr/>
                  <p:nvPr/>
                </p:nvSpPr>
                <p:spPr bwMode="auto">
                  <a:xfrm>
                    <a:off x="654346" y="3281270"/>
                    <a:ext cx="2029469" cy="77250"/>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940" name="Trapezoid 939"/>
                <p:cNvSpPr/>
                <p:nvPr/>
              </p:nvSpPr>
              <p:spPr bwMode="auto">
                <a:xfrm>
                  <a:off x="512496" y="3015836"/>
                  <a:ext cx="2267031" cy="184444"/>
                </a:xfrm>
                <a:prstGeom prst="trapezoid">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941" name="Group 940"/>
                <p:cNvGrpSpPr/>
                <p:nvPr/>
              </p:nvGrpSpPr>
              <p:grpSpPr>
                <a:xfrm>
                  <a:off x="1481159" y="2974109"/>
                  <a:ext cx="360268" cy="277150"/>
                  <a:chOff x="1487784" y="2989017"/>
                  <a:chExt cx="479518" cy="368887"/>
                </a:xfrm>
              </p:grpSpPr>
              <p:sp>
                <p:nvSpPr>
                  <p:cNvPr id="942" name="Rectangle 941"/>
                  <p:cNvSpPr/>
                  <p:nvPr/>
                </p:nvSpPr>
                <p:spPr bwMode="auto">
                  <a:xfrm>
                    <a:off x="1487784" y="2989017"/>
                    <a:ext cx="479518" cy="368887"/>
                  </a:xfrm>
                  <a:prstGeom prst="rect">
                    <a:avLst/>
                  </a:prstGeom>
                  <a:solidFill>
                    <a:schemeClr val="accent4">
                      <a:lumMod val="75000"/>
                    </a:schemeClr>
                  </a:solidFill>
                  <a:ln w="19050">
                    <a:solidFill>
                      <a:schemeClr val="tx1">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3" name="Freeform 146"/>
                  <p:cNvSpPr>
                    <a:spLocks/>
                  </p:cNvSpPr>
                  <p:nvPr/>
                </p:nvSpPr>
                <p:spPr bwMode="auto">
                  <a:xfrm>
                    <a:off x="1587625" y="3037558"/>
                    <a:ext cx="267742" cy="267741"/>
                  </a:xfrm>
                  <a:custGeom>
                    <a:avLst/>
                    <a:gdLst>
                      <a:gd name="T0" fmla="*/ 282 w 495"/>
                      <a:gd name="T1" fmla="*/ 380 h 495"/>
                      <a:gd name="T2" fmla="*/ 376 w 495"/>
                      <a:gd name="T3" fmla="*/ 475 h 495"/>
                      <a:gd name="T4" fmla="*/ 376 w 495"/>
                      <a:gd name="T5" fmla="*/ 475 h 495"/>
                      <a:gd name="T6" fmla="*/ 382 w 495"/>
                      <a:gd name="T7" fmla="*/ 480 h 495"/>
                      <a:gd name="T8" fmla="*/ 387 w 495"/>
                      <a:gd name="T9" fmla="*/ 484 h 495"/>
                      <a:gd name="T10" fmla="*/ 393 w 495"/>
                      <a:gd name="T11" fmla="*/ 487 h 495"/>
                      <a:gd name="T12" fmla="*/ 399 w 495"/>
                      <a:gd name="T13" fmla="*/ 490 h 495"/>
                      <a:gd name="T14" fmla="*/ 405 w 495"/>
                      <a:gd name="T15" fmla="*/ 493 h 495"/>
                      <a:gd name="T16" fmla="*/ 412 w 495"/>
                      <a:gd name="T17" fmla="*/ 494 h 495"/>
                      <a:gd name="T18" fmla="*/ 418 w 495"/>
                      <a:gd name="T19" fmla="*/ 495 h 495"/>
                      <a:gd name="T20" fmla="*/ 425 w 495"/>
                      <a:gd name="T21" fmla="*/ 495 h 495"/>
                      <a:gd name="T22" fmla="*/ 431 w 495"/>
                      <a:gd name="T23" fmla="*/ 495 h 495"/>
                      <a:gd name="T24" fmla="*/ 438 w 495"/>
                      <a:gd name="T25" fmla="*/ 494 h 495"/>
                      <a:gd name="T26" fmla="*/ 444 w 495"/>
                      <a:gd name="T27" fmla="*/ 493 h 495"/>
                      <a:gd name="T28" fmla="*/ 451 w 495"/>
                      <a:gd name="T29" fmla="*/ 490 h 495"/>
                      <a:gd name="T30" fmla="*/ 457 w 495"/>
                      <a:gd name="T31" fmla="*/ 488 h 495"/>
                      <a:gd name="T32" fmla="*/ 463 w 495"/>
                      <a:gd name="T33" fmla="*/ 484 h 495"/>
                      <a:gd name="T34" fmla="*/ 468 w 495"/>
                      <a:gd name="T35" fmla="*/ 480 h 495"/>
                      <a:gd name="T36" fmla="*/ 474 w 495"/>
                      <a:gd name="T37" fmla="*/ 475 h 495"/>
                      <a:gd name="T38" fmla="*/ 474 w 495"/>
                      <a:gd name="T39" fmla="*/ 475 h 495"/>
                      <a:gd name="T40" fmla="*/ 478 w 495"/>
                      <a:gd name="T41" fmla="*/ 470 h 495"/>
                      <a:gd name="T42" fmla="*/ 482 w 495"/>
                      <a:gd name="T43" fmla="*/ 465 h 495"/>
                      <a:gd name="T44" fmla="*/ 487 w 495"/>
                      <a:gd name="T45" fmla="*/ 459 h 495"/>
                      <a:gd name="T46" fmla="*/ 490 w 495"/>
                      <a:gd name="T47" fmla="*/ 453 h 495"/>
                      <a:gd name="T48" fmla="*/ 492 w 495"/>
                      <a:gd name="T49" fmla="*/ 446 h 495"/>
                      <a:gd name="T50" fmla="*/ 493 w 495"/>
                      <a:gd name="T51" fmla="*/ 439 h 495"/>
                      <a:gd name="T52" fmla="*/ 494 w 495"/>
                      <a:gd name="T53" fmla="*/ 432 h 495"/>
                      <a:gd name="T54" fmla="*/ 495 w 495"/>
                      <a:gd name="T55" fmla="*/ 426 h 495"/>
                      <a:gd name="T56" fmla="*/ 494 w 495"/>
                      <a:gd name="T57" fmla="*/ 419 h 495"/>
                      <a:gd name="T58" fmla="*/ 493 w 495"/>
                      <a:gd name="T59" fmla="*/ 413 h 495"/>
                      <a:gd name="T60" fmla="*/ 492 w 495"/>
                      <a:gd name="T61" fmla="*/ 406 h 495"/>
                      <a:gd name="T62" fmla="*/ 490 w 495"/>
                      <a:gd name="T63" fmla="*/ 400 h 495"/>
                      <a:gd name="T64" fmla="*/ 487 w 495"/>
                      <a:gd name="T65" fmla="*/ 394 h 495"/>
                      <a:gd name="T66" fmla="*/ 482 w 495"/>
                      <a:gd name="T67" fmla="*/ 388 h 495"/>
                      <a:gd name="T68" fmla="*/ 478 w 495"/>
                      <a:gd name="T69" fmla="*/ 382 h 495"/>
                      <a:gd name="T70" fmla="*/ 473 w 495"/>
                      <a:gd name="T71" fmla="*/ 377 h 495"/>
                      <a:gd name="T72" fmla="*/ 379 w 495"/>
                      <a:gd name="T73" fmla="*/ 283 h 495"/>
                      <a:gd name="T74" fmla="*/ 379 w 495"/>
                      <a:gd name="T75" fmla="*/ 283 h 495"/>
                      <a:gd name="T76" fmla="*/ 376 w 495"/>
                      <a:gd name="T77" fmla="*/ 280 h 495"/>
                      <a:gd name="T78" fmla="*/ 315 w 495"/>
                      <a:gd name="T79" fmla="*/ 218 h 495"/>
                      <a:gd name="T80" fmla="*/ 315 w 495"/>
                      <a:gd name="T81" fmla="*/ 91 h 495"/>
                      <a:gd name="T82" fmla="*/ 225 w 495"/>
                      <a:gd name="T83" fmla="*/ 0 h 495"/>
                      <a:gd name="T84" fmla="*/ 97 w 495"/>
                      <a:gd name="T85" fmla="*/ 6 h 495"/>
                      <a:gd name="T86" fmla="*/ 219 w 495"/>
                      <a:gd name="T87" fmla="*/ 128 h 495"/>
                      <a:gd name="T88" fmla="*/ 219 w 495"/>
                      <a:gd name="T89" fmla="*/ 180 h 495"/>
                      <a:gd name="T90" fmla="*/ 179 w 495"/>
                      <a:gd name="T91" fmla="*/ 220 h 495"/>
                      <a:gd name="T92" fmla="*/ 128 w 495"/>
                      <a:gd name="T93" fmla="*/ 220 h 495"/>
                      <a:gd name="T94" fmla="*/ 5 w 495"/>
                      <a:gd name="T95" fmla="*/ 98 h 495"/>
                      <a:gd name="T96" fmla="*/ 0 w 495"/>
                      <a:gd name="T97" fmla="*/ 225 h 495"/>
                      <a:gd name="T98" fmla="*/ 90 w 495"/>
                      <a:gd name="T99" fmla="*/ 316 h 495"/>
                      <a:gd name="T100" fmla="*/ 217 w 495"/>
                      <a:gd name="T101" fmla="*/ 316 h 495"/>
                      <a:gd name="T102" fmla="*/ 282 w 495"/>
                      <a:gd name="T103" fmla="*/ 38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5" h="495">
                        <a:moveTo>
                          <a:pt x="282" y="380"/>
                        </a:moveTo>
                        <a:lnTo>
                          <a:pt x="376" y="475"/>
                        </a:lnTo>
                        <a:lnTo>
                          <a:pt x="376" y="475"/>
                        </a:lnTo>
                        <a:lnTo>
                          <a:pt x="382" y="480"/>
                        </a:lnTo>
                        <a:lnTo>
                          <a:pt x="387" y="484"/>
                        </a:lnTo>
                        <a:lnTo>
                          <a:pt x="393" y="487"/>
                        </a:lnTo>
                        <a:lnTo>
                          <a:pt x="399" y="490"/>
                        </a:lnTo>
                        <a:lnTo>
                          <a:pt x="405" y="493"/>
                        </a:lnTo>
                        <a:lnTo>
                          <a:pt x="412" y="494"/>
                        </a:lnTo>
                        <a:lnTo>
                          <a:pt x="418" y="495"/>
                        </a:lnTo>
                        <a:lnTo>
                          <a:pt x="425" y="495"/>
                        </a:lnTo>
                        <a:lnTo>
                          <a:pt x="431" y="495"/>
                        </a:lnTo>
                        <a:lnTo>
                          <a:pt x="438" y="494"/>
                        </a:lnTo>
                        <a:lnTo>
                          <a:pt x="444" y="493"/>
                        </a:lnTo>
                        <a:lnTo>
                          <a:pt x="451" y="490"/>
                        </a:lnTo>
                        <a:lnTo>
                          <a:pt x="457" y="488"/>
                        </a:lnTo>
                        <a:lnTo>
                          <a:pt x="463" y="484"/>
                        </a:lnTo>
                        <a:lnTo>
                          <a:pt x="468" y="480"/>
                        </a:lnTo>
                        <a:lnTo>
                          <a:pt x="474" y="475"/>
                        </a:lnTo>
                        <a:lnTo>
                          <a:pt x="474" y="475"/>
                        </a:lnTo>
                        <a:lnTo>
                          <a:pt x="478" y="470"/>
                        </a:lnTo>
                        <a:lnTo>
                          <a:pt x="482" y="465"/>
                        </a:lnTo>
                        <a:lnTo>
                          <a:pt x="487" y="459"/>
                        </a:lnTo>
                        <a:lnTo>
                          <a:pt x="490" y="453"/>
                        </a:lnTo>
                        <a:lnTo>
                          <a:pt x="492" y="446"/>
                        </a:lnTo>
                        <a:lnTo>
                          <a:pt x="493" y="439"/>
                        </a:lnTo>
                        <a:lnTo>
                          <a:pt x="494" y="432"/>
                        </a:lnTo>
                        <a:lnTo>
                          <a:pt x="495" y="426"/>
                        </a:lnTo>
                        <a:lnTo>
                          <a:pt x="494" y="419"/>
                        </a:lnTo>
                        <a:lnTo>
                          <a:pt x="493" y="413"/>
                        </a:lnTo>
                        <a:lnTo>
                          <a:pt x="492" y="406"/>
                        </a:lnTo>
                        <a:lnTo>
                          <a:pt x="490" y="400"/>
                        </a:lnTo>
                        <a:lnTo>
                          <a:pt x="487" y="394"/>
                        </a:lnTo>
                        <a:lnTo>
                          <a:pt x="482" y="388"/>
                        </a:lnTo>
                        <a:lnTo>
                          <a:pt x="478" y="382"/>
                        </a:lnTo>
                        <a:lnTo>
                          <a:pt x="473" y="377"/>
                        </a:lnTo>
                        <a:lnTo>
                          <a:pt x="379" y="283"/>
                        </a:lnTo>
                        <a:lnTo>
                          <a:pt x="379" y="283"/>
                        </a:lnTo>
                        <a:lnTo>
                          <a:pt x="376" y="280"/>
                        </a:lnTo>
                        <a:lnTo>
                          <a:pt x="315" y="218"/>
                        </a:lnTo>
                        <a:lnTo>
                          <a:pt x="315" y="91"/>
                        </a:lnTo>
                        <a:lnTo>
                          <a:pt x="225" y="0"/>
                        </a:lnTo>
                        <a:lnTo>
                          <a:pt x="97" y="6"/>
                        </a:lnTo>
                        <a:lnTo>
                          <a:pt x="219" y="128"/>
                        </a:lnTo>
                        <a:lnTo>
                          <a:pt x="219" y="180"/>
                        </a:lnTo>
                        <a:lnTo>
                          <a:pt x="179" y="220"/>
                        </a:lnTo>
                        <a:lnTo>
                          <a:pt x="128" y="220"/>
                        </a:lnTo>
                        <a:lnTo>
                          <a:pt x="5" y="98"/>
                        </a:lnTo>
                        <a:lnTo>
                          <a:pt x="0" y="225"/>
                        </a:lnTo>
                        <a:lnTo>
                          <a:pt x="90" y="316"/>
                        </a:lnTo>
                        <a:lnTo>
                          <a:pt x="217" y="316"/>
                        </a:lnTo>
                        <a:lnTo>
                          <a:pt x="282" y="38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grpSp>
          <p:nvGrpSpPr>
            <p:cNvPr id="949" name="Group 948"/>
            <p:cNvGrpSpPr/>
            <p:nvPr/>
          </p:nvGrpSpPr>
          <p:grpSpPr>
            <a:xfrm>
              <a:off x="10452689" y="2351961"/>
              <a:ext cx="1036992" cy="211754"/>
              <a:chOff x="6860688" y="3905095"/>
              <a:chExt cx="1036992" cy="211754"/>
            </a:xfrm>
          </p:grpSpPr>
          <p:sp>
            <p:nvSpPr>
              <p:cNvPr id="950" name="Rectangle 949"/>
              <p:cNvSpPr/>
              <p:nvPr/>
            </p:nvSpPr>
            <p:spPr bwMode="auto">
              <a:xfrm rot="10800000" flipH="1">
                <a:off x="7798475" y="4008012"/>
                <a:ext cx="36814" cy="1088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1"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1" name="Rectangle 950"/>
              <p:cNvSpPr/>
              <p:nvPr/>
            </p:nvSpPr>
            <p:spPr bwMode="auto">
              <a:xfrm rot="10800000" flipH="1">
                <a:off x="6911521" y="4008012"/>
                <a:ext cx="36814" cy="1088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1"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952" name="Group 951"/>
              <p:cNvGrpSpPr/>
              <p:nvPr/>
            </p:nvGrpSpPr>
            <p:grpSpPr>
              <a:xfrm rot="16200000">
                <a:off x="7303111" y="3462672"/>
                <a:ext cx="152145" cy="1036992"/>
                <a:chOff x="3057466" y="2666157"/>
                <a:chExt cx="163657" cy="33798394"/>
              </a:xfrm>
            </p:grpSpPr>
            <p:sp>
              <p:nvSpPr>
                <p:cNvPr id="953" name="Rectangle 952"/>
                <p:cNvSpPr/>
                <p:nvPr/>
              </p:nvSpPr>
              <p:spPr bwMode="auto">
                <a:xfrm>
                  <a:off x="3077072" y="2666157"/>
                  <a:ext cx="144051" cy="33798394"/>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FFFFFF"/>
                      </a:solidFill>
                      <a:effectLst/>
                      <a:uLnTx/>
                      <a:uFillTx/>
                      <a:cs typeface="Arial" charset="0"/>
                    </a:rPr>
                    <a:t>SERVICE CENTER </a:t>
                  </a:r>
                </a:p>
              </p:txBody>
            </p:sp>
            <p:sp>
              <p:nvSpPr>
                <p:cNvPr id="954" name="Rectangle 953"/>
                <p:cNvSpPr/>
                <p:nvPr/>
              </p:nvSpPr>
              <p:spPr bwMode="auto">
                <a:xfrm>
                  <a:off x="3057466" y="2998490"/>
                  <a:ext cx="21395" cy="331382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1"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1768" name="Group 1767"/>
            <p:cNvGrpSpPr>
              <a:grpSpLocks noChangeAspect="1"/>
            </p:cNvGrpSpPr>
            <p:nvPr/>
          </p:nvGrpSpPr>
          <p:grpSpPr>
            <a:xfrm>
              <a:off x="11432425" y="2879133"/>
              <a:ext cx="277725" cy="231437"/>
              <a:chOff x="8316853" y="2640409"/>
              <a:chExt cx="414001" cy="379500"/>
            </a:xfrm>
          </p:grpSpPr>
          <p:sp>
            <p:nvSpPr>
              <p:cNvPr id="1782" name="Rectangle 1781"/>
              <p:cNvSpPr/>
              <p:nvPr/>
            </p:nvSpPr>
            <p:spPr bwMode="auto">
              <a:xfrm>
                <a:off x="8335671" y="2803820"/>
                <a:ext cx="376365" cy="1202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783" name="Group 1782"/>
              <p:cNvGrpSpPr/>
              <p:nvPr/>
            </p:nvGrpSpPr>
            <p:grpSpPr>
              <a:xfrm>
                <a:off x="8316853" y="2640409"/>
                <a:ext cx="414001" cy="379500"/>
                <a:chOff x="8316853" y="2640409"/>
                <a:chExt cx="414001" cy="379500"/>
              </a:xfrm>
            </p:grpSpPr>
            <p:sp>
              <p:nvSpPr>
                <p:cNvPr id="1784" name="Rectangle 1783"/>
                <p:cNvSpPr/>
                <p:nvPr/>
              </p:nvSpPr>
              <p:spPr bwMode="auto">
                <a:xfrm>
                  <a:off x="8366141" y="2668299"/>
                  <a:ext cx="307365" cy="104794"/>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85" name="Freeform 65"/>
                <p:cNvSpPr>
                  <a:spLocks noEditPoints="1"/>
                </p:cNvSpPr>
                <p:nvPr/>
              </p:nvSpPr>
              <p:spPr bwMode="auto">
                <a:xfrm>
                  <a:off x="8316853" y="2640409"/>
                  <a:ext cx="414001" cy="379500"/>
                </a:xfrm>
                <a:custGeom>
                  <a:avLst/>
                  <a:gdLst>
                    <a:gd name="T0" fmla="*/ 1083 w 1261"/>
                    <a:gd name="T1" fmla="*/ 59 h 1154"/>
                    <a:gd name="T2" fmla="*/ 1025 w 1261"/>
                    <a:gd name="T3" fmla="*/ 13 h 1154"/>
                    <a:gd name="T4" fmla="*/ 296 w 1261"/>
                    <a:gd name="T5" fmla="*/ 0 h 1154"/>
                    <a:gd name="T6" fmla="*/ 223 w 1261"/>
                    <a:gd name="T7" fmla="*/ 19 h 1154"/>
                    <a:gd name="T8" fmla="*/ 165 w 1261"/>
                    <a:gd name="T9" fmla="*/ 78 h 1154"/>
                    <a:gd name="T10" fmla="*/ 56 w 1261"/>
                    <a:gd name="T11" fmla="*/ 457 h 1154"/>
                    <a:gd name="T12" fmla="*/ 3 w 1261"/>
                    <a:gd name="T13" fmla="*/ 523 h 1154"/>
                    <a:gd name="T14" fmla="*/ 3 w 1261"/>
                    <a:gd name="T15" fmla="*/ 833 h 1154"/>
                    <a:gd name="T16" fmla="*/ 52 w 1261"/>
                    <a:gd name="T17" fmla="*/ 906 h 1154"/>
                    <a:gd name="T18" fmla="*/ 108 w 1261"/>
                    <a:gd name="T19" fmla="*/ 1147 h 1154"/>
                    <a:gd name="T20" fmla="*/ 174 w 1261"/>
                    <a:gd name="T21" fmla="*/ 1150 h 1154"/>
                    <a:gd name="T22" fmla="*/ 246 w 1261"/>
                    <a:gd name="T23" fmla="*/ 1109 h 1154"/>
                    <a:gd name="T24" fmla="*/ 1016 w 1261"/>
                    <a:gd name="T25" fmla="*/ 1109 h 1154"/>
                    <a:gd name="T26" fmla="*/ 1075 w 1261"/>
                    <a:gd name="T27" fmla="*/ 1147 h 1154"/>
                    <a:gd name="T28" fmla="*/ 1142 w 1261"/>
                    <a:gd name="T29" fmla="*/ 1150 h 1154"/>
                    <a:gd name="T30" fmla="*/ 1206 w 1261"/>
                    <a:gd name="T31" fmla="*/ 1109 h 1154"/>
                    <a:gd name="T32" fmla="*/ 1249 w 1261"/>
                    <a:gd name="T33" fmla="*/ 861 h 1154"/>
                    <a:gd name="T34" fmla="*/ 1261 w 1261"/>
                    <a:gd name="T35" fmla="*/ 539 h 1154"/>
                    <a:gd name="T36" fmla="*/ 1234 w 1261"/>
                    <a:gd name="T37" fmla="*/ 479 h 1154"/>
                    <a:gd name="T38" fmla="*/ 157 w 1261"/>
                    <a:gd name="T39" fmla="*/ 682 h 1154"/>
                    <a:gd name="T40" fmla="*/ 116 w 1261"/>
                    <a:gd name="T41" fmla="*/ 671 h 1154"/>
                    <a:gd name="T42" fmla="*/ 78 w 1261"/>
                    <a:gd name="T43" fmla="*/ 628 h 1154"/>
                    <a:gd name="T44" fmla="*/ 71 w 1261"/>
                    <a:gd name="T45" fmla="*/ 584 h 1154"/>
                    <a:gd name="T46" fmla="*/ 96 w 1261"/>
                    <a:gd name="T47" fmla="*/ 531 h 1154"/>
                    <a:gd name="T48" fmla="*/ 139 w 1261"/>
                    <a:gd name="T49" fmla="*/ 507 h 1154"/>
                    <a:gd name="T50" fmla="*/ 183 w 1261"/>
                    <a:gd name="T51" fmla="*/ 509 h 1154"/>
                    <a:gd name="T52" fmla="*/ 229 w 1261"/>
                    <a:gd name="T53" fmla="*/ 544 h 1154"/>
                    <a:gd name="T54" fmla="*/ 243 w 1261"/>
                    <a:gd name="T55" fmla="*/ 594 h 1154"/>
                    <a:gd name="T56" fmla="*/ 233 w 1261"/>
                    <a:gd name="T57" fmla="*/ 636 h 1154"/>
                    <a:gd name="T58" fmla="*/ 190 w 1261"/>
                    <a:gd name="T59" fmla="*/ 675 h 1154"/>
                    <a:gd name="T60" fmla="*/ 952 w 1261"/>
                    <a:gd name="T61" fmla="*/ 827 h 1154"/>
                    <a:gd name="T62" fmla="*/ 631 w 1261"/>
                    <a:gd name="T63" fmla="*/ 789 h 1154"/>
                    <a:gd name="T64" fmla="*/ 308 w 1261"/>
                    <a:gd name="T65" fmla="*/ 739 h 1154"/>
                    <a:gd name="T66" fmla="*/ 308 w 1261"/>
                    <a:gd name="T67" fmla="*/ 638 h 1154"/>
                    <a:gd name="T68" fmla="*/ 952 w 1261"/>
                    <a:gd name="T69" fmla="*/ 638 h 1154"/>
                    <a:gd name="T70" fmla="*/ 263 w 1261"/>
                    <a:gd name="T71" fmla="*/ 393 h 1154"/>
                    <a:gd name="T72" fmla="*/ 191 w 1261"/>
                    <a:gd name="T73" fmla="*/ 377 h 1154"/>
                    <a:gd name="T74" fmla="*/ 171 w 1261"/>
                    <a:gd name="T75" fmla="*/ 336 h 1154"/>
                    <a:gd name="T76" fmla="*/ 203 w 1261"/>
                    <a:gd name="T77" fmla="*/ 178 h 1154"/>
                    <a:gd name="T78" fmla="*/ 282 w 1261"/>
                    <a:gd name="T79" fmla="*/ 115 h 1154"/>
                    <a:gd name="T80" fmla="*/ 441 w 1261"/>
                    <a:gd name="T81" fmla="*/ 94 h 1154"/>
                    <a:gd name="T82" fmla="*/ 925 w 1261"/>
                    <a:gd name="T83" fmla="*/ 100 h 1154"/>
                    <a:gd name="T84" fmla="*/ 1025 w 1261"/>
                    <a:gd name="T85" fmla="*/ 139 h 1154"/>
                    <a:gd name="T86" fmla="*/ 1087 w 1261"/>
                    <a:gd name="T87" fmla="*/ 316 h 1154"/>
                    <a:gd name="T88" fmla="*/ 1084 w 1261"/>
                    <a:gd name="T89" fmla="*/ 360 h 1154"/>
                    <a:gd name="T90" fmla="*/ 1049 w 1261"/>
                    <a:gd name="T91" fmla="*/ 388 h 1154"/>
                    <a:gd name="T92" fmla="*/ 1100 w 1261"/>
                    <a:gd name="T93" fmla="*/ 682 h 1154"/>
                    <a:gd name="T94" fmla="*/ 1052 w 1261"/>
                    <a:gd name="T95" fmla="*/ 667 h 1154"/>
                    <a:gd name="T96" fmla="*/ 1017 w 1261"/>
                    <a:gd name="T97" fmla="*/ 620 h 1154"/>
                    <a:gd name="T98" fmla="*/ 1016 w 1261"/>
                    <a:gd name="T99" fmla="*/ 576 h 1154"/>
                    <a:gd name="T100" fmla="*/ 1045 w 1261"/>
                    <a:gd name="T101" fmla="*/ 525 h 1154"/>
                    <a:gd name="T102" fmla="*/ 1091 w 1261"/>
                    <a:gd name="T103" fmla="*/ 505 h 1154"/>
                    <a:gd name="T104" fmla="*/ 1134 w 1261"/>
                    <a:gd name="T105" fmla="*/ 512 h 1154"/>
                    <a:gd name="T106" fmla="*/ 1175 w 1261"/>
                    <a:gd name="T107" fmla="*/ 551 h 1154"/>
                    <a:gd name="T108" fmla="*/ 1186 w 1261"/>
                    <a:gd name="T109" fmla="*/ 594 h 1154"/>
                    <a:gd name="T110" fmla="*/ 1171 w 1261"/>
                    <a:gd name="T111" fmla="*/ 643 h 1154"/>
                    <a:gd name="T112" fmla="*/ 1126 w 1261"/>
                    <a:gd name="T113" fmla="*/ 678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1" h="1154">
                      <a:moveTo>
                        <a:pt x="1175" y="445"/>
                      </a:moveTo>
                      <a:lnTo>
                        <a:pt x="1108" y="110"/>
                      </a:lnTo>
                      <a:lnTo>
                        <a:pt x="1108" y="110"/>
                      </a:lnTo>
                      <a:lnTo>
                        <a:pt x="1103" y="94"/>
                      </a:lnTo>
                      <a:lnTo>
                        <a:pt x="1095" y="78"/>
                      </a:lnTo>
                      <a:lnTo>
                        <a:pt x="1083" y="59"/>
                      </a:lnTo>
                      <a:lnTo>
                        <a:pt x="1076" y="51"/>
                      </a:lnTo>
                      <a:lnTo>
                        <a:pt x="1068" y="42"/>
                      </a:lnTo>
                      <a:lnTo>
                        <a:pt x="1059" y="34"/>
                      </a:lnTo>
                      <a:lnTo>
                        <a:pt x="1048" y="26"/>
                      </a:lnTo>
                      <a:lnTo>
                        <a:pt x="1037" y="19"/>
                      </a:lnTo>
                      <a:lnTo>
                        <a:pt x="1025" y="13"/>
                      </a:lnTo>
                      <a:lnTo>
                        <a:pt x="1012" y="8"/>
                      </a:lnTo>
                      <a:lnTo>
                        <a:pt x="999" y="4"/>
                      </a:lnTo>
                      <a:lnTo>
                        <a:pt x="983" y="1"/>
                      </a:lnTo>
                      <a:lnTo>
                        <a:pt x="967" y="0"/>
                      </a:lnTo>
                      <a:lnTo>
                        <a:pt x="631" y="0"/>
                      </a:lnTo>
                      <a:lnTo>
                        <a:pt x="296" y="0"/>
                      </a:lnTo>
                      <a:lnTo>
                        <a:pt x="296" y="0"/>
                      </a:lnTo>
                      <a:lnTo>
                        <a:pt x="278" y="1"/>
                      </a:lnTo>
                      <a:lnTo>
                        <a:pt x="263" y="4"/>
                      </a:lnTo>
                      <a:lnTo>
                        <a:pt x="249" y="8"/>
                      </a:lnTo>
                      <a:lnTo>
                        <a:pt x="235" y="13"/>
                      </a:lnTo>
                      <a:lnTo>
                        <a:pt x="223" y="19"/>
                      </a:lnTo>
                      <a:lnTo>
                        <a:pt x="211" y="26"/>
                      </a:lnTo>
                      <a:lnTo>
                        <a:pt x="202" y="34"/>
                      </a:lnTo>
                      <a:lnTo>
                        <a:pt x="193" y="42"/>
                      </a:lnTo>
                      <a:lnTo>
                        <a:pt x="185" y="51"/>
                      </a:lnTo>
                      <a:lnTo>
                        <a:pt x="177" y="59"/>
                      </a:lnTo>
                      <a:lnTo>
                        <a:pt x="165" y="78"/>
                      </a:lnTo>
                      <a:lnTo>
                        <a:pt x="157" y="94"/>
                      </a:lnTo>
                      <a:lnTo>
                        <a:pt x="151" y="110"/>
                      </a:lnTo>
                      <a:lnTo>
                        <a:pt x="87" y="445"/>
                      </a:lnTo>
                      <a:lnTo>
                        <a:pt x="87" y="445"/>
                      </a:lnTo>
                      <a:lnTo>
                        <a:pt x="71" y="449"/>
                      </a:lnTo>
                      <a:lnTo>
                        <a:pt x="56" y="457"/>
                      </a:lnTo>
                      <a:lnTo>
                        <a:pt x="42" y="467"/>
                      </a:lnTo>
                      <a:lnTo>
                        <a:pt x="28" y="479"/>
                      </a:lnTo>
                      <a:lnTo>
                        <a:pt x="18" y="492"/>
                      </a:lnTo>
                      <a:lnTo>
                        <a:pt x="8" y="507"/>
                      </a:lnTo>
                      <a:lnTo>
                        <a:pt x="5" y="515"/>
                      </a:lnTo>
                      <a:lnTo>
                        <a:pt x="3" y="523"/>
                      </a:lnTo>
                      <a:lnTo>
                        <a:pt x="1" y="531"/>
                      </a:lnTo>
                      <a:lnTo>
                        <a:pt x="0" y="539"/>
                      </a:lnTo>
                      <a:lnTo>
                        <a:pt x="0" y="818"/>
                      </a:lnTo>
                      <a:lnTo>
                        <a:pt x="0" y="818"/>
                      </a:lnTo>
                      <a:lnTo>
                        <a:pt x="1" y="825"/>
                      </a:lnTo>
                      <a:lnTo>
                        <a:pt x="3" y="833"/>
                      </a:lnTo>
                      <a:lnTo>
                        <a:pt x="7" y="847"/>
                      </a:lnTo>
                      <a:lnTo>
                        <a:pt x="14" y="861"/>
                      </a:lnTo>
                      <a:lnTo>
                        <a:pt x="22" y="873"/>
                      </a:lnTo>
                      <a:lnTo>
                        <a:pt x="30" y="884"/>
                      </a:lnTo>
                      <a:lnTo>
                        <a:pt x="38" y="893"/>
                      </a:lnTo>
                      <a:lnTo>
                        <a:pt x="52" y="906"/>
                      </a:lnTo>
                      <a:lnTo>
                        <a:pt x="52" y="1109"/>
                      </a:lnTo>
                      <a:lnTo>
                        <a:pt x="52" y="1109"/>
                      </a:lnTo>
                      <a:lnTo>
                        <a:pt x="75" y="1127"/>
                      </a:lnTo>
                      <a:lnTo>
                        <a:pt x="86" y="1135"/>
                      </a:lnTo>
                      <a:lnTo>
                        <a:pt x="96" y="1141"/>
                      </a:lnTo>
                      <a:lnTo>
                        <a:pt x="108" y="1147"/>
                      </a:lnTo>
                      <a:lnTo>
                        <a:pt x="120" y="1150"/>
                      </a:lnTo>
                      <a:lnTo>
                        <a:pt x="134" y="1152"/>
                      </a:lnTo>
                      <a:lnTo>
                        <a:pt x="147" y="1154"/>
                      </a:lnTo>
                      <a:lnTo>
                        <a:pt x="147" y="1154"/>
                      </a:lnTo>
                      <a:lnTo>
                        <a:pt x="161" y="1152"/>
                      </a:lnTo>
                      <a:lnTo>
                        <a:pt x="174" y="1150"/>
                      </a:lnTo>
                      <a:lnTo>
                        <a:pt x="187" y="1147"/>
                      </a:lnTo>
                      <a:lnTo>
                        <a:pt x="201" y="1141"/>
                      </a:lnTo>
                      <a:lnTo>
                        <a:pt x="214" y="1135"/>
                      </a:lnTo>
                      <a:lnTo>
                        <a:pt x="226" y="1127"/>
                      </a:lnTo>
                      <a:lnTo>
                        <a:pt x="237" y="1119"/>
                      </a:lnTo>
                      <a:lnTo>
                        <a:pt x="246" y="1109"/>
                      </a:lnTo>
                      <a:lnTo>
                        <a:pt x="246" y="914"/>
                      </a:lnTo>
                      <a:lnTo>
                        <a:pt x="420" y="926"/>
                      </a:lnTo>
                      <a:lnTo>
                        <a:pt x="631" y="926"/>
                      </a:lnTo>
                      <a:lnTo>
                        <a:pt x="842" y="926"/>
                      </a:lnTo>
                      <a:lnTo>
                        <a:pt x="1016" y="914"/>
                      </a:lnTo>
                      <a:lnTo>
                        <a:pt x="1016" y="1109"/>
                      </a:lnTo>
                      <a:lnTo>
                        <a:pt x="1016" y="1109"/>
                      </a:lnTo>
                      <a:lnTo>
                        <a:pt x="1025" y="1119"/>
                      </a:lnTo>
                      <a:lnTo>
                        <a:pt x="1036" y="1127"/>
                      </a:lnTo>
                      <a:lnTo>
                        <a:pt x="1048" y="1135"/>
                      </a:lnTo>
                      <a:lnTo>
                        <a:pt x="1061" y="1141"/>
                      </a:lnTo>
                      <a:lnTo>
                        <a:pt x="1075" y="1147"/>
                      </a:lnTo>
                      <a:lnTo>
                        <a:pt x="1088" y="1150"/>
                      </a:lnTo>
                      <a:lnTo>
                        <a:pt x="1102" y="1152"/>
                      </a:lnTo>
                      <a:lnTo>
                        <a:pt x="1115" y="1154"/>
                      </a:lnTo>
                      <a:lnTo>
                        <a:pt x="1115" y="1154"/>
                      </a:lnTo>
                      <a:lnTo>
                        <a:pt x="1128" y="1152"/>
                      </a:lnTo>
                      <a:lnTo>
                        <a:pt x="1142" y="1150"/>
                      </a:lnTo>
                      <a:lnTo>
                        <a:pt x="1154" y="1147"/>
                      </a:lnTo>
                      <a:lnTo>
                        <a:pt x="1164" y="1141"/>
                      </a:lnTo>
                      <a:lnTo>
                        <a:pt x="1176" y="1135"/>
                      </a:lnTo>
                      <a:lnTo>
                        <a:pt x="1186" y="1127"/>
                      </a:lnTo>
                      <a:lnTo>
                        <a:pt x="1196" y="1119"/>
                      </a:lnTo>
                      <a:lnTo>
                        <a:pt x="1206" y="1109"/>
                      </a:lnTo>
                      <a:lnTo>
                        <a:pt x="1206" y="906"/>
                      </a:lnTo>
                      <a:lnTo>
                        <a:pt x="1206" y="906"/>
                      </a:lnTo>
                      <a:lnTo>
                        <a:pt x="1223" y="893"/>
                      </a:lnTo>
                      <a:lnTo>
                        <a:pt x="1231" y="884"/>
                      </a:lnTo>
                      <a:lnTo>
                        <a:pt x="1241" y="873"/>
                      </a:lnTo>
                      <a:lnTo>
                        <a:pt x="1249" y="861"/>
                      </a:lnTo>
                      <a:lnTo>
                        <a:pt x="1255" y="847"/>
                      </a:lnTo>
                      <a:lnTo>
                        <a:pt x="1259" y="833"/>
                      </a:lnTo>
                      <a:lnTo>
                        <a:pt x="1261" y="825"/>
                      </a:lnTo>
                      <a:lnTo>
                        <a:pt x="1261" y="818"/>
                      </a:lnTo>
                      <a:lnTo>
                        <a:pt x="1261" y="539"/>
                      </a:lnTo>
                      <a:lnTo>
                        <a:pt x="1261" y="539"/>
                      </a:lnTo>
                      <a:lnTo>
                        <a:pt x="1261" y="531"/>
                      </a:lnTo>
                      <a:lnTo>
                        <a:pt x="1259" y="523"/>
                      </a:lnTo>
                      <a:lnTo>
                        <a:pt x="1257" y="515"/>
                      </a:lnTo>
                      <a:lnTo>
                        <a:pt x="1254" y="507"/>
                      </a:lnTo>
                      <a:lnTo>
                        <a:pt x="1245" y="492"/>
                      </a:lnTo>
                      <a:lnTo>
                        <a:pt x="1234" y="479"/>
                      </a:lnTo>
                      <a:lnTo>
                        <a:pt x="1220" y="467"/>
                      </a:lnTo>
                      <a:lnTo>
                        <a:pt x="1206" y="457"/>
                      </a:lnTo>
                      <a:lnTo>
                        <a:pt x="1191" y="449"/>
                      </a:lnTo>
                      <a:lnTo>
                        <a:pt x="1175" y="445"/>
                      </a:lnTo>
                      <a:lnTo>
                        <a:pt x="1175" y="445"/>
                      </a:lnTo>
                      <a:close/>
                      <a:moveTo>
                        <a:pt x="157" y="682"/>
                      </a:moveTo>
                      <a:lnTo>
                        <a:pt x="157" y="682"/>
                      </a:lnTo>
                      <a:lnTo>
                        <a:pt x="149" y="682"/>
                      </a:lnTo>
                      <a:lnTo>
                        <a:pt x="139" y="680"/>
                      </a:lnTo>
                      <a:lnTo>
                        <a:pt x="131" y="678"/>
                      </a:lnTo>
                      <a:lnTo>
                        <a:pt x="123" y="675"/>
                      </a:lnTo>
                      <a:lnTo>
                        <a:pt x="116" y="671"/>
                      </a:lnTo>
                      <a:lnTo>
                        <a:pt x="108" y="667"/>
                      </a:lnTo>
                      <a:lnTo>
                        <a:pt x="102" y="662"/>
                      </a:lnTo>
                      <a:lnTo>
                        <a:pt x="96" y="656"/>
                      </a:lnTo>
                      <a:lnTo>
                        <a:pt x="86" y="643"/>
                      </a:lnTo>
                      <a:lnTo>
                        <a:pt x="82" y="636"/>
                      </a:lnTo>
                      <a:lnTo>
                        <a:pt x="78" y="628"/>
                      </a:lnTo>
                      <a:lnTo>
                        <a:pt x="75" y="620"/>
                      </a:lnTo>
                      <a:lnTo>
                        <a:pt x="72" y="611"/>
                      </a:lnTo>
                      <a:lnTo>
                        <a:pt x="71" y="603"/>
                      </a:lnTo>
                      <a:lnTo>
                        <a:pt x="71" y="594"/>
                      </a:lnTo>
                      <a:lnTo>
                        <a:pt x="71" y="594"/>
                      </a:lnTo>
                      <a:lnTo>
                        <a:pt x="71" y="584"/>
                      </a:lnTo>
                      <a:lnTo>
                        <a:pt x="72" y="576"/>
                      </a:lnTo>
                      <a:lnTo>
                        <a:pt x="75" y="567"/>
                      </a:lnTo>
                      <a:lnTo>
                        <a:pt x="78" y="559"/>
                      </a:lnTo>
                      <a:lnTo>
                        <a:pt x="82" y="551"/>
                      </a:lnTo>
                      <a:lnTo>
                        <a:pt x="86" y="544"/>
                      </a:lnTo>
                      <a:lnTo>
                        <a:pt x="96" y="531"/>
                      </a:lnTo>
                      <a:lnTo>
                        <a:pt x="102" y="525"/>
                      </a:lnTo>
                      <a:lnTo>
                        <a:pt x="108" y="520"/>
                      </a:lnTo>
                      <a:lnTo>
                        <a:pt x="116" y="516"/>
                      </a:lnTo>
                      <a:lnTo>
                        <a:pt x="123" y="512"/>
                      </a:lnTo>
                      <a:lnTo>
                        <a:pt x="131" y="509"/>
                      </a:lnTo>
                      <a:lnTo>
                        <a:pt x="139" y="507"/>
                      </a:lnTo>
                      <a:lnTo>
                        <a:pt x="149" y="505"/>
                      </a:lnTo>
                      <a:lnTo>
                        <a:pt x="157" y="505"/>
                      </a:lnTo>
                      <a:lnTo>
                        <a:pt x="157" y="505"/>
                      </a:lnTo>
                      <a:lnTo>
                        <a:pt x="166" y="505"/>
                      </a:lnTo>
                      <a:lnTo>
                        <a:pt x="174" y="507"/>
                      </a:lnTo>
                      <a:lnTo>
                        <a:pt x="183" y="509"/>
                      </a:lnTo>
                      <a:lnTo>
                        <a:pt x="190" y="512"/>
                      </a:lnTo>
                      <a:lnTo>
                        <a:pt x="198" y="516"/>
                      </a:lnTo>
                      <a:lnTo>
                        <a:pt x="205" y="520"/>
                      </a:lnTo>
                      <a:lnTo>
                        <a:pt x="211" y="525"/>
                      </a:lnTo>
                      <a:lnTo>
                        <a:pt x="218" y="531"/>
                      </a:lnTo>
                      <a:lnTo>
                        <a:pt x="229" y="544"/>
                      </a:lnTo>
                      <a:lnTo>
                        <a:pt x="233" y="551"/>
                      </a:lnTo>
                      <a:lnTo>
                        <a:pt x="237" y="559"/>
                      </a:lnTo>
                      <a:lnTo>
                        <a:pt x="239" y="567"/>
                      </a:lnTo>
                      <a:lnTo>
                        <a:pt x="241" y="576"/>
                      </a:lnTo>
                      <a:lnTo>
                        <a:pt x="242" y="584"/>
                      </a:lnTo>
                      <a:lnTo>
                        <a:pt x="243" y="594"/>
                      </a:lnTo>
                      <a:lnTo>
                        <a:pt x="243" y="594"/>
                      </a:lnTo>
                      <a:lnTo>
                        <a:pt x="242" y="603"/>
                      </a:lnTo>
                      <a:lnTo>
                        <a:pt x="241" y="611"/>
                      </a:lnTo>
                      <a:lnTo>
                        <a:pt x="239" y="620"/>
                      </a:lnTo>
                      <a:lnTo>
                        <a:pt x="237" y="628"/>
                      </a:lnTo>
                      <a:lnTo>
                        <a:pt x="233" y="636"/>
                      </a:lnTo>
                      <a:lnTo>
                        <a:pt x="229" y="643"/>
                      </a:lnTo>
                      <a:lnTo>
                        <a:pt x="218" y="656"/>
                      </a:lnTo>
                      <a:lnTo>
                        <a:pt x="211" y="662"/>
                      </a:lnTo>
                      <a:lnTo>
                        <a:pt x="205" y="667"/>
                      </a:lnTo>
                      <a:lnTo>
                        <a:pt x="198" y="671"/>
                      </a:lnTo>
                      <a:lnTo>
                        <a:pt x="190" y="675"/>
                      </a:lnTo>
                      <a:lnTo>
                        <a:pt x="183" y="678"/>
                      </a:lnTo>
                      <a:lnTo>
                        <a:pt x="174" y="680"/>
                      </a:lnTo>
                      <a:lnTo>
                        <a:pt x="166" y="682"/>
                      </a:lnTo>
                      <a:lnTo>
                        <a:pt x="157" y="682"/>
                      </a:lnTo>
                      <a:lnTo>
                        <a:pt x="157" y="682"/>
                      </a:lnTo>
                      <a:close/>
                      <a:moveTo>
                        <a:pt x="952" y="827"/>
                      </a:moveTo>
                      <a:lnTo>
                        <a:pt x="751" y="838"/>
                      </a:lnTo>
                      <a:lnTo>
                        <a:pt x="631" y="838"/>
                      </a:lnTo>
                      <a:lnTo>
                        <a:pt x="511" y="838"/>
                      </a:lnTo>
                      <a:lnTo>
                        <a:pt x="308" y="827"/>
                      </a:lnTo>
                      <a:lnTo>
                        <a:pt x="308" y="789"/>
                      </a:lnTo>
                      <a:lnTo>
                        <a:pt x="631" y="789"/>
                      </a:lnTo>
                      <a:lnTo>
                        <a:pt x="952" y="789"/>
                      </a:lnTo>
                      <a:lnTo>
                        <a:pt x="952" y="827"/>
                      </a:lnTo>
                      <a:close/>
                      <a:moveTo>
                        <a:pt x="954" y="739"/>
                      </a:moveTo>
                      <a:lnTo>
                        <a:pt x="631" y="739"/>
                      </a:lnTo>
                      <a:lnTo>
                        <a:pt x="628" y="739"/>
                      </a:lnTo>
                      <a:lnTo>
                        <a:pt x="308" y="739"/>
                      </a:lnTo>
                      <a:lnTo>
                        <a:pt x="308" y="690"/>
                      </a:lnTo>
                      <a:lnTo>
                        <a:pt x="628" y="690"/>
                      </a:lnTo>
                      <a:lnTo>
                        <a:pt x="631" y="690"/>
                      </a:lnTo>
                      <a:lnTo>
                        <a:pt x="954" y="690"/>
                      </a:lnTo>
                      <a:lnTo>
                        <a:pt x="954" y="739"/>
                      </a:lnTo>
                      <a:close/>
                      <a:moveTo>
                        <a:pt x="308" y="638"/>
                      </a:moveTo>
                      <a:lnTo>
                        <a:pt x="308" y="602"/>
                      </a:lnTo>
                      <a:lnTo>
                        <a:pt x="511" y="588"/>
                      </a:lnTo>
                      <a:lnTo>
                        <a:pt x="631" y="588"/>
                      </a:lnTo>
                      <a:lnTo>
                        <a:pt x="751" y="588"/>
                      </a:lnTo>
                      <a:lnTo>
                        <a:pt x="952" y="602"/>
                      </a:lnTo>
                      <a:lnTo>
                        <a:pt x="952" y="638"/>
                      </a:lnTo>
                      <a:lnTo>
                        <a:pt x="631" y="638"/>
                      </a:lnTo>
                      <a:lnTo>
                        <a:pt x="308" y="638"/>
                      </a:lnTo>
                      <a:close/>
                      <a:moveTo>
                        <a:pt x="999" y="393"/>
                      </a:moveTo>
                      <a:lnTo>
                        <a:pt x="631" y="377"/>
                      </a:lnTo>
                      <a:lnTo>
                        <a:pt x="263" y="393"/>
                      </a:lnTo>
                      <a:lnTo>
                        <a:pt x="263" y="393"/>
                      </a:lnTo>
                      <a:lnTo>
                        <a:pt x="241" y="393"/>
                      </a:lnTo>
                      <a:lnTo>
                        <a:pt x="221" y="390"/>
                      </a:lnTo>
                      <a:lnTo>
                        <a:pt x="213" y="388"/>
                      </a:lnTo>
                      <a:lnTo>
                        <a:pt x="205" y="385"/>
                      </a:lnTo>
                      <a:lnTo>
                        <a:pt x="197" y="382"/>
                      </a:lnTo>
                      <a:lnTo>
                        <a:pt x="191" y="377"/>
                      </a:lnTo>
                      <a:lnTo>
                        <a:pt x="186" y="373"/>
                      </a:lnTo>
                      <a:lnTo>
                        <a:pt x="181" y="366"/>
                      </a:lnTo>
                      <a:lnTo>
                        <a:pt x="178" y="360"/>
                      </a:lnTo>
                      <a:lnTo>
                        <a:pt x="174" y="353"/>
                      </a:lnTo>
                      <a:lnTo>
                        <a:pt x="173" y="345"/>
                      </a:lnTo>
                      <a:lnTo>
                        <a:pt x="171" y="336"/>
                      </a:lnTo>
                      <a:lnTo>
                        <a:pt x="171" y="326"/>
                      </a:lnTo>
                      <a:lnTo>
                        <a:pt x="173" y="316"/>
                      </a:lnTo>
                      <a:lnTo>
                        <a:pt x="191" y="214"/>
                      </a:lnTo>
                      <a:lnTo>
                        <a:pt x="191" y="214"/>
                      </a:lnTo>
                      <a:lnTo>
                        <a:pt x="197" y="195"/>
                      </a:lnTo>
                      <a:lnTo>
                        <a:pt x="203" y="178"/>
                      </a:lnTo>
                      <a:lnTo>
                        <a:pt x="213" y="163"/>
                      </a:lnTo>
                      <a:lnTo>
                        <a:pt x="223" y="151"/>
                      </a:lnTo>
                      <a:lnTo>
                        <a:pt x="237" y="139"/>
                      </a:lnTo>
                      <a:lnTo>
                        <a:pt x="250" y="130"/>
                      </a:lnTo>
                      <a:lnTo>
                        <a:pt x="265" y="122"/>
                      </a:lnTo>
                      <a:lnTo>
                        <a:pt x="282" y="115"/>
                      </a:lnTo>
                      <a:lnTo>
                        <a:pt x="300" y="108"/>
                      </a:lnTo>
                      <a:lnTo>
                        <a:pt x="318" y="104"/>
                      </a:lnTo>
                      <a:lnTo>
                        <a:pt x="337" y="100"/>
                      </a:lnTo>
                      <a:lnTo>
                        <a:pt x="357" y="98"/>
                      </a:lnTo>
                      <a:lnTo>
                        <a:pt x="398" y="95"/>
                      </a:lnTo>
                      <a:lnTo>
                        <a:pt x="441" y="94"/>
                      </a:lnTo>
                      <a:lnTo>
                        <a:pt x="631" y="94"/>
                      </a:lnTo>
                      <a:lnTo>
                        <a:pt x="821" y="94"/>
                      </a:lnTo>
                      <a:lnTo>
                        <a:pt x="821" y="94"/>
                      </a:lnTo>
                      <a:lnTo>
                        <a:pt x="864" y="95"/>
                      </a:lnTo>
                      <a:lnTo>
                        <a:pt x="905" y="98"/>
                      </a:lnTo>
                      <a:lnTo>
                        <a:pt x="925" y="100"/>
                      </a:lnTo>
                      <a:lnTo>
                        <a:pt x="944" y="104"/>
                      </a:lnTo>
                      <a:lnTo>
                        <a:pt x="962" y="108"/>
                      </a:lnTo>
                      <a:lnTo>
                        <a:pt x="980" y="115"/>
                      </a:lnTo>
                      <a:lnTo>
                        <a:pt x="996" y="122"/>
                      </a:lnTo>
                      <a:lnTo>
                        <a:pt x="1012" y="130"/>
                      </a:lnTo>
                      <a:lnTo>
                        <a:pt x="1025" y="139"/>
                      </a:lnTo>
                      <a:lnTo>
                        <a:pt x="1037" y="151"/>
                      </a:lnTo>
                      <a:lnTo>
                        <a:pt x="1048" y="163"/>
                      </a:lnTo>
                      <a:lnTo>
                        <a:pt x="1056" y="178"/>
                      </a:lnTo>
                      <a:lnTo>
                        <a:pt x="1064" y="195"/>
                      </a:lnTo>
                      <a:lnTo>
                        <a:pt x="1068" y="214"/>
                      </a:lnTo>
                      <a:lnTo>
                        <a:pt x="1087" y="316"/>
                      </a:lnTo>
                      <a:lnTo>
                        <a:pt x="1087" y="316"/>
                      </a:lnTo>
                      <a:lnTo>
                        <a:pt x="1088" y="326"/>
                      </a:lnTo>
                      <a:lnTo>
                        <a:pt x="1088" y="336"/>
                      </a:lnTo>
                      <a:lnTo>
                        <a:pt x="1088" y="345"/>
                      </a:lnTo>
                      <a:lnTo>
                        <a:pt x="1087" y="353"/>
                      </a:lnTo>
                      <a:lnTo>
                        <a:pt x="1084" y="360"/>
                      </a:lnTo>
                      <a:lnTo>
                        <a:pt x="1080" y="366"/>
                      </a:lnTo>
                      <a:lnTo>
                        <a:pt x="1076" y="373"/>
                      </a:lnTo>
                      <a:lnTo>
                        <a:pt x="1071" y="377"/>
                      </a:lnTo>
                      <a:lnTo>
                        <a:pt x="1064" y="382"/>
                      </a:lnTo>
                      <a:lnTo>
                        <a:pt x="1057" y="385"/>
                      </a:lnTo>
                      <a:lnTo>
                        <a:pt x="1049" y="388"/>
                      </a:lnTo>
                      <a:lnTo>
                        <a:pt x="1041" y="390"/>
                      </a:lnTo>
                      <a:lnTo>
                        <a:pt x="1021" y="393"/>
                      </a:lnTo>
                      <a:lnTo>
                        <a:pt x="999" y="393"/>
                      </a:lnTo>
                      <a:lnTo>
                        <a:pt x="999" y="393"/>
                      </a:lnTo>
                      <a:close/>
                      <a:moveTo>
                        <a:pt x="1100" y="682"/>
                      </a:moveTo>
                      <a:lnTo>
                        <a:pt x="1100" y="682"/>
                      </a:lnTo>
                      <a:lnTo>
                        <a:pt x="1091" y="682"/>
                      </a:lnTo>
                      <a:lnTo>
                        <a:pt x="1083" y="680"/>
                      </a:lnTo>
                      <a:lnTo>
                        <a:pt x="1075" y="678"/>
                      </a:lnTo>
                      <a:lnTo>
                        <a:pt x="1067" y="675"/>
                      </a:lnTo>
                      <a:lnTo>
                        <a:pt x="1059" y="671"/>
                      </a:lnTo>
                      <a:lnTo>
                        <a:pt x="1052" y="667"/>
                      </a:lnTo>
                      <a:lnTo>
                        <a:pt x="1045" y="662"/>
                      </a:lnTo>
                      <a:lnTo>
                        <a:pt x="1039" y="656"/>
                      </a:lnTo>
                      <a:lnTo>
                        <a:pt x="1028" y="643"/>
                      </a:lnTo>
                      <a:lnTo>
                        <a:pt x="1024" y="636"/>
                      </a:lnTo>
                      <a:lnTo>
                        <a:pt x="1020" y="628"/>
                      </a:lnTo>
                      <a:lnTo>
                        <a:pt x="1017" y="620"/>
                      </a:lnTo>
                      <a:lnTo>
                        <a:pt x="1016" y="611"/>
                      </a:lnTo>
                      <a:lnTo>
                        <a:pt x="1015" y="603"/>
                      </a:lnTo>
                      <a:lnTo>
                        <a:pt x="1013" y="594"/>
                      </a:lnTo>
                      <a:lnTo>
                        <a:pt x="1013" y="594"/>
                      </a:lnTo>
                      <a:lnTo>
                        <a:pt x="1015" y="584"/>
                      </a:lnTo>
                      <a:lnTo>
                        <a:pt x="1016" y="576"/>
                      </a:lnTo>
                      <a:lnTo>
                        <a:pt x="1017" y="567"/>
                      </a:lnTo>
                      <a:lnTo>
                        <a:pt x="1020" y="559"/>
                      </a:lnTo>
                      <a:lnTo>
                        <a:pt x="1024" y="551"/>
                      </a:lnTo>
                      <a:lnTo>
                        <a:pt x="1028" y="544"/>
                      </a:lnTo>
                      <a:lnTo>
                        <a:pt x="1039" y="531"/>
                      </a:lnTo>
                      <a:lnTo>
                        <a:pt x="1045" y="525"/>
                      </a:lnTo>
                      <a:lnTo>
                        <a:pt x="1052" y="520"/>
                      </a:lnTo>
                      <a:lnTo>
                        <a:pt x="1059" y="516"/>
                      </a:lnTo>
                      <a:lnTo>
                        <a:pt x="1067" y="512"/>
                      </a:lnTo>
                      <a:lnTo>
                        <a:pt x="1075" y="509"/>
                      </a:lnTo>
                      <a:lnTo>
                        <a:pt x="1083" y="507"/>
                      </a:lnTo>
                      <a:lnTo>
                        <a:pt x="1091" y="505"/>
                      </a:lnTo>
                      <a:lnTo>
                        <a:pt x="1100" y="505"/>
                      </a:lnTo>
                      <a:lnTo>
                        <a:pt x="1100" y="505"/>
                      </a:lnTo>
                      <a:lnTo>
                        <a:pt x="1108" y="505"/>
                      </a:lnTo>
                      <a:lnTo>
                        <a:pt x="1118" y="507"/>
                      </a:lnTo>
                      <a:lnTo>
                        <a:pt x="1126" y="509"/>
                      </a:lnTo>
                      <a:lnTo>
                        <a:pt x="1134" y="512"/>
                      </a:lnTo>
                      <a:lnTo>
                        <a:pt x="1140" y="516"/>
                      </a:lnTo>
                      <a:lnTo>
                        <a:pt x="1148" y="520"/>
                      </a:lnTo>
                      <a:lnTo>
                        <a:pt x="1155" y="525"/>
                      </a:lnTo>
                      <a:lnTo>
                        <a:pt x="1160" y="531"/>
                      </a:lnTo>
                      <a:lnTo>
                        <a:pt x="1171" y="544"/>
                      </a:lnTo>
                      <a:lnTo>
                        <a:pt x="1175" y="551"/>
                      </a:lnTo>
                      <a:lnTo>
                        <a:pt x="1179" y="559"/>
                      </a:lnTo>
                      <a:lnTo>
                        <a:pt x="1182" y="567"/>
                      </a:lnTo>
                      <a:lnTo>
                        <a:pt x="1184" y="576"/>
                      </a:lnTo>
                      <a:lnTo>
                        <a:pt x="1186" y="584"/>
                      </a:lnTo>
                      <a:lnTo>
                        <a:pt x="1186" y="594"/>
                      </a:lnTo>
                      <a:lnTo>
                        <a:pt x="1186" y="594"/>
                      </a:lnTo>
                      <a:lnTo>
                        <a:pt x="1186" y="603"/>
                      </a:lnTo>
                      <a:lnTo>
                        <a:pt x="1184" y="611"/>
                      </a:lnTo>
                      <a:lnTo>
                        <a:pt x="1182" y="620"/>
                      </a:lnTo>
                      <a:lnTo>
                        <a:pt x="1179" y="628"/>
                      </a:lnTo>
                      <a:lnTo>
                        <a:pt x="1175" y="636"/>
                      </a:lnTo>
                      <a:lnTo>
                        <a:pt x="1171" y="643"/>
                      </a:lnTo>
                      <a:lnTo>
                        <a:pt x="1160" y="656"/>
                      </a:lnTo>
                      <a:lnTo>
                        <a:pt x="1155" y="662"/>
                      </a:lnTo>
                      <a:lnTo>
                        <a:pt x="1148" y="667"/>
                      </a:lnTo>
                      <a:lnTo>
                        <a:pt x="1140" y="671"/>
                      </a:lnTo>
                      <a:lnTo>
                        <a:pt x="1134" y="675"/>
                      </a:lnTo>
                      <a:lnTo>
                        <a:pt x="1126" y="678"/>
                      </a:lnTo>
                      <a:lnTo>
                        <a:pt x="1118" y="680"/>
                      </a:lnTo>
                      <a:lnTo>
                        <a:pt x="1108" y="682"/>
                      </a:lnTo>
                      <a:lnTo>
                        <a:pt x="1100" y="682"/>
                      </a:lnTo>
                      <a:lnTo>
                        <a:pt x="1100" y="682"/>
                      </a:lnTo>
                      <a:close/>
                    </a:path>
                  </a:pathLst>
                </a:custGeom>
                <a:solidFill>
                  <a:srgbClr val="427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769" name="Group 1768"/>
            <p:cNvGrpSpPr>
              <a:grpSpLocks noChangeAspect="1"/>
            </p:cNvGrpSpPr>
            <p:nvPr/>
          </p:nvGrpSpPr>
          <p:grpSpPr>
            <a:xfrm>
              <a:off x="10880902" y="2889287"/>
              <a:ext cx="276636" cy="227536"/>
              <a:chOff x="8970859" y="2626225"/>
              <a:chExt cx="414001" cy="374572"/>
            </a:xfrm>
          </p:grpSpPr>
          <p:sp>
            <p:nvSpPr>
              <p:cNvPr id="1777" name="Rectangle 1776"/>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778" name="Group 1777"/>
              <p:cNvGrpSpPr/>
              <p:nvPr/>
            </p:nvGrpSpPr>
            <p:grpSpPr>
              <a:xfrm>
                <a:off x="8970859" y="2626225"/>
                <a:ext cx="414001" cy="374572"/>
                <a:chOff x="25455229" y="-39674"/>
                <a:chExt cx="806770" cy="729935"/>
              </a:xfrm>
            </p:grpSpPr>
            <p:sp>
              <p:nvSpPr>
                <p:cNvPr id="1779"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80"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81"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grpSp>
        <p:nvGrpSpPr>
          <p:cNvPr id="57" name="Group 56"/>
          <p:cNvGrpSpPr/>
          <p:nvPr/>
        </p:nvGrpSpPr>
        <p:grpSpPr>
          <a:xfrm>
            <a:off x="9638833" y="1688309"/>
            <a:ext cx="1983627" cy="578956"/>
            <a:chOff x="10574286" y="4487321"/>
            <a:chExt cx="1024624" cy="1118541"/>
          </a:xfrm>
        </p:grpSpPr>
        <p:sp>
          <p:nvSpPr>
            <p:cNvPr id="1808" name="Rectangle 1807"/>
            <p:cNvSpPr/>
            <p:nvPr/>
          </p:nvSpPr>
          <p:spPr bwMode="auto">
            <a:xfrm>
              <a:off x="10574286" y="4487321"/>
              <a:ext cx="1024624" cy="111854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Capture more of the repair market by sending alerts for proactive maintenance needs</a:t>
              </a:r>
            </a:p>
          </p:txBody>
        </p:sp>
        <p:cxnSp>
          <p:nvCxnSpPr>
            <p:cNvPr id="1809" name="Straight Connector 1808"/>
            <p:cNvCxnSpPr/>
            <p:nvPr/>
          </p:nvCxnSpPr>
          <p:spPr>
            <a:xfrm flipV="1">
              <a:off x="10574286" y="4487321"/>
              <a:ext cx="0" cy="1118541"/>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942" name="Group 1941"/>
          <p:cNvGrpSpPr/>
          <p:nvPr/>
        </p:nvGrpSpPr>
        <p:grpSpPr>
          <a:xfrm>
            <a:off x="261747" y="2509364"/>
            <a:ext cx="2717674" cy="361263"/>
            <a:chOff x="3911910" y="3987329"/>
            <a:chExt cx="4852522" cy="314380"/>
          </a:xfrm>
        </p:grpSpPr>
        <p:sp>
          <p:nvSpPr>
            <p:cNvPr id="2030" name="Rectangle 2029"/>
            <p:cNvSpPr/>
            <p:nvPr/>
          </p:nvSpPr>
          <p:spPr bwMode="auto">
            <a:xfrm>
              <a:off x="3914784" y="4244141"/>
              <a:ext cx="4849648" cy="57568"/>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31" name="Trapezoid 2030"/>
            <p:cNvSpPr/>
            <p:nvPr/>
          </p:nvSpPr>
          <p:spPr bwMode="auto">
            <a:xfrm>
              <a:off x="3911910" y="3987329"/>
              <a:ext cx="4852520" cy="262428"/>
            </a:xfrm>
            <a:prstGeom prst="trapezoid">
              <a:avLst>
                <a:gd name="adj" fmla="val 89982"/>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48" name="Group 347"/>
          <p:cNvGrpSpPr/>
          <p:nvPr/>
        </p:nvGrpSpPr>
        <p:grpSpPr>
          <a:xfrm>
            <a:off x="1116631" y="1663218"/>
            <a:ext cx="1790934" cy="1067349"/>
            <a:chOff x="-464341" y="2081176"/>
            <a:chExt cx="1790934" cy="1067349"/>
          </a:xfrm>
        </p:grpSpPr>
        <p:grpSp>
          <p:nvGrpSpPr>
            <p:cNvPr id="1819" name="Group 1818"/>
            <p:cNvGrpSpPr/>
            <p:nvPr/>
          </p:nvGrpSpPr>
          <p:grpSpPr>
            <a:xfrm>
              <a:off x="-422185" y="2159196"/>
              <a:ext cx="1729756" cy="814550"/>
              <a:chOff x="265104" y="5231764"/>
              <a:chExt cx="2559623" cy="1205337"/>
            </a:xfrm>
          </p:grpSpPr>
          <p:sp>
            <p:nvSpPr>
              <p:cNvPr id="1820" name="Rectangle 6"/>
              <p:cNvSpPr>
                <a:spLocks noChangeArrowheads="1"/>
              </p:cNvSpPr>
              <p:nvPr/>
            </p:nvSpPr>
            <p:spPr bwMode="auto">
              <a:xfrm>
                <a:off x="265104" y="5231764"/>
                <a:ext cx="2558251" cy="571876"/>
              </a:xfrm>
              <a:prstGeom prst="rect">
                <a:avLst/>
              </a:prstGeom>
              <a:gradFill flip="none" rotWithShape="1">
                <a:gsLst>
                  <a:gs pos="79000">
                    <a:schemeClr val="tx1">
                      <a:lumMod val="75000"/>
                      <a:lumOff val="25000"/>
                    </a:schemeClr>
                  </a:gs>
                  <a:gs pos="0">
                    <a:schemeClr val="tx1">
                      <a:alpha val="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1" name="Freeform 7"/>
              <p:cNvSpPr>
                <a:spLocks/>
              </p:cNvSpPr>
              <p:nvPr/>
            </p:nvSpPr>
            <p:spPr bwMode="auto">
              <a:xfrm>
                <a:off x="2304964" y="5702518"/>
                <a:ext cx="476549" cy="202243"/>
              </a:xfrm>
              <a:custGeom>
                <a:avLst/>
                <a:gdLst>
                  <a:gd name="T0" fmla="*/ 0 w 820"/>
                  <a:gd name="T1" fmla="*/ 152 h 348"/>
                  <a:gd name="T2" fmla="*/ 450 w 820"/>
                  <a:gd name="T3" fmla="*/ 0 h 348"/>
                  <a:gd name="T4" fmla="*/ 820 w 820"/>
                  <a:gd name="T5" fmla="*/ 48 h 348"/>
                  <a:gd name="T6" fmla="*/ 820 w 820"/>
                  <a:gd name="T7" fmla="*/ 348 h 348"/>
                  <a:gd name="T8" fmla="*/ 378 w 820"/>
                  <a:gd name="T9" fmla="*/ 348 h 348"/>
                  <a:gd name="T10" fmla="*/ 24 w 820"/>
                  <a:gd name="T11" fmla="*/ 276 h 348"/>
                  <a:gd name="T12" fmla="*/ 0 w 820"/>
                  <a:gd name="T13" fmla="*/ 152 h 348"/>
                </a:gdLst>
                <a:ahLst/>
                <a:cxnLst>
                  <a:cxn ang="0">
                    <a:pos x="T0" y="T1"/>
                  </a:cxn>
                  <a:cxn ang="0">
                    <a:pos x="T2" y="T3"/>
                  </a:cxn>
                  <a:cxn ang="0">
                    <a:pos x="T4" y="T5"/>
                  </a:cxn>
                  <a:cxn ang="0">
                    <a:pos x="T6" y="T7"/>
                  </a:cxn>
                  <a:cxn ang="0">
                    <a:pos x="T8" y="T9"/>
                  </a:cxn>
                  <a:cxn ang="0">
                    <a:pos x="T10" y="T11"/>
                  </a:cxn>
                  <a:cxn ang="0">
                    <a:pos x="T12" y="T13"/>
                  </a:cxn>
                </a:cxnLst>
                <a:rect l="0" t="0" r="r" b="b"/>
                <a:pathLst>
                  <a:path w="820" h="348">
                    <a:moveTo>
                      <a:pt x="0" y="152"/>
                    </a:moveTo>
                    <a:lnTo>
                      <a:pt x="450" y="0"/>
                    </a:lnTo>
                    <a:lnTo>
                      <a:pt x="820" y="48"/>
                    </a:lnTo>
                    <a:lnTo>
                      <a:pt x="820" y="348"/>
                    </a:lnTo>
                    <a:lnTo>
                      <a:pt x="378" y="348"/>
                    </a:lnTo>
                    <a:lnTo>
                      <a:pt x="24" y="276"/>
                    </a:lnTo>
                    <a:lnTo>
                      <a:pt x="0" y="152"/>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2" name="Freeform 8"/>
              <p:cNvSpPr>
                <a:spLocks/>
              </p:cNvSpPr>
              <p:nvPr/>
            </p:nvSpPr>
            <p:spPr bwMode="auto">
              <a:xfrm>
                <a:off x="2504882" y="5722277"/>
                <a:ext cx="259196" cy="162724"/>
              </a:xfrm>
              <a:custGeom>
                <a:avLst/>
                <a:gdLst>
                  <a:gd name="T0" fmla="*/ 0 w 446"/>
                  <a:gd name="T1" fmla="*/ 108 h 280"/>
                  <a:gd name="T2" fmla="*/ 0 w 446"/>
                  <a:gd name="T3" fmla="*/ 108 h 280"/>
                  <a:gd name="T4" fmla="*/ 24 w 446"/>
                  <a:gd name="T5" fmla="*/ 84 h 280"/>
                  <a:gd name="T6" fmla="*/ 64 w 446"/>
                  <a:gd name="T7" fmla="*/ 48 h 280"/>
                  <a:gd name="T8" fmla="*/ 118 w 446"/>
                  <a:gd name="T9" fmla="*/ 0 h 280"/>
                  <a:gd name="T10" fmla="*/ 446 w 446"/>
                  <a:gd name="T11" fmla="*/ 54 h 280"/>
                  <a:gd name="T12" fmla="*/ 446 w 446"/>
                  <a:gd name="T13" fmla="*/ 280 h 280"/>
                  <a:gd name="T14" fmla="*/ 54 w 446"/>
                  <a:gd name="T15" fmla="*/ 280 h 280"/>
                  <a:gd name="T16" fmla="*/ 0 w 446"/>
                  <a:gd name="T17" fmla="*/ 10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6" h="280">
                    <a:moveTo>
                      <a:pt x="0" y="108"/>
                    </a:moveTo>
                    <a:lnTo>
                      <a:pt x="0" y="108"/>
                    </a:lnTo>
                    <a:lnTo>
                      <a:pt x="24" y="84"/>
                    </a:lnTo>
                    <a:lnTo>
                      <a:pt x="64" y="48"/>
                    </a:lnTo>
                    <a:lnTo>
                      <a:pt x="118" y="0"/>
                    </a:lnTo>
                    <a:lnTo>
                      <a:pt x="446" y="54"/>
                    </a:lnTo>
                    <a:lnTo>
                      <a:pt x="446" y="280"/>
                    </a:lnTo>
                    <a:lnTo>
                      <a:pt x="54" y="280"/>
                    </a:lnTo>
                    <a:lnTo>
                      <a:pt x="0" y="108"/>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3" name="Freeform 9"/>
              <p:cNvSpPr>
                <a:spLocks/>
              </p:cNvSpPr>
              <p:nvPr/>
            </p:nvSpPr>
            <p:spPr bwMode="auto">
              <a:xfrm>
                <a:off x="324141" y="5718582"/>
                <a:ext cx="438192" cy="202243"/>
              </a:xfrm>
              <a:custGeom>
                <a:avLst/>
                <a:gdLst>
                  <a:gd name="T0" fmla="*/ 754 w 754"/>
                  <a:gd name="T1" fmla="*/ 152 h 348"/>
                  <a:gd name="T2" fmla="*/ 340 w 754"/>
                  <a:gd name="T3" fmla="*/ 0 h 348"/>
                  <a:gd name="T4" fmla="*/ 0 w 754"/>
                  <a:gd name="T5" fmla="*/ 48 h 348"/>
                  <a:gd name="T6" fmla="*/ 0 w 754"/>
                  <a:gd name="T7" fmla="*/ 348 h 348"/>
                  <a:gd name="T8" fmla="*/ 406 w 754"/>
                  <a:gd name="T9" fmla="*/ 348 h 348"/>
                  <a:gd name="T10" fmla="*/ 732 w 754"/>
                  <a:gd name="T11" fmla="*/ 276 h 348"/>
                  <a:gd name="T12" fmla="*/ 754 w 754"/>
                  <a:gd name="T13" fmla="*/ 152 h 348"/>
                </a:gdLst>
                <a:ahLst/>
                <a:cxnLst>
                  <a:cxn ang="0">
                    <a:pos x="T0" y="T1"/>
                  </a:cxn>
                  <a:cxn ang="0">
                    <a:pos x="T2" y="T3"/>
                  </a:cxn>
                  <a:cxn ang="0">
                    <a:pos x="T4" y="T5"/>
                  </a:cxn>
                  <a:cxn ang="0">
                    <a:pos x="T6" y="T7"/>
                  </a:cxn>
                  <a:cxn ang="0">
                    <a:pos x="T8" y="T9"/>
                  </a:cxn>
                  <a:cxn ang="0">
                    <a:pos x="T10" y="T11"/>
                  </a:cxn>
                  <a:cxn ang="0">
                    <a:pos x="T12" y="T13"/>
                  </a:cxn>
                </a:cxnLst>
                <a:rect l="0" t="0" r="r" b="b"/>
                <a:pathLst>
                  <a:path w="754" h="348">
                    <a:moveTo>
                      <a:pt x="754" y="152"/>
                    </a:moveTo>
                    <a:lnTo>
                      <a:pt x="340" y="0"/>
                    </a:lnTo>
                    <a:lnTo>
                      <a:pt x="0" y="48"/>
                    </a:lnTo>
                    <a:lnTo>
                      <a:pt x="0" y="348"/>
                    </a:lnTo>
                    <a:lnTo>
                      <a:pt x="406" y="348"/>
                    </a:lnTo>
                    <a:lnTo>
                      <a:pt x="732" y="276"/>
                    </a:lnTo>
                    <a:lnTo>
                      <a:pt x="754" y="152"/>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4" name="Freeform 10"/>
              <p:cNvSpPr>
                <a:spLocks/>
              </p:cNvSpPr>
              <p:nvPr/>
            </p:nvSpPr>
            <p:spPr bwMode="auto">
              <a:xfrm>
                <a:off x="340413" y="5738341"/>
                <a:ext cx="238274" cy="162724"/>
              </a:xfrm>
              <a:custGeom>
                <a:avLst/>
                <a:gdLst>
                  <a:gd name="T0" fmla="*/ 410 w 410"/>
                  <a:gd name="T1" fmla="*/ 108 h 280"/>
                  <a:gd name="T2" fmla="*/ 410 w 410"/>
                  <a:gd name="T3" fmla="*/ 108 h 280"/>
                  <a:gd name="T4" fmla="*/ 388 w 410"/>
                  <a:gd name="T5" fmla="*/ 84 h 280"/>
                  <a:gd name="T6" fmla="*/ 352 w 410"/>
                  <a:gd name="T7" fmla="*/ 48 h 280"/>
                  <a:gd name="T8" fmla="*/ 302 w 410"/>
                  <a:gd name="T9" fmla="*/ 0 h 280"/>
                  <a:gd name="T10" fmla="*/ 0 w 410"/>
                  <a:gd name="T11" fmla="*/ 54 h 280"/>
                  <a:gd name="T12" fmla="*/ 0 w 410"/>
                  <a:gd name="T13" fmla="*/ 280 h 280"/>
                  <a:gd name="T14" fmla="*/ 360 w 410"/>
                  <a:gd name="T15" fmla="*/ 280 h 280"/>
                  <a:gd name="T16" fmla="*/ 410 w 410"/>
                  <a:gd name="T17" fmla="*/ 10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280">
                    <a:moveTo>
                      <a:pt x="410" y="108"/>
                    </a:moveTo>
                    <a:lnTo>
                      <a:pt x="410" y="108"/>
                    </a:lnTo>
                    <a:lnTo>
                      <a:pt x="388" y="84"/>
                    </a:lnTo>
                    <a:lnTo>
                      <a:pt x="352" y="48"/>
                    </a:lnTo>
                    <a:lnTo>
                      <a:pt x="302" y="0"/>
                    </a:lnTo>
                    <a:lnTo>
                      <a:pt x="0" y="54"/>
                    </a:lnTo>
                    <a:lnTo>
                      <a:pt x="0" y="280"/>
                    </a:lnTo>
                    <a:lnTo>
                      <a:pt x="360" y="280"/>
                    </a:lnTo>
                    <a:lnTo>
                      <a:pt x="410" y="108"/>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5" name="Freeform 11"/>
              <p:cNvSpPr>
                <a:spLocks/>
              </p:cNvSpPr>
              <p:nvPr/>
            </p:nvSpPr>
            <p:spPr bwMode="auto">
              <a:xfrm>
                <a:off x="265104" y="5746686"/>
                <a:ext cx="2557090" cy="690415"/>
              </a:xfrm>
              <a:custGeom>
                <a:avLst/>
                <a:gdLst>
                  <a:gd name="T0" fmla="*/ 0 w 4400"/>
                  <a:gd name="T1" fmla="*/ 400 h 1188"/>
                  <a:gd name="T2" fmla="*/ 1190 w 4400"/>
                  <a:gd name="T3" fmla="*/ 72 h 1188"/>
                  <a:gd name="T4" fmla="*/ 1190 w 4400"/>
                  <a:gd name="T5" fmla="*/ 72 h 1188"/>
                  <a:gd name="T6" fmla="*/ 1236 w 4400"/>
                  <a:gd name="T7" fmla="*/ 66 h 1188"/>
                  <a:gd name="T8" fmla="*/ 1366 w 4400"/>
                  <a:gd name="T9" fmla="*/ 50 h 1188"/>
                  <a:gd name="T10" fmla="*/ 1460 w 4400"/>
                  <a:gd name="T11" fmla="*/ 40 h 1188"/>
                  <a:gd name="T12" fmla="*/ 1570 w 4400"/>
                  <a:gd name="T13" fmla="*/ 28 h 1188"/>
                  <a:gd name="T14" fmla="*/ 1694 w 4400"/>
                  <a:gd name="T15" fmla="*/ 20 h 1188"/>
                  <a:gd name="T16" fmla="*/ 1834 w 4400"/>
                  <a:gd name="T17" fmla="*/ 10 h 1188"/>
                  <a:gd name="T18" fmla="*/ 1986 w 4400"/>
                  <a:gd name="T19" fmla="*/ 4 h 1188"/>
                  <a:gd name="T20" fmla="*/ 2148 w 4400"/>
                  <a:gd name="T21" fmla="*/ 0 h 1188"/>
                  <a:gd name="T22" fmla="*/ 2320 w 4400"/>
                  <a:gd name="T23" fmla="*/ 0 h 1188"/>
                  <a:gd name="T24" fmla="*/ 2500 w 4400"/>
                  <a:gd name="T25" fmla="*/ 2 h 1188"/>
                  <a:gd name="T26" fmla="*/ 2592 w 4400"/>
                  <a:gd name="T27" fmla="*/ 6 h 1188"/>
                  <a:gd name="T28" fmla="*/ 2686 w 4400"/>
                  <a:gd name="T29" fmla="*/ 12 h 1188"/>
                  <a:gd name="T30" fmla="*/ 2782 w 4400"/>
                  <a:gd name="T31" fmla="*/ 18 h 1188"/>
                  <a:gd name="T32" fmla="*/ 2878 w 4400"/>
                  <a:gd name="T33" fmla="*/ 26 h 1188"/>
                  <a:gd name="T34" fmla="*/ 2974 w 4400"/>
                  <a:gd name="T35" fmla="*/ 34 h 1188"/>
                  <a:gd name="T36" fmla="*/ 3072 w 4400"/>
                  <a:gd name="T37" fmla="*/ 46 h 1188"/>
                  <a:gd name="T38" fmla="*/ 3172 w 4400"/>
                  <a:gd name="T39" fmla="*/ 58 h 1188"/>
                  <a:gd name="T40" fmla="*/ 3270 w 4400"/>
                  <a:gd name="T41" fmla="*/ 72 h 1188"/>
                  <a:gd name="T42" fmla="*/ 4400 w 4400"/>
                  <a:gd name="T43" fmla="*/ 376 h 1188"/>
                  <a:gd name="T44" fmla="*/ 4400 w 4400"/>
                  <a:gd name="T45" fmla="*/ 1188 h 1188"/>
                  <a:gd name="T46" fmla="*/ 0 w 4400"/>
                  <a:gd name="T47" fmla="*/ 1188 h 1188"/>
                  <a:gd name="T48" fmla="*/ 0 w 4400"/>
                  <a:gd name="T49" fmla="*/ 400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00" h="1188">
                    <a:moveTo>
                      <a:pt x="0" y="400"/>
                    </a:moveTo>
                    <a:lnTo>
                      <a:pt x="1190" y="72"/>
                    </a:lnTo>
                    <a:lnTo>
                      <a:pt x="1190" y="72"/>
                    </a:lnTo>
                    <a:lnTo>
                      <a:pt x="1236" y="66"/>
                    </a:lnTo>
                    <a:lnTo>
                      <a:pt x="1366" y="50"/>
                    </a:lnTo>
                    <a:lnTo>
                      <a:pt x="1460" y="40"/>
                    </a:lnTo>
                    <a:lnTo>
                      <a:pt x="1570" y="28"/>
                    </a:lnTo>
                    <a:lnTo>
                      <a:pt x="1694" y="20"/>
                    </a:lnTo>
                    <a:lnTo>
                      <a:pt x="1834" y="10"/>
                    </a:lnTo>
                    <a:lnTo>
                      <a:pt x="1986" y="4"/>
                    </a:lnTo>
                    <a:lnTo>
                      <a:pt x="2148" y="0"/>
                    </a:lnTo>
                    <a:lnTo>
                      <a:pt x="2320" y="0"/>
                    </a:lnTo>
                    <a:lnTo>
                      <a:pt x="2500" y="2"/>
                    </a:lnTo>
                    <a:lnTo>
                      <a:pt x="2592" y="6"/>
                    </a:lnTo>
                    <a:lnTo>
                      <a:pt x="2686" y="12"/>
                    </a:lnTo>
                    <a:lnTo>
                      <a:pt x="2782" y="18"/>
                    </a:lnTo>
                    <a:lnTo>
                      <a:pt x="2878" y="26"/>
                    </a:lnTo>
                    <a:lnTo>
                      <a:pt x="2974" y="34"/>
                    </a:lnTo>
                    <a:lnTo>
                      <a:pt x="3072" y="46"/>
                    </a:lnTo>
                    <a:lnTo>
                      <a:pt x="3172" y="58"/>
                    </a:lnTo>
                    <a:lnTo>
                      <a:pt x="3270" y="72"/>
                    </a:lnTo>
                    <a:lnTo>
                      <a:pt x="4400" y="376"/>
                    </a:lnTo>
                    <a:lnTo>
                      <a:pt x="4400" y="1188"/>
                    </a:lnTo>
                    <a:lnTo>
                      <a:pt x="0" y="1188"/>
                    </a:lnTo>
                    <a:lnTo>
                      <a:pt x="0" y="40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826" name="Group 1825"/>
              <p:cNvGrpSpPr>
                <a:grpSpLocks noChangeAspect="1"/>
              </p:cNvGrpSpPr>
              <p:nvPr/>
            </p:nvGrpSpPr>
            <p:grpSpPr>
              <a:xfrm rot="20838061">
                <a:off x="858418" y="5873222"/>
                <a:ext cx="120760" cy="83087"/>
                <a:chOff x="3933826" y="3522663"/>
                <a:chExt cx="742950" cy="511175"/>
              </a:xfrm>
              <a:solidFill>
                <a:schemeClr val="accent1"/>
              </a:solidFill>
            </p:grpSpPr>
            <p:sp>
              <p:nvSpPr>
                <p:cNvPr id="1934" name="Freeform 31"/>
                <p:cNvSpPr>
                  <a:spLocks noEditPoints="1"/>
                </p:cNvSpPr>
                <p:nvPr/>
              </p:nvSpPr>
              <p:spPr bwMode="auto">
                <a:xfrm>
                  <a:off x="3933826" y="3522663"/>
                  <a:ext cx="742950" cy="481013"/>
                </a:xfrm>
                <a:custGeom>
                  <a:avLst/>
                  <a:gdLst>
                    <a:gd name="T0" fmla="*/ 703 w 1873"/>
                    <a:gd name="T1" fmla="*/ 29 h 1216"/>
                    <a:gd name="T2" fmla="*/ 414 w 1873"/>
                    <a:gd name="T3" fmla="*/ 160 h 1216"/>
                    <a:gd name="T4" fmla="*/ 186 w 1873"/>
                    <a:gd name="T5" fmla="*/ 376 h 1216"/>
                    <a:gd name="T6" fmla="*/ 42 w 1873"/>
                    <a:gd name="T7" fmla="*/ 658 h 1216"/>
                    <a:gd name="T8" fmla="*/ 0 w 1873"/>
                    <a:gd name="T9" fmla="*/ 1082 h 1216"/>
                    <a:gd name="T10" fmla="*/ 22 w 1873"/>
                    <a:gd name="T11" fmla="*/ 1156 h 1216"/>
                    <a:gd name="T12" fmla="*/ 94 w 1873"/>
                    <a:gd name="T13" fmla="*/ 1210 h 1216"/>
                    <a:gd name="T14" fmla="*/ 670 w 1873"/>
                    <a:gd name="T15" fmla="*/ 1183 h 1216"/>
                    <a:gd name="T16" fmla="*/ 690 w 1873"/>
                    <a:gd name="T17" fmla="*/ 1092 h 1216"/>
                    <a:gd name="T18" fmla="*/ 767 w 1873"/>
                    <a:gd name="T19" fmla="*/ 991 h 1216"/>
                    <a:gd name="T20" fmla="*/ 857 w 1873"/>
                    <a:gd name="T21" fmla="*/ 942 h 1216"/>
                    <a:gd name="T22" fmla="*/ 936 w 1873"/>
                    <a:gd name="T23" fmla="*/ 930 h 1216"/>
                    <a:gd name="T24" fmla="*/ 1161 w 1873"/>
                    <a:gd name="T25" fmla="*/ 1054 h 1216"/>
                    <a:gd name="T26" fmla="*/ 1203 w 1873"/>
                    <a:gd name="T27" fmla="*/ 1196 h 1216"/>
                    <a:gd name="T28" fmla="*/ 1791 w 1873"/>
                    <a:gd name="T29" fmla="*/ 1205 h 1216"/>
                    <a:gd name="T30" fmla="*/ 1857 w 1873"/>
                    <a:gd name="T31" fmla="*/ 1145 h 1216"/>
                    <a:gd name="T32" fmla="*/ 1873 w 1873"/>
                    <a:gd name="T33" fmla="*/ 936 h 1216"/>
                    <a:gd name="T34" fmla="*/ 1815 w 1873"/>
                    <a:gd name="T35" fmla="*/ 615 h 1216"/>
                    <a:gd name="T36" fmla="*/ 1659 w 1873"/>
                    <a:gd name="T37" fmla="*/ 341 h 1216"/>
                    <a:gd name="T38" fmla="*/ 1421 w 1873"/>
                    <a:gd name="T39" fmla="*/ 135 h 1216"/>
                    <a:gd name="T40" fmla="*/ 1125 w 1873"/>
                    <a:gd name="T41" fmla="*/ 19 h 1216"/>
                    <a:gd name="T42" fmla="*/ 326 w 1873"/>
                    <a:gd name="T43" fmla="*/ 970 h 1216"/>
                    <a:gd name="T44" fmla="*/ 310 w 1873"/>
                    <a:gd name="T45" fmla="*/ 992 h 1216"/>
                    <a:gd name="T46" fmla="*/ 120 w 1873"/>
                    <a:gd name="T47" fmla="*/ 985 h 1216"/>
                    <a:gd name="T48" fmla="*/ 114 w 1873"/>
                    <a:gd name="T49" fmla="*/ 902 h 1216"/>
                    <a:gd name="T50" fmla="*/ 136 w 1873"/>
                    <a:gd name="T51" fmla="*/ 886 h 1216"/>
                    <a:gd name="T52" fmla="*/ 323 w 1873"/>
                    <a:gd name="T53" fmla="*/ 895 h 1216"/>
                    <a:gd name="T54" fmla="*/ 392 w 1873"/>
                    <a:gd name="T55" fmla="*/ 663 h 1216"/>
                    <a:gd name="T56" fmla="*/ 366 w 1873"/>
                    <a:gd name="T57" fmla="*/ 672 h 1216"/>
                    <a:gd name="T58" fmla="*/ 206 w 1873"/>
                    <a:gd name="T59" fmla="*/ 573 h 1216"/>
                    <a:gd name="T60" fmla="*/ 242 w 1873"/>
                    <a:gd name="T61" fmla="*/ 499 h 1216"/>
                    <a:gd name="T62" fmla="*/ 268 w 1873"/>
                    <a:gd name="T63" fmla="*/ 494 h 1216"/>
                    <a:gd name="T64" fmla="*/ 426 w 1873"/>
                    <a:gd name="T65" fmla="*/ 596 h 1216"/>
                    <a:gd name="T66" fmla="*/ 602 w 1873"/>
                    <a:gd name="T67" fmla="*/ 430 h 1216"/>
                    <a:gd name="T68" fmla="*/ 575 w 1873"/>
                    <a:gd name="T69" fmla="*/ 425 h 1216"/>
                    <a:gd name="T70" fmla="*/ 486 w 1873"/>
                    <a:gd name="T71" fmla="*/ 259 h 1216"/>
                    <a:gd name="T72" fmla="*/ 555 w 1873"/>
                    <a:gd name="T73" fmla="*/ 212 h 1216"/>
                    <a:gd name="T74" fmla="*/ 579 w 1873"/>
                    <a:gd name="T75" fmla="*/ 222 h 1216"/>
                    <a:gd name="T76" fmla="*/ 666 w 1873"/>
                    <a:gd name="T77" fmla="*/ 388 h 1216"/>
                    <a:gd name="T78" fmla="*/ 985 w 1873"/>
                    <a:gd name="T79" fmla="*/ 315 h 1216"/>
                    <a:gd name="T80" fmla="*/ 964 w 1873"/>
                    <a:gd name="T81" fmla="*/ 332 h 1216"/>
                    <a:gd name="T82" fmla="*/ 883 w 1873"/>
                    <a:gd name="T83" fmla="*/ 323 h 1216"/>
                    <a:gd name="T84" fmla="*/ 881 w 1873"/>
                    <a:gd name="T85" fmla="*/ 133 h 1216"/>
                    <a:gd name="T86" fmla="*/ 964 w 1873"/>
                    <a:gd name="T87" fmla="*/ 120 h 1216"/>
                    <a:gd name="T88" fmla="*/ 984 w 1873"/>
                    <a:gd name="T89" fmla="*/ 133 h 1216"/>
                    <a:gd name="T90" fmla="*/ 1290 w 1873"/>
                    <a:gd name="T91" fmla="*/ 425 h 1216"/>
                    <a:gd name="T92" fmla="*/ 1263 w 1873"/>
                    <a:gd name="T93" fmla="*/ 430 h 1216"/>
                    <a:gd name="T94" fmla="*/ 1198 w 1873"/>
                    <a:gd name="T95" fmla="*/ 380 h 1216"/>
                    <a:gd name="T96" fmla="*/ 1291 w 1873"/>
                    <a:gd name="T97" fmla="*/ 216 h 1216"/>
                    <a:gd name="T98" fmla="*/ 1370 w 1873"/>
                    <a:gd name="T99" fmla="*/ 245 h 1216"/>
                    <a:gd name="T100" fmla="*/ 1380 w 1873"/>
                    <a:gd name="T101" fmla="*/ 267 h 1216"/>
                    <a:gd name="T102" fmla="*/ 1440 w 1873"/>
                    <a:gd name="T103" fmla="*/ 604 h 1216"/>
                    <a:gd name="T104" fmla="*/ 1449 w 1873"/>
                    <a:gd name="T105" fmla="*/ 579 h 1216"/>
                    <a:gd name="T106" fmla="*/ 1616 w 1873"/>
                    <a:gd name="T107" fmla="*/ 493 h 1216"/>
                    <a:gd name="T108" fmla="*/ 1660 w 1873"/>
                    <a:gd name="T109" fmla="*/ 564 h 1216"/>
                    <a:gd name="T110" fmla="*/ 1503 w 1873"/>
                    <a:gd name="T111" fmla="*/ 670 h 1216"/>
                    <a:gd name="T112" fmla="*/ 1479 w 1873"/>
                    <a:gd name="T113" fmla="*/ 669 h 1216"/>
                    <a:gd name="T114" fmla="*/ 1750 w 1873"/>
                    <a:gd name="T115" fmla="*/ 978 h 1216"/>
                    <a:gd name="T116" fmla="*/ 1560 w 1873"/>
                    <a:gd name="T117" fmla="*/ 992 h 1216"/>
                    <a:gd name="T118" fmla="*/ 1541 w 1873"/>
                    <a:gd name="T119" fmla="*/ 978 h 1216"/>
                    <a:gd name="T120" fmla="*/ 1543 w 1873"/>
                    <a:gd name="T121" fmla="*/ 895 h 1216"/>
                    <a:gd name="T122" fmla="*/ 1730 w 1873"/>
                    <a:gd name="T123" fmla="*/ 886 h 1216"/>
                    <a:gd name="T124" fmla="*/ 1751 w 1873"/>
                    <a:gd name="T125" fmla="*/ 902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3" h="1216">
                      <a:moveTo>
                        <a:pt x="936" y="0"/>
                      </a:moveTo>
                      <a:lnTo>
                        <a:pt x="936" y="0"/>
                      </a:lnTo>
                      <a:lnTo>
                        <a:pt x="888" y="1"/>
                      </a:lnTo>
                      <a:lnTo>
                        <a:pt x="841" y="5"/>
                      </a:lnTo>
                      <a:lnTo>
                        <a:pt x="794" y="11"/>
                      </a:lnTo>
                      <a:lnTo>
                        <a:pt x="748" y="19"/>
                      </a:lnTo>
                      <a:lnTo>
                        <a:pt x="703" y="29"/>
                      </a:lnTo>
                      <a:lnTo>
                        <a:pt x="659" y="43"/>
                      </a:lnTo>
                      <a:lnTo>
                        <a:pt x="614" y="57"/>
                      </a:lnTo>
                      <a:lnTo>
                        <a:pt x="572" y="73"/>
                      </a:lnTo>
                      <a:lnTo>
                        <a:pt x="531" y="92"/>
                      </a:lnTo>
                      <a:lnTo>
                        <a:pt x="491" y="114"/>
                      </a:lnTo>
                      <a:lnTo>
                        <a:pt x="451" y="135"/>
                      </a:lnTo>
                      <a:lnTo>
                        <a:pt x="414" y="160"/>
                      </a:lnTo>
                      <a:lnTo>
                        <a:pt x="377" y="187"/>
                      </a:lnTo>
                      <a:lnTo>
                        <a:pt x="342" y="214"/>
                      </a:lnTo>
                      <a:lnTo>
                        <a:pt x="307" y="243"/>
                      </a:lnTo>
                      <a:lnTo>
                        <a:pt x="275" y="274"/>
                      </a:lnTo>
                      <a:lnTo>
                        <a:pt x="244" y="307"/>
                      </a:lnTo>
                      <a:lnTo>
                        <a:pt x="214" y="341"/>
                      </a:lnTo>
                      <a:lnTo>
                        <a:pt x="186" y="376"/>
                      </a:lnTo>
                      <a:lnTo>
                        <a:pt x="160" y="413"/>
                      </a:lnTo>
                      <a:lnTo>
                        <a:pt x="136" y="451"/>
                      </a:lnTo>
                      <a:lnTo>
                        <a:pt x="113" y="490"/>
                      </a:lnTo>
                      <a:lnTo>
                        <a:pt x="92" y="530"/>
                      </a:lnTo>
                      <a:lnTo>
                        <a:pt x="74" y="573"/>
                      </a:lnTo>
                      <a:lnTo>
                        <a:pt x="56" y="615"/>
                      </a:lnTo>
                      <a:lnTo>
                        <a:pt x="42" y="658"/>
                      </a:lnTo>
                      <a:lnTo>
                        <a:pt x="30" y="702"/>
                      </a:lnTo>
                      <a:lnTo>
                        <a:pt x="19" y="748"/>
                      </a:lnTo>
                      <a:lnTo>
                        <a:pt x="11" y="794"/>
                      </a:lnTo>
                      <a:lnTo>
                        <a:pt x="5" y="840"/>
                      </a:lnTo>
                      <a:lnTo>
                        <a:pt x="1" y="889"/>
                      </a:lnTo>
                      <a:lnTo>
                        <a:pt x="0" y="936"/>
                      </a:lnTo>
                      <a:lnTo>
                        <a:pt x="0" y="1082"/>
                      </a:lnTo>
                      <a:lnTo>
                        <a:pt x="0" y="1082"/>
                      </a:lnTo>
                      <a:lnTo>
                        <a:pt x="1" y="1096"/>
                      </a:lnTo>
                      <a:lnTo>
                        <a:pt x="3" y="1109"/>
                      </a:lnTo>
                      <a:lnTo>
                        <a:pt x="6" y="1121"/>
                      </a:lnTo>
                      <a:lnTo>
                        <a:pt x="10" y="1134"/>
                      </a:lnTo>
                      <a:lnTo>
                        <a:pt x="16" y="1145"/>
                      </a:lnTo>
                      <a:lnTo>
                        <a:pt x="22" y="1156"/>
                      </a:lnTo>
                      <a:lnTo>
                        <a:pt x="31" y="1167"/>
                      </a:lnTo>
                      <a:lnTo>
                        <a:pt x="39" y="1176"/>
                      </a:lnTo>
                      <a:lnTo>
                        <a:pt x="49" y="1185"/>
                      </a:lnTo>
                      <a:lnTo>
                        <a:pt x="59" y="1192"/>
                      </a:lnTo>
                      <a:lnTo>
                        <a:pt x="70" y="1199"/>
                      </a:lnTo>
                      <a:lnTo>
                        <a:pt x="82" y="1205"/>
                      </a:lnTo>
                      <a:lnTo>
                        <a:pt x="94" y="1210"/>
                      </a:lnTo>
                      <a:lnTo>
                        <a:pt x="107" y="1213"/>
                      </a:lnTo>
                      <a:lnTo>
                        <a:pt x="120" y="1215"/>
                      </a:lnTo>
                      <a:lnTo>
                        <a:pt x="134" y="1216"/>
                      </a:lnTo>
                      <a:lnTo>
                        <a:pt x="670" y="1216"/>
                      </a:lnTo>
                      <a:lnTo>
                        <a:pt x="670" y="1196"/>
                      </a:lnTo>
                      <a:lnTo>
                        <a:pt x="670" y="1196"/>
                      </a:lnTo>
                      <a:lnTo>
                        <a:pt x="670" y="1183"/>
                      </a:lnTo>
                      <a:lnTo>
                        <a:pt x="671" y="1170"/>
                      </a:lnTo>
                      <a:lnTo>
                        <a:pt x="673" y="1156"/>
                      </a:lnTo>
                      <a:lnTo>
                        <a:pt x="675" y="1143"/>
                      </a:lnTo>
                      <a:lnTo>
                        <a:pt x="678" y="1129"/>
                      </a:lnTo>
                      <a:lnTo>
                        <a:pt x="681" y="1117"/>
                      </a:lnTo>
                      <a:lnTo>
                        <a:pt x="685" y="1105"/>
                      </a:lnTo>
                      <a:lnTo>
                        <a:pt x="690" y="1092"/>
                      </a:lnTo>
                      <a:lnTo>
                        <a:pt x="696" y="1081"/>
                      </a:lnTo>
                      <a:lnTo>
                        <a:pt x="702" y="1070"/>
                      </a:lnTo>
                      <a:lnTo>
                        <a:pt x="708" y="1058"/>
                      </a:lnTo>
                      <a:lnTo>
                        <a:pt x="715" y="1047"/>
                      </a:lnTo>
                      <a:lnTo>
                        <a:pt x="731" y="1027"/>
                      </a:lnTo>
                      <a:lnTo>
                        <a:pt x="748" y="1008"/>
                      </a:lnTo>
                      <a:lnTo>
                        <a:pt x="767" y="991"/>
                      </a:lnTo>
                      <a:lnTo>
                        <a:pt x="787" y="975"/>
                      </a:lnTo>
                      <a:lnTo>
                        <a:pt x="799" y="968"/>
                      </a:lnTo>
                      <a:lnTo>
                        <a:pt x="809" y="962"/>
                      </a:lnTo>
                      <a:lnTo>
                        <a:pt x="821" y="956"/>
                      </a:lnTo>
                      <a:lnTo>
                        <a:pt x="832" y="950"/>
                      </a:lnTo>
                      <a:lnTo>
                        <a:pt x="845" y="946"/>
                      </a:lnTo>
                      <a:lnTo>
                        <a:pt x="857" y="942"/>
                      </a:lnTo>
                      <a:lnTo>
                        <a:pt x="870" y="938"/>
                      </a:lnTo>
                      <a:lnTo>
                        <a:pt x="883" y="935"/>
                      </a:lnTo>
                      <a:lnTo>
                        <a:pt x="895" y="933"/>
                      </a:lnTo>
                      <a:lnTo>
                        <a:pt x="909" y="931"/>
                      </a:lnTo>
                      <a:lnTo>
                        <a:pt x="923" y="930"/>
                      </a:lnTo>
                      <a:lnTo>
                        <a:pt x="936" y="930"/>
                      </a:lnTo>
                      <a:lnTo>
                        <a:pt x="936" y="930"/>
                      </a:lnTo>
                      <a:lnTo>
                        <a:pt x="948" y="931"/>
                      </a:lnTo>
                      <a:lnTo>
                        <a:pt x="959" y="932"/>
                      </a:lnTo>
                      <a:lnTo>
                        <a:pt x="1316" y="515"/>
                      </a:lnTo>
                      <a:lnTo>
                        <a:pt x="1351" y="537"/>
                      </a:lnTo>
                      <a:lnTo>
                        <a:pt x="1148" y="1037"/>
                      </a:lnTo>
                      <a:lnTo>
                        <a:pt x="1148" y="1037"/>
                      </a:lnTo>
                      <a:lnTo>
                        <a:pt x="1161" y="1054"/>
                      </a:lnTo>
                      <a:lnTo>
                        <a:pt x="1171" y="1072"/>
                      </a:lnTo>
                      <a:lnTo>
                        <a:pt x="1180" y="1091"/>
                      </a:lnTo>
                      <a:lnTo>
                        <a:pt x="1189" y="1111"/>
                      </a:lnTo>
                      <a:lnTo>
                        <a:pt x="1195" y="1132"/>
                      </a:lnTo>
                      <a:lnTo>
                        <a:pt x="1199" y="1152"/>
                      </a:lnTo>
                      <a:lnTo>
                        <a:pt x="1202" y="1174"/>
                      </a:lnTo>
                      <a:lnTo>
                        <a:pt x="1203" y="1196"/>
                      </a:lnTo>
                      <a:lnTo>
                        <a:pt x="1203" y="1216"/>
                      </a:lnTo>
                      <a:lnTo>
                        <a:pt x="1739" y="1216"/>
                      </a:lnTo>
                      <a:lnTo>
                        <a:pt x="1739" y="1216"/>
                      </a:lnTo>
                      <a:lnTo>
                        <a:pt x="1753" y="1215"/>
                      </a:lnTo>
                      <a:lnTo>
                        <a:pt x="1766" y="1213"/>
                      </a:lnTo>
                      <a:lnTo>
                        <a:pt x="1778" y="1210"/>
                      </a:lnTo>
                      <a:lnTo>
                        <a:pt x="1791" y="1205"/>
                      </a:lnTo>
                      <a:lnTo>
                        <a:pt x="1803" y="1199"/>
                      </a:lnTo>
                      <a:lnTo>
                        <a:pt x="1813" y="1192"/>
                      </a:lnTo>
                      <a:lnTo>
                        <a:pt x="1824" y="1185"/>
                      </a:lnTo>
                      <a:lnTo>
                        <a:pt x="1834" y="1176"/>
                      </a:lnTo>
                      <a:lnTo>
                        <a:pt x="1842" y="1167"/>
                      </a:lnTo>
                      <a:lnTo>
                        <a:pt x="1850" y="1156"/>
                      </a:lnTo>
                      <a:lnTo>
                        <a:pt x="1857" y="1145"/>
                      </a:lnTo>
                      <a:lnTo>
                        <a:pt x="1863" y="1134"/>
                      </a:lnTo>
                      <a:lnTo>
                        <a:pt x="1867" y="1121"/>
                      </a:lnTo>
                      <a:lnTo>
                        <a:pt x="1870" y="1109"/>
                      </a:lnTo>
                      <a:lnTo>
                        <a:pt x="1872" y="1096"/>
                      </a:lnTo>
                      <a:lnTo>
                        <a:pt x="1873" y="1082"/>
                      </a:lnTo>
                      <a:lnTo>
                        <a:pt x="1873" y="936"/>
                      </a:lnTo>
                      <a:lnTo>
                        <a:pt x="1873" y="936"/>
                      </a:lnTo>
                      <a:lnTo>
                        <a:pt x="1872" y="889"/>
                      </a:lnTo>
                      <a:lnTo>
                        <a:pt x="1868" y="840"/>
                      </a:lnTo>
                      <a:lnTo>
                        <a:pt x="1862" y="794"/>
                      </a:lnTo>
                      <a:lnTo>
                        <a:pt x="1854" y="748"/>
                      </a:lnTo>
                      <a:lnTo>
                        <a:pt x="1843" y="702"/>
                      </a:lnTo>
                      <a:lnTo>
                        <a:pt x="1831" y="658"/>
                      </a:lnTo>
                      <a:lnTo>
                        <a:pt x="1815" y="615"/>
                      </a:lnTo>
                      <a:lnTo>
                        <a:pt x="1799" y="573"/>
                      </a:lnTo>
                      <a:lnTo>
                        <a:pt x="1780" y="530"/>
                      </a:lnTo>
                      <a:lnTo>
                        <a:pt x="1760" y="490"/>
                      </a:lnTo>
                      <a:lnTo>
                        <a:pt x="1737" y="451"/>
                      </a:lnTo>
                      <a:lnTo>
                        <a:pt x="1713" y="413"/>
                      </a:lnTo>
                      <a:lnTo>
                        <a:pt x="1687" y="376"/>
                      </a:lnTo>
                      <a:lnTo>
                        <a:pt x="1659" y="341"/>
                      </a:lnTo>
                      <a:lnTo>
                        <a:pt x="1629" y="307"/>
                      </a:lnTo>
                      <a:lnTo>
                        <a:pt x="1598" y="274"/>
                      </a:lnTo>
                      <a:lnTo>
                        <a:pt x="1565" y="243"/>
                      </a:lnTo>
                      <a:lnTo>
                        <a:pt x="1531" y="214"/>
                      </a:lnTo>
                      <a:lnTo>
                        <a:pt x="1496" y="187"/>
                      </a:lnTo>
                      <a:lnTo>
                        <a:pt x="1459" y="160"/>
                      </a:lnTo>
                      <a:lnTo>
                        <a:pt x="1421" y="135"/>
                      </a:lnTo>
                      <a:lnTo>
                        <a:pt x="1382" y="114"/>
                      </a:lnTo>
                      <a:lnTo>
                        <a:pt x="1342" y="92"/>
                      </a:lnTo>
                      <a:lnTo>
                        <a:pt x="1301" y="73"/>
                      </a:lnTo>
                      <a:lnTo>
                        <a:pt x="1259" y="57"/>
                      </a:lnTo>
                      <a:lnTo>
                        <a:pt x="1214" y="43"/>
                      </a:lnTo>
                      <a:lnTo>
                        <a:pt x="1170" y="29"/>
                      </a:lnTo>
                      <a:lnTo>
                        <a:pt x="1125" y="19"/>
                      </a:lnTo>
                      <a:lnTo>
                        <a:pt x="1078" y="11"/>
                      </a:lnTo>
                      <a:lnTo>
                        <a:pt x="1032" y="5"/>
                      </a:lnTo>
                      <a:lnTo>
                        <a:pt x="985" y="1"/>
                      </a:lnTo>
                      <a:lnTo>
                        <a:pt x="936" y="0"/>
                      </a:lnTo>
                      <a:lnTo>
                        <a:pt x="936" y="0"/>
                      </a:lnTo>
                      <a:close/>
                      <a:moveTo>
                        <a:pt x="326" y="970"/>
                      </a:moveTo>
                      <a:lnTo>
                        <a:pt x="326" y="970"/>
                      </a:lnTo>
                      <a:lnTo>
                        <a:pt x="326" y="975"/>
                      </a:lnTo>
                      <a:lnTo>
                        <a:pt x="324" y="978"/>
                      </a:lnTo>
                      <a:lnTo>
                        <a:pt x="323" y="982"/>
                      </a:lnTo>
                      <a:lnTo>
                        <a:pt x="320" y="985"/>
                      </a:lnTo>
                      <a:lnTo>
                        <a:pt x="317" y="987"/>
                      </a:lnTo>
                      <a:lnTo>
                        <a:pt x="313" y="990"/>
                      </a:lnTo>
                      <a:lnTo>
                        <a:pt x="310" y="992"/>
                      </a:lnTo>
                      <a:lnTo>
                        <a:pt x="304" y="992"/>
                      </a:lnTo>
                      <a:lnTo>
                        <a:pt x="136" y="992"/>
                      </a:lnTo>
                      <a:lnTo>
                        <a:pt x="136" y="992"/>
                      </a:lnTo>
                      <a:lnTo>
                        <a:pt x="131" y="992"/>
                      </a:lnTo>
                      <a:lnTo>
                        <a:pt x="127" y="990"/>
                      </a:lnTo>
                      <a:lnTo>
                        <a:pt x="123" y="987"/>
                      </a:lnTo>
                      <a:lnTo>
                        <a:pt x="120" y="985"/>
                      </a:lnTo>
                      <a:lnTo>
                        <a:pt x="118" y="982"/>
                      </a:lnTo>
                      <a:lnTo>
                        <a:pt x="116" y="978"/>
                      </a:lnTo>
                      <a:lnTo>
                        <a:pt x="114" y="975"/>
                      </a:lnTo>
                      <a:lnTo>
                        <a:pt x="114" y="970"/>
                      </a:lnTo>
                      <a:lnTo>
                        <a:pt x="114" y="907"/>
                      </a:lnTo>
                      <a:lnTo>
                        <a:pt x="114" y="907"/>
                      </a:lnTo>
                      <a:lnTo>
                        <a:pt x="114" y="902"/>
                      </a:lnTo>
                      <a:lnTo>
                        <a:pt x="116" y="899"/>
                      </a:lnTo>
                      <a:lnTo>
                        <a:pt x="118" y="895"/>
                      </a:lnTo>
                      <a:lnTo>
                        <a:pt x="120" y="892"/>
                      </a:lnTo>
                      <a:lnTo>
                        <a:pt x="123" y="889"/>
                      </a:lnTo>
                      <a:lnTo>
                        <a:pt x="127" y="888"/>
                      </a:lnTo>
                      <a:lnTo>
                        <a:pt x="131" y="886"/>
                      </a:lnTo>
                      <a:lnTo>
                        <a:pt x="136" y="886"/>
                      </a:lnTo>
                      <a:lnTo>
                        <a:pt x="304" y="886"/>
                      </a:lnTo>
                      <a:lnTo>
                        <a:pt x="304" y="886"/>
                      </a:lnTo>
                      <a:lnTo>
                        <a:pt x="310" y="886"/>
                      </a:lnTo>
                      <a:lnTo>
                        <a:pt x="313" y="888"/>
                      </a:lnTo>
                      <a:lnTo>
                        <a:pt x="317" y="889"/>
                      </a:lnTo>
                      <a:lnTo>
                        <a:pt x="320" y="892"/>
                      </a:lnTo>
                      <a:lnTo>
                        <a:pt x="323" y="895"/>
                      </a:lnTo>
                      <a:lnTo>
                        <a:pt x="324" y="899"/>
                      </a:lnTo>
                      <a:lnTo>
                        <a:pt x="326" y="902"/>
                      </a:lnTo>
                      <a:lnTo>
                        <a:pt x="326" y="907"/>
                      </a:lnTo>
                      <a:lnTo>
                        <a:pt x="326" y="970"/>
                      </a:lnTo>
                      <a:close/>
                      <a:moveTo>
                        <a:pt x="423" y="608"/>
                      </a:moveTo>
                      <a:lnTo>
                        <a:pt x="392" y="663"/>
                      </a:lnTo>
                      <a:lnTo>
                        <a:pt x="392" y="663"/>
                      </a:lnTo>
                      <a:lnTo>
                        <a:pt x="389" y="666"/>
                      </a:lnTo>
                      <a:lnTo>
                        <a:pt x="386" y="669"/>
                      </a:lnTo>
                      <a:lnTo>
                        <a:pt x="383" y="671"/>
                      </a:lnTo>
                      <a:lnTo>
                        <a:pt x="379" y="672"/>
                      </a:lnTo>
                      <a:lnTo>
                        <a:pt x="374" y="674"/>
                      </a:lnTo>
                      <a:lnTo>
                        <a:pt x="370" y="674"/>
                      </a:lnTo>
                      <a:lnTo>
                        <a:pt x="366" y="672"/>
                      </a:lnTo>
                      <a:lnTo>
                        <a:pt x="362" y="670"/>
                      </a:lnTo>
                      <a:lnTo>
                        <a:pt x="216" y="586"/>
                      </a:lnTo>
                      <a:lnTo>
                        <a:pt x="216" y="586"/>
                      </a:lnTo>
                      <a:lnTo>
                        <a:pt x="212" y="583"/>
                      </a:lnTo>
                      <a:lnTo>
                        <a:pt x="210" y="580"/>
                      </a:lnTo>
                      <a:lnTo>
                        <a:pt x="207" y="577"/>
                      </a:lnTo>
                      <a:lnTo>
                        <a:pt x="206" y="573"/>
                      </a:lnTo>
                      <a:lnTo>
                        <a:pt x="205" y="569"/>
                      </a:lnTo>
                      <a:lnTo>
                        <a:pt x="205" y="564"/>
                      </a:lnTo>
                      <a:lnTo>
                        <a:pt x="206" y="561"/>
                      </a:lnTo>
                      <a:lnTo>
                        <a:pt x="208" y="557"/>
                      </a:lnTo>
                      <a:lnTo>
                        <a:pt x="240" y="502"/>
                      </a:lnTo>
                      <a:lnTo>
                        <a:pt x="240" y="502"/>
                      </a:lnTo>
                      <a:lnTo>
                        <a:pt x="242" y="499"/>
                      </a:lnTo>
                      <a:lnTo>
                        <a:pt x="245" y="495"/>
                      </a:lnTo>
                      <a:lnTo>
                        <a:pt x="249" y="493"/>
                      </a:lnTo>
                      <a:lnTo>
                        <a:pt x="252" y="492"/>
                      </a:lnTo>
                      <a:lnTo>
                        <a:pt x="256" y="491"/>
                      </a:lnTo>
                      <a:lnTo>
                        <a:pt x="260" y="491"/>
                      </a:lnTo>
                      <a:lnTo>
                        <a:pt x="264" y="492"/>
                      </a:lnTo>
                      <a:lnTo>
                        <a:pt x="268" y="494"/>
                      </a:lnTo>
                      <a:lnTo>
                        <a:pt x="416" y="579"/>
                      </a:lnTo>
                      <a:lnTo>
                        <a:pt x="416" y="579"/>
                      </a:lnTo>
                      <a:lnTo>
                        <a:pt x="419" y="582"/>
                      </a:lnTo>
                      <a:lnTo>
                        <a:pt x="422" y="584"/>
                      </a:lnTo>
                      <a:lnTo>
                        <a:pt x="424" y="588"/>
                      </a:lnTo>
                      <a:lnTo>
                        <a:pt x="425" y="592"/>
                      </a:lnTo>
                      <a:lnTo>
                        <a:pt x="426" y="596"/>
                      </a:lnTo>
                      <a:lnTo>
                        <a:pt x="426" y="600"/>
                      </a:lnTo>
                      <a:lnTo>
                        <a:pt x="425" y="604"/>
                      </a:lnTo>
                      <a:lnTo>
                        <a:pt x="423" y="608"/>
                      </a:lnTo>
                      <a:lnTo>
                        <a:pt x="423" y="608"/>
                      </a:lnTo>
                      <a:close/>
                      <a:moveTo>
                        <a:pt x="656" y="398"/>
                      </a:moveTo>
                      <a:lnTo>
                        <a:pt x="602" y="430"/>
                      </a:lnTo>
                      <a:lnTo>
                        <a:pt x="602" y="430"/>
                      </a:lnTo>
                      <a:lnTo>
                        <a:pt x="598" y="432"/>
                      </a:lnTo>
                      <a:lnTo>
                        <a:pt x="594" y="432"/>
                      </a:lnTo>
                      <a:lnTo>
                        <a:pt x="590" y="433"/>
                      </a:lnTo>
                      <a:lnTo>
                        <a:pt x="585" y="432"/>
                      </a:lnTo>
                      <a:lnTo>
                        <a:pt x="582" y="431"/>
                      </a:lnTo>
                      <a:lnTo>
                        <a:pt x="578" y="428"/>
                      </a:lnTo>
                      <a:lnTo>
                        <a:pt x="575" y="425"/>
                      </a:lnTo>
                      <a:lnTo>
                        <a:pt x="573" y="421"/>
                      </a:lnTo>
                      <a:lnTo>
                        <a:pt x="488" y="274"/>
                      </a:lnTo>
                      <a:lnTo>
                        <a:pt x="488" y="274"/>
                      </a:lnTo>
                      <a:lnTo>
                        <a:pt x="486" y="271"/>
                      </a:lnTo>
                      <a:lnTo>
                        <a:pt x="486" y="267"/>
                      </a:lnTo>
                      <a:lnTo>
                        <a:pt x="486" y="263"/>
                      </a:lnTo>
                      <a:lnTo>
                        <a:pt x="486" y="259"/>
                      </a:lnTo>
                      <a:lnTo>
                        <a:pt x="488" y="255"/>
                      </a:lnTo>
                      <a:lnTo>
                        <a:pt x="490" y="252"/>
                      </a:lnTo>
                      <a:lnTo>
                        <a:pt x="492" y="248"/>
                      </a:lnTo>
                      <a:lnTo>
                        <a:pt x="496" y="245"/>
                      </a:lnTo>
                      <a:lnTo>
                        <a:pt x="550" y="213"/>
                      </a:lnTo>
                      <a:lnTo>
                        <a:pt x="550" y="213"/>
                      </a:lnTo>
                      <a:lnTo>
                        <a:pt x="555" y="212"/>
                      </a:lnTo>
                      <a:lnTo>
                        <a:pt x="559" y="211"/>
                      </a:lnTo>
                      <a:lnTo>
                        <a:pt x="563" y="211"/>
                      </a:lnTo>
                      <a:lnTo>
                        <a:pt x="567" y="211"/>
                      </a:lnTo>
                      <a:lnTo>
                        <a:pt x="571" y="213"/>
                      </a:lnTo>
                      <a:lnTo>
                        <a:pt x="574" y="216"/>
                      </a:lnTo>
                      <a:lnTo>
                        <a:pt x="577" y="219"/>
                      </a:lnTo>
                      <a:lnTo>
                        <a:pt x="579" y="222"/>
                      </a:lnTo>
                      <a:lnTo>
                        <a:pt x="665" y="369"/>
                      </a:lnTo>
                      <a:lnTo>
                        <a:pt x="665" y="369"/>
                      </a:lnTo>
                      <a:lnTo>
                        <a:pt x="667" y="373"/>
                      </a:lnTo>
                      <a:lnTo>
                        <a:pt x="667" y="377"/>
                      </a:lnTo>
                      <a:lnTo>
                        <a:pt x="668" y="381"/>
                      </a:lnTo>
                      <a:lnTo>
                        <a:pt x="667" y="384"/>
                      </a:lnTo>
                      <a:lnTo>
                        <a:pt x="666" y="388"/>
                      </a:lnTo>
                      <a:lnTo>
                        <a:pt x="663" y="393"/>
                      </a:lnTo>
                      <a:lnTo>
                        <a:pt x="661" y="396"/>
                      </a:lnTo>
                      <a:lnTo>
                        <a:pt x="656" y="398"/>
                      </a:lnTo>
                      <a:lnTo>
                        <a:pt x="656" y="398"/>
                      </a:lnTo>
                      <a:close/>
                      <a:moveTo>
                        <a:pt x="986" y="311"/>
                      </a:moveTo>
                      <a:lnTo>
                        <a:pt x="986" y="311"/>
                      </a:lnTo>
                      <a:lnTo>
                        <a:pt x="985" y="315"/>
                      </a:lnTo>
                      <a:lnTo>
                        <a:pt x="984" y="319"/>
                      </a:lnTo>
                      <a:lnTo>
                        <a:pt x="982" y="323"/>
                      </a:lnTo>
                      <a:lnTo>
                        <a:pt x="980" y="326"/>
                      </a:lnTo>
                      <a:lnTo>
                        <a:pt x="976" y="329"/>
                      </a:lnTo>
                      <a:lnTo>
                        <a:pt x="972" y="331"/>
                      </a:lnTo>
                      <a:lnTo>
                        <a:pt x="968" y="332"/>
                      </a:lnTo>
                      <a:lnTo>
                        <a:pt x="964" y="332"/>
                      </a:lnTo>
                      <a:lnTo>
                        <a:pt x="900" y="332"/>
                      </a:lnTo>
                      <a:lnTo>
                        <a:pt x="900" y="332"/>
                      </a:lnTo>
                      <a:lnTo>
                        <a:pt x="896" y="332"/>
                      </a:lnTo>
                      <a:lnTo>
                        <a:pt x="892" y="331"/>
                      </a:lnTo>
                      <a:lnTo>
                        <a:pt x="889" y="329"/>
                      </a:lnTo>
                      <a:lnTo>
                        <a:pt x="886" y="326"/>
                      </a:lnTo>
                      <a:lnTo>
                        <a:pt x="883" y="323"/>
                      </a:lnTo>
                      <a:lnTo>
                        <a:pt x="881" y="319"/>
                      </a:lnTo>
                      <a:lnTo>
                        <a:pt x="880" y="315"/>
                      </a:lnTo>
                      <a:lnTo>
                        <a:pt x="880" y="311"/>
                      </a:lnTo>
                      <a:lnTo>
                        <a:pt x="880" y="141"/>
                      </a:lnTo>
                      <a:lnTo>
                        <a:pt x="880" y="141"/>
                      </a:lnTo>
                      <a:lnTo>
                        <a:pt x="880" y="137"/>
                      </a:lnTo>
                      <a:lnTo>
                        <a:pt x="881" y="133"/>
                      </a:lnTo>
                      <a:lnTo>
                        <a:pt x="883" y="129"/>
                      </a:lnTo>
                      <a:lnTo>
                        <a:pt x="886" y="126"/>
                      </a:lnTo>
                      <a:lnTo>
                        <a:pt x="889" y="124"/>
                      </a:lnTo>
                      <a:lnTo>
                        <a:pt x="892" y="122"/>
                      </a:lnTo>
                      <a:lnTo>
                        <a:pt x="896" y="121"/>
                      </a:lnTo>
                      <a:lnTo>
                        <a:pt x="900" y="120"/>
                      </a:lnTo>
                      <a:lnTo>
                        <a:pt x="964" y="120"/>
                      </a:lnTo>
                      <a:lnTo>
                        <a:pt x="964" y="120"/>
                      </a:lnTo>
                      <a:lnTo>
                        <a:pt x="968" y="121"/>
                      </a:lnTo>
                      <a:lnTo>
                        <a:pt x="972" y="122"/>
                      </a:lnTo>
                      <a:lnTo>
                        <a:pt x="976" y="124"/>
                      </a:lnTo>
                      <a:lnTo>
                        <a:pt x="980" y="126"/>
                      </a:lnTo>
                      <a:lnTo>
                        <a:pt x="982" y="129"/>
                      </a:lnTo>
                      <a:lnTo>
                        <a:pt x="984" y="133"/>
                      </a:lnTo>
                      <a:lnTo>
                        <a:pt x="985" y="137"/>
                      </a:lnTo>
                      <a:lnTo>
                        <a:pt x="986" y="141"/>
                      </a:lnTo>
                      <a:lnTo>
                        <a:pt x="986" y="311"/>
                      </a:lnTo>
                      <a:close/>
                      <a:moveTo>
                        <a:pt x="1377" y="274"/>
                      </a:moveTo>
                      <a:lnTo>
                        <a:pt x="1292" y="421"/>
                      </a:lnTo>
                      <a:lnTo>
                        <a:pt x="1292" y="421"/>
                      </a:lnTo>
                      <a:lnTo>
                        <a:pt x="1290" y="425"/>
                      </a:lnTo>
                      <a:lnTo>
                        <a:pt x="1286" y="428"/>
                      </a:lnTo>
                      <a:lnTo>
                        <a:pt x="1283" y="430"/>
                      </a:lnTo>
                      <a:lnTo>
                        <a:pt x="1279" y="432"/>
                      </a:lnTo>
                      <a:lnTo>
                        <a:pt x="1275" y="432"/>
                      </a:lnTo>
                      <a:lnTo>
                        <a:pt x="1271" y="432"/>
                      </a:lnTo>
                      <a:lnTo>
                        <a:pt x="1267" y="432"/>
                      </a:lnTo>
                      <a:lnTo>
                        <a:pt x="1263" y="430"/>
                      </a:lnTo>
                      <a:lnTo>
                        <a:pt x="1208" y="398"/>
                      </a:lnTo>
                      <a:lnTo>
                        <a:pt x="1208" y="398"/>
                      </a:lnTo>
                      <a:lnTo>
                        <a:pt x="1204" y="395"/>
                      </a:lnTo>
                      <a:lnTo>
                        <a:pt x="1202" y="393"/>
                      </a:lnTo>
                      <a:lnTo>
                        <a:pt x="1200" y="388"/>
                      </a:lnTo>
                      <a:lnTo>
                        <a:pt x="1198" y="384"/>
                      </a:lnTo>
                      <a:lnTo>
                        <a:pt x="1198" y="380"/>
                      </a:lnTo>
                      <a:lnTo>
                        <a:pt x="1198" y="376"/>
                      </a:lnTo>
                      <a:lnTo>
                        <a:pt x="1199" y="373"/>
                      </a:lnTo>
                      <a:lnTo>
                        <a:pt x="1200" y="369"/>
                      </a:lnTo>
                      <a:lnTo>
                        <a:pt x="1285" y="222"/>
                      </a:lnTo>
                      <a:lnTo>
                        <a:pt x="1285" y="222"/>
                      </a:lnTo>
                      <a:lnTo>
                        <a:pt x="1287" y="219"/>
                      </a:lnTo>
                      <a:lnTo>
                        <a:pt x="1291" y="216"/>
                      </a:lnTo>
                      <a:lnTo>
                        <a:pt x="1295" y="213"/>
                      </a:lnTo>
                      <a:lnTo>
                        <a:pt x="1298" y="211"/>
                      </a:lnTo>
                      <a:lnTo>
                        <a:pt x="1302" y="211"/>
                      </a:lnTo>
                      <a:lnTo>
                        <a:pt x="1306" y="211"/>
                      </a:lnTo>
                      <a:lnTo>
                        <a:pt x="1310" y="212"/>
                      </a:lnTo>
                      <a:lnTo>
                        <a:pt x="1314" y="213"/>
                      </a:lnTo>
                      <a:lnTo>
                        <a:pt x="1370" y="245"/>
                      </a:lnTo>
                      <a:lnTo>
                        <a:pt x="1370" y="245"/>
                      </a:lnTo>
                      <a:lnTo>
                        <a:pt x="1373" y="248"/>
                      </a:lnTo>
                      <a:lnTo>
                        <a:pt x="1376" y="252"/>
                      </a:lnTo>
                      <a:lnTo>
                        <a:pt x="1378" y="255"/>
                      </a:lnTo>
                      <a:lnTo>
                        <a:pt x="1379" y="259"/>
                      </a:lnTo>
                      <a:lnTo>
                        <a:pt x="1380" y="263"/>
                      </a:lnTo>
                      <a:lnTo>
                        <a:pt x="1380" y="267"/>
                      </a:lnTo>
                      <a:lnTo>
                        <a:pt x="1379" y="271"/>
                      </a:lnTo>
                      <a:lnTo>
                        <a:pt x="1377" y="274"/>
                      </a:lnTo>
                      <a:lnTo>
                        <a:pt x="1377" y="274"/>
                      </a:lnTo>
                      <a:close/>
                      <a:moveTo>
                        <a:pt x="1474" y="663"/>
                      </a:moveTo>
                      <a:lnTo>
                        <a:pt x="1442" y="608"/>
                      </a:lnTo>
                      <a:lnTo>
                        <a:pt x="1442" y="608"/>
                      </a:lnTo>
                      <a:lnTo>
                        <a:pt x="1440" y="604"/>
                      </a:lnTo>
                      <a:lnTo>
                        <a:pt x="1439" y="599"/>
                      </a:lnTo>
                      <a:lnTo>
                        <a:pt x="1439" y="595"/>
                      </a:lnTo>
                      <a:lnTo>
                        <a:pt x="1440" y="592"/>
                      </a:lnTo>
                      <a:lnTo>
                        <a:pt x="1441" y="588"/>
                      </a:lnTo>
                      <a:lnTo>
                        <a:pt x="1443" y="584"/>
                      </a:lnTo>
                      <a:lnTo>
                        <a:pt x="1446" y="581"/>
                      </a:lnTo>
                      <a:lnTo>
                        <a:pt x="1449" y="579"/>
                      </a:lnTo>
                      <a:lnTo>
                        <a:pt x="1596" y="494"/>
                      </a:lnTo>
                      <a:lnTo>
                        <a:pt x="1596" y="494"/>
                      </a:lnTo>
                      <a:lnTo>
                        <a:pt x="1600" y="492"/>
                      </a:lnTo>
                      <a:lnTo>
                        <a:pt x="1604" y="491"/>
                      </a:lnTo>
                      <a:lnTo>
                        <a:pt x="1609" y="491"/>
                      </a:lnTo>
                      <a:lnTo>
                        <a:pt x="1613" y="492"/>
                      </a:lnTo>
                      <a:lnTo>
                        <a:pt x="1616" y="493"/>
                      </a:lnTo>
                      <a:lnTo>
                        <a:pt x="1620" y="495"/>
                      </a:lnTo>
                      <a:lnTo>
                        <a:pt x="1623" y="499"/>
                      </a:lnTo>
                      <a:lnTo>
                        <a:pt x="1625" y="502"/>
                      </a:lnTo>
                      <a:lnTo>
                        <a:pt x="1657" y="557"/>
                      </a:lnTo>
                      <a:lnTo>
                        <a:pt x="1657" y="557"/>
                      </a:lnTo>
                      <a:lnTo>
                        <a:pt x="1659" y="560"/>
                      </a:lnTo>
                      <a:lnTo>
                        <a:pt x="1660" y="564"/>
                      </a:lnTo>
                      <a:lnTo>
                        <a:pt x="1660" y="569"/>
                      </a:lnTo>
                      <a:lnTo>
                        <a:pt x="1659" y="573"/>
                      </a:lnTo>
                      <a:lnTo>
                        <a:pt x="1658" y="577"/>
                      </a:lnTo>
                      <a:lnTo>
                        <a:pt x="1656" y="580"/>
                      </a:lnTo>
                      <a:lnTo>
                        <a:pt x="1653" y="583"/>
                      </a:lnTo>
                      <a:lnTo>
                        <a:pt x="1650" y="586"/>
                      </a:lnTo>
                      <a:lnTo>
                        <a:pt x="1503" y="670"/>
                      </a:lnTo>
                      <a:lnTo>
                        <a:pt x="1503" y="670"/>
                      </a:lnTo>
                      <a:lnTo>
                        <a:pt x="1498" y="672"/>
                      </a:lnTo>
                      <a:lnTo>
                        <a:pt x="1494" y="674"/>
                      </a:lnTo>
                      <a:lnTo>
                        <a:pt x="1490" y="674"/>
                      </a:lnTo>
                      <a:lnTo>
                        <a:pt x="1486" y="672"/>
                      </a:lnTo>
                      <a:lnTo>
                        <a:pt x="1483" y="671"/>
                      </a:lnTo>
                      <a:lnTo>
                        <a:pt x="1479" y="669"/>
                      </a:lnTo>
                      <a:lnTo>
                        <a:pt x="1476" y="666"/>
                      </a:lnTo>
                      <a:lnTo>
                        <a:pt x="1474" y="663"/>
                      </a:lnTo>
                      <a:lnTo>
                        <a:pt x="1474" y="663"/>
                      </a:lnTo>
                      <a:close/>
                      <a:moveTo>
                        <a:pt x="1751" y="970"/>
                      </a:moveTo>
                      <a:lnTo>
                        <a:pt x="1751" y="970"/>
                      </a:lnTo>
                      <a:lnTo>
                        <a:pt x="1751" y="975"/>
                      </a:lnTo>
                      <a:lnTo>
                        <a:pt x="1750" y="978"/>
                      </a:lnTo>
                      <a:lnTo>
                        <a:pt x="1748" y="982"/>
                      </a:lnTo>
                      <a:lnTo>
                        <a:pt x="1744" y="985"/>
                      </a:lnTo>
                      <a:lnTo>
                        <a:pt x="1741" y="987"/>
                      </a:lnTo>
                      <a:lnTo>
                        <a:pt x="1738" y="990"/>
                      </a:lnTo>
                      <a:lnTo>
                        <a:pt x="1734" y="992"/>
                      </a:lnTo>
                      <a:lnTo>
                        <a:pt x="1730" y="992"/>
                      </a:lnTo>
                      <a:lnTo>
                        <a:pt x="1560" y="992"/>
                      </a:lnTo>
                      <a:lnTo>
                        <a:pt x="1560" y="992"/>
                      </a:lnTo>
                      <a:lnTo>
                        <a:pt x="1556" y="992"/>
                      </a:lnTo>
                      <a:lnTo>
                        <a:pt x="1552" y="990"/>
                      </a:lnTo>
                      <a:lnTo>
                        <a:pt x="1548" y="987"/>
                      </a:lnTo>
                      <a:lnTo>
                        <a:pt x="1545" y="985"/>
                      </a:lnTo>
                      <a:lnTo>
                        <a:pt x="1543" y="982"/>
                      </a:lnTo>
                      <a:lnTo>
                        <a:pt x="1541" y="978"/>
                      </a:lnTo>
                      <a:lnTo>
                        <a:pt x="1540" y="975"/>
                      </a:lnTo>
                      <a:lnTo>
                        <a:pt x="1539" y="970"/>
                      </a:lnTo>
                      <a:lnTo>
                        <a:pt x="1539" y="907"/>
                      </a:lnTo>
                      <a:lnTo>
                        <a:pt x="1539" y="907"/>
                      </a:lnTo>
                      <a:lnTo>
                        <a:pt x="1540" y="902"/>
                      </a:lnTo>
                      <a:lnTo>
                        <a:pt x="1541" y="899"/>
                      </a:lnTo>
                      <a:lnTo>
                        <a:pt x="1543" y="895"/>
                      </a:lnTo>
                      <a:lnTo>
                        <a:pt x="1545" y="892"/>
                      </a:lnTo>
                      <a:lnTo>
                        <a:pt x="1548" y="889"/>
                      </a:lnTo>
                      <a:lnTo>
                        <a:pt x="1552" y="888"/>
                      </a:lnTo>
                      <a:lnTo>
                        <a:pt x="1556" y="886"/>
                      </a:lnTo>
                      <a:lnTo>
                        <a:pt x="1560" y="886"/>
                      </a:lnTo>
                      <a:lnTo>
                        <a:pt x="1730" y="886"/>
                      </a:lnTo>
                      <a:lnTo>
                        <a:pt x="1730" y="886"/>
                      </a:lnTo>
                      <a:lnTo>
                        <a:pt x="1734" y="886"/>
                      </a:lnTo>
                      <a:lnTo>
                        <a:pt x="1738" y="888"/>
                      </a:lnTo>
                      <a:lnTo>
                        <a:pt x="1741" y="889"/>
                      </a:lnTo>
                      <a:lnTo>
                        <a:pt x="1744" y="892"/>
                      </a:lnTo>
                      <a:lnTo>
                        <a:pt x="1748" y="895"/>
                      </a:lnTo>
                      <a:lnTo>
                        <a:pt x="1750" y="899"/>
                      </a:lnTo>
                      <a:lnTo>
                        <a:pt x="1751" y="902"/>
                      </a:lnTo>
                      <a:lnTo>
                        <a:pt x="1751" y="907"/>
                      </a:lnTo>
                      <a:lnTo>
                        <a:pt x="1751" y="9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35" name="Freeform 32"/>
                <p:cNvSpPr>
                  <a:spLocks/>
                </p:cNvSpPr>
                <p:nvPr/>
              </p:nvSpPr>
              <p:spPr bwMode="auto">
                <a:xfrm>
                  <a:off x="4262438" y="3946525"/>
                  <a:ext cx="87313" cy="87313"/>
                </a:xfrm>
                <a:custGeom>
                  <a:avLst/>
                  <a:gdLst>
                    <a:gd name="T0" fmla="*/ 82 w 221"/>
                    <a:gd name="T1" fmla="*/ 3 h 220"/>
                    <a:gd name="T2" fmla="*/ 61 w 221"/>
                    <a:gd name="T3" fmla="*/ 11 h 220"/>
                    <a:gd name="T4" fmla="*/ 43 w 221"/>
                    <a:gd name="T5" fmla="*/ 22 h 220"/>
                    <a:gd name="T6" fmla="*/ 27 w 221"/>
                    <a:gd name="T7" fmla="*/ 37 h 220"/>
                    <a:gd name="T8" fmla="*/ 15 w 221"/>
                    <a:gd name="T9" fmla="*/ 54 h 220"/>
                    <a:gd name="T10" fmla="*/ 6 w 221"/>
                    <a:gd name="T11" fmla="*/ 74 h 220"/>
                    <a:gd name="T12" fmla="*/ 1 w 221"/>
                    <a:gd name="T13" fmla="*/ 94 h 220"/>
                    <a:gd name="T14" fmla="*/ 0 w 221"/>
                    <a:gd name="T15" fmla="*/ 116 h 220"/>
                    <a:gd name="T16" fmla="*/ 4 w 221"/>
                    <a:gd name="T17" fmla="*/ 139 h 220"/>
                    <a:gd name="T18" fmla="*/ 8 w 221"/>
                    <a:gd name="T19" fmla="*/ 149 h 220"/>
                    <a:gd name="T20" fmla="*/ 17 w 221"/>
                    <a:gd name="T21" fmla="*/ 169 h 220"/>
                    <a:gd name="T22" fmla="*/ 30 w 221"/>
                    <a:gd name="T23" fmla="*/ 185 h 220"/>
                    <a:gd name="T24" fmla="*/ 47 w 221"/>
                    <a:gd name="T25" fmla="*/ 199 h 220"/>
                    <a:gd name="T26" fmla="*/ 65 w 221"/>
                    <a:gd name="T27" fmla="*/ 210 h 220"/>
                    <a:gd name="T28" fmla="*/ 85 w 221"/>
                    <a:gd name="T29" fmla="*/ 217 h 220"/>
                    <a:gd name="T30" fmla="*/ 106 w 221"/>
                    <a:gd name="T31" fmla="*/ 220 h 220"/>
                    <a:gd name="T32" fmla="*/ 128 w 221"/>
                    <a:gd name="T33" fmla="*/ 218 h 220"/>
                    <a:gd name="T34" fmla="*/ 139 w 221"/>
                    <a:gd name="T35" fmla="*/ 216 h 220"/>
                    <a:gd name="T36" fmla="*/ 160 w 221"/>
                    <a:gd name="T37" fmla="*/ 208 h 220"/>
                    <a:gd name="T38" fmla="*/ 178 w 221"/>
                    <a:gd name="T39" fmla="*/ 196 h 220"/>
                    <a:gd name="T40" fmla="*/ 194 w 221"/>
                    <a:gd name="T41" fmla="*/ 182 h 220"/>
                    <a:gd name="T42" fmla="*/ 206 w 221"/>
                    <a:gd name="T43" fmla="*/ 164 h 220"/>
                    <a:gd name="T44" fmla="*/ 214 w 221"/>
                    <a:gd name="T45" fmla="*/ 145 h 220"/>
                    <a:gd name="T46" fmla="*/ 220 w 221"/>
                    <a:gd name="T47" fmla="*/ 124 h 220"/>
                    <a:gd name="T48" fmla="*/ 221 w 221"/>
                    <a:gd name="T49" fmla="*/ 103 h 220"/>
                    <a:gd name="T50" fmla="*/ 216 w 221"/>
                    <a:gd name="T51" fmla="*/ 81 h 220"/>
                    <a:gd name="T52" fmla="*/ 213 w 221"/>
                    <a:gd name="T53" fmla="*/ 70 h 220"/>
                    <a:gd name="T54" fmla="*/ 203 w 221"/>
                    <a:gd name="T55" fmla="*/ 50 h 220"/>
                    <a:gd name="T56" fmla="*/ 191 w 221"/>
                    <a:gd name="T57" fmla="*/ 34 h 220"/>
                    <a:gd name="T58" fmla="*/ 174 w 221"/>
                    <a:gd name="T59" fmla="*/ 19 h 220"/>
                    <a:gd name="T60" fmla="*/ 156 w 221"/>
                    <a:gd name="T61" fmla="*/ 9 h 220"/>
                    <a:gd name="T62" fmla="*/ 136 w 221"/>
                    <a:gd name="T63" fmla="*/ 2 h 220"/>
                    <a:gd name="T64" fmla="*/ 115 w 221"/>
                    <a:gd name="T65" fmla="*/ 0 h 220"/>
                    <a:gd name="T66" fmla="*/ 93 w 221"/>
                    <a:gd name="T67" fmla="*/ 1 h 220"/>
                    <a:gd name="T68" fmla="*/ 82 w 221"/>
                    <a:gd name="T69" fmla="*/ 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220">
                      <a:moveTo>
                        <a:pt x="82" y="3"/>
                      </a:moveTo>
                      <a:lnTo>
                        <a:pt x="82" y="3"/>
                      </a:lnTo>
                      <a:lnTo>
                        <a:pt x="71" y="7"/>
                      </a:lnTo>
                      <a:lnTo>
                        <a:pt x="61" y="11"/>
                      </a:lnTo>
                      <a:lnTo>
                        <a:pt x="52" y="16"/>
                      </a:lnTo>
                      <a:lnTo>
                        <a:pt x="43" y="22"/>
                      </a:lnTo>
                      <a:lnTo>
                        <a:pt x="34" y="30"/>
                      </a:lnTo>
                      <a:lnTo>
                        <a:pt x="27" y="37"/>
                      </a:lnTo>
                      <a:lnTo>
                        <a:pt x="21" y="45"/>
                      </a:lnTo>
                      <a:lnTo>
                        <a:pt x="15" y="54"/>
                      </a:lnTo>
                      <a:lnTo>
                        <a:pt x="10" y="64"/>
                      </a:lnTo>
                      <a:lnTo>
                        <a:pt x="6" y="74"/>
                      </a:lnTo>
                      <a:lnTo>
                        <a:pt x="3" y="84"/>
                      </a:lnTo>
                      <a:lnTo>
                        <a:pt x="1" y="94"/>
                      </a:lnTo>
                      <a:lnTo>
                        <a:pt x="0" y="105"/>
                      </a:lnTo>
                      <a:lnTo>
                        <a:pt x="0" y="116"/>
                      </a:lnTo>
                      <a:lnTo>
                        <a:pt x="1" y="127"/>
                      </a:lnTo>
                      <a:lnTo>
                        <a:pt x="4" y="139"/>
                      </a:lnTo>
                      <a:lnTo>
                        <a:pt x="4" y="139"/>
                      </a:lnTo>
                      <a:lnTo>
                        <a:pt x="8" y="149"/>
                      </a:lnTo>
                      <a:lnTo>
                        <a:pt x="12" y="159"/>
                      </a:lnTo>
                      <a:lnTo>
                        <a:pt x="17" y="169"/>
                      </a:lnTo>
                      <a:lnTo>
                        <a:pt x="23" y="178"/>
                      </a:lnTo>
                      <a:lnTo>
                        <a:pt x="30" y="185"/>
                      </a:lnTo>
                      <a:lnTo>
                        <a:pt x="38" y="193"/>
                      </a:lnTo>
                      <a:lnTo>
                        <a:pt x="47" y="199"/>
                      </a:lnTo>
                      <a:lnTo>
                        <a:pt x="56" y="205"/>
                      </a:lnTo>
                      <a:lnTo>
                        <a:pt x="65" y="210"/>
                      </a:lnTo>
                      <a:lnTo>
                        <a:pt x="74" y="214"/>
                      </a:lnTo>
                      <a:lnTo>
                        <a:pt x="85" y="217"/>
                      </a:lnTo>
                      <a:lnTo>
                        <a:pt x="95" y="219"/>
                      </a:lnTo>
                      <a:lnTo>
                        <a:pt x="106" y="220"/>
                      </a:lnTo>
                      <a:lnTo>
                        <a:pt x="118" y="220"/>
                      </a:lnTo>
                      <a:lnTo>
                        <a:pt x="128" y="218"/>
                      </a:lnTo>
                      <a:lnTo>
                        <a:pt x="139" y="216"/>
                      </a:lnTo>
                      <a:lnTo>
                        <a:pt x="139" y="216"/>
                      </a:lnTo>
                      <a:lnTo>
                        <a:pt x="150" y="213"/>
                      </a:lnTo>
                      <a:lnTo>
                        <a:pt x="160" y="208"/>
                      </a:lnTo>
                      <a:lnTo>
                        <a:pt x="169" y="203"/>
                      </a:lnTo>
                      <a:lnTo>
                        <a:pt x="178" y="196"/>
                      </a:lnTo>
                      <a:lnTo>
                        <a:pt x="187" y="189"/>
                      </a:lnTo>
                      <a:lnTo>
                        <a:pt x="194" y="182"/>
                      </a:lnTo>
                      <a:lnTo>
                        <a:pt x="200" y="174"/>
                      </a:lnTo>
                      <a:lnTo>
                        <a:pt x="206" y="164"/>
                      </a:lnTo>
                      <a:lnTo>
                        <a:pt x="211" y="155"/>
                      </a:lnTo>
                      <a:lnTo>
                        <a:pt x="214" y="145"/>
                      </a:lnTo>
                      <a:lnTo>
                        <a:pt x="217" y="135"/>
                      </a:lnTo>
                      <a:lnTo>
                        <a:pt x="220" y="124"/>
                      </a:lnTo>
                      <a:lnTo>
                        <a:pt x="221" y="114"/>
                      </a:lnTo>
                      <a:lnTo>
                        <a:pt x="221" y="103"/>
                      </a:lnTo>
                      <a:lnTo>
                        <a:pt x="220" y="91"/>
                      </a:lnTo>
                      <a:lnTo>
                        <a:pt x="216" y="81"/>
                      </a:lnTo>
                      <a:lnTo>
                        <a:pt x="216" y="81"/>
                      </a:lnTo>
                      <a:lnTo>
                        <a:pt x="213" y="70"/>
                      </a:lnTo>
                      <a:lnTo>
                        <a:pt x="209" y="59"/>
                      </a:lnTo>
                      <a:lnTo>
                        <a:pt x="203" y="50"/>
                      </a:lnTo>
                      <a:lnTo>
                        <a:pt x="197" y="42"/>
                      </a:lnTo>
                      <a:lnTo>
                        <a:pt x="191" y="34"/>
                      </a:lnTo>
                      <a:lnTo>
                        <a:pt x="183" y="27"/>
                      </a:lnTo>
                      <a:lnTo>
                        <a:pt x="174" y="19"/>
                      </a:lnTo>
                      <a:lnTo>
                        <a:pt x="165" y="14"/>
                      </a:lnTo>
                      <a:lnTo>
                        <a:pt x="156" y="9"/>
                      </a:lnTo>
                      <a:lnTo>
                        <a:pt x="146" y="5"/>
                      </a:lnTo>
                      <a:lnTo>
                        <a:pt x="136" y="2"/>
                      </a:lnTo>
                      <a:lnTo>
                        <a:pt x="126" y="0"/>
                      </a:lnTo>
                      <a:lnTo>
                        <a:pt x="115" y="0"/>
                      </a:lnTo>
                      <a:lnTo>
                        <a:pt x="104" y="0"/>
                      </a:lnTo>
                      <a:lnTo>
                        <a:pt x="93" y="1"/>
                      </a:lnTo>
                      <a:lnTo>
                        <a:pt x="82" y="3"/>
                      </a:lnTo>
                      <a:lnTo>
                        <a:pt x="8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827" name="Group 1826"/>
              <p:cNvGrpSpPr>
                <a:grpSpLocks noChangeAspect="1"/>
              </p:cNvGrpSpPr>
              <p:nvPr/>
            </p:nvGrpSpPr>
            <p:grpSpPr>
              <a:xfrm rot="1501763">
                <a:off x="1106621" y="5873222"/>
                <a:ext cx="120760" cy="83087"/>
                <a:chOff x="3933826" y="3522663"/>
                <a:chExt cx="742950" cy="511175"/>
              </a:xfrm>
              <a:solidFill>
                <a:schemeClr val="accent1"/>
              </a:solidFill>
            </p:grpSpPr>
            <p:sp>
              <p:nvSpPr>
                <p:cNvPr id="1932" name="Freeform 31"/>
                <p:cNvSpPr>
                  <a:spLocks noEditPoints="1"/>
                </p:cNvSpPr>
                <p:nvPr/>
              </p:nvSpPr>
              <p:spPr bwMode="auto">
                <a:xfrm>
                  <a:off x="3933826" y="3522663"/>
                  <a:ext cx="742950" cy="481013"/>
                </a:xfrm>
                <a:custGeom>
                  <a:avLst/>
                  <a:gdLst>
                    <a:gd name="T0" fmla="*/ 703 w 1873"/>
                    <a:gd name="T1" fmla="*/ 29 h 1216"/>
                    <a:gd name="T2" fmla="*/ 414 w 1873"/>
                    <a:gd name="T3" fmla="*/ 160 h 1216"/>
                    <a:gd name="T4" fmla="*/ 186 w 1873"/>
                    <a:gd name="T5" fmla="*/ 376 h 1216"/>
                    <a:gd name="T6" fmla="*/ 42 w 1873"/>
                    <a:gd name="T7" fmla="*/ 658 h 1216"/>
                    <a:gd name="T8" fmla="*/ 0 w 1873"/>
                    <a:gd name="T9" fmla="*/ 1082 h 1216"/>
                    <a:gd name="T10" fmla="*/ 22 w 1873"/>
                    <a:gd name="T11" fmla="*/ 1156 h 1216"/>
                    <a:gd name="T12" fmla="*/ 94 w 1873"/>
                    <a:gd name="T13" fmla="*/ 1210 h 1216"/>
                    <a:gd name="T14" fmla="*/ 670 w 1873"/>
                    <a:gd name="T15" fmla="*/ 1183 h 1216"/>
                    <a:gd name="T16" fmla="*/ 690 w 1873"/>
                    <a:gd name="T17" fmla="*/ 1092 h 1216"/>
                    <a:gd name="T18" fmla="*/ 767 w 1873"/>
                    <a:gd name="T19" fmla="*/ 991 h 1216"/>
                    <a:gd name="T20" fmla="*/ 857 w 1873"/>
                    <a:gd name="T21" fmla="*/ 942 h 1216"/>
                    <a:gd name="T22" fmla="*/ 936 w 1873"/>
                    <a:gd name="T23" fmla="*/ 930 h 1216"/>
                    <a:gd name="T24" fmla="*/ 1161 w 1873"/>
                    <a:gd name="T25" fmla="*/ 1054 h 1216"/>
                    <a:gd name="T26" fmla="*/ 1203 w 1873"/>
                    <a:gd name="T27" fmla="*/ 1196 h 1216"/>
                    <a:gd name="T28" fmla="*/ 1791 w 1873"/>
                    <a:gd name="T29" fmla="*/ 1205 h 1216"/>
                    <a:gd name="T30" fmla="*/ 1857 w 1873"/>
                    <a:gd name="T31" fmla="*/ 1145 h 1216"/>
                    <a:gd name="T32" fmla="*/ 1873 w 1873"/>
                    <a:gd name="T33" fmla="*/ 936 h 1216"/>
                    <a:gd name="T34" fmla="*/ 1815 w 1873"/>
                    <a:gd name="T35" fmla="*/ 615 h 1216"/>
                    <a:gd name="T36" fmla="*/ 1659 w 1873"/>
                    <a:gd name="T37" fmla="*/ 341 h 1216"/>
                    <a:gd name="T38" fmla="*/ 1421 w 1873"/>
                    <a:gd name="T39" fmla="*/ 135 h 1216"/>
                    <a:gd name="T40" fmla="*/ 1125 w 1873"/>
                    <a:gd name="T41" fmla="*/ 19 h 1216"/>
                    <a:gd name="T42" fmla="*/ 326 w 1873"/>
                    <a:gd name="T43" fmla="*/ 970 h 1216"/>
                    <a:gd name="T44" fmla="*/ 310 w 1873"/>
                    <a:gd name="T45" fmla="*/ 992 h 1216"/>
                    <a:gd name="T46" fmla="*/ 120 w 1873"/>
                    <a:gd name="T47" fmla="*/ 985 h 1216"/>
                    <a:gd name="T48" fmla="*/ 114 w 1873"/>
                    <a:gd name="T49" fmla="*/ 902 h 1216"/>
                    <a:gd name="T50" fmla="*/ 136 w 1873"/>
                    <a:gd name="T51" fmla="*/ 886 h 1216"/>
                    <a:gd name="T52" fmla="*/ 323 w 1873"/>
                    <a:gd name="T53" fmla="*/ 895 h 1216"/>
                    <a:gd name="T54" fmla="*/ 392 w 1873"/>
                    <a:gd name="T55" fmla="*/ 663 h 1216"/>
                    <a:gd name="T56" fmla="*/ 366 w 1873"/>
                    <a:gd name="T57" fmla="*/ 672 h 1216"/>
                    <a:gd name="T58" fmla="*/ 206 w 1873"/>
                    <a:gd name="T59" fmla="*/ 573 h 1216"/>
                    <a:gd name="T60" fmla="*/ 242 w 1873"/>
                    <a:gd name="T61" fmla="*/ 499 h 1216"/>
                    <a:gd name="T62" fmla="*/ 268 w 1873"/>
                    <a:gd name="T63" fmla="*/ 494 h 1216"/>
                    <a:gd name="T64" fmla="*/ 426 w 1873"/>
                    <a:gd name="T65" fmla="*/ 596 h 1216"/>
                    <a:gd name="T66" fmla="*/ 602 w 1873"/>
                    <a:gd name="T67" fmla="*/ 430 h 1216"/>
                    <a:gd name="T68" fmla="*/ 575 w 1873"/>
                    <a:gd name="T69" fmla="*/ 425 h 1216"/>
                    <a:gd name="T70" fmla="*/ 486 w 1873"/>
                    <a:gd name="T71" fmla="*/ 259 h 1216"/>
                    <a:gd name="T72" fmla="*/ 555 w 1873"/>
                    <a:gd name="T73" fmla="*/ 212 h 1216"/>
                    <a:gd name="T74" fmla="*/ 579 w 1873"/>
                    <a:gd name="T75" fmla="*/ 222 h 1216"/>
                    <a:gd name="T76" fmla="*/ 666 w 1873"/>
                    <a:gd name="T77" fmla="*/ 388 h 1216"/>
                    <a:gd name="T78" fmla="*/ 985 w 1873"/>
                    <a:gd name="T79" fmla="*/ 315 h 1216"/>
                    <a:gd name="T80" fmla="*/ 964 w 1873"/>
                    <a:gd name="T81" fmla="*/ 332 h 1216"/>
                    <a:gd name="T82" fmla="*/ 883 w 1873"/>
                    <a:gd name="T83" fmla="*/ 323 h 1216"/>
                    <a:gd name="T84" fmla="*/ 881 w 1873"/>
                    <a:gd name="T85" fmla="*/ 133 h 1216"/>
                    <a:gd name="T86" fmla="*/ 964 w 1873"/>
                    <a:gd name="T87" fmla="*/ 120 h 1216"/>
                    <a:gd name="T88" fmla="*/ 984 w 1873"/>
                    <a:gd name="T89" fmla="*/ 133 h 1216"/>
                    <a:gd name="T90" fmla="*/ 1290 w 1873"/>
                    <a:gd name="T91" fmla="*/ 425 h 1216"/>
                    <a:gd name="T92" fmla="*/ 1263 w 1873"/>
                    <a:gd name="T93" fmla="*/ 430 h 1216"/>
                    <a:gd name="T94" fmla="*/ 1198 w 1873"/>
                    <a:gd name="T95" fmla="*/ 380 h 1216"/>
                    <a:gd name="T96" fmla="*/ 1291 w 1873"/>
                    <a:gd name="T97" fmla="*/ 216 h 1216"/>
                    <a:gd name="T98" fmla="*/ 1370 w 1873"/>
                    <a:gd name="T99" fmla="*/ 245 h 1216"/>
                    <a:gd name="T100" fmla="*/ 1380 w 1873"/>
                    <a:gd name="T101" fmla="*/ 267 h 1216"/>
                    <a:gd name="T102" fmla="*/ 1440 w 1873"/>
                    <a:gd name="T103" fmla="*/ 604 h 1216"/>
                    <a:gd name="T104" fmla="*/ 1449 w 1873"/>
                    <a:gd name="T105" fmla="*/ 579 h 1216"/>
                    <a:gd name="T106" fmla="*/ 1616 w 1873"/>
                    <a:gd name="T107" fmla="*/ 493 h 1216"/>
                    <a:gd name="T108" fmla="*/ 1660 w 1873"/>
                    <a:gd name="T109" fmla="*/ 564 h 1216"/>
                    <a:gd name="T110" fmla="*/ 1503 w 1873"/>
                    <a:gd name="T111" fmla="*/ 670 h 1216"/>
                    <a:gd name="T112" fmla="*/ 1479 w 1873"/>
                    <a:gd name="T113" fmla="*/ 669 h 1216"/>
                    <a:gd name="T114" fmla="*/ 1750 w 1873"/>
                    <a:gd name="T115" fmla="*/ 978 h 1216"/>
                    <a:gd name="T116" fmla="*/ 1560 w 1873"/>
                    <a:gd name="T117" fmla="*/ 992 h 1216"/>
                    <a:gd name="T118" fmla="*/ 1541 w 1873"/>
                    <a:gd name="T119" fmla="*/ 978 h 1216"/>
                    <a:gd name="T120" fmla="*/ 1543 w 1873"/>
                    <a:gd name="T121" fmla="*/ 895 h 1216"/>
                    <a:gd name="T122" fmla="*/ 1730 w 1873"/>
                    <a:gd name="T123" fmla="*/ 886 h 1216"/>
                    <a:gd name="T124" fmla="*/ 1751 w 1873"/>
                    <a:gd name="T125" fmla="*/ 902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3" h="1216">
                      <a:moveTo>
                        <a:pt x="936" y="0"/>
                      </a:moveTo>
                      <a:lnTo>
                        <a:pt x="936" y="0"/>
                      </a:lnTo>
                      <a:lnTo>
                        <a:pt x="888" y="1"/>
                      </a:lnTo>
                      <a:lnTo>
                        <a:pt x="841" y="5"/>
                      </a:lnTo>
                      <a:lnTo>
                        <a:pt x="794" y="11"/>
                      </a:lnTo>
                      <a:lnTo>
                        <a:pt x="748" y="19"/>
                      </a:lnTo>
                      <a:lnTo>
                        <a:pt x="703" y="29"/>
                      </a:lnTo>
                      <a:lnTo>
                        <a:pt x="659" y="43"/>
                      </a:lnTo>
                      <a:lnTo>
                        <a:pt x="614" y="57"/>
                      </a:lnTo>
                      <a:lnTo>
                        <a:pt x="572" y="73"/>
                      </a:lnTo>
                      <a:lnTo>
                        <a:pt x="531" y="92"/>
                      </a:lnTo>
                      <a:lnTo>
                        <a:pt x="491" y="114"/>
                      </a:lnTo>
                      <a:lnTo>
                        <a:pt x="451" y="135"/>
                      </a:lnTo>
                      <a:lnTo>
                        <a:pt x="414" y="160"/>
                      </a:lnTo>
                      <a:lnTo>
                        <a:pt x="377" y="187"/>
                      </a:lnTo>
                      <a:lnTo>
                        <a:pt x="342" y="214"/>
                      </a:lnTo>
                      <a:lnTo>
                        <a:pt x="307" y="243"/>
                      </a:lnTo>
                      <a:lnTo>
                        <a:pt x="275" y="274"/>
                      </a:lnTo>
                      <a:lnTo>
                        <a:pt x="244" y="307"/>
                      </a:lnTo>
                      <a:lnTo>
                        <a:pt x="214" y="341"/>
                      </a:lnTo>
                      <a:lnTo>
                        <a:pt x="186" y="376"/>
                      </a:lnTo>
                      <a:lnTo>
                        <a:pt x="160" y="413"/>
                      </a:lnTo>
                      <a:lnTo>
                        <a:pt x="136" y="451"/>
                      </a:lnTo>
                      <a:lnTo>
                        <a:pt x="113" y="490"/>
                      </a:lnTo>
                      <a:lnTo>
                        <a:pt x="92" y="530"/>
                      </a:lnTo>
                      <a:lnTo>
                        <a:pt x="74" y="573"/>
                      </a:lnTo>
                      <a:lnTo>
                        <a:pt x="56" y="615"/>
                      </a:lnTo>
                      <a:lnTo>
                        <a:pt x="42" y="658"/>
                      </a:lnTo>
                      <a:lnTo>
                        <a:pt x="30" y="702"/>
                      </a:lnTo>
                      <a:lnTo>
                        <a:pt x="19" y="748"/>
                      </a:lnTo>
                      <a:lnTo>
                        <a:pt x="11" y="794"/>
                      </a:lnTo>
                      <a:lnTo>
                        <a:pt x="5" y="840"/>
                      </a:lnTo>
                      <a:lnTo>
                        <a:pt x="1" y="889"/>
                      </a:lnTo>
                      <a:lnTo>
                        <a:pt x="0" y="936"/>
                      </a:lnTo>
                      <a:lnTo>
                        <a:pt x="0" y="1082"/>
                      </a:lnTo>
                      <a:lnTo>
                        <a:pt x="0" y="1082"/>
                      </a:lnTo>
                      <a:lnTo>
                        <a:pt x="1" y="1096"/>
                      </a:lnTo>
                      <a:lnTo>
                        <a:pt x="3" y="1109"/>
                      </a:lnTo>
                      <a:lnTo>
                        <a:pt x="6" y="1121"/>
                      </a:lnTo>
                      <a:lnTo>
                        <a:pt x="10" y="1134"/>
                      </a:lnTo>
                      <a:lnTo>
                        <a:pt x="16" y="1145"/>
                      </a:lnTo>
                      <a:lnTo>
                        <a:pt x="22" y="1156"/>
                      </a:lnTo>
                      <a:lnTo>
                        <a:pt x="31" y="1167"/>
                      </a:lnTo>
                      <a:lnTo>
                        <a:pt x="39" y="1176"/>
                      </a:lnTo>
                      <a:lnTo>
                        <a:pt x="49" y="1185"/>
                      </a:lnTo>
                      <a:lnTo>
                        <a:pt x="59" y="1192"/>
                      </a:lnTo>
                      <a:lnTo>
                        <a:pt x="70" y="1199"/>
                      </a:lnTo>
                      <a:lnTo>
                        <a:pt x="82" y="1205"/>
                      </a:lnTo>
                      <a:lnTo>
                        <a:pt x="94" y="1210"/>
                      </a:lnTo>
                      <a:lnTo>
                        <a:pt x="107" y="1213"/>
                      </a:lnTo>
                      <a:lnTo>
                        <a:pt x="120" y="1215"/>
                      </a:lnTo>
                      <a:lnTo>
                        <a:pt x="134" y="1216"/>
                      </a:lnTo>
                      <a:lnTo>
                        <a:pt x="670" y="1216"/>
                      </a:lnTo>
                      <a:lnTo>
                        <a:pt x="670" y="1196"/>
                      </a:lnTo>
                      <a:lnTo>
                        <a:pt x="670" y="1196"/>
                      </a:lnTo>
                      <a:lnTo>
                        <a:pt x="670" y="1183"/>
                      </a:lnTo>
                      <a:lnTo>
                        <a:pt x="671" y="1170"/>
                      </a:lnTo>
                      <a:lnTo>
                        <a:pt x="673" y="1156"/>
                      </a:lnTo>
                      <a:lnTo>
                        <a:pt x="675" y="1143"/>
                      </a:lnTo>
                      <a:lnTo>
                        <a:pt x="678" y="1129"/>
                      </a:lnTo>
                      <a:lnTo>
                        <a:pt x="681" y="1117"/>
                      </a:lnTo>
                      <a:lnTo>
                        <a:pt x="685" y="1105"/>
                      </a:lnTo>
                      <a:lnTo>
                        <a:pt x="690" y="1092"/>
                      </a:lnTo>
                      <a:lnTo>
                        <a:pt x="696" y="1081"/>
                      </a:lnTo>
                      <a:lnTo>
                        <a:pt x="702" y="1070"/>
                      </a:lnTo>
                      <a:lnTo>
                        <a:pt x="708" y="1058"/>
                      </a:lnTo>
                      <a:lnTo>
                        <a:pt x="715" y="1047"/>
                      </a:lnTo>
                      <a:lnTo>
                        <a:pt x="731" y="1027"/>
                      </a:lnTo>
                      <a:lnTo>
                        <a:pt x="748" y="1008"/>
                      </a:lnTo>
                      <a:lnTo>
                        <a:pt x="767" y="991"/>
                      </a:lnTo>
                      <a:lnTo>
                        <a:pt x="787" y="975"/>
                      </a:lnTo>
                      <a:lnTo>
                        <a:pt x="799" y="968"/>
                      </a:lnTo>
                      <a:lnTo>
                        <a:pt x="809" y="962"/>
                      </a:lnTo>
                      <a:lnTo>
                        <a:pt x="821" y="956"/>
                      </a:lnTo>
                      <a:lnTo>
                        <a:pt x="832" y="950"/>
                      </a:lnTo>
                      <a:lnTo>
                        <a:pt x="845" y="946"/>
                      </a:lnTo>
                      <a:lnTo>
                        <a:pt x="857" y="942"/>
                      </a:lnTo>
                      <a:lnTo>
                        <a:pt x="870" y="938"/>
                      </a:lnTo>
                      <a:lnTo>
                        <a:pt x="883" y="935"/>
                      </a:lnTo>
                      <a:lnTo>
                        <a:pt x="895" y="933"/>
                      </a:lnTo>
                      <a:lnTo>
                        <a:pt x="909" y="931"/>
                      </a:lnTo>
                      <a:lnTo>
                        <a:pt x="923" y="930"/>
                      </a:lnTo>
                      <a:lnTo>
                        <a:pt x="936" y="930"/>
                      </a:lnTo>
                      <a:lnTo>
                        <a:pt x="936" y="930"/>
                      </a:lnTo>
                      <a:lnTo>
                        <a:pt x="948" y="931"/>
                      </a:lnTo>
                      <a:lnTo>
                        <a:pt x="959" y="932"/>
                      </a:lnTo>
                      <a:lnTo>
                        <a:pt x="1316" y="515"/>
                      </a:lnTo>
                      <a:lnTo>
                        <a:pt x="1351" y="537"/>
                      </a:lnTo>
                      <a:lnTo>
                        <a:pt x="1148" y="1037"/>
                      </a:lnTo>
                      <a:lnTo>
                        <a:pt x="1148" y="1037"/>
                      </a:lnTo>
                      <a:lnTo>
                        <a:pt x="1161" y="1054"/>
                      </a:lnTo>
                      <a:lnTo>
                        <a:pt x="1171" y="1072"/>
                      </a:lnTo>
                      <a:lnTo>
                        <a:pt x="1180" y="1091"/>
                      </a:lnTo>
                      <a:lnTo>
                        <a:pt x="1189" y="1111"/>
                      </a:lnTo>
                      <a:lnTo>
                        <a:pt x="1195" y="1132"/>
                      </a:lnTo>
                      <a:lnTo>
                        <a:pt x="1199" y="1152"/>
                      </a:lnTo>
                      <a:lnTo>
                        <a:pt x="1202" y="1174"/>
                      </a:lnTo>
                      <a:lnTo>
                        <a:pt x="1203" y="1196"/>
                      </a:lnTo>
                      <a:lnTo>
                        <a:pt x="1203" y="1216"/>
                      </a:lnTo>
                      <a:lnTo>
                        <a:pt x="1739" y="1216"/>
                      </a:lnTo>
                      <a:lnTo>
                        <a:pt x="1739" y="1216"/>
                      </a:lnTo>
                      <a:lnTo>
                        <a:pt x="1753" y="1215"/>
                      </a:lnTo>
                      <a:lnTo>
                        <a:pt x="1766" y="1213"/>
                      </a:lnTo>
                      <a:lnTo>
                        <a:pt x="1778" y="1210"/>
                      </a:lnTo>
                      <a:lnTo>
                        <a:pt x="1791" y="1205"/>
                      </a:lnTo>
                      <a:lnTo>
                        <a:pt x="1803" y="1199"/>
                      </a:lnTo>
                      <a:lnTo>
                        <a:pt x="1813" y="1192"/>
                      </a:lnTo>
                      <a:lnTo>
                        <a:pt x="1824" y="1185"/>
                      </a:lnTo>
                      <a:lnTo>
                        <a:pt x="1834" y="1176"/>
                      </a:lnTo>
                      <a:lnTo>
                        <a:pt x="1842" y="1167"/>
                      </a:lnTo>
                      <a:lnTo>
                        <a:pt x="1850" y="1156"/>
                      </a:lnTo>
                      <a:lnTo>
                        <a:pt x="1857" y="1145"/>
                      </a:lnTo>
                      <a:lnTo>
                        <a:pt x="1863" y="1134"/>
                      </a:lnTo>
                      <a:lnTo>
                        <a:pt x="1867" y="1121"/>
                      </a:lnTo>
                      <a:lnTo>
                        <a:pt x="1870" y="1109"/>
                      </a:lnTo>
                      <a:lnTo>
                        <a:pt x="1872" y="1096"/>
                      </a:lnTo>
                      <a:lnTo>
                        <a:pt x="1873" y="1082"/>
                      </a:lnTo>
                      <a:lnTo>
                        <a:pt x="1873" y="936"/>
                      </a:lnTo>
                      <a:lnTo>
                        <a:pt x="1873" y="936"/>
                      </a:lnTo>
                      <a:lnTo>
                        <a:pt x="1872" y="889"/>
                      </a:lnTo>
                      <a:lnTo>
                        <a:pt x="1868" y="840"/>
                      </a:lnTo>
                      <a:lnTo>
                        <a:pt x="1862" y="794"/>
                      </a:lnTo>
                      <a:lnTo>
                        <a:pt x="1854" y="748"/>
                      </a:lnTo>
                      <a:lnTo>
                        <a:pt x="1843" y="702"/>
                      </a:lnTo>
                      <a:lnTo>
                        <a:pt x="1831" y="658"/>
                      </a:lnTo>
                      <a:lnTo>
                        <a:pt x="1815" y="615"/>
                      </a:lnTo>
                      <a:lnTo>
                        <a:pt x="1799" y="573"/>
                      </a:lnTo>
                      <a:lnTo>
                        <a:pt x="1780" y="530"/>
                      </a:lnTo>
                      <a:lnTo>
                        <a:pt x="1760" y="490"/>
                      </a:lnTo>
                      <a:lnTo>
                        <a:pt x="1737" y="451"/>
                      </a:lnTo>
                      <a:lnTo>
                        <a:pt x="1713" y="413"/>
                      </a:lnTo>
                      <a:lnTo>
                        <a:pt x="1687" y="376"/>
                      </a:lnTo>
                      <a:lnTo>
                        <a:pt x="1659" y="341"/>
                      </a:lnTo>
                      <a:lnTo>
                        <a:pt x="1629" y="307"/>
                      </a:lnTo>
                      <a:lnTo>
                        <a:pt x="1598" y="274"/>
                      </a:lnTo>
                      <a:lnTo>
                        <a:pt x="1565" y="243"/>
                      </a:lnTo>
                      <a:lnTo>
                        <a:pt x="1531" y="214"/>
                      </a:lnTo>
                      <a:lnTo>
                        <a:pt x="1496" y="187"/>
                      </a:lnTo>
                      <a:lnTo>
                        <a:pt x="1459" y="160"/>
                      </a:lnTo>
                      <a:lnTo>
                        <a:pt x="1421" y="135"/>
                      </a:lnTo>
                      <a:lnTo>
                        <a:pt x="1382" y="114"/>
                      </a:lnTo>
                      <a:lnTo>
                        <a:pt x="1342" y="92"/>
                      </a:lnTo>
                      <a:lnTo>
                        <a:pt x="1301" y="73"/>
                      </a:lnTo>
                      <a:lnTo>
                        <a:pt x="1259" y="57"/>
                      </a:lnTo>
                      <a:lnTo>
                        <a:pt x="1214" y="43"/>
                      </a:lnTo>
                      <a:lnTo>
                        <a:pt x="1170" y="29"/>
                      </a:lnTo>
                      <a:lnTo>
                        <a:pt x="1125" y="19"/>
                      </a:lnTo>
                      <a:lnTo>
                        <a:pt x="1078" y="11"/>
                      </a:lnTo>
                      <a:lnTo>
                        <a:pt x="1032" y="5"/>
                      </a:lnTo>
                      <a:lnTo>
                        <a:pt x="985" y="1"/>
                      </a:lnTo>
                      <a:lnTo>
                        <a:pt x="936" y="0"/>
                      </a:lnTo>
                      <a:lnTo>
                        <a:pt x="936" y="0"/>
                      </a:lnTo>
                      <a:close/>
                      <a:moveTo>
                        <a:pt x="326" y="970"/>
                      </a:moveTo>
                      <a:lnTo>
                        <a:pt x="326" y="970"/>
                      </a:lnTo>
                      <a:lnTo>
                        <a:pt x="326" y="975"/>
                      </a:lnTo>
                      <a:lnTo>
                        <a:pt x="324" y="978"/>
                      </a:lnTo>
                      <a:lnTo>
                        <a:pt x="323" y="982"/>
                      </a:lnTo>
                      <a:lnTo>
                        <a:pt x="320" y="985"/>
                      </a:lnTo>
                      <a:lnTo>
                        <a:pt x="317" y="987"/>
                      </a:lnTo>
                      <a:lnTo>
                        <a:pt x="313" y="990"/>
                      </a:lnTo>
                      <a:lnTo>
                        <a:pt x="310" y="992"/>
                      </a:lnTo>
                      <a:lnTo>
                        <a:pt x="304" y="992"/>
                      </a:lnTo>
                      <a:lnTo>
                        <a:pt x="136" y="992"/>
                      </a:lnTo>
                      <a:lnTo>
                        <a:pt x="136" y="992"/>
                      </a:lnTo>
                      <a:lnTo>
                        <a:pt x="131" y="992"/>
                      </a:lnTo>
                      <a:lnTo>
                        <a:pt x="127" y="990"/>
                      </a:lnTo>
                      <a:lnTo>
                        <a:pt x="123" y="987"/>
                      </a:lnTo>
                      <a:lnTo>
                        <a:pt x="120" y="985"/>
                      </a:lnTo>
                      <a:lnTo>
                        <a:pt x="118" y="982"/>
                      </a:lnTo>
                      <a:lnTo>
                        <a:pt x="116" y="978"/>
                      </a:lnTo>
                      <a:lnTo>
                        <a:pt x="114" y="975"/>
                      </a:lnTo>
                      <a:lnTo>
                        <a:pt x="114" y="970"/>
                      </a:lnTo>
                      <a:lnTo>
                        <a:pt x="114" y="907"/>
                      </a:lnTo>
                      <a:lnTo>
                        <a:pt x="114" y="907"/>
                      </a:lnTo>
                      <a:lnTo>
                        <a:pt x="114" y="902"/>
                      </a:lnTo>
                      <a:lnTo>
                        <a:pt x="116" y="899"/>
                      </a:lnTo>
                      <a:lnTo>
                        <a:pt x="118" y="895"/>
                      </a:lnTo>
                      <a:lnTo>
                        <a:pt x="120" y="892"/>
                      </a:lnTo>
                      <a:lnTo>
                        <a:pt x="123" y="889"/>
                      </a:lnTo>
                      <a:lnTo>
                        <a:pt x="127" y="888"/>
                      </a:lnTo>
                      <a:lnTo>
                        <a:pt x="131" y="886"/>
                      </a:lnTo>
                      <a:lnTo>
                        <a:pt x="136" y="886"/>
                      </a:lnTo>
                      <a:lnTo>
                        <a:pt x="304" y="886"/>
                      </a:lnTo>
                      <a:lnTo>
                        <a:pt x="304" y="886"/>
                      </a:lnTo>
                      <a:lnTo>
                        <a:pt x="310" y="886"/>
                      </a:lnTo>
                      <a:lnTo>
                        <a:pt x="313" y="888"/>
                      </a:lnTo>
                      <a:lnTo>
                        <a:pt x="317" y="889"/>
                      </a:lnTo>
                      <a:lnTo>
                        <a:pt x="320" y="892"/>
                      </a:lnTo>
                      <a:lnTo>
                        <a:pt x="323" y="895"/>
                      </a:lnTo>
                      <a:lnTo>
                        <a:pt x="324" y="899"/>
                      </a:lnTo>
                      <a:lnTo>
                        <a:pt x="326" y="902"/>
                      </a:lnTo>
                      <a:lnTo>
                        <a:pt x="326" y="907"/>
                      </a:lnTo>
                      <a:lnTo>
                        <a:pt x="326" y="970"/>
                      </a:lnTo>
                      <a:close/>
                      <a:moveTo>
                        <a:pt x="423" y="608"/>
                      </a:moveTo>
                      <a:lnTo>
                        <a:pt x="392" y="663"/>
                      </a:lnTo>
                      <a:lnTo>
                        <a:pt x="392" y="663"/>
                      </a:lnTo>
                      <a:lnTo>
                        <a:pt x="389" y="666"/>
                      </a:lnTo>
                      <a:lnTo>
                        <a:pt x="386" y="669"/>
                      </a:lnTo>
                      <a:lnTo>
                        <a:pt x="383" y="671"/>
                      </a:lnTo>
                      <a:lnTo>
                        <a:pt x="379" y="672"/>
                      </a:lnTo>
                      <a:lnTo>
                        <a:pt x="374" y="674"/>
                      </a:lnTo>
                      <a:lnTo>
                        <a:pt x="370" y="674"/>
                      </a:lnTo>
                      <a:lnTo>
                        <a:pt x="366" y="672"/>
                      </a:lnTo>
                      <a:lnTo>
                        <a:pt x="362" y="670"/>
                      </a:lnTo>
                      <a:lnTo>
                        <a:pt x="216" y="586"/>
                      </a:lnTo>
                      <a:lnTo>
                        <a:pt x="216" y="586"/>
                      </a:lnTo>
                      <a:lnTo>
                        <a:pt x="212" y="583"/>
                      </a:lnTo>
                      <a:lnTo>
                        <a:pt x="210" y="580"/>
                      </a:lnTo>
                      <a:lnTo>
                        <a:pt x="207" y="577"/>
                      </a:lnTo>
                      <a:lnTo>
                        <a:pt x="206" y="573"/>
                      </a:lnTo>
                      <a:lnTo>
                        <a:pt x="205" y="569"/>
                      </a:lnTo>
                      <a:lnTo>
                        <a:pt x="205" y="564"/>
                      </a:lnTo>
                      <a:lnTo>
                        <a:pt x="206" y="561"/>
                      </a:lnTo>
                      <a:lnTo>
                        <a:pt x="208" y="557"/>
                      </a:lnTo>
                      <a:lnTo>
                        <a:pt x="240" y="502"/>
                      </a:lnTo>
                      <a:lnTo>
                        <a:pt x="240" y="502"/>
                      </a:lnTo>
                      <a:lnTo>
                        <a:pt x="242" y="499"/>
                      </a:lnTo>
                      <a:lnTo>
                        <a:pt x="245" y="495"/>
                      </a:lnTo>
                      <a:lnTo>
                        <a:pt x="249" y="493"/>
                      </a:lnTo>
                      <a:lnTo>
                        <a:pt x="252" y="492"/>
                      </a:lnTo>
                      <a:lnTo>
                        <a:pt x="256" y="491"/>
                      </a:lnTo>
                      <a:lnTo>
                        <a:pt x="260" y="491"/>
                      </a:lnTo>
                      <a:lnTo>
                        <a:pt x="264" y="492"/>
                      </a:lnTo>
                      <a:lnTo>
                        <a:pt x="268" y="494"/>
                      </a:lnTo>
                      <a:lnTo>
                        <a:pt x="416" y="579"/>
                      </a:lnTo>
                      <a:lnTo>
                        <a:pt x="416" y="579"/>
                      </a:lnTo>
                      <a:lnTo>
                        <a:pt x="419" y="582"/>
                      </a:lnTo>
                      <a:lnTo>
                        <a:pt x="422" y="584"/>
                      </a:lnTo>
                      <a:lnTo>
                        <a:pt x="424" y="588"/>
                      </a:lnTo>
                      <a:lnTo>
                        <a:pt x="425" y="592"/>
                      </a:lnTo>
                      <a:lnTo>
                        <a:pt x="426" y="596"/>
                      </a:lnTo>
                      <a:lnTo>
                        <a:pt x="426" y="600"/>
                      </a:lnTo>
                      <a:lnTo>
                        <a:pt x="425" y="604"/>
                      </a:lnTo>
                      <a:lnTo>
                        <a:pt x="423" y="608"/>
                      </a:lnTo>
                      <a:lnTo>
                        <a:pt x="423" y="608"/>
                      </a:lnTo>
                      <a:close/>
                      <a:moveTo>
                        <a:pt x="656" y="398"/>
                      </a:moveTo>
                      <a:lnTo>
                        <a:pt x="602" y="430"/>
                      </a:lnTo>
                      <a:lnTo>
                        <a:pt x="602" y="430"/>
                      </a:lnTo>
                      <a:lnTo>
                        <a:pt x="598" y="432"/>
                      </a:lnTo>
                      <a:lnTo>
                        <a:pt x="594" y="432"/>
                      </a:lnTo>
                      <a:lnTo>
                        <a:pt x="590" y="433"/>
                      </a:lnTo>
                      <a:lnTo>
                        <a:pt x="585" y="432"/>
                      </a:lnTo>
                      <a:lnTo>
                        <a:pt x="582" y="431"/>
                      </a:lnTo>
                      <a:lnTo>
                        <a:pt x="578" y="428"/>
                      </a:lnTo>
                      <a:lnTo>
                        <a:pt x="575" y="425"/>
                      </a:lnTo>
                      <a:lnTo>
                        <a:pt x="573" y="421"/>
                      </a:lnTo>
                      <a:lnTo>
                        <a:pt x="488" y="274"/>
                      </a:lnTo>
                      <a:lnTo>
                        <a:pt x="488" y="274"/>
                      </a:lnTo>
                      <a:lnTo>
                        <a:pt x="486" y="271"/>
                      </a:lnTo>
                      <a:lnTo>
                        <a:pt x="486" y="267"/>
                      </a:lnTo>
                      <a:lnTo>
                        <a:pt x="486" y="263"/>
                      </a:lnTo>
                      <a:lnTo>
                        <a:pt x="486" y="259"/>
                      </a:lnTo>
                      <a:lnTo>
                        <a:pt x="488" y="255"/>
                      </a:lnTo>
                      <a:lnTo>
                        <a:pt x="490" y="252"/>
                      </a:lnTo>
                      <a:lnTo>
                        <a:pt x="492" y="248"/>
                      </a:lnTo>
                      <a:lnTo>
                        <a:pt x="496" y="245"/>
                      </a:lnTo>
                      <a:lnTo>
                        <a:pt x="550" y="213"/>
                      </a:lnTo>
                      <a:lnTo>
                        <a:pt x="550" y="213"/>
                      </a:lnTo>
                      <a:lnTo>
                        <a:pt x="555" y="212"/>
                      </a:lnTo>
                      <a:lnTo>
                        <a:pt x="559" y="211"/>
                      </a:lnTo>
                      <a:lnTo>
                        <a:pt x="563" y="211"/>
                      </a:lnTo>
                      <a:lnTo>
                        <a:pt x="567" y="211"/>
                      </a:lnTo>
                      <a:lnTo>
                        <a:pt x="571" y="213"/>
                      </a:lnTo>
                      <a:lnTo>
                        <a:pt x="574" y="216"/>
                      </a:lnTo>
                      <a:lnTo>
                        <a:pt x="577" y="219"/>
                      </a:lnTo>
                      <a:lnTo>
                        <a:pt x="579" y="222"/>
                      </a:lnTo>
                      <a:lnTo>
                        <a:pt x="665" y="369"/>
                      </a:lnTo>
                      <a:lnTo>
                        <a:pt x="665" y="369"/>
                      </a:lnTo>
                      <a:lnTo>
                        <a:pt x="667" y="373"/>
                      </a:lnTo>
                      <a:lnTo>
                        <a:pt x="667" y="377"/>
                      </a:lnTo>
                      <a:lnTo>
                        <a:pt x="668" y="381"/>
                      </a:lnTo>
                      <a:lnTo>
                        <a:pt x="667" y="384"/>
                      </a:lnTo>
                      <a:lnTo>
                        <a:pt x="666" y="388"/>
                      </a:lnTo>
                      <a:lnTo>
                        <a:pt x="663" y="393"/>
                      </a:lnTo>
                      <a:lnTo>
                        <a:pt x="661" y="396"/>
                      </a:lnTo>
                      <a:lnTo>
                        <a:pt x="656" y="398"/>
                      </a:lnTo>
                      <a:lnTo>
                        <a:pt x="656" y="398"/>
                      </a:lnTo>
                      <a:close/>
                      <a:moveTo>
                        <a:pt x="986" y="311"/>
                      </a:moveTo>
                      <a:lnTo>
                        <a:pt x="986" y="311"/>
                      </a:lnTo>
                      <a:lnTo>
                        <a:pt x="985" y="315"/>
                      </a:lnTo>
                      <a:lnTo>
                        <a:pt x="984" y="319"/>
                      </a:lnTo>
                      <a:lnTo>
                        <a:pt x="982" y="323"/>
                      </a:lnTo>
                      <a:lnTo>
                        <a:pt x="980" y="326"/>
                      </a:lnTo>
                      <a:lnTo>
                        <a:pt x="976" y="329"/>
                      </a:lnTo>
                      <a:lnTo>
                        <a:pt x="972" y="331"/>
                      </a:lnTo>
                      <a:lnTo>
                        <a:pt x="968" y="332"/>
                      </a:lnTo>
                      <a:lnTo>
                        <a:pt x="964" y="332"/>
                      </a:lnTo>
                      <a:lnTo>
                        <a:pt x="900" y="332"/>
                      </a:lnTo>
                      <a:lnTo>
                        <a:pt x="900" y="332"/>
                      </a:lnTo>
                      <a:lnTo>
                        <a:pt x="896" y="332"/>
                      </a:lnTo>
                      <a:lnTo>
                        <a:pt x="892" y="331"/>
                      </a:lnTo>
                      <a:lnTo>
                        <a:pt x="889" y="329"/>
                      </a:lnTo>
                      <a:lnTo>
                        <a:pt x="886" y="326"/>
                      </a:lnTo>
                      <a:lnTo>
                        <a:pt x="883" y="323"/>
                      </a:lnTo>
                      <a:lnTo>
                        <a:pt x="881" y="319"/>
                      </a:lnTo>
                      <a:lnTo>
                        <a:pt x="880" y="315"/>
                      </a:lnTo>
                      <a:lnTo>
                        <a:pt x="880" y="311"/>
                      </a:lnTo>
                      <a:lnTo>
                        <a:pt x="880" y="141"/>
                      </a:lnTo>
                      <a:lnTo>
                        <a:pt x="880" y="141"/>
                      </a:lnTo>
                      <a:lnTo>
                        <a:pt x="880" y="137"/>
                      </a:lnTo>
                      <a:lnTo>
                        <a:pt x="881" y="133"/>
                      </a:lnTo>
                      <a:lnTo>
                        <a:pt x="883" y="129"/>
                      </a:lnTo>
                      <a:lnTo>
                        <a:pt x="886" y="126"/>
                      </a:lnTo>
                      <a:lnTo>
                        <a:pt x="889" y="124"/>
                      </a:lnTo>
                      <a:lnTo>
                        <a:pt x="892" y="122"/>
                      </a:lnTo>
                      <a:lnTo>
                        <a:pt x="896" y="121"/>
                      </a:lnTo>
                      <a:lnTo>
                        <a:pt x="900" y="120"/>
                      </a:lnTo>
                      <a:lnTo>
                        <a:pt x="964" y="120"/>
                      </a:lnTo>
                      <a:lnTo>
                        <a:pt x="964" y="120"/>
                      </a:lnTo>
                      <a:lnTo>
                        <a:pt x="968" y="121"/>
                      </a:lnTo>
                      <a:lnTo>
                        <a:pt x="972" y="122"/>
                      </a:lnTo>
                      <a:lnTo>
                        <a:pt x="976" y="124"/>
                      </a:lnTo>
                      <a:lnTo>
                        <a:pt x="980" y="126"/>
                      </a:lnTo>
                      <a:lnTo>
                        <a:pt x="982" y="129"/>
                      </a:lnTo>
                      <a:lnTo>
                        <a:pt x="984" y="133"/>
                      </a:lnTo>
                      <a:lnTo>
                        <a:pt x="985" y="137"/>
                      </a:lnTo>
                      <a:lnTo>
                        <a:pt x="986" y="141"/>
                      </a:lnTo>
                      <a:lnTo>
                        <a:pt x="986" y="311"/>
                      </a:lnTo>
                      <a:close/>
                      <a:moveTo>
                        <a:pt x="1377" y="274"/>
                      </a:moveTo>
                      <a:lnTo>
                        <a:pt x="1292" y="421"/>
                      </a:lnTo>
                      <a:lnTo>
                        <a:pt x="1292" y="421"/>
                      </a:lnTo>
                      <a:lnTo>
                        <a:pt x="1290" y="425"/>
                      </a:lnTo>
                      <a:lnTo>
                        <a:pt x="1286" y="428"/>
                      </a:lnTo>
                      <a:lnTo>
                        <a:pt x="1283" y="430"/>
                      </a:lnTo>
                      <a:lnTo>
                        <a:pt x="1279" y="432"/>
                      </a:lnTo>
                      <a:lnTo>
                        <a:pt x="1275" y="432"/>
                      </a:lnTo>
                      <a:lnTo>
                        <a:pt x="1271" y="432"/>
                      </a:lnTo>
                      <a:lnTo>
                        <a:pt x="1267" y="432"/>
                      </a:lnTo>
                      <a:lnTo>
                        <a:pt x="1263" y="430"/>
                      </a:lnTo>
                      <a:lnTo>
                        <a:pt x="1208" y="398"/>
                      </a:lnTo>
                      <a:lnTo>
                        <a:pt x="1208" y="398"/>
                      </a:lnTo>
                      <a:lnTo>
                        <a:pt x="1204" y="395"/>
                      </a:lnTo>
                      <a:lnTo>
                        <a:pt x="1202" y="393"/>
                      </a:lnTo>
                      <a:lnTo>
                        <a:pt x="1200" y="388"/>
                      </a:lnTo>
                      <a:lnTo>
                        <a:pt x="1198" y="384"/>
                      </a:lnTo>
                      <a:lnTo>
                        <a:pt x="1198" y="380"/>
                      </a:lnTo>
                      <a:lnTo>
                        <a:pt x="1198" y="376"/>
                      </a:lnTo>
                      <a:lnTo>
                        <a:pt x="1199" y="373"/>
                      </a:lnTo>
                      <a:lnTo>
                        <a:pt x="1200" y="369"/>
                      </a:lnTo>
                      <a:lnTo>
                        <a:pt x="1285" y="222"/>
                      </a:lnTo>
                      <a:lnTo>
                        <a:pt x="1285" y="222"/>
                      </a:lnTo>
                      <a:lnTo>
                        <a:pt x="1287" y="219"/>
                      </a:lnTo>
                      <a:lnTo>
                        <a:pt x="1291" y="216"/>
                      </a:lnTo>
                      <a:lnTo>
                        <a:pt x="1295" y="213"/>
                      </a:lnTo>
                      <a:lnTo>
                        <a:pt x="1298" y="211"/>
                      </a:lnTo>
                      <a:lnTo>
                        <a:pt x="1302" y="211"/>
                      </a:lnTo>
                      <a:lnTo>
                        <a:pt x="1306" y="211"/>
                      </a:lnTo>
                      <a:lnTo>
                        <a:pt x="1310" y="212"/>
                      </a:lnTo>
                      <a:lnTo>
                        <a:pt x="1314" y="213"/>
                      </a:lnTo>
                      <a:lnTo>
                        <a:pt x="1370" y="245"/>
                      </a:lnTo>
                      <a:lnTo>
                        <a:pt x="1370" y="245"/>
                      </a:lnTo>
                      <a:lnTo>
                        <a:pt x="1373" y="248"/>
                      </a:lnTo>
                      <a:lnTo>
                        <a:pt x="1376" y="252"/>
                      </a:lnTo>
                      <a:lnTo>
                        <a:pt x="1378" y="255"/>
                      </a:lnTo>
                      <a:lnTo>
                        <a:pt x="1379" y="259"/>
                      </a:lnTo>
                      <a:lnTo>
                        <a:pt x="1380" y="263"/>
                      </a:lnTo>
                      <a:lnTo>
                        <a:pt x="1380" y="267"/>
                      </a:lnTo>
                      <a:lnTo>
                        <a:pt x="1379" y="271"/>
                      </a:lnTo>
                      <a:lnTo>
                        <a:pt x="1377" y="274"/>
                      </a:lnTo>
                      <a:lnTo>
                        <a:pt x="1377" y="274"/>
                      </a:lnTo>
                      <a:close/>
                      <a:moveTo>
                        <a:pt x="1474" y="663"/>
                      </a:moveTo>
                      <a:lnTo>
                        <a:pt x="1442" y="608"/>
                      </a:lnTo>
                      <a:lnTo>
                        <a:pt x="1442" y="608"/>
                      </a:lnTo>
                      <a:lnTo>
                        <a:pt x="1440" y="604"/>
                      </a:lnTo>
                      <a:lnTo>
                        <a:pt x="1439" y="599"/>
                      </a:lnTo>
                      <a:lnTo>
                        <a:pt x="1439" y="595"/>
                      </a:lnTo>
                      <a:lnTo>
                        <a:pt x="1440" y="592"/>
                      </a:lnTo>
                      <a:lnTo>
                        <a:pt x="1441" y="588"/>
                      </a:lnTo>
                      <a:lnTo>
                        <a:pt x="1443" y="584"/>
                      </a:lnTo>
                      <a:lnTo>
                        <a:pt x="1446" y="581"/>
                      </a:lnTo>
                      <a:lnTo>
                        <a:pt x="1449" y="579"/>
                      </a:lnTo>
                      <a:lnTo>
                        <a:pt x="1596" y="494"/>
                      </a:lnTo>
                      <a:lnTo>
                        <a:pt x="1596" y="494"/>
                      </a:lnTo>
                      <a:lnTo>
                        <a:pt x="1600" y="492"/>
                      </a:lnTo>
                      <a:lnTo>
                        <a:pt x="1604" y="491"/>
                      </a:lnTo>
                      <a:lnTo>
                        <a:pt x="1609" y="491"/>
                      </a:lnTo>
                      <a:lnTo>
                        <a:pt x="1613" y="492"/>
                      </a:lnTo>
                      <a:lnTo>
                        <a:pt x="1616" y="493"/>
                      </a:lnTo>
                      <a:lnTo>
                        <a:pt x="1620" y="495"/>
                      </a:lnTo>
                      <a:lnTo>
                        <a:pt x="1623" y="499"/>
                      </a:lnTo>
                      <a:lnTo>
                        <a:pt x="1625" y="502"/>
                      </a:lnTo>
                      <a:lnTo>
                        <a:pt x="1657" y="557"/>
                      </a:lnTo>
                      <a:lnTo>
                        <a:pt x="1657" y="557"/>
                      </a:lnTo>
                      <a:lnTo>
                        <a:pt x="1659" y="560"/>
                      </a:lnTo>
                      <a:lnTo>
                        <a:pt x="1660" y="564"/>
                      </a:lnTo>
                      <a:lnTo>
                        <a:pt x="1660" y="569"/>
                      </a:lnTo>
                      <a:lnTo>
                        <a:pt x="1659" y="573"/>
                      </a:lnTo>
                      <a:lnTo>
                        <a:pt x="1658" y="577"/>
                      </a:lnTo>
                      <a:lnTo>
                        <a:pt x="1656" y="580"/>
                      </a:lnTo>
                      <a:lnTo>
                        <a:pt x="1653" y="583"/>
                      </a:lnTo>
                      <a:lnTo>
                        <a:pt x="1650" y="586"/>
                      </a:lnTo>
                      <a:lnTo>
                        <a:pt x="1503" y="670"/>
                      </a:lnTo>
                      <a:lnTo>
                        <a:pt x="1503" y="670"/>
                      </a:lnTo>
                      <a:lnTo>
                        <a:pt x="1498" y="672"/>
                      </a:lnTo>
                      <a:lnTo>
                        <a:pt x="1494" y="674"/>
                      </a:lnTo>
                      <a:lnTo>
                        <a:pt x="1490" y="674"/>
                      </a:lnTo>
                      <a:lnTo>
                        <a:pt x="1486" y="672"/>
                      </a:lnTo>
                      <a:lnTo>
                        <a:pt x="1483" y="671"/>
                      </a:lnTo>
                      <a:lnTo>
                        <a:pt x="1479" y="669"/>
                      </a:lnTo>
                      <a:lnTo>
                        <a:pt x="1476" y="666"/>
                      </a:lnTo>
                      <a:lnTo>
                        <a:pt x="1474" y="663"/>
                      </a:lnTo>
                      <a:lnTo>
                        <a:pt x="1474" y="663"/>
                      </a:lnTo>
                      <a:close/>
                      <a:moveTo>
                        <a:pt x="1751" y="970"/>
                      </a:moveTo>
                      <a:lnTo>
                        <a:pt x="1751" y="970"/>
                      </a:lnTo>
                      <a:lnTo>
                        <a:pt x="1751" y="975"/>
                      </a:lnTo>
                      <a:lnTo>
                        <a:pt x="1750" y="978"/>
                      </a:lnTo>
                      <a:lnTo>
                        <a:pt x="1748" y="982"/>
                      </a:lnTo>
                      <a:lnTo>
                        <a:pt x="1744" y="985"/>
                      </a:lnTo>
                      <a:lnTo>
                        <a:pt x="1741" y="987"/>
                      </a:lnTo>
                      <a:lnTo>
                        <a:pt x="1738" y="990"/>
                      </a:lnTo>
                      <a:lnTo>
                        <a:pt x="1734" y="992"/>
                      </a:lnTo>
                      <a:lnTo>
                        <a:pt x="1730" y="992"/>
                      </a:lnTo>
                      <a:lnTo>
                        <a:pt x="1560" y="992"/>
                      </a:lnTo>
                      <a:lnTo>
                        <a:pt x="1560" y="992"/>
                      </a:lnTo>
                      <a:lnTo>
                        <a:pt x="1556" y="992"/>
                      </a:lnTo>
                      <a:lnTo>
                        <a:pt x="1552" y="990"/>
                      </a:lnTo>
                      <a:lnTo>
                        <a:pt x="1548" y="987"/>
                      </a:lnTo>
                      <a:lnTo>
                        <a:pt x="1545" y="985"/>
                      </a:lnTo>
                      <a:lnTo>
                        <a:pt x="1543" y="982"/>
                      </a:lnTo>
                      <a:lnTo>
                        <a:pt x="1541" y="978"/>
                      </a:lnTo>
                      <a:lnTo>
                        <a:pt x="1540" y="975"/>
                      </a:lnTo>
                      <a:lnTo>
                        <a:pt x="1539" y="970"/>
                      </a:lnTo>
                      <a:lnTo>
                        <a:pt x="1539" y="907"/>
                      </a:lnTo>
                      <a:lnTo>
                        <a:pt x="1539" y="907"/>
                      </a:lnTo>
                      <a:lnTo>
                        <a:pt x="1540" y="902"/>
                      </a:lnTo>
                      <a:lnTo>
                        <a:pt x="1541" y="899"/>
                      </a:lnTo>
                      <a:lnTo>
                        <a:pt x="1543" y="895"/>
                      </a:lnTo>
                      <a:lnTo>
                        <a:pt x="1545" y="892"/>
                      </a:lnTo>
                      <a:lnTo>
                        <a:pt x="1548" y="889"/>
                      </a:lnTo>
                      <a:lnTo>
                        <a:pt x="1552" y="888"/>
                      </a:lnTo>
                      <a:lnTo>
                        <a:pt x="1556" y="886"/>
                      </a:lnTo>
                      <a:lnTo>
                        <a:pt x="1560" y="886"/>
                      </a:lnTo>
                      <a:lnTo>
                        <a:pt x="1730" y="886"/>
                      </a:lnTo>
                      <a:lnTo>
                        <a:pt x="1730" y="886"/>
                      </a:lnTo>
                      <a:lnTo>
                        <a:pt x="1734" y="886"/>
                      </a:lnTo>
                      <a:lnTo>
                        <a:pt x="1738" y="888"/>
                      </a:lnTo>
                      <a:lnTo>
                        <a:pt x="1741" y="889"/>
                      </a:lnTo>
                      <a:lnTo>
                        <a:pt x="1744" y="892"/>
                      </a:lnTo>
                      <a:lnTo>
                        <a:pt x="1748" y="895"/>
                      </a:lnTo>
                      <a:lnTo>
                        <a:pt x="1750" y="899"/>
                      </a:lnTo>
                      <a:lnTo>
                        <a:pt x="1751" y="902"/>
                      </a:lnTo>
                      <a:lnTo>
                        <a:pt x="1751" y="907"/>
                      </a:lnTo>
                      <a:lnTo>
                        <a:pt x="1751" y="9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33" name="Freeform 32"/>
                <p:cNvSpPr>
                  <a:spLocks/>
                </p:cNvSpPr>
                <p:nvPr/>
              </p:nvSpPr>
              <p:spPr bwMode="auto">
                <a:xfrm>
                  <a:off x="4262438" y="3946525"/>
                  <a:ext cx="87313" cy="87313"/>
                </a:xfrm>
                <a:custGeom>
                  <a:avLst/>
                  <a:gdLst>
                    <a:gd name="T0" fmla="*/ 82 w 221"/>
                    <a:gd name="T1" fmla="*/ 3 h 220"/>
                    <a:gd name="T2" fmla="*/ 61 w 221"/>
                    <a:gd name="T3" fmla="*/ 11 h 220"/>
                    <a:gd name="T4" fmla="*/ 43 w 221"/>
                    <a:gd name="T5" fmla="*/ 22 h 220"/>
                    <a:gd name="T6" fmla="*/ 27 w 221"/>
                    <a:gd name="T7" fmla="*/ 37 h 220"/>
                    <a:gd name="T8" fmla="*/ 15 w 221"/>
                    <a:gd name="T9" fmla="*/ 54 h 220"/>
                    <a:gd name="T10" fmla="*/ 6 w 221"/>
                    <a:gd name="T11" fmla="*/ 74 h 220"/>
                    <a:gd name="T12" fmla="*/ 1 w 221"/>
                    <a:gd name="T13" fmla="*/ 94 h 220"/>
                    <a:gd name="T14" fmla="*/ 0 w 221"/>
                    <a:gd name="T15" fmla="*/ 116 h 220"/>
                    <a:gd name="T16" fmla="*/ 4 w 221"/>
                    <a:gd name="T17" fmla="*/ 139 h 220"/>
                    <a:gd name="T18" fmla="*/ 8 w 221"/>
                    <a:gd name="T19" fmla="*/ 149 h 220"/>
                    <a:gd name="T20" fmla="*/ 17 w 221"/>
                    <a:gd name="T21" fmla="*/ 169 h 220"/>
                    <a:gd name="T22" fmla="*/ 30 w 221"/>
                    <a:gd name="T23" fmla="*/ 185 h 220"/>
                    <a:gd name="T24" fmla="*/ 47 w 221"/>
                    <a:gd name="T25" fmla="*/ 199 h 220"/>
                    <a:gd name="T26" fmla="*/ 65 w 221"/>
                    <a:gd name="T27" fmla="*/ 210 h 220"/>
                    <a:gd name="T28" fmla="*/ 85 w 221"/>
                    <a:gd name="T29" fmla="*/ 217 h 220"/>
                    <a:gd name="T30" fmla="*/ 106 w 221"/>
                    <a:gd name="T31" fmla="*/ 220 h 220"/>
                    <a:gd name="T32" fmla="*/ 128 w 221"/>
                    <a:gd name="T33" fmla="*/ 218 h 220"/>
                    <a:gd name="T34" fmla="*/ 139 w 221"/>
                    <a:gd name="T35" fmla="*/ 216 h 220"/>
                    <a:gd name="T36" fmla="*/ 160 w 221"/>
                    <a:gd name="T37" fmla="*/ 208 h 220"/>
                    <a:gd name="T38" fmla="*/ 178 w 221"/>
                    <a:gd name="T39" fmla="*/ 196 h 220"/>
                    <a:gd name="T40" fmla="*/ 194 w 221"/>
                    <a:gd name="T41" fmla="*/ 182 h 220"/>
                    <a:gd name="T42" fmla="*/ 206 w 221"/>
                    <a:gd name="T43" fmla="*/ 164 h 220"/>
                    <a:gd name="T44" fmla="*/ 214 w 221"/>
                    <a:gd name="T45" fmla="*/ 145 h 220"/>
                    <a:gd name="T46" fmla="*/ 220 w 221"/>
                    <a:gd name="T47" fmla="*/ 124 h 220"/>
                    <a:gd name="T48" fmla="*/ 221 w 221"/>
                    <a:gd name="T49" fmla="*/ 103 h 220"/>
                    <a:gd name="T50" fmla="*/ 216 w 221"/>
                    <a:gd name="T51" fmla="*/ 81 h 220"/>
                    <a:gd name="T52" fmla="*/ 213 w 221"/>
                    <a:gd name="T53" fmla="*/ 70 h 220"/>
                    <a:gd name="T54" fmla="*/ 203 w 221"/>
                    <a:gd name="T55" fmla="*/ 50 h 220"/>
                    <a:gd name="T56" fmla="*/ 191 w 221"/>
                    <a:gd name="T57" fmla="*/ 34 h 220"/>
                    <a:gd name="T58" fmla="*/ 174 w 221"/>
                    <a:gd name="T59" fmla="*/ 19 h 220"/>
                    <a:gd name="T60" fmla="*/ 156 w 221"/>
                    <a:gd name="T61" fmla="*/ 9 h 220"/>
                    <a:gd name="T62" fmla="*/ 136 w 221"/>
                    <a:gd name="T63" fmla="*/ 2 h 220"/>
                    <a:gd name="T64" fmla="*/ 115 w 221"/>
                    <a:gd name="T65" fmla="*/ 0 h 220"/>
                    <a:gd name="T66" fmla="*/ 93 w 221"/>
                    <a:gd name="T67" fmla="*/ 1 h 220"/>
                    <a:gd name="T68" fmla="*/ 82 w 221"/>
                    <a:gd name="T69" fmla="*/ 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220">
                      <a:moveTo>
                        <a:pt x="82" y="3"/>
                      </a:moveTo>
                      <a:lnTo>
                        <a:pt x="82" y="3"/>
                      </a:lnTo>
                      <a:lnTo>
                        <a:pt x="71" y="7"/>
                      </a:lnTo>
                      <a:lnTo>
                        <a:pt x="61" y="11"/>
                      </a:lnTo>
                      <a:lnTo>
                        <a:pt x="52" y="16"/>
                      </a:lnTo>
                      <a:lnTo>
                        <a:pt x="43" y="22"/>
                      </a:lnTo>
                      <a:lnTo>
                        <a:pt x="34" y="30"/>
                      </a:lnTo>
                      <a:lnTo>
                        <a:pt x="27" y="37"/>
                      </a:lnTo>
                      <a:lnTo>
                        <a:pt x="21" y="45"/>
                      </a:lnTo>
                      <a:lnTo>
                        <a:pt x="15" y="54"/>
                      </a:lnTo>
                      <a:lnTo>
                        <a:pt x="10" y="64"/>
                      </a:lnTo>
                      <a:lnTo>
                        <a:pt x="6" y="74"/>
                      </a:lnTo>
                      <a:lnTo>
                        <a:pt x="3" y="84"/>
                      </a:lnTo>
                      <a:lnTo>
                        <a:pt x="1" y="94"/>
                      </a:lnTo>
                      <a:lnTo>
                        <a:pt x="0" y="105"/>
                      </a:lnTo>
                      <a:lnTo>
                        <a:pt x="0" y="116"/>
                      </a:lnTo>
                      <a:lnTo>
                        <a:pt x="1" y="127"/>
                      </a:lnTo>
                      <a:lnTo>
                        <a:pt x="4" y="139"/>
                      </a:lnTo>
                      <a:lnTo>
                        <a:pt x="4" y="139"/>
                      </a:lnTo>
                      <a:lnTo>
                        <a:pt x="8" y="149"/>
                      </a:lnTo>
                      <a:lnTo>
                        <a:pt x="12" y="159"/>
                      </a:lnTo>
                      <a:lnTo>
                        <a:pt x="17" y="169"/>
                      </a:lnTo>
                      <a:lnTo>
                        <a:pt x="23" y="178"/>
                      </a:lnTo>
                      <a:lnTo>
                        <a:pt x="30" y="185"/>
                      </a:lnTo>
                      <a:lnTo>
                        <a:pt x="38" y="193"/>
                      </a:lnTo>
                      <a:lnTo>
                        <a:pt x="47" y="199"/>
                      </a:lnTo>
                      <a:lnTo>
                        <a:pt x="56" y="205"/>
                      </a:lnTo>
                      <a:lnTo>
                        <a:pt x="65" y="210"/>
                      </a:lnTo>
                      <a:lnTo>
                        <a:pt x="74" y="214"/>
                      </a:lnTo>
                      <a:lnTo>
                        <a:pt x="85" y="217"/>
                      </a:lnTo>
                      <a:lnTo>
                        <a:pt x="95" y="219"/>
                      </a:lnTo>
                      <a:lnTo>
                        <a:pt x="106" y="220"/>
                      </a:lnTo>
                      <a:lnTo>
                        <a:pt x="118" y="220"/>
                      </a:lnTo>
                      <a:lnTo>
                        <a:pt x="128" y="218"/>
                      </a:lnTo>
                      <a:lnTo>
                        <a:pt x="139" y="216"/>
                      </a:lnTo>
                      <a:lnTo>
                        <a:pt x="139" y="216"/>
                      </a:lnTo>
                      <a:lnTo>
                        <a:pt x="150" y="213"/>
                      </a:lnTo>
                      <a:lnTo>
                        <a:pt x="160" y="208"/>
                      </a:lnTo>
                      <a:lnTo>
                        <a:pt x="169" y="203"/>
                      </a:lnTo>
                      <a:lnTo>
                        <a:pt x="178" y="196"/>
                      </a:lnTo>
                      <a:lnTo>
                        <a:pt x="187" y="189"/>
                      </a:lnTo>
                      <a:lnTo>
                        <a:pt x="194" y="182"/>
                      </a:lnTo>
                      <a:lnTo>
                        <a:pt x="200" y="174"/>
                      </a:lnTo>
                      <a:lnTo>
                        <a:pt x="206" y="164"/>
                      </a:lnTo>
                      <a:lnTo>
                        <a:pt x="211" y="155"/>
                      </a:lnTo>
                      <a:lnTo>
                        <a:pt x="214" y="145"/>
                      </a:lnTo>
                      <a:lnTo>
                        <a:pt x="217" y="135"/>
                      </a:lnTo>
                      <a:lnTo>
                        <a:pt x="220" y="124"/>
                      </a:lnTo>
                      <a:lnTo>
                        <a:pt x="221" y="114"/>
                      </a:lnTo>
                      <a:lnTo>
                        <a:pt x="221" y="103"/>
                      </a:lnTo>
                      <a:lnTo>
                        <a:pt x="220" y="91"/>
                      </a:lnTo>
                      <a:lnTo>
                        <a:pt x="216" y="81"/>
                      </a:lnTo>
                      <a:lnTo>
                        <a:pt x="216" y="81"/>
                      </a:lnTo>
                      <a:lnTo>
                        <a:pt x="213" y="70"/>
                      </a:lnTo>
                      <a:lnTo>
                        <a:pt x="209" y="59"/>
                      </a:lnTo>
                      <a:lnTo>
                        <a:pt x="203" y="50"/>
                      </a:lnTo>
                      <a:lnTo>
                        <a:pt x="197" y="42"/>
                      </a:lnTo>
                      <a:lnTo>
                        <a:pt x="191" y="34"/>
                      </a:lnTo>
                      <a:lnTo>
                        <a:pt x="183" y="27"/>
                      </a:lnTo>
                      <a:lnTo>
                        <a:pt x="174" y="19"/>
                      </a:lnTo>
                      <a:lnTo>
                        <a:pt x="165" y="14"/>
                      </a:lnTo>
                      <a:lnTo>
                        <a:pt x="156" y="9"/>
                      </a:lnTo>
                      <a:lnTo>
                        <a:pt x="146" y="5"/>
                      </a:lnTo>
                      <a:lnTo>
                        <a:pt x="136" y="2"/>
                      </a:lnTo>
                      <a:lnTo>
                        <a:pt x="126" y="0"/>
                      </a:lnTo>
                      <a:lnTo>
                        <a:pt x="115" y="0"/>
                      </a:lnTo>
                      <a:lnTo>
                        <a:pt x="104" y="0"/>
                      </a:lnTo>
                      <a:lnTo>
                        <a:pt x="93" y="1"/>
                      </a:lnTo>
                      <a:lnTo>
                        <a:pt x="82" y="3"/>
                      </a:lnTo>
                      <a:lnTo>
                        <a:pt x="8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828" name="Freeform 12"/>
              <p:cNvSpPr>
                <a:spLocks/>
              </p:cNvSpPr>
              <p:nvPr/>
            </p:nvSpPr>
            <p:spPr bwMode="auto">
              <a:xfrm>
                <a:off x="265104" y="6023317"/>
                <a:ext cx="1135580" cy="413784"/>
              </a:xfrm>
              <a:custGeom>
                <a:avLst/>
                <a:gdLst>
                  <a:gd name="T0" fmla="*/ 0 w 1954"/>
                  <a:gd name="T1" fmla="*/ 242 h 712"/>
                  <a:gd name="T2" fmla="*/ 880 w 1954"/>
                  <a:gd name="T3" fmla="*/ 0 h 712"/>
                  <a:gd name="T4" fmla="*/ 1808 w 1954"/>
                  <a:gd name="T5" fmla="*/ 0 h 712"/>
                  <a:gd name="T6" fmla="*/ 1954 w 1954"/>
                  <a:gd name="T7" fmla="*/ 368 h 712"/>
                  <a:gd name="T8" fmla="*/ 1954 w 1954"/>
                  <a:gd name="T9" fmla="*/ 712 h 712"/>
                  <a:gd name="T10" fmla="*/ 0 w 1954"/>
                  <a:gd name="T11" fmla="*/ 712 h 712"/>
                  <a:gd name="T12" fmla="*/ 0 w 1954"/>
                  <a:gd name="T13" fmla="*/ 242 h 712"/>
                </a:gdLst>
                <a:ahLst/>
                <a:cxnLst>
                  <a:cxn ang="0">
                    <a:pos x="T0" y="T1"/>
                  </a:cxn>
                  <a:cxn ang="0">
                    <a:pos x="T2" y="T3"/>
                  </a:cxn>
                  <a:cxn ang="0">
                    <a:pos x="T4" y="T5"/>
                  </a:cxn>
                  <a:cxn ang="0">
                    <a:pos x="T6" y="T7"/>
                  </a:cxn>
                  <a:cxn ang="0">
                    <a:pos x="T8" y="T9"/>
                  </a:cxn>
                  <a:cxn ang="0">
                    <a:pos x="T10" y="T11"/>
                  </a:cxn>
                  <a:cxn ang="0">
                    <a:pos x="T12" y="T13"/>
                  </a:cxn>
                </a:cxnLst>
                <a:rect l="0" t="0" r="r" b="b"/>
                <a:pathLst>
                  <a:path w="1954" h="712">
                    <a:moveTo>
                      <a:pt x="0" y="242"/>
                    </a:moveTo>
                    <a:lnTo>
                      <a:pt x="880" y="0"/>
                    </a:lnTo>
                    <a:lnTo>
                      <a:pt x="1808" y="0"/>
                    </a:lnTo>
                    <a:lnTo>
                      <a:pt x="1954" y="368"/>
                    </a:lnTo>
                    <a:lnTo>
                      <a:pt x="1954" y="712"/>
                    </a:lnTo>
                    <a:lnTo>
                      <a:pt x="0" y="712"/>
                    </a:lnTo>
                    <a:lnTo>
                      <a:pt x="0" y="242"/>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29" name="Freeform 13"/>
              <p:cNvSpPr>
                <a:spLocks/>
              </p:cNvSpPr>
              <p:nvPr/>
            </p:nvSpPr>
            <p:spPr bwMode="auto">
              <a:xfrm>
                <a:off x="838125" y="5847807"/>
                <a:ext cx="167373" cy="167373"/>
              </a:xfrm>
              <a:custGeom>
                <a:avLst/>
                <a:gdLst>
                  <a:gd name="T0" fmla="*/ 288 w 288"/>
                  <a:gd name="T1" fmla="*/ 144 h 288"/>
                  <a:gd name="T2" fmla="*/ 284 w 288"/>
                  <a:gd name="T3" fmla="*/ 174 h 288"/>
                  <a:gd name="T4" fmla="*/ 276 w 288"/>
                  <a:gd name="T5" fmla="*/ 200 h 288"/>
                  <a:gd name="T6" fmla="*/ 264 w 288"/>
                  <a:gd name="T7" fmla="*/ 224 h 288"/>
                  <a:gd name="T8" fmla="*/ 246 w 288"/>
                  <a:gd name="T9" fmla="*/ 246 h 288"/>
                  <a:gd name="T10" fmla="*/ 224 w 288"/>
                  <a:gd name="T11" fmla="*/ 264 h 288"/>
                  <a:gd name="T12" fmla="*/ 200 w 288"/>
                  <a:gd name="T13" fmla="*/ 276 h 288"/>
                  <a:gd name="T14" fmla="*/ 172 w 288"/>
                  <a:gd name="T15" fmla="*/ 286 h 288"/>
                  <a:gd name="T16" fmla="*/ 144 w 288"/>
                  <a:gd name="T17" fmla="*/ 288 h 288"/>
                  <a:gd name="T18" fmla="*/ 130 w 288"/>
                  <a:gd name="T19" fmla="*/ 288 h 288"/>
                  <a:gd name="T20" fmla="*/ 102 w 288"/>
                  <a:gd name="T21" fmla="*/ 282 h 288"/>
                  <a:gd name="T22" fmla="*/ 76 w 288"/>
                  <a:gd name="T23" fmla="*/ 270 h 288"/>
                  <a:gd name="T24" fmla="*/ 52 w 288"/>
                  <a:gd name="T25" fmla="*/ 256 h 288"/>
                  <a:gd name="T26" fmla="*/ 32 w 288"/>
                  <a:gd name="T27" fmla="*/ 236 h 288"/>
                  <a:gd name="T28" fmla="*/ 18 w 288"/>
                  <a:gd name="T29" fmla="*/ 212 h 288"/>
                  <a:gd name="T30" fmla="*/ 6 w 288"/>
                  <a:gd name="T31" fmla="*/ 186 h 288"/>
                  <a:gd name="T32" fmla="*/ 0 w 288"/>
                  <a:gd name="T33" fmla="*/ 158 h 288"/>
                  <a:gd name="T34" fmla="*/ 0 w 288"/>
                  <a:gd name="T35" fmla="*/ 144 h 288"/>
                  <a:gd name="T36" fmla="*/ 2 w 288"/>
                  <a:gd name="T37" fmla="*/ 114 h 288"/>
                  <a:gd name="T38" fmla="*/ 12 w 288"/>
                  <a:gd name="T39" fmla="*/ 88 h 288"/>
                  <a:gd name="T40" fmla="*/ 24 w 288"/>
                  <a:gd name="T41" fmla="*/ 64 h 288"/>
                  <a:gd name="T42" fmla="*/ 42 w 288"/>
                  <a:gd name="T43" fmla="*/ 42 h 288"/>
                  <a:gd name="T44" fmla="*/ 64 w 288"/>
                  <a:gd name="T45" fmla="*/ 24 h 288"/>
                  <a:gd name="T46" fmla="*/ 88 w 288"/>
                  <a:gd name="T47" fmla="*/ 12 h 288"/>
                  <a:gd name="T48" fmla="*/ 114 w 288"/>
                  <a:gd name="T49" fmla="*/ 2 h 288"/>
                  <a:gd name="T50" fmla="*/ 144 w 288"/>
                  <a:gd name="T51" fmla="*/ 0 h 288"/>
                  <a:gd name="T52" fmla="*/ 158 w 288"/>
                  <a:gd name="T53" fmla="*/ 0 h 288"/>
                  <a:gd name="T54" fmla="*/ 186 w 288"/>
                  <a:gd name="T55" fmla="*/ 6 h 288"/>
                  <a:gd name="T56" fmla="*/ 212 w 288"/>
                  <a:gd name="T57" fmla="*/ 18 h 288"/>
                  <a:gd name="T58" fmla="*/ 236 w 288"/>
                  <a:gd name="T59" fmla="*/ 32 h 288"/>
                  <a:gd name="T60" fmla="*/ 256 w 288"/>
                  <a:gd name="T61" fmla="*/ 52 h 288"/>
                  <a:gd name="T62" fmla="*/ 270 w 288"/>
                  <a:gd name="T63" fmla="*/ 76 h 288"/>
                  <a:gd name="T64" fmla="*/ 282 w 288"/>
                  <a:gd name="T65" fmla="*/ 102 h 288"/>
                  <a:gd name="T66" fmla="*/ 288 w 288"/>
                  <a:gd name="T67" fmla="*/ 130 h 288"/>
                  <a:gd name="T68" fmla="*/ 288 w 288"/>
                  <a:gd name="T69" fmla="*/ 1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8" h="288">
                    <a:moveTo>
                      <a:pt x="288" y="144"/>
                    </a:moveTo>
                    <a:lnTo>
                      <a:pt x="288" y="144"/>
                    </a:lnTo>
                    <a:lnTo>
                      <a:pt x="288" y="158"/>
                    </a:lnTo>
                    <a:lnTo>
                      <a:pt x="284" y="174"/>
                    </a:lnTo>
                    <a:lnTo>
                      <a:pt x="282" y="186"/>
                    </a:lnTo>
                    <a:lnTo>
                      <a:pt x="276" y="200"/>
                    </a:lnTo>
                    <a:lnTo>
                      <a:pt x="270" y="212"/>
                    </a:lnTo>
                    <a:lnTo>
                      <a:pt x="264" y="224"/>
                    </a:lnTo>
                    <a:lnTo>
                      <a:pt x="256" y="236"/>
                    </a:lnTo>
                    <a:lnTo>
                      <a:pt x="246" y="246"/>
                    </a:lnTo>
                    <a:lnTo>
                      <a:pt x="236" y="256"/>
                    </a:lnTo>
                    <a:lnTo>
                      <a:pt x="224" y="264"/>
                    </a:lnTo>
                    <a:lnTo>
                      <a:pt x="212" y="270"/>
                    </a:lnTo>
                    <a:lnTo>
                      <a:pt x="200" y="276"/>
                    </a:lnTo>
                    <a:lnTo>
                      <a:pt x="186" y="282"/>
                    </a:lnTo>
                    <a:lnTo>
                      <a:pt x="172" y="286"/>
                    </a:lnTo>
                    <a:lnTo>
                      <a:pt x="158" y="288"/>
                    </a:lnTo>
                    <a:lnTo>
                      <a:pt x="144" y="288"/>
                    </a:lnTo>
                    <a:lnTo>
                      <a:pt x="144" y="288"/>
                    </a:lnTo>
                    <a:lnTo>
                      <a:pt x="130" y="288"/>
                    </a:lnTo>
                    <a:lnTo>
                      <a:pt x="114" y="286"/>
                    </a:lnTo>
                    <a:lnTo>
                      <a:pt x="102" y="282"/>
                    </a:lnTo>
                    <a:lnTo>
                      <a:pt x="88" y="276"/>
                    </a:lnTo>
                    <a:lnTo>
                      <a:pt x="76" y="270"/>
                    </a:lnTo>
                    <a:lnTo>
                      <a:pt x="64" y="264"/>
                    </a:lnTo>
                    <a:lnTo>
                      <a:pt x="52" y="256"/>
                    </a:lnTo>
                    <a:lnTo>
                      <a:pt x="42" y="246"/>
                    </a:lnTo>
                    <a:lnTo>
                      <a:pt x="32" y="236"/>
                    </a:lnTo>
                    <a:lnTo>
                      <a:pt x="24" y="224"/>
                    </a:lnTo>
                    <a:lnTo>
                      <a:pt x="18" y="212"/>
                    </a:lnTo>
                    <a:lnTo>
                      <a:pt x="12" y="200"/>
                    </a:lnTo>
                    <a:lnTo>
                      <a:pt x="6" y="186"/>
                    </a:lnTo>
                    <a:lnTo>
                      <a:pt x="2" y="174"/>
                    </a:lnTo>
                    <a:lnTo>
                      <a:pt x="0" y="158"/>
                    </a:lnTo>
                    <a:lnTo>
                      <a:pt x="0" y="144"/>
                    </a:lnTo>
                    <a:lnTo>
                      <a:pt x="0" y="144"/>
                    </a:lnTo>
                    <a:lnTo>
                      <a:pt x="0" y="130"/>
                    </a:lnTo>
                    <a:lnTo>
                      <a:pt x="2" y="114"/>
                    </a:lnTo>
                    <a:lnTo>
                      <a:pt x="6" y="102"/>
                    </a:lnTo>
                    <a:lnTo>
                      <a:pt x="12" y="88"/>
                    </a:lnTo>
                    <a:lnTo>
                      <a:pt x="18" y="76"/>
                    </a:lnTo>
                    <a:lnTo>
                      <a:pt x="24" y="64"/>
                    </a:lnTo>
                    <a:lnTo>
                      <a:pt x="32" y="52"/>
                    </a:lnTo>
                    <a:lnTo>
                      <a:pt x="42" y="42"/>
                    </a:lnTo>
                    <a:lnTo>
                      <a:pt x="52" y="32"/>
                    </a:lnTo>
                    <a:lnTo>
                      <a:pt x="64" y="24"/>
                    </a:lnTo>
                    <a:lnTo>
                      <a:pt x="76" y="18"/>
                    </a:lnTo>
                    <a:lnTo>
                      <a:pt x="88" y="12"/>
                    </a:lnTo>
                    <a:lnTo>
                      <a:pt x="102" y="6"/>
                    </a:lnTo>
                    <a:lnTo>
                      <a:pt x="114" y="2"/>
                    </a:lnTo>
                    <a:lnTo>
                      <a:pt x="130" y="0"/>
                    </a:lnTo>
                    <a:lnTo>
                      <a:pt x="144" y="0"/>
                    </a:lnTo>
                    <a:lnTo>
                      <a:pt x="144" y="0"/>
                    </a:lnTo>
                    <a:lnTo>
                      <a:pt x="158" y="0"/>
                    </a:lnTo>
                    <a:lnTo>
                      <a:pt x="172" y="2"/>
                    </a:lnTo>
                    <a:lnTo>
                      <a:pt x="186" y="6"/>
                    </a:lnTo>
                    <a:lnTo>
                      <a:pt x="200" y="12"/>
                    </a:lnTo>
                    <a:lnTo>
                      <a:pt x="212" y="18"/>
                    </a:lnTo>
                    <a:lnTo>
                      <a:pt x="224" y="24"/>
                    </a:lnTo>
                    <a:lnTo>
                      <a:pt x="236" y="32"/>
                    </a:lnTo>
                    <a:lnTo>
                      <a:pt x="246" y="42"/>
                    </a:lnTo>
                    <a:lnTo>
                      <a:pt x="256" y="52"/>
                    </a:lnTo>
                    <a:lnTo>
                      <a:pt x="264" y="64"/>
                    </a:lnTo>
                    <a:lnTo>
                      <a:pt x="270" y="76"/>
                    </a:lnTo>
                    <a:lnTo>
                      <a:pt x="276" y="88"/>
                    </a:lnTo>
                    <a:lnTo>
                      <a:pt x="282" y="102"/>
                    </a:lnTo>
                    <a:lnTo>
                      <a:pt x="284" y="114"/>
                    </a:lnTo>
                    <a:lnTo>
                      <a:pt x="288" y="130"/>
                    </a:lnTo>
                    <a:lnTo>
                      <a:pt x="288" y="144"/>
                    </a:lnTo>
                    <a:lnTo>
                      <a:pt x="288" y="144"/>
                    </a:lnTo>
                    <a:close/>
                  </a:path>
                </a:pathLst>
              </a:custGeom>
              <a:solidFill>
                <a:schemeClr val="accent1">
                  <a:alpha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0" name="Freeform 14"/>
              <p:cNvSpPr>
                <a:spLocks/>
              </p:cNvSpPr>
              <p:nvPr/>
            </p:nvSpPr>
            <p:spPr bwMode="auto">
              <a:xfrm>
                <a:off x="955518" y="5847807"/>
                <a:ext cx="167373" cy="167373"/>
              </a:xfrm>
              <a:custGeom>
                <a:avLst/>
                <a:gdLst>
                  <a:gd name="T0" fmla="*/ 288 w 288"/>
                  <a:gd name="T1" fmla="*/ 144 h 288"/>
                  <a:gd name="T2" fmla="*/ 286 w 288"/>
                  <a:gd name="T3" fmla="*/ 174 h 288"/>
                  <a:gd name="T4" fmla="*/ 278 w 288"/>
                  <a:gd name="T5" fmla="*/ 200 h 288"/>
                  <a:gd name="T6" fmla="*/ 264 w 288"/>
                  <a:gd name="T7" fmla="*/ 224 h 288"/>
                  <a:gd name="T8" fmla="*/ 246 w 288"/>
                  <a:gd name="T9" fmla="*/ 246 h 288"/>
                  <a:gd name="T10" fmla="*/ 224 w 288"/>
                  <a:gd name="T11" fmla="*/ 264 h 288"/>
                  <a:gd name="T12" fmla="*/ 200 w 288"/>
                  <a:gd name="T13" fmla="*/ 276 h 288"/>
                  <a:gd name="T14" fmla="*/ 174 w 288"/>
                  <a:gd name="T15" fmla="*/ 286 h 288"/>
                  <a:gd name="T16" fmla="*/ 144 w 288"/>
                  <a:gd name="T17" fmla="*/ 288 h 288"/>
                  <a:gd name="T18" fmla="*/ 130 w 288"/>
                  <a:gd name="T19" fmla="*/ 288 h 288"/>
                  <a:gd name="T20" fmla="*/ 102 w 288"/>
                  <a:gd name="T21" fmla="*/ 282 h 288"/>
                  <a:gd name="T22" fmla="*/ 76 w 288"/>
                  <a:gd name="T23" fmla="*/ 270 h 288"/>
                  <a:gd name="T24" fmla="*/ 52 w 288"/>
                  <a:gd name="T25" fmla="*/ 256 h 288"/>
                  <a:gd name="T26" fmla="*/ 34 w 288"/>
                  <a:gd name="T27" fmla="*/ 236 h 288"/>
                  <a:gd name="T28" fmla="*/ 18 w 288"/>
                  <a:gd name="T29" fmla="*/ 212 h 288"/>
                  <a:gd name="T30" fmla="*/ 6 w 288"/>
                  <a:gd name="T31" fmla="*/ 186 h 288"/>
                  <a:gd name="T32" fmla="*/ 2 w 288"/>
                  <a:gd name="T33" fmla="*/ 158 h 288"/>
                  <a:gd name="T34" fmla="*/ 0 w 288"/>
                  <a:gd name="T35" fmla="*/ 144 h 288"/>
                  <a:gd name="T36" fmla="*/ 4 w 288"/>
                  <a:gd name="T37" fmla="*/ 114 h 288"/>
                  <a:gd name="T38" fmla="*/ 12 w 288"/>
                  <a:gd name="T39" fmla="*/ 88 h 288"/>
                  <a:gd name="T40" fmla="*/ 26 w 288"/>
                  <a:gd name="T41" fmla="*/ 64 h 288"/>
                  <a:gd name="T42" fmla="*/ 42 w 288"/>
                  <a:gd name="T43" fmla="*/ 42 h 288"/>
                  <a:gd name="T44" fmla="*/ 64 w 288"/>
                  <a:gd name="T45" fmla="*/ 24 h 288"/>
                  <a:gd name="T46" fmla="*/ 88 w 288"/>
                  <a:gd name="T47" fmla="*/ 12 h 288"/>
                  <a:gd name="T48" fmla="*/ 116 w 288"/>
                  <a:gd name="T49" fmla="*/ 2 h 288"/>
                  <a:gd name="T50" fmla="*/ 144 w 288"/>
                  <a:gd name="T51" fmla="*/ 0 h 288"/>
                  <a:gd name="T52" fmla="*/ 160 w 288"/>
                  <a:gd name="T53" fmla="*/ 0 h 288"/>
                  <a:gd name="T54" fmla="*/ 188 w 288"/>
                  <a:gd name="T55" fmla="*/ 6 h 288"/>
                  <a:gd name="T56" fmla="*/ 214 w 288"/>
                  <a:gd name="T57" fmla="*/ 18 h 288"/>
                  <a:gd name="T58" fmla="*/ 236 w 288"/>
                  <a:gd name="T59" fmla="*/ 32 h 288"/>
                  <a:gd name="T60" fmla="*/ 256 w 288"/>
                  <a:gd name="T61" fmla="*/ 52 h 288"/>
                  <a:gd name="T62" fmla="*/ 272 w 288"/>
                  <a:gd name="T63" fmla="*/ 76 h 288"/>
                  <a:gd name="T64" fmla="*/ 282 w 288"/>
                  <a:gd name="T65" fmla="*/ 102 h 288"/>
                  <a:gd name="T66" fmla="*/ 288 w 288"/>
                  <a:gd name="T67" fmla="*/ 130 h 288"/>
                  <a:gd name="T68" fmla="*/ 288 w 288"/>
                  <a:gd name="T69" fmla="*/ 1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8" h="288">
                    <a:moveTo>
                      <a:pt x="288" y="144"/>
                    </a:moveTo>
                    <a:lnTo>
                      <a:pt x="288" y="144"/>
                    </a:lnTo>
                    <a:lnTo>
                      <a:pt x="288" y="158"/>
                    </a:lnTo>
                    <a:lnTo>
                      <a:pt x="286" y="174"/>
                    </a:lnTo>
                    <a:lnTo>
                      <a:pt x="282" y="186"/>
                    </a:lnTo>
                    <a:lnTo>
                      <a:pt x="278" y="200"/>
                    </a:lnTo>
                    <a:lnTo>
                      <a:pt x="272" y="212"/>
                    </a:lnTo>
                    <a:lnTo>
                      <a:pt x="264" y="224"/>
                    </a:lnTo>
                    <a:lnTo>
                      <a:pt x="256" y="236"/>
                    </a:lnTo>
                    <a:lnTo>
                      <a:pt x="246" y="246"/>
                    </a:lnTo>
                    <a:lnTo>
                      <a:pt x="236" y="256"/>
                    </a:lnTo>
                    <a:lnTo>
                      <a:pt x="224" y="264"/>
                    </a:lnTo>
                    <a:lnTo>
                      <a:pt x="214" y="270"/>
                    </a:lnTo>
                    <a:lnTo>
                      <a:pt x="200" y="276"/>
                    </a:lnTo>
                    <a:lnTo>
                      <a:pt x="188" y="282"/>
                    </a:lnTo>
                    <a:lnTo>
                      <a:pt x="174" y="286"/>
                    </a:lnTo>
                    <a:lnTo>
                      <a:pt x="160" y="288"/>
                    </a:lnTo>
                    <a:lnTo>
                      <a:pt x="144" y="288"/>
                    </a:lnTo>
                    <a:lnTo>
                      <a:pt x="144" y="288"/>
                    </a:lnTo>
                    <a:lnTo>
                      <a:pt x="130" y="288"/>
                    </a:lnTo>
                    <a:lnTo>
                      <a:pt x="116" y="286"/>
                    </a:lnTo>
                    <a:lnTo>
                      <a:pt x="102" y="282"/>
                    </a:lnTo>
                    <a:lnTo>
                      <a:pt x="88" y="276"/>
                    </a:lnTo>
                    <a:lnTo>
                      <a:pt x="76" y="270"/>
                    </a:lnTo>
                    <a:lnTo>
                      <a:pt x="64" y="264"/>
                    </a:lnTo>
                    <a:lnTo>
                      <a:pt x="52" y="256"/>
                    </a:lnTo>
                    <a:lnTo>
                      <a:pt x="42" y="246"/>
                    </a:lnTo>
                    <a:lnTo>
                      <a:pt x="34" y="236"/>
                    </a:lnTo>
                    <a:lnTo>
                      <a:pt x="26" y="224"/>
                    </a:lnTo>
                    <a:lnTo>
                      <a:pt x="18" y="212"/>
                    </a:lnTo>
                    <a:lnTo>
                      <a:pt x="12" y="200"/>
                    </a:lnTo>
                    <a:lnTo>
                      <a:pt x="6" y="186"/>
                    </a:lnTo>
                    <a:lnTo>
                      <a:pt x="4" y="174"/>
                    </a:lnTo>
                    <a:lnTo>
                      <a:pt x="2" y="158"/>
                    </a:lnTo>
                    <a:lnTo>
                      <a:pt x="0" y="144"/>
                    </a:lnTo>
                    <a:lnTo>
                      <a:pt x="0" y="144"/>
                    </a:lnTo>
                    <a:lnTo>
                      <a:pt x="2" y="130"/>
                    </a:lnTo>
                    <a:lnTo>
                      <a:pt x="4" y="114"/>
                    </a:lnTo>
                    <a:lnTo>
                      <a:pt x="6" y="102"/>
                    </a:lnTo>
                    <a:lnTo>
                      <a:pt x="12" y="88"/>
                    </a:lnTo>
                    <a:lnTo>
                      <a:pt x="18" y="76"/>
                    </a:lnTo>
                    <a:lnTo>
                      <a:pt x="26" y="64"/>
                    </a:lnTo>
                    <a:lnTo>
                      <a:pt x="34" y="52"/>
                    </a:lnTo>
                    <a:lnTo>
                      <a:pt x="42" y="42"/>
                    </a:lnTo>
                    <a:lnTo>
                      <a:pt x="52" y="32"/>
                    </a:lnTo>
                    <a:lnTo>
                      <a:pt x="64" y="24"/>
                    </a:lnTo>
                    <a:lnTo>
                      <a:pt x="76" y="18"/>
                    </a:lnTo>
                    <a:lnTo>
                      <a:pt x="88" y="12"/>
                    </a:lnTo>
                    <a:lnTo>
                      <a:pt x="102" y="6"/>
                    </a:lnTo>
                    <a:lnTo>
                      <a:pt x="116" y="2"/>
                    </a:lnTo>
                    <a:lnTo>
                      <a:pt x="130" y="0"/>
                    </a:lnTo>
                    <a:lnTo>
                      <a:pt x="144" y="0"/>
                    </a:lnTo>
                    <a:lnTo>
                      <a:pt x="144" y="0"/>
                    </a:lnTo>
                    <a:lnTo>
                      <a:pt x="160" y="0"/>
                    </a:lnTo>
                    <a:lnTo>
                      <a:pt x="174" y="2"/>
                    </a:lnTo>
                    <a:lnTo>
                      <a:pt x="188" y="6"/>
                    </a:lnTo>
                    <a:lnTo>
                      <a:pt x="200" y="12"/>
                    </a:lnTo>
                    <a:lnTo>
                      <a:pt x="214" y="18"/>
                    </a:lnTo>
                    <a:lnTo>
                      <a:pt x="224" y="24"/>
                    </a:lnTo>
                    <a:lnTo>
                      <a:pt x="236" y="32"/>
                    </a:lnTo>
                    <a:lnTo>
                      <a:pt x="246" y="42"/>
                    </a:lnTo>
                    <a:lnTo>
                      <a:pt x="256" y="52"/>
                    </a:lnTo>
                    <a:lnTo>
                      <a:pt x="264" y="64"/>
                    </a:lnTo>
                    <a:lnTo>
                      <a:pt x="272" y="76"/>
                    </a:lnTo>
                    <a:lnTo>
                      <a:pt x="278" y="88"/>
                    </a:lnTo>
                    <a:lnTo>
                      <a:pt x="282" y="102"/>
                    </a:lnTo>
                    <a:lnTo>
                      <a:pt x="286" y="114"/>
                    </a:lnTo>
                    <a:lnTo>
                      <a:pt x="288" y="130"/>
                    </a:lnTo>
                    <a:lnTo>
                      <a:pt x="288" y="144"/>
                    </a:lnTo>
                    <a:lnTo>
                      <a:pt x="288" y="144"/>
                    </a:lnTo>
                    <a:close/>
                  </a:path>
                </a:pathLst>
              </a:custGeom>
              <a:solidFill>
                <a:schemeClr val="accent1">
                  <a:alpha val="7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1" name="Freeform 15"/>
              <p:cNvSpPr>
                <a:spLocks/>
              </p:cNvSpPr>
              <p:nvPr/>
            </p:nvSpPr>
            <p:spPr bwMode="auto">
              <a:xfrm>
                <a:off x="1074074" y="5847807"/>
                <a:ext cx="167373" cy="167373"/>
              </a:xfrm>
              <a:custGeom>
                <a:avLst/>
                <a:gdLst>
                  <a:gd name="T0" fmla="*/ 288 w 288"/>
                  <a:gd name="T1" fmla="*/ 144 h 288"/>
                  <a:gd name="T2" fmla="*/ 284 w 288"/>
                  <a:gd name="T3" fmla="*/ 174 h 288"/>
                  <a:gd name="T4" fmla="*/ 276 w 288"/>
                  <a:gd name="T5" fmla="*/ 200 h 288"/>
                  <a:gd name="T6" fmla="*/ 262 w 288"/>
                  <a:gd name="T7" fmla="*/ 224 h 288"/>
                  <a:gd name="T8" fmla="*/ 244 w 288"/>
                  <a:gd name="T9" fmla="*/ 246 h 288"/>
                  <a:gd name="T10" fmla="*/ 224 w 288"/>
                  <a:gd name="T11" fmla="*/ 264 h 288"/>
                  <a:gd name="T12" fmla="*/ 200 w 288"/>
                  <a:gd name="T13" fmla="*/ 276 h 288"/>
                  <a:gd name="T14" fmla="*/ 172 w 288"/>
                  <a:gd name="T15" fmla="*/ 286 h 288"/>
                  <a:gd name="T16" fmla="*/ 144 w 288"/>
                  <a:gd name="T17" fmla="*/ 288 h 288"/>
                  <a:gd name="T18" fmla="*/ 128 w 288"/>
                  <a:gd name="T19" fmla="*/ 288 h 288"/>
                  <a:gd name="T20" fmla="*/ 100 w 288"/>
                  <a:gd name="T21" fmla="*/ 282 h 288"/>
                  <a:gd name="T22" fmla="*/ 74 w 288"/>
                  <a:gd name="T23" fmla="*/ 270 h 288"/>
                  <a:gd name="T24" fmla="*/ 52 w 288"/>
                  <a:gd name="T25" fmla="*/ 256 h 288"/>
                  <a:gd name="T26" fmla="*/ 32 w 288"/>
                  <a:gd name="T27" fmla="*/ 236 h 288"/>
                  <a:gd name="T28" fmla="*/ 16 w 288"/>
                  <a:gd name="T29" fmla="*/ 212 h 288"/>
                  <a:gd name="T30" fmla="*/ 6 w 288"/>
                  <a:gd name="T31" fmla="*/ 186 h 288"/>
                  <a:gd name="T32" fmla="*/ 0 w 288"/>
                  <a:gd name="T33" fmla="*/ 158 h 288"/>
                  <a:gd name="T34" fmla="*/ 0 w 288"/>
                  <a:gd name="T35" fmla="*/ 144 h 288"/>
                  <a:gd name="T36" fmla="*/ 2 w 288"/>
                  <a:gd name="T37" fmla="*/ 114 h 288"/>
                  <a:gd name="T38" fmla="*/ 10 w 288"/>
                  <a:gd name="T39" fmla="*/ 88 h 288"/>
                  <a:gd name="T40" fmla="*/ 24 w 288"/>
                  <a:gd name="T41" fmla="*/ 64 h 288"/>
                  <a:gd name="T42" fmla="*/ 42 w 288"/>
                  <a:gd name="T43" fmla="*/ 42 h 288"/>
                  <a:gd name="T44" fmla="*/ 62 w 288"/>
                  <a:gd name="T45" fmla="*/ 24 h 288"/>
                  <a:gd name="T46" fmla="*/ 86 w 288"/>
                  <a:gd name="T47" fmla="*/ 12 h 288"/>
                  <a:gd name="T48" fmla="*/ 114 w 288"/>
                  <a:gd name="T49" fmla="*/ 2 h 288"/>
                  <a:gd name="T50" fmla="*/ 144 w 288"/>
                  <a:gd name="T51" fmla="*/ 0 h 288"/>
                  <a:gd name="T52" fmla="*/ 158 w 288"/>
                  <a:gd name="T53" fmla="*/ 0 h 288"/>
                  <a:gd name="T54" fmla="*/ 186 w 288"/>
                  <a:gd name="T55" fmla="*/ 6 h 288"/>
                  <a:gd name="T56" fmla="*/ 212 w 288"/>
                  <a:gd name="T57" fmla="*/ 18 h 288"/>
                  <a:gd name="T58" fmla="*/ 234 w 288"/>
                  <a:gd name="T59" fmla="*/ 32 h 288"/>
                  <a:gd name="T60" fmla="*/ 254 w 288"/>
                  <a:gd name="T61" fmla="*/ 52 h 288"/>
                  <a:gd name="T62" fmla="*/ 270 w 288"/>
                  <a:gd name="T63" fmla="*/ 76 h 288"/>
                  <a:gd name="T64" fmla="*/ 280 w 288"/>
                  <a:gd name="T65" fmla="*/ 102 h 288"/>
                  <a:gd name="T66" fmla="*/ 286 w 288"/>
                  <a:gd name="T67" fmla="*/ 130 h 288"/>
                  <a:gd name="T68" fmla="*/ 288 w 288"/>
                  <a:gd name="T69" fmla="*/ 1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8" h="288">
                    <a:moveTo>
                      <a:pt x="288" y="144"/>
                    </a:moveTo>
                    <a:lnTo>
                      <a:pt x="288" y="144"/>
                    </a:lnTo>
                    <a:lnTo>
                      <a:pt x="286" y="158"/>
                    </a:lnTo>
                    <a:lnTo>
                      <a:pt x="284" y="174"/>
                    </a:lnTo>
                    <a:lnTo>
                      <a:pt x="280" y="186"/>
                    </a:lnTo>
                    <a:lnTo>
                      <a:pt x="276" y="200"/>
                    </a:lnTo>
                    <a:lnTo>
                      <a:pt x="270" y="212"/>
                    </a:lnTo>
                    <a:lnTo>
                      <a:pt x="262" y="224"/>
                    </a:lnTo>
                    <a:lnTo>
                      <a:pt x="254" y="236"/>
                    </a:lnTo>
                    <a:lnTo>
                      <a:pt x="244" y="246"/>
                    </a:lnTo>
                    <a:lnTo>
                      <a:pt x="234" y="256"/>
                    </a:lnTo>
                    <a:lnTo>
                      <a:pt x="224" y="264"/>
                    </a:lnTo>
                    <a:lnTo>
                      <a:pt x="212" y="270"/>
                    </a:lnTo>
                    <a:lnTo>
                      <a:pt x="200" y="276"/>
                    </a:lnTo>
                    <a:lnTo>
                      <a:pt x="186" y="282"/>
                    </a:lnTo>
                    <a:lnTo>
                      <a:pt x="172" y="286"/>
                    </a:lnTo>
                    <a:lnTo>
                      <a:pt x="158" y="288"/>
                    </a:lnTo>
                    <a:lnTo>
                      <a:pt x="144" y="288"/>
                    </a:lnTo>
                    <a:lnTo>
                      <a:pt x="144" y="288"/>
                    </a:lnTo>
                    <a:lnTo>
                      <a:pt x="128" y="288"/>
                    </a:lnTo>
                    <a:lnTo>
                      <a:pt x="114" y="286"/>
                    </a:lnTo>
                    <a:lnTo>
                      <a:pt x="100" y="282"/>
                    </a:lnTo>
                    <a:lnTo>
                      <a:pt x="86" y="276"/>
                    </a:lnTo>
                    <a:lnTo>
                      <a:pt x="74" y="270"/>
                    </a:lnTo>
                    <a:lnTo>
                      <a:pt x="62" y="264"/>
                    </a:lnTo>
                    <a:lnTo>
                      <a:pt x="52" y="256"/>
                    </a:lnTo>
                    <a:lnTo>
                      <a:pt x="42" y="246"/>
                    </a:lnTo>
                    <a:lnTo>
                      <a:pt x="32" y="236"/>
                    </a:lnTo>
                    <a:lnTo>
                      <a:pt x="24" y="224"/>
                    </a:lnTo>
                    <a:lnTo>
                      <a:pt x="16" y="212"/>
                    </a:lnTo>
                    <a:lnTo>
                      <a:pt x="10" y="200"/>
                    </a:lnTo>
                    <a:lnTo>
                      <a:pt x="6" y="186"/>
                    </a:lnTo>
                    <a:lnTo>
                      <a:pt x="2" y="174"/>
                    </a:lnTo>
                    <a:lnTo>
                      <a:pt x="0" y="158"/>
                    </a:lnTo>
                    <a:lnTo>
                      <a:pt x="0" y="144"/>
                    </a:lnTo>
                    <a:lnTo>
                      <a:pt x="0" y="144"/>
                    </a:lnTo>
                    <a:lnTo>
                      <a:pt x="0" y="130"/>
                    </a:lnTo>
                    <a:lnTo>
                      <a:pt x="2" y="114"/>
                    </a:lnTo>
                    <a:lnTo>
                      <a:pt x="6" y="102"/>
                    </a:lnTo>
                    <a:lnTo>
                      <a:pt x="10" y="88"/>
                    </a:lnTo>
                    <a:lnTo>
                      <a:pt x="16" y="76"/>
                    </a:lnTo>
                    <a:lnTo>
                      <a:pt x="24" y="64"/>
                    </a:lnTo>
                    <a:lnTo>
                      <a:pt x="32" y="52"/>
                    </a:lnTo>
                    <a:lnTo>
                      <a:pt x="42" y="42"/>
                    </a:lnTo>
                    <a:lnTo>
                      <a:pt x="52" y="32"/>
                    </a:lnTo>
                    <a:lnTo>
                      <a:pt x="62" y="24"/>
                    </a:lnTo>
                    <a:lnTo>
                      <a:pt x="74" y="18"/>
                    </a:lnTo>
                    <a:lnTo>
                      <a:pt x="86" y="12"/>
                    </a:lnTo>
                    <a:lnTo>
                      <a:pt x="100" y="6"/>
                    </a:lnTo>
                    <a:lnTo>
                      <a:pt x="114" y="2"/>
                    </a:lnTo>
                    <a:lnTo>
                      <a:pt x="128" y="0"/>
                    </a:lnTo>
                    <a:lnTo>
                      <a:pt x="144" y="0"/>
                    </a:lnTo>
                    <a:lnTo>
                      <a:pt x="144" y="0"/>
                    </a:lnTo>
                    <a:lnTo>
                      <a:pt x="158" y="0"/>
                    </a:lnTo>
                    <a:lnTo>
                      <a:pt x="172" y="2"/>
                    </a:lnTo>
                    <a:lnTo>
                      <a:pt x="186" y="6"/>
                    </a:lnTo>
                    <a:lnTo>
                      <a:pt x="200" y="12"/>
                    </a:lnTo>
                    <a:lnTo>
                      <a:pt x="212" y="18"/>
                    </a:lnTo>
                    <a:lnTo>
                      <a:pt x="224" y="24"/>
                    </a:lnTo>
                    <a:lnTo>
                      <a:pt x="234" y="32"/>
                    </a:lnTo>
                    <a:lnTo>
                      <a:pt x="244" y="42"/>
                    </a:lnTo>
                    <a:lnTo>
                      <a:pt x="254" y="52"/>
                    </a:lnTo>
                    <a:lnTo>
                      <a:pt x="262" y="64"/>
                    </a:lnTo>
                    <a:lnTo>
                      <a:pt x="270" y="76"/>
                    </a:lnTo>
                    <a:lnTo>
                      <a:pt x="276" y="88"/>
                    </a:lnTo>
                    <a:lnTo>
                      <a:pt x="280" y="102"/>
                    </a:lnTo>
                    <a:lnTo>
                      <a:pt x="284" y="114"/>
                    </a:lnTo>
                    <a:lnTo>
                      <a:pt x="286" y="130"/>
                    </a:lnTo>
                    <a:lnTo>
                      <a:pt x="288" y="144"/>
                    </a:lnTo>
                    <a:lnTo>
                      <a:pt x="288" y="144"/>
                    </a:lnTo>
                    <a:close/>
                  </a:path>
                </a:pathLst>
              </a:custGeom>
              <a:solidFill>
                <a:schemeClr val="accent1">
                  <a:alpha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2" name="Freeform 16"/>
              <p:cNvSpPr>
                <a:spLocks/>
              </p:cNvSpPr>
              <p:nvPr/>
            </p:nvSpPr>
            <p:spPr bwMode="auto">
              <a:xfrm>
                <a:off x="1686613" y="6023317"/>
                <a:ext cx="1135580" cy="413784"/>
              </a:xfrm>
              <a:custGeom>
                <a:avLst/>
                <a:gdLst>
                  <a:gd name="T0" fmla="*/ 1954 w 1954"/>
                  <a:gd name="T1" fmla="*/ 242 h 712"/>
                  <a:gd name="T2" fmla="*/ 1072 w 1954"/>
                  <a:gd name="T3" fmla="*/ 0 h 712"/>
                  <a:gd name="T4" fmla="*/ 146 w 1954"/>
                  <a:gd name="T5" fmla="*/ 0 h 712"/>
                  <a:gd name="T6" fmla="*/ 0 w 1954"/>
                  <a:gd name="T7" fmla="*/ 368 h 712"/>
                  <a:gd name="T8" fmla="*/ 0 w 1954"/>
                  <a:gd name="T9" fmla="*/ 712 h 712"/>
                  <a:gd name="T10" fmla="*/ 1954 w 1954"/>
                  <a:gd name="T11" fmla="*/ 712 h 712"/>
                  <a:gd name="T12" fmla="*/ 1954 w 1954"/>
                  <a:gd name="T13" fmla="*/ 242 h 712"/>
                </a:gdLst>
                <a:ahLst/>
                <a:cxnLst>
                  <a:cxn ang="0">
                    <a:pos x="T0" y="T1"/>
                  </a:cxn>
                  <a:cxn ang="0">
                    <a:pos x="T2" y="T3"/>
                  </a:cxn>
                  <a:cxn ang="0">
                    <a:pos x="T4" y="T5"/>
                  </a:cxn>
                  <a:cxn ang="0">
                    <a:pos x="T6" y="T7"/>
                  </a:cxn>
                  <a:cxn ang="0">
                    <a:pos x="T8" y="T9"/>
                  </a:cxn>
                  <a:cxn ang="0">
                    <a:pos x="T10" y="T11"/>
                  </a:cxn>
                  <a:cxn ang="0">
                    <a:pos x="T12" y="T13"/>
                  </a:cxn>
                </a:cxnLst>
                <a:rect l="0" t="0" r="r" b="b"/>
                <a:pathLst>
                  <a:path w="1954" h="712">
                    <a:moveTo>
                      <a:pt x="1954" y="242"/>
                    </a:moveTo>
                    <a:lnTo>
                      <a:pt x="1072" y="0"/>
                    </a:lnTo>
                    <a:lnTo>
                      <a:pt x="146" y="0"/>
                    </a:lnTo>
                    <a:lnTo>
                      <a:pt x="0" y="368"/>
                    </a:lnTo>
                    <a:lnTo>
                      <a:pt x="0" y="712"/>
                    </a:lnTo>
                    <a:lnTo>
                      <a:pt x="1954" y="712"/>
                    </a:lnTo>
                    <a:lnTo>
                      <a:pt x="1954" y="242"/>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3" name="Freeform 17"/>
              <p:cNvSpPr>
                <a:spLocks/>
              </p:cNvSpPr>
              <p:nvPr/>
            </p:nvSpPr>
            <p:spPr bwMode="auto">
              <a:xfrm>
                <a:off x="2309613" y="5845483"/>
                <a:ext cx="512580" cy="591618"/>
              </a:xfrm>
              <a:custGeom>
                <a:avLst/>
                <a:gdLst>
                  <a:gd name="T0" fmla="*/ 116 w 882"/>
                  <a:gd name="T1" fmla="*/ 0 h 1018"/>
                  <a:gd name="T2" fmla="*/ 0 w 882"/>
                  <a:gd name="T3" fmla="*/ 306 h 1018"/>
                  <a:gd name="T4" fmla="*/ 0 w 882"/>
                  <a:gd name="T5" fmla="*/ 1018 h 1018"/>
                  <a:gd name="T6" fmla="*/ 882 w 882"/>
                  <a:gd name="T7" fmla="*/ 1018 h 1018"/>
                  <a:gd name="T8" fmla="*/ 882 w 882"/>
                  <a:gd name="T9" fmla="*/ 206 h 1018"/>
                  <a:gd name="T10" fmla="*/ 116 w 882"/>
                  <a:gd name="T11" fmla="*/ 0 h 1018"/>
                </a:gdLst>
                <a:ahLst/>
                <a:cxnLst>
                  <a:cxn ang="0">
                    <a:pos x="T0" y="T1"/>
                  </a:cxn>
                  <a:cxn ang="0">
                    <a:pos x="T2" y="T3"/>
                  </a:cxn>
                  <a:cxn ang="0">
                    <a:pos x="T4" y="T5"/>
                  </a:cxn>
                  <a:cxn ang="0">
                    <a:pos x="T6" y="T7"/>
                  </a:cxn>
                  <a:cxn ang="0">
                    <a:pos x="T8" y="T9"/>
                  </a:cxn>
                  <a:cxn ang="0">
                    <a:pos x="T10" y="T11"/>
                  </a:cxn>
                </a:cxnLst>
                <a:rect l="0" t="0" r="r" b="b"/>
                <a:pathLst>
                  <a:path w="882" h="1018">
                    <a:moveTo>
                      <a:pt x="116" y="0"/>
                    </a:moveTo>
                    <a:lnTo>
                      <a:pt x="0" y="306"/>
                    </a:lnTo>
                    <a:lnTo>
                      <a:pt x="0" y="1018"/>
                    </a:lnTo>
                    <a:lnTo>
                      <a:pt x="882" y="1018"/>
                    </a:lnTo>
                    <a:lnTo>
                      <a:pt x="882" y="206"/>
                    </a:lnTo>
                    <a:lnTo>
                      <a:pt x="116"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4" name="Freeform 18"/>
              <p:cNvSpPr>
                <a:spLocks/>
              </p:cNvSpPr>
              <p:nvPr/>
            </p:nvSpPr>
            <p:spPr bwMode="auto">
              <a:xfrm>
                <a:off x="265104" y="5857106"/>
                <a:ext cx="511418" cy="579995"/>
              </a:xfrm>
              <a:custGeom>
                <a:avLst/>
                <a:gdLst>
                  <a:gd name="T0" fmla="*/ 766 w 880"/>
                  <a:gd name="T1" fmla="*/ 0 h 998"/>
                  <a:gd name="T2" fmla="*/ 880 w 880"/>
                  <a:gd name="T3" fmla="*/ 310 h 998"/>
                  <a:gd name="T4" fmla="*/ 880 w 880"/>
                  <a:gd name="T5" fmla="*/ 998 h 998"/>
                  <a:gd name="T6" fmla="*/ 0 w 880"/>
                  <a:gd name="T7" fmla="*/ 998 h 998"/>
                  <a:gd name="T8" fmla="*/ 0 w 880"/>
                  <a:gd name="T9" fmla="*/ 214 h 998"/>
                  <a:gd name="T10" fmla="*/ 766 w 880"/>
                  <a:gd name="T11" fmla="*/ 0 h 998"/>
                </a:gdLst>
                <a:ahLst/>
                <a:cxnLst>
                  <a:cxn ang="0">
                    <a:pos x="T0" y="T1"/>
                  </a:cxn>
                  <a:cxn ang="0">
                    <a:pos x="T2" y="T3"/>
                  </a:cxn>
                  <a:cxn ang="0">
                    <a:pos x="T4" y="T5"/>
                  </a:cxn>
                  <a:cxn ang="0">
                    <a:pos x="T6" y="T7"/>
                  </a:cxn>
                  <a:cxn ang="0">
                    <a:pos x="T8" y="T9"/>
                  </a:cxn>
                  <a:cxn ang="0">
                    <a:pos x="T10" y="T11"/>
                  </a:cxn>
                </a:cxnLst>
                <a:rect l="0" t="0" r="r" b="b"/>
                <a:pathLst>
                  <a:path w="880" h="998">
                    <a:moveTo>
                      <a:pt x="766" y="0"/>
                    </a:moveTo>
                    <a:lnTo>
                      <a:pt x="880" y="310"/>
                    </a:lnTo>
                    <a:lnTo>
                      <a:pt x="880" y="998"/>
                    </a:lnTo>
                    <a:lnTo>
                      <a:pt x="0" y="998"/>
                    </a:lnTo>
                    <a:lnTo>
                      <a:pt x="0" y="214"/>
                    </a:lnTo>
                    <a:lnTo>
                      <a:pt x="766" y="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5" name="Freeform 19"/>
              <p:cNvSpPr>
                <a:spLocks/>
              </p:cNvSpPr>
              <p:nvPr/>
            </p:nvSpPr>
            <p:spPr bwMode="auto">
              <a:xfrm>
                <a:off x="265104" y="5474167"/>
                <a:ext cx="691577" cy="374265"/>
              </a:xfrm>
              <a:custGeom>
                <a:avLst/>
                <a:gdLst>
                  <a:gd name="T0" fmla="*/ 842 w 1190"/>
                  <a:gd name="T1" fmla="*/ 644 h 644"/>
                  <a:gd name="T2" fmla="*/ 842 w 1190"/>
                  <a:gd name="T3" fmla="*/ 644 h 644"/>
                  <a:gd name="T4" fmla="*/ 752 w 1190"/>
                  <a:gd name="T5" fmla="*/ 586 h 644"/>
                  <a:gd name="T6" fmla="*/ 654 w 1190"/>
                  <a:gd name="T7" fmla="*/ 522 h 644"/>
                  <a:gd name="T8" fmla="*/ 532 w 1190"/>
                  <a:gd name="T9" fmla="*/ 448 h 644"/>
                  <a:gd name="T10" fmla="*/ 398 w 1190"/>
                  <a:gd name="T11" fmla="*/ 368 h 644"/>
                  <a:gd name="T12" fmla="*/ 328 w 1190"/>
                  <a:gd name="T13" fmla="*/ 328 h 644"/>
                  <a:gd name="T14" fmla="*/ 258 w 1190"/>
                  <a:gd name="T15" fmla="*/ 290 h 644"/>
                  <a:gd name="T16" fmla="*/ 188 w 1190"/>
                  <a:gd name="T17" fmla="*/ 254 h 644"/>
                  <a:gd name="T18" fmla="*/ 122 w 1190"/>
                  <a:gd name="T19" fmla="*/ 220 h 644"/>
                  <a:gd name="T20" fmla="*/ 58 w 1190"/>
                  <a:gd name="T21" fmla="*/ 192 h 644"/>
                  <a:gd name="T22" fmla="*/ 0 w 1190"/>
                  <a:gd name="T23" fmla="*/ 168 h 644"/>
                  <a:gd name="T24" fmla="*/ 0 w 1190"/>
                  <a:gd name="T25" fmla="*/ 0 h 644"/>
                  <a:gd name="T26" fmla="*/ 450 w 1190"/>
                  <a:gd name="T27" fmla="*/ 0 h 644"/>
                  <a:gd name="T28" fmla="*/ 1102 w 1190"/>
                  <a:gd name="T29" fmla="*/ 384 h 644"/>
                  <a:gd name="T30" fmla="*/ 1102 w 1190"/>
                  <a:gd name="T31" fmla="*/ 384 h 644"/>
                  <a:gd name="T32" fmla="*/ 1116 w 1190"/>
                  <a:gd name="T33" fmla="*/ 396 h 644"/>
                  <a:gd name="T34" fmla="*/ 1132 w 1190"/>
                  <a:gd name="T35" fmla="*/ 412 h 644"/>
                  <a:gd name="T36" fmla="*/ 1150 w 1190"/>
                  <a:gd name="T37" fmla="*/ 432 h 644"/>
                  <a:gd name="T38" fmla="*/ 1166 w 1190"/>
                  <a:gd name="T39" fmla="*/ 456 h 644"/>
                  <a:gd name="T40" fmla="*/ 1174 w 1190"/>
                  <a:gd name="T41" fmla="*/ 470 h 644"/>
                  <a:gd name="T42" fmla="*/ 1180 w 1190"/>
                  <a:gd name="T43" fmla="*/ 484 h 644"/>
                  <a:gd name="T44" fmla="*/ 1184 w 1190"/>
                  <a:gd name="T45" fmla="*/ 498 h 644"/>
                  <a:gd name="T46" fmla="*/ 1188 w 1190"/>
                  <a:gd name="T47" fmla="*/ 514 h 644"/>
                  <a:gd name="T48" fmla="*/ 1190 w 1190"/>
                  <a:gd name="T49" fmla="*/ 530 h 644"/>
                  <a:gd name="T50" fmla="*/ 1190 w 1190"/>
                  <a:gd name="T51" fmla="*/ 548 h 644"/>
                  <a:gd name="T52" fmla="*/ 842 w 1190"/>
                  <a:gd name="T53" fmla="*/ 64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90" h="644">
                    <a:moveTo>
                      <a:pt x="842" y="644"/>
                    </a:moveTo>
                    <a:lnTo>
                      <a:pt x="842" y="644"/>
                    </a:lnTo>
                    <a:lnTo>
                      <a:pt x="752" y="586"/>
                    </a:lnTo>
                    <a:lnTo>
                      <a:pt x="654" y="522"/>
                    </a:lnTo>
                    <a:lnTo>
                      <a:pt x="532" y="448"/>
                    </a:lnTo>
                    <a:lnTo>
                      <a:pt x="398" y="368"/>
                    </a:lnTo>
                    <a:lnTo>
                      <a:pt x="328" y="328"/>
                    </a:lnTo>
                    <a:lnTo>
                      <a:pt x="258" y="290"/>
                    </a:lnTo>
                    <a:lnTo>
                      <a:pt x="188" y="254"/>
                    </a:lnTo>
                    <a:lnTo>
                      <a:pt x="122" y="220"/>
                    </a:lnTo>
                    <a:lnTo>
                      <a:pt x="58" y="192"/>
                    </a:lnTo>
                    <a:lnTo>
                      <a:pt x="0" y="168"/>
                    </a:lnTo>
                    <a:lnTo>
                      <a:pt x="0" y="0"/>
                    </a:lnTo>
                    <a:lnTo>
                      <a:pt x="450" y="0"/>
                    </a:lnTo>
                    <a:lnTo>
                      <a:pt x="1102" y="384"/>
                    </a:lnTo>
                    <a:lnTo>
                      <a:pt x="1102" y="384"/>
                    </a:lnTo>
                    <a:lnTo>
                      <a:pt x="1116" y="396"/>
                    </a:lnTo>
                    <a:lnTo>
                      <a:pt x="1132" y="412"/>
                    </a:lnTo>
                    <a:lnTo>
                      <a:pt x="1150" y="432"/>
                    </a:lnTo>
                    <a:lnTo>
                      <a:pt x="1166" y="456"/>
                    </a:lnTo>
                    <a:lnTo>
                      <a:pt x="1174" y="470"/>
                    </a:lnTo>
                    <a:lnTo>
                      <a:pt x="1180" y="484"/>
                    </a:lnTo>
                    <a:lnTo>
                      <a:pt x="1184" y="498"/>
                    </a:lnTo>
                    <a:lnTo>
                      <a:pt x="1188" y="514"/>
                    </a:lnTo>
                    <a:lnTo>
                      <a:pt x="1190" y="530"/>
                    </a:lnTo>
                    <a:lnTo>
                      <a:pt x="1190" y="548"/>
                    </a:lnTo>
                    <a:lnTo>
                      <a:pt x="842" y="644"/>
                    </a:lnTo>
                    <a:close/>
                  </a:path>
                </a:pathLst>
              </a:cu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6" name="Freeform 20"/>
              <p:cNvSpPr>
                <a:spLocks/>
              </p:cNvSpPr>
              <p:nvPr/>
            </p:nvSpPr>
            <p:spPr bwMode="auto">
              <a:xfrm>
                <a:off x="265104" y="5474167"/>
                <a:ext cx="609052" cy="374265"/>
              </a:xfrm>
              <a:custGeom>
                <a:avLst/>
                <a:gdLst>
                  <a:gd name="T0" fmla="*/ 0 w 1048"/>
                  <a:gd name="T1" fmla="*/ 0 h 644"/>
                  <a:gd name="T2" fmla="*/ 0 w 1048"/>
                  <a:gd name="T3" fmla="*/ 0 h 644"/>
                  <a:gd name="T4" fmla="*/ 164 w 1048"/>
                  <a:gd name="T5" fmla="*/ 74 h 644"/>
                  <a:gd name="T6" fmla="*/ 330 w 1048"/>
                  <a:gd name="T7" fmla="*/ 152 h 644"/>
                  <a:gd name="T8" fmla="*/ 524 w 1048"/>
                  <a:gd name="T9" fmla="*/ 246 h 644"/>
                  <a:gd name="T10" fmla="*/ 620 w 1048"/>
                  <a:gd name="T11" fmla="*/ 296 h 644"/>
                  <a:gd name="T12" fmla="*/ 716 w 1048"/>
                  <a:gd name="T13" fmla="*/ 344 h 644"/>
                  <a:gd name="T14" fmla="*/ 804 w 1048"/>
                  <a:gd name="T15" fmla="*/ 394 h 644"/>
                  <a:gd name="T16" fmla="*/ 884 w 1048"/>
                  <a:gd name="T17" fmla="*/ 442 h 644"/>
                  <a:gd name="T18" fmla="*/ 950 w 1048"/>
                  <a:gd name="T19" fmla="*/ 486 h 644"/>
                  <a:gd name="T20" fmla="*/ 978 w 1048"/>
                  <a:gd name="T21" fmla="*/ 506 h 644"/>
                  <a:gd name="T22" fmla="*/ 1002 w 1048"/>
                  <a:gd name="T23" fmla="*/ 524 h 644"/>
                  <a:gd name="T24" fmla="*/ 1022 w 1048"/>
                  <a:gd name="T25" fmla="*/ 542 h 644"/>
                  <a:gd name="T26" fmla="*/ 1036 w 1048"/>
                  <a:gd name="T27" fmla="*/ 560 h 644"/>
                  <a:gd name="T28" fmla="*/ 1044 w 1048"/>
                  <a:gd name="T29" fmla="*/ 574 h 644"/>
                  <a:gd name="T30" fmla="*/ 1048 w 1048"/>
                  <a:gd name="T31" fmla="*/ 580 h 644"/>
                  <a:gd name="T32" fmla="*/ 1048 w 1048"/>
                  <a:gd name="T33" fmla="*/ 588 h 644"/>
                  <a:gd name="T34" fmla="*/ 842 w 1048"/>
                  <a:gd name="T35" fmla="*/ 644 h 644"/>
                  <a:gd name="T36" fmla="*/ 0 w 1048"/>
                  <a:gd name="T37" fmla="*/ 168 h 644"/>
                  <a:gd name="T38" fmla="*/ 0 w 1048"/>
                  <a:gd name="T39"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8" h="644">
                    <a:moveTo>
                      <a:pt x="0" y="0"/>
                    </a:moveTo>
                    <a:lnTo>
                      <a:pt x="0" y="0"/>
                    </a:lnTo>
                    <a:lnTo>
                      <a:pt x="164" y="74"/>
                    </a:lnTo>
                    <a:lnTo>
                      <a:pt x="330" y="152"/>
                    </a:lnTo>
                    <a:lnTo>
                      <a:pt x="524" y="246"/>
                    </a:lnTo>
                    <a:lnTo>
                      <a:pt x="620" y="296"/>
                    </a:lnTo>
                    <a:lnTo>
                      <a:pt x="716" y="344"/>
                    </a:lnTo>
                    <a:lnTo>
                      <a:pt x="804" y="394"/>
                    </a:lnTo>
                    <a:lnTo>
                      <a:pt x="884" y="442"/>
                    </a:lnTo>
                    <a:lnTo>
                      <a:pt x="950" y="486"/>
                    </a:lnTo>
                    <a:lnTo>
                      <a:pt x="978" y="506"/>
                    </a:lnTo>
                    <a:lnTo>
                      <a:pt x="1002" y="524"/>
                    </a:lnTo>
                    <a:lnTo>
                      <a:pt x="1022" y="542"/>
                    </a:lnTo>
                    <a:lnTo>
                      <a:pt x="1036" y="560"/>
                    </a:lnTo>
                    <a:lnTo>
                      <a:pt x="1044" y="574"/>
                    </a:lnTo>
                    <a:lnTo>
                      <a:pt x="1048" y="580"/>
                    </a:lnTo>
                    <a:lnTo>
                      <a:pt x="1048" y="588"/>
                    </a:lnTo>
                    <a:lnTo>
                      <a:pt x="842" y="644"/>
                    </a:lnTo>
                    <a:lnTo>
                      <a:pt x="0" y="168"/>
                    </a:lnTo>
                    <a:lnTo>
                      <a:pt x="0"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7" name="Freeform 21"/>
              <p:cNvSpPr>
                <a:spLocks/>
              </p:cNvSpPr>
              <p:nvPr/>
            </p:nvSpPr>
            <p:spPr bwMode="auto">
              <a:xfrm>
                <a:off x="265104" y="5857523"/>
                <a:ext cx="510256" cy="450978"/>
              </a:xfrm>
              <a:custGeom>
                <a:avLst/>
                <a:gdLst>
                  <a:gd name="T0" fmla="*/ 810 w 878"/>
                  <a:gd name="T1" fmla="*/ 490 h 776"/>
                  <a:gd name="T2" fmla="*/ 810 w 878"/>
                  <a:gd name="T3" fmla="*/ 490 h 776"/>
                  <a:gd name="T4" fmla="*/ 684 w 878"/>
                  <a:gd name="T5" fmla="*/ 536 h 776"/>
                  <a:gd name="T6" fmla="*/ 406 w 878"/>
                  <a:gd name="T7" fmla="*/ 634 h 776"/>
                  <a:gd name="T8" fmla="*/ 0 w 878"/>
                  <a:gd name="T9" fmla="*/ 776 h 776"/>
                  <a:gd name="T10" fmla="*/ 0 w 878"/>
                  <a:gd name="T11" fmla="*/ 214 h 776"/>
                  <a:gd name="T12" fmla="*/ 766 w 878"/>
                  <a:gd name="T13" fmla="*/ 0 h 776"/>
                  <a:gd name="T14" fmla="*/ 878 w 878"/>
                  <a:gd name="T15" fmla="*/ 276 h 776"/>
                  <a:gd name="T16" fmla="*/ 810 w 878"/>
                  <a:gd name="T17" fmla="*/ 49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8" h="776">
                    <a:moveTo>
                      <a:pt x="810" y="490"/>
                    </a:moveTo>
                    <a:lnTo>
                      <a:pt x="810" y="490"/>
                    </a:lnTo>
                    <a:lnTo>
                      <a:pt x="684" y="536"/>
                    </a:lnTo>
                    <a:lnTo>
                      <a:pt x="406" y="634"/>
                    </a:lnTo>
                    <a:lnTo>
                      <a:pt x="0" y="776"/>
                    </a:lnTo>
                    <a:lnTo>
                      <a:pt x="0" y="214"/>
                    </a:lnTo>
                    <a:lnTo>
                      <a:pt x="766" y="0"/>
                    </a:lnTo>
                    <a:lnTo>
                      <a:pt x="878" y="276"/>
                    </a:lnTo>
                    <a:lnTo>
                      <a:pt x="810" y="490"/>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8" name="Freeform 22"/>
              <p:cNvSpPr>
                <a:spLocks/>
              </p:cNvSpPr>
              <p:nvPr/>
            </p:nvSpPr>
            <p:spPr bwMode="auto">
              <a:xfrm>
                <a:off x="2135475" y="5471217"/>
                <a:ext cx="689252" cy="374265"/>
              </a:xfrm>
              <a:custGeom>
                <a:avLst/>
                <a:gdLst>
                  <a:gd name="T0" fmla="*/ 348 w 1186"/>
                  <a:gd name="T1" fmla="*/ 644 h 644"/>
                  <a:gd name="T2" fmla="*/ 348 w 1186"/>
                  <a:gd name="T3" fmla="*/ 644 h 644"/>
                  <a:gd name="T4" fmla="*/ 436 w 1186"/>
                  <a:gd name="T5" fmla="*/ 586 h 644"/>
                  <a:gd name="T6" fmla="*/ 534 w 1186"/>
                  <a:gd name="T7" fmla="*/ 522 h 644"/>
                  <a:gd name="T8" fmla="*/ 656 w 1186"/>
                  <a:gd name="T9" fmla="*/ 448 h 644"/>
                  <a:gd name="T10" fmla="*/ 790 w 1186"/>
                  <a:gd name="T11" fmla="*/ 368 h 644"/>
                  <a:gd name="T12" fmla="*/ 860 w 1186"/>
                  <a:gd name="T13" fmla="*/ 328 h 644"/>
                  <a:gd name="T14" fmla="*/ 930 w 1186"/>
                  <a:gd name="T15" fmla="*/ 290 h 644"/>
                  <a:gd name="T16" fmla="*/ 998 w 1186"/>
                  <a:gd name="T17" fmla="*/ 254 h 644"/>
                  <a:gd name="T18" fmla="*/ 1066 w 1186"/>
                  <a:gd name="T19" fmla="*/ 220 h 644"/>
                  <a:gd name="T20" fmla="*/ 1128 w 1186"/>
                  <a:gd name="T21" fmla="*/ 192 h 644"/>
                  <a:gd name="T22" fmla="*/ 1186 w 1186"/>
                  <a:gd name="T23" fmla="*/ 168 h 644"/>
                  <a:gd name="T24" fmla="*/ 1186 w 1186"/>
                  <a:gd name="T25" fmla="*/ 0 h 644"/>
                  <a:gd name="T26" fmla="*/ 738 w 1186"/>
                  <a:gd name="T27" fmla="*/ 0 h 644"/>
                  <a:gd name="T28" fmla="*/ 88 w 1186"/>
                  <a:gd name="T29" fmla="*/ 384 h 644"/>
                  <a:gd name="T30" fmla="*/ 88 w 1186"/>
                  <a:gd name="T31" fmla="*/ 384 h 644"/>
                  <a:gd name="T32" fmla="*/ 74 w 1186"/>
                  <a:gd name="T33" fmla="*/ 396 h 644"/>
                  <a:gd name="T34" fmla="*/ 58 w 1186"/>
                  <a:gd name="T35" fmla="*/ 412 h 644"/>
                  <a:gd name="T36" fmla="*/ 42 w 1186"/>
                  <a:gd name="T37" fmla="*/ 432 h 644"/>
                  <a:gd name="T38" fmla="*/ 24 w 1186"/>
                  <a:gd name="T39" fmla="*/ 456 h 644"/>
                  <a:gd name="T40" fmla="*/ 18 w 1186"/>
                  <a:gd name="T41" fmla="*/ 470 h 644"/>
                  <a:gd name="T42" fmla="*/ 10 w 1186"/>
                  <a:gd name="T43" fmla="*/ 484 h 644"/>
                  <a:gd name="T44" fmla="*/ 6 w 1186"/>
                  <a:gd name="T45" fmla="*/ 498 h 644"/>
                  <a:gd name="T46" fmla="*/ 2 w 1186"/>
                  <a:gd name="T47" fmla="*/ 514 h 644"/>
                  <a:gd name="T48" fmla="*/ 0 w 1186"/>
                  <a:gd name="T49" fmla="*/ 530 h 644"/>
                  <a:gd name="T50" fmla="*/ 0 w 1186"/>
                  <a:gd name="T51" fmla="*/ 548 h 644"/>
                  <a:gd name="T52" fmla="*/ 348 w 1186"/>
                  <a:gd name="T53" fmla="*/ 64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6" h="644">
                    <a:moveTo>
                      <a:pt x="348" y="644"/>
                    </a:moveTo>
                    <a:lnTo>
                      <a:pt x="348" y="644"/>
                    </a:lnTo>
                    <a:lnTo>
                      <a:pt x="436" y="586"/>
                    </a:lnTo>
                    <a:lnTo>
                      <a:pt x="534" y="522"/>
                    </a:lnTo>
                    <a:lnTo>
                      <a:pt x="656" y="448"/>
                    </a:lnTo>
                    <a:lnTo>
                      <a:pt x="790" y="368"/>
                    </a:lnTo>
                    <a:lnTo>
                      <a:pt x="860" y="328"/>
                    </a:lnTo>
                    <a:lnTo>
                      <a:pt x="930" y="290"/>
                    </a:lnTo>
                    <a:lnTo>
                      <a:pt x="998" y="254"/>
                    </a:lnTo>
                    <a:lnTo>
                      <a:pt x="1066" y="220"/>
                    </a:lnTo>
                    <a:lnTo>
                      <a:pt x="1128" y="192"/>
                    </a:lnTo>
                    <a:lnTo>
                      <a:pt x="1186" y="168"/>
                    </a:lnTo>
                    <a:lnTo>
                      <a:pt x="1186" y="0"/>
                    </a:lnTo>
                    <a:lnTo>
                      <a:pt x="738" y="0"/>
                    </a:lnTo>
                    <a:lnTo>
                      <a:pt x="88" y="384"/>
                    </a:lnTo>
                    <a:lnTo>
                      <a:pt x="88" y="384"/>
                    </a:lnTo>
                    <a:lnTo>
                      <a:pt x="74" y="396"/>
                    </a:lnTo>
                    <a:lnTo>
                      <a:pt x="58" y="412"/>
                    </a:lnTo>
                    <a:lnTo>
                      <a:pt x="42" y="432"/>
                    </a:lnTo>
                    <a:lnTo>
                      <a:pt x="24" y="456"/>
                    </a:lnTo>
                    <a:lnTo>
                      <a:pt x="18" y="470"/>
                    </a:lnTo>
                    <a:lnTo>
                      <a:pt x="10" y="484"/>
                    </a:lnTo>
                    <a:lnTo>
                      <a:pt x="6" y="498"/>
                    </a:lnTo>
                    <a:lnTo>
                      <a:pt x="2" y="514"/>
                    </a:lnTo>
                    <a:lnTo>
                      <a:pt x="0" y="530"/>
                    </a:lnTo>
                    <a:lnTo>
                      <a:pt x="0" y="548"/>
                    </a:lnTo>
                    <a:lnTo>
                      <a:pt x="348" y="644"/>
                    </a:lnTo>
                    <a:close/>
                  </a:path>
                </a:pathLst>
              </a:cu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39" name="Freeform 23"/>
              <p:cNvSpPr>
                <a:spLocks/>
              </p:cNvSpPr>
              <p:nvPr/>
            </p:nvSpPr>
            <p:spPr bwMode="auto">
              <a:xfrm>
                <a:off x="2217999" y="5471217"/>
                <a:ext cx="606728" cy="374265"/>
              </a:xfrm>
              <a:custGeom>
                <a:avLst/>
                <a:gdLst>
                  <a:gd name="T0" fmla="*/ 1044 w 1044"/>
                  <a:gd name="T1" fmla="*/ 0 h 644"/>
                  <a:gd name="T2" fmla="*/ 1044 w 1044"/>
                  <a:gd name="T3" fmla="*/ 0 h 644"/>
                  <a:gd name="T4" fmla="*/ 882 w 1044"/>
                  <a:gd name="T5" fmla="*/ 74 h 644"/>
                  <a:gd name="T6" fmla="*/ 714 w 1044"/>
                  <a:gd name="T7" fmla="*/ 152 h 644"/>
                  <a:gd name="T8" fmla="*/ 522 w 1044"/>
                  <a:gd name="T9" fmla="*/ 246 h 644"/>
                  <a:gd name="T10" fmla="*/ 426 w 1044"/>
                  <a:gd name="T11" fmla="*/ 296 h 644"/>
                  <a:gd name="T12" fmla="*/ 332 w 1044"/>
                  <a:gd name="T13" fmla="*/ 344 h 644"/>
                  <a:gd name="T14" fmla="*/ 244 w 1044"/>
                  <a:gd name="T15" fmla="*/ 394 h 644"/>
                  <a:gd name="T16" fmla="*/ 164 w 1044"/>
                  <a:gd name="T17" fmla="*/ 442 h 644"/>
                  <a:gd name="T18" fmla="*/ 98 w 1044"/>
                  <a:gd name="T19" fmla="*/ 486 h 644"/>
                  <a:gd name="T20" fmla="*/ 70 w 1044"/>
                  <a:gd name="T21" fmla="*/ 506 h 644"/>
                  <a:gd name="T22" fmla="*/ 46 w 1044"/>
                  <a:gd name="T23" fmla="*/ 524 h 644"/>
                  <a:gd name="T24" fmla="*/ 26 w 1044"/>
                  <a:gd name="T25" fmla="*/ 542 h 644"/>
                  <a:gd name="T26" fmla="*/ 12 w 1044"/>
                  <a:gd name="T27" fmla="*/ 560 h 644"/>
                  <a:gd name="T28" fmla="*/ 4 w 1044"/>
                  <a:gd name="T29" fmla="*/ 574 h 644"/>
                  <a:gd name="T30" fmla="*/ 0 w 1044"/>
                  <a:gd name="T31" fmla="*/ 580 h 644"/>
                  <a:gd name="T32" fmla="*/ 0 w 1044"/>
                  <a:gd name="T33" fmla="*/ 588 h 644"/>
                  <a:gd name="T34" fmla="*/ 206 w 1044"/>
                  <a:gd name="T35" fmla="*/ 644 h 644"/>
                  <a:gd name="T36" fmla="*/ 1044 w 1044"/>
                  <a:gd name="T37" fmla="*/ 168 h 644"/>
                  <a:gd name="T38" fmla="*/ 1044 w 1044"/>
                  <a:gd name="T39"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4" h="644">
                    <a:moveTo>
                      <a:pt x="1044" y="0"/>
                    </a:moveTo>
                    <a:lnTo>
                      <a:pt x="1044" y="0"/>
                    </a:lnTo>
                    <a:lnTo>
                      <a:pt x="882" y="74"/>
                    </a:lnTo>
                    <a:lnTo>
                      <a:pt x="714" y="152"/>
                    </a:lnTo>
                    <a:lnTo>
                      <a:pt x="522" y="246"/>
                    </a:lnTo>
                    <a:lnTo>
                      <a:pt x="426" y="296"/>
                    </a:lnTo>
                    <a:lnTo>
                      <a:pt x="332" y="344"/>
                    </a:lnTo>
                    <a:lnTo>
                      <a:pt x="244" y="394"/>
                    </a:lnTo>
                    <a:lnTo>
                      <a:pt x="164" y="442"/>
                    </a:lnTo>
                    <a:lnTo>
                      <a:pt x="98" y="486"/>
                    </a:lnTo>
                    <a:lnTo>
                      <a:pt x="70" y="506"/>
                    </a:lnTo>
                    <a:lnTo>
                      <a:pt x="46" y="524"/>
                    </a:lnTo>
                    <a:lnTo>
                      <a:pt x="26" y="542"/>
                    </a:lnTo>
                    <a:lnTo>
                      <a:pt x="12" y="560"/>
                    </a:lnTo>
                    <a:lnTo>
                      <a:pt x="4" y="574"/>
                    </a:lnTo>
                    <a:lnTo>
                      <a:pt x="0" y="580"/>
                    </a:lnTo>
                    <a:lnTo>
                      <a:pt x="0" y="588"/>
                    </a:lnTo>
                    <a:lnTo>
                      <a:pt x="206" y="644"/>
                    </a:lnTo>
                    <a:lnTo>
                      <a:pt x="1044" y="168"/>
                    </a:lnTo>
                    <a:lnTo>
                      <a:pt x="1044"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0" name="Freeform 24"/>
              <p:cNvSpPr>
                <a:spLocks/>
              </p:cNvSpPr>
              <p:nvPr/>
            </p:nvSpPr>
            <p:spPr bwMode="auto">
              <a:xfrm>
                <a:off x="1285615" y="5510736"/>
                <a:ext cx="513743" cy="162724"/>
              </a:xfrm>
              <a:custGeom>
                <a:avLst/>
                <a:gdLst>
                  <a:gd name="T0" fmla="*/ 768 w 884"/>
                  <a:gd name="T1" fmla="*/ 0 h 280"/>
                  <a:gd name="T2" fmla="*/ 446 w 884"/>
                  <a:gd name="T3" fmla="*/ 0 h 280"/>
                  <a:gd name="T4" fmla="*/ 438 w 884"/>
                  <a:gd name="T5" fmla="*/ 0 h 280"/>
                  <a:gd name="T6" fmla="*/ 116 w 884"/>
                  <a:gd name="T7" fmla="*/ 0 h 280"/>
                  <a:gd name="T8" fmla="*/ 116 w 884"/>
                  <a:gd name="T9" fmla="*/ 0 h 280"/>
                  <a:gd name="T10" fmla="*/ 96 w 884"/>
                  <a:gd name="T11" fmla="*/ 2 h 280"/>
                  <a:gd name="T12" fmla="*/ 78 w 884"/>
                  <a:gd name="T13" fmla="*/ 6 h 280"/>
                  <a:gd name="T14" fmla="*/ 62 w 884"/>
                  <a:gd name="T15" fmla="*/ 12 h 280"/>
                  <a:gd name="T16" fmla="*/ 48 w 884"/>
                  <a:gd name="T17" fmla="*/ 20 h 280"/>
                  <a:gd name="T18" fmla="*/ 36 w 884"/>
                  <a:gd name="T19" fmla="*/ 28 h 280"/>
                  <a:gd name="T20" fmla="*/ 28 w 884"/>
                  <a:gd name="T21" fmla="*/ 40 h 280"/>
                  <a:gd name="T22" fmla="*/ 20 w 884"/>
                  <a:gd name="T23" fmla="*/ 50 h 280"/>
                  <a:gd name="T24" fmla="*/ 14 w 884"/>
                  <a:gd name="T25" fmla="*/ 62 h 280"/>
                  <a:gd name="T26" fmla="*/ 6 w 884"/>
                  <a:gd name="T27" fmla="*/ 84 h 280"/>
                  <a:gd name="T28" fmla="*/ 2 w 884"/>
                  <a:gd name="T29" fmla="*/ 104 h 280"/>
                  <a:gd name="T30" fmla="*/ 0 w 884"/>
                  <a:gd name="T31" fmla="*/ 124 h 280"/>
                  <a:gd name="T32" fmla="*/ 0 w 884"/>
                  <a:gd name="T33" fmla="*/ 124 h 280"/>
                  <a:gd name="T34" fmla="*/ 2 w 884"/>
                  <a:gd name="T35" fmla="*/ 144 h 280"/>
                  <a:gd name="T36" fmla="*/ 4 w 884"/>
                  <a:gd name="T37" fmla="*/ 160 h 280"/>
                  <a:gd name="T38" fmla="*/ 8 w 884"/>
                  <a:gd name="T39" fmla="*/ 176 h 280"/>
                  <a:gd name="T40" fmla="*/ 12 w 884"/>
                  <a:gd name="T41" fmla="*/ 188 h 280"/>
                  <a:gd name="T42" fmla="*/ 18 w 884"/>
                  <a:gd name="T43" fmla="*/ 200 h 280"/>
                  <a:gd name="T44" fmla="*/ 24 w 884"/>
                  <a:gd name="T45" fmla="*/ 208 h 280"/>
                  <a:gd name="T46" fmla="*/ 32 w 884"/>
                  <a:gd name="T47" fmla="*/ 216 h 280"/>
                  <a:gd name="T48" fmla="*/ 38 w 884"/>
                  <a:gd name="T49" fmla="*/ 222 h 280"/>
                  <a:gd name="T50" fmla="*/ 52 w 884"/>
                  <a:gd name="T51" fmla="*/ 230 h 280"/>
                  <a:gd name="T52" fmla="*/ 64 w 884"/>
                  <a:gd name="T53" fmla="*/ 234 h 280"/>
                  <a:gd name="T54" fmla="*/ 76 w 884"/>
                  <a:gd name="T55" fmla="*/ 236 h 280"/>
                  <a:gd name="T56" fmla="*/ 344 w 884"/>
                  <a:gd name="T57" fmla="*/ 236 h 280"/>
                  <a:gd name="T58" fmla="*/ 344 w 884"/>
                  <a:gd name="T59" fmla="*/ 280 h 280"/>
                  <a:gd name="T60" fmla="*/ 438 w 884"/>
                  <a:gd name="T61" fmla="*/ 280 h 280"/>
                  <a:gd name="T62" fmla="*/ 446 w 884"/>
                  <a:gd name="T63" fmla="*/ 280 h 280"/>
                  <a:gd name="T64" fmla="*/ 540 w 884"/>
                  <a:gd name="T65" fmla="*/ 280 h 280"/>
                  <a:gd name="T66" fmla="*/ 540 w 884"/>
                  <a:gd name="T67" fmla="*/ 236 h 280"/>
                  <a:gd name="T68" fmla="*/ 808 w 884"/>
                  <a:gd name="T69" fmla="*/ 236 h 280"/>
                  <a:gd name="T70" fmla="*/ 808 w 884"/>
                  <a:gd name="T71" fmla="*/ 236 h 280"/>
                  <a:gd name="T72" fmla="*/ 820 w 884"/>
                  <a:gd name="T73" fmla="*/ 234 h 280"/>
                  <a:gd name="T74" fmla="*/ 832 w 884"/>
                  <a:gd name="T75" fmla="*/ 230 h 280"/>
                  <a:gd name="T76" fmla="*/ 846 w 884"/>
                  <a:gd name="T77" fmla="*/ 222 h 280"/>
                  <a:gd name="T78" fmla="*/ 854 w 884"/>
                  <a:gd name="T79" fmla="*/ 216 h 280"/>
                  <a:gd name="T80" fmla="*/ 860 w 884"/>
                  <a:gd name="T81" fmla="*/ 208 h 280"/>
                  <a:gd name="T82" fmla="*/ 866 w 884"/>
                  <a:gd name="T83" fmla="*/ 200 h 280"/>
                  <a:gd name="T84" fmla="*/ 872 w 884"/>
                  <a:gd name="T85" fmla="*/ 188 h 280"/>
                  <a:gd name="T86" fmla="*/ 878 w 884"/>
                  <a:gd name="T87" fmla="*/ 176 h 280"/>
                  <a:gd name="T88" fmla="*/ 882 w 884"/>
                  <a:gd name="T89" fmla="*/ 160 h 280"/>
                  <a:gd name="T90" fmla="*/ 884 w 884"/>
                  <a:gd name="T91" fmla="*/ 144 h 280"/>
                  <a:gd name="T92" fmla="*/ 884 w 884"/>
                  <a:gd name="T93" fmla="*/ 124 h 280"/>
                  <a:gd name="T94" fmla="*/ 884 w 884"/>
                  <a:gd name="T95" fmla="*/ 124 h 280"/>
                  <a:gd name="T96" fmla="*/ 884 w 884"/>
                  <a:gd name="T97" fmla="*/ 104 h 280"/>
                  <a:gd name="T98" fmla="*/ 880 w 884"/>
                  <a:gd name="T99" fmla="*/ 84 h 280"/>
                  <a:gd name="T100" fmla="*/ 872 w 884"/>
                  <a:gd name="T101" fmla="*/ 62 h 280"/>
                  <a:gd name="T102" fmla="*/ 866 w 884"/>
                  <a:gd name="T103" fmla="*/ 50 h 280"/>
                  <a:gd name="T104" fmla="*/ 858 w 884"/>
                  <a:gd name="T105" fmla="*/ 40 h 280"/>
                  <a:gd name="T106" fmla="*/ 848 w 884"/>
                  <a:gd name="T107" fmla="*/ 28 h 280"/>
                  <a:gd name="T108" fmla="*/ 838 w 884"/>
                  <a:gd name="T109" fmla="*/ 20 h 280"/>
                  <a:gd name="T110" fmla="*/ 824 w 884"/>
                  <a:gd name="T111" fmla="*/ 12 h 280"/>
                  <a:gd name="T112" fmla="*/ 808 w 884"/>
                  <a:gd name="T113" fmla="*/ 6 h 280"/>
                  <a:gd name="T114" fmla="*/ 790 w 884"/>
                  <a:gd name="T115" fmla="*/ 2 h 280"/>
                  <a:gd name="T116" fmla="*/ 768 w 884"/>
                  <a:gd name="T117" fmla="*/ 0 h 280"/>
                  <a:gd name="T118" fmla="*/ 768 w 884"/>
                  <a:gd name="T11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280">
                    <a:moveTo>
                      <a:pt x="768" y="0"/>
                    </a:moveTo>
                    <a:lnTo>
                      <a:pt x="446" y="0"/>
                    </a:lnTo>
                    <a:lnTo>
                      <a:pt x="438" y="0"/>
                    </a:lnTo>
                    <a:lnTo>
                      <a:pt x="116" y="0"/>
                    </a:lnTo>
                    <a:lnTo>
                      <a:pt x="116" y="0"/>
                    </a:lnTo>
                    <a:lnTo>
                      <a:pt x="96" y="2"/>
                    </a:lnTo>
                    <a:lnTo>
                      <a:pt x="78" y="6"/>
                    </a:lnTo>
                    <a:lnTo>
                      <a:pt x="62" y="12"/>
                    </a:lnTo>
                    <a:lnTo>
                      <a:pt x="48" y="20"/>
                    </a:lnTo>
                    <a:lnTo>
                      <a:pt x="36" y="28"/>
                    </a:lnTo>
                    <a:lnTo>
                      <a:pt x="28" y="40"/>
                    </a:lnTo>
                    <a:lnTo>
                      <a:pt x="20" y="50"/>
                    </a:lnTo>
                    <a:lnTo>
                      <a:pt x="14" y="62"/>
                    </a:lnTo>
                    <a:lnTo>
                      <a:pt x="6" y="84"/>
                    </a:lnTo>
                    <a:lnTo>
                      <a:pt x="2" y="104"/>
                    </a:lnTo>
                    <a:lnTo>
                      <a:pt x="0" y="124"/>
                    </a:lnTo>
                    <a:lnTo>
                      <a:pt x="0" y="124"/>
                    </a:lnTo>
                    <a:lnTo>
                      <a:pt x="2" y="144"/>
                    </a:lnTo>
                    <a:lnTo>
                      <a:pt x="4" y="160"/>
                    </a:lnTo>
                    <a:lnTo>
                      <a:pt x="8" y="176"/>
                    </a:lnTo>
                    <a:lnTo>
                      <a:pt x="12" y="188"/>
                    </a:lnTo>
                    <a:lnTo>
                      <a:pt x="18" y="200"/>
                    </a:lnTo>
                    <a:lnTo>
                      <a:pt x="24" y="208"/>
                    </a:lnTo>
                    <a:lnTo>
                      <a:pt x="32" y="216"/>
                    </a:lnTo>
                    <a:lnTo>
                      <a:pt x="38" y="222"/>
                    </a:lnTo>
                    <a:lnTo>
                      <a:pt x="52" y="230"/>
                    </a:lnTo>
                    <a:lnTo>
                      <a:pt x="64" y="234"/>
                    </a:lnTo>
                    <a:lnTo>
                      <a:pt x="76" y="236"/>
                    </a:lnTo>
                    <a:lnTo>
                      <a:pt x="344" y="236"/>
                    </a:lnTo>
                    <a:lnTo>
                      <a:pt x="344" y="280"/>
                    </a:lnTo>
                    <a:lnTo>
                      <a:pt x="438" y="280"/>
                    </a:lnTo>
                    <a:lnTo>
                      <a:pt x="446" y="280"/>
                    </a:lnTo>
                    <a:lnTo>
                      <a:pt x="540" y="280"/>
                    </a:lnTo>
                    <a:lnTo>
                      <a:pt x="540" y="236"/>
                    </a:lnTo>
                    <a:lnTo>
                      <a:pt x="808" y="236"/>
                    </a:lnTo>
                    <a:lnTo>
                      <a:pt x="808" y="236"/>
                    </a:lnTo>
                    <a:lnTo>
                      <a:pt x="820" y="234"/>
                    </a:lnTo>
                    <a:lnTo>
                      <a:pt x="832" y="230"/>
                    </a:lnTo>
                    <a:lnTo>
                      <a:pt x="846" y="222"/>
                    </a:lnTo>
                    <a:lnTo>
                      <a:pt x="854" y="216"/>
                    </a:lnTo>
                    <a:lnTo>
                      <a:pt x="860" y="208"/>
                    </a:lnTo>
                    <a:lnTo>
                      <a:pt x="866" y="200"/>
                    </a:lnTo>
                    <a:lnTo>
                      <a:pt x="872" y="188"/>
                    </a:lnTo>
                    <a:lnTo>
                      <a:pt x="878" y="176"/>
                    </a:lnTo>
                    <a:lnTo>
                      <a:pt x="882" y="160"/>
                    </a:lnTo>
                    <a:lnTo>
                      <a:pt x="884" y="144"/>
                    </a:lnTo>
                    <a:lnTo>
                      <a:pt x="884" y="124"/>
                    </a:lnTo>
                    <a:lnTo>
                      <a:pt x="884" y="124"/>
                    </a:lnTo>
                    <a:lnTo>
                      <a:pt x="884" y="104"/>
                    </a:lnTo>
                    <a:lnTo>
                      <a:pt x="880" y="84"/>
                    </a:lnTo>
                    <a:lnTo>
                      <a:pt x="872" y="62"/>
                    </a:lnTo>
                    <a:lnTo>
                      <a:pt x="866" y="50"/>
                    </a:lnTo>
                    <a:lnTo>
                      <a:pt x="858" y="40"/>
                    </a:lnTo>
                    <a:lnTo>
                      <a:pt x="848" y="28"/>
                    </a:lnTo>
                    <a:lnTo>
                      <a:pt x="838" y="20"/>
                    </a:lnTo>
                    <a:lnTo>
                      <a:pt x="824" y="12"/>
                    </a:lnTo>
                    <a:lnTo>
                      <a:pt x="808" y="6"/>
                    </a:lnTo>
                    <a:lnTo>
                      <a:pt x="790" y="2"/>
                    </a:lnTo>
                    <a:lnTo>
                      <a:pt x="768" y="0"/>
                    </a:lnTo>
                    <a:lnTo>
                      <a:pt x="76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1" name="Freeform 25"/>
              <p:cNvSpPr>
                <a:spLocks/>
              </p:cNvSpPr>
              <p:nvPr/>
            </p:nvSpPr>
            <p:spPr bwMode="auto">
              <a:xfrm>
                <a:off x="1304212" y="5531658"/>
                <a:ext cx="477711" cy="94148"/>
              </a:xfrm>
              <a:custGeom>
                <a:avLst/>
                <a:gdLst>
                  <a:gd name="T0" fmla="*/ 742 w 822"/>
                  <a:gd name="T1" fmla="*/ 0 h 162"/>
                  <a:gd name="T2" fmla="*/ 306 w 822"/>
                  <a:gd name="T3" fmla="*/ 0 h 162"/>
                  <a:gd name="T4" fmla="*/ 300 w 822"/>
                  <a:gd name="T5" fmla="*/ 0 h 162"/>
                  <a:gd name="T6" fmla="*/ 78 w 822"/>
                  <a:gd name="T7" fmla="*/ 0 h 162"/>
                  <a:gd name="T8" fmla="*/ 78 w 822"/>
                  <a:gd name="T9" fmla="*/ 0 h 162"/>
                  <a:gd name="T10" fmla="*/ 64 w 822"/>
                  <a:gd name="T11" fmla="*/ 0 h 162"/>
                  <a:gd name="T12" fmla="*/ 52 w 822"/>
                  <a:gd name="T13" fmla="*/ 4 h 162"/>
                  <a:gd name="T14" fmla="*/ 42 w 822"/>
                  <a:gd name="T15" fmla="*/ 8 h 162"/>
                  <a:gd name="T16" fmla="*/ 32 w 822"/>
                  <a:gd name="T17" fmla="*/ 14 h 162"/>
                  <a:gd name="T18" fmla="*/ 24 w 822"/>
                  <a:gd name="T19" fmla="*/ 20 h 162"/>
                  <a:gd name="T20" fmla="*/ 18 w 822"/>
                  <a:gd name="T21" fmla="*/ 26 h 162"/>
                  <a:gd name="T22" fmla="*/ 8 w 822"/>
                  <a:gd name="T23" fmla="*/ 42 h 162"/>
                  <a:gd name="T24" fmla="*/ 2 w 822"/>
                  <a:gd name="T25" fmla="*/ 58 h 162"/>
                  <a:gd name="T26" fmla="*/ 0 w 822"/>
                  <a:gd name="T27" fmla="*/ 72 h 162"/>
                  <a:gd name="T28" fmla="*/ 0 w 822"/>
                  <a:gd name="T29" fmla="*/ 86 h 162"/>
                  <a:gd name="T30" fmla="*/ 0 w 822"/>
                  <a:gd name="T31" fmla="*/ 86 h 162"/>
                  <a:gd name="T32" fmla="*/ 0 w 822"/>
                  <a:gd name="T33" fmla="*/ 98 h 162"/>
                  <a:gd name="T34" fmla="*/ 2 w 822"/>
                  <a:gd name="T35" fmla="*/ 110 h 162"/>
                  <a:gd name="T36" fmla="*/ 4 w 822"/>
                  <a:gd name="T37" fmla="*/ 120 h 162"/>
                  <a:gd name="T38" fmla="*/ 8 w 822"/>
                  <a:gd name="T39" fmla="*/ 130 h 162"/>
                  <a:gd name="T40" fmla="*/ 16 w 822"/>
                  <a:gd name="T41" fmla="*/ 144 h 162"/>
                  <a:gd name="T42" fmla="*/ 26 w 822"/>
                  <a:gd name="T43" fmla="*/ 152 h 162"/>
                  <a:gd name="T44" fmla="*/ 36 w 822"/>
                  <a:gd name="T45" fmla="*/ 158 h 162"/>
                  <a:gd name="T46" fmla="*/ 44 w 822"/>
                  <a:gd name="T47" fmla="*/ 160 h 162"/>
                  <a:gd name="T48" fmla="*/ 52 w 822"/>
                  <a:gd name="T49" fmla="*/ 162 h 162"/>
                  <a:gd name="T50" fmla="*/ 236 w 822"/>
                  <a:gd name="T51" fmla="*/ 162 h 162"/>
                  <a:gd name="T52" fmla="*/ 370 w 822"/>
                  <a:gd name="T53" fmla="*/ 162 h 162"/>
                  <a:gd name="T54" fmla="*/ 770 w 822"/>
                  <a:gd name="T55" fmla="*/ 162 h 162"/>
                  <a:gd name="T56" fmla="*/ 770 w 822"/>
                  <a:gd name="T57" fmla="*/ 162 h 162"/>
                  <a:gd name="T58" fmla="*/ 778 w 822"/>
                  <a:gd name="T59" fmla="*/ 160 h 162"/>
                  <a:gd name="T60" fmla="*/ 786 w 822"/>
                  <a:gd name="T61" fmla="*/ 158 h 162"/>
                  <a:gd name="T62" fmla="*/ 796 w 822"/>
                  <a:gd name="T63" fmla="*/ 152 h 162"/>
                  <a:gd name="T64" fmla="*/ 804 w 822"/>
                  <a:gd name="T65" fmla="*/ 144 h 162"/>
                  <a:gd name="T66" fmla="*/ 814 w 822"/>
                  <a:gd name="T67" fmla="*/ 130 h 162"/>
                  <a:gd name="T68" fmla="*/ 816 w 822"/>
                  <a:gd name="T69" fmla="*/ 120 h 162"/>
                  <a:gd name="T70" fmla="*/ 820 w 822"/>
                  <a:gd name="T71" fmla="*/ 110 h 162"/>
                  <a:gd name="T72" fmla="*/ 820 w 822"/>
                  <a:gd name="T73" fmla="*/ 98 h 162"/>
                  <a:gd name="T74" fmla="*/ 822 w 822"/>
                  <a:gd name="T75" fmla="*/ 86 h 162"/>
                  <a:gd name="T76" fmla="*/ 822 w 822"/>
                  <a:gd name="T77" fmla="*/ 86 h 162"/>
                  <a:gd name="T78" fmla="*/ 820 w 822"/>
                  <a:gd name="T79" fmla="*/ 72 h 162"/>
                  <a:gd name="T80" fmla="*/ 818 w 822"/>
                  <a:gd name="T81" fmla="*/ 58 h 162"/>
                  <a:gd name="T82" fmla="*/ 812 w 822"/>
                  <a:gd name="T83" fmla="*/ 42 h 162"/>
                  <a:gd name="T84" fmla="*/ 804 w 822"/>
                  <a:gd name="T85" fmla="*/ 26 h 162"/>
                  <a:gd name="T86" fmla="*/ 796 w 822"/>
                  <a:gd name="T87" fmla="*/ 20 h 162"/>
                  <a:gd name="T88" fmla="*/ 790 w 822"/>
                  <a:gd name="T89" fmla="*/ 14 h 162"/>
                  <a:gd name="T90" fmla="*/ 780 w 822"/>
                  <a:gd name="T91" fmla="*/ 8 h 162"/>
                  <a:gd name="T92" fmla="*/ 768 w 822"/>
                  <a:gd name="T93" fmla="*/ 4 h 162"/>
                  <a:gd name="T94" fmla="*/ 756 w 822"/>
                  <a:gd name="T95" fmla="*/ 0 h 162"/>
                  <a:gd name="T96" fmla="*/ 742 w 822"/>
                  <a:gd name="T97" fmla="*/ 0 h 162"/>
                  <a:gd name="T98" fmla="*/ 742 w 822"/>
                  <a:gd name="T99"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2" h="162">
                    <a:moveTo>
                      <a:pt x="742" y="0"/>
                    </a:moveTo>
                    <a:lnTo>
                      <a:pt x="306" y="0"/>
                    </a:lnTo>
                    <a:lnTo>
                      <a:pt x="300" y="0"/>
                    </a:lnTo>
                    <a:lnTo>
                      <a:pt x="78" y="0"/>
                    </a:lnTo>
                    <a:lnTo>
                      <a:pt x="78" y="0"/>
                    </a:lnTo>
                    <a:lnTo>
                      <a:pt x="64" y="0"/>
                    </a:lnTo>
                    <a:lnTo>
                      <a:pt x="52" y="4"/>
                    </a:lnTo>
                    <a:lnTo>
                      <a:pt x="42" y="8"/>
                    </a:lnTo>
                    <a:lnTo>
                      <a:pt x="32" y="14"/>
                    </a:lnTo>
                    <a:lnTo>
                      <a:pt x="24" y="20"/>
                    </a:lnTo>
                    <a:lnTo>
                      <a:pt x="18" y="26"/>
                    </a:lnTo>
                    <a:lnTo>
                      <a:pt x="8" y="42"/>
                    </a:lnTo>
                    <a:lnTo>
                      <a:pt x="2" y="58"/>
                    </a:lnTo>
                    <a:lnTo>
                      <a:pt x="0" y="72"/>
                    </a:lnTo>
                    <a:lnTo>
                      <a:pt x="0" y="86"/>
                    </a:lnTo>
                    <a:lnTo>
                      <a:pt x="0" y="86"/>
                    </a:lnTo>
                    <a:lnTo>
                      <a:pt x="0" y="98"/>
                    </a:lnTo>
                    <a:lnTo>
                      <a:pt x="2" y="110"/>
                    </a:lnTo>
                    <a:lnTo>
                      <a:pt x="4" y="120"/>
                    </a:lnTo>
                    <a:lnTo>
                      <a:pt x="8" y="130"/>
                    </a:lnTo>
                    <a:lnTo>
                      <a:pt x="16" y="144"/>
                    </a:lnTo>
                    <a:lnTo>
                      <a:pt x="26" y="152"/>
                    </a:lnTo>
                    <a:lnTo>
                      <a:pt x="36" y="158"/>
                    </a:lnTo>
                    <a:lnTo>
                      <a:pt x="44" y="160"/>
                    </a:lnTo>
                    <a:lnTo>
                      <a:pt x="52" y="162"/>
                    </a:lnTo>
                    <a:lnTo>
                      <a:pt x="236" y="162"/>
                    </a:lnTo>
                    <a:lnTo>
                      <a:pt x="370" y="162"/>
                    </a:lnTo>
                    <a:lnTo>
                      <a:pt x="770" y="162"/>
                    </a:lnTo>
                    <a:lnTo>
                      <a:pt x="770" y="162"/>
                    </a:lnTo>
                    <a:lnTo>
                      <a:pt x="778" y="160"/>
                    </a:lnTo>
                    <a:lnTo>
                      <a:pt x="786" y="158"/>
                    </a:lnTo>
                    <a:lnTo>
                      <a:pt x="796" y="152"/>
                    </a:lnTo>
                    <a:lnTo>
                      <a:pt x="804" y="144"/>
                    </a:lnTo>
                    <a:lnTo>
                      <a:pt x="814" y="130"/>
                    </a:lnTo>
                    <a:lnTo>
                      <a:pt x="816" y="120"/>
                    </a:lnTo>
                    <a:lnTo>
                      <a:pt x="820" y="110"/>
                    </a:lnTo>
                    <a:lnTo>
                      <a:pt x="820" y="98"/>
                    </a:lnTo>
                    <a:lnTo>
                      <a:pt x="822" y="86"/>
                    </a:lnTo>
                    <a:lnTo>
                      <a:pt x="822" y="86"/>
                    </a:lnTo>
                    <a:lnTo>
                      <a:pt x="820" y="72"/>
                    </a:lnTo>
                    <a:lnTo>
                      <a:pt x="818" y="58"/>
                    </a:lnTo>
                    <a:lnTo>
                      <a:pt x="812" y="42"/>
                    </a:lnTo>
                    <a:lnTo>
                      <a:pt x="804" y="26"/>
                    </a:lnTo>
                    <a:lnTo>
                      <a:pt x="796" y="20"/>
                    </a:lnTo>
                    <a:lnTo>
                      <a:pt x="790" y="14"/>
                    </a:lnTo>
                    <a:lnTo>
                      <a:pt x="780" y="8"/>
                    </a:lnTo>
                    <a:lnTo>
                      <a:pt x="768" y="4"/>
                    </a:lnTo>
                    <a:lnTo>
                      <a:pt x="756" y="0"/>
                    </a:lnTo>
                    <a:lnTo>
                      <a:pt x="742" y="0"/>
                    </a:lnTo>
                    <a:lnTo>
                      <a:pt x="742"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2" name="Freeform 28"/>
              <p:cNvSpPr>
                <a:spLocks/>
              </p:cNvSpPr>
              <p:nvPr/>
            </p:nvSpPr>
            <p:spPr bwMode="auto">
              <a:xfrm>
                <a:off x="775360" y="5976824"/>
                <a:ext cx="546287" cy="140640"/>
              </a:xfrm>
              <a:custGeom>
                <a:avLst/>
                <a:gdLst>
                  <a:gd name="T0" fmla="*/ 0 w 940"/>
                  <a:gd name="T1" fmla="*/ 70 h 242"/>
                  <a:gd name="T2" fmla="*/ 0 w 940"/>
                  <a:gd name="T3" fmla="*/ 70 h 242"/>
                  <a:gd name="T4" fmla="*/ 20 w 940"/>
                  <a:gd name="T5" fmla="*/ 64 h 242"/>
                  <a:gd name="T6" fmla="*/ 76 w 940"/>
                  <a:gd name="T7" fmla="*/ 50 h 242"/>
                  <a:gd name="T8" fmla="*/ 116 w 940"/>
                  <a:gd name="T9" fmla="*/ 42 h 242"/>
                  <a:gd name="T10" fmla="*/ 164 w 940"/>
                  <a:gd name="T11" fmla="*/ 32 h 242"/>
                  <a:gd name="T12" fmla="*/ 218 w 940"/>
                  <a:gd name="T13" fmla="*/ 22 h 242"/>
                  <a:gd name="T14" fmla="*/ 280 w 940"/>
                  <a:gd name="T15" fmla="*/ 14 h 242"/>
                  <a:gd name="T16" fmla="*/ 346 w 940"/>
                  <a:gd name="T17" fmla="*/ 8 h 242"/>
                  <a:gd name="T18" fmla="*/ 420 w 940"/>
                  <a:gd name="T19" fmla="*/ 2 h 242"/>
                  <a:gd name="T20" fmla="*/ 496 w 940"/>
                  <a:gd name="T21" fmla="*/ 0 h 242"/>
                  <a:gd name="T22" fmla="*/ 578 w 940"/>
                  <a:gd name="T23" fmla="*/ 0 h 242"/>
                  <a:gd name="T24" fmla="*/ 664 w 940"/>
                  <a:gd name="T25" fmla="*/ 6 h 242"/>
                  <a:gd name="T26" fmla="*/ 754 w 940"/>
                  <a:gd name="T27" fmla="*/ 14 h 242"/>
                  <a:gd name="T28" fmla="*/ 800 w 940"/>
                  <a:gd name="T29" fmla="*/ 20 h 242"/>
                  <a:gd name="T30" fmla="*/ 846 w 940"/>
                  <a:gd name="T31" fmla="*/ 28 h 242"/>
                  <a:gd name="T32" fmla="*/ 892 w 940"/>
                  <a:gd name="T33" fmla="*/ 36 h 242"/>
                  <a:gd name="T34" fmla="*/ 940 w 940"/>
                  <a:gd name="T35" fmla="*/ 46 h 242"/>
                  <a:gd name="T36" fmla="*/ 940 w 940"/>
                  <a:gd name="T37" fmla="*/ 218 h 242"/>
                  <a:gd name="T38" fmla="*/ 940 w 940"/>
                  <a:gd name="T39" fmla="*/ 218 h 242"/>
                  <a:gd name="T40" fmla="*/ 920 w 940"/>
                  <a:gd name="T41" fmla="*/ 208 h 242"/>
                  <a:gd name="T42" fmla="*/ 894 w 940"/>
                  <a:gd name="T43" fmla="*/ 198 h 242"/>
                  <a:gd name="T44" fmla="*/ 860 w 940"/>
                  <a:gd name="T45" fmla="*/ 184 h 242"/>
                  <a:gd name="T46" fmla="*/ 818 w 940"/>
                  <a:gd name="T47" fmla="*/ 170 h 242"/>
                  <a:gd name="T48" fmla="*/ 770 w 940"/>
                  <a:gd name="T49" fmla="*/ 156 h 242"/>
                  <a:gd name="T50" fmla="*/ 712 w 940"/>
                  <a:gd name="T51" fmla="*/ 142 h 242"/>
                  <a:gd name="T52" fmla="*/ 650 w 940"/>
                  <a:gd name="T53" fmla="*/ 132 h 242"/>
                  <a:gd name="T54" fmla="*/ 582 w 940"/>
                  <a:gd name="T55" fmla="*/ 122 h 242"/>
                  <a:gd name="T56" fmla="*/ 546 w 940"/>
                  <a:gd name="T57" fmla="*/ 120 h 242"/>
                  <a:gd name="T58" fmla="*/ 508 w 940"/>
                  <a:gd name="T59" fmla="*/ 118 h 242"/>
                  <a:gd name="T60" fmla="*/ 470 w 940"/>
                  <a:gd name="T61" fmla="*/ 118 h 242"/>
                  <a:gd name="T62" fmla="*/ 430 w 940"/>
                  <a:gd name="T63" fmla="*/ 120 h 242"/>
                  <a:gd name="T64" fmla="*/ 390 w 940"/>
                  <a:gd name="T65" fmla="*/ 122 h 242"/>
                  <a:gd name="T66" fmla="*/ 350 w 940"/>
                  <a:gd name="T67" fmla="*/ 126 h 242"/>
                  <a:gd name="T68" fmla="*/ 308 w 940"/>
                  <a:gd name="T69" fmla="*/ 134 h 242"/>
                  <a:gd name="T70" fmla="*/ 264 w 940"/>
                  <a:gd name="T71" fmla="*/ 142 h 242"/>
                  <a:gd name="T72" fmla="*/ 222 w 940"/>
                  <a:gd name="T73" fmla="*/ 152 h 242"/>
                  <a:gd name="T74" fmla="*/ 178 w 940"/>
                  <a:gd name="T75" fmla="*/ 166 h 242"/>
                  <a:gd name="T76" fmla="*/ 134 w 940"/>
                  <a:gd name="T77" fmla="*/ 180 h 242"/>
                  <a:gd name="T78" fmla="*/ 90 w 940"/>
                  <a:gd name="T79" fmla="*/ 198 h 242"/>
                  <a:gd name="T80" fmla="*/ 44 w 940"/>
                  <a:gd name="T81" fmla="*/ 218 h 242"/>
                  <a:gd name="T82" fmla="*/ 0 w 940"/>
                  <a:gd name="T83" fmla="*/ 242 h 242"/>
                  <a:gd name="T84" fmla="*/ 0 w 940"/>
                  <a:gd name="T85" fmla="*/ 7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0" h="242">
                    <a:moveTo>
                      <a:pt x="0" y="70"/>
                    </a:moveTo>
                    <a:lnTo>
                      <a:pt x="0" y="70"/>
                    </a:lnTo>
                    <a:lnTo>
                      <a:pt x="20" y="64"/>
                    </a:lnTo>
                    <a:lnTo>
                      <a:pt x="76" y="50"/>
                    </a:lnTo>
                    <a:lnTo>
                      <a:pt x="116" y="42"/>
                    </a:lnTo>
                    <a:lnTo>
                      <a:pt x="164" y="32"/>
                    </a:lnTo>
                    <a:lnTo>
                      <a:pt x="218" y="22"/>
                    </a:lnTo>
                    <a:lnTo>
                      <a:pt x="280" y="14"/>
                    </a:lnTo>
                    <a:lnTo>
                      <a:pt x="346" y="8"/>
                    </a:lnTo>
                    <a:lnTo>
                      <a:pt x="420" y="2"/>
                    </a:lnTo>
                    <a:lnTo>
                      <a:pt x="496" y="0"/>
                    </a:lnTo>
                    <a:lnTo>
                      <a:pt x="578" y="0"/>
                    </a:lnTo>
                    <a:lnTo>
                      <a:pt x="664" y="6"/>
                    </a:lnTo>
                    <a:lnTo>
                      <a:pt x="754" y="14"/>
                    </a:lnTo>
                    <a:lnTo>
                      <a:pt x="800" y="20"/>
                    </a:lnTo>
                    <a:lnTo>
                      <a:pt x="846" y="28"/>
                    </a:lnTo>
                    <a:lnTo>
                      <a:pt x="892" y="36"/>
                    </a:lnTo>
                    <a:lnTo>
                      <a:pt x="940" y="46"/>
                    </a:lnTo>
                    <a:lnTo>
                      <a:pt x="940" y="218"/>
                    </a:lnTo>
                    <a:lnTo>
                      <a:pt x="940" y="218"/>
                    </a:lnTo>
                    <a:lnTo>
                      <a:pt x="920" y="208"/>
                    </a:lnTo>
                    <a:lnTo>
                      <a:pt x="894" y="198"/>
                    </a:lnTo>
                    <a:lnTo>
                      <a:pt x="860" y="184"/>
                    </a:lnTo>
                    <a:lnTo>
                      <a:pt x="818" y="170"/>
                    </a:lnTo>
                    <a:lnTo>
                      <a:pt x="770" y="156"/>
                    </a:lnTo>
                    <a:lnTo>
                      <a:pt x="712" y="142"/>
                    </a:lnTo>
                    <a:lnTo>
                      <a:pt x="650" y="132"/>
                    </a:lnTo>
                    <a:lnTo>
                      <a:pt x="582" y="122"/>
                    </a:lnTo>
                    <a:lnTo>
                      <a:pt x="546" y="120"/>
                    </a:lnTo>
                    <a:lnTo>
                      <a:pt x="508" y="118"/>
                    </a:lnTo>
                    <a:lnTo>
                      <a:pt x="470" y="118"/>
                    </a:lnTo>
                    <a:lnTo>
                      <a:pt x="430" y="120"/>
                    </a:lnTo>
                    <a:lnTo>
                      <a:pt x="390" y="122"/>
                    </a:lnTo>
                    <a:lnTo>
                      <a:pt x="350" y="126"/>
                    </a:lnTo>
                    <a:lnTo>
                      <a:pt x="308" y="134"/>
                    </a:lnTo>
                    <a:lnTo>
                      <a:pt x="264" y="142"/>
                    </a:lnTo>
                    <a:lnTo>
                      <a:pt x="222" y="152"/>
                    </a:lnTo>
                    <a:lnTo>
                      <a:pt x="178" y="166"/>
                    </a:lnTo>
                    <a:lnTo>
                      <a:pt x="134" y="180"/>
                    </a:lnTo>
                    <a:lnTo>
                      <a:pt x="90" y="198"/>
                    </a:lnTo>
                    <a:lnTo>
                      <a:pt x="44" y="218"/>
                    </a:lnTo>
                    <a:lnTo>
                      <a:pt x="0" y="242"/>
                    </a:lnTo>
                    <a:lnTo>
                      <a:pt x="0" y="7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3" name="Freeform 29"/>
              <p:cNvSpPr>
                <a:spLocks/>
              </p:cNvSpPr>
              <p:nvPr/>
            </p:nvSpPr>
            <p:spPr bwMode="auto">
              <a:xfrm>
                <a:off x="989225" y="6163957"/>
                <a:ext cx="111582" cy="153426"/>
              </a:xfrm>
              <a:custGeom>
                <a:avLst/>
                <a:gdLst>
                  <a:gd name="T0" fmla="*/ 0 w 192"/>
                  <a:gd name="T1" fmla="*/ 32 h 264"/>
                  <a:gd name="T2" fmla="*/ 0 w 192"/>
                  <a:gd name="T3" fmla="*/ 264 h 264"/>
                  <a:gd name="T4" fmla="*/ 192 w 192"/>
                  <a:gd name="T5" fmla="*/ 264 h 264"/>
                  <a:gd name="T6" fmla="*/ 192 w 192"/>
                  <a:gd name="T7" fmla="*/ 0 h 264"/>
                  <a:gd name="T8" fmla="*/ 0 w 192"/>
                  <a:gd name="T9" fmla="*/ 32 h 264"/>
                </a:gdLst>
                <a:ahLst/>
                <a:cxnLst>
                  <a:cxn ang="0">
                    <a:pos x="T0" y="T1"/>
                  </a:cxn>
                  <a:cxn ang="0">
                    <a:pos x="T2" y="T3"/>
                  </a:cxn>
                  <a:cxn ang="0">
                    <a:pos x="T4" y="T5"/>
                  </a:cxn>
                  <a:cxn ang="0">
                    <a:pos x="T6" y="T7"/>
                  </a:cxn>
                  <a:cxn ang="0">
                    <a:pos x="T8" y="T9"/>
                  </a:cxn>
                </a:cxnLst>
                <a:rect l="0" t="0" r="r" b="b"/>
                <a:pathLst>
                  <a:path w="192" h="264">
                    <a:moveTo>
                      <a:pt x="0" y="32"/>
                    </a:moveTo>
                    <a:lnTo>
                      <a:pt x="0" y="264"/>
                    </a:lnTo>
                    <a:lnTo>
                      <a:pt x="192" y="264"/>
                    </a:lnTo>
                    <a:lnTo>
                      <a:pt x="192" y="0"/>
                    </a:lnTo>
                    <a:lnTo>
                      <a:pt x="0" y="32"/>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4" name="Rectangle 30"/>
              <p:cNvSpPr>
                <a:spLocks noChangeArrowheads="1"/>
              </p:cNvSpPr>
              <p:nvPr/>
            </p:nvSpPr>
            <p:spPr bwMode="auto">
              <a:xfrm>
                <a:off x="1426672" y="6284629"/>
                <a:ext cx="58116" cy="6276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5" name="Rectangle 31"/>
              <p:cNvSpPr>
                <a:spLocks noChangeArrowheads="1"/>
              </p:cNvSpPr>
              <p:nvPr/>
            </p:nvSpPr>
            <p:spPr bwMode="auto">
              <a:xfrm>
                <a:off x="1426672" y="6358392"/>
                <a:ext cx="58116" cy="6276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6" name="Freeform 32"/>
              <p:cNvSpPr>
                <a:spLocks/>
              </p:cNvSpPr>
              <p:nvPr/>
            </p:nvSpPr>
            <p:spPr bwMode="auto">
              <a:xfrm>
                <a:off x="1514591" y="6359226"/>
                <a:ext cx="109257" cy="62765"/>
              </a:xfrm>
              <a:custGeom>
                <a:avLst/>
                <a:gdLst>
                  <a:gd name="T0" fmla="*/ 188 w 188"/>
                  <a:gd name="T1" fmla="*/ 108 h 108"/>
                  <a:gd name="T2" fmla="*/ 0 w 188"/>
                  <a:gd name="T3" fmla="*/ 108 h 108"/>
                  <a:gd name="T4" fmla="*/ 24 w 188"/>
                  <a:gd name="T5" fmla="*/ 0 h 108"/>
                  <a:gd name="T6" fmla="*/ 156 w 188"/>
                  <a:gd name="T7" fmla="*/ 0 h 108"/>
                  <a:gd name="T8" fmla="*/ 188 w 188"/>
                  <a:gd name="T9" fmla="*/ 108 h 108"/>
                </a:gdLst>
                <a:ahLst/>
                <a:cxnLst>
                  <a:cxn ang="0">
                    <a:pos x="T0" y="T1"/>
                  </a:cxn>
                  <a:cxn ang="0">
                    <a:pos x="T2" y="T3"/>
                  </a:cxn>
                  <a:cxn ang="0">
                    <a:pos x="T4" y="T5"/>
                  </a:cxn>
                  <a:cxn ang="0">
                    <a:pos x="T6" y="T7"/>
                  </a:cxn>
                  <a:cxn ang="0">
                    <a:pos x="T8" y="T9"/>
                  </a:cxn>
                </a:cxnLst>
                <a:rect l="0" t="0" r="r" b="b"/>
                <a:pathLst>
                  <a:path w="188" h="108">
                    <a:moveTo>
                      <a:pt x="188" y="108"/>
                    </a:moveTo>
                    <a:lnTo>
                      <a:pt x="0" y="108"/>
                    </a:lnTo>
                    <a:lnTo>
                      <a:pt x="24" y="0"/>
                    </a:lnTo>
                    <a:lnTo>
                      <a:pt x="156" y="0"/>
                    </a:lnTo>
                    <a:lnTo>
                      <a:pt x="188" y="10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7" name="Rectangle 34"/>
              <p:cNvSpPr>
                <a:spLocks noChangeArrowheads="1"/>
              </p:cNvSpPr>
              <p:nvPr/>
            </p:nvSpPr>
            <p:spPr bwMode="auto">
              <a:xfrm>
                <a:off x="1554110" y="6308084"/>
                <a:ext cx="27896" cy="91823"/>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8" name="Freeform 35"/>
              <p:cNvSpPr>
                <a:spLocks/>
              </p:cNvSpPr>
              <p:nvPr/>
            </p:nvSpPr>
            <p:spPr bwMode="auto">
              <a:xfrm>
                <a:off x="2309613" y="5845483"/>
                <a:ext cx="512580" cy="462601"/>
              </a:xfrm>
              <a:custGeom>
                <a:avLst/>
                <a:gdLst>
                  <a:gd name="T0" fmla="*/ 68 w 882"/>
                  <a:gd name="T1" fmla="*/ 510 h 796"/>
                  <a:gd name="T2" fmla="*/ 68 w 882"/>
                  <a:gd name="T3" fmla="*/ 510 h 796"/>
                  <a:gd name="T4" fmla="*/ 196 w 882"/>
                  <a:gd name="T5" fmla="*/ 556 h 796"/>
                  <a:gd name="T6" fmla="*/ 476 w 882"/>
                  <a:gd name="T7" fmla="*/ 654 h 796"/>
                  <a:gd name="T8" fmla="*/ 882 w 882"/>
                  <a:gd name="T9" fmla="*/ 796 h 796"/>
                  <a:gd name="T10" fmla="*/ 882 w 882"/>
                  <a:gd name="T11" fmla="*/ 206 h 796"/>
                  <a:gd name="T12" fmla="*/ 116 w 882"/>
                  <a:gd name="T13" fmla="*/ 0 h 796"/>
                  <a:gd name="T14" fmla="*/ 0 w 882"/>
                  <a:gd name="T15" fmla="*/ 296 h 796"/>
                  <a:gd name="T16" fmla="*/ 68 w 882"/>
                  <a:gd name="T17" fmla="*/ 51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2" h="796">
                    <a:moveTo>
                      <a:pt x="68" y="510"/>
                    </a:moveTo>
                    <a:lnTo>
                      <a:pt x="68" y="510"/>
                    </a:lnTo>
                    <a:lnTo>
                      <a:pt x="196" y="556"/>
                    </a:lnTo>
                    <a:lnTo>
                      <a:pt x="476" y="654"/>
                    </a:lnTo>
                    <a:lnTo>
                      <a:pt x="882" y="796"/>
                    </a:lnTo>
                    <a:lnTo>
                      <a:pt x="882" y="206"/>
                    </a:lnTo>
                    <a:lnTo>
                      <a:pt x="116" y="0"/>
                    </a:lnTo>
                    <a:lnTo>
                      <a:pt x="0" y="296"/>
                    </a:lnTo>
                    <a:lnTo>
                      <a:pt x="68" y="510"/>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49" name="Freeform 36"/>
              <p:cNvSpPr>
                <a:spLocks/>
              </p:cNvSpPr>
              <p:nvPr/>
            </p:nvSpPr>
            <p:spPr bwMode="auto">
              <a:xfrm>
                <a:off x="370875" y="6046563"/>
                <a:ext cx="240599" cy="70901"/>
              </a:xfrm>
              <a:custGeom>
                <a:avLst/>
                <a:gdLst>
                  <a:gd name="T0" fmla="*/ 0 w 414"/>
                  <a:gd name="T1" fmla="*/ 44 h 122"/>
                  <a:gd name="T2" fmla="*/ 108 w 414"/>
                  <a:gd name="T3" fmla="*/ 122 h 122"/>
                  <a:gd name="T4" fmla="*/ 414 w 414"/>
                  <a:gd name="T5" fmla="*/ 38 h 122"/>
                  <a:gd name="T6" fmla="*/ 356 w 414"/>
                  <a:gd name="T7" fmla="*/ 0 h 122"/>
                  <a:gd name="T8" fmla="*/ 140 w 414"/>
                  <a:gd name="T9" fmla="*/ 44 h 122"/>
                  <a:gd name="T10" fmla="*/ 80 w 414"/>
                  <a:gd name="T11" fmla="*/ 0 h 122"/>
                  <a:gd name="T12" fmla="*/ 0 w 414"/>
                  <a:gd name="T13" fmla="*/ 44 h 122"/>
                </a:gdLst>
                <a:ahLst/>
                <a:cxnLst>
                  <a:cxn ang="0">
                    <a:pos x="T0" y="T1"/>
                  </a:cxn>
                  <a:cxn ang="0">
                    <a:pos x="T2" y="T3"/>
                  </a:cxn>
                  <a:cxn ang="0">
                    <a:pos x="T4" y="T5"/>
                  </a:cxn>
                  <a:cxn ang="0">
                    <a:pos x="T6" y="T7"/>
                  </a:cxn>
                  <a:cxn ang="0">
                    <a:pos x="T8" y="T9"/>
                  </a:cxn>
                  <a:cxn ang="0">
                    <a:pos x="T10" y="T11"/>
                  </a:cxn>
                  <a:cxn ang="0">
                    <a:pos x="T12" y="T13"/>
                  </a:cxn>
                </a:cxnLst>
                <a:rect l="0" t="0" r="r" b="b"/>
                <a:pathLst>
                  <a:path w="414" h="122">
                    <a:moveTo>
                      <a:pt x="0" y="44"/>
                    </a:moveTo>
                    <a:lnTo>
                      <a:pt x="108" y="122"/>
                    </a:lnTo>
                    <a:lnTo>
                      <a:pt x="414" y="38"/>
                    </a:lnTo>
                    <a:lnTo>
                      <a:pt x="356" y="0"/>
                    </a:lnTo>
                    <a:lnTo>
                      <a:pt x="140" y="44"/>
                    </a:lnTo>
                    <a:lnTo>
                      <a:pt x="80" y="0"/>
                    </a:lnTo>
                    <a:lnTo>
                      <a:pt x="0"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0" name="Freeform 37"/>
              <p:cNvSpPr>
                <a:spLocks/>
              </p:cNvSpPr>
              <p:nvPr/>
            </p:nvSpPr>
            <p:spPr bwMode="auto">
              <a:xfrm>
                <a:off x="2504882" y="6046563"/>
                <a:ext cx="240599" cy="70901"/>
              </a:xfrm>
              <a:custGeom>
                <a:avLst/>
                <a:gdLst>
                  <a:gd name="T0" fmla="*/ 414 w 414"/>
                  <a:gd name="T1" fmla="*/ 44 h 122"/>
                  <a:gd name="T2" fmla="*/ 304 w 414"/>
                  <a:gd name="T3" fmla="*/ 122 h 122"/>
                  <a:gd name="T4" fmla="*/ 0 w 414"/>
                  <a:gd name="T5" fmla="*/ 38 h 122"/>
                  <a:gd name="T6" fmla="*/ 58 w 414"/>
                  <a:gd name="T7" fmla="*/ 0 h 122"/>
                  <a:gd name="T8" fmla="*/ 274 w 414"/>
                  <a:gd name="T9" fmla="*/ 44 h 122"/>
                  <a:gd name="T10" fmla="*/ 334 w 414"/>
                  <a:gd name="T11" fmla="*/ 0 h 122"/>
                  <a:gd name="T12" fmla="*/ 414 w 414"/>
                  <a:gd name="T13" fmla="*/ 44 h 122"/>
                </a:gdLst>
                <a:ahLst/>
                <a:cxnLst>
                  <a:cxn ang="0">
                    <a:pos x="T0" y="T1"/>
                  </a:cxn>
                  <a:cxn ang="0">
                    <a:pos x="T2" y="T3"/>
                  </a:cxn>
                  <a:cxn ang="0">
                    <a:pos x="T4" y="T5"/>
                  </a:cxn>
                  <a:cxn ang="0">
                    <a:pos x="T6" y="T7"/>
                  </a:cxn>
                  <a:cxn ang="0">
                    <a:pos x="T8" y="T9"/>
                  </a:cxn>
                  <a:cxn ang="0">
                    <a:pos x="T10" y="T11"/>
                  </a:cxn>
                  <a:cxn ang="0">
                    <a:pos x="T12" y="T13"/>
                  </a:cxn>
                </a:cxnLst>
                <a:rect l="0" t="0" r="r" b="b"/>
                <a:pathLst>
                  <a:path w="414" h="122">
                    <a:moveTo>
                      <a:pt x="414" y="44"/>
                    </a:moveTo>
                    <a:lnTo>
                      <a:pt x="304" y="122"/>
                    </a:lnTo>
                    <a:lnTo>
                      <a:pt x="0" y="38"/>
                    </a:lnTo>
                    <a:lnTo>
                      <a:pt x="58" y="0"/>
                    </a:lnTo>
                    <a:lnTo>
                      <a:pt x="274" y="44"/>
                    </a:lnTo>
                    <a:lnTo>
                      <a:pt x="334" y="0"/>
                    </a:lnTo>
                    <a:lnTo>
                      <a:pt x="414" y="4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1" name="Freeform 38"/>
              <p:cNvSpPr>
                <a:spLocks/>
              </p:cNvSpPr>
              <p:nvPr/>
            </p:nvSpPr>
            <p:spPr bwMode="auto">
              <a:xfrm>
                <a:off x="1308862" y="5803639"/>
                <a:ext cx="1000752" cy="374265"/>
              </a:xfrm>
              <a:custGeom>
                <a:avLst/>
                <a:gdLst>
                  <a:gd name="T0" fmla="*/ 422 w 1722"/>
                  <a:gd name="T1" fmla="*/ 0 h 644"/>
                  <a:gd name="T2" fmla="*/ 0 w 1722"/>
                  <a:gd name="T3" fmla="*/ 32 h 644"/>
                  <a:gd name="T4" fmla="*/ 62 w 1722"/>
                  <a:gd name="T5" fmla="*/ 206 h 644"/>
                  <a:gd name="T6" fmla="*/ 230 w 1722"/>
                  <a:gd name="T7" fmla="*/ 644 h 644"/>
                  <a:gd name="T8" fmla="*/ 610 w 1722"/>
                  <a:gd name="T9" fmla="*/ 644 h 644"/>
                  <a:gd name="T10" fmla="*/ 748 w 1722"/>
                  <a:gd name="T11" fmla="*/ 298 h 644"/>
                  <a:gd name="T12" fmla="*/ 1654 w 1722"/>
                  <a:gd name="T13" fmla="*/ 298 h 644"/>
                  <a:gd name="T14" fmla="*/ 1722 w 1722"/>
                  <a:gd name="T15" fmla="*/ 140 h 644"/>
                  <a:gd name="T16" fmla="*/ 1722 w 1722"/>
                  <a:gd name="T17" fmla="*/ 140 h 644"/>
                  <a:gd name="T18" fmla="*/ 1700 w 1722"/>
                  <a:gd name="T19" fmla="*/ 134 h 644"/>
                  <a:gd name="T20" fmla="*/ 1632 w 1722"/>
                  <a:gd name="T21" fmla="*/ 118 h 644"/>
                  <a:gd name="T22" fmla="*/ 1524 w 1722"/>
                  <a:gd name="T23" fmla="*/ 96 h 644"/>
                  <a:gd name="T24" fmla="*/ 1454 w 1722"/>
                  <a:gd name="T25" fmla="*/ 84 h 644"/>
                  <a:gd name="T26" fmla="*/ 1374 w 1722"/>
                  <a:gd name="T27" fmla="*/ 70 h 644"/>
                  <a:gd name="T28" fmla="*/ 1286 w 1722"/>
                  <a:gd name="T29" fmla="*/ 56 h 644"/>
                  <a:gd name="T30" fmla="*/ 1186 w 1722"/>
                  <a:gd name="T31" fmla="*/ 44 h 644"/>
                  <a:gd name="T32" fmla="*/ 1080 w 1722"/>
                  <a:gd name="T33" fmla="*/ 32 h 644"/>
                  <a:gd name="T34" fmla="*/ 964 w 1722"/>
                  <a:gd name="T35" fmla="*/ 22 h 644"/>
                  <a:gd name="T36" fmla="*/ 840 w 1722"/>
                  <a:gd name="T37" fmla="*/ 12 h 644"/>
                  <a:gd name="T38" fmla="*/ 708 w 1722"/>
                  <a:gd name="T39" fmla="*/ 6 h 644"/>
                  <a:gd name="T40" fmla="*/ 570 w 1722"/>
                  <a:gd name="T41" fmla="*/ 2 h 644"/>
                  <a:gd name="T42" fmla="*/ 422 w 1722"/>
                  <a:gd name="T43" fmla="*/ 0 h 644"/>
                  <a:gd name="T44" fmla="*/ 422 w 1722"/>
                  <a:gd name="T4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2" h="644">
                    <a:moveTo>
                      <a:pt x="422" y="0"/>
                    </a:moveTo>
                    <a:lnTo>
                      <a:pt x="0" y="32"/>
                    </a:lnTo>
                    <a:lnTo>
                      <a:pt x="62" y="206"/>
                    </a:lnTo>
                    <a:lnTo>
                      <a:pt x="230" y="644"/>
                    </a:lnTo>
                    <a:lnTo>
                      <a:pt x="610" y="644"/>
                    </a:lnTo>
                    <a:lnTo>
                      <a:pt x="748" y="298"/>
                    </a:lnTo>
                    <a:lnTo>
                      <a:pt x="1654" y="298"/>
                    </a:lnTo>
                    <a:lnTo>
                      <a:pt x="1722" y="140"/>
                    </a:lnTo>
                    <a:lnTo>
                      <a:pt x="1722" y="140"/>
                    </a:lnTo>
                    <a:lnTo>
                      <a:pt x="1700" y="134"/>
                    </a:lnTo>
                    <a:lnTo>
                      <a:pt x="1632" y="118"/>
                    </a:lnTo>
                    <a:lnTo>
                      <a:pt x="1524" y="96"/>
                    </a:lnTo>
                    <a:lnTo>
                      <a:pt x="1454" y="84"/>
                    </a:lnTo>
                    <a:lnTo>
                      <a:pt x="1374" y="70"/>
                    </a:lnTo>
                    <a:lnTo>
                      <a:pt x="1286" y="56"/>
                    </a:lnTo>
                    <a:lnTo>
                      <a:pt x="1186" y="44"/>
                    </a:lnTo>
                    <a:lnTo>
                      <a:pt x="1080" y="32"/>
                    </a:lnTo>
                    <a:lnTo>
                      <a:pt x="964" y="22"/>
                    </a:lnTo>
                    <a:lnTo>
                      <a:pt x="840" y="12"/>
                    </a:lnTo>
                    <a:lnTo>
                      <a:pt x="708" y="6"/>
                    </a:lnTo>
                    <a:lnTo>
                      <a:pt x="570" y="2"/>
                    </a:lnTo>
                    <a:lnTo>
                      <a:pt x="422" y="0"/>
                    </a:lnTo>
                    <a:lnTo>
                      <a:pt x="422" y="0"/>
                    </a:lnTo>
                    <a:close/>
                  </a:path>
                </a:pathLst>
              </a:custGeom>
              <a:solidFill>
                <a:schemeClr val="tx1">
                  <a:lumMod val="90000"/>
                  <a:lumOff val="1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2" name="Freeform 39"/>
              <p:cNvSpPr>
                <a:spLocks/>
              </p:cNvSpPr>
              <p:nvPr/>
            </p:nvSpPr>
            <p:spPr bwMode="auto">
              <a:xfrm>
                <a:off x="2287529" y="5742037"/>
                <a:ext cx="80200" cy="81362"/>
              </a:xfrm>
              <a:custGeom>
                <a:avLst/>
                <a:gdLst>
                  <a:gd name="T0" fmla="*/ 138 w 138"/>
                  <a:gd name="T1" fmla="*/ 70 h 140"/>
                  <a:gd name="T2" fmla="*/ 138 w 138"/>
                  <a:gd name="T3" fmla="*/ 70 h 140"/>
                  <a:gd name="T4" fmla="*/ 136 w 138"/>
                  <a:gd name="T5" fmla="*/ 84 h 140"/>
                  <a:gd name="T6" fmla="*/ 132 w 138"/>
                  <a:gd name="T7" fmla="*/ 96 h 140"/>
                  <a:gd name="T8" fmla="*/ 126 w 138"/>
                  <a:gd name="T9" fmla="*/ 108 h 140"/>
                  <a:gd name="T10" fmla="*/ 118 w 138"/>
                  <a:gd name="T11" fmla="*/ 118 h 140"/>
                  <a:gd name="T12" fmla="*/ 108 w 138"/>
                  <a:gd name="T13" fmla="*/ 128 h 140"/>
                  <a:gd name="T14" fmla="*/ 96 w 138"/>
                  <a:gd name="T15" fmla="*/ 134 h 140"/>
                  <a:gd name="T16" fmla="*/ 82 w 138"/>
                  <a:gd name="T17" fmla="*/ 138 h 140"/>
                  <a:gd name="T18" fmla="*/ 68 w 138"/>
                  <a:gd name="T19" fmla="*/ 140 h 140"/>
                  <a:gd name="T20" fmla="*/ 68 w 138"/>
                  <a:gd name="T21" fmla="*/ 140 h 140"/>
                  <a:gd name="T22" fmla="*/ 54 w 138"/>
                  <a:gd name="T23" fmla="*/ 138 h 140"/>
                  <a:gd name="T24" fmla="*/ 42 w 138"/>
                  <a:gd name="T25" fmla="*/ 134 h 140"/>
                  <a:gd name="T26" fmla="*/ 30 w 138"/>
                  <a:gd name="T27" fmla="*/ 128 h 140"/>
                  <a:gd name="T28" fmla="*/ 20 w 138"/>
                  <a:gd name="T29" fmla="*/ 118 h 140"/>
                  <a:gd name="T30" fmla="*/ 12 w 138"/>
                  <a:gd name="T31" fmla="*/ 108 h 140"/>
                  <a:gd name="T32" fmla="*/ 4 w 138"/>
                  <a:gd name="T33" fmla="*/ 96 h 140"/>
                  <a:gd name="T34" fmla="*/ 0 w 138"/>
                  <a:gd name="T35" fmla="*/ 84 h 140"/>
                  <a:gd name="T36" fmla="*/ 0 w 138"/>
                  <a:gd name="T37" fmla="*/ 70 h 140"/>
                  <a:gd name="T38" fmla="*/ 0 w 138"/>
                  <a:gd name="T39" fmla="*/ 70 h 140"/>
                  <a:gd name="T40" fmla="*/ 0 w 138"/>
                  <a:gd name="T41" fmla="*/ 56 h 140"/>
                  <a:gd name="T42" fmla="*/ 4 w 138"/>
                  <a:gd name="T43" fmla="*/ 42 h 140"/>
                  <a:gd name="T44" fmla="*/ 12 w 138"/>
                  <a:gd name="T45" fmla="*/ 32 h 140"/>
                  <a:gd name="T46" fmla="*/ 20 w 138"/>
                  <a:gd name="T47" fmla="*/ 20 h 140"/>
                  <a:gd name="T48" fmla="*/ 30 w 138"/>
                  <a:gd name="T49" fmla="*/ 12 h 140"/>
                  <a:gd name="T50" fmla="*/ 42 w 138"/>
                  <a:gd name="T51" fmla="*/ 6 h 140"/>
                  <a:gd name="T52" fmla="*/ 54 w 138"/>
                  <a:gd name="T53" fmla="*/ 2 h 140"/>
                  <a:gd name="T54" fmla="*/ 68 w 138"/>
                  <a:gd name="T55" fmla="*/ 0 h 140"/>
                  <a:gd name="T56" fmla="*/ 68 w 138"/>
                  <a:gd name="T57" fmla="*/ 0 h 140"/>
                  <a:gd name="T58" fmla="*/ 82 w 138"/>
                  <a:gd name="T59" fmla="*/ 2 h 140"/>
                  <a:gd name="T60" fmla="*/ 96 w 138"/>
                  <a:gd name="T61" fmla="*/ 6 h 140"/>
                  <a:gd name="T62" fmla="*/ 108 w 138"/>
                  <a:gd name="T63" fmla="*/ 12 h 140"/>
                  <a:gd name="T64" fmla="*/ 118 w 138"/>
                  <a:gd name="T65" fmla="*/ 20 h 140"/>
                  <a:gd name="T66" fmla="*/ 126 w 138"/>
                  <a:gd name="T67" fmla="*/ 32 h 140"/>
                  <a:gd name="T68" fmla="*/ 132 w 138"/>
                  <a:gd name="T69" fmla="*/ 42 h 140"/>
                  <a:gd name="T70" fmla="*/ 136 w 138"/>
                  <a:gd name="T71" fmla="*/ 56 h 140"/>
                  <a:gd name="T72" fmla="*/ 138 w 138"/>
                  <a:gd name="T73" fmla="*/ 70 h 140"/>
                  <a:gd name="T74" fmla="*/ 138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138" y="70"/>
                    </a:moveTo>
                    <a:lnTo>
                      <a:pt x="138" y="70"/>
                    </a:lnTo>
                    <a:lnTo>
                      <a:pt x="136" y="84"/>
                    </a:lnTo>
                    <a:lnTo>
                      <a:pt x="132" y="96"/>
                    </a:lnTo>
                    <a:lnTo>
                      <a:pt x="126" y="108"/>
                    </a:lnTo>
                    <a:lnTo>
                      <a:pt x="118" y="118"/>
                    </a:lnTo>
                    <a:lnTo>
                      <a:pt x="108" y="128"/>
                    </a:lnTo>
                    <a:lnTo>
                      <a:pt x="96" y="134"/>
                    </a:lnTo>
                    <a:lnTo>
                      <a:pt x="82" y="138"/>
                    </a:lnTo>
                    <a:lnTo>
                      <a:pt x="68" y="140"/>
                    </a:lnTo>
                    <a:lnTo>
                      <a:pt x="68" y="140"/>
                    </a:lnTo>
                    <a:lnTo>
                      <a:pt x="54" y="138"/>
                    </a:lnTo>
                    <a:lnTo>
                      <a:pt x="42" y="134"/>
                    </a:lnTo>
                    <a:lnTo>
                      <a:pt x="30" y="128"/>
                    </a:lnTo>
                    <a:lnTo>
                      <a:pt x="20" y="118"/>
                    </a:lnTo>
                    <a:lnTo>
                      <a:pt x="12" y="108"/>
                    </a:lnTo>
                    <a:lnTo>
                      <a:pt x="4" y="96"/>
                    </a:lnTo>
                    <a:lnTo>
                      <a:pt x="0" y="84"/>
                    </a:lnTo>
                    <a:lnTo>
                      <a:pt x="0" y="70"/>
                    </a:lnTo>
                    <a:lnTo>
                      <a:pt x="0" y="70"/>
                    </a:lnTo>
                    <a:lnTo>
                      <a:pt x="0" y="56"/>
                    </a:lnTo>
                    <a:lnTo>
                      <a:pt x="4" y="42"/>
                    </a:lnTo>
                    <a:lnTo>
                      <a:pt x="12" y="32"/>
                    </a:lnTo>
                    <a:lnTo>
                      <a:pt x="20" y="20"/>
                    </a:lnTo>
                    <a:lnTo>
                      <a:pt x="30" y="12"/>
                    </a:lnTo>
                    <a:lnTo>
                      <a:pt x="42" y="6"/>
                    </a:lnTo>
                    <a:lnTo>
                      <a:pt x="54" y="2"/>
                    </a:lnTo>
                    <a:lnTo>
                      <a:pt x="68" y="0"/>
                    </a:lnTo>
                    <a:lnTo>
                      <a:pt x="68" y="0"/>
                    </a:lnTo>
                    <a:lnTo>
                      <a:pt x="82" y="2"/>
                    </a:lnTo>
                    <a:lnTo>
                      <a:pt x="96" y="6"/>
                    </a:lnTo>
                    <a:lnTo>
                      <a:pt x="108" y="12"/>
                    </a:lnTo>
                    <a:lnTo>
                      <a:pt x="118" y="20"/>
                    </a:lnTo>
                    <a:lnTo>
                      <a:pt x="126" y="32"/>
                    </a:lnTo>
                    <a:lnTo>
                      <a:pt x="132" y="42"/>
                    </a:lnTo>
                    <a:lnTo>
                      <a:pt x="136" y="56"/>
                    </a:lnTo>
                    <a:lnTo>
                      <a:pt x="138" y="70"/>
                    </a:lnTo>
                    <a:lnTo>
                      <a:pt x="138" y="7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3" name="Freeform 40"/>
              <p:cNvSpPr>
                <a:spLocks/>
              </p:cNvSpPr>
              <p:nvPr/>
            </p:nvSpPr>
            <p:spPr bwMode="auto">
              <a:xfrm>
                <a:off x="699689" y="5742037"/>
                <a:ext cx="80200" cy="81362"/>
              </a:xfrm>
              <a:custGeom>
                <a:avLst/>
                <a:gdLst>
                  <a:gd name="T0" fmla="*/ 138 w 138"/>
                  <a:gd name="T1" fmla="*/ 70 h 140"/>
                  <a:gd name="T2" fmla="*/ 138 w 138"/>
                  <a:gd name="T3" fmla="*/ 70 h 140"/>
                  <a:gd name="T4" fmla="*/ 136 w 138"/>
                  <a:gd name="T5" fmla="*/ 84 h 140"/>
                  <a:gd name="T6" fmla="*/ 132 w 138"/>
                  <a:gd name="T7" fmla="*/ 96 h 140"/>
                  <a:gd name="T8" fmla="*/ 126 w 138"/>
                  <a:gd name="T9" fmla="*/ 108 h 140"/>
                  <a:gd name="T10" fmla="*/ 118 w 138"/>
                  <a:gd name="T11" fmla="*/ 118 h 140"/>
                  <a:gd name="T12" fmla="*/ 108 w 138"/>
                  <a:gd name="T13" fmla="*/ 128 h 140"/>
                  <a:gd name="T14" fmla="*/ 96 w 138"/>
                  <a:gd name="T15" fmla="*/ 134 h 140"/>
                  <a:gd name="T16" fmla="*/ 82 w 138"/>
                  <a:gd name="T17" fmla="*/ 138 h 140"/>
                  <a:gd name="T18" fmla="*/ 68 w 138"/>
                  <a:gd name="T19" fmla="*/ 140 h 140"/>
                  <a:gd name="T20" fmla="*/ 68 w 138"/>
                  <a:gd name="T21" fmla="*/ 140 h 140"/>
                  <a:gd name="T22" fmla="*/ 54 w 138"/>
                  <a:gd name="T23" fmla="*/ 138 h 140"/>
                  <a:gd name="T24" fmla="*/ 42 w 138"/>
                  <a:gd name="T25" fmla="*/ 134 h 140"/>
                  <a:gd name="T26" fmla="*/ 30 w 138"/>
                  <a:gd name="T27" fmla="*/ 128 h 140"/>
                  <a:gd name="T28" fmla="*/ 20 w 138"/>
                  <a:gd name="T29" fmla="*/ 118 h 140"/>
                  <a:gd name="T30" fmla="*/ 12 w 138"/>
                  <a:gd name="T31" fmla="*/ 108 h 140"/>
                  <a:gd name="T32" fmla="*/ 6 w 138"/>
                  <a:gd name="T33" fmla="*/ 96 h 140"/>
                  <a:gd name="T34" fmla="*/ 2 w 138"/>
                  <a:gd name="T35" fmla="*/ 84 h 140"/>
                  <a:gd name="T36" fmla="*/ 0 w 138"/>
                  <a:gd name="T37" fmla="*/ 70 h 140"/>
                  <a:gd name="T38" fmla="*/ 0 w 138"/>
                  <a:gd name="T39" fmla="*/ 70 h 140"/>
                  <a:gd name="T40" fmla="*/ 2 w 138"/>
                  <a:gd name="T41" fmla="*/ 56 h 140"/>
                  <a:gd name="T42" fmla="*/ 6 w 138"/>
                  <a:gd name="T43" fmla="*/ 42 h 140"/>
                  <a:gd name="T44" fmla="*/ 12 w 138"/>
                  <a:gd name="T45" fmla="*/ 32 h 140"/>
                  <a:gd name="T46" fmla="*/ 20 w 138"/>
                  <a:gd name="T47" fmla="*/ 20 h 140"/>
                  <a:gd name="T48" fmla="*/ 30 w 138"/>
                  <a:gd name="T49" fmla="*/ 12 h 140"/>
                  <a:gd name="T50" fmla="*/ 42 w 138"/>
                  <a:gd name="T51" fmla="*/ 6 h 140"/>
                  <a:gd name="T52" fmla="*/ 54 w 138"/>
                  <a:gd name="T53" fmla="*/ 2 h 140"/>
                  <a:gd name="T54" fmla="*/ 68 w 138"/>
                  <a:gd name="T55" fmla="*/ 0 h 140"/>
                  <a:gd name="T56" fmla="*/ 68 w 138"/>
                  <a:gd name="T57" fmla="*/ 0 h 140"/>
                  <a:gd name="T58" fmla="*/ 82 w 138"/>
                  <a:gd name="T59" fmla="*/ 2 h 140"/>
                  <a:gd name="T60" fmla="*/ 96 w 138"/>
                  <a:gd name="T61" fmla="*/ 6 h 140"/>
                  <a:gd name="T62" fmla="*/ 108 w 138"/>
                  <a:gd name="T63" fmla="*/ 12 h 140"/>
                  <a:gd name="T64" fmla="*/ 118 w 138"/>
                  <a:gd name="T65" fmla="*/ 20 h 140"/>
                  <a:gd name="T66" fmla="*/ 126 w 138"/>
                  <a:gd name="T67" fmla="*/ 32 h 140"/>
                  <a:gd name="T68" fmla="*/ 132 w 138"/>
                  <a:gd name="T69" fmla="*/ 42 h 140"/>
                  <a:gd name="T70" fmla="*/ 136 w 138"/>
                  <a:gd name="T71" fmla="*/ 56 h 140"/>
                  <a:gd name="T72" fmla="*/ 138 w 138"/>
                  <a:gd name="T73" fmla="*/ 70 h 140"/>
                  <a:gd name="T74" fmla="*/ 138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138" y="70"/>
                    </a:moveTo>
                    <a:lnTo>
                      <a:pt x="138" y="70"/>
                    </a:lnTo>
                    <a:lnTo>
                      <a:pt x="136" y="84"/>
                    </a:lnTo>
                    <a:lnTo>
                      <a:pt x="132" y="96"/>
                    </a:lnTo>
                    <a:lnTo>
                      <a:pt x="126" y="108"/>
                    </a:lnTo>
                    <a:lnTo>
                      <a:pt x="118" y="118"/>
                    </a:lnTo>
                    <a:lnTo>
                      <a:pt x="108" y="128"/>
                    </a:lnTo>
                    <a:lnTo>
                      <a:pt x="96" y="134"/>
                    </a:lnTo>
                    <a:lnTo>
                      <a:pt x="82" y="138"/>
                    </a:lnTo>
                    <a:lnTo>
                      <a:pt x="68" y="140"/>
                    </a:lnTo>
                    <a:lnTo>
                      <a:pt x="68" y="140"/>
                    </a:lnTo>
                    <a:lnTo>
                      <a:pt x="54" y="138"/>
                    </a:lnTo>
                    <a:lnTo>
                      <a:pt x="42" y="134"/>
                    </a:lnTo>
                    <a:lnTo>
                      <a:pt x="30" y="128"/>
                    </a:lnTo>
                    <a:lnTo>
                      <a:pt x="20" y="118"/>
                    </a:lnTo>
                    <a:lnTo>
                      <a:pt x="12" y="108"/>
                    </a:lnTo>
                    <a:lnTo>
                      <a:pt x="6" y="96"/>
                    </a:lnTo>
                    <a:lnTo>
                      <a:pt x="2" y="84"/>
                    </a:lnTo>
                    <a:lnTo>
                      <a:pt x="0" y="70"/>
                    </a:lnTo>
                    <a:lnTo>
                      <a:pt x="0" y="70"/>
                    </a:lnTo>
                    <a:lnTo>
                      <a:pt x="2" y="56"/>
                    </a:lnTo>
                    <a:lnTo>
                      <a:pt x="6" y="42"/>
                    </a:lnTo>
                    <a:lnTo>
                      <a:pt x="12" y="32"/>
                    </a:lnTo>
                    <a:lnTo>
                      <a:pt x="20" y="20"/>
                    </a:lnTo>
                    <a:lnTo>
                      <a:pt x="30" y="12"/>
                    </a:lnTo>
                    <a:lnTo>
                      <a:pt x="42" y="6"/>
                    </a:lnTo>
                    <a:lnTo>
                      <a:pt x="54" y="2"/>
                    </a:lnTo>
                    <a:lnTo>
                      <a:pt x="68" y="0"/>
                    </a:lnTo>
                    <a:lnTo>
                      <a:pt x="68" y="0"/>
                    </a:lnTo>
                    <a:lnTo>
                      <a:pt x="82" y="2"/>
                    </a:lnTo>
                    <a:lnTo>
                      <a:pt x="96" y="6"/>
                    </a:lnTo>
                    <a:lnTo>
                      <a:pt x="108" y="12"/>
                    </a:lnTo>
                    <a:lnTo>
                      <a:pt x="118" y="20"/>
                    </a:lnTo>
                    <a:lnTo>
                      <a:pt x="126" y="32"/>
                    </a:lnTo>
                    <a:lnTo>
                      <a:pt x="132" y="42"/>
                    </a:lnTo>
                    <a:lnTo>
                      <a:pt x="136" y="56"/>
                    </a:lnTo>
                    <a:lnTo>
                      <a:pt x="138" y="70"/>
                    </a:lnTo>
                    <a:lnTo>
                      <a:pt x="138" y="7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4" name="Freeform 41"/>
              <p:cNvSpPr>
                <a:spLocks/>
              </p:cNvSpPr>
              <p:nvPr/>
            </p:nvSpPr>
            <p:spPr bwMode="auto">
              <a:xfrm>
                <a:off x="810848" y="6023447"/>
                <a:ext cx="84532" cy="38424"/>
              </a:xfrm>
              <a:custGeom>
                <a:avLst/>
                <a:gdLst>
                  <a:gd name="T0" fmla="*/ 176 w 176"/>
                  <a:gd name="T1" fmla="*/ 30 h 80"/>
                  <a:gd name="T2" fmla="*/ 8 w 176"/>
                  <a:gd name="T3" fmla="*/ 80 h 80"/>
                  <a:gd name="T4" fmla="*/ 0 w 176"/>
                  <a:gd name="T5" fmla="*/ 50 h 80"/>
                  <a:gd name="T6" fmla="*/ 168 w 176"/>
                  <a:gd name="T7" fmla="*/ 0 h 80"/>
                  <a:gd name="T8" fmla="*/ 176 w 176"/>
                  <a:gd name="T9" fmla="*/ 30 h 80"/>
                </a:gdLst>
                <a:ahLst/>
                <a:cxnLst>
                  <a:cxn ang="0">
                    <a:pos x="T0" y="T1"/>
                  </a:cxn>
                  <a:cxn ang="0">
                    <a:pos x="T2" y="T3"/>
                  </a:cxn>
                  <a:cxn ang="0">
                    <a:pos x="T4" y="T5"/>
                  </a:cxn>
                  <a:cxn ang="0">
                    <a:pos x="T6" y="T7"/>
                  </a:cxn>
                  <a:cxn ang="0">
                    <a:pos x="T8" y="T9"/>
                  </a:cxn>
                </a:cxnLst>
                <a:rect l="0" t="0" r="r" b="b"/>
                <a:pathLst>
                  <a:path w="176" h="80">
                    <a:moveTo>
                      <a:pt x="176" y="30"/>
                    </a:moveTo>
                    <a:lnTo>
                      <a:pt x="8" y="80"/>
                    </a:lnTo>
                    <a:lnTo>
                      <a:pt x="0" y="50"/>
                    </a:lnTo>
                    <a:lnTo>
                      <a:pt x="168" y="0"/>
                    </a:lnTo>
                    <a:lnTo>
                      <a:pt x="176" y="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5" name="Freeform 42"/>
              <p:cNvSpPr>
                <a:spLocks/>
              </p:cNvSpPr>
              <p:nvPr/>
            </p:nvSpPr>
            <p:spPr bwMode="auto">
              <a:xfrm>
                <a:off x="1249584" y="6012856"/>
                <a:ext cx="32545" cy="44168"/>
              </a:xfrm>
              <a:custGeom>
                <a:avLst/>
                <a:gdLst>
                  <a:gd name="T0" fmla="*/ 10 w 56"/>
                  <a:gd name="T1" fmla="*/ 0 h 76"/>
                  <a:gd name="T2" fmla="*/ 0 w 56"/>
                  <a:gd name="T3" fmla="*/ 76 h 76"/>
                  <a:gd name="T4" fmla="*/ 56 w 56"/>
                  <a:gd name="T5" fmla="*/ 44 h 76"/>
                  <a:gd name="T6" fmla="*/ 10 w 56"/>
                  <a:gd name="T7" fmla="*/ 0 h 76"/>
                </a:gdLst>
                <a:ahLst/>
                <a:cxnLst>
                  <a:cxn ang="0">
                    <a:pos x="T0" y="T1"/>
                  </a:cxn>
                  <a:cxn ang="0">
                    <a:pos x="T2" y="T3"/>
                  </a:cxn>
                  <a:cxn ang="0">
                    <a:pos x="T4" y="T5"/>
                  </a:cxn>
                  <a:cxn ang="0">
                    <a:pos x="T6" y="T7"/>
                  </a:cxn>
                </a:cxnLst>
                <a:rect l="0" t="0" r="r" b="b"/>
                <a:pathLst>
                  <a:path w="56" h="76">
                    <a:moveTo>
                      <a:pt x="10" y="0"/>
                    </a:moveTo>
                    <a:lnTo>
                      <a:pt x="0" y="76"/>
                    </a:lnTo>
                    <a:lnTo>
                      <a:pt x="56" y="44"/>
                    </a:lnTo>
                    <a:lnTo>
                      <a:pt x="1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856" name="Group 1855"/>
              <p:cNvGrpSpPr/>
              <p:nvPr/>
            </p:nvGrpSpPr>
            <p:grpSpPr>
              <a:xfrm>
                <a:off x="982870" y="5866980"/>
                <a:ext cx="112475" cy="106980"/>
                <a:chOff x="2745978" y="4803978"/>
                <a:chExt cx="181144" cy="172293"/>
              </a:xfrm>
              <a:solidFill>
                <a:schemeClr val="bg2">
                  <a:lumMod val="25000"/>
                </a:schemeClr>
              </a:solidFill>
            </p:grpSpPr>
            <p:sp>
              <p:nvSpPr>
                <p:cNvPr id="1930" name="Freeform 173"/>
                <p:cNvSpPr>
                  <a:spLocks/>
                </p:cNvSpPr>
                <p:nvPr/>
              </p:nvSpPr>
              <p:spPr bwMode="auto">
                <a:xfrm>
                  <a:off x="2782561" y="4841741"/>
                  <a:ext cx="109158" cy="99718"/>
                </a:xfrm>
                <a:custGeom>
                  <a:avLst/>
                  <a:gdLst>
                    <a:gd name="T0" fmla="*/ 201 w 368"/>
                    <a:gd name="T1" fmla="*/ 1 h 338"/>
                    <a:gd name="T2" fmla="*/ 254 w 368"/>
                    <a:gd name="T3" fmla="*/ 15 h 338"/>
                    <a:gd name="T4" fmla="*/ 300 w 368"/>
                    <a:gd name="T5" fmla="*/ 42 h 338"/>
                    <a:gd name="T6" fmla="*/ 336 w 368"/>
                    <a:gd name="T7" fmla="*/ 82 h 338"/>
                    <a:gd name="T8" fmla="*/ 359 w 368"/>
                    <a:gd name="T9" fmla="*/ 131 h 338"/>
                    <a:gd name="T10" fmla="*/ 368 w 368"/>
                    <a:gd name="T11" fmla="*/ 186 h 338"/>
                    <a:gd name="T12" fmla="*/ 366 w 368"/>
                    <a:gd name="T13" fmla="*/ 210 h 338"/>
                    <a:gd name="T14" fmla="*/ 358 w 368"/>
                    <a:gd name="T15" fmla="*/ 243 h 338"/>
                    <a:gd name="T16" fmla="*/ 344 w 368"/>
                    <a:gd name="T17" fmla="*/ 274 h 338"/>
                    <a:gd name="T18" fmla="*/ 324 w 368"/>
                    <a:gd name="T19" fmla="*/ 302 h 338"/>
                    <a:gd name="T20" fmla="*/ 300 w 368"/>
                    <a:gd name="T21" fmla="*/ 325 h 338"/>
                    <a:gd name="T22" fmla="*/ 281 w 368"/>
                    <a:gd name="T23" fmla="*/ 338 h 338"/>
                    <a:gd name="T24" fmla="*/ 278 w 368"/>
                    <a:gd name="T25" fmla="*/ 320 h 338"/>
                    <a:gd name="T26" fmla="*/ 289 w 368"/>
                    <a:gd name="T27" fmla="*/ 304 h 338"/>
                    <a:gd name="T28" fmla="*/ 318 w 368"/>
                    <a:gd name="T29" fmla="*/ 264 h 338"/>
                    <a:gd name="T30" fmla="*/ 333 w 368"/>
                    <a:gd name="T31" fmla="*/ 215 h 338"/>
                    <a:gd name="T32" fmla="*/ 333 w 368"/>
                    <a:gd name="T33" fmla="*/ 182 h 338"/>
                    <a:gd name="T34" fmla="*/ 322 w 368"/>
                    <a:gd name="T35" fmla="*/ 139 h 338"/>
                    <a:gd name="T36" fmla="*/ 299 w 368"/>
                    <a:gd name="T37" fmla="*/ 102 h 338"/>
                    <a:gd name="T38" fmla="*/ 267 w 368"/>
                    <a:gd name="T39" fmla="*/ 74 h 338"/>
                    <a:gd name="T40" fmla="*/ 227 w 368"/>
                    <a:gd name="T41" fmla="*/ 56 h 338"/>
                    <a:gd name="T42" fmla="*/ 182 w 368"/>
                    <a:gd name="T43" fmla="*/ 49 h 338"/>
                    <a:gd name="T44" fmla="*/ 151 w 368"/>
                    <a:gd name="T45" fmla="*/ 52 h 338"/>
                    <a:gd name="T46" fmla="*/ 111 w 368"/>
                    <a:gd name="T47" fmla="*/ 66 h 338"/>
                    <a:gd name="T48" fmla="*/ 77 w 368"/>
                    <a:gd name="T49" fmla="*/ 92 h 338"/>
                    <a:gd name="T50" fmla="*/ 52 w 368"/>
                    <a:gd name="T51" fmla="*/ 126 h 338"/>
                    <a:gd name="T52" fmla="*/ 37 w 368"/>
                    <a:gd name="T53" fmla="*/ 167 h 338"/>
                    <a:gd name="T54" fmla="*/ 34 w 368"/>
                    <a:gd name="T55" fmla="*/ 197 h 338"/>
                    <a:gd name="T56" fmla="*/ 42 w 368"/>
                    <a:gd name="T57" fmla="*/ 249 h 338"/>
                    <a:gd name="T58" fmla="*/ 64 w 368"/>
                    <a:gd name="T59" fmla="*/ 292 h 338"/>
                    <a:gd name="T60" fmla="*/ 87 w 368"/>
                    <a:gd name="T61" fmla="*/ 314 h 338"/>
                    <a:gd name="T62" fmla="*/ 84 w 368"/>
                    <a:gd name="T63" fmla="*/ 332 h 338"/>
                    <a:gd name="T64" fmla="*/ 74 w 368"/>
                    <a:gd name="T65" fmla="*/ 332 h 338"/>
                    <a:gd name="T66" fmla="*/ 50 w 368"/>
                    <a:gd name="T67" fmla="*/ 310 h 338"/>
                    <a:gd name="T68" fmla="*/ 29 w 368"/>
                    <a:gd name="T69" fmla="*/ 284 h 338"/>
                    <a:gd name="T70" fmla="*/ 14 w 368"/>
                    <a:gd name="T71" fmla="*/ 254 h 338"/>
                    <a:gd name="T72" fmla="*/ 4 w 368"/>
                    <a:gd name="T73" fmla="*/ 221 h 338"/>
                    <a:gd name="T74" fmla="*/ 0 w 368"/>
                    <a:gd name="T75" fmla="*/ 186 h 338"/>
                    <a:gd name="T76" fmla="*/ 4 w 368"/>
                    <a:gd name="T77" fmla="*/ 149 h 338"/>
                    <a:gd name="T78" fmla="*/ 22 w 368"/>
                    <a:gd name="T79" fmla="*/ 97 h 338"/>
                    <a:gd name="T80" fmla="*/ 53 w 368"/>
                    <a:gd name="T81" fmla="*/ 54 h 338"/>
                    <a:gd name="T82" fmla="*/ 94 w 368"/>
                    <a:gd name="T83" fmla="*/ 22 h 338"/>
                    <a:gd name="T84" fmla="*/ 144 w 368"/>
                    <a:gd name="T85" fmla="*/ 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8" h="338">
                      <a:moveTo>
                        <a:pt x="182" y="0"/>
                      </a:moveTo>
                      <a:lnTo>
                        <a:pt x="182" y="0"/>
                      </a:lnTo>
                      <a:lnTo>
                        <a:pt x="201" y="1"/>
                      </a:lnTo>
                      <a:lnTo>
                        <a:pt x="220" y="4"/>
                      </a:lnTo>
                      <a:lnTo>
                        <a:pt x="237" y="8"/>
                      </a:lnTo>
                      <a:lnTo>
                        <a:pt x="254" y="15"/>
                      </a:lnTo>
                      <a:lnTo>
                        <a:pt x="271" y="22"/>
                      </a:lnTo>
                      <a:lnTo>
                        <a:pt x="286" y="32"/>
                      </a:lnTo>
                      <a:lnTo>
                        <a:pt x="300" y="42"/>
                      </a:lnTo>
                      <a:lnTo>
                        <a:pt x="313" y="54"/>
                      </a:lnTo>
                      <a:lnTo>
                        <a:pt x="325" y="67"/>
                      </a:lnTo>
                      <a:lnTo>
                        <a:pt x="336" y="82"/>
                      </a:lnTo>
                      <a:lnTo>
                        <a:pt x="345" y="97"/>
                      </a:lnTo>
                      <a:lnTo>
                        <a:pt x="353" y="113"/>
                      </a:lnTo>
                      <a:lnTo>
                        <a:pt x="359" y="131"/>
                      </a:lnTo>
                      <a:lnTo>
                        <a:pt x="364" y="149"/>
                      </a:lnTo>
                      <a:lnTo>
                        <a:pt x="367" y="167"/>
                      </a:lnTo>
                      <a:lnTo>
                        <a:pt x="368" y="186"/>
                      </a:lnTo>
                      <a:lnTo>
                        <a:pt x="368" y="186"/>
                      </a:lnTo>
                      <a:lnTo>
                        <a:pt x="367" y="198"/>
                      </a:lnTo>
                      <a:lnTo>
                        <a:pt x="366" y="210"/>
                      </a:lnTo>
                      <a:lnTo>
                        <a:pt x="364" y="221"/>
                      </a:lnTo>
                      <a:lnTo>
                        <a:pt x="362" y="232"/>
                      </a:lnTo>
                      <a:lnTo>
                        <a:pt x="358" y="243"/>
                      </a:lnTo>
                      <a:lnTo>
                        <a:pt x="354" y="254"/>
                      </a:lnTo>
                      <a:lnTo>
                        <a:pt x="349" y="264"/>
                      </a:lnTo>
                      <a:lnTo>
                        <a:pt x="344" y="274"/>
                      </a:lnTo>
                      <a:lnTo>
                        <a:pt x="338" y="284"/>
                      </a:lnTo>
                      <a:lnTo>
                        <a:pt x="331" y="293"/>
                      </a:lnTo>
                      <a:lnTo>
                        <a:pt x="324" y="302"/>
                      </a:lnTo>
                      <a:lnTo>
                        <a:pt x="317" y="310"/>
                      </a:lnTo>
                      <a:lnTo>
                        <a:pt x="308" y="317"/>
                      </a:lnTo>
                      <a:lnTo>
                        <a:pt x="300" y="325"/>
                      </a:lnTo>
                      <a:lnTo>
                        <a:pt x="290" y="332"/>
                      </a:lnTo>
                      <a:lnTo>
                        <a:pt x="281" y="338"/>
                      </a:lnTo>
                      <a:lnTo>
                        <a:pt x="281" y="338"/>
                      </a:lnTo>
                      <a:lnTo>
                        <a:pt x="280" y="332"/>
                      </a:lnTo>
                      <a:lnTo>
                        <a:pt x="279" y="326"/>
                      </a:lnTo>
                      <a:lnTo>
                        <a:pt x="278" y="320"/>
                      </a:lnTo>
                      <a:lnTo>
                        <a:pt x="277" y="314"/>
                      </a:lnTo>
                      <a:lnTo>
                        <a:pt x="277" y="314"/>
                      </a:lnTo>
                      <a:lnTo>
                        <a:pt x="289" y="304"/>
                      </a:lnTo>
                      <a:lnTo>
                        <a:pt x="300" y="292"/>
                      </a:lnTo>
                      <a:lnTo>
                        <a:pt x="310" y="279"/>
                      </a:lnTo>
                      <a:lnTo>
                        <a:pt x="318" y="264"/>
                      </a:lnTo>
                      <a:lnTo>
                        <a:pt x="325" y="249"/>
                      </a:lnTo>
                      <a:lnTo>
                        <a:pt x="330" y="233"/>
                      </a:lnTo>
                      <a:lnTo>
                        <a:pt x="333" y="215"/>
                      </a:lnTo>
                      <a:lnTo>
                        <a:pt x="334" y="197"/>
                      </a:lnTo>
                      <a:lnTo>
                        <a:pt x="334" y="197"/>
                      </a:lnTo>
                      <a:lnTo>
                        <a:pt x="333" y="182"/>
                      </a:lnTo>
                      <a:lnTo>
                        <a:pt x="331" y="167"/>
                      </a:lnTo>
                      <a:lnTo>
                        <a:pt x="327" y="153"/>
                      </a:lnTo>
                      <a:lnTo>
                        <a:pt x="322" y="139"/>
                      </a:lnTo>
                      <a:lnTo>
                        <a:pt x="315" y="126"/>
                      </a:lnTo>
                      <a:lnTo>
                        <a:pt x="308" y="113"/>
                      </a:lnTo>
                      <a:lnTo>
                        <a:pt x="299" y="102"/>
                      </a:lnTo>
                      <a:lnTo>
                        <a:pt x="289" y="92"/>
                      </a:lnTo>
                      <a:lnTo>
                        <a:pt x="278" y="82"/>
                      </a:lnTo>
                      <a:lnTo>
                        <a:pt x="267" y="74"/>
                      </a:lnTo>
                      <a:lnTo>
                        <a:pt x="254" y="66"/>
                      </a:lnTo>
                      <a:lnTo>
                        <a:pt x="241" y="60"/>
                      </a:lnTo>
                      <a:lnTo>
                        <a:pt x="227" y="56"/>
                      </a:lnTo>
                      <a:lnTo>
                        <a:pt x="213" y="52"/>
                      </a:lnTo>
                      <a:lnTo>
                        <a:pt x="198" y="50"/>
                      </a:lnTo>
                      <a:lnTo>
                        <a:pt x="182" y="49"/>
                      </a:lnTo>
                      <a:lnTo>
                        <a:pt x="182" y="49"/>
                      </a:lnTo>
                      <a:lnTo>
                        <a:pt x="166" y="50"/>
                      </a:lnTo>
                      <a:lnTo>
                        <a:pt x="151" y="52"/>
                      </a:lnTo>
                      <a:lnTo>
                        <a:pt x="137" y="56"/>
                      </a:lnTo>
                      <a:lnTo>
                        <a:pt x="123" y="60"/>
                      </a:lnTo>
                      <a:lnTo>
                        <a:pt x="111" y="66"/>
                      </a:lnTo>
                      <a:lnTo>
                        <a:pt x="98" y="74"/>
                      </a:lnTo>
                      <a:lnTo>
                        <a:pt x="87" y="82"/>
                      </a:lnTo>
                      <a:lnTo>
                        <a:pt x="77" y="92"/>
                      </a:lnTo>
                      <a:lnTo>
                        <a:pt x="67" y="102"/>
                      </a:lnTo>
                      <a:lnTo>
                        <a:pt x="59" y="113"/>
                      </a:lnTo>
                      <a:lnTo>
                        <a:pt x="52" y="126"/>
                      </a:lnTo>
                      <a:lnTo>
                        <a:pt x="46" y="139"/>
                      </a:lnTo>
                      <a:lnTo>
                        <a:pt x="41" y="153"/>
                      </a:lnTo>
                      <a:lnTo>
                        <a:pt x="37" y="167"/>
                      </a:lnTo>
                      <a:lnTo>
                        <a:pt x="35" y="182"/>
                      </a:lnTo>
                      <a:lnTo>
                        <a:pt x="34" y="197"/>
                      </a:lnTo>
                      <a:lnTo>
                        <a:pt x="34" y="197"/>
                      </a:lnTo>
                      <a:lnTo>
                        <a:pt x="35" y="215"/>
                      </a:lnTo>
                      <a:lnTo>
                        <a:pt x="38" y="233"/>
                      </a:lnTo>
                      <a:lnTo>
                        <a:pt x="42" y="249"/>
                      </a:lnTo>
                      <a:lnTo>
                        <a:pt x="48" y="264"/>
                      </a:lnTo>
                      <a:lnTo>
                        <a:pt x="55" y="279"/>
                      </a:lnTo>
                      <a:lnTo>
                        <a:pt x="64" y="292"/>
                      </a:lnTo>
                      <a:lnTo>
                        <a:pt x="75" y="304"/>
                      </a:lnTo>
                      <a:lnTo>
                        <a:pt x="87" y="314"/>
                      </a:lnTo>
                      <a:lnTo>
                        <a:pt x="87" y="314"/>
                      </a:lnTo>
                      <a:lnTo>
                        <a:pt x="87" y="320"/>
                      </a:lnTo>
                      <a:lnTo>
                        <a:pt x="85" y="326"/>
                      </a:lnTo>
                      <a:lnTo>
                        <a:pt x="84" y="332"/>
                      </a:lnTo>
                      <a:lnTo>
                        <a:pt x="83" y="338"/>
                      </a:lnTo>
                      <a:lnTo>
                        <a:pt x="83" y="338"/>
                      </a:lnTo>
                      <a:lnTo>
                        <a:pt x="74" y="332"/>
                      </a:lnTo>
                      <a:lnTo>
                        <a:pt x="66" y="325"/>
                      </a:lnTo>
                      <a:lnTo>
                        <a:pt x="57" y="317"/>
                      </a:lnTo>
                      <a:lnTo>
                        <a:pt x="50" y="310"/>
                      </a:lnTo>
                      <a:lnTo>
                        <a:pt x="42" y="302"/>
                      </a:lnTo>
                      <a:lnTo>
                        <a:pt x="35" y="293"/>
                      </a:lnTo>
                      <a:lnTo>
                        <a:pt x="29" y="284"/>
                      </a:lnTo>
                      <a:lnTo>
                        <a:pt x="23" y="274"/>
                      </a:lnTo>
                      <a:lnTo>
                        <a:pt x="18" y="264"/>
                      </a:lnTo>
                      <a:lnTo>
                        <a:pt x="14" y="254"/>
                      </a:lnTo>
                      <a:lnTo>
                        <a:pt x="10" y="243"/>
                      </a:lnTo>
                      <a:lnTo>
                        <a:pt x="6" y="232"/>
                      </a:lnTo>
                      <a:lnTo>
                        <a:pt x="4" y="221"/>
                      </a:lnTo>
                      <a:lnTo>
                        <a:pt x="2" y="210"/>
                      </a:lnTo>
                      <a:lnTo>
                        <a:pt x="1" y="198"/>
                      </a:lnTo>
                      <a:lnTo>
                        <a:pt x="0" y="186"/>
                      </a:lnTo>
                      <a:lnTo>
                        <a:pt x="0" y="186"/>
                      </a:lnTo>
                      <a:lnTo>
                        <a:pt x="1" y="167"/>
                      </a:lnTo>
                      <a:lnTo>
                        <a:pt x="4" y="149"/>
                      </a:lnTo>
                      <a:lnTo>
                        <a:pt x="8" y="131"/>
                      </a:lnTo>
                      <a:lnTo>
                        <a:pt x="14" y="113"/>
                      </a:lnTo>
                      <a:lnTo>
                        <a:pt x="22" y="97"/>
                      </a:lnTo>
                      <a:lnTo>
                        <a:pt x="31" y="82"/>
                      </a:lnTo>
                      <a:lnTo>
                        <a:pt x="41" y="67"/>
                      </a:lnTo>
                      <a:lnTo>
                        <a:pt x="53" y="54"/>
                      </a:lnTo>
                      <a:lnTo>
                        <a:pt x="65" y="42"/>
                      </a:lnTo>
                      <a:lnTo>
                        <a:pt x="79" y="32"/>
                      </a:lnTo>
                      <a:lnTo>
                        <a:pt x="94" y="22"/>
                      </a:lnTo>
                      <a:lnTo>
                        <a:pt x="110" y="15"/>
                      </a:lnTo>
                      <a:lnTo>
                        <a:pt x="127" y="8"/>
                      </a:lnTo>
                      <a:lnTo>
                        <a:pt x="144" y="4"/>
                      </a:lnTo>
                      <a:lnTo>
                        <a:pt x="163" y="1"/>
                      </a:lnTo>
                      <a:lnTo>
                        <a:pt x="18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31" name="Freeform 174"/>
                <p:cNvSpPr>
                  <a:spLocks/>
                </p:cNvSpPr>
                <p:nvPr/>
              </p:nvSpPr>
              <p:spPr bwMode="auto">
                <a:xfrm>
                  <a:off x="2745978" y="4803978"/>
                  <a:ext cx="181144" cy="172293"/>
                </a:xfrm>
                <a:custGeom>
                  <a:avLst/>
                  <a:gdLst>
                    <a:gd name="T0" fmla="*/ 339 w 615"/>
                    <a:gd name="T1" fmla="*/ 1 h 584"/>
                    <a:gd name="T2" fmla="*/ 399 w 615"/>
                    <a:gd name="T3" fmla="*/ 14 h 584"/>
                    <a:gd name="T4" fmla="*/ 454 w 615"/>
                    <a:gd name="T5" fmla="*/ 38 h 584"/>
                    <a:gd name="T6" fmla="*/ 503 w 615"/>
                    <a:gd name="T7" fmla="*/ 71 h 584"/>
                    <a:gd name="T8" fmla="*/ 545 w 615"/>
                    <a:gd name="T9" fmla="*/ 113 h 584"/>
                    <a:gd name="T10" fmla="*/ 578 w 615"/>
                    <a:gd name="T11" fmla="*/ 162 h 584"/>
                    <a:gd name="T12" fmla="*/ 601 w 615"/>
                    <a:gd name="T13" fmla="*/ 217 h 584"/>
                    <a:gd name="T14" fmla="*/ 613 w 615"/>
                    <a:gd name="T15" fmla="*/ 277 h 584"/>
                    <a:gd name="T16" fmla="*/ 614 w 615"/>
                    <a:gd name="T17" fmla="*/ 330 h 584"/>
                    <a:gd name="T18" fmla="*/ 596 w 615"/>
                    <a:gd name="T19" fmla="*/ 415 h 584"/>
                    <a:gd name="T20" fmla="*/ 557 w 615"/>
                    <a:gd name="T21" fmla="*/ 491 h 584"/>
                    <a:gd name="T22" fmla="*/ 499 w 615"/>
                    <a:gd name="T23" fmla="*/ 551 h 584"/>
                    <a:gd name="T24" fmla="*/ 447 w 615"/>
                    <a:gd name="T25" fmla="*/ 584 h 584"/>
                    <a:gd name="T26" fmla="*/ 467 w 615"/>
                    <a:gd name="T27" fmla="*/ 543 h 584"/>
                    <a:gd name="T28" fmla="*/ 520 w 615"/>
                    <a:gd name="T29" fmla="*/ 493 h 584"/>
                    <a:gd name="T30" fmla="*/ 558 w 615"/>
                    <a:gd name="T31" fmla="*/ 431 h 584"/>
                    <a:gd name="T32" fmla="*/ 578 w 615"/>
                    <a:gd name="T33" fmla="*/ 360 h 584"/>
                    <a:gd name="T34" fmla="*/ 580 w 615"/>
                    <a:gd name="T35" fmla="*/ 309 h 584"/>
                    <a:gd name="T36" fmla="*/ 572 w 615"/>
                    <a:gd name="T37" fmla="*/ 254 h 584"/>
                    <a:gd name="T38" fmla="*/ 554 w 615"/>
                    <a:gd name="T39" fmla="*/ 203 h 584"/>
                    <a:gd name="T40" fmla="*/ 526 w 615"/>
                    <a:gd name="T41" fmla="*/ 158 h 584"/>
                    <a:gd name="T42" fmla="*/ 491 w 615"/>
                    <a:gd name="T43" fmla="*/ 120 h 584"/>
                    <a:gd name="T44" fmla="*/ 449 w 615"/>
                    <a:gd name="T45" fmla="*/ 89 h 584"/>
                    <a:gd name="T46" fmla="*/ 401 w 615"/>
                    <a:gd name="T47" fmla="*/ 66 h 584"/>
                    <a:gd name="T48" fmla="*/ 349 w 615"/>
                    <a:gd name="T49" fmla="*/ 53 h 584"/>
                    <a:gd name="T50" fmla="*/ 307 w 615"/>
                    <a:gd name="T51" fmla="*/ 50 h 584"/>
                    <a:gd name="T52" fmla="*/ 253 w 615"/>
                    <a:gd name="T53" fmla="*/ 55 h 584"/>
                    <a:gd name="T54" fmla="*/ 202 w 615"/>
                    <a:gd name="T55" fmla="*/ 71 h 584"/>
                    <a:gd name="T56" fmla="*/ 157 w 615"/>
                    <a:gd name="T57" fmla="*/ 96 h 584"/>
                    <a:gd name="T58" fmla="*/ 117 w 615"/>
                    <a:gd name="T59" fmla="*/ 129 h 584"/>
                    <a:gd name="T60" fmla="*/ 83 w 615"/>
                    <a:gd name="T61" fmla="*/ 169 h 584"/>
                    <a:gd name="T62" fmla="*/ 59 w 615"/>
                    <a:gd name="T63" fmla="*/ 215 h 584"/>
                    <a:gd name="T64" fmla="*/ 43 w 615"/>
                    <a:gd name="T65" fmla="*/ 268 h 584"/>
                    <a:gd name="T66" fmla="*/ 37 w 615"/>
                    <a:gd name="T67" fmla="*/ 323 h 584"/>
                    <a:gd name="T68" fmla="*/ 43 w 615"/>
                    <a:gd name="T69" fmla="*/ 379 h 584"/>
                    <a:gd name="T70" fmla="*/ 67 w 615"/>
                    <a:gd name="T71" fmla="*/ 447 h 584"/>
                    <a:gd name="T72" fmla="*/ 109 w 615"/>
                    <a:gd name="T73" fmla="*/ 507 h 584"/>
                    <a:gd name="T74" fmla="*/ 163 w 615"/>
                    <a:gd name="T75" fmla="*/ 553 h 584"/>
                    <a:gd name="T76" fmla="*/ 174 w 615"/>
                    <a:gd name="T77" fmla="*/ 573 h 584"/>
                    <a:gd name="T78" fmla="*/ 152 w 615"/>
                    <a:gd name="T79" fmla="*/ 574 h 584"/>
                    <a:gd name="T80" fmla="*/ 85 w 615"/>
                    <a:gd name="T81" fmla="*/ 523 h 584"/>
                    <a:gd name="T82" fmla="*/ 36 w 615"/>
                    <a:gd name="T83" fmla="*/ 454 h 584"/>
                    <a:gd name="T84" fmla="*/ 7 w 615"/>
                    <a:gd name="T85" fmla="*/ 374 h 584"/>
                    <a:gd name="T86" fmla="*/ 0 w 615"/>
                    <a:gd name="T87" fmla="*/ 307 h 584"/>
                    <a:gd name="T88" fmla="*/ 6 w 615"/>
                    <a:gd name="T89" fmla="*/ 247 h 584"/>
                    <a:gd name="T90" fmla="*/ 23 w 615"/>
                    <a:gd name="T91" fmla="*/ 189 h 584"/>
                    <a:gd name="T92" fmla="*/ 52 w 615"/>
                    <a:gd name="T93" fmla="*/ 137 h 584"/>
                    <a:gd name="T94" fmla="*/ 89 w 615"/>
                    <a:gd name="T95" fmla="*/ 91 h 584"/>
                    <a:gd name="T96" fmla="*/ 135 w 615"/>
                    <a:gd name="T97" fmla="*/ 54 h 584"/>
                    <a:gd name="T98" fmla="*/ 187 w 615"/>
                    <a:gd name="T99" fmla="*/ 24 h 584"/>
                    <a:gd name="T100" fmla="*/ 245 w 615"/>
                    <a:gd name="T101" fmla="*/ 6 h 584"/>
                    <a:gd name="T102" fmla="*/ 307 w 615"/>
                    <a:gd name="T103"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15" h="584">
                      <a:moveTo>
                        <a:pt x="307" y="0"/>
                      </a:moveTo>
                      <a:lnTo>
                        <a:pt x="307" y="0"/>
                      </a:lnTo>
                      <a:lnTo>
                        <a:pt x="323" y="0"/>
                      </a:lnTo>
                      <a:lnTo>
                        <a:pt x="339" y="1"/>
                      </a:lnTo>
                      <a:lnTo>
                        <a:pt x="354" y="3"/>
                      </a:lnTo>
                      <a:lnTo>
                        <a:pt x="369" y="6"/>
                      </a:lnTo>
                      <a:lnTo>
                        <a:pt x="384" y="9"/>
                      </a:lnTo>
                      <a:lnTo>
                        <a:pt x="399" y="14"/>
                      </a:lnTo>
                      <a:lnTo>
                        <a:pt x="413" y="18"/>
                      </a:lnTo>
                      <a:lnTo>
                        <a:pt x="427" y="24"/>
                      </a:lnTo>
                      <a:lnTo>
                        <a:pt x="441" y="31"/>
                      </a:lnTo>
                      <a:lnTo>
                        <a:pt x="454" y="38"/>
                      </a:lnTo>
                      <a:lnTo>
                        <a:pt x="467" y="45"/>
                      </a:lnTo>
                      <a:lnTo>
                        <a:pt x="479" y="54"/>
                      </a:lnTo>
                      <a:lnTo>
                        <a:pt x="491" y="62"/>
                      </a:lnTo>
                      <a:lnTo>
                        <a:pt x="503" y="71"/>
                      </a:lnTo>
                      <a:lnTo>
                        <a:pt x="514" y="81"/>
                      </a:lnTo>
                      <a:lnTo>
                        <a:pt x="524" y="91"/>
                      </a:lnTo>
                      <a:lnTo>
                        <a:pt x="535" y="102"/>
                      </a:lnTo>
                      <a:lnTo>
                        <a:pt x="545" y="113"/>
                      </a:lnTo>
                      <a:lnTo>
                        <a:pt x="554" y="125"/>
                      </a:lnTo>
                      <a:lnTo>
                        <a:pt x="563" y="137"/>
                      </a:lnTo>
                      <a:lnTo>
                        <a:pt x="570" y="149"/>
                      </a:lnTo>
                      <a:lnTo>
                        <a:pt x="578" y="162"/>
                      </a:lnTo>
                      <a:lnTo>
                        <a:pt x="585" y="175"/>
                      </a:lnTo>
                      <a:lnTo>
                        <a:pt x="591" y="189"/>
                      </a:lnTo>
                      <a:lnTo>
                        <a:pt x="596" y="202"/>
                      </a:lnTo>
                      <a:lnTo>
                        <a:pt x="601" y="217"/>
                      </a:lnTo>
                      <a:lnTo>
                        <a:pt x="605" y="231"/>
                      </a:lnTo>
                      <a:lnTo>
                        <a:pt x="608" y="247"/>
                      </a:lnTo>
                      <a:lnTo>
                        <a:pt x="611" y="262"/>
                      </a:lnTo>
                      <a:lnTo>
                        <a:pt x="613" y="277"/>
                      </a:lnTo>
                      <a:lnTo>
                        <a:pt x="614" y="292"/>
                      </a:lnTo>
                      <a:lnTo>
                        <a:pt x="615" y="307"/>
                      </a:lnTo>
                      <a:lnTo>
                        <a:pt x="615" y="307"/>
                      </a:lnTo>
                      <a:lnTo>
                        <a:pt x="614" y="330"/>
                      </a:lnTo>
                      <a:lnTo>
                        <a:pt x="611" y="352"/>
                      </a:lnTo>
                      <a:lnTo>
                        <a:pt x="608" y="374"/>
                      </a:lnTo>
                      <a:lnTo>
                        <a:pt x="602" y="395"/>
                      </a:lnTo>
                      <a:lnTo>
                        <a:pt x="596" y="415"/>
                      </a:lnTo>
                      <a:lnTo>
                        <a:pt x="588" y="435"/>
                      </a:lnTo>
                      <a:lnTo>
                        <a:pt x="579" y="454"/>
                      </a:lnTo>
                      <a:lnTo>
                        <a:pt x="568" y="473"/>
                      </a:lnTo>
                      <a:lnTo>
                        <a:pt x="557" y="491"/>
                      </a:lnTo>
                      <a:lnTo>
                        <a:pt x="544" y="507"/>
                      </a:lnTo>
                      <a:lnTo>
                        <a:pt x="529" y="523"/>
                      </a:lnTo>
                      <a:lnTo>
                        <a:pt x="515" y="537"/>
                      </a:lnTo>
                      <a:lnTo>
                        <a:pt x="499" y="551"/>
                      </a:lnTo>
                      <a:lnTo>
                        <a:pt x="483" y="563"/>
                      </a:lnTo>
                      <a:lnTo>
                        <a:pt x="465" y="574"/>
                      </a:lnTo>
                      <a:lnTo>
                        <a:pt x="447" y="584"/>
                      </a:lnTo>
                      <a:lnTo>
                        <a:pt x="447" y="584"/>
                      </a:lnTo>
                      <a:lnTo>
                        <a:pt x="436" y="562"/>
                      </a:lnTo>
                      <a:lnTo>
                        <a:pt x="436" y="562"/>
                      </a:lnTo>
                      <a:lnTo>
                        <a:pt x="452" y="553"/>
                      </a:lnTo>
                      <a:lnTo>
                        <a:pt x="467" y="543"/>
                      </a:lnTo>
                      <a:lnTo>
                        <a:pt x="481" y="532"/>
                      </a:lnTo>
                      <a:lnTo>
                        <a:pt x="495" y="520"/>
                      </a:lnTo>
                      <a:lnTo>
                        <a:pt x="508" y="507"/>
                      </a:lnTo>
                      <a:lnTo>
                        <a:pt x="520" y="493"/>
                      </a:lnTo>
                      <a:lnTo>
                        <a:pt x="530" y="479"/>
                      </a:lnTo>
                      <a:lnTo>
                        <a:pt x="541" y="464"/>
                      </a:lnTo>
                      <a:lnTo>
                        <a:pt x="550" y="447"/>
                      </a:lnTo>
                      <a:lnTo>
                        <a:pt x="558" y="431"/>
                      </a:lnTo>
                      <a:lnTo>
                        <a:pt x="565" y="414"/>
                      </a:lnTo>
                      <a:lnTo>
                        <a:pt x="570" y="396"/>
                      </a:lnTo>
                      <a:lnTo>
                        <a:pt x="575" y="379"/>
                      </a:lnTo>
                      <a:lnTo>
                        <a:pt x="578" y="360"/>
                      </a:lnTo>
                      <a:lnTo>
                        <a:pt x="580" y="342"/>
                      </a:lnTo>
                      <a:lnTo>
                        <a:pt x="581" y="323"/>
                      </a:lnTo>
                      <a:lnTo>
                        <a:pt x="581" y="323"/>
                      </a:lnTo>
                      <a:lnTo>
                        <a:pt x="580" y="309"/>
                      </a:lnTo>
                      <a:lnTo>
                        <a:pt x="579" y="295"/>
                      </a:lnTo>
                      <a:lnTo>
                        <a:pt x="577" y="281"/>
                      </a:lnTo>
                      <a:lnTo>
                        <a:pt x="575" y="268"/>
                      </a:lnTo>
                      <a:lnTo>
                        <a:pt x="572" y="254"/>
                      </a:lnTo>
                      <a:lnTo>
                        <a:pt x="568" y="240"/>
                      </a:lnTo>
                      <a:lnTo>
                        <a:pt x="564" y="228"/>
                      </a:lnTo>
                      <a:lnTo>
                        <a:pt x="559" y="215"/>
                      </a:lnTo>
                      <a:lnTo>
                        <a:pt x="554" y="203"/>
                      </a:lnTo>
                      <a:lnTo>
                        <a:pt x="548" y="192"/>
                      </a:lnTo>
                      <a:lnTo>
                        <a:pt x="541" y="180"/>
                      </a:lnTo>
                      <a:lnTo>
                        <a:pt x="534" y="169"/>
                      </a:lnTo>
                      <a:lnTo>
                        <a:pt x="526" y="158"/>
                      </a:lnTo>
                      <a:lnTo>
                        <a:pt x="518" y="148"/>
                      </a:lnTo>
                      <a:lnTo>
                        <a:pt x="509" y="138"/>
                      </a:lnTo>
                      <a:lnTo>
                        <a:pt x="500" y="129"/>
                      </a:lnTo>
                      <a:lnTo>
                        <a:pt x="491" y="120"/>
                      </a:lnTo>
                      <a:lnTo>
                        <a:pt x="481" y="111"/>
                      </a:lnTo>
                      <a:lnTo>
                        <a:pt x="471" y="103"/>
                      </a:lnTo>
                      <a:lnTo>
                        <a:pt x="460" y="96"/>
                      </a:lnTo>
                      <a:lnTo>
                        <a:pt x="449" y="89"/>
                      </a:lnTo>
                      <a:lnTo>
                        <a:pt x="438" y="82"/>
                      </a:lnTo>
                      <a:lnTo>
                        <a:pt x="426" y="76"/>
                      </a:lnTo>
                      <a:lnTo>
                        <a:pt x="414" y="71"/>
                      </a:lnTo>
                      <a:lnTo>
                        <a:pt x="401" y="66"/>
                      </a:lnTo>
                      <a:lnTo>
                        <a:pt x="389" y="62"/>
                      </a:lnTo>
                      <a:lnTo>
                        <a:pt x="376" y="58"/>
                      </a:lnTo>
                      <a:lnTo>
                        <a:pt x="363" y="55"/>
                      </a:lnTo>
                      <a:lnTo>
                        <a:pt x="349" y="53"/>
                      </a:lnTo>
                      <a:lnTo>
                        <a:pt x="335" y="51"/>
                      </a:lnTo>
                      <a:lnTo>
                        <a:pt x="322" y="50"/>
                      </a:lnTo>
                      <a:lnTo>
                        <a:pt x="307" y="50"/>
                      </a:lnTo>
                      <a:lnTo>
                        <a:pt x="307" y="50"/>
                      </a:lnTo>
                      <a:lnTo>
                        <a:pt x="293" y="50"/>
                      </a:lnTo>
                      <a:lnTo>
                        <a:pt x="279" y="51"/>
                      </a:lnTo>
                      <a:lnTo>
                        <a:pt x="266" y="53"/>
                      </a:lnTo>
                      <a:lnTo>
                        <a:pt x="253" y="55"/>
                      </a:lnTo>
                      <a:lnTo>
                        <a:pt x="240" y="58"/>
                      </a:lnTo>
                      <a:lnTo>
                        <a:pt x="227" y="62"/>
                      </a:lnTo>
                      <a:lnTo>
                        <a:pt x="215" y="66"/>
                      </a:lnTo>
                      <a:lnTo>
                        <a:pt x="202" y="71"/>
                      </a:lnTo>
                      <a:lnTo>
                        <a:pt x="191" y="76"/>
                      </a:lnTo>
                      <a:lnTo>
                        <a:pt x="179" y="82"/>
                      </a:lnTo>
                      <a:lnTo>
                        <a:pt x="168" y="89"/>
                      </a:lnTo>
                      <a:lnTo>
                        <a:pt x="157" y="96"/>
                      </a:lnTo>
                      <a:lnTo>
                        <a:pt x="146" y="103"/>
                      </a:lnTo>
                      <a:lnTo>
                        <a:pt x="136" y="111"/>
                      </a:lnTo>
                      <a:lnTo>
                        <a:pt x="127" y="120"/>
                      </a:lnTo>
                      <a:lnTo>
                        <a:pt x="117" y="129"/>
                      </a:lnTo>
                      <a:lnTo>
                        <a:pt x="108" y="138"/>
                      </a:lnTo>
                      <a:lnTo>
                        <a:pt x="100" y="148"/>
                      </a:lnTo>
                      <a:lnTo>
                        <a:pt x="91" y="158"/>
                      </a:lnTo>
                      <a:lnTo>
                        <a:pt x="83" y="169"/>
                      </a:lnTo>
                      <a:lnTo>
                        <a:pt x="76" y="180"/>
                      </a:lnTo>
                      <a:lnTo>
                        <a:pt x="70" y="192"/>
                      </a:lnTo>
                      <a:lnTo>
                        <a:pt x="64" y="203"/>
                      </a:lnTo>
                      <a:lnTo>
                        <a:pt x="59" y="215"/>
                      </a:lnTo>
                      <a:lnTo>
                        <a:pt x="54" y="228"/>
                      </a:lnTo>
                      <a:lnTo>
                        <a:pt x="49" y="240"/>
                      </a:lnTo>
                      <a:lnTo>
                        <a:pt x="46" y="254"/>
                      </a:lnTo>
                      <a:lnTo>
                        <a:pt x="43" y="268"/>
                      </a:lnTo>
                      <a:lnTo>
                        <a:pt x="40" y="281"/>
                      </a:lnTo>
                      <a:lnTo>
                        <a:pt x="39" y="295"/>
                      </a:lnTo>
                      <a:lnTo>
                        <a:pt x="38" y="309"/>
                      </a:lnTo>
                      <a:lnTo>
                        <a:pt x="37" y="323"/>
                      </a:lnTo>
                      <a:lnTo>
                        <a:pt x="37" y="323"/>
                      </a:lnTo>
                      <a:lnTo>
                        <a:pt x="38" y="342"/>
                      </a:lnTo>
                      <a:lnTo>
                        <a:pt x="40" y="360"/>
                      </a:lnTo>
                      <a:lnTo>
                        <a:pt x="43" y="379"/>
                      </a:lnTo>
                      <a:lnTo>
                        <a:pt x="47" y="396"/>
                      </a:lnTo>
                      <a:lnTo>
                        <a:pt x="53" y="414"/>
                      </a:lnTo>
                      <a:lnTo>
                        <a:pt x="60" y="431"/>
                      </a:lnTo>
                      <a:lnTo>
                        <a:pt x="67" y="447"/>
                      </a:lnTo>
                      <a:lnTo>
                        <a:pt x="76" y="464"/>
                      </a:lnTo>
                      <a:lnTo>
                        <a:pt x="86" y="479"/>
                      </a:lnTo>
                      <a:lnTo>
                        <a:pt x="96" y="493"/>
                      </a:lnTo>
                      <a:lnTo>
                        <a:pt x="109" y="507"/>
                      </a:lnTo>
                      <a:lnTo>
                        <a:pt x="121" y="520"/>
                      </a:lnTo>
                      <a:lnTo>
                        <a:pt x="134" y="532"/>
                      </a:lnTo>
                      <a:lnTo>
                        <a:pt x="148" y="543"/>
                      </a:lnTo>
                      <a:lnTo>
                        <a:pt x="163" y="553"/>
                      </a:lnTo>
                      <a:lnTo>
                        <a:pt x="178" y="562"/>
                      </a:lnTo>
                      <a:lnTo>
                        <a:pt x="178" y="562"/>
                      </a:lnTo>
                      <a:lnTo>
                        <a:pt x="176" y="567"/>
                      </a:lnTo>
                      <a:lnTo>
                        <a:pt x="174" y="573"/>
                      </a:lnTo>
                      <a:lnTo>
                        <a:pt x="173" y="579"/>
                      </a:lnTo>
                      <a:lnTo>
                        <a:pt x="171" y="584"/>
                      </a:lnTo>
                      <a:lnTo>
                        <a:pt x="171" y="584"/>
                      </a:lnTo>
                      <a:lnTo>
                        <a:pt x="152" y="574"/>
                      </a:lnTo>
                      <a:lnTo>
                        <a:pt x="134" y="563"/>
                      </a:lnTo>
                      <a:lnTo>
                        <a:pt x="117" y="551"/>
                      </a:lnTo>
                      <a:lnTo>
                        <a:pt x="101" y="537"/>
                      </a:lnTo>
                      <a:lnTo>
                        <a:pt x="85" y="523"/>
                      </a:lnTo>
                      <a:lnTo>
                        <a:pt x="71" y="507"/>
                      </a:lnTo>
                      <a:lnTo>
                        <a:pt x="58" y="491"/>
                      </a:lnTo>
                      <a:lnTo>
                        <a:pt x="46" y="473"/>
                      </a:lnTo>
                      <a:lnTo>
                        <a:pt x="36" y="454"/>
                      </a:lnTo>
                      <a:lnTo>
                        <a:pt x="26" y="435"/>
                      </a:lnTo>
                      <a:lnTo>
                        <a:pt x="18" y="415"/>
                      </a:lnTo>
                      <a:lnTo>
                        <a:pt x="12" y="395"/>
                      </a:lnTo>
                      <a:lnTo>
                        <a:pt x="7" y="374"/>
                      </a:lnTo>
                      <a:lnTo>
                        <a:pt x="3" y="352"/>
                      </a:lnTo>
                      <a:lnTo>
                        <a:pt x="0" y="330"/>
                      </a:lnTo>
                      <a:lnTo>
                        <a:pt x="0" y="307"/>
                      </a:lnTo>
                      <a:lnTo>
                        <a:pt x="0" y="307"/>
                      </a:lnTo>
                      <a:lnTo>
                        <a:pt x="0" y="292"/>
                      </a:lnTo>
                      <a:lnTo>
                        <a:pt x="1" y="277"/>
                      </a:lnTo>
                      <a:lnTo>
                        <a:pt x="3" y="262"/>
                      </a:lnTo>
                      <a:lnTo>
                        <a:pt x="6" y="247"/>
                      </a:lnTo>
                      <a:lnTo>
                        <a:pt x="9" y="231"/>
                      </a:lnTo>
                      <a:lnTo>
                        <a:pt x="13" y="217"/>
                      </a:lnTo>
                      <a:lnTo>
                        <a:pt x="18" y="202"/>
                      </a:lnTo>
                      <a:lnTo>
                        <a:pt x="23" y="189"/>
                      </a:lnTo>
                      <a:lnTo>
                        <a:pt x="30" y="175"/>
                      </a:lnTo>
                      <a:lnTo>
                        <a:pt x="36" y="162"/>
                      </a:lnTo>
                      <a:lnTo>
                        <a:pt x="44" y="149"/>
                      </a:lnTo>
                      <a:lnTo>
                        <a:pt x="52" y="137"/>
                      </a:lnTo>
                      <a:lnTo>
                        <a:pt x="60" y="125"/>
                      </a:lnTo>
                      <a:lnTo>
                        <a:pt x="69" y="113"/>
                      </a:lnTo>
                      <a:lnTo>
                        <a:pt x="79" y="102"/>
                      </a:lnTo>
                      <a:lnTo>
                        <a:pt x="89" y="91"/>
                      </a:lnTo>
                      <a:lnTo>
                        <a:pt x="100" y="81"/>
                      </a:lnTo>
                      <a:lnTo>
                        <a:pt x="111" y="71"/>
                      </a:lnTo>
                      <a:lnTo>
                        <a:pt x="123" y="62"/>
                      </a:lnTo>
                      <a:lnTo>
                        <a:pt x="135" y="54"/>
                      </a:lnTo>
                      <a:lnTo>
                        <a:pt x="147" y="45"/>
                      </a:lnTo>
                      <a:lnTo>
                        <a:pt x="160" y="38"/>
                      </a:lnTo>
                      <a:lnTo>
                        <a:pt x="173" y="31"/>
                      </a:lnTo>
                      <a:lnTo>
                        <a:pt x="187" y="24"/>
                      </a:lnTo>
                      <a:lnTo>
                        <a:pt x="201" y="18"/>
                      </a:lnTo>
                      <a:lnTo>
                        <a:pt x="215" y="14"/>
                      </a:lnTo>
                      <a:lnTo>
                        <a:pt x="230" y="9"/>
                      </a:lnTo>
                      <a:lnTo>
                        <a:pt x="245" y="6"/>
                      </a:lnTo>
                      <a:lnTo>
                        <a:pt x="260" y="3"/>
                      </a:lnTo>
                      <a:lnTo>
                        <a:pt x="275" y="1"/>
                      </a:lnTo>
                      <a:lnTo>
                        <a:pt x="291" y="0"/>
                      </a:lnTo>
                      <a:lnTo>
                        <a:pt x="30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857" name="Freeform 43"/>
              <p:cNvSpPr>
                <a:spLocks/>
              </p:cNvSpPr>
              <p:nvPr/>
            </p:nvSpPr>
            <p:spPr bwMode="auto">
              <a:xfrm>
                <a:off x="1199604" y="6010531"/>
                <a:ext cx="31382" cy="44168"/>
              </a:xfrm>
              <a:custGeom>
                <a:avLst/>
                <a:gdLst>
                  <a:gd name="T0" fmla="*/ 46 w 54"/>
                  <a:gd name="T1" fmla="*/ 76 h 76"/>
                  <a:gd name="T2" fmla="*/ 54 w 54"/>
                  <a:gd name="T3" fmla="*/ 0 h 76"/>
                  <a:gd name="T4" fmla="*/ 0 w 54"/>
                  <a:gd name="T5" fmla="*/ 32 h 76"/>
                  <a:gd name="T6" fmla="*/ 46 w 54"/>
                  <a:gd name="T7" fmla="*/ 76 h 76"/>
                </a:gdLst>
                <a:ahLst/>
                <a:cxnLst>
                  <a:cxn ang="0">
                    <a:pos x="T0" y="T1"/>
                  </a:cxn>
                  <a:cxn ang="0">
                    <a:pos x="T2" y="T3"/>
                  </a:cxn>
                  <a:cxn ang="0">
                    <a:pos x="T4" y="T5"/>
                  </a:cxn>
                  <a:cxn ang="0">
                    <a:pos x="T6" y="T7"/>
                  </a:cxn>
                </a:cxnLst>
                <a:rect l="0" t="0" r="r" b="b"/>
                <a:pathLst>
                  <a:path w="54" h="76">
                    <a:moveTo>
                      <a:pt x="46" y="76"/>
                    </a:moveTo>
                    <a:lnTo>
                      <a:pt x="54" y="0"/>
                    </a:lnTo>
                    <a:lnTo>
                      <a:pt x="0" y="32"/>
                    </a:lnTo>
                    <a:lnTo>
                      <a:pt x="46" y="7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8" name="Freeform 26"/>
              <p:cNvSpPr>
                <a:spLocks noEditPoints="1"/>
              </p:cNvSpPr>
              <p:nvPr/>
            </p:nvSpPr>
            <p:spPr bwMode="auto">
              <a:xfrm>
                <a:off x="735841" y="5743199"/>
                <a:ext cx="606728" cy="606728"/>
              </a:xfrm>
              <a:custGeom>
                <a:avLst/>
                <a:gdLst>
                  <a:gd name="T0" fmla="*/ 470 w 1044"/>
                  <a:gd name="T1" fmla="*/ 4 h 1044"/>
                  <a:gd name="T2" fmla="*/ 368 w 1044"/>
                  <a:gd name="T3" fmla="*/ 24 h 1044"/>
                  <a:gd name="T4" fmla="*/ 274 w 1044"/>
                  <a:gd name="T5" fmla="*/ 64 h 1044"/>
                  <a:gd name="T6" fmla="*/ 190 w 1044"/>
                  <a:gd name="T7" fmla="*/ 120 h 1044"/>
                  <a:gd name="T8" fmla="*/ 90 w 1044"/>
                  <a:gd name="T9" fmla="*/ 230 h 1044"/>
                  <a:gd name="T10" fmla="*/ 42 w 1044"/>
                  <a:gd name="T11" fmla="*/ 318 h 1044"/>
                  <a:gd name="T12" fmla="*/ 12 w 1044"/>
                  <a:gd name="T13" fmla="*/ 416 h 1044"/>
                  <a:gd name="T14" fmla="*/ 0 w 1044"/>
                  <a:gd name="T15" fmla="*/ 522 h 1044"/>
                  <a:gd name="T16" fmla="*/ 6 w 1044"/>
                  <a:gd name="T17" fmla="*/ 602 h 1044"/>
                  <a:gd name="T18" fmla="*/ 32 w 1044"/>
                  <a:gd name="T19" fmla="*/ 702 h 1044"/>
                  <a:gd name="T20" fmla="*/ 76 w 1044"/>
                  <a:gd name="T21" fmla="*/ 792 h 1044"/>
                  <a:gd name="T22" fmla="*/ 154 w 1044"/>
                  <a:gd name="T23" fmla="*/ 890 h 1044"/>
                  <a:gd name="T24" fmla="*/ 252 w 1044"/>
                  <a:gd name="T25" fmla="*/ 968 h 1044"/>
                  <a:gd name="T26" fmla="*/ 344 w 1044"/>
                  <a:gd name="T27" fmla="*/ 1012 h 1044"/>
                  <a:gd name="T28" fmla="*/ 444 w 1044"/>
                  <a:gd name="T29" fmla="*/ 1038 h 1044"/>
                  <a:gd name="T30" fmla="*/ 522 w 1044"/>
                  <a:gd name="T31" fmla="*/ 1044 h 1044"/>
                  <a:gd name="T32" fmla="*/ 628 w 1044"/>
                  <a:gd name="T33" fmla="*/ 1032 h 1044"/>
                  <a:gd name="T34" fmla="*/ 726 w 1044"/>
                  <a:gd name="T35" fmla="*/ 1002 h 1044"/>
                  <a:gd name="T36" fmla="*/ 814 w 1044"/>
                  <a:gd name="T37" fmla="*/ 954 h 1044"/>
                  <a:gd name="T38" fmla="*/ 924 w 1044"/>
                  <a:gd name="T39" fmla="*/ 854 h 1044"/>
                  <a:gd name="T40" fmla="*/ 982 w 1044"/>
                  <a:gd name="T41" fmla="*/ 770 h 1044"/>
                  <a:gd name="T42" fmla="*/ 1020 w 1044"/>
                  <a:gd name="T43" fmla="*/ 678 h 1044"/>
                  <a:gd name="T44" fmla="*/ 1042 w 1044"/>
                  <a:gd name="T45" fmla="*/ 576 h 1044"/>
                  <a:gd name="T46" fmla="*/ 1044 w 1044"/>
                  <a:gd name="T47" fmla="*/ 496 h 1044"/>
                  <a:gd name="T48" fmla="*/ 1028 w 1044"/>
                  <a:gd name="T49" fmla="*/ 392 h 1044"/>
                  <a:gd name="T50" fmla="*/ 992 w 1044"/>
                  <a:gd name="T51" fmla="*/ 296 h 1044"/>
                  <a:gd name="T52" fmla="*/ 940 w 1044"/>
                  <a:gd name="T53" fmla="*/ 210 h 1044"/>
                  <a:gd name="T54" fmla="*/ 834 w 1044"/>
                  <a:gd name="T55" fmla="*/ 104 h 1044"/>
                  <a:gd name="T56" fmla="*/ 748 w 1044"/>
                  <a:gd name="T57" fmla="*/ 52 h 1044"/>
                  <a:gd name="T58" fmla="*/ 652 w 1044"/>
                  <a:gd name="T59" fmla="*/ 16 h 1044"/>
                  <a:gd name="T60" fmla="*/ 550 w 1044"/>
                  <a:gd name="T61" fmla="*/ 2 h 1044"/>
                  <a:gd name="T62" fmla="*/ 522 w 1044"/>
                  <a:gd name="T63" fmla="*/ 952 h 1044"/>
                  <a:gd name="T64" fmla="*/ 356 w 1044"/>
                  <a:gd name="T65" fmla="*/ 918 h 1044"/>
                  <a:gd name="T66" fmla="*/ 218 w 1044"/>
                  <a:gd name="T67" fmla="*/ 826 h 1044"/>
                  <a:gd name="T68" fmla="*/ 126 w 1044"/>
                  <a:gd name="T69" fmla="*/ 690 h 1044"/>
                  <a:gd name="T70" fmla="*/ 92 w 1044"/>
                  <a:gd name="T71" fmla="*/ 522 h 1044"/>
                  <a:gd name="T72" fmla="*/ 112 w 1044"/>
                  <a:gd name="T73" fmla="*/ 394 h 1044"/>
                  <a:gd name="T74" fmla="*/ 192 w 1044"/>
                  <a:gd name="T75" fmla="*/ 248 h 1044"/>
                  <a:gd name="T76" fmla="*/ 318 w 1044"/>
                  <a:gd name="T77" fmla="*/ 144 h 1044"/>
                  <a:gd name="T78" fmla="*/ 478 w 1044"/>
                  <a:gd name="T79" fmla="*/ 94 h 1044"/>
                  <a:gd name="T80" fmla="*/ 610 w 1044"/>
                  <a:gd name="T81" fmla="*/ 102 h 1044"/>
                  <a:gd name="T82" fmla="*/ 762 w 1044"/>
                  <a:gd name="T83" fmla="*/ 166 h 1044"/>
                  <a:gd name="T84" fmla="*/ 878 w 1044"/>
                  <a:gd name="T85" fmla="*/ 282 h 1044"/>
                  <a:gd name="T86" fmla="*/ 944 w 1044"/>
                  <a:gd name="T87" fmla="*/ 436 h 1044"/>
                  <a:gd name="T88" fmla="*/ 950 w 1044"/>
                  <a:gd name="T89" fmla="*/ 566 h 1044"/>
                  <a:gd name="T90" fmla="*/ 900 w 1044"/>
                  <a:gd name="T91" fmla="*/ 726 h 1044"/>
                  <a:gd name="T92" fmla="*/ 796 w 1044"/>
                  <a:gd name="T93" fmla="*/ 854 h 1044"/>
                  <a:gd name="T94" fmla="*/ 650 w 1044"/>
                  <a:gd name="T95" fmla="*/ 932 h 1044"/>
                  <a:gd name="T96" fmla="*/ 522 w 1044"/>
                  <a:gd name="T97" fmla="*/ 95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4" h="1044">
                    <a:moveTo>
                      <a:pt x="522" y="0"/>
                    </a:moveTo>
                    <a:lnTo>
                      <a:pt x="522" y="0"/>
                    </a:lnTo>
                    <a:lnTo>
                      <a:pt x="496" y="2"/>
                    </a:lnTo>
                    <a:lnTo>
                      <a:pt x="470" y="4"/>
                    </a:lnTo>
                    <a:lnTo>
                      <a:pt x="444" y="6"/>
                    </a:lnTo>
                    <a:lnTo>
                      <a:pt x="418" y="12"/>
                    </a:lnTo>
                    <a:lnTo>
                      <a:pt x="392" y="16"/>
                    </a:lnTo>
                    <a:lnTo>
                      <a:pt x="368" y="24"/>
                    </a:lnTo>
                    <a:lnTo>
                      <a:pt x="344" y="32"/>
                    </a:lnTo>
                    <a:lnTo>
                      <a:pt x="320" y="42"/>
                    </a:lnTo>
                    <a:lnTo>
                      <a:pt x="296" y="52"/>
                    </a:lnTo>
                    <a:lnTo>
                      <a:pt x="274" y="64"/>
                    </a:lnTo>
                    <a:lnTo>
                      <a:pt x="252" y="76"/>
                    </a:lnTo>
                    <a:lnTo>
                      <a:pt x="230" y="90"/>
                    </a:lnTo>
                    <a:lnTo>
                      <a:pt x="210" y="104"/>
                    </a:lnTo>
                    <a:lnTo>
                      <a:pt x="190" y="120"/>
                    </a:lnTo>
                    <a:lnTo>
                      <a:pt x="154" y="154"/>
                    </a:lnTo>
                    <a:lnTo>
                      <a:pt x="120" y="190"/>
                    </a:lnTo>
                    <a:lnTo>
                      <a:pt x="104" y="210"/>
                    </a:lnTo>
                    <a:lnTo>
                      <a:pt x="90" y="230"/>
                    </a:lnTo>
                    <a:lnTo>
                      <a:pt x="76" y="252"/>
                    </a:lnTo>
                    <a:lnTo>
                      <a:pt x="64" y="274"/>
                    </a:lnTo>
                    <a:lnTo>
                      <a:pt x="52" y="296"/>
                    </a:lnTo>
                    <a:lnTo>
                      <a:pt x="42" y="318"/>
                    </a:lnTo>
                    <a:lnTo>
                      <a:pt x="32" y="342"/>
                    </a:lnTo>
                    <a:lnTo>
                      <a:pt x="24" y="366"/>
                    </a:lnTo>
                    <a:lnTo>
                      <a:pt x="18" y="392"/>
                    </a:lnTo>
                    <a:lnTo>
                      <a:pt x="12" y="416"/>
                    </a:lnTo>
                    <a:lnTo>
                      <a:pt x="6" y="442"/>
                    </a:lnTo>
                    <a:lnTo>
                      <a:pt x="4" y="468"/>
                    </a:lnTo>
                    <a:lnTo>
                      <a:pt x="2" y="496"/>
                    </a:lnTo>
                    <a:lnTo>
                      <a:pt x="0" y="522"/>
                    </a:lnTo>
                    <a:lnTo>
                      <a:pt x="0" y="522"/>
                    </a:lnTo>
                    <a:lnTo>
                      <a:pt x="2" y="548"/>
                    </a:lnTo>
                    <a:lnTo>
                      <a:pt x="4" y="576"/>
                    </a:lnTo>
                    <a:lnTo>
                      <a:pt x="6" y="602"/>
                    </a:lnTo>
                    <a:lnTo>
                      <a:pt x="12" y="628"/>
                    </a:lnTo>
                    <a:lnTo>
                      <a:pt x="18" y="652"/>
                    </a:lnTo>
                    <a:lnTo>
                      <a:pt x="24" y="678"/>
                    </a:lnTo>
                    <a:lnTo>
                      <a:pt x="32" y="702"/>
                    </a:lnTo>
                    <a:lnTo>
                      <a:pt x="42" y="726"/>
                    </a:lnTo>
                    <a:lnTo>
                      <a:pt x="52" y="748"/>
                    </a:lnTo>
                    <a:lnTo>
                      <a:pt x="64" y="770"/>
                    </a:lnTo>
                    <a:lnTo>
                      <a:pt x="76" y="792"/>
                    </a:lnTo>
                    <a:lnTo>
                      <a:pt x="90" y="814"/>
                    </a:lnTo>
                    <a:lnTo>
                      <a:pt x="104" y="834"/>
                    </a:lnTo>
                    <a:lnTo>
                      <a:pt x="120" y="854"/>
                    </a:lnTo>
                    <a:lnTo>
                      <a:pt x="154" y="890"/>
                    </a:lnTo>
                    <a:lnTo>
                      <a:pt x="190" y="924"/>
                    </a:lnTo>
                    <a:lnTo>
                      <a:pt x="210" y="940"/>
                    </a:lnTo>
                    <a:lnTo>
                      <a:pt x="230" y="954"/>
                    </a:lnTo>
                    <a:lnTo>
                      <a:pt x="252" y="968"/>
                    </a:lnTo>
                    <a:lnTo>
                      <a:pt x="274" y="980"/>
                    </a:lnTo>
                    <a:lnTo>
                      <a:pt x="296" y="992"/>
                    </a:lnTo>
                    <a:lnTo>
                      <a:pt x="320" y="1002"/>
                    </a:lnTo>
                    <a:lnTo>
                      <a:pt x="344" y="1012"/>
                    </a:lnTo>
                    <a:lnTo>
                      <a:pt x="368" y="1020"/>
                    </a:lnTo>
                    <a:lnTo>
                      <a:pt x="392" y="1028"/>
                    </a:lnTo>
                    <a:lnTo>
                      <a:pt x="418" y="1032"/>
                    </a:lnTo>
                    <a:lnTo>
                      <a:pt x="444" y="1038"/>
                    </a:lnTo>
                    <a:lnTo>
                      <a:pt x="470" y="1040"/>
                    </a:lnTo>
                    <a:lnTo>
                      <a:pt x="496" y="1042"/>
                    </a:lnTo>
                    <a:lnTo>
                      <a:pt x="522" y="1044"/>
                    </a:lnTo>
                    <a:lnTo>
                      <a:pt x="522" y="1044"/>
                    </a:lnTo>
                    <a:lnTo>
                      <a:pt x="550" y="1042"/>
                    </a:lnTo>
                    <a:lnTo>
                      <a:pt x="576" y="1040"/>
                    </a:lnTo>
                    <a:lnTo>
                      <a:pt x="602" y="1038"/>
                    </a:lnTo>
                    <a:lnTo>
                      <a:pt x="628" y="1032"/>
                    </a:lnTo>
                    <a:lnTo>
                      <a:pt x="652" y="1028"/>
                    </a:lnTo>
                    <a:lnTo>
                      <a:pt x="678" y="1020"/>
                    </a:lnTo>
                    <a:lnTo>
                      <a:pt x="702" y="1012"/>
                    </a:lnTo>
                    <a:lnTo>
                      <a:pt x="726" y="1002"/>
                    </a:lnTo>
                    <a:lnTo>
                      <a:pt x="748" y="992"/>
                    </a:lnTo>
                    <a:lnTo>
                      <a:pt x="772" y="980"/>
                    </a:lnTo>
                    <a:lnTo>
                      <a:pt x="792" y="968"/>
                    </a:lnTo>
                    <a:lnTo>
                      <a:pt x="814" y="954"/>
                    </a:lnTo>
                    <a:lnTo>
                      <a:pt x="834" y="940"/>
                    </a:lnTo>
                    <a:lnTo>
                      <a:pt x="854" y="924"/>
                    </a:lnTo>
                    <a:lnTo>
                      <a:pt x="892" y="890"/>
                    </a:lnTo>
                    <a:lnTo>
                      <a:pt x="924" y="854"/>
                    </a:lnTo>
                    <a:lnTo>
                      <a:pt x="940" y="834"/>
                    </a:lnTo>
                    <a:lnTo>
                      <a:pt x="954" y="814"/>
                    </a:lnTo>
                    <a:lnTo>
                      <a:pt x="968" y="792"/>
                    </a:lnTo>
                    <a:lnTo>
                      <a:pt x="982" y="770"/>
                    </a:lnTo>
                    <a:lnTo>
                      <a:pt x="992" y="748"/>
                    </a:lnTo>
                    <a:lnTo>
                      <a:pt x="1004" y="726"/>
                    </a:lnTo>
                    <a:lnTo>
                      <a:pt x="1012" y="702"/>
                    </a:lnTo>
                    <a:lnTo>
                      <a:pt x="1020" y="678"/>
                    </a:lnTo>
                    <a:lnTo>
                      <a:pt x="1028" y="652"/>
                    </a:lnTo>
                    <a:lnTo>
                      <a:pt x="1034" y="628"/>
                    </a:lnTo>
                    <a:lnTo>
                      <a:pt x="1038" y="602"/>
                    </a:lnTo>
                    <a:lnTo>
                      <a:pt x="1042" y="576"/>
                    </a:lnTo>
                    <a:lnTo>
                      <a:pt x="1044" y="548"/>
                    </a:lnTo>
                    <a:lnTo>
                      <a:pt x="1044" y="522"/>
                    </a:lnTo>
                    <a:lnTo>
                      <a:pt x="1044" y="522"/>
                    </a:lnTo>
                    <a:lnTo>
                      <a:pt x="1044" y="496"/>
                    </a:lnTo>
                    <a:lnTo>
                      <a:pt x="1042" y="468"/>
                    </a:lnTo>
                    <a:lnTo>
                      <a:pt x="1038" y="442"/>
                    </a:lnTo>
                    <a:lnTo>
                      <a:pt x="1034" y="416"/>
                    </a:lnTo>
                    <a:lnTo>
                      <a:pt x="1028" y="392"/>
                    </a:lnTo>
                    <a:lnTo>
                      <a:pt x="1020" y="366"/>
                    </a:lnTo>
                    <a:lnTo>
                      <a:pt x="1012" y="342"/>
                    </a:lnTo>
                    <a:lnTo>
                      <a:pt x="1004" y="318"/>
                    </a:lnTo>
                    <a:lnTo>
                      <a:pt x="992" y="296"/>
                    </a:lnTo>
                    <a:lnTo>
                      <a:pt x="982" y="274"/>
                    </a:lnTo>
                    <a:lnTo>
                      <a:pt x="968" y="252"/>
                    </a:lnTo>
                    <a:lnTo>
                      <a:pt x="954" y="230"/>
                    </a:lnTo>
                    <a:lnTo>
                      <a:pt x="940" y="210"/>
                    </a:lnTo>
                    <a:lnTo>
                      <a:pt x="924" y="190"/>
                    </a:lnTo>
                    <a:lnTo>
                      <a:pt x="892" y="154"/>
                    </a:lnTo>
                    <a:lnTo>
                      <a:pt x="854" y="120"/>
                    </a:lnTo>
                    <a:lnTo>
                      <a:pt x="834" y="104"/>
                    </a:lnTo>
                    <a:lnTo>
                      <a:pt x="814" y="90"/>
                    </a:lnTo>
                    <a:lnTo>
                      <a:pt x="792" y="76"/>
                    </a:lnTo>
                    <a:lnTo>
                      <a:pt x="772" y="64"/>
                    </a:lnTo>
                    <a:lnTo>
                      <a:pt x="748" y="52"/>
                    </a:lnTo>
                    <a:lnTo>
                      <a:pt x="726" y="42"/>
                    </a:lnTo>
                    <a:lnTo>
                      <a:pt x="702" y="32"/>
                    </a:lnTo>
                    <a:lnTo>
                      <a:pt x="678" y="24"/>
                    </a:lnTo>
                    <a:lnTo>
                      <a:pt x="652" y="16"/>
                    </a:lnTo>
                    <a:lnTo>
                      <a:pt x="628" y="12"/>
                    </a:lnTo>
                    <a:lnTo>
                      <a:pt x="602" y="6"/>
                    </a:lnTo>
                    <a:lnTo>
                      <a:pt x="576" y="4"/>
                    </a:lnTo>
                    <a:lnTo>
                      <a:pt x="550" y="2"/>
                    </a:lnTo>
                    <a:lnTo>
                      <a:pt x="522" y="0"/>
                    </a:lnTo>
                    <a:lnTo>
                      <a:pt x="522" y="0"/>
                    </a:lnTo>
                    <a:close/>
                    <a:moveTo>
                      <a:pt x="522" y="952"/>
                    </a:moveTo>
                    <a:lnTo>
                      <a:pt x="522" y="952"/>
                    </a:lnTo>
                    <a:lnTo>
                      <a:pt x="478" y="950"/>
                    </a:lnTo>
                    <a:lnTo>
                      <a:pt x="436" y="942"/>
                    </a:lnTo>
                    <a:lnTo>
                      <a:pt x="394" y="932"/>
                    </a:lnTo>
                    <a:lnTo>
                      <a:pt x="356" y="918"/>
                    </a:lnTo>
                    <a:lnTo>
                      <a:pt x="318" y="900"/>
                    </a:lnTo>
                    <a:lnTo>
                      <a:pt x="282" y="878"/>
                    </a:lnTo>
                    <a:lnTo>
                      <a:pt x="250" y="854"/>
                    </a:lnTo>
                    <a:lnTo>
                      <a:pt x="218" y="826"/>
                    </a:lnTo>
                    <a:lnTo>
                      <a:pt x="192" y="796"/>
                    </a:lnTo>
                    <a:lnTo>
                      <a:pt x="166" y="762"/>
                    </a:lnTo>
                    <a:lnTo>
                      <a:pt x="144" y="726"/>
                    </a:lnTo>
                    <a:lnTo>
                      <a:pt x="126" y="690"/>
                    </a:lnTo>
                    <a:lnTo>
                      <a:pt x="112" y="650"/>
                    </a:lnTo>
                    <a:lnTo>
                      <a:pt x="102" y="608"/>
                    </a:lnTo>
                    <a:lnTo>
                      <a:pt x="96" y="566"/>
                    </a:lnTo>
                    <a:lnTo>
                      <a:pt x="92" y="522"/>
                    </a:lnTo>
                    <a:lnTo>
                      <a:pt x="92" y="522"/>
                    </a:lnTo>
                    <a:lnTo>
                      <a:pt x="96" y="478"/>
                    </a:lnTo>
                    <a:lnTo>
                      <a:pt x="102" y="436"/>
                    </a:lnTo>
                    <a:lnTo>
                      <a:pt x="112" y="394"/>
                    </a:lnTo>
                    <a:lnTo>
                      <a:pt x="126" y="354"/>
                    </a:lnTo>
                    <a:lnTo>
                      <a:pt x="144" y="318"/>
                    </a:lnTo>
                    <a:lnTo>
                      <a:pt x="166" y="282"/>
                    </a:lnTo>
                    <a:lnTo>
                      <a:pt x="192" y="248"/>
                    </a:lnTo>
                    <a:lnTo>
                      <a:pt x="218" y="218"/>
                    </a:lnTo>
                    <a:lnTo>
                      <a:pt x="250" y="190"/>
                    </a:lnTo>
                    <a:lnTo>
                      <a:pt x="282" y="166"/>
                    </a:lnTo>
                    <a:lnTo>
                      <a:pt x="318" y="144"/>
                    </a:lnTo>
                    <a:lnTo>
                      <a:pt x="356" y="126"/>
                    </a:lnTo>
                    <a:lnTo>
                      <a:pt x="394" y="112"/>
                    </a:lnTo>
                    <a:lnTo>
                      <a:pt x="436" y="102"/>
                    </a:lnTo>
                    <a:lnTo>
                      <a:pt x="478" y="94"/>
                    </a:lnTo>
                    <a:lnTo>
                      <a:pt x="522" y="92"/>
                    </a:lnTo>
                    <a:lnTo>
                      <a:pt x="522" y="92"/>
                    </a:lnTo>
                    <a:lnTo>
                      <a:pt x="566" y="94"/>
                    </a:lnTo>
                    <a:lnTo>
                      <a:pt x="610" y="102"/>
                    </a:lnTo>
                    <a:lnTo>
                      <a:pt x="650" y="112"/>
                    </a:lnTo>
                    <a:lnTo>
                      <a:pt x="690" y="126"/>
                    </a:lnTo>
                    <a:lnTo>
                      <a:pt x="728" y="144"/>
                    </a:lnTo>
                    <a:lnTo>
                      <a:pt x="762" y="166"/>
                    </a:lnTo>
                    <a:lnTo>
                      <a:pt x="796" y="190"/>
                    </a:lnTo>
                    <a:lnTo>
                      <a:pt x="826" y="218"/>
                    </a:lnTo>
                    <a:lnTo>
                      <a:pt x="854" y="248"/>
                    </a:lnTo>
                    <a:lnTo>
                      <a:pt x="878" y="282"/>
                    </a:lnTo>
                    <a:lnTo>
                      <a:pt x="900" y="318"/>
                    </a:lnTo>
                    <a:lnTo>
                      <a:pt x="918" y="354"/>
                    </a:lnTo>
                    <a:lnTo>
                      <a:pt x="932" y="394"/>
                    </a:lnTo>
                    <a:lnTo>
                      <a:pt x="944" y="436"/>
                    </a:lnTo>
                    <a:lnTo>
                      <a:pt x="950" y="478"/>
                    </a:lnTo>
                    <a:lnTo>
                      <a:pt x="952" y="522"/>
                    </a:lnTo>
                    <a:lnTo>
                      <a:pt x="952" y="522"/>
                    </a:lnTo>
                    <a:lnTo>
                      <a:pt x="950" y="566"/>
                    </a:lnTo>
                    <a:lnTo>
                      <a:pt x="944" y="608"/>
                    </a:lnTo>
                    <a:lnTo>
                      <a:pt x="932" y="650"/>
                    </a:lnTo>
                    <a:lnTo>
                      <a:pt x="918" y="690"/>
                    </a:lnTo>
                    <a:lnTo>
                      <a:pt x="900" y="726"/>
                    </a:lnTo>
                    <a:lnTo>
                      <a:pt x="878" y="762"/>
                    </a:lnTo>
                    <a:lnTo>
                      <a:pt x="854" y="796"/>
                    </a:lnTo>
                    <a:lnTo>
                      <a:pt x="826" y="826"/>
                    </a:lnTo>
                    <a:lnTo>
                      <a:pt x="796" y="854"/>
                    </a:lnTo>
                    <a:lnTo>
                      <a:pt x="762" y="878"/>
                    </a:lnTo>
                    <a:lnTo>
                      <a:pt x="728" y="900"/>
                    </a:lnTo>
                    <a:lnTo>
                      <a:pt x="690" y="918"/>
                    </a:lnTo>
                    <a:lnTo>
                      <a:pt x="650" y="932"/>
                    </a:lnTo>
                    <a:lnTo>
                      <a:pt x="610" y="942"/>
                    </a:lnTo>
                    <a:lnTo>
                      <a:pt x="566" y="950"/>
                    </a:lnTo>
                    <a:lnTo>
                      <a:pt x="522" y="952"/>
                    </a:lnTo>
                    <a:lnTo>
                      <a:pt x="522" y="952"/>
                    </a:lnTo>
                    <a:close/>
                  </a:path>
                </a:pathLst>
              </a:custGeom>
              <a:solidFill>
                <a:schemeClr val="tx1">
                  <a:lumMod val="90000"/>
                  <a:lumOff val="1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59" name="Freeform 27"/>
              <p:cNvSpPr>
                <a:spLocks/>
              </p:cNvSpPr>
              <p:nvPr/>
            </p:nvSpPr>
            <p:spPr bwMode="auto">
              <a:xfrm>
                <a:off x="907863" y="5939630"/>
                <a:ext cx="273144" cy="263845"/>
              </a:xfrm>
              <a:custGeom>
                <a:avLst/>
                <a:gdLst>
                  <a:gd name="T0" fmla="*/ 0 w 470"/>
                  <a:gd name="T1" fmla="*/ 70 h 454"/>
                  <a:gd name="T2" fmla="*/ 0 w 470"/>
                  <a:gd name="T3" fmla="*/ 70 h 454"/>
                  <a:gd name="T4" fmla="*/ 8 w 470"/>
                  <a:gd name="T5" fmla="*/ 64 h 454"/>
                  <a:gd name="T6" fmla="*/ 34 w 470"/>
                  <a:gd name="T7" fmla="*/ 50 h 454"/>
                  <a:gd name="T8" fmla="*/ 52 w 470"/>
                  <a:gd name="T9" fmla="*/ 42 h 454"/>
                  <a:gd name="T10" fmla="*/ 74 w 470"/>
                  <a:gd name="T11" fmla="*/ 32 h 454"/>
                  <a:gd name="T12" fmla="*/ 100 w 470"/>
                  <a:gd name="T13" fmla="*/ 22 h 454"/>
                  <a:gd name="T14" fmla="*/ 130 w 470"/>
                  <a:gd name="T15" fmla="*/ 14 h 454"/>
                  <a:gd name="T16" fmla="*/ 162 w 470"/>
                  <a:gd name="T17" fmla="*/ 8 h 454"/>
                  <a:gd name="T18" fmla="*/ 198 w 470"/>
                  <a:gd name="T19" fmla="*/ 2 h 454"/>
                  <a:gd name="T20" fmla="*/ 236 w 470"/>
                  <a:gd name="T21" fmla="*/ 0 h 454"/>
                  <a:gd name="T22" fmla="*/ 276 w 470"/>
                  <a:gd name="T23" fmla="*/ 0 h 454"/>
                  <a:gd name="T24" fmla="*/ 322 w 470"/>
                  <a:gd name="T25" fmla="*/ 6 h 454"/>
                  <a:gd name="T26" fmla="*/ 368 w 470"/>
                  <a:gd name="T27" fmla="*/ 14 h 454"/>
                  <a:gd name="T28" fmla="*/ 416 w 470"/>
                  <a:gd name="T29" fmla="*/ 28 h 454"/>
                  <a:gd name="T30" fmla="*/ 468 w 470"/>
                  <a:gd name="T31" fmla="*/ 46 h 454"/>
                  <a:gd name="T32" fmla="*/ 468 w 470"/>
                  <a:gd name="T33" fmla="*/ 46 h 454"/>
                  <a:gd name="T34" fmla="*/ 470 w 470"/>
                  <a:gd name="T35" fmla="*/ 64 h 454"/>
                  <a:gd name="T36" fmla="*/ 470 w 470"/>
                  <a:gd name="T37" fmla="*/ 110 h 454"/>
                  <a:gd name="T38" fmla="*/ 470 w 470"/>
                  <a:gd name="T39" fmla="*/ 140 h 454"/>
                  <a:gd name="T40" fmla="*/ 466 w 470"/>
                  <a:gd name="T41" fmla="*/ 176 h 454"/>
                  <a:gd name="T42" fmla="*/ 460 w 470"/>
                  <a:gd name="T43" fmla="*/ 212 h 454"/>
                  <a:gd name="T44" fmla="*/ 452 w 470"/>
                  <a:gd name="T45" fmla="*/ 250 h 454"/>
                  <a:gd name="T46" fmla="*/ 440 w 470"/>
                  <a:gd name="T47" fmla="*/ 288 h 454"/>
                  <a:gd name="T48" fmla="*/ 432 w 470"/>
                  <a:gd name="T49" fmla="*/ 306 h 454"/>
                  <a:gd name="T50" fmla="*/ 424 w 470"/>
                  <a:gd name="T51" fmla="*/ 324 h 454"/>
                  <a:gd name="T52" fmla="*/ 414 w 470"/>
                  <a:gd name="T53" fmla="*/ 342 h 454"/>
                  <a:gd name="T54" fmla="*/ 404 w 470"/>
                  <a:gd name="T55" fmla="*/ 360 h 454"/>
                  <a:gd name="T56" fmla="*/ 392 w 470"/>
                  <a:gd name="T57" fmla="*/ 376 h 454"/>
                  <a:gd name="T58" fmla="*/ 378 w 470"/>
                  <a:gd name="T59" fmla="*/ 390 h 454"/>
                  <a:gd name="T60" fmla="*/ 362 w 470"/>
                  <a:gd name="T61" fmla="*/ 404 h 454"/>
                  <a:gd name="T62" fmla="*/ 346 w 470"/>
                  <a:gd name="T63" fmla="*/ 416 h 454"/>
                  <a:gd name="T64" fmla="*/ 328 w 470"/>
                  <a:gd name="T65" fmla="*/ 428 h 454"/>
                  <a:gd name="T66" fmla="*/ 308 w 470"/>
                  <a:gd name="T67" fmla="*/ 436 h 454"/>
                  <a:gd name="T68" fmla="*/ 286 w 470"/>
                  <a:gd name="T69" fmla="*/ 444 h 454"/>
                  <a:gd name="T70" fmla="*/ 262 w 470"/>
                  <a:gd name="T71" fmla="*/ 450 h 454"/>
                  <a:gd name="T72" fmla="*/ 236 w 470"/>
                  <a:gd name="T73" fmla="*/ 452 h 454"/>
                  <a:gd name="T74" fmla="*/ 208 w 470"/>
                  <a:gd name="T75" fmla="*/ 454 h 454"/>
                  <a:gd name="T76" fmla="*/ 208 w 470"/>
                  <a:gd name="T77" fmla="*/ 454 h 454"/>
                  <a:gd name="T78" fmla="*/ 200 w 470"/>
                  <a:gd name="T79" fmla="*/ 454 h 454"/>
                  <a:gd name="T80" fmla="*/ 190 w 470"/>
                  <a:gd name="T81" fmla="*/ 454 h 454"/>
                  <a:gd name="T82" fmla="*/ 176 w 470"/>
                  <a:gd name="T83" fmla="*/ 454 h 454"/>
                  <a:gd name="T84" fmla="*/ 160 w 470"/>
                  <a:gd name="T85" fmla="*/ 450 h 454"/>
                  <a:gd name="T86" fmla="*/ 142 w 470"/>
                  <a:gd name="T87" fmla="*/ 444 h 454"/>
                  <a:gd name="T88" fmla="*/ 124 w 470"/>
                  <a:gd name="T89" fmla="*/ 434 h 454"/>
                  <a:gd name="T90" fmla="*/ 104 w 470"/>
                  <a:gd name="T91" fmla="*/ 422 h 454"/>
                  <a:gd name="T92" fmla="*/ 84 w 470"/>
                  <a:gd name="T93" fmla="*/ 402 h 454"/>
                  <a:gd name="T94" fmla="*/ 66 w 470"/>
                  <a:gd name="T95" fmla="*/ 378 h 454"/>
                  <a:gd name="T96" fmla="*/ 56 w 470"/>
                  <a:gd name="T97" fmla="*/ 364 h 454"/>
                  <a:gd name="T98" fmla="*/ 48 w 470"/>
                  <a:gd name="T99" fmla="*/ 346 h 454"/>
                  <a:gd name="T100" fmla="*/ 40 w 470"/>
                  <a:gd name="T101" fmla="*/ 328 h 454"/>
                  <a:gd name="T102" fmla="*/ 32 w 470"/>
                  <a:gd name="T103" fmla="*/ 308 h 454"/>
                  <a:gd name="T104" fmla="*/ 26 w 470"/>
                  <a:gd name="T105" fmla="*/ 286 h 454"/>
                  <a:gd name="T106" fmla="*/ 20 w 470"/>
                  <a:gd name="T107" fmla="*/ 262 h 454"/>
                  <a:gd name="T108" fmla="*/ 14 w 470"/>
                  <a:gd name="T109" fmla="*/ 236 h 454"/>
                  <a:gd name="T110" fmla="*/ 8 w 470"/>
                  <a:gd name="T111" fmla="*/ 208 h 454"/>
                  <a:gd name="T112" fmla="*/ 6 w 470"/>
                  <a:gd name="T113" fmla="*/ 178 h 454"/>
                  <a:gd name="T114" fmla="*/ 2 w 470"/>
                  <a:gd name="T115" fmla="*/ 144 h 454"/>
                  <a:gd name="T116" fmla="*/ 0 w 470"/>
                  <a:gd name="T117" fmla="*/ 108 h 454"/>
                  <a:gd name="T118" fmla="*/ 0 w 470"/>
                  <a:gd name="T119" fmla="*/ 70 h 454"/>
                  <a:gd name="T120" fmla="*/ 0 w 470"/>
                  <a:gd name="T121" fmla="*/ 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0" h="454">
                    <a:moveTo>
                      <a:pt x="0" y="70"/>
                    </a:moveTo>
                    <a:lnTo>
                      <a:pt x="0" y="70"/>
                    </a:lnTo>
                    <a:lnTo>
                      <a:pt x="8" y="64"/>
                    </a:lnTo>
                    <a:lnTo>
                      <a:pt x="34" y="50"/>
                    </a:lnTo>
                    <a:lnTo>
                      <a:pt x="52" y="42"/>
                    </a:lnTo>
                    <a:lnTo>
                      <a:pt x="74" y="32"/>
                    </a:lnTo>
                    <a:lnTo>
                      <a:pt x="100" y="22"/>
                    </a:lnTo>
                    <a:lnTo>
                      <a:pt x="130" y="14"/>
                    </a:lnTo>
                    <a:lnTo>
                      <a:pt x="162" y="8"/>
                    </a:lnTo>
                    <a:lnTo>
                      <a:pt x="198" y="2"/>
                    </a:lnTo>
                    <a:lnTo>
                      <a:pt x="236" y="0"/>
                    </a:lnTo>
                    <a:lnTo>
                      <a:pt x="276" y="0"/>
                    </a:lnTo>
                    <a:lnTo>
                      <a:pt x="322" y="6"/>
                    </a:lnTo>
                    <a:lnTo>
                      <a:pt x="368" y="14"/>
                    </a:lnTo>
                    <a:lnTo>
                      <a:pt x="416" y="28"/>
                    </a:lnTo>
                    <a:lnTo>
                      <a:pt x="468" y="46"/>
                    </a:lnTo>
                    <a:lnTo>
                      <a:pt x="468" y="46"/>
                    </a:lnTo>
                    <a:lnTo>
                      <a:pt x="470" y="64"/>
                    </a:lnTo>
                    <a:lnTo>
                      <a:pt x="470" y="110"/>
                    </a:lnTo>
                    <a:lnTo>
                      <a:pt x="470" y="140"/>
                    </a:lnTo>
                    <a:lnTo>
                      <a:pt x="466" y="176"/>
                    </a:lnTo>
                    <a:lnTo>
                      <a:pt x="460" y="212"/>
                    </a:lnTo>
                    <a:lnTo>
                      <a:pt x="452" y="250"/>
                    </a:lnTo>
                    <a:lnTo>
                      <a:pt x="440" y="288"/>
                    </a:lnTo>
                    <a:lnTo>
                      <a:pt x="432" y="306"/>
                    </a:lnTo>
                    <a:lnTo>
                      <a:pt x="424" y="324"/>
                    </a:lnTo>
                    <a:lnTo>
                      <a:pt x="414" y="342"/>
                    </a:lnTo>
                    <a:lnTo>
                      <a:pt x="404" y="360"/>
                    </a:lnTo>
                    <a:lnTo>
                      <a:pt x="392" y="376"/>
                    </a:lnTo>
                    <a:lnTo>
                      <a:pt x="378" y="390"/>
                    </a:lnTo>
                    <a:lnTo>
                      <a:pt x="362" y="404"/>
                    </a:lnTo>
                    <a:lnTo>
                      <a:pt x="346" y="416"/>
                    </a:lnTo>
                    <a:lnTo>
                      <a:pt x="328" y="428"/>
                    </a:lnTo>
                    <a:lnTo>
                      <a:pt x="308" y="436"/>
                    </a:lnTo>
                    <a:lnTo>
                      <a:pt x="286" y="444"/>
                    </a:lnTo>
                    <a:lnTo>
                      <a:pt x="262" y="450"/>
                    </a:lnTo>
                    <a:lnTo>
                      <a:pt x="236" y="452"/>
                    </a:lnTo>
                    <a:lnTo>
                      <a:pt x="208" y="454"/>
                    </a:lnTo>
                    <a:lnTo>
                      <a:pt x="208" y="454"/>
                    </a:lnTo>
                    <a:lnTo>
                      <a:pt x="200" y="454"/>
                    </a:lnTo>
                    <a:lnTo>
                      <a:pt x="190" y="454"/>
                    </a:lnTo>
                    <a:lnTo>
                      <a:pt x="176" y="454"/>
                    </a:lnTo>
                    <a:lnTo>
                      <a:pt x="160" y="450"/>
                    </a:lnTo>
                    <a:lnTo>
                      <a:pt x="142" y="444"/>
                    </a:lnTo>
                    <a:lnTo>
                      <a:pt x="124" y="434"/>
                    </a:lnTo>
                    <a:lnTo>
                      <a:pt x="104" y="422"/>
                    </a:lnTo>
                    <a:lnTo>
                      <a:pt x="84" y="402"/>
                    </a:lnTo>
                    <a:lnTo>
                      <a:pt x="66" y="378"/>
                    </a:lnTo>
                    <a:lnTo>
                      <a:pt x="56" y="364"/>
                    </a:lnTo>
                    <a:lnTo>
                      <a:pt x="48" y="346"/>
                    </a:lnTo>
                    <a:lnTo>
                      <a:pt x="40" y="328"/>
                    </a:lnTo>
                    <a:lnTo>
                      <a:pt x="32" y="308"/>
                    </a:lnTo>
                    <a:lnTo>
                      <a:pt x="26" y="286"/>
                    </a:lnTo>
                    <a:lnTo>
                      <a:pt x="20" y="262"/>
                    </a:lnTo>
                    <a:lnTo>
                      <a:pt x="14" y="236"/>
                    </a:lnTo>
                    <a:lnTo>
                      <a:pt x="8" y="208"/>
                    </a:lnTo>
                    <a:lnTo>
                      <a:pt x="6" y="178"/>
                    </a:lnTo>
                    <a:lnTo>
                      <a:pt x="2" y="144"/>
                    </a:lnTo>
                    <a:lnTo>
                      <a:pt x="0" y="108"/>
                    </a:lnTo>
                    <a:lnTo>
                      <a:pt x="0" y="70"/>
                    </a:lnTo>
                    <a:lnTo>
                      <a:pt x="0" y="70"/>
                    </a:lnTo>
                    <a:close/>
                  </a:path>
                </a:pathLst>
              </a:custGeom>
              <a:solidFill>
                <a:schemeClr val="tx1">
                  <a:lumMod val="90000"/>
                  <a:lumOff val="1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0" name="Freeform 33"/>
              <p:cNvSpPr>
                <a:spLocks/>
              </p:cNvSpPr>
              <p:nvPr/>
            </p:nvSpPr>
            <p:spPr bwMode="auto">
              <a:xfrm>
                <a:off x="1523890" y="6240670"/>
                <a:ext cx="92985" cy="92985"/>
              </a:xfrm>
              <a:custGeom>
                <a:avLst/>
                <a:gdLst>
                  <a:gd name="T0" fmla="*/ 160 w 160"/>
                  <a:gd name="T1" fmla="*/ 80 h 160"/>
                  <a:gd name="T2" fmla="*/ 160 w 160"/>
                  <a:gd name="T3" fmla="*/ 80 h 160"/>
                  <a:gd name="T4" fmla="*/ 158 w 160"/>
                  <a:gd name="T5" fmla="*/ 96 h 160"/>
                  <a:gd name="T6" fmla="*/ 154 w 160"/>
                  <a:gd name="T7" fmla="*/ 112 h 160"/>
                  <a:gd name="T8" fmla="*/ 146 w 160"/>
                  <a:gd name="T9" fmla="*/ 124 h 160"/>
                  <a:gd name="T10" fmla="*/ 138 w 160"/>
                  <a:gd name="T11" fmla="*/ 136 h 160"/>
                  <a:gd name="T12" fmla="*/ 126 w 160"/>
                  <a:gd name="T13" fmla="*/ 146 h 160"/>
                  <a:gd name="T14" fmla="*/ 112 w 160"/>
                  <a:gd name="T15" fmla="*/ 154 h 160"/>
                  <a:gd name="T16" fmla="*/ 96 w 160"/>
                  <a:gd name="T17" fmla="*/ 158 h 160"/>
                  <a:gd name="T18" fmla="*/ 80 w 160"/>
                  <a:gd name="T19" fmla="*/ 160 h 160"/>
                  <a:gd name="T20" fmla="*/ 80 w 160"/>
                  <a:gd name="T21" fmla="*/ 160 h 160"/>
                  <a:gd name="T22" fmla="*/ 64 w 160"/>
                  <a:gd name="T23" fmla="*/ 158 h 160"/>
                  <a:gd name="T24" fmla="*/ 50 w 160"/>
                  <a:gd name="T25" fmla="*/ 154 h 160"/>
                  <a:gd name="T26" fmla="*/ 36 w 160"/>
                  <a:gd name="T27" fmla="*/ 146 h 160"/>
                  <a:gd name="T28" fmla="*/ 24 w 160"/>
                  <a:gd name="T29" fmla="*/ 136 h 160"/>
                  <a:gd name="T30" fmla="*/ 14 w 160"/>
                  <a:gd name="T31" fmla="*/ 124 h 160"/>
                  <a:gd name="T32" fmla="*/ 6 w 160"/>
                  <a:gd name="T33" fmla="*/ 112 h 160"/>
                  <a:gd name="T34" fmla="*/ 2 w 160"/>
                  <a:gd name="T35" fmla="*/ 96 h 160"/>
                  <a:gd name="T36" fmla="*/ 0 w 160"/>
                  <a:gd name="T37" fmla="*/ 80 h 160"/>
                  <a:gd name="T38" fmla="*/ 0 w 160"/>
                  <a:gd name="T39" fmla="*/ 80 h 160"/>
                  <a:gd name="T40" fmla="*/ 2 w 160"/>
                  <a:gd name="T41" fmla="*/ 64 h 160"/>
                  <a:gd name="T42" fmla="*/ 6 w 160"/>
                  <a:gd name="T43" fmla="*/ 48 h 160"/>
                  <a:gd name="T44" fmla="*/ 14 w 160"/>
                  <a:gd name="T45" fmla="*/ 36 h 160"/>
                  <a:gd name="T46" fmla="*/ 24 w 160"/>
                  <a:gd name="T47" fmla="*/ 24 h 160"/>
                  <a:gd name="T48" fmla="*/ 36 w 160"/>
                  <a:gd name="T49" fmla="*/ 14 h 160"/>
                  <a:gd name="T50" fmla="*/ 50 w 160"/>
                  <a:gd name="T51" fmla="*/ 6 h 160"/>
                  <a:gd name="T52" fmla="*/ 64 w 160"/>
                  <a:gd name="T53" fmla="*/ 2 h 160"/>
                  <a:gd name="T54" fmla="*/ 80 w 160"/>
                  <a:gd name="T55" fmla="*/ 0 h 160"/>
                  <a:gd name="T56" fmla="*/ 80 w 160"/>
                  <a:gd name="T57" fmla="*/ 0 h 160"/>
                  <a:gd name="T58" fmla="*/ 96 w 160"/>
                  <a:gd name="T59" fmla="*/ 2 h 160"/>
                  <a:gd name="T60" fmla="*/ 112 w 160"/>
                  <a:gd name="T61" fmla="*/ 6 h 160"/>
                  <a:gd name="T62" fmla="*/ 126 w 160"/>
                  <a:gd name="T63" fmla="*/ 14 h 160"/>
                  <a:gd name="T64" fmla="*/ 138 w 160"/>
                  <a:gd name="T65" fmla="*/ 24 h 160"/>
                  <a:gd name="T66" fmla="*/ 146 w 160"/>
                  <a:gd name="T67" fmla="*/ 36 h 160"/>
                  <a:gd name="T68" fmla="*/ 154 w 160"/>
                  <a:gd name="T69" fmla="*/ 48 h 160"/>
                  <a:gd name="T70" fmla="*/ 158 w 160"/>
                  <a:gd name="T71" fmla="*/ 64 h 160"/>
                  <a:gd name="T72" fmla="*/ 160 w 160"/>
                  <a:gd name="T73" fmla="*/ 80 h 160"/>
                  <a:gd name="T74" fmla="*/ 160 w 160"/>
                  <a:gd name="T75"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0">
                    <a:moveTo>
                      <a:pt x="160" y="80"/>
                    </a:moveTo>
                    <a:lnTo>
                      <a:pt x="160" y="80"/>
                    </a:lnTo>
                    <a:lnTo>
                      <a:pt x="158" y="96"/>
                    </a:lnTo>
                    <a:lnTo>
                      <a:pt x="154" y="112"/>
                    </a:lnTo>
                    <a:lnTo>
                      <a:pt x="146" y="124"/>
                    </a:lnTo>
                    <a:lnTo>
                      <a:pt x="138" y="136"/>
                    </a:lnTo>
                    <a:lnTo>
                      <a:pt x="126" y="146"/>
                    </a:lnTo>
                    <a:lnTo>
                      <a:pt x="112" y="154"/>
                    </a:lnTo>
                    <a:lnTo>
                      <a:pt x="96" y="158"/>
                    </a:lnTo>
                    <a:lnTo>
                      <a:pt x="80" y="160"/>
                    </a:lnTo>
                    <a:lnTo>
                      <a:pt x="80" y="160"/>
                    </a:lnTo>
                    <a:lnTo>
                      <a:pt x="64" y="158"/>
                    </a:lnTo>
                    <a:lnTo>
                      <a:pt x="50" y="154"/>
                    </a:lnTo>
                    <a:lnTo>
                      <a:pt x="36" y="146"/>
                    </a:lnTo>
                    <a:lnTo>
                      <a:pt x="24" y="136"/>
                    </a:lnTo>
                    <a:lnTo>
                      <a:pt x="14" y="124"/>
                    </a:lnTo>
                    <a:lnTo>
                      <a:pt x="6" y="112"/>
                    </a:lnTo>
                    <a:lnTo>
                      <a:pt x="2" y="96"/>
                    </a:lnTo>
                    <a:lnTo>
                      <a:pt x="0" y="80"/>
                    </a:lnTo>
                    <a:lnTo>
                      <a:pt x="0" y="80"/>
                    </a:lnTo>
                    <a:lnTo>
                      <a:pt x="2" y="64"/>
                    </a:lnTo>
                    <a:lnTo>
                      <a:pt x="6" y="48"/>
                    </a:lnTo>
                    <a:lnTo>
                      <a:pt x="14" y="36"/>
                    </a:lnTo>
                    <a:lnTo>
                      <a:pt x="24" y="24"/>
                    </a:lnTo>
                    <a:lnTo>
                      <a:pt x="36" y="14"/>
                    </a:lnTo>
                    <a:lnTo>
                      <a:pt x="50" y="6"/>
                    </a:lnTo>
                    <a:lnTo>
                      <a:pt x="64" y="2"/>
                    </a:lnTo>
                    <a:lnTo>
                      <a:pt x="80" y="0"/>
                    </a:lnTo>
                    <a:lnTo>
                      <a:pt x="80" y="0"/>
                    </a:lnTo>
                    <a:lnTo>
                      <a:pt x="96" y="2"/>
                    </a:lnTo>
                    <a:lnTo>
                      <a:pt x="112" y="6"/>
                    </a:lnTo>
                    <a:lnTo>
                      <a:pt x="126" y="14"/>
                    </a:lnTo>
                    <a:lnTo>
                      <a:pt x="138" y="24"/>
                    </a:lnTo>
                    <a:lnTo>
                      <a:pt x="146" y="36"/>
                    </a:lnTo>
                    <a:lnTo>
                      <a:pt x="154" y="48"/>
                    </a:lnTo>
                    <a:lnTo>
                      <a:pt x="158" y="64"/>
                    </a:lnTo>
                    <a:lnTo>
                      <a:pt x="160" y="80"/>
                    </a:lnTo>
                    <a:lnTo>
                      <a:pt x="160" y="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861" name="Group 1860"/>
              <p:cNvGrpSpPr/>
              <p:nvPr/>
            </p:nvGrpSpPr>
            <p:grpSpPr>
              <a:xfrm>
                <a:off x="1673225" y="5537066"/>
                <a:ext cx="83330" cy="83330"/>
                <a:chOff x="7498080" y="3108960"/>
                <a:chExt cx="634366" cy="634366"/>
              </a:xfrm>
              <a:solidFill>
                <a:schemeClr val="accent1"/>
              </a:solidFill>
            </p:grpSpPr>
            <p:sp>
              <p:nvSpPr>
                <p:cNvPr id="1927" name="Freeform 177"/>
                <p:cNvSpPr>
                  <a:spLocks noEditPoints="1"/>
                </p:cNvSpPr>
                <p:nvPr/>
              </p:nvSpPr>
              <p:spPr bwMode="auto">
                <a:xfrm>
                  <a:off x="7498080" y="3108960"/>
                  <a:ext cx="634366" cy="634366"/>
                </a:xfrm>
                <a:custGeom>
                  <a:avLst/>
                  <a:gdLst>
                    <a:gd name="T0" fmla="*/ 357 w 666"/>
                    <a:gd name="T1" fmla="*/ 11 h 667"/>
                    <a:gd name="T2" fmla="*/ 352 w 666"/>
                    <a:gd name="T3" fmla="*/ 7 h 667"/>
                    <a:gd name="T4" fmla="*/ 340 w 666"/>
                    <a:gd name="T5" fmla="*/ 1 h 667"/>
                    <a:gd name="T6" fmla="*/ 327 w 666"/>
                    <a:gd name="T7" fmla="*/ 1 h 667"/>
                    <a:gd name="T8" fmla="*/ 315 w 666"/>
                    <a:gd name="T9" fmla="*/ 7 h 667"/>
                    <a:gd name="T10" fmla="*/ 11 w 666"/>
                    <a:gd name="T11" fmla="*/ 309 h 667"/>
                    <a:gd name="T12" fmla="*/ 6 w 666"/>
                    <a:gd name="T13" fmla="*/ 315 h 667"/>
                    <a:gd name="T14" fmla="*/ 1 w 666"/>
                    <a:gd name="T15" fmla="*/ 327 h 667"/>
                    <a:gd name="T16" fmla="*/ 1 w 666"/>
                    <a:gd name="T17" fmla="*/ 340 h 667"/>
                    <a:gd name="T18" fmla="*/ 6 w 666"/>
                    <a:gd name="T19" fmla="*/ 353 h 667"/>
                    <a:gd name="T20" fmla="*/ 310 w 666"/>
                    <a:gd name="T21" fmla="*/ 657 h 667"/>
                    <a:gd name="T22" fmla="*/ 315 w 666"/>
                    <a:gd name="T23" fmla="*/ 661 h 667"/>
                    <a:gd name="T24" fmla="*/ 327 w 666"/>
                    <a:gd name="T25" fmla="*/ 666 h 667"/>
                    <a:gd name="T26" fmla="*/ 340 w 666"/>
                    <a:gd name="T27" fmla="*/ 666 h 667"/>
                    <a:gd name="T28" fmla="*/ 352 w 666"/>
                    <a:gd name="T29" fmla="*/ 661 h 667"/>
                    <a:gd name="T30" fmla="*/ 657 w 666"/>
                    <a:gd name="T31" fmla="*/ 359 h 667"/>
                    <a:gd name="T32" fmla="*/ 661 w 666"/>
                    <a:gd name="T33" fmla="*/ 353 h 667"/>
                    <a:gd name="T34" fmla="*/ 666 w 666"/>
                    <a:gd name="T35" fmla="*/ 340 h 667"/>
                    <a:gd name="T36" fmla="*/ 666 w 666"/>
                    <a:gd name="T37" fmla="*/ 327 h 667"/>
                    <a:gd name="T38" fmla="*/ 661 w 666"/>
                    <a:gd name="T39" fmla="*/ 315 h 667"/>
                    <a:gd name="T40" fmla="*/ 582 w 666"/>
                    <a:gd name="T41" fmla="*/ 352 h 667"/>
                    <a:gd name="T42" fmla="*/ 353 w 666"/>
                    <a:gd name="T43" fmla="*/ 582 h 667"/>
                    <a:gd name="T44" fmla="*/ 345 w 666"/>
                    <a:gd name="T45" fmla="*/ 588 h 667"/>
                    <a:gd name="T46" fmla="*/ 335 w 666"/>
                    <a:gd name="T47" fmla="*/ 589 h 667"/>
                    <a:gd name="T48" fmla="*/ 325 w 666"/>
                    <a:gd name="T49" fmla="*/ 588 h 667"/>
                    <a:gd name="T50" fmla="*/ 316 w 666"/>
                    <a:gd name="T51" fmla="*/ 582 h 667"/>
                    <a:gd name="T52" fmla="*/ 87 w 666"/>
                    <a:gd name="T53" fmla="*/ 352 h 667"/>
                    <a:gd name="T54" fmla="*/ 81 w 666"/>
                    <a:gd name="T55" fmla="*/ 344 h 667"/>
                    <a:gd name="T56" fmla="*/ 79 w 666"/>
                    <a:gd name="T57" fmla="*/ 334 h 667"/>
                    <a:gd name="T58" fmla="*/ 81 w 666"/>
                    <a:gd name="T59" fmla="*/ 324 h 667"/>
                    <a:gd name="T60" fmla="*/ 87 w 666"/>
                    <a:gd name="T61" fmla="*/ 315 h 667"/>
                    <a:gd name="T62" fmla="*/ 316 w 666"/>
                    <a:gd name="T63" fmla="*/ 86 h 667"/>
                    <a:gd name="T64" fmla="*/ 325 w 666"/>
                    <a:gd name="T65" fmla="*/ 80 h 667"/>
                    <a:gd name="T66" fmla="*/ 335 w 666"/>
                    <a:gd name="T67" fmla="*/ 78 h 667"/>
                    <a:gd name="T68" fmla="*/ 345 w 666"/>
                    <a:gd name="T69" fmla="*/ 80 h 667"/>
                    <a:gd name="T70" fmla="*/ 353 w 666"/>
                    <a:gd name="T71" fmla="*/ 86 h 667"/>
                    <a:gd name="T72" fmla="*/ 582 w 666"/>
                    <a:gd name="T73" fmla="*/ 315 h 667"/>
                    <a:gd name="T74" fmla="*/ 588 w 666"/>
                    <a:gd name="T75" fmla="*/ 324 h 667"/>
                    <a:gd name="T76" fmla="*/ 590 w 666"/>
                    <a:gd name="T77" fmla="*/ 334 h 667"/>
                    <a:gd name="T78" fmla="*/ 588 w 666"/>
                    <a:gd name="T79" fmla="*/ 344 h 667"/>
                    <a:gd name="T80" fmla="*/ 582 w 666"/>
                    <a:gd name="T81" fmla="*/ 352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6" h="667">
                      <a:moveTo>
                        <a:pt x="657" y="309"/>
                      </a:moveTo>
                      <a:lnTo>
                        <a:pt x="357" y="11"/>
                      </a:lnTo>
                      <a:lnTo>
                        <a:pt x="357" y="11"/>
                      </a:lnTo>
                      <a:lnTo>
                        <a:pt x="352" y="7"/>
                      </a:lnTo>
                      <a:lnTo>
                        <a:pt x="346" y="3"/>
                      </a:lnTo>
                      <a:lnTo>
                        <a:pt x="340" y="1"/>
                      </a:lnTo>
                      <a:lnTo>
                        <a:pt x="334" y="0"/>
                      </a:lnTo>
                      <a:lnTo>
                        <a:pt x="327" y="1"/>
                      </a:lnTo>
                      <a:lnTo>
                        <a:pt x="321" y="3"/>
                      </a:lnTo>
                      <a:lnTo>
                        <a:pt x="315" y="7"/>
                      </a:lnTo>
                      <a:lnTo>
                        <a:pt x="310" y="11"/>
                      </a:lnTo>
                      <a:lnTo>
                        <a:pt x="11" y="309"/>
                      </a:lnTo>
                      <a:lnTo>
                        <a:pt x="11" y="309"/>
                      </a:lnTo>
                      <a:lnTo>
                        <a:pt x="6" y="315"/>
                      </a:lnTo>
                      <a:lnTo>
                        <a:pt x="3" y="321"/>
                      </a:lnTo>
                      <a:lnTo>
                        <a:pt x="1" y="327"/>
                      </a:lnTo>
                      <a:lnTo>
                        <a:pt x="0" y="334"/>
                      </a:lnTo>
                      <a:lnTo>
                        <a:pt x="1" y="340"/>
                      </a:lnTo>
                      <a:lnTo>
                        <a:pt x="3" y="347"/>
                      </a:lnTo>
                      <a:lnTo>
                        <a:pt x="6" y="353"/>
                      </a:lnTo>
                      <a:lnTo>
                        <a:pt x="11" y="359"/>
                      </a:lnTo>
                      <a:lnTo>
                        <a:pt x="310" y="657"/>
                      </a:lnTo>
                      <a:lnTo>
                        <a:pt x="310" y="657"/>
                      </a:lnTo>
                      <a:lnTo>
                        <a:pt x="315" y="661"/>
                      </a:lnTo>
                      <a:lnTo>
                        <a:pt x="321" y="664"/>
                      </a:lnTo>
                      <a:lnTo>
                        <a:pt x="327" y="666"/>
                      </a:lnTo>
                      <a:lnTo>
                        <a:pt x="334" y="667"/>
                      </a:lnTo>
                      <a:lnTo>
                        <a:pt x="340" y="666"/>
                      </a:lnTo>
                      <a:lnTo>
                        <a:pt x="346" y="664"/>
                      </a:lnTo>
                      <a:lnTo>
                        <a:pt x="352" y="661"/>
                      </a:lnTo>
                      <a:lnTo>
                        <a:pt x="357" y="657"/>
                      </a:lnTo>
                      <a:lnTo>
                        <a:pt x="657" y="359"/>
                      </a:lnTo>
                      <a:lnTo>
                        <a:pt x="657" y="359"/>
                      </a:lnTo>
                      <a:lnTo>
                        <a:pt x="661" y="353"/>
                      </a:lnTo>
                      <a:lnTo>
                        <a:pt x="664" y="347"/>
                      </a:lnTo>
                      <a:lnTo>
                        <a:pt x="666" y="340"/>
                      </a:lnTo>
                      <a:lnTo>
                        <a:pt x="666" y="334"/>
                      </a:lnTo>
                      <a:lnTo>
                        <a:pt x="666" y="327"/>
                      </a:lnTo>
                      <a:lnTo>
                        <a:pt x="664" y="321"/>
                      </a:lnTo>
                      <a:lnTo>
                        <a:pt x="661" y="315"/>
                      </a:lnTo>
                      <a:lnTo>
                        <a:pt x="657" y="309"/>
                      </a:lnTo>
                      <a:close/>
                      <a:moveTo>
                        <a:pt x="582" y="352"/>
                      </a:moveTo>
                      <a:lnTo>
                        <a:pt x="353" y="582"/>
                      </a:lnTo>
                      <a:lnTo>
                        <a:pt x="353" y="582"/>
                      </a:lnTo>
                      <a:lnTo>
                        <a:pt x="349" y="585"/>
                      </a:lnTo>
                      <a:lnTo>
                        <a:pt x="345" y="588"/>
                      </a:lnTo>
                      <a:lnTo>
                        <a:pt x="340" y="589"/>
                      </a:lnTo>
                      <a:lnTo>
                        <a:pt x="335" y="589"/>
                      </a:lnTo>
                      <a:lnTo>
                        <a:pt x="330" y="589"/>
                      </a:lnTo>
                      <a:lnTo>
                        <a:pt x="325" y="588"/>
                      </a:lnTo>
                      <a:lnTo>
                        <a:pt x="320" y="585"/>
                      </a:lnTo>
                      <a:lnTo>
                        <a:pt x="316" y="582"/>
                      </a:lnTo>
                      <a:lnTo>
                        <a:pt x="87" y="352"/>
                      </a:lnTo>
                      <a:lnTo>
                        <a:pt x="87" y="352"/>
                      </a:lnTo>
                      <a:lnTo>
                        <a:pt x="83" y="348"/>
                      </a:lnTo>
                      <a:lnTo>
                        <a:pt x="81" y="344"/>
                      </a:lnTo>
                      <a:lnTo>
                        <a:pt x="79" y="339"/>
                      </a:lnTo>
                      <a:lnTo>
                        <a:pt x="79" y="334"/>
                      </a:lnTo>
                      <a:lnTo>
                        <a:pt x="79" y="329"/>
                      </a:lnTo>
                      <a:lnTo>
                        <a:pt x="81" y="324"/>
                      </a:lnTo>
                      <a:lnTo>
                        <a:pt x="83" y="319"/>
                      </a:lnTo>
                      <a:lnTo>
                        <a:pt x="87" y="315"/>
                      </a:lnTo>
                      <a:lnTo>
                        <a:pt x="316" y="86"/>
                      </a:lnTo>
                      <a:lnTo>
                        <a:pt x="316" y="86"/>
                      </a:lnTo>
                      <a:lnTo>
                        <a:pt x="320" y="83"/>
                      </a:lnTo>
                      <a:lnTo>
                        <a:pt x="325" y="80"/>
                      </a:lnTo>
                      <a:lnTo>
                        <a:pt x="330" y="79"/>
                      </a:lnTo>
                      <a:lnTo>
                        <a:pt x="335" y="78"/>
                      </a:lnTo>
                      <a:lnTo>
                        <a:pt x="340" y="79"/>
                      </a:lnTo>
                      <a:lnTo>
                        <a:pt x="345" y="80"/>
                      </a:lnTo>
                      <a:lnTo>
                        <a:pt x="349" y="83"/>
                      </a:lnTo>
                      <a:lnTo>
                        <a:pt x="353" y="86"/>
                      </a:lnTo>
                      <a:lnTo>
                        <a:pt x="582" y="315"/>
                      </a:lnTo>
                      <a:lnTo>
                        <a:pt x="582" y="315"/>
                      </a:lnTo>
                      <a:lnTo>
                        <a:pt x="586" y="319"/>
                      </a:lnTo>
                      <a:lnTo>
                        <a:pt x="588" y="324"/>
                      </a:lnTo>
                      <a:lnTo>
                        <a:pt x="590" y="329"/>
                      </a:lnTo>
                      <a:lnTo>
                        <a:pt x="590" y="334"/>
                      </a:lnTo>
                      <a:lnTo>
                        <a:pt x="590" y="339"/>
                      </a:lnTo>
                      <a:lnTo>
                        <a:pt x="588" y="344"/>
                      </a:lnTo>
                      <a:lnTo>
                        <a:pt x="586" y="348"/>
                      </a:lnTo>
                      <a:lnTo>
                        <a:pt x="582" y="3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28" name="Freeform 180"/>
                <p:cNvSpPr>
                  <a:spLocks/>
                </p:cNvSpPr>
                <p:nvPr/>
              </p:nvSpPr>
              <p:spPr bwMode="auto">
                <a:xfrm>
                  <a:off x="7789545" y="3280410"/>
                  <a:ext cx="72390" cy="200026"/>
                </a:xfrm>
                <a:custGeom>
                  <a:avLst/>
                  <a:gdLst>
                    <a:gd name="T0" fmla="*/ 56 w 74"/>
                    <a:gd name="T1" fmla="*/ 211 h 211"/>
                    <a:gd name="T2" fmla="*/ 74 w 74"/>
                    <a:gd name="T3" fmla="*/ 80 h 211"/>
                    <a:gd name="T4" fmla="*/ 74 w 74"/>
                    <a:gd name="T5" fmla="*/ 0 h 211"/>
                    <a:gd name="T6" fmla="*/ 0 w 74"/>
                    <a:gd name="T7" fmla="*/ 0 h 211"/>
                    <a:gd name="T8" fmla="*/ 0 w 74"/>
                    <a:gd name="T9" fmla="*/ 80 h 211"/>
                    <a:gd name="T10" fmla="*/ 18 w 74"/>
                    <a:gd name="T11" fmla="*/ 211 h 211"/>
                    <a:gd name="T12" fmla="*/ 56 w 74"/>
                    <a:gd name="T13" fmla="*/ 211 h 211"/>
                  </a:gdLst>
                  <a:ahLst/>
                  <a:cxnLst>
                    <a:cxn ang="0">
                      <a:pos x="T0" y="T1"/>
                    </a:cxn>
                    <a:cxn ang="0">
                      <a:pos x="T2" y="T3"/>
                    </a:cxn>
                    <a:cxn ang="0">
                      <a:pos x="T4" y="T5"/>
                    </a:cxn>
                    <a:cxn ang="0">
                      <a:pos x="T6" y="T7"/>
                    </a:cxn>
                    <a:cxn ang="0">
                      <a:pos x="T8" y="T9"/>
                    </a:cxn>
                    <a:cxn ang="0">
                      <a:pos x="T10" y="T11"/>
                    </a:cxn>
                    <a:cxn ang="0">
                      <a:pos x="T12" y="T13"/>
                    </a:cxn>
                  </a:cxnLst>
                  <a:rect l="0" t="0" r="r" b="b"/>
                  <a:pathLst>
                    <a:path w="74" h="211">
                      <a:moveTo>
                        <a:pt x="56" y="211"/>
                      </a:moveTo>
                      <a:lnTo>
                        <a:pt x="74" y="80"/>
                      </a:lnTo>
                      <a:lnTo>
                        <a:pt x="74" y="0"/>
                      </a:lnTo>
                      <a:lnTo>
                        <a:pt x="0" y="0"/>
                      </a:lnTo>
                      <a:lnTo>
                        <a:pt x="0" y="80"/>
                      </a:lnTo>
                      <a:lnTo>
                        <a:pt x="18" y="211"/>
                      </a:lnTo>
                      <a:lnTo>
                        <a:pt x="5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29" name="Rectangle 181"/>
                <p:cNvSpPr>
                  <a:spLocks noChangeArrowheads="1"/>
                </p:cNvSpPr>
                <p:nvPr/>
              </p:nvSpPr>
              <p:spPr bwMode="auto">
                <a:xfrm>
                  <a:off x="7785735" y="3503296"/>
                  <a:ext cx="8001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862" name="Group 1861"/>
              <p:cNvGrpSpPr/>
              <p:nvPr/>
            </p:nvGrpSpPr>
            <p:grpSpPr>
              <a:xfrm>
                <a:off x="1447450" y="5850761"/>
                <a:ext cx="204314" cy="310061"/>
                <a:chOff x="2533864" y="-2671763"/>
                <a:chExt cx="1323976" cy="1660525"/>
              </a:xfrm>
              <a:solidFill>
                <a:schemeClr val="tx1">
                  <a:lumMod val="75000"/>
                  <a:lumOff val="25000"/>
                </a:schemeClr>
              </a:solidFill>
            </p:grpSpPr>
            <p:sp>
              <p:nvSpPr>
                <p:cNvPr id="1914" name="Freeform 7"/>
                <p:cNvSpPr>
                  <a:spLocks/>
                </p:cNvSpPr>
                <p:nvPr/>
              </p:nvSpPr>
              <p:spPr bwMode="auto">
                <a:xfrm>
                  <a:off x="3264114" y="-2671763"/>
                  <a:ext cx="587375" cy="603250"/>
                </a:xfrm>
                <a:custGeom>
                  <a:avLst/>
                  <a:gdLst>
                    <a:gd name="T0" fmla="*/ 736 w 740"/>
                    <a:gd name="T1" fmla="*/ 0 h 759"/>
                    <a:gd name="T2" fmla="*/ 740 w 740"/>
                    <a:gd name="T3" fmla="*/ 270 h 759"/>
                    <a:gd name="T4" fmla="*/ 0 w 740"/>
                    <a:gd name="T5" fmla="*/ 759 h 759"/>
                    <a:gd name="T6" fmla="*/ 0 w 740"/>
                    <a:gd name="T7" fmla="*/ 759 h 759"/>
                    <a:gd name="T8" fmla="*/ 1 w 740"/>
                    <a:gd name="T9" fmla="*/ 274 h 759"/>
                    <a:gd name="T10" fmla="*/ 1 w 740"/>
                    <a:gd name="T11" fmla="*/ 274 h 759"/>
                    <a:gd name="T12" fmla="*/ 187 w 740"/>
                    <a:gd name="T13" fmla="*/ 208 h 759"/>
                    <a:gd name="T14" fmla="*/ 374 w 740"/>
                    <a:gd name="T15" fmla="*/ 143 h 759"/>
                    <a:gd name="T16" fmla="*/ 466 w 740"/>
                    <a:gd name="T17" fmla="*/ 108 h 759"/>
                    <a:gd name="T18" fmla="*/ 557 w 740"/>
                    <a:gd name="T19" fmla="*/ 74 h 759"/>
                    <a:gd name="T20" fmla="*/ 646 w 740"/>
                    <a:gd name="T21" fmla="*/ 38 h 759"/>
                    <a:gd name="T22" fmla="*/ 736 w 740"/>
                    <a:gd name="T23" fmla="*/ 0 h 759"/>
                    <a:gd name="T24" fmla="*/ 736 w 740"/>
                    <a:gd name="T25" fmla="*/ 0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0" h="759">
                      <a:moveTo>
                        <a:pt x="736" y="0"/>
                      </a:moveTo>
                      <a:lnTo>
                        <a:pt x="740" y="270"/>
                      </a:lnTo>
                      <a:lnTo>
                        <a:pt x="0" y="759"/>
                      </a:lnTo>
                      <a:lnTo>
                        <a:pt x="0" y="759"/>
                      </a:lnTo>
                      <a:lnTo>
                        <a:pt x="1" y="274"/>
                      </a:lnTo>
                      <a:lnTo>
                        <a:pt x="1" y="274"/>
                      </a:lnTo>
                      <a:lnTo>
                        <a:pt x="187" y="208"/>
                      </a:lnTo>
                      <a:lnTo>
                        <a:pt x="374" y="143"/>
                      </a:lnTo>
                      <a:lnTo>
                        <a:pt x="466" y="108"/>
                      </a:lnTo>
                      <a:lnTo>
                        <a:pt x="557" y="74"/>
                      </a:lnTo>
                      <a:lnTo>
                        <a:pt x="646" y="38"/>
                      </a:lnTo>
                      <a:lnTo>
                        <a:pt x="736" y="0"/>
                      </a:lnTo>
                      <a:lnTo>
                        <a:pt x="7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15" name="Freeform 8"/>
                <p:cNvSpPr>
                  <a:spLocks/>
                </p:cNvSpPr>
                <p:nvPr/>
              </p:nvSpPr>
              <p:spPr bwMode="auto">
                <a:xfrm>
                  <a:off x="2533864" y="-2662238"/>
                  <a:ext cx="631825" cy="593725"/>
                </a:xfrm>
                <a:custGeom>
                  <a:avLst/>
                  <a:gdLst>
                    <a:gd name="T0" fmla="*/ 0 w 796"/>
                    <a:gd name="T1" fmla="*/ 0 h 747"/>
                    <a:gd name="T2" fmla="*/ 0 w 796"/>
                    <a:gd name="T3" fmla="*/ 0 h 747"/>
                    <a:gd name="T4" fmla="*/ 197 w 796"/>
                    <a:gd name="T5" fmla="*/ 74 h 747"/>
                    <a:gd name="T6" fmla="*/ 393 w 796"/>
                    <a:gd name="T7" fmla="*/ 148 h 747"/>
                    <a:gd name="T8" fmla="*/ 492 w 796"/>
                    <a:gd name="T9" fmla="*/ 184 h 747"/>
                    <a:gd name="T10" fmla="*/ 593 w 796"/>
                    <a:gd name="T11" fmla="*/ 219 h 747"/>
                    <a:gd name="T12" fmla="*/ 693 w 796"/>
                    <a:gd name="T13" fmla="*/ 254 h 747"/>
                    <a:gd name="T14" fmla="*/ 796 w 796"/>
                    <a:gd name="T15" fmla="*/ 287 h 747"/>
                    <a:gd name="T16" fmla="*/ 796 w 796"/>
                    <a:gd name="T17" fmla="*/ 287 h 747"/>
                    <a:gd name="T18" fmla="*/ 796 w 796"/>
                    <a:gd name="T19" fmla="*/ 747 h 747"/>
                    <a:gd name="T20" fmla="*/ 796 w 796"/>
                    <a:gd name="T21" fmla="*/ 747 h 747"/>
                    <a:gd name="T22" fmla="*/ 595 w 796"/>
                    <a:gd name="T23" fmla="*/ 714 h 747"/>
                    <a:gd name="T24" fmla="*/ 397 w 796"/>
                    <a:gd name="T25" fmla="*/ 680 h 747"/>
                    <a:gd name="T26" fmla="*/ 198 w 796"/>
                    <a:gd name="T27" fmla="*/ 645 h 747"/>
                    <a:gd name="T28" fmla="*/ 0 w 796"/>
                    <a:gd name="T29" fmla="*/ 610 h 747"/>
                    <a:gd name="T30" fmla="*/ 0 w 796"/>
                    <a:gd name="T31" fmla="*/ 610 h 747"/>
                    <a:gd name="T32" fmla="*/ 0 w 796"/>
                    <a:gd name="T33" fmla="*/ 0 h 747"/>
                    <a:gd name="T34" fmla="*/ 0 w 796"/>
                    <a:gd name="T35"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6" h="747">
                      <a:moveTo>
                        <a:pt x="0" y="0"/>
                      </a:moveTo>
                      <a:lnTo>
                        <a:pt x="0" y="0"/>
                      </a:lnTo>
                      <a:lnTo>
                        <a:pt x="197" y="74"/>
                      </a:lnTo>
                      <a:lnTo>
                        <a:pt x="393" y="148"/>
                      </a:lnTo>
                      <a:lnTo>
                        <a:pt x="492" y="184"/>
                      </a:lnTo>
                      <a:lnTo>
                        <a:pt x="593" y="219"/>
                      </a:lnTo>
                      <a:lnTo>
                        <a:pt x="693" y="254"/>
                      </a:lnTo>
                      <a:lnTo>
                        <a:pt x="796" y="287"/>
                      </a:lnTo>
                      <a:lnTo>
                        <a:pt x="796" y="287"/>
                      </a:lnTo>
                      <a:lnTo>
                        <a:pt x="796" y="747"/>
                      </a:lnTo>
                      <a:lnTo>
                        <a:pt x="796" y="747"/>
                      </a:lnTo>
                      <a:lnTo>
                        <a:pt x="595" y="714"/>
                      </a:lnTo>
                      <a:lnTo>
                        <a:pt x="397" y="680"/>
                      </a:lnTo>
                      <a:lnTo>
                        <a:pt x="198" y="645"/>
                      </a:lnTo>
                      <a:lnTo>
                        <a:pt x="0" y="610"/>
                      </a:lnTo>
                      <a:lnTo>
                        <a:pt x="0" y="61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16" name="Freeform 10"/>
                <p:cNvSpPr>
                  <a:spLocks/>
                </p:cNvSpPr>
                <p:nvPr/>
              </p:nvSpPr>
              <p:spPr bwMode="auto">
                <a:xfrm>
                  <a:off x="3275227" y="-1890713"/>
                  <a:ext cx="1588" cy="3175"/>
                </a:xfrm>
                <a:custGeom>
                  <a:avLst/>
                  <a:gdLst>
                    <a:gd name="T0" fmla="*/ 0 w 3"/>
                    <a:gd name="T1" fmla="*/ 5 h 5"/>
                    <a:gd name="T2" fmla="*/ 3 w 3"/>
                    <a:gd name="T3" fmla="*/ 4 h 5"/>
                    <a:gd name="T4" fmla="*/ 3 w 3"/>
                    <a:gd name="T5" fmla="*/ 4 h 5"/>
                    <a:gd name="T6" fmla="*/ 3 w 3"/>
                    <a:gd name="T7" fmla="*/ 0 h 5"/>
                    <a:gd name="T8" fmla="*/ 0 w 3"/>
                    <a:gd name="T9" fmla="*/ 5 h 5"/>
                    <a:gd name="T10" fmla="*/ 0 w 3"/>
                    <a:gd name="T11" fmla="*/ 5 h 5"/>
                  </a:gdLst>
                  <a:ahLst/>
                  <a:cxnLst>
                    <a:cxn ang="0">
                      <a:pos x="T0" y="T1"/>
                    </a:cxn>
                    <a:cxn ang="0">
                      <a:pos x="T2" y="T3"/>
                    </a:cxn>
                    <a:cxn ang="0">
                      <a:pos x="T4" y="T5"/>
                    </a:cxn>
                    <a:cxn ang="0">
                      <a:pos x="T6" y="T7"/>
                    </a:cxn>
                    <a:cxn ang="0">
                      <a:pos x="T8" y="T9"/>
                    </a:cxn>
                    <a:cxn ang="0">
                      <a:pos x="T10" y="T11"/>
                    </a:cxn>
                  </a:cxnLst>
                  <a:rect l="0" t="0" r="r" b="b"/>
                  <a:pathLst>
                    <a:path w="3" h="5">
                      <a:moveTo>
                        <a:pt x="0" y="5"/>
                      </a:moveTo>
                      <a:lnTo>
                        <a:pt x="3" y="4"/>
                      </a:lnTo>
                      <a:lnTo>
                        <a:pt x="3" y="4"/>
                      </a:lnTo>
                      <a:lnTo>
                        <a:pt x="3" y="0"/>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17" name="Freeform 11"/>
                <p:cNvSpPr>
                  <a:spLocks/>
                </p:cNvSpPr>
                <p:nvPr/>
              </p:nvSpPr>
              <p:spPr bwMode="auto">
                <a:xfrm>
                  <a:off x="3264114" y="-2325688"/>
                  <a:ext cx="593725" cy="503238"/>
                </a:xfrm>
                <a:custGeom>
                  <a:avLst/>
                  <a:gdLst>
                    <a:gd name="T0" fmla="*/ 736 w 748"/>
                    <a:gd name="T1" fmla="*/ 0 h 634"/>
                    <a:gd name="T2" fmla="*/ 17 w 748"/>
                    <a:gd name="T3" fmla="*/ 551 h 634"/>
                    <a:gd name="T4" fmla="*/ 17 w 748"/>
                    <a:gd name="T5" fmla="*/ 551 h 634"/>
                    <a:gd name="T6" fmla="*/ 12 w 748"/>
                    <a:gd name="T7" fmla="*/ 565 h 634"/>
                    <a:gd name="T8" fmla="*/ 6 w 748"/>
                    <a:gd name="T9" fmla="*/ 588 h 634"/>
                    <a:gd name="T10" fmla="*/ 1 w 748"/>
                    <a:gd name="T11" fmla="*/ 614 h 634"/>
                    <a:gd name="T12" fmla="*/ 0 w 748"/>
                    <a:gd name="T13" fmla="*/ 626 h 634"/>
                    <a:gd name="T14" fmla="*/ 1 w 748"/>
                    <a:gd name="T15" fmla="*/ 634 h 634"/>
                    <a:gd name="T16" fmla="*/ 1 w 748"/>
                    <a:gd name="T17" fmla="*/ 634 h 634"/>
                    <a:gd name="T18" fmla="*/ 125 w 748"/>
                    <a:gd name="T19" fmla="*/ 565 h 634"/>
                    <a:gd name="T20" fmla="*/ 380 w 748"/>
                    <a:gd name="T21" fmla="*/ 420 h 634"/>
                    <a:gd name="T22" fmla="*/ 748 w 748"/>
                    <a:gd name="T23" fmla="*/ 212 h 634"/>
                    <a:gd name="T24" fmla="*/ 736 w 748"/>
                    <a:gd name="T25"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8" h="634">
                      <a:moveTo>
                        <a:pt x="736" y="0"/>
                      </a:moveTo>
                      <a:lnTo>
                        <a:pt x="17" y="551"/>
                      </a:lnTo>
                      <a:lnTo>
                        <a:pt x="17" y="551"/>
                      </a:lnTo>
                      <a:lnTo>
                        <a:pt x="12" y="565"/>
                      </a:lnTo>
                      <a:lnTo>
                        <a:pt x="6" y="588"/>
                      </a:lnTo>
                      <a:lnTo>
                        <a:pt x="1" y="614"/>
                      </a:lnTo>
                      <a:lnTo>
                        <a:pt x="0" y="626"/>
                      </a:lnTo>
                      <a:lnTo>
                        <a:pt x="1" y="634"/>
                      </a:lnTo>
                      <a:lnTo>
                        <a:pt x="1" y="634"/>
                      </a:lnTo>
                      <a:lnTo>
                        <a:pt x="125" y="565"/>
                      </a:lnTo>
                      <a:lnTo>
                        <a:pt x="380" y="420"/>
                      </a:lnTo>
                      <a:lnTo>
                        <a:pt x="748" y="212"/>
                      </a:lnTo>
                      <a:lnTo>
                        <a:pt x="7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18" name="Freeform 12"/>
                <p:cNvSpPr>
                  <a:spLocks/>
                </p:cNvSpPr>
                <p:nvPr/>
              </p:nvSpPr>
              <p:spPr bwMode="auto">
                <a:xfrm>
                  <a:off x="3668927" y="-2049463"/>
                  <a:ext cx="188913" cy="563563"/>
                </a:xfrm>
                <a:custGeom>
                  <a:avLst/>
                  <a:gdLst>
                    <a:gd name="T0" fmla="*/ 237 w 237"/>
                    <a:gd name="T1" fmla="*/ 610 h 709"/>
                    <a:gd name="T2" fmla="*/ 0 w 237"/>
                    <a:gd name="T3" fmla="*/ 709 h 709"/>
                    <a:gd name="T4" fmla="*/ 0 w 237"/>
                    <a:gd name="T5" fmla="*/ 709 h 709"/>
                    <a:gd name="T6" fmla="*/ 0 w 237"/>
                    <a:gd name="T7" fmla="*/ 124 h 709"/>
                    <a:gd name="T8" fmla="*/ 0 w 237"/>
                    <a:gd name="T9" fmla="*/ 124 h 709"/>
                    <a:gd name="T10" fmla="*/ 1 w 237"/>
                    <a:gd name="T11" fmla="*/ 125 h 709"/>
                    <a:gd name="T12" fmla="*/ 3 w 237"/>
                    <a:gd name="T13" fmla="*/ 125 h 709"/>
                    <a:gd name="T14" fmla="*/ 11 w 237"/>
                    <a:gd name="T15" fmla="*/ 123 h 709"/>
                    <a:gd name="T16" fmla="*/ 21 w 237"/>
                    <a:gd name="T17" fmla="*/ 118 h 709"/>
                    <a:gd name="T18" fmla="*/ 37 w 237"/>
                    <a:gd name="T19" fmla="*/ 112 h 709"/>
                    <a:gd name="T20" fmla="*/ 75 w 237"/>
                    <a:gd name="T21" fmla="*/ 92 h 709"/>
                    <a:gd name="T22" fmla="*/ 118 w 237"/>
                    <a:gd name="T23" fmla="*/ 69 h 709"/>
                    <a:gd name="T24" fmla="*/ 199 w 237"/>
                    <a:gd name="T25" fmla="*/ 21 h 709"/>
                    <a:gd name="T26" fmla="*/ 237 w 237"/>
                    <a:gd name="T27" fmla="*/ 0 h 709"/>
                    <a:gd name="T28" fmla="*/ 237 w 237"/>
                    <a:gd name="T29" fmla="*/ 61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 h="709">
                      <a:moveTo>
                        <a:pt x="237" y="610"/>
                      </a:moveTo>
                      <a:lnTo>
                        <a:pt x="0" y="709"/>
                      </a:lnTo>
                      <a:lnTo>
                        <a:pt x="0" y="709"/>
                      </a:lnTo>
                      <a:lnTo>
                        <a:pt x="0" y="124"/>
                      </a:lnTo>
                      <a:lnTo>
                        <a:pt x="0" y="124"/>
                      </a:lnTo>
                      <a:lnTo>
                        <a:pt x="1" y="125"/>
                      </a:lnTo>
                      <a:lnTo>
                        <a:pt x="3" y="125"/>
                      </a:lnTo>
                      <a:lnTo>
                        <a:pt x="11" y="123"/>
                      </a:lnTo>
                      <a:lnTo>
                        <a:pt x="21" y="118"/>
                      </a:lnTo>
                      <a:lnTo>
                        <a:pt x="37" y="112"/>
                      </a:lnTo>
                      <a:lnTo>
                        <a:pt x="75" y="92"/>
                      </a:lnTo>
                      <a:lnTo>
                        <a:pt x="118" y="69"/>
                      </a:lnTo>
                      <a:lnTo>
                        <a:pt x="199" y="21"/>
                      </a:lnTo>
                      <a:lnTo>
                        <a:pt x="237" y="0"/>
                      </a:lnTo>
                      <a:lnTo>
                        <a:pt x="237" y="6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19" name="Freeform 13"/>
                <p:cNvSpPr>
                  <a:spLocks/>
                </p:cNvSpPr>
                <p:nvPr/>
              </p:nvSpPr>
              <p:spPr bwMode="auto">
                <a:xfrm>
                  <a:off x="2533864" y="-2000251"/>
                  <a:ext cx="631825" cy="198438"/>
                </a:xfrm>
                <a:custGeom>
                  <a:avLst/>
                  <a:gdLst>
                    <a:gd name="T0" fmla="*/ 0 w 796"/>
                    <a:gd name="T1" fmla="*/ 0 h 250"/>
                    <a:gd name="T2" fmla="*/ 0 w 796"/>
                    <a:gd name="T3" fmla="*/ 0 h 250"/>
                    <a:gd name="T4" fmla="*/ 99 w 796"/>
                    <a:gd name="T5" fmla="*/ 16 h 250"/>
                    <a:gd name="T6" fmla="*/ 197 w 796"/>
                    <a:gd name="T7" fmla="*/ 34 h 250"/>
                    <a:gd name="T8" fmla="*/ 392 w 796"/>
                    <a:gd name="T9" fmla="*/ 69 h 250"/>
                    <a:gd name="T10" fmla="*/ 490 w 796"/>
                    <a:gd name="T11" fmla="*/ 86 h 250"/>
                    <a:gd name="T12" fmla="*/ 590 w 796"/>
                    <a:gd name="T13" fmla="*/ 101 h 250"/>
                    <a:gd name="T14" fmla="*/ 692 w 796"/>
                    <a:gd name="T15" fmla="*/ 114 h 250"/>
                    <a:gd name="T16" fmla="*/ 744 w 796"/>
                    <a:gd name="T17" fmla="*/ 120 h 250"/>
                    <a:gd name="T18" fmla="*/ 796 w 796"/>
                    <a:gd name="T19" fmla="*/ 125 h 250"/>
                    <a:gd name="T20" fmla="*/ 796 w 796"/>
                    <a:gd name="T21" fmla="*/ 125 h 250"/>
                    <a:gd name="T22" fmla="*/ 796 w 796"/>
                    <a:gd name="T23" fmla="*/ 250 h 250"/>
                    <a:gd name="T24" fmla="*/ 796 w 796"/>
                    <a:gd name="T25" fmla="*/ 250 h 250"/>
                    <a:gd name="T26" fmla="*/ 698 w 796"/>
                    <a:gd name="T27" fmla="*/ 230 h 250"/>
                    <a:gd name="T28" fmla="*/ 601 w 796"/>
                    <a:gd name="T29" fmla="*/ 211 h 250"/>
                    <a:gd name="T30" fmla="*/ 505 w 796"/>
                    <a:gd name="T31" fmla="*/ 192 h 250"/>
                    <a:gd name="T32" fmla="*/ 406 w 796"/>
                    <a:gd name="T33" fmla="*/ 172 h 250"/>
                    <a:gd name="T34" fmla="*/ 308 w 796"/>
                    <a:gd name="T35" fmla="*/ 154 h 250"/>
                    <a:gd name="T36" fmla="*/ 208 w 796"/>
                    <a:gd name="T37" fmla="*/ 137 h 250"/>
                    <a:gd name="T38" fmla="*/ 157 w 796"/>
                    <a:gd name="T39" fmla="*/ 130 h 250"/>
                    <a:gd name="T40" fmla="*/ 105 w 796"/>
                    <a:gd name="T41" fmla="*/ 124 h 250"/>
                    <a:gd name="T42" fmla="*/ 53 w 796"/>
                    <a:gd name="T43" fmla="*/ 118 h 250"/>
                    <a:gd name="T44" fmla="*/ 0 w 796"/>
                    <a:gd name="T45" fmla="*/ 113 h 250"/>
                    <a:gd name="T46" fmla="*/ 0 w 796"/>
                    <a:gd name="T47" fmla="*/ 113 h 250"/>
                    <a:gd name="T48" fmla="*/ 0 w 796"/>
                    <a:gd name="T49" fmla="*/ 0 h 250"/>
                    <a:gd name="T50" fmla="*/ 0 w 796"/>
                    <a:gd name="T51"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6" h="250">
                      <a:moveTo>
                        <a:pt x="0" y="0"/>
                      </a:moveTo>
                      <a:lnTo>
                        <a:pt x="0" y="0"/>
                      </a:lnTo>
                      <a:lnTo>
                        <a:pt x="99" y="16"/>
                      </a:lnTo>
                      <a:lnTo>
                        <a:pt x="197" y="34"/>
                      </a:lnTo>
                      <a:lnTo>
                        <a:pt x="392" y="69"/>
                      </a:lnTo>
                      <a:lnTo>
                        <a:pt x="490" y="86"/>
                      </a:lnTo>
                      <a:lnTo>
                        <a:pt x="590" y="101"/>
                      </a:lnTo>
                      <a:lnTo>
                        <a:pt x="692" y="114"/>
                      </a:lnTo>
                      <a:lnTo>
                        <a:pt x="744" y="120"/>
                      </a:lnTo>
                      <a:lnTo>
                        <a:pt x="796" y="125"/>
                      </a:lnTo>
                      <a:lnTo>
                        <a:pt x="796" y="125"/>
                      </a:lnTo>
                      <a:lnTo>
                        <a:pt x="796" y="250"/>
                      </a:lnTo>
                      <a:lnTo>
                        <a:pt x="796" y="250"/>
                      </a:lnTo>
                      <a:lnTo>
                        <a:pt x="698" y="230"/>
                      </a:lnTo>
                      <a:lnTo>
                        <a:pt x="601" y="211"/>
                      </a:lnTo>
                      <a:lnTo>
                        <a:pt x="505" y="192"/>
                      </a:lnTo>
                      <a:lnTo>
                        <a:pt x="406" y="172"/>
                      </a:lnTo>
                      <a:lnTo>
                        <a:pt x="308" y="154"/>
                      </a:lnTo>
                      <a:lnTo>
                        <a:pt x="208" y="137"/>
                      </a:lnTo>
                      <a:lnTo>
                        <a:pt x="157" y="130"/>
                      </a:lnTo>
                      <a:lnTo>
                        <a:pt x="105" y="124"/>
                      </a:lnTo>
                      <a:lnTo>
                        <a:pt x="53" y="118"/>
                      </a:lnTo>
                      <a:lnTo>
                        <a:pt x="0" y="113"/>
                      </a:lnTo>
                      <a:lnTo>
                        <a:pt x="0" y="11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20" name="Freeform 15"/>
                <p:cNvSpPr>
                  <a:spLocks/>
                </p:cNvSpPr>
                <p:nvPr/>
              </p:nvSpPr>
              <p:spPr bwMode="auto">
                <a:xfrm>
                  <a:off x="3273639" y="-1911351"/>
                  <a:ext cx="319088" cy="593725"/>
                </a:xfrm>
                <a:custGeom>
                  <a:avLst/>
                  <a:gdLst>
                    <a:gd name="T0" fmla="*/ 387 w 402"/>
                    <a:gd name="T1" fmla="*/ 0 h 747"/>
                    <a:gd name="T2" fmla="*/ 387 w 402"/>
                    <a:gd name="T3" fmla="*/ 0 h 747"/>
                    <a:gd name="T4" fmla="*/ 392 w 402"/>
                    <a:gd name="T5" fmla="*/ 33 h 747"/>
                    <a:gd name="T6" fmla="*/ 396 w 402"/>
                    <a:gd name="T7" fmla="*/ 66 h 747"/>
                    <a:gd name="T8" fmla="*/ 398 w 402"/>
                    <a:gd name="T9" fmla="*/ 100 h 747"/>
                    <a:gd name="T10" fmla="*/ 401 w 402"/>
                    <a:gd name="T11" fmla="*/ 137 h 747"/>
                    <a:gd name="T12" fmla="*/ 402 w 402"/>
                    <a:gd name="T13" fmla="*/ 209 h 747"/>
                    <a:gd name="T14" fmla="*/ 401 w 402"/>
                    <a:gd name="T15" fmla="*/ 284 h 747"/>
                    <a:gd name="T16" fmla="*/ 398 w 402"/>
                    <a:gd name="T17" fmla="*/ 437 h 747"/>
                    <a:gd name="T18" fmla="*/ 398 w 402"/>
                    <a:gd name="T19" fmla="*/ 512 h 747"/>
                    <a:gd name="T20" fmla="*/ 399 w 402"/>
                    <a:gd name="T21" fmla="*/ 585 h 747"/>
                    <a:gd name="T22" fmla="*/ 1 w 402"/>
                    <a:gd name="T23" fmla="*/ 747 h 747"/>
                    <a:gd name="T24" fmla="*/ 1 w 402"/>
                    <a:gd name="T25" fmla="*/ 747 h 747"/>
                    <a:gd name="T26" fmla="*/ 0 w 402"/>
                    <a:gd name="T27" fmla="*/ 633 h 747"/>
                    <a:gd name="T28" fmla="*/ 1 w 402"/>
                    <a:gd name="T29" fmla="*/ 543 h 747"/>
                    <a:gd name="T30" fmla="*/ 4 w 402"/>
                    <a:gd name="T31" fmla="*/ 414 h 747"/>
                    <a:gd name="T32" fmla="*/ 4 w 402"/>
                    <a:gd name="T33" fmla="*/ 363 h 747"/>
                    <a:gd name="T34" fmla="*/ 5 w 402"/>
                    <a:gd name="T35" fmla="*/ 313 h 747"/>
                    <a:gd name="T36" fmla="*/ 4 w 402"/>
                    <a:gd name="T37" fmla="*/ 261 h 747"/>
                    <a:gd name="T38" fmla="*/ 1 w 402"/>
                    <a:gd name="T39" fmla="*/ 198 h 747"/>
                    <a:gd name="T40" fmla="*/ 1 w 402"/>
                    <a:gd name="T41" fmla="*/ 198 h 747"/>
                    <a:gd name="T42" fmla="*/ 50 w 402"/>
                    <a:gd name="T43" fmla="*/ 174 h 747"/>
                    <a:gd name="T44" fmla="*/ 98 w 402"/>
                    <a:gd name="T45" fmla="*/ 150 h 747"/>
                    <a:gd name="T46" fmla="*/ 197 w 402"/>
                    <a:gd name="T47" fmla="*/ 102 h 747"/>
                    <a:gd name="T48" fmla="*/ 246 w 402"/>
                    <a:gd name="T49" fmla="*/ 77 h 747"/>
                    <a:gd name="T50" fmla="*/ 294 w 402"/>
                    <a:gd name="T51" fmla="*/ 53 h 747"/>
                    <a:gd name="T52" fmla="*/ 341 w 402"/>
                    <a:gd name="T53" fmla="*/ 26 h 747"/>
                    <a:gd name="T54" fmla="*/ 387 w 402"/>
                    <a:gd name="T55" fmla="*/ 0 h 747"/>
                    <a:gd name="T56" fmla="*/ 387 w 402"/>
                    <a:gd name="T57"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2" h="747">
                      <a:moveTo>
                        <a:pt x="387" y="0"/>
                      </a:moveTo>
                      <a:lnTo>
                        <a:pt x="387" y="0"/>
                      </a:lnTo>
                      <a:lnTo>
                        <a:pt x="392" y="33"/>
                      </a:lnTo>
                      <a:lnTo>
                        <a:pt x="396" y="66"/>
                      </a:lnTo>
                      <a:lnTo>
                        <a:pt x="398" y="100"/>
                      </a:lnTo>
                      <a:lnTo>
                        <a:pt x="401" y="137"/>
                      </a:lnTo>
                      <a:lnTo>
                        <a:pt x="402" y="209"/>
                      </a:lnTo>
                      <a:lnTo>
                        <a:pt x="401" y="284"/>
                      </a:lnTo>
                      <a:lnTo>
                        <a:pt x="398" y="437"/>
                      </a:lnTo>
                      <a:lnTo>
                        <a:pt x="398" y="512"/>
                      </a:lnTo>
                      <a:lnTo>
                        <a:pt x="399" y="585"/>
                      </a:lnTo>
                      <a:lnTo>
                        <a:pt x="1" y="747"/>
                      </a:lnTo>
                      <a:lnTo>
                        <a:pt x="1" y="747"/>
                      </a:lnTo>
                      <a:lnTo>
                        <a:pt x="0" y="633"/>
                      </a:lnTo>
                      <a:lnTo>
                        <a:pt x="1" y="543"/>
                      </a:lnTo>
                      <a:lnTo>
                        <a:pt x="4" y="414"/>
                      </a:lnTo>
                      <a:lnTo>
                        <a:pt x="4" y="363"/>
                      </a:lnTo>
                      <a:lnTo>
                        <a:pt x="5" y="313"/>
                      </a:lnTo>
                      <a:lnTo>
                        <a:pt x="4" y="261"/>
                      </a:lnTo>
                      <a:lnTo>
                        <a:pt x="1" y="198"/>
                      </a:lnTo>
                      <a:lnTo>
                        <a:pt x="1" y="198"/>
                      </a:lnTo>
                      <a:lnTo>
                        <a:pt x="50" y="174"/>
                      </a:lnTo>
                      <a:lnTo>
                        <a:pt x="98" y="150"/>
                      </a:lnTo>
                      <a:lnTo>
                        <a:pt x="197" y="102"/>
                      </a:lnTo>
                      <a:lnTo>
                        <a:pt x="246" y="77"/>
                      </a:lnTo>
                      <a:lnTo>
                        <a:pt x="294" y="53"/>
                      </a:lnTo>
                      <a:lnTo>
                        <a:pt x="341" y="26"/>
                      </a:lnTo>
                      <a:lnTo>
                        <a:pt x="387" y="0"/>
                      </a:lnTo>
                      <a:lnTo>
                        <a:pt x="3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21" name="Freeform 16"/>
                <p:cNvSpPr>
                  <a:spLocks/>
                </p:cNvSpPr>
                <p:nvPr/>
              </p:nvSpPr>
              <p:spPr bwMode="auto">
                <a:xfrm>
                  <a:off x="2533864" y="-1822451"/>
                  <a:ext cx="376238" cy="444500"/>
                </a:xfrm>
                <a:custGeom>
                  <a:avLst/>
                  <a:gdLst>
                    <a:gd name="T0" fmla="*/ 0 w 473"/>
                    <a:gd name="T1" fmla="*/ 0 h 561"/>
                    <a:gd name="T2" fmla="*/ 0 w 473"/>
                    <a:gd name="T3" fmla="*/ 0 h 561"/>
                    <a:gd name="T4" fmla="*/ 122 w 473"/>
                    <a:gd name="T5" fmla="*/ 15 h 561"/>
                    <a:gd name="T6" fmla="*/ 182 w 473"/>
                    <a:gd name="T7" fmla="*/ 23 h 561"/>
                    <a:gd name="T8" fmla="*/ 242 w 473"/>
                    <a:gd name="T9" fmla="*/ 32 h 561"/>
                    <a:gd name="T10" fmla="*/ 301 w 473"/>
                    <a:gd name="T11" fmla="*/ 41 h 561"/>
                    <a:gd name="T12" fmla="*/ 359 w 473"/>
                    <a:gd name="T13" fmla="*/ 52 h 561"/>
                    <a:gd name="T14" fmla="*/ 416 w 473"/>
                    <a:gd name="T15" fmla="*/ 63 h 561"/>
                    <a:gd name="T16" fmla="*/ 473 w 473"/>
                    <a:gd name="T17" fmla="*/ 75 h 561"/>
                    <a:gd name="T18" fmla="*/ 473 w 473"/>
                    <a:gd name="T19" fmla="*/ 75 h 561"/>
                    <a:gd name="T20" fmla="*/ 473 w 473"/>
                    <a:gd name="T21" fmla="*/ 561 h 561"/>
                    <a:gd name="T22" fmla="*/ 473 w 473"/>
                    <a:gd name="T23" fmla="*/ 561 h 561"/>
                    <a:gd name="T24" fmla="*/ 357 w 473"/>
                    <a:gd name="T25" fmla="*/ 528 h 561"/>
                    <a:gd name="T26" fmla="*/ 239 w 473"/>
                    <a:gd name="T27" fmla="*/ 495 h 561"/>
                    <a:gd name="T28" fmla="*/ 120 w 473"/>
                    <a:gd name="T29" fmla="*/ 465 h 561"/>
                    <a:gd name="T30" fmla="*/ 0 w 473"/>
                    <a:gd name="T31" fmla="*/ 436 h 561"/>
                    <a:gd name="T32" fmla="*/ 0 w 473"/>
                    <a:gd name="T33" fmla="*/ 436 h 561"/>
                    <a:gd name="T34" fmla="*/ 0 w 473"/>
                    <a:gd name="T35" fmla="*/ 0 h 561"/>
                    <a:gd name="T36" fmla="*/ 0 w 473"/>
                    <a:gd name="T37"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3" h="561">
                      <a:moveTo>
                        <a:pt x="0" y="0"/>
                      </a:moveTo>
                      <a:lnTo>
                        <a:pt x="0" y="0"/>
                      </a:lnTo>
                      <a:lnTo>
                        <a:pt x="122" y="15"/>
                      </a:lnTo>
                      <a:lnTo>
                        <a:pt x="182" y="23"/>
                      </a:lnTo>
                      <a:lnTo>
                        <a:pt x="242" y="32"/>
                      </a:lnTo>
                      <a:lnTo>
                        <a:pt x="301" y="41"/>
                      </a:lnTo>
                      <a:lnTo>
                        <a:pt x="359" y="52"/>
                      </a:lnTo>
                      <a:lnTo>
                        <a:pt x="416" y="63"/>
                      </a:lnTo>
                      <a:lnTo>
                        <a:pt x="473" y="75"/>
                      </a:lnTo>
                      <a:lnTo>
                        <a:pt x="473" y="75"/>
                      </a:lnTo>
                      <a:lnTo>
                        <a:pt x="473" y="561"/>
                      </a:lnTo>
                      <a:lnTo>
                        <a:pt x="473" y="561"/>
                      </a:lnTo>
                      <a:lnTo>
                        <a:pt x="357" y="528"/>
                      </a:lnTo>
                      <a:lnTo>
                        <a:pt x="239" y="495"/>
                      </a:lnTo>
                      <a:lnTo>
                        <a:pt x="120" y="465"/>
                      </a:lnTo>
                      <a:lnTo>
                        <a:pt x="0" y="436"/>
                      </a:lnTo>
                      <a:lnTo>
                        <a:pt x="0" y="43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22" name="Freeform 18"/>
                <p:cNvSpPr>
                  <a:spLocks/>
                </p:cNvSpPr>
                <p:nvPr/>
              </p:nvSpPr>
              <p:spPr bwMode="auto">
                <a:xfrm>
                  <a:off x="2997414" y="-1743076"/>
                  <a:ext cx="168275" cy="434975"/>
                </a:xfrm>
                <a:custGeom>
                  <a:avLst/>
                  <a:gdLst>
                    <a:gd name="T0" fmla="*/ 0 w 212"/>
                    <a:gd name="T1" fmla="*/ 0 h 547"/>
                    <a:gd name="T2" fmla="*/ 0 w 212"/>
                    <a:gd name="T3" fmla="*/ 0 h 547"/>
                    <a:gd name="T4" fmla="*/ 26 w 212"/>
                    <a:gd name="T5" fmla="*/ 6 h 547"/>
                    <a:gd name="T6" fmla="*/ 53 w 212"/>
                    <a:gd name="T7" fmla="*/ 9 h 547"/>
                    <a:gd name="T8" fmla="*/ 80 w 212"/>
                    <a:gd name="T9" fmla="*/ 13 h 547"/>
                    <a:gd name="T10" fmla="*/ 108 w 212"/>
                    <a:gd name="T11" fmla="*/ 15 h 547"/>
                    <a:gd name="T12" fmla="*/ 137 w 212"/>
                    <a:gd name="T13" fmla="*/ 19 h 547"/>
                    <a:gd name="T14" fmla="*/ 164 w 212"/>
                    <a:gd name="T15" fmla="*/ 23 h 547"/>
                    <a:gd name="T16" fmla="*/ 189 w 212"/>
                    <a:gd name="T17" fmla="*/ 29 h 547"/>
                    <a:gd name="T18" fmla="*/ 201 w 212"/>
                    <a:gd name="T19" fmla="*/ 32 h 547"/>
                    <a:gd name="T20" fmla="*/ 212 w 212"/>
                    <a:gd name="T21" fmla="*/ 37 h 547"/>
                    <a:gd name="T22" fmla="*/ 212 w 212"/>
                    <a:gd name="T23" fmla="*/ 37 h 547"/>
                    <a:gd name="T24" fmla="*/ 212 w 212"/>
                    <a:gd name="T25" fmla="*/ 547 h 547"/>
                    <a:gd name="T26" fmla="*/ 212 w 212"/>
                    <a:gd name="T27" fmla="*/ 547 h 547"/>
                    <a:gd name="T28" fmla="*/ 188 w 212"/>
                    <a:gd name="T29" fmla="*/ 538 h 547"/>
                    <a:gd name="T30" fmla="*/ 163 w 212"/>
                    <a:gd name="T31" fmla="*/ 531 h 547"/>
                    <a:gd name="T32" fmla="*/ 137 w 212"/>
                    <a:gd name="T33" fmla="*/ 524 h 547"/>
                    <a:gd name="T34" fmla="*/ 111 w 212"/>
                    <a:gd name="T35" fmla="*/ 518 h 547"/>
                    <a:gd name="T36" fmla="*/ 56 w 212"/>
                    <a:gd name="T37" fmla="*/ 507 h 547"/>
                    <a:gd name="T38" fmla="*/ 0 w 212"/>
                    <a:gd name="T39" fmla="*/ 497 h 547"/>
                    <a:gd name="T40" fmla="*/ 0 w 212"/>
                    <a:gd name="T41" fmla="*/ 497 h 547"/>
                    <a:gd name="T42" fmla="*/ 0 w 212"/>
                    <a:gd name="T43" fmla="*/ 0 h 547"/>
                    <a:gd name="T44" fmla="*/ 0 w 212"/>
                    <a:gd name="T4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547">
                      <a:moveTo>
                        <a:pt x="0" y="0"/>
                      </a:moveTo>
                      <a:lnTo>
                        <a:pt x="0" y="0"/>
                      </a:lnTo>
                      <a:lnTo>
                        <a:pt x="26" y="6"/>
                      </a:lnTo>
                      <a:lnTo>
                        <a:pt x="53" y="9"/>
                      </a:lnTo>
                      <a:lnTo>
                        <a:pt x="80" y="13"/>
                      </a:lnTo>
                      <a:lnTo>
                        <a:pt x="108" y="15"/>
                      </a:lnTo>
                      <a:lnTo>
                        <a:pt x="137" y="19"/>
                      </a:lnTo>
                      <a:lnTo>
                        <a:pt x="164" y="23"/>
                      </a:lnTo>
                      <a:lnTo>
                        <a:pt x="189" y="29"/>
                      </a:lnTo>
                      <a:lnTo>
                        <a:pt x="201" y="32"/>
                      </a:lnTo>
                      <a:lnTo>
                        <a:pt x="212" y="37"/>
                      </a:lnTo>
                      <a:lnTo>
                        <a:pt x="212" y="37"/>
                      </a:lnTo>
                      <a:lnTo>
                        <a:pt x="212" y="547"/>
                      </a:lnTo>
                      <a:lnTo>
                        <a:pt x="212" y="547"/>
                      </a:lnTo>
                      <a:lnTo>
                        <a:pt x="188" y="538"/>
                      </a:lnTo>
                      <a:lnTo>
                        <a:pt x="163" y="531"/>
                      </a:lnTo>
                      <a:lnTo>
                        <a:pt x="137" y="524"/>
                      </a:lnTo>
                      <a:lnTo>
                        <a:pt x="111" y="518"/>
                      </a:lnTo>
                      <a:lnTo>
                        <a:pt x="56" y="507"/>
                      </a:lnTo>
                      <a:lnTo>
                        <a:pt x="0" y="497"/>
                      </a:lnTo>
                      <a:lnTo>
                        <a:pt x="0" y="49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23" name="Freeform 19"/>
                <p:cNvSpPr>
                  <a:spLocks/>
                </p:cNvSpPr>
                <p:nvPr/>
              </p:nvSpPr>
              <p:spPr bwMode="auto">
                <a:xfrm>
                  <a:off x="3668927" y="-1465263"/>
                  <a:ext cx="188913" cy="276225"/>
                </a:xfrm>
                <a:custGeom>
                  <a:avLst/>
                  <a:gdLst>
                    <a:gd name="T0" fmla="*/ 237 w 237"/>
                    <a:gd name="T1" fmla="*/ 262 h 349"/>
                    <a:gd name="T2" fmla="*/ 237 w 237"/>
                    <a:gd name="T3" fmla="*/ 262 h 349"/>
                    <a:gd name="T4" fmla="*/ 180 w 237"/>
                    <a:gd name="T5" fmla="*/ 286 h 349"/>
                    <a:gd name="T6" fmla="*/ 123 w 237"/>
                    <a:gd name="T7" fmla="*/ 310 h 349"/>
                    <a:gd name="T8" fmla="*/ 94 w 237"/>
                    <a:gd name="T9" fmla="*/ 321 h 349"/>
                    <a:gd name="T10" fmla="*/ 64 w 237"/>
                    <a:gd name="T11" fmla="*/ 331 h 349"/>
                    <a:gd name="T12" fmla="*/ 32 w 237"/>
                    <a:gd name="T13" fmla="*/ 341 h 349"/>
                    <a:gd name="T14" fmla="*/ 0 w 237"/>
                    <a:gd name="T15" fmla="*/ 349 h 349"/>
                    <a:gd name="T16" fmla="*/ 0 w 237"/>
                    <a:gd name="T17" fmla="*/ 349 h 349"/>
                    <a:gd name="T18" fmla="*/ 0 w 237"/>
                    <a:gd name="T19" fmla="*/ 100 h 349"/>
                    <a:gd name="T20" fmla="*/ 0 w 237"/>
                    <a:gd name="T21" fmla="*/ 100 h 349"/>
                    <a:gd name="T22" fmla="*/ 30 w 237"/>
                    <a:gd name="T23" fmla="*/ 90 h 349"/>
                    <a:gd name="T24" fmla="*/ 60 w 237"/>
                    <a:gd name="T25" fmla="*/ 79 h 349"/>
                    <a:gd name="T26" fmla="*/ 92 w 237"/>
                    <a:gd name="T27" fmla="*/ 67 h 349"/>
                    <a:gd name="T28" fmla="*/ 123 w 237"/>
                    <a:gd name="T29" fmla="*/ 54 h 349"/>
                    <a:gd name="T30" fmla="*/ 183 w 237"/>
                    <a:gd name="T31" fmla="*/ 26 h 349"/>
                    <a:gd name="T32" fmla="*/ 237 w 237"/>
                    <a:gd name="T33" fmla="*/ 0 h 349"/>
                    <a:gd name="T34" fmla="*/ 237 w 237"/>
                    <a:gd name="T35" fmla="*/ 26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349">
                      <a:moveTo>
                        <a:pt x="237" y="262"/>
                      </a:moveTo>
                      <a:lnTo>
                        <a:pt x="237" y="262"/>
                      </a:lnTo>
                      <a:lnTo>
                        <a:pt x="180" y="286"/>
                      </a:lnTo>
                      <a:lnTo>
                        <a:pt x="123" y="310"/>
                      </a:lnTo>
                      <a:lnTo>
                        <a:pt x="94" y="321"/>
                      </a:lnTo>
                      <a:lnTo>
                        <a:pt x="64" y="331"/>
                      </a:lnTo>
                      <a:lnTo>
                        <a:pt x="32" y="341"/>
                      </a:lnTo>
                      <a:lnTo>
                        <a:pt x="0" y="349"/>
                      </a:lnTo>
                      <a:lnTo>
                        <a:pt x="0" y="349"/>
                      </a:lnTo>
                      <a:lnTo>
                        <a:pt x="0" y="100"/>
                      </a:lnTo>
                      <a:lnTo>
                        <a:pt x="0" y="100"/>
                      </a:lnTo>
                      <a:lnTo>
                        <a:pt x="30" y="90"/>
                      </a:lnTo>
                      <a:lnTo>
                        <a:pt x="60" y="79"/>
                      </a:lnTo>
                      <a:lnTo>
                        <a:pt x="92" y="67"/>
                      </a:lnTo>
                      <a:lnTo>
                        <a:pt x="123" y="54"/>
                      </a:lnTo>
                      <a:lnTo>
                        <a:pt x="183" y="26"/>
                      </a:lnTo>
                      <a:lnTo>
                        <a:pt x="237" y="0"/>
                      </a:lnTo>
                      <a:lnTo>
                        <a:pt x="237"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24" name="Freeform 20"/>
                <p:cNvSpPr>
                  <a:spLocks/>
                </p:cNvSpPr>
                <p:nvPr/>
              </p:nvSpPr>
              <p:spPr bwMode="auto">
                <a:xfrm>
                  <a:off x="2533864" y="-1377951"/>
                  <a:ext cx="376238" cy="268288"/>
                </a:xfrm>
                <a:custGeom>
                  <a:avLst/>
                  <a:gdLst>
                    <a:gd name="T0" fmla="*/ 0 w 473"/>
                    <a:gd name="T1" fmla="*/ 0 h 336"/>
                    <a:gd name="T2" fmla="*/ 0 w 473"/>
                    <a:gd name="T3" fmla="*/ 0 h 336"/>
                    <a:gd name="T4" fmla="*/ 31 w 473"/>
                    <a:gd name="T5" fmla="*/ 5 h 336"/>
                    <a:gd name="T6" fmla="*/ 63 w 473"/>
                    <a:gd name="T7" fmla="*/ 11 h 336"/>
                    <a:gd name="T8" fmla="*/ 92 w 473"/>
                    <a:gd name="T9" fmla="*/ 17 h 336"/>
                    <a:gd name="T10" fmla="*/ 122 w 473"/>
                    <a:gd name="T11" fmla="*/ 24 h 336"/>
                    <a:gd name="T12" fmla="*/ 180 w 473"/>
                    <a:gd name="T13" fmla="*/ 40 h 336"/>
                    <a:gd name="T14" fmla="*/ 237 w 473"/>
                    <a:gd name="T15" fmla="*/ 55 h 336"/>
                    <a:gd name="T16" fmla="*/ 293 w 473"/>
                    <a:gd name="T17" fmla="*/ 72 h 336"/>
                    <a:gd name="T18" fmla="*/ 351 w 473"/>
                    <a:gd name="T19" fmla="*/ 88 h 336"/>
                    <a:gd name="T20" fmla="*/ 380 w 473"/>
                    <a:gd name="T21" fmla="*/ 94 h 336"/>
                    <a:gd name="T22" fmla="*/ 410 w 473"/>
                    <a:gd name="T23" fmla="*/ 101 h 336"/>
                    <a:gd name="T24" fmla="*/ 442 w 473"/>
                    <a:gd name="T25" fmla="*/ 107 h 336"/>
                    <a:gd name="T26" fmla="*/ 473 w 473"/>
                    <a:gd name="T27" fmla="*/ 112 h 336"/>
                    <a:gd name="T28" fmla="*/ 473 w 473"/>
                    <a:gd name="T29" fmla="*/ 112 h 336"/>
                    <a:gd name="T30" fmla="*/ 473 w 473"/>
                    <a:gd name="T31" fmla="*/ 336 h 336"/>
                    <a:gd name="T32" fmla="*/ 473 w 473"/>
                    <a:gd name="T33" fmla="*/ 336 h 336"/>
                    <a:gd name="T34" fmla="*/ 411 w 473"/>
                    <a:gd name="T35" fmla="*/ 316 h 336"/>
                    <a:gd name="T36" fmla="*/ 352 w 473"/>
                    <a:gd name="T37" fmla="*/ 295 h 336"/>
                    <a:gd name="T38" fmla="*/ 291 w 473"/>
                    <a:gd name="T39" fmla="*/ 273 h 336"/>
                    <a:gd name="T40" fmla="*/ 233 w 473"/>
                    <a:gd name="T41" fmla="*/ 252 h 336"/>
                    <a:gd name="T42" fmla="*/ 116 w 473"/>
                    <a:gd name="T43" fmla="*/ 207 h 336"/>
                    <a:gd name="T44" fmla="*/ 0 w 473"/>
                    <a:gd name="T45" fmla="*/ 162 h 336"/>
                    <a:gd name="T46" fmla="*/ 0 w 473"/>
                    <a:gd name="T47" fmla="*/ 162 h 336"/>
                    <a:gd name="T48" fmla="*/ 0 w 473"/>
                    <a:gd name="T49" fmla="*/ 0 h 336"/>
                    <a:gd name="T50" fmla="*/ 0 w 473"/>
                    <a:gd name="T5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3" h="336">
                      <a:moveTo>
                        <a:pt x="0" y="0"/>
                      </a:moveTo>
                      <a:lnTo>
                        <a:pt x="0" y="0"/>
                      </a:lnTo>
                      <a:lnTo>
                        <a:pt x="31" y="5"/>
                      </a:lnTo>
                      <a:lnTo>
                        <a:pt x="63" y="11"/>
                      </a:lnTo>
                      <a:lnTo>
                        <a:pt x="92" y="17"/>
                      </a:lnTo>
                      <a:lnTo>
                        <a:pt x="122" y="24"/>
                      </a:lnTo>
                      <a:lnTo>
                        <a:pt x="180" y="40"/>
                      </a:lnTo>
                      <a:lnTo>
                        <a:pt x="237" y="55"/>
                      </a:lnTo>
                      <a:lnTo>
                        <a:pt x="293" y="72"/>
                      </a:lnTo>
                      <a:lnTo>
                        <a:pt x="351" y="88"/>
                      </a:lnTo>
                      <a:lnTo>
                        <a:pt x="380" y="94"/>
                      </a:lnTo>
                      <a:lnTo>
                        <a:pt x="410" y="101"/>
                      </a:lnTo>
                      <a:lnTo>
                        <a:pt x="442" y="107"/>
                      </a:lnTo>
                      <a:lnTo>
                        <a:pt x="473" y="112"/>
                      </a:lnTo>
                      <a:lnTo>
                        <a:pt x="473" y="112"/>
                      </a:lnTo>
                      <a:lnTo>
                        <a:pt x="473" y="336"/>
                      </a:lnTo>
                      <a:lnTo>
                        <a:pt x="473" y="336"/>
                      </a:lnTo>
                      <a:lnTo>
                        <a:pt x="411" y="316"/>
                      </a:lnTo>
                      <a:lnTo>
                        <a:pt x="352" y="295"/>
                      </a:lnTo>
                      <a:lnTo>
                        <a:pt x="291" y="273"/>
                      </a:lnTo>
                      <a:lnTo>
                        <a:pt x="233" y="252"/>
                      </a:lnTo>
                      <a:lnTo>
                        <a:pt x="116" y="207"/>
                      </a:lnTo>
                      <a:lnTo>
                        <a:pt x="0" y="162"/>
                      </a:lnTo>
                      <a:lnTo>
                        <a:pt x="0" y="16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25" name="Freeform 22"/>
                <p:cNvSpPr>
                  <a:spLocks/>
                </p:cNvSpPr>
                <p:nvPr/>
              </p:nvSpPr>
              <p:spPr bwMode="auto">
                <a:xfrm>
                  <a:off x="3275227" y="-1347788"/>
                  <a:ext cx="315913" cy="325438"/>
                </a:xfrm>
                <a:custGeom>
                  <a:avLst/>
                  <a:gdLst>
                    <a:gd name="T0" fmla="*/ 398 w 398"/>
                    <a:gd name="T1" fmla="*/ 0 h 411"/>
                    <a:gd name="T2" fmla="*/ 398 w 398"/>
                    <a:gd name="T3" fmla="*/ 0 h 411"/>
                    <a:gd name="T4" fmla="*/ 398 w 398"/>
                    <a:gd name="T5" fmla="*/ 262 h 411"/>
                    <a:gd name="T6" fmla="*/ 398 w 398"/>
                    <a:gd name="T7" fmla="*/ 262 h 411"/>
                    <a:gd name="T8" fmla="*/ 299 w 398"/>
                    <a:gd name="T9" fmla="*/ 296 h 411"/>
                    <a:gd name="T10" fmla="*/ 250 w 398"/>
                    <a:gd name="T11" fmla="*/ 313 h 411"/>
                    <a:gd name="T12" fmla="*/ 200 w 398"/>
                    <a:gd name="T13" fmla="*/ 331 h 411"/>
                    <a:gd name="T14" fmla="*/ 151 w 398"/>
                    <a:gd name="T15" fmla="*/ 350 h 411"/>
                    <a:gd name="T16" fmla="*/ 104 w 398"/>
                    <a:gd name="T17" fmla="*/ 370 h 411"/>
                    <a:gd name="T18" fmla="*/ 58 w 398"/>
                    <a:gd name="T19" fmla="*/ 390 h 411"/>
                    <a:gd name="T20" fmla="*/ 12 w 398"/>
                    <a:gd name="T21" fmla="*/ 411 h 411"/>
                    <a:gd name="T22" fmla="*/ 12 w 398"/>
                    <a:gd name="T23" fmla="*/ 411 h 411"/>
                    <a:gd name="T24" fmla="*/ 10 w 398"/>
                    <a:gd name="T25" fmla="*/ 307 h 411"/>
                    <a:gd name="T26" fmla="*/ 6 w 398"/>
                    <a:gd name="T27" fmla="*/ 217 h 411"/>
                    <a:gd name="T28" fmla="*/ 3 w 398"/>
                    <a:gd name="T29" fmla="*/ 175 h 411"/>
                    <a:gd name="T30" fmla="*/ 0 w 398"/>
                    <a:gd name="T31" fmla="*/ 137 h 411"/>
                    <a:gd name="T32" fmla="*/ 0 w 398"/>
                    <a:gd name="T33" fmla="*/ 137 h 411"/>
                    <a:gd name="T34" fmla="*/ 50 w 398"/>
                    <a:gd name="T35" fmla="*/ 120 h 411"/>
                    <a:gd name="T36" fmla="*/ 99 w 398"/>
                    <a:gd name="T37" fmla="*/ 102 h 411"/>
                    <a:gd name="T38" fmla="*/ 196 w 398"/>
                    <a:gd name="T39" fmla="*/ 66 h 411"/>
                    <a:gd name="T40" fmla="*/ 246 w 398"/>
                    <a:gd name="T41" fmla="*/ 47 h 411"/>
                    <a:gd name="T42" fmla="*/ 296 w 398"/>
                    <a:gd name="T43" fmla="*/ 31 h 411"/>
                    <a:gd name="T44" fmla="*/ 346 w 398"/>
                    <a:gd name="T45" fmla="*/ 15 h 411"/>
                    <a:gd name="T46" fmla="*/ 398 w 398"/>
                    <a:gd name="T47" fmla="*/ 0 h 411"/>
                    <a:gd name="T48" fmla="*/ 398 w 398"/>
                    <a:gd name="T49"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8" h="411">
                      <a:moveTo>
                        <a:pt x="398" y="0"/>
                      </a:moveTo>
                      <a:lnTo>
                        <a:pt x="398" y="0"/>
                      </a:lnTo>
                      <a:lnTo>
                        <a:pt x="398" y="262"/>
                      </a:lnTo>
                      <a:lnTo>
                        <a:pt x="398" y="262"/>
                      </a:lnTo>
                      <a:lnTo>
                        <a:pt x="299" y="296"/>
                      </a:lnTo>
                      <a:lnTo>
                        <a:pt x="250" y="313"/>
                      </a:lnTo>
                      <a:lnTo>
                        <a:pt x="200" y="331"/>
                      </a:lnTo>
                      <a:lnTo>
                        <a:pt x="151" y="350"/>
                      </a:lnTo>
                      <a:lnTo>
                        <a:pt x="104" y="370"/>
                      </a:lnTo>
                      <a:lnTo>
                        <a:pt x="58" y="390"/>
                      </a:lnTo>
                      <a:lnTo>
                        <a:pt x="12" y="411"/>
                      </a:lnTo>
                      <a:lnTo>
                        <a:pt x="12" y="411"/>
                      </a:lnTo>
                      <a:lnTo>
                        <a:pt x="10" y="307"/>
                      </a:lnTo>
                      <a:lnTo>
                        <a:pt x="6" y="217"/>
                      </a:lnTo>
                      <a:lnTo>
                        <a:pt x="3" y="175"/>
                      </a:lnTo>
                      <a:lnTo>
                        <a:pt x="0" y="137"/>
                      </a:lnTo>
                      <a:lnTo>
                        <a:pt x="0" y="137"/>
                      </a:lnTo>
                      <a:lnTo>
                        <a:pt x="50" y="120"/>
                      </a:lnTo>
                      <a:lnTo>
                        <a:pt x="99" y="102"/>
                      </a:lnTo>
                      <a:lnTo>
                        <a:pt x="196" y="66"/>
                      </a:lnTo>
                      <a:lnTo>
                        <a:pt x="246" y="47"/>
                      </a:lnTo>
                      <a:lnTo>
                        <a:pt x="296" y="31"/>
                      </a:lnTo>
                      <a:lnTo>
                        <a:pt x="346" y="15"/>
                      </a:lnTo>
                      <a:lnTo>
                        <a:pt x="398" y="0"/>
                      </a:lnTo>
                      <a:lnTo>
                        <a:pt x="3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1926" name="Freeform 23"/>
                <p:cNvSpPr>
                  <a:spLocks/>
                </p:cNvSpPr>
                <p:nvPr/>
              </p:nvSpPr>
              <p:spPr bwMode="auto">
                <a:xfrm>
                  <a:off x="2997414" y="-1258888"/>
                  <a:ext cx="168275" cy="247650"/>
                </a:xfrm>
                <a:custGeom>
                  <a:avLst/>
                  <a:gdLst>
                    <a:gd name="T0" fmla="*/ 0 w 212"/>
                    <a:gd name="T1" fmla="*/ 0 h 311"/>
                    <a:gd name="T2" fmla="*/ 0 w 212"/>
                    <a:gd name="T3" fmla="*/ 0 h 311"/>
                    <a:gd name="T4" fmla="*/ 51 w 212"/>
                    <a:gd name="T5" fmla="*/ 14 h 311"/>
                    <a:gd name="T6" fmla="*/ 102 w 212"/>
                    <a:gd name="T7" fmla="*/ 29 h 311"/>
                    <a:gd name="T8" fmla="*/ 128 w 212"/>
                    <a:gd name="T9" fmla="*/ 35 h 311"/>
                    <a:gd name="T10" fmla="*/ 155 w 212"/>
                    <a:gd name="T11" fmla="*/ 41 h 311"/>
                    <a:gd name="T12" fmla="*/ 183 w 212"/>
                    <a:gd name="T13" fmla="*/ 46 h 311"/>
                    <a:gd name="T14" fmla="*/ 212 w 212"/>
                    <a:gd name="T15" fmla="*/ 50 h 311"/>
                    <a:gd name="T16" fmla="*/ 212 w 212"/>
                    <a:gd name="T17" fmla="*/ 50 h 311"/>
                    <a:gd name="T18" fmla="*/ 212 w 212"/>
                    <a:gd name="T19" fmla="*/ 311 h 311"/>
                    <a:gd name="T20" fmla="*/ 212 w 212"/>
                    <a:gd name="T21" fmla="*/ 311 h 311"/>
                    <a:gd name="T22" fmla="*/ 163 w 212"/>
                    <a:gd name="T23" fmla="*/ 292 h 311"/>
                    <a:gd name="T24" fmla="*/ 112 w 212"/>
                    <a:gd name="T25" fmla="*/ 275 h 311"/>
                    <a:gd name="T26" fmla="*/ 85 w 212"/>
                    <a:gd name="T27" fmla="*/ 266 h 311"/>
                    <a:gd name="T28" fmla="*/ 59 w 212"/>
                    <a:gd name="T29" fmla="*/ 259 h 311"/>
                    <a:gd name="T30" fmla="*/ 30 w 212"/>
                    <a:gd name="T31" fmla="*/ 253 h 311"/>
                    <a:gd name="T32" fmla="*/ 0 w 212"/>
                    <a:gd name="T33" fmla="*/ 248 h 311"/>
                    <a:gd name="T34" fmla="*/ 0 w 212"/>
                    <a:gd name="T35" fmla="*/ 248 h 311"/>
                    <a:gd name="T36" fmla="*/ 0 w 212"/>
                    <a:gd name="T37" fmla="*/ 0 h 311"/>
                    <a:gd name="T38" fmla="*/ 0 w 212"/>
                    <a:gd name="T3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2" h="311">
                      <a:moveTo>
                        <a:pt x="0" y="0"/>
                      </a:moveTo>
                      <a:lnTo>
                        <a:pt x="0" y="0"/>
                      </a:lnTo>
                      <a:lnTo>
                        <a:pt x="51" y="14"/>
                      </a:lnTo>
                      <a:lnTo>
                        <a:pt x="102" y="29"/>
                      </a:lnTo>
                      <a:lnTo>
                        <a:pt x="128" y="35"/>
                      </a:lnTo>
                      <a:lnTo>
                        <a:pt x="155" y="41"/>
                      </a:lnTo>
                      <a:lnTo>
                        <a:pt x="183" y="46"/>
                      </a:lnTo>
                      <a:lnTo>
                        <a:pt x="212" y="50"/>
                      </a:lnTo>
                      <a:lnTo>
                        <a:pt x="212" y="50"/>
                      </a:lnTo>
                      <a:lnTo>
                        <a:pt x="212" y="311"/>
                      </a:lnTo>
                      <a:lnTo>
                        <a:pt x="212" y="311"/>
                      </a:lnTo>
                      <a:lnTo>
                        <a:pt x="163" y="292"/>
                      </a:lnTo>
                      <a:lnTo>
                        <a:pt x="112" y="275"/>
                      </a:lnTo>
                      <a:lnTo>
                        <a:pt x="85" y="266"/>
                      </a:lnTo>
                      <a:lnTo>
                        <a:pt x="59" y="259"/>
                      </a:lnTo>
                      <a:lnTo>
                        <a:pt x="30" y="253"/>
                      </a:lnTo>
                      <a:lnTo>
                        <a:pt x="0" y="248"/>
                      </a:lnTo>
                      <a:lnTo>
                        <a:pt x="0" y="24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1626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grpSp>
          <p:sp>
            <p:nvSpPr>
              <p:cNvPr id="1863" name="Freeform 224"/>
              <p:cNvSpPr>
                <a:spLocks/>
              </p:cNvSpPr>
              <p:nvPr/>
            </p:nvSpPr>
            <p:spPr bwMode="auto">
              <a:xfrm>
                <a:off x="1573167" y="5844666"/>
                <a:ext cx="46055" cy="76159"/>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4" name="Freeform 90"/>
              <p:cNvSpPr>
                <a:spLocks/>
              </p:cNvSpPr>
              <p:nvPr/>
            </p:nvSpPr>
            <p:spPr bwMode="auto">
              <a:xfrm flipV="1">
                <a:off x="1325576" y="5545356"/>
                <a:ext cx="45719" cy="62540"/>
              </a:xfrm>
              <a:custGeom>
                <a:avLst/>
                <a:gdLst>
                  <a:gd name="T0" fmla="*/ 168 w 449"/>
                  <a:gd name="T1" fmla="*/ 205 h 607"/>
                  <a:gd name="T2" fmla="*/ 0 w 449"/>
                  <a:gd name="T3" fmla="*/ 383 h 607"/>
                  <a:gd name="T4" fmla="*/ 0 w 449"/>
                  <a:gd name="T5" fmla="*/ 239 h 607"/>
                  <a:gd name="T6" fmla="*/ 225 w 449"/>
                  <a:gd name="T7" fmla="*/ 0 h 607"/>
                  <a:gd name="T8" fmla="*/ 449 w 449"/>
                  <a:gd name="T9" fmla="*/ 238 h 607"/>
                  <a:gd name="T10" fmla="*/ 449 w 449"/>
                  <a:gd name="T11" fmla="*/ 382 h 607"/>
                  <a:gd name="T12" fmla="*/ 282 w 449"/>
                  <a:gd name="T13" fmla="*/ 205 h 607"/>
                  <a:gd name="T14" fmla="*/ 282 w 449"/>
                  <a:gd name="T15" fmla="*/ 607 h 607"/>
                  <a:gd name="T16" fmla="*/ 168 w 449"/>
                  <a:gd name="T17" fmla="*/ 607 h 607"/>
                  <a:gd name="T18" fmla="*/ 168 w 449"/>
                  <a:gd name="T19" fmla="*/ 20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9" h="607">
                    <a:moveTo>
                      <a:pt x="168" y="205"/>
                    </a:moveTo>
                    <a:lnTo>
                      <a:pt x="0" y="383"/>
                    </a:lnTo>
                    <a:lnTo>
                      <a:pt x="0" y="239"/>
                    </a:lnTo>
                    <a:lnTo>
                      <a:pt x="225" y="0"/>
                    </a:lnTo>
                    <a:lnTo>
                      <a:pt x="449" y="238"/>
                    </a:lnTo>
                    <a:lnTo>
                      <a:pt x="449" y="382"/>
                    </a:lnTo>
                    <a:lnTo>
                      <a:pt x="282" y="205"/>
                    </a:lnTo>
                    <a:lnTo>
                      <a:pt x="282" y="607"/>
                    </a:lnTo>
                    <a:lnTo>
                      <a:pt x="168" y="607"/>
                    </a:lnTo>
                    <a:lnTo>
                      <a:pt x="168" y="20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5" name="Freeform 102"/>
              <p:cNvSpPr>
                <a:spLocks noEditPoints="1"/>
              </p:cNvSpPr>
              <p:nvPr/>
            </p:nvSpPr>
            <p:spPr bwMode="auto">
              <a:xfrm>
                <a:off x="1349166" y="5841256"/>
                <a:ext cx="79316" cy="80304"/>
              </a:xfrm>
              <a:custGeom>
                <a:avLst/>
                <a:gdLst>
                  <a:gd name="T0" fmla="*/ 383 w 707"/>
                  <a:gd name="T1" fmla="*/ 13 h 706"/>
                  <a:gd name="T2" fmla="*/ 376 w 707"/>
                  <a:gd name="T3" fmla="*/ 7 h 706"/>
                  <a:gd name="T4" fmla="*/ 362 w 707"/>
                  <a:gd name="T5" fmla="*/ 1 h 706"/>
                  <a:gd name="T6" fmla="*/ 346 w 707"/>
                  <a:gd name="T7" fmla="*/ 1 h 706"/>
                  <a:gd name="T8" fmla="*/ 331 w 707"/>
                  <a:gd name="T9" fmla="*/ 7 h 706"/>
                  <a:gd name="T10" fmla="*/ 12 w 707"/>
                  <a:gd name="T11" fmla="*/ 325 h 706"/>
                  <a:gd name="T12" fmla="*/ 7 w 707"/>
                  <a:gd name="T13" fmla="*/ 331 h 706"/>
                  <a:gd name="T14" fmla="*/ 1 w 707"/>
                  <a:gd name="T15" fmla="*/ 346 h 706"/>
                  <a:gd name="T16" fmla="*/ 1 w 707"/>
                  <a:gd name="T17" fmla="*/ 362 h 706"/>
                  <a:gd name="T18" fmla="*/ 7 w 707"/>
                  <a:gd name="T19" fmla="*/ 376 h 706"/>
                  <a:gd name="T20" fmla="*/ 325 w 707"/>
                  <a:gd name="T21" fmla="*/ 694 h 706"/>
                  <a:gd name="T22" fmla="*/ 331 w 707"/>
                  <a:gd name="T23" fmla="*/ 700 h 706"/>
                  <a:gd name="T24" fmla="*/ 346 w 707"/>
                  <a:gd name="T25" fmla="*/ 706 h 706"/>
                  <a:gd name="T26" fmla="*/ 362 w 707"/>
                  <a:gd name="T27" fmla="*/ 706 h 706"/>
                  <a:gd name="T28" fmla="*/ 376 w 707"/>
                  <a:gd name="T29" fmla="*/ 700 h 706"/>
                  <a:gd name="T30" fmla="*/ 695 w 707"/>
                  <a:gd name="T31" fmla="*/ 383 h 706"/>
                  <a:gd name="T32" fmla="*/ 701 w 707"/>
                  <a:gd name="T33" fmla="*/ 376 h 706"/>
                  <a:gd name="T34" fmla="*/ 707 w 707"/>
                  <a:gd name="T35" fmla="*/ 362 h 706"/>
                  <a:gd name="T36" fmla="*/ 707 w 707"/>
                  <a:gd name="T37" fmla="*/ 346 h 706"/>
                  <a:gd name="T38" fmla="*/ 701 w 707"/>
                  <a:gd name="T39" fmla="*/ 331 h 706"/>
                  <a:gd name="T40" fmla="*/ 468 w 707"/>
                  <a:gd name="T41" fmla="*/ 532 h 706"/>
                  <a:gd name="T42" fmla="*/ 459 w 707"/>
                  <a:gd name="T43" fmla="*/ 524 h 706"/>
                  <a:gd name="T44" fmla="*/ 433 w 707"/>
                  <a:gd name="T45" fmla="*/ 498 h 706"/>
                  <a:gd name="T46" fmla="*/ 421 w 707"/>
                  <a:gd name="T47" fmla="*/ 483 h 706"/>
                  <a:gd name="T48" fmla="*/ 401 w 707"/>
                  <a:gd name="T49" fmla="*/ 453 h 706"/>
                  <a:gd name="T50" fmla="*/ 392 w 707"/>
                  <a:gd name="T51" fmla="*/ 566 h 706"/>
                  <a:gd name="T52" fmla="*/ 302 w 707"/>
                  <a:gd name="T53" fmla="*/ 250 h 706"/>
                  <a:gd name="T54" fmla="*/ 245 w 707"/>
                  <a:gd name="T55" fmla="*/ 250 h 706"/>
                  <a:gd name="T56" fmla="*/ 236 w 707"/>
                  <a:gd name="T57" fmla="*/ 247 h 706"/>
                  <a:gd name="T58" fmla="*/ 232 w 707"/>
                  <a:gd name="T59" fmla="*/ 239 h 706"/>
                  <a:gd name="T60" fmla="*/ 233 w 707"/>
                  <a:gd name="T61" fmla="*/ 235 h 706"/>
                  <a:gd name="T62" fmla="*/ 344 w 707"/>
                  <a:gd name="T63" fmla="*/ 84 h 706"/>
                  <a:gd name="T64" fmla="*/ 458 w 707"/>
                  <a:gd name="T65" fmla="*/ 231 h 706"/>
                  <a:gd name="T66" fmla="*/ 462 w 707"/>
                  <a:gd name="T67" fmla="*/ 239 h 706"/>
                  <a:gd name="T68" fmla="*/ 460 w 707"/>
                  <a:gd name="T69" fmla="*/ 243 h 706"/>
                  <a:gd name="T70" fmla="*/ 453 w 707"/>
                  <a:gd name="T71" fmla="*/ 249 h 706"/>
                  <a:gd name="T72" fmla="*/ 392 w 707"/>
                  <a:gd name="T73" fmla="*/ 250 h 706"/>
                  <a:gd name="T74" fmla="*/ 392 w 707"/>
                  <a:gd name="T75" fmla="*/ 263 h 706"/>
                  <a:gd name="T76" fmla="*/ 394 w 707"/>
                  <a:gd name="T77" fmla="*/ 271 h 706"/>
                  <a:gd name="T78" fmla="*/ 402 w 707"/>
                  <a:gd name="T79" fmla="*/ 297 h 706"/>
                  <a:gd name="T80" fmla="*/ 412 w 707"/>
                  <a:gd name="T81" fmla="*/ 327 h 706"/>
                  <a:gd name="T82" fmla="*/ 424 w 707"/>
                  <a:gd name="T83" fmla="*/ 360 h 706"/>
                  <a:gd name="T84" fmla="*/ 440 w 707"/>
                  <a:gd name="T85" fmla="*/ 394 h 706"/>
                  <a:gd name="T86" fmla="*/ 459 w 707"/>
                  <a:gd name="T87" fmla="*/ 428 h 706"/>
                  <a:gd name="T88" fmla="*/ 482 w 707"/>
                  <a:gd name="T89" fmla="*/ 457 h 706"/>
                  <a:gd name="T90" fmla="*/ 498 w 707"/>
                  <a:gd name="T91" fmla="*/ 473 h 706"/>
                  <a:gd name="T92" fmla="*/ 514 w 707"/>
                  <a:gd name="T93" fmla="*/ 48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7" h="706">
                    <a:moveTo>
                      <a:pt x="695" y="325"/>
                    </a:moveTo>
                    <a:lnTo>
                      <a:pt x="383" y="13"/>
                    </a:lnTo>
                    <a:lnTo>
                      <a:pt x="383" y="13"/>
                    </a:lnTo>
                    <a:lnTo>
                      <a:pt x="376" y="7"/>
                    </a:lnTo>
                    <a:lnTo>
                      <a:pt x="369" y="3"/>
                    </a:lnTo>
                    <a:lnTo>
                      <a:pt x="362" y="1"/>
                    </a:lnTo>
                    <a:lnTo>
                      <a:pt x="354" y="0"/>
                    </a:lnTo>
                    <a:lnTo>
                      <a:pt x="346" y="1"/>
                    </a:lnTo>
                    <a:lnTo>
                      <a:pt x="338" y="3"/>
                    </a:lnTo>
                    <a:lnTo>
                      <a:pt x="331" y="7"/>
                    </a:lnTo>
                    <a:lnTo>
                      <a:pt x="325" y="13"/>
                    </a:lnTo>
                    <a:lnTo>
                      <a:pt x="12" y="325"/>
                    </a:lnTo>
                    <a:lnTo>
                      <a:pt x="12" y="325"/>
                    </a:lnTo>
                    <a:lnTo>
                      <a:pt x="7" y="331"/>
                    </a:lnTo>
                    <a:lnTo>
                      <a:pt x="3" y="339"/>
                    </a:lnTo>
                    <a:lnTo>
                      <a:pt x="1" y="346"/>
                    </a:lnTo>
                    <a:lnTo>
                      <a:pt x="0" y="354"/>
                    </a:lnTo>
                    <a:lnTo>
                      <a:pt x="1" y="362"/>
                    </a:lnTo>
                    <a:lnTo>
                      <a:pt x="3" y="369"/>
                    </a:lnTo>
                    <a:lnTo>
                      <a:pt x="7" y="376"/>
                    </a:lnTo>
                    <a:lnTo>
                      <a:pt x="12" y="383"/>
                    </a:lnTo>
                    <a:lnTo>
                      <a:pt x="325" y="694"/>
                    </a:lnTo>
                    <a:lnTo>
                      <a:pt x="325" y="694"/>
                    </a:lnTo>
                    <a:lnTo>
                      <a:pt x="331" y="700"/>
                    </a:lnTo>
                    <a:lnTo>
                      <a:pt x="338" y="703"/>
                    </a:lnTo>
                    <a:lnTo>
                      <a:pt x="346" y="706"/>
                    </a:lnTo>
                    <a:lnTo>
                      <a:pt x="354" y="706"/>
                    </a:lnTo>
                    <a:lnTo>
                      <a:pt x="362" y="706"/>
                    </a:lnTo>
                    <a:lnTo>
                      <a:pt x="369" y="703"/>
                    </a:lnTo>
                    <a:lnTo>
                      <a:pt x="376" y="700"/>
                    </a:lnTo>
                    <a:lnTo>
                      <a:pt x="383" y="694"/>
                    </a:lnTo>
                    <a:lnTo>
                      <a:pt x="695" y="383"/>
                    </a:lnTo>
                    <a:lnTo>
                      <a:pt x="695" y="383"/>
                    </a:lnTo>
                    <a:lnTo>
                      <a:pt x="701" y="376"/>
                    </a:lnTo>
                    <a:lnTo>
                      <a:pt x="704" y="369"/>
                    </a:lnTo>
                    <a:lnTo>
                      <a:pt x="707" y="362"/>
                    </a:lnTo>
                    <a:lnTo>
                      <a:pt x="707" y="354"/>
                    </a:lnTo>
                    <a:lnTo>
                      <a:pt x="707" y="346"/>
                    </a:lnTo>
                    <a:lnTo>
                      <a:pt x="704" y="339"/>
                    </a:lnTo>
                    <a:lnTo>
                      <a:pt x="701" y="331"/>
                    </a:lnTo>
                    <a:lnTo>
                      <a:pt x="695" y="325"/>
                    </a:lnTo>
                    <a:close/>
                    <a:moveTo>
                      <a:pt x="468" y="532"/>
                    </a:moveTo>
                    <a:lnTo>
                      <a:pt x="468" y="532"/>
                    </a:lnTo>
                    <a:lnTo>
                      <a:pt x="459" y="524"/>
                    </a:lnTo>
                    <a:lnTo>
                      <a:pt x="450" y="516"/>
                    </a:lnTo>
                    <a:lnTo>
                      <a:pt x="433" y="498"/>
                    </a:lnTo>
                    <a:lnTo>
                      <a:pt x="433" y="498"/>
                    </a:lnTo>
                    <a:lnTo>
                      <a:pt x="421" y="483"/>
                    </a:lnTo>
                    <a:lnTo>
                      <a:pt x="411" y="469"/>
                    </a:lnTo>
                    <a:lnTo>
                      <a:pt x="401" y="453"/>
                    </a:lnTo>
                    <a:lnTo>
                      <a:pt x="392" y="438"/>
                    </a:lnTo>
                    <a:lnTo>
                      <a:pt x="392" y="566"/>
                    </a:lnTo>
                    <a:lnTo>
                      <a:pt x="302" y="566"/>
                    </a:lnTo>
                    <a:lnTo>
                      <a:pt x="302" y="250"/>
                    </a:lnTo>
                    <a:lnTo>
                      <a:pt x="245" y="250"/>
                    </a:lnTo>
                    <a:lnTo>
                      <a:pt x="245" y="250"/>
                    </a:lnTo>
                    <a:lnTo>
                      <a:pt x="240" y="249"/>
                    </a:lnTo>
                    <a:lnTo>
                      <a:pt x="236" y="247"/>
                    </a:lnTo>
                    <a:lnTo>
                      <a:pt x="233" y="243"/>
                    </a:lnTo>
                    <a:lnTo>
                      <a:pt x="232" y="239"/>
                    </a:lnTo>
                    <a:lnTo>
                      <a:pt x="232" y="239"/>
                    </a:lnTo>
                    <a:lnTo>
                      <a:pt x="233" y="235"/>
                    </a:lnTo>
                    <a:lnTo>
                      <a:pt x="234" y="232"/>
                    </a:lnTo>
                    <a:lnTo>
                      <a:pt x="344" y="84"/>
                    </a:lnTo>
                    <a:lnTo>
                      <a:pt x="458" y="231"/>
                    </a:lnTo>
                    <a:lnTo>
                      <a:pt x="458" y="231"/>
                    </a:lnTo>
                    <a:lnTo>
                      <a:pt x="461" y="234"/>
                    </a:lnTo>
                    <a:lnTo>
                      <a:pt x="462" y="239"/>
                    </a:lnTo>
                    <a:lnTo>
                      <a:pt x="462" y="239"/>
                    </a:lnTo>
                    <a:lnTo>
                      <a:pt x="460" y="243"/>
                    </a:lnTo>
                    <a:lnTo>
                      <a:pt x="458" y="247"/>
                    </a:lnTo>
                    <a:lnTo>
                      <a:pt x="453" y="249"/>
                    </a:lnTo>
                    <a:lnTo>
                      <a:pt x="449" y="250"/>
                    </a:lnTo>
                    <a:lnTo>
                      <a:pt x="392" y="250"/>
                    </a:lnTo>
                    <a:lnTo>
                      <a:pt x="392" y="263"/>
                    </a:lnTo>
                    <a:lnTo>
                      <a:pt x="392" y="263"/>
                    </a:lnTo>
                    <a:lnTo>
                      <a:pt x="393" y="266"/>
                    </a:lnTo>
                    <a:lnTo>
                      <a:pt x="394" y="271"/>
                    </a:lnTo>
                    <a:lnTo>
                      <a:pt x="394" y="271"/>
                    </a:lnTo>
                    <a:lnTo>
                      <a:pt x="402" y="297"/>
                    </a:lnTo>
                    <a:lnTo>
                      <a:pt x="406" y="311"/>
                    </a:lnTo>
                    <a:lnTo>
                      <a:pt x="412" y="327"/>
                    </a:lnTo>
                    <a:lnTo>
                      <a:pt x="412" y="327"/>
                    </a:lnTo>
                    <a:lnTo>
                      <a:pt x="424" y="360"/>
                    </a:lnTo>
                    <a:lnTo>
                      <a:pt x="432" y="377"/>
                    </a:lnTo>
                    <a:lnTo>
                      <a:pt x="440" y="394"/>
                    </a:lnTo>
                    <a:lnTo>
                      <a:pt x="449" y="411"/>
                    </a:lnTo>
                    <a:lnTo>
                      <a:pt x="459" y="428"/>
                    </a:lnTo>
                    <a:lnTo>
                      <a:pt x="471" y="443"/>
                    </a:lnTo>
                    <a:lnTo>
                      <a:pt x="482" y="457"/>
                    </a:lnTo>
                    <a:lnTo>
                      <a:pt x="482" y="457"/>
                    </a:lnTo>
                    <a:lnTo>
                      <a:pt x="498" y="473"/>
                    </a:lnTo>
                    <a:lnTo>
                      <a:pt x="506" y="480"/>
                    </a:lnTo>
                    <a:lnTo>
                      <a:pt x="514" y="486"/>
                    </a:lnTo>
                    <a:lnTo>
                      <a:pt x="468" y="5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866" name="Group 1865"/>
              <p:cNvGrpSpPr/>
              <p:nvPr/>
            </p:nvGrpSpPr>
            <p:grpSpPr>
              <a:xfrm>
                <a:off x="1440086" y="6014851"/>
                <a:ext cx="67178" cy="67178"/>
                <a:chOff x="5968365" y="3118486"/>
                <a:chExt cx="615316" cy="615316"/>
              </a:xfrm>
              <a:solidFill>
                <a:schemeClr val="accent1"/>
              </a:solidFill>
            </p:grpSpPr>
            <p:sp>
              <p:nvSpPr>
                <p:cNvPr id="1910" name="Freeform 146"/>
                <p:cNvSpPr>
                  <a:spLocks noEditPoints="1"/>
                </p:cNvSpPr>
                <p:nvPr/>
              </p:nvSpPr>
              <p:spPr bwMode="auto">
                <a:xfrm>
                  <a:off x="5968365" y="3118486"/>
                  <a:ext cx="615316" cy="615316"/>
                </a:xfrm>
                <a:custGeom>
                  <a:avLst/>
                  <a:gdLst>
                    <a:gd name="T0" fmla="*/ 356 w 646"/>
                    <a:gd name="T1" fmla="*/ 645 h 647"/>
                    <a:gd name="T2" fmla="*/ 419 w 646"/>
                    <a:gd name="T3" fmla="*/ 632 h 647"/>
                    <a:gd name="T4" fmla="*/ 477 w 646"/>
                    <a:gd name="T5" fmla="*/ 607 h 647"/>
                    <a:gd name="T6" fmla="*/ 528 w 646"/>
                    <a:gd name="T7" fmla="*/ 572 h 647"/>
                    <a:gd name="T8" fmla="*/ 573 w 646"/>
                    <a:gd name="T9" fmla="*/ 529 h 647"/>
                    <a:gd name="T10" fmla="*/ 607 w 646"/>
                    <a:gd name="T11" fmla="*/ 477 h 647"/>
                    <a:gd name="T12" fmla="*/ 632 w 646"/>
                    <a:gd name="T13" fmla="*/ 420 h 647"/>
                    <a:gd name="T14" fmla="*/ 645 w 646"/>
                    <a:gd name="T15" fmla="*/ 356 h 647"/>
                    <a:gd name="T16" fmla="*/ 646 w 646"/>
                    <a:gd name="T17" fmla="*/ 307 h 647"/>
                    <a:gd name="T18" fmla="*/ 636 w 646"/>
                    <a:gd name="T19" fmla="*/ 243 h 647"/>
                    <a:gd name="T20" fmla="*/ 615 w 646"/>
                    <a:gd name="T21" fmla="*/ 183 h 647"/>
                    <a:gd name="T22" fmla="*/ 582 w 646"/>
                    <a:gd name="T23" fmla="*/ 130 h 647"/>
                    <a:gd name="T24" fmla="*/ 540 w 646"/>
                    <a:gd name="T25" fmla="*/ 84 h 647"/>
                    <a:gd name="T26" fmla="*/ 490 w 646"/>
                    <a:gd name="T27" fmla="*/ 47 h 647"/>
                    <a:gd name="T28" fmla="*/ 434 w 646"/>
                    <a:gd name="T29" fmla="*/ 20 h 647"/>
                    <a:gd name="T30" fmla="*/ 372 w 646"/>
                    <a:gd name="T31" fmla="*/ 4 h 647"/>
                    <a:gd name="T32" fmla="*/ 322 w 646"/>
                    <a:gd name="T33" fmla="*/ 0 h 647"/>
                    <a:gd name="T34" fmla="*/ 258 w 646"/>
                    <a:gd name="T35" fmla="*/ 7 h 647"/>
                    <a:gd name="T36" fmla="*/ 197 w 646"/>
                    <a:gd name="T37" fmla="*/ 26 h 647"/>
                    <a:gd name="T38" fmla="*/ 143 w 646"/>
                    <a:gd name="T39" fmla="*/ 55 h 647"/>
                    <a:gd name="T40" fmla="*/ 94 w 646"/>
                    <a:gd name="T41" fmla="*/ 95 h 647"/>
                    <a:gd name="T42" fmla="*/ 55 w 646"/>
                    <a:gd name="T43" fmla="*/ 142 h 647"/>
                    <a:gd name="T44" fmla="*/ 25 w 646"/>
                    <a:gd name="T45" fmla="*/ 197 h 647"/>
                    <a:gd name="T46" fmla="*/ 6 w 646"/>
                    <a:gd name="T47" fmla="*/ 258 h 647"/>
                    <a:gd name="T48" fmla="*/ 0 w 646"/>
                    <a:gd name="T49" fmla="*/ 323 h 647"/>
                    <a:gd name="T50" fmla="*/ 3 w 646"/>
                    <a:gd name="T51" fmla="*/ 372 h 647"/>
                    <a:gd name="T52" fmla="*/ 19 w 646"/>
                    <a:gd name="T53" fmla="*/ 435 h 647"/>
                    <a:gd name="T54" fmla="*/ 46 w 646"/>
                    <a:gd name="T55" fmla="*/ 491 h 647"/>
                    <a:gd name="T56" fmla="*/ 83 w 646"/>
                    <a:gd name="T57" fmla="*/ 540 h 647"/>
                    <a:gd name="T58" fmla="*/ 130 w 646"/>
                    <a:gd name="T59" fmla="*/ 582 h 647"/>
                    <a:gd name="T60" fmla="*/ 183 w 646"/>
                    <a:gd name="T61" fmla="*/ 614 h 647"/>
                    <a:gd name="T62" fmla="*/ 242 w 646"/>
                    <a:gd name="T63" fmla="*/ 637 h 647"/>
                    <a:gd name="T64" fmla="*/ 306 w 646"/>
                    <a:gd name="T65" fmla="*/ 646 h 647"/>
                    <a:gd name="T66" fmla="*/ 336 w 646"/>
                    <a:gd name="T67" fmla="*/ 72 h 647"/>
                    <a:gd name="T68" fmla="*/ 386 w 646"/>
                    <a:gd name="T69" fmla="*/ 79 h 647"/>
                    <a:gd name="T70" fmla="*/ 443 w 646"/>
                    <a:gd name="T71" fmla="*/ 102 h 647"/>
                    <a:gd name="T72" fmla="*/ 517 w 646"/>
                    <a:gd name="T73" fmla="*/ 163 h 647"/>
                    <a:gd name="T74" fmla="*/ 560 w 646"/>
                    <a:gd name="T75" fmla="*/ 237 h 647"/>
                    <a:gd name="T76" fmla="*/ 572 w 646"/>
                    <a:gd name="T77" fmla="*/ 285 h 647"/>
                    <a:gd name="T78" fmla="*/ 575 w 646"/>
                    <a:gd name="T79" fmla="*/ 323 h 647"/>
                    <a:gd name="T80" fmla="*/ 570 w 646"/>
                    <a:gd name="T81" fmla="*/ 374 h 647"/>
                    <a:gd name="T82" fmla="*/ 555 w 646"/>
                    <a:gd name="T83" fmla="*/ 422 h 647"/>
                    <a:gd name="T84" fmla="*/ 501 w 646"/>
                    <a:gd name="T85" fmla="*/ 501 h 647"/>
                    <a:gd name="T86" fmla="*/ 421 w 646"/>
                    <a:gd name="T87" fmla="*/ 555 h 647"/>
                    <a:gd name="T88" fmla="*/ 374 w 646"/>
                    <a:gd name="T89" fmla="*/ 570 h 647"/>
                    <a:gd name="T90" fmla="*/ 322 w 646"/>
                    <a:gd name="T91" fmla="*/ 575 h 647"/>
                    <a:gd name="T92" fmla="*/ 284 w 646"/>
                    <a:gd name="T93" fmla="*/ 572 h 647"/>
                    <a:gd name="T94" fmla="*/ 236 w 646"/>
                    <a:gd name="T95" fmla="*/ 559 h 647"/>
                    <a:gd name="T96" fmla="*/ 163 w 646"/>
                    <a:gd name="T97" fmla="*/ 517 h 647"/>
                    <a:gd name="T98" fmla="*/ 101 w 646"/>
                    <a:gd name="T99" fmla="*/ 443 h 647"/>
                    <a:gd name="T100" fmla="*/ 79 w 646"/>
                    <a:gd name="T101" fmla="*/ 386 h 647"/>
                    <a:gd name="T102" fmla="*/ 71 w 646"/>
                    <a:gd name="T103" fmla="*/ 336 h 647"/>
                    <a:gd name="T104" fmla="*/ 72 w 646"/>
                    <a:gd name="T105" fmla="*/ 298 h 647"/>
                    <a:gd name="T106" fmla="*/ 82 w 646"/>
                    <a:gd name="T107" fmla="*/ 249 h 647"/>
                    <a:gd name="T108" fmla="*/ 115 w 646"/>
                    <a:gd name="T109" fmla="*/ 182 h 647"/>
                    <a:gd name="T110" fmla="*/ 183 w 646"/>
                    <a:gd name="T111" fmla="*/ 114 h 647"/>
                    <a:gd name="T112" fmla="*/ 248 w 646"/>
                    <a:gd name="T113" fmla="*/ 83 h 647"/>
                    <a:gd name="T114" fmla="*/ 297 w 646"/>
                    <a:gd name="T115" fmla="*/ 73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6" h="647">
                      <a:moveTo>
                        <a:pt x="322" y="647"/>
                      </a:moveTo>
                      <a:lnTo>
                        <a:pt x="322" y="647"/>
                      </a:lnTo>
                      <a:lnTo>
                        <a:pt x="340" y="646"/>
                      </a:lnTo>
                      <a:lnTo>
                        <a:pt x="356" y="645"/>
                      </a:lnTo>
                      <a:lnTo>
                        <a:pt x="372" y="643"/>
                      </a:lnTo>
                      <a:lnTo>
                        <a:pt x="388" y="640"/>
                      </a:lnTo>
                      <a:lnTo>
                        <a:pt x="404" y="637"/>
                      </a:lnTo>
                      <a:lnTo>
                        <a:pt x="419" y="632"/>
                      </a:lnTo>
                      <a:lnTo>
                        <a:pt x="434" y="626"/>
                      </a:lnTo>
                      <a:lnTo>
                        <a:pt x="449" y="621"/>
                      </a:lnTo>
                      <a:lnTo>
                        <a:pt x="463" y="614"/>
                      </a:lnTo>
                      <a:lnTo>
                        <a:pt x="477" y="607"/>
                      </a:lnTo>
                      <a:lnTo>
                        <a:pt x="490" y="599"/>
                      </a:lnTo>
                      <a:lnTo>
                        <a:pt x="503" y="591"/>
                      </a:lnTo>
                      <a:lnTo>
                        <a:pt x="516" y="582"/>
                      </a:lnTo>
                      <a:lnTo>
                        <a:pt x="528" y="572"/>
                      </a:lnTo>
                      <a:lnTo>
                        <a:pt x="540" y="562"/>
                      </a:lnTo>
                      <a:lnTo>
                        <a:pt x="552" y="551"/>
                      </a:lnTo>
                      <a:lnTo>
                        <a:pt x="563" y="540"/>
                      </a:lnTo>
                      <a:lnTo>
                        <a:pt x="573" y="529"/>
                      </a:lnTo>
                      <a:lnTo>
                        <a:pt x="582" y="516"/>
                      </a:lnTo>
                      <a:lnTo>
                        <a:pt x="591" y="504"/>
                      </a:lnTo>
                      <a:lnTo>
                        <a:pt x="600" y="491"/>
                      </a:lnTo>
                      <a:lnTo>
                        <a:pt x="607" y="477"/>
                      </a:lnTo>
                      <a:lnTo>
                        <a:pt x="615" y="463"/>
                      </a:lnTo>
                      <a:lnTo>
                        <a:pt x="621" y="449"/>
                      </a:lnTo>
                      <a:lnTo>
                        <a:pt x="627" y="435"/>
                      </a:lnTo>
                      <a:lnTo>
                        <a:pt x="632" y="420"/>
                      </a:lnTo>
                      <a:lnTo>
                        <a:pt x="636" y="403"/>
                      </a:lnTo>
                      <a:lnTo>
                        <a:pt x="640" y="388"/>
                      </a:lnTo>
                      <a:lnTo>
                        <a:pt x="643" y="372"/>
                      </a:lnTo>
                      <a:lnTo>
                        <a:pt x="645" y="356"/>
                      </a:lnTo>
                      <a:lnTo>
                        <a:pt x="646" y="340"/>
                      </a:lnTo>
                      <a:lnTo>
                        <a:pt x="646" y="323"/>
                      </a:lnTo>
                      <a:lnTo>
                        <a:pt x="646" y="323"/>
                      </a:lnTo>
                      <a:lnTo>
                        <a:pt x="646" y="307"/>
                      </a:lnTo>
                      <a:lnTo>
                        <a:pt x="645" y="290"/>
                      </a:lnTo>
                      <a:lnTo>
                        <a:pt x="643" y="274"/>
                      </a:lnTo>
                      <a:lnTo>
                        <a:pt x="640" y="258"/>
                      </a:lnTo>
                      <a:lnTo>
                        <a:pt x="636" y="243"/>
                      </a:lnTo>
                      <a:lnTo>
                        <a:pt x="632" y="228"/>
                      </a:lnTo>
                      <a:lnTo>
                        <a:pt x="627" y="213"/>
                      </a:lnTo>
                      <a:lnTo>
                        <a:pt x="621" y="197"/>
                      </a:lnTo>
                      <a:lnTo>
                        <a:pt x="615" y="183"/>
                      </a:lnTo>
                      <a:lnTo>
                        <a:pt x="607" y="169"/>
                      </a:lnTo>
                      <a:lnTo>
                        <a:pt x="600" y="155"/>
                      </a:lnTo>
                      <a:lnTo>
                        <a:pt x="591" y="142"/>
                      </a:lnTo>
                      <a:lnTo>
                        <a:pt x="582" y="130"/>
                      </a:lnTo>
                      <a:lnTo>
                        <a:pt x="573" y="117"/>
                      </a:lnTo>
                      <a:lnTo>
                        <a:pt x="563" y="106"/>
                      </a:lnTo>
                      <a:lnTo>
                        <a:pt x="552" y="95"/>
                      </a:lnTo>
                      <a:lnTo>
                        <a:pt x="540" y="84"/>
                      </a:lnTo>
                      <a:lnTo>
                        <a:pt x="528" y="74"/>
                      </a:lnTo>
                      <a:lnTo>
                        <a:pt x="516" y="64"/>
                      </a:lnTo>
                      <a:lnTo>
                        <a:pt x="503" y="55"/>
                      </a:lnTo>
                      <a:lnTo>
                        <a:pt x="490" y="47"/>
                      </a:lnTo>
                      <a:lnTo>
                        <a:pt x="477" y="39"/>
                      </a:lnTo>
                      <a:lnTo>
                        <a:pt x="463" y="32"/>
                      </a:lnTo>
                      <a:lnTo>
                        <a:pt x="449" y="26"/>
                      </a:lnTo>
                      <a:lnTo>
                        <a:pt x="434" y="20"/>
                      </a:lnTo>
                      <a:lnTo>
                        <a:pt x="419" y="15"/>
                      </a:lnTo>
                      <a:lnTo>
                        <a:pt x="404" y="10"/>
                      </a:lnTo>
                      <a:lnTo>
                        <a:pt x="388" y="7"/>
                      </a:lnTo>
                      <a:lnTo>
                        <a:pt x="372" y="4"/>
                      </a:lnTo>
                      <a:lnTo>
                        <a:pt x="356" y="2"/>
                      </a:lnTo>
                      <a:lnTo>
                        <a:pt x="340" y="1"/>
                      </a:lnTo>
                      <a:lnTo>
                        <a:pt x="322" y="0"/>
                      </a:lnTo>
                      <a:lnTo>
                        <a:pt x="322" y="0"/>
                      </a:lnTo>
                      <a:lnTo>
                        <a:pt x="306" y="1"/>
                      </a:lnTo>
                      <a:lnTo>
                        <a:pt x="290" y="2"/>
                      </a:lnTo>
                      <a:lnTo>
                        <a:pt x="274" y="4"/>
                      </a:lnTo>
                      <a:lnTo>
                        <a:pt x="258" y="7"/>
                      </a:lnTo>
                      <a:lnTo>
                        <a:pt x="242" y="10"/>
                      </a:lnTo>
                      <a:lnTo>
                        <a:pt x="227" y="15"/>
                      </a:lnTo>
                      <a:lnTo>
                        <a:pt x="212" y="20"/>
                      </a:lnTo>
                      <a:lnTo>
                        <a:pt x="197" y="26"/>
                      </a:lnTo>
                      <a:lnTo>
                        <a:pt x="183" y="32"/>
                      </a:lnTo>
                      <a:lnTo>
                        <a:pt x="169" y="39"/>
                      </a:lnTo>
                      <a:lnTo>
                        <a:pt x="156" y="47"/>
                      </a:lnTo>
                      <a:lnTo>
                        <a:pt x="143" y="55"/>
                      </a:lnTo>
                      <a:lnTo>
                        <a:pt x="130" y="64"/>
                      </a:lnTo>
                      <a:lnTo>
                        <a:pt x="118" y="74"/>
                      </a:lnTo>
                      <a:lnTo>
                        <a:pt x="105" y="84"/>
                      </a:lnTo>
                      <a:lnTo>
                        <a:pt x="94" y="95"/>
                      </a:lnTo>
                      <a:lnTo>
                        <a:pt x="83" y="106"/>
                      </a:lnTo>
                      <a:lnTo>
                        <a:pt x="73" y="117"/>
                      </a:lnTo>
                      <a:lnTo>
                        <a:pt x="64" y="130"/>
                      </a:lnTo>
                      <a:lnTo>
                        <a:pt x="55" y="142"/>
                      </a:lnTo>
                      <a:lnTo>
                        <a:pt x="46" y="155"/>
                      </a:lnTo>
                      <a:lnTo>
                        <a:pt x="39" y="169"/>
                      </a:lnTo>
                      <a:lnTo>
                        <a:pt x="32" y="183"/>
                      </a:lnTo>
                      <a:lnTo>
                        <a:pt x="25" y="197"/>
                      </a:lnTo>
                      <a:lnTo>
                        <a:pt x="19" y="213"/>
                      </a:lnTo>
                      <a:lnTo>
                        <a:pt x="14" y="228"/>
                      </a:lnTo>
                      <a:lnTo>
                        <a:pt x="10" y="243"/>
                      </a:lnTo>
                      <a:lnTo>
                        <a:pt x="6" y="258"/>
                      </a:lnTo>
                      <a:lnTo>
                        <a:pt x="3" y="274"/>
                      </a:lnTo>
                      <a:lnTo>
                        <a:pt x="1" y="290"/>
                      </a:lnTo>
                      <a:lnTo>
                        <a:pt x="0" y="307"/>
                      </a:lnTo>
                      <a:lnTo>
                        <a:pt x="0" y="323"/>
                      </a:lnTo>
                      <a:lnTo>
                        <a:pt x="0" y="323"/>
                      </a:lnTo>
                      <a:lnTo>
                        <a:pt x="0" y="340"/>
                      </a:lnTo>
                      <a:lnTo>
                        <a:pt x="1" y="356"/>
                      </a:lnTo>
                      <a:lnTo>
                        <a:pt x="3" y="372"/>
                      </a:lnTo>
                      <a:lnTo>
                        <a:pt x="6" y="388"/>
                      </a:lnTo>
                      <a:lnTo>
                        <a:pt x="10" y="403"/>
                      </a:lnTo>
                      <a:lnTo>
                        <a:pt x="14" y="420"/>
                      </a:lnTo>
                      <a:lnTo>
                        <a:pt x="19" y="435"/>
                      </a:lnTo>
                      <a:lnTo>
                        <a:pt x="25" y="449"/>
                      </a:lnTo>
                      <a:lnTo>
                        <a:pt x="32" y="463"/>
                      </a:lnTo>
                      <a:lnTo>
                        <a:pt x="39" y="477"/>
                      </a:lnTo>
                      <a:lnTo>
                        <a:pt x="46" y="491"/>
                      </a:lnTo>
                      <a:lnTo>
                        <a:pt x="55" y="504"/>
                      </a:lnTo>
                      <a:lnTo>
                        <a:pt x="64" y="516"/>
                      </a:lnTo>
                      <a:lnTo>
                        <a:pt x="73" y="529"/>
                      </a:lnTo>
                      <a:lnTo>
                        <a:pt x="83" y="540"/>
                      </a:lnTo>
                      <a:lnTo>
                        <a:pt x="94" y="551"/>
                      </a:lnTo>
                      <a:lnTo>
                        <a:pt x="105" y="562"/>
                      </a:lnTo>
                      <a:lnTo>
                        <a:pt x="118" y="572"/>
                      </a:lnTo>
                      <a:lnTo>
                        <a:pt x="130" y="582"/>
                      </a:lnTo>
                      <a:lnTo>
                        <a:pt x="143" y="591"/>
                      </a:lnTo>
                      <a:lnTo>
                        <a:pt x="156" y="599"/>
                      </a:lnTo>
                      <a:lnTo>
                        <a:pt x="169" y="607"/>
                      </a:lnTo>
                      <a:lnTo>
                        <a:pt x="183" y="614"/>
                      </a:lnTo>
                      <a:lnTo>
                        <a:pt x="197" y="621"/>
                      </a:lnTo>
                      <a:lnTo>
                        <a:pt x="212" y="626"/>
                      </a:lnTo>
                      <a:lnTo>
                        <a:pt x="227" y="632"/>
                      </a:lnTo>
                      <a:lnTo>
                        <a:pt x="242" y="637"/>
                      </a:lnTo>
                      <a:lnTo>
                        <a:pt x="258" y="640"/>
                      </a:lnTo>
                      <a:lnTo>
                        <a:pt x="274" y="643"/>
                      </a:lnTo>
                      <a:lnTo>
                        <a:pt x="290" y="645"/>
                      </a:lnTo>
                      <a:lnTo>
                        <a:pt x="306" y="646"/>
                      </a:lnTo>
                      <a:lnTo>
                        <a:pt x="322" y="647"/>
                      </a:lnTo>
                      <a:close/>
                      <a:moveTo>
                        <a:pt x="322" y="71"/>
                      </a:moveTo>
                      <a:lnTo>
                        <a:pt x="322" y="71"/>
                      </a:lnTo>
                      <a:lnTo>
                        <a:pt x="336" y="72"/>
                      </a:lnTo>
                      <a:lnTo>
                        <a:pt x="349" y="73"/>
                      </a:lnTo>
                      <a:lnTo>
                        <a:pt x="362" y="74"/>
                      </a:lnTo>
                      <a:lnTo>
                        <a:pt x="374" y="77"/>
                      </a:lnTo>
                      <a:lnTo>
                        <a:pt x="386" y="79"/>
                      </a:lnTo>
                      <a:lnTo>
                        <a:pt x="398" y="83"/>
                      </a:lnTo>
                      <a:lnTo>
                        <a:pt x="410" y="87"/>
                      </a:lnTo>
                      <a:lnTo>
                        <a:pt x="421" y="91"/>
                      </a:lnTo>
                      <a:lnTo>
                        <a:pt x="443" y="102"/>
                      </a:lnTo>
                      <a:lnTo>
                        <a:pt x="464" y="114"/>
                      </a:lnTo>
                      <a:lnTo>
                        <a:pt x="483" y="129"/>
                      </a:lnTo>
                      <a:lnTo>
                        <a:pt x="501" y="145"/>
                      </a:lnTo>
                      <a:lnTo>
                        <a:pt x="517" y="163"/>
                      </a:lnTo>
                      <a:lnTo>
                        <a:pt x="531" y="182"/>
                      </a:lnTo>
                      <a:lnTo>
                        <a:pt x="544" y="204"/>
                      </a:lnTo>
                      <a:lnTo>
                        <a:pt x="555" y="226"/>
                      </a:lnTo>
                      <a:lnTo>
                        <a:pt x="560" y="237"/>
                      </a:lnTo>
                      <a:lnTo>
                        <a:pt x="564" y="249"/>
                      </a:lnTo>
                      <a:lnTo>
                        <a:pt x="567" y="261"/>
                      </a:lnTo>
                      <a:lnTo>
                        <a:pt x="570" y="273"/>
                      </a:lnTo>
                      <a:lnTo>
                        <a:pt x="572" y="285"/>
                      </a:lnTo>
                      <a:lnTo>
                        <a:pt x="574" y="298"/>
                      </a:lnTo>
                      <a:lnTo>
                        <a:pt x="575" y="310"/>
                      </a:lnTo>
                      <a:lnTo>
                        <a:pt x="575" y="323"/>
                      </a:lnTo>
                      <a:lnTo>
                        <a:pt x="575" y="323"/>
                      </a:lnTo>
                      <a:lnTo>
                        <a:pt x="575" y="336"/>
                      </a:lnTo>
                      <a:lnTo>
                        <a:pt x="574" y="349"/>
                      </a:lnTo>
                      <a:lnTo>
                        <a:pt x="572" y="361"/>
                      </a:lnTo>
                      <a:lnTo>
                        <a:pt x="570" y="374"/>
                      </a:lnTo>
                      <a:lnTo>
                        <a:pt x="567" y="386"/>
                      </a:lnTo>
                      <a:lnTo>
                        <a:pt x="564" y="398"/>
                      </a:lnTo>
                      <a:lnTo>
                        <a:pt x="560" y="409"/>
                      </a:lnTo>
                      <a:lnTo>
                        <a:pt x="555" y="422"/>
                      </a:lnTo>
                      <a:lnTo>
                        <a:pt x="544" y="443"/>
                      </a:lnTo>
                      <a:lnTo>
                        <a:pt x="531" y="464"/>
                      </a:lnTo>
                      <a:lnTo>
                        <a:pt x="517" y="483"/>
                      </a:lnTo>
                      <a:lnTo>
                        <a:pt x="501" y="501"/>
                      </a:lnTo>
                      <a:lnTo>
                        <a:pt x="483" y="517"/>
                      </a:lnTo>
                      <a:lnTo>
                        <a:pt x="464" y="532"/>
                      </a:lnTo>
                      <a:lnTo>
                        <a:pt x="443" y="544"/>
                      </a:lnTo>
                      <a:lnTo>
                        <a:pt x="421" y="555"/>
                      </a:lnTo>
                      <a:lnTo>
                        <a:pt x="410" y="559"/>
                      </a:lnTo>
                      <a:lnTo>
                        <a:pt x="398" y="563"/>
                      </a:lnTo>
                      <a:lnTo>
                        <a:pt x="386" y="567"/>
                      </a:lnTo>
                      <a:lnTo>
                        <a:pt x="374" y="570"/>
                      </a:lnTo>
                      <a:lnTo>
                        <a:pt x="362" y="572"/>
                      </a:lnTo>
                      <a:lnTo>
                        <a:pt x="349" y="573"/>
                      </a:lnTo>
                      <a:lnTo>
                        <a:pt x="336" y="574"/>
                      </a:lnTo>
                      <a:lnTo>
                        <a:pt x="322" y="575"/>
                      </a:lnTo>
                      <a:lnTo>
                        <a:pt x="322" y="575"/>
                      </a:lnTo>
                      <a:lnTo>
                        <a:pt x="310" y="574"/>
                      </a:lnTo>
                      <a:lnTo>
                        <a:pt x="297" y="573"/>
                      </a:lnTo>
                      <a:lnTo>
                        <a:pt x="284" y="572"/>
                      </a:lnTo>
                      <a:lnTo>
                        <a:pt x="272" y="570"/>
                      </a:lnTo>
                      <a:lnTo>
                        <a:pt x="260" y="567"/>
                      </a:lnTo>
                      <a:lnTo>
                        <a:pt x="248" y="563"/>
                      </a:lnTo>
                      <a:lnTo>
                        <a:pt x="236" y="559"/>
                      </a:lnTo>
                      <a:lnTo>
                        <a:pt x="225" y="555"/>
                      </a:lnTo>
                      <a:lnTo>
                        <a:pt x="203" y="544"/>
                      </a:lnTo>
                      <a:lnTo>
                        <a:pt x="183" y="532"/>
                      </a:lnTo>
                      <a:lnTo>
                        <a:pt x="163" y="517"/>
                      </a:lnTo>
                      <a:lnTo>
                        <a:pt x="145" y="501"/>
                      </a:lnTo>
                      <a:lnTo>
                        <a:pt x="129" y="483"/>
                      </a:lnTo>
                      <a:lnTo>
                        <a:pt x="115" y="464"/>
                      </a:lnTo>
                      <a:lnTo>
                        <a:pt x="101" y="443"/>
                      </a:lnTo>
                      <a:lnTo>
                        <a:pt x="91" y="422"/>
                      </a:lnTo>
                      <a:lnTo>
                        <a:pt x="86" y="409"/>
                      </a:lnTo>
                      <a:lnTo>
                        <a:pt x="82" y="398"/>
                      </a:lnTo>
                      <a:lnTo>
                        <a:pt x="79" y="386"/>
                      </a:lnTo>
                      <a:lnTo>
                        <a:pt x="76" y="374"/>
                      </a:lnTo>
                      <a:lnTo>
                        <a:pt x="74" y="361"/>
                      </a:lnTo>
                      <a:lnTo>
                        <a:pt x="72" y="349"/>
                      </a:lnTo>
                      <a:lnTo>
                        <a:pt x="71" y="336"/>
                      </a:lnTo>
                      <a:lnTo>
                        <a:pt x="71" y="323"/>
                      </a:lnTo>
                      <a:lnTo>
                        <a:pt x="71" y="323"/>
                      </a:lnTo>
                      <a:lnTo>
                        <a:pt x="71" y="310"/>
                      </a:lnTo>
                      <a:lnTo>
                        <a:pt x="72" y="298"/>
                      </a:lnTo>
                      <a:lnTo>
                        <a:pt x="74" y="285"/>
                      </a:lnTo>
                      <a:lnTo>
                        <a:pt x="76" y="273"/>
                      </a:lnTo>
                      <a:lnTo>
                        <a:pt x="79" y="261"/>
                      </a:lnTo>
                      <a:lnTo>
                        <a:pt x="82" y="249"/>
                      </a:lnTo>
                      <a:lnTo>
                        <a:pt x="86" y="237"/>
                      </a:lnTo>
                      <a:lnTo>
                        <a:pt x="91" y="226"/>
                      </a:lnTo>
                      <a:lnTo>
                        <a:pt x="101" y="204"/>
                      </a:lnTo>
                      <a:lnTo>
                        <a:pt x="115" y="182"/>
                      </a:lnTo>
                      <a:lnTo>
                        <a:pt x="129" y="163"/>
                      </a:lnTo>
                      <a:lnTo>
                        <a:pt x="145" y="145"/>
                      </a:lnTo>
                      <a:lnTo>
                        <a:pt x="163" y="129"/>
                      </a:lnTo>
                      <a:lnTo>
                        <a:pt x="183" y="114"/>
                      </a:lnTo>
                      <a:lnTo>
                        <a:pt x="203" y="102"/>
                      </a:lnTo>
                      <a:lnTo>
                        <a:pt x="225" y="91"/>
                      </a:lnTo>
                      <a:lnTo>
                        <a:pt x="236" y="87"/>
                      </a:lnTo>
                      <a:lnTo>
                        <a:pt x="248" y="83"/>
                      </a:lnTo>
                      <a:lnTo>
                        <a:pt x="260" y="79"/>
                      </a:lnTo>
                      <a:lnTo>
                        <a:pt x="272" y="77"/>
                      </a:lnTo>
                      <a:lnTo>
                        <a:pt x="284" y="74"/>
                      </a:lnTo>
                      <a:lnTo>
                        <a:pt x="297" y="73"/>
                      </a:lnTo>
                      <a:lnTo>
                        <a:pt x="310" y="72"/>
                      </a:lnTo>
                      <a:lnTo>
                        <a:pt x="322"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11" name="Freeform 149"/>
                <p:cNvSpPr>
                  <a:spLocks noEditPoints="1"/>
                </p:cNvSpPr>
                <p:nvPr/>
              </p:nvSpPr>
              <p:spPr bwMode="auto">
                <a:xfrm>
                  <a:off x="6229350" y="3246120"/>
                  <a:ext cx="93346" cy="360046"/>
                </a:xfrm>
                <a:custGeom>
                  <a:avLst/>
                  <a:gdLst>
                    <a:gd name="T0" fmla="*/ 100 w 100"/>
                    <a:gd name="T1" fmla="*/ 44 h 378"/>
                    <a:gd name="T2" fmla="*/ 100 w 100"/>
                    <a:gd name="T3" fmla="*/ 44 h 378"/>
                    <a:gd name="T4" fmla="*/ 99 w 100"/>
                    <a:gd name="T5" fmla="*/ 35 h 378"/>
                    <a:gd name="T6" fmla="*/ 96 w 100"/>
                    <a:gd name="T7" fmla="*/ 26 h 378"/>
                    <a:gd name="T8" fmla="*/ 92 w 100"/>
                    <a:gd name="T9" fmla="*/ 19 h 378"/>
                    <a:gd name="T10" fmla="*/ 86 w 100"/>
                    <a:gd name="T11" fmla="*/ 13 h 378"/>
                    <a:gd name="T12" fmla="*/ 86 w 100"/>
                    <a:gd name="T13" fmla="*/ 13 h 378"/>
                    <a:gd name="T14" fmla="*/ 78 w 100"/>
                    <a:gd name="T15" fmla="*/ 7 h 378"/>
                    <a:gd name="T16" fmla="*/ 70 w 100"/>
                    <a:gd name="T17" fmla="*/ 3 h 378"/>
                    <a:gd name="T18" fmla="*/ 61 w 100"/>
                    <a:gd name="T19" fmla="*/ 1 h 378"/>
                    <a:gd name="T20" fmla="*/ 49 w 100"/>
                    <a:gd name="T21" fmla="*/ 0 h 378"/>
                    <a:gd name="T22" fmla="*/ 49 w 100"/>
                    <a:gd name="T23" fmla="*/ 0 h 378"/>
                    <a:gd name="T24" fmla="*/ 39 w 100"/>
                    <a:gd name="T25" fmla="*/ 1 h 378"/>
                    <a:gd name="T26" fmla="*/ 30 w 100"/>
                    <a:gd name="T27" fmla="*/ 3 h 378"/>
                    <a:gd name="T28" fmla="*/ 22 w 100"/>
                    <a:gd name="T29" fmla="*/ 7 h 378"/>
                    <a:gd name="T30" fmla="*/ 14 w 100"/>
                    <a:gd name="T31" fmla="*/ 12 h 378"/>
                    <a:gd name="T32" fmla="*/ 14 w 100"/>
                    <a:gd name="T33" fmla="*/ 12 h 378"/>
                    <a:gd name="T34" fmla="*/ 8 w 100"/>
                    <a:gd name="T35" fmla="*/ 19 h 378"/>
                    <a:gd name="T36" fmla="*/ 4 w 100"/>
                    <a:gd name="T37" fmla="*/ 26 h 378"/>
                    <a:gd name="T38" fmla="*/ 1 w 100"/>
                    <a:gd name="T39" fmla="*/ 34 h 378"/>
                    <a:gd name="T40" fmla="*/ 0 w 100"/>
                    <a:gd name="T41" fmla="*/ 44 h 378"/>
                    <a:gd name="T42" fmla="*/ 0 w 100"/>
                    <a:gd name="T43" fmla="*/ 44 h 378"/>
                    <a:gd name="T44" fmla="*/ 1 w 100"/>
                    <a:gd name="T45" fmla="*/ 52 h 378"/>
                    <a:gd name="T46" fmla="*/ 4 w 100"/>
                    <a:gd name="T47" fmla="*/ 61 h 378"/>
                    <a:gd name="T48" fmla="*/ 8 w 100"/>
                    <a:gd name="T49" fmla="*/ 69 h 378"/>
                    <a:gd name="T50" fmla="*/ 14 w 100"/>
                    <a:gd name="T51" fmla="*/ 76 h 378"/>
                    <a:gd name="T52" fmla="*/ 14 w 100"/>
                    <a:gd name="T53" fmla="*/ 76 h 378"/>
                    <a:gd name="T54" fmla="*/ 21 w 100"/>
                    <a:gd name="T55" fmla="*/ 82 h 378"/>
                    <a:gd name="T56" fmla="*/ 30 w 100"/>
                    <a:gd name="T57" fmla="*/ 86 h 378"/>
                    <a:gd name="T58" fmla="*/ 39 w 100"/>
                    <a:gd name="T59" fmla="*/ 88 h 378"/>
                    <a:gd name="T60" fmla="*/ 49 w 100"/>
                    <a:gd name="T61" fmla="*/ 89 h 378"/>
                    <a:gd name="T62" fmla="*/ 49 w 100"/>
                    <a:gd name="T63" fmla="*/ 89 h 378"/>
                    <a:gd name="T64" fmla="*/ 61 w 100"/>
                    <a:gd name="T65" fmla="*/ 88 h 378"/>
                    <a:gd name="T66" fmla="*/ 70 w 100"/>
                    <a:gd name="T67" fmla="*/ 86 h 378"/>
                    <a:gd name="T68" fmla="*/ 79 w 100"/>
                    <a:gd name="T69" fmla="*/ 82 h 378"/>
                    <a:gd name="T70" fmla="*/ 86 w 100"/>
                    <a:gd name="T71" fmla="*/ 76 h 378"/>
                    <a:gd name="T72" fmla="*/ 86 w 100"/>
                    <a:gd name="T73" fmla="*/ 76 h 378"/>
                    <a:gd name="T74" fmla="*/ 92 w 100"/>
                    <a:gd name="T75" fmla="*/ 70 h 378"/>
                    <a:gd name="T76" fmla="*/ 96 w 100"/>
                    <a:gd name="T77" fmla="*/ 61 h 378"/>
                    <a:gd name="T78" fmla="*/ 99 w 100"/>
                    <a:gd name="T79" fmla="*/ 53 h 378"/>
                    <a:gd name="T80" fmla="*/ 100 w 100"/>
                    <a:gd name="T81" fmla="*/ 44 h 378"/>
                    <a:gd name="T82" fmla="*/ 7 w 100"/>
                    <a:gd name="T83" fmla="*/ 130 h 378"/>
                    <a:gd name="T84" fmla="*/ 93 w 100"/>
                    <a:gd name="T85" fmla="*/ 130 h 378"/>
                    <a:gd name="T86" fmla="*/ 93 w 100"/>
                    <a:gd name="T87" fmla="*/ 378 h 378"/>
                    <a:gd name="T88" fmla="*/ 7 w 100"/>
                    <a:gd name="T89" fmla="*/ 378 h 378"/>
                    <a:gd name="T90" fmla="*/ 7 w 100"/>
                    <a:gd name="T91" fmla="*/ 13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0" h="378">
                      <a:moveTo>
                        <a:pt x="100" y="44"/>
                      </a:moveTo>
                      <a:lnTo>
                        <a:pt x="100" y="44"/>
                      </a:lnTo>
                      <a:lnTo>
                        <a:pt x="99" y="35"/>
                      </a:lnTo>
                      <a:lnTo>
                        <a:pt x="96" y="26"/>
                      </a:lnTo>
                      <a:lnTo>
                        <a:pt x="92" y="19"/>
                      </a:lnTo>
                      <a:lnTo>
                        <a:pt x="86" y="13"/>
                      </a:lnTo>
                      <a:lnTo>
                        <a:pt x="86" y="13"/>
                      </a:lnTo>
                      <a:lnTo>
                        <a:pt x="78" y="7"/>
                      </a:lnTo>
                      <a:lnTo>
                        <a:pt x="70" y="3"/>
                      </a:lnTo>
                      <a:lnTo>
                        <a:pt x="61" y="1"/>
                      </a:lnTo>
                      <a:lnTo>
                        <a:pt x="49" y="0"/>
                      </a:lnTo>
                      <a:lnTo>
                        <a:pt x="49" y="0"/>
                      </a:lnTo>
                      <a:lnTo>
                        <a:pt x="39" y="1"/>
                      </a:lnTo>
                      <a:lnTo>
                        <a:pt x="30" y="3"/>
                      </a:lnTo>
                      <a:lnTo>
                        <a:pt x="22" y="7"/>
                      </a:lnTo>
                      <a:lnTo>
                        <a:pt x="14" y="12"/>
                      </a:lnTo>
                      <a:lnTo>
                        <a:pt x="14" y="12"/>
                      </a:lnTo>
                      <a:lnTo>
                        <a:pt x="8" y="19"/>
                      </a:lnTo>
                      <a:lnTo>
                        <a:pt x="4" y="26"/>
                      </a:lnTo>
                      <a:lnTo>
                        <a:pt x="1" y="34"/>
                      </a:lnTo>
                      <a:lnTo>
                        <a:pt x="0" y="44"/>
                      </a:lnTo>
                      <a:lnTo>
                        <a:pt x="0" y="44"/>
                      </a:lnTo>
                      <a:lnTo>
                        <a:pt x="1" y="52"/>
                      </a:lnTo>
                      <a:lnTo>
                        <a:pt x="4" y="61"/>
                      </a:lnTo>
                      <a:lnTo>
                        <a:pt x="8" y="69"/>
                      </a:lnTo>
                      <a:lnTo>
                        <a:pt x="14" y="76"/>
                      </a:lnTo>
                      <a:lnTo>
                        <a:pt x="14" y="76"/>
                      </a:lnTo>
                      <a:lnTo>
                        <a:pt x="21" y="82"/>
                      </a:lnTo>
                      <a:lnTo>
                        <a:pt x="30" y="86"/>
                      </a:lnTo>
                      <a:lnTo>
                        <a:pt x="39" y="88"/>
                      </a:lnTo>
                      <a:lnTo>
                        <a:pt x="49" y="89"/>
                      </a:lnTo>
                      <a:lnTo>
                        <a:pt x="49" y="89"/>
                      </a:lnTo>
                      <a:lnTo>
                        <a:pt x="61" y="88"/>
                      </a:lnTo>
                      <a:lnTo>
                        <a:pt x="70" y="86"/>
                      </a:lnTo>
                      <a:lnTo>
                        <a:pt x="79" y="82"/>
                      </a:lnTo>
                      <a:lnTo>
                        <a:pt x="86" y="76"/>
                      </a:lnTo>
                      <a:lnTo>
                        <a:pt x="86" y="76"/>
                      </a:lnTo>
                      <a:lnTo>
                        <a:pt x="92" y="70"/>
                      </a:lnTo>
                      <a:lnTo>
                        <a:pt x="96" y="61"/>
                      </a:lnTo>
                      <a:lnTo>
                        <a:pt x="99" y="53"/>
                      </a:lnTo>
                      <a:lnTo>
                        <a:pt x="100" y="44"/>
                      </a:lnTo>
                      <a:close/>
                      <a:moveTo>
                        <a:pt x="7" y="130"/>
                      </a:moveTo>
                      <a:lnTo>
                        <a:pt x="93" y="130"/>
                      </a:lnTo>
                      <a:lnTo>
                        <a:pt x="93" y="378"/>
                      </a:lnTo>
                      <a:lnTo>
                        <a:pt x="7" y="378"/>
                      </a:lnTo>
                      <a:lnTo>
                        <a:pt x="7"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12" name="Freeform 150"/>
                <p:cNvSpPr>
                  <a:spLocks/>
                </p:cNvSpPr>
                <p:nvPr/>
              </p:nvSpPr>
              <p:spPr bwMode="auto">
                <a:xfrm>
                  <a:off x="6229350" y="3246120"/>
                  <a:ext cx="93346" cy="83820"/>
                </a:xfrm>
                <a:custGeom>
                  <a:avLst/>
                  <a:gdLst>
                    <a:gd name="T0" fmla="*/ 100 w 100"/>
                    <a:gd name="T1" fmla="*/ 44 h 89"/>
                    <a:gd name="T2" fmla="*/ 100 w 100"/>
                    <a:gd name="T3" fmla="*/ 44 h 89"/>
                    <a:gd name="T4" fmla="*/ 99 w 100"/>
                    <a:gd name="T5" fmla="*/ 35 h 89"/>
                    <a:gd name="T6" fmla="*/ 96 w 100"/>
                    <a:gd name="T7" fmla="*/ 26 h 89"/>
                    <a:gd name="T8" fmla="*/ 92 w 100"/>
                    <a:gd name="T9" fmla="*/ 19 h 89"/>
                    <a:gd name="T10" fmla="*/ 86 w 100"/>
                    <a:gd name="T11" fmla="*/ 13 h 89"/>
                    <a:gd name="T12" fmla="*/ 86 w 100"/>
                    <a:gd name="T13" fmla="*/ 13 h 89"/>
                    <a:gd name="T14" fmla="*/ 78 w 100"/>
                    <a:gd name="T15" fmla="*/ 7 h 89"/>
                    <a:gd name="T16" fmla="*/ 70 w 100"/>
                    <a:gd name="T17" fmla="*/ 3 h 89"/>
                    <a:gd name="T18" fmla="*/ 61 w 100"/>
                    <a:gd name="T19" fmla="*/ 1 h 89"/>
                    <a:gd name="T20" fmla="*/ 49 w 100"/>
                    <a:gd name="T21" fmla="*/ 0 h 89"/>
                    <a:gd name="T22" fmla="*/ 49 w 100"/>
                    <a:gd name="T23" fmla="*/ 0 h 89"/>
                    <a:gd name="T24" fmla="*/ 39 w 100"/>
                    <a:gd name="T25" fmla="*/ 1 h 89"/>
                    <a:gd name="T26" fmla="*/ 30 w 100"/>
                    <a:gd name="T27" fmla="*/ 3 h 89"/>
                    <a:gd name="T28" fmla="*/ 22 w 100"/>
                    <a:gd name="T29" fmla="*/ 7 h 89"/>
                    <a:gd name="T30" fmla="*/ 14 w 100"/>
                    <a:gd name="T31" fmla="*/ 12 h 89"/>
                    <a:gd name="T32" fmla="*/ 14 w 100"/>
                    <a:gd name="T33" fmla="*/ 12 h 89"/>
                    <a:gd name="T34" fmla="*/ 8 w 100"/>
                    <a:gd name="T35" fmla="*/ 19 h 89"/>
                    <a:gd name="T36" fmla="*/ 4 w 100"/>
                    <a:gd name="T37" fmla="*/ 26 h 89"/>
                    <a:gd name="T38" fmla="*/ 1 w 100"/>
                    <a:gd name="T39" fmla="*/ 34 h 89"/>
                    <a:gd name="T40" fmla="*/ 0 w 100"/>
                    <a:gd name="T41" fmla="*/ 44 h 89"/>
                    <a:gd name="T42" fmla="*/ 0 w 100"/>
                    <a:gd name="T43" fmla="*/ 44 h 89"/>
                    <a:gd name="T44" fmla="*/ 1 w 100"/>
                    <a:gd name="T45" fmla="*/ 52 h 89"/>
                    <a:gd name="T46" fmla="*/ 4 w 100"/>
                    <a:gd name="T47" fmla="*/ 61 h 89"/>
                    <a:gd name="T48" fmla="*/ 8 w 100"/>
                    <a:gd name="T49" fmla="*/ 69 h 89"/>
                    <a:gd name="T50" fmla="*/ 14 w 100"/>
                    <a:gd name="T51" fmla="*/ 76 h 89"/>
                    <a:gd name="T52" fmla="*/ 14 w 100"/>
                    <a:gd name="T53" fmla="*/ 76 h 89"/>
                    <a:gd name="T54" fmla="*/ 21 w 100"/>
                    <a:gd name="T55" fmla="*/ 82 h 89"/>
                    <a:gd name="T56" fmla="*/ 30 w 100"/>
                    <a:gd name="T57" fmla="*/ 86 h 89"/>
                    <a:gd name="T58" fmla="*/ 39 w 100"/>
                    <a:gd name="T59" fmla="*/ 88 h 89"/>
                    <a:gd name="T60" fmla="*/ 49 w 100"/>
                    <a:gd name="T61" fmla="*/ 89 h 89"/>
                    <a:gd name="T62" fmla="*/ 49 w 100"/>
                    <a:gd name="T63" fmla="*/ 89 h 89"/>
                    <a:gd name="T64" fmla="*/ 61 w 100"/>
                    <a:gd name="T65" fmla="*/ 88 h 89"/>
                    <a:gd name="T66" fmla="*/ 70 w 100"/>
                    <a:gd name="T67" fmla="*/ 86 h 89"/>
                    <a:gd name="T68" fmla="*/ 79 w 100"/>
                    <a:gd name="T69" fmla="*/ 82 h 89"/>
                    <a:gd name="T70" fmla="*/ 86 w 100"/>
                    <a:gd name="T71" fmla="*/ 76 h 89"/>
                    <a:gd name="T72" fmla="*/ 86 w 100"/>
                    <a:gd name="T73" fmla="*/ 76 h 89"/>
                    <a:gd name="T74" fmla="*/ 92 w 100"/>
                    <a:gd name="T75" fmla="*/ 70 h 89"/>
                    <a:gd name="T76" fmla="*/ 96 w 100"/>
                    <a:gd name="T77" fmla="*/ 61 h 89"/>
                    <a:gd name="T78" fmla="*/ 99 w 100"/>
                    <a:gd name="T79" fmla="*/ 53 h 89"/>
                    <a:gd name="T80" fmla="*/ 100 w 100"/>
                    <a:gd name="T8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89">
                      <a:moveTo>
                        <a:pt x="100" y="44"/>
                      </a:moveTo>
                      <a:lnTo>
                        <a:pt x="100" y="44"/>
                      </a:lnTo>
                      <a:lnTo>
                        <a:pt x="99" y="35"/>
                      </a:lnTo>
                      <a:lnTo>
                        <a:pt x="96" y="26"/>
                      </a:lnTo>
                      <a:lnTo>
                        <a:pt x="92" y="19"/>
                      </a:lnTo>
                      <a:lnTo>
                        <a:pt x="86" y="13"/>
                      </a:lnTo>
                      <a:lnTo>
                        <a:pt x="86" y="13"/>
                      </a:lnTo>
                      <a:lnTo>
                        <a:pt x="78" y="7"/>
                      </a:lnTo>
                      <a:lnTo>
                        <a:pt x="70" y="3"/>
                      </a:lnTo>
                      <a:lnTo>
                        <a:pt x="61" y="1"/>
                      </a:lnTo>
                      <a:lnTo>
                        <a:pt x="49" y="0"/>
                      </a:lnTo>
                      <a:lnTo>
                        <a:pt x="49" y="0"/>
                      </a:lnTo>
                      <a:lnTo>
                        <a:pt x="39" y="1"/>
                      </a:lnTo>
                      <a:lnTo>
                        <a:pt x="30" y="3"/>
                      </a:lnTo>
                      <a:lnTo>
                        <a:pt x="22" y="7"/>
                      </a:lnTo>
                      <a:lnTo>
                        <a:pt x="14" y="12"/>
                      </a:lnTo>
                      <a:lnTo>
                        <a:pt x="14" y="12"/>
                      </a:lnTo>
                      <a:lnTo>
                        <a:pt x="8" y="19"/>
                      </a:lnTo>
                      <a:lnTo>
                        <a:pt x="4" y="26"/>
                      </a:lnTo>
                      <a:lnTo>
                        <a:pt x="1" y="34"/>
                      </a:lnTo>
                      <a:lnTo>
                        <a:pt x="0" y="44"/>
                      </a:lnTo>
                      <a:lnTo>
                        <a:pt x="0" y="44"/>
                      </a:lnTo>
                      <a:lnTo>
                        <a:pt x="1" y="52"/>
                      </a:lnTo>
                      <a:lnTo>
                        <a:pt x="4" y="61"/>
                      </a:lnTo>
                      <a:lnTo>
                        <a:pt x="8" y="69"/>
                      </a:lnTo>
                      <a:lnTo>
                        <a:pt x="14" y="76"/>
                      </a:lnTo>
                      <a:lnTo>
                        <a:pt x="14" y="76"/>
                      </a:lnTo>
                      <a:lnTo>
                        <a:pt x="21" y="82"/>
                      </a:lnTo>
                      <a:lnTo>
                        <a:pt x="30" y="86"/>
                      </a:lnTo>
                      <a:lnTo>
                        <a:pt x="39" y="88"/>
                      </a:lnTo>
                      <a:lnTo>
                        <a:pt x="49" y="89"/>
                      </a:lnTo>
                      <a:lnTo>
                        <a:pt x="49" y="89"/>
                      </a:lnTo>
                      <a:lnTo>
                        <a:pt x="61" y="88"/>
                      </a:lnTo>
                      <a:lnTo>
                        <a:pt x="70" y="86"/>
                      </a:lnTo>
                      <a:lnTo>
                        <a:pt x="79" y="82"/>
                      </a:lnTo>
                      <a:lnTo>
                        <a:pt x="86" y="76"/>
                      </a:lnTo>
                      <a:lnTo>
                        <a:pt x="86" y="76"/>
                      </a:lnTo>
                      <a:lnTo>
                        <a:pt x="92" y="70"/>
                      </a:lnTo>
                      <a:lnTo>
                        <a:pt x="96" y="61"/>
                      </a:lnTo>
                      <a:lnTo>
                        <a:pt x="99" y="53"/>
                      </a:lnTo>
                      <a:lnTo>
                        <a:pt x="100" y="4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13" name="Rectangle 151"/>
                <p:cNvSpPr>
                  <a:spLocks noChangeArrowheads="1"/>
                </p:cNvSpPr>
                <p:nvPr/>
              </p:nvSpPr>
              <p:spPr bwMode="auto">
                <a:xfrm>
                  <a:off x="6235065" y="3369946"/>
                  <a:ext cx="81916" cy="2362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867" name="Freeform 72"/>
              <p:cNvSpPr>
                <a:spLocks noEditPoints="1"/>
              </p:cNvSpPr>
              <p:nvPr/>
            </p:nvSpPr>
            <p:spPr bwMode="auto">
              <a:xfrm>
                <a:off x="2298701" y="5761464"/>
                <a:ext cx="46154" cy="49374"/>
              </a:xfrm>
              <a:custGeom>
                <a:avLst/>
                <a:gdLst>
                  <a:gd name="T0" fmla="*/ 220 w 516"/>
                  <a:gd name="T1" fmla="*/ 71 h 551"/>
                  <a:gd name="T2" fmla="*/ 209 w 516"/>
                  <a:gd name="T3" fmla="*/ 63 h 551"/>
                  <a:gd name="T4" fmla="*/ 209 w 516"/>
                  <a:gd name="T5" fmla="*/ 53 h 551"/>
                  <a:gd name="T6" fmla="*/ 220 w 516"/>
                  <a:gd name="T7" fmla="*/ 46 h 551"/>
                  <a:gd name="T8" fmla="*/ 470 w 516"/>
                  <a:gd name="T9" fmla="*/ 47 h 551"/>
                  <a:gd name="T10" fmla="*/ 477 w 516"/>
                  <a:gd name="T11" fmla="*/ 58 h 551"/>
                  <a:gd name="T12" fmla="*/ 473 w 516"/>
                  <a:gd name="T13" fmla="*/ 67 h 551"/>
                  <a:gd name="T14" fmla="*/ 513 w 516"/>
                  <a:gd name="T15" fmla="*/ 15 h 551"/>
                  <a:gd name="T16" fmla="*/ 511 w 516"/>
                  <a:gd name="T17" fmla="*/ 9 h 551"/>
                  <a:gd name="T18" fmla="*/ 503 w 516"/>
                  <a:gd name="T19" fmla="*/ 2 h 551"/>
                  <a:gd name="T20" fmla="*/ 491 w 516"/>
                  <a:gd name="T21" fmla="*/ 0 h 551"/>
                  <a:gd name="T22" fmla="*/ 187 w 516"/>
                  <a:gd name="T23" fmla="*/ 0 h 551"/>
                  <a:gd name="T24" fmla="*/ 175 w 516"/>
                  <a:gd name="T25" fmla="*/ 4 h 551"/>
                  <a:gd name="T26" fmla="*/ 169 w 516"/>
                  <a:gd name="T27" fmla="*/ 12 h 551"/>
                  <a:gd name="T28" fmla="*/ 169 w 516"/>
                  <a:gd name="T29" fmla="*/ 83 h 551"/>
                  <a:gd name="T30" fmla="*/ 169 w 516"/>
                  <a:gd name="T31" fmla="*/ 88 h 551"/>
                  <a:gd name="T32" fmla="*/ 172 w 516"/>
                  <a:gd name="T33" fmla="*/ 400 h 551"/>
                  <a:gd name="T34" fmla="*/ 140 w 516"/>
                  <a:gd name="T35" fmla="*/ 391 h 551"/>
                  <a:gd name="T36" fmla="*/ 103 w 516"/>
                  <a:gd name="T37" fmla="*/ 394 h 551"/>
                  <a:gd name="T38" fmla="*/ 76 w 516"/>
                  <a:gd name="T39" fmla="*/ 403 h 551"/>
                  <a:gd name="T40" fmla="*/ 47 w 516"/>
                  <a:gd name="T41" fmla="*/ 418 h 551"/>
                  <a:gd name="T42" fmla="*/ 24 w 516"/>
                  <a:gd name="T43" fmla="*/ 437 h 551"/>
                  <a:gd name="T44" fmla="*/ 8 w 516"/>
                  <a:gd name="T45" fmla="*/ 459 h 551"/>
                  <a:gd name="T46" fmla="*/ 0 w 516"/>
                  <a:gd name="T47" fmla="*/ 483 h 551"/>
                  <a:gd name="T48" fmla="*/ 2 w 516"/>
                  <a:gd name="T49" fmla="*/ 507 h 551"/>
                  <a:gd name="T50" fmla="*/ 9 w 516"/>
                  <a:gd name="T51" fmla="*/ 522 h 551"/>
                  <a:gd name="T52" fmla="*/ 26 w 516"/>
                  <a:gd name="T53" fmla="*/ 538 h 551"/>
                  <a:gd name="T54" fmla="*/ 48 w 516"/>
                  <a:gd name="T55" fmla="*/ 548 h 551"/>
                  <a:gd name="T56" fmla="*/ 74 w 516"/>
                  <a:gd name="T57" fmla="*/ 551 h 551"/>
                  <a:gd name="T58" fmla="*/ 103 w 516"/>
                  <a:gd name="T59" fmla="*/ 548 h 551"/>
                  <a:gd name="T60" fmla="*/ 132 w 516"/>
                  <a:gd name="T61" fmla="*/ 538 h 551"/>
                  <a:gd name="T62" fmla="*/ 169 w 516"/>
                  <a:gd name="T63" fmla="*/ 515 h 551"/>
                  <a:gd name="T64" fmla="*/ 195 w 516"/>
                  <a:gd name="T65" fmla="*/ 490 h 551"/>
                  <a:gd name="T66" fmla="*/ 207 w 516"/>
                  <a:gd name="T67" fmla="*/ 470 h 551"/>
                  <a:gd name="T68" fmla="*/ 213 w 516"/>
                  <a:gd name="T69" fmla="*/ 449 h 551"/>
                  <a:gd name="T70" fmla="*/ 214 w 516"/>
                  <a:gd name="T71" fmla="*/ 434 h 551"/>
                  <a:gd name="T72" fmla="*/ 211 w 516"/>
                  <a:gd name="T73" fmla="*/ 120 h 551"/>
                  <a:gd name="T74" fmla="*/ 210 w 516"/>
                  <a:gd name="T75" fmla="*/ 104 h 551"/>
                  <a:gd name="T76" fmla="*/ 474 w 516"/>
                  <a:gd name="T77" fmla="*/ 312 h 551"/>
                  <a:gd name="T78" fmla="*/ 442 w 516"/>
                  <a:gd name="T79" fmla="*/ 304 h 551"/>
                  <a:gd name="T80" fmla="*/ 404 w 516"/>
                  <a:gd name="T81" fmla="*/ 307 h 551"/>
                  <a:gd name="T82" fmla="*/ 378 w 516"/>
                  <a:gd name="T83" fmla="*/ 315 h 551"/>
                  <a:gd name="T84" fmla="*/ 349 w 516"/>
                  <a:gd name="T85" fmla="*/ 331 h 551"/>
                  <a:gd name="T86" fmla="*/ 326 w 516"/>
                  <a:gd name="T87" fmla="*/ 350 h 551"/>
                  <a:gd name="T88" fmla="*/ 310 w 516"/>
                  <a:gd name="T89" fmla="*/ 372 h 551"/>
                  <a:gd name="T90" fmla="*/ 303 w 516"/>
                  <a:gd name="T91" fmla="*/ 396 h 551"/>
                  <a:gd name="T92" fmla="*/ 305 w 516"/>
                  <a:gd name="T93" fmla="*/ 420 h 551"/>
                  <a:gd name="T94" fmla="*/ 312 w 516"/>
                  <a:gd name="T95" fmla="*/ 435 h 551"/>
                  <a:gd name="T96" fmla="*/ 328 w 516"/>
                  <a:gd name="T97" fmla="*/ 452 h 551"/>
                  <a:gd name="T98" fmla="*/ 350 w 516"/>
                  <a:gd name="T99" fmla="*/ 461 h 551"/>
                  <a:gd name="T100" fmla="*/ 376 w 516"/>
                  <a:gd name="T101" fmla="*/ 465 h 551"/>
                  <a:gd name="T102" fmla="*/ 404 w 516"/>
                  <a:gd name="T103" fmla="*/ 461 h 551"/>
                  <a:gd name="T104" fmla="*/ 433 w 516"/>
                  <a:gd name="T105" fmla="*/ 451 h 551"/>
                  <a:gd name="T106" fmla="*/ 472 w 516"/>
                  <a:gd name="T107" fmla="*/ 429 h 551"/>
                  <a:gd name="T108" fmla="*/ 497 w 516"/>
                  <a:gd name="T109" fmla="*/ 404 h 551"/>
                  <a:gd name="T110" fmla="*/ 509 w 516"/>
                  <a:gd name="T111" fmla="*/ 383 h 551"/>
                  <a:gd name="T112" fmla="*/ 515 w 516"/>
                  <a:gd name="T113" fmla="*/ 361 h 551"/>
                  <a:gd name="T114" fmla="*/ 513 w 516"/>
                  <a:gd name="T115" fmla="*/ 15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 h="551">
                    <a:moveTo>
                      <a:pt x="465" y="71"/>
                    </a:moveTo>
                    <a:lnTo>
                      <a:pt x="220" y="71"/>
                    </a:lnTo>
                    <a:lnTo>
                      <a:pt x="220" y="71"/>
                    </a:lnTo>
                    <a:lnTo>
                      <a:pt x="216" y="70"/>
                    </a:lnTo>
                    <a:lnTo>
                      <a:pt x="212" y="67"/>
                    </a:lnTo>
                    <a:lnTo>
                      <a:pt x="209" y="63"/>
                    </a:lnTo>
                    <a:lnTo>
                      <a:pt x="208" y="58"/>
                    </a:lnTo>
                    <a:lnTo>
                      <a:pt x="208" y="58"/>
                    </a:lnTo>
                    <a:lnTo>
                      <a:pt x="209" y="53"/>
                    </a:lnTo>
                    <a:lnTo>
                      <a:pt x="212" y="49"/>
                    </a:lnTo>
                    <a:lnTo>
                      <a:pt x="216" y="47"/>
                    </a:lnTo>
                    <a:lnTo>
                      <a:pt x="220" y="46"/>
                    </a:lnTo>
                    <a:lnTo>
                      <a:pt x="465" y="46"/>
                    </a:lnTo>
                    <a:lnTo>
                      <a:pt x="465" y="46"/>
                    </a:lnTo>
                    <a:lnTo>
                      <a:pt x="470" y="47"/>
                    </a:lnTo>
                    <a:lnTo>
                      <a:pt x="473" y="49"/>
                    </a:lnTo>
                    <a:lnTo>
                      <a:pt x="476" y="53"/>
                    </a:lnTo>
                    <a:lnTo>
                      <a:pt x="477" y="58"/>
                    </a:lnTo>
                    <a:lnTo>
                      <a:pt x="477" y="58"/>
                    </a:lnTo>
                    <a:lnTo>
                      <a:pt x="476" y="63"/>
                    </a:lnTo>
                    <a:lnTo>
                      <a:pt x="473" y="67"/>
                    </a:lnTo>
                    <a:lnTo>
                      <a:pt x="470" y="70"/>
                    </a:lnTo>
                    <a:lnTo>
                      <a:pt x="465" y="71"/>
                    </a:lnTo>
                    <a:close/>
                    <a:moveTo>
                      <a:pt x="513" y="15"/>
                    </a:moveTo>
                    <a:lnTo>
                      <a:pt x="513" y="15"/>
                    </a:lnTo>
                    <a:lnTo>
                      <a:pt x="513" y="12"/>
                    </a:lnTo>
                    <a:lnTo>
                      <a:pt x="511" y="9"/>
                    </a:lnTo>
                    <a:lnTo>
                      <a:pt x="509" y="7"/>
                    </a:lnTo>
                    <a:lnTo>
                      <a:pt x="507" y="4"/>
                    </a:lnTo>
                    <a:lnTo>
                      <a:pt x="503" y="2"/>
                    </a:lnTo>
                    <a:lnTo>
                      <a:pt x="500" y="1"/>
                    </a:lnTo>
                    <a:lnTo>
                      <a:pt x="495" y="0"/>
                    </a:lnTo>
                    <a:lnTo>
                      <a:pt x="491" y="0"/>
                    </a:lnTo>
                    <a:lnTo>
                      <a:pt x="191" y="0"/>
                    </a:lnTo>
                    <a:lnTo>
                      <a:pt x="191" y="0"/>
                    </a:lnTo>
                    <a:lnTo>
                      <a:pt x="187" y="0"/>
                    </a:lnTo>
                    <a:lnTo>
                      <a:pt x="183" y="1"/>
                    </a:lnTo>
                    <a:lnTo>
                      <a:pt x="179" y="2"/>
                    </a:lnTo>
                    <a:lnTo>
                      <a:pt x="175" y="4"/>
                    </a:lnTo>
                    <a:lnTo>
                      <a:pt x="173" y="7"/>
                    </a:lnTo>
                    <a:lnTo>
                      <a:pt x="171" y="9"/>
                    </a:lnTo>
                    <a:lnTo>
                      <a:pt x="169" y="12"/>
                    </a:lnTo>
                    <a:lnTo>
                      <a:pt x="169" y="15"/>
                    </a:lnTo>
                    <a:lnTo>
                      <a:pt x="169" y="83"/>
                    </a:lnTo>
                    <a:lnTo>
                      <a:pt x="169" y="83"/>
                    </a:lnTo>
                    <a:lnTo>
                      <a:pt x="169" y="84"/>
                    </a:lnTo>
                    <a:lnTo>
                      <a:pt x="169" y="88"/>
                    </a:lnTo>
                    <a:lnTo>
                      <a:pt x="169" y="88"/>
                    </a:lnTo>
                    <a:lnTo>
                      <a:pt x="169" y="89"/>
                    </a:lnTo>
                    <a:lnTo>
                      <a:pt x="172" y="400"/>
                    </a:lnTo>
                    <a:lnTo>
                      <a:pt x="172" y="400"/>
                    </a:lnTo>
                    <a:lnTo>
                      <a:pt x="162" y="396"/>
                    </a:lnTo>
                    <a:lnTo>
                      <a:pt x="152" y="393"/>
                    </a:lnTo>
                    <a:lnTo>
                      <a:pt x="140" y="391"/>
                    </a:lnTo>
                    <a:lnTo>
                      <a:pt x="128" y="391"/>
                    </a:lnTo>
                    <a:lnTo>
                      <a:pt x="116" y="392"/>
                    </a:lnTo>
                    <a:lnTo>
                      <a:pt x="103" y="394"/>
                    </a:lnTo>
                    <a:lnTo>
                      <a:pt x="89" y="398"/>
                    </a:lnTo>
                    <a:lnTo>
                      <a:pt x="76" y="403"/>
                    </a:lnTo>
                    <a:lnTo>
                      <a:pt x="76" y="403"/>
                    </a:lnTo>
                    <a:lnTo>
                      <a:pt x="66" y="408"/>
                    </a:lnTo>
                    <a:lnTo>
                      <a:pt x="56" y="413"/>
                    </a:lnTo>
                    <a:lnTo>
                      <a:pt x="47" y="418"/>
                    </a:lnTo>
                    <a:lnTo>
                      <a:pt x="39" y="424"/>
                    </a:lnTo>
                    <a:lnTo>
                      <a:pt x="31" y="431"/>
                    </a:lnTo>
                    <a:lnTo>
                      <a:pt x="24" y="437"/>
                    </a:lnTo>
                    <a:lnTo>
                      <a:pt x="18" y="444"/>
                    </a:lnTo>
                    <a:lnTo>
                      <a:pt x="13" y="452"/>
                    </a:lnTo>
                    <a:lnTo>
                      <a:pt x="8" y="459"/>
                    </a:lnTo>
                    <a:lnTo>
                      <a:pt x="4" y="467"/>
                    </a:lnTo>
                    <a:lnTo>
                      <a:pt x="2" y="475"/>
                    </a:lnTo>
                    <a:lnTo>
                      <a:pt x="0" y="483"/>
                    </a:lnTo>
                    <a:lnTo>
                      <a:pt x="0" y="491"/>
                    </a:lnTo>
                    <a:lnTo>
                      <a:pt x="1" y="499"/>
                    </a:lnTo>
                    <a:lnTo>
                      <a:pt x="2" y="507"/>
                    </a:lnTo>
                    <a:lnTo>
                      <a:pt x="5" y="515"/>
                    </a:lnTo>
                    <a:lnTo>
                      <a:pt x="5" y="515"/>
                    </a:lnTo>
                    <a:lnTo>
                      <a:pt x="9" y="522"/>
                    </a:lnTo>
                    <a:lnTo>
                      <a:pt x="15" y="528"/>
                    </a:lnTo>
                    <a:lnTo>
                      <a:pt x="20" y="533"/>
                    </a:lnTo>
                    <a:lnTo>
                      <a:pt x="26" y="538"/>
                    </a:lnTo>
                    <a:lnTo>
                      <a:pt x="33" y="542"/>
                    </a:lnTo>
                    <a:lnTo>
                      <a:pt x="40" y="545"/>
                    </a:lnTo>
                    <a:lnTo>
                      <a:pt x="48" y="548"/>
                    </a:lnTo>
                    <a:lnTo>
                      <a:pt x="57" y="550"/>
                    </a:lnTo>
                    <a:lnTo>
                      <a:pt x="65" y="551"/>
                    </a:lnTo>
                    <a:lnTo>
                      <a:pt x="74" y="551"/>
                    </a:lnTo>
                    <a:lnTo>
                      <a:pt x="84" y="551"/>
                    </a:lnTo>
                    <a:lnTo>
                      <a:pt x="93" y="550"/>
                    </a:lnTo>
                    <a:lnTo>
                      <a:pt x="103" y="548"/>
                    </a:lnTo>
                    <a:lnTo>
                      <a:pt x="112" y="545"/>
                    </a:lnTo>
                    <a:lnTo>
                      <a:pt x="122" y="542"/>
                    </a:lnTo>
                    <a:lnTo>
                      <a:pt x="132" y="538"/>
                    </a:lnTo>
                    <a:lnTo>
                      <a:pt x="132" y="538"/>
                    </a:lnTo>
                    <a:lnTo>
                      <a:pt x="152" y="527"/>
                    </a:lnTo>
                    <a:lnTo>
                      <a:pt x="169" y="515"/>
                    </a:lnTo>
                    <a:lnTo>
                      <a:pt x="183" y="503"/>
                    </a:lnTo>
                    <a:lnTo>
                      <a:pt x="189" y="497"/>
                    </a:lnTo>
                    <a:lnTo>
                      <a:pt x="195" y="490"/>
                    </a:lnTo>
                    <a:lnTo>
                      <a:pt x="199" y="484"/>
                    </a:lnTo>
                    <a:lnTo>
                      <a:pt x="203" y="477"/>
                    </a:lnTo>
                    <a:lnTo>
                      <a:pt x="207" y="470"/>
                    </a:lnTo>
                    <a:lnTo>
                      <a:pt x="209" y="463"/>
                    </a:lnTo>
                    <a:lnTo>
                      <a:pt x="211" y="456"/>
                    </a:lnTo>
                    <a:lnTo>
                      <a:pt x="213" y="449"/>
                    </a:lnTo>
                    <a:lnTo>
                      <a:pt x="214" y="441"/>
                    </a:lnTo>
                    <a:lnTo>
                      <a:pt x="214" y="434"/>
                    </a:lnTo>
                    <a:lnTo>
                      <a:pt x="214" y="434"/>
                    </a:lnTo>
                    <a:lnTo>
                      <a:pt x="212" y="216"/>
                    </a:lnTo>
                    <a:lnTo>
                      <a:pt x="211" y="120"/>
                    </a:lnTo>
                    <a:lnTo>
                      <a:pt x="211" y="120"/>
                    </a:lnTo>
                    <a:lnTo>
                      <a:pt x="211" y="106"/>
                    </a:lnTo>
                    <a:lnTo>
                      <a:pt x="211" y="106"/>
                    </a:lnTo>
                    <a:lnTo>
                      <a:pt x="210" y="104"/>
                    </a:lnTo>
                    <a:lnTo>
                      <a:pt x="472" y="104"/>
                    </a:lnTo>
                    <a:lnTo>
                      <a:pt x="474" y="312"/>
                    </a:lnTo>
                    <a:lnTo>
                      <a:pt x="474" y="312"/>
                    </a:lnTo>
                    <a:lnTo>
                      <a:pt x="465" y="308"/>
                    </a:lnTo>
                    <a:lnTo>
                      <a:pt x="454" y="305"/>
                    </a:lnTo>
                    <a:lnTo>
                      <a:pt x="442" y="304"/>
                    </a:lnTo>
                    <a:lnTo>
                      <a:pt x="430" y="303"/>
                    </a:lnTo>
                    <a:lnTo>
                      <a:pt x="417" y="304"/>
                    </a:lnTo>
                    <a:lnTo>
                      <a:pt x="404" y="307"/>
                    </a:lnTo>
                    <a:lnTo>
                      <a:pt x="391" y="310"/>
                    </a:lnTo>
                    <a:lnTo>
                      <a:pt x="378" y="315"/>
                    </a:lnTo>
                    <a:lnTo>
                      <a:pt x="378" y="315"/>
                    </a:lnTo>
                    <a:lnTo>
                      <a:pt x="367" y="320"/>
                    </a:lnTo>
                    <a:lnTo>
                      <a:pt x="358" y="325"/>
                    </a:lnTo>
                    <a:lnTo>
                      <a:pt x="349" y="331"/>
                    </a:lnTo>
                    <a:lnTo>
                      <a:pt x="340" y="337"/>
                    </a:lnTo>
                    <a:lnTo>
                      <a:pt x="333" y="343"/>
                    </a:lnTo>
                    <a:lnTo>
                      <a:pt x="326" y="350"/>
                    </a:lnTo>
                    <a:lnTo>
                      <a:pt x="320" y="357"/>
                    </a:lnTo>
                    <a:lnTo>
                      <a:pt x="315" y="364"/>
                    </a:lnTo>
                    <a:lnTo>
                      <a:pt x="310" y="372"/>
                    </a:lnTo>
                    <a:lnTo>
                      <a:pt x="307" y="379"/>
                    </a:lnTo>
                    <a:lnTo>
                      <a:pt x="304" y="388"/>
                    </a:lnTo>
                    <a:lnTo>
                      <a:pt x="303" y="396"/>
                    </a:lnTo>
                    <a:lnTo>
                      <a:pt x="302" y="404"/>
                    </a:lnTo>
                    <a:lnTo>
                      <a:pt x="303" y="412"/>
                    </a:lnTo>
                    <a:lnTo>
                      <a:pt x="305" y="420"/>
                    </a:lnTo>
                    <a:lnTo>
                      <a:pt x="308" y="428"/>
                    </a:lnTo>
                    <a:lnTo>
                      <a:pt x="308" y="428"/>
                    </a:lnTo>
                    <a:lnTo>
                      <a:pt x="312" y="435"/>
                    </a:lnTo>
                    <a:lnTo>
                      <a:pt x="316" y="441"/>
                    </a:lnTo>
                    <a:lnTo>
                      <a:pt x="322" y="447"/>
                    </a:lnTo>
                    <a:lnTo>
                      <a:pt x="328" y="452"/>
                    </a:lnTo>
                    <a:lnTo>
                      <a:pt x="334" y="456"/>
                    </a:lnTo>
                    <a:lnTo>
                      <a:pt x="342" y="459"/>
                    </a:lnTo>
                    <a:lnTo>
                      <a:pt x="350" y="461"/>
                    </a:lnTo>
                    <a:lnTo>
                      <a:pt x="358" y="463"/>
                    </a:lnTo>
                    <a:lnTo>
                      <a:pt x="367" y="464"/>
                    </a:lnTo>
                    <a:lnTo>
                      <a:pt x="376" y="465"/>
                    </a:lnTo>
                    <a:lnTo>
                      <a:pt x="385" y="464"/>
                    </a:lnTo>
                    <a:lnTo>
                      <a:pt x="395" y="463"/>
                    </a:lnTo>
                    <a:lnTo>
                      <a:pt x="404" y="461"/>
                    </a:lnTo>
                    <a:lnTo>
                      <a:pt x="414" y="459"/>
                    </a:lnTo>
                    <a:lnTo>
                      <a:pt x="424" y="455"/>
                    </a:lnTo>
                    <a:lnTo>
                      <a:pt x="433" y="451"/>
                    </a:lnTo>
                    <a:lnTo>
                      <a:pt x="433" y="451"/>
                    </a:lnTo>
                    <a:lnTo>
                      <a:pt x="454" y="440"/>
                    </a:lnTo>
                    <a:lnTo>
                      <a:pt x="472" y="429"/>
                    </a:lnTo>
                    <a:lnTo>
                      <a:pt x="486" y="416"/>
                    </a:lnTo>
                    <a:lnTo>
                      <a:pt x="492" y="410"/>
                    </a:lnTo>
                    <a:lnTo>
                      <a:pt x="497" y="404"/>
                    </a:lnTo>
                    <a:lnTo>
                      <a:pt x="502" y="397"/>
                    </a:lnTo>
                    <a:lnTo>
                      <a:pt x="506" y="390"/>
                    </a:lnTo>
                    <a:lnTo>
                      <a:pt x="509" y="383"/>
                    </a:lnTo>
                    <a:lnTo>
                      <a:pt x="512" y="376"/>
                    </a:lnTo>
                    <a:lnTo>
                      <a:pt x="514" y="368"/>
                    </a:lnTo>
                    <a:lnTo>
                      <a:pt x="515" y="361"/>
                    </a:lnTo>
                    <a:lnTo>
                      <a:pt x="516" y="354"/>
                    </a:lnTo>
                    <a:lnTo>
                      <a:pt x="516" y="346"/>
                    </a:lnTo>
                    <a:lnTo>
                      <a:pt x="513" y="1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8" name="Freeform 72"/>
              <p:cNvSpPr>
                <a:spLocks noEditPoints="1"/>
              </p:cNvSpPr>
              <p:nvPr/>
            </p:nvSpPr>
            <p:spPr bwMode="auto">
              <a:xfrm>
                <a:off x="712719" y="5758031"/>
                <a:ext cx="46154" cy="49374"/>
              </a:xfrm>
              <a:custGeom>
                <a:avLst/>
                <a:gdLst>
                  <a:gd name="T0" fmla="*/ 220 w 516"/>
                  <a:gd name="T1" fmla="*/ 71 h 551"/>
                  <a:gd name="T2" fmla="*/ 209 w 516"/>
                  <a:gd name="T3" fmla="*/ 63 h 551"/>
                  <a:gd name="T4" fmla="*/ 209 w 516"/>
                  <a:gd name="T5" fmla="*/ 53 h 551"/>
                  <a:gd name="T6" fmla="*/ 220 w 516"/>
                  <a:gd name="T7" fmla="*/ 46 h 551"/>
                  <a:gd name="T8" fmla="*/ 470 w 516"/>
                  <a:gd name="T9" fmla="*/ 47 h 551"/>
                  <a:gd name="T10" fmla="*/ 477 w 516"/>
                  <a:gd name="T11" fmla="*/ 58 h 551"/>
                  <a:gd name="T12" fmla="*/ 473 w 516"/>
                  <a:gd name="T13" fmla="*/ 67 h 551"/>
                  <a:gd name="T14" fmla="*/ 513 w 516"/>
                  <a:gd name="T15" fmla="*/ 15 h 551"/>
                  <a:gd name="T16" fmla="*/ 511 w 516"/>
                  <a:gd name="T17" fmla="*/ 9 h 551"/>
                  <a:gd name="T18" fmla="*/ 503 w 516"/>
                  <a:gd name="T19" fmla="*/ 2 h 551"/>
                  <a:gd name="T20" fmla="*/ 491 w 516"/>
                  <a:gd name="T21" fmla="*/ 0 h 551"/>
                  <a:gd name="T22" fmla="*/ 187 w 516"/>
                  <a:gd name="T23" fmla="*/ 0 h 551"/>
                  <a:gd name="T24" fmla="*/ 175 w 516"/>
                  <a:gd name="T25" fmla="*/ 4 h 551"/>
                  <a:gd name="T26" fmla="*/ 169 w 516"/>
                  <a:gd name="T27" fmla="*/ 12 h 551"/>
                  <a:gd name="T28" fmla="*/ 169 w 516"/>
                  <a:gd name="T29" fmla="*/ 83 h 551"/>
                  <a:gd name="T30" fmla="*/ 169 w 516"/>
                  <a:gd name="T31" fmla="*/ 88 h 551"/>
                  <a:gd name="T32" fmla="*/ 172 w 516"/>
                  <a:gd name="T33" fmla="*/ 400 h 551"/>
                  <a:gd name="T34" fmla="*/ 140 w 516"/>
                  <a:gd name="T35" fmla="*/ 391 h 551"/>
                  <a:gd name="T36" fmla="*/ 103 w 516"/>
                  <a:gd name="T37" fmla="*/ 394 h 551"/>
                  <a:gd name="T38" fmla="*/ 76 w 516"/>
                  <a:gd name="T39" fmla="*/ 403 h 551"/>
                  <a:gd name="T40" fmla="*/ 47 w 516"/>
                  <a:gd name="T41" fmla="*/ 418 h 551"/>
                  <a:gd name="T42" fmla="*/ 24 w 516"/>
                  <a:gd name="T43" fmla="*/ 437 h 551"/>
                  <a:gd name="T44" fmla="*/ 8 w 516"/>
                  <a:gd name="T45" fmla="*/ 459 h 551"/>
                  <a:gd name="T46" fmla="*/ 0 w 516"/>
                  <a:gd name="T47" fmla="*/ 483 h 551"/>
                  <a:gd name="T48" fmla="*/ 2 w 516"/>
                  <a:gd name="T49" fmla="*/ 507 h 551"/>
                  <a:gd name="T50" fmla="*/ 9 w 516"/>
                  <a:gd name="T51" fmla="*/ 522 h 551"/>
                  <a:gd name="T52" fmla="*/ 26 w 516"/>
                  <a:gd name="T53" fmla="*/ 538 h 551"/>
                  <a:gd name="T54" fmla="*/ 48 w 516"/>
                  <a:gd name="T55" fmla="*/ 548 h 551"/>
                  <a:gd name="T56" fmla="*/ 74 w 516"/>
                  <a:gd name="T57" fmla="*/ 551 h 551"/>
                  <a:gd name="T58" fmla="*/ 103 w 516"/>
                  <a:gd name="T59" fmla="*/ 548 h 551"/>
                  <a:gd name="T60" fmla="*/ 132 w 516"/>
                  <a:gd name="T61" fmla="*/ 538 h 551"/>
                  <a:gd name="T62" fmla="*/ 169 w 516"/>
                  <a:gd name="T63" fmla="*/ 515 h 551"/>
                  <a:gd name="T64" fmla="*/ 195 w 516"/>
                  <a:gd name="T65" fmla="*/ 490 h 551"/>
                  <a:gd name="T66" fmla="*/ 207 w 516"/>
                  <a:gd name="T67" fmla="*/ 470 h 551"/>
                  <a:gd name="T68" fmla="*/ 213 w 516"/>
                  <a:gd name="T69" fmla="*/ 449 h 551"/>
                  <a:gd name="T70" fmla="*/ 214 w 516"/>
                  <a:gd name="T71" fmla="*/ 434 h 551"/>
                  <a:gd name="T72" fmla="*/ 211 w 516"/>
                  <a:gd name="T73" fmla="*/ 120 h 551"/>
                  <a:gd name="T74" fmla="*/ 210 w 516"/>
                  <a:gd name="T75" fmla="*/ 104 h 551"/>
                  <a:gd name="T76" fmla="*/ 474 w 516"/>
                  <a:gd name="T77" fmla="*/ 312 h 551"/>
                  <a:gd name="T78" fmla="*/ 442 w 516"/>
                  <a:gd name="T79" fmla="*/ 304 h 551"/>
                  <a:gd name="T80" fmla="*/ 404 w 516"/>
                  <a:gd name="T81" fmla="*/ 307 h 551"/>
                  <a:gd name="T82" fmla="*/ 378 w 516"/>
                  <a:gd name="T83" fmla="*/ 315 h 551"/>
                  <a:gd name="T84" fmla="*/ 349 w 516"/>
                  <a:gd name="T85" fmla="*/ 331 h 551"/>
                  <a:gd name="T86" fmla="*/ 326 w 516"/>
                  <a:gd name="T87" fmla="*/ 350 h 551"/>
                  <a:gd name="T88" fmla="*/ 310 w 516"/>
                  <a:gd name="T89" fmla="*/ 372 h 551"/>
                  <a:gd name="T90" fmla="*/ 303 w 516"/>
                  <a:gd name="T91" fmla="*/ 396 h 551"/>
                  <a:gd name="T92" fmla="*/ 305 w 516"/>
                  <a:gd name="T93" fmla="*/ 420 h 551"/>
                  <a:gd name="T94" fmla="*/ 312 w 516"/>
                  <a:gd name="T95" fmla="*/ 435 h 551"/>
                  <a:gd name="T96" fmla="*/ 328 w 516"/>
                  <a:gd name="T97" fmla="*/ 452 h 551"/>
                  <a:gd name="T98" fmla="*/ 350 w 516"/>
                  <a:gd name="T99" fmla="*/ 461 h 551"/>
                  <a:gd name="T100" fmla="*/ 376 w 516"/>
                  <a:gd name="T101" fmla="*/ 465 h 551"/>
                  <a:gd name="T102" fmla="*/ 404 w 516"/>
                  <a:gd name="T103" fmla="*/ 461 h 551"/>
                  <a:gd name="T104" fmla="*/ 433 w 516"/>
                  <a:gd name="T105" fmla="*/ 451 h 551"/>
                  <a:gd name="T106" fmla="*/ 472 w 516"/>
                  <a:gd name="T107" fmla="*/ 429 h 551"/>
                  <a:gd name="T108" fmla="*/ 497 w 516"/>
                  <a:gd name="T109" fmla="*/ 404 h 551"/>
                  <a:gd name="T110" fmla="*/ 509 w 516"/>
                  <a:gd name="T111" fmla="*/ 383 h 551"/>
                  <a:gd name="T112" fmla="*/ 515 w 516"/>
                  <a:gd name="T113" fmla="*/ 361 h 551"/>
                  <a:gd name="T114" fmla="*/ 513 w 516"/>
                  <a:gd name="T115" fmla="*/ 15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 h="551">
                    <a:moveTo>
                      <a:pt x="465" y="71"/>
                    </a:moveTo>
                    <a:lnTo>
                      <a:pt x="220" y="71"/>
                    </a:lnTo>
                    <a:lnTo>
                      <a:pt x="220" y="71"/>
                    </a:lnTo>
                    <a:lnTo>
                      <a:pt x="216" y="70"/>
                    </a:lnTo>
                    <a:lnTo>
                      <a:pt x="212" y="67"/>
                    </a:lnTo>
                    <a:lnTo>
                      <a:pt x="209" y="63"/>
                    </a:lnTo>
                    <a:lnTo>
                      <a:pt x="208" y="58"/>
                    </a:lnTo>
                    <a:lnTo>
                      <a:pt x="208" y="58"/>
                    </a:lnTo>
                    <a:lnTo>
                      <a:pt x="209" y="53"/>
                    </a:lnTo>
                    <a:lnTo>
                      <a:pt x="212" y="49"/>
                    </a:lnTo>
                    <a:lnTo>
                      <a:pt x="216" y="47"/>
                    </a:lnTo>
                    <a:lnTo>
                      <a:pt x="220" y="46"/>
                    </a:lnTo>
                    <a:lnTo>
                      <a:pt x="465" y="46"/>
                    </a:lnTo>
                    <a:lnTo>
                      <a:pt x="465" y="46"/>
                    </a:lnTo>
                    <a:lnTo>
                      <a:pt x="470" y="47"/>
                    </a:lnTo>
                    <a:lnTo>
                      <a:pt x="473" y="49"/>
                    </a:lnTo>
                    <a:lnTo>
                      <a:pt x="476" y="53"/>
                    </a:lnTo>
                    <a:lnTo>
                      <a:pt x="477" y="58"/>
                    </a:lnTo>
                    <a:lnTo>
                      <a:pt x="477" y="58"/>
                    </a:lnTo>
                    <a:lnTo>
                      <a:pt x="476" y="63"/>
                    </a:lnTo>
                    <a:lnTo>
                      <a:pt x="473" y="67"/>
                    </a:lnTo>
                    <a:lnTo>
                      <a:pt x="470" y="70"/>
                    </a:lnTo>
                    <a:lnTo>
                      <a:pt x="465" y="71"/>
                    </a:lnTo>
                    <a:close/>
                    <a:moveTo>
                      <a:pt x="513" y="15"/>
                    </a:moveTo>
                    <a:lnTo>
                      <a:pt x="513" y="15"/>
                    </a:lnTo>
                    <a:lnTo>
                      <a:pt x="513" y="12"/>
                    </a:lnTo>
                    <a:lnTo>
                      <a:pt x="511" y="9"/>
                    </a:lnTo>
                    <a:lnTo>
                      <a:pt x="509" y="7"/>
                    </a:lnTo>
                    <a:lnTo>
                      <a:pt x="507" y="4"/>
                    </a:lnTo>
                    <a:lnTo>
                      <a:pt x="503" y="2"/>
                    </a:lnTo>
                    <a:lnTo>
                      <a:pt x="500" y="1"/>
                    </a:lnTo>
                    <a:lnTo>
                      <a:pt x="495" y="0"/>
                    </a:lnTo>
                    <a:lnTo>
                      <a:pt x="491" y="0"/>
                    </a:lnTo>
                    <a:lnTo>
                      <a:pt x="191" y="0"/>
                    </a:lnTo>
                    <a:lnTo>
                      <a:pt x="191" y="0"/>
                    </a:lnTo>
                    <a:lnTo>
                      <a:pt x="187" y="0"/>
                    </a:lnTo>
                    <a:lnTo>
                      <a:pt x="183" y="1"/>
                    </a:lnTo>
                    <a:lnTo>
                      <a:pt x="179" y="2"/>
                    </a:lnTo>
                    <a:lnTo>
                      <a:pt x="175" y="4"/>
                    </a:lnTo>
                    <a:lnTo>
                      <a:pt x="173" y="7"/>
                    </a:lnTo>
                    <a:lnTo>
                      <a:pt x="171" y="9"/>
                    </a:lnTo>
                    <a:lnTo>
                      <a:pt x="169" y="12"/>
                    </a:lnTo>
                    <a:lnTo>
                      <a:pt x="169" y="15"/>
                    </a:lnTo>
                    <a:lnTo>
                      <a:pt x="169" y="83"/>
                    </a:lnTo>
                    <a:lnTo>
                      <a:pt x="169" y="83"/>
                    </a:lnTo>
                    <a:lnTo>
                      <a:pt x="169" y="84"/>
                    </a:lnTo>
                    <a:lnTo>
                      <a:pt x="169" y="88"/>
                    </a:lnTo>
                    <a:lnTo>
                      <a:pt x="169" y="88"/>
                    </a:lnTo>
                    <a:lnTo>
                      <a:pt x="169" y="89"/>
                    </a:lnTo>
                    <a:lnTo>
                      <a:pt x="172" y="400"/>
                    </a:lnTo>
                    <a:lnTo>
                      <a:pt x="172" y="400"/>
                    </a:lnTo>
                    <a:lnTo>
                      <a:pt x="162" y="396"/>
                    </a:lnTo>
                    <a:lnTo>
                      <a:pt x="152" y="393"/>
                    </a:lnTo>
                    <a:lnTo>
                      <a:pt x="140" y="391"/>
                    </a:lnTo>
                    <a:lnTo>
                      <a:pt x="128" y="391"/>
                    </a:lnTo>
                    <a:lnTo>
                      <a:pt x="116" y="392"/>
                    </a:lnTo>
                    <a:lnTo>
                      <a:pt x="103" y="394"/>
                    </a:lnTo>
                    <a:lnTo>
                      <a:pt x="89" y="398"/>
                    </a:lnTo>
                    <a:lnTo>
                      <a:pt x="76" y="403"/>
                    </a:lnTo>
                    <a:lnTo>
                      <a:pt x="76" y="403"/>
                    </a:lnTo>
                    <a:lnTo>
                      <a:pt x="66" y="408"/>
                    </a:lnTo>
                    <a:lnTo>
                      <a:pt x="56" y="413"/>
                    </a:lnTo>
                    <a:lnTo>
                      <a:pt x="47" y="418"/>
                    </a:lnTo>
                    <a:lnTo>
                      <a:pt x="39" y="424"/>
                    </a:lnTo>
                    <a:lnTo>
                      <a:pt x="31" y="431"/>
                    </a:lnTo>
                    <a:lnTo>
                      <a:pt x="24" y="437"/>
                    </a:lnTo>
                    <a:lnTo>
                      <a:pt x="18" y="444"/>
                    </a:lnTo>
                    <a:lnTo>
                      <a:pt x="13" y="452"/>
                    </a:lnTo>
                    <a:lnTo>
                      <a:pt x="8" y="459"/>
                    </a:lnTo>
                    <a:lnTo>
                      <a:pt x="4" y="467"/>
                    </a:lnTo>
                    <a:lnTo>
                      <a:pt x="2" y="475"/>
                    </a:lnTo>
                    <a:lnTo>
                      <a:pt x="0" y="483"/>
                    </a:lnTo>
                    <a:lnTo>
                      <a:pt x="0" y="491"/>
                    </a:lnTo>
                    <a:lnTo>
                      <a:pt x="1" y="499"/>
                    </a:lnTo>
                    <a:lnTo>
                      <a:pt x="2" y="507"/>
                    </a:lnTo>
                    <a:lnTo>
                      <a:pt x="5" y="515"/>
                    </a:lnTo>
                    <a:lnTo>
                      <a:pt x="5" y="515"/>
                    </a:lnTo>
                    <a:lnTo>
                      <a:pt x="9" y="522"/>
                    </a:lnTo>
                    <a:lnTo>
                      <a:pt x="15" y="528"/>
                    </a:lnTo>
                    <a:lnTo>
                      <a:pt x="20" y="533"/>
                    </a:lnTo>
                    <a:lnTo>
                      <a:pt x="26" y="538"/>
                    </a:lnTo>
                    <a:lnTo>
                      <a:pt x="33" y="542"/>
                    </a:lnTo>
                    <a:lnTo>
                      <a:pt x="40" y="545"/>
                    </a:lnTo>
                    <a:lnTo>
                      <a:pt x="48" y="548"/>
                    </a:lnTo>
                    <a:lnTo>
                      <a:pt x="57" y="550"/>
                    </a:lnTo>
                    <a:lnTo>
                      <a:pt x="65" y="551"/>
                    </a:lnTo>
                    <a:lnTo>
                      <a:pt x="74" y="551"/>
                    </a:lnTo>
                    <a:lnTo>
                      <a:pt x="84" y="551"/>
                    </a:lnTo>
                    <a:lnTo>
                      <a:pt x="93" y="550"/>
                    </a:lnTo>
                    <a:lnTo>
                      <a:pt x="103" y="548"/>
                    </a:lnTo>
                    <a:lnTo>
                      <a:pt x="112" y="545"/>
                    </a:lnTo>
                    <a:lnTo>
                      <a:pt x="122" y="542"/>
                    </a:lnTo>
                    <a:lnTo>
                      <a:pt x="132" y="538"/>
                    </a:lnTo>
                    <a:lnTo>
                      <a:pt x="132" y="538"/>
                    </a:lnTo>
                    <a:lnTo>
                      <a:pt x="152" y="527"/>
                    </a:lnTo>
                    <a:lnTo>
                      <a:pt x="169" y="515"/>
                    </a:lnTo>
                    <a:lnTo>
                      <a:pt x="183" y="503"/>
                    </a:lnTo>
                    <a:lnTo>
                      <a:pt x="189" y="497"/>
                    </a:lnTo>
                    <a:lnTo>
                      <a:pt x="195" y="490"/>
                    </a:lnTo>
                    <a:lnTo>
                      <a:pt x="199" y="484"/>
                    </a:lnTo>
                    <a:lnTo>
                      <a:pt x="203" y="477"/>
                    </a:lnTo>
                    <a:lnTo>
                      <a:pt x="207" y="470"/>
                    </a:lnTo>
                    <a:lnTo>
                      <a:pt x="209" y="463"/>
                    </a:lnTo>
                    <a:lnTo>
                      <a:pt x="211" y="456"/>
                    </a:lnTo>
                    <a:lnTo>
                      <a:pt x="213" y="449"/>
                    </a:lnTo>
                    <a:lnTo>
                      <a:pt x="214" y="441"/>
                    </a:lnTo>
                    <a:lnTo>
                      <a:pt x="214" y="434"/>
                    </a:lnTo>
                    <a:lnTo>
                      <a:pt x="214" y="434"/>
                    </a:lnTo>
                    <a:lnTo>
                      <a:pt x="212" y="216"/>
                    </a:lnTo>
                    <a:lnTo>
                      <a:pt x="211" y="120"/>
                    </a:lnTo>
                    <a:lnTo>
                      <a:pt x="211" y="120"/>
                    </a:lnTo>
                    <a:lnTo>
                      <a:pt x="211" y="106"/>
                    </a:lnTo>
                    <a:lnTo>
                      <a:pt x="211" y="106"/>
                    </a:lnTo>
                    <a:lnTo>
                      <a:pt x="210" y="104"/>
                    </a:lnTo>
                    <a:lnTo>
                      <a:pt x="472" y="104"/>
                    </a:lnTo>
                    <a:lnTo>
                      <a:pt x="474" y="312"/>
                    </a:lnTo>
                    <a:lnTo>
                      <a:pt x="474" y="312"/>
                    </a:lnTo>
                    <a:lnTo>
                      <a:pt x="465" y="308"/>
                    </a:lnTo>
                    <a:lnTo>
                      <a:pt x="454" y="305"/>
                    </a:lnTo>
                    <a:lnTo>
                      <a:pt x="442" y="304"/>
                    </a:lnTo>
                    <a:lnTo>
                      <a:pt x="430" y="303"/>
                    </a:lnTo>
                    <a:lnTo>
                      <a:pt x="417" y="304"/>
                    </a:lnTo>
                    <a:lnTo>
                      <a:pt x="404" y="307"/>
                    </a:lnTo>
                    <a:lnTo>
                      <a:pt x="391" y="310"/>
                    </a:lnTo>
                    <a:lnTo>
                      <a:pt x="378" y="315"/>
                    </a:lnTo>
                    <a:lnTo>
                      <a:pt x="378" y="315"/>
                    </a:lnTo>
                    <a:lnTo>
                      <a:pt x="367" y="320"/>
                    </a:lnTo>
                    <a:lnTo>
                      <a:pt x="358" y="325"/>
                    </a:lnTo>
                    <a:lnTo>
                      <a:pt x="349" y="331"/>
                    </a:lnTo>
                    <a:lnTo>
                      <a:pt x="340" y="337"/>
                    </a:lnTo>
                    <a:lnTo>
                      <a:pt x="333" y="343"/>
                    </a:lnTo>
                    <a:lnTo>
                      <a:pt x="326" y="350"/>
                    </a:lnTo>
                    <a:lnTo>
                      <a:pt x="320" y="357"/>
                    </a:lnTo>
                    <a:lnTo>
                      <a:pt x="315" y="364"/>
                    </a:lnTo>
                    <a:lnTo>
                      <a:pt x="310" y="372"/>
                    </a:lnTo>
                    <a:lnTo>
                      <a:pt x="307" y="379"/>
                    </a:lnTo>
                    <a:lnTo>
                      <a:pt x="304" y="388"/>
                    </a:lnTo>
                    <a:lnTo>
                      <a:pt x="303" y="396"/>
                    </a:lnTo>
                    <a:lnTo>
                      <a:pt x="302" y="404"/>
                    </a:lnTo>
                    <a:lnTo>
                      <a:pt x="303" y="412"/>
                    </a:lnTo>
                    <a:lnTo>
                      <a:pt x="305" y="420"/>
                    </a:lnTo>
                    <a:lnTo>
                      <a:pt x="308" y="428"/>
                    </a:lnTo>
                    <a:lnTo>
                      <a:pt x="308" y="428"/>
                    </a:lnTo>
                    <a:lnTo>
                      <a:pt x="312" y="435"/>
                    </a:lnTo>
                    <a:lnTo>
                      <a:pt x="316" y="441"/>
                    </a:lnTo>
                    <a:lnTo>
                      <a:pt x="322" y="447"/>
                    </a:lnTo>
                    <a:lnTo>
                      <a:pt x="328" y="452"/>
                    </a:lnTo>
                    <a:lnTo>
                      <a:pt x="334" y="456"/>
                    </a:lnTo>
                    <a:lnTo>
                      <a:pt x="342" y="459"/>
                    </a:lnTo>
                    <a:lnTo>
                      <a:pt x="350" y="461"/>
                    </a:lnTo>
                    <a:lnTo>
                      <a:pt x="358" y="463"/>
                    </a:lnTo>
                    <a:lnTo>
                      <a:pt x="367" y="464"/>
                    </a:lnTo>
                    <a:lnTo>
                      <a:pt x="376" y="465"/>
                    </a:lnTo>
                    <a:lnTo>
                      <a:pt x="385" y="464"/>
                    </a:lnTo>
                    <a:lnTo>
                      <a:pt x="395" y="463"/>
                    </a:lnTo>
                    <a:lnTo>
                      <a:pt x="404" y="461"/>
                    </a:lnTo>
                    <a:lnTo>
                      <a:pt x="414" y="459"/>
                    </a:lnTo>
                    <a:lnTo>
                      <a:pt x="424" y="455"/>
                    </a:lnTo>
                    <a:lnTo>
                      <a:pt x="433" y="451"/>
                    </a:lnTo>
                    <a:lnTo>
                      <a:pt x="433" y="451"/>
                    </a:lnTo>
                    <a:lnTo>
                      <a:pt x="454" y="440"/>
                    </a:lnTo>
                    <a:lnTo>
                      <a:pt x="472" y="429"/>
                    </a:lnTo>
                    <a:lnTo>
                      <a:pt x="486" y="416"/>
                    </a:lnTo>
                    <a:lnTo>
                      <a:pt x="492" y="410"/>
                    </a:lnTo>
                    <a:lnTo>
                      <a:pt x="497" y="404"/>
                    </a:lnTo>
                    <a:lnTo>
                      <a:pt x="502" y="397"/>
                    </a:lnTo>
                    <a:lnTo>
                      <a:pt x="506" y="390"/>
                    </a:lnTo>
                    <a:lnTo>
                      <a:pt x="509" y="383"/>
                    </a:lnTo>
                    <a:lnTo>
                      <a:pt x="512" y="376"/>
                    </a:lnTo>
                    <a:lnTo>
                      <a:pt x="514" y="368"/>
                    </a:lnTo>
                    <a:lnTo>
                      <a:pt x="515" y="361"/>
                    </a:lnTo>
                    <a:lnTo>
                      <a:pt x="516" y="354"/>
                    </a:lnTo>
                    <a:lnTo>
                      <a:pt x="516" y="346"/>
                    </a:lnTo>
                    <a:lnTo>
                      <a:pt x="513" y="1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69" name="Freeform 67"/>
              <p:cNvSpPr>
                <a:spLocks noEditPoints="1"/>
              </p:cNvSpPr>
              <p:nvPr/>
            </p:nvSpPr>
            <p:spPr bwMode="auto">
              <a:xfrm>
                <a:off x="1013843" y="6038181"/>
                <a:ext cx="57343" cy="44745"/>
              </a:xfrm>
              <a:custGeom>
                <a:avLst/>
                <a:gdLst>
                  <a:gd name="T0" fmla="*/ 302 w 611"/>
                  <a:gd name="T1" fmla="*/ 0 h 475"/>
                  <a:gd name="T2" fmla="*/ 315 w 611"/>
                  <a:gd name="T3" fmla="*/ 21 h 475"/>
                  <a:gd name="T4" fmla="*/ 309 w 611"/>
                  <a:gd name="T5" fmla="*/ 471 h 475"/>
                  <a:gd name="T6" fmla="*/ 284 w 611"/>
                  <a:gd name="T7" fmla="*/ 469 h 475"/>
                  <a:gd name="T8" fmla="*/ 9 w 611"/>
                  <a:gd name="T9" fmla="*/ 365 h 475"/>
                  <a:gd name="T10" fmla="*/ 0 w 611"/>
                  <a:gd name="T11" fmla="*/ 118 h 475"/>
                  <a:gd name="T12" fmla="*/ 9 w 611"/>
                  <a:gd name="T13" fmla="*/ 109 h 475"/>
                  <a:gd name="T14" fmla="*/ 526 w 611"/>
                  <a:gd name="T15" fmla="*/ 34 h 475"/>
                  <a:gd name="T16" fmla="*/ 562 w 611"/>
                  <a:gd name="T17" fmla="*/ 78 h 475"/>
                  <a:gd name="T18" fmla="*/ 593 w 611"/>
                  <a:gd name="T19" fmla="*/ 141 h 475"/>
                  <a:gd name="T20" fmla="*/ 610 w 611"/>
                  <a:gd name="T21" fmla="*/ 209 h 475"/>
                  <a:gd name="T22" fmla="*/ 610 w 611"/>
                  <a:gd name="T23" fmla="*/ 266 h 475"/>
                  <a:gd name="T24" fmla="*/ 593 w 611"/>
                  <a:gd name="T25" fmla="*/ 334 h 475"/>
                  <a:gd name="T26" fmla="*/ 562 w 611"/>
                  <a:gd name="T27" fmla="*/ 397 h 475"/>
                  <a:gd name="T28" fmla="*/ 526 w 611"/>
                  <a:gd name="T29" fmla="*/ 440 h 475"/>
                  <a:gd name="T30" fmla="*/ 512 w 611"/>
                  <a:gd name="T31" fmla="*/ 446 h 475"/>
                  <a:gd name="T32" fmla="*/ 497 w 611"/>
                  <a:gd name="T33" fmla="*/ 440 h 475"/>
                  <a:gd name="T34" fmla="*/ 491 w 611"/>
                  <a:gd name="T35" fmla="*/ 422 h 475"/>
                  <a:gd name="T36" fmla="*/ 513 w 611"/>
                  <a:gd name="T37" fmla="*/ 393 h 475"/>
                  <a:gd name="T38" fmla="*/ 564 w 611"/>
                  <a:gd name="T39" fmla="*/ 285 h 475"/>
                  <a:gd name="T40" fmla="*/ 564 w 611"/>
                  <a:gd name="T41" fmla="*/ 189 h 475"/>
                  <a:gd name="T42" fmla="*/ 513 w 611"/>
                  <a:gd name="T43" fmla="*/ 82 h 475"/>
                  <a:gd name="T44" fmla="*/ 491 w 611"/>
                  <a:gd name="T45" fmla="*/ 53 h 475"/>
                  <a:gd name="T46" fmla="*/ 497 w 611"/>
                  <a:gd name="T47" fmla="*/ 34 h 475"/>
                  <a:gd name="T48" fmla="*/ 512 w 611"/>
                  <a:gd name="T49" fmla="*/ 28 h 475"/>
                  <a:gd name="T50" fmla="*/ 384 w 611"/>
                  <a:gd name="T51" fmla="*/ 142 h 475"/>
                  <a:gd name="T52" fmla="*/ 415 w 611"/>
                  <a:gd name="T53" fmla="*/ 186 h 475"/>
                  <a:gd name="T54" fmla="*/ 425 w 611"/>
                  <a:gd name="T55" fmla="*/ 237 h 475"/>
                  <a:gd name="T56" fmla="*/ 409 w 611"/>
                  <a:gd name="T57" fmla="*/ 301 h 475"/>
                  <a:gd name="T58" fmla="*/ 381 w 611"/>
                  <a:gd name="T59" fmla="*/ 336 h 475"/>
                  <a:gd name="T60" fmla="*/ 366 w 611"/>
                  <a:gd name="T61" fmla="*/ 339 h 475"/>
                  <a:gd name="T62" fmla="*/ 352 w 611"/>
                  <a:gd name="T63" fmla="*/ 330 h 475"/>
                  <a:gd name="T64" fmla="*/ 350 w 611"/>
                  <a:gd name="T65" fmla="*/ 310 h 475"/>
                  <a:gd name="T66" fmla="*/ 367 w 611"/>
                  <a:gd name="T67" fmla="*/ 289 h 475"/>
                  <a:gd name="T68" fmla="*/ 382 w 611"/>
                  <a:gd name="T69" fmla="*/ 247 h 475"/>
                  <a:gd name="T70" fmla="*/ 378 w 611"/>
                  <a:gd name="T71" fmla="*/ 210 h 475"/>
                  <a:gd name="T72" fmla="*/ 355 w 611"/>
                  <a:gd name="T73" fmla="*/ 171 h 475"/>
                  <a:gd name="T74" fmla="*/ 349 w 611"/>
                  <a:gd name="T75" fmla="*/ 157 h 475"/>
                  <a:gd name="T76" fmla="*/ 355 w 611"/>
                  <a:gd name="T77" fmla="*/ 142 h 475"/>
                  <a:gd name="T78" fmla="*/ 374 w 611"/>
                  <a:gd name="T79" fmla="*/ 136 h 475"/>
                  <a:gd name="T80" fmla="*/ 457 w 611"/>
                  <a:gd name="T81" fmla="*/ 87 h 475"/>
                  <a:gd name="T82" fmla="*/ 510 w 611"/>
                  <a:gd name="T83" fmla="*/ 177 h 475"/>
                  <a:gd name="T84" fmla="*/ 515 w 611"/>
                  <a:gd name="T85" fmla="*/ 278 h 475"/>
                  <a:gd name="T86" fmla="*/ 471 w 611"/>
                  <a:gd name="T87" fmla="*/ 372 h 475"/>
                  <a:gd name="T88" fmla="*/ 446 w 611"/>
                  <a:gd name="T89" fmla="*/ 394 h 475"/>
                  <a:gd name="T90" fmla="*/ 431 w 611"/>
                  <a:gd name="T91" fmla="*/ 391 h 475"/>
                  <a:gd name="T92" fmla="*/ 422 w 611"/>
                  <a:gd name="T93" fmla="*/ 377 h 475"/>
                  <a:gd name="T94" fmla="*/ 427 w 611"/>
                  <a:gd name="T95" fmla="*/ 359 h 475"/>
                  <a:gd name="T96" fmla="*/ 465 w 611"/>
                  <a:gd name="T97" fmla="*/ 301 h 475"/>
                  <a:gd name="T98" fmla="*/ 476 w 611"/>
                  <a:gd name="T99" fmla="*/ 221 h 475"/>
                  <a:gd name="T100" fmla="*/ 449 w 611"/>
                  <a:gd name="T101" fmla="*/ 144 h 475"/>
                  <a:gd name="T102" fmla="*/ 423 w 611"/>
                  <a:gd name="T103" fmla="*/ 109 h 475"/>
                  <a:gd name="T104" fmla="*/ 425 w 611"/>
                  <a:gd name="T105" fmla="*/ 90 h 475"/>
                  <a:gd name="T106" fmla="*/ 438 w 611"/>
                  <a:gd name="T107" fmla="*/ 81 h 475"/>
                  <a:gd name="T108" fmla="*/ 457 w 611"/>
                  <a:gd name="T109" fmla="*/ 87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1" h="475">
                    <a:moveTo>
                      <a:pt x="284" y="6"/>
                    </a:moveTo>
                    <a:lnTo>
                      <a:pt x="284" y="6"/>
                    </a:lnTo>
                    <a:lnTo>
                      <a:pt x="291" y="2"/>
                    </a:lnTo>
                    <a:lnTo>
                      <a:pt x="296" y="0"/>
                    </a:lnTo>
                    <a:lnTo>
                      <a:pt x="302" y="0"/>
                    </a:lnTo>
                    <a:lnTo>
                      <a:pt x="306" y="1"/>
                    </a:lnTo>
                    <a:lnTo>
                      <a:pt x="310" y="4"/>
                    </a:lnTo>
                    <a:lnTo>
                      <a:pt x="313" y="8"/>
                    </a:lnTo>
                    <a:lnTo>
                      <a:pt x="314" y="14"/>
                    </a:lnTo>
                    <a:lnTo>
                      <a:pt x="315" y="21"/>
                    </a:lnTo>
                    <a:lnTo>
                      <a:pt x="314" y="453"/>
                    </a:lnTo>
                    <a:lnTo>
                      <a:pt x="314" y="453"/>
                    </a:lnTo>
                    <a:lnTo>
                      <a:pt x="314" y="461"/>
                    </a:lnTo>
                    <a:lnTo>
                      <a:pt x="312" y="467"/>
                    </a:lnTo>
                    <a:lnTo>
                      <a:pt x="309" y="471"/>
                    </a:lnTo>
                    <a:lnTo>
                      <a:pt x="305" y="474"/>
                    </a:lnTo>
                    <a:lnTo>
                      <a:pt x="301" y="475"/>
                    </a:lnTo>
                    <a:lnTo>
                      <a:pt x="296" y="475"/>
                    </a:lnTo>
                    <a:lnTo>
                      <a:pt x="290" y="472"/>
                    </a:lnTo>
                    <a:lnTo>
                      <a:pt x="284" y="469"/>
                    </a:lnTo>
                    <a:lnTo>
                      <a:pt x="154" y="370"/>
                    </a:lnTo>
                    <a:lnTo>
                      <a:pt x="154" y="370"/>
                    </a:lnTo>
                    <a:lnTo>
                      <a:pt x="149" y="365"/>
                    </a:lnTo>
                    <a:lnTo>
                      <a:pt x="9" y="365"/>
                    </a:lnTo>
                    <a:lnTo>
                      <a:pt x="9" y="365"/>
                    </a:lnTo>
                    <a:lnTo>
                      <a:pt x="6" y="364"/>
                    </a:lnTo>
                    <a:lnTo>
                      <a:pt x="3" y="363"/>
                    </a:lnTo>
                    <a:lnTo>
                      <a:pt x="1" y="360"/>
                    </a:lnTo>
                    <a:lnTo>
                      <a:pt x="0" y="356"/>
                    </a:lnTo>
                    <a:lnTo>
                      <a:pt x="0" y="118"/>
                    </a:lnTo>
                    <a:lnTo>
                      <a:pt x="0" y="118"/>
                    </a:lnTo>
                    <a:lnTo>
                      <a:pt x="1" y="115"/>
                    </a:lnTo>
                    <a:lnTo>
                      <a:pt x="3" y="112"/>
                    </a:lnTo>
                    <a:lnTo>
                      <a:pt x="6" y="110"/>
                    </a:lnTo>
                    <a:lnTo>
                      <a:pt x="9" y="109"/>
                    </a:lnTo>
                    <a:lnTo>
                      <a:pt x="151" y="109"/>
                    </a:lnTo>
                    <a:lnTo>
                      <a:pt x="151" y="109"/>
                    </a:lnTo>
                    <a:lnTo>
                      <a:pt x="155" y="105"/>
                    </a:lnTo>
                    <a:lnTo>
                      <a:pt x="284" y="6"/>
                    </a:lnTo>
                    <a:close/>
                    <a:moveTo>
                      <a:pt x="526" y="34"/>
                    </a:moveTo>
                    <a:lnTo>
                      <a:pt x="526" y="34"/>
                    </a:lnTo>
                    <a:lnTo>
                      <a:pt x="536" y="45"/>
                    </a:lnTo>
                    <a:lnTo>
                      <a:pt x="545" y="56"/>
                    </a:lnTo>
                    <a:lnTo>
                      <a:pt x="554" y="67"/>
                    </a:lnTo>
                    <a:lnTo>
                      <a:pt x="562" y="78"/>
                    </a:lnTo>
                    <a:lnTo>
                      <a:pt x="570" y="90"/>
                    </a:lnTo>
                    <a:lnTo>
                      <a:pt x="577" y="102"/>
                    </a:lnTo>
                    <a:lnTo>
                      <a:pt x="583" y="114"/>
                    </a:lnTo>
                    <a:lnTo>
                      <a:pt x="588" y="128"/>
                    </a:lnTo>
                    <a:lnTo>
                      <a:pt x="593" y="141"/>
                    </a:lnTo>
                    <a:lnTo>
                      <a:pt x="598" y="154"/>
                    </a:lnTo>
                    <a:lnTo>
                      <a:pt x="602" y="168"/>
                    </a:lnTo>
                    <a:lnTo>
                      <a:pt x="606" y="181"/>
                    </a:lnTo>
                    <a:lnTo>
                      <a:pt x="608" y="195"/>
                    </a:lnTo>
                    <a:lnTo>
                      <a:pt x="610" y="209"/>
                    </a:lnTo>
                    <a:lnTo>
                      <a:pt x="611" y="223"/>
                    </a:lnTo>
                    <a:lnTo>
                      <a:pt x="611" y="237"/>
                    </a:lnTo>
                    <a:lnTo>
                      <a:pt x="611" y="237"/>
                    </a:lnTo>
                    <a:lnTo>
                      <a:pt x="611" y="252"/>
                    </a:lnTo>
                    <a:lnTo>
                      <a:pt x="610" y="266"/>
                    </a:lnTo>
                    <a:lnTo>
                      <a:pt x="608" y="280"/>
                    </a:lnTo>
                    <a:lnTo>
                      <a:pt x="606" y="294"/>
                    </a:lnTo>
                    <a:lnTo>
                      <a:pt x="602" y="307"/>
                    </a:lnTo>
                    <a:lnTo>
                      <a:pt x="598" y="321"/>
                    </a:lnTo>
                    <a:lnTo>
                      <a:pt x="593" y="334"/>
                    </a:lnTo>
                    <a:lnTo>
                      <a:pt x="588" y="347"/>
                    </a:lnTo>
                    <a:lnTo>
                      <a:pt x="583" y="360"/>
                    </a:lnTo>
                    <a:lnTo>
                      <a:pt x="577" y="373"/>
                    </a:lnTo>
                    <a:lnTo>
                      <a:pt x="570" y="385"/>
                    </a:lnTo>
                    <a:lnTo>
                      <a:pt x="562" y="397"/>
                    </a:lnTo>
                    <a:lnTo>
                      <a:pt x="554" y="408"/>
                    </a:lnTo>
                    <a:lnTo>
                      <a:pt x="545" y="419"/>
                    </a:lnTo>
                    <a:lnTo>
                      <a:pt x="536" y="430"/>
                    </a:lnTo>
                    <a:lnTo>
                      <a:pt x="526" y="440"/>
                    </a:lnTo>
                    <a:lnTo>
                      <a:pt x="526" y="440"/>
                    </a:lnTo>
                    <a:lnTo>
                      <a:pt x="523" y="443"/>
                    </a:lnTo>
                    <a:lnTo>
                      <a:pt x="520" y="445"/>
                    </a:lnTo>
                    <a:lnTo>
                      <a:pt x="516" y="446"/>
                    </a:lnTo>
                    <a:lnTo>
                      <a:pt x="512" y="446"/>
                    </a:lnTo>
                    <a:lnTo>
                      <a:pt x="512" y="446"/>
                    </a:lnTo>
                    <a:lnTo>
                      <a:pt x="508" y="446"/>
                    </a:lnTo>
                    <a:lnTo>
                      <a:pt x="504" y="445"/>
                    </a:lnTo>
                    <a:lnTo>
                      <a:pt x="500" y="443"/>
                    </a:lnTo>
                    <a:lnTo>
                      <a:pt x="497" y="440"/>
                    </a:lnTo>
                    <a:lnTo>
                      <a:pt x="497" y="440"/>
                    </a:lnTo>
                    <a:lnTo>
                      <a:pt x="494" y="437"/>
                    </a:lnTo>
                    <a:lnTo>
                      <a:pt x="492" y="433"/>
                    </a:lnTo>
                    <a:lnTo>
                      <a:pt x="491" y="430"/>
                    </a:lnTo>
                    <a:lnTo>
                      <a:pt x="491" y="426"/>
                    </a:lnTo>
                    <a:lnTo>
                      <a:pt x="491" y="422"/>
                    </a:lnTo>
                    <a:lnTo>
                      <a:pt x="492" y="418"/>
                    </a:lnTo>
                    <a:lnTo>
                      <a:pt x="494" y="414"/>
                    </a:lnTo>
                    <a:lnTo>
                      <a:pt x="497" y="411"/>
                    </a:lnTo>
                    <a:lnTo>
                      <a:pt x="497" y="411"/>
                    </a:lnTo>
                    <a:lnTo>
                      <a:pt x="513" y="393"/>
                    </a:lnTo>
                    <a:lnTo>
                      <a:pt x="527" y="374"/>
                    </a:lnTo>
                    <a:lnTo>
                      <a:pt x="540" y="353"/>
                    </a:lnTo>
                    <a:lnTo>
                      <a:pt x="550" y="331"/>
                    </a:lnTo>
                    <a:lnTo>
                      <a:pt x="558" y="308"/>
                    </a:lnTo>
                    <a:lnTo>
                      <a:pt x="564" y="285"/>
                    </a:lnTo>
                    <a:lnTo>
                      <a:pt x="567" y="262"/>
                    </a:lnTo>
                    <a:lnTo>
                      <a:pt x="568" y="237"/>
                    </a:lnTo>
                    <a:lnTo>
                      <a:pt x="568" y="237"/>
                    </a:lnTo>
                    <a:lnTo>
                      <a:pt x="567" y="213"/>
                    </a:lnTo>
                    <a:lnTo>
                      <a:pt x="564" y="189"/>
                    </a:lnTo>
                    <a:lnTo>
                      <a:pt x="558" y="166"/>
                    </a:lnTo>
                    <a:lnTo>
                      <a:pt x="550" y="144"/>
                    </a:lnTo>
                    <a:lnTo>
                      <a:pt x="540" y="122"/>
                    </a:lnTo>
                    <a:lnTo>
                      <a:pt x="527" y="101"/>
                    </a:lnTo>
                    <a:lnTo>
                      <a:pt x="513" y="82"/>
                    </a:lnTo>
                    <a:lnTo>
                      <a:pt x="497" y="64"/>
                    </a:lnTo>
                    <a:lnTo>
                      <a:pt x="497" y="64"/>
                    </a:lnTo>
                    <a:lnTo>
                      <a:pt x="494" y="61"/>
                    </a:lnTo>
                    <a:lnTo>
                      <a:pt x="492" y="57"/>
                    </a:lnTo>
                    <a:lnTo>
                      <a:pt x="491" y="53"/>
                    </a:lnTo>
                    <a:lnTo>
                      <a:pt x="491" y="49"/>
                    </a:lnTo>
                    <a:lnTo>
                      <a:pt x="491" y="45"/>
                    </a:lnTo>
                    <a:lnTo>
                      <a:pt x="492" y="41"/>
                    </a:lnTo>
                    <a:lnTo>
                      <a:pt x="494" y="38"/>
                    </a:lnTo>
                    <a:lnTo>
                      <a:pt x="497" y="34"/>
                    </a:lnTo>
                    <a:lnTo>
                      <a:pt x="497" y="34"/>
                    </a:lnTo>
                    <a:lnTo>
                      <a:pt x="500" y="32"/>
                    </a:lnTo>
                    <a:lnTo>
                      <a:pt x="504" y="30"/>
                    </a:lnTo>
                    <a:lnTo>
                      <a:pt x="508" y="29"/>
                    </a:lnTo>
                    <a:lnTo>
                      <a:pt x="512" y="28"/>
                    </a:lnTo>
                    <a:lnTo>
                      <a:pt x="516" y="29"/>
                    </a:lnTo>
                    <a:lnTo>
                      <a:pt x="519" y="30"/>
                    </a:lnTo>
                    <a:lnTo>
                      <a:pt x="523" y="32"/>
                    </a:lnTo>
                    <a:lnTo>
                      <a:pt x="526" y="34"/>
                    </a:lnTo>
                    <a:close/>
                    <a:moveTo>
                      <a:pt x="384" y="142"/>
                    </a:moveTo>
                    <a:lnTo>
                      <a:pt x="384" y="142"/>
                    </a:lnTo>
                    <a:lnTo>
                      <a:pt x="394" y="152"/>
                    </a:lnTo>
                    <a:lnTo>
                      <a:pt x="402" y="162"/>
                    </a:lnTo>
                    <a:lnTo>
                      <a:pt x="409" y="174"/>
                    </a:lnTo>
                    <a:lnTo>
                      <a:pt x="415" y="186"/>
                    </a:lnTo>
                    <a:lnTo>
                      <a:pt x="419" y="198"/>
                    </a:lnTo>
                    <a:lnTo>
                      <a:pt x="422" y="211"/>
                    </a:lnTo>
                    <a:lnTo>
                      <a:pt x="424" y="224"/>
                    </a:lnTo>
                    <a:lnTo>
                      <a:pt x="425" y="237"/>
                    </a:lnTo>
                    <a:lnTo>
                      <a:pt x="425" y="237"/>
                    </a:lnTo>
                    <a:lnTo>
                      <a:pt x="424" y="251"/>
                    </a:lnTo>
                    <a:lnTo>
                      <a:pt x="422" y="264"/>
                    </a:lnTo>
                    <a:lnTo>
                      <a:pt x="419" y="277"/>
                    </a:lnTo>
                    <a:lnTo>
                      <a:pt x="415" y="289"/>
                    </a:lnTo>
                    <a:lnTo>
                      <a:pt x="409" y="301"/>
                    </a:lnTo>
                    <a:lnTo>
                      <a:pt x="402" y="312"/>
                    </a:lnTo>
                    <a:lnTo>
                      <a:pt x="394" y="323"/>
                    </a:lnTo>
                    <a:lnTo>
                      <a:pt x="384" y="333"/>
                    </a:lnTo>
                    <a:lnTo>
                      <a:pt x="384" y="333"/>
                    </a:lnTo>
                    <a:lnTo>
                      <a:pt x="381" y="336"/>
                    </a:lnTo>
                    <a:lnTo>
                      <a:pt x="378" y="338"/>
                    </a:lnTo>
                    <a:lnTo>
                      <a:pt x="374" y="339"/>
                    </a:lnTo>
                    <a:lnTo>
                      <a:pt x="370" y="339"/>
                    </a:lnTo>
                    <a:lnTo>
                      <a:pt x="370" y="339"/>
                    </a:lnTo>
                    <a:lnTo>
                      <a:pt x="366" y="339"/>
                    </a:lnTo>
                    <a:lnTo>
                      <a:pt x="362" y="338"/>
                    </a:lnTo>
                    <a:lnTo>
                      <a:pt x="358" y="336"/>
                    </a:lnTo>
                    <a:lnTo>
                      <a:pt x="355" y="333"/>
                    </a:lnTo>
                    <a:lnTo>
                      <a:pt x="355" y="333"/>
                    </a:lnTo>
                    <a:lnTo>
                      <a:pt x="352" y="330"/>
                    </a:lnTo>
                    <a:lnTo>
                      <a:pt x="350" y="326"/>
                    </a:lnTo>
                    <a:lnTo>
                      <a:pt x="349" y="322"/>
                    </a:lnTo>
                    <a:lnTo>
                      <a:pt x="349" y="318"/>
                    </a:lnTo>
                    <a:lnTo>
                      <a:pt x="349" y="314"/>
                    </a:lnTo>
                    <a:lnTo>
                      <a:pt x="350" y="310"/>
                    </a:lnTo>
                    <a:lnTo>
                      <a:pt x="352" y="307"/>
                    </a:lnTo>
                    <a:lnTo>
                      <a:pt x="355" y="303"/>
                    </a:lnTo>
                    <a:lnTo>
                      <a:pt x="355" y="303"/>
                    </a:lnTo>
                    <a:lnTo>
                      <a:pt x="361" y="297"/>
                    </a:lnTo>
                    <a:lnTo>
                      <a:pt x="367" y="289"/>
                    </a:lnTo>
                    <a:lnTo>
                      <a:pt x="371" y="281"/>
                    </a:lnTo>
                    <a:lnTo>
                      <a:pt x="375" y="273"/>
                    </a:lnTo>
                    <a:lnTo>
                      <a:pt x="378" y="265"/>
                    </a:lnTo>
                    <a:lnTo>
                      <a:pt x="380" y="256"/>
                    </a:lnTo>
                    <a:lnTo>
                      <a:pt x="382" y="247"/>
                    </a:lnTo>
                    <a:lnTo>
                      <a:pt x="382" y="237"/>
                    </a:lnTo>
                    <a:lnTo>
                      <a:pt x="382" y="237"/>
                    </a:lnTo>
                    <a:lnTo>
                      <a:pt x="382" y="228"/>
                    </a:lnTo>
                    <a:lnTo>
                      <a:pt x="380" y="219"/>
                    </a:lnTo>
                    <a:lnTo>
                      <a:pt x="378" y="210"/>
                    </a:lnTo>
                    <a:lnTo>
                      <a:pt x="375" y="202"/>
                    </a:lnTo>
                    <a:lnTo>
                      <a:pt x="371" y="193"/>
                    </a:lnTo>
                    <a:lnTo>
                      <a:pt x="367" y="186"/>
                    </a:lnTo>
                    <a:lnTo>
                      <a:pt x="361" y="178"/>
                    </a:lnTo>
                    <a:lnTo>
                      <a:pt x="355" y="171"/>
                    </a:lnTo>
                    <a:lnTo>
                      <a:pt x="355" y="171"/>
                    </a:lnTo>
                    <a:lnTo>
                      <a:pt x="352" y="168"/>
                    </a:lnTo>
                    <a:lnTo>
                      <a:pt x="350" y="165"/>
                    </a:lnTo>
                    <a:lnTo>
                      <a:pt x="349" y="161"/>
                    </a:lnTo>
                    <a:lnTo>
                      <a:pt x="349" y="157"/>
                    </a:lnTo>
                    <a:lnTo>
                      <a:pt x="349" y="153"/>
                    </a:lnTo>
                    <a:lnTo>
                      <a:pt x="350" y="149"/>
                    </a:lnTo>
                    <a:lnTo>
                      <a:pt x="352" y="145"/>
                    </a:lnTo>
                    <a:lnTo>
                      <a:pt x="355" y="142"/>
                    </a:lnTo>
                    <a:lnTo>
                      <a:pt x="355" y="142"/>
                    </a:lnTo>
                    <a:lnTo>
                      <a:pt x="358" y="139"/>
                    </a:lnTo>
                    <a:lnTo>
                      <a:pt x="362" y="137"/>
                    </a:lnTo>
                    <a:lnTo>
                      <a:pt x="366" y="136"/>
                    </a:lnTo>
                    <a:lnTo>
                      <a:pt x="370" y="136"/>
                    </a:lnTo>
                    <a:lnTo>
                      <a:pt x="374" y="136"/>
                    </a:lnTo>
                    <a:lnTo>
                      <a:pt x="378" y="137"/>
                    </a:lnTo>
                    <a:lnTo>
                      <a:pt x="381" y="139"/>
                    </a:lnTo>
                    <a:lnTo>
                      <a:pt x="384" y="142"/>
                    </a:lnTo>
                    <a:close/>
                    <a:moveTo>
                      <a:pt x="457" y="87"/>
                    </a:moveTo>
                    <a:lnTo>
                      <a:pt x="457" y="87"/>
                    </a:lnTo>
                    <a:lnTo>
                      <a:pt x="471" y="103"/>
                    </a:lnTo>
                    <a:lnTo>
                      <a:pt x="484" y="120"/>
                    </a:lnTo>
                    <a:lnTo>
                      <a:pt x="495" y="139"/>
                    </a:lnTo>
                    <a:lnTo>
                      <a:pt x="503" y="158"/>
                    </a:lnTo>
                    <a:lnTo>
                      <a:pt x="510" y="177"/>
                    </a:lnTo>
                    <a:lnTo>
                      <a:pt x="515" y="197"/>
                    </a:lnTo>
                    <a:lnTo>
                      <a:pt x="518" y="217"/>
                    </a:lnTo>
                    <a:lnTo>
                      <a:pt x="519" y="237"/>
                    </a:lnTo>
                    <a:lnTo>
                      <a:pt x="518" y="258"/>
                    </a:lnTo>
                    <a:lnTo>
                      <a:pt x="515" y="278"/>
                    </a:lnTo>
                    <a:lnTo>
                      <a:pt x="510" y="298"/>
                    </a:lnTo>
                    <a:lnTo>
                      <a:pt x="503" y="317"/>
                    </a:lnTo>
                    <a:lnTo>
                      <a:pt x="495" y="336"/>
                    </a:lnTo>
                    <a:lnTo>
                      <a:pt x="484" y="355"/>
                    </a:lnTo>
                    <a:lnTo>
                      <a:pt x="471" y="372"/>
                    </a:lnTo>
                    <a:lnTo>
                      <a:pt x="457" y="388"/>
                    </a:lnTo>
                    <a:lnTo>
                      <a:pt x="457" y="388"/>
                    </a:lnTo>
                    <a:lnTo>
                      <a:pt x="454" y="391"/>
                    </a:lnTo>
                    <a:lnTo>
                      <a:pt x="450" y="393"/>
                    </a:lnTo>
                    <a:lnTo>
                      <a:pt x="446" y="394"/>
                    </a:lnTo>
                    <a:lnTo>
                      <a:pt x="442" y="394"/>
                    </a:lnTo>
                    <a:lnTo>
                      <a:pt x="442" y="394"/>
                    </a:lnTo>
                    <a:lnTo>
                      <a:pt x="438" y="394"/>
                    </a:lnTo>
                    <a:lnTo>
                      <a:pt x="434" y="393"/>
                    </a:lnTo>
                    <a:lnTo>
                      <a:pt x="431" y="391"/>
                    </a:lnTo>
                    <a:lnTo>
                      <a:pt x="427" y="388"/>
                    </a:lnTo>
                    <a:lnTo>
                      <a:pt x="427" y="388"/>
                    </a:lnTo>
                    <a:lnTo>
                      <a:pt x="425" y="385"/>
                    </a:lnTo>
                    <a:lnTo>
                      <a:pt x="423" y="381"/>
                    </a:lnTo>
                    <a:lnTo>
                      <a:pt x="422" y="377"/>
                    </a:lnTo>
                    <a:lnTo>
                      <a:pt x="421" y="373"/>
                    </a:lnTo>
                    <a:lnTo>
                      <a:pt x="422" y="369"/>
                    </a:lnTo>
                    <a:lnTo>
                      <a:pt x="423" y="365"/>
                    </a:lnTo>
                    <a:lnTo>
                      <a:pt x="425" y="362"/>
                    </a:lnTo>
                    <a:lnTo>
                      <a:pt x="427" y="359"/>
                    </a:lnTo>
                    <a:lnTo>
                      <a:pt x="427" y="359"/>
                    </a:lnTo>
                    <a:lnTo>
                      <a:pt x="439" y="345"/>
                    </a:lnTo>
                    <a:lnTo>
                      <a:pt x="449" y="331"/>
                    </a:lnTo>
                    <a:lnTo>
                      <a:pt x="458" y="316"/>
                    </a:lnTo>
                    <a:lnTo>
                      <a:pt x="465" y="301"/>
                    </a:lnTo>
                    <a:lnTo>
                      <a:pt x="470" y="286"/>
                    </a:lnTo>
                    <a:lnTo>
                      <a:pt x="474" y="270"/>
                    </a:lnTo>
                    <a:lnTo>
                      <a:pt x="476" y="254"/>
                    </a:lnTo>
                    <a:lnTo>
                      <a:pt x="477" y="237"/>
                    </a:lnTo>
                    <a:lnTo>
                      <a:pt x="476" y="221"/>
                    </a:lnTo>
                    <a:lnTo>
                      <a:pt x="474" y="205"/>
                    </a:lnTo>
                    <a:lnTo>
                      <a:pt x="470" y="189"/>
                    </a:lnTo>
                    <a:lnTo>
                      <a:pt x="465" y="174"/>
                    </a:lnTo>
                    <a:lnTo>
                      <a:pt x="458" y="158"/>
                    </a:lnTo>
                    <a:lnTo>
                      <a:pt x="449" y="144"/>
                    </a:lnTo>
                    <a:lnTo>
                      <a:pt x="439" y="130"/>
                    </a:lnTo>
                    <a:lnTo>
                      <a:pt x="427" y="116"/>
                    </a:lnTo>
                    <a:lnTo>
                      <a:pt x="427" y="116"/>
                    </a:lnTo>
                    <a:lnTo>
                      <a:pt x="425" y="113"/>
                    </a:lnTo>
                    <a:lnTo>
                      <a:pt x="423" y="109"/>
                    </a:lnTo>
                    <a:lnTo>
                      <a:pt x="422" y="106"/>
                    </a:lnTo>
                    <a:lnTo>
                      <a:pt x="421" y="102"/>
                    </a:lnTo>
                    <a:lnTo>
                      <a:pt x="422" y="98"/>
                    </a:lnTo>
                    <a:lnTo>
                      <a:pt x="423" y="94"/>
                    </a:lnTo>
                    <a:lnTo>
                      <a:pt x="425" y="90"/>
                    </a:lnTo>
                    <a:lnTo>
                      <a:pt x="427" y="87"/>
                    </a:lnTo>
                    <a:lnTo>
                      <a:pt x="427" y="87"/>
                    </a:lnTo>
                    <a:lnTo>
                      <a:pt x="431" y="84"/>
                    </a:lnTo>
                    <a:lnTo>
                      <a:pt x="434" y="82"/>
                    </a:lnTo>
                    <a:lnTo>
                      <a:pt x="438" y="81"/>
                    </a:lnTo>
                    <a:lnTo>
                      <a:pt x="442" y="81"/>
                    </a:lnTo>
                    <a:lnTo>
                      <a:pt x="446" y="81"/>
                    </a:lnTo>
                    <a:lnTo>
                      <a:pt x="450" y="82"/>
                    </a:lnTo>
                    <a:lnTo>
                      <a:pt x="454" y="84"/>
                    </a:lnTo>
                    <a:lnTo>
                      <a:pt x="457" y="87"/>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870" name="Group 1869"/>
              <p:cNvGrpSpPr/>
              <p:nvPr/>
            </p:nvGrpSpPr>
            <p:grpSpPr>
              <a:xfrm>
                <a:off x="1674408" y="5855108"/>
                <a:ext cx="68435" cy="69287"/>
                <a:chOff x="5755705" y="3082290"/>
                <a:chExt cx="643500" cy="651510"/>
              </a:xfrm>
              <a:solidFill>
                <a:schemeClr val="accent1"/>
              </a:solidFill>
            </p:grpSpPr>
            <p:sp>
              <p:nvSpPr>
                <p:cNvPr id="1908" name="Freeform 176"/>
                <p:cNvSpPr>
                  <a:spLocks noEditPoints="1"/>
                </p:cNvSpPr>
                <p:nvPr/>
              </p:nvSpPr>
              <p:spPr bwMode="auto">
                <a:xfrm>
                  <a:off x="5755705" y="3082290"/>
                  <a:ext cx="643500" cy="651510"/>
                </a:xfrm>
                <a:custGeom>
                  <a:avLst/>
                  <a:gdLst>
                    <a:gd name="T0" fmla="*/ 274 w 683"/>
                    <a:gd name="T1" fmla="*/ 7 h 683"/>
                    <a:gd name="T2" fmla="*/ 179 w 683"/>
                    <a:gd name="T3" fmla="*/ 42 h 683"/>
                    <a:gd name="T4" fmla="*/ 101 w 683"/>
                    <a:gd name="T5" fmla="*/ 101 h 683"/>
                    <a:gd name="T6" fmla="*/ 42 w 683"/>
                    <a:gd name="T7" fmla="*/ 179 h 683"/>
                    <a:gd name="T8" fmla="*/ 7 w 683"/>
                    <a:gd name="T9" fmla="*/ 274 h 683"/>
                    <a:gd name="T10" fmla="*/ 1 w 683"/>
                    <a:gd name="T11" fmla="*/ 360 h 683"/>
                    <a:gd name="T12" fmla="*/ 21 w 683"/>
                    <a:gd name="T13" fmla="*/ 459 h 683"/>
                    <a:gd name="T14" fmla="*/ 69 w 683"/>
                    <a:gd name="T15" fmla="*/ 546 h 683"/>
                    <a:gd name="T16" fmla="*/ 138 w 683"/>
                    <a:gd name="T17" fmla="*/ 615 h 683"/>
                    <a:gd name="T18" fmla="*/ 224 w 683"/>
                    <a:gd name="T19" fmla="*/ 662 h 683"/>
                    <a:gd name="T20" fmla="*/ 325 w 683"/>
                    <a:gd name="T21" fmla="*/ 682 h 683"/>
                    <a:gd name="T22" fmla="*/ 411 w 683"/>
                    <a:gd name="T23" fmla="*/ 676 h 683"/>
                    <a:gd name="T24" fmla="*/ 505 w 683"/>
                    <a:gd name="T25" fmla="*/ 642 h 683"/>
                    <a:gd name="T26" fmla="*/ 583 w 683"/>
                    <a:gd name="T27" fmla="*/ 583 h 683"/>
                    <a:gd name="T28" fmla="*/ 642 w 683"/>
                    <a:gd name="T29" fmla="*/ 505 h 683"/>
                    <a:gd name="T30" fmla="*/ 676 w 683"/>
                    <a:gd name="T31" fmla="*/ 411 h 683"/>
                    <a:gd name="T32" fmla="*/ 682 w 683"/>
                    <a:gd name="T33" fmla="*/ 325 h 683"/>
                    <a:gd name="T34" fmla="*/ 662 w 683"/>
                    <a:gd name="T35" fmla="*/ 224 h 683"/>
                    <a:gd name="T36" fmla="*/ 615 w 683"/>
                    <a:gd name="T37" fmla="*/ 138 h 683"/>
                    <a:gd name="T38" fmla="*/ 546 w 683"/>
                    <a:gd name="T39" fmla="*/ 69 h 683"/>
                    <a:gd name="T40" fmla="*/ 459 w 683"/>
                    <a:gd name="T41" fmla="*/ 21 h 683"/>
                    <a:gd name="T42" fmla="*/ 360 w 683"/>
                    <a:gd name="T43" fmla="*/ 1 h 683"/>
                    <a:gd name="T44" fmla="*/ 479 w 683"/>
                    <a:gd name="T45" fmla="*/ 597 h 683"/>
                    <a:gd name="T46" fmla="*/ 385 w 683"/>
                    <a:gd name="T47" fmla="*/ 627 h 683"/>
                    <a:gd name="T48" fmla="*/ 333 w 683"/>
                    <a:gd name="T49" fmla="*/ 631 h 683"/>
                    <a:gd name="T50" fmla="*/ 233 w 683"/>
                    <a:gd name="T51" fmla="*/ 610 h 683"/>
                    <a:gd name="T52" fmla="*/ 189 w 683"/>
                    <a:gd name="T53" fmla="*/ 588 h 683"/>
                    <a:gd name="T54" fmla="*/ 114 w 683"/>
                    <a:gd name="T55" fmla="*/ 521 h 683"/>
                    <a:gd name="T56" fmla="*/ 87 w 683"/>
                    <a:gd name="T57" fmla="*/ 479 h 683"/>
                    <a:gd name="T58" fmla="*/ 55 w 683"/>
                    <a:gd name="T59" fmla="*/ 384 h 683"/>
                    <a:gd name="T60" fmla="*/ 51 w 683"/>
                    <a:gd name="T61" fmla="*/ 333 h 683"/>
                    <a:gd name="T62" fmla="*/ 73 w 683"/>
                    <a:gd name="T63" fmla="*/ 233 h 683"/>
                    <a:gd name="T64" fmla="*/ 94 w 683"/>
                    <a:gd name="T65" fmla="*/ 189 h 683"/>
                    <a:gd name="T66" fmla="*/ 162 w 683"/>
                    <a:gd name="T67" fmla="*/ 114 h 683"/>
                    <a:gd name="T68" fmla="*/ 203 w 683"/>
                    <a:gd name="T69" fmla="*/ 85 h 683"/>
                    <a:gd name="T70" fmla="*/ 299 w 683"/>
                    <a:gd name="T71" fmla="*/ 55 h 683"/>
                    <a:gd name="T72" fmla="*/ 351 w 683"/>
                    <a:gd name="T73" fmla="*/ 51 h 683"/>
                    <a:gd name="T74" fmla="*/ 448 w 683"/>
                    <a:gd name="T75" fmla="*/ 72 h 683"/>
                    <a:gd name="T76" fmla="*/ 495 w 683"/>
                    <a:gd name="T77" fmla="*/ 94 h 683"/>
                    <a:gd name="T78" fmla="*/ 569 w 683"/>
                    <a:gd name="T79" fmla="*/ 162 h 683"/>
                    <a:gd name="T80" fmla="*/ 597 w 683"/>
                    <a:gd name="T81" fmla="*/ 203 h 683"/>
                    <a:gd name="T82" fmla="*/ 628 w 683"/>
                    <a:gd name="T83" fmla="*/ 298 h 683"/>
                    <a:gd name="T84" fmla="*/ 631 w 683"/>
                    <a:gd name="T85" fmla="*/ 349 h 683"/>
                    <a:gd name="T86" fmla="*/ 610 w 683"/>
                    <a:gd name="T87" fmla="*/ 448 h 683"/>
                    <a:gd name="T88" fmla="*/ 588 w 683"/>
                    <a:gd name="T89" fmla="*/ 495 h 683"/>
                    <a:gd name="T90" fmla="*/ 522 w 683"/>
                    <a:gd name="T91" fmla="*/ 569 h 683"/>
                    <a:gd name="T92" fmla="*/ 352 w 683"/>
                    <a:gd name="T93" fmla="*/ 367 h 683"/>
                    <a:gd name="T94" fmla="*/ 322 w 683"/>
                    <a:gd name="T95" fmla="*/ 360 h 683"/>
                    <a:gd name="T96" fmla="*/ 315 w 683"/>
                    <a:gd name="T97" fmla="*/ 336 h 683"/>
                    <a:gd name="T98" fmla="*/ 331 w 683"/>
                    <a:gd name="T99" fmla="*/ 317 h 683"/>
                    <a:gd name="T100" fmla="*/ 360 w 683"/>
                    <a:gd name="T101" fmla="*/ 322 h 683"/>
                    <a:gd name="T102" fmla="*/ 368 w 683"/>
                    <a:gd name="T103" fmla="*/ 347 h 683"/>
                    <a:gd name="T104" fmla="*/ 285 w 683"/>
                    <a:gd name="T105" fmla="*/ 301 h 683"/>
                    <a:gd name="T106" fmla="*/ 308 w 683"/>
                    <a:gd name="T107" fmla="*/ 376 h 683"/>
                    <a:gd name="T108" fmla="*/ 298 w 683"/>
                    <a:gd name="T109" fmla="*/ 323 h 683"/>
                    <a:gd name="T110" fmla="*/ 332 w 683"/>
                    <a:gd name="T111" fmla="*/ 295 h 683"/>
                    <a:gd name="T112" fmla="*/ 376 w 683"/>
                    <a:gd name="T113" fmla="*/ 308 h 683"/>
                    <a:gd name="T114" fmla="*/ 386 w 683"/>
                    <a:gd name="T115" fmla="*/ 359 h 683"/>
                    <a:gd name="T116" fmla="*/ 350 w 683"/>
                    <a:gd name="T117" fmla="*/ 389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683">
                      <a:moveTo>
                        <a:pt x="342" y="0"/>
                      </a:moveTo>
                      <a:lnTo>
                        <a:pt x="342" y="0"/>
                      </a:lnTo>
                      <a:lnTo>
                        <a:pt x="325" y="1"/>
                      </a:lnTo>
                      <a:lnTo>
                        <a:pt x="307" y="2"/>
                      </a:lnTo>
                      <a:lnTo>
                        <a:pt x="290" y="4"/>
                      </a:lnTo>
                      <a:lnTo>
                        <a:pt x="274" y="7"/>
                      </a:lnTo>
                      <a:lnTo>
                        <a:pt x="257" y="11"/>
                      </a:lnTo>
                      <a:lnTo>
                        <a:pt x="240" y="16"/>
                      </a:lnTo>
                      <a:lnTo>
                        <a:pt x="224" y="21"/>
                      </a:lnTo>
                      <a:lnTo>
                        <a:pt x="209" y="27"/>
                      </a:lnTo>
                      <a:lnTo>
                        <a:pt x="194" y="34"/>
                      </a:lnTo>
                      <a:lnTo>
                        <a:pt x="179" y="42"/>
                      </a:lnTo>
                      <a:lnTo>
                        <a:pt x="165" y="51"/>
                      </a:lnTo>
                      <a:lnTo>
                        <a:pt x="151" y="59"/>
                      </a:lnTo>
                      <a:lnTo>
                        <a:pt x="138" y="69"/>
                      </a:lnTo>
                      <a:lnTo>
                        <a:pt x="125" y="79"/>
                      </a:lnTo>
                      <a:lnTo>
                        <a:pt x="113" y="90"/>
                      </a:lnTo>
                      <a:lnTo>
                        <a:pt x="101" y="101"/>
                      </a:lnTo>
                      <a:lnTo>
                        <a:pt x="90" y="113"/>
                      </a:lnTo>
                      <a:lnTo>
                        <a:pt x="79" y="125"/>
                      </a:lnTo>
                      <a:lnTo>
                        <a:pt x="69" y="138"/>
                      </a:lnTo>
                      <a:lnTo>
                        <a:pt x="59" y="151"/>
                      </a:lnTo>
                      <a:lnTo>
                        <a:pt x="51" y="165"/>
                      </a:lnTo>
                      <a:lnTo>
                        <a:pt x="42" y="179"/>
                      </a:lnTo>
                      <a:lnTo>
                        <a:pt x="35" y="194"/>
                      </a:lnTo>
                      <a:lnTo>
                        <a:pt x="27" y="209"/>
                      </a:lnTo>
                      <a:lnTo>
                        <a:pt x="21" y="224"/>
                      </a:lnTo>
                      <a:lnTo>
                        <a:pt x="16" y="240"/>
                      </a:lnTo>
                      <a:lnTo>
                        <a:pt x="11" y="257"/>
                      </a:lnTo>
                      <a:lnTo>
                        <a:pt x="7" y="274"/>
                      </a:lnTo>
                      <a:lnTo>
                        <a:pt x="4" y="290"/>
                      </a:lnTo>
                      <a:lnTo>
                        <a:pt x="2" y="307"/>
                      </a:lnTo>
                      <a:lnTo>
                        <a:pt x="1" y="325"/>
                      </a:lnTo>
                      <a:lnTo>
                        <a:pt x="0" y="342"/>
                      </a:lnTo>
                      <a:lnTo>
                        <a:pt x="0" y="342"/>
                      </a:lnTo>
                      <a:lnTo>
                        <a:pt x="1" y="360"/>
                      </a:lnTo>
                      <a:lnTo>
                        <a:pt x="2" y="377"/>
                      </a:lnTo>
                      <a:lnTo>
                        <a:pt x="4" y="394"/>
                      </a:lnTo>
                      <a:lnTo>
                        <a:pt x="7" y="411"/>
                      </a:lnTo>
                      <a:lnTo>
                        <a:pt x="11" y="427"/>
                      </a:lnTo>
                      <a:lnTo>
                        <a:pt x="16" y="443"/>
                      </a:lnTo>
                      <a:lnTo>
                        <a:pt x="21" y="459"/>
                      </a:lnTo>
                      <a:lnTo>
                        <a:pt x="27" y="475"/>
                      </a:lnTo>
                      <a:lnTo>
                        <a:pt x="35" y="490"/>
                      </a:lnTo>
                      <a:lnTo>
                        <a:pt x="42" y="505"/>
                      </a:lnTo>
                      <a:lnTo>
                        <a:pt x="51" y="519"/>
                      </a:lnTo>
                      <a:lnTo>
                        <a:pt x="59" y="533"/>
                      </a:lnTo>
                      <a:lnTo>
                        <a:pt x="69" y="546"/>
                      </a:lnTo>
                      <a:lnTo>
                        <a:pt x="79" y="559"/>
                      </a:lnTo>
                      <a:lnTo>
                        <a:pt x="90" y="572"/>
                      </a:lnTo>
                      <a:lnTo>
                        <a:pt x="101" y="583"/>
                      </a:lnTo>
                      <a:lnTo>
                        <a:pt x="113" y="595"/>
                      </a:lnTo>
                      <a:lnTo>
                        <a:pt x="125" y="605"/>
                      </a:lnTo>
                      <a:lnTo>
                        <a:pt x="138" y="615"/>
                      </a:lnTo>
                      <a:lnTo>
                        <a:pt x="151" y="625"/>
                      </a:lnTo>
                      <a:lnTo>
                        <a:pt x="165" y="634"/>
                      </a:lnTo>
                      <a:lnTo>
                        <a:pt x="179" y="642"/>
                      </a:lnTo>
                      <a:lnTo>
                        <a:pt x="194" y="649"/>
                      </a:lnTo>
                      <a:lnTo>
                        <a:pt x="209" y="656"/>
                      </a:lnTo>
                      <a:lnTo>
                        <a:pt x="224" y="662"/>
                      </a:lnTo>
                      <a:lnTo>
                        <a:pt x="240" y="667"/>
                      </a:lnTo>
                      <a:lnTo>
                        <a:pt x="257" y="672"/>
                      </a:lnTo>
                      <a:lnTo>
                        <a:pt x="274" y="676"/>
                      </a:lnTo>
                      <a:lnTo>
                        <a:pt x="290" y="679"/>
                      </a:lnTo>
                      <a:lnTo>
                        <a:pt x="307" y="681"/>
                      </a:lnTo>
                      <a:lnTo>
                        <a:pt x="325" y="682"/>
                      </a:lnTo>
                      <a:lnTo>
                        <a:pt x="342" y="683"/>
                      </a:lnTo>
                      <a:lnTo>
                        <a:pt x="342" y="683"/>
                      </a:lnTo>
                      <a:lnTo>
                        <a:pt x="360" y="682"/>
                      </a:lnTo>
                      <a:lnTo>
                        <a:pt x="377" y="681"/>
                      </a:lnTo>
                      <a:lnTo>
                        <a:pt x="394" y="679"/>
                      </a:lnTo>
                      <a:lnTo>
                        <a:pt x="411" y="676"/>
                      </a:lnTo>
                      <a:lnTo>
                        <a:pt x="427" y="672"/>
                      </a:lnTo>
                      <a:lnTo>
                        <a:pt x="443" y="667"/>
                      </a:lnTo>
                      <a:lnTo>
                        <a:pt x="459" y="662"/>
                      </a:lnTo>
                      <a:lnTo>
                        <a:pt x="475" y="656"/>
                      </a:lnTo>
                      <a:lnTo>
                        <a:pt x="491" y="649"/>
                      </a:lnTo>
                      <a:lnTo>
                        <a:pt x="505" y="642"/>
                      </a:lnTo>
                      <a:lnTo>
                        <a:pt x="519" y="634"/>
                      </a:lnTo>
                      <a:lnTo>
                        <a:pt x="533" y="625"/>
                      </a:lnTo>
                      <a:lnTo>
                        <a:pt x="546" y="615"/>
                      </a:lnTo>
                      <a:lnTo>
                        <a:pt x="559" y="605"/>
                      </a:lnTo>
                      <a:lnTo>
                        <a:pt x="572" y="595"/>
                      </a:lnTo>
                      <a:lnTo>
                        <a:pt x="583" y="583"/>
                      </a:lnTo>
                      <a:lnTo>
                        <a:pt x="595" y="572"/>
                      </a:lnTo>
                      <a:lnTo>
                        <a:pt x="605" y="559"/>
                      </a:lnTo>
                      <a:lnTo>
                        <a:pt x="615" y="546"/>
                      </a:lnTo>
                      <a:lnTo>
                        <a:pt x="625" y="533"/>
                      </a:lnTo>
                      <a:lnTo>
                        <a:pt x="634" y="519"/>
                      </a:lnTo>
                      <a:lnTo>
                        <a:pt x="642" y="505"/>
                      </a:lnTo>
                      <a:lnTo>
                        <a:pt x="649" y="490"/>
                      </a:lnTo>
                      <a:lnTo>
                        <a:pt x="656" y="475"/>
                      </a:lnTo>
                      <a:lnTo>
                        <a:pt x="662" y="459"/>
                      </a:lnTo>
                      <a:lnTo>
                        <a:pt x="668" y="443"/>
                      </a:lnTo>
                      <a:lnTo>
                        <a:pt x="672" y="427"/>
                      </a:lnTo>
                      <a:lnTo>
                        <a:pt x="676" y="411"/>
                      </a:lnTo>
                      <a:lnTo>
                        <a:pt x="679" y="394"/>
                      </a:lnTo>
                      <a:lnTo>
                        <a:pt x="681" y="377"/>
                      </a:lnTo>
                      <a:lnTo>
                        <a:pt x="682" y="360"/>
                      </a:lnTo>
                      <a:lnTo>
                        <a:pt x="683" y="342"/>
                      </a:lnTo>
                      <a:lnTo>
                        <a:pt x="683" y="342"/>
                      </a:lnTo>
                      <a:lnTo>
                        <a:pt x="682" y="325"/>
                      </a:lnTo>
                      <a:lnTo>
                        <a:pt x="681" y="307"/>
                      </a:lnTo>
                      <a:lnTo>
                        <a:pt x="679" y="290"/>
                      </a:lnTo>
                      <a:lnTo>
                        <a:pt x="676" y="274"/>
                      </a:lnTo>
                      <a:lnTo>
                        <a:pt x="672" y="257"/>
                      </a:lnTo>
                      <a:lnTo>
                        <a:pt x="668" y="240"/>
                      </a:lnTo>
                      <a:lnTo>
                        <a:pt x="662" y="224"/>
                      </a:lnTo>
                      <a:lnTo>
                        <a:pt x="656" y="209"/>
                      </a:lnTo>
                      <a:lnTo>
                        <a:pt x="649" y="194"/>
                      </a:lnTo>
                      <a:lnTo>
                        <a:pt x="642" y="179"/>
                      </a:lnTo>
                      <a:lnTo>
                        <a:pt x="634" y="165"/>
                      </a:lnTo>
                      <a:lnTo>
                        <a:pt x="625" y="151"/>
                      </a:lnTo>
                      <a:lnTo>
                        <a:pt x="615" y="138"/>
                      </a:lnTo>
                      <a:lnTo>
                        <a:pt x="605" y="125"/>
                      </a:lnTo>
                      <a:lnTo>
                        <a:pt x="595" y="113"/>
                      </a:lnTo>
                      <a:lnTo>
                        <a:pt x="583" y="101"/>
                      </a:lnTo>
                      <a:lnTo>
                        <a:pt x="572" y="90"/>
                      </a:lnTo>
                      <a:lnTo>
                        <a:pt x="559" y="79"/>
                      </a:lnTo>
                      <a:lnTo>
                        <a:pt x="546" y="69"/>
                      </a:lnTo>
                      <a:lnTo>
                        <a:pt x="533" y="59"/>
                      </a:lnTo>
                      <a:lnTo>
                        <a:pt x="519" y="51"/>
                      </a:lnTo>
                      <a:lnTo>
                        <a:pt x="505" y="42"/>
                      </a:lnTo>
                      <a:lnTo>
                        <a:pt x="491" y="34"/>
                      </a:lnTo>
                      <a:lnTo>
                        <a:pt x="475" y="27"/>
                      </a:lnTo>
                      <a:lnTo>
                        <a:pt x="459" y="21"/>
                      </a:lnTo>
                      <a:lnTo>
                        <a:pt x="443" y="16"/>
                      </a:lnTo>
                      <a:lnTo>
                        <a:pt x="427" y="11"/>
                      </a:lnTo>
                      <a:lnTo>
                        <a:pt x="411" y="7"/>
                      </a:lnTo>
                      <a:lnTo>
                        <a:pt x="394" y="4"/>
                      </a:lnTo>
                      <a:lnTo>
                        <a:pt x="377" y="2"/>
                      </a:lnTo>
                      <a:lnTo>
                        <a:pt x="360" y="1"/>
                      </a:lnTo>
                      <a:lnTo>
                        <a:pt x="342" y="0"/>
                      </a:lnTo>
                      <a:close/>
                      <a:moveTo>
                        <a:pt x="495" y="588"/>
                      </a:moveTo>
                      <a:lnTo>
                        <a:pt x="486" y="574"/>
                      </a:lnTo>
                      <a:lnTo>
                        <a:pt x="472" y="583"/>
                      </a:lnTo>
                      <a:lnTo>
                        <a:pt x="479" y="597"/>
                      </a:lnTo>
                      <a:lnTo>
                        <a:pt x="479" y="597"/>
                      </a:lnTo>
                      <a:lnTo>
                        <a:pt x="463" y="604"/>
                      </a:lnTo>
                      <a:lnTo>
                        <a:pt x="448" y="610"/>
                      </a:lnTo>
                      <a:lnTo>
                        <a:pt x="433" y="616"/>
                      </a:lnTo>
                      <a:lnTo>
                        <a:pt x="417" y="620"/>
                      </a:lnTo>
                      <a:lnTo>
                        <a:pt x="401" y="624"/>
                      </a:lnTo>
                      <a:lnTo>
                        <a:pt x="385" y="627"/>
                      </a:lnTo>
                      <a:lnTo>
                        <a:pt x="368" y="629"/>
                      </a:lnTo>
                      <a:lnTo>
                        <a:pt x="351" y="631"/>
                      </a:lnTo>
                      <a:lnTo>
                        <a:pt x="351" y="581"/>
                      </a:lnTo>
                      <a:lnTo>
                        <a:pt x="333" y="581"/>
                      </a:lnTo>
                      <a:lnTo>
                        <a:pt x="333" y="631"/>
                      </a:lnTo>
                      <a:lnTo>
                        <a:pt x="333" y="631"/>
                      </a:lnTo>
                      <a:lnTo>
                        <a:pt x="316" y="629"/>
                      </a:lnTo>
                      <a:lnTo>
                        <a:pt x="299" y="627"/>
                      </a:lnTo>
                      <a:lnTo>
                        <a:pt x="282" y="624"/>
                      </a:lnTo>
                      <a:lnTo>
                        <a:pt x="266" y="620"/>
                      </a:lnTo>
                      <a:lnTo>
                        <a:pt x="249" y="616"/>
                      </a:lnTo>
                      <a:lnTo>
                        <a:pt x="233" y="610"/>
                      </a:lnTo>
                      <a:lnTo>
                        <a:pt x="218" y="604"/>
                      </a:lnTo>
                      <a:lnTo>
                        <a:pt x="203" y="597"/>
                      </a:lnTo>
                      <a:lnTo>
                        <a:pt x="212" y="583"/>
                      </a:lnTo>
                      <a:lnTo>
                        <a:pt x="198" y="574"/>
                      </a:lnTo>
                      <a:lnTo>
                        <a:pt x="189" y="588"/>
                      </a:lnTo>
                      <a:lnTo>
                        <a:pt x="189" y="588"/>
                      </a:lnTo>
                      <a:lnTo>
                        <a:pt x="175" y="579"/>
                      </a:lnTo>
                      <a:lnTo>
                        <a:pt x="162" y="569"/>
                      </a:lnTo>
                      <a:lnTo>
                        <a:pt x="149" y="558"/>
                      </a:lnTo>
                      <a:lnTo>
                        <a:pt x="137" y="546"/>
                      </a:lnTo>
                      <a:lnTo>
                        <a:pt x="125" y="534"/>
                      </a:lnTo>
                      <a:lnTo>
                        <a:pt x="114" y="521"/>
                      </a:lnTo>
                      <a:lnTo>
                        <a:pt x="104" y="508"/>
                      </a:lnTo>
                      <a:lnTo>
                        <a:pt x="94" y="495"/>
                      </a:lnTo>
                      <a:lnTo>
                        <a:pt x="110" y="486"/>
                      </a:lnTo>
                      <a:lnTo>
                        <a:pt x="101" y="470"/>
                      </a:lnTo>
                      <a:lnTo>
                        <a:pt x="87" y="479"/>
                      </a:lnTo>
                      <a:lnTo>
                        <a:pt x="87" y="479"/>
                      </a:lnTo>
                      <a:lnTo>
                        <a:pt x="79" y="463"/>
                      </a:lnTo>
                      <a:lnTo>
                        <a:pt x="73" y="448"/>
                      </a:lnTo>
                      <a:lnTo>
                        <a:pt x="67" y="433"/>
                      </a:lnTo>
                      <a:lnTo>
                        <a:pt x="62" y="417"/>
                      </a:lnTo>
                      <a:lnTo>
                        <a:pt x="58" y="400"/>
                      </a:lnTo>
                      <a:lnTo>
                        <a:pt x="55" y="384"/>
                      </a:lnTo>
                      <a:lnTo>
                        <a:pt x="53" y="366"/>
                      </a:lnTo>
                      <a:lnTo>
                        <a:pt x="51" y="349"/>
                      </a:lnTo>
                      <a:lnTo>
                        <a:pt x="117" y="349"/>
                      </a:lnTo>
                      <a:lnTo>
                        <a:pt x="117" y="333"/>
                      </a:lnTo>
                      <a:lnTo>
                        <a:pt x="51" y="333"/>
                      </a:lnTo>
                      <a:lnTo>
                        <a:pt x="51" y="333"/>
                      </a:lnTo>
                      <a:lnTo>
                        <a:pt x="53" y="315"/>
                      </a:lnTo>
                      <a:lnTo>
                        <a:pt x="55" y="298"/>
                      </a:lnTo>
                      <a:lnTo>
                        <a:pt x="58" y="281"/>
                      </a:lnTo>
                      <a:lnTo>
                        <a:pt x="62" y="265"/>
                      </a:lnTo>
                      <a:lnTo>
                        <a:pt x="67" y="248"/>
                      </a:lnTo>
                      <a:lnTo>
                        <a:pt x="73" y="233"/>
                      </a:lnTo>
                      <a:lnTo>
                        <a:pt x="79" y="218"/>
                      </a:lnTo>
                      <a:lnTo>
                        <a:pt x="87" y="203"/>
                      </a:lnTo>
                      <a:lnTo>
                        <a:pt x="101" y="212"/>
                      </a:lnTo>
                      <a:lnTo>
                        <a:pt x="110" y="196"/>
                      </a:lnTo>
                      <a:lnTo>
                        <a:pt x="94" y="189"/>
                      </a:lnTo>
                      <a:lnTo>
                        <a:pt x="94" y="189"/>
                      </a:lnTo>
                      <a:lnTo>
                        <a:pt x="104" y="175"/>
                      </a:lnTo>
                      <a:lnTo>
                        <a:pt x="114" y="162"/>
                      </a:lnTo>
                      <a:lnTo>
                        <a:pt x="125" y="149"/>
                      </a:lnTo>
                      <a:lnTo>
                        <a:pt x="137" y="137"/>
                      </a:lnTo>
                      <a:lnTo>
                        <a:pt x="149" y="125"/>
                      </a:lnTo>
                      <a:lnTo>
                        <a:pt x="162" y="114"/>
                      </a:lnTo>
                      <a:lnTo>
                        <a:pt x="175" y="104"/>
                      </a:lnTo>
                      <a:lnTo>
                        <a:pt x="189" y="94"/>
                      </a:lnTo>
                      <a:lnTo>
                        <a:pt x="198" y="110"/>
                      </a:lnTo>
                      <a:lnTo>
                        <a:pt x="212" y="101"/>
                      </a:lnTo>
                      <a:lnTo>
                        <a:pt x="203" y="85"/>
                      </a:lnTo>
                      <a:lnTo>
                        <a:pt x="203" y="85"/>
                      </a:lnTo>
                      <a:lnTo>
                        <a:pt x="218" y="78"/>
                      </a:lnTo>
                      <a:lnTo>
                        <a:pt x="233" y="72"/>
                      </a:lnTo>
                      <a:lnTo>
                        <a:pt x="249" y="66"/>
                      </a:lnTo>
                      <a:lnTo>
                        <a:pt x="266" y="61"/>
                      </a:lnTo>
                      <a:lnTo>
                        <a:pt x="282" y="58"/>
                      </a:lnTo>
                      <a:lnTo>
                        <a:pt x="299" y="55"/>
                      </a:lnTo>
                      <a:lnTo>
                        <a:pt x="316" y="53"/>
                      </a:lnTo>
                      <a:lnTo>
                        <a:pt x="333" y="51"/>
                      </a:lnTo>
                      <a:lnTo>
                        <a:pt x="333" y="103"/>
                      </a:lnTo>
                      <a:lnTo>
                        <a:pt x="351" y="103"/>
                      </a:lnTo>
                      <a:lnTo>
                        <a:pt x="351" y="51"/>
                      </a:lnTo>
                      <a:lnTo>
                        <a:pt x="351" y="51"/>
                      </a:lnTo>
                      <a:lnTo>
                        <a:pt x="368" y="53"/>
                      </a:lnTo>
                      <a:lnTo>
                        <a:pt x="385" y="55"/>
                      </a:lnTo>
                      <a:lnTo>
                        <a:pt x="401" y="58"/>
                      </a:lnTo>
                      <a:lnTo>
                        <a:pt x="417" y="61"/>
                      </a:lnTo>
                      <a:lnTo>
                        <a:pt x="433" y="66"/>
                      </a:lnTo>
                      <a:lnTo>
                        <a:pt x="448" y="72"/>
                      </a:lnTo>
                      <a:lnTo>
                        <a:pt x="463" y="78"/>
                      </a:lnTo>
                      <a:lnTo>
                        <a:pt x="479" y="85"/>
                      </a:lnTo>
                      <a:lnTo>
                        <a:pt x="472" y="101"/>
                      </a:lnTo>
                      <a:lnTo>
                        <a:pt x="486" y="110"/>
                      </a:lnTo>
                      <a:lnTo>
                        <a:pt x="495" y="94"/>
                      </a:lnTo>
                      <a:lnTo>
                        <a:pt x="495" y="94"/>
                      </a:lnTo>
                      <a:lnTo>
                        <a:pt x="509" y="104"/>
                      </a:lnTo>
                      <a:lnTo>
                        <a:pt x="522" y="114"/>
                      </a:lnTo>
                      <a:lnTo>
                        <a:pt x="535" y="125"/>
                      </a:lnTo>
                      <a:lnTo>
                        <a:pt x="547" y="137"/>
                      </a:lnTo>
                      <a:lnTo>
                        <a:pt x="558" y="149"/>
                      </a:lnTo>
                      <a:lnTo>
                        <a:pt x="569" y="162"/>
                      </a:lnTo>
                      <a:lnTo>
                        <a:pt x="579" y="175"/>
                      </a:lnTo>
                      <a:lnTo>
                        <a:pt x="588" y="189"/>
                      </a:lnTo>
                      <a:lnTo>
                        <a:pt x="574" y="196"/>
                      </a:lnTo>
                      <a:lnTo>
                        <a:pt x="583" y="212"/>
                      </a:lnTo>
                      <a:lnTo>
                        <a:pt x="597" y="203"/>
                      </a:lnTo>
                      <a:lnTo>
                        <a:pt x="597" y="203"/>
                      </a:lnTo>
                      <a:lnTo>
                        <a:pt x="604" y="218"/>
                      </a:lnTo>
                      <a:lnTo>
                        <a:pt x="611" y="233"/>
                      </a:lnTo>
                      <a:lnTo>
                        <a:pt x="616" y="248"/>
                      </a:lnTo>
                      <a:lnTo>
                        <a:pt x="621" y="265"/>
                      </a:lnTo>
                      <a:lnTo>
                        <a:pt x="625" y="281"/>
                      </a:lnTo>
                      <a:lnTo>
                        <a:pt x="628" y="298"/>
                      </a:lnTo>
                      <a:lnTo>
                        <a:pt x="630" y="315"/>
                      </a:lnTo>
                      <a:lnTo>
                        <a:pt x="631" y="333"/>
                      </a:lnTo>
                      <a:lnTo>
                        <a:pt x="581" y="333"/>
                      </a:lnTo>
                      <a:lnTo>
                        <a:pt x="581" y="349"/>
                      </a:lnTo>
                      <a:lnTo>
                        <a:pt x="631" y="349"/>
                      </a:lnTo>
                      <a:lnTo>
                        <a:pt x="631" y="349"/>
                      </a:lnTo>
                      <a:lnTo>
                        <a:pt x="629" y="366"/>
                      </a:lnTo>
                      <a:lnTo>
                        <a:pt x="627" y="384"/>
                      </a:lnTo>
                      <a:lnTo>
                        <a:pt x="624" y="400"/>
                      </a:lnTo>
                      <a:lnTo>
                        <a:pt x="620" y="417"/>
                      </a:lnTo>
                      <a:lnTo>
                        <a:pt x="616" y="433"/>
                      </a:lnTo>
                      <a:lnTo>
                        <a:pt x="610" y="448"/>
                      </a:lnTo>
                      <a:lnTo>
                        <a:pt x="604" y="463"/>
                      </a:lnTo>
                      <a:lnTo>
                        <a:pt x="597" y="479"/>
                      </a:lnTo>
                      <a:lnTo>
                        <a:pt x="583" y="470"/>
                      </a:lnTo>
                      <a:lnTo>
                        <a:pt x="574" y="486"/>
                      </a:lnTo>
                      <a:lnTo>
                        <a:pt x="588" y="495"/>
                      </a:lnTo>
                      <a:lnTo>
                        <a:pt x="588" y="495"/>
                      </a:lnTo>
                      <a:lnTo>
                        <a:pt x="579" y="508"/>
                      </a:lnTo>
                      <a:lnTo>
                        <a:pt x="569" y="521"/>
                      </a:lnTo>
                      <a:lnTo>
                        <a:pt x="558" y="534"/>
                      </a:lnTo>
                      <a:lnTo>
                        <a:pt x="547" y="546"/>
                      </a:lnTo>
                      <a:lnTo>
                        <a:pt x="535" y="558"/>
                      </a:lnTo>
                      <a:lnTo>
                        <a:pt x="522" y="569"/>
                      </a:lnTo>
                      <a:lnTo>
                        <a:pt x="509" y="579"/>
                      </a:lnTo>
                      <a:lnTo>
                        <a:pt x="495" y="588"/>
                      </a:lnTo>
                      <a:close/>
                      <a:moveTo>
                        <a:pt x="360" y="360"/>
                      </a:moveTo>
                      <a:lnTo>
                        <a:pt x="360" y="360"/>
                      </a:lnTo>
                      <a:lnTo>
                        <a:pt x="356" y="364"/>
                      </a:lnTo>
                      <a:lnTo>
                        <a:pt x="352" y="367"/>
                      </a:lnTo>
                      <a:lnTo>
                        <a:pt x="347" y="368"/>
                      </a:lnTo>
                      <a:lnTo>
                        <a:pt x="342" y="369"/>
                      </a:lnTo>
                      <a:lnTo>
                        <a:pt x="336" y="368"/>
                      </a:lnTo>
                      <a:lnTo>
                        <a:pt x="331" y="367"/>
                      </a:lnTo>
                      <a:lnTo>
                        <a:pt x="326" y="364"/>
                      </a:lnTo>
                      <a:lnTo>
                        <a:pt x="322" y="360"/>
                      </a:lnTo>
                      <a:lnTo>
                        <a:pt x="322" y="360"/>
                      </a:lnTo>
                      <a:lnTo>
                        <a:pt x="319" y="356"/>
                      </a:lnTo>
                      <a:lnTo>
                        <a:pt x="317" y="352"/>
                      </a:lnTo>
                      <a:lnTo>
                        <a:pt x="315" y="347"/>
                      </a:lnTo>
                      <a:lnTo>
                        <a:pt x="315" y="342"/>
                      </a:lnTo>
                      <a:lnTo>
                        <a:pt x="315" y="336"/>
                      </a:lnTo>
                      <a:lnTo>
                        <a:pt x="317" y="331"/>
                      </a:lnTo>
                      <a:lnTo>
                        <a:pt x="319" y="326"/>
                      </a:lnTo>
                      <a:lnTo>
                        <a:pt x="322" y="322"/>
                      </a:lnTo>
                      <a:lnTo>
                        <a:pt x="322" y="322"/>
                      </a:lnTo>
                      <a:lnTo>
                        <a:pt x="326" y="319"/>
                      </a:lnTo>
                      <a:lnTo>
                        <a:pt x="331" y="317"/>
                      </a:lnTo>
                      <a:lnTo>
                        <a:pt x="336" y="315"/>
                      </a:lnTo>
                      <a:lnTo>
                        <a:pt x="342" y="315"/>
                      </a:lnTo>
                      <a:lnTo>
                        <a:pt x="347" y="315"/>
                      </a:lnTo>
                      <a:lnTo>
                        <a:pt x="352" y="317"/>
                      </a:lnTo>
                      <a:lnTo>
                        <a:pt x="356" y="319"/>
                      </a:lnTo>
                      <a:lnTo>
                        <a:pt x="360" y="322"/>
                      </a:lnTo>
                      <a:lnTo>
                        <a:pt x="360" y="322"/>
                      </a:lnTo>
                      <a:lnTo>
                        <a:pt x="364" y="326"/>
                      </a:lnTo>
                      <a:lnTo>
                        <a:pt x="367" y="331"/>
                      </a:lnTo>
                      <a:lnTo>
                        <a:pt x="368" y="336"/>
                      </a:lnTo>
                      <a:lnTo>
                        <a:pt x="369" y="342"/>
                      </a:lnTo>
                      <a:lnTo>
                        <a:pt x="368" y="347"/>
                      </a:lnTo>
                      <a:lnTo>
                        <a:pt x="367" y="352"/>
                      </a:lnTo>
                      <a:lnTo>
                        <a:pt x="364" y="356"/>
                      </a:lnTo>
                      <a:lnTo>
                        <a:pt x="360" y="360"/>
                      </a:lnTo>
                      <a:close/>
                      <a:moveTo>
                        <a:pt x="481" y="201"/>
                      </a:moveTo>
                      <a:lnTo>
                        <a:pt x="306" y="281"/>
                      </a:lnTo>
                      <a:lnTo>
                        <a:pt x="285" y="301"/>
                      </a:lnTo>
                      <a:lnTo>
                        <a:pt x="201" y="481"/>
                      </a:lnTo>
                      <a:lnTo>
                        <a:pt x="383" y="396"/>
                      </a:lnTo>
                      <a:lnTo>
                        <a:pt x="401" y="378"/>
                      </a:lnTo>
                      <a:lnTo>
                        <a:pt x="481" y="201"/>
                      </a:lnTo>
                      <a:close/>
                      <a:moveTo>
                        <a:pt x="308" y="376"/>
                      </a:moveTo>
                      <a:lnTo>
                        <a:pt x="308" y="376"/>
                      </a:lnTo>
                      <a:lnTo>
                        <a:pt x="302" y="368"/>
                      </a:lnTo>
                      <a:lnTo>
                        <a:pt x="298" y="359"/>
                      </a:lnTo>
                      <a:lnTo>
                        <a:pt x="295" y="350"/>
                      </a:lnTo>
                      <a:lnTo>
                        <a:pt x="295" y="341"/>
                      </a:lnTo>
                      <a:lnTo>
                        <a:pt x="295" y="332"/>
                      </a:lnTo>
                      <a:lnTo>
                        <a:pt x="298" y="323"/>
                      </a:lnTo>
                      <a:lnTo>
                        <a:pt x="302" y="315"/>
                      </a:lnTo>
                      <a:lnTo>
                        <a:pt x="308" y="308"/>
                      </a:lnTo>
                      <a:lnTo>
                        <a:pt x="308" y="308"/>
                      </a:lnTo>
                      <a:lnTo>
                        <a:pt x="315" y="302"/>
                      </a:lnTo>
                      <a:lnTo>
                        <a:pt x="324" y="298"/>
                      </a:lnTo>
                      <a:lnTo>
                        <a:pt x="332" y="295"/>
                      </a:lnTo>
                      <a:lnTo>
                        <a:pt x="341" y="295"/>
                      </a:lnTo>
                      <a:lnTo>
                        <a:pt x="350" y="295"/>
                      </a:lnTo>
                      <a:lnTo>
                        <a:pt x="359" y="298"/>
                      </a:lnTo>
                      <a:lnTo>
                        <a:pt x="368" y="302"/>
                      </a:lnTo>
                      <a:lnTo>
                        <a:pt x="376" y="308"/>
                      </a:lnTo>
                      <a:lnTo>
                        <a:pt x="376" y="308"/>
                      </a:lnTo>
                      <a:lnTo>
                        <a:pt x="382" y="315"/>
                      </a:lnTo>
                      <a:lnTo>
                        <a:pt x="386" y="323"/>
                      </a:lnTo>
                      <a:lnTo>
                        <a:pt x="389" y="332"/>
                      </a:lnTo>
                      <a:lnTo>
                        <a:pt x="390" y="341"/>
                      </a:lnTo>
                      <a:lnTo>
                        <a:pt x="389" y="350"/>
                      </a:lnTo>
                      <a:lnTo>
                        <a:pt x="386" y="359"/>
                      </a:lnTo>
                      <a:lnTo>
                        <a:pt x="382" y="368"/>
                      </a:lnTo>
                      <a:lnTo>
                        <a:pt x="376" y="376"/>
                      </a:lnTo>
                      <a:lnTo>
                        <a:pt x="376" y="376"/>
                      </a:lnTo>
                      <a:lnTo>
                        <a:pt x="368" y="382"/>
                      </a:lnTo>
                      <a:lnTo>
                        <a:pt x="359" y="386"/>
                      </a:lnTo>
                      <a:lnTo>
                        <a:pt x="350" y="389"/>
                      </a:lnTo>
                      <a:lnTo>
                        <a:pt x="341" y="390"/>
                      </a:lnTo>
                      <a:lnTo>
                        <a:pt x="332" y="389"/>
                      </a:lnTo>
                      <a:lnTo>
                        <a:pt x="324" y="386"/>
                      </a:lnTo>
                      <a:lnTo>
                        <a:pt x="315" y="382"/>
                      </a:lnTo>
                      <a:lnTo>
                        <a:pt x="308"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09" name="Freeform 179"/>
                <p:cNvSpPr>
                  <a:spLocks/>
                </p:cNvSpPr>
                <p:nvPr/>
              </p:nvSpPr>
              <p:spPr bwMode="auto">
                <a:xfrm>
                  <a:off x="6051113" y="3381376"/>
                  <a:ext cx="52684" cy="53340"/>
                </a:xfrm>
                <a:custGeom>
                  <a:avLst/>
                  <a:gdLst>
                    <a:gd name="T0" fmla="*/ 45 w 54"/>
                    <a:gd name="T1" fmla="*/ 45 h 54"/>
                    <a:gd name="T2" fmla="*/ 45 w 54"/>
                    <a:gd name="T3" fmla="*/ 45 h 54"/>
                    <a:gd name="T4" fmla="*/ 41 w 54"/>
                    <a:gd name="T5" fmla="*/ 49 h 54"/>
                    <a:gd name="T6" fmla="*/ 37 w 54"/>
                    <a:gd name="T7" fmla="*/ 52 h 54"/>
                    <a:gd name="T8" fmla="*/ 32 w 54"/>
                    <a:gd name="T9" fmla="*/ 53 h 54"/>
                    <a:gd name="T10" fmla="*/ 27 w 54"/>
                    <a:gd name="T11" fmla="*/ 54 h 54"/>
                    <a:gd name="T12" fmla="*/ 21 w 54"/>
                    <a:gd name="T13" fmla="*/ 53 h 54"/>
                    <a:gd name="T14" fmla="*/ 16 w 54"/>
                    <a:gd name="T15" fmla="*/ 52 h 54"/>
                    <a:gd name="T16" fmla="*/ 11 w 54"/>
                    <a:gd name="T17" fmla="*/ 49 h 54"/>
                    <a:gd name="T18" fmla="*/ 7 w 54"/>
                    <a:gd name="T19" fmla="*/ 45 h 54"/>
                    <a:gd name="T20" fmla="*/ 7 w 54"/>
                    <a:gd name="T21" fmla="*/ 45 h 54"/>
                    <a:gd name="T22" fmla="*/ 4 w 54"/>
                    <a:gd name="T23" fmla="*/ 41 h 54"/>
                    <a:gd name="T24" fmla="*/ 2 w 54"/>
                    <a:gd name="T25" fmla="*/ 37 h 54"/>
                    <a:gd name="T26" fmla="*/ 0 w 54"/>
                    <a:gd name="T27" fmla="*/ 32 h 54"/>
                    <a:gd name="T28" fmla="*/ 0 w 54"/>
                    <a:gd name="T29" fmla="*/ 27 h 54"/>
                    <a:gd name="T30" fmla="*/ 0 w 54"/>
                    <a:gd name="T31" fmla="*/ 21 h 54"/>
                    <a:gd name="T32" fmla="*/ 2 w 54"/>
                    <a:gd name="T33" fmla="*/ 16 h 54"/>
                    <a:gd name="T34" fmla="*/ 4 w 54"/>
                    <a:gd name="T35" fmla="*/ 11 h 54"/>
                    <a:gd name="T36" fmla="*/ 7 w 54"/>
                    <a:gd name="T37" fmla="*/ 7 h 54"/>
                    <a:gd name="T38" fmla="*/ 7 w 54"/>
                    <a:gd name="T39" fmla="*/ 7 h 54"/>
                    <a:gd name="T40" fmla="*/ 11 w 54"/>
                    <a:gd name="T41" fmla="*/ 4 h 54"/>
                    <a:gd name="T42" fmla="*/ 16 w 54"/>
                    <a:gd name="T43" fmla="*/ 2 h 54"/>
                    <a:gd name="T44" fmla="*/ 21 w 54"/>
                    <a:gd name="T45" fmla="*/ 0 h 54"/>
                    <a:gd name="T46" fmla="*/ 27 w 54"/>
                    <a:gd name="T47" fmla="*/ 0 h 54"/>
                    <a:gd name="T48" fmla="*/ 32 w 54"/>
                    <a:gd name="T49" fmla="*/ 0 h 54"/>
                    <a:gd name="T50" fmla="*/ 37 w 54"/>
                    <a:gd name="T51" fmla="*/ 2 h 54"/>
                    <a:gd name="T52" fmla="*/ 41 w 54"/>
                    <a:gd name="T53" fmla="*/ 4 h 54"/>
                    <a:gd name="T54" fmla="*/ 45 w 54"/>
                    <a:gd name="T55" fmla="*/ 7 h 54"/>
                    <a:gd name="T56" fmla="*/ 45 w 54"/>
                    <a:gd name="T57" fmla="*/ 7 h 54"/>
                    <a:gd name="T58" fmla="*/ 49 w 54"/>
                    <a:gd name="T59" fmla="*/ 11 h 54"/>
                    <a:gd name="T60" fmla="*/ 52 w 54"/>
                    <a:gd name="T61" fmla="*/ 16 h 54"/>
                    <a:gd name="T62" fmla="*/ 53 w 54"/>
                    <a:gd name="T63" fmla="*/ 21 h 54"/>
                    <a:gd name="T64" fmla="*/ 54 w 54"/>
                    <a:gd name="T65" fmla="*/ 27 h 54"/>
                    <a:gd name="T66" fmla="*/ 53 w 54"/>
                    <a:gd name="T67" fmla="*/ 32 h 54"/>
                    <a:gd name="T68" fmla="*/ 52 w 54"/>
                    <a:gd name="T69" fmla="*/ 37 h 54"/>
                    <a:gd name="T70" fmla="*/ 49 w 54"/>
                    <a:gd name="T71" fmla="*/ 41 h 54"/>
                    <a:gd name="T72" fmla="*/ 45 w 54"/>
                    <a:gd name="T73"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 h="54">
                      <a:moveTo>
                        <a:pt x="45" y="45"/>
                      </a:moveTo>
                      <a:lnTo>
                        <a:pt x="45" y="45"/>
                      </a:lnTo>
                      <a:lnTo>
                        <a:pt x="41" y="49"/>
                      </a:lnTo>
                      <a:lnTo>
                        <a:pt x="37" y="52"/>
                      </a:lnTo>
                      <a:lnTo>
                        <a:pt x="32" y="53"/>
                      </a:lnTo>
                      <a:lnTo>
                        <a:pt x="27" y="54"/>
                      </a:lnTo>
                      <a:lnTo>
                        <a:pt x="21" y="53"/>
                      </a:lnTo>
                      <a:lnTo>
                        <a:pt x="16" y="52"/>
                      </a:lnTo>
                      <a:lnTo>
                        <a:pt x="11" y="49"/>
                      </a:lnTo>
                      <a:lnTo>
                        <a:pt x="7" y="45"/>
                      </a:lnTo>
                      <a:lnTo>
                        <a:pt x="7" y="45"/>
                      </a:lnTo>
                      <a:lnTo>
                        <a:pt x="4" y="41"/>
                      </a:lnTo>
                      <a:lnTo>
                        <a:pt x="2" y="37"/>
                      </a:lnTo>
                      <a:lnTo>
                        <a:pt x="0" y="32"/>
                      </a:lnTo>
                      <a:lnTo>
                        <a:pt x="0" y="27"/>
                      </a:lnTo>
                      <a:lnTo>
                        <a:pt x="0" y="21"/>
                      </a:lnTo>
                      <a:lnTo>
                        <a:pt x="2" y="16"/>
                      </a:lnTo>
                      <a:lnTo>
                        <a:pt x="4" y="11"/>
                      </a:lnTo>
                      <a:lnTo>
                        <a:pt x="7" y="7"/>
                      </a:lnTo>
                      <a:lnTo>
                        <a:pt x="7" y="7"/>
                      </a:lnTo>
                      <a:lnTo>
                        <a:pt x="11" y="4"/>
                      </a:lnTo>
                      <a:lnTo>
                        <a:pt x="16" y="2"/>
                      </a:lnTo>
                      <a:lnTo>
                        <a:pt x="21" y="0"/>
                      </a:lnTo>
                      <a:lnTo>
                        <a:pt x="27" y="0"/>
                      </a:lnTo>
                      <a:lnTo>
                        <a:pt x="32" y="0"/>
                      </a:lnTo>
                      <a:lnTo>
                        <a:pt x="37" y="2"/>
                      </a:lnTo>
                      <a:lnTo>
                        <a:pt x="41" y="4"/>
                      </a:lnTo>
                      <a:lnTo>
                        <a:pt x="45" y="7"/>
                      </a:lnTo>
                      <a:lnTo>
                        <a:pt x="45" y="7"/>
                      </a:lnTo>
                      <a:lnTo>
                        <a:pt x="49" y="11"/>
                      </a:lnTo>
                      <a:lnTo>
                        <a:pt x="52" y="16"/>
                      </a:lnTo>
                      <a:lnTo>
                        <a:pt x="53" y="21"/>
                      </a:lnTo>
                      <a:lnTo>
                        <a:pt x="54" y="27"/>
                      </a:lnTo>
                      <a:lnTo>
                        <a:pt x="53" y="32"/>
                      </a:lnTo>
                      <a:lnTo>
                        <a:pt x="52" y="37"/>
                      </a:lnTo>
                      <a:lnTo>
                        <a:pt x="49" y="41"/>
                      </a:lnTo>
                      <a:lnTo>
                        <a:pt x="45" y="4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871" name="Group 1870"/>
              <p:cNvGrpSpPr/>
              <p:nvPr/>
            </p:nvGrpSpPr>
            <p:grpSpPr>
              <a:xfrm>
                <a:off x="1430538" y="6295296"/>
                <a:ext cx="50875" cy="46062"/>
                <a:chOff x="942974" y="3168016"/>
                <a:chExt cx="468630" cy="466726"/>
              </a:xfrm>
              <a:solidFill>
                <a:schemeClr val="tx2">
                  <a:lumMod val="75000"/>
                </a:schemeClr>
              </a:solidFill>
            </p:grpSpPr>
            <p:sp>
              <p:nvSpPr>
                <p:cNvPr id="1905" name="Freeform 158"/>
                <p:cNvSpPr>
                  <a:spLocks noEditPoints="1"/>
                </p:cNvSpPr>
                <p:nvPr/>
              </p:nvSpPr>
              <p:spPr bwMode="auto">
                <a:xfrm>
                  <a:off x="942974" y="3168016"/>
                  <a:ext cx="468630" cy="466726"/>
                </a:xfrm>
                <a:custGeom>
                  <a:avLst/>
                  <a:gdLst>
                    <a:gd name="T0" fmla="*/ 401 w 490"/>
                    <a:gd name="T1" fmla="*/ 149 h 489"/>
                    <a:gd name="T2" fmla="*/ 377 w 490"/>
                    <a:gd name="T3" fmla="*/ 117 h 489"/>
                    <a:gd name="T4" fmla="*/ 289 w 490"/>
                    <a:gd name="T5" fmla="*/ 66 h 489"/>
                    <a:gd name="T6" fmla="*/ 266 w 490"/>
                    <a:gd name="T7" fmla="*/ 62 h 489"/>
                    <a:gd name="T8" fmla="*/ 216 w 490"/>
                    <a:gd name="T9" fmla="*/ 0 h 489"/>
                    <a:gd name="T10" fmla="*/ 146 w 490"/>
                    <a:gd name="T11" fmla="*/ 88 h 489"/>
                    <a:gd name="T12" fmla="*/ 56 w 490"/>
                    <a:gd name="T13" fmla="*/ 86 h 489"/>
                    <a:gd name="T14" fmla="*/ 65 w 490"/>
                    <a:gd name="T15" fmla="*/ 198 h 489"/>
                    <a:gd name="T16" fmla="*/ 59 w 490"/>
                    <a:gd name="T17" fmla="*/ 230 h 489"/>
                    <a:gd name="T18" fmla="*/ 19 w 490"/>
                    <a:gd name="T19" fmla="*/ 345 h 489"/>
                    <a:gd name="T20" fmla="*/ 90 w 490"/>
                    <a:gd name="T21" fmla="*/ 348 h 489"/>
                    <a:gd name="T22" fmla="*/ 111 w 490"/>
                    <a:gd name="T23" fmla="*/ 374 h 489"/>
                    <a:gd name="T24" fmla="*/ 199 w 490"/>
                    <a:gd name="T25" fmla="*/ 424 h 489"/>
                    <a:gd name="T26" fmla="*/ 220 w 490"/>
                    <a:gd name="T27" fmla="*/ 428 h 489"/>
                    <a:gd name="T28" fmla="*/ 266 w 490"/>
                    <a:gd name="T29" fmla="*/ 489 h 489"/>
                    <a:gd name="T30" fmla="*/ 339 w 490"/>
                    <a:gd name="T31" fmla="*/ 403 h 489"/>
                    <a:gd name="T32" fmla="*/ 373 w 490"/>
                    <a:gd name="T33" fmla="*/ 377 h 489"/>
                    <a:gd name="T34" fmla="*/ 422 w 490"/>
                    <a:gd name="T35" fmla="*/ 288 h 489"/>
                    <a:gd name="T36" fmla="*/ 427 w 490"/>
                    <a:gd name="T37" fmla="*/ 258 h 489"/>
                    <a:gd name="T38" fmla="*/ 297 w 490"/>
                    <a:gd name="T39" fmla="*/ 345 h 489"/>
                    <a:gd name="T40" fmla="*/ 275 w 490"/>
                    <a:gd name="T41" fmla="*/ 354 h 489"/>
                    <a:gd name="T42" fmla="*/ 242 w 490"/>
                    <a:gd name="T43" fmla="*/ 358 h 489"/>
                    <a:gd name="T44" fmla="*/ 210 w 490"/>
                    <a:gd name="T45" fmla="*/ 352 h 489"/>
                    <a:gd name="T46" fmla="*/ 181 w 490"/>
                    <a:gd name="T47" fmla="*/ 338 h 489"/>
                    <a:gd name="T48" fmla="*/ 156 w 490"/>
                    <a:gd name="T49" fmla="*/ 315 h 489"/>
                    <a:gd name="T50" fmla="*/ 143 w 490"/>
                    <a:gd name="T51" fmla="*/ 296 h 489"/>
                    <a:gd name="T52" fmla="*/ 132 w 490"/>
                    <a:gd name="T53" fmla="*/ 263 h 489"/>
                    <a:gd name="T54" fmla="*/ 131 w 490"/>
                    <a:gd name="T55" fmla="*/ 230 h 489"/>
                    <a:gd name="T56" fmla="*/ 139 w 490"/>
                    <a:gd name="T57" fmla="*/ 199 h 489"/>
                    <a:gd name="T58" fmla="*/ 158 w 490"/>
                    <a:gd name="T59" fmla="*/ 171 h 489"/>
                    <a:gd name="T60" fmla="*/ 183 w 490"/>
                    <a:gd name="T61" fmla="*/ 148 h 489"/>
                    <a:gd name="T62" fmla="*/ 204 w 490"/>
                    <a:gd name="T63" fmla="*/ 137 h 489"/>
                    <a:gd name="T64" fmla="*/ 236 w 490"/>
                    <a:gd name="T65" fmla="*/ 129 h 489"/>
                    <a:gd name="T66" fmla="*/ 269 w 490"/>
                    <a:gd name="T67" fmla="*/ 132 h 489"/>
                    <a:gd name="T68" fmla="*/ 300 w 490"/>
                    <a:gd name="T69" fmla="*/ 143 h 489"/>
                    <a:gd name="T70" fmla="*/ 326 w 490"/>
                    <a:gd name="T71" fmla="*/ 164 h 489"/>
                    <a:gd name="T72" fmla="*/ 346 w 490"/>
                    <a:gd name="T73" fmla="*/ 192 h 489"/>
                    <a:gd name="T74" fmla="*/ 355 w 490"/>
                    <a:gd name="T75" fmla="*/ 214 h 489"/>
                    <a:gd name="T76" fmla="*/ 359 w 490"/>
                    <a:gd name="T77" fmla="*/ 247 h 489"/>
                    <a:gd name="T78" fmla="*/ 353 w 490"/>
                    <a:gd name="T79" fmla="*/ 279 h 489"/>
                    <a:gd name="T80" fmla="*/ 339 w 490"/>
                    <a:gd name="T81" fmla="*/ 308 h 489"/>
                    <a:gd name="T82" fmla="*/ 316 w 490"/>
                    <a:gd name="T83" fmla="*/ 333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0" h="489">
                      <a:moveTo>
                        <a:pt x="490" y="222"/>
                      </a:moveTo>
                      <a:lnTo>
                        <a:pt x="471" y="142"/>
                      </a:lnTo>
                      <a:lnTo>
                        <a:pt x="401" y="149"/>
                      </a:lnTo>
                      <a:lnTo>
                        <a:pt x="401" y="149"/>
                      </a:lnTo>
                      <a:lnTo>
                        <a:pt x="390" y="133"/>
                      </a:lnTo>
                      <a:lnTo>
                        <a:pt x="377" y="117"/>
                      </a:lnTo>
                      <a:lnTo>
                        <a:pt x="403" y="55"/>
                      </a:lnTo>
                      <a:lnTo>
                        <a:pt x="332" y="12"/>
                      </a:lnTo>
                      <a:lnTo>
                        <a:pt x="289" y="66"/>
                      </a:lnTo>
                      <a:lnTo>
                        <a:pt x="289" y="66"/>
                      </a:lnTo>
                      <a:lnTo>
                        <a:pt x="278" y="64"/>
                      </a:lnTo>
                      <a:lnTo>
                        <a:pt x="266" y="62"/>
                      </a:lnTo>
                      <a:lnTo>
                        <a:pt x="255" y="61"/>
                      </a:lnTo>
                      <a:lnTo>
                        <a:pt x="243" y="60"/>
                      </a:lnTo>
                      <a:lnTo>
                        <a:pt x="216" y="0"/>
                      </a:lnTo>
                      <a:lnTo>
                        <a:pt x="136" y="21"/>
                      </a:lnTo>
                      <a:lnTo>
                        <a:pt x="146" y="88"/>
                      </a:lnTo>
                      <a:lnTo>
                        <a:pt x="146" y="88"/>
                      </a:lnTo>
                      <a:lnTo>
                        <a:pt x="130" y="99"/>
                      </a:lnTo>
                      <a:lnTo>
                        <a:pt x="116" y="110"/>
                      </a:lnTo>
                      <a:lnTo>
                        <a:pt x="56" y="86"/>
                      </a:lnTo>
                      <a:lnTo>
                        <a:pt x="13" y="155"/>
                      </a:lnTo>
                      <a:lnTo>
                        <a:pt x="65" y="198"/>
                      </a:lnTo>
                      <a:lnTo>
                        <a:pt x="65" y="198"/>
                      </a:lnTo>
                      <a:lnTo>
                        <a:pt x="62" y="208"/>
                      </a:lnTo>
                      <a:lnTo>
                        <a:pt x="60" y="219"/>
                      </a:lnTo>
                      <a:lnTo>
                        <a:pt x="59" y="230"/>
                      </a:lnTo>
                      <a:lnTo>
                        <a:pt x="58" y="241"/>
                      </a:lnTo>
                      <a:lnTo>
                        <a:pt x="0" y="266"/>
                      </a:lnTo>
                      <a:lnTo>
                        <a:pt x="19" y="345"/>
                      </a:lnTo>
                      <a:lnTo>
                        <a:pt x="84" y="338"/>
                      </a:lnTo>
                      <a:lnTo>
                        <a:pt x="84" y="338"/>
                      </a:lnTo>
                      <a:lnTo>
                        <a:pt x="90" y="348"/>
                      </a:lnTo>
                      <a:lnTo>
                        <a:pt x="96" y="357"/>
                      </a:lnTo>
                      <a:lnTo>
                        <a:pt x="103" y="365"/>
                      </a:lnTo>
                      <a:lnTo>
                        <a:pt x="111" y="374"/>
                      </a:lnTo>
                      <a:lnTo>
                        <a:pt x="87" y="433"/>
                      </a:lnTo>
                      <a:lnTo>
                        <a:pt x="157" y="475"/>
                      </a:lnTo>
                      <a:lnTo>
                        <a:pt x="199" y="424"/>
                      </a:lnTo>
                      <a:lnTo>
                        <a:pt x="199" y="424"/>
                      </a:lnTo>
                      <a:lnTo>
                        <a:pt x="209" y="426"/>
                      </a:lnTo>
                      <a:lnTo>
                        <a:pt x="220" y="428"/>
                      </a:lnTo>
                      <a:lnTo>
                        <a:pt x="231" y="429"/>
                      </a:lnTo>
                      <a:lnTo>
                        <a:pt x="242" y="430"/>
                      </a:lnTo>
                      <a:lnTo>
                        <a:pt x="266" y="489"/>
                      </a:lnTo>
                      <a:lnTo>
                        <a:pt x="346" y="470"/>
                      </a:lnTo>
                      <a:lnTo>
                        <a:pt x="339" y="403"/>
                      </a:lnTo>
                      <a:lnTo>
                        <a:pt x="339" y="403"/>
                      </a:lnTo>
                      <a:lnTo>
                        <a:pt x="356" y="391"/>
                      </a:lnTo>
                      <a:lnTo>
                        <a:pt x="364" y="384"/>
                      </a:lnTo>
                      <a:lnTo>
                        <a:pt x="373" y="377"/>
                      </a:lnTo>
                      <a:lnTo>
                        <a:pt x="434" y="402"/>
                      </a:lnTo>
                      <a:lnTo>
                        <a:pt x="476" y="332"/>
                      </a:lnTo>
                      <a:lnTo>
                        <a:pt x="422" y="288"/>
                      </a:lnTo>
                      <a:lnTo>
                        <a:pt x="422" y="288"/>
                      </a:lnTo>
                      <a:lnTo>
                        <a:pt x="426" y="268"/>
                      </a:lnTo>
                      <a:lnTo>
                        <a:pt x="427" y="258"/>
                      </a:lnTo>
                      <a:lnTo>
                        <a:pt x="428" y="248"/>
                      </a:lnTo>
                      <a:lnTo>
                        <a:pt x="490" y="222"/>
                      </a:lnTo>
                      <a:close/>
                      <a:moveTo>
                        <a:pt x="297" y="345"/>
                      </a:moveTo>
                      <a:lnTo>
                        <a:pt x="297" y="345"/>
                      </a:lnTo>
                      <a:lnTo>
                        <a:pt x="286" y="350"/>
                      </a:lnTo>
                      <a:lnTo>
                        <a:pt x="275" y="354"/>
                      </a:lnTo>
                      <a:lnTo>
                        <a:pt x="264" y="356"/>
                      </a:lnTo>
                      <a:lnTo>
                        <a:pt x="253" y="358"/>
                      </a:lnTo>
                      <a:lnTo>
                        <a:pt x="242" y="358"/>
                      </a:lnTo>
                      <a:lnTo>
                        <a:pt x="231" y="357"/>
                      </a:lnTo>
                      <a:lnTo>
                        <a:pt x="220" y="355"/>
                      </a:lnTo>
                      <a:lnTo>
                        <a:pt x="210" y="352"/>
                      </a:lnTo>
                      <a:lnTo>
                        <a:pt x="200" y="348"/>
                      </a:lnTo>
                      <a:lnTo>
                        <a:pt x="190" y="344"/>
                      </a:lnTo>
                      <a:lnTo>
                        <a:pt x="181" y="338"/>
                      </a:lnTo>
                      <a:lnTo>
                        <a:pt x="172" y="331"/>
                      </a:lnTo>
                      <a:lnTo>
                        <a:pt x="164" y="324"/>
                      </a:lnTo>
                      <a:lnTo>
                        <a:pt x="156" y="315"/>
                      </a:lnTo>
                      <a:lnTo>
                        <a:pt x="148" y="306"/>
                      </a:lnTo>
                      <a:lnTo>
                        <a:pt x="143" y="296"/>
                      </a:lnTo>
                      <a:lnTo>
                        <a:pt x="143" y="296"/>
                      </a:lnTo>
                      <a:lnTo>
                        <a:pt x="138" y="285"/>
                      </a:lnTo>
                      <a:lnTo>
                        <a:pt x="134" y="274"/>
                      </a:lnTo>
                      <a:lnTo>
                        <a:pt x="132" y="263"/>
                      </a:lnTo>
                      <a:lnTo>
                        <a:pt x="130" y="252"/>
                      </a:lnTo>
                      <a:lnTo>
                        <a:pt x="130" y="241"/>
                      </a:lnTo>
                      <a:lnTo>
                        <a:pt x="131" y="230"/>
                      </a:lnTo>
                      <a:lnTo>
                        <a:pt x="133" y="220"/>
                      </a:lnTo>
                      <a:lnTo>
                        <a:pt x="135" y="209"/>
                      </a:lnTo>
                      <a:lnTo>
                        <a:pt x="139" y="199"/>
                      </a:lnTo>
                      <a:lnTo>
                        <a:pt x="144" y="189"/>
                      </a:lnTo>
                      <a:lnTo>
                        <a:pt x="151" y="180"/>
                      </a:lnTo>
                      <a:lnTo>
                        <a:pt x="158" y="171"/>
                      </a:lnTo>
                      <a:lnTo>
                        <a:pt x="165" y="163"/>
                      </a:lnTo>
                      <a:lnTo>
                        <a:pt x="174" y="154"/>
                      </a:lnTo>
                      <a:lnTo>
                        <a:pt x="183" y="148"/>
                      </a:lnTo>
                      <a:lnTo>
                        <a:pt x="193" y="142"/>
                      </a:lnTo>
                      <a:lnTo>
                        <a:pt x="193" y="142"/>
                      </a:lnTo>
                      <a:lnTo>
                        <a:pt x="204" y="137"/>
                      </a:lnTo>
                      <a:lnTo>
                        <a:pt x="214" y="133"/>
                      </a:lnTo>
                      <a:lnTo>
                        <a:pt x="225" y="131"/>
                      </a:lnTo>
                      <a:lnTo>
                        <a:pt x="236" y="129"/>
                      </a:lnTo>
                      <a:lnTo>
                        <a:pt x="247" y="129"/>
                      </a:lnTo>
                      <a:lnTo>
                        <a:pt x="258" y="130"/>
                      </a:lnTo>
                      <a:lnTo>
                        <a:pt x="269" y="132"/>
                      </a:lnTo>
                      <a:lnTo>
                        <a:pt x="280" y="135"/>
                      </a:lnTo>
                      <a:lnTo>
                        <a:pt x="290" y="139"/>
                      </a:lnTo>
                      <a:lnTo>
                        <a:pt x="300" y="143"/>
                      </a:lnTo>
                      <a:lnTo>
                        <a:pt x="309" y="149"/>
                      </a:lnTo>
                      <a:lnTo>
                        <a:pt x="318" y="156"/>
                      </a:lnTo>
                      <a:lnTo>
                        <a:pt x="326" y="164"/>
                      </a:lnTo>
                      <a:lnTo>
                        <a:pt x="334" y="173"/>
                      </a:lnTo>
                      <a:lnTo>
                        <a:pt x="340" y="182"/>
                      </a:lnTo>
                      <a:lnTo>
                        <a:pt x="346" y="192"/>
                      </a:lnTo>
                      <a:lnTo>
                        <a:pt x="346" y="192"/>
                      </a:lnTo>
                      <a:lnTo>
                        <a:pt x="351" y="203"/>
                      </a:lnTo>
                      <a:lnTo>
                        <a:pt x="355" y="214"/>
                      </a:lnTo>
                      <a:lnTo>
                        <a:pt x="357" y="225"/>
                      </a:lnTo>
                      <a:lnTo>
                        <a:pt x="358" y="236"/>
                      </a:lnTo>
                      <a:lnTo>
                        <a:pt x="359" y="247"/>
                      </a:lnTo>
                      <a:lnTo>
                        <a:pt x="358" y="258"/>
                      </a:lnTo>
                      <a:lnTo>
                        <a:pt x="356" y="268"/>
                      </a:lnTo>
                      <a:lnTo>
                        <a:pt x="353" y="279"/>
                      </a:lnTo>
                      <a:lnTo>
                        <a:pt x="349" y="289"/>
                      </a:lnTo>
                      <a:lnTo>
                        <a:pt x="344" y="299"/>
                      </a:lnTo>
                      <a:lnTo>
                        <a:pt x="339" y="308"/>
                      </a:lnTo>
                      <a:lnTo>
                        <a:pt x="332" y="317"/>
                      </a:lnTo>
                      <a:lnTo>
                        <a:pt x="325" y="325"/>
                      </a:lnTo>
                      <a:lnTo>
                        <a:pt x="316" y="333"/>
                      </a:lnTo>
                      <a:lnTo>
                        <a:pt x="307" y="339"/>
                      </a:lnTo>
                      <a:lnTo>
                        <a:pt x="297"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06" name="Freeform 161"/>
                <p:cNvSpPr>
                  <a:spLocks/>
                </p:cNvSpPr>
                <p:nvPr/>
              </p:nvSpPr>
              <p:spPr bwMode="auto">
                <a:xfrm>
                  <a:off x="1137284" y="3360420"/>
                  <a:ext cx="80010" cy="80010"/>
                </a:xfrm>
                <a:custGeom>
                  <a:avLst/>
                  <a:gdLst>
                    <a:gd name="T0" fmla="*/ 79 w 83"/>
                    <a:gd name="T1" fmla="*/ 22 h 83"/>
                    <a:gd name="T2" fmla="*/ 79 w 83"/>
                    <a:gd name="T3" fmla="*/ 22 h 83"/>
                    <a:gd name="T4" fmla="*/ 82 w 83"/>
                    <a:gd name="T5" fmla="*/ 30 h 83"/>
                    <a:gd name="T6" fmla="*/ 83 w 83"/>
                    <a:gd name="T7" fmla="*/ 38 h 83"/>
                    <a:gd name="T8" fmla="*/ 83 w 83"/>
                    <a:gd name="T9" fmla="*/ 46 h 83"/>
                    <a:gd name="T10" fmla="*/ 81 w 83"/>
                    <a:gd name="T11" fmla="*/ 54 h 83"/>
                    <a:gd name="T12" fmla="*/ 78 w 83"/>
                    <a:gd name="T13" fmla="*/ 62 h 83"/>
                    <a:gd name="T14" fmla="*/ 74 w 83"/>
                    <a:gd name="T15" fmla="*/ 68 h 83"/>
                    <a:gd name="T16" fmla="*/ 68 w 83"/>
                    <a:gd name="T17" fmla="*/ 74 h 83"/>
                    <a:gd name="T18" fmla="*/ 61 w 83"/>
                    <a:gd name="T19" fmla="*/ 79 h 83"/>
                    <a:gd name="T20" fmla="*/ 61 w 83"/>
                    <a:gd name="T21" fmla="*/ 79 h 83"/>
                    <a:gd name="T22" fmla="*/ 53 w 83"/>
                    <a:gd name="T23" fmla="*/ 82 h 83"/>
                    <a:gd name="T24" fmla="*/ 45 w 83"/>
                    <a:gd name="T25" fmla="*/ 83 h 83"/>
                    <a:gd name="T26" fmla="*/ 37 w 83"/>
                    <a:gd name="T27" fmla="*/ 83 h 83"/>
                    <a:gd name="T28" fmla="*/ 29 w 83"/>
                    <a:gd name="T29" fmla="*/ 81 h 83"/>
                    <a:gd name="T30" fmla="*/ 22 w 83"/>
                    <a:gd name="T31" fmla="*/ 78 h 83"/>
                    <a:gd name="T32" fmla="*/ 15 w 83"/>
                    <a:gd name="T33" fmla="*/ 73 h 83"/>
                    <a:gd name="T34" fmla="*/ 9 w 83"/>
                    <a:gd name="T35" fmla="*/ 67 h 83"/>
                    <a:gd name="T36" fmla="*/ 5 w 83"/>
                    <a:gd name="T37" fmla="*/ 60 h 83"/>
                    <a:gd name="T38" fmla="*/ 5 w 83"/>
                    <a:gd name="T39" fmla="*/ 60 h 83"/>
                    <a:gd name="T40" fmla="*/ 2 w 83"/>
                    <a:gd name="T41" fmla="*/ 52 h 83"/>
                    <a:gd name="T42" fmla="*/ 0 w 83"/>
                    <a:gd name="T43" fmla="*/ 44 h 83"/>
                    <a:gd name="T44" fmla="*/ 0 w 83"/>
                    <a:gd name="T45" fmla="*/ 36 h 83"/>
                    <a:gd name="T46" fmla="*/ 2 w 83"/>
                    <a:gd name="T47" fmla="*/ 29 h 83"/>
                    <a:gd name="T48" fmla="*/ 5 w 83"/>
                    <a:gd name="T49" fmla="*/ 21 h 83"/>
                    <a:gd name="T50" fmla="*/ 10 w 83"/>
                    <a:gd name="T51" fmla="*/ 15 h 83"/>
                    <a:gd name="T52" fmla="*/ 16 w 83"/>
                    <a:gd name="T53" fmla="*/ 9 h 83"/>
                    <a:gd name="T54" fmla="*/ 23 w 83"/>
                    <a:gd name="T55" fmla="*/ 4 h 83"/>
                    <a:gd name="T56" fmla="*/ 23 w 83"/>
                    <a:gd name="T57" fmla="*/ 4 h 83"/>
                    <a:gd name="T58" fmla="*/ 31 w 83"/>
                    <a:gd name="T59" fmla="*/ 1 h 83"/>
                    <a:gd name="T60" fmla="*/ 39 w 83"/>
                    <a:gd name="T61" fmla="*/ 0 h 83"/>
                    <a:gd name="T62" fmla="*/ 47 w 83"/>
                    <a:gd name="T63" fmla="*/ 0 h 83"/>
                    <a:gd name="T64" fmla="*/ 55 w 83"/>
                    <a:gd name="T65" fmla="*/ 2 h 83"/>
                    <a:gd name="T66" fmla="*/ 62 w 83"/>
                    <a:gd name="T67" fmla="*/ 5 h 83"/>
                    <a:gd name="T68" fmla="*/ 69 w 83"/>
                    <a:gd name="T69" fmla="*/ 9 h 83"/>
                    <a:gd name="T70" fmla="*/ 74 w 83"/>
                    <a:gd name="T71" fmla="*/ 15 h 83"/>
                    <a:gd name="T72" fmla="*/ 79 w 83"/>
                    <a:gd name="T73" fmla="*/ 2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 h="83">
                      <a:moveTo>
                        <a:pt x="79" y="22"/>
                      </a:moveTo>
                      <a:lnTo>
                        <a:pt x="79" y="22"/>
                      </a:lnTo>
                      <a:lnTo>
                        <a:pt x="82" y="30"/>
                      </a:lnTo>
                      <a:lnTo>
                        <a:pt x="83" y="38"/>
                      </a:lnTo>
                      <a:lnTo>
                        <a:pt x="83" y="46"/>
                      </a:lnTo>
                      <a:lnTo>
                        <a:pt x="81" y="54"/>
                      </a:lnTo>
                      <a:lnTo>
                        <a:pt x="78" y="62"/>
                      </a:lnTo>
                      <a:lnTo>
                        <a:pt x="74" y="68"/>
                      </a:lnTo>
                      <a:lnTo>
                        <a:pt x="68" y="74"/>
                      </a:lnTo>
                      <a:lnTo>
                        <a:pt x="61" y="79"/>
                      </a:lnTo>
                      <a:lnTo>
                        <a:pt x="61" y="79"/>
                      </a:lnTo>
                      <a:lnTo>
                        <a:pt x="53" y="82"/>
                      </a:lnTo>
                      <a:lnTo>
                        <a:pt x="45" y="83"/>
                      </a:lnTo>
                      <a:lnTo>
                        <a:pt x="37" y="83"/>
                      </a:lnTo>
                      <a:lnTo>
                        <a:pt x="29" y="81"/>
                      </a:lnTo>
                      <a:lnTo>
                        <a:pt x="22" y="78"/>
                      </a:lnTo>
                      <a:lnTo>
                        <a:pt x="15" y="73"/>
                      </a:lnTo>
                      <a:lnTo>
                        <a:pt x="9" y="67"/>
                      </a:lnTo>
                      <a:lnTo>
                        <a:pt x="5" y="60"/>
                      </a:lnTo>
                      <a:lnTo>
                        <a:pt x="5" y="60"/>
                      </a:lnTo>
                      <a:lnTo>
                        <a:pt x="2" y="52"/>
                      </a:lnTo>
                      <a:lnTo>
                        <a:pt x="0" y="44"/>
                      </a:lnTo>
                      <a:lnTo>
                        <a:pt x="0" y="36"/>
                      </a:lnTo>
                      <a:lnTo>
                        <a:pt x="2" y="29"/>
                      </a:lnTo>
                      <a:lnTo>
                        <a:pt x="5" y="21"/>
                      </a:lnTo>
                      <a:lnTo>
                        <a:pt x="10" y="15"/>
                      </a:lnTo>
                      <a:lnTo>
                        <a:pt x="16" y="9"/>
                      </a:lnTo>
                      <a:lnTo>
                        <a:pt x="23" y="4"/>
                      </a:lnTo>
                      <a:lnTo>
                        <a:pt x="23" y="4"/>
                      </a:lnTo>
                      <a:lnTo>
                        <a:pt x="31" y="1"/>
                      </a:lnTo>
                      <a:lnTo>
                        <a:pt x="39" y="0"/>
                      </a:lnTo>
                      <a:lnTo>
                        <a:pt x="47" y="0"/>
                      </a:lnTo>
                      <a:lnTo>
                        <a:pt x="55" y="2"/>
                      </a:lnTo>
                      <a:lnTo>
                        <a:pt x="62" y="5"/>
                      </a:lnTo>
                      <a:lnTo>
                        <a:pt x="69" y="9"/>
                      </a:lnTo>
                      <a:lnTo>
                        <a:pt x="74" y="15"/>
                      </a:lnTo>
                      <a:lnTo>
                        <a:pt x="79"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07" name="Freeform 162"/>
                <p:cNvSpPr>
                  <a:spLocks/>
                </p:cNvSpPr>
                <p:nvPr/>
              </p:nvSpPr>
              <p:spPr bwMode="auto">
                <a:xfrm>
                  <a:off x="1137284" y="3360420"/>
                  <a:ext cx="80010" cy="80010"/>
                </a:xfrm>
                <a:custGeom>
                  <a:avLst/>
                  <a:gdLst>
                    <a:gd name="T0" fmla="*/ 79 w 83"/>
                    <a:gd name="T1" fmla="*/ 22 h 83"/>
                    <a:gd name="T2" fmla="*/ 79 w 83"/>
                    <a:gd name="T3" fmla="*/ 22 h 83"/>
                    <a:gd name="T4" fmla="*/ 82 w 83"/>
                    <a:gd name="T5" fmla="*/ 30 h 83"/>
                    <a:gd name="T6" fmla="*/ 83 w 83"/>
                    <a:gd name="T7" fmla="*/ 38 h 83"/>
                    <a:gd name="T8" fmla="*/ 83 w 83"/>
                    <a:gd name="T9" fmla="*/ 46 h 83"/>
                    <a:gd name="T10" fmla="*/ 81 w 83"/>
                    <a:gd name="T11" fmla="*/ 54 h 83"/>
                    <a:gd name="T12" fmla="*/ 78 w 83"/>
                    <a:gd name="T13" fmla="*/ 62 h 83"/>
                    <a:gd name="T14" fmla="*/ 74 w 83"/>
                    <a:gd name="T15" fmla="*/ 68 h 83"/>
                    <a:gd name="T16" fmla="*/ 68 w 83"/>
                    <a:gd name="T17" fmla="*/ 74 h 83"/>
                    <a:gd name="T18" fmla="*/ 61 w 83"/>
                    <a:gd name="T19" fmla="*/ 79 h 83"/>
                    <a:gd name="T20" fmla="*/ 61 w 83"/>
                    <a:gd name="T21" fmla="*/ 79 h 83"/>
                    <a:gd name="T22" fmla="*/ 53 w 83"/>
                    <a:gd name="T23" fmla="*/ 82 h 83"/>
                    <a:gd name="T24" fmla="*/ 45 w 83"/>
                    <a:gd name="T25" fmla="*/ 83 h 83"/>
                    <a:gd name="T26" fmla="*/ 37 w 83"/>
                    <a:gd name="T27" fmla="*/ 83 h 83"/>
                    <a:gd name="T28" fmla="*/ 29 w 83"/>
                    <a:gd name="T29" fmla="*/ 81 h 83"/>
                    <a:gd name="T30" fmla="*/ 22 w 83"/>
                    <a:gd name="T31" fmla="*/ 78 h 83"/>
                    <a:gd name="T32" fmla="*/ 15 w 83"/>
                    <a:gd name="T33" fmla="*/ 73 h 83"/>
                    <a:gd name="T34" fmla="*/ 9 w 83"/>
                    <a:gd name="T35" fmla="*/ 67 h 83"/>
                    <a:gd name="T36" fmla="*/ 5 w 83"/>
                    <a:gd name="T37" fmla="*/ 60 h 83"/>
                    <a:gd name="T38" fmla="*/ 5 w 83"/>
                    <a:gd name="T39" fmla="*/ 60 h 83"/>
                    <a:gd name="T40" fmla="*/ 2 w 83"/>
                    <a:gd name="T41" fmla="*/ 52 h 83"/>
                    <a:gd name="T42" fmla="*/ 0 w 83"/>
                    <a:gd name="T43" fmla="*/ 44 h 83"/>
                    <a:gd name="T44" fmla="*/ 0 w 83"/>
                    <a:gd name="T45" fmla="*/ 36 h 83"/>
                    <a:gd name="T46" fmla="*/ 2 w 83"/>
                    <a:gd name="T47" fmla="*/ 29 h 83"/>
                    <a:gd name="T48" fmla="*/ 5 w 83"/>
                    <a:gd name="T49" fmla="*/ 21 h 83"/>
                    <a:gd name="T50" fmla="*/ 10 w 83"/>
                    <a:gd name="T51" fmla="*/ 15 h 83"/>
                    <a:gd name="T52" fmla="*/ 16 w 83"/>
                    <a:gd name="T53" fmla="*/ 9 h 83"/>
                    <a:gd name="T54" fmla="*/ 23 w 83"/>
                    <a:gd name="T55" fmla="*/ 4 h 83"/>
                    <a:gd name="T56" fmla="*/ 23 w 83"/>
                    <a:gd name="T57" fmla="*/ 4 h 83"/>
                    <a:gd name="T58" fmla="*/ 31 w 83"/>
                    <a:gd name="T59" fmla="*/ 1 h 83"/>
                    <a:gd name="T60" fmla="*/ 39 w 83"/>
                    <a:gd name="T61" fmla="*/ 0 h 83"/>
                    <a:gd name="T62" fmla="*/ 47 w 83"/>
                    <a:gd name="T63" fmla="*/ 0 h 83"/>
                    <a:gd name="T64" fmla="*/ 55 w 83"/>
                    <a:gd name="T65" fmla="*/ 2 h 83"/>
                    <a:gd name="T66" fmla="*/ 62 w 83"/>
                    <a:gd name="T67" fmla="*/ 5 h 83"/>
                    <a:gd name="T68" fmla="*/ 69 w 83"/>
                    <a:gd name="T69" fmla="*/ 9 h 83"/>
                    <a:gd name="T70" fmla="*/ 74 w 83"/>
                    <a:gd name="T71" fmla="*/ 15 h 83"/>
                    <a:gd name="T72" fmla="*/ 79 w 83"/>
                    <a:gd name="T73" fmla="*/ 2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 h="83">
                      <a:moveTo>
                        <a:pt x="79" y="22"/>
                      </a:moveTo>
                      <a:lnTo>
                        <a:pt x="79" y="22"/>
                      </a:lnTo>
                      <a:lnTo>
                        <a:pt x="82" y="30"/>
                      </a:lnTo>
                      <a:lnTo>
                        <a:pt x="83" y="38"/>
                      </a:lnTo>
                      <a:lnTo>
                        <a:pt x="83" y="46"/>
                      </a:lnTo>
                      <a:lnTo>
                        <a:pt x="81" y="54"/>
                      </a:lnTo>
                      <a:lnTo>
                        <a:pt x="78" y="62"/>
                      </a:lnTo>
                      <a:lnTo>
                        <a:pt x="74" y="68"/>
                      </a:lnTo>
                      <a:lnTo>
                        <a:pt x="68" y="74"/>
                      </a:lnTo>
                      <a:lnTo>
                        <a:pt x="61" y="79"/>
                      </a:lnTo>
                      <a:lnTo>
                        <a:pt x="61" y="79"/>
                      </a:lnTo>
                      <a:lnTo>
                        <a:pt x="53" y="82"/>
                      </a:lnTo>
                      <a:lnTo>
                        <a:pt x="45" y="83"/>
                      </a:lnTo>
                      <a:lnTo>
                        <a:pt x="37" y="83"/>
                      </a:lnTo>
                      <a:lnTo>
                        <a:pt x="29" y="81"/>
                      </a:lnTo>
                      <a:lnTo>
                        <a:pt x="22" y="78"/>
                      </a:lnTo>
                      <a:lnTo>
                        <a:pt x="15" y="73"/>
                      </a:lnTo>
                      <a:lnTo>
                        <a:pt x="9" y="67"/>
                      </a:lnTo>
                      <a:lnTo>
                        <a:pt x="5" y="60"/>
                      </a:lnTo>
                      <a:lnTo>
                        <a:pt x="5" y="60"/>
                      </a:lnTo>
                      <a:lnTo>
                        <a:pt x="2" y="52"/>
                      </a:lnTo>
                      <a:lnTo>
                        <a:pt x="0" y="44"/>
                      </a:lnTo>
                      <a:lnTo>
                        <a:pt x="0" y="36"/>
                      </a:lnTo>
                      <a:lnTo>
                        <a:pt x="2" y="29"/>
                      </a:lnTo>
                      <a:lnTo>
                        <a:pt x="5" y="21"/>
                      </a:lnTo>
                      <a:lnTo>
                        <a:pt x="10" y="15"/>
                      </a:lnTo>
                      <a:lnTo>
                        <a:pt x="16" y="9"/>
                      </a:lnTo>
                      <a:lnTo>
                        <a:pt x="23" y="4"/>
                      </a:lnTo>
                      <a:lnTo>
                        <a:pt x="23" y="4"/>
                      </a:lnTo>
                      <a:lnTo>
                        <a:pt x="31" y="1"/>
                      </a:lnTo>
                      <a:lnTo>
                        <a:pt x="39" y="0"/>
                      </a:lnTo>
                      <a:lnTo>
                        <a:pt x="47" y="0"/>
                      </a:lnTo>
                      <a:lnTo>
                        <a:pt x="55" y="2"/>
                      </a:lnTo>
                      <a:lnTo>
                        <a:pt x="62" y="5"/>
                      </a:lnTo>
                      <a:lnTo>
                        <a:pt x="69" y="9"/>
                      </a:lnTo>
                      <a:lnTo>
                        <a:pt x="74" y="15"/>
                      </a:lnTo>
                      <a:lnTo>
                        <a:pt x="79" y="2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872" name="Group 1871"/>
              <p:cNvGrpSpPr/>
              <p:nvPr/>
            </p:nvGrpSpPr>
            <p:grpSpPr>
              <a:xfrm>
                <a:off x="351963" y="5784498"/>
                <a:ext cx="83330" cy="83330"/>
                <a:chOff x="7498080" y="3108960"/>
                <a:chExt cx="634366" cy="634366"/>
              </a:xfrm>
              <a:solidFill>
                <a:schemeClr val="accent1"/>
              </a:solidFill>
            </p:grpSpPr>
            <p:sp>
              <p:nvSpPr>
                <p:cNvPr id="1902" name="Freeform 177"/>
                <p:cNvSpPr>
                  <a:spLocks noEditPoints="1"/>
                </p:cNvSpPr>
                <p:nvPr/>
              </p:nvSpPr>
              <p:spPr bwMode="auto">
                <a:xfrm>
                  <a:off x="7498080" y="3108960"/>
                  <a:ext cx="634366" cy="634366"/>
                </a:xfrm>
                <a:custGeom>
                  <a:avLst/>
                  <a:gdLst>
                    <a:gd name="T0" fmla="*/ 357 w 666"/>
                    <a:gd name="T1" fmla="*/ 11 h 667"/>
                    <a:gd name="T2" fmla="*/ 352 w 666"/>
                    <a:gd name="T3" fmla="*/ 7 h 667"/>
                    <a:gd name="T4" fmla="*/ 340 w 666"/>
                    <a:gd name="T5" fmla="*/ 1 h 667"/>
                    <a:gd name="T6" fmla="*/ 327 w 666"/>
                    <a:gd name="T7" fmla="*/ 1 h 667"/>
                    <a:gd name="T8" fmla="*/ 315 w 666"/>
                    <a:gd name="T9" fmla="*/ 7 h 667"/>
                    <a:gd name="T10" fmla="*/ 11 w 666"/>
                    <a:gd name="T11" fmla="*/ 309 h 667"/>
                    <a:gd name="T12" fmla="*/ 6 w 666"/>
                    <a:gd name="T13" fmla="*/ 315 h 667"/>
                    <a:gd name="T14" fmla="*/ 1 w 666"/>
                    <a:gd name="T15" fmla="*/ 327 h 667"/>
                    <a:gd name="T16" fmla="*/ 1 w 666"/>
                    <a:gd name="T17" fmla="*/ 340 h 667"/>
                    <a:gd name="T18" fmla="*/ 6 w 666"/>
                    <a:gd name="T19" fmla="*/ 353 h 667"/>
                    <a:gd name="T20" fmla="*/ 310 w 666"/>
                    <a:gd name="T21" fmla="*/ 657 h 667"/>
                    <a:gd name="T22" fmla="*/ 315 w 666"/>
                    <a:gd name="T23" fmla="*/ 661 h 667"/>
                    <a:gd name="T24" fmla="*/ 327 w 666"/>
                    <a:gd name="T25" fmla="*/ 666 h 667"/>
                    <a:gd name="T26" fmla="*/ 340 w 666"/>
                    <a:gd name="T27" fmla="*/ 666 h 667"/>
                    <a:gd name="T28" fmla="*/ 352 w 666"/>
                    <a:gd name="T29" fmla="*/ 661 h 667"/>
                    <a:gd name="T30" fmla="*/ 657 w 666"/>
                    <a:gd name="T31" fmla="*/ 359 h 667"/>
                    <a:gd name="T32" fmla="*/ 661 w 666"/>
                    <a:gd name="T33" fmla="*/ 353 h 667"/>
                    <a:gd name="T34" fmla="*/ 666 w 666"/>
                    <a:gd name="T35" fmla="*/ 340 h 667"/>
                    <a:gd name="T36" fmla="*/ 666 w 666"/>
                    <a:gd name="T37" fmla="*/ 327 h 667"/>
                    <a:gd name="T38" fmla="*/ 661 w 666"/>
                    <a:gd name="T39" fmla="*/ 315 h 667"/>
                    <a:gd name="T40" fmla="*/ 582 w 666"/>
                    <a:gd name="T41" fmla="*/ 352 h 667"/>
                    <a:gd name="T42" fmla="*/ 353 w 666"/>
                    <a:gd name="T43" fmla="*/ 582 h 667"/>
                    <a:gd name="T44" fmla="*/ 345 w 666"/>
                    <a:gd name="T45" fmla="*/ 588 h 667"/>
                    <a:gd name="T46" fmla="*/ 335 w 666"/>
                    <a:gd name="T47" fmla="*/ 589 h 667"/>
                    <a:gd name="T48" fmla="*/ 325 w 666"/>
                    <a:gd name="T49" fmla="*/ 588 h 667"/>
                    <a:gd name="T50" fmla="*/ 316 w 666"/>
                    <a:gd name="T51" fmla="*/ 582 h 667"/>
                    <a:gd name="T52" fmla="*/ 87 w 666"/>
                    <a:gd name="T53" fmla="*/ 352 h 667"/>
                    <a:gd name="T54" fmla="*/ 81 w 666"/>
                    <a:gd name="T55" fmla="*/ 344 h 667"/>
                    <a:gd name="T56" fmla="*/ 79 w 666"/>
                    <a:gd name="T57" fmla="*/ 334 h 667"/>
                    <a:gd name="T58" fmla="*/ 81 w 666"/>
                    <a:gd name="T59" fmla="*/ 324 h 667"/>
                    <a:gd name="T60" fmla="*/ 87 w 666"/>
                    <a:gd name="T61" fmla="*/ 315 h 667"/>
                    <a:gd name="T62" fmla="*/ 316 w 666"/>
                    <a:gd name="T63" fmla="*/ 86 h 667"/>
                    <a:gd name="T64" fmla="*/ 325 w 666"/>
                    <a:gd name="T65" fmla="*/ 80 h 667"/>
                    <a:gd name="T66" fmla="*/ 335 w 666"/>
                    <a:gd name="T67" fmla="*/ 78 h 667"/>
                    <a:gd name="T68" fmla="*/ 345 w 666"/>
                    <a:gd name="T69" fmla="*/ 80 h 667"/>
                    <a:gd name="T70" fmla="*/ 353 w 666"/>
                    <a:gd name="T71" fmla="*/ 86 h 667"/>
                    <a:gd name="T72" fmla="*/ 582 w 666"/>
                    <a:gd name="T73" fmla="*/ 315 h 667"/>
                    <a:gd name="T74" fmla="*/ 588 w 666"/>
                    <a:gd name="T75" fmla="*/ 324 h 667"/>
                    <a:gd name="T76" fmla="*/ 590 w 666"/>
                    <a:gd name="T77" fmla="*/ 334 h 667"/>
                    <a:gd name="T78" fmla="*/ 588 w 666"/>
                    <a:gd name="T79" fmla="*/ 344 h 667"/>
                    <a:gd name="T80" fmla="*/ 582 w 666"/>
                    <a:gd name="T81" fmla="*/ 352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6" h="667">
                      <a:moveTo>
                        <a:pt x="657" y="309"/>
                      </a:moveTo>
                      <a:lnTo>
                        <a:pt x="357" y="11"/>
                      </a:lnTo>
                      <a:lnTo>
                        <a:pt x="357" y="11"/>
                      </a:lnTo>
                      <a:lnTo>
                        <a:pt x="352" y="7"/>
                      </a:lnTo>
                      <a:lnTo>
                        <a:pt x="346" y="3"/>
                      </a:lnTo>
                      <a:lnTo>
                        <a:pt x="340" y="1"/>
                      </a:lnTo>
                      <a:lnTo>
                        <a:pt x="334" y="0"/>
                      </a:lnTo>
                      <a:lnTo>
                        <a:pt x="327" y="1"/>
                      </a:lnTo>
                      <a:lnTo>
                        <a:pt x="321" y="3"/>
                      </a:lnTo>
                      <a:lnTo>
                        <a:pt x="315" y="7"/>
                      </a:lnTo>
                      <a:lnTo>
                        <a:pt x="310" y="11"/>
                      </a:lnTo>
                      <a:lnTo>
                        <a:pt x="11" y="309"/>
                      </a:lnTo>
                      <a:lnTo>
                        <a:pt x="11" y="309"/>
                      </a:lnTo>
                      <a:lnTo>
                        <a:pt x="6" y="315"/>
                      </a:lnTo>
                      <a:lnTo>
                        <a:pt x="3" y="321"/>
                      </a:lnTo>
                      <a:lnTo>
                        <a:pt x="1" y="327"/>
                      </a:lnTo>
                      <a:lnTo>
                        <a:pt x="0" y="334"/>
                      </a:lnTo>
                      <a:lnTo>
                        <a:pt x="1" y="340"/>
                      </a:lnTo>
                      <a:lnTo>
                        <a:pt x="3" y="347"/>
                      </a:lnTo>
                      <a:lnTo>
                        <a:pt x="6" y="353"/>
                      </a:lnTo>
                      <a:lnTo>
                        <a:pt x="11" y="359"/>
                      </a:lnTo>
                      <a:lnTo>
                        <a:pt x="310" y="657"/>
                      </a:lnTo>
                      <a:lnTo>
                        <a:pt x="310" y="657"/>
                      </a:lnTo>
                      <a:lnTo>
                        <a:pt x="315" y="661"/>
                      </a:lnTo>
                      <a:lnTo>
                        <a:pt x="321" y="664"/>
                      </a:lnTo>
                      <a:lnTo>
                        <a:pt x="327" y="666"/>
                      </a:lnTo>
                      <a:lnTo>
                        <a:pt x="334" y="667"/>
                      </a:lnTo>
                      <a:lnTo>
                        <a:pt x="340" y="666"/>
                      </a:lnTo>
                      <a:lnTo>
                        <a:pt x="346" y="664"/>
                      </a:lnTo>
                      <a:lnTo>
                        <a:pt x="352" y="661"/>
                      </a:lnTo>
                      <a:lnTo>
                        <a:pt x="357" y="657"/>
                      </a:lnTo>
                      <a:lnTo>
                        <a:pt x="657" y="359"/>
                      </a:lnTo>
                      <a:lnTo>
                        <a:pt x="657" y="359"/>
                      </a:lnTo>
                      <a:lnTo>
                        <a:pt x="661" y="353"/>
                      </a:lnTo>
                      <a:lnTo>
                        <a:pt x="664" y="347"/>
                      </a:lnTo>
                      <a:lnTo>
                        <a:pt x="666" y="340"/>
                      </a:lnTo>
                      <a:lnTo>
                        <a:pt x="666" y="334"/>
                      </a:lnTo>
                      <a:lnTo>
                        <a:pt x="666" y="327"/>
                      </a:lnTo>
                      <a:lnTo>
                        <a:pt x="664" y="321"/>
                      </a:lnTo>
                      <a:lnTo>
                        <a:pt x="661" y="315"/>
                      </a:lnTo>
                      <a:lnTo>
                        <a:pt x="657" y="309"/>
                      </a:lnTo>
                      <a:close/>
                      <a:moveTo>
                        <a:pt x="582" y="352"/>
                      </a:moveTo>
                      <a:lnTo>
                        <a:pt x="353" y="582"/>
                      </a:lnTo>
                      <a:lnTo>
                        <a:pt x="353" y="582"/>
                      </a:lnTo>
                      <a:lnTo>
                        <a:pt x="349" y="585"/>
                      </a:lnTo>
                      <a:lnTo>
                        <a:pt x="345" y="588"/>
                      </a:lnTo>
                      <a:lnTo>
                        <a:pt x="340" y="589"/>
                      </a:lnTo>
                      <a:lnTo>
                        <a:pt x="335" y="589"/>
                      </a:lnTo>
                      <a:lnTo>
                        <a:pt x="330" y="589"/>
                      </a:lnTo>
                      <a:lnTo>
                        <a:pt x="325" y="588"/>
                      </a:lnTo>
                      <a:lnTo>
                        <a:pt x="320" y="585"/>
                      </a:lnTo>
                      <a:lnTo>
                        <a:pt x="316" y="582"/>
                      </a:lnTo>
                      <a:lnTo>
                        <a:pt x="87" y="352"/>
                      </a:lnTo>
                      <a:lnTo>
                        <a:pt x="87" y="352"/>
                      </a:lnTo>
                      <a:lnTo>
                        <a:pt x="83" y="348"/>
                      </a:lnTo>
                      <a:lnTo>
                        <a:pt x="81" y="344"/>
                      </a:lnTo>
                      <a:lnTo>
                        <a:pt x="79" y="339"/>
                      </a:lnTo>
                      <a:lnTo>
                        <a:pt x="79" y="334"/>
                      </a:lnTo>
                      <a:lnTo>
                        <a:pt x="79" y="329"/>
                      </a:lnTo>
                      <a:lnTo>
                        <a:pt x="81" y="324"/>
                      </a:lnTo>
                      <a:lnTo>
                        <a:pt x="83" y="319"/>
                      </a:lnTo>
                      <a:lnTo>
                        <a:pt x="87" y="315"/>
                      </a:lnTo>
                      <a:lnTo>
                        <a:pt x="316" y="86"/>
                      </a:lnTo>
                      <a:lnTo>
                        <a:pt x="316" y="86"/>
                      </a:lnTo>
                      <a:lnTo>
                        <a:pt x="320" y="83"/>
                      </a:lnTo>
                      <a:lnTo>
                        <a:pt x="325" y="80"/>
                      </a:lnTo>
                      <a:lnTo>
                        <a:pt x="330" y="79"/>
                      </a:lnTo>
                      <a:lnTo>
                        <a:pt x="335" y="78"/>
                      </a:lnTo>
                      <a:lnTo>
                        <a:pt x="340" y="79"/>
                      </a:lnTo>
                      <a:lnTo>
                        <a:pt x="345" y="80"/>
                      </a:lnTo>
                      <a:lnTo>
                        <a:pt x="349" y="83"/>
                      </a:lnTo>
                      <a:lnTo>
                        <a:pt x="353" y="86"/>
                      </a:lnTo>
                      <a:lnTo>
                        <a:pt x="582" y="315"/>
                      </a:lnTo>
                      <a:lnTo>
                        <a:pt x="582" y="315"/>
                      </a:lnTo>
                      <a:lnTo>
                        <a:pt x="586" y="319"/>
                      </a:lnTo>
                      <a:lnTo>
                        <a:pt x="588" y="324"/>
                      </a:lnTo>
                      <a:lnTo>
                        <a:pt x="590" y="329"/>
                      </a:lnTo>
                      <a:lnTo>
                        <a:pt x="590" y="334"/>
                      </a:lnTo>
                      <a:lnTo>
                        <a:pt x="590" y="339"/>
                      </a:lnTo>
                      <a:lnTo>
                        <a:pt x="588" y="344"/>
                      </a:lnTo>
                      <a:lnTo>
                        <a:pt x="586" y="348"/>
                      </a:lnTo>
                      <a:lnTo>
                        <a:pt x="582" y="3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03" name="Freeform 180"/>
                <p:cNvSpPr>
                  <a:spLocks/>
                </p:cNvSpPr>
                <p:nvPr/>
              </p:nvSpPr>
              <p:spPr bwMode="auto">
                <a:xfrm>
                  <a:off x="7789545" y="3280410"/>
                  <a:ext cx="72390" cy="200026"/>
                </a:xfrm>
                <a:custGeom>
                  <a:avLst/>
                  <a:gdLst>
                    <a:gd name="T0" fmla="*/ 56 w 74"/>
                    <a:gd name="T1" fmla="*/ 211 h 211"/>
                    <a:gd name="T2" fmla="*/ 74 w 74"/>
                    <a:gd name="T3" fmla="*/ 80 h 211"/>
                    <a:gd name="T4" fmla="*/ 74 w 74"/>
                    <a:gd name="T5" fmla="*/ 0 h 211"/>
                    <a:gd name="T6" fmla="*/ 0 w 74"/>
                    <a:gd name="T7" fmla="*/ 0 h 211"/>
                    <a:gd name="T8" fmla="*/ 0 w 74"/>
                    <a:gd name="T9" fmla="*/ 80 h 211"/>
                    <a:gd name="T10" fmla="*/ 18 w 74"/>
                    <a:gd name="T11" fmla="*/ 211 h 211"/>
                    <a:gd name="T12" fmla="*/ 56 w 74"/>
                    <a:gd name="T13" fmla="*/ 211 h 211"/>
                  </a:gdLst>
                  <a:ahLst/>
                  <a:cxnLst>
                    <a:cxn ang="0">
                      <a:pos x="T0" y="T1"/>
                    </a:cxn>
                    <a:cxn ang="0">
                      <a:pos x="T2" y="T3"/>
                    </a:cxn>
                    <a:cxn ang="0">
                      <a:pos x="T4" y="T5"/>
                    </a:cxn>
                    <a:cxn ang="0">
                      <a:pos x="T6" y="T7"/>
                    </a:cxn>
                    <a:cxn ang="0">
                      <a:pos x="T8" y="T9"/>
                    </a:cxn>
                    <a:cxn ang="0">
                      <a:pos x="T10" y="T11"/>
                    </a:cxn>
                    <a:cxn ang="0">
                      <a:pos x="T12" y="T13"/>
                    </a:cxn>
                  </a:cxnLst>
                  <a:rect l="0" t="0" r="r" b="b"/>
                  <a:pathLst>
                    <a:path w="74" h="211">
                      <a:moveTo>
                        <a:pt x="56" y="211"/>
                      </a:moveTo>
                      <a:lnTo>
                        <a:pt x="74" y="80"/>
                      </a:lnTo>
                      <a:lnTo>
                        <a:pt x="74" y="0"/>
                      </a:lnTo>
                      <a:lnTo>
                        <a:pt x="0" y="0"/>
                      </a:lnTo>
                      <a:lnTo>
                        <a:pt x="0" y="80"/>
                      </a:lnTo>
                      <a:lnTo>
                        <a:pt x="18" y="211"/>
                      </a:lnTo>
                      <a:lnTo>
                        <a:pt x="5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04" name="Rectangle 181"/>
                <p:cNvSpPr>
                  <a:spLocks noChangeArrowheads="1"/>
                </p:cNvSpPr>
                <p:nvPr/>
              </p:nvSpPr>
              <p:spPr bwMode="auto">
                <a:xfrm>
                  <a:off x="7785735" y="3503296"/>
                  <a:ext cx="8001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874" name="Group 1873"/>
              <p:cNvGrpSpPr/>
              <p:nvPr/>
            </p:nvGrpSpPr>
            <p:grpSpPr>
              <a:xfrm rot="5400000" flipH="1" flipV="1">
                <a:off x="360629" y="5656380"/>
                <a:ext cx="77190" cy="126071"/>
                <a:chOff x="2658904" y="3122439"/>
                <a:chExt cx="81472" cy="132564"/>
              </a:xfrm>
              <a:solidFill>
                <a:schemeClr val="accent1"/>
              </a:solidFill>
            </p:grpSpPr>
            <p:sp>
              <p:nvSpPr>
                <p:cNvPr id="189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0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0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875" name="Group 1874"/>
              <p:cNvGrpSpPr/>
              <p:nvPr/>
            </p:nvGrpSpPr>
            <p:grpSpPr>
              <a:xfrm rot="5400000" flipH="1" flipV="1">
                <a:off x="2291437" y="5597151"/>
                <a:ext cx="77190" cy="126071"/>
                <a:chOff x="2658904" y="3122439"/>
                <a:chExt cx="81472" cy="132564"/>
              </a:xfrm>
              <a:solidFill>
                <a:schemeClr val="accent1"/>
              </a:solidFill>
            </p:grpSpPr>
            <p:sp>
              <p:nvSpPr>
                <p:cNvPr id="1896"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97"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98"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876" name="Group 1875"/>
              <p:cNvGrpSpPr/>
              <p:nvPr/>
            </p:nvGrpSpPr>
            <p:grpSpPr>
              <a:xfrm rot="10470363" flipH="1" flipV="1">
                <a:off x="1824610" y="5506265"/>
                <a:ext cx="77190" cy="126071"/>
                <a:chOff x="2658904" y="3122439"/>
                <a:chExt cx="81472" cy="132564"/>
              </a:xfrm>
              <a:solidFill>
                <a:schemeClr val="accent1"/>
              </a:solidFill>
            </p:grpSpPr>
            <p:sp>
              <p:nvSpPr>
                <p:cNvPr id="1893"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94"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9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877" name="Group 1876"/>
              <p:cNvGrpSpPr/>
              <p:nvPr/>
            </p:nvGrpSpPr>
            <p:grpSpPr>
              <a:xfrm rot="10470363" flipH="1" flipV="1">
                <a:off x="1763405" y="5814244"/>
                <a:ext cx="77190" cy="126071"/>
                <a:chOff x="2658904" y="3122439"/>
                <a:chExt cx="81472" cy="132564"/>
              </a:xfrm>
              <a:solidFill>
                <a:schemeClr val="accent1"/>
              </a:solidFill>
            </p:grpSpPr>
            <p:sp>
              <p:nvSpPr>
                <p:cNvPr id="1890"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91"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92"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878" name="Group 1877"/>
              <p:cNvGrpSpPr>
                <a:grpSpLocks noChangeAspect="1"/>
              </p:cNvGrpSpPr>
              <p:nvPr/>
            </p:nvGrpSpPr>
            <p:grpSpPr>
              <a:xfrm>
                <a:off x="458153" y="5789359"/>
                <a:ext cx="73035" cy="60071"/>
                <a:chOff x="8970859" y="2626225"/>
                <a:chExt cx="414001" cy="374572"/>
              </a:xfrm>
            </p:grpSpPr>
            <p:sp>
              <p:nvSpPr>
                <p:cNvPr id="1885" name="Rectangle 1884"/>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886" name="Group 1885"/>
                <p:cNvGrpSpPr/>
                <p:nvPr/>
              </p:nvGrpSpPr>
              <p:grpSpPr>
                <a:xfrm>
                  <a:off x="8970859" y="2626225"/>
                  <a:ext cx="414001" cy="374572"/>
                  <a:chOff x="25455229" y="-39674"/>
                  <a:chExt cx="806770" cy="729935"/>
                </a:xfrm>
              </p:grpSpPr>
              <p:sp>
                <p:nvSpPr>
                  <p:cNvPr id="1887"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8"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9"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1879" name="Group 1878"/>
              <p:cNvGrpSpPr>
                <a:grpSpLocks noChangeAspect="1"/>
              </p:cNvGrpSpPr>
              <p:nvPr/>
            </p:nvGrpSpPr>
            <p:grpSpPr>
              <a:xfrm>
                <a:off x="1509480" y="5542986"/>
                <a:ext cx="80338" cy="66078"/>
                <a:chOff x="8970859" y="2626225"/>
                <a:chExt cx="414001" cy="374572"/>
              </a:xfrm>
            </p:grpSpPr>
            <p:sp>
              <p:nvSpPr>
                <p:cNvPr id="1880" name="Rectangle 1879"/>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881" name="Group 1880"/>
                <p:cNvGrpSpPr/>
                <p:nvPr/>
              </p:nvGrpSpPr>
              <p:grpSpPr>
                <a:xfrm>
                  <a:off x="8970859" y="2626225"/>
                  <a:ext cx="414001" cy="374572"/>
                  <a:chOff x="25455229" y="-39674"/>
                  <a:chExt cx="806770" cy="729935"/>
                </a:xfrm>
              </p:grpSpPr>
              <p:sp>
                <p:nvSpPr>
                  <p:cNvPr id="1882"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3"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884"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cxnSp>
          <p:nvCxnSpPr>
            <p:cNvPr id="1955" name="Elbow Connector 1954"/>
            <p:cNvCxnSpPr>
              <a:stCxn id="2048" idx="2"/>
              <a:endCxn id="1824" idx="2"/>
            </p:cNvCxnSpPr>
            <p:nvPr/>
          </p:nvCxnSpPr>
          <p:spPr>
            <a:xfrm rot="5400000">
              <a:off x="-253783" y="2394819"/>
              <a:ext cx="174578" cy="104832"/>
            </a:xfrm>
            <a:prstGeom prst="bentConnector2">
              <a:avLst/>
            </a:prstGeom>
            <a:ln>
              <a:prstDash val="sysDot"/>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a:off x="48247" y="2202963"/>
              <a:ext cx="209804" cy="159188"/>
              <a:chOff x="251023" y="2207542"/>
              <a:chExt cx="209804" cy="159188"/>
            </a:xfrm>
          </p:grpSpPr>
          <p:sp>
            <p:nvSpPr>
              <p:cNvPr id="1947" name="Rectangle 1946"/>
              <p:cNvSpPr/>
              <p:nvPr/>
            </p:nvSpPr>
            <p:spPr bwMode="auto">
              <a:xfrm>
                <a:off x="251023" y="2207542"/>
                <a:ext cx="209804" cy="159188"/>
              </a:xfrm>
              <a:prstGeom prst="rect">
                <a:avLst/>
              </a:prstGeom>
              <a:solidFill>
                <a:schemeClr val="tx1"/>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951" name="Group 1950"/>
              <p:cNvGrpSpPr>
                <a:grpSpLocks noChangeAspect="1"/>
              </p:cNvGrpSpPr>
              <p:nvPr/>
            </p:nvGrpSpPr>
            <p:grpSpPr>
              <a:xfrm>
                <a:off x="275578" y="2239270"/>
                <a:ext cx="69734" cy="69990"/>
                <a:chOff x="15749588" y="-1260475"/>
                <a:chExt cx="430213" cy="431800"/>
              </a:xfrm>
              <a:solidFill>
                <a:schemeClr val="accent3"/>
              </a:solidFill>
            </p:grpSpPr>
            <p:sp>
              <p:nvSpPr>
                <p:cNvPr id="2024" name="Freeform 89"/>
                <p:cNvSpPr>
                  <a:spLocks/>
                </p:cNvSpPr>
                <p:nvPr/>
              </p:nvSpPr>
              <p:spPr bwMode="auto">
                <a:xfrm>
                  <a:off x="15784513" y="-1065213"/>
                  <a:ext cx="160338" cy="161925"/>
                </a:xfrm>
                <a:custGeom>
                  <a:avLst/>
                  <a:gdLst>
                    <a:gd name="T0" fmla="*/ 263 w 303"/>
                    <a:gd name="T1" fmla="*/ 0 h 308"/>
                    <a:gd name="T2" fmla="*/ 0 w 303"/>
                    <a:gd name="T3" fmla="*/ 263 h 308"/>
                    <a:gd name="T4" fmla="*/ 0 w 303"/>
                    <a:gd name="T5" fmla="*/ 263 h 308"/>
                    <a:gd name="T6" fmla="*/ 15 w 303"/>
                    <a:gd name="T7" fmla="*/ 286 h 308"/>
                    <a:gd name="T8" fmla="*/ 33 w 303"/>
                    <a:gd name="T9" fmla="*/ 308 h 308"/>
                    <a:gd name="T10" fmla="*/ 303 w 303"/>
                    <a:gd name="T11" fmla="*/ 40 h 308"/>
                    <a:gd name="T12" fmla="*/ 263 w 303"/>
                    <a:gd name="T13" fmla="*/ 0 h 308"/>
                  </a:gdLst>
                  <a:ahLst/>
                  <a:cxnLst>
                    <a:cxn ang="0">
                      <a:pos x="T0" y="T1"/>
                    </a:cxn>
                    <a:cxn ang="0">
                      <a:pos x="T2" y="T3"/>
                    </a:cxn>
                    <a:cxn ang="0">
                      <a:pos x="T4" y="T5"/>
                    </a:cxn>
                    <a:cxn ang="0">
                      <a:pos x="T6" y="T7"/>
                    </a:cxn>
                    <a:cxn ang="0">
                      <a:pos x="T8" y="T9"/>
                    </a:cxn>
                    <a:cxn ang="0">
                      <a:pos x="T10" y="T11"/>
                    </a:cxn>
                    <a:cxn ang="0">
                      <a:pos x="T12" y="T13"/>
                    </a:cxn>
                  </a:cxnLst>
                  <a:rect l="0" t="0" r="r" b="b"/>
                  <a:pathLst>
                    <a:path w="303" h="308">
                      <a:moveTo>
                        <a:pt x="263" y="0"/>
                      </a:moveTo>
                      <a:lnTo>
                        <a:pt x="0" y="263"/>
                      </a:lnTo>
                      <a:lnTo>
                        <a:pt x="0" y="263"/>
                      </a:lnTo>
                      <a:lnTo>
                        <a:pt x="15" y="286"/>
                      </a:lnTo>
                      <a:lnTo>
                        <a:pt x="33" y="308"/>
                      </a:lnTo>
                      <a:lnTo>
                        <a:pt x="303" y="40"/>
                      </a:lnTo>
                      <a:lnTo>
                        <a:pt x="2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25" name="Freeform 90"/>
                <p:cNvSpPr>
                  <a:spLocks/>
                </p:cNvSpPr>
                <p:nvPr/>
              </p:nvSpPr>
              <p:spPr bwMode="auto">
                <a:xfrm>
                  <a:off x="15749588" y="-1147763"/>
                  <a:ext cx="114300" cy="133350"/>
                </a:xfrm>
                <a:custGeom>
                  <a:avLst/>
                  <a:gdLst>
                    <a:gd name="T0" fmla="*/ 176 w 215"/>
                    <a:gd name="T1" fmla="*/ 0 h 250"/>
                    <a:gd name="T2" fmla="*/ 0 w 215"/>
                    <a:gd name="T3" fmla="*/ 176 h 250"/>
                    <a:gd name="T4" fmla="*/ 0 w 215"/>
                    <a:gd name="T5" fmla="*/ 176 h 250"/>
                    <a:gd name="T6" fmla="*/ 0 w 215"/>
                    <a:gd name="T7" fmla="*/ 194 h 250"/>
                    <a:gd name="T8" fmla="*/ 0 w 215"/>
                    <a:gd name="T9" fmla="*/ 213 h 250"/>
                    <a:gd name="T10" fmla="*/ 2 w 215"/>
                    <a:gd name="T11" fmla="*/ 232 h 250"/>
                    <a:gd name="T12" fmla="*/ 3 w 215"/>
                    <a:gd name="T13" fmla="*/ 250 h 250"/>
                    <a:gd name="T14" fmla="*/ 215 w 215"/>
                    <a:gd name="T15" fmla="*/ 39 h 250"/>
                    <a:gd name="T16" fmla="*/ 176 w 215"/>
                    <a:gd name="T1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50">
                      <a:moveTo>
                        <a:pt x="176" y="0"/>
                      </a:moveTo>
                      <a:lnTo>
                        <a:pt x="0" y="176"/>
                      </a:lnTo>
                      <a:lnTo>
                        <a:pt x="0" y="176"/>
                      </a:lnTo>
                      <a:lnTo>
                        <a:pt x="0" y="194"/>
                      </a:lnTo>
                      <a:lnTo>
                        <a:pt x="0" y="213"/>
                      </a:lnTo>
                      <a:lnTo>
                        <a:pt x="2" y="232"/>
                      </a:lnTo>
                      <a:lnTo>
                        <a:pt x="3" y="250"/>
                      </a:lnTo>
                      <a:lnTo>
                        <a:pt x="215" y="39"/>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26" name="Freeform 91"/>
                <p:cNvSpPr>
                  <a:spLocks/>
                </p:cNvSpPr>
                <p:nvPr/>
              </p:nvSpPr>
              <p:spPr bwMode="auto">
                <a:xfrm>
                  <a:off x="15822613" y="-1187450"/>
                  <a:ext cx="357188" cy="358775"/>
                </a:xfrm>
                <a:custGeom>
                  <a:avLst/>
                  <a:gdLst>
                    <a:gd name="T0" fmla="*/ 0 w 675"/>
                    <a:gd name="T1" fmla="*/ 574 h 676"/>
                    <a:gd name="T2" fmla="*/ 14 w 675"/>
                    <a:gd name="T3" fmla="*/ 587 h 676"/>
                    <a:gd name="T4" fmla="*/ 46 w 675"/>
                    <a:gd name="T5" fmla="*/ 610 h 676"/>
                    <a:gd name="T6" fmla="*/ 80 w 675"/>
                    <a:gd name="T7" fmla="*/ 629 h 676"/>
                    <a:gd name="T8" fmla="*/ 115 w 675"/>
                    <a:gd name="T9" fmla="*/ 646 h 676"/>
                    <a:gd name="T10" fmla="*/ 151 w 675"/>
                    <a:gd name="T11" fmla="*/ 658 h 676"/>
                    <a:gd name="T12" fmla="*/ 186 w 675"/>
                    <a:gd name="T13" fmla="*/ 667 h 676"/>
                    <a:gd name="T14" fmla="*/ 224 w 675"/>
                    <a:gd name="T15" fmla="*/ 673 h 676"/>
                    <a:gd name="T16" fmla="*/ 262 w 675"/>
                    <a:gd name="T17" fmla="*/ 676 h 676"/>
                    <a:gd name="T18" fmla="*/ 299 w 675"/>
                    <a:gd name="T19" fmla="*/ 674 h 676"/>
                    <a:gd name="T20" fmla="*/ 336 w 675"/>
                    <a:gd name="T21" fmla="*/ 670 h 676"/>
                    <a:gd name="T22" fmla="*/ 373 w 675"/>
                    <a:gd name="T23" fmla="*/ 661 h 676"/>
                    <a:gd name="T24" fmla="*/ 409 w 675"/>
                    <a:gd name="T25" fmla="*/ 650 h 676"/>
                    <a:gd name="T26" fmla="*/ 444 w 675"/>
                    <a:gd name="T27" fmla="*/ 635 h 676"/>
                    <a:gd name="T28" fmla="*/ 478 w 675"/>
                    <a:gd name="T29" fmla="*/ 617 h 676"/>
                    <a:gd name="T30" fmla="*/ 511 w 675"/>
                    <a:gd name="T31" fmla="*/ 595 h 676"/>
                    <a:gd name="T32" fmla="*/ 541 w 675"/>
                    <a:gd name="T33" fmla="*/ 570 h 676"/>
                    <a:gd name="T34" fmla="*/ 555 w 675"/>
                    <a:gd name="T35" fmla="*/ 556 h 676"/>
                    <a:gd name="T36" fmla="*/ 583 w 675"/>
                    <a:gd name="T37" fmla="*/ 526 h 676"/>
                    <a:gd name="T38" fmla="*/ 605 w 675"/>
                    <a:gd name="T39" fmla="*/ 495 h 676"/>
                    <a:gd name="T40" fmla="*/ 626 w 675"/>
                    <a:gd name="T41" fmla="*/ 461 h 676"/>
                    <a:gd name="T42" fmla="*/ 642 w 675"/>
                    <a:gd name="T43" fmla="*/ 428 h 676"/>
                    <a:gd name="T44" fmla="*/ 656 w 675"/>
                    <a:gd name="T45" fmla="*/ 392 h 676"/>
                    <a:gd name="T46" fmla="*/ 665 w 675"/>
                    <a:gd name="T47" fmla="*/ 355 h 676"/>
                    <a:gd name="T48" fmla="*/ 671 w 675"/>
                    <a:gd name="T49" fmla="*/ 318 h 676"/>
                    <a:gd name="T50" fmla="*/ 675 w 675"/>
                    <a:gd name="T51" fmla="*/ 281 h 676"/>
                    <a:gd name="T52" fmla="*/ 674 w 675"/>
                    <a:gd name="T53" fmla="*/ 243 h 676"/>
                    <a:gd name="T54" fmla="*/ 670 w 675"/>
                    <a:gd name="T55" fmla="*/ 206 h 676"/>
                    <a:gd name="T56" fmla="*/ 663 w 675"/>
                    <a:gd name="T57" fmla="*/ 169 h 676"/>
                    <a:gd name="T58" fmla="*/ 651 w 675"/>
                    <a:gd name="T59" fmla="*/ 133 h 676"/>
                    <a:gd name="T60" fmla="*/ 636 w 675"/>
                    <a:gd name="T61" fmla="*/ 97 h 676"/>
                    <a:gd name="T62" fmla="*/ 620 w 675"/>
                    <a:gd name="T63" fmla="*/ 64 h 676"/>
                    <a:gd name="T64" fmla="*/ 598 w 675"/>
                    <a:gd name="T65" fmla="*/ 30 h 676"/>
                    <a:gd name="T66" fmla="*/ 573 w 675"/>
                    <a:gd name="T67" fmla="*/ 0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5" h="676">
                      <a:moveTo>
                        <a:pt x="573" y="0"/>
                      </a:moveTo>
                      <a:lnTo>
                        <a:pt x="0" y="574"/>
                      </a:lnTo>
                      <a:lnTo>
                        <a:pt x="0" y="574"/>
                      </a:lnTo>
                      <a:lnTo>
                        <a:pt x="14" y="587"/>
                      </a:lnTo>
                      <a:lnTo>
                        <a:pt x="31" y="599"/>
                      </a:lnTo>
                      <a:lnTo>
                        <a:pt x="46" y="610"/>
                      </a:lnTo>
                      <a:lnTo>
                        <a:pt x="63" y="619"/>
                      </a:lnTo>
                      <a:lnTo>
                        <a:pt x="80" y="629"/>
                      </a:lnTo>
                      <a:lnTo>
                        <a:pt x="97" y="637"/>
                      </a:lnTo>
                      <a:lnTo>
                        <a:pt x="115" y="646"/>
                      </a:lnTo>
                      <a:lnTo>
                        <a:pt x="133" y="652"/>
                      </a:lnTo>
                      <a:lnTo>
                        <a:pt x="151" y="658"/>
                      </a:lnTo>
                      <a:lnTo>
                        <a:pt x="168" y="662"/>
                      </a:lnTo>
                      <a:lnTo>
                        <a:pt x="186" y="667"/>
                      </a:lnTo>
                      <a:lnTo>
                        <a:pt x="206" y="671"/>
                      </a:lnTo>
                      <a:lnTo>
                        <a:pt x="224" y="673"/>
                      </a:lnTo>
                      <a:lnTo>
                        <a:pt x="243" y="674"/>
                      </a:lnTo>
                      <a:lnTo>
                        <a:pt x="262" y="676"/>
                      </a:lnTo>
                      <a:lnTo>
                        <a:pt x="280" y="674"/>
                      </a:lnTo>
                      <a:lnTo>
                        <a:pt x="299" y="674"/>
                      </a:lnTo>
                      <a:lnTo>
                        <a:pt x="318" y="672"/>
                      </a:lnTo>
                      <a:lnTo>
                        <a:pt x="336" y="670"/>
                      </a:lnTo>
                      <a:lnTo>
                        <a:pt x="355" y="666"/>
                      </a:lnTo>
                      <a:lnTo>
                        <a:pt x="373" y="661"/>
                      </a:lnTo>
                      <a:lnTo>
                        <a:pt x="391" y="656"/>
                      </a:lnTo>
                      <a:lnTo>
                        <a:pt x="409" y="650"/>
                      </a:lnTo>
                      <a:lnTo>
                        <a:pt x="427" y="643"/>
                      </a:lnTo>
                      <a:lnTo>
                        <a:pt x="444" y="635"/>
                      </a:lnTo>
                      <a:lnTo>
                        <a:pt x="462" y="626"/>
                      </a:lnTo>
                      <a:lnTo>
                        <a:pt x="478" y="617"/>
                      </a:lnTo>
                      <a:lnTo>
                        <a:pt x="494" y="606"/>
                      </a:lnTo>
                      <a:lnTo>
                        <a:pt x="511" y="595"/>
                      </a:lnTo>
                      <a:lnTo>
                        <a:pt x="526" y="583"/>
                      </a:lnTo>
                      <a:lnTo>
                        <a:pt x="541" y="570"/>
                      </a:lnTo>
                      <a:lnTo>
                        <a:pt x="555" y="556"/>
                      </a:lnTo>
                      <a:lnTo>
                        <a:pt x="555" y="556"/>
                      </a:lnTo>
                      <a:lnTo>
                        <a:pt x="569" y="541"/>
                      </a:lnTo>
                      <a:lnTo>
                        <a:pt x="583" y="526"/>
                      </a:lnTo>
                      <a:lnTo>
                        <a:pt x="595" y="510"/>
                      </a:lnTo>
                      <a:lnTo>
                        <a:pt x="605" y="495"/>
                      </a:lnTo>
                      <a:lnTo>
                        <a:pt x="616" y="478"/>
                      </a:lnTo>
                      <a:lnTo>
                        <a:pt x="626" y="461"/>
                      </a:lnTo>
                      <a:lnTo>
                        <a:pt x="634" y="445"/>
                      </a:lnTo>
                      <a:lnTo>
                        <a:pt x="642" y="428"/>
                      </a:lnTo>
                      <a:lnTo>
                        <a:pt x="650" y="410"/>
                      </a:lnTo>
                      <a:lnTo>
                        <a:pt x="656" y="392"/>
                      </a:lnTo>
                      <a:lnTo>
                        <a:pt x="660" y="374"/>
                      </a:lnTo>
                      <a:lnTo>
                        <a:pt x="665" y="355"/>
                      </a:lnTo>
                      <a:lnTo>
                        <a:pt x="669" y="337"/>
                      </a:lnTo>
                      <a:lnTo>
                        <a:pt x="671" y="318"/>
                      </a:lnTo>
                      <a:lnTo>
                        <a:pt x="674" y="300"/>
                      </a:lnTo>
                      <a:lnTo>
                        <a:pt x="675" y="281"/>
                      </a:lnTo>
                      <a:lnTo>
                        <a:pt x="675" y="261"/>
                      </a:lnTo>
                      <a:lnTo>
                        <a:pt x="674" y="243"/>
                      </a:lnTo>
                      <a:lnTo>
                        <a:pt x="672" y="224"/>
                      </a:lnTo>
                      <a:lnTo>
                        <a:pt x="670" y="206"/>
                      </a:lnTo>
                      <a:lnTo>
                        <a:pt x="666" y="187"/>
                      </a:lnTo>
                      <a:lnTo>
                        <a:pt x="663" y="169"/>
                      </a:lnTo>
                      <a:lnTo>
                        <a:pt x="657" y="151"/>
                      </a:lnTo>
                      <a:lnTo>
                        <a:pt x="651" y="133"/>
                      </a:lnTo>
                      <a:lnTo>
                        <a:pt x="645" y="115"/>
                      </a:lnTo>
                      <a:lnTo>
                        <a:pt x="636" y="97"/>
                      </a:lnTo>
                      <a:lnTo>
                        <a:pt x="628" y="81"/>
                      </a:lnTo>
                      <a:lnTo>
                        <a:pt x="620" y="64"/>
                      </a:lnTo>
                      <a:lnTo>
                        <a:pt x="609" y="47"/>
                      </a:lnTo>
                      <a:lnTo>
                        <a:pt x="598" y="30"/>
                      </a:lnTo>
                      <a:lnTo>
                        <a:pt x="586" y="15"/>
                      </a:lnTo>
                      <a:lnTo>
                        <a:pt x="573" y="0"/>
                      </a:lnTo>
                      <a:lnTo>
                        <a:pt x="57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27" name="Freeform 92"/>
                <p:cNvSpPr>
                  <a:spLocks/>
                </p:cNvSpPr>
                <p:nvPr/>
              </p:nvSpPr>
              <p:spPr bwMode="auto">
                <a:xfrm>
                  <a:off x="15822613" y="-1260475"/>
                  <a:ext cx="284163" cy="195263"/>
                </a:xfrm>
                <a:custGeom>
                  <a:avLst/>
                  <a:gdLst>
                    <a:gd name="T0" fmla="*/ 536 w 536"/>
                    <a:gd name="T1" fmla="*/ 100 h 368"/>
                    <a:gd name="T2" fmla="*/ 536 w 536"/>
                    <a:gd name="T3" fmla="*/ 100 h 368"/>
                    <a:gd name="T4" fmla="*/ 522 w 536"/>
                    <a:gd name="T5" fmla="*/ 88 h 368"/>
                    <a:gd name="T6" fmla="*/ 506 w 536"/>
                    <a:gd name="T7" fmla="*/ 76 h 368"/>
                    <a:gd name="T8" fmla="*/ 490 w 536"/>
                    <a:gd name="T9" fmla="*/ 65 h 368"/>
                    <a:gd name="T10" fmla="*/ 475 w 536"/>
                    <a:gd name="T11" fmla="*/ 56 h 368"/>
                    <a:gd name="T12" fmla="*/ 459 w 536"/>
                    <a:gd name="T13" fmla="*/ 47 h 368"/>
                    <a:gd name="T14" fmla="*/ 443 w 536"/>
                    <a:gd name="T15" fmla="*/ 39 h 368"/>
                    <a:gd name="T16" fmla="*/ 426 w 536"/>
                    <a:gd name="T17" fmla="*/ 31 h 368"/>
                    <a:gd name="T18" fmla="*/ 409 w 536"/>
                    <a:gd name="T19" fmla="*/ 25 h 368"/>
                    <a:gd name="T20" fmla="*/ 392 w 536"/>
                    <a:gd name="T21" fmla="*/ 19 h 368"/>
                    <a:gd name="T22" fmla="*/ 374 w 536"/>
                    <a:gd name="T23" fmla="*/ 14 h 368"/>
                    <a:gd name="T24" fmla="*/ 356 w 536"/>
                    <a:gd name="T25" fmla="*/ 9 h 368"/>
                    <a:gd name="T26" fmla="*/ 340 w 536"/>
                    <a:gd name="T27" fmla="*/ 6 h 368"/>
                    <a:gd name="T28" fmla="*/ 322 w 536"/>
                    <a:gd name="T29" fmla="*/ 3 h 368"/>
                    <a:gd name="T30" fmla="*/ 304 w 536"/>
                    <a:gd name="T31" fmla="*/ 1 h 368"/>
                    <a:gd name="T32" fmla="*/ 286 w 536"/>
                    <a:gd name="T33" fmla="*/ 0 h 368"/>
                    <a:gd name="T34" fmla="*/ 268 w 536"/>
                    <a:gd name="T35" fmla="*/ 0 h 368"/>
                    <a:gd name="T36" fmla="*/ 250 w 536"/>
                    <a:gd name="T37" fmla="*/ 0 h 368"/>
                    <a:gd name="T38" fmla="*/ 232 w 536"/>
                    <a:gd name="T39" fmla="*/ 1 h 368"/>
                    <a:gd name="T40" fmla="*/ 214 w 536"/>
                    <a:gd name="T41" fmla="*/ 3 h 368"/>
                    <a:gd name="T42" fmla="*/ 196 w 536"/>
                    <a:gd name="T43" fmla="*/ 6 h 368"/>
                    <a:gd name="T44" fmla="*/ 178 w 536"/>
                    <a:gd name="T45" fmla="*/ 9 h 368"/>
                    <a:gd name="T46" fmla="*/ 161 w 536"/>
                    <a:gd name="T47" fmla="*/ 14 h 368"/>
                    <a:gd name="T48" fmla="*/ 143 w 536"/>
                    <a:gd name="T49" fmla="*/ 19 h 368"/>
                    <a:gd name="T50" fmla="*/ 127 w 536"/>
                    <a:gd name="T51" fmla="*/ 25 h 368"/>
                    <a:gd name="T52" fmla="*/ 110 w 536"/>
                    <a:gd name="T53" fmla="*/ 31 h 368"/>
                    <a:gd name="T54" fmla="*/ 93 w 536"/>
                    <a:gd name="T55" fmla="*/ 39 h 368"/>
                    <a:gd name="T56" fmla="*/ 76 w 536"/>
                    <a:gd name="T57" fmla="*/ 47 h 368"/>
                    <a:gd name="T58" fmla="*/ 60 w 536"/>
                    <a:gd name="T59" fmla="*/ 56 h 368"/>
                    <a:gd name="T60" fmla="*/ 44 w 536"/>
                    <a:gd name="T61" fmla="*/ 65 h 368"/>
                    <a:gd name="T62" fmla="*/ 28 w 536"/>
                    <a:gd name="T63" fmla="*/ 76 h 368"/>
                    <a:gd name="T64" fmla="*/ 14 w 536"/>
                    <a:gd name="T65" fmla="*/ 88 h 368"/>
                    <a:gd name="T66" fmla="*/ 0 w 536"/>
                    <a:gd name="T67" fmla="*/ 100 h 368"/>
                    <a:gd name="T68" fmla="*/ 268 w 536"/>
                    <a:gd name="T69" fmla="*/ 368 h 368"/>
                    <a:gd name="T70" fmla="*/ 536 w 536"/>
                    <a:gd name="T71" fmla="*/ 10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6" h="368">
                      <a:moveTo>
                        <a:pt x="536" y="100"/>
                      </a:moveTo>
                      <a:lnTo>
                        <a:pt x="536" y="100"/>
                      </a:lnTo>
                      <a:lnTo>
                        <a:pt x="522" y="88"/>
                      </a:lnTo>
                      <a:lnTo>
                        <a:pt x="506" y="76"/>
                      </a:lnTo>
                      <a:lnTo>
                        <a:pt x="490" y="65"/>
                      </a:lnTo>
                      <a:lnTo>
                        <a:pt x="475" y="56"/>
                      </a:lnTo>
                      <a:lnTo>
                        <a:pt x="459" y="47"/>
                      </a:lnTo>
                      <a:lnTo>
                        <a:pt x="443" y="39"/>
                      </a:lnTo>
                      <a:lnTo>
                        <a:pt x="426" y="31"/>
                      </a:lnTo>
                      <a:lnTo>
                        <a:pt x="409" y="25"/>
                      </a:lnTo>
                      <a:lnTo>
                        <a:pt x="392" y="19"/>
                      </a:lnTo>
                      <a:lnTo>
                        <a:pt x="374" y="14"/>
                      </a:lnTo>
                      <a:lnTo>
                        <a:pt x="356" y="9"/>
                      </a:lnTo>
                      <a:lnTo>
                        <a:pt x="340" y="6"/>
                      </a:lnTo>
                      <a:lnTo>
                        <a:pt x="322" y="3"/>
                      </a:lnTo>
                      <a:lnTo>
                        <a:pt x="304" y="1"/>
                      </a:lnTo>
                      <a:lnTo>
                        <a:pt x="286" y="0"/>
                      </a:lnTo>
                      <a:lnTo>
                        <a:pt x="268" y="0"/>
                      </a:lnTo>
                      <a:lnTo>
                        <a:pt x="250" y="0"/>
                      </a:lnTo>
                      <a:lnTo>
                        <a:pt x="232" y="1"/>
                      </a:lnTo>
                      <a:lnTo>
                        <a:pt x="214" y="3"/>
                      </a:lnTo>
                      <a:lnTo>
                        <a:pt x="196" y="6"/>
                      </a:lnTo>
                      <a:lnTo>
                        <a:pt x="178" y="9"/>
                      </a:lnTo>
                      <a:lnTo>
                        <a:pt x="161" y="14"/>
                      </a:lnTo>
                      <a:lnTo>
                        <a:pt x="143" y="19"/>
                      </a:lnTo>
                      <a:lnTo>
                        <a:pt x="127" y="25"/>
                      </a:lnTo>
                      <a:lnTo>
                        <a:pt x="110" y="31"/>
                      </a:lnTo>
                      <a:lnTo>
                        <a:pt x="93" y="39"/>
                      </a:lnTo>
                      <a:lnTo>
                        <a:pt x="76" y="47"/>
                      </a:lnTo>
                      <a:lnTo>
                        <a:pt x="60" y="56"/>
                      </a:lnTo>
                      <a:lnTo>
                        <a:pt x="44" y="65"/>
                      </a:lnTo>
                      <a:lnTo>
                        <a:pt x="28" y="76"/>
                      </a:lnTo>
                      <a:lnTo>
                        <a:pt x="14" y="88"/>
                      </a:lnTo>
                      <a:lnTo>
                        <a:pt x="0" y="100"/>
                      </a:lnTo>
                      <a:lnTo>
                        <a:pt x="268" y="368"/>
                      </a:lnTo>
                      <a:lnTo>
                        <a:pt x="53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28" name="Freeform 93"/>
                <p:cNvSpPr>
                  <a:spLocks/>
                </p:cNvSpPr>
                <p:nvPr/>
              </p:nvSpPr>
              <p:spPr bwMode="auto">
                <a:xfrm>
                  <a:off x="15757526" y="-1187450"/>
                  <a:ext cx="65088" cy="85725"/>
                </a:xfrm>
                <a:custGeom>
                  <a:avLst/>
                  <a:gdLst>
                    <a:gd name="T0" fmla="*/ 86 w 125"/>
                    <a:gd name="T1" fmla="*/ 0 h 162"/>
                    <a:gd name="T2" fmla="*/ 86 w 125"/>
                    <a:gd name="T3" fmla="*/ 0 h 162"/>
                    <a:gd name="T4" fmla="*/ 72 w 125"/>
                    <a:gd name="T5" fmla="*/ 18 h 162"/>
                    <a:gd name="T6" fmla="*/ 58 w 125"/>
                    <a:gd name="T7" fmla="*/ 38 h 162"/>
                    <a:gd name="T8" fmla="*/ 45 w 125"/>
                    <a:gd name="T9" fmla="*/ 57 h 162"/>
                    <a:gd name="T10" fmla="*/ 34 w 125"/>
                    <a:gd name="T11" fmla="*/ 77 h 162"/>
                    <a:gd name="T12" fmla="*/ 23 w 125"/>
                    <a:gd name="T13" fmla="*/ 97 h 162"/>
                    <a:gd name="T14" fmla="*/ 15 w 125"/>
                    <a:gd name="T15" fmla="*/ 119 h 162"/>
                    <a:gd name="T16" fmla="*/ 6 w 125"/>
                    <a:gd name="T17" fmla="*/ 139 h 162"/>
                    <a:gd name="T18" fmla="*/ 0 w 125"/>
                    <a:gd name="T19" fmla="*/ 162 h 162"/>
                    <a:gd name="T20" fmla="*/ 125 w 125"/>
                    <a:gd name="T21" fmla="*/ 38 h 162"/>
                    <a:gd name="T22" fmla="*/ 86 w 125"/>
                    <a:gd name="T2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62">
                      <a:moveTo>
                        <a:pt x="86" y="0"/>
                      </a:moveTo>
                      <a:lnTo>
                        <a:pt x="86" y="0"/>
                      </a:lnTo>
                      <a:lnTo>
                        <a:pt x="72" y="18"/>
                      </a:lnTo>
                      <a:lnTo>
                        <a:pt x="58" y="38"/>
                      </a:lnTo>
                      <a:lnTo>
                        <a:pt x="45" y="57"/>
                      </a:lnTo>
                      <a:lnTo>
                        <a:pt x="34" y="77"/>
                      </a:lnTo>
                      <a:lnTo>
                        <a:pt x="23" y="97"/>
                      </a:lnTo>
                      <a:lnTo>
                        <a:pt x="15" y="119"/>
                      </a:lnTo>
                      <a:lnTo>
                        <a:pt x="6" y="139"/>
                      </a:lnTo>
                      <a:lnTo>
                        <a:pt x="0" y="162"/>
                      </a:lnTo>
                      <a:lnTo>
                        <a:pt x="125" y="38"/>
                      </a:lnTo>
                      <a:lnTo>
                        <a:pt x="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029" name="Freeform 94"/>
                <p:cNvSpPr>
                  <a:spLocks/>
                </p:cNvSpPr>
                <p:nvPr/>
              </p:nvSpPr>
              <p:spPr bwMode="auto">
                <a:xfrm>
                  <a:off x="15759113" y="-1106488"/>
                  <a:ext cx="144463" cy="153988"/>
                </a:xfrm>
                <a:custGeom>
                  <a:avLst/>
                  <a:gdLst>
                    <a:gd name="T0" fmla="*/ 234 w 274"/>
                    <a:gd name="T1" fmla="*/ 0 h 292"/>
                    <a:gd name="T2" fmla="*/ 0 w 274"/>
                    <a:gd name="T3" fmla="*/ 236 h 292"/>
                    <a:gd name="T4" fmla="*/ 0 w 274"/>
                    <a:gd name="T5" fmla="*/ 236 h 292"/>
                    <a:gd name="T6" fmla="*/ 9 w 274"/>
                    <a:gd name="T7" fmla="*/ 265 h 292"/>
                    <a:gd name="T8" fmla="*/ 21 w 274"/>
                    <a:gd name="T9" fmla="*/ 292 h 292"/>
                    <a:gd name="T10" fmla="*/ 274 w 274"/>
                    <a:gd name="T11" fmla="*/ 40 h 292"/>
                    <a:gd name="T12" fmla="*/ 234 w 274"/>
                    <a:gd name="T13" fmla="*/ 0 h 292"/>
                  </a:gdLst>
                  <a:ahLst/>
                  <a:cxnLst>
                    <a:cxn ang="0">
                      <a:pos x="T0" y="T1"/>
                    </a:cxn>
                    <a:cxn ang="0">
                      <a:pos x="T2" y="T3"/>
                    </a:cxn>
                    <a:cxn ang="0">
                      <a:pos x="T4" y="T5"/>
                    </a:cxn>
                    <a:cxn ang="0">
                      <a:pos x="T6" y="T7"/>
                    </a:cxn>
                    <a:cxn ang="0">
                      <a:pos x="T8" y="T9"/>
                    </a:cxn>
                    <a:cxn ang="0">
                      <a:pos x="T10" y="T11"/>
                    </a:cxn>
                    <a:cxn ang="0">
                      <a:pos x="T12" y="T13"/>
                    </a:cxn>
                  </a:cxnLst>
                  <a:rect l="0" t="0" r="r" b="b"/>
                  <a:pathLst>
                    <a:path w="274" h="292">
                      <a:moveTo>
                        <a:pt x="234" y="0"/>
                      </a:moveTo>
                      <a:lnTo>
                        <a:pt x="0" y="236"/>
                      </a:lnTo>
                      <a:lnTo>
                        <a:pt x="0" y="236"/>
                      </a:lnTo>
                      <a:lnTo>
                        <a:pt x="9" y="265"/>
                      </a:lnTo>
                      <a:lnTo>
                        <a:pt x="21" y="292"/>
                      </a:lnTo>
                      <a:lnTo>
                        <a:pt x="274" y="40"/>
                      </a:lnTo>
                      <a:lnTo>
                        <a:pt x="2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952" name="Rectangle 1951"/>
              <p:cNvSpPr/>
              <p:nvPr/>
            </p:nvSpPr>
            <p:spPr bwMode="auto">
              <a:xfrm>
                <a:off x="361451" y="2245845"/>
                <a:ext cx="70342" cy="12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53" name="Rectangle 1952"/>
              <p:cNvSpPr/>
              <p:nvPr/>
            </p:nvSpPr>
            <p:spPr bwMode="auto">
              <a:xfrm>
                <a:off x="361451" y="2271538"/>
                <a:ext cx="70342" cy="12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54" name="Rectangle 1953"/>
              <p:cNvSpPr/>
              <p:nvPr/>
            </p:nvSpPr>
            <p:spPr bwMode="auto">
              <a:xfrm>
                <a:off x="361451" y="2297231"/>
                <a:ext cx="70342" cy="12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66" name="Group 65"/>
            <p:cNvGrpSpPr/>
            <p:nvPr/>
          </p:nvGrpSpPr>
          <p:grpSpPr>
            <a:xfrm>
              <a:off x="1001316" y="2197066"/>
              <a:ext cx="198108" cy="159188"/>
              <a:chOff x="897659" y="2207542"/>
              <a:chExt cx="198108" cy="159188"/>
            </a:xfrm>
          </p:grpSpPr>
          <p:sp>
            <p:nvSpPr>
              <p:cNvPr id="1949" name="Rectangle 1948"/>
              <p:cNvSpPr/>
              <p:nvPr/>
            </p:nvSpPr>
            <p:spPr bwMode="auto">
              <a:xfrm>
                <a:off x="897659" y="2207542"/>
                <a:ext cx="198108" cy="159188"/>
              </a:xfrm>
              <a:prstGeom prst="rect">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60" name="Freeform 29"/>
              <p:cNvSpPr>
                <a:spLocks noEditPoints="1"/>
              </p:cNvSpPr>
              <p:nvPr/>
            </p:nvSpPr>
            <p:spPr bwMode="auto">
              <a:xfrm>
                <a:off x="930353" y="2242297"/>
                <a:ext cx="135625" cy="91348"/>
              </a:xfrm>
              <a:custGeom>
                <a:avLst/>
                <a:gdLst>
                  <a:gd name="T0" fmla="*/ 10 w 548"/>
                  <a:gd name="T1" fmla="*/ 485 h 485"/>
                  <a:gd name="T2" fmla="*/ 528 w 548"/>
                  <a:gd name="T3" fmla="*/ 338 h 485"/>
                  <a:gd name="T4" fmla="*/ 476 w 548"/>
                  <a:gd name="T5" fmla="*/ 271 h 485"/>
                  <a:gd name="T6" fmla="*/ 410 w 548"/>
                  <a:gd name="T7" fmla="*/ 213 h 485"/>
                  <a:gd name="T8" fmla="*/ 410 w 548"/>
                  <a:gd name="T9" fmla="*/ 279 h 485"/>
                  <a:gd name="T10" fmla="*/ 402 w 548"/>
                  <a:gd name="T11" fmla="*/ 338 h 485"/>
                  <a:gd name="T12" fmla="*/ 336 w 548"/>
                  <a:gd name="T13" fmla="*/ 404 h 485"/>
                  <a:gd name="T14" fmla="*/ 212 w 548"/>
                  <a:gd name="T15" fmla="*/ 404 h 485"/>
                  <a:gd name="T16" fmla="*/ 146 w 548"/>
                  <a:gd name="T17" fmla="*/ 346 h 485"/>
                  <a:gd name="T18" fmla="*/ 146 w 548"/>
                  <a:gd name="T19" fmla="*/ 412 h 485"/>
                  <a:gd name="T20" fmla="*/ 212 w 548"/>
                  <a:gd name="T21" fmla="*/ 412 h 485"/>
                  <a:gd name="T22" fmla="*/ 344 w 548"/>
                  <a:gd name="T23" fmla="*/ 412 h 485"/>
                  <a:gd name="T24" fmla="*/ 468 w 548"/>
                  <a:gd name="T25" fmla="*/ 412 h 485"/>
                  <a:gd name="T26" fmla="*/ 468 w 548"/>
                  <a:gd name="T27" fmla="*/ 346 h 485"/>
                  <a:gd name="T28" fmla="*/ 476 w 548"/>
                  <a:gd name="T29" fmla="*/ 404 h 485"/>
                  <a:gd name="T30" fmla="*/ 270 w 548"/>
                  <a:gd name="T31" fmla="*/ 72 h 485"/>
                  <a:gd name="T32" fmla="*/ 204 w 548"/>
                  <a:gd name="T33" fmla="*/ 72 h 485"/>
                  <a:gd name="T34" fmla="*/ 204 w 548"/>
                  <a:gd name="T35" fmla="*/ 138 h 485"/>
                  <a:gd name="T36" fmla="*/ 80 w 548"/>
                  <a:gd name="T37" fmla="*/ 20 h 485"/>
                  <a:gd name="T38" fmla="*/ 80 w 548"/>
                  <a:gd name="T39" fmla="*/ 80 h 485"/>
                  <a:gd name="T40" fmla="*/ 72 w 548"/>
                  <a:gd name="T41" fmla="*/ 138 h 485"/>
                  <a:gd name="T42" fmla="*/ 20 w 548"/>
                  <a:gd name="T43" fmla="*/ 279 h 485"/>
                  <a:gd name="T44" fmla="*/ 20 w 548"/>
                  <a:gd name="T45" fmla="*/ 213 h 485"/>
                  <a:gd name="T46" fmla="*/ 138 w 548"/>
                  <a:gd name="T47" fmla="*/ 271 h 485"/>
                  <a:gd name="T48" fmla="*/ 138 w 548"/>
                  <a:gd name="T49" fmla="*/ 205 h 485"/>
                  <a:gd name="T50" fmla="*/ 146 w 548"/>
                  <a:gd name="T51" fmla="*/ 146 h 485"/>
                  <a:gd name="T52" fmla="*/ 212 w 548"/>
                  <a:gd name="T53" fmla="*/ 138 h 485"/>
                  <a:gd name="T54" fmla="*/ 336 w 548"/>
                  <a:gd name="T55" fmla="*/ 80 h 485"/>
                  <a:gd name="T56" fmla="*/ 402 w 548"/>
                  <a:gd name="T57" fmla="*/ 138 h 485"/>
                  <a:gd name="T58" fmla="*/ 402 w 548"/>
                  <a:gd name="T59" fmla="*/ 72 h 485"/>
                  <a:gd name="T60" fmla="*/ 72 w 548"/>
                  <a:gd name="T61" fmla="*/ 20 h 485"/>
                  <a:gd name="T62" fmla="*/ 389 w 548"/>
                  <a:gd name="T63" fmla="*/ 209 h 485"/>
                  <a:gd name="T64" fmla="*/ 505 w 548"/>
                  <a:gd name="T65" fmla="*/ 76 h 485"/>
                  <a:gd name="T66" fmla="*/ 504 w 548"/>
                  <a:gd name="T67" fmla="*/ 70 h 485"/>
                  <a:gd name="T68" fmla="*/ 500 w 548"/>
                  <a:gd name="T69" fmla="*/ 66 h 485"/>
                  <a:gd name="T70" fmla="*/ 493 w 548"/>
                  <a:gd name="T71" fmla="*/ 64 h 485"/>
                  <a:gd name="T72" fmla="*/ 429 w 548"/>
                  <a:gd name="T73" fmla="*/ 90 h 485"/>
                  <a:gd name="T74" fmla="*/ 249 w 548"/>
                  <a:gd name="T75" fmla="*/ 278 h 485"/>
                  <a:gd name="T76" fmla="*/ 41 w 548"/>
                  <a:gd name="T77" fmla="*/ 412 h 485"/>
                  <a:gd name="T78" fmla="*/ 80 w 548"/>
                  <a:gd name="T79" fmla="*/ 364 h 485"/>
                  <a:gd name="T80" fmla="*/ 138 w 548"/>
                  <a:gd name="T81" fmla="*/ 279 h 485"/>
                  <a:gd name="T82" fmla="*/ 146 w 548"/>
                  <a:gd name="T83" fmla="*/ 271 h 485"/>
                  <a:gd name="T84" fmla="*/ 270 w 548"/>
                  <a:gd name="T85" fmla="*/ 213 h 485"/>
                  <a:gd name="T86" fmla="*/ 278 w 548"/>
                  <a:gd name="T87" fmla="*/ 205 h 485"/>
                  <a:gd name="T88" fmla="*/ 344 w 548"/>
                  <a:gd name="T89" fmla="*/ 146 h 485"/>
                  <a:gd name="T90" fmla="*/ 418 w 548"/>
                  <a:gd name="T91" fmla="*/ 138 h 485"/>
                  <a:gd name="T92" fmla="*/ 410 w 548"/>
                  <a:gd name="T93" fmla="*/ 20 h 485"/>
                  <a:gd name="T94" fmla="*/ 528 w 548"/>
                  <a:gd name="T95" fmla="*/ 72 h 485"/>
                  <a:gd name="T96" fmla="*/ 528 w 548"/>
                  <a:gd name="T97" fmla="*/ 80 h 485"/>
                  <a:gd name="T98" fmla="*/ 476 w 548"/>
                  <a:gd name="T99" fmla="*/ 205 h 485"/>
                  <a:gd name="T100" fmla="*/ 468 w 548"/>
                  <a:gd name="T101" fmla="*/ 205 h 485"/>
                  <a:gd name="T102" fmla="*/ 344 w 548"/>
                  <a:gd name="T103" fmla="*/ 218 h 485"/>
                  <a:gd name="T104" fmla="*/ 336 w 548"/>
                  <a:gd name="T105" fmla="*/ 338 h 485"/>
                  <a:gd name="T106" fmla="*/ 212 w 548"/>
                  <a:gd name="T107" fmla="*/ 293 h 485"/>
                  <a:gd name="T108" fmla="*/ 99 w 548"/>
                  <a:gd name="T109" fmla="*/ 404 h 485"/>
                  <a:gd name="T110" fmla="*/ 72 w 548"/>
                  <a:gd name="T111" fmla="*/ 438 h 485"/>
                  <a:gd name="T112" fmla="*/ 528 w 548"/>
                  <a:gd name="T113" fmla="*/ 41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8" h="485">
                    <a:moveTo>
                      <a:pt x="538" y="0"/>
                    </a:moveTo>
                    <a:cubicBezTo>
                      <a:pt x="10" y="0"/>
                      <a:pt x="10" y="0"/>
                      <a:pt x="10" y="0"/>
                    </a:cubicBezTo>
                    <a:cubicBezTo>
                      <a:pt x="4" y="0"/>
                      <a:pt x="0" y="4"/>
                      <a:pt x="0" y="10"/>
                    </a:cubicBezTo>
                    <a:cubicBezTo>
                      <a:pt x="0" y="465"/>
                      <a:pt x="0" y="465"/>
                      <a:pt x="0" y="465"/>
                    </a:cubicBezTo>
                    <a:cubicBezTo>
                      <a:pt x="0" y="475"/>
                      <a:pt x="0" y="475"/>
                      <a:pt x="0" y="475"/>
                    </a:cubicBezTo>
                    <a:cubicBezTo>
                      <a:pt x="0" y="480"/>
                      <a:pt x="4" y="485"/>
                      <a:pt x="10" y="485"/>
                    </a:cubicBezTo>
                    <a:cubicBezTo>
                      <a:pt x="35" y="485"/>
                      <a:pt x="35" y="485"/>
                      <a:pt x="35" y="485"/>
                    </a:cubicBezTo>
                    <a:cubicBezTo>
                      <a:pt x="538" y="485"/>
                      <a:pt x="538" y="485"/>
                      <a:pt x="538" y="485"/>
                    </a:cubicBezTo>
                    <a:cubicBezTo>
                      <a:pt x="544" y="485"/>
                      <a:pt x="548" y="480"/>
                      <a:pt x="548" y="475"/>
                    </a:cubicBezTo>
                    <a:cubicBezTo>
                      <a:pt x="548" y="10"/>
                      <a:pt x="548" y="10"/>
                      <a:pt x="548" y="10"/>
                    </a:cubicBezTo>
                    <a:cubicBezTo>
                      <a:pt x="548" y="4"/>
                      <a:pt x="544" y="0"/>
                      <a:pt x="538" y="0"/>
                    </a:cubicBezTo>
                    <a:close/>
                    <a:moveTo>
                      <a:pt x="528" y="338"/>
                    </a:moveTo>
                    <a:cubicBezTo>
                      <a:pt x="476" y="338"/>
                      <a:pt x="476" y="338"/>
                      <a:pt x="476" y="338"/>
                    </a:cubicBezTo>
                    <a:cubicBezTo>
                      <a:pt x="476" y="279"/>
                      <a:pt x="476" y="279"/>
                      <a:pt x="476" y="279"/>
                    </a:cubicBezTo>
                    <a:cubicBezTo>
                      <a:pt x="528" y="279"/>
                      <a:pt x="528" y="279"/>
                      <a:pt x="528" y="279"/>
                    </a:cubicBezTo>
                    <a:cubicBezTo>
                      <a:pt x="528" y="299"/>
                      <a:pt x="528" y="319"/>
                      <a:pt x="528" y="338"/>
                    </a:cubicBezTo>
                    <a:close/>
                    <a:moveTo>
                      <a:pt x="528" y="271"/>
                    </a:moveTo>
                    <a:cubicBezTo>
                      <a:pt x="476" y="271"/>
                      <a:pt x="476" y="271"/>
                      <a:pt x="476" y="271"/>
                    </a:cubicBezTo>
                    <a:cubicBezTo>
                      <a:pt x="476" y="213"/>
                      <a:pt x="476" y="213"/>
                      <a:pt x="476" y="213"/>
                    </a:cubicBezTo>
                    <a:cubicBezTo>
                      <a:pt x="528" y="213"/>
                      <a:pt x="528" y="213"/>
                      <a:pt x="528" y="213"/>
                    </a:cubicBezTo>
                    <a:cubicBezTo>
                      <a:pt x="528" y="232"/>
                      <a:pt x="528" y="252"/>
                      <a:pt x="528" y="271"/>
                    </a:cubicBezTo>
                    <a:close/>
                    <a:moveTo>
                      <a:pt x="468" y="271"/>
                    </a:moveTo>
                    <a:cubicBezTo>
                      <a:pt x="410" y="271"/>
                      <a:pt x="410" y="271"/>
                      <a:pt x="410" y="271"/>
                    </a:cubicBezTo>
                    <a:cubicBezTo>
                      <a:pt x="410" y="213"/>
                      <a:pt x="410" y="213"/>
                      <a:pt x="410" y="213"/>
                    </a:cubicBezTo>
                    <a:cubicBezTo>
                      <a:pt x="468" y="213"/>
                      <a:pt x="468" y="213"/>
                      <a:pt x="468" y="213"/>
                    </a:cubicBezTo>
                    <a:lnTo>
                      <a:pt x="468" y="271"/>
                    </a:lnTo>
                    <a:close/>
                    <a:moveTo>
                      <a:pt x="468" y="279"/>
                    </a:moveTo>
                    <a:cubicBezTo>
                      <a:pt x="468" y="338"/>
                      <a:pt x="468" y="338"/>
                      <a:pt x="468" y="338"/>
                    </a:cubicBezTo>
                    <a:cubicBezTo>
                      <a:pt x="410" y="338"/>
                      <a:pt x="410" y="338"/>
                      <a:pt x="410" y="338"/>
                    </a:cubicBezTo>
                    <a:cubicBezTo>
                      <a:pt x="410" y="279"/>
                      <a:pt x="410" y="279"/>
                      <a:pt x="410" y="279"/>
                    </a:cubicBezTo>
                    <a:lnTo>
                      <a:pt x="468" y="279"/>
                    </a:lnTo>
                    <a:close/>
                    <a:moveTo>
                      <a:pt x="402" y="338"/>
                    </a:moveTo>
                    <a:cubicBezTo>
                      <a:pt x="344" y="338"/>
                      <a:pt x="344" y="338"/>
                      <a:pt x="344" y="338"/>
                    </a:cubicBezTo>
                    <a:cubicBezTo>
                      <a:pt x="344" y="279"/>
                      <a:pt x="344" y="279"/>
                      <a:pt x="344" y="279"/>
                    </a:cubicBezTo>
                    <a:cubicBezTo>
                      <a:pt x="402" y="279"/>
                      <a:pt x="402" y="279"/>
                      <a:pt x="402" y="279"/>
                    </a:cubicBezTo>
                    <a:lnTo>
                      <a:pt x="402" y="338"/>
                    </a:lnTo>
                    <a:close/>
                    <a:moveTo>
                      <a:pt x="402" y="346"/>
                    </a:moveTo>
                    <a:cubicBezTo>
                      <a:pt x="402" y="404"/>
                      <a:pt x="402" y="404"/>
                      <a:pt x="402" y="404"/>
                    </a:cubicBezTo>
                    <a:cubicBezTo>
                      <a:pt x="344" y="404"/>
                      <a:pt x="344" y="404"/>
                      <a:pt x="344" y="404"/>
                    </a:cubicBezTo>
                    <a:cubicBezTo>
                      <a:pt x="344" y="346"/>
                      <a:pt x="344" y="346"/>
                      <a:pt x="344" y="346"/>
                    </a:cubicBezTo>
                    <a:lnTo>
                      <a:pt x="402" y="346"/>
                    </a:lnTo>
                    <a:close/>
                    <a:moveTo>
                      <a:pt x="336" y="404"/>
                    </a:moveTo>
                    <a:cubicBezTo>
                      <a:pt x="278" y="404"/>
                      <a:pt x="278" y="404"/>
                      <a:pt x="278" y="404"/>
                    </a:cubicBezTo>
                    <a:cubicBezTo>
                      <a:pt x="278" y="346"/>
                      <a:pt x="278" y="346"/>
                      <a:pt x="278" y="346"/>
                    </a:cubicBezTo>
                    <a:cubicBezTo>
                      <a:pt x="336" y="346"/>
                      <a:pt x="336" y="346"/>
                      <a:pt x="336" y="346"/>
                    </a:cubicBezTo>
                    <a:lnTo>
                      <a:pt x="336" y="404"/>
                    </a:lnTo>
                    <a:close/>
                    <a:moveTo>
                      <a:pt x="270" y="404"/>
                    </a:moveTo>
                    <a:cubicBezTo>
                      <a:pt x="212" y="404"/>
                      <a:pt x="212" y="404"/>
                      <a:pt x="212" y="404"/>
                    </a:cubicBezTo>
                    <a:cubicBezTo>
                      <a:pt x="212" y="346"/>
                      <a:pt x="212" y="346"/>
                      <a:pt x="212" y="346"/>
                    </a:cubicBezTo>
                    <a:cubicBezTo>
                      <a:pt x="270" y="346"/>
                      <a:pt x="270" y="346"/>
                      <a:pt x="270" y="346"/>
                    </a:cubicBezTo>
                    <a:lnTo>
                      <a:pt x="270" y="404"/>
                    </a:lnTo>
                    <a:close/>
                    <a:moveTo>
                      <a:pt x="204" y="404"/>
                    </a:moveTo>
                    <a:cubicBezTo>
                      <a:pt x="146" y="404"/>
                      <a:pt x="146" y="404"/>
                      <a:pt x="146" y="404"/>
                    </a:cubicBezTo>
                    <a:cubicBezTo>
                      <a:pt x="146" y="346"/>
                      <a:pt x="146" y="346"/>
                      <a:pt x="146" y="346"/>
                    </a:cubicBezTo>
                    <a:cubicBezTo>
                      <a:pt x="204" y="346"/>
                      <a:pt x="204" y="346"/>
                      <a:pt x="204" y="346"/>
                    </a:cubicBezTo>
                    <a:lnTo>
                      <a:pt x="204" y="404"/>
                    </a:lnTo>
                    <a:close/>
                    <a:moveTo>
                      <a:pt x="204" y="412"/>
                    </a:moveTo>
                    <a:cubicBezTo>
                      <a:pt x="204" y="465"/>
                      <a:pt x="204" y="465"/>
                      <a:pt x="204" y="465"/>
                    </a:cubicBezTo>
                    <a:cubicBezTo>
                      <a:pt x="184" y="465"/>
                      <a:pt x="164" y="465"/>
                      <a:pt x="146" y="465"/>
                    </a:cubicBezTo>
                    <a:cubicBezTo>
                      <a:pt x="146" y="412"/>
                      <a:pt x="146" y="412"/>
                      <a:pt x="146" y="412"/>
                    </a:cubicBezTo>
                    <a:lnTo>
                      <a:pt x="204" y="412"/>
                    </a:lnTo>
                    <a:close/>
                    <a:moveTo>
                      <a:pt x="212" y="412"/>
                    </a:moveTo>
                    <a:cubicBezTo>
                      <a:pt x="270" y="412"/>
                      <a:pt x="270" y="412"/>
                      <a:pt x="270" y="412"/>
                    </a:cubicBezTo>
                    <a:cubicBezTo>
                      <a:pt x="270" y="465"/>
                      <a:pt x="270" y="465"/>
                      <a:pt x="270" y="465"/>
                    </a:cubicBezTo>
                    <a:cubicBezTo>
                      <a:pt x="251" y="465"/>
                      <a:pt x="231" y="465"/>
                      <a:pt x="212" y="465"/>
                    </a:cubicBezTo>
                    <a:lnTo>
                      <a:pt x="212" y="412"/>
                    </a:lnTo>
                    <a:close/>
                    <a:moveTo>
                      <a:pt x="278" y="412"/>
                    </a:moveTo>
                    <a:cubicBezTo>
                      <a:pt x="336" y="412"/>
                      <a:pt x="336" y="412"/>
                      <a:pt x="336" y="412"/>
                    </a:cubicBezTo>
                    <a:cubicBezTo>
                      <a:pt x="336" y="465"/>
                      <a:pt x="336" y="465"/>
                      <a:pt x="336" y="465"/>
                    </a:cubicBezTo>
                    <a:cubicBezTo>
                      <a:pt x="317" y="465"/>
                      <a:pt x="298" y="465"/>
                      <a:pt x="278" y="465"/>
                    </a:cubicBezTo>
                    <a:lnTo>
                      <a:pt x="278" y="412"/>
                    </a:lnTo>
                    <a:close/>
                    <a:moveTo>
                      <a:pt x="344" y="412"/>
                    </a:moveTo>
                    <a:cubicBezTo>
                      <a:pt x="402" y="412"/>
                      <a:pt x="402" y="412"/>
                      <a:pt x="402" y="412"/>
                    </a:cubicBezTo>
                    <a:cubicBezTo>
                      <a:pt x="402" y="465"/>
                      <a:pt x="402" y="465"/>
                      <a:pt x="402" y="465"/>
                    </a:cubicBezTo>
                    <a:cubicBezTo>
                      <a:pt x="384" y="465"/>
                      <a:pt x="364" y="465"/>
                      <a:pt x="344" y="465"/>
                    </a:cubicBezTo>
                    <a:lnTo>
                      <a:pt x="344" y="412"/>
                    </a:lnTo>
                    <a:close/>
                    <a:moveTo>
                      <a:pt x="410" y="412"/>
                    </a:moveTo>
                    <a:cubicBezTo>
                      <a:pt x="468" y="412"/>
                      <a:pt x="468" y="412"/>
                      <a:pt x="468" y="412"/>
                    </a:cubicBezTo>
                    <a:cubicBezTo>
                      <a:pt x="468" y="465"/>
                      <a:pt x="468" y="465"/>
                      <a:pt x="468" y="465"/>
                    </a:cubicBezTo>
                    <a:cubicBezTo>
                      <a:pt x="452" y="465"/>
                      <a:pt x="432" y="465"/>
                      <a:pt x="410" y="465"/>
                    </a:cubicBezTo>
                    <a:lnTo>
                      <a:pt x="410" y="412"/>
                    </a:lnTo>
                    <a:close/>
                    <a:moveTo>
                      <a:pt x="410" y="404"/>
                    </a:moveTo>
                    <a:cubicBezTo>
                      <a:pt x="410" y="346"/>
                      <a:pt x="410" y="346"/>
                      <a:pt x="410" y="346"/>
                    </a:cubicBezTo>
                    <a:cubicBezTo>
                      <a:pt x="468" y="346"/>
                      <a:pt x="468" y="346"/>
                      <a:pt x="468" y="346"/>
                    </a:cubicBezTo>
                    <a:cubicBezTo>
                      <a:pt x="468" y="404"/>
                      <a:pt x="468" y="404"/>
                      <a:pt x="468" y="404"/>
                    </a:cubicBezTo>
                    <a:lnTo>
                      <a:pt x="410" y="404"/>
                    </a:lnTo>
                    <a:close/>
                    <a:moveTo>
                      <a:pt x="476" y="346"/>
                    </a:moveTo>
                    <a:cubicBezTo>
                      <a:pt x="528" y="346"/>
                      <a:pt x="528" y="346"/>
                      <a:pt x="528" y="346"/>
                    </a:cubicBezTo>
                    <a:cubicBezTo>
                      <a:pt x="528" y="367"/>
                      <a:pt x="528" y="387"/>
                      <a:pt x="528" y="404"/>
                    </a:cubicBezTo>
                    <a:cubicBezTo>
                      <a:pt x="476" y="404"/>
                      <a:pt x="476" y="404"/>
                      <a:pt x="476" y="404"/>
                    </a:cubicBezTo>
                    <a:lnTo>
                      <a:pt x="476" y="346"/>
                    </a:lnTo>
                    <a:close/>
                    <a:moveTo>
                      <a:pt x="270" y="72"/>
                    </a:moveTo>
                    <a:cubicBezTo>
                      <a:pt x="212" y="72"/>
                      <a:pt x="212" y="72"/>
                      <a:pt x="212" y="72"/>
                    </a:cubicBezTo>
                    <a:cubicBezTo>
                      <a:pt x="212" y="20"/>
                      <a:pt x="212" y="20"/>
                      <a:pt x="212" y="20"/>
                    </a:cubicBezTo>
                    <a:cubicBezTo>
                      <a:pt x="231" y="20"/>
                      <a:pt x="251" y="20"/>
                      <a:pt x="270" y="20"/>
                    </a:cubicBezTo>
                    <a:lnTo>
                      <a:pt x="270" y="72"/>
                    </a:lnTo>
                    <a:close/>
                    <a:moveTo>
                      <a:pt x="278" y="20"/>
                    </a:moveTo>
                    <a:cubicBezTo>
                      <a:pt x="298" y="20"/>
                      <a:pt x="317" y="20"/>
                      <a:pt x="336" y="20"/>
                    </a:cubicBezTo>
                    <a:cubicBezTo>
                      <a:pt x="336" y="72"/>
                      <a:pt x="336" y="72"/>
                      <a:pt x="336" y="72"/>
                    </a:cubicBezTo>
                    <a:cubicBezTo>
                      <a:pt x="278" y="72"/>
                      <a:pt x="278" y="72"/>
                      <a:pt x="278" y="72"/>
                    </a:cubicBezTo>
                    <a:lnTo>
                      <a:pt x="278" y="20"/>
                    </a:lnTo>
                    <a:close/>
                    <a:moveTo>
                      <a:pt x="204" y="72"/>
                    </a:moveTo>
                    <a:cubicBezTo>
                      <a:pt x="146" y="72"/>
                      <a:pt x="146" y="72"/>
                      <a:pt x="146" y="72"/>
                    </a:cubicBezTo>
                    <a:cubicBezTo>
                      <a:pt x="146" y="20"/>
                      <a:pt x="146" y="20"/>
                      <a:pt x="146" y="20"/>
                    </a:cubicBezTo>
                    <a:cubicBezTo>
                      <a:pt x="164" y="20"/>
                      <a:pt x="184" y="20"/>
                      <a:pt x="204" y="20"/>
                    </a:cubicBezTo>
                    <a:lnTo>
                      <a:pt x="204" y="72"/>
                    </a:lnTo>
                    <a:close/>
                    <a:moveTo>
                      <a:pt x="204" y="80"/>
                    </a:moveTo>
                    <a:cubicBezTo>
                      <a:pt x="204" y="138"/>
                      <a:pt x="204" y="138"/>
                      <a:pt x="204" y="138"/>
                    </a:cubicBezTo>
                    <a:cubicBezTo>
                      <a:pt x="146" y="138"/>
                      <a:pt x="146" y="138"/>
                      <a:pt x="146" y="138"/>
                    </a:cubicBezTo>
                    <a:cubicBezTo>
                      <a:pt x="146" y="80"/>
                      <a:pt x="146" y="80"/>
                      <a:pt x="146" y="80"/>
                    </a:cubicBezTo>
                    <a:lnTo>
                      <a:pt x="204" y="80"/>
                    </a:lnTo>
                    <a:close/>
                    <a:moveTo>
                      <a:pt x="138" y="72"/>
                    </a:moveTo>
                    <a:cubicBezTo>
                      <a:pt x="80" y="72"/>
                      <a:pt x="80" y="72"/>
                      <a:pt x="80" y="72"/>
                    </a:cubicBezTo>
                    <a:cubicBezTo>
                      <a:pt x="80" y="20"/>
                      <a:pt x="80" y="20"/>
                      <a:pt x="80" y="20"/>
                    </a:cubicBezTo>
                    <a:cubicBezTo>
                      <a:pt x="97" y="20"/>
                      <a:pt x="116" y="20"/>
                      <a:pt x="138" y="20"/>
                    </a:cubicBezTo>
                    <a:lnTo>
                      <a:pt x="138" y="72"/>
                    </a:lnTo>
                    <a:close/>
                    <a:moveTo>
                      <a:pt x="138" y="80"/>
                    </a:moveTo>
                    <a:cubicBezTo>
                      <a:pt x="138" y="138"/>
                      <a:pt x="138" y="138"/>
                      <a:pt x="138" y="138"/>
                    </a:cubicBezTo>
                    <a:cubicBezTo>
                      <a:pt x="80" y="138"/>
                      <a:pt x="80" y="138"/>
                      <a:pt x="80" y="138"/>
                    </a:cubicBezTo>
                    <a:cubicBezTo>
                      <a:pt x="80" y="80"/>
                      <a:pt x="80" y="80"/>
                      <a:pt x="80" y="80"/>
                    </a:cubicBezTo>
                    <a:lnTo>
                      <a:pt x="138" y="80"/>
                    </a:lnTo>
                    <a:close/>
                    <a:moveTo>
                      <a:pt x="72" y="138"/>
                    </a:moveTo>
                    <a:cubicBezTo>
                      <a:pt x="20" y="138"/>
                      <a:pt x="20" y="138"/>
                      <a:pt x="20" y="138"/>
                    </a:cubicBezTo>
                    <a:cubicBezTo>
                      <a:pt x="20" y="117"/>
                      <a:pt x="20" y="97"/>
                      <a:pt x="20" y="80"/>
                    </a:cubicBezTo>
                    <a:cubicBezTo>
                      <a:pt x="72" y="80"/>
                      <a:pt x="72" y="80"/>
                      <a:pt x="72" y="80"/>
                    </a:cubicBezTo>
                    <a:lnTo>
                      <a:pt x="72" y="138"/>
                    </a:lnTo>
                    <a:close/>
                    <a:moveTo>
                      <a:pt x="20" y="146"/>
                    </a:moveTo>
                    <a:cubicBezTo>
                      <a:pt x="72" y="146"/>
                      <a:pt x="72" y="146"/>
                      <a:pt x="72" y="146"/>
                    </a:cubicBezTo>
                    <a:cubicBezTo>
                      <a:pt x="72" y="205"/>
                      <a:pt x="72" y="205"/>
                      <a:pt x="72" y="205"/>
                    </a:cubicBezTo>
                    <a:cubicBezTo>
                      <a:pt x="20" y="205"/>
                      <a:pt x="20" y="205"/>
                      <a:pt x="20" y="205"/>
                    </a:cubicBezTo>
                    <a:cubicBezTo>
                      <a:pt x="20" y="185"/>
                      <a:pt x="20" y="165"/>
                      <a:pt x="20" y="146"/>
                    </a:cubicBezTo>
                    <a:close/>
                    <a:moveTo>
                      <a:pt x="20" y="279"/>
                    </a:moveTo>
                    <a:cubicBezTo>
                      <a:pt x="72" y="279"/>
                      <a:pt x="72" y="279"/>
                      <a:pt x="72" y="279"/>
                    </a:cubicBezTo>
                    <a:cubicBezTo>
                      <a:pt x="72" y="338"/>
                      <a:pt x="72" y="338"/>
                      <a:pt x="72" y="338"/>
                    </a:cubicBezTo>
                    <a:cubicBezTo>
                      <a:pt x="20" y="338"/>
                      <a:pt x="20" y="338"/>
                      <a:pt x="20" y="338"/>
                    </a:cubicBezTo>
                    <a:cubicBezTo>
                      <a:pt x="20" y="319"/>
                      <a:pt x="20" y="299"/>
                      <a:pt x="20" y="279"/>
                    </a:cubicBezTo>
                    <a:close/>
                    <a:moveTo>
                      <a:pt x="20" y="271"/>
                    </a:moveTo>
                    <a:cubicBezTo>
                      <a:pt x="20" y="252"/>
                      <a:pt x="20" y="232"/>
                      <a:pt x="20" y="213"/>
                    </a:cubicBezTo>
                    <a:cubicBezTo>
                      <a:pt x="72" y="213"/>
                      <a:pt x="72" y="213"/>
                      <a:pt x="72" y="213"/>
                    </a:cubicBezTo>
                    <a:cubicBezTo>
                      <a:pt x="72" y="271"/>
                      <a:pt x="72" y="271"/>
                      <a:pt x="72" y="271"/>
                    </a:cubicBezTo>
                    <a:lnTo>
                      <a:pt x="20" y="271"/>
                    </a:lnTo>
                    <a:close/>
                    <a:moveTo>
                      <a:pt x="80" y="213"/>
                    </a:moveTo>
                    <a:cubicBezTo>
                      <a:pt x="138" y="213"/>
                      <a:pt x="138" y="213"/>
                      <a:pt x="138" y="213"/>
                    </a:cubicBezTo>
                    <a:cubicBezTo>
                      <a:pt x="138" y="271"/>
                      <a:pt x="138" y="271"/>
                      <a:pt x="138" y="271"/>
                    </a:cubicBezTo>
                    <a:cubicBezTo>
                      <a:pt x="80" y="271"/>
                      <a:pt x="80" y="271"/>
                      <a:pt x="80" y="271"/>
                    </a:cubicBezTo>
                    <a:lnTo>
                      <a:pt x="80" y="213"/>
                    </a:lnTo>
                    <a:close/>
                    <a:moveTo>
                      <a:pt x="80" y="205"/>
                    </a:moveTo>
                    <a:cubicBezTo>
                      <a:pt x="80" y="146"/>
                      <a:pt x="80" y="146"/>
                      <a:pt x="80" y="146"/>
                    </a:cubicBezTo>
                    <a:cubicBezTo>
                      <a:pt x="138" y="146"/>
                      <a:pt x="138" y="146"/>
                      <a:pt x="138" y="146"/>
                    </a:cubicBezTo>
                    <a:cubicBezTo>
                      <a:pt x="138" y="205"/>
                      <a:pt x="138" y="205"/>
                      <a:pt x="138" y="205"/>
                    </a:cubicBezTo>
                    <a:lnTo>
                      <a:pt x="80" y="205"/>
                    </a:lnTo>
                    <a:close/>
                    <a:moveTo>
                      <a:pt x="146" y="146"/>
                    </a:moveTo>
                    <a:cubicBezTo>
                      <a:pt x="204" y="146"/>
                      <a:pt x="204" y="146"/>
                      <a:pt x="204" y="146"/>
                    </a:cubicBezTo>
                    <a:cubicBezTo>
                      <a:pt x="204" y="205"/>
                      <a:pt x="204" y="205"/>
                      <a:pt x="204" y="205"/>
                    </a:cubicBezTo>
                    <a:cubicBezTo>
                      <a:pt x="146" y="205"/>
                      <a:pt x="146" y="205"/>
                      <a:pt x="146" y="205"/>
                    </a:cubicBezTo>
                    <a:lnTo>
                      <a:pt x="146" y="146"/>
                    </a:lnTo>
                    <a:close/>
                    <a:moveTo>
                      <a:pt x="212" y="146"/>
                    </a:moveTo>
                    <a:cubicBezTo>
                      <a:pt x="270" y="146"/>
                      <a:pt x="270" y="146"/>
                      <a:pt x="270" y="146"/>
                    </a:cubicBezTo>
                    <a:cubicBezTo>
                      <a:pt x="270" y="205"/>
                      <a:pt x="270" y="205"/>
                      <a:pt x="270" y="205"/>
                    </a:cubicBezTo>
                    <a:cubicBezTo>
                      <a:pt x="212" y="205"/>
                      <a:pt x="212" y="205"/>
                      <a:pt x="212" y="205"/>
                    </a:cubicBezTo>
                    <a:lnTo>
                      <a:pt x="212" y="146"/>
                    </a:lnTo>
                    <a:close/>
                    <a:moveTo>
                      <a:pt x="212" y="138"/>
                    </a:moveTo>
                    <a:cubicBezTo>
                      <a:pt x="212" y="80"/>
                      <a:pt x="212" y="80"/>
                      <a:pt x="212" y="80"/>
                    </a:cubicBezTo>
                    <a:cubicBezTo>
                      <a:pt x="270" y="80"/>
                      <a:pt x="270" y="80"/>
                      <a:pt x="270" y="80"/>
                    </a:cubicBezTo>
                    <a:cubicBezTo>
                      <a:pt x="270" y="138"/>
                      <a:pt x="270" y="138"/>
                      <a:pt x="270" y="138"/>
                    </a:cubicBezTo>
                    <a:lnTo>
                      <a:pt x="212" y="138"/>
                    </a:lnTo>
                    <a:close/>
                    <a:moveTo>
                      <a:pt x="278" y="80"/>
                    </a:moveTo>
                    <a:cubicBezTo>
                      <a:pt x="336" y="80"/>
                      <a:pt x="336" y="80"/>
                      <a:pt x="336" y="80"/>
                    </a:cubicBezTo>
                    <a:cubicBezTo>
                      <a:pt x="336" y="138"/>
                      <a:pt x="336" y="138"/>
                      <a:pt x="336" y="138"/>
                    </a:cubicBezTo>
                    <a:cubicBezTo>
                      <a:pt x="278" y="138"/>
                      <a:pt x="278" y="138"/>
                      <a:pt x="278" y="138"/>
                    </a:cubicBezTo>
                    <a:lnTo>
                      <a:pt x="278" y="80"/>
                    </a:lnTo>
                    <a:close/>
                    <a:moveTo>
                      <a:pt x="344" y="80"/>
                    </a:moveTo>
                    <a:cubicBezTo>
                      <a:pt x="402" y="80"/>
                      <a:pt x="402" y="80"/>
                      <a:pt x="402" y="80"/>
                    </a:cubicBezTo>
                    <a:cubicBezTo>
                      <a:pt x="402" y="138"/>
                      <a:pt x="402" y="138"/>
                      <a:pt x="402" y="138"/>
                    </a:cubicBezTo>
                    <a:cubicBezTo>
                      <a:pt x="344" y="138"/>
                      <a:pt x="344" y="138"/>
                      <a:pt x="344" y="138"/>
                    </a:cubicBezTo>
                    <a:lnTo>
                      <a:pt x="344" y="80"/>
                    </a:lnTo>
                    <a:close/>
                    <a:moveTo>
                      <a:pt x="344" y="72"/>
                    </a:moveTo>
                    <a:cubicBezTo>
                      <a:pt x="344" y="20"/>
                      <a:pt x="344" y="20"/>
                      <a:pt x="344" y="20"/>
                    </a:cubicBezTo>
                    <a:cubicBezTo>
                      <a:pt x="364" y="20"/>
                      <a:pt x="384" y="20"/>
                      <a:pt x="402" y="20"/>
                    </a:cubicBezTo>
                    <a:cubicBezTo>
                      <a:pt x="402" y="72"/>
                      <a:pt x="402" y="72"/>
                      <a:pt x="402" y="72"/>
                    </a:cubicBezTo>
                    <a:lnTo>
                      <a:pt x="344" y="72"/>
                    </a:lnTo>
                    <a:close/>
                    <a:moveTo>
                      <a:pt x="72" y="20"/>
                    </a:moveTo>
                    <a:cubicBezTo>
                      <a:pt x="72" y="72"/>
                      <a:pt x="72" y="72"/>
                      <a:pt x="72" y="72"/>
                    </a:cubicBezTo>
                    <a:cubicBezTo>
                      <a:pt x="20" y="72"/>
                      <a:pt x="20" y="72"/>
                      <a:pt x="20" y="72"/>
                    </a:cubicBezTo>
                    <a:cubicBezTo>
                      <a:pt x="20" y="43"/>
                      <a:pt x="20" y="23"/>
                      <a:pt x="20" y="20"/>
                    </a:cubicBezTo>
                    <a:cubicBezTo>
                      <a:pt x="23" y="20"/>
                      <a:pt x="43" y="20"/>
                      <a:pt x="72" y="20"/>
                    </a:cubicBezTo>
                    <a:close/>
                    <a:moveTo>
                      <a:pt x="42" y="465"/>
                    </a:moveTo>
                    <a:cubicBezTo>
                      <a:pt x="74" y="424"/>
                      <a:pt x="183" y="286"/>
                      <a:pt x="193" y="273"/>
                    </a:cubicBezTo>
                    <a:cubicBezTo>
                      <a:pt x="206" y="281"/>
                      <a:pt x="246" y="304"/>
                      <a:pt x="246" y="304"/>
                    </a:cubicBezTo>
                    <a:cubicBezTo>
                      <a:pt x="251" y="307"/>
                      <a:pt x="257" y="306"/>
                      <a:pt x="261" y="301"/>
                    </a:cubicBezTo>
                    <a:cubicBezTo>
                      <a:pt x="261" y="301"/>
                      <a:pt x="347" y="203"/>
                      <a:pt x="359" y="189"/>
                    </a:cubicBezTo>
                    <a:cubicBezTo>
                      <a:pt x="369" y="196"/>
                      <a:pt x="389" y="209"/>
                      <a:pt x="389" y="209"/>
                    </a:cubicBezTo>
                    <a:cubicBezTo>
                      <a:pt x="394" y="212"/>
                      <a:pt x="401" y="211"/>
                      <a:pt x="405" y="206"/>
                    </a:cubicBezTo>
                    <a:cubicBezTo>
                      <a:pt x="481" y="110"/>
                      <a:pt x="481" y="110"/>
                      <a:pt x="481" y="110"/>
                    </a:cubicBezTo>
                    <a:cubicBezTo>
                      <a:pt x="481" y="133"/>
                      <a:pt x="481" y="133"/>
                      <a:pt x="481" y="133"/>
                    </a:cubicBezTo>
                    <a:cubicBezTo>
                      <a:pt x="481" y="139"/>
                      <a:pt x="487" y="145"/>
                      <a:pt x="493" y="145"/>
                    </a:cubicBezTo>
                    <a:cubicBezTo>
                      <a:pt x="500" y="145"/>
                      <a:pt x="505" y="139"/>
                      <a:pt x="505" y="133"/>
                    </a:cubicBezTo>
                    <a:cubicBezTo>
                      <a:pt x="505" y="76"/>
                      <a:pt x="505" y="76"/>
                      <a:pt x="505" y="76"/>
                    </a:cubicBezTo>
                    <a:cubicBezTo>
                      <a:pt x="505" y="76"/>
                      <a:pt x="505" y="76"/>
                      <a:pt x="505" y="76"/>
                    </a:cubicBezTo>
                    <a:cubicBezTo>
                      <a:pt x="505" y="75"/>
                      <a:pt x="505" y="74"/>
                      <a:pt x="505" y="74"/>
                    </a:cubicBezTo>
                    <a:cubicBezTo>
                      <a:pt x="505" y="74"/>
                      <a:pt x="505" y="74"/>
                      <a:pt x="505" y="73"/>
                    </a:cubicBezTo>
                    <a:cubicBezTo>
                      <a:pt x="505" y="73"/>
                      <a:pt x="505" y="72"/>
                      <a:pt x="505" y="71"/>
                    </a:cubicBezTo>
                    <a:cubicBezTo>
                      <a:pt x="504" y="71"/>
                      <a:pt x="504" y="71"/>
                      <a:pt x="504" y="71"/>
                    </a:cubicBezTo>
                    <a:cubicBezTo>
                      <a:pt x="504" y="71"/>
                      <a:pt x="504" y="70"/>
                      <a:pt x="504" y="70"/>
                    </a:cubicBezTo>
                    <a:cubicBezTo>
                      <a:pt x="504" y="70"/>
                      <a:pt x="503" y="69"/>
                      <a:pt x="503" y="69"/>
                    </a:cubicBezTo>
                    <a:cubicBezTo>
                      <a:pt x="503" y="69"/>
                      <a:pt x="503" y="69"/>
                      <a:pt x="503" y="69"/>
                    </a:cubicBezTo>
                    <a:cubicBezTo>
                      <a:pt x="503" y="68"/>
                      <a:pt x="502" y="68"/>
                      <a:pt x="502" y="68"/>
                    </a:cubicBezTo>
                    <a:cubicBezTo>
                      <a:pt x="502" y="68"/>
                      <a:pt x="502" y="67"/>
                      <a:pt x="502" y="67"/>
                    </a:cubicBezTo>
                    <a:cubicBezTo>
                      <a:pt x="501" y="67"/>
                      <a:pt x="501" y="67"/>
                      <a:pt x="500" y="66"/>
                    </a:cubicBezTo>
                    <a:cubicBezTo>
                      <a:pt x="500" y="66"/>
                      <a:pt x="500" y="66"/>
                      <a:pt x="500" y="66"/>
                    </a:cubicBezTo>
                    <a:cubicBezTo>
                      <a:pt x="499" y="66"/>
                      <a:pt x="499" y="65"/>
                      <a:pt x="498" y="65"/>
                    </a:cubicBezTo>
                    <a:cubicBezTo>
                      <a:pt x="498" y="65"/>
                      <a:pt x="498" y="65"/>
                      <a:pt x="498" y="65"/>
                    </a:cubicBezTo>
                    <a:cubicBezTo>
                      <a:pt x="497" y="65"/>
                      <a:pt x="497" y="64"/>
                      <a:pt x="496" y="64"/>
                    </a:cubicBezTo>
                    <a:cubicBezTo>
                      <a:pt x="496" y="64"/>
                      <a:pt x="496" y="64"/>
                      <a:pt x="495" y="64"/>
                    </a:cubicBezTo>
                    <a:cubicBezTo>
                      <a:pt x="495" y="64"/>
                      <a:pt x="494" y="64"/>
                      <a:pt x="494" y="64"/>
                    </a:cubicBezTo>
                    <a:cubicBezTo>
                      <a:pt x="494" y="64"/>
                      <a:pt x="494" y="64"/>
                      <a:pt x="493" y="64"/>
                    </a:cubicBezTo>
                    <a:cubicBezTo>
                      <a:pt x="493" y="64"/>
                      <a:pt x="493" y="64"/>
                      <a:pt x="493" y="64"/>
                    </a:cubicBezTo>
                    <a:cubicBezTo>
                      <a:pt x="493" y="64"/>
                      <a:pt x="492" y="64"/>
                      <a:pt x="491" y="64"/>
                    </a:cubicBezTo>
                    <a:cubicBezTo>
                      <a:pt x="491" y="64"/>
                      <a:pt x="491" y="64"/>
                      <a:pt x="491" y="64"/>
                    </a:cubicBezTo>
                    <a:cubicBezTo>
                      <a:pt x="491" y="64"/>
                      <a:pt x="491" y="64"/>
                      <a:pt x="491" y="64"/>
                    </a:cubicBezTo>
                    <a:cubicBezTo>
                      <a:pt x="438" y="76"/>
                      <a:pt x="438" y="76"/>
                      <a:pt x="438" y="76"/>
                    </a:cubicBezTo>
                    <a:cubicBezTo>
                      <a:pt x="432" y="77"/>
                      <a:pt x="428" y="84"/>
                      <a:pt x="429" y="90"/>
                    </a:cubicBezTo>
                    <a:cubicBezTo>
                      <a:pt x="431" y="97"/>
                      <a:pt x="437" y="101"/>
                      <a:pt x="443" y="99"/>
                    </a:cubicBezTo>
                    <a:cubicBezTo>
                      <a:pt x="443" y="99"/>
                      <a:pt x="454" y="97"/>
                      <a:pt x="463" y="95"/>
                    </a:cubicBezTo>
                    <a:cubicBezTo>
                      <a:pt x="439" y="125"/>
                      <a:pt x="402" y="171"/>
                      <a:pt x="393" y="183"/>
                    </a:cubicBezTo>
                    <a:cubicBezTo>
                      <a:pt x="382" y="176"/>
                      <a:pt x="363" y="163"/>
                      <a:pt x="363" y="163"/>
                    </a:cubicBezTo>
                    <a:cubicBezTo>
                      <a:pt x="358" y="160"/>
                      <a:pt x="352" y="161"/>
                      <a:pt x="348" y="165"/>
                    </a:cubicBezTo>
                    <a:cubicBezTo>
                      <a:pt x="348" y="165"/>
                      <a:pt x="261" y="265"/>
                      <a:pt x="249" y="278"/>
                    </a:cubicBezTo>
                    <a:cubicBezTo>
                      <a:pt x="236" y="271"/>
                      <a:pt x="196" y="247"/>
                      <a:pt x="196" y="247"/>
                    </a:cubicBezTo>
                    <a:cubicBezTo>
                      <a:pt x="191" y="244"/>
                      <a:pt x="184" y="245"/>
                      <a:pt x="181" y="250"/>
                    </a:cubicBezTo>
                    <a:cubicBezTo>
                      <a:pt x="20" y="454"/>
                      <a:pt x="20" y="454"/>
                      <a:pt x="20" y="454"/>
                    </a:cubicBezTo>
                    <a:cubicBezTo>
                      <a:pt x="20" y="450"/>
                      <a:pt x="20" y="445"/>
                      <a:pt x="20" y="439"/>
                    </a:cubicBezTo>
                    <a:cubicBezTo>
                      <a:pt x="20" y="432"/>
                      <a:pt x="20" y="423"/>
                      <a:pt x="20" y="412"/>
                    </a:cubicBezTo>
                    <a:cubicBezTo>
                      <a:pt x="41" y="412"/>
                      <a:pt x="41" y="412"/>
                      <a:pt x="41" y="412"/>
                    </a:cubicBezTo>
                    <a:cubicBezTo>
                      <a:pt x="48" y="404"/>
                      <a:pt x="48" y="404"/>
                      <a:pt x="48" y="404"/>
                    </a:cubicBezTo>
                    <a:cubicBezTo>
                      <a:pt x="20" y="404"/>
                      <a:pt x="20" y="404"/>
                      <a:pt x="20" y="404"/>
                    </a:cubicBezTo>
                    <a:cubicBezTo>
                      <a:pt x="20" y="387"/>
                      <a:pt x="20" y="367"/>
                      <a:pt x="20" y="346"/>
                    </a:cubicBezTo>
                    <a:cubicBezTo>
                      <a:pt x="72" y="346"/>
                      <a:pt x="72" y="346"/>
                      <a:pt x="72" y="346"/>
                    </a:cubicBezTo>
                    <a:cubicBezTo>
                      <a:pt x="72" y="374"/>
                      <a:pt x="72" y="374"/>
                      <a:pt x="72" y="374"/>
                    </a:cubicBezTo>
                    <a:cubicBezTo>
                      <a:pt x="80" y="364"/>
                      <a:pt x="80" y="364"/>
                      <a:pt x="80" y="364"/>
                    </a:cubicBezTo>
                    <a:cubicBezTo>
                      <a:pt x="80" y="346"/>
                      <a:pt x="80" y="346"/>
                      <a:pt x="80" y="346"/>
                    </a:cubicBezTo>
                    <a:cubicBezTo>
                      <a:pt x="94" y="346"/>
                      <a:pt x="94" y="346"/>
                      <a:pt x="94" y="346"/>
                    </a:cubicBezTo>
                    <a:cubicBezTo>
                      <a:pt x="101" y="338"/>
                      <a:pt x="101" y="338"/>
                      <a:pt x="101" y="338"/>
                    </a:cubicBezTo>
                    <a:cubicBezTo>
                      <a:pt x="80" y="338"/>
                      <a:pt x="80" y="338"/>
                      <a:pt x="80" y="338"/>
                    </a:cubicBezTo>
                    <a:cubicBezTo>
                      <a:pt x="80" y="279"/>
                      <a:pt x="80" y="279"/>
                      <a:pt x="80" y="279"/>
                    </a:cubicBezTo>
                    <a:cubicBezTo>
                      <a:pt x="138" y="279"/>
                      <a:pt x="138" y="279"/>
                      <a:pt x="138" y="279"/>
                    </a:cubicBezTo>
                    <a:cubicBezTo>
                      <a:pt x="138" y="291"/>
                      <a:pt x="138" y="291"/>
                      <a:pt x="138" y="291"/>
                    </a:cubicBezTo>
                    <a:cubicBezTo>
                      <a:pt x="146" y="281"/>
                      <a:pt x="146" y="281"/>
                      <a:pt x="146" y="281"/>
                    </a:cubicBezTo>
                    <a:cubicBezTo>
                      <a:pt x="146" y="279"/>
                      <a:pt x="146" y="279"/>
                      <a:pt x="146" y="279"/>
                    </a:cubicBezTo>
                    <a:cubicBezTo>
                      <a:pt x="147" y="279"/>
                      <a:pt x="147" y="279"/>
                      <a:pt x="147" y="279"/>
                    </a:cubicBezTo>
                    <a:cubicBezTo>
                      <a:pt x="153" y="271"/>
                      <a:pt x="153" y="271"/>
                      <a:pt x="153" y="271"/>
                    </a:cubicBezTo>
                    <a:cubicBezTo>
                      <a:pt x="146" y="271"/>
                      <a:pt x="146" y="271"/>
                      <a:pt x="146" y="271"/>
                    </a:cubicBezTo>
                    <a:cubicBezTo>
                      <a:pt x="146" y="213"/>
                      <a:pt x="146" y="213"/>
                      <a:pt x="146" y="213"/>
                    </a:cubicBezTo>
                    <a:cubicBezTo>
                      <a:pt x="204" y="213"/>
                      <a:pt x="204" y="213"/>
                      <a:pt x="204" y="213"/>
                    </a:cubicBezTo>
                    <a:cubicBezTo>
                      <a:pt x="204" y="242"/>
                      <a:pt x="204" y="242"/>
                      <a:pt x="204" y="242"/>
                    </a:cubicBezTo>
                    <a:cubicBezTo>
                      <a:pt x="206" y="243"/>
                      <a:pt x="209" y="245"/>
                      <a:pt x="212" y="247"/>
                    </a:cubicBezTo>
                    <a:cubicBezTo>
                      <a:pt x="212" y="213"/>
                      <a:pt x="212" y="213"/>
                      <a:pt x="212" y="213"/>
                    </a:cubicBezTo>
                    <a:cubicBezTo>
                      <a:pt x="270" y="213"/>
                      <a:pt x="270" y="213"/>
                      <a:pt x="270" y="213"/>
                    </a:cubicBezTo>
                    <a:cubicBezTo>
                      <a:pt x="270" y="242"/>
                      <a:pt x="270" y="242"/>
                      <a:pt x="270" y="242"/>
                    </a:cubicBezTo>
                    <a:cubicBezTo>
                      <a:pt x="273" y="239"/>
                      <a:pt x="275" y="236"/>
                      <a:pt x="278" y="233"/>
                    </a:cubicBezTo>
                    <a:cubicBezTo>
                      <a:pt x="278" y="213"/>
                      <a:pt x="278" y="213"/>
                      <a:pt x="278" y="213"/>
                    </a:cubicBezTo>
                    <a:cubicBezTo>
                      <a:pt x="295" y="213"/>
                      <a:pt x="295" y="213"/>
                      <a:pt x="295" y="213"/>
                    </a:cubicBezTo>
                    <a:cubicBezTo>
                      <a:pt x="298" y="210"/>
                      <a:pt x="300" y="207"/>
                      <a:pt x="302" y="205"/>
                    </a:cubicBezTo>
                    <a:cubicBezTo>
                      <a:pt x="278" y="205"/>
                      <a:pt x="278" y="205"/>
                      <a:pt x="278" y="205"/>
                    </a:cubicBezTo>
                    <a:cubicBezTo>
                      <a:pt x="278" y="146"/>
                      <a:pt x="278" y="146"/>
                      <a:pt x="278" y="146"/>
                    </a:cubicBezTo>
                    <a:cubicBezTo>
                      <a:pt x="336" y="146"/>
                      <a:pt x="336" y="146"/>
                      <a:pt x="336" y="146"/>
                    </a:cubicBezTo>
                    <a:cubicBezTo>
                      <a:pt x="336" y="166"/>
                      <a:pt x="336" y="166"/>
                      <a:pt x="336" y="166"/>
                    </a:cubicBezTo>
                    <a:cubicBezTo>
                      <a:pt x="340" y="162"/>
                      <a:pt x="342" y="160"/>
                      <a:pt x="342" y="160"/>
                    </a:cubicBezTo>
                    <a:cubicBezTo>
                      <a:pt x="342" y="159"/>
                      <a:pt x="343" y="158"/>
                      <a:pt x="344" y="158"/>
                    </a:cubicBezTo>
                    <a:cubicBezTo>
                      <a:pt x="344" y="146"/>
                      <a:pt x="344" y="146"/>
                      <a:pt x="344" y="146"/>
                    </a:cubicBezTo>
                    <a:cubicBezTo>
                      <a:pt x="402" y="146"/>
                      <a:pt x="402" y="146"/>
                      <a:pt x="402" y="146"/>
                    </a:cubicBezTo>
                    <a:cubicBezTo>
                      <a:pt x="402" y="158"/>
                      <a:pt x="402" y="158"/>
                      <a:pt x="402" y="158"/>
                    </a:cubicBezTo>
                    <a:cubicBezTo>
                      <a:pt x="405" y="155"/>
                      <a:pt x="407" y="152"/>
                      <a:pt x="410" y="148"/>
                    </a:cubicBezTo>
                    <a:cubicBezTo>
                      <a:pt x="410" y="146"/>
                      <a:pt x="410" y="146"/>
                      <a:pt x="410" y="146"/>
                    </a:cubicBezTo>
                    <a:cubicBezTo>
                      <a:pt x="412" y="146"/>
                      <a:pt x="412" y="146"/>
                      <a:pt x="412" y="146"/>
                    </a:cubicBezTo>
                    <a:cubicBezTo>
                      <a:pt x="414" y="144"/>
                      <a:pt x="416" y="141"/>
                      <a:pt x="418" y="138"/>
                    </a:cubicBezTo>
                    <a:cubicBezTo>
                      <a:pt x="410" y="138"/>
                      <a:pt x="410" y="138"/>
                      <a:pt x="410" y="138"/>
                    </a:cubicBezTo>
                    <a:cubicBezTo>
                      <a:pt x="410" y="80"/>
                      <a:pt x="410" y="80"/>
                      <a:pt x="410" y="80"/>
                    </a:cubicBezTo>
                    <a:cubicBezTo>
                      <a:pt x="422" y="80"/>
                      <a:pt x="422" y="80"/>
                      <a:pt x="422" y="80"/>
                    </a:cubicBezTo>
                    <a:cubicBezTo>
                      <a:pt x="424" y="77"/>
                      <a:pt x="426" y="74"/>
                      <a:pt x="429" y="72"/>
                    </a:cubicBezTo>
                    <a:cubicBezTo>
                      <a:pt x="410" y="72"/>
                      <a:pt x="410" y="72"/>
                      <a:pt x="410" y="72"/>
                    </a:cubicBezTo>
                    <a:cubicBezTo>
                      <a:pt x="410" y="20"/>
                      <a:pt x="410" y="20"/>
                      <a:pt x="410" y="20"/>
                    </a:cubicBezTo>
                    <a:cubicBezTo>
                      <a:pt x="432" y="20"/>
                      <a:pt x="452" y="20"/>
                      <a:pt x="468" y="20"/>
                    </a:cubicBezTo>
                    <a:cubicBezTo>
                      <a:pt x="468" y="61"/>
                      <a:pt x="468" y="61"/>
                      <a:pt x="468" y="61"/>
                    </a:cubicBezTo>
                    <a:cubicBezTo>
                      <a:pt x="476" y="59"/>
                      <a:pt x="476" y="59"/>
                      <a:pt x="476" y="59"/>
                    </a:cubicBezTo>
                    <a:cubicBezTo>
                      <a:pt x="476" y="20"/>
                      <a:pt x="476" y="20"/>
                      <a:pt x="476" y="20"/>
                    </a:cubicBezTo>
                    <a:cubicBezTo>
                      <a:pt x="506" y="20"/>
                      <a:pt x="525" y="20"/>
                      <a:pt x="528" y="20"/>
                    </a:cubicBezTo>
                    <a:cubicBezTo>
                      <a:pt x="528" y="23"/>
                      <a:pt x="528" y="43"/>
                      <a:pt x="528" y="72"/>
                    </a:cubicBezTo>
                    <a:cubicBezTo>
                      <a:pt x="513" y="72"/>
                      <a:pt x="513" y="72"/>
                      <a:pt x="513" y="72"/>
                    </a:cubicBezTo>
                    <a:cubicBezTo>
                      <a:pt x="513" y="72"/>
                      <a:pt x="513" y="72"/>
                      <a:pt x="513" y="73"/>
                    </a:cubicBezTo>
                    <a:cubicBezTo>
                      <a:pt x="513" y="74"/>
                      <a:pt x="513" y="74"/>
                      <a:pt x="513" y="75"/>
                    </a:cubicBezTo>
                    <a:cubicBezTo>
                      <a:pt x="513" y="76"/>
                      <a:pt x="513" y="76"/>
                      <a:pt x="513" y="76"/>
                    </a:cubicBezTo>
                    <a:cubicBezTo>
                      <a:pt x="513" y="80"/>
                      <a:pt x="513" y="80"/>
                      <a:pt x="513" y="80"/>
                    </a:cubicBezTo>
                    <a:cubicBezTo>
                      <a:pt x="528" y="80"/>
                      <a:pt x="528" y="80"/>
                      <a:pt x="528" y="80"/>
                    </a:cubicBezTo>
                    <a:cubicBezTo>
                      <a:pt x="528" y="97"/>
                      <a:pt x="528" y="117"/>
                      <a:pt x="528" y="138"/>
                    </a:cubicBezTo>
                    <a:cubicBezTo>
                      <a:pt x="512" y="138"/>
                      <a:pt x="512" y="138"/>
                      <a:pt x="512" y="138"/>
                    </a:cubicBezTo>
                    <a:cubicBezTo>
                      <a:pt x="512" y="141"/>
                      <a:pt x="510" y="144"/>
                      <a:pt x="508" y="146"/>
                    </a:cubicBezTo>
                    <a:cubicBezTo>
                      <a:pt x="528" y="146"/>
                      <a:pt x="528" y="146"/>
                      <a:pt x="528" y="146"/>
                    </a:cubicBezTo>
                    <a:cubicBezTo>
                      <a:pt x="528" y="165"/>
                      <a:pt x="528" y="185"/>
                      <a:pt x="528" y="205"/>
                    </a:cubicBezTo>
                    <a:cubicBezTo>
                      <a:pt x="476" y="205"/>
                      <a:pt x="476" y="205"/>
                      <a:pt x="476" y="205"/>
                    </a:cubicBezTo>
                    <a:cubicBezTo>
                      <a:pt x="476" y="146"/>
                      <a:pt x="476" y="146"/>
                      <a:pt x="476" y="146"/>
                    </a:cubicBezTo>
                    <a:cubicBezTo>
                      <a:pt x="479" y="146"/>
                      <a:pt x="479" y="146"/>
                      <a:pt x="479" y="146"/>
                    </a:cubicBezTo>
                    <a:cubicBezTo>
                      <a:pt x="476" y="143"/>
                      <a:pt x="474" y="138"/>
                      <a:pt x="473" y="133"/>
                    </a:cubicBezTo>
                    <a:cubicBezTo>
                      <a:pt x="463" y="146"/>
                      <a:pt x="463" y="146"/>
                      <a:pt x="463" y="146"/>
                    </a:cubicBezTo>
                    <a:cubicBezTo>
                      <a:pt x="468" y="146"/>
                      <a:pt x="468" y="146"/>
                      <a:pt x="468" y="146"/>
                    </a:cubicBezTo>
                    <a:cubicBezTo>
                      <a:pt x="468" y="205"/>
                      <a:pt x="468" y="205"/>
                      <a:pt x="468" y="205"/>
                    </a:cubicBezTo>
                    <a:cubicBezTo>
                      <a:pt x="416" y="205"/>
                      <a:pt x="416" y="205"/>
                      <a:pt x="416" y="205"/>
                    </a:cubicBezTo>
                    <a:cubicBezTo>
                      <a:pt x="411" y="211"/>
                      <a:pt x="411" y="211"/>
                      <a:pt x="411" y="211"/>
                    </a:cubicBezTo>
                    <a:cubicBezTo>
                      <a:pt x="409" y="214"/>
                      <a:pt x="406" y="216"/>
                      <a:pt x="402" y="218"/>
                    </a:cubicBezTo>
                    <a:cubicBezTo>
                      <a:pt x="402" y="271"/>
                      <a:pt x="402" y="271"/>
                      <a:pt x="402" y="271"/>
                    </a:cubicBezTo>
                    <a:cubicBezTo>
                      <a:pt x="344" y="271"/>
                      <a:pt x="344" y="271"/>
                      <a:pt x="344" y="271"/>
                    </a:cubicBezTo>
                    <a:cubicBezTo>
                      <a:pt x="344" y="218"/>
                      <a:pt x="344" y="218"/>
                      <a:pt x="344" y="218"/>
                    </a:cubicBezTo>
                    <a:cubicBezTo>
                      <a:pt x="342" y="221"/>
                      <a:pt x="339" y="224"/>
                      <a:pt x="336" y="227"/>
                    </a:cubicBezTo>
                    <a:cubicBezTo>
                      <a:pt x="336" y="271"/>
                      <a:pt x="336" y="271"/>
                      <a:pt x="336" y="271"/>
                    </a:cubicBezTo>
                    <a:cubicBezTo>
                      <a:pt x="298" y="271"/>
                      <a:pt x="298" y="271"/>
                      <a:pt x="298" y="271"/>
                    </a:cubicBezTo>
                    <a:cubicBezTo>
                      <a:pt x="295" y="274"/>
                      <a:pt x="293" y="277"/>
                      <a:pt x="291" y="279"/>
                    </a:cubicBezTo>
                    <a:cubicBezTo>
                      <a:pt x="336" y="279"/>
                      <a:pt x="336" y="279"/>
                      <a:pt x="336" y="279"/>
                    </a:cubicBezTo>
                    <a:cubicBezTo>
                      <a:pt x="336" y="338"/>
                      <a:pt x="336" y="338"/>
                      <a:pt x="336" y="338"/>
                    </a:cubicBezTo>
                    <a:cubicBezTo>
                      <a:pt x="278" y="338"/>
                      <a:pt x="278" y="338"/>
                      <a:pt x="278" y="338"/>
                    </a:cubicBezTo>
                    <a:cubicBezTo>
                      <a:pt x="278" y="293"/>
                      <a:pt x="278" y="293"/>
                      <a:pt x="278" y="293"/>
                    </a:cubicBezTo>
                    <a:cubicBezTo>
                      <a:pt x="275" y="297"/>
                      <a:pt x="272" y="300"/>
                      <a:pt x="270" y="303"/>
                    </a:cubicBezTo>
                    <a:cubicBezTo>
                      <a:pt x="270" y="338"/>
                      <a:pt x="270" y="338"/>
                      <a:pt x="270" y="338"/>
                    </a:cubicBezTo>
                    <a:cubicBezTo>
                      <a:pt x="212" y="338"/>
                      <a:pt x="212" y="338"/>
                      <a:pt x="212" y="338"/>
                    </a:cubicBezTo>
                    <a:cubicBezTo>
                      <a:pt x="212" y="293"/>
                      <a:pt x="212" y="293"/>
                      <a:pt x="212" y="293"/>
                    </a:cubicBezTo>
                    <a:cubicBezTo>
                      <a:pt x="209" y="292"/>
                      <a:pt x="207" y="290"/>
                      <a:pt x="204" y="289"/>
                    </a:cubicBezTo>
                    <a:cubicBezTo>
                      <a:pt x="204" y="338"/>
                      <a:pt x="204" y="338"/>
                      <a:pt x="204" y="338"/>
                    </a:cubicBezTo>
                    <a:cubicBezTo>
                      <a:pt x="152" y="338"/>
                      <a:pt x="152" y="338"/>
                      <a:pt x="152" y="338"/>
                    </a:cubicBezTo>
                    <a:cubicBezTo>
                      <a:pt x="147" y="343"/>
                      <a:pt x="143" y="349"/>
                      <a:pt x="138" y="355"/>
                    </a:cubicBezTo>
                    <a:cubicBezTo>
                      <a:pt x="138" y="404"/>
                      <a:pt x="138" y="404"/>
                      <a:pt x="138" y="404"/>
                    </a:cubicBezTo>
                    <a:cubicBezTo>
                      <a:pt x="99" y="404"/>
                      <a:pt x="99" y="404"/>
                      <a:pt x="99" y="404"/>
                    </a:cubicBezTo>
                    <a:cubicBezTo>
                      <a:pt x="97" y="407"/>
                      <a:pt x="95" y="410"/>
                      <a:pt x="93" y="412"/>
                    </a:cubicBezTo>
                    <a:cubicBezTo>
                      <a:pt x="138" y="412"/>
                      <a:pt x="138" y="412"/>
                      <a:pt x="138" y="412"/>
                    </a:cubicBezTo>
                    <a:cubicBezTo>
                      <a:pt x="138" y="465"/>
                      <a:pt x="138" y="465"/>
                      <a:pt x="138" y="465"/>
                    </a:cubicBezTo>
                    <a:cubicBezTo>
                      <a:pt x="116" y="465"/>
                      <a:pt x="97" y="465"/>
                      <a:pt x="80" y="465"/>
                    </a:cubicBezTo>
                    <a:cubicBezTo>
                      <a:pt x="80" y="428"/>
                      <a:pt x="80" y="428"/>
                      <a:pt x="80" y="428"/>
                    </a:cubicBezTo>
                    <a:cubicBezTo>
                      <a:pt x="77" y="432"/>
                      <a:pt x="74" y="435"/>
                      <a:pt x="72" y="438"/>
                    </a:cubicBezTo>
                    <a:cubicBezTo>
                      <a:pt x="72" y="465"/>
                      <a:pt x="72" y="465"/>
                      <a:pt x="72" y="465"/>
                    </a:cubicBezTo>
                    <a:cubicBezTo>
                      <a:pt x="64" y="465"/>
                      <a:pt x="57" y="465"/>
                      <a:pt x="51" y="465"/>
                    </a:cubicBezTo>
                    <a:cubicBezTo>
                      <a:pt x="48" y="465"/>
                      <a:pt x="45" y="465"/>
                      <a:pt x="42" y="465"/>
                    </a:cubicBezTo>
                    <a:close/>
                    <a:moveTo>
                      <a:pt x="476" y="465"/>
                    </a:moveTo>
                    <a:cubicBezTo>
                      <a:pt x="476" y="412"/>
                      <a:pt x="476" y="412"/>
                      <a:pt x="476" y="412"/>
                    </a:cubicBezTo>
                    <a:cubicBezTo>
                      <a:pt x="528" y="412"/>
                      <a:pt x="528" y="412"/>
                      <a:pt x="528" y="412"/>
                    </a:cubicBezTo>
                    <a:cubicBezTo>
                      <a:pt x="528" y="441"/>
                      <a:pt x="528" y="461"/>
                      <a:pt x="528" y="465"/>
                    </a:cubicBezTo>
                    <a:cubicBezTo>
                      <a:pt x="525" y="465"/>
                      <a:pt x="506" y="465"/>
                      <a:pt x="476" y="465"/>
                    </a:cubicBezTo>
                    <a:close/>
                  </a:path>
                </a:pathLst>
              </a:custGeom>
              <a:solidFill>
                <a:schemeClr val="accent1"/>
              </a:solidFill>
              <a:ln>
                <a:noFill/>
              </a:ln>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endParaRPr>
              </a:p>
            </p:txBody>
          </p:sp>
        </p:grpSp>
        <p:grpSp>
          <p:nvGrpSpPr>
            <p:cNvPr id="67" name="Group 66"/>
            <p:cNvGrpSpPr/>
            <p:nvPr/>
          </p:nvGrpSpPr>
          <p:grpSpPr>
            <a:xfrm>
              <a:off x="599592" y="2197066"/>
              <a:ext cx="366974" cy="159188"/>
              <a:chOff x="495935" y="2207542"/>
              <a:chExt cx="366974" cy="159188"/>
            </a:xfrm>
          </p:grpSpPr>
          <p:sp>
            <p:nvSpPr>
              <p:cNvPr id="1948" name="Rectangle 1947"/>
              <p:cNvSpPr/>
              <p:nvPr/>
            </p:nvSpPr>
            <p:spPr bwMode="auto">
              <a:xfrm>
                <a:off x="495935" y="2207542"/>
                <a:ext cx="366974" cy="159188"/>
              </a:xfrm>
              <a:prstGeom prst="rect">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961" name="Group 1960"/>
              <p:cNvGrpSpPr/>
              <p:nvPr/>
            </p:nvGrpSpPr>
            <p:grpSpPr>
              <a:xfrm>
                <a:off x="527779" y="2239550"/>
                <a:ext cx="303285" cy="94714"/>
                <a:chOff x="1087783" y="4811378"/>
                <a:chExt cx="303285" cy="94714"/>
              </a:xfrm>
            </p:grpSpPr>
            <p:cxnSp>
              <p:nvCxnSpPr>
                <p:cNvPr id="1969" name="Straight Connector 1968"/>
                <p:cNvCxnSpPr/>
                <p:nvPr/>
              </p:nvCxnSpPr>
              <p:spPr>
                <a:xfrm>
                  <a:off x="1087783" y="4811378"/>
                  <a:ext cx="303285"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970" name="Straight Connector 1969"/>
                <p:cNvCxnSpPr/>
                <p:nvPr/>
              </p:nvCxnSpPr>
              <p:spPr>
                <a:xfrm>
                  <a:off x="1087783" y="4842949"/>
                  <a:ext cx="303285"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971" name="Straight Connector 1970"/>
                <p:cNvCxnSpPr/>
                <p:nvPr/>
              </p:nvCxnSpPr>
              <p:spPr>
                <a:xfrm>
                  <a:off x="1087783" y="4874520"/>
                  <a:ext cx="303285"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972" name="Straight Connector 1971"/>
                <p:cNvCxnSpPr/>
                <p:nvPr/>
              </p:nvCxnSpPr>
              <p:spPr>
                <a:xfrm>
                  <a:off x="1087783" y="4906092"/>
                  <a:ext cx="303285" cy="0"/>
                </a:xfrm>
                <a:prstGeom prst="line">
                  <a:avLst/>
                </a:prstGeom>
                <a:ln w="3175"/>
              </p:spPr>
              <p:style>
                <a:lnRef idx="1">
                  <a:schemeClr val="accent1"/>
                </a:lnRef>
                <a:fillRef idx="0">
                  <a:schemeClr val="accent1"/>
                </a:fillRef>
                <a:effectRef idx="0">
                  <a:schemeClr val="accent1"/>
                </a:effectRef>
                <a:fontRef idx="minor">
                  <a:schemeClr val="tx1"/>
                </a:fontRef>
              </p:style>
            </p:cxnSp>
          </p:grpSp>
          <p:grpSp>
            <p:nvGrpSpPr>
              <p:cNvPr id="1962" name="Group 1961"/>
              <p:cNvGrpSpPr/>
              <p:nvPr/>
            </p:nvGrpSpPr>
            <p:grpSpPr>
              <a:xfrm>
                <a:off x="587426" y="2245482"/>
                <a:ext cx="214851" cy="90236"/>
                <a:chOff x="1147430" y="4813911"/>
                <a:chExt cx="214851" cy="90236"/>
              </a:xfrm>
            </p:grpSpPr>
            <p:sp>
              <p:nvSpPr>
                <p:cNvPr id="1963" name="Rectangle 1962"/>
                <p:cNvSpPr/>
                <p:nvPr/>
              </p:nvSpPr>
              <p:spPr bwMode="auto">
                <a:xfrm>
                  <a:off x="1147430" y="4853212"/>
                  <a:ext cx="25807" cy="509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64" name="Rectangle 1963"/>
                <p:cNvSpPr/>
                <p:nvPr/>
              </p:nvSpPr>
              <p:spPr bwMode="auto">
                <a:xfrm>
                  <a:off x="1171289" y="4813911"/>
                  <a:ext cx="25807" cy="902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65" name="Rectangle 1964"/>
                <p:cNvSpPr/>
                <p:nvPr/>
              </p:nvSpPr>
              <p:spPr bwMode="auto">
                <a:xfrm>
                  <a:off x="1225169" y="4853212"/>
                  <a:ext cx="25807" cy="509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66" name="Rectangle 1965"/>
                <p:cNvSpPr/>
                <p:nvPr/>
              </p:nvSpPr>
              <p:spPr bwMode="auto">
                <a:xfrm>
                  <a:off x="1251486" y="4840139"/>
                  <a:ext cx="25807" cy="640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67" name="Rectangle 1966"/>
                <p:cNvSpPr/>
                <p:nvPr/>
              </p:nvSpPr>
              <p:spPr bwMode="auto">
                <a:xfrm>
                  <a:off x="1310157" y="4874880"/>
                  <a:ext cx="25807" cy="2926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68" name="Rectangle 1967"/>
                <p:cNvSpPr/>
                <p:nvPr/>
              </p:nvSpPr>
              <p:spPr bwMode="auto">
                <a:xfrm>
                  <a:off x="1336474" y="4852297"/>
                  <a:ext cx="25807" cy="518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2046" name="Freeform 5"/>
            <p:cNvSpPr>
              <a:spLocks noEditPoints="1"/>
            </p:cNvSpPr>
            <p:nvPr/>
          </p:nvSpPr>
          <p:spPr bwMode="auto">
            <a:xfrm>
              <a:off x="-464341" y="2081176"/>
              <a:ext cx="1790934" cy="1067349"/>
            </a:xfrm>
            <a:custGeom>
              <a:avLst/>
              <a:gdLst>
                <a:gd name="T0" fmla="*/ 40 w 1678"/>
                <a:gd name="T1" fmla="*/ 0 h 1012"/>
                <a:gd name="T2" fmla="*/ 32 w 1678"/>
                <a:gd name="T3" fmla="*/ 0 h 1012"/>
                <a:gd name="T4" fmla="*/ 20 w 1678"/>
                <a:gd name="T5" fmla="*/ 6 h 1012"/>
                <a:gd name="T6" fmla="*/ 8 w 1678"/>
                <a:gd name="T7" fmla="*/ 16 h 1012"/>
                <a:gd name="T8" fmla="*/ 2 w 1678"/>
                <a:gd name="T9" fmla="*/ 30 h 1012"/>
                <a:gd name="T10" fmla="*/ 0 w 1678"/>
                <a:gd name="T11" fmla="*/ 838 h 1012"/>
                <a:gd name="T12" fmla="*/ 2 w 1678"/>
                <a:gd name="T13" fmla="*/ 846 h 1012"/>
                <a:gd name="T14" fmla="*/ 8 w 1678"/>
                <a:gd name="T15" fmla="*/ 858 h 1012"/>
                <a:gd name="T16" fmla="*/ 20 w 1678"/>
                <a:gd name="T17" fmla="*/ 868 h 1012"/>
                <a:gd name="T18" fmla="*/ 32 w 1678"/>
                <a:gd name="T19" fmla="*/ 876 h 1012"/>
                <a:gd name="T20" fmla="*/ 658 w 1678"/>
                <a:gd name="T21" fmla="*/ 876 h 1012"/>
                <a:gd name="T22" fmla="*/ 576 w 1678"/>
                <a:gd name="T23" fmla="*/ 1012 h 1012"/>
                <a:gd name="T24" fmla="*/ 1062 w 1678"/>
                <a:gd name="T25" fmla="*/ 934 h 1012"/>
                <a:gd name="T26" fmla="*/ 1640 w 1678"/>
                <a:gd name="T27" fmla="*/ 876 h 1012"/>
                <a:gd name="T28" fmla="*/ 1648 w 1678"/>
                <a:gd name="T29" fmla="*/ 876 h 1012"/>
                <a:gd name="T30" fmla="*/ 1660 w 1678"/>
                <a:gd name="T31" fmla="*/ 868 h 1012"/>
                <a:gd name="T32" fmla="*/ 1670 w 1678"/>
                <a:gd name="T33" fmla="*/ 858 h 1012"/>
                <a:gd name="T34" fmla="*/ 1676 w 1678"/>
                <a:gd name="T35" fmla="*/ 846 h 1012"/>
                <a:gd name="T36" fmla="*/ 1678 w 1678"/>
                <a:gd name="T37" fmla="*/ 36 h 1012"/>
                <a:gd name="T38" fmla="*/ 1676 w 1678"/>
                <a:gd name="T39" fmla="*/ 30 h 1012"/>
                <a:gd name="T40" fmla="*/ 1670 w 1678"/>
                <a:gd name="T41" fmla="*/ 16 h 1012"/>
                <a:gd name="T42" fmla="*/ 1660 w 1678"/>
                <a:gd name="T43" fmla="*/ 6 h 1012"/>
                <a:gd name="T44" fmla="*/ 1648 w 1678"/>
                <a:gd name="T45" fmla="*/ 0 h 1012"/>
                <a:gd name="T46" fmla="*/ 1640 w 1678"/>
                <a:gd name="T47" fmla="*/ 0 h 1012"/>
                <a:gd name="T48" fmla="*/ 1610 w 1678"/>
                <a:gd name="T49" fmla="*/ 778 h 1012"/>
                <a:gd name="T50" fmla="*/ 1610 w 1678"/>
                <a:gd name="T51" fmla="*/ 786 h 1012"/>
                <a:gd name="T52" fmla="*/ 1600 w 1678"/>
                <a:gd name="T53" fmla="*/ 800 h 1012"/>
                <a:gd name="T54" fmla="*/ 1582 w 1678"/>
                <a:gd name="T55" fmla="*/ 808 h 1012"/>
                <a:gd name="T56" fmla="*/ 104 w 1678"/>
                <a:gd name="T57" fmla="*/ 812 h 1012"/>
                <a:gd name="T58" fmla="*/ 98 w 1678"/>
                <a:gd name="T59" fmla="*/ 808 h 1012"/>
                <a:gd name="T60" fmla="*/ 82 w 1678"/>
                <a:gd name="T61" fmla="*/ 800 h 1012"/>
                <a:gd name="T62" fmla="*/ 72 w 1678"/>
                <a:gd name="T63" fmla="*/ 786 h 1012"/>
                <a:gd name="T64" fmla="*/ 72 w 1678"/>
                <a:gd name="T65" fmla="*/ 96 h 1012"/>
                <a:gd name="T66" fmla="*/ 72 w 1678"/>
                <a:gd name="T67" fmla="*/ 90 h 1012"/>
                <a:gd name="T68" fmla="*/ 82 w 1678"/>
                <a:gd name="T69" fmla="*/ 76 h 1012"/>
                <a:gd name="T70" fmla="*/ 98 w 1678"/>
                <a:gd name="T71" fmla="*/ 66 h 1012"/>
                <a:gd name="T72" fmla="*/ 1578 w 1678"/>
                <a:gd name="T73" fmla="*/ 64 h 1012"/>
                <a:gd name="T74" fmla="*/ 1582 w 1678"/>
                <a:gd name="T75" fmla="*/ 66 h 1012"/>
                <a:gd name="T76" fmla="*/ 1600 w 1678"/>
                <a:gd name="T77" fmla="*/ 76 h 1012"/>
                <a:gd name="T78" fmla="*/ 1610 w 1678"/>
                <a:gd name="T79" fmla="*/ 90 h 1012"/>
                <a:gd name="T80" fmla="*/ 1610 w 1678"/>
                <a:gd name="T81" fmla="*/ 778 h 1012"/>
                <a:gd name="T82" fmla="*/ 1610 w 1678"/>
                <a:gd name="T83" fmla="*/ 778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78" h="1012">
                  <a:moveTo>
                    <a:pt x="1640" y="0"/>
                  </a:moveTo>
                  <a:lnTo>
                    <a:pt x="40" y="0"/>
                  </a:lnTo>
                  <a:lnTo>
                    <a:pt x="40" y="0"/>
                  </a:lnTo>
                  <a:lnTo>
                    <a:pt x="32" y="0"/>
                  </a:lnTo>
                  <a:lnTo>
                    <a:pt x="26" y="2"/>
                  </a:lnTo>
                  <a:lnTo>
                    <a:pt x="20" y="6"/>
                  </a:lnTo>
                  <a:lnTo>
                    <a:pt x="14" y="10"/>
                  </a:lnTo>
                  <a:lnTo>
                    <a:pt x="8" y="16"/>
                  </a:lnTo>
                  <a:lnTo>
                    <a:pt x="4" y="24"/>
                  </a:lnTo>
                  <a:lnTo>
                    <a:pt x="2" y="30"/>
                  </a:lnTo>
                  <a:lnTo>
                    <a:pt x="0" y="36"/>
                  </a:lnTo>
                  <a:lnTo>
                    <a:pt x="0" y="838"/>
                  </a:lnTo>
                  <a:lnTo>
                    <a:pt x="0" y="838"/>
                  </a:lnTo>
                  <a:lnTo>
                    <a:pt x="2" y="846"/>
                  </a:lnTo>
                  <a:lnTo>
                    <a:pt x="4" y="852"/>
                  </a:lnTo>
                  <a:lnTo>
                    <a:pt x="8" y="858"/>
                  </a:lnTo>
                  <a:lnTo>
                    <a:pt x="14" y="866"/>
                  </a:lnTo>
                  <a:lnTo>
                    <a:pt x="20" y="868"/>
                  </a:lnTo>
                  <a:lnTo>
                    <a:pt x="26" y="874"/>
                  </a:lnTo>
                  <a:lnTo>
                    <a:pt x="32" y="876"/>
                  </a:lnTo>
                  <a:lnTo>
                    <a:pt x="40" y="876"/>
                  </a:lnTo>
                  <a:lnTo>
                    <a:pt x="658" y="876"/>
                  </a:lnTo>
                  <a:lnTo>
                    <a:pt x="658" y="934"/>
                  </a:lnTo>
                  <a:lnTo>
                    <a:pt x="576" y="1012"/>
                  </a:lnTo>
                  <a:lnTo>
                    <a:pt x="1142" y="1012"/>
                  </a:lnTo>
                  <a:lnTo>
                    <a:pt x="1062" y="934"/>
                  </a:lnTo>
                  <a:lnTo>
                    <a:pt x="1062" y="876"/>
                  </a:lnTo>
                  <a:lnTo>
                    <a:pt x="1640" y="876"/>
                  </a:lnTo>
                  <a:lnTo>
                    <a:pt x="1640" y="876"/>
                  </a:lnTo>
                  <a:lnTo>
                    <a:pt x="1648" y="876"/>
                  </a:lnTo>
                  <a:lnTo>
                    <a:pt x="1654" y="874"/>
                  </a:lnTo>
                  <a:lnTo>
                    <a:pt x="1660" y="868"/>
                  </a:lnTo>
                  <a:lnTo>
                    <a:pt x="1668" y="866"/>
                  </a:lnTo>
                  <a:lnTo>
                    <a:pt x="1670" y="858"/>
                  </a:lnTo>
                  <a:lnTo>
                    <a:pt x="1674" y="852"/>
                  </a:lnTo>
                  <a:lnTo>
                    <a:pt x="1676" y="846"/>
                  </a:lnTo>
                  <a:lnTo>
                    <a:pt x="1678" y="838"/>
                  </a:lnTo>
                  <a:lnTo>
                    <a:pt x="1678" y="36"/>
                  </a:lnTo>
                  <a:lnTo>
                    <a:pt x="1678" y="36"/>
                  </a:lnTo>
                  <a:lnTo>
                    <a:pt x="1676" y="30"/>
                  </a:lnTo>
                  <a:lnTo>
                    <a:pt x="1674" y="24"/>
                  </a:lnTo>
                  <a:lnTo>
                    <a:pt x="1670" y="16"/>
                  </a:lnTo>
                  <a:lnTo>
                    <a:pt x="1668" y="10"/>
                  </a:lnTo>
                  <a:lnTo>
                    <a:pt x="1660" y="6"/>
                  </a:lnTo>
                  <a:lnTo>
                    <a:pt x="1654" y="2"/>
                  </a:lnTo>
                  <a:lnTo>
                    <a:pt x="1648" y="0"/>
                  </a:lnTo>
                  <a:lnTo>
                    <a:pt x="1640" y="0"/>
                  </a:lnTo>
                  <a:lnTo>
                    <a:pt x="1640" y="0"/>
                  </a:lnTo>
                  <a:lnTo>
                    <a:pt x="1640" y="0"/>
                  </a:lnTo>
                  <a:close/>
                  <a:moveTo>
                    <a:pt x="1610" y="778"/>
                  </a:moveTo>
                  <a:lnTo>
                    <a:pt x="1610" y="778"/>
                  </a:lnTo>
                  <a:lnTo>
                    <a:pt x="1610" y="786"/>
                  </a:lnTo>
                  <a:lnTo>
                    <a:pt x="1608" y="792"/>
                  </a:lnTo>
                  <a:lnTo>
                    <a:pt x="1600" y="800"/>
                  </a:lnTo>
                  <a:lnTo>
                    <a:pt x="1588" y="808"/>
                  </a:lnTo>
                  <a:lnTo>
                    <a:pt x="1582" y="808"/>
                  </a:lnTo>
                  <a:lnTo>
                    <a:pt x="1578" y="812"/>
                  </a:lnTo>
                  <a:lnTo>
                    <a:pt x="104" y="812"/>
                  </a:lnTo>
                  <a:lnTo>
                    <a:pt x="104" y="812"/>
                  </a:lnTo>
                  <a:lnTo>
                    <a:pt x="98" y="808"/>
                  </a:lnTo>
                  <a:lnTo>
                    <a:pt x="92" y="808"/>
                  </a:lnTo>
                  <a:lnTo>
                    <a:pt x="82" y="800"/>
                  </a:lnTo>
                  <a:lnTo>
                    <a:pt x="74" y="792"/>
                  </a:lnTo>
                  <a:lnTo>
                    <a:pt x="72" y="786"/>
                  </a:lnTo>
                  <a:lnTo>
                    <a:pt x="72" y="778"/>
                  </a:lnTo>
                  <a:lnTo>
                    <a:pt x="72" y="96"/>
                  </a:lnTo>
                  <a:lnTo>
                    <a:pt x="72" y="96"/>
                  </a:lnTo>
                  <a:lnTo>
                    <a:pt x="72" y="90"/>
                  </a:lnTo>
                  <a:lnTo>
                    <a:pt x="74" y="84"/>
                  </a:lnTo>
                  <a:lnTo>
                    <a:pt x="82" y="76"/>
                  </a:lnTo>
                  <a:lnTo>
                    <a:pt x="92" y="66"/>
                  </a:lnTo>
                  <a:lnTo>
                    <a:pt x="98" y="66"/>
                  </a:lnTo>
                  <a:lnTo>
                    <a:pt x="104" y="64"/>
                  </a:lnTo>
                  <a:lnTo>
                    <a:pt x="1578" y="64"/>
                  </a:lnTo>
                  <a:lnTo>
                    <a:pt x="1578" y="64"/>
                  </a:lnTo>
                  <a:lnTo>
                    <a:pt x="1582" y="66"/>
                  </a:lnTo>
                  <a:lnTo>
                    <a:pt x="1588" y="66"/>
                  </a:lnTo>
                  <a:lnTo>
                    <a:pt x="1600" y="76"/>
                  </a:lnTo>
                  <a:lnTo>
                    <a:pt x="1608" y="84"/>
                  </a:lnTo>
                  <a:lnTo>
                    <a:pt x="1610" y="90"/>
                  </a:lnTo>
                  <a:lnTo>
                    <a:pt x="1610" y="96"/>
                  </a:lnTo>
                  <a:lnTo>
                    <a:pt x="1610" y="778"/>
                  </a:lnTo>
                  <a:lnTo>
                    <a:pt x="1610" y="778"/>
                  </a:lnTo>
                  <a:lnTo>
                    <a:pt x="1610" y="778"/>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047" name="Group 2046"/>
            <p:cNvGrpSpPr/>
            <p:nvPr/>
          </p:nvGrpSpPr>
          <p:grpSpPr>
            <a:xfrm>
              <a:off x="-213132" y="2200758"/>
              <a:ext cx="198108" cy="159188"/>
              <a:chOff x="897659" y="2207542"/>
              <a:chExt cx="198108" cy="159188"/>
            </a:xfrm>
          </p:grpSpPr>
          <p:sp>
            <p:nvSpPr>
              <p:cNvPr id="2048" name="Rectangle 2047"/>
              <p:cNvSpPr/>
              <p:nvPr/>
            </p:nvSpPr>
            <p:spPr bwMode="auto">
              <a:xfrm>
                <a:off x="897659" y="2207542"/>
                <a:ext cx="198108" cy="159188"/>
              </a:xfrm>
              <a:prstGeom prst="rect">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49" name="Freeform 29"/>
              <p:cNvSpPr>
                <a:spLocks noEditPoints="1"/>
              </p:cNvSpPr>
              <p:nvPr/>
            </p:nvSpPr>
            <p:spPr bwMode="auto">
              <a:xfrm>
                <a:off x="930353" y="2242297"/>
                <a:ext cx="135625" cy="91348"/>
              </a:xfrm>
              <a:custGeom>
                <a:avLst/>
                <a:gdLst>
                  <a:gd name="T0" fmla="*/ 10 w 548"/>
                  <a:gd name="T1" fmla="*/ 485 h 485"/>
                  <a:gd name="T2" fmla="*/ 528 w 548"/>
                  <a:gd name="T3" fmla="*/ 338 h 485"/>
                  <a:gd name="T4" fmla="*/ 476 w 548"/>
                  <a:gd name="T5" fmla="*/ 271 h 485"/>
                  <a:gd name="T6" fmla="*/ 410 w 548"/>
                  <a:gd name="T7" fmla="*/ 213 h 485"/>
                  <a:gd name="T8" fmla="*/ 410 w 548"/>
                  <a:gd name="T9" fmla="*/ 279 h 485"/>
                  <a:gd name="T10" fmla="*/ 402 w 548"/>
                  <a:gd name="T11" fmla="*/ 338 h 485"/>
                  <a:gd name="T12" fmla="*/ 336 w 548"/>
                  <a:gd name="T13" fmla="*/ 404 h 485"/>
                  <a:gd name="T14" fmla="*/ 212 w 548"/>
                  <a:gd name="T15" fmla="*/ 404 h 485"/>
                  <a:gd name="T16" fmla="*/ 146 w 548"/>
                  <a:gd name="T17" fmla="*/ 346 h 485"/>
                  <a:gd name="T18" fmla="*/ 146 w 548"/>
                  <a:gd name="T19" fmla="*/ 412 h 485"/>
                  <a:gd name="T20" fmla="*/ 212 w 548"/>
                  <a:gd name="T21" fmla="*/ 412 h 485"/>
                  <a:gd name="T22" fmla="*/ 344 w 548"/>
                  <a:gd name="T23" fmla="*/ 412 h 485"/>
                  <a:gd name="T24" fmla="*/ 468 w 548"/>
                  <a:gd name="T25" fmla="*/ 412 h 485"/>
                  <a:gd name="T26" fmla="*/ 468 w 548"/>
                  <a:gd name="T27" fmla="*/ 346 h 485"/>
                  <a:gd name="T28" fmla="*/ 476 w 548"/>
                  <a:gd name="T29" fmla="*/ 404 h 485"/>
                  <a:gd name="T30" fmla="*/ 270 w 548"/>
                  <a:gd name="T31" fmla="*/ 72 h 485"/>
                  <a:gd name="T32" fmla="*/ 204 w 548"/>
                  <a:gd name="T33" fmla="*/ 72 h 485"/>
                  <a:gd name="T34" fmla="*/ 204 w 548"/>
                  <a:gd name="T35" fmla="*/ 138 h 485"/>
                  <a:gd name="T36" fmla="*/ 80 w 548"/>
                  <a:gd name="T37" fmla="*/ 20 h 485"/>
                  <a:gd name="T38" fmla="*/ 80 w 548"/>
                  <a:gd name="T39" fmla="*/ 80 h 485"/>
                  <a:gd name="T40" fmla="*/ 72 w 548"/>
                  <a:gd name="T41" fmla="*/ 138 h 485"/>
                  <a:gd name="T42" fmla="*/ 20 w 548"/>
                  <a:gd name="T43" fmla="*/ 279 h 485"/>
                  <a:gd name="T44" fmla="*/ 20 w 548"/>
                  <a:gd name="T45" fmla="*/ 213 h 485"/>
                  <a:gd name="T46" fmla="*/ 138 w 548"/>
                  <a:gd name="T47" fmla="*/ 271 h 485"/>
                  <a:gd name="T48" fmla="*/ 138 w 548"/>
                  <a:gd name="T49" fmla="*/ 205 h 485"/>
                  <a:gd name="T50" fmla="*/ 146 w 548"/>
                  <a:gd name="T51" fmla="*/ 146 h 485"/>
                  <a:gd name="T52" fmla="*/ 212 w 548"/>
                  <a:gd name="T53" fmla="*/ 138 h 485"/>
                  <a:gd name="T54" fmla="*/ 336 w 548"/>
                  <a:gd name="T55" fmla="*/ 80 h 485"/>
                  <a:gd name="T56" fmla="*/ 402 w 548"/>
                  <a:gd name="T57" fmla="*/ 138 h 485"/>
                  <a:gd name="T58" fmla="*/ 402 w 548"/>
                  <a:gd name="T59" fmla="*/ 72 h 485"/>
                  <a:gd name="T60" fmla="*/ 72 w 548"/>
                  <a:gd name="T61" fmla="*/ 20 h 485"/>
                  <a:gd name="T62" fmla="*/ 389 w 548"/>
                  <a:gd name="T63" fmla="*/ 209 h 485"/>
                  <a:gd name="T64" fmla="*/ 505 w 548"/>
                  <a:gd name="T65" fmla="*/ 76 h 485"/>
                  <a:gd name="T66" fmla="*/ 504 w 548"/>
                  <a:gd name="T67" fmla="*/ 70 h 485"/>
                  <a:gd name="T68" fmla="*/ 500 w 548"/>
                  <a:gd name="T69" fmla="*/ 66 h 485"/>
                  <a:gd name="T70" fmla="*/ 493 w 548"/>
                  <a:gd name="T71" fmla="*/ 64 h 485"/>
                  <a:gd name="T72" fmla="*/ 429 w 548"/>
                  <a:gd name="T73" fmla="*/ 90 h 485"/>
                  <a:gd name="T74" fmla="*/ 249 w 548"/>
                  <a:gd name="T75" fmla="*/ 278 h 485"/>
                  <a:gd name="T76" fmla="*/ 41 w 548"/>
                  <a:gd name="T77" fmla="*/ 412 h 485"/>
                  <a:gd name="T78" fmla="*/ 80 w 548"/>
                  <a:gd name="T79" fmla="*/ 364 h 485"/>
                  <a:gd name="T80" fmla="*/ 138 w 548"/>
                  <a:gd name="T81" fmla="*/ 279 h 485"/>
                  <a:gd name="T82" fmla="*/ 146 w 548"/>
                  <a:gd name="T83" fmla="*/ 271 h 485"/>
                  <a:gd name="T84" fmla="*/ 270 w 548"/>
                  <a:gd name="T85" fmla="*/ 213 h 485"/>
                  <a:gd name="T86" fmla="*/ 278 w 548"/>
                  <a:gd name="T87" fmla="*/ 205 h 485"/>
                  <a:gd name="T88" fmla="*/ 344 w 548"/>
                  <a:gd name="T89" fmla="*/ 146 h 485"/>
                  <a:gd name="T90" fmla="*/ 418 w 548"/>
                  <a:gd name="T91" fmla="*/ 138 h 485"/>
                  <a:gd name="T92" fmla="*/ 410 w 548"/>
                  <a:gd name="T93" fmla="*/ 20 h 485"/>
                  <a:gd name="T94" fmla="*/ 528 w 548"/>
                  <a:gd name="T95" fmla="*/ 72 h 485"/>
                  <a:gd name="T96" fmla="*/ 528 w 548"/>
                  <a:gd name="T97" fmla="*/ 80 h 485"/>
                  <a:gd name="T98" fmla="*/ 476 w 548"/>
                  <a:gd name="T99" fmla="*/ 205 h 485"/>
                  <a:gd name="T100" fmla="*/ 468 w 548"/>
                  <a:gd name="T101" fmla="*/ 205 h 485"/>
                  <a:gd name="T102" fmla="*/ 344 w 548"/>
                  <a:gd name="T103" fmla="*/ 218 h 485"/>
                  <a:gd name="T104" fmla="*/ 336 w 548"/>
                  <a:gd name="T105" fmla="*/ 338 h 485"/>
                  <a:gd name="T106" fmla="*/ 212 w 548"/>
                  <a:gd name="T107" fmla="*/ 293 h 485"/>
                  <a:gd name="T108" fmla="*/ 99 w 548"/>
                  <a:gd name="T109" fmla="*/ 404 h 485"/>
                  <a:gd name="T110" fmla="*/ 72 w 548"/>
                  <a:gd name="T111" fmla="*/ 438 h 485"/>
                  <a:gd name="T112" fmla="*/ 528 w 548"/>
                  <a:gd name="T113" fmla="*/ 41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8" h="485">
                    <a:moveTo>
                      <a:pt x="538" y="0"/>
                    </a:moveTo>
                    <a:cubicBezTo>
                      <a:pt x="10" y="0"/>
                      <a:pt x="10" y="0"/>
                      <a:pt x="10" y="0"/>
                    </a:cubicBezTo>
                    <a:cubicBezTo>
                      <a:pt x="4" y="0"/>
                      <a:pt x="0" y="4"/>
                      <a:pt x="0" y="10"/>
                    </a:cubicBezTo>
                    <a:cubicBezTo>
                      <a:pt x="0" y="465"/>
                      <a:pt x="0" y="465"/>
                      <a:pt x="0" y="465"/>
                    </a:cubicBezTo>
                    <a:cubicBezTo>
                      <a:pt x="0" y="475"/>
                      <a:pt x="0" y="475"/>
                      <a:pt x="0" y="475"/>
                    </a:cubicBezTo>
                    <a:cubicBezTo>
                      <a:pt x="0" y="480"/>
                      <a:pt x="4" y="485"/>
                      <a:pt x="10" y="485"/>
                    </a:cubicBezTo>
                    <a:cubicBezTo>
                      <a:pt x="35" y="485"/>
                      <a:pt x="35" y="485"/>
                      <a:pt x="35" y="485"/>
                    </a:cubicBezTo>
                    <a:cubicBezTo>
                      <a:pt x="538" y="485"/>
                      <a:pt x="538" y="485"/>
                      <a:pt x="538" y="485"/>
                    </a:cubicBezTo>
                    <a:cubicBezTo>
                      <a:pt x="544" y="485"/>
                      <a:pt x="548" y="480"/>
                      <a:pt x="548" y="475"/>
                    </a:cubicBezTo>
                    <a:cubicBezTo>
                      <a:pt x="548" y="10"/>
                      <a:pt x="548" y="10"/>
                      <a:pt x="548" y="10"/>
                    </a:cubicBezTo>
                    <a:cubicBezTo>
                      <a:pt x="548" y="4"/>
                      <a:pt x="544" y="0"/>
                      <a:pt x="538" y="0"/>
                    </a:cubicBezTo>
                    <a:close/>
                    <a:moveTo>
                      <a:pt x="528" y="338"/>
                    </a:moveTo>
                    <a:cubicBezTo>
                      <a:pt x="476" y="338"/>
                      <a:pt x="476" y="338"/>
                      <a:pt x="476" y="338"/>
                    </a:cubicBezTo>
                    <a:cubicBezTo>
                      <a:pt x="476" y="279"/>
                      <a:pt x="476" y="279"/>
                      <a:pt x="476" y="279"/>
                    </a:cubicBezTo>
                    <a:cubicBezTo>
                      <a:pt x="528" y="279"/>
                      <a:pt x="528" y="279"/>
                      <a:pt x="528" y="279"/>
                    </a:cubicBezTo>
                    <a:cubicBezTo>
                      <a:pt x="528" y="299"/>
                      <a:pt x="528" y="319"/>
                      <a:pt x="528" y="338"/>
                    </a:cubicBezTo>
                    <a:close/>
                    <a:moveTo>
                      <a:pt x="528" y="271"/>
                    </a:moveTo>
                    <a:cubicBezTo>
                      <a:pt x="476" y="271"/>
                      <a:pt x="476" y="271"/>
                      <a:pt x="476" y="271"/>
                    </a:cubicBezTo>
                    <a:cubicBezTo>
                      <a:pt x="476" y="213"/>
                      <a:pt x="476" y="213"/>
                      <a:pt x="476" y="213"/>
                    </a:cubicBezTo>
                    <a:cubicBezTo>
                      <a:pt x="528" y="213"/>
                      <a:pt x="528" y="213"/>
                      <a:pt x="528" y="213"/>
                    </a:cubicBezTo>
                    <a:cubicBezTo>
                      <a:pt x="528" y="232"/>
                      <a:pt x="528" y="252"/>
                      <a:pt x="528" y="271"/>
                    </a:cubicBezTo>
                    <a:close/>
                    <a:moveTo>
                      <a:pt x="468" y="271"/>
                    </a:moveTo>
                    <a:cubicBezTo>
                      <a:pt x="410" y="271"/>
                      <a:pt x="410" y="271"/>
                      <a:pt x="410" y="271"/>
                    </a:cubicBezTo>
                    <a:cubicBezTo>
                      <a:pt x="410" y="213"/>
                      <a:pt x="410" y="213"/>
                      <a:pt x="410" y="213"/>
                    </a:cubicBezTo>
                    <a:cubicBezTo>
                      <a:pt x="468" y="213"/>
                      <a:pt x="468" y="213"/>
                      <a:pt x="468" y="213"/>
                    </a:cubicBezTo>
                    <a:lnTo>
                      <a:pt x="468" y="271"/>
                    </a:lnTo>
                    <a:close/>
                    <a:moveTo>
                      <a:pt x="468" y="279"/>
                    </a:moveTo>
                    <a:cubicBezTo>
                      <a:pt x="468" y="338"/>
                      <a:pt x="468" y="338"/>
                      <a:pt x="468" y="338"/>
                    </a:cubicBezTo>
                    <a:cubicBezTo>
                      <a:pt x="410" y="338"/>
                      <a:pt x="410" y="338"/>
                      <a:pt x="410" y="338"/>
                    </a:cubicBezTo>
                    <a:cubicBezTo>
                      <a:pt x="410" y="279"/>
                      <a:pt x="410" y="279"/>
                      <a:pt x="410" y="279"/>
                    </a:cubicBezTo>
                    <a:lnTo>
                      <a:pt x="468" y="279"/>
                    </a:lnTo>
                    <a:close/>
                    <a:moveTo>
                      <a:pt x="402" y="338"/>
                    </a:moveTo>
                    <a:cubicBezTo>
                      <a:pt x="344" y="338"/>
                      <a:pt x="344" y="338"/>
                      <a:pt x="344" y="338"/>
                    </a:cubicBezTo>
                    <a:cubicBezTo>
                      <a:pt x="344" y="279"/>
                      <a:pt x="344" y="279"/>
                      <a:pt x="344" y="279"/>
                    </a:cubicBezTo>
                    <a:cubicBezTo>
                      <a:pt x="402" y="279"/>
                      <a:pt x="402" y="279"/>
                      <a:pt x="402" y="279"/>
                    </a:cubicBezTo>
                    <a:lnTo>
                      <a:pt x="402" y="338"/>
                    </a:lnTo>
                    <a:close/>
                    <a:moveTo>
                      <a:pt x="402" y="346"/>
                    </a:moveTo>
                    <a:cubicBezTo>
                      <a:pt x="402" y="404"/>
                      <a:pt x="402" y="404"/>
                      <a:pt x="402" y="404"/>
                    </a:cubicBezTo>
                    <a:cubicBezTo>
                      <a:pt x="344" y="404"/>
                      <a:pt x="344" y="404"/>
                      <a:pt x="344" y="404"/>
                    </a:cubicBezTo>
                    <a:cubicBezTo>
                      <a:pt x="344" y="346"/>
                      <a:pt x="344" y="346"/>
                      <a:pt x="344" y="346"/>
                    </a:cubicBezTo>
                    <a:lnTo>
                      <a:pt x="402" y="346"/>
                    </a:lnTo>
                    <a:close/>
                    <a:moveTo>
                      <a:pt x="336" y="404"/>
                    </a:moveTo>
                    <a:cubicBezTo>
                      <a:pt x="278" y="404"/>
                      <a:pt x="278" y="404"/>
                      <a:pt x="278" y="404"/>
                    </a:cubicBezTo>
                    <a:cubicBezTo>
                      <a:pt x="278" y="346"/>
                      <a:pt x="278" y="346"/>
                      <a:pt x="278" y="346"/>
                    </a:cubicBezTo>
                    <a:cubicBezTo>
                      <a:pt x="336" y="346"/>
                      <a:pt x="336" y="346"/>
                      <a:pt x="336" y="346"/>
                    </a:cubicBezTo>
                    <a:lnTo>
                      <a:pt x="336" y="404"/>
                    </a:lnTo>
                    <a:close/>
                    <a:moveTo>
                      <a:pt x="270" y="404"/>
                    </a:moveTo>
                    <a:cubicBezTo>
                      <a:pt x="212" y="404"/>
                      <a:pt x="212" y="404"/>
                      <a:pt x="212" y="404"/>
                    </a:cubicBezTo>
                    <a:cubicBezTo>
                      <a:pt x="212" y="346"/>
                      <a:pt x="212" y="346"/>
                      <a:pt x="212" y="346"/>
                    </a:cubicBezTo>
                    <a:cubicBezTo>
                      <a:pt x="270" y="346"/>
                      <a:pt x="270" y="346"/>
                      <a:pt x="270" y="346"/>
                    </a:cubicBezTo>
                    <a:lnTo>
                      <a:pt x="270" y="404"/>
                    </a:lnTo>
                    <a:close/>
                    <a:moveTo>
                      <a:pt x="204" y="404"/>
                    </a:moveTo>
                    <a:cubicBezTo>
                      <a:pt x="146" y="404"/>
                      <a:pt x="146" y="404"/>
                      <a:pt x="146" y="404"/>
                    </a:cubicBezTo>
                    <a:cubicBezTo>
                      <a:pt x="146" y="346"/>
                      <a:pt x="146" y="346"/>
                      <a:pt x="146" y="346"/>
                    </a:cubicBezTo>
                    <a:cubicBezTo>
                      <a:pt x="204" y="346"/>
                      <a:pt x="204" y="346"/>
                      <a:pt x="204" y="346"/>
                    </a:cubicBezTo>
                    <a:lnTo>
                      <a:pt x="204" y="404"/>
                    </a:lnTo>
                    <a:close/>
                    <a:moveTo>
                      <a:pt x="204" y="412"/>
                    </a:moveTo>
                    <a:cubicBezTo>
                      <a:pt x="204" y="465"/>
                      <a:pt x="204" y="465"/>
                      <a:pt x="204" y="465"/>
                    </a:cubicBezTo>
                    <a:cubicBezTo>
                      <a:pt x="184" y="465"/>
                      <a:pt x="164" y="465"/>
                      <a:pt x="146" y="465"/>
                    </a:cubicBezTo>
                    <a:cubicBezTo>
                      <a:pt x="146" y="412"/>
                      <a:pt x="146" y="412"/>
                      <a:pt x="146" y="412"/>
                    </a:cubicBezTo>
                    <a:lnTo>
                      <a:pt x="204" y="412"/>
                    </a:lnTo>
                    <a:close/>
                    <a:moveTo>
                      <a:pt x="212" y="412"/>
                    </a:moveTo>
                    <a:cubicBezTo>
                      <a:pt x="270" y="412"/>
                      <a:pt x="270" y="412"/>
                      <a:pt x="270" y="412"/>
                    </a:cubicBezTo>
                    <a:cubicBezTo>
                      <a:pt x="270" y="465"/>
                      <a:pt x="270" y="465"/>
                      <a:pt x="270" y="465"/>
                    </a:cubicBezTo>
                    <a:cubicBezTo>
                      <a:pt x="251" y="465"/>
                      <a:pt x="231" y="465"/>
                      <a:pt x="212" y="465"/>
                    </a:cubicBezTo>
                    <a:lnTo>
                      <a:pt x="212" y="412"/>
                    </a:lnTo>
                    <a:close/>
                    <a:moveTo>
                      <a:pt x="278" y="412"/>
                    </a:moveTo>
                    <a:cubicBezTo>
                      <a:pt x="336" y="412"/>
                      <a:pt x="336" y="412"/>
                      <a:pt x="336" y="412"/>
                    </a:cubicBezTo>
                    <a:cubicBezTo>
                      <a:pt x="336" y="465"/>
                      <a:pt x="336" y="465"/>
                      <a:pt x="336" y="465"/>
                    </a:cubicBezTo>
                    <a:cubicBezTo>
                      <a:pt x="317" y="465"/>
                      <a:pt x="298" y="465"/>
                      <a:pt x="278" y="465"/>
                    </a:cubicBezTo>
                    <a:lnTo>
                      <a:pt x="278" y="412"/>
                    </a:lnTo>
                    <a:close/>
                    <a:moveTo>
                      <a:pt x="344" y="412"/>
                    </a:moveTo>
                    <a:cubicBezTo>
                      <a:pt x="402" y="412"/>
                      <a:pt x="402" y="412"/>
                      <a:pt x="402" y="412"/>
                    </a:cubicBezTo>
                    <a:cubicBezTo>
                      <a:pt x="402" y="465"/>
                      <a:pt x="402" y="465"/>
                      <a:pt x="402" y="465"/>
                    </a:cubicBezTo>
                    <a:cubicBezTo>
                      <a:pt x="384" y="465"/>
                      <a:pt x="364" y="465"/>
                      <a:pt x="344" y="465"/>
                    </a:cubicBezTo>
                    <a:lnTo>
                      <a:pt x="344" y="412"/>
                    </a:lnTo>
                    <a:close/>
                    <a:moveTo>
                      <a:pt x="410" y="412"/>
                    </a:moveTo>
                    <a:cubicBezTo>
                      <a:pt x="468" y="412"/>
                      <a:pt x="468" y="412"/>
                      <a:pt x="468" y="412"/>
                    </a:cubicBezTo>
                    <a:cubicBezTo>
                      <a:pt x="468" y="465"/>
                      <a:pt x="468" y="465"/>
                      <a:pt x="468" y="465"/>
                    </a:cubicBezTo>
                    <a:cubicBezTo>
                      <a:pt x="452" y="465"/>
                      <a:pt x="432" y="465"/>
                      <a:pt x="410" y="465"/>
                    </a:cubicBezTo>
                    <a:lnTo>
                      <a:pt x="410" y="412"/>
                    </a:lnTo>
                    <a:close/>
                    <a:moveTo>
                      <a:pt x="410" y="404"/>
                    </a:moveTo>
                    <a:cubicBezTo>
                      <a:pt x="410" y="346"/>
                      <a:pt x="410" y="346"/>
                      <a:pt x="410" y="346"/>
                    </a:cubicBezTo>
                    <a:cubicBezTo>
                      <a:pt x="468" y="346"/>
                      <a:pt x="468" y="346"/>
                      <a:pt x="468" y="346"/>
                    </a:cubicBezTo>
                    <a:cubicBezTo>
                      <a:pt x="468" y="404"/>
                      <a:pt x="468" y="404"/>
                      <a:pt x="468" y="404"/>
                    </a:cubicBezTo>
                    <a:lnTo>
                      <a:pt x="410" y="404"/>
                    </a:lnTo>
                    <a:close/>
                    <a:moveTo>
                      <a:pt x="476" y="346"/>
                    </a:moveTo>
                    <a:cubicBezTo>
                      <a:pt x="528" y="346"/>
                      <a:pt x="528" y="346"/>
                      <a:pt x="528" y="346"/>
                    </a:cubicBezTo>
                    <a:cubicBezTo>
                      <a:pt x="528" y="367"/>
                      <a:pt x="528" y="387"/>
                      <a:pt x="528" y="404"/>
                    </a:cubicBezTo>
                    <a:cubicBezTo>
                      <a:pt x="476" y="404"/>
                      <a:pt x="476" y="404"/>
                      <a:pt x="476" y="404"/>
                    </a:cubicBezTo>
                    <a:lnTo>
                      <a:pt x="476" y="346"/>
                    </a:lnTo>
                    <a:close/>
                    <a:moveTo>
                      <a:pt x="270" y="72"/>
                    </a:moveTo>
                    <a:cubicBezTo>
                      <a:pt x="212" y="72"/>
                      <a:pt x="212" y="72"/>
                      <a:pt x="212" y="72"/>
                    </a:cubicBezTo>
                    <a:cubicBezTo>
                      <a:pt x="212" y="20"/>
                      <a:pt x="212" y="20"/>
                      <a:pt x="212" y="20"/>
                    </a:cubicBezTo>
                    <a:cubicBezTo>
                      <a:pt x="231" y="20"/>
                      <a:pt x="251" y="20"/>
                      <a:pt x="270" y="20"/>
                    </a:cubicBezTo>
                    <a:lnTo>
                      <a:pt x="270" y="72"/>
                    </a:lnTo>
                    <a:close/>
                    <a:moveTo>
                      <a:pt x="278" y="20"/>
                    </a:moveTo>
                    <a:cubicBezTo>
                      <a:pt x="298" y="20"/>
                      <a:pt x="317" y="20"/>
                      <a:pt x="336" y="20"/>
                    </a:cubicBezTo>
                    <a:cubicBezTo>
                      <a:pt x="336" y="72"/>
                      <a:pt x="336" y="72"/>
                      <a:pt x="336" y="72"/>
                    </a:cubicBezTo>
                    <a:cubicBezTo>
                      <a:pt x="278" y="72"/>
                      <a:pt x="278" y="72"/>
                      <a:pt x="278" y="72"/>
                    </a:cubicBezTo>
                    <a:lnTo>
                      <a:pt x="278" y="20"/>
                    </a:lnTo>
                    <a:close/>
                    <a:moveTo>
                      <a:pt x="204" y="72"/>
                    </a:moveTo>
                    <a:cubicBezTo>
                      <a:pt x="146" y="72"/>
                      <a:pt x="146" y="72"/>
                      <a:pt x="146" y="72"/>
                    </a:cubicBezTo>
                    <a:cubicBezTo>
                      <a:pt x="146" y="20"/>
                      <a:pt x="146" y="20"/>
                      <a:pt x="146" y="20"/>
                    </a:cubicBezTo>
                    <a:cubicBezTo>
                      <a:pt x="164" y="20"/>
                      <a:pt x="184" y="20"/>
                      <a:pt x="204" y="20"/>
                    </a:cubicBezTo>
                    <a:lnTo>
                      <a:pt x="204" y="72"/>
                    </a:lnTo>
                    <a:close/>
                    <a:moveTo>
                      <a:pt x="204" y="80"/>
                    </a:moveTo>
                    <a:cubicBezTo>
                      <a:pt x="204" y="138"/>
                      <a:pt x="204" y="138"/>
                      <a:pt x="204" y="138"/>
                    </a:cubicBezTo>
                    <a:cubicBezTo>
                      <a:pt x="146" y="138"/>
                      <a:pt x="146" y="138"/>
                      <a:pt x="146" y="138"/>
                    </a:cubicBezTo>
                    <a:cubicBezTo>
                      <a:pt x="146" y="80"/>
                      <a:pt x="146" y="80"/>
                      <a:pt x="146" y="80"/>
                    </a:cubicBezTo>
                    <a:lnTo>
                      <a:pt x="204" y="80"/>
                    </a:lnTo>
                    <a:close/>
                    <a:moveTo>
                      <a:pt x="138" y="72"/>
                    </a:moveTo>
                    <a:cubicBezTo>
                      <a:pt x="80" y="72"/>
                      <a:pt x="80" y="72"/>
                      <a:pt x="80" y="72"/>
                    </a:cubicBezTo>
                    <a:cubicBezTo>
                      <a:pt x="80" y="20"/>
                      <a:pt x="80" y="20"/>
                      <a:pt x="80" y="20"/>
                    </a:cubicBezTo>
                    <a:cubicBezTo>
                      <a:pt x="97" y="20"/>
                      <a:pt x="116" y="20"/>
                      <a:pt x="138" y="20"/>
                    </a:cubicBezTo>
                    <a:lnTo>
                      <a:pt x="138" y="72"/>
                    </a:lnTo>
                    <a:close/>
                    <a:moveTo>
                      <a:pt x="138" y="80"/>
                    </a:moveTo>
                    <a:cubicBezTo>
                      <a:pt x="138" y="138"/>
                      <a:pt x="138" y="138"/>
                      <a:pt x="138" y="138"/>
                    </a:cubicBezTo>
                    <a:cubicBezTo>
                      <a:pt x="80" y="138"/>
                      <a:pt x="80" y="138"/>
                      <a:pt x="80" y="138"/>
                    </a:cubicBezTo>
                    <a:cubicBezTo>
                      <a:pt x="80" y="80"/>
                      <a:pt x="80" y="80"/>
                      <a:pt x="80" y="80"/>
                    </a:cubicBezTo>
                    <a:lnTo>
                      <a:pt x="138" y="80"/>
                    </a:lnTo>
                    <a:close/>
                    <a:moveTo>
                      <a:pt x="72" y="138"/>
                    </a:moveTo>
                    <a:cubicBezTo>
                      <a:pt x="20" y="138"/>
                      <a:pt x="20" y="138"/>
                      <a:pt x="20" y="138"/>
                    </a:cubicBezTo>
                    <a:cubicBezTo>
                      <a:pt x="20" y="117"/>
                      <a:pt x="20" y="97"/>
                      <a:pt x="20" y="80"/>
                    </a:cubicBezTo>
                    <a:cubicBezTo>
                      <a:pt x="72" y="80"/>
                      <a:pt x="72" y="80"/>
                      <a:pt x="72" y="80"/>
                    </a:cubicBezTo>
                    <a:lnTo>
                      <a:pt x="72" y="138"/>
                    </a:lnTo>
                    <a:close/>
                    <a:moveTo>
                      <a:pt x="20" y="146"/>
                    </a:moveTo>
                    <a:cubicBezTo>
                      <a:pt x="72" y="146"/>
                      <a:pt x="72" y="146"/>
                      <a:pt x="72" y="146"/>
                    </a:cubicBezTo>
                    <a:cubicBezTo>
                      <a:pt x="72" y="205"/>
                      <a:pt x="72" y="205"/>
                      <a:pt x="72" y="205"/>
                    </a:cubicBezTo>
                    <a:cubicBezTo>
                      <a:pt x="20" y="205"/>
                      <a:pt x="20" y="205"/>
                      <a:pt x="20" y="205"/>
                    </a:cubicBezTo>
                    <a:cubicBezTo>
                      <a:pt x="20" y="185"/>
                      <a:pt x="20" y="165"/>
                      <a:pt x="20" y="146"/>
                    </a:cubicBezTo>
                    <a:close/>
                    <a:moveTo>
                      <a:pt x="20" y="279"/>
                    </a:moveTo>
                    <a:cubicBezTo>
                      <a:pt x="72" y="279"/>
                      <a:pt x="72" y="279"/>
                      <a:pt x="72" y="279"/>
                    </a:cubicBezTo>
                    <a:cubicBezTo>
                      <a:pt x="72" y="338"/>
                      <a:pt x="72" y="338"/>
                      <a:pt x="72" y="338"/>
                    </a:cubicBezTo>
                    <a:cubicBezTo>
                      <a:pt x="20" y="338"/>
                      <a:pt x="20" y="338"/>
                      <a:pt x="20" y="338"/>
                    </a:cubicBezTo>
                    <a:cubicBezTo>
                      <a:pt x="20" y="319"/>
                      <a:pt x="20" y="299"/>
                      <a:pt x="20" y="279"/>
                    </a:cubicBezTo>
                    <a:close/>
                    <a:moveTo>
                      <a:pt x="20" y="271"/>
                    </a:moveTo>
                    <a:cubicBezTo>
                      <a:pt x="20" y="252"/>
                      <a:pt x="20" y="232"/>
                      <a:pt x="20" y="213"/>
                    </a:cubicBezTo>
                    <a:cubicBezTo>
                      <a:pt x="72" y="213"/>
                      <a:pt x="72" y="213"/>
                      <a:pt x="72" y="213"/>
                    </a:cubicBezTo>
                    <a:cubicBezTo>
                      <a:pt x="72" y="271"/>
                      <a:pt x="72" y="271"/>
                      <a:pt x="72" y="271"/>
                    </a:cubicBezTo>
                    <a:lnTo>
                      <a:pt x="20" y="271"/>
                    </a:lnTo>
                    <a:close/>
                    <a:moveTo>
                      <a:pt x="80" y="213"/>
                    </a:moveTo>
                    <a:cubicBezTo>
                      <a:pt x="138" y="213"/>
                      <a:pt x="138" y="213"/>
                      <a:pt x="138" y="213"/>
                    </a:cubicBezTo>
                    <a:cubicBezTo>
                      <a:pt x="138" y="271"/>
                      <a:pt x="138" y="271"/>
                      <a:pt x="138" y="271"/>
                    </a:cubicBezTo>
                    <a:cubicBezTo>
                      <a:pt x="80" y="271"/>
                      <a:pt x="80" y="271"/>
                      <a:pt x="80" y="271"/>
                    </a:cubicBezTo>
                    <a:lnTo>
                      <a:pt x="80" y="213"/>
                    </a:lnTo>
                    <a:close/>
                    <a:moveTo>
                      <a:pt x="80" y="205"/>
                    </a:moveTo>
                    <a:cubicBezTo>
                      <a:pt x="80" y="146"/>
                      <a:pt x="80" y="146"/>
                      <a:pt x="80" y="146"/>
                    </a:cubicBezTo>
                    <a:cubicBezTo>
                      <a:pt x="138" y="146"/>
                      <a:pt x="138" y="146"/>
                      <a:pt x="138" y="146"/>
                    </a:cubicBezTo>
                    <a:cubicBezTo>
                      <a:pt x="138" y="205"/>
                      <a:pt x="138" y="205"/>
                      <a:pt x="138" y="205"/>
                    </a:cubicBezTo>
                    <a:lnTo>
                      <a:pt x="80" y="205"/>
                    </a:lnTo>
                    <a:close/>
                    <a:moveTo>
                      <a:pt x="146" y="146"/>
                    </a:moveTo>
                    <a:cubicBezTo>
                      <a:pt x="204" y="146"/>
                      <a:pt x="204" y="146"/>
                      <a:pt x="204" y="146"/>
                    </a:cubicBezTo>
                    <a:cubicBezTo>
                      <a:pt x="204" y="205"/>
                      <a:pt x="204" y="205"/>
                      <a:pt x="204" y="205"/>
                    </a:cubicBezTo>
                    <a:cubicBezTo>
                      <a:pt x="146" y="205"/>
                      <a:pt x="146" y="205"/>
                      <a:pt x="146" y="205"/>
                    </a:cubicBezTo>
                    <a:lnTo>
                      <a:pt x="146" y="146"/>
                    </a:lnTo>
                    <a:close/>
                    <a:moveTo>
                      <a:pt x="212" y="146"/>
                    </a:moveTo>
                    <a:cubicBezTo>
                      <a:pt x="270" y="146"/>
                      <a:pt x="270" y="146"/>
                      <a:pt x="270" y="146"/>
                    </a:cubicBezTo>
                    <a:cubicBezTo>
                      <a:pt x="270" y="205"/>
                      <a:pt x="270" y="205"/>
                      <a:pt x="270" y="205"/>
                    </a:cubicBezTo>
                    <a:cubicBezTo>
                      <a:pt x="212" y="205"/>
                      <a:pt x="212" y="205"/>
                      <a:pt x="212" y="205"/>
                    </a:cubicBezTo>
                    <a:lnTo>
                      <a:pt x="212" y="146"/>
                    </a:lnTo>
                    <a:close/>
                    <a:moveTo>
                      <a:pt x="212" y="138"/>
                    </a:moveTo>
                    <a:cubicBezTo>
                      <a:pt x="212" y="80"/>
                      <a:pt x="212" y="80"/>
                      <a:pt x="212" y="80"/>
                    </a:cubicBezTo>
                    <a:cubicBezTo>
                      <a:pt x="270" y="80"/>
                      <a:pt x="270" y="80"/>
                      <a:pt x="270" y="80"/>
                    </a:cubicBezTo>
                    <a:cubicBezTo>
                      <a:pt x="270" y="138"/>
                      <a:pt x="270" y="138"/>
                      <a:pt x="270" y="138"/>
                    </a:cubicBezTo>
                    <a:lnTo>
                      <a:pt x="212" y="138"/>
                    </a:lnTo>
                    <a:close/>
                    <a:moveTo>
                      <a:pt x="278" y="80"/>
                    </a:moveTo>
                    <a:cubicBezTo>
                      <a:pt x="336" y="80"/>
                      <a:pt x="336" y="80"/>
                      <a:pt x="336" y="80"/>
                    </a:cubicBezTo>
                    <a:cubicBezTo>
                      <a:pt x="336" y="138"/>
                      <a:pt x="336" y="138"/>
                      <a:pt x="336" y="138"/>
                    </a:cubicBezTo>
                    <a:cubicBezTo>
                      <a:pt x="278" y="138"/>
                      <a:pt x="278" y="138"/>
                      <a:pt x="278" y="138"/>
                    </a:cubicBezTo>
                    <a:lnTo>
                      <a:pt x="278" y="80"/>
                    </a:lnTo>
                    <a:close/>
                    <a:moveTo>
                      <a:pt x="344" y="80"/>
                    </a:moveTo>
                    <a:cubicBezTo>
                      <a:pt x="402" y="80"/>
                      <a:pt x="402" y="80"/>
                      <a:pt x="402" y="80"/>
                    </a:cubicBezTo>
                    <a:cubicBezTo>
                      <a:pt x="402" y="138"/>
                      <a:pt x="402" y="138"/>
                      <a:pt x="402" y="138"/>
                    </a:cubicBezTo>
                    <a:cubicBezTo>
                      <a:pt x="344" y="138"/>
                      <a:pt x="344" y="138"/>
                      <a:pt x="344" y="138"/>
                    </a:cubicBezTo>
                    <a:lnTo>
                      <a:pt x="344" y="80"/>
                    </a:lnTo>
                    <a:close/>
                    <a:moveTo>
                      <a:pt x="344" y="72"/>
                    </a:moveTo>
                    <a:cubicBezTo>
                      <a:pt x="344" y="20"/>
                      <a:pt x="344" y="20"/>
                      <a:pt x="344" y="20"/>
                    </a:cubicBezTo>
                    <a:cubicBezTo>
                      <a:pt x="364" y="20"/>
                      <a:pt x="384" y="20"/>
                      <a:pt x="402" y="20"/>
                    </a:cubicBezTo>
                    <a:cubicBezTo>
                      <a:pt x="402" y="72"/>
                      <a:pt x="402" y="72"/>
                      <a:pt x="402" y="72"/>
                    </a:cubicBezTo>
                    <a:lnTo>
                      <a:pt x="344" y="72"/>
                    </a:lnTo>
                    <a:close/>
                    <a:moveTo>
                      <a:pt x="72" y="20"/>
                    </a:moveTo>
                    <a:cubicBezTo>
                      <a:pt x="72" y="72"/>
                      <a:pt x="72" y="72"/>
                      <a:pt x="72" y="72"/>
                    </a:cubicBezTo>
                    <a:cubicBezTo>
                      <a:pt x="20" y="72"/>
                      <a:pt x="20" y="72"/>
                      <a:pt x="20" y="72"/>
                    </a:cubicBezTo>
                    <a:cubicBezTo>
                      <a:pt x="20" y="43"/>
                      <a:pt x="20" y="23"/>
                      <a:pt x="20" y="20"/>
                    </a:cubicBezTo>
                    <a:cubicBezTo>
                      <a:pt x="23" y="20"/>
                      <a:pt x="43" y="20"/>
                      <a:pt x="72" y="20"/>
                    </a:cubicBezTo>
                    <a:close/>
                    <a:moveTo>
                      <a:pt x="42" y="465"/>
                    </a:moveTo>
                    <a:cubicBezTo>
                      <a:pt x="74" y="424"/>
                      <a:pt x="183" y="286"/>
                      <a:pt x="193" y="273"/>
                    </a:cubicBezTo>
                    <a:cubicBezTo>
                      <a:pt x="206" y="281"/>
                      <a:pt x="246" y="304"/>
                      <a:pt x="246" y="304"/>
                    </a:cubicBezTo>
                    <a:cubicBezTo>
                      <a:pt x="251" y="307"/>
                      <a:pt x="257" y="306"/>
                      <a:pt x="261" y="301"/>
                    </a:cubicBezTo>
                    <a:cubicBezTo>
                      <a:pt x="261" y="301"/>
                      <a:pt x="347" y="203"/>
                      <a:pt x="359" y="189"/>
                    </a:cubicBezTo>
                    <a:cubicBezTo>
                      <a:pt x="369" y="196"/>
                      <a:pt x="389" y="209"/>
                      <a:pt x="389" y="209"/>
                    </a:cubicBezTo>
                    <a:cubicBezTo>
                      <a:pt x="394" y="212"/>
                      <a:pt x="401" y="211"/>
                      <a:pt x="405" y="206"/>
                    </a:cubicBezTo>
                    <a:cubicBezTo>
                      <a:pt x="481" y="110"/>
                      <a:pt x="481" y="110"/>
                      <a:pt x="481" y="110"/>
                    </a:cubicBezTo>
                    <a:cubicBezTo>
                      <a:pt x="481" y="133"/>
                      <a:pt x="481" y="133"/>
                      <a:pt x="481" y="133"/>
                    </a:cubicBezTo>
                    <a:cubicBezTo>
                      <a:pt x="481" y="139"/>
                      <a:pt x="487" y="145"/>
                      <a:pt x="493" y="145"/>
                    </a:cubicBezTo>
                    <a:cubicBezTo>
                      <a:pt x="500" y="145"/>
                      <a:pt x="505" y="139"/>
                      <a:pt x="505" y="133"/>
                    </a:cubicBezTo>
                    <a:cubicBezTo>
                      <a:pt x="505" y="76"/>
                      <a:pt x="505" y="76"/>
                      <a:pt x="505" y="76"/>
                    </a:cubicBezTo>
                    <a:cubicBezTo>
                      <a:pt x="505" y="76"/>
                      <a:pt x="505" y="76"/>
                      <a:pt x="505" y="76"/>
                    </a:cubicBezTo>
                    <a:cubicBezTo>
                      <a:pt x="505" y="75"/>
                      <a:pt x="505" y="74"/>
                      <a:pt x="505" y="74"/>
                    </a:cubicBezTo>
                    <a:cubicBezTo>
                      <a:pt x="505" y="74"/>
                      <a:pt x="505" y="74"/>
                      <a:pt x="505" y="73"/>
                    </a:cubicBezTo>
                    <a:cubicBezTo>
                      <a:pt x="505" y="73"/>
                      <a:pt x="505" y="72"/>
                      <a:pt x="505" y="71"/>
                    </a:cubicBezTo>
                    <a:cubicBezTo>
                      <a:pt x="504" y="71"/>
                      <a:pt x="504" y="71"/>
                      <a:pt x="504" y="71"/>
                    </a:cubicBezTo>
                    <a:cubicBezTo>
                      <a:pt x="504" y="71"/>
                      <a:pt x="504" y="70"/>
                      <a:pt x="504" y="70"/>
                    </a:cubicBezTo>
                    <a:cubicBezTo>
                      <a:pt x="504" y="70"/>
                      <a:pt x="503" y="69"/>
                      <a:pt x="503" y="69"/>
                    </a:cubicBezTo>
                    <a:cubicBezTo>
                      <a:pt x="503" y="69"/>
                      <a:pt x="503" y="69"/>
                      <a:pt x="503" y="69"/>
                    </a:cubicBezTo>
                    <a:cubicBezTo>
                      <a:pt x="503" y="68"/>
                      <a:pt x="502" y="68"/>
                      <a:pt x="502" y="68"/>
                    </a:cubicBezTo>
                    <a:cubicBezTo>
                      <a:pt x="502" y="68"/>
                      <a:pt x="502" y="67"/>
                      <a:pt x="502" y="67"/>
                    </a:cubicBezTo>
                    <a:cubicBezTo>
                      <a:pt x="501" y="67"/>
                      <a:pt x="501" y="67"/>
                      <a:pt x="500" y="66"/>
                    </a:cubicBezTo>
                    <a:cubicBezTo>
                      <a:pt x="500" y="66"/>
                      <a:pt x="500" y="66"/>
                      <a:pt x="500" y="66"/>
                    </a:cubicBezTo>
                    <a:cubicBezTo>
                      <a:pt x="499" y="66"/>
                      <a:pt x="499" y="65"/>
                      <a:pt x="498" y="65"/>
                    </a:cubicBezTo>
                    <a:cubicBezTo>
                      <a:pt x="498" y="65"/>
                      <a:pt x="498" y="65"/>
                      <a:pt x="498" y="65"/>
                    </a:cubicBezTo>
                    <a:cubicBezTo>
                      <a:pt x="497" y="65"/>
                      <a:pt x="497" y="64"/>
                      <a:pt x="496" y="64"/>
                    </a:cubicBezTo>
                    <a:cubicBezTo>
                      <a:pt x="496" y="64"/>
                      <a:pt x="496" y="64"/>
                      <a:pt x="495" y="64"/>
                    </a:cubicBezTo>
                    <a:cubicBezTo>
                      <a:pt x="495" y="64"/>
                      <a:pt x="494" y="64"/>
                      <a:pt x="494" y="64"/>
                    </a:cubicBezTo>
                    <a:cubicBezTo>
                      <a:pt x="494" y="64"/>
                      <a:pt x="494" y="64"/>
                      <a:pt x="493" y="64"/>
                    </a:cubicBezTo>
                    <a:cubicBezTo>
                      <a:pt x="493" y="64"/>
                      <a:pt x="493" y="64"/>
                      <a:pt x="493" y="64"/>
                    </a:cubicBezTo>
                    <a:cubicBezTo>
                      <a:pt x="493" y="64"/>
                      <a:pt x="492" y="64"/>
                      <a:pt x="491" y="64"/>
                    </a:cubicBezTo>
                    <a:cubicBezTo>
                      <a:pt x="491" y="64"/>
                      <a:pt x="491" y="64"/>
                      <a:pt x="491" y="64"/>
                    </a:cubicBezTo>
                    <a:cubicBezTo>
                      <a:pt x="491" y="64"/>
                      <a:pt x="491" y="64"/>
                      <a:pt x="491" y="64"/>
                    </a:cubicBezTo>
                    <a:cubicBezTo>
                      <a:pt x="438" y="76"/>
                      <a:pt x="438" y="76"/>
                      <a:pt x="438" y="76"/>
                    </a:cubicBezTo>
                    <a:cubicBezTo>
                      <a:pt x="432" y="77"/>
                      <a:pt x="428" y="84"/>
                      <a:pt x="429" y="90"/>
                    </a:cubicBezTo>
                    <a:cubicBezTo>
                      <a:pt x="431" y="97"/>
                      <a:pt x="437" y="101"/>
                      <a:pt x="443" y="99"/>
                    </a:cubicBezTo>
                    <a:cubicBezTo>
                      <a:pt x="443" y="99"/>
                      <a:pt x="454" y="97"/>
                      <a:pt x="463" y="95"/>
                    </a:cubicBezTo>
                    <a:cubicBezTo>
                      <a:pt x="439" y="125"/>
                      <a:pt x="402" y="171"/>
                      <a:pt x="393" y="183"/>
                    </a:cubicBezTo>
                    <a:cubicBezTo>
                      <a:pt x="382" y="176"/>
                      <a:pt x="363" y="163"/>
                      <a:pt x="363" y="163"/>
                    </a:cubicBezTo>
                    <a:cubicBezTo>
                      <a:pt x="358" y="160"/>
                      <a:pt x="352" y="161"/>
                      <a:pt x="348" y="165"/>
                    </a:cubicBezTo>
                    <a:cubicBezTo>
                      <a:pt x="348" y="165"/>
                      <a:pt x="261" y="265"/>
                      <a:pt x="249" y="278"/>
                    </a:cubicBezTo>
                    <a:cubicBezTo>
                      <a:pt x="236" y="271"/>
                      <a:pt x="196" y="247"/>
                      <a:pt x="196" y="247"/>
                    </a:cubicBezTo>
                    <a:cubicBezTo>
                      <a:pt x="191" y="244"/>
                      <a:pt x="184" y="245"/>
                      <a:pt x="181" y="250"/>
                    </a:cubicBezTo>
                    <a:cubicBezTo>
                      <a:pt x="20" y="454"/>
                      <a:pt x="20" y="454"/>
                      <a:pt x="20" y="454"/>
                    </a:cubicBezTo>
                    <a:cubicBezTo>
                      <a:pt x="20" y="450"/>
                      <a:pt x="20" y="445"/>
                      <a:pt x="20" y="439"/>
                    </a:cubicBezTo>
                    <a:cubicBezTo>
                      <a:pt x="20" y="432"/>
                      <a:pt x="20" y="423"/>
                      <a:pt x="20" y="412"/>
                    </a:cubicBezTo>
                    <a:cubicBezTo>
                      <a:pt x="41" y="412"/>
                      <a:pt x="41" y="412"/>
                      <a:pt x="41" y="412"/>
                    </a:cubicBezTo>
                    <a:cubicBezTo>
                      <a:pt x="48" y="404"/>
                      <a:pt x="48" y="404"/>
                      <a:pt x="48" y="404"/>
                    </a:cubicBezTo>
                    <a:cubicBezTo>
                      <a:pt x="20" y="404"/>
                      <a:pt x="20" y="404"/>
                      <a:pt x="20" y="404"/>
                    </a:cubicBezTo>
                    <a:cubicBezTo>
                      <a:pt x="20" y="387"/>
                      <a:pt x="20" y="367"/>
                      <a:pt x="20" y="346"/>
                    </a:cubicBezTo>
                    <a:cubicBezTo>
                      <a:pt x="72" y="346"/>
                      <a:pt x="72" y="346"/>
                      <a:pt x="72" y="346"/>
                    </a:cubicBezTo>
                    <a:cubicBezTo>
                      <a:pt x="72" y="374"/>
                      <a:pt x="72" y="374"/>
                      <a:pt x="72" y="374"/>
                    </a:cubicBezTo>
                    <a:cubicBezTo>
                      <a:pt x="80" y="364"/>
                      <a:pt x="80" y="364"/>
                      <a:pt x="80" y="364"/>
                    </a:cubicBezTo>
                    <a:cubicBezTo>
                      <a:pt x="80" y="346"/>
                      <a:pt x="80" y="346"/>
                      <a:pt x="80" y="346"/>
                    </a:cubicBezTo>
                    <a:cubicBezTo>
                      <a:pt x="94" y="346"/>
                      <a:pt x="94" y="346"/>
                      <a:pt x="94" y="346"/>
                    </a:cubicBezTo>
                    <a:cubicBezTo>
                      <a:pt x="101" y="338"/>
                      <a:pt x="101" y="338"/>
                      <a:pt x="101" y="338"/>
                    </a:cubicBezTo>
                    <a:cubicBezTo>
                      <a:pt x="80" y="338"/>
                      <a:pt x="80" y="338"/>
                      <a:pt x="80" y="338"/>
                    </a:cubicBezTo>
                    <a:cubicBezTo>
                      <a:pt x="80" y="279"/>
                      <a:pt x="80" y="279"/>
                      <a:pt x="80" y="279"/>
                    </a:cubicBezTo>
                    <a:cubicBezTo>
                      <a:pt x="138" y="279"/>
                      <a:pt x="138" y="279"/>
                      <a:pt x="138" y="279"/>
                    </a:cubicBezTo>
                    <a:cubicBezTo>
                      <a:pt x="138" y="291"/>
                      <a:pt x="138" y="291"/>
                      <a:pt x="138" y="291"/>
                    </a:cubicBezTo>
                    <a:cubicBezTo>
                      <a:pt x="146" y="281"/>
                      <a:pt x="146" y="281"/>
                      <a:pt x="146" y="281"/>
                    </a:cubicBezTo>
                    <a:cubicBezTo>
                      <a:pt x="146" y="279"/>
                      <a:pt x="146" y="279"/>
                      <a:pt x="146" y="279"/>
                    </a:cubicBezTo>
                    <a:cubicBezTo>
                      <a:pt x="147" y="279"/>
                      <a:pt x="147" y="279"/>
                      <a:pt x="147" y="279"/>
                    </a:cubicBezTo>
                    <a:cubicBezTo>
                      <a:pt x="153" y="271"/>
                      <a:pt x="153" y="271"/>
                      <a:pt x="153" y="271"/>
                    </a:cubicBezTo>
                    <a:cubicBezTo>
                      <a:pt x="146" y="271"/>
                      <a:pt x="146" y="271"/>
                      <a:pt x="146" y="271"/>
                    </a:cubicBezTo>
                    <a:cubicBezTo>
                      <a:pt x="146" y="213"/>
                      <a:pt x="146" y="213"/>
                      <a:pt x="146" y="213"/>
                    </a:cubicBezTo>
                    <a:cubicBezTo>
                      <a:pt x="204" y="213"/>
                      <a:pt x="204" y="213"/>
                      <a:pt x="204" y="213"/>
                    </a:cubicBezTo>
                    <a:cubicBezTo>
                      <a:pt x="204" y="242"/>
                      <a:pt x="204" y="242"/>
                      <a:pt x="204" y="242"/>
                    </a:cubicBezTo>
                    <a:cubicBezTo>
                      <a:pt x="206" y="243"/>
                      <a:pt x="209" y="245"/>
                      <a:pt x="212" y="247"/>
                    </a:cubicBezTo>
                    <a:cubicBezTo>
                      <a:pt x="212" y="213"/>
                      <a:pt x="212" y="213"/>
                      <a:pt x="212" y="213"/>
                    </a:cubicBezTo>
                    <a:cubicBezTo>
                      <a:pt x="270" y="213"/>
                      <a:pt x="270" y="213"/>
                      <a:pt x="270" y="213"/>
                    </a:cubicBezTo>
                    <a:cubicBezTo>
                      <a:pt x="270" y="242"/>
                      <a:pt x="270" y="242"/>
                      <a:pt x="270" y="242"/>
                    </a:cubicBezTo>
                    <a:cubicBezTo>
                      <a:pt x="273" y="239"/>
                      <a:pt x="275" y="236"/>
                      <a:pt x="278" y="233"/>
                    </a:cubicBezTo>
                    <a:cubicBezTo>
                      <a:pt x="278" y="213"/>
                      <a:pt x="278" y="213"/>
                      <a:pt x="278" y="213"/>
                    </a:cubicBezTo>
                    <a:cubicBezTo>
                      <a:pt x="295" y="213"/>
                      <a:pt x="295" y="213"/>
                      <a:pt x="295" y="213"/>
                    </a:cubicBezTo>
                    <a:cubicBezTo>
                      <a:pt x="298" y="210"/>
                      <a:pt x="300" y="207"/>
                      <a:pt x="302" y="205"/>
                    </a:cubicBezTo>
                    <a:cubicBezTo>
                      <a:pt x="278" y="205"/>
                      <a:pt x="278" y="205"/>
                      <a:pt x="278" y="205"/>
                    </a:cubicBezTo>
                    <a:cubicBezTo>
                      <a:pt x="278" y="146"/>
                      <a:pt x="278" y="146"/>
                      <a:pt x="278" y="146"/>
                    </a:cubicBezTo>
                    <a:cubicBezTo>
                      <a:pt x="336" y="146"/>
                      <a:pt x="336" y="146"/>
                      <a:pt x="336" y="146"/>
                    </a:cubicBezTo>
                    <a:cubicBezTo>
                      <a:pt x="336" y="166"/>
                      <a:pt x="336" y="166"/>
                      <a:pt x="336" y="166"/>
                    </a:cubicBezTo>
                    <a:cubicBezTo>
                      <a:pt x="340" y="162"/>
                      <a:pt x="342" y="160"/>
                      <a:pt x="342" y="160"/>
                    </a:cubicBezTo>
                    <a:cubicBezTo>
                      <a:pt x="342" y="159"/>
                      <a:pt x="343" y="158"/>
                      <a:pt x="344" y="158"/>
                    </a:cubicBezTo>
                    <a:cubicBezTo>
                      <a:pt x="344" y="146"/>
                      <a:pt x="344" y="146"/>
                      <a:pt x="344" y="146"/>
                    </a:cubicBezTo>
                    <a:cubicBezTo>
                      <a:pt x="402" y="146"/>
                      <a:pt x="402" y="146"/>
                      <a:pt x="402" y="146"/>
                    </a:cubicBezTo>
                    <a:cubicBezTo>
                      <a:pt x="402" y="158"/>
                      <a:pt x="402" y="158"/>
                      <a:pt x="402" y="158"/>
                    </a:cubicBezTo>
                    <a:cubicBezTo>
                      <a:pt x="405" y="155"/>
                      <a:pt x="407" y="152"/>
                      <a:pt x="410" y="148"/>
                    </a:cubicBezTo>
                    <a:cubicBezTo>
                      <a:pt x="410" y="146"/>
                      <a:pt x="410" y="146"/>
                      <a:pt x="410" y="146"/>
                    </a:cubicBezTo>
                    <a:cubicBezTo>
                      <a:pt x="412" y="146"/>
                      <a:pt x="412" y="146"/>
                      <a:pt x="412" y="146"/>
                    </a:cubicBezTo>
                    <a:cubicBezTo>
                      <a:pt x="414" y="144"/>
                      <a:pt x="416" y="141"/>
                      <a:pt x="418" y="138"/>
                    </a:cubicBezTo>
                    <a:cubicBezTo>
                      <a:pt x="410" y="138"/>
                      <a:pt x="410" y="138"/>
                      <a:pt x="410" y="138"/>
                    </a:cubicBezTo>
                    <a:cubicBezTo>
                      <a:pt x="410" y="80"/>
                      <a:pt x="410" y="80"/>
                      <a:pt x="410" y="80"/>
                    </a:cubicBezTo>
                    <a:cubicBezTo>
                      <a:pt x="422" y="80"/>
                      <a:pt x="422" y="80"/>
                      <a:pt x="422" y="80"/>
                    </a:cubicBezTo>
                    <a:cubicBezTo>
                      <a:pt x="424" y="77"/>
                      <a:pt x="426" y="74"/>
                      <a:pt x="429" y="72"/>
                    </a:cubicBezTo>
                    <a:cubicBezTo>
                      <a:pt x="410" y="72"/>
                      <a:pt x="410" y="72"/>
                      <a:pt x="410" y="72"/>
                    </a:cubicBezTo>
                    <a:cubicBezTo>
                      <a:pt x="410" y="20"/>
                      <a:pt x="410" y="20"/>
                      <a:pt x="410" y="20"/>
                    </a:cubicBezTo>
                    <a:cubicBezTo>
                      <a:pt x="432" y="20"/>
                      <a:pt x="452" y="20"/>
                      <a:pt x="468" y="20"/>
                    </a:cubicBezTo>
                    <a:cubicBezTo>
                      <a:pt x="468" y="61"/>
                      <a:pt x="468" y="61"/>
                      <a:pt x="468" y="61"/>
                    </a:cubicBezTo>
                    <a:cubicBezTo>
                      <a:pt x="476" y="59"/>
                      <a:pt x="476" y="59"/>
                      <a:pt x="476" y="59"/>
                    </a:cubicBezTo>
                    <a:cubicBezTo>
                      <a:pt x="476" y="20"/>
                      <a:pt x="476" y="20"/>
                      <a:pt x="476" y="20"/>
                    </a:cubicBezTo>
                    <a:cubicBezTo>
                      <a:pt x="506" y="20"/>
                      <a:pt x="525" y="20"/>
                      <a:pt x="528" y="20"/>
                    </a:cubicBezTo>
                    <a:cubicBezTo>
                      <a:pt x="528" y="23"/>
                      <a:pt x="528" y="43"/>
                      <a:pt x="528" y="72"/>
                    </a:cubicBezTo>
                    <a:cubicBezTo>
                      <a:pt x="513" y="72"/>
                      <a:pt x="513" y="72"/>
                      <a:pt x="513" y="72"/>
                    </a:cubicBezTo>
                    <a:cubicBezTo>
                      <a:pt x="513" y="72"/>
                      <a:pt x="513" y="72"/>
                      <a:pt x="513" y="73"/>
                    </a:cubicBezTo>
                    <a:cubicBezTo>
                      <a:pt x="513" y="74"/>
                      <a:pt x="513" y="74"/>
                      <a:pt x="513" y="75"/>
                    </a:cubicBezTo>
                    <a:cubicBezTo>
                      <a:pt x="513" y="76"/>
                      <a:pt x="513" y="76"/>
                      <a:pt x="513" y="76"/>
                    </a:cubicBezTo>
                    <a:cubicBezTo>
                      <a:pt x="513" y="80"/>
                      <a:pt x="513" y="80"/>
                      <a:pt x="513" y="80"/>
                    </a:cubicBezTo>
                    <a:cubicBezTo>
                      <a:pt x="528" y="80"/>
                      <a:pt x="528" y="80"/>
                      <a:pt x="528" y="80"/>
                    </a:cubicBezTo>
                    <a:cubicBezTo>
                      <a:pt x="528" y="97"/>
                      <a:pt x="528" y="117"/>
                      <a:pt x="528" y="138"/>
                    </a:cubicBezTo>
                    <a:cubicBezTo>
                      <a:pt x="512" y="138"/>
                      <a:pt x="512" y="138"/>
                      <a:pt x="512" y="138"/>
                    </a:cubicBezTo>
                    <a:cubicBezTo>
                      <a:pt x="512" y="141"/>
                      <a:pt x="510" y="144"/>
                      <a:pt x="508" y="146"/>
                    </a:cubicBezTo>
                    <a:cubicBezTo>
                      <a:pt x="528" y="146"/>
                      <a:pt x="528" y="146"/>
                      <a:pt x="528" y="146"/>
                    </a:cubicBezTo>
                    <a:cubicBezTo>
                      <a:pt x="528" y="165"/>
                      <a:pt x="528" y="185"/>
                      <a:pt x="528" y="205"/>
                    </a:cubicBezTo>
                    <a:cubicBezTo>
                      <a:pt x="476" y="205"/>
                      <a:pt x="476" y="205"/>
                      <a:pt x="476" y="205"/>
                    </a:cubicBezTo>
                    <a:cubicBezTo>
                      <a:pt x="476" y="146"/>
                      <a:pt x="476" y="146"/>
                      <a:pt x="476" y="146"/>
                    </a:cubicBezTo>
                    <a:cubicBezTo>
                      <a:pt x="479" y="146"/>
                      <a:pt x="479" y="146"/>
                      <a:pt x="479" y="146"/>
                    </a:cubicBezTo>
                    <a:cubicBezTo>
                      <a:pt x="476" y="143"/>
                      <a:pt x="474" y="138"/>
                      <a:pt x="473" y="133"/>
                    </a:cubicBezTo>
                    <a:cubicBezTo>
                      <a:pt x="463" y="146"/>
                      <a:pt x="463" y="146"/>
                      <a:pt x="463" y="146"/>
                    </a:cubicBezTo>
                    <a:cubicBezTo>
                      <a:pt x="468" y="146"/>
                      <a:pt x="468" y="146"/>
                      <a:pt x="468" y="146"/>
                    </a:cubicBezTo>
                    <a:cubicBezTo>
                      <a:pt x="468" y="205"/>
                      <a:pt x="468" y="205"/>
                      <a:pt x="468" y="205"/>
                    </a:cubicBezTo>
                    <a:cubicBezTo>
                      <a:pt x="416" y="205"/>
                      <a:pt x="416" y="205"/>
                      <a:pt x="416" y="205"/>
                    </a:cubicBezTo>
                    <a:cubicBezTo>
                      <a:pt x="411" y="211"/>
                      <a:pt x="411" y="211"/>
                      <a:pt x="411" y="211"/>
                    </a:cubicBezTo>
                    <a:cubicBezTo>
                      <a:pt x="409" y="214"/>
                      <a:pt x="406" y="216"/>
                      <a:pt x="402" y="218"/>
                    </a:cubicBezTo>
                    <a:cubicBezTo>
                      <a:pt x="402" y="271"/>
                      <a:pt x="402" y="271"/>
                      <a:pt x="402" y="271"/>
                    </a:cubicBezTo>
                    <a:cubicBezTo>
                      <a:pt x="344" y="271"/>
                      <a:pt x="344" y="271"/>
                      <a:pt x="344" y="271"/>
                    </a:cubicBezTo>
                    <a:cubicBezTo>
                      <a:pt x="344" y="218"/>
                      <a:pt x="344" y="218"/>
                      <a:pt x="344" y="218"/>
                    </a:cubicBezTo>
                    <a:cubicBezTo>
                      <a:pt x="342" y="221"/>
                      <a:pt x="339" y="224"/>
                      <a:pt x="336" y="227"/>
                    </a:cubicBezTo>
                    <a:cubicBezTo>
                      <a:pt x="336" y="271"/>
                      <a:pt x="336" y="271"/>
                      <a:pt x="336" y="271"/>
                    </a:cubicBezTo>
                    <a:cubicBezTo>
                      <a:pt x="298" y="271"/>
                      <a:pt x="298" y="271"/>
                      <a:pt x="298" y="271"/>
                    </a:cubicBezTo>
                    <a:cubicBezTo>
                      <a:pt x="295" y="274"/>
                      <a:pt x="293" y="277"/>
                      <a:pt x="291" y="279"/>
                    </a:cubicBezTo>
                    <a:cubicBezTo>
                      <a:pt x="336" y="279"/>
                      <a:pt x="336" y="279"/>
                      <a:pt x="336" y="279"/>
                    </a:cubicBezTo>
                    <a:cubicBezTo>
                      <a:pt x="336" y="338"/>
                      <a:pt x="336" y="338"/>
                      <a:pt x="336" y="338"/>
                    </a:cubicBezTo>
                    <a:cubicBezTo>
                      <a:pt x="278" y="338"/>
                      <a:pt x="278" y="338"/>
                      <a:pt x="278" y="338"/>
                    </a:cubicBezTo>
                    <a:cubicBezTo>
                      <a:pt x="278" y="293"/>
                      <a:pt x="278" y="293"/>
                      <a:pt x="278" y="293"/>
                    </a:cubicBezTo>
                    <a:cubicBezTo>
                      <a:pt x="275" y="297"/>
                      <a:pt x="272" y="300"/>
                      <a:pt x="270" y="303"/>
                    </a:cubicBezTo>
                    <a:cubicBezTo>
                      <a:pt x="270" y="338"/>
                      <a:pt x="270" y="338"/>
                      <a:pt x="270" y="338"/>
                    </a:cubicBezTo>
                    <a:cubicBezTo>
                      <a:pt x="212" y="338"/>
                      <a:pt x="212" y="338"/>
                      <a:pt x="212" y="338"/>
                    </a:cubicBezTo>
                    <a:cubicBezTo>
                      <a:pt x="212" y="293"/>
                      <a:pt x="212" y="293"/>
                      <a:pt x="212" y="293"/>
                    </a:cubicBezTo>
                    <a:cubicBezTo>
                      <a:pt x="209" y="292"/>
                      <a:pt x="207" y="290"/>
                      <a:pt x="204" y="289"/>
                    </a:cubicBezTo>
                    <a:cubicBezTo>
                      <a:pt x="204" y="338"/>
                      <a:pt x="204" y="338"/>
                      <a:pt x="204" y="338"/>
                    </a:cubicBezTo>
                    <a:cubicBezTo>
                      <a:pt x="152" y="338"/>
                      <a:pt x="152" y="338"/>
                      <a:pt x="152" y="338"/>
                    </a:cubicBezTo>
                    <a:cubicBezTo>
                      <a:pt x="147" y="343"/>
                      <a:pt x="143" y="349"/>
                      <a:pt x="138" y="355"/>
                    </a:cubicBezTo>
                    <a:cubicBezTo>
                      <a:pt x="138" y="404"/>
                      <a:pt x="138" y="404"/>
                      <a:pt x="138" y="404"/>
                    </a:cubicBezTo>
                    <a:cubicBezTo>
                      <a:pt x="99" y="404"/>
                      <a:pt x="99" y="404"/>
                      <a:pt x="99" y="404"/>
                    </a:cubicBezTo>
                    <a:cubicBezTo>
                      <a:pt x="97" y="407"/>
                      <a:pt x="95" y="410"/>
                      <a:pt x="93" y="412"/>
                    </a:cubicBezTo>
                    <a:cubicBezTo>
                      <a:pt x="138" y="412"/>
                      <a:pt x="138" y="412"/>
                      <a:pt x="138" y="412"/>
                    </a:cubicBezTo>
                    <a:cubicBezTo>
                      <a:pt x="138" y="465"/>
                      <a:pt x="138" y="465"/>
                      <a:pt x="138" y="465"/>
                    </a:cubicBezTo>
                    <a:cubicBezTo>
                      <a:pt x="116" y="465"/>
                      <a:pt x="97" y="465"/>
                      <a:pt x="80" y="465"/>
                    </a:cubicBezTo>
                    <a:cubicBezTo>
                      <a:pt x="80" y="428"/>
                      <a:pt x="80" y="428"/>
                      <a:pt x="80" y="428"/>
                    </a:cubicBezTo>
                    <a:cubicBezTo>
                      <a:pt x="77" y="432"/>
                      <a:pt x="74" y="435"/>
                      <a:pt x="72" y="438"/>
                    </a:cubicBezTo>
                    <a:cubicBezTo>
                      <a:pt x="72" y="465"/>
                      <a:pt x="72" y="465"/>
                      <a:pt x="72" y="465"/>
                    </a:cubicBezTo>
                    <a:cubicBezTo>
                      <a:pt x="64" y="465"/>
                      <a:pt x="57" y="465"/>
                      <a:pt x="51" y="465"/>
                    </a:cubicBezTo>
                    <a:cubicBezTo>
                      <a:pt x="48" y="465"/>
                      <a:pt x="45" y="465"/>
                      <a:pt x="42" y="465"/>
                    </a:cubicBezTo>
                    <a:close/>
                    <a:moveTo>
                      <a:pt x="476" y="465"/>
                    </a:moveTo>
                    <a:cubicBezTo>
                      <a:pt x="476" y="412"/>
                      <a:pt x="476" y="412"/>
                      <a:pt x="476" y="412"/>
                    </a:cubicBezTo>
                    <a:cubicBezTo>
                      <a:pt x="528" y="412"/>
                      <a:pt x="528" y="412"/>
                      <a:pt x="528" y="412"/>
                    </a:cubicBezTo>
                    <a:cubicBezTo>
                      <a:pt x="528" y="441"/>
                      <a:pt x="528" y="461"/>
                      <a:pt x="528" y="465"/>
                    </a:cubicBezTo>
                    <a:cubicBezTo>
                      <a:pt x="525" y="465"/>
                      <a:pt x="506" y="465"/>
                      <a:pt x="476" y="465"/>
                    </a:cubicBezTo>
                    <a:close/>
                  </a:path>
                </a:pathLst>
              </a:custGeom>
              <a:solidFill>
                <a:schemeClr val="accent1"/>
              </a:solidFill>
              <a:ln>
                <a:noFill/>
              </a:ln>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endParaRPr>
              </a:p>
            </p:txBody>
          </p:sp>
        </p:grpSp>
        <p:cxnSp>
          <p:nvCxnSpPr>
            <p:cNvPr id="2050" name="Elbow Connector 2049"/>
            <p:cNvCxnSpPr>
              <a:stCxn id="1947" idx="2"/>
            </p:cNvCxnSpPr>
            <p:nvPr/>
          </p:nvCxnSpPr>
          <p:spPr>
            <a:xfrm rot="16200000" flipH="1">
              <a:off x="182462" y="2332837"/>
              <a:ext cx="52645" cy="111271"/>
            </a:xfrm>
            <a:prstGeom prst="bentConnector2">
              <a:avLst/>
            </a:prstGeom>
            <a:ln>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2051" name="Elbow Connector 2050"/>
            <p:cNvCxnSpPr>
              <a:stCxn id="1949" idx="2"/>
              <a:endCxn id="1867" idx="42"/>
            </p:cNvCxnSpPr>
            <p:nvPr/>
          </p:nvCxnSpPr>
          <p:spPr>
            <a:xfrm rot="5400000">
              <a:off x="946303" y="2383137"/>
              <a:ext cx="180950" cy="127184"/>
            </a:xfrm>
            <a:prstGeom prst="bentConnector2">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052" name="Elbow Connector 2051"/>
            <p:cNvCxnSpPr>
              <a:stCxn id="1948" idx="2"/>
              <a:endCxn id="1860" idx="0"/>
            </p:cNvCxnSpPr>
            <p:nvPr/>
          </p:nvCxnSpPr>
          <p:spPr>
            <a:xfrm rot="5400000">
              <a:off x="379118" y="2468459"/>
              <a:ext cx="516166" cy="291757"/>
            </a:xfrm>
            <a:prstGeom prst="bentConnector2">
              <a:avLst/>
            </a:prstGeom>
            <a:ln>
              <a:prstDash val="sysDot"/>
            </a:ln>
          </p:spPr>
          <p:style>
            <a:lnRef idx="1">
              <a:schemeClr val="accent1"/>
            </a:lnRef>
            <a:fillRef idx="0">
              <a:schemeClr val="accent1"/>
            </a:fillRef>
            <a:effectRef idx="0">
              <a:schemeClr val="accent1"/>
            </a:effectRef>
            <a:fontRef idx="minor">
              <a:schemeClr val="tx1"/>
            </a:fontRef>
          </p:style>
        </p:cxnSp>
      </p:grpSp>
      <p:sp>
        <p:nvSpPr>
          <p:cNvPr id="2054" name="Rectangle 2053"/>
          <p:cNvSpPr/>
          <p:nvPr/>
        </p:nvSpPr>
        <p:spPr bwMode="auto">
          <a:xfrm>
            <a:off x="243063" y="2871643"/>
            <a:ext cx="2744799" cy="2207665"/>
          </a:xfrm>
          <a:prstGeom prst="rect">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9" name="Rectangle 1168"/>
          <p:cNvSpPr/>
          <p:nvPr/>
        </p:nvSpPr>
        <p:spPr bwMode="auto">
          <a:xfrm>
            <a:off x="244656" y="3069557"/>
            <a:ext cx="2750791" cy="1320486"/>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0" name="Rectangle 1169"/>
          <p:cNvSpPr/>
          <p:nvPr/>
        </p:nvSpPr>
        <p:spPr bwMode="auto">
          <a:xfrm>
            <a:off x="621333" y="3498763"/>
            <a:ext cx="1929452" cy="15832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pic>
        <p:nvPicPr>
          <p:cNvPr id="9" name="Picture 8" hidden="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2678990" y="-2660923"/>
            <a:ext cx="6834020" cy="12149366"/>
          </a:xfrm>
          <a:prstGeom prst="rect">
            <a:avLst/>
          </a:prstGeom>
        </p:spPr>
      </p:pic>
      <p:sp>
        <p:nvSpPr>
          <p:cNvPr id="1165" name="Rectangle 1164"/>
          <p:cNvSpPr/>
          <p:nvPr/>
        </p:nvSpPr>
        <p:spPr bwMode="auto">
          <a:xfrm>
            <a:off x="3180669" y="1116300"/>
            <a:ext cx="5924034" cy="5536985"/>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61" name="Rectangle 1760"/>
          <p:cNvSpPr/>
          <p:nvPr/>
        </p:nvSpPr>
        <p:spPr bwMode="auto">
          <a:xfrm>
            <a:off x="272541" y="5100565"/>
            <a:ext cx="2743200" cy="1552720"/>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92" name="Rectangle 2023"/>
          <p:cNvSpPr>
            <a:spLocks noChangeArrowheads="1"/>
          </p:cNvSpPr>
          <p:nvPr/>
        </p:nvSpPr>
        <p:spPr bwMode="auto">
          <a:xfrm>
            <a:off x="6056471" y="1101862"/>
            <a:ext cx="61536" cy="2114167"/>
          </a:xfrm>
          <a:prstGeom prst="rect">
            <a:avLst/>
          </a:prstGeom>
          <a:solidFill>
            <a:srgbClr val="00708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 name="Group 3"/>
          <p:cNvGrpSpPr/>
          <p:nvPr/>
        </p:nvGrpSpPr>
        <p:grpSpPr>
          <a:xfrm>
            <a:off x="647020" y="1882423"/>
            <a:ext cx="993903" cy="917768"/>
            <a:chOff x="541071" y="1845999"/>
            <a:chExt cx="1077886" cy="995318"/>
          </a:xfrm>
        </p:grpSpPr>
        <p:sp>
          <p:nvSpPr>
            <p:cNvPr id="2020" name="Rounded Rectangle 815"/>
            <p:cNvSpPr/>
            <p:nvPr/>
          </p:nvSpPr>
          <p:spPr bwMode="auto">
            <a:xfrm>
              <a:off x="541071" y="2423170"/>
              <a:ext cx="721727" cy="412529"/>
            </a:xfrm>
            <a:custGeom>
              <a:avLst/>
              <a:gdLst/>
              <a:ahLst/>
              <a:cxnLst/>
              <a:rect l="l" t="t" r="r" b="b"/>
              <a:pathLst>
                <a:path w="721727" h="412529">
                  <a:moveTo>
                    <a:pt x="360864" y="0"/>
                  </a:moveTo>
                  <a:cubicBezTo>
                    <a:pt x="560163" y="0"/>
                    <a:pt x="721727" y="168504"/>
                    <a:pt x="721727" y="376363"/>
                  </a:cubicBezTo>
                  <a:lnTo>
                    <a:pt x="721727" y="412529"/>
                  </a:lnTo>
                  <a:lnTo>
                    <a:pt x="0" y="412529"/>
                  </a:lnTo>
                  <a:lnTo>
                    <a:pt x="0" y="376363"/>
                  </a:lnTo>
                  <a:cubicBezTo>
                    <a:pt x="0" y="168504"/>
                    <a:pt x="161564" y="0"/>
                    <a:pt x="36086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22" name="Rounded Rectangle 2021"/>
            <p:cNvSpPr/>
            <p:nvPr/>
          </p:nvSpPr>
          <p:spPr bwMode="auto">
            <a:xfrm rot="1562965">
              <a:off x="966789" y="2602929"/>
              <a:ext cx="652168" cy="238388"/>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58" name="Freeform 12"/>
            <p:cNvSpPr>
              <a:spLocks/>
            </p:cNvSpPr>
            <p:nvPr/>
          </p:nvSpPr>
          <p:spPr bwMode="auto">
            <a:xfrm flipH="1">
              <a:off x="580438" y="1845999"/>
              <a:ext cx="613765" cy="632951"/>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055" name="Group 2054"/>
          <p:cNvGrpSpPr/>
          <p:nvPr/>
        </p:nvGrpSpPr>
        <p:grpSpPr>
          <a:xfrm>
            <a:off x="365795" y="2746139"/>
            <a:ext cx="1866157" cy="411480"/>
            <a:chOff x="831806" y="3541920"/>
            <a:chExt cx="752119" cy="1261873"/>
          </a:xfrm>
        </p:grpSpPr>
        <p:sp>
          <p:nvSpPr>
            <p:cNvPr id="2056" name="Rectangle 2055"/>
            <p:cNvSpPr/>
            <p:nvPr/>
          </p:nvSpPr>
          <p:spPr bwMode="auto">
            <a:xfrm>
              <a:off x="831806" y="3541922"/>
              <a:ext cx="752119" cy="12618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Gain insight into vehicle feature use patterns to improve designs</a:t>
              </a:r>
            </a:p>
          </p:txBody>
        </p:sp>
        <p:cxnSp>
          <p:nvCxnSpPr>
            <p:cNvPr id="2057" name="Straight Connector 2056"/>
            <p:cNvCxnSpPr/>
            <p:nvPr/>
          </p:nvCxnSpPr>
          <p:spPr>
            <a:xfrm flipV="1">
              <a:off x="831806" y="3541920"/>
              <a:ext cx="0" cy="1261873"/>
            </a:xfrm>
            <a:prstGeom prst="line">
              <a:avLst/>
            </a:prstGeom>
            <a:solidFill>
              <a:srgbClr val="8DC548">
                <a:alpha val="50000"/>
              </a:srgbClr>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6" name="Group 15"/>
          <p:cNvGrpSpPr/>
          <p:nvPr/>
        </p:nvGrpSpPr>
        <p:grpSpPr>
          <a:xfrm>
            <a:off x="989844" y="5236208"/>
            <a:ext cx="797557" cy="675028"/>
            <a:chOff x="988255" y="5236208"/>
            <a:chExt cx="797557" cy="675028"/>
          </a:xfrm>
        </p:grpSpPr>
        <p:sp>
          <p:nvSpPr>
            <p:cNvPr id="1748" name="Freeform 32"/>
            <p:cNvSpPr>
              <a:spLocks noEditPoints="1"/>
            </p:cNvSpPr>
            <p:nvPr/>
          </p:nvSpPr>
          <p:spPr bwMode="auto">
            <a:xfrm>
              <a:off x="988255" y="5236208"/>
              <a:ext cx="797557" cy="675028"/>
            </a:xfrm>
            <a:custGeom>
              <a:avLst/>
              <a:gdLst>
                <a:gd name="T0" fmla="*/ 24 w 715"/>
                <a:gd name="T1" fmla="*/ 0 h 607"/>
                <a:gd name="T2" fmla="*/ 19 w 715"/>
                <a:gd name="T3" fmla="*/ 0 h 607"/>
                <a:gd name="T4" fmla="*/ 11 w 715"/>
                <a:gd name="T5" fmla="*/ 4 h 607"/>
                <a:gd name="T6" fmla="*/ 4 w 715"/>
                <a:gd name="T7" fmla="*/ 10 h 607"/>
                <a:gd name="T8" fmla="*/ 1 w 715"/>
                <a:gd name="T9" fmla="*/ 18 h 607"/>
                <a:gd name="T10" fmla="*/ 0 w 715"/>
                <a:gd name="T11" fmla="*/ 503 h 607"/>
                <a:gd name="T12" fmla="*/ 1 w 715"/>
                <a:gd name="T13" fmla="*/ 507 h 607"/>
                <a:gd name="T14" fmla="*/ 4 w 715"/>
                <a:gd name="T15" fmla="*/ 515 h 607"/>
                <a:gd name="T16" fmla="*/ 11 w 715"/>
                <a:gd name="T17" fmla="*/ 521 h 607"/>
                <a:gd name="T18" fmla="*/ 19 w 715"/>
                <a:gd name="T19" fmla="*/ 525 h 607"/>
                <a:gd name="T20" fmla="*/ 244 w 715"/>
                <a:gd name="T21" fmla="*/ 525 h 607"/>
                <a:gd name="T22" fmla="*/ 195 w 715"/>
                <a:gd name="T23" fmla="*/ 607 h 607"/>
                <a:gd name="T24" fmla="*/ 485 w 715"/>
                <a:gd name="T25" fmla="*/ 560 h 607"/>
                <a:gd name="T26" fmla="*/ 692 w 715"/>
                <a:gd name="T27" fmla="*/ 525 h 607"/>
                <a:gd name="T28" fmla="*/ 697 w 715"/>
                <a:gd name="T29" fmla="*/ 525 h 607"/>
                <a:gd name="T30" fmla="*/ 705 w 715"/>
                <a:gd name="T31" fmla="*/ 521 h 607"/>
                <a:gd name="T32" fmla="*/ 711 w 715"/>
                <a:gd name="T33" fmla="*/ 515 h 607"/>
                <a:gd name="T34" fmla="*/ 714 w 715"/>
                <a:gd name="T35" fmla="*/ 507 h 607"/>
                <a:gd name="T36" fmla="*/ 715 w 715"/>
                <a:gd name="T37" fmla="*/ 22 h 607"/>
                <a:gd name="T38" fmla="*/ 714 w 715"/>
                <a:gd name="T39" fmla="*/ 18 h 607"/>
                <a:gd name="T40" fmla="*/ 711 w 715"/>
                <a:gd name="T41" fmla="*/ 10 h 607"/>
                <a:gd name="T42" fmla="*/ 705 w 715"/>
                <a:gd name="T43" fmla="*/ 4 h 607"/>
                <a:gd name="T44" fmla="*/ 697 w 715"/>
                <a:gd name="T45" fmla="*/ 0 h 607"/>
                <a:gd name="T46" fmla="*/ 674 w 715"/>
                <a:gd name="T47" fmla="*/ 467 h 607"/>
                <a:gd name="T48" fmla="*/ 674 w 715"/>
                <a:gd name="T49" fmla="*/ 471 h 607"/>
                <a:gd name="T50" fmla="*/ 669 w 715"/>
                <a:gd name="T51" fmla="*/ 480 h 607"/>
                <a:gd name="T52" fmla="*/ 658 w 715"/>
                <a:gd name="T53" fmla="*/ 485 h 607"/>
                <a:gd name="T54" fmla="*/ 62 w 715"/>
                <a:gd name="T55" fmla="*/ 487 h 607"/>
                <a:gd name="T56" fmla="*/ 58 w 715"/>
                <a:gd name="T57" fmla="*/ 485 h 607"/>
                <a:gd name="T58" fmla="*/ 48 w 715"/>
                <a:gd name="T59" fmla="*/ 480 h 607"/>
                <a:gd name="T60" fmla="*/ 42 w 715"/>
                <a:gd name="T61" fmla="*/ 471 h 607"/>
                <a:gd name="T62" fmla="*/ 42 w 715"/>
                <a:gd name="T63" fmla="*/ 58 h 607"/>
                <a:gd name="T64" fmla="*/ 42 w 715"/>
                <a:gd name="T65" fmla="*/ 54 h 607"/>
                <a:gd name="T66" fmla="*/ 48 w 715"/>
                <a:gd name="T67" fmla="*/ 45 h 607"/>
                <a:gd name="T68" fmla="*/ 58 w 715"/>
                <a:gd name="T69" fmla="*/ 40 h 607"/>
                <a:gd name="T70" fmla="*/ 655 w 715"/>
                <a:gd name="T71" fmla="*/ 38 h 607"/>
                <a:gd name="T72" fmla="*/ 658 w 715"/>
                <a:gd name="T73" fmla="*/ 40 h 607"/>
                <a:gd name="T74" fmla="*/ 669 w 715"/>
                <a:gd name="T75" fmla="*/ 45 h 607"/>
                <a:gd name="T76" fmla="*/ 674 w 715"/>
                <a:gd name="T77" fmla="*/ 54 h 607"/>
                <a:gd name="T78" fmla="*/ 674 w 715"/>
                <a:gd name="T79" fmla="*/ 467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5" h="607">
                  <a:moveTo>
                    <a:pt x="692" y="0"/>
                  </a:moveTo>
                  <a:lnTo>
                    <a:pt x="24" y="0"/>
                  </a:lnTo>
                  <a:lnTo>
                    <a:pt x="24" y="0"/>
                  </a:lnTo>
                  <a:lnTo>
                    <a:pt x="19" y="0"/>
                  </a:lnTo>
                  <a:lnTo>
                    <a:pt x="15" y="1"/>
                  </a:lnTo>
                  <a:lnTo>
                    <a:pt x="11" y="4"/>
                  </a:lnTo>
                  <a:lnTo>
                    <a:pt x="8" y="6"/>
                  </a:lnTo>
                  <a:lnTo>
                    <a:pt x="4" y="10"/>
                  </a:lnTo>
                  <a:lnTo>
                    <a:pt x="2" y="14"/>
                  </a:lnTo>
                  <a:lnTo>
                    <a:pt x="1" y="18"/>
                  </a:lnTo>
                  <a:lnTo>
                    <a:pt x="0" y="22"/>
                  </a:lnTo>
                  <a:lnTo>
                    <a:pt x="0" y="503"/>
                  </a:lnTo>
                  <a:lnTo>
                    <a:pt x="0" y="503"/>
                  </a:lnTo>
                  <a:lnTo>
                    <a:pt x="1" y="507"/>
                  </a:lnTo>
                  <a:lnTo>
                    <a:pt x="2" y="511"/>
                  </a:lnTo>
                  <a:lnTo>
                    <a:pt x="4" y="515"/>
                  </a:lnTo>
                  <a:lnTo>
                    <a:pt x="8" y="519"/>
                  </a:lnTo>
                  <a:lnTo>
                    <a:pt x="11" y="521"/>
                  </a:lnTo>
                  <a:lnTo>
                    <a:pt x="15" y="524"/>
                  </a:lnTo>
                  <a:lnTo>
                    <a:pt x="19" y="525"/>
                  </a:lnTo>
                  <a:lnTo>
                    <a:pt x="24" y="525"/>
                  </a:lnTo>
                  <a:lnTo>
                    <a:pt x="244" y="525"/>
                  </a:lnTo>
                  <a:lnTo>
                    <a:pt x="244" y="560"/>
                  </a:lnTo>
                  <a:lnTo>
                    <a:pt x="195" y="607"/>
                  </a:lnTo>
                  <a:lnTo>
                    <a:pt x="533" y="607"/>
                  </a:lnTo>
                  <a:lnTo>
                    <a:pt x="485" y="560"/>
                  </a:lnTo>
                  <a:lnTo>
                    <a:pt x="485" y="525"/>
                  </a:lnTo>
                  <a:lnTo>
                    <a:pt x="692" y="525"/>
                  </a:lnTo>
                  <a:lnTo>
                    <a:pt x="692" y="525"/>
                  </a:lnTo>
                  <a:lnTo>
                    <a:pt x="697" y="525"/>
                  </a:lnTo>
                  <a:lnTo>
                    <a:pt x="701" y="524"/>
                  </a:lnTo>
                  <a:lnTo>
                    <a:pt x="705" y="521"/>
                  </a:lnTo>
                  <a:lnTo>
                    <a:pt x="709" y="519"/>
                  </a:lnTo>
                  <a:lnTo>
                    <a:pt x="711" y="515"/>
                  </a:lnTo>
                  <a:lnTo>
                    <a:pt x="713" y="511"/>
                  </a:lnTo>
                  <a:lnTo>
                    <a:pt x="714" y="507"/>
                  </a:lnTo>
                  <a:lnTo>
                    <a:pt x="715" y="503"/>
                  </a:lnTo>
                  <a:lnTo>
                    <a:pt x="715" y="22"/>
                  </a:lnTo>
                  <a:lnTo>
                    <a:pt x="715" y="22"/>
                  </a:lnTo>
                  <a:lnTo>
                    <a:pt x="714" y="18"/>
                  </a:lnTo>
                  <a:lnTo>
                    <a:pt x="713" y="14"/>
                  </a:lnTo>
                  <a:lnTo>
                    <a:pt x="711" y="10"/>
                  </a:lnTo>
                  <a:lnTo>
                    <a:pt x="709" y="6"/>
                  </a:lnTo>
                  <a:lnTo>
                    <a:pt x="705" y="4"/>
                  </a:lnTo>
                  <a:lnTo>
                    <a:pt x="701" y="1"/>
                  </a:lnTo>
                  <a:lnTo>
                    <a:pt x="697" y="0"/>
                  </a:lnTo>
                  <a:lnTo>
                    <a:pt x="692" y="0"/>
                  </a:lnTo>
                  <a:close/>
                  <a:moveTo>
                    <a:pt x="674" y="467"/>
                  </a:moveTo>
                  <a:lnTo>
                    <a:pt x="674" y="467"/>
                  </a:lnTo>
                  <a:lnTo>
                    <a:pt x="674" y="471"/>
                  </a:lnTo>
                  <a:lnTo>
                    <a:pt x="673" y="475"/>
                  </a:lnTo>
                  <a:lnTo>
                    <a:pt x="669" y="480"/>
                  </a:lnTo>
                  <a:lnTo>
                    <a:pt x="662" y="485"/>
                  </a:lnTo>
                  <a:lnTo>
                    <a:pt x="658" y="485"/>
                  </a:lnTo>
                  <a:lnTo>
                    <a:pt x="655" y="487"/>
                  </a:lnTo>
                  <a:lnTo>
                    <a:pt x="62" y="487"/>
                  </a:lnTo>
                  <a:lnTo>
                    <a:pt x="62" y="487"/>
                  </a:lnTo>
                  <a:lnTo>
                    <a:pt x="58" y="485"/>
                  </a:lnTo>
                  <a:lnTo>
                    <a:pt x="54" y="485"/>
                  </a:lnTo>
                  <a:lnTo>
                    <a:pt x="48" y="480"/>
                  </a:lnTo>
                  <a:lnTo>
                    <a:pt x="44" y="475"/>
                  </a:lnTo>
                  <a:lnTo>
                    <a:pt x="42" y="471"/>
                  </a:lnTo>
                  <a:lnTo>
                    <a:pt x="42" y="467"/>
                  </a:lnTo>
                  <a:lnTo>
                    <a:pt x="42" y="58"/>
                  </a:lnTo>
                  <a:lnTo>
                    <a:pt x="42" y="58"/>
                  </a:lnTo>
                  <a:lnTo>
                    <a:pt x="42" y="54"/>
                  </a:lnTo>
                  <a:lnTo>
                    <a:pt x="44" y="50"/>
                  </a:lnTo>
                  <a:lnTo>
                    <a:pt x="48" y="45"/>
                  </a:lnTo>
                  <a:lnTo>
                    <a:pt x="54" y="40"/>
                  </a:lnTo>
                  <a:lnTo>
                    <a:pt x="58" y="40"/>
                  </a:lnTo>
                  <a:lnTo>
                    <a:pt x="62" y="38"/>
                  </a:lnTo>
                  <a:lnTo>
                    <a:pt x="655" y="38"/>
                  </a:lnTo>
                  <a:lnTo>
                    <a:pt x="655" y="38"/>
                  </a:lnTo>
                  <a:lnTo>
                    <a:pt x="658" y="40"/>
                  </a:lnTo>
                  <a:lnTo>
                    <a:pt x="662" y="40"/>
                  </a:lnTo>
                  <a:lnTo>
                    <a:pt x="669" y="45"/>
                  </a:lnTo>
                  <a:lnTo>
                    <a:pt x="673" y="50"/>
                  </a:lnTo>
                  <a:lnTo>
                    <a:pt x="674" y="54"/>
                  </a:lnTo>
                  <a:lnTo>
                    <a:pt x="674" y="58"/>
                  </a:lnTo>
                  <a:lnTo>
                    <a:pt x="674" y="46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5" name="Group 14"/>
            <p:cNvGrpSpPr/>
            <p:nvPr/>
          </p:nvGrpSpPr>
          <p:grpSpPr>
            <a:xfrm>
              <a:off x="1038086" y="5306630"/>
              <a:ext cx="694944" cy="469424"/>
              <a:chOff x="1038086" y="5306630"/>
              <a:chExt cx="694944" cy="469424"/>
            </a:xfrm>
          </p:grpSpPr>
          <p:sp>
            <p:nvSpPr>
              <p:cNvPr id="2086" name="Freeform 18"/>
              <p:cNvSpPr>
                <a:spLocks noEditPoints="1"/>
              </p:cNvSpPr>
              <p:nvPr/>
            </p:nvSpPr>
            <p:spPr bwMode="auto">
              <a:xfrm>
                <a:off x="1136609" y="5478033"/>
                <a:ext cx="500347" cy="260659"/>
              </a:xfrm>
              <a:custGeom>
                <a:avLst/>
                <a:gdLst>
                  <a:gd name="T0" fmla="*/ 648 w 2004"/>
                  <a:gd name="T1" fmla="*/ 840 h 1044"/>
                  <a:gd name="T2" fmla="*/ 468 w 2004"/>
                  <a:gd name="T3" fmla="*/ 982 h 1044"/>
                  <a:gd name="T4" fmla="*/ 458 w 2004"/>
                  <a:gd name="T5" fmla="*/ 600 h 1044"/>
                  <a:gd name="T6" fmla="*/ 244 w 2004"/>
                  <a:gd name="T7" fmla="*/ 374 h 1044"/>
                  <a:gd name="T8" fmla="*/ 0 w 2004"/>
                  <a:gd name="T9" fmla="*/ 218 h 1044"/>
                  <a:gd name="T10" fmla="*/ 8 w 2004"/>
                  <a:gd name="T11" fmla="*/ 98 h 1044"/>
                  <a:gd name="T12" fmla="*/ 196 w 2004"/>
                  <a:gd name="T13" fmla="*/ 64 h 1044"/>
                  <a:gd name="T14" fmla="*/ 436 w 2004"/>
                  <a:gd name="T15" fmla="*/ 162 h 1044"/>
                  <a:gd name="T16" fmla="*/ 564 w 2004"/>
                  <a:gd name="T17" fmla="*/ 176 h 1044"/>
                  <a:gd name="T18" fmla="*/ 528 w 2004"/>
                  <a:gd name="T19" fmla="*/ 394 h 1044"/>
                  <a:gd name="T20" fmla="*/ 392 w 2004"/>
                  <a:gd name="T21" fmla="*/ 464 h 1044"/>
                  <a:gd name="T22" fmla="*/ 430 w 2004"/>
                  <a:gd name="T23" fmla="*/ 544 h 1044"/>
                  <a:gd name="T24" fmla="*/ 594 w 2004"/>
                  <a:gd name="T25" fmla="*/ 574 h 1044"/>
                  <a:gd name="T26" fmla="*/ 1744 w 2004"/>
                  <a:gd name="T27" fmla="*/ 666 h 1044"/>
                  <a:gd name="T28" fmla="*/ 1628 w 2004"/>
                  <a:gd name="T29" fmla="*/ 774 h 1044"/>
                  <a:gd name="T30" fmla="*/ 1760 w 2004"/>
                  <a:gd name="T31" fmla="*/ 790 h 1044"/>
                  <a:gd name="T32" fmla="*/ 1810 w 2004"/>
                  <a:gd name="T33" fmla="*/ 686 h 1044"/>
                  <a:gd name="T34" fmla="*/ 1644 w 2004"/>
                  <a:gd name="T35" fmla="*/ 540 h 1044"/>
                  <a:gd name="T36" fmla="*/ 1786 w 2004"/>
                  <a:gd name="T37" fmla="*/ 630 h 1044"/>
                  <a:gd name="T38" fmla="*/ 1720 w 2004"/>
                  <a:gd name="T39" fmla="*/ 584 h 1044"/>
                  <a:gd name="T40" fmla="*/ 1720 w 2004"/>
                  <a:gd name="T41" fmla="*/ 374 h 1044"/>
                  <a:gd name="T42" fmla="*/ 1790 w 2004"/>
                  <a:gd name="T43" fmla="*/ 284 h 1044"/>
                  <a:gd name="T44" fmla="*/ 1920 w 2004"/>
                  <a:gd name="T45" fmla="*/ 882 h 1044"/>
                  <a:gd name="T46" fmla="*/ 1962 w 2004"/>
                  <a:gd name="T47" fmla="*/ 794 h 1044"/>
                  <a:gd name="T48" fmla="*/ 936 w 2004"/>
                  <a:gd name="T49" fmla="*/ 96 h 1044"/>
                  <a:gd name="T50" fmla="*/ 920 w 2004"/>
                  <a:gd name="T51" fmla="*/ 174 h 1044"/>
                  <a:gd name="T52" fmla="*/ 1252 w 2004"/>
                  <a:gd name="T53" fmla="*/ 674 h 1044"/>
                  <a:gd name="T54" fmla="*/ 1868 w 2004"/>
                  <a:gd name="T55" fmla="*/ 236 h 1044"/>
                  <a:gd name="T56" fmla="*/ 1794 w 2004"/>
                  <a:gd name="T57" fmla="*/ 152 h 1044"/>
                  <a:gd name="T58" fmla="*/ 1706 w 2004"/>
                  <a:gd name="T59" fmla="*/ 328 h 1044"/>
                  <a:gd name="T60" fmla="*/ 1648 w 2004"/>
                  <a:gd name="T61" fmla="*/ 344 h 1044"/>
                  <a:gd name="T62" fmla="*/ 1596 w 2004"/>
                  <a:gd name="T63" fmla="*/ 506 h 1044"/>
                  <a:gd name="T64" fmla="*/ 1574 w 2004"/>
                  <a:gd name="T65" fmla="*/ 604 h 1044"/>
                  <a:gd name="T66" fmla="*/ 1508 w 2004"/>
                  <a:gd name="T67" fmla="*/ 546 h 1044"/>
                  <a:gd name="T68" fmla="*/ 1486 w 2004"/>
                  <a:gd name="T69" fmla="*/ 444 h 1044"/>
                  <a:gd name="T70" fmla="*/ 1346 w 2004"/>
                  <a:gd name="T71" fmla="*/ 426 h 1044"/>
                  <a:gd name="T72" fmla="*/ 1280 w 2004"/>
                  <a:gd name="T73" fmla="*/ 426 h 1044"/>
                  <a:gd name="T74" fmla="*/ 1208 w 2004"/>
                  <a:gd name="T75" fmla="*/ 528 h 1044"/>
                  <a:gd name="T76" fmla="*/ 1172 w 2004"/>
                  <a:gd name="T77" fmla="*/ 690 h 1044"/>
                  <a:gd name="T78" fmla="*/ 1008 w 2004"/>
                  <a:gd name="T79" fmla="*/ 552 h 1044"/>
                  <a:gd name="T80" fmla="*/ 1020 w 2004"/>
                  <a:gd name="T81" fmla="*/ 344 h 1044"/>
                  <a:gd name="T82" fmla="*/ 1160 w 2004"/>
                  <a:gd name="T83" fmla="*/ 382 h 1044"/>
                  <a:gd name="T84" fmla="*/ 1092 w 2004"/>
                  <a:gd name="T85" fmla="*/ 352 h 1044"/>
                  <a:gd name="T86" fmla="*/ 1036 w 2004"/>
                  <a:gd name="T87" fmla="*/ 302 h 1044"/>
                  <a:gd name="T88" fmla="*/ 974 w 2004"/>
                  <a:gd name="T89" fmla="*/ 312 h 1044"/>
                  <a:gd name="T90" fmla="*/ 940 w 2004"/>
                  <a:gd name="T91" fmla="*/ 274 h 1044"/>
                  <a:gd name="T92" fmla="*/ 1004 w 2004"/>
                  <a:gd name="T93" fmla="*/ 194 h 1044"/>
                  <a:gd name="T94" fmla="*/ 1106 w 2004"/>
                  <a:gd name="T95" fmla="*/ 176 h 1044"/>
                  <a:gd name="T96" fmla="*/ 1084 w 2004"/>
                  <a:gd name="T97" fmla="*/ 118 h 1044"/>
                  <a:gd name="T98" fmla="*/ 1098 w 2004"/>
                  <a:gd name="T99" fmla="*/ 76 h 1044"/>
                  <a:gd name="T100" fmla="*/ 1060 w 2004"/>
                  <a:gd name="T101" fmla="*/ 180 h 1044"/>
                  <a:gd name="T102" fmla="*/ 986 w 2004"/>
                  <a:gd name="T103" fmla="*/ 118 h 1044"/>
                  <a:gd name="T104" fmla="*/ 1194 w 2004"/>
                  <a:gd name="T105" fmla="*/ 50 h 1044"/>
                  <a:gd name="T106" fmla="*/ 1908 w 2004"/>
                  <a:gd name="T107" fmla="*/ 150 h 1044"/>
                  <a:gd name="T108" fmla="*/ 1166 w 2004"/>
                  <a:gd name="T109" fmla="*/ 318 h 1044"/>
                  <a:gd name="T110" fmla="*/ 1254 w 2004"/>
                  <a:gd name="T111" fmla="*/ 292 h 1044"/>
                  <a:gd name="T112" fmla="*/ 1238 w 2004"/>
                  <a:gd name="T113" fmla="*/ 346 h 1044"/>
                  <a:gd name="T114" fmla="*/ 690 w 2004"/>
                  <a:gd name="T115" fmla="*/ 226 h 1044"/>
                  <a:gd name="T116" fmla="*/ 756 w 2004"/>
                  <a:gd name="T117" fmla="*/ 12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4" h="1044">
                    <a:moveTo>
                      <a:pt x="668" y="660"/>
                    </a:moveTo>
                    <a:lnTo>
                      <a:pt x="750" y="700"/>
                    </a:lnTo>
                    <a:lnTo>
                      <a:pt x="702" y="796"/>
                    </a:lnTo>
                    <a:lnTo>
                      <a:pt x="656" y="804"/>
                    </a:lnTo>
                    <a:lnTo>
                      <a:pt x="648" y="840"/>
                    </a:lnTo>
                    <a:lnTo>
                      <a:pt x="552" y="924"/>
                    </a:lnTo>
                    <a:lnTo>
                      <a:pt x="508" y="1008"/>
                    </a:lnTo>
                    <a:lnTo>
                      <a:pt x="540" y="1044"/>
                    </a:lnTo>
                    <a:lnTo>
                      <a:pt x="486" y="1030"/>
                    </a:lnTo>
                    <a:lnTo>
                      <a:pt x="468" y="982"/>
                    </a:lnTo>
                    <a:lnTo>
                      <a:pt x="522" y="764"/>
                    </a:lnTo>
                    <a:lnTo>
                      <a:pt x="476" y="724"/>
                    </a:lnTo>
                    <a:lnTo>
                      <a:pt x="456" y="638"/>
                    </a:lnTo>
                    <a:lnTo>
                      <a:pt x="480" y="596"/>
                    </a:lnTo>
                    <a:lnTo>
                      <a:pt x="458" y="600"/>
                    </a:lnTo>
                    <a:lnTo>
                      <a:pt x="424" y="558"/>
                    </a:lnTo>
                    <a:lnTo>
                      <a:pt x="396" y="544"/>
                    </a:lnTo>
                    <a:lnTo>
                      <a:pt x="330" y="520"/>
                    </a:lnTo>
                    <a:lnTo>
                      <a:pt x="276" y="436"/>
                    </a:lnTo>
                    <a:lnTo>
                      <a:pt x="244" y="374"/>
                    </a:lnTo>
                    <a:lnTo>
                      <a:pt x="244" y="292"/>
                    </a:lnTo>
                    <a:lnTo>
                      <a:pt x="190" y="200"/>
                    </a:lnTo>
                    <a:lnTo>
                      <a:pt x="120" y="158"/>
                    </a:lnTo>
                    <a:lnTo>
                      <a:pt x="78" y="180"/>
                    </a:lnTo>
                    <a:lnTo>
                      <a:pt x="0" y="218"/>
                    </a:lnTo>
                    <a:lnTo>
                      <a:pt x="50" y="178"/>
                    </a:lnTo>
                    <a:lnTo>
                      <a:pt x="20" y="172"/>
                    </a:lnTo>
                    <a:lnTo>
                      <a:pt x="8" y="132"/>
                    </a:lnTo>
                    <a:lnTo>
                      <a:pt x="44" y="104"/>
                    </a:lnTo>
                    <a:lnTo>
                      <a:pt x="8" y="98"/>
                    </a:lnTo>
                    <a:lnTo>
                      <a:pt x="14" y="72"/>
                    </a:lnTo>
                    <a:lnTo>
                      <a:pt x="40" y="72"/>
                    </a:lnTo>
                    <a:lnTo>
                      <a:pt x="18" y="38"/>
                    </a:lnTo>
                    <a:lnTo>
                      <a:pt x="80" y="0"/>
                    </a:lnTo>
                    <a:lnTo>
                      <a:pt x="196" y="64"/>
                    </a:lnTo>
                    <a:lnTo>
                      <a:pt x="238" y="24"/>
                    </a:lnTo>
                    <a:lnTo>
                      <a:pt x="330" y="78"/>
                    </a:lnTo>
                    <a:lnTo>
                      <a:pt x="508" y="58"/>
                    </a:lnTo>
                    <a:lnTo>
                      <a:pt x="508" y="148"/>
                    </a:lnTo>
                    <a:lnTo>
                      <a:pt x="436" y="162"/>
                    </a:lnTo>
                    <a:lnTo>
                      <a:pt x="422" y="200"/>
                    </a:lnTo>
                    <a:lnTo>
                      <a:pt x="490" y="272"/>
                    </a:lnTo>
                    <a:lnTo>
                      <a:pt x="508" y="270"/>
                    </a:lnTo>
                    <a:lnTo>
                      <a:pt x="518" y="178"/>
                    </a:lnTo>
                    <a:lnTo>
                      <a:pt x="564" y="176"/>
                    </a:lnTo>
                    <a:lnTo>
                      <a:pt x="582" y="228"/>
                    </a:lnTo>
                    <a:lnTo>
                      <a:pt x="606" y="214"/>
                    </a:lnTo>
                    <a:lnTo>
                      <a:pt x="658" y="330"/>
                    </a:lnTo>
                    <a:lnTo>
                      <a:pt x="586" y="362"/>
                    </a:lnTo>
                    <a:lnTo>
                      <a:pt x="528" y="394"/>
                    </a:lnTo>
                    <a:lnTo>
                      <a:pt x="484" y="454"/>
                    </a:lnTo>
                    <a:lnTo>
                      <a:pt x="484" y="486"/>
                    </a:lnTo>
                    <a:lnTo>
                      <a:pt x="468" y="488"/>
                    </a:lnTo>
                    <a:lnTo>
                      <a:pt x="456" y="454"/>
                    </a:lnTo>
                    <a:lnTo>
                      <a:pt x="392" y="464"/>
                    </a:lnTo>
                    <a:lnTo>
                      <a:pt x="378" y="504"/>
                    </a:lnTo>
                    <a:lnTo>
                      <a:pt x="394" y="528"/>
                    </a:lnTo>
                    <a:lnTo>
                      <a:pt x="418" y="508"/>
                    </a:lnTo>
                    <a:lnTo>
                      <a:pt x="442" y="510"/>
                    </a:lnTo>
                    <a:lnTo>
                      <a:pt x="430" y="544"/>
                    </a:lnTo>
                    <a:lnTo>
                      <a:pt x="458" y="546"/>
                    </a:lnTo>
                    <a:lnTo>
                      <a:pt x="468" y="582"/>
                    </a:lnTo>
                    <a:lnTo>
                      <a:pt x="486" y="588"/>
                    </a:lnTo>
                    <a:lnTo>
                      <a:pt x="500" y="566"/>
                    </a:lnTo>
                    <a:lnTo>
                      <a:pt x="594" y="574"/>
                    </a:lnTo>
                    <a:lnTo>
                      <a:pt x="658" y="622"/>
                    </a:lnTo>
                    <a:lnTo>
                      <a:pt x="668" y="660"/>
                    </a:lnTo>
                    <a:close/>
                    <a:moveTo>
                      <a:pt x="1784" y="638"/>
                    </a:moveTo>
                    <a:lnTo>
                      <a:pt x="1778" y="678"/>
                    </a:lnTo>
                    <a:lnTo>
                      <a:pt x="1744" y="666"/>
                    </a:lnTo>
                    <a:lnTo>
                      <a:pt x="1752" y="644"/>
                    </a:lnTo>
                    <a:lnTo>
                      <a:pt x="1714" y="642"/>
                    </a:lnTo>
                    <a:lnTo>
                      <a:pt x="1666" y="686"/>
                    </a:lnTo>
                    <a:lnTo>
                      <a:pt x="1614" y="704"/>
                    </a:lnTo>
                    <a:lnTo>
                      <a:pt x="1628" y="774"/>
                    </a:lnTo>
                    <a:lnTo>
                      <a:pt x="1622" y="788"/>
                    </a:lnTo>
                    <a:lnTo>
                      <a:pt x="1642" y="798"/>
                    </a:lnTo>
                    <a:lnTo>
                      <a:pt x="1716" y="780"/>
                    </a:lnTo>
                    <a:lnTo>
                      <a:pt x="1746" y="796"/>
                    </a:lnTo>
                    <a:lnTo>
                      <a:pt x="1760" y="790"/>
                    </a:lnTo>
                    <a:lnTo>
                      <a:pt x="1770" y="818"/>
                    </a:lnTo>
                    <a:lnTo>
                      <a:pt x="1808" y="828"/>
                    </a:lnTo>
                    <a:lnTo>
                      <a:pt x="1836" y="812"/>
                    </a:lnTo>
                    <a:lnTo>
                      <a:pt x="1852" y="728"/>
                    </a:lnTo>
                    <a:lnTo>
                      <a:pt x="1810" y="686"/>
                    </a:lnTo>
                    <a:lnTo>
                      <a:pt x="1784" y="638"/>
                    </a:lnTo>
                    <a:close/>
                    <a:moveTo>
                      <a:pt x="1596" y="600"/>
                    </a:moveTo>
                    <a:lnTo>
                      <a:pt x="1636" y="608"/>
                    </a:lnTo>
                    <a:lnTo>
                      <a:pt x="1656" y="550"/>
                    </a:lnTo>
                    <a:lnTo>
                      <a:pt x="1644" y="540"/>
                    </a:lnTo>
                    <a:lnTo>
                      <a:pt x="1590" y="574"/>
                    </a:lnTo>
                    <a:lnTo>
                      <a:pt x="1596" y="600"/>
                    </a:lnTo>
                    <a:close/>
                    <a:moveTo>
                      <a:pt x="1720" y="584"/>
                    </a:moveTo>
                    <a:lnTo>
                      <a:pt x="1762" y="628"/>
                    </a:lnTo>
                    <a:lnTo>
                      <a:pt x="1786" y="630"/>
                    </a:lnTo>
                    <a:lnTo>
                      <a:pt x="1796" y="620"/>
                    </a:lnTo>
                    <a:lnTo>
                      <a:pt x="1830" y="642"/>
                    </a:lnTo>
                    <a:lnTo>
                      <a:pt x="1816" y="612"/>
                    </a:lnTo>
                    <a:lnTo>
                      <a:pt x="1752" y="582"/>
                    </a:lnTo>
                    <a:lnTo>
                      <a:pt x="1720" y="584"/>
                    </a:lnTo>
                    <a:close/>
                    <a:moveTo>
                      <a:pt x="1796" y="234"/>
                    </a:moveTo>
                    <a:lnTo>
                      <a:pt x="1784" y="234"/>
                    </a:lnTo>
                    <a:lnTo>
                      <a:pt x="1784" y="290"/>
                    </a:lnTo>
                    <a:lnTo>
                      <a:pt x="1756" y="348"/>
                    </a:lnTo>
                    <a:lnTo>
                      <a:pt x="1720" y="374"/>
                    </a:lnTo>
                    <a:lnTo>
                      <a:pt x="1718" y="398"/>
                    </a:lnTo>
                    <a:lnTo>
                      <a:pt x="1784" y="358"/>
                    </a:lnTo>
                    <a:lnTo>
                      <a:pt x="1786" y="318"/>
                    </a:lnTo>
                    <a:lnTo>
                      <a:pt x="1808" y="298"/>
                    </a:lnTo>
                    <a:lnTo>
                      <a:pt x="1790" y="284"/>
                    </a:lnTo>
                    <a:lnTo>
                      <a:pt x="1800" y="252"/>
                    </a:lnTo>
                    <a:lnTo>
                      <a:pt x="1796" y="234"/>
                    </a:lnTo>
                    <a:close/>
                    <a:moveTo>
                      <a:pt x="1962" y="794"/>
                    </a:moveTo>
                    <a:lnTo>
                      <a:pt x="1968" y="838"/>
                    </a:lnTo>
                    <a:lnTo>
                      <a:pt x="1920" y="882"/>
                    </a:lnTo>
                    <a:lnTo>
                      <a:pt x="1950" y="886"/>
                    </a:lnTo>
                    <a:lnTo>
                      <a:pt x="1978" y="844"/>
                    </a:lnTo>
                    <a:lnTo>
                      <a:pt x="2000" y="814"/>
                    </a:lnTo>
                    <a:lnTo>
                      <a:pt x="1986" y="812"/>
                    </a:lnTo>
                    <a:lnTo>
                      <a:pt x="1962" y="794"/>
                    </a:lnTo>
                    <a:close/>
                    <a:moveTo>
                      <a:pt x="930" y="144"/>
                    </a:moveTo>
                    <a:lnTo>
                      <a:pt x="930" y="190"/>
                    </a:lnTo>
                    <a:lnTo>
                      <a:pt x="962" y="176"/>
                    </a:lnTo>
                    <a:lnTo>
                      <a:pt x="970" y="162"/>
                    </a:lnTo>
                    <a:lnTo>
                      <a:pt x="936" y="96"/>
                    </a:lnTo>
                    <a:lnTo>
                      <a:pt x="916" y="110"/>
                    </a:lnTo>
                    <a:lnTo>
                      <a:pt x="918" y="128"/>
                    </a:lnTo>
                    <a:lnTo>
                      <a:pt x="898" y="150"/>
                    </a:lnTo>
                    <a:lnTo>
                      <a:pt x="898" y="174"/>
                    </a:lnTo>
                    <a:lnTo>
                      <a:pt x="920" y="174"/>
                    </a:lnTo>
                    <a:lnTo>
                      <a:pt x="930" y="144"/>
                    </a:lnTo>
                    <a:close/>
                    <a:moveTo>
                      <a:pt x="1212" y="674"/>
                    </a:moveTo>
                    <a:lnTo>
                      <a:pt x="1212" y="724"/>
                    </a:lnTo>
                    <a:lnTo>
                      <a:pt x="1232" y="734"/>
                    </a:lnTo>
                    <a:lnTo>
                      <a:pt x="1252" y="674"/>
                    </a:lnTo>
                    <a:lnTo>
                      <a:pt x="1246" y="648"/>
                    </a:lnTo>
                    <a:lnTo>
                      <a:pt x="1212" y="674"/>
                    </a:lnTo>
                    <a:close/>
                    <a:moveTo>
                      <a:pt x="1908" y="150"/>
                    </a:moveTo>
                    <a:lnTo>
                      <a:pt x="1908" y="186"/>
                    </a:lnTo>
                    <a:lnTo>
                      <a:pt x="1868" y="236"/>
                    </a:lnTo>
                    <a:lnTo>
                      <a:pt x="1866" y="180"/>
                    </a:lnTo>
                    <a:lnTo>
                      <a:pt x="1920" y="116"/>
                    </a:lnTo>
                    <a:lnTo>
                      <a:pt x="1886" y="120"/>
                    </a:lnTo>
                    <a:lnTo>
                      <a:pt x="1846" y="154"/>
                    </a:lnTo>
                    <a:lnTo>
                      <a:pt x="1794" y="152"/>
                    </a:lnTo>
                    <a:lnTo>
                      <a:pt x="1756" y="188"/>
                    </a:lnTo>
                    <a:lnTo>
                      <a:pt x="1784" y="208"/>
                    </a:lnTo>
                    <a:lnTo>
                      <a:pt x="1750" y="298"/>
                    </a:lnTo>
                    <a:lnTo>
                      <a:pt x="1724" y="304"/>
                    </a:lnTo>
                    <a:lnTo>
                      <a:pt x="1706" y="328"/>
                    </a:lnTo>
                    <a:lnTo>
                      <a:pt x="1714" y="360"/>
                    </a:lnTo>
                    <a:lnTo>
                      <a:pt x="1694" y="372"/>
                    </a:lnTo>
                    <a:lnTo>
                      <a:pt x="1688" y="342"/>
                    </a:lnTo>
                    <a:lnTo>
                      <a:pt x="1670" y="318"/>
                    </a:lnTo>
                    <a:lnTo>
                      <a:pt x="1648" y="344"/>
                    </a:lnTo>
                    <a:lnTo>
                      <a:pt x="1666" y="396"/>
                    </a:lnTo>
                    <a:lnTo>
                      <a:pt x="1640" y="444"/>
                    </a:lnTo>
                    <a:lnTo>
                      <a:pt x="1582" y="446"/>
                    </a:lnTo>
                    <a:lnTo>
                      <a:pt x="1570" y="466"/>
                    </a:lnTo>
                    <a:lnTo>
                      <a:pt x="1596" y="506"/>
                    </a:lnTo>
                    <a:lnTo>
                      <a:pt x="1568" y="528"/>
                    </a:lnTo>
                    <a:lnTo>
                      <a:pt x="1540" y="498"/>
                    </a:lnTo>
                    <a:lnTo>
                      <a:pt x="1540" y="526"/>
                    </a:lnTo>
                    <a:lnTo>
                      <a:pt x="1564" y="554"/>
                    </a:lnTo>
                    <a:lnTo>
                      <a:pt x="1574" y="604"/>
                    </a:lnTo>
                    <a:lnTo>
                      <a:pt x="1606" y="614"/>
                    </a:lnTo>
                    <a:lnTo>
                      <a:pt x="1648" y="632"/>
                    </a:lnTo>
                    <a:lnTo>
                      <a:pt x="1570" y="618"/>
                    </a:lnTo>
                    <a:lnTo>
                      <a:pt x="1538" y="588"/>
                    </a:lnTo>
                    <a:lnTo>
                      <a:pt x="1508" y="546"/>
                    </a:lnTo>
                    <a:lnTo>
                      <a:pt x="1548" y="566"/>
                    </a:lnTo>
                    <a:lnTo>
                      <a:pt x="1530" y="532"/>
                    </a:lnTo>
                    <a:lnTo>
                      <a:pt x="1526" y="486"/>
                    </a:lnTo>
                    <a:lnTo>
                      <a:pt x="1508" y="490"/>
                    </a:lnTo>
                    <a:lnTo>
                      <a:pt x="1486" y="444"/>
                    </a:lnTo>
                    <a:lnTo>
                      <a:pt x="1426" y="486"/>
                    </a:lnTo>
                    <a:lnTo>
                      <a:pt x="1426" y="512"/>
                    </a:lnTo>
                    <a:lnTo>
                      <a:pt x="1404" y="534"/>
                    </a:lnTo>
                    <a:lnTo>
                      <a:pt x="1378" y="464"/>
                    </a:lnTo>
                    <a:lnTo>
                      <a:pt x="1346" y="426"/>
                    </a:lnTo>
                    <a:lnTo>
                      <a:pt x="1272" y="412"/>
                    </a:lnTo>
                    <a:lnTo>
                      <a:pt x="1250" y="394"/>
                    </a:lnTo>
                    <a:lnTo>
                      <a:pt x="1240" y="400"/>
                    </a:lnTo>
                    <a:lnTo>
                      <a:pt x="1256" y="438"/>
                    </a:lnTo>
                    <a:lnTo>
                      <a:pt x="1280" y="426"/>
                    </a:lnTo>
                    <a:lnTo>
                      <a:pt x="1312" y="450"/>
                    </a:lnTo>
                    <a:lnTo>
                      <a:pt x="1216" y="508"/>
                    </a:lnTo>
                    <a:lnTo>
                      <a:pt x="1168" y="410"/>
                    </a:lnTo>
                    <a:lnTo>
                      <a:pt x="1156" y="412"/>
                    </a:lnTo>
                    <a:lnTo>
                      <a:pt x="1208" y="528"/>
                    </a:lnTo>
                    <a:lnTo>
                      <a:pt x="1256" y="504"/>
                    </a:lnTo>
                    <a:lnTo>
                      <a:pt x="1242" y="558"/>
                    </a:lnTo>
                    <a:lnTo>
                      <a:pt x="1192" y="602"/>
                    </a:lnTo>
                    <a:lnTo>
                      <a:pt x="1200" y="670"/>
                    </a:lnTo>
                    <a:lnTo>
                      <a:pt x="1172" y="690"/>
                    </a:lnTo>
                    <a:lnTo>
                      <a:pt x="1120" y="786"/>
                    </a:lnTo>
                    <a:lnTo>
                      <a:pt x="1070" y="796"/>
                    </a:lnTo>
                    <a:lnTo>
                      <a:pt x="1026" y="688"/>
                    </a:lnTo>
                    <a:lnTo>
                      <a:pt x="1036" y="638"/>
                    </a:lnTo>
                    <a:lnTo>
                      <a:pt x="1008" y="552"/>
                    </a:lnTo>
                    <a:lnTo>
                      <a:pt x="914" y="558"/>
                    </a:lnTo>
                    <a:lnTo>
                      <a:pt x="862" y="508"/>
                    </a:lnTo>
                    <a:lnTo>
                      <a:pt x="870" y="424"/>
                    </a:lnTo>
                    <a:lnTo>
                      <a:pt x="922" y="362"/>
                    </a:lnTo>
                    <a:lnTo>
                      <a:pt x="1020" y="344"/>
                    </a:lnTo>
                    <a:lnTo>
                      <a:pt x="1026" y="372"/>
                    </a:lnTo>
                    <a:lnTo>
                      <a:pt x="1066" y="398"/>
                    </a:lnTo>
                    <a:lnTo>
                      <a:pt x="1082" y="376"/>
                    </a:lnTo>
                    <a:lnTo>
                      <a:pt x="1144" y="392"/>
                    </a:lnTo>
                    <a:lnTo>
                      <a:pt x="1160" y="382"/>
                    </a:lnTo>
                    <a:lnTo>
                      <a:pt x="1166" y="358"/>
                    </a:lnTo>
                    <a:lnTo>
                      <a:pt x="1124" y="352"/>
                    </a:lnTo>
                    <a:lnTo>
                      <a:pt x="1110" y="328"/>
                    </a:lnTo>
                    <a:lnTo>
                      <a:pt x="1100" y="322"/>
                    </a:lnTo>
                    <a:lnTo>
                      <a:pt x="1092" y="352"/>
                    </a:lnTo>
                    <a:lnTo>
                      <a:pt x="1072" y="330"/>
                    </a:lnTo>
                    <a:lnTo>
                      <a:pt x="1074" y="310"/>
                    </a:lnTo>
                    <a:lnTo>
                      <a:pt x="1048" y="290"/>
                    </a:lnTo>
                    <a:lnTo>
                      <a:pt x="1034" y="282"/>
                    </a:lnTo>
                    <a:lnTo>
                      <a:pt x="1036" y="302"/>
                    </a:lnTo>
                    <a:lnTo>
                      <a:pt x="1066" y="322"/>
                    </a:lnTo>
                    <a:lnTo>
                      <a:pt x="1050" y="342"/>
                    </a:lnTo>
                    <a:lnTo>
                      <a:pt x="1028" y="312"/>
                    </a:lnTo>
                    <a:lnTo>
                      <a:pt x="1012" y="292"/>
                    </a:lnTo>
                    <a:lnTo>
                      <a:pt x="974" y="312"/>
                    </a:lnTo>
                    <a:lnTo>
                      <a:pt x="948" y="354"/>
                    </a:lnTo>
                    <a:lnTo>
                      <a:pt x="908" y="346"/>
                    </a:lnTo>
                    <a:lnTo>
                      <a:pt x="906" y="296"/>
                    </a:lnTo>
                    <a:lnTo>
                      <a:pt x="956" y="300"/>
                    </a:lnTo>
                    <a:lnTo>
                      <a:pt x="940" y="274"/>
                    </a:lnTo>
                    <a:lnTo>
                      <a:pt x="930" y="252"/>
                    </a:lnTo>
                    <a:lnTo>
                      <a:pt x="968" y="240"/>
                    </a:lnTo>
                    <a:lnTo>
                      <a:pt x="990" y="212"/>
                    </a:lnTo>
                    <a:lnTo>
                      <a:pt x="1008" y="210"/>
                    </a:lnTo>
                    <a:lnTo>
                      <a:pt x="1004" y="194"/>
                    </a:lnTo>
                    <a:lnTo>
                      <a:pt x="1016" y="180"/>
                    </a:lnTo>
                    <a:lnTo>
                      <a:pt x="1024" y="204"/>
                    </a:lnTo>
                    <a:lnTo>
                      <a:pt x="1072" y="206"/>
                    </a:lnTo>
                    <a:lnTo>
                      <a:pt x="1086" y="170"/>
                    </a:lnTo>
                    <a:lnTo>
                      <a:pt x="1106" y="176"/>
                    </a:lnTo>
                    <a:lnTo>
                      <a:pt x="1098" y="152"/>
                    </a:lnTo>
                    <a:lnTo>
                      <a:pt x="1128" y="144"/>
                    </a:lnTo>
                    <a:lnTo>
                      <a:pt x="1118" y="132"/>
                    </a:lnTo>
                    <a:lnTo>
                      <a:pt x="1092" y="140"/>
                    </a:lnTo>
                    <a:lnTo>
                      <a:pt x="1084" y="118"/>
                    </a:lnTo>
                    <a:lnTo>
                      <a:pt x="1082" y="118"/>
                    </a:lnTo>
                    <a:lnTo>
                      <a:pt x="1082" y="116"/>
                    </a:lnTo>
                    <a:lnTo>
                      <a:pt x="1080" y="106"/>
                    </a:lnTo>
                    <a:lnTo>
                      <a:pt x="1090" y="100"/>
                    </a:lnTo>
                    <a:lnTo>
                      <a:pt x="1098" y="76"/>
                    </a:lnTo>
                    <a:lnTo>
                      <a:pt x="1090" y="74"/>
                    </a:lnTo>
                    <a:lnTo>
                      <a:pt x="1072" y="94"/>
                    </a:lnTo>
                    <a:lnTo>
                      <a:pt x="1060" y="124"/>
                    </a:lnTo>
                    <a:lnTo>
                      <a:pt x="1074" y="140"/>
                    </a:lnTo>
                    <a:lnTo>
                      <a:pt x="1060" y="180"/>
                    </a:lnTo>
                    <a:lnTo>
                      <a:pt x="1036" y="190"/>
                    </a:lnTo>
                    <a:lnTo>
                      <a:pt x="1024" y="150"/>
                    </a:lnTo>
                    <a:lnTo>
                      <a:pt x="998" y="164"/>
                    </a:lnTo>
                    <a:lnTo>
                      <a:pt x="986" y="156"/>
                    </a:lnTo>
                    <a:lnTo>
                      <a:pt x="986" y="118"/>
                    </a:lnTo>
                    <a:lnTo>
                      <a:pt x="1010" y="100"/>
                    </a:lnTo>
                    <a:lnTo>
                      <a:pt x="1028" y="54"/>
                    </a:lnTo>
                    <a:lnTo>
                      <a:pt x="1076" y="28"/>
                    </a:lnTo>
                    <a:lnTo>
                      <a:pt x="1194" y="50"/>
                    </a:lnTo>
                    <a:lnTo>
                      <a:pt x="1194" y="50"/>
                    </a:lnTo>
                    <a:lnTo>
                      <a:pt x="1580" y="10"/>
                    </a:lnTo>
                    <a:lnTo>
                      <a:pt x="1990" y="68"/>
                    </a:lnTo>
                    <a:lnTo>
                      <a:pt x="2004" y="110"/>
                    </a:lnTo>
                    <a:lnTo>
                      <a:pt x="1948" y="142"/>
                    </a:lnTo>
                    <a:lnTo>
                      <a:pt x="1908" y="150"/>
                    </a:lnTo>
                    <a:close/>
                    <a:moveTo>
                      <a:pt x="1204" y="306"/>
                    </a:moveTo>
                    <a:lnTo>
                      <a:pt x="1138" y="272"/>
                    </a:lnTo>
                    <a:lnTo>
                      <a:pt x="1120" y="308"/>
                    </a:lnTo>
                    <a:lnTo>
                      <a:pt x="1128" y="324"/>
                    </a:lnTo>
                    <a:lnTo>
                      <a:pt x="1166" y="318"/>
                    </a:lnTo>
                    <a:lnTo>
                      <a:pt x="1192" y="326"/>
                    </a:lnTo>
                    <a:lnTo>
                      <a:pt x="1204" y="306"/>
                    </a:lnTo>
                    <a:close/>
                    <a:moveTo>
                      <a:pt x="1272" y="350"/>
                    </a:moveTo>
                    <a:lnTo>
                      <a:pt x="1266" y="310"/>
                    </a:lnTo>
                    <a:lnTo>
                      <a:pt x="1254" y="292"/>
                    </a:lnTo>
                    <a:lnTo>
                      <a:pt x="1270" y="286"/>
                    </a:lnTo>
                    <a:lnTo>
                      <a:pt x="1270" y="266"/>
                    </a:lnTo>
                    <a:lnTo>
                      <a:pt x="1230" y="288"/>
                    </a:lnTo>
                    <a:lnTo>
                      <a:pt x="1244" y="322"/>
                    </a:lnTo>
                    <a:lnTo>
                      <a:pt x="1238" y="346"/>
                    </a:lnTo>
                    <a:lnTo>
                      <a:pt x="1272" y="350"/>
                    </a:lnTo>
                    <a:close/>
                    <a:moveTo>
                      <a:pt x="712" y="46"/>
                    </a:moveTo>
                    <a:lnTo>
                      <a:pt x="678" y="36"/>
                    </a:lnTo>
                    <a:lnTo>
                      <a:pt x="634" y="82"/>
                    </a:lnTo>
                    <a:lnTo>
                      <a:pt x="690" y="226"/>
                    </a:lnTo>
                    <a:lnTo>
                      <a:pt x="716" y="232"/>
                    </a:lnTo>
                    <a:lnTo>
                      <a:pt x="718" y="186"/>
                    </a:lnTo>
                    <a:lnTo>
                      <a:pt x="736" y="174"/>
                    </a:lnTo>
                    <a:lnTo>
                      <a:pt x="738" y="156"/>
                    </a:lnTo>
                    <a:lnTo>
                      <a:pt x="756" y="122"/>
                    </a:lnTo>
                    <a:lnTo>
                      <a:pt x="742" y="96"/>
                    </a:lnTo>
                    <a:lnTo>
                      <a:pt x="712" y="46"/>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6" name="Group 25"/>
              <p:cNvGrpSpPr/>
              <p:nvPr/>
            </p:nvGrpSpPr>
            <p:grpSpPr>
              <a:xfrm>
                <a:off x="1038086" y="5373214"/>
                <a:ext cx="694944" cy="402840"/>
                <a:chOff x="1021562" y="5270780"/>
                <a:chExt cx="707940" cy="502520"/>
              </a:xfrm>
            </p:grpSpPr>
            <p:grpSp>
              <p:nvGrpSpPr>
                <p:cNvPr id="25" name="Group 24"/>
                <p:cNvGrpSpPr/>
                <p:nvPr/>
              </p:nvGrpSpPr>
              <p:grpSpPr>
                <a:xfrm>
                  <a:off x="1021562" y="5336835"/>
                  <a:ext cx="707940" cy="389505"/>
                  <a:chOff x="1021562" y="5336835"/>
                  <a:chExt cx="707940" cy="389505"/>
                </a:xfrm>
              </p:grpSpPr>
              <p:cxnSp>
                <p:nvCxnSpPr>
                  <p:cNvPr id="21" name="Straight Connector 20"/>
                  <p:cNvCxnSpPr/>
                  <p:nvPr/>
                </p:nvCxnSpPr>
                <p:spPr>
                  <a:xfrm>
                    <a:off x="1021562" y="5726340"/>
                    <a:ext cx="707940" cy="0"/>
                  </a:xfrm>
                  <a:prstGeom prst="line">
                    <a:avLst/>
                  </a:prstGeom>
                  <a:ln w="31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908" name="Straight Connector 907"/>
                  <p:cNvCxnSpPr/>
                  <p:nvPr/>
                </p:nvCxnSpPr>
                <p:spPr>
                  <a:xfrm>
                    <a:off x="1021562" y="5596506"/>
                    <a:ext cx="707940" cy="0"/>
                  </a:xfrm>
                  <a:prstGeom prst="line">
                    <a:avLst/>
                  </a:prstGeom>
                  <a:ln w="31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909" name="Straight Connector 908"/>
                  <p:cNvCxnSpPr/>
                  <p:nvPr/>
                </p:nvCxnSpPr>
                <p:spPr>
                  <a:xfrm>
                    <a:off x="1021562" y="5466671"/>
                    <a:ext cx="707940" cy="0"/>
                  </a:xfrm>
                  <a:prstGeom prst="line">
                    <a:avLst/>
                  </a:prstGeom>
                  <a:ln w="31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910" name="Straight Connector 909"/>
                  <p:cNvCxnSpPr/>
                  <p:nvPr/>
                </p:nvCxnSpPr>
                <p:spPr>
                  <a:xfrm>
                    <a:off x="1021562" y="5336835"/>
                    <a:ext cx="707940" cy="0"/>
                  </a:xfrm>
                  <a:prstGeom prst="line">
                    <a:avLst/>
                  </a:prstGeom>
                  <a:ln w="31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p:nvGrpSpPr>
              <p:grpSpPr>
                <a:xfrm>
                  <a:off x="1179248" y="5270780"/>
                  <a:ext cx="475237" cy="502520"/>
                  <a:chOff x="1179248" y="5270780"/>
                  <a:chExt cx="475237" cy="502520"/>
                </a:xfrm>
              </p:grpSpPr>
              <p:cxnSp>
                <p:nvCxnSpPr>
                  <p:cNvPr id="913" name="Straight Connector 912"/>
                  <p:cNvCxnSpPr/>
                  <p:nvPr/>
                </p:nvCxnSpPr>
                <p:spPr>
                  <a:xfrm rot="5400000">
                    <a:off x="927988" y="5522040"/>
                    <a:ext cx="502520" cy="0"/>
                  </a:xfrm>
                  <a:prstGeom prst="line">
                    <a:avLst/>
                  </a:prstGeom>
                  <a:ln w="31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914" name="Straight Connector 913"/>
                  <p:cNvCxnSpPr/>
                  <p:nvPr/>
                </p:nvCxnSpPr>
                <p:spPr>
                  <a:xfrm rot="5400000">
                    <a:off x="1086399" y="5522040"/>
                    <a:ext cx="502520" cy="0"/>
                  </a:xfrm>
                  <a:prstGeom prst="line">
                    <a:avLst/>
                  </a:prstGeom>
                  <a:ln w="31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915" name="Straight Connector 914"/>
                  <p:cNvCxnSpPr/>
                  <p:nvPr/>
                </p:nvCxnSpPr>
                <p:spPr>
                  <a:xfrm rot="5400000">
                    <a:off x="1244812" y="5522040"/>
                    <a:ext cx="502520" cy="0"/>
                  </a:xfrm>
                  <a:prstGeom prst="line">
                    <a:avLst/>
                  </a:prstGeom>
                  <a:ln w="31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916" name="Straight Connector 915"/>
                  <p:cNvCxnSpPr/>
                  <p:nvPr/>
                </p:nvCxnSpPr>
                <p:spPr>
                  <a:xfrm rot="5400000">
                    <a:off x="1403225" y="5522040"/>
                    <a:ext cx="502520" cy="0"/>
                  </a:xfrm>
                  <a:prstGeom prst="line">
                    <a:avLst/>
                  </a:prstGeom>
                  <a:ln w="31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1" name="Group 10"/>
              <p:cNvGrpSpPr>
                <a:grpSpLocks noChangeAspect="1"/>
              </p:cNvGrpSpPr>
              <p:nvPr/>
            </p:nvGrpSpPr>
            <p:grpSpPr>
              <a:xfrm>
                <a:off x="1068419" y="5306630"/>
                <a:ext cx="123442" cy="70401"/>
                <a:chOff x="-7037388" y="1403350"/>
                <a:chExt cx="6502400" cy="3708400"/>
              </a:xfrm>
              <a:solidFill>
                <a:schemeClr val="bg1"/>
              </a:solidFill>
            </p:grpSpPr>
            <p:sp>
              <p:nvSpPr>
                <p:cNvPr id="7" name="Freeform 6"/>
                <p:cNvSpPr>
                  <a:spLocks noEditPoints="1"/>
                </p:cNvSpPr>
                <p:nvPr/>
              </p:nvSpPr>
              <p:spPr bwMode="auto">
                <a:xfrm>
                  <a:off x="-7037388" y="1403350"/>
                  <a:ext cx="6502400" cy="3022600"/>
                </a:xfrm>
                <a:custGeom>
                  <a:avLst/>
                  <a:gdLst>
                    <a:gd name="T0" fmla="*/ 4092 w 4096"/>
                    <a:gd name="T1" fmla="*/ 1796 h 1904"/>
                    <a:gd name="T2" fmla="*/ 4056 w 4096"/>
                    <a:gd name="T3" fmla="*/ 1854 h 1904"/>
                    <a:gd name="T4" fmla="*/ 3952 w 4096"/>
                    <a:gd name="T5" fmla="*/ 1898 h 1904"/>
                    <a:gd name="T6" fmla="*/ 3698 w 4096"/>
                    <a:gd name="T7" fmla="*/ 1902 h 1904"/>
                    <a:gd name="T8" fmla="*/ 3602 w 4096"/>
                    <a:gd name="T9" fmla="*/ 1802 h 1904"/>
                    <a:gd name="T10" fmla="*/ 3528 w 4096"/>
                    <a:gd name="T11" fmla="*/ 1656 h 1904"/>
                    <a:gd name="T12" fmla="*/ 3418 w 4096"/>
                    <a:gd name="T13" fmla="*/ 1540 h 1904"/>
                    <a:gd name="T14" fmla="*/ 3280 w 4096"/>
                    <a:gd name="T15" fmla="*/ 1460 h 1904"/>
                    <a:gd name="T16" fmla="*/ 3122 w 4096"/>
                    <a:gd name="T17" fmla="*/ 1422 h 1904"/>
                    <a:gd name="T18" fmla="*/ 2958 w 4096"/>
                    <a:gd name="T19" fmla="*/ 1432 h 1904"/>
                    <a:gd name="T20" fmla="*/ 2824 w 4096"/>
                    <a:gd name="T21" fmla="*/ 1478 h 1904"/>
                    <a:gd name="T22" fmla="*/ 2694 w 4096"/>
                    <a:gd name="T23" fmla="*/ 1568 h 1904"/>
                    <a:gd name="T24" fmla="*/ 2592 w 4096"/>
                    <a:gd name="T25" fmla="*/ 1696 h 1904"/>
                    <a:gd name="T26" fmla="*/ 2528 w 4096"/>
                    <a:gd name="T27" fmla="*/ 1864 h 1904"/>
                    <a:gd name="T28" fmla="*/ 1570 w 4096"/>
                    <a:gd name="T29" fmla="*/ 1854 h 1904"/>
                    <a:gd name="T30" fmla="*/ 1486 w 4096"/>
                    <a:gd name="T31" fmla="*/ 1650 h 1904"/>
                    <a:gd name="T32" fmla="*/ 1328 w 4096"/>
                    <a:gd name="T33" fmla="*/ 1512 h 1904"/>
                    <a:gd name="T34" fmla="*/ 1126 w 4096"/>
                    <a:gd name="T35" fmla="*/ 1442 h 1904"/>
                    <a:gd name="T36" fmla="*/ 910 w 4096"/>
                    <a:gd name="T37" fmla="*/ 1442 h 1904"/>
                    <a:gd name="T38" fmla="*/ 710 w 4096"/>
                    <a:gd name="T39" fmla="*/ 1520 h 1904"/>
                    <a:gd name="T40" fmla="*/ 552 w 4096"/>
                    <a:gd name="T41" fmla="*/ 1676 h 1904"/>
                    <a:gd name="T42" fmla="*/ 496 w 4096"/>
                    <a:gd name="T43" fmla="*/ 1804 h 1904"/>
                    <a:gd name="T44" fmla="*/ 322 w 4096"/>
                    <a:gd name="T45" fmla="*/ 1904 h 1904"/>
                    <a:gd name="T46" fmla="*/ 114 w 4096"/>
                    <a:gd name="T47" fmla="*/ 1890 h 1904"/>
                    <a:gd name="T48" fmla="*/ 30 w 4096"/>
                    <a:gd name="T49" fmla="*/ 1844 h 1904"/>
                    <a:gd name="T50" fmla="*/ 0 w 4096"/>
                    <a:gd name="T51" fmla="*/ 1782 h 1904"/>
                    <a:gd name="T52" fmla="*/ 10 w 4096"/>
                    <a:gd name="T53" fmla="*/ 882 h 1904"/>
                    <a:gd name="T54" fmla="*/ 58 w 4096"/>
                    <a:gd name="T55" fmla="*/ 824 h 1904"/>
                    <a:gd name="T56" fmla="*/ 174 w 4096"/>
                    <a:gd name="T57" fmla="*/ 798 h 1904"/>
                    <a:gd name="T58" fmla="*/ 458 w 4096"/>
                    <a:gd name="T59" fmla="*/ 806 h 1904"/>
                    <a:gd name="T60" fmla="*/ 538 w 4096"/>
                    <a:gd name="T61" fmla="*/ 786 h 1904"/>
                    <a:gd name="T62" fmla="*/ 654 w 4096"/>
                    <a:gd name="T63" fmla="*/ 660 h 1904"/>
                    <a:gd name="T64" fmla="*/ 984 w 4096"/>
                    <a:gd name="T65" fmla="*/ 222 h 1904"/>
                    <a:gd name="T66" fmla="*/ 1122 w 4096"/>
                    <a:gd name="T67" fmla="*/ 52 h 1904"/>
                    <a:gd name="T68" fmla="*/ 1200 w 4096"/>
                    <a:gd name="T69" fmla="*/ 20 h 1904"/>
                    <a:gd name="T70" fmla="*/ 1440 w 4096"/>
                    <a:gd name="T71" fmla="*/ 4 h 1904"/>
                    <a:gd name="T72" fmla="*/ 1784 w 4096"/>
                    <a:gd name="T73" fmla="*/ 14 h 1904"/>
                    <a:gd name="T74" fmla="*/ 2276 w 4096"/>
                    <a:gd name="T75" fmla="*/ 0 h 1904"/>
                    <a:gd name="T76" fmla="*/ 2432 w 4096"/>
                    <a:gd name="T77" fmla="*/ 14 h 1904"/>
                    <a:gd name="T78" fmla="*/ 2538 w 4096"/>
                    <a:gd name="T79" fmla="*/ 54 h 1904"/>
                    <a:gd name="T80" fmla="*/ 2646 w 4096"/>
                    <a:gd name="T81" fmla="*/ 158 h 1904"/>
                    <a:gd name="T82" fmla="*/ 2900 w 4096"/>
                    <a:gd name="T83" fmla="*/ 468 h 1904"/>
                    <a:gd name="T84" fmla="*/ 3062 w 4096"/>
                    <a:gd name="T85" fmla="*/ 686 h 1904"/>
                    <a:gd name="T86" fmla="*/ 3176 w 4096"/>
                    <a:gd name="T87" fmla="*/ 782 h 1904"/>
                    <a:gd name="T88" fmla="*/ 3290 w 4096"/>
                    <a:gd name="T89" fmla="*/ 806 h 1904"/>
                    <a:gd name="T90" fmla="*/ 3536 w 4096"/>
                    <a:gd name="T91" fmla="*/ 822 h 1904"/>
                    <a:gd name="T92" fmla="*/ 3738 w 4096"/>
                    <a:gd name="T93" fmla="*/ 896 h 1904"/>
                    <a:gd name="T94" fmla="*/ 3936 w 4096"/>
                    <a:gd name="T95" fmla="*/ 1052 h 1904"/>
                    <a:gd name="T96" fmla="*/ 4066 w 4096"/>
                    <a:gd name="T97" fmla="*/ 1280 h 1904"/>
                    <a:gd name="T98" fmla="*/ 1288 w 4096"/>
                    <a:gd name="T99" fmla="*/ 342 h 1904"/>
                    <a:gd name="T100" fmla="*/ 1160 w 4096"/>
                    <a:gd name="T101" fmla="*/ 462 h 1904"/>
                    <a:gd name="T102" fmla="*/ 992 w 4096"/>
                    <a:gd name="T103" fmla="*/ 720 h 1904"/>
                    <a:gd name="T104" fmla="*/ 1736 w 4096"/>
                    <a:gd name="T105" fmla="*/ 798 h 1904"/>
                    <a:gd name="T106" fmla="*/ 1674 w 4096"/>
                    <a:gd name="T107" fmla="*/ 330 h 1904"/>
                    <a:gd name="T108" fmla="*/ 1398 w 4096"/>
                    <a:gd name="T109" fmla="*/ 320 h 1904"/>
                    <a:gd name="T110" fmla="*/ 1288 w 4096"/>
                    <a:gd name="T111" fmla="*/ 342 h 1904"/>
                    <a:gd name="T112" fmla="*/ 2502 w 4096"/>
                    <a:gd name="T113" fmla="*/ 448 h 1904"/>
                    <a:gd name="T114" fmla="*/ 2400 w 4096"/>
                    <a:gd name="T115" fmla="*/ 350 h 1904"/>
                    <a:gd name="T116" fmla="*/ 2330 w 4096"/>
                    <a:gd name="T117" fmla="*/ 328 h 1904"/>
                    <a:gd name="T118" fmla="*/ 2056 w 4096"/>
                    <a:gd name="T119" fmla="*/ 326 h 1904"/>
                    <a:gd name="T120" fmla="*/ 2048 w 4096"/>
                    <a:gd name="T121" fmla="*/ 558 h 1904"/>
                    <a:gd name="T122" fmla="*/ 2768 w 4096"/>
                    <a:gd name="T123" fmla="*/ 798 h 1904"/>
                    <a:gd name="T124" fmla="*/ 2592 w 4096"/>
                    <a:gd name="T125" fmla="*/ 56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6" h="1904">
                      <a:moveTo>
                        <a:pt x="4096" y="1390"/>
                      </a:moveTo>
                      <a:lnTo>
                        <a:pt x="4096" y="1390"/>
                      </a:lnTo>
                      <a:lnTo>
                        <a:pt x="4096" y="1782"/>
                      </a:lnTo>
                      <a:lnTo>
                        <a:pt x="4096" y="1782"/>
                      </a:lnTo>
                      <a:lnTo>
                        <a:pt x="4092" y="1796"/>
                      </a:lnTo>
                      <a:lnTo>
                        <a:pt x="4088" y="1810"/>
                      </a:lnTo>
                      <a:lnTo>
                        <a:pt x="4082" y="1824"/>
                      </a:lnTo>
                      <a:lnTo>
                        <a:pt x="4074" y="1834"/>
                      </a:lnTo>
                      <a:lnTo>
                        <a:pt x="4066" y="1844"/>
                      </a:lnTo>
                      <a:lnTo>
                        <a:pt x="4056" y="1854"/>
                      </a:lnTo>
                      <a:lnTo>
                        <a:pt x="4046" y="1862"/>
                      </a:lnTo>
                      <a:lnTo>
                        <a:pt x="4036" y="1870"/>
                      </a:lnTo>
                      <a:lnTo>
                        <a:pt x="4010" y="1882"/>
                      </a:lnTo>
                      <a:lnTo>
                        <a:pt x="3982" y="1890"/>
                      </a:lnTo>
                      <a:lnTo>
                        <a:pt x="3952" y="1898"/>
                      </a:lnTo>
                      <a:lnTo>
                        <a:pt x="3920" y="1902"/>
                      </a:lnTo>
                      <a:lnTo>
                        <a:pt x="3884" y="1904"/>
                      </a:lnTo>
                      <a:lnTo>
                        <a:pt x="3848" y="1904"/>
                      </a:lnTo>
                      <a:lnTo>
                        <a:pt x="3774" y="1904"/>
                      </a:lnTo>
                      <a:lnTo>
                        <a:pt x="3698" y="1902"/>
                      </a:lnTo>
                      <a:lnTo>
                        <a:pt x="3624" y="1902"/>
                      </a:lnTo>
                      <a:lnTo>
                        <a:pt x="3624" y="1902"/>
                      </a:lnTo>
                      <a:lnTo>
                        <a:pt x="3618" y="1868"/>
                      </a:lnTo>
                      <a:lnTo>
                        <a:pt x="3610" y="1834"/>
                      </a:lnTo>
                      <a:lnTo>
                        <a:pt x="3602" y="1802"/>
                      </a:lnTo>
                      <a:lnTo>
                        <a:pt x="3590" y="1770"/>
                      </a:lnTo>
                      <a:lnTo>
                        <a:pt x="3576" y="1740"/>
                      </a:lnTo>
                      <a:lnTo>
                        <a:pt x="3562" y="1712"/>
                      </a:lnTo>
                      <a:lnTo>
                        <a:pt x="3546" y="1684"/>
                      </a:lnTo>
                      <a:lnTo>
                        <a:pt x="3528" y="1656"/>
                      </a:lnTo>
                      <a:lnTo>
                        <a:pt x="3508" y="1630"/>
                      </a:lnTo>
                      <a:lnTo>
                        <a:pt x="3488" y="1606"/>
                      </a:lnTo>
                      <a:lnTo>
                        <a:pt x="3466" y="1582"/>
                      </a:lnTo>
                      <a:lnTo>
                        <a:pt x="3442" y="1560"/>
                      </a:lnTo>
                      <a:lnTo>
                        <a:pt x="3418" y="1540"/>
                      </a:lnTo>
                      <a:lnTo>
                        <a:pt x="3392" y="1522"/>
                      </a:lnTo>
                      <a:lnTo>
                        <a:pt x="3364" y="1504"/>
                      </a:lnTo>
                      <a:lnTo>
                        <a:pt x="3338" y="1488"/>
                      </a:lnTo>
                      <a:lnTo>
                        <a:pt x="3308" y="1474"/>
                      </a:lnTo>
                      <a:lnTo>
                        <a:pt x="3280" y="1460"/>
                      </a:lnTo>
                      <a:lnTo>
                        <a:pt x="3250" y="1450"/>
                      </a:lnTo>
                      <a:lnTo>
                        <a:pt x="3218" y="1440"/>
                      </a:lnTo>
                      <a:lnTo>
                        <a:pt x="3186" y="1432"/>
                      </a:lnTo>
                      <a:lnTo>
                        <a:pt x="3156" y="1426"/>
                      </a:lnTo>
                      <a:lnTo>
                        <a:pt x="3122" y="1422"/>
                      </a:lnTo>
                      <a:lnTo>
                        <a:pt x="3090" y="1420"/>
                      </a:lnTo>
                      <a:lnTo>
                        <a:pt x="3058" y="1420"/>
                      </a:lnTo>
                      <a:lnTo>
                        <a:pt x="3024" y="1422"/>
                      </a:lnTo>
                      <a:lnTo>
                        <a:pt x="2990" y="1426"/>
                      </a:lnTo>
                      <a:lnTo>
                        <a:pt x="2958" y="1432"/>
                      </a:lnTo>
                      <a:lnTo>
                        <a:pt x="2924" y="1440"/>
                      </a:lnTo>
                      <a:lnTo>
                        <a:pt x="2890" y="1450"/>
                      </a:lnTo>
                      <a:lnTo>
                        <a:pt x="2856" y="1464"/>
                      </a:lnTo>
                      <a:lnTo>
                        <a:pt x="2824" y="1478"/>
                      </a:lnTo>
                      <a:lnTo>
                        <a:pt x="2824" y="1478"/>
                      </a:lnTo>
                      <a:lnTo>
                        <a:pt x="2796" y="1492"/>
                      </a:lnTo>
                      <a:lnTo>
                        <a:pt x="2770" y="1508"/>
                      </a:lnTo>
                      <a:lnTo>
                        <a:pt x="2744" y="1526"/>
                      </a:lnTo>
                      <a:lnTo>
                        <a:pt x="2718" y="1546"/>
                      </a:lnTo>
                      <a:lnTo>
                        <a:pt x="2694" y="1568"/>
                      </a:lnTo>
                      <a:lnTo>
                        <a:pt x="2672" y="1590"/>
                      </a:lnTo>
                      <a:lnTo>
                        <a:pt x="2650" y="1614"/>
                      </a:lnTo>
                      <a:lnTo>
                        <a:pt x="2630" y="1640"/>
                      </a:lnTo>
                      <a:lnTo>
                        <a:pt x="2610" y="1668"/>
                      </a:lnTo>
                      <a:lnTo>
                        <a:pt x="2592" y="1696"/>
                      </a:lnTo>
                      <a:lnTo>
                        <a:pt x="2576" y="1728"/>
                      </a:lnTo>
                      <a:lnTo>
                        <a:pt x="2562" y="1760"/>
                      </a:lnTo>
                      <a:lnTo>
                        <a:pt x="2548" y="1792"/>
                      </a:lnTo>
                      <a:lnTo>
                        <a:pt x="2538" y="1828"/>
                      </a:lnTo>
                      <a:lnTo>
                        <a:pt x="2528" y="1864"/>
                      </a:lnTo>
                      <a:lnTo>
                        <a:pt x="2520" y="1902"/>
                      </a:lnTo>
                      <a:lnTo>
                        <a:pt x="2520" y="1902"/>
                      </a:lnTo>
                      <a:lnTo>
                        <a:pt x="1576" y="1902"/>
                      </a:lnTo>
                      <a:lnTo>
                        <a:pt x="1576" y="1902"/>
                      </a:lnTo>
                      <a:lnTo>
                        <a:pt x="1570" y="1854"/>
                      </a:lnTo>
                      <a:lnTo>
                        <a:pt x="1560" y="1808"/>
                      </a:lnTo>
                      <a:lnTo>
                        <a:pt x="1546" y="1764"/>
                      </a:lnTo>
                      <a:lnTo>
                        <a:pt x="1530" y="1724"/>
                      </a:lnTo>
                      <a:lnTo>
                        <a:pt x="1508" y="1686"/>
                      </a:lnTo>
                      <a:lnTo>
                        <a:pt x="1486" y="1650"/>
                      </a:lnTo>
                      <a:lnTo>
                        <a:pt x="1458" y="1618"/>
                      </a:lnTo>
                      <a:lnTo>
                        <a:pt x="1430" y="1586"/>
                      </a:lnTo>
                      <a:lnTo>
                        <a:pt x="1398" y="1560"/>
                      </a:lnTo>
                      <a:lnTo>
                        <a:pt x="1364" y="1534"/>
                      </a:lnTo>
                      <a:lnTo>
                        <a:pt x="1328" y="1512"/>
                      </a:lnTo>
                      <a:lnTo>
                        <a:pt x="1290" y="1492"/>
                      </a:lnTo>
                      <a:lnTo>
                        <a:pt x="1250" y="1474"/>
                      </a:lnTo>
                      <a:lnTo>
                        <a:pt x="1210" y="1460"/>
                      </a:lnTo>
                      <a:lnTo>
                        <a:pt x="1168" y="1450"/>
                      </a:lnTo>
                      <a:lnTo>
                        <a:pt x="1126" y="1442"/>
                      </a:lnTo>
                      <a:lnTo>
                        <a:pt x="1084" y="1436"/>
                      </a:lnTo>
                      <a:lnTo>
                        <a:pt x="1040" y="1434"/>
                      </a:lnTo>
                      <a:lnTo>
                        <a:pt x="996" y="1434"/>
                      </a:lnTo>
                      <a:lnTo>
                        <a:pt x="954" y="1436"/>
                      </a:lnTo>
                      <a:lnTo>
                        <a:pt x="910" y="1442"/>
                      </a:lnTo>
                      <a:lnTo>
                        <a:pt x="868" y="1452"/>
                      </a:lnTo>
                      <a:lnTo>
                        <a:pt x="826" y="1464"/>
                      </a:lnTo>
                      <a:lnTo>
                        <a:pt x="786" y="1480"/>
                      </a:lnTo>
                      <a:lnTo>
                        <a:pt x="746" y="1498"/>
                      </a:lnTo>
                      <a:lnTo>
                        <a:pt x="710" y="1520"/>
                      </a:lnTo>
                      <a:lnTo>
                        <a:pt x="674" y="1546"/>
                      </a:lnTo>
                      <a:lnTo>
                        <a:pt x="640" y="1574"/>
                      </a:lnTo>
                      <a:lnTo>
                        <a:pt x="608" y="1604"/>
                      </a:lnTo>
                      <a:lnTo>
                        <a:pt x="578" y="1638"/>
                      </a:lnTo>
                      <a:lnTo>
                        <a:pt x="552" y="1676"/>
                      </a:lnTo>
                      <a:lnTo>
                        <a:pt x="528" y="1718"/>
                      </a:lnTo>
                      <a:lnTo>
                        <a:pt x="528" y="1718"/>
                      </a:lnTo>
                      <a:lnTo>
                        <a:pt x="518" y="1738"/>
                      </a:lnTo>
                      <a:lnTo>
                        <a:pt x="510" y="1760"/>
                      </a:lnTo>
                      <a:lnTo>
                        <a:pt x="496" y="1804"/>
                      </a:lnTo>
                      <a:lnTo>
                        <a:pt x="484" y="1852"/>
                      </a:lnTo>
                      <a:lnTo>
                        <a:pt x="472" y="1902"/>
                      </a:lnTo>
                      <a:lnTo>
                        <a:pt x="472" y="1902"/>
                      </a:lnTo>
                      <a:lnTo>
                        <a:pt x="398" y="1902"/>
                      </a:lnTo>
                      <a:lnTo>
                        <a:pt x="322" y="1904"/>
                      </a:lnTo>
                      <a:lnTo>
                        <a:pt x="248" y="1904"/>
                      </a:lnTo>
                      <a:lnTo>
                        <a:pt x="212" y="1904"/>
                      </a:lnTo>
                      <a:lnTo>
                        <a:pt x="176" y="1902"/>
                      </a:lnTo>
                      <a:lnTo>
                        <a:pt x="144" y="1898"/>
                      </a:lnTo>
                      <a:lnTo>
                        <a:pt x="114" y="1890"/>
                      </a:lnTo>
                      <a:lnTo>
                        <a:pt x="86" y="1882"/>
                      </a:lnTo>
                      <a:lnTo>
                        <a:pt x="60" y="1870"/>
                      </a:lnTo>
                      <a:lnTo>
                        <a:pt x="50" y="1862"/>
                      </a:lnTo>
                      <a:lnTo>
                        <a:pt x="40" y="1854"/>
                      </a:lnTo>
                      <a:lnTo>
                        <a:pt x="30" y="1844"/>
                      </a:lnTo>
                      <a:lnTo>
                        <a:pt x="22" y="1834"/>
                      </a:lnTo>
                      <a:lnTo>
                        <a:pt x="14" y="1824"/>
                      </a:lnTo>
                      <a:lnTo>
                        <a:pt x="8" y="1810"/>
                      </a:lnTo>
                      <a:lnTo>
                        <a:pt x="4" y="1796"/>
                      </a:lnTo>
                      <a:lnTo>
                        <a:pt x="0" y="1782"/>
                      </a:lnTo>
                      <a:lnTo>
                        <a:pt x="0" y="1782"/>
                      </a:lnTo>
                      <a:lnTo>
                        <a:pt x="0" y="918"/>
                      </a:lnTo>
                      <a:lnTo>
                        <a:pt x="0" y="918"/>
                      </a:lnTo>
                      <a:lnTo>
                        <a:pt x="4" y="900"/>
                      </a:lnTo>
                      <a:lnTo>
                        <a:pt x="10" y="882"/>
                      </a:lnTo>
                      <a:lnTo>
                        <a:pt x="16" y="868"/>
                      </a:lnTo>
                      <a:lnTo>
                        <a:pt x="26" y="854"/>
                      </a:lnTo>
                      <a:lnTo>
                        <a:pt x="36" y="842"/>
                      </a:lnTo>
                      <a:lnTo>
                        <a:pt x="46" y="832"/>
                      </a:lnTo>
                      <a:lnTo>
                        <a:pt x="58" y="824"/>
                      </a:lnTo>
                      <a:lnTo>
                        <a:pt x="72" y="818"/>
                      </a:lnTo>
                      <a:lnTo>
                        <a:pt x="88" y="812"/>
                      </a:lnTo>
                      <a:lnTo>
                        <a:pt x="102" y="808"/>
                      </a:lnTo>
                      <a:lnTo>
                        <a:pt x="136" y="802"/>
                      </a:lnTo>
                      <a:lnTo>
                        <a:pt x="174" y="798"/>
                      </a:lnTo>
                      <a:lnTo>
                        <a:pt x="212" y="798"/>
                      </a:lnTo>
                      <a:lnTo>
                        <a:pt x="294" y="804"/>
                      </a:lnTo>
                      <a:lnTo>
                        <a:pt x="378" y="808"/>
                      </a:lnTo>
                      <a:lnTo>
                        <a:pt x="418" y="808"/>
                      </a:lnTo>
                      <a:lnTo>
                        <a:pt x="458" y="806"/>
                      </a:lnTo>
                      <a:lnTo>
                        <a:pt x="494" y="800"/>
                      </a:lnTo>
                      <a:lnTo>
                        <a:pt x="512" y="796"/>
                      </a:lnTo>
                      <a:lnTo>
                        <a:pt x="528" y="790"/>
                      </a:lnTo>
                      <a:lnTo>
                        <a:pt x="528" y="790"/>
                      </a:lnTo>
                      <a:lnTo>
                        <a:pt x="538" y="786"/>
                      </a:lnTo>
                      <a:lnTo>
                        <a:pt x="548" y="780"/>
                      </a:lnTo>
                      <a:lnTo>
                        <a:pt x="568" y="762"/>
                      </a:lnTo>
                      <a:lnTo>
                        <a:pt x="590" y="740"/>
                      </a:lnTo>
                      <a:lnTo>
                        <a:pt x="612" y="714"/>
                      </a:lnTo>
                      <a:lnTo>
                        <a:pt x="654" y="660"/>
                      </a:lnTo>
                      <a:lnTo>
                        <a:pt x="688" y="614"/>
                      </a:lnTo>
                      <a:lnTo>
                        <a:pt x="688" y="614"/>
                      </a:lnTo>
                      <a:lnTo>
                        <a:pt x="838" y="414"/>
                      </a:lnTo>
                      <a:lnTo>
                        <a:pt x="984" y="222"/>
                      </a:lnTo>
                      <a:lnTo>
                        <a:pt x="984" y="222"/>
                      </a:lnTo>
                      <a:lnTo>
                        <a:pt x="1022" y="168"/>
                      </a:lnTo>
                      <a:lnTo>
                        <a:pt x="1062" y="114"/>
                      </a:lnTo>
                      <a:lnTo>
                        <a:pt x="1080" y="90"/>
                      </a:lnTo>
                      <a:lnTo>
                        <a:pt x="1102" y="68"/>
                      </a:lnTo>
                      <a:lnTo>
                        <a:pt x="1122" y="52"/>
                      </a:lnTo>
                      <a:lnTo>
                        <a:pt x="1132" y="44"/>
                      </a:lnTo>
                      <a:lnTo>
                        <a:pt x="1144" y="38"/>
                      </a:lnTo>
                      <a:lnTo>
                        <a:pt x="1144" y="38"/>
                      </a:lnTo>
                      <a:lnTo>
                        <a:pt x="1170" y="28"/>
                      </a:lnTo>
                      <a:lnTo>
                        <a:pt x="1200" y="20"/>
                      </a:lnTo>
                      <a:lnTo>
                        <a:pt x="1234" y="14"/>
                      </a:lnTo>
                      <a:lnTo>
                        <a:pt x="1270" y="10"/>
                      </a:lnTo>
                      <a:lnTo>
                        <a:pt x="1310" y="8"/>
                      </a:lnTo>
                      <a:lnTo>
                        <a:pt x="1352" y="6"/>
                      </a:lnTo>
                      <a:lnTo>
                        <a:pt x="1440" y="4"/>
                      </a:lnTo>
                      <a:lnTo>
                        <a:pt x="1532" y="6"/>
                      </a:lnTo>
                      <a:lnTo>
                        <a:pt x="1622" y="10"/>
                      </a:lnTo>
                      <a:lnTo>
                        <a:pt x="1708" y="12"/>
                      </a:lnTo>
                      <a:lnTo>
                        <a:pt x="1784" y="14"/>
                      </a:lnTo>
                      <a:lnTo>
                        <a:pt x="1784" y="14"/>
                      </a:lnTo>
                      <a:lnTo>
                        <a:pt x="1862" y="12"/>
                      </a:lnTo>
                      <a:lnTo>
                        <a:pt x="1944" y="10"/>
                      </a:lnTo>
                      <a:lnTo>
                        <a:pt x="2110" y="2"/>
                      </a:lnTo>
                      <a:lnTo>
                        <a:pt x="2194" y="0"/>
                      </a:lnTo>
                      <a:lnTo>
                        <a:pt x="2276" y="0"/>
                      </a:lnTo>
                      <a:lnTo>
                        <a:pt x="2316" y="2"/>
                      </a:lnTo>
                      <a:lnTo>
                        <a:pt x="2356" y="4"/>
                      </a:lnTo>
                      <a:lnTo>
                        <a:pt x="2394" y="8"/>
                      </a:lnTo>
                      <a:lnTo>
                        <a:pt x="2432" y="14"/>
                      </a:lnTo>
                      <a:lnTo>
                        <a:pt x="2432" y="14"/>
                      </a:lnTo>
                      <a:lnTo>
                        <a:pt x="2456" y="20"/>
                      </a:lnTo>
                      <a:lnTo>
                        <a:pt x="2480" y="26"/>
                      </a:lnTo>
                      <a:lnTo>
                        <a:pt x="2500" y="34"/>
                      </a:lnTo>
                      <a:lnTo>
                        <a:pt x="2520" y="44"/>
                      </a:lnTo>
                      <a:lnTo>
                        <a:pt x="2538" y="54"/>
                      </a:lnTo>
                      <a:lnTo>
                        <a:pt x="2556" y="66"/>
                      </a:lnTo>
                      <a:lnTo>
                        <a:pt x="2572" y="80"/>
                      </a:lnTo>
                      <a:lnTo>
                        <a:pt x="2588" y="94"/>
                      </a:lnTo>
                      <a:lnTo>
                        <a:pt x="2618" y="124"/>
                      </a:lnTo>
                      <a:lnTo>
                        <a:pt x="2646" y="158"/>
                      </a:lnTo>
                      <a:lnTo>
                        <a:pt x="2704" y="230"/>
                      </a:lnTo>
                      <a:lnTo>
                        <a:pt x="2704" y="230"/>
                      </a:lnTo>
                      <a:lnTo>
                        <a:pt x="2864" y="422"/>
                      </a:lnTo>
                      <a:lnTo>
                        <a:pt x="2864" y="422"/>
                      </a:lnTo>
                      <a:lnTo>
                        <a:pt x="2900" y="468"/>
                      </a:lnTo>
                      <a:lnTo>
                        <a:pt x="2936" y="520"/>
                      </a:lnTo>
                      <a:lnTo>
                        <a:pt x="2976" y="578"/>
                      </a:lnTo>
                      <a:lnTo>
                        <a:pt x="3018" y="634"/>
                      </a:lnTo>
                      <a:lnTo>
                        <a:pt x="3040" y="660"/>
                      </a:lnTo>
                      <a:lnTo>
                        <a:pt x="3062" y="686"/>
                      </a:lnTo>
                      <a:lnTo>
                        <a:pt x="3084" y="710"/>
                      </a:lnTo>
                      <a:lnTo>
                        <a:pt x="3106" y="732"/>
                      </a:lnTo>
                      <a:lnTo>
                        <a:pt x="3130" y="752"/>
                      </a:lnTo>
                      <a:lnTo>
                        <a:pt x="3152" y="768"/>
                      </a:lnTo>
                      <a:lnTo>
                        <a:pt x="3176" y="782"/>
                      </a:lnTo>
                      <a:lnTo>
                        <a:pt x="3200" y="790"/>
                      </a:lnTo>
                      <a:lnTo>
                        <a:pt x="3200" y="790"/>
                      </a:lnTo>
                      <a:lnTo>
                        <a:pt x="3224" y="796"/>
                      </a:lnTo>
                      <a:lnTo>
                        <a:pt x="3246" y="800"/>
                      </a:lnTo>
                      <a:lnTo>
                        <a:pt x="3290" y="806"/>
                      </a:lnTo>
                      <a:lnTo>
                        <a:pt x="3334" y="810"/>
                      </a:lnTo>
                      <a:lnTo>
                        <a:pt x="3376" y="810"/>
                      </a:lnTo>
                      <a:lnTo>
                        <a:pt x="3458" y="812"/>
                      </a:lnTo>
                      <a:lnTo>
                        <a:pt x="3498" y="816"/>
                      </a:lnTo>
                      <a:lnTo>
                        <a:pt x="3536" y="822"/>
                      </a:lnTo>
                      <a:lnTo>
                        <a:pt x="3536" y="822"/>
                      </a:lnTo>
                      <a:lnTo>
                        <a:pt x="3590" y="836"/>
                      </a:lnTo>
                      <a:lnTo>
                        <a:pt x="3642" y="852"/>
                      </a:lnTo>
                      <a:lnTo>
                        <a:pt x="3692" y="872"/>
                      </a:lnTo>
                      <a:lnTo>
                        <a:pt x="3738" y="896"/>
                      </a:lnTo>
                      <a:lnTo>
                        <a:pt x="3782" y="920"/>
                      </a:lnTo>
                      <a:lnTo>
                        <a:pt x="3826" y="950"/>
                      </a:lnTo>
                      <a:lnTo>
                        <a:pt x="3864" y="982"/>
                      </a:lnTo>
                      <a:lnTo>
                        <a:pt x="3902" y="1016"/>
                      </a:lnTo>
                      <a:lnTo>
                        <a:pt x="3936" y="1052"/>
                      </a:lnTo>
                      <a:lnTo>
                        <a:pt x="3968" y="1092"/>
                      </a:lnTo>
                      <a:lnTo>
                        <a:pt x="3996" y="1136"/>
                      </a:lnTo>
                      <a:lnTo>
                        <a:pt x="4022" y="1182"/>
                      </a:lnTo>
                      <a:lnTo>
                        <a:pt x="4046" y="1230"/>
                      </a:lnTo>
                      <a:lnTo>
                        <a:pt x="4066" y="1280"/>
                      </a:lnTo>
                      <a:lnTo>
                        <a:pt x="4082" y="1334"/>
                      </a:lnTo>
                      <a:lnTo>
                        <a:pt x="4096" y="1390"/>
                      </a:lnTo>
                      <a:lnTo>
                        <a:pt x="4096" y="1390"/>
                      </a:lnTo>
                      <a:close/>
                      <a:moveTo>
                        <a:pt x="1288" y="342"/>
                      </a:moveTo>
                      <a:lnTo>
                        <a:pt x="1288" y="342"/>
                      </a:lnTo>
                      <a:lnTo>
                        <a:pt x="1260" y="360"/>
                      </a:lnTo>
                      <a:lnTo>
                        <a:pt x="1234" y="382"/>
                      </a:lnTo>
                      <a:lnTo>
                        <a:pt x="1208" y="406"/>
                      </a:lnTo>
                      <a:lnTo>
                        <a:pt x="1184" y="432"/>
                      </a:lnTo>
                      <a:lnTo>
                        <a:pt x="1160" y="462"/>
                      </a:lnTo>
                      <a:lnTo>
                        <a:pt x="1138" y="494"/>
                      </a:lnTo>
                      <a:lnTo>
                        <a:pt x="1094" y="558"/>
                      </a:lnTo>
                      <a:lnTo>
                        <a:pt x="1054" y="626"/>
                      </a:lnTo>
                      <a:lnTo>
                        <a:pt x="1012" y="690"/>
                      </a:lnTo>
                      <a:lnTo>
                        <a:pt x="992" y="720"/>
                      </a:lnTo>
                      <a:lnTo>
                        <a:pt x="970" y="748"/>
                      </a:lnTo>
                      <a:lnTo>
                        <a:pt x="950" y="774"/>
                      </a:lnTo>
                      <a:lnTo>
                        <a:pt x="928" y="798"/>
                      </a:lnTo>
                      <a:lnTo>
                        <a:pt x="928" y="798"/>
                      </a:lnTo>
                      <a:lnTo>
                        <a:pt x="1736" y="798"/>
                      </a:lnTo>
                      <a:lnTo>
                        <a:pt x="1736" y="798"/>
                      </a:lnTo>
                      <a:lnTo>
                        <a:pt x="1736" y="326"/>
                      </a:lnTo>
                      <a:lnTo>
                        <a:pt x="1736" y="326"/>
                      </a:lnTo>
                      <a:lnTo>
                        <a:pt x="1706" y="328"/>
                      </a:lnTo>
                      <a:lnTo>
                        <a:pt x="1674" y="330"/>
                      </a:lnTo>
                      <a:lnTo>
                        <a:pt x="1610" y="330"/>
                      </a:lnTo>
                      <a:lnTo>
                        <a:pt x="1546" y="326"/>
                      </a:lnTo>
                      <a:lnTo>
                        <a:pt x="1484" y="322"/>
                      </a:lnTo>
                      <a:lnTo>
                        <a:pt x="1426" y="320"/>
                      </a:lnTo>
                      <a:lnTo>
                        <a:pt x="1398" y="320"/>
                      </a:lnTo>
                      <a:lnTo>
                        <a:pt x="1372" y="322"/>
                      </a:lnTo>
                      <a:lnTo>
                        <a:pt x="1348" y="324"/>
                      </a:lnTo>
                      <a:lnTo>
                        <a:pt x="1326" y="328"/>
                      </a:lnTo>
                      <a:lnTo>
                        <a:pt x="1306" y="334"/>
                      </a:lnTo>
                      <a:lnTo>
                        <a:pt x="1288" y="342"/>
                      </a:lnTo>
                      <a:lnTo>
                        <a:pt x="1288" y="342"/>
                      </a:lnTo>
                      <a:close/>
                      <a:moveTo>
                        <a:pt x="2592" y="566"/>
                      </a:moveTo>
                      <a:lnTo>
                        <a:pt x="2592" y="566"/>
                      </a:lnTo>
                      <a:lnTo>
                        <a:pt x="2548" y="508"/>
                      </a:lnTo>
                      <a:lnTo>
                        <a:pt x="2502" y="448"/>
                      </a:lnTo>
                      <a:lnTo>
                        <a:pt x="2478" y="418"/>
                      </a:lnTo>
                      <a:lnTo>
                        <a:pt x="2452" y="390"/>
                      </a:lnTo>
                      <a:lnTo>
                        <a:pt x="2426" y="368"/>
                      </a:lnTo>
                      <a:lnTo>
                        <a:pt x="2414" y="358"/>
                      </a:lnTo>
                      <a:lnTo>
                        <a:pt x="2400" y="350"/>
                      </a:lnTo>
                      <a:lnTo>
                        <a:pt x="2400" y="350"/>
                      </a:lnTo>
                      <a:lnTo>
                        <a:pt x="2384" y="342"/>
                      </a:lnTo>
                      <a:lnTo>
                        <a:pt x="2366" y="336"/>
                      </a:lnTo>
                      <a:lnTo>
                        <a:pt x="2348" y="330"/>
                      </a:lnTo>
                      <a:lnTo>
                        <a:pt x="2330" y="328"/>
                      </a:lnTo>
                      <a:lnTo>
                        <a:pt x="2292" y="324"/>
                      </a:lnTo>
                      <a:lnTo>
                        <a:pt x="2250" y="324"/>
                      </a:lnTo>
                      <a:lnTo>
                        <a:pt x="2158" y="328"/>
                      </a:lnTo>
                      <a:lnTo>
                        <a:pt x="2108" y="328"/>
                      </a:lnTo>
                      <a:lnTo>
                        <a:pt x="2056" y="326"/>
                      </a:lnTo>
                      <a:lnTo>
                        <a:pt x="2056" y="326"/>
                      </a:lnTo>
                      <a:lnTo>
                        <a:pt x="2050" y="380"/>
                      </a:lnTo>
                      <a:lnTo>
                        <a:pt x="2048" y="438"/>
                      </a:lnTo>
                      <a:lnTo>
                        <a:pt x="2046" y="496"/>
                      </a:lnTo>
                      <a:lnTo>
                        <a:pt x="2048" y="558"/>
                      </a:lnTo>
                      <a:lnTo>
                        <a:pt x="2048" y="678"/>
                      </a:lnTo>
                      <a:lnTo>
                        <a:pt x="2050" y="740"/>
                      </a:lnTo>
                      <a:lnTo>
                        <a:pt x="2048" y="798"/>
                      </a:lnTo>
                      <a:lnTo>
                        <a:pt x="2048" y="798"/>
                      </a:lnTo>
                      <a:lnTo>
                        <a:pt x="2768" y="798"/>
                      </a:lnTo>
                      <a:lnTo>
                        <a:pt x="2768" y="798"/>
                      </a:lnTo>
                      <a:lnTo>
                        <a:pt x="2684" y="684"/>
                      </a:lnTo>
                      <a:lnTo>
                        <a:pt x="2640" y="626"/>
                      </a:lnTo>
                      <a:lnTo>
                        <a:pt x="2592" y="566"/>
                      </a:lnTo>
                      <a:lnTo>
                        <a:pt x="2592" y="5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 name="Freeform 7"/>
                <p:cNvSpPr>
                  <a:spLocks/>
                </p:cNvSpPr>
                <p:nvPr/>
              </p:nvSpPr>
              <p:spPr bwMode="auto">
                <a:xfrm>
                  <a:off x="-59991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 name="Freeform 8"/>
                <p:cNvSpPr>
                  <a:spLocks/>
                </p:cNvSpPr>
                <p:nvPr/>
              </p:nvSpPr>
              <p:spPr bwMode="auto">
                <a:xfrm>
                  <a:off x="-27479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cxnSp>
            <p:nvCxnSpPr>
              <p:cNvPr id="13" name="Elbow Connector 12"/>
              <p:cNvCxnSpPr>
                <a:endCxn id="2086" idx="3"/>
              </p:cNvCxnSpPr>
              <p:nvPr/>
            </p:nvCxnSpPr>
            <p:spPr>
              <a:xfrm rot="16200000" flipH="1">
                <a:off x="1060864" y="5434746"/>
                <a:ext cx="205940" cy="67389"/>
              </a:xfrm>
              <a:prstGeom prst="bentConnector4">
                <a:avLst>
                  <a:gd name="adj1" fmla="val 27329"/>
                  <a:gd name="adj2" fmla="val -81684"/>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92" name="Elbow Connector 891"/>
              <p:cNvCxnSpPr/>
              <p:nvPr/>
            </p:nvCxnSpPr>
            <p:spPr>
              <a:xfrm rot="16200000" flipH="1">
                <a:off x="1261157" y="5412091"/>
                <a:ext cx="146050" cy="68297"/>
              </a:xfrm>
              <a:prstGeom prst="bentConnector3">
                <a:avLst>
                  <a:gd name="adj1" fmla="val 50000"/>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895" name="Group 894"/>
              <p:cNvGrpSpPr>
                <a:grpSpLocks noChangeAspect="1"/>
              </p:cNvGrpSpPr>
              <p:nvPr/>
            </p:nvGrpSpPr>
            <p:grpSpPr>
              <a:xfrm>
                <a:off x="1247100" y="5306630"/>
                <a:ext cx="123442" cy="70401"/>
                <a:chOff x="-7037388" y="1403350"/>
                <a:chExt cx="6502400" cy="3708400"/>
              </a:xfrm>
              <a:solidFill>
                <a:schemeClr val="bg1"/>
              </a:solidFill>
            </p:grpSpPr>
            <p:sp>
              <p:nvSpPr>
                <p:cNvPr id="896" name="Freeform 895"/>
                <p:cNvSpPr>
                  <a:spLocks noEditPoints="1"/>
                </p:cNvSpPr>
                <p:nvPr/>
              </p:nvSpPr>
              <p:spPr bwMode="auto">
                <a:xfrm>
                  <a:off x="-7037388" y="1403350"/>
                  <a:ext cx="6502400" cy="3022600"/>
                </a:xfrm>
                <a:custGeom>
                  <a:avLst/>
                  <a:gdLst>
                    <a:gd name="T0" fmla="*/ 4092 w 4096"/>
                    <a:gd name="T1" fmla="*/ 1796 h 1904"/>
                    <a:gd name="T2" fmla="*/ 4056 w 4096"/>
                    <a:gd name="T3" fmla="*/ 1854 h 1904"/>
                    <a:gd name="T4" fmla="*/ 3952 w 4096"/>
                    <a:gd name="T5" fmla="*/ 1898 h 1904"/>
                    <a:gd name="T6" fmla="*/ 3698 w 4096"/>
                    <a:gd name="T7" fmla="*/ 1902 h 1904"/>
                    <a:gd name="T8" fmla="*/ 3602 w 4096"/>
                    <a:gd name="T9" fmla="*/ 1802 h 1904"/>
                    <a:gd name="T10" fmla="*/ 3528 w 4096"/>
                    <a:gd name="T11" fmla="*/ 1656 h 1904"/>
                    <a:gd name="T12" fmla="*/ 3418 w 4096"/>
                    <a:gd name="T13" fmla="*/ 1540 h 1904"/>
                    <a:gd name="T14" fmla="*/ 3280 w 4096"/>
                    <a:gd name="T15" fmla="*/ 1460 h 1904"/>
                    <a:gd name="T16" fmla="*/ 3122 w 4096"/>
                    <a:gd name="T17" fmla="*/ 1422 h 1904"/>
                    <a:gd name="T18" fmla="*/ 2958 w 4096"/>
                    <a:gd name="T19" fmla="*/ 1432 h 1904"/>
                    <a:gd name="T20" fmla="*/ 2824 w 4096"/>
                    <a:gd name="T21" fmla="*/ 1478 h 1904"/>
                    <a:gd name="T22" fmla="*/ 2694 w 4096"/>
                    <a:gd name="T23" fmla="*/ 1568 h 1904"/>
                    <a:gd name="T24" fmla="*/ 2592 w 4096"/>
                    <a:gd name="T25" fmla="*/ 1696 h 1904"/>
                    <a:gd name="T26" fmla="*/ 2528 w 4096"/>
                    <a:gd name="T27" fmla="*/ 1864 h 1904"/>
                    <a:gd name="T28" fmla="*/ 1570 w 4096"/>
                    <a:gd name="T29" fmla="*/ 1854 h 1904"/>
                    <a:gd name="T30" fmla="*/ 1486 w 4096"/>
                    <a:gd name="T31" fmla="*/ 1650 h 1904"/>
                    <a:gd name="T32" fmla="*/ 1328 w 4096"/>
                    <a:gd name="T33" fmla="*/ 1512 h 1904"/>
                    <a:gd name="T34" fmla="*/ 1126 w 4096"/>
                    <a:gd name="T35" fmla="*/ 1442 h 1904"/>
                    <a:gd name="T36" fmla="*/ 910 w 4096"/>
                    <a:gd name="T37" fmla="*/ 1442 h 1904"/>
                    <a:gd name="T38" fmla="*/ 710 w 4096"/>
                    <a:gd name="T39" fmla="*/ 1520 h 1904"/>
                    <a:gd name="T40" fmla="*/ 552 w 4096"/>
                    <a:gd name="T41" fmla="*/ 1676 h 1904"/>
                    <a:gd name="T42" fmla="*/ 496 w 4096"/>
                    <a:gd name="T43" fmla="*/ 1804 h 1904"/>
                    <a:gd name="T44" fmla="*/ 322 w 4096"/>
                    <a:gd name="T45" fmla="*/ 1904 h 1904"/>
                    <a:gd name="T46" fmla="*/ 114 w 4096"/>
                    <a:gd name="T47" fmla="*/ 1890 h 1904"/>
                    <a:gd name="T48" fmla="*/ 30 w 4096"/>
                    <a:gd name="T49" fmla="*/ 1844 h 1904"/>
                    <a:gd name="T50" fmla="*/ 0 w 4096"/>
                    <a:gd name="T51" fmla="*/ 1782 h 1904"/>
                    <a:gd name="T52" fmla="*/ 10 w 4096"/>
                    <a:gd name="T53" fmla="*/ 882 h 1904"/>
                    <a:gd name="T54" fmla="*/ 58 w 4096"/>
                    <a:gd name="T55" fmla="*/ 824 h 1904"/>
                    <a:gd name="T56" fmla="*/ 174 w 4096"/>
                    <a:gd name="T57" fmla="*/ 798 h 1904"/>
                    <a:gd name="T58" fmla="*/ 458 w 4096"/>
                    <a:gd name="T59" fmla="*/ 806 h 1904"/>
                    <a:gd name="T60" fmla="*/ 538 w 4096"/>
                    <a:gd name="T61" fmla="*/ 786 h 1904"/>
                    <a:gd name="T62" fmla="*/ 654 w 4096"/>
                    <a:gd name="T63" fmla="*/ 660 h 1904"/>
                    <a:gd name="T64" fmla="*/ 984 w 4096"/>
                    <a:gd name="T65" fmla="*/ 222 h 1904"/>
                    <a:gd name="T66" fmla="*/ 1122 w 4096"/>
                    <a:gd name="T67" fmla="*/ 52 h 1904"/>
                    <a:gd name="T68" fmla="*/ 1200 w 4096"/>
                    <a:gd name="T69" fmla="*/ 20 h 1904"/>
                    <a:gd name="T70" fmla="*/ 1440 w 4096"/>
                    <a:gd name="T71" fmla="*/ 4 h 1904"/>
                    <a:gd name="T72" fmla="*/ 1784 w 4096"/>
                    <a:gd name="T73" fmla="*/ 14 h 1904"/>
                    <a:gd name="T74" fmla="*/ 2276 w 4096"/>
                    <a:gd name="T75" fmla="*/ 0 h 1904"/>
                    <a:gd name="T76" fmla="*/ 2432 w 4096"/>
                    <a:gd name="T77" fmla="*/ 14 h 1904"/>
                    <a:gd name="T78" fmla="*/ 2538 w 4096"/>
                    <a:gd name="T79" fmla="*/ 54 h 1904"/>
                    <a:gd name="T80" fmla="*/ 2646 w 4096"/>
                    <a:gd name="T81" fmla="*/ 158 h 1904"/>
                    <a:gd name="T82" fmla="*/ 2900 w 4096"/>
                    <a:gd name="T83" fmla="*/ 468 h 1904"/>
                    <a:gd name="T84" fmla="*/ 3062 w 4096"/>
                    <a:gd name="T85" fmla="*/ 686 h 1904"/>
                    <a:gd name="T86" fmla="*/ 3176 w 4096"/>
                    <a:gd name="T87" fmla="*/ 782 h 1904"/>
                    <a:gd name="T88" fmla="*/ 3290 w 4096"/>
                    <a:gd name="T89" fmla="*/ 806 h 1904"/>
                    <a:gd name="T90" fmla="*/ 3536 w 4096"/>
                    <a:gd name="T91" fmla="*/ 822 h 1904"/>
                    <a:gd name="T92" fmla="*/ 3738 w 4096"/>
                    <a:gd name="T93" fmla="*/ 896 h 1904"/>
                    <a:gd name="T94" fmla="*/ 3936 w 4096"/>
                    <a:gd name="T95" fmla="*/ 1052 h 1904"/>
                    <a:gd name="T96" fmla="*/ 4066 w 4096"/>
                    <a:gd name="T97" fmla="*/ 1280 h 1904"/>
                    <a:gd name="T98" fmla="*/ 1288 w 4096"/>
                    <a:gd name="T99" fmla="*/ 342 h 1904"/>
                    <a:gd name="T100" fmla="*/ 1160 w 4096"/>
                    <a:gd name="T101" fmla="*/ 462 h 1904"/>
                    <a:gd name="T102" fmla="*/ 992 w 4096"/>
                    <a:gd name="T103" fmla="*/ 720 h 1904"/>
                    <a:gd name="T104" fmla="*/ 1736 w 4096"/>
                    <a:gd name="T105" fmla="*/ 798 h 1904"/>
                    <a:gd name="T106" fmla="*/ 1674 w 4096"/>
                    <a:gd name="T107" fmla="*/ 330 h 1904"/>
                    <a:gd name="T108" fmla="*/ 1398 w 4096"/>
                    <a:gd name="T109" fmla="*/ 320 h 1904"/>
                    <a:gd name="T110" fmla="*/ 1288 w 4096"/>
                    <a:gd name="T111" fmla="*/ 342 h 1904"/>
                    <a:gd name="T112" fmla="*/ 2502 w 4096"/>
                    <a:gd name="T113" fmla="*/ 448 h 1904"/>
                    <a:gd name="T114" fmla="*/ 2400 w 4096"/>
                    <a:gd name="T115" fmla="*/ 350 h 1904"/>
                    <a:gd name="T116" fmla="*/ 2330 w 4096"/>
                    <a:gd name="T117" fmla="*/ 328 h 1904"/>
                    <a:gd name="T118" fmla="*/ 2056 w 4096"/>
                    <a:gd name="T119" fmla="*/ 326 h 1904"/>
                    <a:gd name="T120" fmla="*/ 2048 w 4096"/>
                    <a:gd name="T121" fmla="*/ 558 h 1904"/>
                    <a:gd name="T122" fmla="*/ 2768 w 4096"/>
                    <a:gd name="T123" fmla="*/ 798 h 1904"/>
                    <a:gd name="T124" fmla="*/ 2592 w 4096"/>
                    <a:gd name="T125" fmla="*/ 56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6" h="1904">
                      <a:moveTo>
                        <a:pt x="4096" y="1390"/>
                      </a:moveTo>
                      <a:lnTo>
                        <a:pt x="4096" y="1390"/>
                      </a:lnTo>
                      <a:lnTo>
                        <a:pt x="4096" y="1782"/>
                      </a:lnTo>
                      <a:lnTo>
                        <a:pt x="4096" y="1782"/>
                      </a:lnTo>
                      <a:lnTo>
                        <a:pt x="4092" y="1796"/>
                      </a:lnTo>
                      <a:lnTo>
                        <a:pt x="4088" y="1810"/>
                      </a:lnTo>
                      <a:lnTo>
                        <a:pt x="4082" y="1824"/>
                      </a:lnTo>
                      <a:lnTo>
                        <a:pt x="4074" y="1834"/>
                      </a:lnTo>
                      <a:lnTo>
                        <a:pt x="4066" y="1844"/>
                      </a:lnTo>
                      <a:lnTo>
                        <a:pt x="4056" y="1854"/>
                      </a:lnTo>
                      <a:lnTo>
                        <a:pt x="4046" y="1862"/>
                      </a:lnTo>
                      <a:lnTo>
                        <a:pt x="4036" y="1870"/>
                      </a:lnTo>
                      <a:lnTo>
                        <a:pt x="4010" y="1882"/>
                      </a:lnTo>
                      <a:lnTo>
                        <a:pt x="3982" y="1890"/>
                      </a:lnTo>
                      <a:lnTo>
                        <a:pt x="3952" y="1898"/>
                      </a:lnTo>
                      <a:lnTo>
                        <a:pt x="3920" y="1902"/>
                      </a:lnTo>
                      <a:lnTo>
                        <a:pt x="3884" y="1904"/>
                      </a:lnTo>
                      <a:lnTo>
                        <a:pt x="3848" y="1904"/>
                      </a:lnTo>
                      <a:lnTo>
                        <a:pt x="3774" y="1904"/>
                      </a:lnTo>
                      <a:lnTo>
                        <a:pt x="3698" y="1902"/>
                      </a:lnTo>
                      <a:lnTo>
                        <a:pt x="3624" y="1902"/>
                      </a:lnTo>
                      <a:lnTo>
                        <a:pt x="3624" y="1902"/>
                      </a:lnTo>
                      <a:lnTo>
                        <a:pt x="3618" y="1868"/>
                      </a:lnTo>
                      <a:lnTo>
                        <a:pt x="3610" y="1834"/>
                      </a:lnTo>
                      <a:lnTo>
                        <a:pt x="3602" y="1802"/>
                      </a:lnTo>
                      <a:lnTo>
                        <a:pt x="3590" y="1770"/>
                      </a:lnTo>
                      <a:lnTo>
                        <a:pt x="3576" y="1740"/>
                      </a:lnTo>
                      <a:lnTo>
                        <a:pt x="3562" y="1712"/>
                      </a:lnTo>
                      <a:lnTo>
                        <a:pt x="3546" y="1684"/>
                      </a:lnTo>
                      <a:lnTo>
                        <a:pt x="3528" y="1656"/>
                      </a:lnTo>
                      <a:lnTo>
                        <a:pt x="3508" y="1630"/>
                      </a:lnTo>
                      <a:lnTo>
                        <a:pt x="3488" y="1606"/>
                      </a:lnTo>
                      <a:lnTo>
                        <a:pt x="3466" y="1582"/>
                      </a:lnTo>
                      <a:lnTo>
                        <a:pt x="3442" y="1560"/>
                      </a:lnTo>
                      <a:lnTo>
                        <a:pt x="3418" y="1540"/>
                      </a:lnTo>
                      <a:lnTo>
                        <a:pt x="3392" y="1522"/>
                      </a:lnTo>
                      <a:lnTo>
                        <a:pt x="3364" y="1504"/>
                      </a:lnTo>
                      <a:lnTo>
                        <a:pt x="3338" y="1488"/>
                      </a:lnTo>
                      <a:lnTo>
                        <a:pt x="3308" y="1474"/>
                      </a:lnTo>
                      <a:lnTo>
                        <a:pt x="3280" y="1460"/>
                      </a:lnTo>
                      <a:lnTo>
                        <a:pt x="3250" y="1450"/>
                      </a:lnTo>
                      <a:lnTo>
                        <a:pt x="3218" y="1440"/>
                      </a:lnTo>
                      <a:lnTo>
                        <a:pt x="3186" y="1432"/>
                      </a:lnTo>
                      <a:lnTo>
                        <a:pt x="3156" y="1426"/>
                      </a:lnTo>
                      <a:lnTo>
                        <a:pt x="3122" y="1422"/>
                      </a:lnTo>
                      <a:lnTo>
                        <a:pt x="3090" y="1420"/>
                      </a:lnTo>
                      <a:lnTo>
                        <a:pt x="3058" y="1420"/>
                      </a:lnTo>
                      <a:lnTo>
                        <a:pt x="3024" y="1422"/>
                      </a:lnTo>
                      <a:lnTo>
                        <a:pt x="2990" y="1426"/>
                      </a:lnTo>
                      <a:lnTo>
                        <a:pt x="2958" y="1432"/>
                      </a:lnTo>
                      <a:lnTo>
                        <a:pt x="2924" y="1440"/>
                      </a:lnTo>
                      <a:lnTo>
                        <a:pt x="2890" y="1450"/>
                      </a:lnTo>
                      <a:lnTo>
                        <a:pt x="2856" y="1464"/>
                      </a:lnTo>
                      <a:lnTo>
                        <a:pt x="2824" y="1478"/>
                      </a:lnTo>
                      <a:lnTo>
                        <a:pt x="2824" y="1478"/>
                      </a:lnTo>
                      <a:lnTo>
                        <a:pt x="2796" y="1492"/>
                      </a:lnTo>
                      <a:lnTo>
                        <a:pt x="2770" y="1508"/>
                      </a:lnTo>
                      <a:lnTo>
                        <a:pt x="2744" y="1526"/>
                      </a:lnTo>
                      <a:lnTo>
                        <a:pt x="2718" y="1546"/>
                      </a:lnTo>
                      <a:lnTo>
                        <a:pt x="2694" y="1568"/>
                      </a:lnTo>
                      <a:lnTo>
                        <a:pt x="2672" y="1590"/>
                      </a:lnTo>
                      <a:lnTo>
                        <a:pt x="2650" y="1614"/>
                      </a:lnTo>
                      <a:lnTo>
                        <a:pt x="2630" y="1640"/>
                      </a:lnTo>
                      <a:lnTo>
                        <a:pt x="2610" y="1668"/>
                      </a:lnTo>
                      <a:lnTo>
                        <a:pt x="2592" y="1696"/>
                      </a:lnTo>
                      <a:lnTo>
                        <a:pt x="2576" y="1728"/>
                      </a:lnTo>
                      <a:lnTo>
                        <a:pt x="2562" y="1760"/>
                      </a:lnTo>
                      <a:lnTo>
                        <a:pt x="2548" y="1792"/>
                      </a:lnTo>
                      <a:lnTo>
                        <a:pt x="2538" y="1828"/>
                      </a:lnTo>
                      <a:lnTo>
                        <a:pt x="2528" y="1864"/>
                      </a:lnTo>
                      <a:lnTo>
                        <a:pt x="2520" y="1902"/>
                      </a:lnTo>
                      <a:lnTo>
                        <a:pt x="2520" y="1902"/>
                      </a:lnTo>
                      <a:lnTo>
                        <a:pt x="1576" y="1902"/>
                      </a:lnTo>
                      <a:lnTo>
                        <a:pt x="1576" y="1902"/>
                      </a:lnTo>
                      <a:lnTo>
                        <a:pt x="1570" y="1854"/>
                      </a:lnTo>
                      <a:lnTo>
                        <a:pt x="1560" y="1808"/>
                      </a:lnTo>
                      <a:lnTo>
                        <a:pt x="1546" y="1764"/>
                      </a:lnTo>
                      <a:lnTo>
                        <a:pt x="1530" y="1724"/>
                      </a:lnTo>
                      <a:lnTo>
                        <a:pt x="1508" y="1686"/>
                      </a:lnTo>
                      <a:lnTo>
                        <a:pt x="1486" y="1650"/>
                      </a:lnTo>
                      <a:lnTo>
                        <a:pt x="1458" y="1618"/>
                      </a:lnTo>
                      <a:lnTo>
                        <a:pt x="1430" y="1586"/>
                      </a:lnTo>
                      <a:lnTo>
                        <a:pt x="1398" y="1560"/>
                      </a:lnTo>
                      <a:lnTo>
                        <a:pt x="1364" y="1534"/>
                      </a:lnTo>
                      <a:lnTo>
                        <a:pt x="1328" y="1512"/>
                      </a:lnTo>
                      <a:lnTo>
                        <a:pt x="1290" y="1492"/>
                      </a:lnTo>
                      <a:lnTo>
                        <a:pt x="1250" y="1474"/>
                      </a:lnTo>
                      <a:lnTo>
                        <a:pt x="1210" y="1460"/>
                      </a:lnTo>
                      <a:lnTo>
                        <a:pt x="1168" y="1450"/>
                      </a:lnTo>
                      <a:lnTo>
                        <a:pt x="1126" y="1442"/>
                      </a:lnTo>
                      <a:lnTo>
                        <a:pt x="1084" y="1436"/>
                      </a:lnTo>
                      <a:lnTo>
                        <a:pt x="1040" y="1434"/>
                      </a:lnTo>
                      <a:lnTo>
                        <a:pt x="996" y="1434"/>
                      </a:lnTo>
                      <a:lnTo>
                        <a:pt x="954" y="1436"/>
                      </a:lnTo>
                      <a:lnTo>
                        <a:pt x="910" y="1442"/>
                      </a:lnTo>
                      <a:lnTo>
                        <a:pt x="868" y="1452"/>
                      </a:lnTo>
                      <a:lnTo>
                        <a:pt x="826" y="1464"/>
                      </a:lnTo>
                      <a:lnTo>
                        <a:pt x="786" y="1480"/>
                      </a:lnTo>
                      <a:lnTo>
                        <a:pt x="746" y="1498"/>
                      </a:lnTo>
                      <a:lnTo>
                        <a:pt x="710" y="1520"/>
                      </a:lnTo>
                      <a:lnTo>
                        <a:pt x="674" y="1546"/>
                      </a:lnTo>
                      <a:lnTo>
                        <a:pt x="640" y="1574"/>
                      </a:lnTo>
                      <a:lnTo>
                        <a:pt x="608" y="1604"/>
                      </a:lnTo>
                      <a:lnTo>
                        <a:pt x="578" y="1638"/>
                      </a:lnTo>
                      <a:lnTo>
                        <a:pt x="552" y="1676"/>
                      </a:lnTo>
                      <a:lnTo>
                        <a:pt x="528" y="1718"/>
                      </a:lnTo>
                      <a:lnTo>
                        <a:pt x="528" y="1718"/>
                      </a:lnTo>
                      <a:lnTo>
                        <a:pt x="518" y="1738"/>
                      </a:lnTo>
                      <a:lnTo>
                        <a:pt x="510" y="1760"/>
                      </a:lnTo>
                      <a:lnTo>
                        <a:pt x="496" y="1804"/>
                      </a:lnTo>
                      <a:lnTo>
                        <a:pt x="484" y="1852"/>
                      </a:lnTo>
                      <a:lnTo>
                        <a:pt x="472" y="1902"/>
                      </a:lnTo>
                      <a:lnTo>
                        <a:pt x="472" y="1902"/>
                      </a:lnTo>
                      <a:lnTo>
                        <a:pt x="398" y="1902"/>
                      </a:lnTo>
                      <a:lnTo>
                        <a:pt x="322" y="1904"/>
                      </a:lnTo>
                      <a:lnTo>
                        <a:pt x="248" y="1904"/>
                      </a:lnTo>
                      <a:lnTo>
                        <a:pt x="212" y="1904"/>
                      </a:lnTo>
                      <a:lnTo>
                        <a:pt x="176" y="1902"/>
                      </a:lnTo>
                      <a:lnTo>
                        <a:pt x="144" y="1898"/>
                      </a:lnTo>
                      <a:lnTo>
                        <a:pt x="114" y="1890"/>
                      </a:lnTo>
                      <a:lnTo>
                        <a:pt x="86" y="1882"/>
                      </a:lnTo>
                      <a:lnTo>
                        <a:pt x="60" y="1870"/>
                      </a:lnTo>
                      <a:lnTo>
                        <a:pt x="50" y="1862"/>
                      </a:lnTo>
                      <a:lnTo>
                        <a:pt x="40" y="1854"/>
                      </a:lnTo>
                      <a:lnTo>
                        <a:pt x="30" y="1844"/>
                      </a:lnTo>
                      <a:lnTo>
                        <a:pt x="22" y="1834"/>
                      </a:lnTo>
                      <a:lnTo>
                        <a:pt x="14" y="1824"/>
                      </a:lnTo>
                      <a:lnTo>
                        <a:pt x="8" y="1810"/>
                      </a:lnTo>
                      <a:lnTo>
                        <a:pt x="4" y="1796"/>
                      </a:lnTo>
                      <a:lnTo>
                        <a:pt x="0" y="1782"/>
                      </a:lnTo>
                      <a:lnTo>
                        <a:pt x="0" y="1782"/>
                      </a:lnTo>
                      <a:lnTo>
                        <a:pt x="0" y="918"/>
                      </a:lnTo>
                      <a:lnTo>
                        <a:pt x="0" y="918"/>
                      </a:lnTo>
                      <a:lnTo>
                        <a:pt x="4" y="900"/>
                      </a:lnTo>
                      <a:lnTo>
                        <a:pt x="10" y="882"/>
                      </a:lnTo>
                      <a:lnTo>
                        <a:pt x="16" y="868"/>
                      </a:lnTo>
                      <a:lnTo>
                        <a:pt x="26" y="854"/>
                      </a:lnTo>
                      <a:lnTo>
                        <a:pt x="36" y="842"/>
                      </a:lnTo>
                      <a:lnTo>
                        <a:pt x="46" y="832"/>
                      </a:lnTo>
                      <a:lnTo>
                        <a:pt x="58" y="824"/>
                      </a:lnTo>
                      <a:lnTo>
                        <a:pt x="72" y="818"/>
                      </a:lnTo>
                      <a:lnTo>
                        <a:pt x="88" y="812"/>
                      </a:lnTo>
                      <a:lnTo>
                        <a:pt x="102" y="808"/>
                      </a:lnTo>
                      <a:lnTo>
                        <a:pt x="136" y="802"/>
                      </a:lnTo>
                      <a:lnTo>
                        <a:pt x="174" y="798"/>
                      </a:lnTo>
                      <a:lnTo>
                        <a:pt x="212" y="798"/>
                      </a:lnTo>
                      <a:lnTo>
                        <a:pt x="294" y="804"/>
                      </a:lnTo>
                      <a:lnTo>
                        <a:pt x="378" y="808"/>
                      </a:lnTo>
                      <a:lnTo>
                        <a:pt x="418" y="808"/>
                      </a:lnTo>
                      <a:lnTo>
                        <a:pt x="458" y="806"/>
                      </a:lnTo>
                      <a:lnTo>
                        <a:pt x="494" y="800"/>
                      </a:lnTo>
                      <a:lnTo>
                        <a:pt x="512" y="796"/>
                      </a:lnTo>
                      <a:lnTo>
                        <a:pt x="528" y="790"/>
                      </a:lnTo>
                      <a:lnTo>
                        <a:pt x="528" y="790"/>
                      </a:lnTo>
                      <a:lnTo>
                        <a:pt x="538" y="786"/>
                      </a:lnTo>
                      <a:lnTo>
                        <a:pt x="548" y="780"/>
                      </a:lnTo>
                      <a:lnTo>
                        <a:pt x="568" y="762"/>
                      </a:lnTo>
                      <a:lnTo>
                        <a:pt x="590" y="740"/>
                      </a:lnTo>
                      <a:lnTo>
                        <a:pt x="612" y="714"/>
                      </a:lnTo>
                      <a:lnTo>
                        <a:pt x="654" y="660"/>
                      </a:lnTo>
                      <a:lnTo>
                        <a:pt x="688" y="614"/>
                      </a:lnTo>
                      <a:lnTo>
                        <a:pt x="688" y="614"/>
                      </a:lnTo>
                      <a:lnTo>
                        <a:pt x="838" y="414"/>
                      </a:lnTo>
                      <a:lnTo>
                        <a:pt x="984" y="222"/>
                      </a:lnTo>
                      <a:lnTo>
                        <a:pt x="984" y="222"/>
                      </a:lnTo>
                      <a:lnTo>
                        <a:pt x="1022" y="168"/>
                      </a:lnTo>
                      <a:lnTo>
                        <a:pt x="1062" y="114"/>
                      </a:lnTo>
                      <a:lnTo>
                        <a:pt x="1080" y="90"/>
                      </a:lnTo>
                      <a:lnTo>
                        <a:pt x="1102" y="68"/>
                      </a:lnTo>
                      <a:lnTo>
                        <a:pt x="1122" y="52"/>
                      </a:lnTo>
                      <a:lnTo>
                        <a:pt x="1132" y="44"/>
                      </a:lnTo>
                      <a:lnTo>
                        <a:pt x="1144" y="38"/>
                      </a:lnTo>
                      <a:lnTo>
                        <a:pt x="1144" y="38"/>
                      </a:lnTo>
                      <a:lnTo>
                        <a:pt x="1170" y="28"/>
                      </a:lnTo>
                      <a:lnTo>
                        <a:pt x="1200" y="20"/>
                      </a:lnTo>
                      <a:lnTo>
                        <a:pt x="1234" y="14"/>
                      </a:lnTo>
                      <a:lnTo>
                        <a:pt x="1270" y="10"/>
                      </a:lnTo>
                      <a:lnTo>
                        <a:pt x="1310" y="8"/>
                      </a:lnTo>
                      <a:lnTo>
                        <a:pt x="1352" y="6"/>
                      </a:lnTo>
                      <a:lnTo>
                        <a:pt x="1440" y="4"/>
                      </a:lnTo>
                      <a:lnTo>
                        <a:pt x="1532" y="6"/>
                      </a:lnTo>
                      <a:lnTo>
                        <a:pt x="1622" y="10"/>
                      </a:lnTo>
                      <a:lnTo>
                        <a:pt x="1708" y="12"/>
                      </a:lnTo>
                      <a:lnTo>
                        <a:pt x="1784" y="14"/>
                      </a:lnTo>
                      <a:lnTo>
                        <a:pt x="1784" y="14"/>
                      </a:lnTo>
                      <a:lnTo>
                        <a:pt x="1862" y="12"/>
                      </a:lnTo>
                      <a:lnTo>
                        <a:pt x="1944" y="10"/>
                      </a:lnTo>
                      <a:lnTo>
                        <a:pt x="2110" y="2"/>
                      </a:lnTo>
                      <a:lnTo>
                        <a:pt x="2194" y="0"/>
                      </a:lnTo>
                      <a:lnTo>
                        <a:pt x="2276" y="0"/>
                      </a:lnTo>
                      <a:lnTo>
                        <a:pt x="2316" y="2"/>
                      </a:lnTo>
                      <a:lnTo>
                        <a:pt x="2356" y="4"/>
                      </a:lnTo>
                      <a:lnTo>
                        <a:pt x="2394" y="8"/>
                      </a:lnTo>
                      <a:lnTo>
                        <a:pt x="2432" y="14"/>
                      </a:lnTo>
                      <a:lnTo>
                        <a:pt x="2432" y="14"/>
                      </a:lnTo>
                      <a:lnTo>
                        <a:pt x="2456" y="20"/>
                      </a:lnTo>
                      <a:lnTo>
                        <a:pt x="2480" y="26"/>
                      </a:lnTo>
                      <a:lnTo>
                        <a:pt x="2500" y="34"/>
                      </a:lnTo>
                      <a:lnTo>
                        <a:pt x="2520" y="44"/>
                      </a:lnTo>
                      <a:lnTo>
                        <a:pt x="2538" y="54"/>
                      </a:lnTo>
                      <a:lnTo>
                        <a:pt x="2556" y="66"/>
                      </a:lnTo>
                      <a:lnTo>
                        <a:pt x="2572" y="80"/>
                      </a:lnTo>
                      <a:lnTo>
                        <a:pt x="2588" y="94"/>
                      </a:lnTo>
                      <a:lnTo>
                        <a:pt x="2618" y="124"/>
                      </a:lnTo>
                      <a:lnTo>
                        <a:pt x="2646" y="158"/>
                      </a:lnTo>
                      <a:lnTo>
                        <a:pt x="2704" y="230"/>
                      </a:lnTo>
                      <a:lnTo>
                        <a:pt x="2704" y="230"/>
                      </a:lnTo>
                      <a:lnTo>
                        <a:pt x="2864" y="422"/>
                      </a:lnTo>
                      <a:lnTo>
                        <a:pt x="2864" y="422"/>
                      </a:lnTo>
                      <a:lnTo>
                        <a:pt x="2900" y="468"/>
                      </a:lnTo>
                      <a:lnTo>
                        <a:pt x="2936" y="520"/>
                      </a:lnTo>
                      <a:lnTo>
                        <a:pt x="2976" y="578"/>
                      </a:lnTo>
                      <a:lnTo>
                        <a:pt x="3018" y="634"/>
                      </a:lnTo>
                      <a:lnTo>
                        <a:pt x="3040" y="660"/>
                      </a:lnTo>
                      <a:lnTo>
                        <a:pt x="3062" y="686"/>
                      </a:lnTo>
                      <a:lnTo>
                        <a:pt x="3084" y="710"/>
                      </a:lnTo>
                      <a:lnTo>
                        <a:pt x="3106" y="732"/>
                      </a:lnTo>
                      <a:lnTo>
                        <a:pt x="3130" y="752"/>
                      </a:lnTo>
                      <a:lnTo>
                        <a:pt x="3152" y="768"/>
                      </a:lnTo>
                      <a:lnTo>
                        <a:pt x="3176" y="782"/>
                      </a:lnTo>
                      <a:lnTo>
                        <a:pt x="3200" y="790"/>
                      </a:lnTo>
                      <a:lnTo>
                        <a:pt x="3200" y="790"/>
                      </a:lnTo>
                      <a:lnTo>
                        <a:pt x="3224" y="796"/>
                      </a:lnTo>
                      <a:lnTo>
                        <a:pt x="3246" y="800"/>
                      </a:lnTo>
                      <a:lnTo>
                        <a:pt x="3290" y="806"/>
                      </a:lnTo>
                      <a:lnTo>
                        <a:pt x="3334" y="810"/>
                      </a:lnTo>
                      <a:lnTo>
                        <a:pt x="3376" y="810"/>
                      </a:lnTo>
                      <a:lnTo>
                        <a:pt x="3458" y="812"/>
                      </a:lnTo>
                      <a:lnTo>
                        <a:pt x="3498" y="816"/>
                      </a:lnTo>
                      <a:lnTo>
                        <a:pt x="3536" y="822"/>
                      </a:lnTo>
                      <a:lnTo>
                        <a:pt x="3536" y="822"/>
                      </a:lnTo>
                      <a:lnTo>
                        <a:pt x="3590" y="836"/>
                      </a:lnTo>
                      <a:lnTo>
                        <a:pt x="3642" y="852"/>
                      </a:lnTo>
                      <a:lnTo>
                        <a:pt x="3692" y="872"/>
                      </a:lnTo>
                      <a:lnTo>
                        <a:pt x="3738" y="896"/>
                      </a:lnTo>
                      <a:lnTo>
                        <a:pt x="3782" y="920"/>
                      </a:lnTo>
                      <a:lnTo>
                        <a:pt x="3826" y="950"/>
                      </a:lnTo>
                      <a:lnTo>
                        <a:pt x="3864" y="982"/>
                      </a:lnTo>
                      <a:lnTo>
                        <a:pt x="3902" y="1016"/>
                      </a:lnTo>
                      <a:lnTo>
                        <a:pt x="3936" y="1052"/>
                      </a:lnTo>
                      <a:lnTo>
                        <a:pt x="3968" y="1092"/>
                      </a:lnTo>
                      <a:lnTo>
                        <a:pt x="3996" y="1136"/>
                      </a:lnTo>
                      <a:lnTo>
                        <a:pt x="4022" y="1182"/>
                      </a:lnTo>
                      <a:lnTo>
                        <a:pt x="4046" y="1230"/>
                      </a:lnTo>
                      <a:lnTo>
                        <a:pt x="4066" y="1280"/>
                      </a:lnTo>
                      <a:lnTo>
                        <a:pt x="4082" y="1334"/>
                      </a:lnTo>
                      <a:lnTo>
                        <a:pt x="4096" y="1390"/>
                      </a:lnTo>
                      <a:lnTo>
                        <a:pt x="4096" y="1390"/>
                      </a:lnTo>
                      <a:close/>
                      <a:moveTo>
                        <a:pt x="1288" y="342"/>
                      </a:moveTo>
                      <a:lnTo>
                        <a:pt x="1288" y="342"/>
                      </a:lnTo>
                      <a:lnTo>
                        <a:pt x="1260" y="360"/>
                      </a:lnTo>
                      <a:lnTo>
                        <a:pt x="1234" y="382"/>
                      </a:lnTo>
                      <a:lnTo>
                        <a:pt x="1208" y="406"/>
                      </a:lnTo>
                      <a:lnTo>
                        <a:pt x="1184" y="432"/>
                      </a:lnTo>
                      <a:lnTo>
                        <a:pt x="1160" y="462"/>
                      </a:lnTo>
                      <a:lnTo>
                        <a:pt x="1138" y="494"/>
                      </a:lnTo>
                      <a:lnTo>
                        <a:pt x="1094" y="558"/>
                      </a:lnTo>
                      <a:lnTo>
                        <a:pt x="1054" y="626"/>
                      </a:lnTo>
                      <a:lnTo>
                        <a:pt x="1012" y="690"/>
                      </a:lnTo>
                      <a:lnTo>
                        <a:pt x="992" y="720"/>
                      </a:lnTo>
                      <a:lnTo>
                        <a:pt x="970" y="748"/>
                      </a:lnTo>
                      <a:lnTo>
                        <a:pt x="950" y="774"/>
                      </a:lnTo>
                      <a:lnTo>
                        <a:pt x="928" y="798"/>
                      </a:lnTo>
                      <a:lnTo>
                        <a:pt x="928" y="798"/>
                      </a:lnTo>
                      <a:lnTo>
                        <a:pt x="1736" y="798"/>
                      </a:lnTo>
                      <a:lnTo>
                        <a:pt x="1736" y="798"/>
                      </a:lnTo>
                      <a:lnTo>
                        <a:pt x="1736" y="326"/>
                      </a:lnTo>
                      <a:lnTo>
                        <a:pt x="1736" y="326"/>
                      </a:lnTo>
                      <a:lnTo>
                        <a:pt x="1706" y="328"/>
                      </a:lnTo>
                      <a:lnTo>
                        <a:pt x="1674" y="330"/>
                      </a:lnTo>
                      <a:lnTo>
                        <a:pt x="1610" y="330"/>
                      </a:lnTo>
                      <a:lnTo>
                        <a:pt x="1546" y="326"/>
                      </a:lnTo>
                      <a:lnTo>
                        <a:pt x="1484" y="322"/>
                      </a:lnTo>
                      <a:lnTo>
                        <a:pt x="1426" y="320"/>
                      </a:lnTo>
                      <a:lnTo>
                        <a:pt x="1398" y="320"/>
                      </a:lnTo>
                      <a:lnTo>
                        <a:pt x="1372" y="322"/>
                      </a:lnTo>
                      <a:lnTo>
                        <a:pt x="1348" y="324"/>
                      </a:lnTo>
                      <a:lnTo>
                        <a:pt x="1326" y="328"/>
                      </a:lnTo>
                      <a:lnTo>
                        <a:pt x="1306" y="334"/>
                      </a:lnTo>
                      <a:lnTo>
                        <a:pt x="1288" y="342"/>
                      </a:lnTo>
                      <a:lnTo>
                        <a:pt x="1288" y="342"/>
                      </a:lnTo>
                      <a:close/>
                      <a:moveTo>
                        <a:pt x="2592" y="566"/>
                      </a:moveTo>
                      <a:lnTo>
                        <a:pt x="2592" y="566"/>
                      </a:lnTo>
                      <a:lnTo>
                        <a:pt x="2548" y="508"/>
                      </a:lnTo>
                      <a:lnTo>
                        <a:pt x="2502" y="448"/>
                      </a:lnTo>
                      <a:lnTo>
                        <a:pt x="2478" y="418"/>
                      </a:lnTo>
                      <a:lnTo>
                        <a:pt x="2452" y="390"/>
                      </a:lnTo>
                      <a:lnTo>
                        <a:pt x="2426" y="368"/>
                      </a:lnTo>
                      <a:lnTo>
                        <a:pt x="2414" y="358"/>
                      </a:lnTo>
                      <a:lnTo>
                        <a:pt x="2400" y="350"/>
                      </a:lnTo>
                      <a:lnTo>
                        <a:pt x="2400" y="350"/>
                      </a:lnTo>
                      <a:lnTo>
                        <a:pt x="2384" y="342"/>
                      </a:lnTo>
                      <a:lnTo>
                        <a:pt x="2366" y="336"/>
                      </a:lnTo>
                      <a:lnTo>
                        <a:pt x="2348" y="330"/>
                      </a:lnTo>
                      <a:lnTo>
                        <a:pt x="2330" y="328"/>
                      </a:lnTo>
                      <a:lnTo>
                        <a:pt x="2292" y="324"/>
                      </a:lnTo>
                      <a:lnTo>
                        <a:pt x="2250" y="324"/>
                      </a:lnTo>
                      <a:lnTo>
                        <a:pt x="2158" y="328"/>
                      </a:lnTo>
                      <a:lnTo>
                        <a:pt x="2108" y="328"/>
                      </a:lnTo>
                      <a:lnTo>
                        <a:pt x="2056" y="326"/>
                      </a:lnTo>
                      <a:lnTo>
                        <a:pt x="2056" y="326"/>
                      </a:lnTo>
                      <a:lnTo>
                        <a:pt x="2050" y="380"/>
                      </a:lnTo>
                      <a:lnTo>
                        <a:pt x="2048" y="438"/>
                      </a:lnTo>
                      <a:lnTo>
                        <a:pt x="2046" y="496"/>
                      </a:lnTo>
                      <a:lnTo>
                        <a:pt x="2048" y="558"/>
                      </a:lnTo>
                      <a:lnTo>
                        <a:pt x="2048" y="678"/>
                      </a:lnTo>
                      <a:lnTo>
                        <a:pt x="2050" y="740"/>
                      </a:lnTo>
                      <a:lnTo>
                        <a:pt x="2048" y="798"/>
                      </a:lnTo>
                      <a:lnTo>
                        <a:pt x="2048" y="798"/>
                      </a:lnTo>
                      <a:lnTo>
                        <a:pt x="2768" y="798"/>
                      </a:lnTo>
                      <a:lnTo>
                        <a:pt x="2768" y="798"/>
                      </a:lnTo>
                      <a:lnTo>
                        <a:pt x="2684" y="684"/>
                      </a:lnTo>
                      <a:lnTo>
                        <a:pt x="2640" y="626"/>
                      </a:lnTo>
                      <a:lnTo>
                        <a:pt x="2592" y="566"/>
                      </a:lnTo>
                      <a:lnTo>
                        <a:pt x="2592" y="5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7" name="Freeform 896"/>
                <p:cNvSpPr>
                  <a:spLocks/>
                </p:cNvSpPr>
                <p:nvPr/>
              </p:nvSpPr>
              <p:spPr bwMode="auto">
                <a:xfrm>
                  <a:off x="-59991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8" name="Freeform 8"/>
                <p:cNvSpPr>
                  <a:spLocks/>
                </p:cNvSpPr>
                <p:nvPr/>
              </p:nvSpPr>
              <p:spPr bwMode="auto">
                <a:xfrm>
                  <a:off x="-27479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cxnSp>
            <p:nvCxnSpPr>
              <p:cNvPr id="899" name="Elbow Connector 898"/>
              <p:cNvCxnSpPr/>
              <p:nvPr/>
            </p:nvCxnSpPr>
            <p:spPr>
              <a:xfrm rot="5400000">
                <a:off x="1415356" y="5408822"/>
                <a:ext cx="208365" cy="150262"/>
              </a:xfrm>
              <a:prstGeom prst="bentConnector3">
                <a:avLst>
                  <a:gd name="adj1" fmla="val 31496"/>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902" name="Group 901"/>
              <p:cNvGrpSpPr>
                <a:grpSpLocks noChangeAspect="1"/>
              </p:cNvGrpSpPr>
              <p:nvPr/>
            </p:nvGrpSpPr>
            <p:grpSpPr>
              <a:xfrm>
                <a:off x="1539304" y="5306630"/>
                <a:ext cx="123442" cy="70401"/>
                <a:chOff x="-7037388" y="1403350"/>
                <a:chExt cx="6502400" cy="3708400"/>
              </a:xfrm>
              <a:solidFill>
                <a:schemeClr val="bg1"/>
              </a:solidFill>
            </p:grpSpPr>
            <p:sp>
              <p:nvSpPr>
                <p:cNvPr id="903" name="Freeform 902"/>
                <p:cNvSpPr>
                  <a:spLocks noEditPoints="1"/>
                </p:cNvSpPr>
                <p:nvPr/>
              </p:nvSpPr>
              <p:spPr bwMode="auto">
                <a:xfrm>
                  <a:off x="-7037388" y="1403350"/>
                  <a:ext cx="6502400" cy="3022600"/>
                </a:xfrm>
                <a:custGeom>
                  <a:avLst/>
                  <a:gdLst>
                    <a:gd name="T0" fmla="*/ 4092 w 4096"/>
                    <a:gd name="T1" fmla="*/ 1796 h 1904"/>
                    <a:gd name="T2" fmla="*/ 4056 w 4096"/>
                    <a:gd name="T3" fmla="*/ 1854 h 1904"/>
                    <a:gd name="T4" fmla="*/ 3952 w 4096"/>
                    <a:gd name="T5" fmla="*/ 1898 h 1904"/>
                    <a:gd name="T6" fmla="*/ 3698 w 4096"/>
                    <a:gd name="T7" fmla="*/ 1902 h 1904"/>
                    <a:gd name="T8" fmla="*/ 3602 w 4096"/>
                    <a:gd name="T9" fmla="*/ 1802 h 1904"/>
                    <a:gd name="T10" fmla="*/ 3528 w 4096"/>
                    <a:gd name="T11" fmla="*/ 1656 h 1904"/>
                    <a:gd name="T12" fmla="*/ 3418 w 4096"/>
                    <a:gd name="T13" fmla="*/ 1540 h 1904"/>
                    <a:gd name="T14" fmla="*/ 3280 w 4096"/>
                    <a:gd name="T15" fmla="*/ 1460 h 1904"/>
                    <a:gd name="T16" fmla="*/ 3122 w 4096"/>
                    <a:gd name="T17" fmla="*/ 1422 h 1904"/>
                    <a:gd name="T18" fmla="*/ 2958 w 4096"/>
                    <a:gd name="T19" fmla="*/ 1432 h 1904"/>
                    <a:gd name="T20" fmla="*/ 2824 w 4096"/>
                    <a:gd name="T21" fmla="*/ 1478 h 1904"/>
                    <a:gd name="T22" fmla="*/ 2694 w 4096"/>
                    <a:gd name="T23" fmla="*/ 1568 h 1904"/>
                    <a:gd name="T24" fmla="*/ 2592 w 4096"/>
                    <a:gd name="T25" fmla="*/ 1696 h 1904"/>
                    <a:gd name="T26" fmla="*/ 2528 w 4096"/>
                    <a:gd name="T27" fmla="*/ 1864 h 1904"/>
                    <a:gd name="T28" fmla="*/ 1570 w 4096"/>
                    <a:gd name="T29" fmla="*/ 1854 h 1904"/>
                    <a:gd name="T30" fmla="*/ 1486 w 4096"/>
                    <a:gd name="T31" fmla="*/ 1650 h 1904"/>
                    <a:gd name="T32" fmla="*/ 1328 w 4096"/>
                    <a:gd name="T33" fmla="*/ 1512 h 1904"/>
                    <a:gd name="T34" fmla="*/ 1126 w 4096"/>
                    <a:gd name="T35" fmla="*/ 1442 h 1904"/>
                    <a:gd name="T36" fmla="*/ 910 w 4096"/>
                    <a:gd name="T37" fmla="*/ 1442 h 1904"/>
                    <a:gd name="T38" fmla="*/ 710 w 4096"/>
                    <a:gd name="T39" fmla="*/ 1520 h 1904"/>
                    <a:gd name="T40" fmla="*/ 552 w 4096"/>
                    <a:gd name="T41" fmla="*/ 1676 h 1904"/>
                    <a:gd name="T42" fmla="*/ 496 w 4096"/>
                    <a:gd name="T43" fmla="*/ 1804 h 1904"/>
                    <a:gd name="T44" fmla="*/ 322 w 4096"/>
                    <a:gd name="T45" fmla="*/ 1904 h 1904"/>
                    <a:gd name="T46" fmla="*/ 114 w 4096"/>
                    <a:gd name="T47" fmla="*/ 1890 h 1904"/>
                    <a:gd name="T48" fmla="*/ 30 w 4096"/>
                    <a:gd name="T49" fmla="*/ 1844 h 1904"/>
                    <a:gd name="T50" fmla="*/ 0 w 4096"/>
                    <a:gd name="T51" fmla="*/ 1782 h 1904"/>
                    <a:gd name="T52" fmla="*/ 10 w 4096"/>
                    <a:gd name="T53" fmla="*/ 882 h 1904"/>
                    <a:gd name="T54" fmla="*/ 58 w 4096"/>
                    <a:gd name="T55" fmla="*/ 824 h 1904"/>
                    <a:gd name="T56" fmla="*/ 174 w 4096"/>
                    <a:gd name="T57" fmla="*/ 798 h 1904"/>
                    <a:gd name="T58" fmla="*/ 458 w 4096"/>
                    <a:gd name="T59" fmla="*/ 806 h 1904"/>
                    <a:gd name="T60" fmla="*/ 538 w 4096"/>
                    <a:gd name="T61" fmla="*/ 786 h 1904"/>
                    <a:gd name="T62" fmla="*/ 654 w 4096"/>
                    <a:gd name="T63" fmla="*/ 660 h 1904"/>
                    <a:gd name="T64" fmla="*/ 984 w 4096"/>
                    <a:gd name="T65" fmla="*/ 222 h 1904"/>
                    <a:gd name="T66" fmla="*/ 1122 w 4096"/>
                    <a:gd name="T67" fmla="*/ 52 h 1904"/>
                    <a:gd name="T68" fmla="*/ 1200 w 4096"/>
                    <a:gd name="T69" fmla="*/ 20 h 1904"/>
                    <a:gd name="T70" fmla="*/ 1440 w 4096"/>
                    <a:gd name="T71" fmla="*/ 4 h 1904"/>
                    <a:gd name="T72" fmla="*/ 1784 w 4096"/>
                    <a:gd name="T73" fmla="*/ 14 h 1904"/>
                    <a:gd name="T74" fmla="*/ 2276 w 4096"/>
                    <a:gd name="T75" fmla="*/ 0 h 1904"/>
                    <a:gd name="T76" fmla="*/ 2432 w 4096"/>
                    <a:gd name="T77" fmla="*/ 14 h 1904"/>
                    <a:gd name="T78" fmla="*/ 2538 w 4096"/>
                    <a:gd name="T79" fmla="*/ 54 h 1904"/>
                    <a:gd name="T80" fmla="*/ 2646 w 4096"/>
                    <a:gd name="T81" fmla="*/ 158 h 1904"/>
                    <a:gd name="T82" fmla="*/ 2900 w 4096"/>
                    <a:gd name="T83" fmla="*/ 468 h 1904"/>
                    <a:gd name="T84" fmla="*/ 3062 w 4096"/>
                    <a:gd name="T85" fmla="*/ 686 h 1904"/>
                    <a:gd name="T86" fmla="*/ 3176 w 4096"/>
                    <a:gd name="T87" fmla="*/ 782 h 1904"/>
                    <a:gd name="T88" fmla="*/ 3290 w 4096"/>
                    <a:gd name="T89" fmla="*/ 806 h 1904"/>
                    <a:gd name="T90" fmla="*/ 3536 w 4096"/>
                    <a:gd name="T91" fmla="*/ 822 h 1904"/>
                    <a:gd name="T92" fmla="*/ 3738 w 4096"/>
                    <a:gd name="T93" fmla="*/ 896 h 1904"/>
                    <a:gd name="T94" fmla="*/ 3936 w 4096"/>
                    <a:gd name="T95" fmla="*/ 1052 h 1904"/>
                    <a:gd name="T96" fmla="*/ 4066 w 4096"/>
                    <a:gd name="T97" fmla="*/ 1280 h 1904"/>
                    <a:gd name="T98" fmla="*/ 1288 w 4096"/>
                    <a:gd name="T99" fmla="*/ 342 h 1904"/>
                    <a:gd name="T100" fmla="*/ 1160 w 4096"/>
                    <a:gd name="T101" fmla="*/ 462 h 1904"/>
                    <a:gd name="T102" fmla="*/ 992 w 4096"/>
                    <a:gd name="T103" fmla="*/ 720 h 1904"/>
                    <a:gd name="T104" fmla="*/ 1736 w 4096"/>
                    <a:gd name="T105" fmla="*/ 798 h 1904"/>
                    <a:gd name="T106" fmla="*/ 1674 w 4096"/>
                    <a:gd name="T107" fmla="*/ 330 h 1904"/>
                    <a:gd name="T108" fmla="*/ 1398 w 4096"/>
                    <a:gd name="T109" fmla="*/ 320 h 1904"/>
                    <a:gd name="T110" fmla="*/ 1288 w 4096"/>
                    <a:gd name="T111" fmla="*/ 342 h 1904"/>
                    <a:gd name="T112" fmla="*/ 2502 w 4096"/>
                    <a:gd name="T113" fmla="*/ 448 h 1904"/>
                    <a:gd name="T114" fmla="*/ 2400 w 4096"/>
                    <a:gd name="T115" fmla="*/ 350 h 1904"/>
                    <a:gd name="T116" fmla="*/ 2330 w 4096"/>
                    <a:gd name="T117" fmla="*/ 328 h 1904"/>
                    <a:gd name="T118" fmla="*/ 2056 w 4096"/>
                    <a:gd name="T119" fmla="*/ 326 h 1904"/>
                    <a:gd name="T120" fmla="*/ 2048 w 4096"/>
                    <a:gd name="T121" fmla="*/ 558 h 1904"/>
                    <a:gd name="T122" fmla="*/ 2768 w 4096"/>
                    <a:gd name="T123" fmla="*/ 798 h 1904"/>
                    <a:gd name="T124" fmla="*/ 2592 w 4096"/>
                    <a:gd name="T125" fmla="*/ 566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6" h="1904">
                      <a:moveTo>
                        <a:pt x="4096" y="1390"/>
                      </a:moveTo>
                      <a:lnTo>
                        <a:pt x="4096" y="1390"/>
                      </a:lnTo>
                      <a:lnTo>
                        <a:pt x="4096" y="1782"/>
                      </a:lnTo>
                      <a:lnTo>
                        <a:pt x="4096" y="1782"/>
                      </a:lnTo>
                      <a:lnTo>
                        <a:pt x="4092" y="1796"/>
                      </a:lnTo>
                      <a:lnTo>
                        <a:pt x="4088" y="1810"/>
                      </a:lnTo>
                      <a:lnTo>
                        <a:pt x="4082" y="1824"/>
                      </a:lnTo>
                      <a:lnTo>
                        <a:pt x="4074" y="1834"/>
                      </a:lnTo>
                      <a:lnTo>
                        <a:pt x="4066" y="1844"/>
                      </a:lnTo>
                      <a:lnTo>
                        <a:pt x="4056" y="1854"/>
                      </a:lnTo>
                      <a:lnTo>
                        <a:pt x="4046" y="1862"/>
                      </a:lnTo>
                      <a:lnTo>
                        <a:pt x="4036" y="1870"/>
                      </a:lnTo>
                      <a:lnTo>
                        <a:pt x="4010" y="1882"/>
                      </a:lnTo>
                      <a:lnTo>
                        <a:pt x="3982" y="1890"/>
                      </a:lnTo>
                      <a:lnTo>
                        <a:pt x="3952" y="1898"/>
                      </a:lnTo>
                      <a:lnTo>
                        <a:pt x="3920" y="1902"/>
                      </a:lnTo>
                      <a:lnTo>
                        <a:pt x="3884" y="1904"/>
                      </a:lnTo>
                      <a:lnTo>
                        <a:pt x="3848" y="1904"/>
                      </a:lnTo>
                      <a:lnTo>
                        <a:pt x="3774" y="1904"/>
                      </a:lnTo>
                      <a:lnTo>
                        <a:pt x="3698" y="1902"/>
                      </a:lnTo>
                      <a:lnTo>
                        <a:pt x="3624" y="1902"/>
                      </a:lnTo>
                      <a:lnTo>
                        <a:pt x="3624" y="1902"/>
                      </a:lnTo>
                      <a:lnTo>
                        <a:pt x="3618" y="1868"/>
                      </a:lnTo>
                      <a:lnTo>
                        <a:pt x="3610" y="1834"/>
                      </a:lnTo>
                      <a:lnTo>
                        <a:pt x="3602" y="1802"/>
                      </a:lnTo>
                      <a:lnTo>
                        <a:pt x="3590" y="1770"/>
                      </a:lnTo>
                      <a:lnTo>
                        <a:pt x="3576" y="1740"/>
                      </a:lnTo>
                      <a:lnTo>
                        <a:pt x="3562" y="1712"/>
                      </a:lnTo>
                      <a:lnTo>
                        <a:pt x="3546" y="1684"/>
                      </a:lnTo>
                      <a:lnTo>
                        <a:pt x="3528" y="1656"/>
                      </a:lnTo>
                      <a:lnTo>
                        <a:pt x="3508" y="1630"/>
                      </a:lnTo>
                      <a:lnTo>
                        <a:pt x="3488" y="1606"/>
                      </a:lnTo>
                      <a:lnTo>
                        <a:pt x="3466" y="1582"/>
                      </a:lnTo>
                      <a:lnTo>
                        <a:pt x="3442" y="1560"/>
                      </a:lnTo>
                      <a:lnTo>
                        <a:pt x="3418" y="1540"/>
                      </a:lnTo>
                      <a:lnTo>
                        <a:pt x="3392" y="1522"/>
                      </a:lnTo>
                      <a:lnTo>
                        <a:pt x="3364" y="1504"/>
                      </a:lnTo>
                      <a:lnTo>
                        <a:pt x="3338" y="1488"/>
                      </a:lnTo>
                      <a:lnTo>
                        <a:pt x="3308" y="1474"/>
                      </a:lnTo>
                      <a:lnTo>
                        <a:pt x="3280" y="1460"/>
                      </a:lnTo>
                      <a:lnTo>
                        <a:pt x="3250" y="1450"/>
                      </a:lnTo>
                      <a:lnTo>
                        <a:pt x="3218" y="1440"/>
                      </a:lnTo>
                      <a:lnTo>
                        <a:pt x="3186" y="1432"/>
                      </a:lnTo>
                      <a:lnTo>
                        <a:pt x="3156" y="1426"/>
                      </a:lnTo>
                      <a:lnTo>
                        <a:pt x="3122" y="1422"/>
                      </a:lnTo>
                      <a:lnTo>
                        <a:pt x="3090" y="1420"/>
                      </a:lnTo>
                      <a:lnTo>
                        <a:pt x="3058" y="1420"/>
                      </a:lnTo>
                      <a:lnTo>
                        <a:pt x="3024" y="1422"/>
                      </a:lnTo>
                      <a:lnTo>
                        <a:pt x="2990" y="1426"/>
                      </a:lnTo>
                      <a:lnTo>
                        <a:pt x="2958" y="1432"/>
                      </a:lnTo>
                      <a:lnTo>
                        <a:pt x="2924" y="1440"/>
                      </a:lnTo>
                      <a:lnTo>
                        <a:pt x="2890" y="1450"/>
                      </a:lnTo>
                      <a:lnTo>
                        <a:pt x="2856" y="1464"/>
                      </a:lnTo>
                      <a:lnTo>
                        <a:pt x="2824" y="1478"/>
                      </a:lnTo>
                      <a:lnTo>
                        <a:pt x="2824" y="1478"/>
                      </a:lnTo>
                      <a:lnTo>
                        <a:pt x="2796" y="1492"/>
                      </a:lnTo>
                      <a:lnTo>
                        <a:pt x="2770" y="1508"/>
                      </a:lnTo>
                      <a:lnTo>
                        <a:pt x="2744" y="1526"/>
                      </a:lnTo>
                      <a:lnTo>
                        <a:pt x="2718" y="1546"/>
                      </a:lnTo>
                      <a:lnTo>
                        <a:pt x="2694" y="1568"/>
                      </a:lnTo>
                      <a:lnTo>
                        <a:pt x="2672" y="1590"/>
                      </a:lnTo>
                      <a:lnTo>
                        <a:pt x="2650" y="1614"/>
                      </a:lnTo>
                      <a:lnTo>
                        <a:pt x="2630" y="1640"/>
                      </a:lnTo>
                      <a:lnTo>
                        <a:pt x="2610" y="1668"/>
                      </a:lnTo>
                      <a:lnTo>
                        <a:pt x="2592" y="1696"/>
                      </a:lnTo>
                      <a:lnTo>
                        <a:pt x="2576" y="1728"/>
                      </a:lnTo>
                      <a:lnTo>
                        <a:pt x="2562" y="1760"/>
                      </a:lnTo>
                      <a:lnTo>
                        <a:pt x="2548" y="1792"/>
                      </a:lnTo>
                      <a:lnTo>
                        <a:pt x="2538" y="1828"/>
                      </a:lnTo>
                      <a:lnTo>
                        <a:pt x="2528" y="1864"/>
                      </a:lnTo>
                      <a:lnTo>
                        <a:pt x="2520" y="1902"/>
                      </a:lnTo>
                      <a:lnTo>
                        <a:pt x="2520" y="1902"/>
                      </a:lnTo>
                      <a:lnTo>
                        <a:pt x="1576" y="1902"/>
                      </a:lnTo>
                      <a:lnTo>
                        <a:pt x="1576" y="1902"/>
                      </a:lnTo>
                      <a:lnTo>
                        <a:pt x="1570" y="1854"/>
                      </a:lnTo>
                      <a:lnTo>
                        <a:pt x="1560" y="1808"/>
                      </a:lnTo>
                      <a:lnTo>
                        <a:pt x="1546" y="1764"/>
                      </a:lnTo>
                      <a:lnTo>
                        <a:pt x="1530" y="1724"/>
                      </a:lnTo>
                      <a:lnTo>
                        <a:pt x="1508" y="1686"/>
                      </a:lnTo>
                      <a:lnTo>
                        <a:pt x="1486" y="1650"/>
                      </a:lnTo>
                      <a:lnTo>
                        <a:pt x="1458" y="1618"/>
                      </a:lnTo>
                      <a:lnTo>
                        <a:pt x="1430" y="1586"/>
                      </a:lnTo>
                      <a:lnTo>
                        <a:pt x="1398" y="1560"/>
                      </a:lnTo>
                      <a:lnTo>
                        <a:pt x="1364" y="1534"/>
                      </a:lnTo>
                      <a:lnTo>
                        <a:pt x="1328" y="1512"/>
                      </a:lnTo>
                      <a:lnTo>
                        <a:pt x="1290" y="1492"/>
                      </a:lnTo>
                      <a:lnTo>
                        <a:pt x="1250" y="1474"/>
                      </a:lnTo>
                      <a:lnTo>
                        <a:pt x="1210" y="1460"/>
                      </a:lnTo>
                      <a:lnTo>
                        <a:pt x="1168" y="1450"/>
                      </a:lnTo>
                      <a:lnTo>
                        <a:pt x="1126" y="1442"/>
                      </a:lnTo>
                      <a:lnTo>
                        <a:pt x="1084" y="1436"/>
                      </a:lnTo>
                      <a:lnTo>
                        <a:pt x="1040" y="1434"/>
                      </a:lnTo>
                      <a:lnTo>
                        <a:pt x="996" y="1434"/>
                      </a:lnTo>
                      <a:lnTo>
                        <a:pt x="954" y="1436"/>
                      </a:lnTo>
                      <a:lnTo>
                        <a:pt x="910" y="1442"/>
                      </a:lnTo>
                      <a:lnTo>
                        <a:pt x="868" y="1452"/>
                      </a:lnTo>
                      <a:lnTo>
                        <a:pt x="826" y="1464"/>
                      </a:lnTo>
                      <a:lnTo>
                        <a:pt x="786" y="1480"/>
                      </a:lnTo>
                      <a:lnTo>
                        <a:pt x="746" y="1498"/>
                      </a:lnTo>
                      <a:lnTo>
                        <a:pt x="710" y="1520"/>
                      </a:lnTo>
                      <a:lnTo>
                        <a:pt x="674" y="1546"/>
                      </a:lnTo>
                      <a:lnTo>
                        <a:pt x="640" y="1574"/>
                      </a:lnTo>
                      <a:lnTo>
                        <a:pt x="608" y="1604"/>
                      </a:lnTo>
                      <a:lnTo>
                        <a:pt x="578" y="1638"/>
                      </a:lnTo>
                      <a:lnTo>
                        <a:pt x="552" y="1676"/>
                      </a:lnTo>
                      <a:lnTo>
                        <a:pt x="528" y="1718"/>
                      </a:lnTo>
                      <a:lnTo>
                        <a:pt x="528" y="1718"/>
                      </a:lnTo>
                      <a:lnTo>
                        <a:pt x="518" y="1738"/>
                      </a:lnTo>
                      <a:lnTo>
                        <a:pt x="510" y="1760"/>
                      </a:lnTo>
                      <a:lnTo>
                        <a:pt x="496" y="1804"/>
                      </a:lnTo>
                      <a:lnTo>
                        <a:pt x="484" y="1852"/>
                      </a:lnTo>
                      <a:lnTo>
                        <a:pt x="472" y="1902"/>
                      </a:lnTo>
                      <a:lnTo>
                        <a:pt x="472" y="1902"/>
                      </a:lnTo>
                      <a:lnTo>
                        <a:pt x="398" y="1902"/>
                      </a:lnTo>
                      <a:lnTo>
                        <a:pt x="322" y="1904"/>
                      </a:lnTo>
                      <a:lnTo>
                        <a:pt x="248" y="1904"/>
                      </a:lnTo>
                      <a:lnTo>
                        <a:pt x="212" y="1904"/>
                      </a:lnTo>
                      <a:lnTo>
                        <a:pt x="176" y="1902"/>
                      </a:lnTo>
                      <a:lnTo>
                        <a:pt x="144" y="1898"/>
                      </a:lnTo>
                      <a:lnTo>
                        <a:pt x="114" y="1890"/>
                      </a:lnTo>
                      <a:lnTo>
                        <a:pt x="86" y="1882"/>
                      </a:lnTo>
                      <a:lnTo>
                        <a:pt x="60" y="1870"/>
                      </a:lnTo>
                      <a:lnTo>
                        <a:pt x="50" y="1862"/>
                      </a:lnTo>
                      <a:lnTo>
                        <a:pt x="40" y="1854"/>
                      </a:lnTo>
                      <a:lnTo>
                        <a:pt x="30" y="1844"/>
                      </a:lnTo>
                      <a:lnTo>
                        <a:pt x="22" y="1834"/>
                      </a:lnTo>
                      <a:lnTo>
                        <a:pt x="14" y="1824"/>
                      </a:lnTo>
                      <a:lnTo>
                        <a:pt x="8" y="1810"/>
                      </a:lnTo>
                      <a:lnTo>
                        <a:pt x="4" y="1796"/>
                      </a:lnTo>
                      <a:lnTo>
                        <a:pt x="0" y="1782"/>
                      </a:lnTo>
                      <a:lnTo>
                        <a:pt x="0" y="1782"/>
                      </a:lnTo>
                      <a:lnTo>
                        <a:pt x="0" y="918"/>
                      </a:lnTo>
                      <a:lnTo>
                        <a:pt x="0" y="918"/>
                      </a:lnTo>
                      <a:lnTo>
                        <a:pt x="4" y="900"/>
                      </a:lnTo>
                      <a:lnTo>
                        <a:pt x="10" y="882"/>
                      </a:lnTo>
                      <a:lnTo>
                        <a:pt x="16" y="868"/>
                      </a:lnTo>
                      <a:lnTo>
                        <a:pt x="26" y="854"/>
                      </a:lnTo>
                      <a:lnTo>
                        <a:pt x="36" y="842"/>
                      </a:lnTo>
                      <a:lnTo>
                        <a:pt x="46" y="832"/>
                      </a:lnTo>
                      <a:lnTo>
                        <a:pt x="58" y="824"/>
                      </a:lnTo>
                      <a:lnTo>
                        <a:pt x="72" y="818"/>
                      </a:lnTo>
                      <a:lnTo>
                        <a:pt x="88" y="812"/>
                      </a:lnTo>
                      <a:lnTo>
                        <a:pt x="102" y="808"/>
                      </a:lnTo>
                      <a:lnTo>
                        <a:pt x="136" y="802"/>
                      </a:lnTo>
                      <a:lnTo>
                        <a:pt x="174" y="798"/>
                      </a:lnTo>
                      <a:lnTo>
                        <a:pt x="212" y="798"/>
                      </a:lnTo>
                      <a:lnTo>
                        <a:pt x="294" y="804"/>
                      </a:lnTo>
                      <a:lnTo>
                        <a:pt x="378" y="808"/>
                      </a:lnTo>
                      <a:lnTo>
                        <a:pt x="418" y="808"/>
                      </a:lnTo>
                      <a:lnTo>
                        <a:pt x="458" y="806"/>
                      </a:lnTo>
                      <a:lnTo>
                        <a:pt x="494" y="800"/>
                      </a:lnTo>
                      <a:lnTo>
                        <a:pt x="512" y="796"/>
                      </a:lnTo>
                      <a:lnTo>
                        <a:pt x="528" y="790"/>
                      </a:lnTo>
                      <a:lnTo>
                        <a:pt x="528" y="790"/>
                      </a:lnTo>
                      <a:lnTo>
                        <a:pt x="538" y="786"/>
                      </a:lnTo>
                      <a:lnTo>
                        <a:pt x="548" y="780"/>
                      </a:lnTo>
                      <a:lnTo>
                        <a:pt x="568" y="762"/>
                      </a:lnTo>
                      <a:lnTo>
                        <a:pt x="590" y="740"/>
                      </a:lnTo>
                      <a:lnTo>
                        <a:pt x="612" y="714"/>
                      </a:lnTo>
                      <a:lnTo>
                        <a:pt x="654" y="660"/>
                      </a:lnTo>
                      <a:lnTo>
                        <a:pt x="688" y="614"/>
                      </a:lnTo>
                      <a:lnTo>
                        <a:pt x="688" y="614"/>
                      </a:lnTo>
                      <a:lnTo>
                        <a:pt x="838" y="414"/>
                      </a:lnTo>
                      <a:lnTo>
                        <a:pt x="984" y="222"/>
                      </a:lnTo>
                      <a:lnTo>
                        <a:pt x="984" y="222"/>
                      </a:lnTo>
                      <a:lnTo>
                        <a:pt x="1022" y="168"/>
                      </a:lnTo>
                      <a:lnTo>
                        <a:pt x="1062" y="114"/>
                      </a:lnTo>
                      <a:lnTo>
                        <a:pt x="1080" y="90"/>
                      </a:lnTo>
                      <a:lnTo>
                        <a:pt x="1102" y="68"/>
                      </a:lnTo>
                      <a:lnTo>
                        <a:pt x="1122" y="52"/>
                      </a:lnTo>
                      <a:lnTo>
                        <a:pt x="1132" y="44"/>
                      </a:lnTo>
                      <a:lnTo>
                        <a:pt x="1144" y="38"/>
                      </a:lnTo>
                      <a:lnTo>
                        <a:pt x="1144" y="38"/>
                      </a:lnTo>
                      <a:lnTo>
                        <a:pt x="1170" y="28"/>
                      </a:lnTo>
                      <a:lnTo>
                        <a:pt x="1200" y="20"/>
                      </a:lnTo>
                      <a:lnTo>
                        <a:pt x="1234" y="14"/>
                      </a:lnTo>
                      <a:lnTo>
                        <a:pt x="1270" y="10"/>
                      </a:lnTo>
                      <a:lnTo>
                        <a:pt x="1310" y="8"/>
                      </a:lnTo>
                      <a:lnTo>
                        <a:pt x="1352" y="6"/>
                      </a:lnTo>
                      <a:lnTo>
                        <a:pt x="1440" y="4"/>
                      </a:lnTo>
                      <a:lnTo>
                        <a:pt x="1532" y="6"/>
                      </a:lnTo>
                      <a:lnTo>
                        <a:pt x="1622" y="10"/>
                      </a:lnTo>
                      <a:lnTo>
                        <a:pt x="1708" y="12"/>
                      </a:lnTo>
                      <a:lnTo>
                        <a:pt x="1784" y="14"/>
                      </a:lnTo>
                      <a:lnTo>
                        <a:pt x="1784" y="14"/>
                      </a:lnTo>
                      <a:lnTo>
                        <a:pt x="1862" y="12"/>
                      </a:lnTo>
                      <a:lnTo>
                        <a:pt x="1944" y="10"/>
                      </a:lnTo>
                      <a:lnTo>
                        <a:pt x="2110" y="2"/>
                      </a:lnTo>
                      <a:lnTo>
                        <a:pt x="2194" y="0"/>
                      </a:lnTo>
                      <a:lnTo>
                        <a:pt x="2276" y="0"/>
                      </a:lnTo>
                      <a:lnTo>
                        <a:pt x="2316" y="2"/>
                      </a:lnTo>
                      <a:lnTo>
                        <a:pt x="2356" y="4"/>
                      </a:lnTo>
                      <a:lnTo>
                        <a:pt x="2394" y="8"/>
                      </a:lnTo>
                      <a:lnTo>
                        <a:pt x="2432" y="14"/>
                      </a:lnTo>
                      <a:lnTo>
                        <a:pt x="2432" y="14"/>
                      </a:lnTo>
                      <a:lnTo>
                        <a:pt x="2456" y="20"/>
                      </a:lnTo>
                      <a:lnTo>
                        <a:pt x="2480" y="26"/>
                      </a:lnTo>
                      <a:lnTo>
                        <a:pt x="2500" y="34"/>
                      </a:lnTo>
                      <a:lnTo>
                        <a:pt x="2520" y="44"/>
                      </a:lnTo>
                      <a:lnTo>
                        <a:pt x="2538" y="54"/>
                      </a:lnTo>
                      <a:lnTo>
                        <a:pt x="2556" y="66"/>
                      </a:lnTo>
                      <a:lnTo>
                        <a:pt x="2572" y="80"/>
                      </a:lnTo>
                      <a:lnTo>
                        <a:pt x="2588" y="94"/>
                      </a:lnTo>
                      <a:lnTo>
                        <a:pt x="2618" y="124"/>
                      </a:lnTo>
                      <a:lnTo>
                        <a:pt x="2646" y="158"/>
                      </a:lnTo>
                      <a:lnTo>
                        <a:pt x="2704" y="230"/>
                      </a:lnTo>
                      <a:lnTo>
                        <a:pt x="2704" y="230"/>
                      </a:lnTo>
                      <a:lnTo>
                        <a:pt x="2864" y="422"/>
                      </a:lnTo>
                      <a:lnTo>
                        <a:pt x="2864" y="422"/>
                      </a:lnTo>
                      <a:lnTo>
                        <a:pt x="2900" y="468"/>
                      </a:lnTo>
                      <a:lnTo>
                        <a:pt x="2936" y="520"/>
                      </a:lnTo>
                      <a:lnTo>
                        <a:pt x="2976" y="578"/>
                      </a:lnTo>
                      <a:lnTo>
                        <a:pt x="3018" y="634"/>
                      </a:lnTo>
                      <a:lnTo>
                        <a:pt x="3040" y="660"/>
                      </a:lnTo>
                      <a:lnTo>
                        <a:pt x="3062" y="686"/>
                      </a:lnTo>
                      <a:lnTo>
                        <a:pt x="3084" y="710"/>
                      </a:lnTo>
                      <a:lnTo>
                        <a:pt x="3106" y="732"/>
                      </a:lnTo>
                      <a:lnTo>
                        <a:pt x="3130" y="752"/>
                      </a:lnTo>
                      <a:lnTo>
                        <a:pt x="3152" y="768"/>
                      </a:lnTo>
                      <a:lnTo>
                        <a:pt x="3176" y="782"/>
                      </a:lnTo>
                      <a:lnTo>
                        <a:pt x="3200" y="790"/>
                      </a:lnTo>
                      <a:lnTo>
                        <a:pt x="3200" y="790"/>
                      </a:lnTo>
                      <a:lnTo>
                        <a:pt x="3224" y="796"/>
                      </a:lnTo>
                      <a:lnTo>
                        <a:pt x="3246" y="800"/>
                      </a:lnTo>
                      <a:lnTo>
                        <a:pt x="3290" y="806"/>
                      </a:lnTo>
                      <a:lnTo>
                        <a:pt x="3334" y="810"/>
                      </a:lnTo>
                      <a:lnTo>
                        <a:pt x="3376" y="810"/>
                      </a:lnTo>
                      <a:lnTo>
                        <a:pt x="3458" y="812"/>
                      </a:lnTo>
                      <a:lnTo>
                        <a:pt x="3498" y="816"/>
                      </a:lnTo>
                      <a:lnTo>
                        <a:pt x="3536" y="822"/>
                      </a:lnTo>
                      <a:lnTo>
                        <a:pt x="3536" y="822"/>
                      </a:lnTo>
                      <a:lnTo>
                        <a:pt x="3590" y="836"/>
                      </a:lnTo>
                      <a:lnTo>
                        <a:pt x="3642" y="852"/>
                      </a:lnTo>
                      <a:lnTo>
                        <a:pt x="3692" y="872"/>
                      </a:lnTo>
                      <a:lnTo>
                        <a:pt x="3738" y="896"/>
                      </a:lnTo>
                      <a:lnTo>
                        <a:pt x="3782" y="920"/>
                      </a:lnTo>
                      <a:lnTo>
                        <a:pt x="3826" y="950"/>
                      </a:lnTo>
                      <a:lnTo>
                        <a:pt x="3864" y="982"/>
                      </a:lnTo>
                      <a:lnTo>
                        <a:pt x="3902" y="1016"/>
                      </a:lnTo>
                      <a:lnTo>
                        <a:pt x="3936" y="1052"/>
                      </a:lnTo>
                      <a:lnTo>
                        <a:pt x="3968" y="1092"/>
                      </a:lnTo>
                      <a:lnTo>
                        <a:pt x="3996" y="1136"/>
                      </a:lnTo>
                      <a:lnTo>
                        <a:pt x="4022" y="1182"/>
                      </a:lnTo>
                      <a:lnTo>
                        <a:pt x="4046" y="1230"/>
                      </a:lnTo>
                      <a:lnTo>
                        <a:pt x="4066" y="1280"/>
                      </a:lnTo>
                      <a:lnTo>
                        <a:pt x="4082" y="1334"/>
                      </a:lnTo>
                      <a:lnTo>
                        <a:pt x="4096" y="1390"/>
                      </a:lnTo>
                      <a:lnTo>
                        <a:pt x="4096" y="1390"/>
                      </a:lnTo>
                      <a:close/>
                      <a:moveTo>
                        <a:pt x="1288" y="342"/>
                      </a:moveTo>
                      <a:lnTo>
                        <a:pt x="1288" y="342"/>
                      </a:lnTo>
                      <a:lnTo>
                        <a:pt x="1260" y="360"/>
                      </a:lnTo>
                      <a:lnTo>
                        <a:pt x="1234" y="382"/>
                      </a:lnTo>
                      <a:lnTo>
                        <a:pt x="1208" y="406"/>
                      </a:lnTo>
                      <a:lnTo>
                        <a:pt x="1184" y="432"/>
                      </a:lnTo>
                      <a:lnTo>
                        <a:pt x="1160" y="462"/>
                      </a:lnTo>
                      <a:lnTo>
                        <a:pt x="1138" y="494"/>
                      </a:lnTo>
                      <a:lnTo>
                        <a:pt x="1094" y="558"/>
                      </a:lnTo>
                      <a:lnTo>
                        <a:pt x="1054" y="626"/>
                      </a:lnTo>
                      <a:lnTo>
                        <a:pt x="1012" y="690"/>
                      </a:lnTo>
                      <a:lnTo>
                        <a:pt x="992" y="720"/>
                      </a:lnTo>
                      <a:lnTo>
                        <a:pt x="970" y="748"/>
                      </a:lnTo>
                      <a:lnTo>
                        <a:pt x="950" y="774"/>
                      </a:lnTo>
                      <a:lnTo>
                        <a:pt x="928" y="798"/>
                      </a:lnTo>
                      <a:lnTo>
                        <a:pt x="928" y="798"/>
                      </a:lnTo>
                      <a:lnTo>
                        <a:pt x="1736" y="798"/>
                      </a:lnTo>
                      <a:lnTo>
                        <a:pt x="1736" y="798"/>
                      </a:lnTo>
                      <a:lnTo>
                        <a:pt x="1736" y="326"/>
                      </a:lnTo>
                      <a:lnTo>
                        <a:pt x="1736" y="326"/>
                      </a:lnTo>
                      <a:lnTo>
                        <a:pt x="1706" y="328"/>
                      </a:lnTo>
                      <a:lnTo>
                        <a:pt x="1674" y="330"/>
                      </a:lnTo>
                      <a:lnTo>
                        <a:pt x="1610" y="330"/>
                      </a:lnTo>
                      <a:lnTo>
                        <a:pt x="1546" y="326"/>
                      </a:lnTo>
                      <a:lnTo>
                        <a:pt x="1484" y="322"/>
                      </a:lnTo>
                      <a:lnTo>
                        <a:pt x="1426" y="320"/>
                      </a:lnTo>
                      <a:lnTo>
                        <a:pt x="1398" y="320"/>
                      </a:lnTo>
                      <a:lnTo>
                        <a:pt x="1372" y="322"/>
                      </a:lnTo>
                      <a:lnTo>
                        <a:pt x="1348" y="324"/>
                      </a:lnTo>
                      <a:lnTo>
                        <a:pt x="1326" y="328"/>
                      </a:lnTo>
                      <a:lnTo>
                        <a:pt x="1306" y="334"/>
                      </a:lnTo>
                      <a:lnTo>
                        <a:pt x="1288" y="342"/>
                      </a:lnTo>
                      <a:lnTo>
                        <a:pt x="1288" y="342"/>
                      </a:lnTo>
                      <a:close/>
                      <a:moveTo>
                        <a:pt x="2592" y="566"/>
                      </a:moveTo>
                      <a:lnTo>
                        <a:pt x="2592" y="566"/>
                      </a:lnTo>
                      <a:lnTo>
                        <a:pt x="2548" y="508"/>
                      </a:lnTo>
                      <a:lnTo>
                        <a:pt x="2502" y="448"/>
                      </a:lnTo>
                      <a:lnTo>
                        <a:pt x="2478" y="418"/>
                      </a:lnTo>
                      <a:lnTo>
                        <a:pt x="2452" y="390"/>
                      </a:lnTo>
                      <a:lnTo>
                        <a:pt x="2426" y="368"/>
                      </a:lnTo>
                      <a:lnTo>
                        <a:pt x="2414" y="358"/>
                      </a:lnTo>
                      <a:lnTo>
                        <a:pt x="2400" y="350"/>
                      </a:lnTo>
                      <a:lnTo>
                        <a:pt x="2400" y="350"/>
                      </a:lnTo>
                      <a:lnTo>
                        <a:pt x="2384" y="342"/>
                      </a:lnTo>
                      <a:lnTo>
                        <a:pt x="2366" y="336"/>
                      </a:lnTo>
                      <a:lnTo>
                        <a:pt x="2348" y="330"/>
                      </a:lnTo>
                      <a:lnTo>
                        <a:pt x="2330" y="328"/>
                      </a:lnTo>
                      <a:lnTo>
                        <a:pt x="2292" y="324"/>
                      </a:lnTo>
                      <a:lnTo>
                        <a:pt x="2250" y="324"/>
                      </a:lnTo>
                      <a:lnTo>
                        <a:pt x="2158" y="328"/>
                      </a:lnTo>
                      <a:lnTo>
                        <a:pt x="2108" y="328"/>
                      </a:lnTo>
                      <a:lnTo>
                        <a:pt x="2056" y="326"/>
                      </a:lnTo>
                      <a:lnTo>
                        <a:pt x="2056" y="326"/>
                      </a:lnTo>
                      <a:lnTo>
                        <a:pt x="2050" y="380"/>
                      </a:lnTo>
                      <a:lnTo>
                        <a:pt x="2048" y="438"/>
                      </a:lnTo>
                      <a:lnTo>
                        <a:pt x="2046" y="496"/>
                      </a:lnTo>
                      <a:lnTo>
                        <a:pt x="2048" y="558"/>
                      </a:lnTo>
                      <a:lnTo>
                        <a:pt x="2048" y="678"/>
                      </a:lnTo>
                      <a:lnTo>
                        <a:pt x="2050" y="740"/>
                      </a:lnTo>
                      <a:lnTo>
                        <a:pt x="2048" y="798"/>
                      </a:lnTo>
                      <a:lnTo>
                        <a:pt x="2048" y="798"/>
                      </a:lnTo>
                      <a:lnTo>
                        <a:pt x="2768" y="798"/>
                      </a:lnTo>
                      <a:lnTo>
                        <a:pt x="2768" y="798"/>
                      </a:lnTo>
                      <a:lnTo>
                        <a:pt x="2684" y="684"/>
                      </a:lnTo>
                      <a:lnTo>
                        <a:pt x="2640" y="626"/>
                      </a:lnTo>
                      <a:lnTo>
                        <a:pt x="2592" y="566"/>
                      </a:lnTo>
                      <a:lnTo>
                        <a:pt x="2592" y="5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04" name="Freeform 903"/>
                <p:cNvSpPr>
                  <a:spLocks/>
                </p:cNvSpPr>
                <p:nvPr/>
              </p:nvSpPr>
              <p:spPr bwMode="auto">
                <a:xfrm>
                  <a:off x="-59991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05" name="Freeform 8"/>
                <p:cNvSpPr>
                  <a:spLocks/>
                </p:cNvSpPr>
                <p:nvPr/>
              </p:nvSpPr>
              <p:spPr bwMode="auto">
                <a:xfrm>
                  <a:off x="-2747963" y="3978275"/>
                  <a:ext cx="1171575" cy="1133475"/>
                </a:xfrm>
                <a:custGeom>
                  <a:avLst/>
                  <a:gdLst>
                    <a:gd name="T0" fmla="*/ 346 w 738"/>
                    <a:gd name="T1" fmla="*/ 0 h 714"/>
                    <a:gd name="T2" fmla="*/ 428 w 738"/>
                    <a:gd name="T3" fmla="*/ 4 h 714"/>
                    <a:gd name="T4" fmla="*/ 508 w 738"/>
                    <a:gd name="T5" fmla="*/ 24 h 714"/>
                    <a:gd name="T6" fmla="*/ 580 w 738"/>
                    <a:gd name="T7" fmla="*/ 62 h 714"/>
                    <a:gd name="T8" fmla="*/ 642 w 738"/>
                    <a:gd name="T9" fmla="*/ 114 h 714"/>
                    <a:gd name="T10" fmla="*/ 680 w 738"/>
                    <a:gd name="T11" fmla="*/ 162 h 714"/>
                    <a:gd name="T12" fmla="*/ 702 w 738"/>
                    <a:gd name="T13" fmla="*/ 198 h 714"/>
                    <a:gd name="T14" fmla="*/ 718 w 738"/>
                    <a:gd name="T15" fmla="*/ 238 h 714"/>
                    <a:gd name="T16" fmla="*/ 730 w 738"/>
                    <a:gd name="T17" fmla="*/ 278 h 714"/>
                    <a:gd name="T18" fmla="*/ 736 w 738"/>
                    <a:gd name="T19" fmla="*/ 322 h 714"/>
                    <a:gd name="T20" fmla="*/ 738 w 738"/>
                    <a:gd name="T21" fmla="*/ 368 h 714"/>
                    <a:gd name="T22" fmla="*/ 734 w 738"/>
                    <a:gd name="T23" fmla="*/ 416 h 714"/>
                    <a:gd name="T24" fmla="*/ 730 w 738"/>
                    <a:gd name="T25" fmla="*/ 440 h 714"/>
                    <a:gd name="T26" fmla="*/ 710 w 738"/>
                    <a:gd name="T27" fmla="*/ 504 h 714"/>
                    <a:gd name="T28" fmla="*/ 680 w 738"/>
                    <a:gd name="T29" fmla="*/ 560 h 714"/>
                    <a:gd name="T30" fmla="*/ 642 w 738"/>
                    <a:gd name="T31" fmla="*/ 608 h 714"/>
                    <a:gd name="T32" fmla="*/ 596 w 738"/>
                    <a:gd name="T33" fmla="*/ 646 h 714"/>
                    <a:gd name="T34" fmla="*/ 544 w 738"/>
                    <a:gd name="T35" fmla="*/ 676 h 714"/>
                    <a:gd name="T36" fmla="*/ 488 w 738"/>
                    <a:gd name="T37" fmla="*/ 696 h 714"/>
                    <a:gd name="T38" fmla="*/ 430 w 738"/>
                    <a:gd name="T39" fmla="*/ 710 h 714"/>
                    <a:gd name="T40" fmla="*/ 370 w 738"/>
                    <a:gd name="T41" fmla="*/ 714 h 714"/>
                    <a:gd name="T42" fmla="*/ 310 w 738"/>
                    <a:gd name="T43" fmla="*/ 708 h 714"/>
                    <a:gd name="T44" fmla="*/ 250 w 738"/>
                    <a:gd name="T45" fmla="*/ 696 h 714"/>
                    <a:gd name="T46" fmla="*/ 194 w 738"/>
                    <a:gd name="T47" fmla="*/ 674 h 714"/>
                    <a:gd name="T48" fmla="*/ 144 w 738"/>
                    <a:gd name="T49" fmla="*/ 644 h 714"/>
                    <a:gd name="T50" fmla="*/ 98 w 738"/>
                    <a:gd name="T51" fmla="*/ 606 h 714"/>
                    <a:gd name="T52" fmla="*/ 60 w 738"/>
                    <a:gd name="T53" fmla="*/ 558 h 714"/>
                    <a:gd name="T54" fmla="*/ 30 w 738"/>
                    <a:gd name="T55" fmla="*/ 504 h 714"/>
                    <a:gd name="T56" fmla="*/ 10 w 738"/>
                    <a:gd name="T57" fmla="*/ 440 h 714"/>
                    <a:gd name="T58" fmla="*/ 2 w 738"/>
                    <a:gd name="T59" fmla="*/ 394 h 714"/>
                    <a:gd name="T60" fmla="*/ 2 w 738"/>
                    <a:gd name="T61" fmla="*/ 308 h 714"/>
                    <a:gd name="T62" fmla="*/ 20 w 738"/>
                    <a:gd name="T63" fmla="*/ 230 h 714"/>
                    <a:gd name="T64" fmla="*/ 54 w 738"/>
                    <a:gd name="T65" fmla="*/ 162 h 714"/>
                    <a:gd name="T66" fmla="*/ 100 w 738"/>
                    <a:gd name="T67" fmla="*/ 104 h 714"/>
                    <a:gd name="T68" fmla="*/ 160 w 738"/>
                    <a:gd name="T69" fmla="*/ 58 h 714"/>
                    <a:gd name="T70" fmla="*/ 228 w 738"/>
                    <a:gd name="T71" fmla="*/ 24 h 714"/>
                    <a:gd name="T72" fmla="*/ 306 w 738"/>
                    <a:gd name="T73" fmla="*/ 4 h 714"/>
                    <a:gd name="T74" fmla="*/ 346 w 738"/>
                    <a:gd name="T75"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8" h="714">
                      <a:moveTo>
                        <a:pt x="346" y="0"/>
                      </a:moveTo>
                      <a:lnTo>
                        <a:pt x="346" y="0"/>
                      </a:lnTo>
                      <a:lnTo>
                        <a:pt x="388" y="0"/>
                      </a:lnTo>
                      <a:lnTo>
                        <a:pt x="428" y="4"/>
                      </a:lnTo>
                      <a:lnTo>
                        <a:pt x="468" y="12"/>
                      </a:lnTo>
                      <a:lnTo>
                        <a:pt x="508" y="24"/>
                      </a:lnTo>
                      <a:lnTo>
                        <a:pt x="544" y="42"/>
                      </a:lnTo>
                      <a:lnTo>
                        <a:pt x="580" y="62"/>
                      </a:lnTo>
                      <a:lnTo>
                        <a:pt x="612" y="86"/>
                      </a:lnTo>
                      <a:lnTo>
                        <a:pt x="642" y="114"/>
                      </a:lnTo>
                      <a:lnTo>
                        <a:pt x="668" y="146"/>
                      </a:lnTo>
                      <a:lnTo>
                        <a:pt x="680" y="162"/>
                      </a:lnTo>
                      <a:lnTo>
                        <a:pt x="692" y="180"/>
                      </a:lnTo>
                      <a:lnTo>
                        <a:pt x="702" y="198"/>
                      </a:lnTo>
                      <a:lnTo>
                        <a:pt x="710" y="218"/>
                      </a:lnTo>
                      <a:lnTo>
                        <a:pt x="718" y="238"/>
                      </a:lnTo>
                      <a:lnTo>
                        <a:pt x="724" y="258"/>
                      </a:lnTo>
                      <a:lnTo>
                        <a:pt x="730" y="278"/>
                      </a:lnTo>
                      <a:lnTo>
                        <a:pt x="734" y="300"/>
                      </a:lnTo>
                      <a:lnTo>
                        <a:pt x="736" y="322"/>
                      </a:lnTo>
                      <a:lnTo>
                        <a:pt x="738" y="344"/>
                      </a:lnTo>
                      <a:lnTo>
                        <a:pt x="738" y="368"/>
                      </a:lnTo>
                      <a:lnTo>
                        <a:pt x="738" y="392"/>
                      </a:lnTo>
                      <a:lnTo>
                        <a:pt x="734" y="416"/>
                      </a:lnTo>
                      <a:lnTo>
                        <a:pt x="730" y="440"/>
                      </a:lnTo>
                      <a:lnTo>
                        <a:pt x="730" y="440"/>
                      </a:lnTo>
                      <a:lnTo>
                        <a:pt x="722" y="474"/>
                      </a:lnTo>
                      <a:lnTo>
                        <a:pt x="710" y="504"/>
                      </a:lnTo>
                      <a:lnTo>
                        <a:pt x="696" y="534"/>
                      </a:lnTo>
                      <a:lnTo>
                        <a:pt x="680" y="560"/>
                      </a:lnTo>
                      <a:lnTo>
                        <a:pt x="662" y="586"/>
                      </a:lnTo>
                      <a:lnTo>
                        <a:pt x="642" y="608"/>
                      </a:lnTo>
                      <a:lnTo>
                        <a:pt x="620" y="628"/>
                      </a:lnTo>
                      <a:lnTo>
                        <a:pt x="596" y="646"/>
                      </a:lnTo>
                      <a:lnTo>
                        <a:pt x="570" y="662"/>
                      </a:lnTo>
                      <a:lnTo>
                        <a:pt x="544" y="676"/>
                      </a:lnTo>
                      <a:lnTo>
                        <a:pt x="516" y="688"/>
                      </a:lnTo>
                      <a:lnTo>
                        <a:pt x="488" y="696"/>
                      </a:lnTo>
                      <a:lnTo>
                        <a:pt x="460" y="704"/>
                      </a:lnTo>
                      <a:lnTo>
                        <a:pt x="430" y="710"/>
                      </a:lnTo>
                      <a:lnTo>
                        <a:pt x="400" y="712"/>
                      </a:lnTo>
                      <a:lnTo>
                        <a:pt x="370" y="714"/>
                      </a:lnTo>
                      <a:lnTo>
                        <a:pt x="340" y="712"/>
                      </a:lnTo>
                      <a:lnTo>
                        <a:pt x="310" y="708"/>
                      </a:lnTo>
                      <a:lnTo>
                        <a:pt x="280" y="704"/>
                      </a:lnTo>
                      <a:lnTo>
                        <a:pt x="250" y="696"/>
                      </a:lnTo>
                      <a:lnTo>
                        <a:pt x="222" y="686"/>
                      </a:lnTo>
                      <a:lnTo>
                        <a:pt x="194" y="674"/>
                      </a:lnTo>
                      <a:lnTo>
                        <a:pt x="168" y="660"/>
                      </a:lnTo>
                      <a:lnTo>
                        <a:pt x="144" y="644"/>
                      </a:lnTo>
                      <a:lnTo>
                        <a:pt x="120" y="626"/>
                      </a:lnTo>
                      <a:lnTo>
                        <a:pt x="98" y="606"/>
                      </a:lnTo>
                      <a:lnTo>
                        <a:pt x="78" y="584"/>
                      </a:lnTo>
                      <a:lnTo>
                        <a:pt x="60" y="558"/>
                      </a:lnTo>
                      <a:lnTo>
                        <a:pt x="44" y="532"/>
                      </a:lnTo>
                      <a:lnTo>
                        <a:pt x="30" y="504"/>
                      </a:lnTo>
                      <a:lnTo>
                        <a:pt x="18" y="472"/>
                      </a:lnTo>
                      <a:lnTo>
                        <a:pt x="10" y="440"/>
                      </a:lnTo>
                      <a:lnTo>
                        <a:pt x="10" y="440"/>
                      </a:lnTo>
                      <a:lnTo>
                        <a:pt x="2" y="394"/>
                      </a:lnTo>
                      <a:lnTo>
                        <a:pt x="0" y="350"/>
                      </a:lnTo>
                      <a:lnTo>
                        <a:pt x="2" y="308"/>
                      </a:lnTo>
                      <a:lnTo>
                        <a:pt x="10" y="268"/>
                      </a:lnTo>
                      <a:lnTo>
                        <a:pt x="20" y="230"/>
                      </a:lnTo>
                      <a:lnTo>
                        <a:pt x="36" y="194"/>
                      </a:lnTo>
                      <a:lnTo>
                        <a:pt x="54" y="162"/>
                      </a:lnTo>
                      <a:lnTo>
                        <a:pt x="76" y="132"/>
                      </a:lnTo>
                      <a:lnTo>
                        <a:pt x="100" y="104"/>
                      </a:lnTo>
                      <a:lnTo>
                        <a:pt x="130" y="80"/>
                      </a:lnTo>
                      <a:lnTo>
                        <a:pt x="160" y="58"/>
                      </a:lnTo>
                      <a:lnTo>
                        <a:pt x="194" y="40"/>
                      </a:lnTo>
                      <a:lnTo>
                        <a:pt x="228" y="24"/>
                      </a:lnTo>
                      <a:lnTo>
                        <a:pt x="266" y="14"/>
                      </a:lnTo>
                      <a:lnTo>
                        <a:pt x="306" y="4"/>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2" name="Group 31"/>
              <p:cNvGrpSpPr/>
              <p:nvPr/>
            </p:nvGrpSpPr>
            <p:grpSpPr>
              <a:xfrm>
                <a:off x="1061385" y="5634329"/>
                <a:ext cx="159398" cy="122913"/>
                <a:chOff x="1061385" y="5634329"/>
                <a:chExt cx="159398" cy="122913"/>
              </a:xfrm>
            </p:grpSpPr>
            <p:sp>
              <p:nvSpPr>
                <p:cNvPr id="27" name="Rectangle 26"/>
                <p:cNvSpPr/>
                <p:nvPr/>
              </p:nvSpPr>
              <p:spPr bwMode="auto">
                <a:xfrm>
                  <a:off x="1061385" y="5634329"/>
                  <a:ext cx="159398" cy="122913"/>
                </a:xfrm>
                <a:prstGeom prst="rect">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0" name="Group 29"/>
                <p:cNvGrpSpPr/>
                <p:nvPr/>
              </p:nvGrpSpPr>
              <p:grpSpPr>
                <a:xfrm>
                  <a:off x="1084226" y="5663843"/>
                  <a:ext cx="93883" cy="56530"/>
                  <a:chOff x="1084226" y="5663843"/>
                  <a:chExt cx="93883" cy="56530"/>
                </a:xfrm>
                <a:solidFill>
                  <a:schemeClr val="accent1"/>
                </a:solidFill>
              </p:grpSpPr>
              <p:sp>
                <p:nvSpPr>
                  <p:cNvPr id="28" name="Rectangle 27"/>
                  <p:cNvSpPr/>
                  <p:nvPr/>
                </p:nvSpPr>
                <p:spPr bwMode="auto">
                  <a:xfrm>
                    <a:off x="1084226" y="5663843"/>
                    <a:ext cx="84962" cy="90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3" name="Rectangle 922"/>
                  <p:cNvSpPr/>
                  <p:nvPr/>
                </p:nvSpPr>
                <p:spPr bwMode="auto">
                  <a:xfrm>
                    <a:off x="1084651" y="5688669"/>
                    <a:ext cx="93458" cy="90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4" name="Rectangle 923"/>
                  <p:cNvSpPr/>
                  <p:nvPr/>
                </p:nvSpPr>
                <p:spPr bwMode="auto">
                  <a:xfrm>
                    <a:off x="1084651" y="5711328"/>
                    <a:ext cx="93458" cy="90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33" name="Group 32"/>
              <p:cNvGrpSpPr/>
              <p:nvPr/>
            </p:nvGrpSpPr>
            <p:grpSpPr>
              <a:xfrm>
                <a:off x="1549338" y="5634329"/>
                <a:ext cx="159398" cy="122913"/>
                <a:chOff x="1549338" y="5627212"/>
                <a:chExt cx="159398" cy="122913"/>
              </a:xfrm>
            </p:grpSpPr>
            <p:sp>
              <p:nvSpPr>
                <p:cNvPr id="929" name="Rectangle 928"/>
                <p:cNvSpPr/>
                <p:nvPr/>
              </p:nvSpPr>
              <p:spPr bwMode="auto">
                <a:xfrm>
                  <a:off x="1549338" y="5627212"/>
                  <a:ext cx="159398" cy="122913"/>
                </a:xfrm>
                <a:prstGeom prst="rect">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930" name="Group 929"/>
                <p:cNvGrpSpPr/>
                <p:nvPr/>
              </p:nvGrpSpPr>
              <p:grpSpPr>
                <a:xfrm>
                  <a:off x="1572179" y="5656726"/>
                  <a:ext cx="93883" cy="56530"/>
                  <a:chOff x="1084226" y="5663843"/>
                  <a:chExt cx="93883" cy="56530"/>
                </a:xfrm>
                <a:solidFill>
                  <a:schemeClr val="accent1"/>
                </a:solidFill>
              </p:grpSpPr>
              <p:sp>
                <p:nvSpPr>
                  <p:cNvPr id="931" name="Rectangle 930"/>
                  <p:cNvSpPr/>
                  <p:nvPr/>
                </p:nvSpPr>
                <p:spPr bwMode="auto">
                  <a:xfrm>
                    <a:off x="1084226" y="5663843"/>
                    <a:ext cx="84962" cy="90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2" name="Rectangle 931"/>
                  <p:cNvSpPr/>
                  <p:nvPr/>
                </p:nvSpPr>
                <p:spPr bwMode="auto">
                  <a:xfrm>
                    <a:off x="1084651" y="5688669"/>
                    <a:ext cx="93458" cy="90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3" name="Rectangle 932"/>
                  <p:cNvSpPr/>
                  <p:nvPr/>
                </p:nvSpPr>
                <p:spPr bwMode="auto">
                  <a:xfrm>
                    <a:off x="1084651" y="5711328"/>
                    <a:ext cx="93458" cy="90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grpSp>
      <p:sp>
        <p:nvSpPr>
          <p:cNvPr id="911" name="Freeform 2051"/>
          <p:cNvSpPr>
            <a:spLocks/>
          </p:cNvSpPr>
          <p:nvPr/>
        </p:nvSpPr>
        <p:spPr bwMode="auto">
          <a:xfrm flipH="1">
            <a:off x="5296424" y="2876649"/>
            <a:ext cx="5497" cy="21976"/>
          </a:xfrm>
          <a:custGeom>
            <a:avLst/>
            <a:gdLst>
              <a:gd name="T0" fmla="*/ 0 w 4"/>
              <a:gd name="T1" fmla="*/ 1 h 20"/>
              <a:gd name="T2" fmla="*/ 0 w 4"/>
              <a:gd name="T3" fmla="*/ 1 h 20"/>
              <a:gd name="T4" fmla="*/ 0 w 4"/>
              <a:gd name="T5" fmla="*/ 20 h 20"/>
              <a:gd name="T6" fmla="*/ 0 w 4"/>
              <a:gd name="T7" fmla="*/ 20 h 20"/>
              <a:gd name="T8" fmla="*/ 1 w 4"/>
              <a:gd name="T9" fmla="*/ 10 h 20"/>
              <a:gd name="T10" fmla="*/ 4 w 4"/>
              <a:gd name="T11" fmla="*/ 0 h 20"/>
              <a:gd name="T12" fmla="*/ 4 w 4"/>
              <a:gd name="T13" fmla="*/ 0 h 20"/>
              <a:gd name="T14" fmla="*/ 0 w 4"/>
              <a:gd name="T15" fmla="*/ 1 h 20"/>
              <a:gd name="T16" fmla="*/ 0 w 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0">
                <a:moveTo>
                  <a:pt x="0" y="1"/>
                </a:moveTo>
                <a:lnTo>
                  <a:pt x="0" y="1"/>
                </a:lnTo>
                <a:lnTo>
                  <a:pt x="0" y="20"/>
                </a:lnTo>
                <a:lnTo>
                  <a:pt x="0" y="20"/>
                </a:lnTo>
                <a:lnTo>
                  <a:pt x="1" y="10"/>
                </a:lnTo>
                <a:lnTo>
                  <a:pt x="4" y="0"/>
                </a:lnTo>
                <a:lnTo>
                  <a:pt x="4" y="0"/>
                </a:lnTo>
                <a:lnTo>
                  <a:pt x="0" y="1"/>
                </a:lnTo>
                <a:lnTo>
                  <a:pt x="0" y="1"/>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12" name="Freeform 2305"/>
          <p:cNvSpPr>
            <a:spLocks/>
          </p:cNvSpPr>
          <p:nvPr/>
        </p:nvSpPr>
        <p:spPr bwMode="auto">
          <a:xfrm>
            <a:off x="5213629" y="2447154"/>
            <a:ext cx="102132" cy="421294"/>
          </a:xfrm>
          <a:custGeom>
            <a:avLst/>
            <a:gdLst>
              <a:gd name="T0" fmla="*/ 1 w 289"/>
              <a:gd name="T1" fmla="*/ 1044 h 1188"/>
              <a:gd name="T2" fmla="*/ 0 w 289"/>
              <a:gd name="T3" fmla="*/ 0 h 1188"/>
              <a:gd name="T4" fmla="*/ 288 w 289"/>
              <a:gd name="T5" fmla="*/ 142 h 1188"/>
              <a:gd name="T6" fmla="*/ 289 w 289"/>
              <a:gd name="T7" fmla="*/ 1188 h 1188"/>
              <a:gd name="T8" fmla="*/ 1 w 289"/>
              <a:gd name="T9" fmla="*/ 1044 h 1188"/>
            </a:gdLst>
            <a:ahLst/>
            <a:cxnLst>
              <a:cxn ang="0">
                <a:pos x="T0" y="T1"/>
              </a:cxn>
              <a:cxn ang="0">
                <a:pos x="T2" y="T3"/>
              </a:cxn>
              <a:cxn ang="0">
                <a:pos x="T4" y="T5"/>
              </a:cxn>
              <a:cxn ang="0">
                <a:pos x="T6" y="T7"/>
              </a:cxn>
              <a:cxn ang="0">
                <a:pos x="T8" y="T9"/>
              </a:cxn>
            </a:cxnLst>
            <a:rect l="0" t="0" r="r" b="b"/>
            <a:pathLst>
              <a:path w="289" h="1188">
                <a:moveTo>
                  <a:pt x="1" y="1044"/>
                </a:moveTo>
                <a:lnTo>
                  <a:pt x="0" y="0"/>
                </a:lnTo>
                <a:lnTo>
                  <a:pt x="288" y="142"/>
                </a:lnTo>
                <a:lnTo>
                  <a:pt x="289" y="1188"/>
                </a:lnTo>
                <a:lnTo>
                  <a:pt x="1" y="1044"/>
                </a:lnTo>
                <a:close/>
              </a:path>
            </a:pathLst>
          </a:custGeom>
          <a:solidFill>
            <a:srgbClr val="003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17" name="Freeform 2375"/>
          <p:cNvSpPr>
            <a:spLocks/>
          </p:cNvSpPr>
          <p:nvPr/>
        </p:nvSpPr>
        <p:spPr bwMode="auto">
          <a:xfrm>
            <a:off x="4295446" y="2335057"/>
            <a:ext cx="453684" cy="705146"/>
          </a:xfrm>
          <a:custGeom>
            <a:avLst/>
            <a:gdLst>
              <a:gd name="T0" fmla="*/ 1032 w 1551"/>
              <a:gd name="T1" fmla="*/ 58 h 2407"/>
              <a:gd name="T2" fmla="*/ 985 w 1551"/>
              <a:gd name="T3" fmla="*/ 26 h 2407"/>
              <a:gd name="T4" fmla="*/ 873 w 1551"/>
              <a:gd name="T5" fmla="*/ 0 h 2407"/>
              <a:gd name="T6" fmla="*/ 707 w 1551"/>
              <a:gd name="T7" fmla="*/ 0 h 2407"/>
              <a:gd name="T8" fmla="*/ 493 w 1551"/>
              <a:gd name="T9" fmla="*/ 0 h 2407"/>
              <a:gd name="T10" fmla="*/ 315 w 1551"/>
              <a:gd name="T11" fmla="*/ 9 h 2407"/>
              <a:gd name="T12" fmla="*/ 143 w 1551"/>
              <a:gd name="T13" fmla="*/ 51 h 2407"/>
              <a:gd name="T14" fmla="*/ 105 w 1551"/>
              <a:gd name="T15" fmla="*/ 73 h 2407"/>
              <a:gd name="T16" fmla="*/ 40 w 1551"/>
              <a:gd name="T17" fmla="*/ 155 h 2407"/>
              <a:gd name="T18" fmla="*/ 9 w 1551"/>
              <a:gd name="T19" fmla="*/ 259 h 2407"/>
              <a:gd name="T20" fmla="*/ 1 w 1551"/>
              <a:gd name="T21" fmla="*/ 436 h 2407"/>
              <a:gd name="T22" fmla="*/ 1 w 1551"/>
              <a:gd name="T23" fmla="*/ 988 h 2407"/>
              <a:gd name="T24" fmla="*/ 6 w 1551"/>
              <a:gd name="T25" fmla="*/ 1111 h 2407"/>
              <a:gd name="T26" fmla="*/ 30 w 1551"/>
              <a:gd name="T27" fmla="*/ 1150 h 2407"/>
              <a:gd name="T28" fmla="*/ 68 w 1551"/>
              <a:gd name="T29" fmla="*/ 1173 h 2407"/>
              <a:gd name="T30" fmla="*/ 114 w 1551"/>
              <a:gd name="T31" fmla="*/ 1180 h 2407"/>
              <a:gd name="T32" fmla="*/ 157 w 1551"/>
              <a:gd name="T33" fmla="*/ 1167 h 2407"/>
              <a:gd name="T34" fmla="*/ 188 w 1551"/>
              <a:gd name="T35" fmla="*/ 1137 h 2407"/>
              <a:gd name="T36" fmla="*/ 199 w 1551"/>
              <a:gd name="T37" fmla="*/ 1098 h 2407"/>
              <a:gd name="T38" fmla="*/ 202 w 1551"/>
              <a:gd name="T39" fmla="*/ 570 h 2407"/>
              <a:gd name="T40" fmla="*/ 277 w 1551"/>
              <a:gd name="T41" fmla="*/ 393 h 2407"/>
              <a:gd name="T42" fmla="*/ 277 w 1551"/>
              <a:gd name="T43" fmla="*/ 2271 h 2407"/>
              <a:gd name="T44" fmla="*/ 288 w 1551"/>
              <a:gd name="T45" fmla="*/ 2318 h 2407"/>
              <a:gd name="T46" fmla="*/ 339 w 1551"/>
              <a:gd name="T47" fmla="*/ 2381 h 2407"/>
              <a:gd name="T48" fmla="*/ 415 w 1551"/>
              <a:gd name="T49" fmla="*/ 2406 h 2407"/>
              <a:gd name="T50" fmla="*/ 462 w 1551"/>
              <a:gd name="T51" fmla="*/ 2400 h 2407"/>
              <a:gd name="T52" fmla="*/ 498 w 1551"/>
              <a:gd name="T53" fmla="*/ 2387 h 2407"/>
              <a:gd name="T54" fmla="*/ 526 w 1551"/>
              <a:gd name="T55" fmla="*/ 2356 h 2407"/>
              <a:gd name="T56" fmla="*/ 540 w 1551"/>
              <a:gd name="T57" fmla="*/ 2277 h 2407"/>
              <a:gd name="T58" fmla="*/ 540 w 1551"/>
              <a:gd name="T59" fmla="*/ 1455 h 2407"/>
              <a:gd name="T60" fmla="*/ 612 w 1551"/>
              <a:gd name="T61" fmla="*/ 1171 h 2407"/>
              <a:gd name="T62" fmla="*/ 614 w 1551"/>
              <a:gd name="T63" fmla="*/ 2020 h 2407"/>
              <a:gd name="T64" fmla="*/ 625 w 1551"/>
              <a:gd name="T65" fmla="*/ 2329 h 2407"/>
              <a:gd name="T66" fmla="*/ 662 w 1551"/>
              <a:gd name="T67" fmla="*/ 2377 h 2407"/>
              <a:gd name="T68" fmla="*/ 716 w 1551"/>
              <a:gd name="T69" fmla="*/ 2401 h 2407"/>
              <a:gd name="T70" fmla="*/ 778 w 1551"/>
              <a:gd name="T71" fmla="*/ 2403 h 2407"/>
              <a:gd name="T72" fmla="*/ 835 w 1551"/>
              <a:gd name="T73" fmla="*/ 2382 h 2407"/>
              <a:gd name="T74" fmla="*/ 876 w 1551"/>
              <a:gd name="T75" fmla="*/ 2340 h 2407"/>
              <a:gd name="T76" fmla="*/ 890 w 1551"/>
              <a:gd name="T77" fmla="*/ 2277 h 2407"/>
              <a:gd name="T78" fmla="*/ 891 w 1551"/>
              <a:gd name="T79" fmla="*/ 774 h 2407"/>
              <a:gd name="T80" fmla="*/ 954 w 1551"/>
              <a:gd name="T81" fmla="*/ 339 h 2407"/>
              <a:gd name="T82" fmla="*/ 1186 w 1551"/>
              <a:gd name="T83" fmla="*/ 620 h 2407"/>
              <a:gd name="T84" fmla="*/ 1368 w 1551"/>
              <a:gd name="T85" fmla="*/ 822 h 2407"/>
              <a:gd name="T86" fmla="*/ 1406 w 1551"/>
              <a:gd name="T87" fmla="*/ 843 h 2407"/>
              <a:gd name="T88" fmla="*/ 1454 w 1551"/>
              <a:gd name="T89" fmla="*/ 844 h 2407"/>
              <a:gd name="T90" fmla="*/ 1498 w 1551"/>
              <a:gd name="T91" fmla="*/ 822 h 2407"/>
              <a:gd name="T92" fmla="*/ 1533 w 1551"/>
              <a:gd name="T93" fmla="*/ 787 h 2407"/>
              <a:gd name="T94" fmla="*/ 1550 w 1551"/>
              <a:gd name="T95" fmla="*/ 741 h 2407"/>
              <a:gd name="T96" fmla="*/ 1546 w 1551"/>
              <a:gd name="T97" fmla="*/ 691 h 2407"/>
              <a:gd name="T98" fmla="*/ 1473 w 1551"/>
              <a:gd name="T99" fmla="*/ 589 h 2407"/>
              <a:gd name="T100" fmla="*/ 1116 w 1551"/>
              <a:gd name="T101" fmla="*/ 158 h 2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51" h="2407">
                <a:moveTo>
                  <a:pt x="1057" y="86"/>
                </a:moveTo>
                <a:lnTo>
                  <a:pt x="1057" y="86"/>
                </a:lnTo>
                <a:lnTo>
                  <a:pt x="1049" y="76"/>
                </a:lnTo>
                <a:lnTo>
                  <a:pt x="1040" y="67"/>
                </a:lnTo>
                <a:lnTo>
                  <a:pt x="1032" y="58"/>
                </a:lnTo>
                <a:lnTo>
                  <a:pt x="1023" y="50"/>
                </a:lnTo>
                <a:lnTo>
                  <a:pt x="1014" y="43"/>
                </a:lnTo>
                <a:lnTo>
                  <a:pt x="1004" y="37"/>
                </a:lnTo>
                <a:lnTo>
                  <a:pt x="995" y="31"/>
                </a:lnTo>
                <a:lnTo>
                  <a:pt x="985" y="26"/>
                </a:lnTo>
                <a:lnTo>
                  <a:pt x="963" y="18"/>
                </a:lnTo>
                <a:lnTo>
                  <a:pt x="942" y="11"/>
                </a:lnTo>
                <a:lnTo>
                  <a:pt x="919" y="6"/>
                </a:lnTo>
                <a:lnTo>
                  <a:pt x="896" y="2"/>
                </a:lnTo>
                <a:lnTo>
                  <a:pt x="873" y="0"/>
                </a:lnTo>
                <a:lnTo>
                  <a:pt x="848" y="0"/>
                </a:lnTo>
                <a:lnTo>
                  <a:pt x="800" y="0"/>
                </a:lnTo>
                <a:lnTo>
                  <a:pt x="753" y="0"/>
                </a:lnTo>
                <a:lnTo>
                  <a:pt x="729" y="1"/>
                </a:lnTo>
                <a:lnTo>
                  <a:pt x="707" y="0"/>
                </a:lnTo>
                <a:lnTo>
                  <a:pt x="707" y="0"/>
                </a:lnTo>
                <a:lnTo>
                  <a:pt x="671" y="1"/>
                </a:lnTo>
                <a:lnTo>
                  <a:pt x="636" y="1"/>
                </a:lnTo>
                <a:lnTo>
                  <a:pt x="564" y="1"/>
                </a:lnTo>
                <a:lnTo>
                  <a:pt x="493" y="0"/>
                </a:lnTo>
                <a:lnTo>
                  <a:pt x="457" y="0"/>
                </a:lnTo>
                <a:lnTo>
                  <a:pt x="421" y="1"/>
                </a:lnTo>
                <a:lnTo>
                  <a:pt x="386" y="2"/>
                </a:lnTo>
                <a:lnTo>
                  <a:pt x="350" y="5"/>
                </a:lnTo>
                <a:lnTo>
                  <a:pt x="315" y="9"/>
                </a:lnTo>
                <a:lnTo>
                  <a:pt x="280" y="14"/>
                </a:lnTo>
                <a:lnTo>
                  <a:pt x="245" y="20"/>
                </a:lnTo>
                <a:lnTo>
                  <a:pt x="211" y="28"/>
                </a:lnTo>
                <a:lnTo>
                  <a:pt x="177" y="39"/>
                </a:lnTo>
                <a:lnTo>
                  <a:pt x="143" y="51"/>
                </a:lnTo>
                <a:lnTo>
                  <a:pt x="143" y="51"/>
                </a:lnTo>
                <a:lnTo>
                  <a:pt x="133" y="56"/>
                </a:lnTo>
                <a:lnTo>
                  <a:pt x="123" y="61"/>
                </a:lnTo>
                <a:lnTo>
                  <a:pt x="114" y="67"/>
                </a:lnTo>
                <a:lnTo>
                  <a:pt x="105" y="73"/>
                </a:lnTo>
                <a:lnTo>
                  <a:pt x="89" y="87"/>
                </a:lnTo>
                <a:lnTo>
                  <a:pt x="74" y="102"/>
                </a:lnTo>
                <a:lnTo>
                  <a:pt x="61" y="118"/>
                </a:lnTo>
                <a:lnTo>
                  <a:pt x="50" y="136"/>
                </a:lnTo>
                <a:lnTo>
                  <a:pt x="40" y="155"/>
                </a:lnTo>
                <a:lnTo>
                  <a:pt x="32" y="174"/>
                </a:lnTo>
                <a:lnTo>
                  <a:pt x="24" y="195"/>
                </a:lnTo>
                <a:lnTo>
                  <a:pt x="18" y="216"/>
                </a:lnTo>
                <a:lnTo>
                  <a:pt x="13" y="237"/>
                </a:lnTo>
                <a:lnTo>
                  <a:pt x="9" y="259"/>
                </a:lnTo>
                <a:lnTo>
                  <a:pt x="6" y="280"/>
                </a:lnTo>
                <a:lnTo>
                  <a:pt x="3" y="302"/>
                </a:lnTo>
                <a:lnTo>
                  <a:pt x="0" y="343"/>
                </a:lnTo>
                <a:lnTo>
                  <a:pt x="0" y="343"/>
                </a:lnTo>
                <a:lnTo>
                  <a:pt x="1" y="436"/>
                </a:lnTo>
                <a:lnTo>
                  <a:pt x="1" y="527"/>
                </a:lnTo>
                <a:lnTo>
                  <a:pt x="0" y="712"/>
                </a:lnTo>
                <a:lnTo>
                  <a:pt x="0" y="804"/>
                </a:lnTo>
                <a:lnTo>
                  <a:pt x="0" y="896"/>
                </a:lnTo>
                <a:lnTo>
                  <a:pt x="1" y="988"/>
                </a:lnTo>
                <a:lnTo>
                  <a:pt x="3" y="1080"/>
                </a:lnTo>
                <a:lnTo>
                  <a:pt x="3" y="1080"/>
                </a:lnTo>
                <a:lnTo>
                  <a:pt x="3" y="1091"/>
                </a:lnTo>
                <a:lnTo>
                  <a:pt x="4" y="1101"/>
                </a:lnTo>
                <a:lnTo>
                  <a:pt x="6" y="1111"/>
                </a:lnTo>
                <a:lnTo>
                  <a:pt x="9" y="1120"/>
                </a:lnTo>
                <a:lnTo>
                  <a:pt x="13" y="1129"/>
                </a:lnTo>
                <a:lnTo>
                  <a:pt x="17" y="1136"/>
                </a:lnTo>
                <a:lnTo>
                  <a:pt x="23" y="1144"/>
                </a:lnTo>
                <a:lnTo>
                  <a:pt x="30" y="1150"/>
                </a:lnTo>
                <a:lnTo>
                  <a:pt x="37" y="1156"/>
                </a:lnTo>
                <a:lnTo>
                  <a:pt x="44" y="1161"/>
                </a:lnTo>
                <a:lnTo>
                  <a:pt x="52" y="1166"/>
                </a:lnTo>
                <a:lnTo>
                  <a:pt x="60" y="1169"/>
                </a:lnTo>
                <a:lnTo>
                  <a:pt x="68" y="1173"/>
                </a:lnTo>
                <a:lnTo>
                  <a:pt x="77" y="1175"/>
                </a:lnTo>
                <a:lnTo>
                  <a:pt x="87" y="1178"/>
                </a:lnTo>
                <a:lnTo>
                  <a:pt x="96" y="1179"/>
                </a:lnTo>
                <a:lnTo>
                  <a:pt x="105" y="1180"/>
                </a:lnTo>
                <a:lnTo>
                  <a:pt x="114" y="1180"/>
                </a:lnTo>
                <a:lnTo>
                  <a:pt x="123" y="1179"/>
                </a:lnTo>
                <a:lnTo>
                  <a:pt x="132" y="1176"/>
                </a:lnTo>
                <a:lnTo>
                  <a:pt x="140" y="1174"/>
                </a:lnTo>
                <a:lnTo>
                  <a:pt x="150" y="1171"/>
                </a:lnTo>
                <a:lnTo>
                  <a:pt x="157" y="1167"/>
                </a:lnTo>
                <a:lnTo>
                  <a:pt x="165" y="1163"/>
                </a:lnTo>
                <a:lnTo>
                  <a:pt x="172" y="1158"/>
                </a:lnTo>
                <a:lnTo>
                  <a:pt x="178" y="1152"/>
                </a:lnTo>
                <a:lnTo>
                  <a:pt x="184" y="1145"/>
                </a:lnTo>
                <a:lnTo>
                  <a:pt x="188" y="1137"/>
                </a:lnTo>
                <a:lnTo>
                  <a:pt x="192" y="1129"/>
                </a:lnTo>
                <a:lnTo>
                  <a:pt x="196" y="1120"/>
                </a:lnTo>
                <a:lnTo>
                  <a:pt x="198" y="1109"/>
                </a:lnTo>
                <a:lnTo>
                  <a:pt x="199" y="1098"/>
                </a:lnTo>
                <a:lnTo>
                  <a:pt x="199" y="1098"/>
                </a:lnTo>
                <a:lnTo>
                  <a:pt x="202" y="1011"/>
                </a:lnTo>
                <a:lnTo>
                  <a:pt x="203" y="922"/>
                </a:lnTo>
                <a:lnTo>
                  <a:pt x="203" y="835"/>
                </a:lnTo>
                <a:lnTo>
                  <a:pt x="203" y="746"/>
                </a:lnTo>
                <a:lnTo>
                  <a:pt x="202" y="570"/>
                </a:lnTo>
                <a:lnTo>
                  <a:pt x="202" y="483"/>
                </a:lnTo>
                <a:lnTo>
                  <a:pt x="203" y="394"/>
                </a:lnTo>
                <a:lnTo>
                  <a:pt x="203" y="394"/>
                </a:lnTo>
                <a:lnTo>
                  <a:pt x="277" y="393"/>
                </a:lnTo>
                <a:lnTo>
                  <a:pt x="277" y="393"/>
                </a:lnTo>
                <a:lnTo>
                  <a:pt x="277" y="1322"/>
                </a:lnTo>
                <a:lnTo>
                  <a:pt x="278" y="2252"/>
                </a:lnTo>
                <a:lnTo>
                  <a:pt x="278" y="2252"/>
                </a:lnTo>
                <a:lnTo>
                  <a:pt x="277" y="2262"/>
                </a:lnTo>
                <a:lnTo>
                  <a:pt x="277" y="2271"/>
                </a:lnTo>
                <a:lnTo>
                  <a:pt x="278" y="2281"/>
                </a:lnTo>
                <a:lnTo>
                  <a:pt x="280" y="2290"/>
                </a:lnTo>
                <a:lnTo>
                  <a:pt x="282" y="2300"/>
                </a:lnTo>
                <a:lnTo>
                  <a:pt x="284" y="2309"/>
                </a:lnTo>
                <a:lnTo>
                  <a:pt x="288" y="2318"/>
                </a:lnTo>
                <a:lnTo>
                  <a:pt x="291" y="2326"/>
                </a:lnTo>
                <a:lnTo>
                  <a:pt x="300" y="2341"/>
                </a:lnTo>
                <a:lnTo>
                  <a:pt x="311" y="2357"/>
                </a:lnTo>
                <a:lnTo>
                  <a:pt x="324" y="2369"/>
                </a:lnTo>
                <a:lnTo>
                  <a:pt x="339" y="2381"/>
                </a:lnTo>
                <a:lnTo>
                  <a:pt x="354" y="2390"/>
                </a:lnTo>
                <a:lnTo>
                  <a:pt x="370" y="2397"/>
                </a:lnTo>
                <a:lnTo>
                  <a:pt x="388" y="2403"/>
                </a:lnTo>
                <a:lnTo>
                  <a:pt x="406" y="2406"/>
                </a:lnTo>
                <a:lnTo>
                  <a:pt x="415" y="2406"/>
                </a:lnTo>
                <a:lnTo>
                  <a:pt x="424" y="2407"/>
                </a:lnTo>
                <a:lnTo>
                  <a:pt x="433" y="2406"/>
                </a:lnTo>
                <a:lnTo>
                  <a:pt x="442" y="2405"/>
                </a:lnTo>
                <a:lnTo>
                  <a:pt x="453" y="2403"/>
                </a:lnTo>
                <a:lnTo>
                  <a:pt x="462" y="2400"/>
                </a:lnTo>
                <a:lnTo>
                  <a:pt x="471" y="2397"/>
                </a:lnTo>
                <a:lnTo>
                  <a:pt x="480" y="2393"/>
                </a:lnTo>
                <a:lnTo>
                  <a:pt x="480" y="2393"/>
                </a:lnTo>
                <a:lnTo>
                  <a:pt x="489" y="2391"/>
                </a:lnTo>
                <a:lnTo>
                  <a:pt x="498" y="2387"/>
                </a:lnTo>
                <a:lnTo>
                  <a:pt x="506" y="2382"/>
                </a:lnTo>
                <a:lnTo>
                  <a:pt x="512" y="2377"/>
                </a:lnTo>
                <a:lnTo>
                  <a:pt x="517" y="2371"/>
                </a:lnTo>
                <a:lnTo>
                  <a:pt x="522" y="2364"/>
                </a:lnTo>
                <a:lnTo>
                  <a:pt x="526" y="2356"/>
                </a:lnTo>
                <a:lnTo>
                  <a:pt x="529" y="2347"/>
                </a:lnTo>
                <a:lnTo>
                  <a:pt x="533" y="2331"/>
                </a:lnTo>
                <a:lnTo>
                  <a:pt x="536" y="2313"/>
                </a:lnTo>
                <a:lnTo>
                  <a:pt x="540" y="2277"/>
                </a:lnTo>
                <a:lnTo>
                  <a:pt x="540" y="2277"/>
                </a:lnTo>
                <a:lnTo>
                  <a:pt x="541" y="2141"/>
                </a:lnTo>
                <a:lnTo>
                  <a:pt x="542" y="2004"/>
                </a:lnTo>
                <a:lnTo>
                  <a:pt x="540" y="1729"/>
                </a:lnTo>
                <a:lnTo>
                  <a:pt x="540" y="1592"/>
                </a:lnTo>
                <a:lnTo>
                  <a:pt x="540" y="1455"/>
                </a:lnTo>
                <a:lnTo>
                  <a:pt x="542" y="1318"/>
                </a:lnTo>
                <a:lnTo>
                  <a:pt x="546" y="1181"/>
                </a:lnTo>
                <a:lnTo>
                  <a:pt x="546" y="1181"/>
                </a:lnTo>
                <a:lnTo>
                  <a:pt x="612" y="1171"/>
                </a:lnTo>
                <a:lnTo>
                  <a:pt x="612" y="1171"/>
                </a:lnTo>
                <a:lnTo>
                  <a:pt x="614" y="1313"/>
                </a:lnTo>
                <a:lnTo>
                  <a:pt x="615" y="1454"/>
                </a:lnTo>
                <a:lnTo>
                  <a:pt x="615" y="1737"/>
                </a:lnTo>
                <a:lnTo>
                  <a:pt x="614" y="1878"/>
                </a:lnTo>
                <a:lnTo>
                  <a:pt x="614" y="2020"/>
                </a:lnTo>
                <a:lnTo>
                  <a:pt x="615" y="2161"/>
                </a:lnTo>
                <a:lnTo>
                  <a:pt x="617" y="2303"/>
                </a:lnTo>
                <a:lnTo>
                  <a:pt x="617" y="2303"/>
                </a:lnTo>
                <a:lnTo>
                  <a:pt x="620" y="2317"/>
                </a:lnTo>
                <a:lnTo>
                  <a:pt x="625" y="2329"/>
                </a:lnTo>
                <a:lnTo>
                  <a:pt x="631" y="2340"/>
                </a:lnTo>
                <a:lnTo>
                  <a:pt x="637" y="2352"/>
                </a:lnTo>
                <a:lnTo>
                  <a:pt x="644" y="2361"/>
                </a:lnTo>
                <a:lnTo>
                  <a:pt x="653" y="2370"/>
                </a:lnTo>
                <a:lnTo>
                  <a:pt x="662" y="2377"/>
                </a:lnTo>
                <a:lnTo>
                  <a:pt x="671" y="2384"/>
                </a:lnTo>
                <a:lnTo>
                  <a:pt x="682" y="2389"/>
                </a:lnTo>
                <a:lnTo>
                  <a:pt x="693" y="2394"/>
                </a:lnTo>
                <a:lnTo>
                  <a:pt x="705" y="2398"/>
                </a:lnTo>
                <a:lnTo>
                  <a:pt x="716" y="2401"/>
                </a:lnTo>
                <a:lnTo>
                  <a:pt x="728" y="2403"/>
                </a:lnTo>
                <a:lnTo>
                  <a:pt x="741" y="2405"/>
                </a:lnTo>
                <a:lnTo>
                  <a:pt x="754" y="2405"/>
                </a:lnTo>
                <a:lnTo>
                  <a:pt x="766" y="2404"/>
                </a:lnTo>
                <a:lnTo>
                  <a:pt x="778" y="2403"/>
                </a:lnTo>
                <a:lnTo>
                  <a:pt x="790" y="2400"/>
                </a:lnTo>
                <a:lnTo>
                  <a:pt x="802" y="2397"/>
                </a:lnTo>
                <a:lnTo>
                  <a:pt x="814" y="2393"/>
                </a:lnTo>
                <a:lnTo>
                  <a:pt x="825" y="2388"/>
                </a:lnTo>
                <a:lnTo>
                  <a:pt x="835" y="2382"/>
                </a:lnTo>
                <a:lnTo>
                  <a:pt x="845" y="2376"/>
                </a:lnTo>
                <a:lnTo>
                  <a:pt x="854" y="2368"/>
                </a:lnTo>
                <a:lnTo>
                  <a:pt x="862" y="2360"/>
                </a:lnTo>
                <a:lnTo>
                  <a:pt x="870" y="2350"/>
                </a:lnTo>
                <a:lnTo>
                  <a:pt x="876" y="2340"/>
                </a:lnTo>
                <a:lnTo>
                  <a:pt x="882" y="2329"/>
                </a:lnTo>
                <a:lnTo>
                  <a:pt x="886" y="2317"/>
                </a:lnTo>
                <a:lnTo>
                  <a:pt x="888" y="2305"/>
                </a:lnTo>
                <a:lnTo>
                  <a:pt x="890" y="2291"/>
                </a:lnTo>
                <a:lnTo>
                  <a:pt x="890" y="2277"/>
                </a:lnTo>
                <a:lnTo>
                  <a:pt x="890" y="2277"/>
                </a:lnTo>
                <a:lnTo>
                  <a:pt x="891" y="2026"/>
                </a:lnTo>
                <a:lnTo>
                  <a:pt x="892" y="1776"/>
                </a:lnTo>
                <a:lnTo>
                  <a:pt x="892" y="1275"/>
                </a:lnTo>
                <a:lnTo>
                  <a:pt x="891" y="774"/>
                </a:lnTo>
                <a:lnTo>
                  <a:pt x="892" y="523"/>
                </a:lnTo>
                <a:lnTo>
                  <a:pt x="893" y="272"/>
                </a:lnTo>
                <a:lnTo>
                  <a:pt x="893" y="272"/>
                </a:lnTo>
                <a:lnTo>
                  <a:pt x="924" y="306"/>
                </a:lnTo>
                <a:lnTo>
                  <a:pt x="954" y="339"/>
                </a:lnTo>
                <a:lnTo>
                  <a:pt x="984" y="374"/>
                </a:lnTo>
                <a:lnTo>
                  <a:pt x="1013" y="408"/>
                </a:lnTo>
                <a:lnTo>
                  <a:pt x="1071" y="479"/>
                </a:lnTo>
                <a:lnTo>
                  <a:pt x="1128" y="549"/>
                </a:lnTo>
                <a:lnTo>
                  <a:pt x="1186" y="620"/>
                </a:lnTo>
                <a:lnTo>
                  <a:pt x="1244" y="689"/>
                </a:lnTo>
                <a:lnTo>
                  <a:pt x="1274" y="723"/>
                </a:lnTo>
                <a:lnTo>
                  <a:pt x="1305" y="756"/>
                </a:lnTo>
                <a:lnTo>
                  <a:pt x="1335" y="790"/>
                </a:lnTo>
                <a:lnTo>
                  <a:pt x="1368" y="822"/>
                </a:lnTo>
                <a:lnTo>
                  <a:pt x="1368" y="822"/>
                </a:lnTo>
                <a:lnTo>
                  <a:pt x="1377" y="829"/>
                </a:lnTo>
                <a:lnTo>
                  <a:pt x="1386" y="835"/>
                </a:lnTo>
                <a:lnTo>
                  <a:pt x="1395" y="839"/>
                </a:lnTo>
                <a:lnTo>
                  <a:pt x="1406" y="843"/>
                </a:lnTo>
                <a:lnTo>
                  <a:pt x="1416" y="845"/>
                </a:lnTo>
                <a:lnTo>
                  <a:pt x="1425" y="846"/>
                </a:lnTo>
                <a:lnTo>
                  <a:pt x="1435" y="846"/>
                </a:lnTo>
                <a:lnTo>
                  <a:pt x="1444" y="845"/>
                </a:lnTo>
                <a:lnTo>
                  <a:pt x="1454" y="844"/>
                </a:lnTo>
                <a:lnTo>
                  <a:pt x="1464" y="841"/>
                </a:lnTo>
                <a:lnTo>
                  <a:pt x="1473" y="838"/>
                </a:lnTo>
                <a:lnTo>
                  <a:pt x="1482" y="834"/>
                </a:lnTo>
                <a:lnTo>
                  <a:pt x="1490" y="829"/>
                </a:lnTo>
                <a:lnTo>
                  <a:pt x="1498" y="822"/>
                </a:lnTo>
                <a:lnTo>
                  <a:pt x="1506" y="816"/>
                </a:lnTo>
                <a:lnTo>
                  <a:pt x="1513" y="810"/>
                </a:lnTo>
                <a:lnTo>
                  <a:pt x="1520" y="803"/>
                </a:lnTo>
                <a:lnTo>
                  <a:pt x="1527" y="795"/>
                </a:lnTo>
                <a:lnTo>
                  <a:pt x="1533" y="787"/>
                </a:lnTo>
                <a:lnTo>
                  <a:pt x="1537" y="778"/>
                </a:lnTo>
                <a:lnTo>
                  <a:pt x="1542" y="770"/>
                </a:lnTo>
                <a:lnTo>
                  <a:pt x="1545" y="760"/>
                </a:lnTo>
                <a:lnTo>
                  <a:pt x="1548" y="750"/>
                </a:lnTo>
                <a:lnTo>
                  <a:pt x="1550" y="741"/>
                </a:lnTo>
                <a:lnTo>
                  <a:pt x="1551" y="731"/>
                </a:lnTo>
                <a:lnTo>
                  <a:pt x="1551" y="721"/>
                </a:lnTo>
                <a:lnTo>
                  <a:pt x="1550" y="712"/>
                </a:lnTo>
                <a:lnTo>
                  <a:pt x="1549" y="701"/>
                </a:lnTo>
                <a:lnTo>
                  <a:pt x="1546" y="691"/>
                </a:lnTo>
                <a:lnTo>
                  <a:pt x="1542" y="682"/>
                </a:lnTo>
                <a:lnTo>
                  <a:pt x="1537" y="672"/>
                </a:lnTo>
                <a:lnTo>
                  <a:pt x="1530" y="663"/>
                </a:lnTo>
                <a:lnTo>
                  <a:pt x="1530" y="663"/>
                </a:lnTo>
                <a:lnTo>
                  <a:pt x="1473" y="589"/>
                </a:lnTo>
                <a:lnTo>
                  <a:pt x="1414" y="516"/>
                </a:lnTo>
                <a:lnTo>
                  <a:pt x="1355" y="444"/>
                </a:lnTo>
                <a:lnTo>
                  <a:pt x="1296" y="373"/>
                </a:lnTo>
                <a:lnTo>
                  <a:pt x="1176" y="229"/>
                </a:lnTo>
                <a:lnTo>
                  <a:pt x="1116" y="158"/>
                </a:lnTo>
                <a:lnTo>
                  <a:pt x="1057" y="86"/>
                </a:lnTo>
                <a:lnTo>
                  <a:pt x="1057" y="86"/>
                </a:lnTo>
                <a:close/>
              </a:path>
            </a:pathLst>
          </a:custGeom>
          <a:solidFill>
            <a:schemeClr val="tx1">
              <a:lumMod val="25000"/>
              <a:lumOff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18" name="Group 917"/>
          <p:cNvGrpSpPr/>
          <p:nvPr/>
        </p:nvGrpSpPr>
        <p:grpSpPr>
          <a:xfrm>
            <a:off x="4274577" y="2462760"/>
            <a:ext cx="1356482" cy="680676"/>
            <a:chOff x="5235279" y="3232190"/>
            <a:chExt cx="1233165" cy="511401"/>
          </a:xfrm>
        </p:grpSpPr>
        <p:sp>
          <p:nvSpPr>
            <p:cNvPr id="919" name="Freeform 2407"/>
            <p:cNvSpPr>
              <a:spLocks/>
            </p:cNvSpPr>
            <p:nvPr/>
          </p:nvSpPr>
          <p:spPr bwMode="auto">
            <a:xfrm>
              <a:off x="5235279" y="3232190"/>
              <a:ext cx="1229170" cy="270804"/>
            </a:xfrm>
            <a:custGeom>
              <a:avLst/>
              <a:gdLst>
                <a:gd name="T0" fmla="*/ 4194 w 4194"/>
                <a:gd name="T1" fmla="*/ 305 h 841"/>
                <a:gd name="T2" fmla="*/ 513 w 4194"/>
                <a:gd name="T3" fmla="*/ 841 h 841"/>
                <a:gd name="T4" fmla="*/ 0 w 4194"/>
                <a:gd name="T5" fmla="*/ 443 h 841"/>
                <a:gd name="T6" fmla="*/ 3264 w 4194"/>
                <a:gd name="T7" fmla="*/ 0 h 841"/>
                <a:gd name="T8" fmla="*/ 4194 w 4194"/>
                <a:gd name="T9" fmla="*/ 305 h 841"/>
              </a:gdLst>
              <a:ahLst/>
              <a:cxnLst>
                <a:cxn ang="0">
                  <a:pos x="T0" y="T1"/>
                </a:cxn>
                <a:cxn ang="0">
                  <a:pos x="T2" y="T3"/>
                </a:cxn>
                <a:cxn ang="0">
                  <a:pos x="T4" y="T5"/>
                </a:cxn>
                <a:cxn ang="0">
                  <a:pos x="T6" y="T7"/>
                </a:cxn>
                <a:cxn ang="0">
                  <a:pos x="T8" y="T9"/>
                </a:cxn>
              </a:cxnLst>
              <a:rect l="0" t="0" r="r" b="b"/>
              <a:pathLst>
                <a:path w="4194" h="841">
                  <a:moveTo>
                    <a:pt x="4194" y="305"/>
                  </a:moveTo>
                  <a:lnTo>
                    <a:pt x="513" y="841"/>
                  </a:lnTo>
                  <a:lnTo>
                    <a:pt x="0" y="443"/>
                  </a:lnTo>
                  <a:lnTo>
                    <a:pt x="3264" y="0"/>
                  </a:lnTo>
                  <a:lnTo>
                    <a:pt x="4194" y="305"/>
                  </a:lnTo>
                  <a:close/>
                </a:path>
              </a:pathLst>
            </a:custGeom>
            <a:solidFill>
              <a:schemeClr val="accent5">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0" name="Freeform 2408"/>
            <p:cNvSpPr>
              <a:spLocks/>
            </p:cNvSpPr>
            <p:nvPr/>
          </p:nvSpPr>
          <p:spPr bwMode="auto">
            <a:xfrm>
              <a:off x="5393674" y="3329704"/>
              <a:ext cx="1074770" cy="407964"/>
            </a:xfrm>
            <a:custGeom>
              <a:avLst/>
              <a:gdLst>
                <a:gd name="T0" fmla="*/ 3681 w 3681"/>
                <a:gd name="T1" fmla="*/ 0 h 1395"/>
                <a:gd name="T2" fmla="*/ 0 w 3681"/>
                <a:gd name="T3" fmla="*/ 536 h 1395"/>
                <a:gd name="T4" fmla="*/ 0 w 3681"/>
                <a:gd name="T5" fmla="*/ 1395 h 1395"/>
                <a:gd name="T6" fmla="*/ 3596 w 3681"/>
                <a:gd name="T7" fmla="*/ 918 h 1395"/>
                <a:gd name="T8" fmla="*/ 3681 w 3681"/>
                <a:gd name="T9" fmla="*/ 0 h 1395"/>
              </a:gdLst>
              <a:ahLst/>
              <a:cxnLst>
                <a:cxn ang="0">
                  <a:pos x="T0" y="T1"/>
                </a:cxn>
                <a:cxn ang="0">
                  <a:pos x="T2" y="T3"/>
                </a:cxn>
                <a:cxn ang="0">
                  <a:pos x="T4" y="T5"/>
                </a:cxn>
                <a:cxn ang="0">
                  <a:pos x="T6" y="T7"/>
                </a:cxn>
                <a:cxn ang="0">
                  <a:pos x="T8" y="T9"/>
                </a:cxn>
              </a:cxnLst>
              <a:rect l="0" t="0" r="r" b="b"/>
              <a:pathLst>
                <a:path w="3681" h="1395">
                  <a:moveTo>
                    <a:pt x="3681" y="0"/>
                  </a:moveTo>
                  <a:lnTo>
                    <a:pt x="0" y="536"/>
                  </a:lnTo>
                  <a:lnTo>
                    <a:pt x="0" y="1395"/>
                  </a:lnTo>
                  <a:lnTo>
                    <a:pt x="3596" y="918"/>
                  </a:lnTo>
                  <a:lnTo>
                    <a:pt x="3681" y="0"/>
                  </a:lnTo>
                  <a:close/>
                </a:path>
              </a:pathLst>
            </a:custGeom>
            <a:solidFill>
              <a:schemeClr val="accent4">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1" name="Freeform 2438"/>
            <p:cNvSpPr>
              <a:spLocks/>
            </p:cNvSpPr>
            <p:nvPr/>
          </p:nvSpPr>
          <p:spPr bwMode="auto">
            <a:xfrm>
              <a:off x="5242445" y="3376071"/>
              <a:ext cx="151229" cy="367520"/>
            </a:xfrm>
            <a:custGeom>
              <a:avLst/>
              <a:gdLst>
                <a:gd name="T0" fmla="*/ 0 w 513"/>
                <a:gd name="T1" fmla="*/ 0 h 1257"/>
                <a:gd name="T2" fmla="*/ 0 w 513"/>
                <a:gd name="T3" fmla="*/ 848 h 1257"/>
                <a:gd name="T4" fmla="*/ 513 w 513"/>
                <a:gd name="T5" fmla="*/ 1257 h 1257"/>
                <a:gd name="T6" fmla="*/ 513 w 513"/>
                <a:gd name="T7" fmla="*/ 398 h 1257"/>
                <a:gd name="T8" fmla="*/ 0 w 513"/>
                <a:gd name="T9" fmla="*/ 0 h 1257"/>
              </a:gdLst>
              <a:ahLst/>
              <a:cxnLst>
                <a:cxn ang="0">
                  <a:pos x="T0" y="T1"/>
                </a:cxn>
                <a:cxn ang="0">
                  <a:pos x="T2" y="T3"/>
                </a:cxn>
                <a:cxn ang="0">
                  <a:pos x="T4" y="T5"/>
                </a:cxn>
                <a:cxn ang="0">
                  <a:pos x="T6" y="T7"/>
                </a:cxn>
                <a:cxn ang="0">
                  <a:pos x="T8" y="T9"/>
                </a:cxn>
              </a:cxnLst>
              <a:rect l="0" t="0" r="r" b="b"/>
              <a:pathLst>
                <a:path w="513" h="1257">
                  <a:moveTo>
                    <a:pt x="0" y="0"/>
                  </a:moveTo>
                  <a:lnTo>
                    <a:pt x="0" y="848"/>
                  </a:lnTo>
                  <a:lnTo>
                    <a:pt x="513" y="1257"/>
                  </a:lnTo>
                  <a:lnTo>
                    <a:pt x="513" y="398"/>
                  </a:lnTo>
                  <a:lnTo>
                    <a:pt x="0"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922" name="Freeform 2374"/>
          <p:cNvSpPr>
            <a:spLocks/>
          </p:cNvSpPr>
          <p:nvPr/>
        </p:nvSpPr>
        <p:spPr bwMode="auto">
          <a:xfrm>
            <a:off x="4392163" y="2173279"/>
            <a:ext cx="140677" cy="138919"/>
          </a:xfrm>
          <a:custGeom>
            <a:avLst/>
            <a:gdLst>
              <a:gd name="T0" fmla="*/ 331 w 479"/>
              <a:gd name="T1" fmla="*/ 19 h 474"/>
              <a:gd name="T2" fmla="*/ 303 w 479"/>
              <a:gd name="T3" fmla="*/ 9 h 474"/>
              <a:gd name="T4" fmla="*/ 273 w 479"/>
              <a:gd name="T5" fmla="*/ 2 h 474"/>
              <a:gd name="T6" fmla="*/ 243 w 479"/>
              <a:gd name="T7" fmla="*/ 0 h 474"/>
              <a:gd name="T8" fmla="*/ 213 w 479"/>
              <a:gd name="T9" fmla="*/ 2 h 474"/>
              <a:gd name="T10" fmla="*/ 184 w 479"/>
              <a:gd name="T11" fmla="*/ 8 h 474"/>
              <a:gd name="T12" fmla="*/ 156 w 479"/>
              <a:gd name="T13" fmla="*/ 17 h 474"/>
              <a:gd name="T14" fmla="*/ 129 w 479"/>
              <a:gd name="T15" fmla="*/ 30 h 474"/>
              <a:gd name="T16" fmla="*/ 103 w 479"/>
              <a:gd name="T17" fmla="*/ 46 h 474"/>
              <a:gd name="T18" fmla="*/ 80 w 479"/>
              <a:gd name="T19" fmla="*/ 64 h 474"/>
              <a:gd name="T20" fmla="*/ 59 w 479"/>
              <a:gd name="T21" fmla="*/ 84 h 474"/>
              <a:gd name="T22" fmla="*/ 39 w 479"/>
              <a:gd name="T23" fmla="*/ 108 h 474"/>
              <a:gd name="T24" fmla="*/ 24 w 479"/>
              <a:gd name="T25" fmla="*/ 133 h 474"/>
              <a:gd name="T26" fmla="*/ 12 w 479"/>
              <a:gd name="T27" fmla="*/ 160 h 474"/>
              <a:gd name="T28" fmla="*/ 4 w 479"/>
              <a:gd name="T29" fmla="*/ 188 h 474"/>
              <a:gd name="T30" fmla="*/ 0 w 479"/>
              <a:gd name="T31" fmla="*/ 219 h 474"/>
              <a:gd name="T32" fmla="*/ 1 w 479"/>
              <a:gd name="T33" fmla="*/ 249 h 474"/>
              <a:gd name="T34" fmla="*/ 1 w 479"/>
              <a:gd name="T35" fmla="*/ 268 h 474"/>
              <a:gd name="T36" fmla="*/ 5 w 479"/>
              <a:gd name="T37" fmla="*/ 301 h 474"/>
              <a:gd name="T38" fmla="*/ 15 w 479"/>
              <a:gd name="T39" fmla="*/ 333 h 474"/>
              <a:gd name="T40" fmla="*/ 30 w 479"/>
              <a:gd name="T41" fmla="*/ 362 h 474"/>
              <a:gd name="T42" fmla="*/ 48 w 479"/>
              <a:gd name="T43" fmla="*/ 388 h 474"/>
              <a:gd name="T44" fmla="*/ 72 w 479"/>
              <a:gd name="T45" fmla="*/ 411 h 474"/>
              <a:gd name="T46" fmla="*/ 98 w 479"/>
              <a:gd name="T47" fmla="*/ 430 h 474"/>
              <a:gd name="T48" fmla="*/ 127 w 479"/>
              <a:gd name="T49" fmla="*/ 447 h 474"/>
              <a:gd name="T50" fmla="*/ 157 w 479"/>
              <a:gd name="T51" fmla="*/ 459 h 474"/>
              <a:gd name="T52" fmla="*/ 190 w 479"/>
              <a:gd name="T53" fmla="*/ 468 h 474"/>
              <a:gd name="T54" fmla="*/ 222 w 479"/>
              <a:gd name="T55" fmla="*/ 473 h 474"/>
              <a:gd name="T56" fmla="*/ 256 w 479"/>
              <a:gd name="T57" fmla="*/ 474 h 474"/>
              <a:gd name="T58" fmla="*/ 289 w 479"/>
              <a:gd name="T59" fmla="*/ 470 h 474"/>
              <a:gd name="T60" fmla="*/ 321 w 479"/>
              <a:gd name="T61" fmla="*/ 462 h 474"/>
              <a:gd name="T62" fmla="*/ 351 w 479"/>
              <a:gd name="T63" fmla="*/ 450 h 474"/>
              <a:gd name="T64" fmla="*/ 381 w 479"/>
              <a:gd name="T65" fmla="*/ 431 h 474"/>
              <a:gd name="T66" fmla="*/ 394 w 479"/>
              <a:gd name="T67" fmla="*/ 421 h 474"/>
              <a:gd name="T68" fmla="*/ 418 w 479"/>
              <a:gd name="T69" fmla="*/ 400 h 474"/>
              <a:gd name="T70" fmla="*/ 437 w 479"/>
              <a:gd name="T71" fmla="*/ 376 h 474"/>
              <a:gd name="T72" fmla="*/ 453 w 479"/>
              <a:gd name="T73" fmla="*/ 350 h 474"/>
              <a:gd name="T74" fmla="*/ 465 w 479"/>
              <a:gd name="T75" fmla="*/ 322 h 474"/>
              <a:gd name="T76" fmla="*/ 474 w 479"/>
              <a:gd name="T77" fmla="*/ 293 h 474"/>
              <a:gd name="T78" fmla="*/ 478 w 479"/>
              <a:gd name="T79" fmla="*/ 263 h 474"/>
              <a:gd name="T80" fmla="*/ 479 w 479"/>
              <a:gd name="T81" fmla="*/ 232 h 474"/>
              <a:gd name="T82" fmla="*/ 477 w 479"/>
              <a:gd name="T83" fmla="*/ 201 h 474"/>
              <a:gd name="T84" fmla="*/ 469 w 479"/>
              <a:gd name="T85" fmla="*/ 172 h 474"/>
              <a:gd name="T86" fmla="*/ 460 w 479"/>
              <a:gd name="T87" fmla="*/ 142 h 474"/>
              <a:gd name="T88" fmla="*/ 447 w 479"/>
              <a:gd name="T89" fmla="*/ 116 h 474"/>
              <a:gd name="T90" fmla="*/ 430 w 479"/>
              <a:gd name="T91" fmla="*/ 91 h 474"/>
              <a:gd name="T92" fmla="*/ 410 w 479"/>
              <a:gd name="T93" fmla="*/ 68 h 474"/>
              <a:gd name="T94" fmla="*/ 387 w 479"/>
              <a:gd name="T95" fmla="*/ 48 h 474"/>
              <a:gd name="T96" fmla="*/ 361 w 479"/>
              <a:gd name="T97" fmla="*/ 32 h 474"/>
              <a:gd name="T98" fmla="*/ 331 w 479"/>
              <a:gd name="T99" fmla="*/ 19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9" h="474">
                <a:moveTo>
                  <a:pt x="331" y="19"/>
                </a:moveTo>
                <a:lnTo>
                  <a:pt x="331" y="19"/>
                </a:lnTo>
                <a:lnTo>
                  <a:pt x="317" y="13"/>
                </a:lnTo>
                <a:lnTo>
                  <a:pt x="303" y="9"/>
                </a:lnTo>
                <a:lnTo>
                  <a:pt x="287" y="5"/>
                </a:lnTo>
                <a:lnTo>
                  <a:pt x="273" y="2"/>
                </a:lnTo>
                <a:lnTo>
                  <a:pt x="258" y="1"/>
                </a:lnTo>
                <a:lnTo>
                  <a:pt x="243" y="0"/>
                </a:lnTo>
                <a:lnTo>
                  <a:pt x="228" y="1"/>
                </a:lnTo>
                <a:lnTo>
                  <a:pt x="213" y="2"/>
                </a:lnTo>
                <a:lnTo>
                  <a:pt x="199" y="5"/>
                </a:lnTo>
                <a:lnTo>
                  <a:pt x="184" y="8"/>
                </a:lnTo>
                <a:lnTo>
                  <a:pt x="169" y="12"/>
                </a:lnTo>
                <a:lnTo>
                  <a:pt x="156" y="17"/>
                </a:lnTo>
                <a:lnTo>
                  <a:pt x="142" y="23"/>
                </a:lnTo>
                <a:lnTo>
                  <a:pt x="129" y="30"/>
                </a:lnTo>
                <a:lnTo>
                  <a:pt x="116" y="38"/>
                </a:lnTo>
                <a:lnTo>
                  <a:pt x="103" y="46"/>
                </a:lnTo>
                <a:lnTo>
                  <a:pt x="91" y="54"/>
                </a:lnTo>
                <a:lnTo>
                  <a:pt x="80" y="64"/>
                </a:lnTo>
                <a:lnTo>
                  <a:pt x="69" y="74"/>
                </a:lnTo>
                <a:lnTo>
                  <a:pt x="59" y="84"/>
                </a:lnTo>
                <a:lnTo>
                  <a:pt x="48" y="96"/>
                </a:lnTo>
                <a:lnTo>
                  <a:pt x="39" y="108"/>
                </a:lnTo>
                <a:lnTo>
                  <a:pt x="31" y="120"/>
                </a:lnTo>
                <a:lnTo>
                  <a:pt x="24" y="133"/>
                </a:lnTo>
                <a:lnTo>
                  <a:pt x="18" y="147"/>
                </a:lnTo>
                <a:lnTo>
                  <a:pt x="12" y="160"/>
                </a:lnTo>
                <a:lnTo>
                  <a:pt x="8" y="174"/>
                </a:lnTo>
                <a:lnTo>
                  <a:pt x="4" y="188"/>
                </a:lnTo>
                <a:lnTo>
                  <a:pt x="2" y="204"/>
                </a:lnTo>
                <a:lnTo>
                  <a:pt x="0" y="219"/>
                </a:lnTo>
                <a:lnTo>
                  <a:pt x="0" y="234"/>
                </a:lnTo>
                <a:lnTo>
                  <a:pt x="1" y="249"/>
                </a:lnTo>
                <a:lnTo>
                  <a:pt x="1" y="249"/>
                </a:lnTo>
                <a:lnTo>
                  <a:pt x="1" y="268"/>
                </a:lnTo>
                <a:lnTo>
                  <a:pt x="2" y="285"/>
                </a:lnTo>
                <a:lnTo>
                  <a:pt x="5" y="301"/>
                </a:lnTo>
                <a:lnTo>
                  <a:pt x="9" y="317"/>
                </a:lnTo>
                <a:lnTo>
                  <a:pt x="15" y="333"/>
                </a:lnTo>
                <a:lnTo>
                  <a:pt x="22" y="348"/>
                </a:lnTo>
                <a:lnTo>
                  <a:pt x="30" y="362"/>
                </a:lnTo>
                <a:lnTo>
                  <a:pt x="38" y="375"/>
                </a:lnTo>
                <a:lnTo>
                  <a:pt x="48" y="388"/>
                </a:lnTo>
                <a:lnTo>
                  <a:pt x="60" y="400"/>
                </a:lnTo>
                <a:lnTo>
                  <a:pt x="72" y="411"/>
                </a:lnTo>
                <a:lnTo>
                  <a:pt x="84" y="421"/>
                </a:lnTo>
                <a:lnTo>
                  <a:pt x="98" y="430"/>
                </a:lnTo>
                <a:lnTo>
                  <a:pt x="112" y="439"/>
                </a:lnTo>
                <a:lnTo>
                  <a:pt x="127" y="447"/>
                </a:lnTo>
                <a:lnTo>
                  <a:pt x="142" y="454"/>
                </a:lnTo>
                <a:lnTo>
                  <a:pt x="157" y="459"/>
                </a:lnTo>
                <a:lnTo>
                  <a:pt x="174" y="464"/>
                </a:lnTo>
                <a:lnTo>
                  <a:pt x="190" y="468"/>
                </a:lnTo>
                <a:lnTo>
                  <a:pt x="206" y="471"/>
                </a:lnTo>
                <a:lnTo>
                  <a:pt x="222" y="473"/>
                </a:lnTo>
                <a:lnTo>
                  <a:pt x="240" y="474"/>
                </a:lnTo>
                <a:lnTo>
                  <a:pt x="256" y="474"/>
                </a:lnTo>
                <a:lnTo>
                  <a:pt x="273" y="472"/>
                </a:lnTo>
                <a:lnTo>
                  <a:pt x="289" y="470"/>
                </a:lnTo>
                <a:lnTo>
                  <a:pt x="306" y="467"/>
                </a:lnTo>
                <a:lnTo>
                  <a:pt x="321" y="462"/>
                </a:lnTo>
                <a:lnTo>
                  <a:pt x="337" y="456"/>
                </a:lnTo>
                <a:lnTo>
                  <a:pt x="351" y="450"/>
                </a:lnTo>
                <a:lnTo>
                  <a:pt x="367" y="441"/>
                </a:lnTo>
                <a:lnTo>
                  <a:pt x="381" y="431"/>
                </a:lnTo>
                <a:lnTo>
                  <a:pt x="394" y="421"/>
                </a:lnTo>
                <a:lnTo>
                  <a:pt x="394" y="421"/>
                </a:lnTo>
                <a:lnTo>
                  <a:pt x="406" y="411"/>
                </a:lnTo>
                <a:lnTo>
                  <a:pt x="418" y="400"/>
                </a:lnTo>
                <a:lnTo>
                  <a:pt x="428" y="389"/>
                </a:lnTo>
                <a:lnTo>
                  <a:pt x="437" y="376"/>
                </a:lnTo>
                <a:lnTo>
                  <a:pt x="446" y="363"/>
                </a:lnTo>
                <a:lnTo>
                  <a:pt x="453" y="350"/>
                </a:lnTo>
                <a:lnTo>
                  <a:pt x="459" y="336"/>
                </a:lnTo>
                <a:lnTo>
                  <a:pt x="465" y="322"/>
                </a:lnTo>
                <a:lnTo>
                  <a:pt x="469" y="307"/>
                </a:lnTo>
                <a:lnTo>
                  <a:pt x="474" y="293"/>
                </a:lnTo>
                <a:lnTo>
                  <a:pt x="477" y="278"/>
                </a:lnTo>
                <a:lnTo>
                  <a:pt x="478" y="263"/>
                </a:lnTo>
                <a:lnTo>
                  <a:pt x="479" y="247"/>
                </a:lnTo>
                <a:lnTo>
                  <a:pt x="479" y="232"/>
                </a:lnTo>
                <a:lnTo>
                  <a:pt x="478" y="217"/>
                </a:lnTo>
                <a:lnTo>
                  <a:pt x="477" y="201"/>
                </a:lnTo>
                <a:lnTo>
                  <a:pt x="474" y="186"/>
                </a:lnTo>
                <a:lnTo>
                  <a:pt x="469" y="172"/>
                </a:lnTo>
                <a:lnTo>
                  <a:pt x="465" y="157"/>
                </a:lnTo>
                <a:lnTo>
                  <a:pt x="460" y="142"/>
                </a:lnTo>
                <a:lnTo>
                  <a:pt x="454" y="129"/>
                </a:lnTo>
                <a:lnTo>
                  <a:pt x="447" y="116"/>
                </a:lnTo>
                <a:lnTo>
                  <a:pt x="439" y="103"/>
                </a:lnTo>
                <a:lnTo>
                  <a:pt x="430" y="91"/>
                </a:lnTo>
                <a:lnTo>
                  <a:pt x="421" y="78"/>
                </a:lnTo>
                <a:lnTo>
                  <a:pt x="410" y="68"/>
                </a:lnTo>
                <a:lnTo>
                  <a:pt x="399" y="58"/>
                </a:lnTo>
                <a:lnTo>
                  <a:pt x="387" y="48"/>
                </a:lnTo>
                <a:lnTo>
                  <a:pt x="374" y="40"/>
                </a:lnTo>
                <a:lnTo>
                  <a:pt x="361" y="32"/>
                </a:lnTo>
                <a:lnTo>
                  <a:pt x="346" y="25"/>
                </a:lnTo>
                <a:lnTo>
                  <a:pt x="331" y="19"/>
                </a:lnTo>
                <a:lnTo>
                  <a:pt x="331" y="19"/>
                </a:lnTo>
                <a:close/>
              </a:path>
            </a:pathLst>
          </a:custGeom>
          <a:solidFill>
            <a:schemeClr val="tx1">
              <a:lumMod val="25000"/>
              <a:lumOff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6" name="Freeform 6"/>
          <p:cNvSpPr>
            <a:spLocks/>
          </p:cNvSpPr>
          <p:nvPr/>
        </p:nvSpPr>
        <p:spPr bwMode="auto">
          <a:xfrm>
            <a:off x="5112088" y="2535239"/>
            <a:ext cx="310255" cy="66725"/>
          </a:xfrm>
          <a:custGeom>
            <a:avLst/>
            <a:gdLst>
              <a:gd name="T0" fmla="*/ 3851 w 3851"/>
              <a:gd name="T1" fmla="*/ 414 h 828"/>
              <a:gd name="T2" fmla="*/ 3849 w 3851"/>
              <a:gd name="T3" fmla="*/ 393 h 828"/>
              <a:gd name="T4" fmla="*/ 3841 w 3851"/>
              <a:gd name="T5" fmla="*/ 371 h 828"/>
              <a:gd name="T6" fmla="*/ 3813 w 3851"/>
              <a:gd name="T7" fmla="*/ 331 h 828"/>
              <a:gd name="T8" fmla="*/ 3764 w 3851"/>
              <a:gd name="T9" fmla="*/ 290 h 828"/>
              <a:gd name="T10" fmla="*/ 3700 w 3851"/>
              <a:gd name="T11" fmla="*/ 252 h 828"/>
              <a:gd name="T12" fmla="*/ 3619 w 3851"/>
              <a:gd name="T13" fmla="*/ 216 h 828"/>
              <a:gd name="T14" fmla="*/ 3523 w 3851"/>
              <a:gd name="T15" fmla="*/ 182 h 828"/>
              <a:gd name="T16" fmla="*/ 3412 w 3851"/>
              <a:gd name="T17" fmla="*/ 150 h 828"/>
              <a:gd name="T18" fmla="*/ 3288 w 3851"/>
              <a:gd name="T19" fmla="*/ 120 h 828"/>
              <a:gd name="T20" fmla="*/ 3151 w 3851"/>
              <a:gd name="T21" fmla="*/ 94 h 828"/>
              <a:gd name="T22" fmla="*/ 3002 w 3851"/>
              <a:gd name="T23" fmla="*/ 70 h 828"/>
              <a:gd name="T24" fmla="*/ 2674 w 3851"/>
              <a:gd name="T25" fmla="*/ 32 h 828"/>
              <a:gd name="T26" fmla="*/ 2313 w 3851"/>
              <a:gd name="T27" fmla="*/ 7 h 828"/>
              <a:gd name="T28" fmla="*/ 1925 w 3851"/>
              <a:gd name="T29" fmla="*/ 0 h 828"/>
              <a:gd name="T30" fmla="*/ 1730 w 3851"/>
              <a:gd name="T31" fmla="*/ 2 h 828"/>
              <a:gd name="T32" fmla="*/ 1353 w 3851"/>
              <a:gd name="T33" fmla="*/ 17 h 828"/>
              <a:gd name="T34" fmla="*/ 1009 w 3851"/>
              <a:gd name="T35" fmla="*/ 49 h 828"/>
              <a:gd name="T36" fmla="*/ 774 w 3851"/>
              <a:gd name="T37" fmla="*/ 81 h 828"/>
              <a:gd name="T38" fmla="*/ 631 w 3851"/>
              <a:gd name="T39" fmla="*/ 107 h 828"/>
              <a:gd name="T40" fmla="*/ 501 w 3851"/>
              <a:gd name="T41" fmla="*/ 135 h 828"/>
              <a:gd name="T42" fmla="*/ 382 w 3851"/>
              <a:gd name="T43" fmla="*/ 166 h 828"/>
              <a:gd name="T44" fmla="*/ 279 w 3851"/>
              <a:gd name="T45" fmla="*/ 199 h 828"/>
              <a:gd name="T46" fmla="*/ 191 w 3851"/>
              <a:gd name="T47" fmla="*/ 233 h 828"/>
              <a:gd name="T48" fmla="*/ 117 w 3851"/>
              <a:gd name="T49" fmla="*/ 271 h 828"/>
              <a:gd name="T50" fmla="*/ 61 w 3851"/>
              <a:gd name="T51" fmla="*/ 310 h 828"/>
              <a:gd name="T52" fmla="*/ 23 w 3851"/>
              <a:gd name="T53" fmla="*/ 350 h 828"/>
              <a:gd name="T54" fmla="*/ 6 w 3851"/>
              <a:gd name="T55" fmla="*/ 382 h 828"/>
              <a:gd name="T56" fmla="*/ 0 w 3851"/>
              <a:gd name="T57" fmla="*/ 403 h 828"/>
              <a:gd name="T58" fmla="*/ 0 w 3851"/>
              <a:gd name="T59" fmla="*/ 414 h 828"/>
              <a:gd name="T60" fmla="*/ 2 w 3851"/>
              <a:gd name="T61" fmla="*/ 435 h 828"/>
              <a:gd name="T62" fmla="*/ 10 w 3851"/>
              <a:gd name="T63" fmla="*/ 457 h 828"/>
              <a:gd name="T64" fmla="*/ 40 w 3851"/>
              <a:gd name="T65" fmla="*/ 497 h 828"/>
              <a:gd name="T66" fmla="*/ 87 w 3851"/>
              <a:gd name="T67" fmla="*/ 538 h 828"/>
              <a:gd name="T68" fmla="*/ 151 w 3851"/>
              <a:gd name="T69" fmla="*/ 576 h 828"/>
              <a:gd name="T70" fmla="*/ 234 w 3851"/>
              <a:gd name="T71" fmla="*/ 612 h 828"/>
              <a:gd name="T72" fmla="*/ 330 w 3851"/>
              <a:gd name="T73" fmla="*/ 645 h 828"/>
              <a:gd name="T74" fmla="*/ 441 w 3851"/>
              <a:gd name="T75" fmla="*/ 677 h 828"/>
              <a:gd name="T76" fmla="*/ 565 w 3851"/>
              <a:gd name="T77" fmla="*/ 708 h 828"/>
              <a:gd name="T78" fmla="*/ 700 w 3851"/>
              <a:gd name="T79" fmla="*/ 734 h 828"/>
              <a:gd name="T80" fmla="*/ 849 w 3851"/>
              <a:gd name="T81" fmla="*/ 758 h 828"/>
              <a:gd name="T82" fmla="*/ 1177 w 3851"/>
              <a:gd name="T83" fmla="*/ 796 h 828"/>
              <a:gd name="T84" fmla="*/ 1538 w 3851"/>
              <a:gd name="T85" fmla="*/ 820 h 828"/>
              <a:gd name="T86" fmla="*/ 1925 w 3851"/>
              <a:gd name="T87" fmla="*/ 828 h 828"/>
              <a:gd name="T88" fmla="*/ 2123 w 3851"/>
              <a:gd name="T89" fmla="*/ 826 h 828"/>
              <a:gd name="T90" fmla="*/ 2498 w 3851"/>
              <a:gd name="T91" fmla="*/ 811 h 828"/>
              <a:gd name="T92" fmla="*/ 2844 w 3851"/>
              <a:gd name="T93" fmla="*/ 779 h 828"/>
              <a:gd name="T94" fmla="*/ 3077 w 3851"/>
              <a:gd name="T95" fmla="*/ 747 h 828"/>
              <a:gd name="T96" fmla="*/ 3220 w 3851"/>
              <a:gd name="T97" fmla="*/ 721 h 828"/>
              <a:gd name="T98" fmla="*/ 3352 w 3851"/>
              <a:gd name="T99" fmla="*/ 692 h 828"/>
              <a:gd name="T100" fmla="*/ 3469 w 3851"/>
              <a:gd name="T101" fmla="*/ 662 h 828"/>
              <a:gd name="T102" fmla="*/ 3572 w 3851"/>
              <a:gd name="T103" fmla="*/ 629 h 828"/>
              <a:gd name="T104" fmla="*/ 3660 w 3851"/>
              <a:gd name="T105" fmla="*/ 595 h 828"/>
              <a:gd name="T106" fmla="*/ 3734 w 3851"/>
              <a:gd name="T107" fmla="*/ 557 h 828"/>
              <a:gd name="T108" fmla="*/ 3790 w 3851"/>
              <a:gd name="T109" fmla="*/ 517 h 828"/>
              <a:gd name="T110" fmla="*/ 3830 w 3851"/>
              <a:gd name="T111" fmla="*/ 478 h 828"/>
              <a:gd name="T112" fmla="*/ 3845 w 3851"/>
              <a:gd name="T113" fmla="*/ 446 h 828"/>
              <a:gd name="T114" fmla="*/ 3851 w 3851"/>
              <a:gd name="T115" fmla="*/ 425 h 828"/>
              <a:gd name="T116" fmla="*/ 3851 w 3851"/>
              <a:gd name="T117" fmla="*/ 414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51" h="828">
                <a:moveTo>
                  <a:pt x="3851" y="414"/>
                </a:moveTo>
                <a:lnTo>
                  <a:pt x="3851" y="414"/>
                </a:lnTo>
                <a:lnTo>
                  <a:pt x="3851" y="403"/>
                </a:lnTo>
                <a:lnTo>
                  <a:pt x="3849" y="393"/>
                </a:lnTo>
                <a:lnTo>
                  <a:pt x="3845" y="382"/>
                </a:lnTo>
                <a:lnTo>
                  <a:pt x="3841" y="371"/>
                </a:lnTo>
                <a:lnTo>
                  <a:pt x="3830" y="350"/>
                </a:lnTo>
                <a:lnTo>
                  <a:pt x="3813" y="331"/>
                </a:lnTo>
                <a:lnTo>
                  <a:pt x="3790" y="310"/>
                </a:lnTo>
                <a:lnTo>
                  <a:pt x="3764" y="290"/>
                </a:lnTo>
                <a:lnTo>
                  <a:pt x="3734" y="271"/>
                </a:lnTo>
                <a:lnTo>
                  <a:pt x="3700" y="252"/>
                </a:lnTo>
                <a:lnTo>
                  <a:pt x="3660" y="233"/>
                </a:lnTo>
                <a:lnTo>
                  <a:pt x="3619" y="216"/>
                </a:lnTo>
                <a:lnTo>
                  <a:pt x="3572" y="199"/>
                </a:lnTo>
                <a:lnTo>
                  <a:pt x="3523" y="182"/>
                </a:lnTo>
                <a:lnTo>
                  <a:pt x="3469" y="166"/>
                </a:lnTo>
                <a:lnTo>
                  <a:pt x="3412" y="150"/>
                </a:lnTo>
                <a:lnTo>
                  <a:pt x="3352" y="135"/>
                </a:lnTo>
                <a:lnTo>
                  <a:pt x="3288" y="120"/>
                </a:lnTo>
                <a:lnTo>
                  <a:pt x="3220" y="107"/>
                </a:lnTo>
                <a:lnTo>
                  <a:pt x="3151" y="94"/>
                </a:lnTo>
                <a:lnTo>
                  <a:pt x="3077" y="81"/>
                </a:lnTo>
                <a:lnTo>
                  <a:pt x="3002" y="70"/>
                </a:lnTo>
                <a:lnTo>
                  <a:pt x="2844" y="49"/>
                </a:lnTo>
                <a:lnTo>
                  <a:pt x="2674" y="32"/>
                </a:lnTo>
                <a:lnTo>
                  <a:pt x="2498" y="17"/>
                </a:lnTo>
                <a:lnTo>
                  <a:pt x="2313" y="7"/>
                </a:lnTo>
                <a:lnTo>
                  <a:pt x="2123" y="2"/>
                </a:lnTo>
                <a:lnTo>
                  <a:pt x="1925" y="0"/>
                </a:lnTo>
                <a:lnTo>
                  <a:pt x="1925" y="0"/>
                </a:lnTo>
                <a:lnTo>
                  <a:pt x="1730" y="2"/>
                </a:lnTo>
                <a:lnTo>
                  <a:pt x="1538" y="7"/>
                </a:lnTo>
                <a:lnTo>
                  <a:pt x="1353" y="17"/>
                </a:lnTo>
                <a:lnTo>
                  <a:pt x="1177" y="32"/>
                </a:lnTo>
                <a:lnTo>
                  <a:pt x="1009" y="49"/>
                </a:lnTo>
                <a:lnTo>
                  <a:pt x="849" y="70"/>
                </a:lnTo>
                <a:lnTo>
                  <a:pt x="774" y="81"/>
                </a:lnTo>
                <a:lnTo>
                  <a:pt x="700" y="94"/>
                </a:lnTo>
                <a:lnTo>
                  <a:pt x="631" y="107"/>
                </a:lnTo>
                <a:lnTo>
                  <a:pt x="565" y="120"/>
                </a:lnTo>
                <a:lnTo>
                  <a:pt x="501" y="135"/>
                </a:lnTo>
                <a:lnTo>
                  <a:pt x="441" y="150"/>
                </a:lnTo>
                <a:lnTo>
                  <a:pt x="382" y="166"/>
                </a:lnTo>
                <a:lnTo>
                  <a:pt x="330" y="182"/>
                </a:lnTo>
                <a:lnTo>
                  <a:pt x="279" y="199"/>
                </a:lnTo>
                <a:lnTo>
                  <a:pt x="234" y="216"/>
                </a:lnTo>
                <a:lnTo>
                  <a:pt x="191" y="233"/>
                </a:lnTo>
                <a:lnTo>
                  <a:pt x="151" y="252"/>
                </a:lnTo>
                <a:lnTo>
                  <a:pt x="117" y="271"/>
                </a:lnTo>
                <a:lnTo>
                  <a:pt x="87" y="290"/>
                </a:lnTo>
                <a:lnTo>
                  <a:pt x="61" y="310"/>
                </a:lnTo>
                <a:lnTo>
                  <a:pt x="40" y="331"/>
                </a:lnTo>
                <a:lnTo>
                  <a:pt x="23" y="350"/>
                </a:lnTo>
                <a:lnTo>
                  <a:pt x="10" y="371"/>
                </a:lnTo>
                <a:lnTo>
                  <a:pt x="6" y="382"/>
                </a:lnTo>
                <a:lnTo>
                  <a:pt x="2" y="393"/>
                </a:lnTo>
                <a:lnTo>
                  <a:pt x="0" y="403"/>
                </a:lnTo>
                <a:lnTo>
                  <a:pt x="0" y="414"/>
                </a:lnTo>
                <a:lnTo>
                  <a:pt x="0" y="414"/>
                </a:lnTo>
                <a:lnTo>
                  <a:pt x="0" y="425"/>
                </a:lnTo>
                <a:lnTo>
                  <a:pt x="2" y="435"/>
                </a:lnTo>
                <a:lnTo>
                  <a:pt x="6" y="446"/>
                </a:lnTo>
                <a:lnTo>
                  <a:pt x="10" y="457"/>
                </a:lnTo>
                <a:lnTo>
                  <a:pt x="23" y="478"/>
                </a:lnTo>
                <a:lnTo>
                  <a:pt x="40" y="497"/>
                </a:lnTo>
                <a:lnTo>
                  <a:pt x="61" y="517"/>
                </a:lnTo>
                <a:lnTo>
                  <a:pt x="87" y="538"/>
                </a:lnTo>
                <a:lnTo>
                  <a:pt x="117" y="557"/>
                </a:lnTo>
                <a:lnTo>
                  <a:pt x="151" y="576"/>
                </a:lnTo>
                <a:lnTo>
                  <a:pt x="191" y="595"/>
                </a:lnTo>
                <a:lnTo>
                  <a:pt x="234" y="612"/>
                </a:lnTo>
                <a:lnTo>
                  <a:pt x="279" y="629"/>
                </a:lnTo>
                <a:lnTo>
                  <a:pt x="330" y="645"/>
                </a:lnTo>
                <a:lnTo>
                  <a:pt x="382" y="662"/>
                </a:lnTo>
                <a:lnTo>
                  <a:pt x="441" y="677"/>
                </a:lnTo>
                <a:lnTo>
                  <a:pt x="501" y="692"/>
                </a:lnTo>
                <a:lnTo>
                  <a:pt x="565" y="708"/>
                </a:lnTo>
                <a:lnTo>
                  <a:pt x="631" y="721"/>
                </a:lnTo>
                <a:lnTo>
                  <a:pt x="700" y="734"/>
                </a:lnTo>
                <a:lnTo>
                  <a:pt x="774" y="747"/>
                </a:lnTo>
                <a:lnTo>
                  <a:pt x="849" y="758"/>
                </a:lnTo>
                <a:lnTo>
                  <a:pt x="1009" y="779"/>
                </a:lnTo>
                <a:lnTo>
                  <a:pt x="1177" y="796"/>
                </a:lnTo>
                <a:lnTo>
                  <a:pt x="1353" y="811"/>
                </a:lnTo>
                <a:lnTo>
                  <a:pt x="1538" y="820"/>
                </a:lnTo>
                <a:lnTo>
                  <a:pt x="1730" y="826"/>
                </a:lnTo>
                <a:lnTo>
                  <a:pt x="1925" y="828"/>
                </a:lnTo>
                <a:lnTo>
                  <a:pt x="1925" y="828"/>
                </a:lnTo>
                <a:lnTo>
                  <a:pt x="2123" y="826"/>
                </a:lnTo>
                <a:lnTo>
                  <a:pt x="2313" y="820"/>
                </a:lnTo>
                <a:lnTo>
                  <a:pt x="2498" y="811"/>
                </a:lnTo>
                <a:lnTo>
                  <a:pt x="2674" y="796"/>
                </a:lnTo>
                <a:lnTo>
                  <a:pt x="2844" y="779"/>
                </a:lnTo>
                <a:lnTo>
                  <a:pt x="3002" y="758"/>
                </a:lnTo>
                <a:lnTo>
                  <a:pt x="3077" y="747"/>
                </a:lnTo>
                <a:lnTo>
                  <a:pt x="3151" y="734"/>
                </a:lnTo>
                <a:lnTo>
                  <a:pt x="3220" y="721"/>
                </a:lnTo>
                <a:lnTo>
                  <a:pt x="3288" y="708"/>
                </a:lnTo>
                <a:lnTo>
                  <a:pt x="3352" y="692"/>
                </a:lnTo>
                <a:lnTo>
                  <a:pt x="3412" y="677"/>
                </a:lnTo>
                <a:lnTo>
                  <a:pt x="3469" y="662"/>
                </a:lnTo>
                <a:lnTo>
                  <a:pt x="3523" y="645"/>
                </a:lnTo>
                <a:lnTo>
                  <a:pt x="3572" y="629"/>
                </a:lnTo>
                <a:lnTo>
                  <a:pt x="3619" y="612"/>
                </a:lnTo>
                <a:lnTo>
                  <a:pt x="3660" y="595"/>
                </a:lnTo>
                <a:lnTo>
                  <a:pt x="3700" y="576"/>
                </a:lnTo>
                <a:lnTo>
                  <a:pt x="3734" y="557"/>
                </a:lnTo>
                <a:lnTo>
                  <a:pt x="3764" y="538"/>
                </a:lnTo>
                <a:lnTo>
                  <a:pt x="3790" y="517"/>
                </a:lnTo>
                <a:lnTo>
                  <a:pt x="3813" y="497"/>
                </a:lnTo>
                <a:lnTo>
                  <a:pt x="3830" y="478"/>
                </a:lnTo>
                <a:lnTo>
                  <a:pt x="3841" y="457"/>
                </a:lnTo>
                <a:lnTo>
                  <a:pt x="3845" y="446"/>
                </a:lnTo>
                <a:lnTo>
                  <a:pt x="3849" y="435"/>
                </a:lnTo>
                <a:lnTo>
                  <a:pt x="3851" y="425"/>
                </a:lnTo>
                <a:lnTo>
                  <a:pt x="3851" y="414"/>
                </a:lnTo>
                <a:lnTo>
                  <a:pt x="3851" y="414"/>
                </a:lnTo>
                <a:close/>
              </a:path>
            </a:pathLst>
          </a:custGeom>
          <a:solidFill>
            <a:schemeClr val="accent1"/>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7" name="Freeform 7"/>
          <p:cNvSpPr>
            <a:spLocks/>
          </p:cNvSpPr>
          <p:nvPr/>
        </p:nvSpPr>
        <p:spPr bwMode="auto">
          <a:xfrm>
            <a:off x="5422182" y="2566828"/>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rgbClr val="FFFFFF"/>
          </a:solidFill>
          <a:ln w="4">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8" name="Freeform 8"/>
          <p:cNvSpPr>
            <a:spLocks/>
          </p:cNvSpPr>
          <p:nvPr/>
        </p:nvSpPr>
        <p:spPr bwMode="auto">
          <a:xfrm>
            <a:off x="5112088" y="2568602"/>
            <a:ext cx="310255" cy="43355"/>
          </a:xfrm>
          <a:custGeom>
            <a:avLst/>
            <a:gdLst>
              <a:gd name="T0" fmla="*/ 1925 w 3851"/>
              <a:gd name="T1" fmla="*/ 414 h 536"/>
              <a:gd name="T2" fmla="*/ 1538 w 3851"/>
              <a:gd name="T3" fmla="*/ 406 h 536"/>
              <a:gd name="T4" fmla="*/ 1177 w 3851"/>
              <a:gd name="T5" fmla="*/ 382 h 536"/>
              <a:gd name="T6" fmla="*/ 849 w 3851"/>
              <a:gd name="T7" fmla="*/ 344 h 536"/>
              <a:gd name="T8" fmla="*/ 700 w 3851"/>
              <a:gd name="T9" fmla="*/ 320 h 536"/>
              <a:gd name="T10" fmla="*/ 565 w 3851"/>
              <a:gd name="T11" fmla="*/ 294 h 536"/>
              <a:gd name="T12" fmla="*/ 441 w 3851"/>
              <a:gd name="T13" fmla="*/ 263 h 536"/>
              <a:gd name="T14" fmla="*/ 330 w 3851"/>
              <a:gd name="T15" fmla="*/ 231 h 536"/>
              <a:gd name="T16" fmla="*/ 234 w 3851"/>
              <a:gd name="T17" fmla="*/ 198 h 536"/>
              <a:gd name="T18" fmla="*/ 151 w 3851"/>
              <a:gd name="T19" fmla="*/ 162 h 536"/>
              <a:gd name="T20" fmla="*/ 87 w 3851"/>
              <a:gd name="T21" fmla="*/ 124 h 536"/>
              <a:gd name="T22" fmla="*/ 40 w 3851"/>
              <a:gd name="T23" fmla="*/ 83 h 536"/>
              <a:gd name="T24" fmla="*/ 10 w 3851"/>
              <a:gd name="T25" fmla="*/ 43 h 536"/>
              <a:gd name="T26" fmla="*/ 2 w 3851"/>
              <a:gd name="T27" fmla="*/ 21 h 536"/>
              <a:gd name="T28" fmla="*/ 0 w 3851"/>
              <a:gd name="T29" fmla="*/ 0 h 536"/>
              <a:gd name="T30" fmla="*/ 0 w 3851"/>
              <a:gd name="T31" fmla="*/ 122 h 536"/>
              <a:gd name="T32" fmla="*/ 0 w 3851"/>
              <a:gd name="T33" fmla="*/ 132 h 536"/>
              <a:gd name="T34" fmla="*/ 6 w 3851"/>
              <a:gd name="T35" fmla="*/ 154 h 536"/>
              <a:gd name="T36" fmla="*/ 23 w 3851"/>
              <a:gd name="T37" fmla="*/ 184 h 536"/>
              <a:gd name="T38" fmla="*/ 61 w 3851"/>
              <a:gd name="T39" fmla="*/ 226 h 536"/>
              <a:gd name="T40" fmla="*/ 117 w 3851"/>
              <a:gd name="T41" fmla="*/ 265 h 536"/>
              <a:gd name="T42" fmla="*/ 191 w 3851"/>
              <a:gd name="T43" fmla="*/ 301 h 536"/>
              <a:gd name="T44" fmla="*/ 279 w 3851"/>
              <a:gd name="T45" fmla="*/ 337 h 536"/>
              <a:gd name="T46" fmla="*/ 382 w 3851"/>
              <a:gd name="T47" fmla="*/ 371 h 536"/>
              <a:gd name="T48" fmla="*/ 501 w 3851"/>
              <a:gd name="T49" fmla="*/ 401 h 536"/>
              <a:gd name="T50" fmla="*/ 631 w 3851"/>
              <a:gd name="T51" fmla="*/ 429 h 536"/>
              <a:gd name="T52" fmla="*/ 774 w 3851"/>
              <a:gd name="T53" fmla="*/ 454 h 536"/>
              <a:gd name="T54" fmla="*/ 1009 w 3851"/>
              <a:gd name="T55" fmla="*/ 487 h 536"/>
              <a:gd name="T56" fmla="*/ 1353 w 3851"/>
              <a:gd name="T57" fmla="*/ 518 h 536"/>
              <a:gd name="T58" fmla="*/ 1730 w 3851"/>
              <a:gd name="T59" fmla="*/ 534 h 536"/>
              <a:gd name="T60" fmla="*/ 1925 w 3851"/>
              <a:gd name="T61" fmla="*/ 536 h 536"/>
              <a:gd name="T62" fmla="*/ 2313 w 3851"/>
              <a:gd name="T63" fmla="*/ 529 h 536"/>
              <a:gd name="T64" fmla="*/ 2674 w 3851"/>
              <a:gd name="T65" fmla="*/ 504 h 536"/>
              <a:gd name="T66" fmla="*/ 3002 w 3851"/>
              <a:gd name="T67" fmla="*/ 467 h 536"/>
              <a:gd name="T68" fmla="*/ 3151 w 3851"/>
              <a:gd name="T69" fmla="*/ 442 h 536"/>
              <a:gd name="T70" fmla="*/ 3288 w 3851"/>
              <a:gd name="T71" fmla="*/ 416 h 536"/>
              <a:gd name="T72" fmla="*/ 3412 w 3851"/>
              <a:gd name="T73" fmla="*/ 386 h 536"/>
              <a:gd name="T74" fmla="*/ 3523 w 3851"/>
              <a:gd name="T75" fmla="*/ 354 h 536"/>
              <a:gd name="T76" fmla="*/ 3619 w 3851"/>
              <a:gd name="T77" fmla="*/ 320 h 536"/>
              <a:gd name="T78" fmla="*/ 3700 w 3851"/>
              <a:gd name="T79" fmla="*/ 284 h 536"/>
              <a:gd name="T80" fmla="*/ 3764 w 3851"/>
              <a:gd name="T81" fmla="*/ 245 h 536"/>
              <a:gd name="T82" fmla="*/ 3813 w 3851"/>
              <a:gd name="T83" fmla="*/ 205 h 536"/>
              <a:gd name="T84" fmla="*/ 3841 w 3851"/>
              <a:gd name="T85" fmla="*/ 164 h 536"/>
              <a:gd name="T86" fmla="*/ 3849 w 3851"/>
              <a:gd name="T87" fmla="*/ 143 h 536"/>
              <a:gd name="T88" fmla="*/ 3851 w 3851"/>
              <a:gd name="T89" fmla="*/ 122 h 536"/>
              <a:gd name="T90" fmla="*/ 3849 w 3851"/>
              <a:gd name="T91" fmla="*/ 17 h 536"/>
              <a:gd name="T92" fmla="*/ 3847 w 3851"/>
              <a:gd name="T93" fmla="*/ 28 h 536"/>
              <a:gd name="T94" fmla="*/ 3832 w 3851"/>
              <a:gd name="T95" fmla="*/ 58 h 536"/>
              <a:gd name="T96" fmla="*/ 3798 w 3851"/>
              <a:gd name="T97" fmla="*/ 98 h 536"/>
              <a:gd name="T98" fmla="*/ 3745 w 3851"/>
              <a:gd name="T99" fmla="*/ 135 h 536"/>
              <a:gd name="T100" fmla="*/ 3677 w 3851"/>
              <a:gd name="T101" fmla="*/ 173 h 536"/>
              <a:gd name="T102" fmla="*/ 3595 w 3851"/>
              <a:gd name="T103" fmla="*/ 207 h 536"/>
              <a:gd name="T104" fmla="*/ 3497 w 3851"/>
              <a:gd name="T105" fmla="*/ 241 h 536"/>
              <a:gd name="T106" fmla="*/ 3384 w 3851"/>
              <a:gd name="T107" fmla="*/ 271 h 536"/>
              <a:gd name="T108" fmla="*/ 3262 w 3851"/>
              <a:gd name="T109" fmla="*/ 299 h 536"/>
              <a:gd name="T110" fmla="*/ 3126 w 3851"/>
              <a:gd name="T111" fmla="*/ 324 h 536"/>
              <a:gd name="T112" fmla="*/ 2823 w 3851"/>
              <a:gd name="T113" fmla="*/ 367 h 536"/>
              <a:gd name="T114" fmla="*/ 2484 w 3851"/>
              <a:gd name="T115" fmla="*/ 397 h 536"/>
              <a:gd name="T116" fmla="*/ 2117 w 3851"/>
              <a:gd name="T117" fmla="*/ 412 h 536"/>
              <a:gd name="T118" fmla="*/ 1925 w 3851"/>
              <a:gd name="T119" fmla="*/ 414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51" h="536">
                <a:moveTo>
                  <a:pt x="1925" y="414"/>
                </a:moveTo>
                <a:lnTo>
                  <a:pt x="1925" y="414"/>
                </a:lnTo>
                <a:lnTo>
                  <a:pt x="1730" y="412"/>
                </a:lnTo>
                <a:lnTo>
                  <a:pt x="1538" y="406"/>
                </a:lnTo>
                <a:lnTo>
                  <a:pt x="1353" y="397"/>
                </a:lnTo>
                <a:lnTo>
                  <a:pt x="1177" y="382"/>
                </a:lnTo>
                <a:lnTo>
                  <a:pt x="1009" y="365"/>
                </a:lnTo>
                <a:lnTo>
                  <a:pt x="849" y="344"/>
                </a:lnTo>
                <a:lnTo>
                  <a:pt x="774" y="333"/>
                </a:lnTo>
                <a:lnTo>
                  <a:pt x="700" y="320"/>
                </a:lnTo>
                <a:lnTo>
                  <a:pt x="631" y="307"/>
                </a:lnTo>
                <a:lnTo>
                  <a:pt x="565" y="294"/>
                </a:lnTo>
                <a:lnTo>
                  <a:pt x="501" y="278"/>
                </a:lnTo>
                <a:lnTo>
                  <a:pt x="441" y="263"/>
                </a:lnTo>
                <a:lnTo>
                  <a:pt x="382" y="248"/>
                </a:lnTo>
                <a:lnTo>
                  <a:pt x="330" y="231"/>
                </a:lnTo>
                <a:lnTo>
                  <a:pt x="279" y="215"/>
                </a:lnTo>
                <a:lnTo>
                  <a:pt x="234" y="198"/>
                </a:lnTo>
                <a:lnTo>
                  <a:pt x="191" y="181"/>
                </a:lnTo>
                <a:lnTo>
                  <a:pt x="151" y="162"/>
                </a:lnTo>
                <a:lnTo>
                  <a:pt x="117" y="143"/>
                </a:lnTo>
                <a:lnTo>
                  <a:pt x="87" y="124"/>
                </a:lnTo>
                <a:lnTo>
                  <a:pt x="61" y="103"/>
                </a:lnTo>
                <a:lnTo>
                  <a:pt x="40" y="83"/>
                </a:lnTo>
                <a:lnTo>
                  <a:pt x="23" y="64"/>
                </a:lnTo>
                <a:lnTo>
                  <a:pt x="10" y="43"/>
                </a:lnTo>
                <a:lnTo>
                  <a:pt x="6" y="32"/>
                </a:lnTo>
                <a:lnTo>
                  <a:pt x="2" y="21"/>
                </a:lnTo>
                <a:lnTo>
                  <a:pt x="0" y="11"/>
                </a:lnTo>
                <a:lnTo>
                  <a:pt x="0" y="0"/>
                </a:lnTo>
                <a:lnTo>
                  <a:pt x="0" y="0"/>
                </a:lnTo>
                <a:lnTo>
                  <a:pt x="0" y="122"/>
                </a:lnTo>
                <a:lnTo>
                  <a:pt x="0" y="122"/>
                </a:lnTo>
                <a:lnTo>
                  <a:pt x="0" y="132"/>
                </a:lnTo>
                <a:lnTo>
                  <a:pt x="2" y="143"/>
                </a:lnTo>
                <a:lnTo>
                  <a:pt x="6" y="154"/>
                </a:lnTo>
                <a:lnTo>
                  <a:pt x="10" y="164"/>
                </a:lnTo>
                <a:lnTo>
                  <a:pt x="23" y="184"/>
                </a:lnTo>
                <a:lnTo>
                  <a:pt x="40" y="205"/>
                </a:lnTo>
                <a:lnTo>
                  <a:pt x="61" y="226"/>
                </a:lnTo>
                <a:lnTo>
                  <a:pt x="87" y="245"/>
                </a:lnTo>
                <a:lnTo>
                  <a:pt x="117" y="265"/>
                </a:lnTo>
                <a:lnTo>
                  <a:pt x="151" y="284"/>
                </a:lnTo>
                <a:lnTo>
                  <a:pt x="191" y="301"/>
                </a:lnTo>
                <a:lnTo>
                  <a:pt x="234" y="320"/>
                </a:lnTo>
                <a:lnTo>
                  <a:pt x="279" y="337"/>
                </a:lnTo>
                <a:lnTo>
                  <a:pt x="330" y="354"/>
                </a:lnTo>
                <a:lnTo>
                  <a:pt x="382" y="371"/>
                </a:lnTo>
                <a:lnTo>
                  <a:pt x="441" y="386"/>
                </a:lnTo>
                <a:lnTo>
                  <a:pt x="501" y="401"/>
                </a:lnTo>
                <a:lnTo>
                  <a:pt x="565" y="416"/>
                </a:lnTo>
                <a:lnTo>
                  <a:pt x="631" y="429"/>
                </a:lnTo>
                <a:lnTo>
                  <a:pt x="700" y="442"/>
                </a:lnTo>
                <a:lnTo>
                  <a:pt x="774" y="454"/>
                </a:lnTo>
                <a:lnTo>
                  <a:pt x="849" y="467"/>
                </a:lnTo>
                <a:lnTo>
                  <a:pt x="1009" y="487"/>
                </a:lnTo>
                <a:lnTo>
                  <a:pt x="1177" y="504"/>
                </a:lnTo>
                <a:lnTo>
                  <a:pt x="1353" y="518"/>
                </a:lnTo>
                <a:lnTo>
                  <a:pt x="1538" y="529"/>
                </a:lnTo>
                <a:lnTo>
                  <a:pt x="1730" y="534"/>
                </a:lnTo>
                <a:lnTo>
                  <a:pt x="1925" y="536"/>
                </a:lnTo>
                <a:lnTo>
                  <a:pt x="1925" y="536"/>
                </a:lnTo>
                <a:lnTo>
                  <a:pt x="2123" y="534"/>
                </a:lnTo>
                <a:lnTo>
                  <a:pt x="2313" y="529"/>
                </a:lnTo>
                <a:lnTo>
                  <a:pt x="2498" y="518"/>
                </a:lnTo>
                <a:lnTo>
                  <a:pt x="2674" y="504"/>
                </a:lnTo>
                <a:lnTo>
                  <a:pt x="2844" y="487"/>
                </a:lnTo>
                <a:lnTo>
                  <a:pt x="3002" y="467"/>
                </a:lnTo>
                <a:lnTo>
                  <a:pt x="3077" y="454"/>
                </a:lnTo>
                <a:lnTo>
                  <a:pt x="3151" y="442"/>
                </a:lnTo>
                <a:lnTo>
                  <a:pt x="3220" y="429"/>
                </a:lnTo>
                <a:lnTo>
                  <a:pt x="3288" y="416"/>
                </a:lnTo>
                <a:lnTo>
                  <a:pt x="3352" y="401"/>
                </a:lnTo>
                <a:lnTo>
                  <a:pt x="3412" y="386"/>
                </a:lnTo>
                <a:lnTo>
                  <a:pt x="3469" y="371"/>
                </a:lnTo>
                <a:lnTo>
                  <a:pt x="3523" y="354"/>
                </a:lnTo>
                <a:lnTo>
                  <a:pt x="3572" y="337"/>
                </a:lnTo>
                <a:lnTo>
                  <a:pt x="3619" y="320"/>
                </a:lnTo>
                <a:lnTo>
                  <a:pt x="3660" y="301"/>
                </a:lnTo>
                <a:lnTo>
                  <a:pt x="3700" y="284"/>
                </a:lnTo>
                <a:lnTo>
                  <a:pt x="3734" y="265"/>
                </a:lnTo>
                <a:lnTo>
                  <a:pt x="3764" y="245"/>
                </a:lnTo>
                <a:lnTo>
                  <a:pt x="3790" y="226"/>
                </a:lnTo>
                <a:lnTo>
                  <a:pt x="3813" y="205"/>
                </a:lnTo>
                <a:lnTo>
                  <a:pt x="3830" y="184"/>
                </a:lnTo>
                <a:lnTo>
                  <a:pt x="3841" y="164"/>
                </a:lnTo>
                <a:lnTo>
                  <a:pt x="3845" y="154"/>
                </a:lnTo>
                <a:lnTo>
                  <a:pt x="3849" y="143"/>
                </a:lnTo>
                <a:lnTo>
                  <a:pt x="3851" y="132"/>
                </a:lnTo>
                <a:lnTo>
                  <a:pt x="3851" y="122"/>
                </a:lnTo>
                <a:lnTo>
                  <a:pt x="3851" y="122"/>
                </a:lnTo>
                <a:lnTo>
                  <a:pt x="3849" y="17"/>
                </a:lnTo>
                <a:lnTo>
                  <a:pt x="3849" y="17"/>
                </a:lnTo>
                <a:lnTo>
                  <a:pt x="3847" y="28"/>
                </a:lnTo>
                <a:lnTo>
                  <a:pt x="3843" y="38"/>
                </a:lnTo>
                <a:lnTo>
                  <a:pt x="3832" y="58"/>
                </a:lnTo>
                <a:lnTo>
                  <a:pt x="3817" y="77"/>
                </a:lnTo>
                <a:lnTo>
                  <a:pt x="3798" y="98"/>
                </a:lnTo>
                <a:lnTo>
                  <a:pt x="3773" y="117"/>
                </a:lnTo>
                <a:lnTo>
                  <a:pt x="3745" y="135"/>
                </a:lnTo>
                <a:lnTo>
                  <a:pt x="3713" y="154"/>
                </a:lnTo>
                <a:lnTo>
                  <a:pt x="3677" y="173"/>
                </a:lnTo>
                <a:lnTo>
                  <a:pt x="3638" y="190"/>
                </a:lnTo>
                <a:lnTo>
                  <a:pt x="3595" y="207"/>
                </a:lnTo>
                <a:lnTo>
                  <a:pt x="3546" y="224"/>
                </a:lnTo>
                <a:lnTo>
                  <a:pt x="3497" y="241"/>
                </a:lnTo>
                <a:lnTo>
                  <a:pt x="3442" y="256"/>
                </a:lnTo>
                <a:lnTo>
                  <a:pt x="3384" y="271"/>
                </a:lnTo>
                <a:lnTo>
                  <a:pt x="3324" y="286"/>
                </a:lnTo>
                <a:lnTo>
                  <a:pt x="3262" y="299"/>
                </a:lnTo>
                <a:lnTo>
                  <a:pt x="3194" y="312"/>
                </a:lnTo>
                <a:lnTo>
                  <a:pt x="3126" y="324"/>
                </a:lnTo>
                <a:lnTo>
                  <a:pt x="2979" y="348"/>
                </a:lnTo>
                <a:lnTo>
                  <a:pt x="2823" y="367"/>
                </a:lnTo>
                <a:lnTo>
                  <a:pt x="2657" y="384"/>
                </a:lnTo>
                <a:lnTo>
                  <a:pt x="2484" y="397"/>
                </a:lnTo>
                <a:lnTo>
                  <a:pt x="2304" y="406"/>
                </a:lnTo>
                <a:lnTo>
                  <a:pt x="2117" y="412"/>
                </a:lnTo>
                <a:lnTo>
                  <a:pt x="1925" y="414"/>
                </a:lnTo>
                <a:lnTo>
                  <a:pt x="1925" y="414"/>
                </a:lnTo>
                <a:close/>
              </a:path>
            </a:pathLst>
          </a:custGeom>
          <a:solidFill>
            <a:schemeClr val="bg2">
              <a:lumMod val="25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4" name="Freeform 9"/>
          <p:cNvSpPr>
            <a:spLocks/>
          </p:cNvSpPr>
          <p:nvPr/>
        </p:nvSpPr>
        <p:spPr bwMode="auto">
          <a:xfrm>
            <a:off x="5112087" y="2568278"/>
            <a:ext cx="0" cy="322"/>
          </a:xfrm>
          <a:custGeom>
            <a:avLst/>
            <a:gdLst>
              <a:gd name="T0" fmla="*/ 0 h 6"/>
              <a:gd name="T1" fmla="*/ 0 h 6"/>
              <a:gd name="T2" fmla="*/ 6 h 6"/>
              <a:gd name="T3" fmla="*/ 6 h 6"/>
              <a:gd name="T4" fmla="*/ 0 h 6"/>
              <a:gd name="T5" fmla="*/ 0 h 6"/>
              <a:gd name="T6" fmla="*/ 0 h 6"/>
              <a:gd name="T7" fmla="*/ 0 h 6"/>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6">
                <a:moveTo>
                  <a:pt x="0" y="0"/>
                </a:moveTo>
                <a:lnTo>
                  <a:pt x="0" y="0"/>
                </a:lnTo>
                <a:lnTo>
                  <a:pt x="0" y="6"/>
                </a:lnTo>
                <a:lnTo>
                  <a:pt x="0" y="6"/>
                </a:lnTo>
                <a:lnTo>
                  <a:pt x="0" y="0"/>
                </a:lnTo>
                <a:lnTo>
                  <a:pt x="0" y="0"/>
                </a:lnTo>
                <a:lnTo>
                  <a:pt x="0" y="0"/>
                </a:lnTo>
                <a:lnTo>
                  <a:pt x="0" y="0"/>
                </a:lnTo>
                <a:close/>
              </a:path>
            </a:pathLst>
          </a:custGeom>
          <a:solidFill>
            <a:srgbClr val="FFFFFF"/>
          </a:solidFill>
          <a:ln w="4">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5" name="Freeform 934"/>
          <p:cNvSpPr>
            <a:spLocks/>
          </p:cNvSpPr>
          <p:nvPr/>
        </p:nvSpPr>
        <p:spPr bwMode="auto">
          <a:xfrm>
            <a:off x="5199766" y="2501877"/>
            <a:ext cx="108307" cy="66725"/>
          </a:xfrm>
          <a:custGeom>
            <a:avLst/>
            <a:gdLst>
              <a:gd name="T0" fmla="*/ 0 w 1346"/>
              <a:gd name="T1" fmla="*/ 0 h 830"/>
              <a:gd name="T2" fmla="*/ 459 w 1346"/>
              <a:gd name="T3" fmla="*/ 734 h 830"/>
              <a:gd name="T4" fmla="*/ 1346 w 1346"/>
              <a:gd name="T5" fmla="*/ 830 h 830"/>
              <a:gd name="T6" fmla="*/ 1088 w 1346"/>
              <a:gd name="T7" fmla="*/ 0 h 830"/>
              <a:gd name="T8" fmla="*/ 0 w 1346"/>
              <a:gd name="T9" fmla="*/ 0 h 830"/>
            </a:gdLst>
            <a:ahLst/>
            <a:cxnLst>
              <a:cxn ang="0">
                <a:pos x="T0" y="T1"/>
              </a:cxn>
              <a:cxn ang="0">
                <a:pos x="T2" y="T3"/>
              </a:cxn>
              <a:cxn ang="0">
                <a:pos x="T4" y="T5"/>
              </a:cxn>
              <a:cxn ang="0">
                <a:pos x="T6" y="T7"/>
              </a:cxn>
              <a:cxn ang="0">
                <a:pos x="T8" y="T9"/>
              </a:cxn>
            </a:cxnLst>
            <a:rect l="0" t="0" r="r" b="b"/>
            <a:pathLst>
              <a:path w="1346" h="830">
                <a:moveTo>
                  <a:pt x="0" y="0"/>
                </a:moveTo>
                <a:lnTo>
                  <a:pt x="459" y="734"/>
                </a:lnTo>
                <a:lnTo>
                  <a:pt x="1346" y="830"/>
                </a:lnTo>
                <a:lnTo>
                  <a:pt x="1088" y="0"/>
                </a:lnTo>
                <a:lnTo>
                  <a:pt x="0" y="0"/>
                </a:lnTo>
                <a:close/>
              </a:path>
            </a:pathLst>
          </a:custGeom>
          <a:solidFill>
            <a:schemeClr val="accent5">
              <a:lumMod val="75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55" name="Freeform 954"/>
          <p:cNvSpPr>
            <a:spLocks/>
          </p:cNvSpPr>
          <p:nvPr/>
        </p:nvSpPr>
        <p:spPr bwMode="auto">
          <a:xfrm>
            <a:off x="5038272" y="2143753"/>
            <a:ext cx="413889" cy="375369"/>
          </a:xfrm>
          <a:custGeom>
            <a:avLst/>
            <a:gdLst>
              <a:gd name="T0" fmla="*/ 4723 w 5135"/>
              <a:gd name="T1" fmla="*/ 4658 h 4658"/>
              <a:gd name="T2" fmla="*/ 412 w 5135"/>
              <a:gd name="T3" fmla="*/ 4383 h 4658"/>
              <a:gd name="T4" fmla="*/ 371 w 5135"/>
              <a:gd name="T5" fmla="*/ 4377 h 4658"/>
              <a:gd name="T6" fmla="*/ 290 w 5135"/>
              <a:gd name="T7" fmla="*/ 4356 h 4658"/>
              <a:gd name="T8" fmla="*/ 216 w 5135"/>
              <a:gd name="T9" fmla="*/ 4321 h 4658"/>
              <a:gd name="T10" fmla="*/ 150 w 5135"/>
              <a:gd name="T11" fmla="*/ 4272 h 4658"/>
              <a:gd name="T12" fmla="*/ 94 w 5135"/>
              <a:gd name="T13" fmla="*/ 4212 h 4658"/>
              <a:gd name="T14" fmla="*/ 49 w 5135"/>
              <a:gd name="T15" fmla="*/ 4144 h 4658"/>
              <a:gd name="T16" fmla="*/ 19 w 5135"/>
              <a:gd name="T17" fmla="*/ 4067 h 4658"/>
              <a:gd name="T18" fmla="*/ 2 w 5135"/>
              <a:gd name="T19" fmla="*/ 3986 h 4658"/>
              <a:gd name="T20" fmla="*/ 0 w 5135"/>
              <a:gd name="T21" fmla="*/ 1321 h 4658"/>
              <a:gd name="T22" fmla="*/ 2 w 5135"/>
              <a:gd name="T23" fmla="*/ 1279 h 4658"/>
              <a:gd name="T24" fmla="*/ 17 w 5135"/>
              <a:gd name="T25" fmla="*/ 1200 h 4658"/>
              <a:gd name="T26" fmla="*/ 45 w 5135"/>
              <a:gd name="T27" fmla="*/ 1125 h 4658"/>
              <a:gd name="T28" fmla="*/ 85 w 5135"/>
              <a:gd name="T29" fmla="*/ 1054 h 4658"/>
              <a:gd name="T30" fmla="*/ 137 w 5135"/>
              <a:gd name="T31" fmla="*/ 992 h 4658"/>
              <a:gd name="T32" fmla="*/ 197 w 5135"/>
              <a:gd name="T33" fmla="*/ 939 h 4658"/>
              <a:gd name="T34" fmla="*/ 265 w 5135"/>
              <a:gd name="T35" fmla="*/ 896 h 4658"/>
              <a:gd name="T36" fmla="*/ 341 w 5135"/>
              <a:gd name="T37" fmla="*/ 865 h 4658"/>
              <a:gd name="T38" fmla="*/ 4672 w 5135"/>
              <a:gd name="T39" fmla="*/ 9 h 4658"/>
              <a:gd name="T40" fmla="*/ 4712 w 5135"/>
              <a:gd name="T41" fmla="*/ 2 h 4658"/>
              <a:gd name="T42" fmla="*/ 4753 w 5135"/>
              <a:gd name="T43" fmla="*/ 0 h 4658"/>
              <a:gd name="T44" fmla="*/ 4830 w 5135"/>
              <a:gd name="T45" fmla="*/ 7 h 4658"/>
              <a:gd name="T46" fmla="*/ 4904 w 5135"/>
              <a:gd name="T47" fmla="*/ 30 h 4658"/>
              <a:gd name="T48" fmla="*/ 4968 w 5135"/>
              <a:gd name="T49" fmla="*/ 66 h 4658"/>
              <a:gd name="T50" fmla="*/ 5024 w 5135"/>
              <a:gd name="T51" fmla="*/ 113 h 4658"/>
              <a:gd name="T52" fmla="*/ 5071 w 5135"/>
              <a:gd name="T53" fmla="*/ 171 h 4658"/>
              <a:gd name="T54" fmla="*/ 5105 w 5135"/>
              <a:gd name="T55" fmla="*/ 237 h 4658"/>
              <a:gd name="T56" fmla="*/ 5128 w 5135"/>
              <a:gd name="T57" fmla="*/ 310 h 4658"/>
              <a:gd name="T58" fmla="*/ 5135 w 5135"/>
              <a:gd name="T59" fmla="*/ 389 h 4658"/>
              <a:gd name="T60" fmla="*/ 5135 w 5135"/>
              <a:gd name="T61" fmla="*/ 4244 h 4658"/>
              <a:gd name="T62" fmla="*/ 5128 w 5135"/>
              <a:gd name="T63" fmla="*/ 4326 h 4658"/>
              <a:gd name="T64" fmla="*/ 5103 w 5135"/>
              <a:gd name="T65" fmla="*/ 4404 h 4658"/>
              <a:gd name="T66" fmla="*/ 5066 w 5135"/>
              <a:gd name="T67" fmla="*/ 4475 h 4658"/>
              <a:gd name="T68" fmla="*/ 5015 w 5135"/>
              <a:gd name="T69" fmla="*/ 4535 h 4658"/>
              <a:gd name="T70" fmla="*/ 4953 w 5135"/>
              <a:gd name="T71" fmla="*/ 4586 h 4658"/>
              <a:gd name="T72" fmla="*/ 4883 w 5135"/>
              <a:gd name="T73" fmla="*/ 4624 h 4658"/>
              <a:gd name="T74" fmla="*/ 4806 w 5135"/>
              <a:gd name="T75" fmla="*/ 4648 h 4658"/>
              <a:gd name="T76" fmla="*/ 4723 w 5135"/>
              <a:gd name="T77" fmla="*/ 4658 h 4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35" h="4658">
                <a:moveTo>
                  <a:pt x="4723" y="4658"/>
                </a:moveTo>
                <a:lnTo>
                  <a:pt x="4723" y="4658"/>
                </a:lnTo>
                <a:lnTo>
                  <a:pt x="4695" y="4656"/>
                </a:lnTo>
                <a:lnTo>
                  <a:pt x="412" y="4383"/>
                </a:lnTo>
                <a:lnTo>
                  <a:pt x="412" y="4383"/>
                </a:lnTo>
                <a:lnTo>
                  <a:pt x="371" y="4377"/>
                </a:lnTo>
                <a:lnTo>
                  <a:pt x="329" y="4370"/>
                </a:lnTo>
                <a:lnTo>
                  <a:pt x="290" y="4356"/>
                </a:lnTo>
                <a:lnTo>
                  <a:pt x="252" y="4340"/>
                </a:lnTo>
                <a:lnTo>
                  <a:pt x="216" y="4321"/>
                </a:lnTo>
                <a:lnTo>
                  <a:pt x="181" y="4296"/>
                </a:lnTo>
                <a:lnTo>
                  <a:pt x="150" y="4272"/>
                </a:lnTo>
                <a:lnTo>
                  <a:pt x="120" y="4244"/>
                </a:lnTo>
                <a:lnTo>
                  <a:pt x="94" y="4212"/>
                </a:lnTo>
                <a:lnTo>
                  <a:pt x="70" y="4178"/>
                </a:lnTo>
                <a:lnTo>
                  <a:pt x="49" y="4144"/>
                </a:lnTo>
                <a:lnTo>
                  <a:pt x="32" y="4106"/>
                </a:lnTo>
                <a:lnTo>
                  <a:pt x="19" y="4067"/>
                </a:lnTo>
                <a:lnTo>
                  <a:pt x="7" y="4027"/>
                </a:lnTo>
                <a:lnTo>
                  <a:pt x="2" y="3986"/>
                </a:lnTo>
                <a:lnTo>
                  <a:pt x="0" y="3942"/>
                </a:lnTo>
                <a:lnTo>
                  <a:pt x="0" y="1321"/>
                </a:lnTo>
                <a:lnTo>
                  <a:pt x="0" y="1321"/>
                </a:lnTo>
                <a:lnTo>
                  <a:pt x="2" y="1279"/>
                </a:lnTo>
                <a:lnTo>
                  <a:pt x="7" y="1240"/>
                </a:lnTo>
                <a:lnTo>
                  <a:pt x="17" y="1200"/>
                </a:lnTo>
                <a:lnTo>
                  <a:pt x="28" y="1161"/>
                </a:lnTo>
                <a:lnTo>
                  <a:pt x="45" y="1125"/>
                </a:lnTo>
                <a:lnTo>
                  <a:pt x="64" y="1089"/>
                </a:lnTo>
                <a:lnTo>
                  <a:pt x="85" y="1054"/>
                </a:lnTo>
                <a:lnTo>
                  <a:pt x="109" y="1022"/>
                </a:lnTo>
                <a:lnTo>
                  <a:pt x="137" y="992"/>
                </a:lnTo>
                <a:lnTo>
                  <a:pt x="166" y="963"/>
                </a:lnTo>
                <a:lnTo>
                  <a:pt x="197" y="939"/>
                </a:lnTo>
                <a:lnTo>
                  <a:pt x="231" y="916"/>
                </a:lnTo>
                <a:lnTo>
                  <a:pt x="265" y="896"/>
                </a:lnTo>
                <a:lnTo>
                  <a:pt x="303" y="879"/>
                </a:lnTo>
                <a:lnTo>
                  <a:pt x="341" y="865"/>
                </a:lnTo>
                <a:lnTo>
                  <a:pt x="380" y="856"/>
                </a:lnTo>
                <a:lnTo>
                  <a:pt x="4672" y="9"/>
                </a:lnTo>
                <a:lnTo>
                  <a:pt x="4672" y="9"/>
                </a:lnTo>
                <a:lnTo>
                  <a:pt x="4712" y="2"/>
                </a:lnTo>
                <a:lnTo>
                  <a:pt x="4753" y="0"/>
                </a:lnTo>
                <a:lnTo>
                  <a:pt x="4753" y="0"/>
                </a:lnTo>
                <a:lnTo>
                  <a:pt x="4793" y="2"/>
                </a:lnTo>
                <a:lnTo>
                  <a:pt x="4830" y="7"/>
                </a:lnTo>
                <a:lnTo>
                  <a:pt x="4868" y="17"/>
                </a:lnTo>
                <a:lnTo>
                  <a:pt x="4904" y="30"/>
                </a:lnTo>
                <a:lnTo>
                  <a:pt x="4936" y="47"/>
                </a:lnTo>
                <a:lnTo>
                  <a:pt x="4968" y="66"/>
                </a:lnTo>
                <a:lnTo>
                  <a:pt x="4998" y="88"/>
                </a:lnTo>
                <a:lnTo>
                  <a:pt x="5024" y="113"/>
                </a:lnTo>
                <a:lnTo>
                  <a:pt x="5049" y="141"/>
                </a:lnTo>
                <a:lnTo>
                  <a:pt x="5071" y="171"/>
                </a:lnTo>
                <a:lnTo>
                  <a:pt x="5090" y="203"/>
                </a:lnTo>
                <a:lnTo>
                  <a:pt x="5105" y="237"/>
                </a:lnTo>
                <a:lnTo>
                  <a:pt x="5118" y="273"/>
                </a:lnTo>
                <a:lnTo>
                  <a:pt x="5128" y="310"/>
                </a:lnTo>
                <a:lnTo>
                  <a:pt x="5133" y="350"/>
                </a:lnTo>
                <a:lnTo>
                  <a:pt x="5135" y="389"/>
                </a:lnTo>
                <a:lnTo>
                  <a:pt x="5135" y="4244"/>
                </a:lnTo>
                <a:lnTo>
                  <a:pt x="5135" y="4244"/>
                </a:lnTo>
                <a:lnTo>
                  <a:pt x="5133" y="4285"/>
                </a:lnTo>
                <a:lnTo>
                  <a:pt x="5128" y="4326"/>
                </a:lnTo>
                <a:lnTo>
                  <a:pt x="5116" y="4366"/>
                </a:lnTo>
                <a:lnTo>
                  <a:pt x="5103" y="4404"/>
                </a:lnTo>
                <a:lnTo>
                  <a:pt x="5086" y="4441"/>
                </a:lnTo>
                <a:lnTo>
                  <a:pt x="5066" y="4475"/>
                </a:lnTo>
                <a:lnTo>
                  <a:pt x="5041" y="4507"/>
                </a:lnTo>
                <a:lnTo>
                  <a:pt x="5015" y="4535"/>
                </a:lnTo>
                <a:lnTo>
                  <a:pt x="4985" y="4562"/>
                </a:lnTo>
                <a:lnTo>
                  <a:pt x="4953" y="4586"/>
                </a:lnTo>
                <a:lnTo>
                  <a:pt x="4919" y="4607"/>
                </a:lnTo>
                <a:lnTo>
                  <a:pt x="4883" y="4624"/>
                </a:lnTo>
                <a:lnTo>
                  <a:pt x="4845" y="4639"/>
                </a:lnTo>
                <a:lnTo>
                  <a:pt x="4806" y="4648"/>
                </a:lnTo>
                <a:lnTo>
                  <a:pt x="4765" y="4654"/>
                </a:lnTo>
                <a:lnTo>
                  <a:pt x="4723" y="4658"/>
                </a:lnTo>
                <a:lnTo>
                  <a:pt x="4723" y="4658"/>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6" name="Freeform 955"/>
          <p:cNvSpPr>
            <a:spLocks/>
          </p:cNvSpPr>
          <p:nvPr/>
        </p:nvSpPr>
        <p:spPr bwMode="auto">
          <a:xfrm>
            <a:off x="5048587" y="2160997"/>
            <a:ext cx="379559" cy="340878"/>
          </a:xfrm>
          <a:custGeom>
            <a:avLst/>
            <a:gdLst>
              <a:gd name="T0" fmla="*/ 0 w 4708"/>
              <a:gd name="T1" fmla="*/ 1107 h 4229"/>
              <a:gd name="T2" fmla="*/ 4 w 4708"/>
              <a:gd name="T3" fmla="*/ 1062 h 4229"/>
              <a:gd name="T4" fmla="*/ 15 w 4708"/>
              <a:gd name="T5" fmla="*/ 1020 h 4229"/>
              <a:gd name="T6" fmla="*/ 36 w 4708"/>
              <a:gd name="T7" fmla="*/ 981 h 4229"/>
              <a:gd name="T8" fmla="*/ 60 w 4708"/>
              <a:gd name="T9" fmla="*/ 943 h 4229"/>
              <a:gd name="T10" fmla="*/ 92 w 4708"/>
              <a:gd name="T11" fmla="*/ 911 h 4229"/>
              <a:gd name="T12" fmla="*/ 128 w 4708"/>
              <a:gd name="T13" fmla="*/ 885 h 4229"/>
              <a:gd name="T14" fmla="*/ 167 w 4708"/>
              <a:gd name="T15" fmla="*/ 864 h 4229"/>
              <a:gd name="T16" fmla="*/ 209 w 4708"/>
              <a:gd name="T17" fmla="*/ 851 h 4229"/>
              <a:gd name="T18" fmla="*/ 4499 w 4708"/>
              <a:gd name="T19" fmla="*/ 4 h 4229"/>
              <a:gd name="T20" fmla="*/ 4542 w 4708"/>
              <a:gd name="T21" fmla="*/ 0 h 4229"/>
              <a:gd name="T22" fmla="*/ 4580 w 4708"/>
              <a:gd name="T23" fmla="*/ 4 h 4229"/>
              <a:gd name="T24" fmla="*/ 4616 w 4708"/>
              <a:gd name="T25" fmla="*/ 17 h 4229"/>
              <a:gd name="T26" fmla="*/ 4648 w 4708"/>
              <a:gd name="T27" fmla="*/ 38 h 4229"/>
              <a:gd name="T28" fmla="*/ 4672 w 4708"/>
              <a:gd name="T29" fmla="*/ 64 h 4229"/>
              <a:gd name="T30" fmla="*/ 4693 w 4708"/>
              <a:gd name="T31" fmla="*/ 96 h 4229"/>
              <a:gd name="T32" fmla="*/ 4704 w 4708"/>
              <a:gd name="T33" fmla="*/ 134 h 4229"/>
              <a:gd name="T34" fmla="*/ 4708 w 4708"/>
              <a:gd name="T35" fmla="*/ 175 h 4229"/>
              <a:gd name="T36" fmla="*/ 4708 w 4708"/>
              <a:gd name="T37" fmla="*/ 4030 h 4229"/>
              <a:gd name="T38" fmla="*/ 4704 w 4708"/>
              <a:gd name="T39" fmla="*/ 4073 h 4229"/>
              <a:gd name="T40" fmla="*/ 4691 w 4708"/>
              <a:gd name="T41" fmla="*/ 4110 h 4229"/>
              <a:gd name="T42" fmla="*/ 4672 w 4708"/>
              <a:gd name="T43" fmla="*/ 4146 h 4229"/>
              <a:gd name="T44" fmla="*/ 4646 w 4708"/>
              <a:gd name="T45" fmla="*/ 4176 h 4229"/>
              <a:gd name="T46" fmla="*/ 4614 w 4708"/>
              <a:gd name="T47" fmla="*/ 4201 h 4229"/>
              <a:gd name="T48" fmla="*/ 4578 w 4708"/>
              <a:gd name="T49" fmla="*/ 4218 h 4229"/>
              <a:gd name="T50" fmla="*/ 4539 w 4708"/>
              <a:gd name="T51" fmla="*/ 4227 h 4229"/>
              <a:gd name="T52" fmla="*/ 4495 w 4708"/>
              <a:gd name="T53" fmla="*/ 4229 h 4229"/>
              <a:gd name="T54" fmla="*/ 213 w 4708"/>
              <a:gd name="T55" fmla="*/ 3956 h 4229"/>
              <a:gd name="T56" fmla="*/ 169 w 4708"/>
              <a:gd name="T57" fmla="*/ 3949 h 4229"/>
              <a:gd name="T58" fmla="*/ 130 w 4708"/>
              <a:gd name="T59" fmla="*/ 3934 h 4229"/>
              <a:gd name="T60" fmla="*/ 94 w 4708"/>
              <a:gd name="T61" fmla="*/ 3911 h 4229"/>
              <a:gd name="T62" fmla="*/ 62 w 4708"/>
              <a:gd name="T63" fmla="*/ 3883 h 4229"/>
              <a:gd name="T64" fmla="*/ 36 w 4708"/>
              <a:gd name="T65" fmla="*/ 3851 h 4229"/>
              <a:gd name="T66" fmla="*/ 17 w 4708"/>
              <a:gd name="T67" fmla="*/ 3813 h 4229"/>
              <a:gd name="T68" fmla="*/ 4 w 4708"/>
              <a:gd name="T69" fmla="*/ 3772 h 4229"/>
              <a:gd name="T70" fmla="*/ 0 w 4708"/>
              <a:gd name="T71" fmla="*/ 3728 h 4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08" h="4229">
                <a:moveTo>
                  <a:pt x="0" y="1107"/>
                </a:moveTo>
                <a:lnTo>
                  <a:pt x="0" y="1107"/>
                </a:lnTo>
                <a:lnTo>
                  <a:pt x="0" y="1084"/>
                </a:lnTo>
                <a:lnTo>
                  <a:pt x="4" y="1062"/>
                </a:lnTo>
                <a:lnTo>
                  <a:pt x="9" y="1041"/>
                </a:lnTo>
                <a:lnTo>
                  <a:pt x="15" y="1020"/>
                </a:lnTo>
                <a:lnTo>
                  <a:pt x="24" y="1000"/>
                </a:lnTo>
                <a:lnTo>
                  <a:pt x="36" y="981"/>
                </a:lnTo>
                <a:lnTo>
                  <a:pt x="47" y="962"/>
                </a:lnTo>
                <a:lnTo>
                  <a:pt x="60" y="943"/>
                </a:lnTo>
                <a:lnTo>
                  <a:pt x="75" y="926"/>
                </a:lnTo>
                <a:lnTo>
                  <a:pt x="92" y="911"/>
                </a:lnTo>
                <a:lnTo>
                  <a:pt x="109" y="896"/>
                </a:lnTo>
                <a:lnTo>
                  <a:pt x="128" y="885"/>
                </a:lnTo>
                <a:lnTo>
                  <a:pt x="147" y="874"/>
                </a:lnTo>
                <a:lnTo>
                  <a:pt x="167" y="864"/>
                </a:lnTo>
                <a:lnTo>
                  <a:pt x="188" y="857"/>
                </a:lnTo>
                <a:lnTo>
                  <a:pt x="209" y="851"/>
                </a:lnTo>
                <a:lnTo>
                  <a:pt x="4499" y="4"/>
                </a:lnTo>
                <a:lnTo>
                  <a:pt x="4499" y="4"/>
                </a:lnTo>
                <a:lnTo>
                  <a:pt x="4522" y="0"/>
                </a:lnTo>
                <a:lnTo>
                  <a:pt x="4542" y="0"/>
                </a:lnTo>
                <a:lnTo>
                  <a:pt x="4561" y="0"/>
                </a:lnTo>
                <a:lnTo>
                  <a:pt x="4580" y="4"/>
                </a:lnTo>
                <a:lnTo>
                  <a:pt x="4599" y="10"/>
                </a:lnTo>
                <a:lnTo>
                  <a:pt x="4616" y="17"/>
                </a:lnTo>
                <a:lnTo>
                  <a:pt x="4633" y="27"/>
                </a:lnTo>
                <a:lnTo>
                  <a:pt x="4648" y="38"/>
                </a:lnTo>
                <a:lnTo>
                  <a:pt x="4661" y="49"/>
                </a:lnTo>
                <a:lnTo>
                  <a:pt x="4672" y="64"/>
                </a:lnTo>
                <a:lnTo>
                  <a:pt x="4684" y="79"/>
                </a:lnTo>
                <a:lnTo>
                  <a:pt x="4693" y="96"/>
                </a:lnTo>
                <a:lnTo>
                  <a:pt x="4699" y="115"/>
                </a:lnTo>
                <a:lnTo>
                  <a:pt x="4704" y="134"/>
                </a:lnTo>
                <a:lnTo>
                  <a:pt x="4708" y="155"/>
                </a:lnTo>
                <a:lnTo>
                  <a:pt x="4708" y="175"/>
                </a:lnTo>
                <a:lnTo>
                  <a:pt x="4708" y="4030"/>
                </a:lnTo>
                <a:lnTo>
                  <a:pt x="4708" y="4030"/>
                </a:lnTo>
                <a:lnTo>
                  <a:pt x="4708" y="4050"/>
                </a:lnTo>
                <a:lnTo>
                  <a:pt x="4704" y="4073"/>
                </a:lnTo>
                <a:lnTo>
                  <a:pt x="4699" y="4092"/>
                </a:lnTo>
                <a:lnTo>
                  <a:pt x="4691" y="4110"/>
                </a:lnTo>
                <a:lnTo>
                  <a:pt x="4684" y="4129"/>
                </a:lnTo>
                <a:lnTo>
                  <a:pt x="4672" y="4146"/>
                </a:lnTo>
                <a:lnTo>
                  <a:pt x="4659" y="4161"/>
                </a:lnTo>
                <a:lnTo>
                  <a:pt x="4646" y="4176"/>
                </a:lnTo>
                <a:lnTo>
                  <a:pt x="4631" y="4190"/>
                </a:lnTo>
                <a:lnTo>
                  <a:pt x="4614" y="4201"/>
                </a:lnTo>
                <a:lnTo>
                  <a:pt x="4597" y="4210"/>
                </a:lnTo>
                <a:lnTo>
                  <a:pt x="4578" y="4218"/>
                </a:lnTo>
                <a:lnTo>
                  <a:pt x="4559" y="4223"/>
                </a:lnTo>
                <a:lnTo>
                  <a:pt x="4539" y="4227"/>
                </a:lnTo>
                <a:lnTo>
                  <a:pt x="4518" y="4229"/>
                </a:lnTo>
                <a:lnTo>
                  <a:pt x="4495" y="4229"/>
                </a:lnTo>
                <a:lnTo>
                  <a:pt x="213" y="3956"/>
                </a:lnTo>
                <a:lnTo>
                  <a:pt x="213" y="3956"/>
                </a:lnTo>
                <a:lnTo>
                  <a:pt x="190" y="3952"/>
                </a:lnTo>
                <a:lnTo>
                  <a:pt x="169" y="3949"/>
                </a:lnTo>
                <a:lnTo>
                  <a:pt x="149" y="3941"/>
                </a:lnTo>
                <a:lnTo>
                  <a:pt x="130" y="3934"/>
                </a:lnTo>
                <a:lnTo>
                  <a:pt x="111" y="3924"/>
                </a:lnTo>
                <a:lnTo>
                  <a:pt x="94" y="3911"/>
                </a:lnTo>
                <a:lnTo>
                  <a:pt x="77" y="3898"/>
                </a:lnTo>
                <a:lnTo>
                  <a:pt x="62" y="3883"/>
                </a:lnTo>
                <a:lnTo>
                  <a:pt x="49" y="3868"/>
                </a:lnTo>
                <a:lnTo>
                  <a:pt x="36" y="3851"/>
                </a:lnTo>
                <a:lnTo>
                  <a:pt x="24" y="3832"/>
                </a:lnTo>
                <a:lnTo>
                  <a:pt x="17" y="3813"/>
                </a:lnTo>
                <a:lnTo>
                  <a:pt x="9" y="3792"/>
                </a:lnTo>
                <a:lnTo>
                  <a:pt x="4" y="3772"/>
                </a:lnTo>
                <a:lnTo>
                  <a:pt x="0" y="3751"/>
                </a:lnTo>
                <a:lnTo>
                  <a:pt x="0" y="3728"/>
                </a:lnTo>
                <a:lnTo>
                  <a:pt x="0" y="1107"/>
                </a:lnTo>
                <a:close/>
              </a:path>
            </a:pathLst>
          </a:custGeom>
          <a:solidFill>
            <a:schemeClr val="accent5">
              <a:lumMod val="75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57" name="Freeform 21"/>
          <p:cNvSpPr>
            <a:spLocks/>
          </p:cNvSpPr>
          <p:nvPr/>
        </p:nvSpPr>
        <p:spPr bwMode="auto">
          <a:xfrm>
            <a:off x="5062285" y="2180984"/>
            <a:ext cx="353288" cy="79941"/>
          </a:xfrm>
          <a:custGeom>
            <a:avLst/>
            <a:gdLst>
              <a:gd name="T0" fmla="*/ 4385 w 4385"/>
              <a:gd name="T1" fmla="*/ 0 h 992"/>
              <a:gd name="T2" fmla="*/ 0 w 4385"/>
              <a:gd name="T3" fmla="*/ 832 h 992"/>
              <a:gd name="T4" fmla="*/ 0 w 4385"/>
              <a:gd name="T5" fmla="*/ 992 h 992"/>
              <a:gd name="T6" fmla="*/ 4385 w 4385"/>
              <a:gd name="T7" fmla="*/ 244 h 992"/>
              <a:gd name="T8" fmla="*/ 4385 w 4385"/>
              <a:gd name="T9" fmla="*/ 0 h 992"/>
            </a:gdLst>
            <a:ahLst/>
            <a:cxnLst>
              <a:cxn ang="0">
                <a:pos x="T0" y="T1"/>
              </a:cxn>
              <a:cxn ang="0">
                <a:pos x="T2" y="T3"/>
              </a:cxn>
              <a:cxn ang="0">
                <a:pos x="T4" y="T5"/>
              </a:cxn>
              <a:cxn ang="0">
                <a:pos x="T6" y="T7"/>
              </a:cxn>
              <a:cxn ang="0">
                <a:pos x="T8" y="T9"/>
              </a:cxn>
            </a:cxnLst>
            <a:rect l="0" t="0" r="r" b="b"/>
            <a:pathLst>
              <a:path w="4385" h="992">
                <a:moveTo>
                  <a:pt x="4385" y="0"/>
                </a:moveTo>
                <a:lnTo>
                  <a:pt x="0" y="832"/>
                </a:lnTo>
                <a:lnTo>
                  <a:pt x="0" y="992"/>
                </a:lnTo>
                <a:lnTo>
                  <a:pt x="4385" y="244"/>
                </a:lnTo>
                <a:lnTo>
                  <a:pt x="4385" y="0"/>
                </a:lnTo>
                <a:close/>
              </a:path>
            </a:pathLst>
          </a:custGeom>
          <a:solidFill>
            <a:schemeClr val="accent5"/>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58" name="Freeform 22"/>
          <p:cNvSpPr>
            <a:spLocks/>
          </p:cNvSpPr>
          <p:nvPr/>
        </p:nvSpPr>
        <p:spPr bwMode="auto">
          <a:xfrm>
            <a:off x="5194930" y="2270433"/>
            <a:ext cx="184542" cy="33846"/>
          </a:xfrm>
          <a:custGeom>
            <a:avLst/>
            <a:gdLst>
              <a:gd name="T0" fmla="*/ 2290 w 2290"/>
              <a:gd name="T1" fmla="*/ 0 h 422"/>
              <a:gd name="T2" fmla="*/ 0 w 2290"/>
              <a:gd name="T3" fmla="*/ 241 h 422"/>
              <a:gd name="T4" fmla="*/ 0 w 2290"/>
              <a:gd name="T5" fmla="*/ 422 h 422"/>
              <a:gd name="T6" fmla="*/ 2290 w 2290"/>
              <a:gd name="T7" fmla="*/ 224 h 422"/>
              <a:gd name="T8" fmla="*/ 2290 w 2290"/>
              <a:gd name="T9" fmla="*/ 0 h 422"/>
            </a:gdLst>
            <a:ahLst/>
            <a:cxnLst>
              <a:cxn ang="0">
                <a:pos x="T0" y="T1"/>
              </a:cxn>
              <a:cxn ang="0">
                <a:pos x="T2" y="T3"/>
              </a:cxn>
              <a:cxn ang="0">
                <a:pos x="T4" y="T5"/>
              </a:cxn>
              <a:cxn ang="0">
                <a:pos x="T6" y="T7"/>
              </a:cxn>
              <a:cxn ang="0">
                <a:pos x="T8" y="T9"/>
              </a:cxn>
            </a:cxnLst>
            <a:rect l="0" t="0" r="r" b="b"/>
            <a:pathLst>
              <a:path w="2290" h="422">
                <a:moveTo>
                  <a:pt x="2290" y="0"/>
                </a:moveTo>
                <a:lnTo>
                  <a:pt x="0" y="241"/>
                </a:lnTo>
                <a:lnTo>
                  <a:pt x="0" y="422"/>
                </a:lnTo>
                <a:lnTo>
                  <a:pt x="2290" y="224"/>
                </a:lnTo>
                <a:lnTo>
                  <a:pt x="2290" y="0"/>
                </a:lnTo>
                <a:close/>
              </a:path>
            </a:pathLst>
          </a:custGeom>
          <a:noFill/>
          <a:ln w="4">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59" name="Freeform 24"/>
          <p:cNvSpPr>
            <a:spLocks/>
          </p:cNvSpPr>
          <p:nvPr/>
        </p:nvSpPr>
        <p:spPr bwMode="auto">
          <a:xfrm>
            <a:off x="5062285" y="2217087"/>
            <a:ext cx="353288" cy="269157"/>
          </a:xfrm>
          <a:custGeom>
            <a:avLst/>
            <a:gdLst>
              <a:gd name="T0" fmla="*/ 4385 w 4385"/>
              <a:gd name="T1" fmla="*/ 0 h 3338"/>
              <a:gd name="T2" fmla="*/ 0 w 4385"/>
              <a:gd name="T3" fmla="*/ 726 h 3338"/>
              <a:gd name="T4" fmla="*/ 0 w 4385"/>
              <a:gd name="T5" fmla="*/ 3105 h 3338"/>
              <a:gd name="T6" fmla="*/ 4385 w 4385"/>
              <a:gd name="T7" fmla="*/ 3338 h 3338"/>
              <a:gd name="T8" fmla="*/ 4385 w 4385"/>
              <a:gd name="T9" fmla="*/ 0 h 3338"/>
            </a:gdLst>
            <a:ahLst/>
            <a:cxnLst>
              <a:cxn ang="0">
                <a:pos x="T0" y="T1"/>
              </a:cxn>
              <a:cxn ang="0">
                <a:pos x="T2" y="T3"/>
              </a:cxn>
              <a:cxn ang="0">
                <a:pos x="T4" y="T5"/>
              </a:cxn>
              <a:cxn ang="0">
                <a:pos x="T6" y="T7"/>
              </a:cxn>
              <a:cxn ang="0">
                <a:pos x="T8" y="T9"/>
              </a:cxn>
            </a:cxnLst>
            <a:rect l="0" t="0" r="r" b="b"/>
            <a:pathLst>
              <a:path w="4385" h="3338">
                <a:moveTo>
                  <a:pt x="4385" y="0"/>
                </a:moveTo>
                <a:lnTo>
                  <a:pt x="0" y="726"/>
                </a:lnTo>
                <a:lnTo>
                  <a:pt x="0" y="3105"/>
                </a:lnTo>
                <a:lnTo>
                  <a:pt x="4385" y="3338"/>
                </a:lnTo>
                <a:lnTo>
                  <a:pt x="4385" y="0"/>
                </a:lnTo>
                <a:close/>
              </a:path>
            </a:pathLst>
          </a:custGeom>
          <a:solidFill>
            <a:schemeClr val="accent5">
              <a:lumMod val="75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60" name="Freeform 25"/>
          <p:cNvSpPr>
            <a:spLocks/>
          </p:cNvSpPr>
          <p:nvPr/>
        </p:nvSpPr>
        <p:spPr bwMode="auto">
          <a:xfrm>
            <a:off x="5072602" y="2237393"/>
            <a:ext cx="327501" cy="231120"/>
          </a:xfrm>
          <a:custGeom>
            <a:avLst/>
            <a:gdLst>
              <a:gd name="T0" fmla="*/ 0 w 4065"/>
              <a:gd name="T1" fmla="*/ 2687 h 2868"/>
              <a:gd name="T2" fmla="*/ 0 w 4065"/>
              <a:gd name="T3" fmla="*/ 570 h 2868"/>
              <a:gd name="T4" fmla="*/ 4065 w 4065"/>
              <a:gd name="T5" fmla="*/ 0 h 2868"/>
              <a:gd name="T6" fmla="*/ 4065 w 4065"/>
              <a:gd name="T7" fmla="*/ 2868 h 2868"/>
              <a:gd name="T8" fmla="*/ 0 w 4065"/>
              <a:gd name="T9" fmla="*/ 2687 h 2868"/>
            </a:gdLst>
            <a:ahLst/>
            <a:cxnLst>
              <a:cxn ang="0">
                <a:pos x="T0" y="T1"/>
              </a:cxn>
              <a:cxn ang="0">
                <a:pos x="T2" y="T3"/>
              </a:cxn>
              <a:cxn ang="0">
                <a:pos x="T4" y="T5"/>
              </a:cxn>
              <a:cxn ang="0">
                <a:pos x="T6" y="T7"/>
              </a:cxn>
              <a:cxn ang="0">
                <a:pos x="T8" y="T9"/>
              </a:cxn>
            </a:cxnLst>
            <a:rect l="0" t="0" r="r" b="b"/>
            <a:pathLst>
              <a:path w="4065" h="2868">
                <a:moveTo>
                  <a:pt x="0" y="2687"/>
                </a:moveTo>
                <a:lnTo>
                  <a:pt x="0" y="570"/>
                </a:lnTo>
                <a:lnTo>
                  <a:pt x="4065" y="0"/>
                </a:lnTo>
                <a:lnTo>
                  <a:pt x="4065" y="2868"/>
                </a:lnTo>
                <a:lnTo>
                  <a:pt x="0" y="2687"/>
                </a:lnTo>
                <a:close/>
              </a:path>
            </a:pathLst>
          </a:custGeom>
          <a:solidFill>
            <a:schemeClr val="accent5">
              <a:lumMod val="50000"/>
            </a:schemeClr>
          </a:solidFill>
          <a:ln w="4">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86" name="Group 985"/>
          <p:cNvGrpSpPr/>
          <p:nvPr/>
        </p:nvGrpSpPr>
        <p:grpSpPr>
          <a:xfrm>
            <a:off x="4682883" y="2167234"/>
            <a:ext cx="485644" cy="930267"/>
            <a:chOff x="11118628" y="5237167"/>
            <a:chExt cx="542316" cy="1038823"/>
          </a:xfrm>
          <a:solidFill>
            <a:schemeClr val="bg1"/>
          </a:solidFill>
        </p:grpSpPr>
        <p:sp>
          <p:nvSpPr>
            <p:cNvPr id="987" name="Freeform 11"/>
            <p:cNvSpPr>
              <a:spLocks/>
            </p:cNvSpPr>
            <p:nvPr/>
          </p:nvSpPr>
          <p:spPr bwMode="auto">
            <a:xfrm>
              <a:off x="11118628" y="5434499"/>
              <a:ext cx="542316" cy="841491"/>
            </a:xfrm>
            <a:custGeom>
              <a:avLst/>
              <a:gdLst>
                <a:gd name="T0" fmla="*/ 358 w 1085"/>
                <a:gd name="T1" fmla="*/ 46 h 1681"/>
                <a:gd name="T2" fmla="*/ 397 w 1085"/>
                <a:gd name="T3" fmla="*/ 18 h 1681"/>
                <a:gd name="T4" fmla="*/ 443 w 1085"/>
                <a:gd name="T5" fmla="*/ 4 h 1681"/>
                <a:gd name="T6" fmla="*/ 526 w 1085"/>
                <a:gd name="T7" fmla="*/ 0 h 1681"/>
                <a:gd name="T8" fmla="*/ 590 w 1085"/>
                <a:gd name="T9" fmla="*/ 0 h 1681"/>
                <a:gd name="T10" fmla="*/ 740 w 1085"/>
                <a:gd name="T11" fmla="*/ 0 h 1681"/>
                <a:gd name="T12" fmla="*/ 865 w 1085"/>
                <a:gd name="T13" fmla="*/ 5 h 1681"/>
                <a:gd name="T14" fmla="*/ 938 w 1085"/>
                <a:gd name="T15" fmla="*/ 19 h 1681"/>
                <a:gd name="T16" fmla="*/ 984 w 1085"/>
                <a:gd name="T17" fmla="*/ 36 h 1681"/>
                <a:gd name="T18" fmla="*/ 1023 w 1085"/>
                <a:gd name="T19" fmla="*/ 61 h 1681"/>
                <a:gd name="T20" fmla="*/ 1050 w 1085"/>
                <a:gd name="T21" fmla="*/ 94 h 1681"/>
                <a:gd name="T22" fmla="*/ 1068 w 1085"/>
                <a:gd name="T23" fmla="*/ 136 h 1681"/>
                <a:gd name="T24" fmla="*/ 1082 w 1085"/>
                <a:gd name="T25" fmla="*/ 210 h 1681"/>
                <a:gd name="T26" fmla="*/ 1084 w 1085"/>
                <a:gd name="T27" fmla="*/ 368 h 1681"/>
                <a:gd name="T28" fmla="*/ 1084 w 1085"/>
                <a:gd name="T29" fmla="*/ 690 h 1681"/>
                <a:gd name="T30" fmla="*/ 1082 w 1085"/>
                <a:gd name="T31" fmla="*/ 762 h 1681"/>
                <a:gd name="T32" fmla="*/ 1079 w 1085"/>
                <a:gd name="T33" fmla="*/ 783 h 1681"/>
                <a:gd name="T34" fmla="*/ 1054 w 1085"/>
                <a:gd name="T35" fmla="*/ 811 h 1681"/>
                <a:gd name="T36" fmla="*/ 1018 w 1085"/>
                <a:gd name="T37" fmla="*/ 824 h 1681"/>
                <a:gd name="T38" fmla="*/ 980 w 1085"/>
                <a:gd name="T39" fmla="*/ 819 h 1681"/>
                <a:gd name="T40" fmla="*/ 953 w 1085"/>
                <a:gd name="T41" fmla="*/ 794 h 1681"/>
                <a:gd name="T42" fmla="*/ 947 w 1085"/>
                <a:gd name="T43" fmla="*/ 775 h 1681"/>
                <a:gd name="T44" fmla="*/ 944 w 1085"/>
                <a:gd name="T45" fmla="*/ 706 h 1681"/>
                <a:gd name="T46" fmla="*/ 943 w 1085"/>
                <a:gd name="T47" fmla="*/ 398 h 1681"/>
                <a:gd name="T48" fmla="*/ 891 w 1085"/>
                <a:gd name="T49" fmla="*/ 274 h 1681"/>
                <a:gd name="T50" fmla="*/ 891 w 1085"/>
                <a:gd name="T51" fmla="*/ 1573 h 1681"/>
                <a:gd name="T52" fmla="*/ 890 w 1085"/>
                <a:gd name="T53" fmla="*/ 1600 h 1681"/>
                <a:gd name="T54" fmla="*/ 874 w 1085"/>
                <a:gd name="T55" fmla="*/ 1636 h 1681"/>
                <a:gd name="T56" fmla="*/ 849 w 1085"/>
                <a:gd name="T57" fmla="*/ 1663 h 1681"/>
                <a:gd name="T58" fmla="*/ 814 w 1085"/>
                <a:gd name="T59" fmla="*/ 1679 h 1681"/>
                <a:gd name="T60" fmla="*/ 775 w 1085"/>
                <a:gd name="T61" fmla="*/ 1680 h 1681"/>
                <a:gd name="T62" fmla="*/ 749 w 1085"/>
                <a:gd name="T63" fmla="*/ 1672 h 1681"/>
                <a:gd name="T64" fmla="*/ 731 w 1085"/>
                <a:gd name="T65" fmla="*/ 1665 h 1681"/>
                <a:gd name="T66" fmla="*/ 721 w 1085"/>
                <a:gd name="T67" fmla="*/ 1650 h 1681"/>
                <a:gd name="T68" fmla="*/ 710 w 1085"/>
                <a:gd name="T69" fmla="*/ 1616 h 1681"/>
                <a:gd name="T70" fmla="*/ 707 w 1085"/>
                <a:gd name="T71" fmla="*/ 1495 h 1681"/>
                <a:gd name="T72" fmla="*/ 707 w 1085"/>
                <a:gd name="T73" fmla="*/ 1016 h 1681"/>
                <a:gd name="T74" fmla="*/ 703 w 1085"/>
                <a:gd name="T75" fmla="*/ 825 h 1681"/>
                <a:gd name="T76" fmla="*/ 655 w 1085"/>
                <a:gd name="T77" fmla="*/ 917 h 1681"/>
                <a:gd name="T78" fmla="*/ 655 w 1085"/>
                <a:gd name="T79" fmla="*/ 1411 h 1681"/>
                <a:gd name="T80" fmla="*/ 654 w 1085"/>
                <a:gd name="T81" fmla="*/ 1609 h 1681"/>
                <a:gd name="T82" fmla="*/ 645 w 1085"/>
                <a:gd name="T83" fmla="*/ 1635 h 1681"/>
                <a:gd name="T84" fmla="*/ 629 w 1085"/>
                <a:gd name="T85" fmla="*/ 1656 h 1681"/>
                <a:gd name="T86" fmla="*/ 601 w 1085"/>
                <a:gd name="T87" fmla="*/ 1672 h 1681"/>
                <a:gd name="T88" fmla="*/ 549 w 1085"/>
                <a:gd name="T89" fmla="*/ 1680 h 1681"/>
                <a:gd name="T90" fmla="*/ 501 w 1085"/>
                <a:gd name="T91" fmla="*/ 1665 h 1681"/>
                <a:gd name="T92" fmla="*/ 482 w 1085"/>
                <a:gd name="T93" fmla="*/ 1648 h 1681"/>
                <a:gd name="T94" fmla="*/ 469 w 1085"/>
                <a:gd name="T95" fmla="*/ 1627 h 1681"/>
                <a:gd name="T96" fmla="*/ 463 w 1085"/>
                <a:gd name="T97" fmla="*/ 1600 h 1681"/>
                <a:gd name="T98" fmla="*/ 461 w 1085"/>
                <a:gd name="T99" fmla="*/ 1241 h 1681"/>
                <a:gd name="T100" fmla="*/ 461 w 1085"/>
                <a:gd name="T101" fmla="*/ 190 h 1681"/>
                <a:gd name="T102" fmla="*/ 377 w 1085"/>
                <a:gd name="T103" fmla="*/ 285 h 1681"/>
                <a:gd name="T104" fmla="*/ 216 w 1085"/>
                <a:gd name="T105" fmla="*/ 482 h 1681"/>
                <a:gd name="T106" fmla="*/ 129 w 1085"/>
                <a:gd name="T107" fmla="*/ 575 h 1681"/>
                <a:gd name="T108" fmla="*/ 110 w 1085"/>
                <a:gd name="T109" fmla="*/ 586 h 1681"/>
                <a:gd name="T110" fmla="*/ 75 w 1085"/>
                <a:gd name="T111" fmla="*/ 590 h 1681"/>
                <a:gd name="T112" fmla="*/ 38 w 1085"/>
                <a:gd name="T113" fmla="*/ 575 h 1681"/>
                <a:gd name="T114" fmla="*/ 11 w 1085"/>
                <a:gd name="T115" fmla="*/ 544 h 1681"/>
                <a:gd name="T116" fmla="*/ 0 w 1085"/>
                <a:gd name="T117" fmla="*/ 504 h 1681"/>
                <a:gd name="T118" fmla="*/ 11 w 1085"/>
                <a:gd name="T119" fmla="*/ 469 h 1681"/>
                <a:gd name="T120" fmla="*/ 56 w 1085"/>
                <a:gd name="T121" fmla="*/ 411 h 1681"/>
                <a:gd name="T122" fmla="*/ 264 w 1085"/>
                <a:gd name="T123" fmla="*/ 160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5" h="1681">
                  <a:moveTo>
                    <a:pt x="346" y="59"/>
                  </a:moveTo>
                  <a:lnTo>
                    <a:pt x="346" y="59"/>
                  </a:lnTo>
                  <a:lnTo>
                    <a:pt x="358" y="46"/>
                  </a:lnTo>
                  <a:lnTo>
                    <a:pt x="370" y="35"/>
                  </a:lnTo>
                  <a:lnTo>
                    <a:pt x="382" y="26"/>
                  </a:lnTo>
                  <a:lnTo>
                    <a:pt x="397" y="18"/>
                  </a:lnTo>
                  <a:lnTo>
                    <a:pt x="411" y="12"/>
                  </a:lnTo>
                  <a:lnTo>
                    <a:pt x="426" y="8"/>
                  </a:lnTo>
                  <a:lnTo>
                    <a:pt x="443" y="4"/>
                  </a:lnTo>
                  <a:lnTo>
                    <a:pt x="459" y="1"/>
                  </a:lnTo>
                  <a:lnTo>
                    <a:pt x="492" y="0"/>
                  </a:lnTo>
                  <a:lnTo>
                    <a:pt x="526" y="0"/>
                  </a:lnTo>
                  <a:lnTo>
                    <a:pt x="558" y="0"/>
                  </a:lnTo>
                  <a:lnTo>
                    <a:pt x="590" y="0"/>
                  </a:lnTo>
                  <a:lnTo>
                    <a:pt x="590" y="0"/>
                  </a:lnTo>
                  <a:lnTo>
                    <a:pt x="641" y="1"/>
                  </a:lnTo>
                  <a:lnTo>
                    <a:pt x="690" y="1"/>
                  </a:lnTo>
                  <a:lnTo>
                    <a:pt x="740" y="0"/>
                  </a:lnTo>
                  <a:lnTo>
                    <a:pt x="791" y="0"/>
                  </a:lnTo>
                  <a:lnTo>
                    <a:pt x="840" y="2"/>
                  </a:lnTo>
                  <a:lnTo>
                    <a:pt x="865" y="5"/>
                  </a:lnTo>
                  <a:lnTo>
                    <a:pt x="889" y="9"/>
                  </a:lnTo>
                  <a:lnTo>
                    <a:pt x="913" y="14"/>
                  </a:lnTo>
                  <a:lnTo>
                    <a:pt x="938" y="19"/>
                  </a:lnTo>
                  <a:lnTo>
                    <a:pt x="961" y="27"/>
                  </a:lnTo>
                  <a:lnTo>
                    <a:pt x="984" y="36"/>
                  </a:lnTo>
                  <a:lnTo>
                    <a:pt x="984" y="36"/>
                  </a:lnTo>
                  <a:lnTo>
                    <a:pt x="998" y="43"/>
                  </a:lnTo>
                  <a:lnTo>
                    <a:pt x="1011" y="50"/>
                  </a:lnTo>
                  <a:lnTo>
                    <a:pt x="1023" y="61"/>
                  </a:lnTo>
                  <a:lnTo>
                    <a:pt x="1033" y="71"/>
                  </a:lnTo>
                  <a:lnTo>
                    <a:pt x="1042" y="83"/>
                  </a:lnTo>
                  <a:lnTo>
                    <a:pt x="1050" y="94"/>
                  </a:lnTo>
                  <a:lnTo>
                    <a:pt x="1057" y="108"/>
                  </a:lnTo>
                  <a:lnTo>
                    <a:pt x="1063" y="121"/>
                  </a:lnTo>
                  <a:lnTo>
                    <a:pt x="1068" y="136"/>
                  </a:lnTo>
                  <a:lnTo>
                    <a:pt x="1072" y="151"/>
                  </a:lnTo>
                  <a:lnTo>
                    <a:pt x="1079" y="181"/>
                  </a:lnTo>
                  <a:lnTo>
                    <a:pt x="1082" y="210"/>
                  </a:lnTo>
                  <a:lnTo>
                    <a:pt x="1085" y="240"/>
                  </a:lnTo>
                  <a:lnTo>
                    <a:pt x="1085" y="240"/>
                  </a:lnTo>
                  <a:lnTo>
                    <a:pt x="1084" y="368"/>
                  </a:lnTo>
                  <a:lnTo>
                    <a:pt x="1085" y="497"/>
                  </a:lnTo>
                  <a:lnTo>
                    <a:pt x="1085" y="626"/>
                  </a:lnTo>
                  <a:lnTo>
                    <a:pt x="1084" y="690"/>
                  </a:lnTo>
                  <a:lnTo>
                    <a:pt x="1082" y="754"/>
                  </a:lnTo>
                  <a:lnTo>
                    <a:pt x="1082" y="754"/>
                  </a:lnTo>
                  <a:lnTo>
                    <a:pt x="1082" y="762"/>
                  </a:lnTo>
                  <a:lnTo>
                    <a:pt x="1082" y="770"/>
                  </a:lnTo>
                  <a:lnTo>
                    <a:pt x="1081" y="776"/>
                  </a:lnTo>
                  <a:lnTo>
                    <a:pt x="1079" y="783"/>
                  </a:lnTo>
                  <a:lnTo>
                    <a:pt x="1072" y="794"/>
                  </a:lnTo>
                  <a:lnTo>
                    <a:pt x="1064" y="803"/>
                  </a:lnTo>
                  <a:lnTo>
                    <a:pt x="1054" y="811"/>
                  </a:lnTo>
                  <a:lnTo>
                    <a:pt x="1044" y="817"/>
                  </a:lnTo>
                  <a:lnTo>
                    <a:pt x="1031" y="821"/>
                  </a:lnTo>
                  <a:lnTo>
                    <a:pt x="1018" y="824"/>
                  </a:lnTo>
                  <a:lnTo>
                    <a:pt x="1005" y="824"/>
                  </a:lnTo>
                  <a:lnTo>
                    <a:pt x="992" y="823"/>
                  </a:lnTo>
                  <a:lnTo>
                    <a:pt x="980" y="819"/>
                  </a:lnTo>
                  <a:lnTo>
                    <a:pt x="970" y="812"/>
                  </a:lnTo>
                  <a:lnTo>
                    <a:pt x="961" y="804"/>
                  </a:lnTo>
                  <a:lnTo>
                    <a:pt x="953" y="794"/>
                  </a:lnTo>
                  <a:lnTo>
                    <a:pt x="951" y="788"/>
                  </a:lnTo>
                  <a:lnTo>
                    <a:pt x="948" y="781"/>
                  </a:lnTo>
                  <a:lnTo>
                    <a:pt x="947" y="775"/>
                  </a:lnTo>
                  <a:lnTo>
                    <a:pt x="946" y="767"/>
                  </a:lnTo>
                  <a:lnTo>
                    <a:pt x="946" y="767"/>
                  </a:lnTo>
                  <a:lnTo>
                    <a:pt x="944" y="706"/>
                  </a:lnTo>
                  <a:lnTo>
                    <a:pt x="943" y="644"/>
                  </a:lnTo>
                  <a:lnTo>
                    <a:pt x="943" y="522"/>
                  </a:lnTo>
                  <a:lnTo>
                    <a:pt x="943" y="398"/>
                  </a:lnTo>
                  <a:lnTo>
                    <a:pt x="943" y="275"/>
                  </a:lnTo>
                  <a:lnTo>
                    <a:pt x="943" y="275"/>
                  </a:lnTo>
                  <a:lnTo>
                    <a:pt x="891" y="274"/>
                  </a:lnTo>
                  <a:lnTo>
                    <a:pt x="891" y="274"/>
                  </a:lnTo>
                  <a:lnTo>
                    <a:pt x="891" y="923"/>
                  </a:lnTo>
                  <a:lnTo>
                    <a:pt x="891" y="1573"/>
                  </a:lnTo>
                  <a:lnTo>
                    <a:pt x="891" y="1573"/>
                  </a:lnTo>
                  <a:lnTo>
                    <a:pt x="891" y="1587"/>
                  </a:lnTo>
                  <a:lnTo>
                    <a:pt x="890" y="1600"/>
                  </a:lnTo>
                  <a:lnTo>
                    <a:pt x="886" y="1613"/>
                  </a:lnTo>
                  <a:lnTo>
                    <a:pt x="881" y="1625"/>
                  </a:lnTo>
                  <a:lnTo>
                    <a:pt x="874" y="1636"/>
                  </a:lnTo>
                  <a:lnTo>
                    <a:pt x="867" y="1647"/>
                  </a:lnTo>
                  <a:lnTo>
                    <a:pt x="858" y="1656"/>
                  </a:lnTo>
                  <a:lnTo>
                    <a:pt x="849" y="1663"/>
                  </a:lnTo>
                  <a:lnTo>
                    <a:pt x="837" y="1670"/>
                  </a:lnTo>
                  <a:lnTo>
                    <a:pt x="825" y="1675"/>
                  </a:lnTo>
                  <a:lnTo>
                    <a:pt x="814" y="1679"/>
                  </a:lnTo>
                  <a:lnTo>
                    <a:pt x="801" y="1681"/>
                  </a:lnTo>
                  <a:lnTo>
                    <a:pt x="788" y="1681"/>
                  </a:lnTo>
                  <a:lnTo>
                    <a:pt x="775" y="1680"/>
                  </a:lnTo>
                  <a:lnTo>
                    <a:pt x="762" y="1678"/>
                  </a:lnTo>
                  <a:lnTo>
                    <a:pt x="749" y="1672"/>
                  </a:lnTo>
                  <a:lnTo>
                    <a:pt x="749" y="1672"/>
                  </a:lnTo>
                  <a:lnTo>
                    <a:pt x="743" y="1670"/>
                  </a:lnTo>
                  <a:lnTo>
                    <a:pt x="736" y="1667"/>
                  </a:lnTo>
                  <a:lnTo>
                    <a:pt x="731" y="1665"/>
                  </a:lnTo>
                  <a:lnTo>
                    <a:pt x="727" y="1661"/>
                  </a:lnTo>
                  <a:lnTo>
                    <a:pt x="723" y="1656"/>
                  </a:lnTo>
                  <a:lnTo>
                    <a:pt x="721" y="1650"/>
                  </a:lnTo>
                  <a:lnTo>
                    <a:pt x="716" y="1640"/>
                  </a:lnTo>
                  <a:lnTo>
                    <a:pt x="712" y="1628"/>
                  </a:lnTo>
                  <a:lnTo>
                    <a:pt x="710" y="1616"/>
                  </a:lnTo>
                  <a:lnTo>
                    <a:pt x="708" y="1591"/>
                  </a:lnTo>
                  <a:lnTo>
                    <a:pt x="708" y="1591"/>
                  </a:lnTo>
                  <a:lnTo>
                    <a:pt x="707" y="1495"/>
                  </a:lnTo>
                  <a:lnTo>
                    <a:pt x="707" y="1400"/>
                  </a:lnTo>
                  <a:lnTo>
                    <a:pt x="707" y="1207"/>
                  </a:lnTo>
                  <a:lnTo>
                    <a:pt x="707" y="1016"/>
                  </a:lnTo>
                  <a:lnTo>
                    <a:pt x="705" y="921"/>
                  </a:lnTo>
                  <a:lnTo>
                    <a:pt x="703" y="825"/>
                  </a:lnTo>
                  <a:lnTo>
                    <a:pt x="703" y="825"/>
                  </a:lnTo>
                  <a:lnTo>
                    <a:pt x="658" y="819"/>
                  </a:lnTo>
                  <a:lnTo>
                    <a:pt x="658" y="819"/>
                  </a:lnTo>
                  <a:lnTo>
                    <a:pt x="655" y="917"/>
                  </a:lnTo>
                  <a:lnTo>
                    <a:pt x="655" y="1016"/>
                  </a:lnTo>
                  <a:lnTo>
                    <a:pt x="655" y="1214"/>
                  </a:lnTo>
                  <a:lnTo>
                    <a:pt x="655" y="1411"/>
                  </a:lnTo>
                  <a:lnTo>
                    <a:pt x="655" y="1510"/>
                  </a:lnTo>
                  <a:lnTo>
                    <a:pt x="654" y="1609"/>
                  </a:lnTo>
                  <a:lnTo>
                    <a:pt x="654" y="1609"/>
                  </a:lnTo>
                  <a:lnTo>
                    <a:pt x="651" y="1618"/>
                  </a:lnTo>
                  <a:lnTo>
                    <a:pt x="649" y="1627"/>
                  </a:lnTo>
                  <a:lnTo>
                    <a:pt x="645" y="1635"/>
                  </a:lnTo>
                  <a:lnTo>
                    <a:pt x="639" y="1643"/>
                  </a:lnTo>
                  <a:lnTo>
                    <a:pt x="634" y="1649"/>
                  </a:lnTo>
                  <a:lnTo>
                    <a:pt x="629" y="1656"/>
                  </a:lnTo>
                  <a:lnTo>
                    <a:pt x="623" y="1661"/>
                  </a:lnTo>
                  <a:lnTo>
                    <a:pt x="615" y="1665"/>
                  </a:lnTo>
                  <a:lnTo>
                    <a:pt x="601" y="1672"/>
                  </a:lnTo>
                  <a:lnTo>
                    <a:pt x="584" y="1678"/>
                  </a:lnTo>
                  <a:lnTo>
                    <a:pt x="567" y="1680"/>
                  </a:lnTo>
                  <a:lnTo>
                    <a:pt x="549" y="1680"/>
                  </a:lnTo>
                  <a:lnTo>
                    <a:pt x="532" y="1678"/>
                  </a:lnTo>
                  <a:lnTo>
                    <a:pt x="517" y="1672"/>
                  </a:lnTo>
                  <a:lnTo>
                    <a:pt x="501" y="1665"/>
                  </a:lnTo>
                  <a:lnTo>
                    <a:pt x="495" y="1659"/>
                  </a:lnTo>
                  <a:lnTo>
                    <a:pt x="488" y="1654"/>
                  </a:lnTo>
                  <a:lnTo>
                    <a:pt x="482" y="1648"/>
                  </a:lnTo>
                  <a:lnTo>
                    <a:pt x="477" y="1641"/>
                  </a:lnTo>
                  <a:lnTo>
                    <a:pt x="473" y="1635"/>
                  </a:lnTo>
                  <a:lnTo>
                    <a:pt x="469" y="1627"/>
                  </a:lnTo>
                  <a:lnTo>
                    <a:pt x="466" y="1619"/>
                  </a:lnTo>
                  <a:lnTo>
                    <a:pt x="464" y="1610"/>
                  </a:lnTo>
                  <a:lnTo>
                    <a:pt x="463" y="1600"/>
                  </a:lnTo>
                  <a:lnTo>
                    <a:pt x="463" y="1591"/>
                  </a:lnTo>
                  <a:lnTo>
                    <a:pt x="463" y="1591"/>
                  </a:lnTo>
                  <a:lnTo>
                    <a:pt x="461" y="1241"/>
                  </a:lnTo>
                  <a:lnTo>
                    <a:pt x="461" y="890"/>
                  </a:lnTo>
                  <a:lnTo>
                    <a:pt x="463" y="540"/>
                  </a:lnTo>
                  <a:lnTo>
                    <a:pt x="461" y="190"/>
                  </a:lnTo>
                  <a:lnTo>
                    <a:pt x="461" y="190"/>
                  </a:lnTo>
                  <a:lnTo>
                    <a:pt x="419" y="238"/>
                  </a:lnTo>
                  <a:lnTo>
                    <a:pt x="377" y="285"/>
                  </a:lnTo>
                  <a:lnTo>
                    <a:pt x="296" y="383"/>
                  </a:lnTo>
                  <a:lnTo>
                    <a:pt x="256" y="433"/>
                  </a:lnTo>
                  <a:lnTo>
                    <a:pt x="216" y="482"/>
                  </a:lnTo>
                  <a:lnTo>
                    <a:pt x="173" y="528"/>
                  </a:lnTo>
                  <a:lnTo>
                    <a:pt x="129" y="575"/>
                  </a:lnTo>
                  <a:lnTo>
                    <a:pt x="129" y="575"/>
                  </a:lnTo>
                  <a:lnTo>
                    <a:pt x="123" y="578"/>
                  </a:lnTo>
                  <a:lnTo>
                    <a:pt x="116" y="582"/>
                  </a:lnTo>
                  <a:lnTo>
                    <a:pt x="110" y="586"/>
                  </a:lnTo>
                  <a:lnTo>
                    <a:pt x="102" y="589"/>
                  </a:lnTo>
                  <a:lnTo>
                    <a:pt x="89" y="590"/>
                  </a:lnTo>
                  <a:lnTo>
                    <a:pt x="75" y="590"/>
                  </a:lnTo>
                  <a:lnTo>
                    <a:pt x="62" y="588"/>
                  </a:lnTo>
                  <a:lnTo>
                    <a:pt x="49" y="582"/>
                  </a:lnTo>
                  <a:lnTo>
                    <a:pt x="38" y="575"/>
                  </a:lnTo>
                  <a:lnTo>
                    <a:pt x="27" y="566"/>
                  </a:lnTo>
                  <a:lnTo>
                    <a:pt x="18" y="555"/>
                  </a:lnTo>
                  <a:lnTo>
                    <a:pt x="11" y="544"/>
                  </a:lnTo>
                  <a:lnTo>
                    <a:pt x="5" y="531"/>
                  </a:lnTo>
                  <a:lnTo>
                    <a:pt x="2" y="518"/>
                  </a:lnTo>
                  <a:lnTo>
                    <a:pt x="0" y="504"/>
                  </a:lnTo>
                  <a:lnTo>
                    <a:pt x="3" y="489"/>
                  </a:lnTo>
                  <a:lnTo>
                    <a:pt x="8" y="476"/>
                  </a:lnTo>
                  <a:lnTo>
                    <a:pt x="11" y="469"/>
                  </a:lnTo>
                  <a:lnTo>
                    <a:pt x="16" y="462"/>
                  </a:lnTo>
                  <a:lnTo>
                    <a:pt x="16" y="462"/>
                  </a:lnTo>
                  <a:lnTo>
                    <a:pt x="56" y="411"/>
                  </a:lnTo>
                  <a:lnTo>
                    <a:pt x="97" y="360"/>
                  </a:lnTo>
                  <a:lnTo>
                    <a:pt x="180" y="259"/>
                  </a:lnTo>
                  <a:lnTo>
                    <a:pt x="264" y="160"/>
                  </a:lnTo>
                  <a:lnTo>
                    <a:pt x="346" y="59"/>
                  </a:lnTo>
                  <a:lnTo>
                    <a:pt x="34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88" name="Freeform 12"/>
            <p:cNvSpPr>
              <a:spLocks/>
            </p:cNvSpPr>
            <p:nvPr/>
          </p:nvSpPr>
          <p:spPr bwMode="auto">
            <a:xfrm>
              <a:off x="11373450" y="5237167"/>
              <a:ext cx="166097" cy="167098"/>
            </a:xfrm>
            <a:custGeom>
              <a:avLst/>
              <a:gdLst>
                <a:gd name="T0" fmla="*/ 333 w 333"/>
                <a:gd name="T1" fmla="*/ 166 h 333"/>
                <a:gd name="T2" fmla="*/ 331 w 333"/>
                <a:gd name="T3" fmla="*/ 200 h 333"/>
                <a:gd name="T4" fmla="*/ 320 w 333"/>
                <a:gd name="T5" fmla="*/ 231 h 333"/>
                <a:gd name="T6" fmla="*/ 305 w 333"/>
                <a:gd name="T7" fmla="*/ 259 h 333"/>
                <a:gd name="T8" fmla="*/ 285 w 333"/>
                <a:gd name="T9" fmla="*/ 284 h 333"/>
                <a:gd name="T10" fmla="*/ 260 w 333"/>
                <a:gd name="T11" fmla="*/ 304 h 333"/>
                <a:gd name="T12" fmla="*/ 231 w 333"/>
                <a:gd name="T13" fmla="*/ 320 h 333"/>
                <a:gd name="T14" fmla="*/ 200 w 333"/>
                <a:gd name="T15" fmla="*/ 329 h 333"/>
                <a:gd name="T16" fmla="*/ 167 w 333"/>
                <a:gd name="T17" fmla="*/ 333 h 333"/>
                <a:gd name="T18" fmla="*/ 150 w 333"/>
                <a:gd name="T19" fmla="*/ 331 h 333"/>
                <a:gd name="T20" fmla="*/ 118 w 333"/>
                <a:gd name="T21" fmla="*/ 325 h 333"/>
                <a:gd name="T22" fmla="*/ 88 w 333"/>
                <a:gd name="T23" fmla="*/ 312 h 333"/>
                <a:gd name="T24" fmla="*/ 61 w 333"/>
                <a:gd name="T25" fmla="*/ 295 h 333"/>
                <a:gd name="T26" fmla="*/ 39 w 333"/>
                <a:gd name="T27" fmla="*/ 272 h 333"/>
                <a:gd name="T28" fmla="*/ 21 w 333"/>
                <a:gd name="T29" fmla="*/ 245 h 333"/>
                <a:gd name="T30" fmla="*/ 8 w 333"/>
                <a:gd name="T31" fmla="*/ 215 h 333"/>
                <a:gd name="T32" fmla="*/ 1 w 333"/>
                <a:gd name="T33" fmla="*/ 183 h 333"/>
                <a:gd name="T34" fmla="*/ 0 w 333"/>
                <a:gd name="T35" fmla="*/ 166 h 333"/>
                <a:gd name="T36" fmla="*/ 4 w 333"/>
                <a:gd name="T37" fmla="*/ 133 h 333"/>
                <a:gd name="T38" fmla="*/ 13 w 333"/>
                <a:gd name="T39" fmla="*/ 102 h 333"/>
                <a:gd name="T40" fmla="*/ 28 w 333"/>
                <a:gd name="T41" fmla="*/ 73 h 333"/>
                <a:gd name="T42" fmla="*/ 49 w 333"/>
                <a:gd name="T43" fmla="*/ 49 h 333"/>
                <a:gd name="T44" fmla="*/ 74 w 333"/>
                <a:gd name="T45" fmla="*/ 28 h 333"/>
                <a:gd name="T46" fmla="*/ 102 w 333"/>
                <a:gd name="T47" fmla="*/ 12 h 333"/>
                <a:gd name="T48" fmla="*/ 133 w 333"/>
                <a:gd name="T49" fmla="*/ 2 h 333"/>
                <a:gd name="T50" fmla="*/ 167 w 333"/>
                <a:gd name="T51" fmla="*/ 0 h 333"/>
                <a:gd name="T52" fmla="*/ 183 w 333"/>
                <a:gd name="T53" fmla="*/ 0 h 333"/>
                <a:gd name="T54" fmla="*/ 217 w 333"/>
                <a:gd name="T55" fmla="*/ 7 h 333"/>
                <a:gd name="T56" fmla="*/ 247 w 333"/>
                <a:gd name="T57" fmla="*/ 19 h 333"/>
                <a:gd name="T58" fmla="*/ 272 w 333"/>
                <a:gd name="T59" fmla="*/ 37 h 333"/>
                <a:gd name="T60" fmla="*/ 296 w 333"/>
                <a:gd name="T61" fmla="*/ 60 h 333"/>
                <a:gd name="T62" fmla="*/ 314 w 333"/>
                <a:gd name="T63" fmla="*/ 86 h 333"/>
                <a:gd name="T64" fmla="*/ 327 w 333"/>
                <a:gd name="T65" fmla="*/ 117 h 333"/>
                <a:gd name="T66" fmla="*/ 333 w 333"/>
                <a:gd name="T67" fmla="*/ 149 h 333"/>
                <a:gd name="T68" fmla="*/ 333 w 333"/>
                <a:gd name="T69" fmla="*/ 166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3" h="333">
                  <a:moveTo>
                    <a:pt x="333" y="166"/>
                  </a:moveTo>
                  <a:lnTo>
                    <a:pt x="333" y="166"/>
                  </a:lnTo>
                  <a:lnTo>
                    <a:pt x="333" y="183"/>
                  </a:lnTo>
                  <a:lnTo>
                    <a:pt x="331" y="200"/>
                  </a:lnTo>
                  <a:lnTo>
                    <a:pt x="327" y="215"/>
                  </a:lnTo>
                  <a:lnTo>
                    <a:pt x="320" y="231"/>
                  </a:lnTo>
                  <a:lnTo>
                    <a:pt x="314" y="245"/>
                  </a:lnTo>
                  <a:lnTo>
                    <a:pt x="305" y="259"/>
                  </a:lnTo>
                  <a:lnTo>
                    <a:pt x="296" y="272"/>
                  </a:lnTo>
                  <a:lnTo>
                    <a:pt x="285" y="284"/>
                  </a:lnTo>
                  <a:lnTo>
                    <a:pt x="272" y="295"/>
                  </a:lnTo>
                  <a:lnTo>
                    <a:pt x="260" y="304"/>
                  </a:lnTo>
                  <a:lnTo>
                    <a:pt x="247" y="312"/>
                  </a:lnTo>
                  <a:lnTo>
                    <a:pt x="231" y="320"/>
                  </a:lnTo>
                  <a:lnTo>
                    <a:pt x="217" y="325"/>
                  </a:lnTo>
                  <a:lnTo>
                    <a:pt x="200" y="329"/>
                  </a:lnTo>
                  <a:lnTo>
                    <a:pt x="183" y="331"/>
                  </a:lnTo>
                  <a:lnTo>
                    <a:pt x="167" y="333"/>
                  </a:lnTo>
                  <a:lnTo>
                    <a:pt x="167" y="333"/>
                  </a:lnTo>
                  <a:lnTo>
                    <a:pt x="150" y="331"/>
                  </a:lnTo>
                  <a:lnTo>
                    <a:pt x="133" y="329"/>
                  </a:lnTo>
                  <a:lnTo>
                    <a:pt x="118" y="325"/>
                  </a:lnTo>
                  <a:lnTo>
                    <a:pt x="102" y="320"/>
                  </a:lnTo>
                  <a:lnTo>
                    <a:pt x="88" y="312"/>
                  </a:lnTo>
                  <a:lnTo>
                    <a:pt x="74" y="304"/>
                  </a:lnTo>
                  <a:lnTo>
                    <a:pt x="61" y="295"/>
                  </a:lnTo>
                  <a:lnTo>
                    <a:pt x="49" y="284"/>
                  </a:lnTo>
                  <a:lnTo>
                    <a:pt x="39" y="272"/>
                  </a:lnTo>
                  <a:lnTo>
                    <a:pt x="28" y="259"/>
                  </a:lnTo>
                  <a:lnTo>
                    <a:pt x="21" y="245"/>
                  </a:lnTo>
                  <a:lnTo>
                    <a:pt x="13" y="231"/>
                  </a:lnTo>
                  <a:lnTo>
                    <a:pt x="8" y="215"/>
                  </a:lnTo>
                  <a:lnTo>
                    <a:pt x="4" y="200"/>
                  </a:lnTo>
                  <a:lnTo>
                    <a:pt x="1" y="183"/>
                  </a:lnTo>
                  <a:lnTo>
                    <a:pt x="0" y="166"/>
                  </a:lnTo>
                  <a:lnTo>
                    <a:pt x="0" y="166"/>
                  </a:lnTo>
                  <a:lnTo>
                    <a:pt x="1" y="149"/>
                  </a:lnTo>
                  <a:lnTo>
                    <a:pt x="4" y="133"/>
                  </a:lnTo>
                  <a:lnTo>
                    <a:pt x="8" y="117"/>
                  </a:lnTo>
                  <a:lnTo>
                    <a:pt x="13" y="102"/>
                  </a:lnTo>
                  <a:lnTo>
                    <a:pt x="21" y="86"/>
                  </a:lnTo>
                  <a:lnTo>
                    <a:pt x="28" y="73"/>
                  </a:lnTo>
                  <a:lnTo>
                    <a:pt x="39" y="60"/>
                  </a:lnTo>
                  <a:lnTo>
                    <a:pt x="49" y="49"/>
                  </a:lnTo>
                  <a:lnTo>
                    <a:pt x="61" y="37"/>
                  </a:lnTo>
                  <a:lnTo>
                    <a:pt x="74" y="28"/>
                  </a:lnTo>
                  <a:lnTo>
                    <a:pt x="88" y="19"/>
                  </a:lnTo>
                  <a:lnTo>
                    <a:pt x="102" y="12"/>
                  </a:lnTo>
                  <a:lnTo>
                    <a:pt x="118" y="7"/>
                  </a:lnTo>
                  <a:lnTo>
                    <a:pt x="133" y="2"/>
                  </a:lnTo>
                  <a:lnTo>
                    <a:pt x="150" y="0"/>
                  </a:lnTo>
                  <a:lnTo>
                    <a:pt x="167" y="0"/>
                  </a:lnTo>
                  <a:lnTo>
                    <a:pt x="167" y="0"/>
                  </a:lnTo>
                  <a:lnTo>
                    <a:pt x="183" y="0"/>
                  </a:lnTo>
                  <a:lnTo>
                    <a:pt x="200" y="2"/>
                  </a:lnTo>
                  <a:lnTo>
                    <a:pt x="217" y="7"/>
                  </a:lnTo>
                  <a:lnTo>
                    <a:pt x="231" y="12"/>
                  </a:lnTo>
                  <a:lnTo>
                    <a:pt x="247" y="19"/>
                  </a:lnTo>
                  <a:lnTo>
                    <a:pt x="260" y="28"/>
                  </a:lnTo>
                  <a:lnTo>
                    <a:pt x="272" y="37"/>
                  </a:lnTo>
                  <a:lnTo>
                    <a:pt x="285" y="49"/>
                  </a:lnTo>
                  <a:lnTo>
                    <a:pt x="296" y="60"/>
                  </a:lnTo>
                  <a:lnTo>
                    <a:pt x="305" y="73"/>
                  </a:lnTo>
                  <a:lnTo>
                    <a:pt x="314" y="86"/>
                  </a:lnTo>
                  <a:lnTo>
                    <a:pt x="320" y="102"/>
                  </a:lnTo>
                  <a:lnTo>
                    <a:pt x="327" y="117"/>
                  </a:lnTo>
                  <a:lnTo>
                    <a:pt x="331" y="133"/>
                  </a:lnTo>
                  <a:lnTo>
                    <a:pt x="333" y="149"/>
                  </a:lnTo>
                  <a:lnTo>
                    <a:pt x="333" y="166"/>
                  </a:lnTo>
                  <a:lnTo>
                    <a:pt x="333"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009" name="Group 1008"/>
          <p:cNvGrpSpPr/>
          <p:nvPr/>
        </p:nvGrpSpPr>
        <p:grpSpPr>
          <a:xfrm flipH="1">
            <a:off x="4983600" y="1790790"/>
            <a:ext cx="300233" cy="381670"/>
            <a:chOff x="9940364" y="5195233"/>
            <a:chExt cx="465667" cy="558803"/>
          </a:xfrm>
        </p:grpSpPr>
        <p:sp>
          <p:nvSpPr>
            <p:cNvPr id="1010" name="Isosceles Triangle 2662"/>
            <p:cNvSpPr/>
            <p:nvPr/>
          </p:nvSpPr>
          <p:spPr bwMode="auto">
            <a:xfrm rot="9000000">
              <a:off x="9940364" y="5195233"/>
              <a:ext cx="465667" cy="558803"/>
            </a:xfrm>
            <a:custGeom>
              <a:avLst/>
              <a:gdLst/>
              <a:ahLst/>
              <a:cxnLst/>
              <a:rect l="l" t="t" r="r" b="b"/>
              <a:pathLst>
                <a:path w="384849" h="461821">
                  <a:moveTo>
                    <a:pt x="108837" y="430605"/>
                  </a:moveTo>
                  <a:cubicBezTo>
                    <a:pt x="13141" y="375355"/>
                    <a:pt x="-27012" y="265747"/>
                    <a:pt x="19152" y="185788"/>
                  </a:cubicBezTo>
                  <a:cubicBezTo>
                    <a:pt x="38669" y="151983"/>
                    <a:pt x="70490" y="128891"/>
                    <a:pt x="108806" y="120511"/>
                  </a:cubicBezTo>
                  <a:lnTo>
                    <a:pt x="163813" y="0"/>
                  </a:lnTo>
                  <a:lnTo>
                    <a:pt x="218403" y="119596"/>
                  </a:lnTo>
                  <a:cubicBezTo>
                    <a:pt x="238305" y="122507"/>
                    <a:pt x="257519" y="130372"/>
                    <a:pt x="276012" y="141049"/>
                  </a:cubicBezTo>
                  <a:cubicBezTo>
                    <a:pt x="371708" y="196299"/>
                    <a:pt x="411861" y="305908"/>
                    <a:pt x="365697" y="385866"/>
                  </a:cubicBezTo>
                  <a:cubicBezTo>
                    <a:pt x="319533" y="465825"/>
                    <a:pt x="204533" y="485855"/>
                    <a:pt x="108837" y="430605"/>
                  </a:cubicBezTo>
                  <a:close/>
                </a:path>
              </a:pathLst>
            </a:custGeom>
            <a:solidFill>
              <a:schemeClr val="tx1"/>
            </a:solidFill>
            <a:ln w="12700">
              <a:solidFill>
                <a:srgbClr val="008D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45720" bIns="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w="3175">
                  <a:noFill/>
                </a:ln>
                <a:solidFill>
                  <a:srgbClr val="8DC548"/>
                </a:solidFill>
                <a:effectLst/>
                <a:uLnTx/>
                <a:uFillTx/>
                <a:latin typeface="Arial" pitchFamily="34" charset="0"/>
                <a:cs typeface="Arial" pitchFamily="34" charset="0"/>
              </a:endParaRPr>
            </a:p>
          </p:txBody>
        </p:sp>
        <p:sp>
          <p:nvSpPr>
            <p:cNvPr id="1011" name="Freeform 352"/>
            <p:cNvSpPr>
              <a:spLocks/>
            </p:cNvSpPr>
            <p:nvPr/>
          </p:nvSpPr>
          <p:spPr bwMode="auto">
            <a:xfrm>
              <a:off x="10020142" y="5316324"/>
              <a:ext cx="240209" cy="204057"/>
            </a:xfrm>
            <a:custGeom>
              <a:avLst/>
              <a:gdLst>
                <a:gd name="T0" fmla="*/ 554 w 598"/>
                <a:gd name="T1" fmla="*/ 37 h 509"/>
                <a:gd name="T2" fmla="*/ 568 w 598"/>
                <a:gd name="T3" fmla="*/ 54 h 509"/>
                <a:gd name="T4" fmla="*/ 579 w 598"/>
                <a:gd name="T5" fmla="*/ 72 h 509"/>
                <a:gd name="T6" fmla="*/ 588 w 598"/>
                <a:gd name="T7" fmla="*/ 90 h 509"/>
                <a:gd name="T8" fmla="*/ 594 w 598"/>
                <a:gd name="T9" fmla="*/ 108 h 509"/>
                <a:gd name="T10" fmla="*/ 597 w 598"/>
                <a:gd name="T11" fmla="*/ 127 h 509"/>
                <a:gd name="T12" fmla="*/ 597 w 598"/>
                <a:gd name="T13" fmla="*/ 164 h 509"/>
                <a:gd name="T14" fmla="*/ 589 w 598"/>
                <a:gd name="T15" fmla="*/ 202 h 509"/>
                <a:gd name="T16" fmla="*/ 574 w 598"/>
                <a:gd name="T17" fmla="*/ 239 h 509"/>
                <a:gd name="T18" fmla="*/ 553 w 598"/>
                <a:gd name="T19" fmla="*/ 276 h 509"/>
                <a:gd name="T20" fmla="*/ 528 w 598"/>
                <a:gd name="T21" fmla="*/ 312 h 509"/>
                <a:gd name="T22" fmla="*/ 498 w 598"/>
                <a:gd name="T23" fmla="*/ 346 h 509"/>
                <a:gd name="T24" fmla="*/ 468 w 598"/>
                <a:gd name="T25" fmla="*/ 378 h 509"/>
                <a:gd name="T26" fmla="*/ 421 w 598"/>
                <a:gd name="T27" fmla="*/ 422 h 509"/>
                <a:gd name="T28" fmla="*/ 362 w 598"/>
                <a:gd name="T29" fmla="*/ 469 h 509"/>
                <a:gd name="T30" fmla="*/ 316 w 598"/>
                <a:gd name="T31" fmla="*/ 499 h 509"/>
                <a:gd name="T32" fmla="*/ 300 w 598"/>
                <a:gd name="T33" fmla="*/ 509 h 509"/>
                <a:gd name="T34" fmla="*/ 299 w 598"/>
                <a:gd name="T35" fmla="*/ 509 h 509"/>
                <a:gd name="T36" fmla="*/ 299 w 598"/>
                <a:gd name="T37" fmla="*/ 509 h 509"/>
                <a:gd name="T38" fmla="*/ 299 w 598"/>
                <a:gd name="T39" fmla="*/ 508 h 509"/>
                <a:gd name="T40" fmla="*/ 262 w 598"/>
                <a:gd name="T41" fmla="*/ 486 h 509"/>
                <a:gd name="T42" fmla="*/ 208 w 598"/>
                <a:gd name="T43" fmla="*/ 447 h 509"/>
                <a:gd name="T44" fmla="*/ 146 w 598"/>
                <a:gd name="T45" fmla="*/ 394 h 509"/>
                <a:gd name="T46" fmla="*/ 115 w 598"/>
                <a:gd name="T47" fmla="*/ 363 h 509"/>
                <a:gd name="T48" fmla="*/ 85 w 598"/>
                <a:gd name="T49" fmla="*/ 330 h 509"/>
                <a:gd name="T50" fmla="*/ 57 w 598"/>
                <a:gd name="T51" fmla="*/ 295 h 509"/>
                <a:gd name="T52" fmla="*/ 34 w 598"/>
                <a:gd name="T53" fmla="*/ 257 h 509"/>
                <a:gd name="T54" fmla="*/ 16 w 598"/>
                <a:gd name="T55" fmla="*/ 220 h 509"/>
                <a:gd name="T56" fmla="*/ 4 w 598"/>
                <a:gd name="T57" fmla="*/ 183 h 509"/>
                <a:gd name="T58" fmla="*/ 0 w 598"/>
                <a:gd name="T59" fmla="*/ 145 h 509"/>
                <a:gd name="T60" fmla="*/ 3 w 598"/>
                <a:gd name="T61" fmla="*/ 117 h 509"/>
                <a:gd name="T62" fmla="*/ 7 w 598"/>
                <a:gd name="T63" fmla="*/ 99 h 509"/>
                <a:gd name="T64" fmla="*/ 14 w 598"/>
                <a:gd name="T65" fmla="*/ 81 h 509"/>
                <a:gd name="T66" fmla="*/ 24 w 598"/>
                <a:gd name="T67" fmla="*/ 62 h 509"/>
                <a:gd name="T68" fmla="*/ 36 w 598"/>
                <a:gd name="T69" fmla="*/ 45 h 509"/>
                <a:gd name="T70" fmla="*/ 44 w 598"/>
                <a:gd name="T71" fmla="*/ 37 h 509"/>
                <a:gd name="T72" fmla="*/ 68 w 598"/>
                <a:gd name="T73" fmla="*/ 16 h 509"/>
                <a:gd name="T74" fmla="*/ 97 w 598"/>
                <a:gd name="T75" fmla="*/ 4 h 509"/>
                <a:gd name="T76" fmla="*/ 128 w 598"/>
                <a:gd name="T77" fmla="*/ 0 h 509"/>
                <a:gd name="T78" fmla="*/ 161 w 598"/>
                <a:gd name="T79" fmla="*/ 4 h 509"/>
                <a:gd name="T80" fmla="*/ 196 w 598"/>
                <a:gd name="T81" fmla="*/ 15 h 509"/>
                <a:gd name="T82" fmla="*/ 231 w 598"/>
                <a:gd name="T83" fmla="*/ 35 h 509"/>
                <a:gd name="T84" fmla="*/ 266 w 598"/>
                <a:gd name="T85" fmla="*/ 64 h 509"/>
                <a:gd name="T86" fmla="*/ 301 w 598"/>
                <a:gd name="T87" fmla="*/ 101 h 509"/>
                <a:gd name="T88" fmla="*/ 315 w 598"/>
                <a:gd name="T89" fmla="*/ 83 h 509"/>
                <a:gd name="T90" fmla="*/ 346 w 598"/>
                <a:gd name="T91" fmla="*/ 51 h 509"/>
                <a:gd name="T92" fmla="*/ 379 w 598"/>
                <a:gd name="T93" fmla="*/ 28 h 509"/>
                <a:gd name="T94" fmla="*/ 414 w 598"/>
                <a:gd name="T95" fmla="*/ 12 h 509"/>
                <a:gd name="T96" fmla="*/ 449 w 598"/>
                <a:gd name="T97" fmla="*/ 3 h 509"/>
                <a:gd name="T98" fmla="*/ 483 w 598"/>
                <a:gd name="T99" fmla="*/ 2 h 509"/>
                <a:gd name="T100" fmla="*/ 515 w 598"/>
                <a:gd name="T101" fmla="*/ 10 h 509"/>
                <a:gd name="T102" fmla="*/ 536 w 598"/>
                <a:gd name="T103" fmla="*/ 21 h 509"/>
                <a:gd name="T104" fmla="*/ 549 w 598"/>
                <a:gd name="T105" fmla="*/ 31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98" h="509">
                  <a:moveTo>
                    <a:pt x="554" y="37"/>
                  </a:moveTo>
                  <a:lnTo>
                    <a:pt x="554" y="37"/>
                  </a:lnTo>
                  <a:lnTo>
                    <a:pt x="562" y="45"/>
                  </a:lnTo>
                  <a:lnTo>
                    <a:pt x="568" y="54"/>
                  </a:lnTo>
                  <a:lnTo>
                    <a:pt x="574" y="62"/>
                  </a:lnTo>
                  <a:lnTo>
                    <a:pt x="579" y="72"/>
                  </a:lnTo>
                  <a:lnTo>
                    <a:pt x="584" y="81"/>
                  </a:lnTo>
                  <a:lnTo>
                    <a:pt x="588" y="90"/>
                  </a:lnTo>
                  <a:lnTo>
                    <a:pt x="591" y="99"/>
                  </a:lnTo>
                  <a:lnTo>
                    <a:pt x="594" y="108"/>
                  </a:lnTo>
                  <a:lnTo>
                    <a:pt x="596" y="117"/>
                  </a:lnTo>
                  <a:lnTo>
                    <a:pt x="597" y="127"/>
                  </a:lnTo>
                  <a:lnTo>
                    <a:pt x="598" y="145"/>
                  </a:lnTo>
                  <a:lnTo>
                    <a:pt x="597" y="164"/>
                  </a:lnTo>
                  <a:lnTo>
                    <a:pt x="594" y="183"/>
                  </a:lnTo>
                  <a:lnTo>
                    <a:pt x="589" y="202"/>
                  </a:lnTo>
                  <a:lnTo>
                    <a:pt x="582" y="220"/>
                  </a:lnTo>
                  <a:lnTo>
                    <a:pt x="574" y="239"/>
                  </a:lnTo>
                  <a:lnTo>
                    <a:pt x="564" y="257"/>
                  </a:lnTo>
                  <a:lnTo>
                    <a:pt x="553" y="276"/>
                  </a:lnTo>
                  <a:lnTo>
                    <a:pt x="541" y="295"/>
                  </a:lnTo>
                  <a:lnTo>
                    <a:pt x="528" y="312"/>
                  </a:lnTo>
                  <a:lnTo>
                    <a:pt x="514" y="330"/>
                  </a:lnTo>
                  <a:lnTo>
                    <a:pt x="498" y="346"/>
                  </a:lnTo>
                  <a:lnTo>
                    <a:pt x="483" y="363"/>
                  </a:lnTo>
                  <a:lnTo>
                    <a:pt x="468" y="378"/>
                  </a:lnTo>
                  <a:lnTo>
                    <a:pt x="452" y="394"/>
                  </a:lnTo>
                  <a:lnTo>
                    <a:pt x="421" y="422"/>
                  </a:lnTo>
                  <a:lnTo>
                    <a:pt x="390" y="447"/>
                  </a:lnTo>
                  <a:lnTo>
                    <a:pt x="362" y="469"/>
                  </a:lnTo>
                  <a:lnTo>
                    <a:pt x="336" y="486"/>
                  </a:lnTo>
                  <a:lnTo>
                    <a:pt x="316" y="499"/>
                  </a:lnTo>
                  <a:lnTo>
                    <a:pt x="300" y="508"/>
                  </a:lnTo>
                  <a:lnTo>
                    <a:pt x="300" y="509"/>
                  </a:lnTo>
                  <a:lnTo>
                    <a:pt x="300" y="509"/>
                  </a:lnTo>
                  <a:lnTo>
                    <a:pt x="299" y="509"/>
                  </a:lnTo>
                  <a:lnTo>
                    <a:pt x="299" y="509"/>
                  </a:lnTo>
                  <a:lnTo>
                    <a:pt x="299" y="509"/>
                  </a:lnTo>
                  <a:lnTo>
                    <a:pt x="299" y="508"/>
                  </a:lnTo>
                  <a:lnTo>
                    <a:pt x="299" y="508"/>
                  </a:lnTo>
                  <a:lnTo>
                    <a:pt x="283" y="499"/>
                  </a:lnTo>
                  <a:lnTo>
                    <a:pt x="262" y="486"/>
                  </a:lnTo>
                  <a:lnTo>
                    <a:pt x="236" y="469"/>
                  </a:lnTo>
                  <a:lnTo>
                    <a:pt x="208" y="447"/>
                  </a:lnTo>
                  <a:lnTo>
                    <a:pt x="177" y="422"/>
                  </a:lnTo>
                  <a:lnTo>
                    <a:pt x="146" y="394"/>
                  </a:lnTo>
                  <a:lnTo>
                    <a:pt x="130" y="378"/>
                  </a:lnTo>
                  <a:lnTo>
                    <a:pt x="115" y="363"/>
                  </a:lnTo>
                  <a:lnTo>
                    <a:pt x="100" y="346"/>
                  </a:lnTo>
                  <a:lnTo>
                    <a:pt x="85" y="330"/>
                  </a:lnTo>
                  <a:lnTo>
                    <a:pt x="70" y="312"/>
                  </a:lnTo>
                  <a:lnTo>
                    <a:pt x="57" y="295"/>
                  </a:lnTo>
                  <a:lnTo>
                    <a:pt x="45" y="276"/>
                  </a:lnTo>
                  <a:lnTo>
                    <a:pt x="34" y="257"/>
                  </a:lnTo>
                  <a:lnTo>
                    <a:pt x="24" y="239"/>
                  </a:lnTo>
                  <a:lnTo>
                    <a:pt x="16" y="220"/>
                  </a:lnTo>
                  <a:lnTo>
                    <a:pt x="9" y="202"/>
                  </a:lnTo>
                  <a:lnTo>
                    <a:pt x="4" y="183"/>
                  </a:lnTo>
                  <a:lnTo>
                    <a:pt x="1" y="164"/>
                  </a:lnTo>
                  <a:lnTo>
                    <a:pt x="0" y="145"/>
                  </a:lnTo>
                  <a:lnTo>
                    <a:pt x="1" y="127"/>
                  </a:lnTo>
                  <a:lnTo>
                    <a:pt x="3" y="117"/>
                  </a:lnTo>
                  <a:lnTo>
                    <a:pt x="5" y="108"/>
                  </a:lnTo>
                  <a:lnTo>
                    <a:pt x="7" y="99"/>
                  </a:lnTo>
                  <a:lnTo>
                    <a:pt x="10" y="90"/>
                  </a:lnTo>
                  <a:lnTo>
                    <a:pt x="14" y="81"/>
                  </a:lnTo>
                  <a:lnTo>
                    <a:pt x="19" y="72"/>
                  </a:lnTo>
                  <a:lnTo>
                    <a:pt x="24" y="62"/>
                  </a:lnTo>
                  <a:lnTo>
                    <a:pt x="30" y="54"/>
                  </a:lnTo>
                  <a:lnTo>
                    <a:pt x="36" y="45"/>
                  </a:lnTo>
                  <a:lnTo>
                    <a:pt x="44" y="37"/>
                  </a:lnTo>
                  <a:lnTo>
                    <a:pt x="44" y="37"/>
                  </a:lnTo>
                  <a:lnTo>
                    <a:pt x="56" y="25"/>
                  </a:lnTo>
                  <a:lnTo>
                    <a:pt x="68" y="16"/>
                  </a:lnTo>
                  <a:lnTo>
                    <a:pt x="83" y="9"/>
                  </a:lnTo>
                  <a:lnTo>
                    <a:pt x="97" y="4"/>
                  </a:lnTo>
                  <a:lnTo>
                    <a:pt x="112" y="1"/>
                  </a:lnTo>
                  <a:lnTo>
                    <a:pt x="128" y="0"/>
                  </a:lnTo>
                  <a:lnTo>
                    <a:pt x="145" y="1"/>
                  </a:lnTo>
                  <a:lnTo>
                    <a:pt x="161" y="4"/>
                  </a:lnTo>
                  <a:lnTo>
                    <a:pt x="179" y="8"/>
                  </a:lnTo>
                  <a:lnTo>
                    <a:pt x="196" y="15"/>
                  </a:lnTo>
                  <a:lnTo>
                    <a:pt x="213" y="24"/>
                  </a:lnTo>
                  <a:lnTo>
                    <a:pt x="231" y="35"/>
                  </a:lnTo>
                  <a:lnTo>
                    <a:pt x="249" y="48"/>
                  </a:lnTo>
                  <a:lnTo>
                    <a:pt x="266" y="64"/>
                  </a:lnTo>
                  <a:lnTo>
                    <a:pt x="283" y="82"/>
                  </a:lnTo>
                  <a:lnTo>
                    <a:pt x="301" y="101"/>
                  </a:lnTo>
                  <a:lnTo>
                    <a:pt x="301" y="101"/>
                  </a:lnTo>
                  <a:lnTo>
                    <a:pt x="315" y="83"/>
                  </a:lnTo>
                  <a:lnTo>
                    <a:pt x="330" y="66"/>
                  </a:lnTo>
                  <a:lnTo>
                    <a:pt x="346" y="51"/>
                  </a:lnTo>
                  <a:lnTo>
                    <a:pt x="362" y="39"/>
                  </a:lnTo>
                  <a:lnTo>
                    <a:pt x="379" y="28"/>
                  </a:lnTo>
                  <a:lnTo>
                    <a:pt x="396" y="19"/>
                  </a:lnTo>
                  <a:lnTo>
                    <a:pt x="414" y="12"/>
                  </a:lnTo>
                  <a:lnTo>
                    <a:pt x="432" y="6"/>
                  </a:lnTo>
                  <a:lnTo>
                    <a:pt x="449" y="3"/>
                  </a:lnTo>
                  <a:lnTo>
                    <a:pt x="466" y="2"/>
                  </a:lnTo>
                  <a:lnTo>
                    <a:pt x="483" y="2"/>
                  </a:lnTo>
                  <a:lnTo>
                    <a:pt x="499" y="5"/>
                  </a:lnTo>
                  <a:lnTo>
                    <a:pt x="515" y="10"/>
                  </a:lnTo>
                  <a:lnTo>
                    <a:pt x="529" y="17"/>
                  </a:lnTo>
                  <a:lnTo>
                    <a:pt x="536" y="21"/>
                  </a:lnTo>
                  <a:lnTo>
                    <a:pt x="542" y="26"/>
                  </a:lnTo>
                  <a:lnTo>
                    <a:pt x="549" y="31"/>
                  </a:lnTo>
                  <a:lnTo>
                    <a:pt x="554" y="37"/>
                  </a:lnTo>
                </a:path>
              </a:pathLst>
            </a:custGeom>
            <a:solidFill>
              <a:schemeClr val="accent1"/>
            </a:solidFill>
            <a:ln w="12700">
              <a:solidFill>
                <a:schemeClr val="tx1"/>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cxnSp>
        <p:nvCxnSpPr>
          <p:cNvPr id="1024" name="Straight Connector 1023"/>
          <p:cNvCxnSpPr/>
          <p:nvPr/>
        </p:nvCxnSpPr>
        <p:spPr>
          <a:xfrm flipV="1">
            <a:off x="7010515" y="2913864"/>
            <a:ext cx="2094188" cy="643108"/>
          </a:xfrm>
          <a:prstGeom prst="line">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652" name="Oval 1651"/>
          <p:cNvSpPr/>
          <p:nvPr/>
        </p:nvSpPr>
        <p:spPr bwMode="auto">
          <a:xfrm>
            <a:off x="5212831" y="2664773"/>
            <a:ext cx="1797684" cy="1784398"/>
          </a:xfrm>
          <a:prstGeom prst="ellipse">
            <a:avLst/>
          </a:prstGeom>
          <a:gradFill flip="none" rotWithShape="1">
            <a:gsLst>
              <a:gs pos="0">
                <a:schemeClr val="tx1">
                  <a:lumMod val="75000"/>
                  <a:lumOff val="25000"/>
                </a:schemeClr>
              </a:gs>
              <a:gs pos="62000">
                <a:schemeClr val="tx1"/>
              </a:gs>
            </a:gsLst>
            <a:path path="circle">
              <a:fillToRect l="50000" t="50000" r="50000" b="50000"/>
            </a:path>
            <a:tileRect/>
          </a:gra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657" name="Group 1656"/>
          <p:cNvGrpSpPr/>
          <p:nvPr/>
        </p:nvGrpSpPr>
        <p:grpSpPr>
          <a:xfrm flipH="1">
            <a:off x="5321611" y="3273525"/>
            <a:ext cx="1588379" cy="584573"/>
            <a:chOff x="-120317" y="2227654"/>
            <a:chExt cx="12842245" cy="4296675"/>
          </a:xfrm>
        </p:grpSpPr>
        <p:grpSp>
          <p:nvGrpSpPr>
            <p:cNvPr id="1658" name="Group 1657"/>
            <p:cNvGrpSpPr/>
            <p:nvPr/>
          </p:nvGrpSpPr>
          <p:grpSpPr>
            <a:xfrm>
              <a:off x="-120317" y="2227654"/>
              <a:ext cx="12842245" cy="4296675"/>
              <a:chOff x="-120316" y="1299411"/>
              <a:chExt cx="12842243" cy="4296675"/>
            </a:xfrm>
          </p:grpSpPr>
          <p:sp>
            <p:nvSpPr>
              <p:cNvPr id="1660" name="Freeform 1659"/>
              <p:cNvSpPr/>
              <p:nvPr/>
            </p:nvSpPr>
            <p:spPr bwMode="auto">
              <a:xfrm>
                <a:off x="-112862" y="1299411"/>
                <a:ext cx="12828021" cy="3773269"/>
              </a:xfrm>
              <a:custGeom>
                <a:avLst/>
                <a:gdLst>
                  <a:gd name="connsiteX0" fmla="*/ 1259872 w 12828018"/>
                  <a:gd name="connsiteY0" fmla="*/ 3489157 h 3773269"/>
                  <a:gd name="connsiteX1" fmla="*/ 1275914 w 12828018"/>
                  <a:gd name="connsiteY1" fmla="*/ 3312694 h 3773269"/>
                  <a:gd name="connsiteX2" fmla="*/ 1307998 w 12828018"/>
                  <a:gd name="connsiteY2" fmla="*/ 3072063 h 3773269"/>
                  <a:gd name="connsiteX3" fmla="*/ 1380187 w 12828018"/>
                  <a:gd name="connsiteY3" fmla="*/ 2863515 h 3773269"/>
                  <a:gd name="connsiteX4" fmla="*/ 1476440 w 12828018"/>
                  <a:gd name="connsiteY4" fmla="*/ 2687052 h 3773269"/>
                  <a:gd name="connsiteX5" fmla="*/ 1668945 w 12828018"/>
                  <a:gd name="connsiteY5" fmla="*/ 2486526 h 3773269"/>
                  <a:gd name="connsiteX6" fmla="*/ 1885514 w 12828018"/>
                  <a:gd name="connsiteY6" fmla="*/ 2350168 h 3773269"/>
                  <a:gd name="connsiteX7" fmla="*/ 2126145 w 12828018"/>
                  <a:gd name="connsiteY7" fmla="*/ 2261936 h 3773269"/>
                  <a:gd name="connsiteX8" fmla="*/ 2471050 w 12828018"/>
                  <a:gd name="connsiteY8" fmla="*/ 2221831 h 3773269"/>
                  <a:gd name="connsiteX9" fmla="*/ 2775850 w 12828018"/>
                  <a:gd name="connsiteY9" fmla="*/ 2277978 h 3773269"/>
                  <a:gd name="connsiteX10" fmla="*/ 3112735 w 12828018"/>
                  <a:gd name="connsiteY10" fmla="*/ 2454442 h 3773269"/>
                  <a:gd name="connsiteX11" fmla="*/ 3353366 w 12828018"/>
                  <a:gd name="connsiteY11" fmla="*/ 2751221 h 3773269"/>
                  <a:gd name="connsiteX12" fmla="*/ 3433577 w 12828018"/>
                  <a:gd name="connsiteY12" fmla="*/ 2943726 h 3773269"/>
                  <a:gd name="connsiteX13" fmla="*/ 3481703 w 12828018"/>
                  <a:gd name="connsiteY13" fmla="*/ 3200400 h 3773269"/>
                  <a:gd name="connsiteX14" fmla="*/ 3513787 w 12828018"/>
                  <a:gd name="connsiteY14" fmla="*/ 3449052 h 3773269"/>
                  <a:gd name="connsiteX15" fmla="*/ 3505766 w 12828018"/>
                  <a:gd name="connsiteY15" fmla="*/ 3625515 h 3773269"/>
                  <a:gd name="connsiteX16" fmla="*/ 3505766 w 12828018"/>
                  <a:gd name="connsiteY16" fmla="*/ 3761873 h 3773269"/>
                  <a:gd name="connsiteX17" fmla="*/ 3561914 w 12828018"/>
                  <a:gd name="connsiteY17" fmla="*/ 3761873 h 3773269"/>
                  <a:gd name="connsiteX18" fmla="*/ 3722335 w 12828018"/>
                  <a:gd name="connsiteY18" fmla="*/ 3729789 h 3773269"/>
                  <a:gd name="connsiteX19" fmla="*/ 4043177 w 12828018"/>
                  <a:gd name="connsiteY19" fmla="*/ 3713747 h 3773269"/>
                  <a:gd name="connsiteX20" fmla="*/ 4596629 w 12828018"/>
                  <a:gd name="connsiteY20" fmla="*/ 3721768 h 3773269"/>
                  <a:gd name="connsiteX21" fmla="*/ 6040419 w 12828018"/>
                  <a:gd name="connsiteY21" fmla="*/ 3713747 h 3773269"/>
                  <a:gd name="connsiteX22" fmla="*/ 7572440 w 12828018"/>
                  <a:gd name="connsiteY22" fmla="*/ 3729789 h 3773269"/>
                  <a:gd name="connsiteX23" fmla="*/ 8623198 w 12828018"/>
                  <a:gd name="connsiteY23" fmla="*/ 3721768 h 3773269"/>
                  <a:gd name="connsiteX24" fmla="*/ 8960082 w 12828018"/>
                  <a:gd name="connsiteY24" fmla="*/ 3729789 h 3773269"/>
                  <a:gd name="connsiteX25" fmla="*/ 9072377 w 12828018"/>
                  <a:gd name="connsiteY25" fmla="*/ 3729789 h 3773269"/>
                  <a:gd name="connsiteX26" fmla="*/ 9128524 w 12828018"/>
                  <a:gd name="connsiteY26" fmla="*/ 3729789 h 3773269"/>
                  <a:gd name="connsiteX27" fmla="*/ 9136545 w 12828018"/>
                  <a:gd name="connsiteY27" fmla="*/ 3609473 h 3773269"/>
                  <a:gd name="connsiteX28" fmla="*/ 9128524 w 12828018"/>
                  <a:gd name="connsiteY28" fmla="*/ 3441031 h 3773269"/>
                  <a:gd name="connsiteX29" fmla="*/ 9192693 w 12828018"/>
                  <a:gd name="connsiteY29" fmla="*/ 3072063 h 3773269"/>
                  <a:gd name="connsiteX30" fmla="*/ 9313008 w 12828018"/>
                  <a:gd name="connsiteY30" fmla="*/ 2743200 h 3773269"/>
                  <a:gd name="connsiteX31" fmla="*/ 9545619 w 12828018"/>
                  <a:gd name="connsiteY31" fmla="*/ 2470484 h 3773269"/>
                  <a:gd name="connsiteX32" fmla="*/ 9898545 w 12828018"/>
                  <a:gd name="connsiteY32" fmla="*/ 2286000 h 3773269"/>
                  <a:gd name="connsiteX33" fmla="*/ 10227408 w 12828018"/>
                  <a:gd name="connsiteY33" fmla="*/ 2237873 h 3773269"/>
                  <a:gd name="connsiteX34" fmla="*/ 10652524 w 12828018"/>
                  <a:gd name="connsiteY34" fmla="*/ 2302042 h 3773269"/>
                  <a:gd name="connsiteX35" fmla="*/ 10949303 w 12828018"/>
                  <a:gd name="connsiteY35" fmla="*/ 2462463 h 3773269"/>
                  <a:gd name="connsiteX36" fmla="*/ 11165872 w 12828018"/>
                  <a:gd name="connsiteY36" fmla="*/ 2695073 h 3773269"/>
                  <a:gd name="connsiteX37" fmla="*/ 11286187 w 12828018"/>
                  <a:gd name="connsiteY37" fmla="*/ 2903621 h 3773269"/>
                  <a:gd name="connsiteX38" fmla="*/ 11318272 w 12828018"/>
                  <a:gd name="connsiteY38" fmla="*/ 3064042 h 3773269"/>
                  <a:gd name="connsiteX39" fmla="*/ 11334314 w 12828018"/>
                  <a:gd name="connsiteY39" fmla="*/ 3328736 h 3773269"/>
                  <a:gd name="connsiteX40" fmla="*/ 11318272 w 12828018"/>
                  <a:gd name="connsiteY40" fmla="*/ 3569368 h 3773269"/>
                  <a:gd name="connsiteX41" fmla="*/ 11334314 w 12828018"/>
                  <a:gd name="connsiteY41" fmla="*/ 3617494 h 3773269"/>
                  <a:gd name="connsiteX42" fmla="*/ 11462650 w 12828018"/>
                  <a:gd name="connsiteY42" fmla="*/ 3593431 h 3773269"/>
                  <a:gd name="connsiteX43" fmla="*/ 11663177 w 12828018"/>
                  <a:gd name="connsiteY43" fmla="*/ 3513221 h 3773269"/>
                  <a:gd name="connsiteX44" fmla="*/ 11951935 w 12828018"/>
                  <a:gd name="connsiteY44" fmla="*/ 3441031 h 3773269"/>
                  <a:gd name="connsiteX45" fmla="*/ 12296840 w 12828018"/>
                  <a:gd name="connsiteY45" fmla="*/ 3392905 h 3773269"/>
                  <a:gd name="connsiteX46" fmla="*/ 12601640 w 12828018"/>
                  <a:gd name="connsiteY46" fmla="*/ 3328736 h 3773269"/>
                  <a:gd name="connsiteX47" fmla="*/ 12681850 w 12828018"/>
                  <a:gd name="connsiteY47" fmla="*/ 3240505 h 3773269"/>
                  <a:gd name="connsiteX48" fmla="*/ 12721956 w 12828018"/>
                  <a:gd name="connsiteY48" fmla="*/ 3200400 h 3773269"/>
                  <a:gd name="connsiteX49" fmla="*/ 12737998 w 12828018"/>
                  <a:gd name="connsiteY49" fmla="*/ 3096126 h 3773269"/>
                  <a:gd name="connsiteX50" fmla="*/ 12810187 w 12828018"/>
                  <a:gd name="connsiteY50" fmla="*/ 2943726 h 3773269"/>
                  <a:gd name="connsiteX51" fmla="*/ 12818208 w 12828018"/>
                  <a:gd name="connsiteY51" fmla="*/ 2751221 h 3773269"/>
                  <a:gd name="connsiteX52" fmla="*/ 12818208 w 12828018"/>
                  <a:gd name="connsiteY52" fmla="*/ 2294021 h 3773269"/>
                  <a:gd name="connsiteX53" fmla="*/ 12689872 w 12828018"/>
                  <a:gd name="connsiteY53" fmla="*/ 2061410 h 3773269"/>
                  <a:gd name="connsiteX54" fmla="*/ 12593619 w 12828018"/>
                  <a:gd name="connsiteY54" fmla="*/ 1933073 h 3773269"/>
                  <a:gd name="connsiteX55" fmla="*/ 12529450 w 12828018"/>
                  <a:gd name="connsiteY55" fmla="*/ 1676400 h 3773269"/>
                  <a:gd name="connsiteX56" fmla="*/ 12417156 w 12828018"/>
                  <a:gd name="connsiteY56" fmla="*/ 1363578 h 3773269"/>
                  <a:gd name="connsiteX57" fmla="*/ 12280798 w 12828018"/>
                  <a:gd name="connsiteY57" fmla="*/ 1163052 h 3773269"/>
                  <a:gd name="connsiteX58" fmla="*/ 12248714 w 12828018"/>
                  <a:gd name="connsiteY58" fmla="*/ 1114926 h 3773269"/>
                  <a:gd name="connsiteX59" fmla="*/ 12144440 w 12828018"/>
                  <a:gd name="connsiteY59" fmla="*/ 1098884 h 3773269"/>
                  <a:gd name="connsiteX60" fmla="*/ 11695261 w 12828018"/>
                  <a:gd name="connsiteY60" fmla="*/ 1058778 h 3773269"/>
                  <a:gd name="connsiteX61" fmla="*/ 11470672 w 12828018"/>
                  <a:gd name="connsiteY61" fmla="*/ 1018673 h 3773269"/>
                  <a:gd name="connsiteX62" fmla="*/ 11085661 w 12828018"/>
                  <a:gd name="connsiteY62" fmla="*/ 874294 h 3773269"/>
                  <a:gd name="connsiteX63" fmla="*/ 10612419 w 12828018"/>
                  <a:gd name="connsiteY63" fmla="*/ 665747 h 3773269"/>
                  <a:gd name="connsiteX64" fmla="*/ 10034903 w 12828018"/>
                  <a:gd name="connsiteY64" fmla="*/ 433136 h 3773269"/>
                  <a:gd name="connsiteX65" fmla="*/ 9617808 w 12828018"/>
                  <a:gd name="connsiteY65" fmla="*/ 272715 h 3773269"/>
                  <a:gd name="connsiteX66" fmla="*/ 9160608 w 12828018"/>
                  <a:gd name="connsiteY66" fmla="*/ 152400 h 3773269"/>
                  <a:gd name="connsiteX67" fmla="*/ 8631219 w 12828018"/>
                  <a:gd name="connsiteY67" fmla="*/ 64168 h 3773269"/>
                  <a:gd name="connsiteX68" fmla="*/ 7965472 w 12828018"/>
                  <a:gd name="connsiteY68" fmla="*/ 16042 h 3773269"/>
                  <a:gd name="connsiteX69" fmla="*/ 7403998 w 12828018"/>
                  <a:gd name="connsiteY69" fmla="*/ 0 h 3773269"/>
                  <a:gd name="connsiteX70" fmla="*/ 6754293 w 12828018"/>
                  <a:gd name="connsiteY70" fmla="*/ 8021 h 3773269"/>
                  <a:gd name="connsiteX71" fmla="*/ 6208861 w 12828018"/>
                  <a:gd name="connsiteY71" fmla="*/ 56147 h 3773269"/>
                  <a:gd name="connsiteX72" fmla="*/ 5623324 w 12828018"/>
                  <a:gd name="connsiteY72" fmla="*/ 184484 h 3773269"/>
                  <a:gd name="connsiteX73" fmla="*/ 5254356 w 12828018"/>
                  <a:gd name="connsiteY73" fmla="*/ 336884 h 3773269"/>
                  <a:gd name="connsiteX74" fmla="*/ 4468293 w 12828018"/>
                  <a:gd name="connsiteY74" fmla="*/ 762000 h 3773269"/>
                  <a:gd name="connsiteX75" fmla="*/ 3834629 w 12828018"/>
                  <a:gd name="connsiteY75" fmla="*/ 1138989 h 3773269"/>
                  <a:gd name="connsiteX76" fmla="*/ 3642124 w 12828018"/>
                  <a:gd name="connsiteY76" fmla="*/ 1251284 h 3773269"/>
                  <a:gd name="connsiteX77" fmla="*/ 3457640 w 12828018"/>
                  <a:gd name="connsiteY77" fmla="*/ 1275347 h 3773269"/>
                  <a:gd name="connsiteX78" fmla="*/ 2815956 w 12828018"/>
                  <a:gd name="connsiteY78" fmla="*/ 1331494 h 3773269"/>
                  <a:gd name="connsiteX79" fmla="*/ 2158229 w 12828018"/>
                  <a:gd name="connsiteY79" fmla="*/ 1411705 h 3773269"/>
                  <a:gd name="connsiteX80" fmla="*/ 1580714 w 12828018"/>
                  <a:gd name="connsiteY80" fmla="*/ 1499936 h 3773269"/>
                  <a:gd name="connsiteX81" fmla="*/ 1075387 w 12828018"/>
                  <a:gd name="connsiteY81" fmla="*/ 1596189 h 3773269"/>
                  <a:gd name="connsiteX82" fmla="*/ 650272 w 12828018"/>
                  <a:gd name="connsiteY82" fmla="*/ 1748589 h 3773269"/>
                  <a:gd name="connsiteX83" fmla="*/ 457766 w 12828018"/>
                  <a:gd name="connsiteY83" fmla="*/ 1868905 h 3773269"/>
                  <a:gd name="connsiteX84" fmla="*/ 273282 w 12828018"/>
                  <a:gd name="connsiteY84" fmla="*/ 2101515 h 3773269"/>
                  <a:gd name="connsiteX85" fmla="*/ 169008 w 12828018"/>
                  <a:gd name="connsiteY85" fmla="*/ 2326105 h 3773269"/>
                  <a:gd name="connsiteX86" fmla="*/ 88798 w 12828018"/>
                  <a:gd name="connsiteY86" fmla="*/ 2454442 h 3773269"/>
                  <a:gd name="connsiteX87" fmla="*/ 8587 w 12828018"/>
                  <a:gd name="connsiteY87" fmla="*/ 2855494 h 3773269"/>
                  <a:gd name="connsiteX88" fmla="*/ 8587 w 12828018"/>
                  <a:gd name="connsiteY88" fmla="*/ 3080084 h 3773269"/>
                  <a:gd name="connsiteX89" fmla="*/ 64735 w 12828018"/>
                  <a:gd name="connsiteY89" fmla="*/ 3232484 h 3773269"/>
                  <a:gd name="connsiteX90" fmla="*/ 64735 w 12828018"/>
                  <a:gd name="connsiteY90" fmla="*/ 3433010 h 3773269"/>
                  <a:gd name="connsiteX91" fmla="*/ 120882 w 12828018"/>
                  <a:gd name="connsiteY91" fmla="*/ 3481136 h 3773269"/>
                  <a:gd name="connsiteX92" fmla="*/ 345472 w 12828018"/>
                  <a:gd name="connsiteY92" fmla="*/ 3601452 h 3773269"/>
                  <a:gd name="connsiteX93" fmla="*/ 706419 w 12828018"/>
                  <a:gd name="connsiteY93" fmla="*/ 3673642 h 3773269"/>
                  <a:gd name="connsiteX94" fmla="*/ 1051324 w 12828018"/>
                  <a:gd name="connsiteY94" fmla="*/ 3697705 h 3773269"/>
                  <a:gd name="connsiteX95" fmla="*/ 1251850 w 12828018"/>
                  <a:gd name="connsiteY95" fmla="*/ 3729789 h 3773269"/>
                  <a:gd name="connsiteX96" fmla="*/ 1275914 w 12828018"/>
                  <a:gd name="connsiteY96" fmla="*/ 3697705 h 3773269"/>
                  <a:gd name="connsiteX97" fmla="*/ 1259872 w 12828018"/>
                  <a:gd name="connsiteY97" fmla="*/ 3489157 h 377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28018" h="3773269">
                    <a:moveTo>
                      <a:pt x="1259872" y="3489157"/>
                    </a:moveTo>
                    <a:cubicBezTo>
                      <a:pt x="1259872" y="3424989"/>
                      <a:pt x="1267893" y="3382210"/>
                      <a:pt x="1275914" y="3312694"/>
                    </a:cubicBezTo>
                    <a:cubicBezTo>
                      <a:pt x="1283935" y="3243178"/>
                      <a:pt x="1290619" y="3146926"/>
                      <a:pt x="1307998" y="3072063"/>
                    </a:cubicBezTo>
                    <a:cubicBezTo>
                      <a:pt x="1325377" y="2997200"/>
                      <a:pt x="1352113" y="2927683"/>
                      <a:pt x="1380187" y="2863515"/>
                    </a:cubicBezTo>
                    <a:cubicBezTo>
                      <a:pt x="1408261" y="2799346"/>
                      <a:pt x="1428314" y="2749884"/>
                      <a:pt x="1476440" y="2687052"/>
                    </a:cubicBezTo>
                    <a:cubicBezTo>
                      <a:pt x="1524566" y="2624220"/>
                      <a:pt x="1600766" y="2542673"/>
                      <a:pt x="1668945" y="2486526"/>
                    </a:cubicBezTo>
                    <a:cubicBezTo>
                      <a:pt x="1737124" y="2430379"/>
                      <a:pt x="1809314" y="2387600"/>
                      <a:pt x="1885514" y="2350168"/>
                    </a:cubicBezTo>
                    <a:cubicBezTo>
                      <a:pt x="1961714" y="2312736"/>
                      <a:pt x="2028556" y="2283325"/>
                      <a:pt x="2126145" y="2261936"/>
                    </a:cubicBezTo>
                    <a:cubicBezTo>
                      <a:pt x="2223734" y="2240547"/>
                      <a:pt x="2362766" y="2219157"/>
                      <a:pt x="2471050" y="2221831"/>
                    </a:cubicBezTo>
                    <a:cubicBezTo>
                      <a:pt x="2579334" y="2224505"/>
                      <a:pt x="2668903" y="2239210"/>
                      <a:pt x="2775850" y="2277978"/>
                    </a:cubicBezTo>
                    <a:cubicBezTo>
                      <a:pt x="2882797" y="2316746"/>
                      <a:pt x="3016482" y="2375568"/>
                      <a:pt x="3112735" y="2454442"/>
                    </a:cubicBezTo>
                    <a:cubicBezTo>
                      <a:pt x="3208988" y="2533316"/>
                      <a:pt x="3299892" y="2669674"/>
                      <a:pt x="3353366" y="2751221"/>
                    </a:cubicBezTo>
                    <a:cubicBezTo>
                      <a:pt x="3406840" y="2832768"/>
                      <a:pt x="3412188" y="2868863"/>
                      <a:pt x="3433577" y="2943726"/>
                    </a:cubicBezTo>
                    <a:cubicBezTo>
                      <a:pt x="3454966" y="3018589"/>
                      <a:pt x="3468335" y="3116179"/>
                      <a:pt x="3481703" y="3200400"/>
                    </a:cubicBezTo>
                    <a:cubicBezTo>
                      <a:pt x="3495071" y="3284621"/>
                      <a:pt x="3509777" y="3378200"/>
                      <a:pt x="3513787" y="3449052"/>
                    </a:cubicBezTo>
                    <a:cubicBezTo>
                      <a:pt x="3517797" y="3519904"/>
                      <a:pt x="3507103" y="3573378"/>
                      <a:pt x="3505766" y="3625515"/>
                    </a:cubicBezTo>
                    <a:cubicBezTo>
                      <a:pt x="3504429" y="3677652"/>
                      <a:pt x="3496408" y="3739147"/>
                      <a:pt x="3505766" y="3761873"/>
                    </a:cubicBezTo>
                    <a:cubicBezTo>
                      <a:pt x="3515124" y="3784599"/>
                      <a:pt x="3525819" y="3767220"/>
                      <a:pt x="3561914" y="3761873"/>
                    </a:cubicBezTo>
                    <a:cubicBezTo>
                      <a:pt x="3598009" y="3756526"/>
                      <a:pt x="3642125" y="3737810"/>
                      <a:pt x="3722335" y="3729789"/>
                    </a:cubicBezTo>
                    <a:cubicBezTo>
                      <a:pt x="3802546" y="3721768"/>
                      <a:pt x="4043177" y="3713747"/>
                      <a:pt x="4043177" y="3713747"/>
                    </a:cubicBezTo>
                    <a:lnTo>
                      <a:pt x="4596629" y="3721768"/>
                    </a:lnTo>
                    <a:lnTo>
                      <a:pt x="6040419" y="3713747"/>
                    </a:lnTo>
                    <a:lnTo>
                      <a:pt x="7572440" y="3729789"/>
                    </a:lnTo>
                    <a:lnTo>
                      <a:pt x="8623198" y="3721768"/>
                    </a:lnTo>
                    <a:cubicBezTo>
                      <a:pt x="8854472" y="3721768"/>
                      <a:pt x="8885219" y="3728452"/>
                      <a:pt x="8960082" y="3729789"/>
                    </a:cubicBezTo>
                    <a:cubicBezTo>
                      <a:pt x="9034945" y="3731126"/>
                      <a:pt x="9072377" y="3729789"/>
                      <a:pt x="9072377" y="3729789"/>
                    </a:cubicBezTo>
                    <a:cubicBezTo>
                      <a:pt x="9100451" y="3729789"/>
                      <a:pt x="9117829" y="3749842"/>
                      <a:pt x="9128524" y="3729789"/>
                    </a:cubicBezTo>
                    <a:cubicBezTo>
                      <a:pt x="9139219" y="3709736"/>
                      <a:pt x="9136545" y="3657599"/>
                      <a:pt x="9136545" y="3609473"/>
                    </a:cubicBezTo>
                    <a:cubicBezTo>
                      <a:pt x="9136545" y="3561347"/>
                      <a:pt x="9119166" y="3530599"/>
                      <a:pt x="9128524" y="3441031"/>
                    </a:cubicBezTo>
                    <a:cubicBezTo>
                      <a:pt x="9137882" y="3351463"/>
                      <a:pt x="9161946" y="3188368"/>
                      <a:pt x="9192693" y="3072063"/>
                    </a:cubicBezTo>
                    <a:cubicBezTo>
                      <a:pt x="9223440" y="2955758"/>
                      <a:pt x="9254187" y="2843463"/>
                      <a:pt x="9313008" y="2743200"/>
                    </a:cubicBezTo>
                    <a:cubicBezTo>
                      <a:pt x="9371829" y="2642937"/>
                      <a:pt x="9448030" y="2546684"/>
                      <a:pt x="9545619" y="2470484"/>
                    </a:cubicBezTo>
                    <a:cubicBezTo>
                      <a:pt x="9643209" y="2394284"/>
                      <a:pt x="9784914" y="2324768"/>
                      <a:pt x="9898545" y="2286000"/>
                    </a:cubicBezTo>
                    <a:cubicBezTo>
                      <a:pt x="10012176" y="2247232"/>
                      <a:pt x="10101745" y="2235199"/>
                      <a:pt x="10227408" y="2237873"/>
                    </a:cubicBezTo>
                    <a:cubicBezTo>
                      <a:pt x="10353071" y="2240547"/>
                      <a:pt x="10532208" y="2264610"/>
                      <a:pt x="10652524" y="2302042"/>
                    </a:cubicBezTo>
                    <a:cubicBezTo>
                      <a:pt x="10772840" y="2339474"/>
                      <a:pt x="10863745" y="2396958"/>
                      <a:pt x="10949303" y="2462463"/>
                    </a:cubicBezTo>
                    <a:cubicBezTo>
                      <a:pt x="11034861" y="2527968"/>
                      <a:pt x="11109725" y="2621547"/>
                      <a:pt x="11165872" y="2695073"/>
                    </a:cubicBezTo>
                    <a:cubicBezTo>
                      <a:pt x="11222019" y="2768599"/>
                      <a:pt x="11260787" y="2842126"/>
                      <a:pt x="11286187" y="2903621"/>
                    </a:cubicBezTo>
                    <a:cubicBezTo>
                      <a:pt x="11311587" y="2965116"/>
                      <a:pt x="11310251" y="2993189"/>
                      <a:pt x="11318272" y="3064042"/>
                    </a:cubicBezTo>
                    <a:cubicBezTo>
                      <a:pt x="11326293" y="3134894"/>
                      <a:pt x="11334314" y="3244515"/>
                      <a:pt x="11334314" y="3328736"/>
                    </a:cubicBezTo>
                    <a:cubicBezTo>
                      <a:pt x="11334314" y="3412957"/>
                      <a:pt x="11318272" y="3521242"/>
                      <a:pt x="11318272" y="3569368"/>
                    </a:cubicBezTo>
                    <a:cubicBezTo>
                      <a:pt x="11318272" y="3617494"/>
                      <a:pt x="11310251" y="3613484"/>
                      <a:pt x="11334314" y="3617494"/>
                    </a:cubicBezTo>
                    <a:cubicBezTo>
                      <a:pt x="11358377" y="3621505"/>
                      <a:pt x="11407840" y="3610810"/>
                      <a:pt x="11462650" y="3593431"/>
                    </a:cubicBezTo>
                    <a:cubicBezTo>
                      <a:pt x="11517461" y="3576052"/>
                      <a:pt x="11581629" y="3538621"/>
                      <a:pt x="11663177" y="3513221"/>
                    </a:cubicBezTo>
                    <a:cubicBezTo>
                      <a:pt x="11744725" y="3487821"/>
                      <a:pt x="11846325" y="3461084"/>
                      <a:pt x="11951935" y="3441031"/>
                    </a:cubicBezTo>
                    <a:cubicBezTo>
                      <a:pt x="12057546" y="3420978"/>
                      <a:pt x="12188556" y="3411621"/>
                      <a:pt x="12296840" y="3392905"/>
                    </a:cubicBezTo>
                    <a:cubicBezTo>
                      <a:pt x="12405124" y="3374189"/>
                      <a:pt x="12537472" y="3354136"/>
                      <a:pt x="12601640" y="3328736"/>
                    </a:cubicBezTo>
                    <a:cubicBezTo>
                      <a:pt x="12665808" y="3303336"/>
                      <a:pt x="12661797" y="3261894"/>
                      <a:pt x="12681850" y="3240505"/>
                    </a:cubicBezTo>
                    <a:cubicBezTo>
                      <a:pt x="12701903" y="3219116"/>
                      <a:pt x="12712598" y="3224463"/>
                      <a:pt x="12721956" y="3200400"/>
                    </a:cubicBezTo>
                    <a:cubicBezTo>
                      <a:pt x="12731314" y="3176337"/>
                      <a:pt x="12723293" y="3138905"/>
                      <a:pt x="12737998" y="3096126"/>
                    </a:cubicBezTo>
                    <a:cubicBezTo>
                      <a:pt x="12752703" y="3053347"/>
                      <a:pt x="12796819" y="3001210"/>
                      <a:pt x="12810187" y="2943726"/>
                    </a:cubicBezTo>
                    <a:cubicBezTo>
                      <a:pt x="12823555" y="2886242"/>
                      <a:pt x="12816871" y="2859505"/>
                      <a:pt x="12818208" y="2751221"/>
                    </a:cubicBezTo>
                    <a:cubicBezTo>
                      <a:pt x="12819545" y="2642937"/>
                      <a:pt x="12839597" y="2408989"/>
                      <a:pt x="12818208" y="2294021"/>
                    </a:cubicBezTo>
                    <a:cubicBezTo>
                      <a:pt x="12796819" y="2179053"/>
                      <a:pt x="12727304" y="2121568"/>
                      <a:pt x="12689872" y="2061410"/>
                    </a:cubicBezTo>
                    <a:cubicBezTo>
                      <a:pt x="12652440" y="2001252"/>
                      <a:pt x="12620356" y="1997241"/>
                      <a:pt x="12593619" y="1933073"/>
                    </a:cubicBezTo>
                    <a:cubicBezTo>
                      <a:pt x="12566882" y="1868905"/>
                      <a:pt x="12558860" y="1771316"/>
                      <a:pt x="12529450" y="1676400"/>
                    </a:cubicBezTo>
                    <a:cubicBezTo>
                      <a:pt x="12500040" y="1581484"/>
                      <a:pt x="12458598" y="1449136"/>
                      <a:pt x="12417156" y="1363578"/>
                    </a:cubicBezTo>
                    <a:cubicBezTo>
                      <a:pt x="12375714" y="1278020"/>
                      <a:pt x="12308872" y="1204494"/>
                      <a:pt x="12280798" y="1163052"/>
                    </a:cubicBezTo>
                    <a:cubicBezTo>
                      <a:pt x="12252724" y="1121610"/>
                      <a:pt x="12271440" y="1125621"/>
                      <a:pt x="12248714" y="1114926"/>
                    </a:cubicBezTo>
                    <a:cubicBezTo>
                      <a:pt x="12225988" y="1104231"/>
                      <a:pt x="12236682" y="1108242"/>
                      <a:pt x="12144440" y="1098884"/>
                    </a:cubicBezTo>
                    <a:cubicBezTo>
                      <a:pt x="12052198" y="1089526"/>
                      <a:pt x="11807556" y="1072147"/>
                      <a:pt x="11695261" y="1058778"/>
                    </a:cubicBezTo>
                    <a:cubicBezTo>
                      <a:pt x="11582966" y="1045409"/>
                      <a:pt x="11572272" y="1049420"/>
                      <a:pt x="11470672" y="1018673"/>
                    </a:cubicBezTo>
                    <a:cubicBezTo>
                      <a:pt x="11369072" y="987926"/>
                      <a:pt x="11228703" y="933115"/>
                      <a:pt x="11085661" y="874294"/>
                    </a:cubicBezTo>
                    <a:cubicBezTo>
                      <a:pt x="10942619" y="815473"/>
                      <a:pt x="10787545" y="739273"/>
                      <a:pt x="10612419" y="665747"/>
                    </a:cubicBezTo>
                    <a:cubicBezTo>
                      <a:pt x="10437293" y="592221"/>
                      <a:pt x="10200671" y="498641"/>
                      <a:pt x="10034903" y="433136"/>
                    </a:cubicBezTo>
                    <a:cubicBezTo>
                      <a:pt x="9869135" y="367631"/>
                      <a:pt x="9763524" y="319504"/>
                      <a:pt x="9617808" y="272715"/>
                    </a:cubicBezTo>
                    <a:cubicBezTo>
                      <a:pt x="9472092" y="225926"/>
                      <a:pt x="9325040" y="187158"/>
                      <a:pt x="9160608" y="152400"/>
                    </a:cubicBezTo>
                    <a:cubicBezTo>
                      <a:pt x="8996177" y="117642"/>
                      <a:pt x="8830408" y="86894"/>
                      <a:pt x="8631219" y="64168"/>
                    </a:cubicBezTo>
                    <a:cubicBezTo>
                      <a:pt x="8432030" y="41442"/>
                      <a:pt x="8170009" y="26737"/>
                      <a:pt x="7965472" y="16042"/>
                    </a:cubicBezTo>
                    <a:cubicBezTo>
                      <a:pt x="7760935" y="5347"/>
                      <a:pt x="7403998" y="0"/>
                      <a:pt x="7403998" y="0"/>
                    </a:cubicBezTo>
                    <a:lnTo>
                      <a:pt x="6754293" y="8021"/>
                    </a:lnTo>
                    <a:cubicBezTo>
                      <a:pt x="6555104" y="17379"/>
                      <a:pt x="6397356" y="26736"/>
                      <a:pt x="6208861" y="56147"/>
                    </a:cubicBezTo>
                    <a:cubicBezTo>
                      <a:pt x="6020366" y="85558"/>
                      <a:pt x="5782408" y="137695"/>
                      <a:pt x="5623324" y="184484"/>
                    </a:cubicBezTo>
                    <a:cubicBezTo>
                      <a:pt x="5464240" y="231273"/>
                      <a:pt x="5446861" y="240631"/>
                      <a:pt x="5254356" y="336884"/>
                    </a:cubicBezTo>
                    <a:cubicBezTo>
                      <a:pt x="5061851" y="433137"/>
                      <a:pt x="4704914" y="628316"/>
                      <a:pt x="4468293" y="762000"/>
                    </a:cubicBezTo>
                    <a:cubicBezTo>
                      <a:pt x="4231672" y="895684"/>
                      <a:pt x="3834629" y="1138989"/>
                      <a:pt x="3834629" y="1138989"/>
                    </a:cubicBezTo>
                    <a:cubicBezTo>
                      <a:pt x="3696934" y="1220536"/>
                      <a:pt x="3704956" y="1228558"/>
                      <a:pt x="3642124" y="1251284"/>
                    </a:cubicBezTo>
                    <a:cubicBezTo>
                      <a:pt x="3579293" y="1274010"/>
                      <a:pt x="3457640" y="1275347"/>
                      <a:pt x="3457640" y="1275347"/>
                    </a:cubicBezTo>
                    <a:lnTo>
                      <a:pt x="2815956" y="1331494"/>
                    </a:lnTo>
                    <a:cubicBezTo>
                      <a:pt x="2599388" y="1354220"/>
                      <a:pt x="2364103" y="1383631"/>
                      <a:pt x="2158229" y="1411705"/>
                    </a:cubicBezTo>
                    <a:cubicBezTo>
                      <a:pt x="1952355" y="1439779"/>
                      <a:pt x="1761188" y="1469189"/>
                      <a:pt x="1580714" y="1499936"/>
                    </a:cubicBezTo>
                    <a:cubicBezTo>
                      <a:pt x="1400240" y="1530683"/>
                      <a:pt x="1230461" y="1554747"/>
                      <a:pt x="1075387" y="1596189"/>
                    </a:cubicBezTo>
                    <a:cubicBezTo>
                      <a:pt x="920313" y="1637631"/>
                      <a:pt x="753209" y="1703136"/>
                      <a:pt x="650272" y="1748589"/>
                    </a:cubicBezTo>
                    <a:cubicBezTo>
                      <a:pt x="547335" y="1794042"/>
                      <a:pt x="520597" y="1810084"/>
                      <a:pt x="457766" y="1868905"/>
                    </a:cubicBezTo>
                    <a:cubicBezTo>
                      <a:pt x="394935" y="1927726"/>
                      <a:pt x="321408" y="2025315"/>
                      <a:pt x="273282" y="2101515"/>
                    </a:cubicBezTo>
                    <a:cubicBezTo>
                      <a:pt x="225156" y="2177715"/>
                      <a:pt x="199755" y="2267284"/>
                      <a:pt x="169008" y="2326105"/>
                    </a:cubicBezTo>
                    <a:cubicBezTo>
                      <a:pt x="138261" y="2384926"/>
                      <a:pt x="115535" y="2366211"/>
                      <a:pt x="88798" y="2454442"/>
                    </a:cubicBezTo>
                    <a:cubicBezTo>
                      <a:pt x="62061" y="2542673"/>
                      <a:pt x="21956" y="2751220"/>
                      <a:pt x="8587" y="2855494"/>
                    </a:cubicBezTo>
                    <a:cubicBezTo>
                      <a:pt x="-4782" y="2959768"/>
                      <a:pt x="-771" y="3017253"/>
                      <a:pt x="8587" y="3080084"/>
                    </a:cubicBezTo>
                    <a:cubicBezTo>
                      <a:pt x="17945" y="3142915"/>
                      <a:pt x="55377" y="3173663"/>
                      <a:pt x="64735" y="3232484"/>
                    </a:cubicBezTo>
                    <a:cubicBezTo>
                      <a:pt x="74093" y="3291305"/>
                      <a:pt x="55377" y="3391568"/>
                      <a:pt x="64735" y="3433010"/>
                    </a:cubicBezTo>
                    <a:cubicBezTo>
                      <a:pt x="74093" y="3474452"/>
                      <a:pt x="74092" y="3453062"/>
                      <a:pt x="120882" y="3481136"/>
                    </a:cubicBezTo>
                    <a:cubicBezTo>
                      <a:pt x="167671" y="3509210"/>
                      <a:pt x="247883" y="3569368"/>
                      <a:pt x="345472" y="3601452"/>
                    </a:cubicBezTo>
                    <a:cubicBezTo>
                      <a:pt x="443061" y="3633536"/>
                      <a:pt x="588777" y="3657600"/>
                      <a:pt x="706419" y="3673642"/>
                    </a:cubicBezTo>
                    <a:cubicBezTo>
                      <a:pt x="824061" y="3689684"/>
                      <a:pt x="960419" y="3688347"/>
                      <a:pt x="1051324" y="3697705"/>
                    </a:cubicBezTo>
                    <a:cubicBezTo>
                      <a:pt x="1142229" y="3707063"/>
                      <a:pt x="1214418" y="3729789"/>
                      <a:pt x="1251850" y="3729789"/>
                    </a:cubicBezTo>
                    <a:cubicBezTo>
                      <a:pt x="1289282" y="3729789"/>
                      <a:pt x="1273240" y="3739147"/>
                      <a:pt x="1275914" y="3697705"/>
                    </a:cubicBezTo>
                    <a:cubicBezTo>
                      <a:pt x="1278588" y="3656263"/>
                      <a:pt x="1259872" y="3553325"/>
                      <a:pt x="1259872" y="348915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1" name="Oval 1660"/>
              <p:cNvSpPr/>
              <p:nvPr/>
            </p:nvSpPr>
            <p:spPr bwMode="auto">
              <a:xfrm>
                <a:off x="1367928"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2" name="Oval 1661"/>
              <p:cNvSpPr/>
              <p:nvPr/>
            </p:nvSpPr>
            <p:spPr bwMode="auto">
              <a:xfrm>
                <a:off x="9163831"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3" name="Oval 1662"/>
              <p:cNvSpPr/>
              <p:nvPr/>
            </p:nvSpPr>
            <p:spPr bwMode="auto">
              <a:xfrm>
                <a:off x="1677434"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4" name="Oval 1663"/>
              <p:cNvSpPr/>
              <p:nvPr/>
            </p:nvSpPr>
            <p:spPr bwMode="auto">
              <a:xfrm>
                <a:off x="9493068"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5" name="Freeform 1664"/>
              <p:cNvSpPr/>
              <p:nvPr/>
            </p:nvSpPr>
            <p:spPr bwMode="auto">
              <a:xfrm>
                <a:off x="6023811" y="3064042"/>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6" name="Freeform 1665"/>
              <p:cNvSpPr/>
              <p:nvPr/>
            </p:nvSpPr>
            <p:spPr bwMode="auto">
              <a:xfrm>
                <a:off x="8857759" y="2942649"/>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7" name="Freeform 1666"/>
              <p:cNvSpPr/>
              <p:nvPr/>
            </p:nvSpPr>
            <p:spPr bwMode="auto">
              <a:xfrm>
                <a:off x="3745051" y="1498174"/>
                <a:ext cx="6253764" cy="1405533"/>
              </a:xfrm>
              <a:custGeom>
                <a:avLst/>
                <a:gdLst>
                  <a:gd name="connsiteX0" fmla="*/ 193076 w 6255901"/>
                  <a:gd name="connsiteY0" fmla="*/ 1164815 h 1405533"/>
                  <a:gd name="connsiteX1" fmla="*/ 393602 w 6255901"/>
                  <a:gd name="connsiteY1" fmla="*/ 1004394 h 1405533"/>
                  <a:gd name="connsiteX2" fmla="*/ 690381 w 6255901"/>
                  <a:gd name="connsiteY2" fmla="*/ 827931 h 1405533"/>
                  <a:gd name="connsiteX3" fmla="*/ 1059350 w 6255901"/>
                  <a:gd name="connsiteY3" fmla="*/ 611363 h 1405533"/>
                  <a:gd name="connsiteX4" fmla="*/ 1468423 w 6255901"/>
                  <a:gd name="connsiteY4" fmla="*/ 378752 h 1405533"/>
                  <a:gd name="connsiteX5" fmla="*/ 1749160 w 6255901"/>
                  <a:gd name="connsiteY5" fmla="*/ 250415 h 1405533"/>
                  <a:gd name="connsiteX6" fmla="*/ 2158234 w 6255901"/>
                  <a:gd name="connsiteY6" fmla="*/ 138121 h 1405533"/>
                  <a:gd name="connsiteX7" fmla="*/ 2799918 w 6255901"/>
                  <a:gd name="connsiteY7" fmla="*/ 33847 h 1405533"/>
                  <a:gd name="connsiteX8" fmla="*/ 3305244 w 6255901"/>
                  <a:gd name="connsiteY8" fmla="*/ 9784 h 1405533"/>
                  <a:gd name="connsiteX9" fmla="*/ 3834634 w 6255901"/>
                  <a:gd name="connsiteY9" fmla="*/ 1763 h 1405533"/>
                  <a:gd name="connsiteX10" fmla="*/ 4508402 w 6255901"/>
                  <a:gd name="connsiteY10" fmla="*/ 41868 h 1405533"/>
                  <a:gd name="connsiteX11" fmla="*/ 5206234 w 6255901"/>
                  <a:gd name="connsiteY11" fmla="*/ 146142 h 1405533"/>
                  <a:gd name="connsiteX12" fmla="*/ 5687497 w 6255901"/>
                  <a:gd name="connsiteY12" fmla="*/ 298542 h 1405533"/>
                  <a:gd name="connsiteX13" fmla="*/ 6088550 w 6255901"/>
                  <a:gd name="connsiteY13" fmla="*/ 475005 h 1405533"/>
                  <a:gd name="connsiteX14" fmla="*/ 6224907 w 6255901"/>
                  <a:gd name="connsiteY14" fmla="*/ 563237 h 1405533"/>
                  <a:gd name="connsiteX15" fmla="*/ 6248971 w 6255901"/>
                  <a:gd name="connsiteY15" fmla="*/ 707615 h 1405533"/>
                  <a:gd name="connsiteX16" fmla="*/ 6128655 w 6255901"/>
                  <a:gd name="connsiteY16" fmla="*/ 1044500 h 1405533"/>
                  <a:gd name="connsiteX17" fmla="*/ 6120634 w 6255901"/>
                  <a:gd name="connsiteY17" fmla="*/ 1100647 h 1405533"/>
                  <a:gd name="connsiteX18" fmla="*/ 6032402 w 6255901"/>
                  <a:gd name="connsiteY18" fmla="*/ 1108668 h 1405533"/>
                  <a:gd name="connsiteX19" fmla="*/ 5326550 w 6255901"/>
                  <a:gd name="connsiteY19" fmla="*/ 1148773 h 1405533"/>
                  <a:gd name="connsiteX20" fmla="*/ 3979013 w 6255901"/>
                  <a:gd name="connsiteY20" fmla="*/ 1196900 h 1405533"/>
                  <a:gd name="connsiteX21" fmla="*/ 3192950 w 6255901"/>
                  <a:gd name="connsiteY21" fmla="*/ 1237005 h 1405533"/>
                  <a:gd name="connsiteX22" fmla="*/ 2053960 w 6255901"/>
                  <a:gd name="connsiteY22" fmla="*/ 1285131 h 1405533"/>
                  <a:gd name="connsiteX23" fmla="*/ 1059350 w 6255901"/>
                  <a:gd name="connsiteY23" fmla="*/ 1341279 h 1405533"/>
                  <a:gd name="connsiteX24" fmla="*/ 489855 w 6255901"/>
                  <a:gd name="connsiteY24" fmla="*/ 1373363 h 1405533"/>
                  <a:gd name="connsiteX25" fmla="*/ 120886 w 6255901"/>
                  <a:gd name="connsiteY25" fmla="*/ 1397426 h 1405533"/>
                  <a:gd name="connsiteX26" fmla="*/ 571 w 6255901"/>
                  <a:gd name="connsiteY26" fmla="*/ 1397426 h 1405533"/>
                  <a:gd name="connsiteX27" fmla="*/ 80781 w 6255901"/>
                  <a:gd name="connsiteY27" fmla="*/ 1301173 h 1405533"/>
                  <a:gd name="connsiteX28" fmla="*/ 193076 w 6255901"/>
                  <a:gd name="connsiteY28" fmla="*/ 1164815 h 1405533"/>
                  <a:gd name="connsiteX0" fmla="*/ 193286 w 6256111"/>
                  <a:gd name="connsiteY0" fmla="*/ 1164815 h 1405533"/>
                  <a:gd name="connsiteX1" fmla="*/ 393812 w 6256111"/>
                  <a:gd name="connsiteY1" fmla="*/ 1004394 h 1405533"/>
                  <a:gd name="connsiteX2" fmla="*/ 690591 w 6256111"/>
                  <a:gd name="connsiteY2" fmla="*/ 827931 h 1405533"/>
                  <a:gd name="connsiteX3" fmla="*/ 1059560 w 6256111"/>
                  <a:gd name="connsiteY3" fmla="*/ 611363 h 1405533"/>
                  <a:gd name="connsiteX4" fmla="*/ 1468633 w 6256111"/>
                  <a:gd name="connsiteY4" fmla="*/ 378752 h 1405533"/>
                  <a:gd name="connsiteX5" fmla="*/ 1749370 w 6256111"/>
                  <a:gd name="connsiteY5" fmla="*/ 250415 h 1405533"/>
                  <a:gd name="connsiteX6" fmla="*/ 2158444 w 6256111"/>
                  <a:gd name="connsiteY6" fmla="*/ 138121 h 1405533"/>
                  <a:gd name="connsiteX7" fmla="*/ 2800128 w 6256111"/>
                  <a:gd name="connsiteY7" fmla="*/ 33847 h 1405533"/>
                  <a:gd name="connsiteX8" fmla="*/ 3305454 w 6256111"/>
                  <a:gd name="connsiteY8" fmla="*/ 9784 h 1405533"/>
                  <a:gd name="connsiteX9" fmla="*/ 3834844 w 6256111"/>
                  <a:gd name="connsiteY9" fmla="*/ 1763 h 1405533"/>
                  <a:gd name="connsiteX10" fmla="*/ 4508612 w 6256111"/>
                  <a:gd name="connsiteY10" fmla="*/ 41868 h 1405533"/>
                  <a:gd name="connsiteX11" fmla="*/ 5206444 w 6256111"/>
                  <a:gd name="connsiteY11" fmla="*/ 146142 h 1405533"/>
                  <a:gd name="connsiteX12" fmla="*/ 5687707 w 6256111"/>
                  <a:gd name="connsiteY12" fmla="*/ 298542 h 1405533"/>
                  <a:gd name="connsiteX13" fmla="*/ 6088760 w 6256111"/>
                  <a:gd name="connsiteY13" fmla="*/ 475005 h 1405533"/>
                  <a:gd name="connsiteX14" fmla="*/ 6225117 w 6256111"/>
                  <a:gd name="connsiteY14" fmla="*/ 563237 h 1405533"/>
                  <a:gd name="connsiteX15" fmla="*/ 6249181 w 6256111"/>
                  <a:gd name="connsiteY15" fmla="*/ 707615 h 1405533"/>
                  <a:gd name="connsiteX16" fmla="*/ 6128865 w 6256111"/>
                  <a:gd name="connsiteY16" fmla="*/ 1044500 h 1405533"/>
                  <a:gd name="connsiteX17" fmla="*/ 6120844 w 6256111"/>
                  <a:gd name="connsiteY17" fmla="*/ 1100647 h 1405533"/>
                  <a:gd name="connsiteX18" fmla="*/ 6032612 w 6256111"/>
                  <a:gd name="connsiteY18" fmla="*/ 1108668 h 1405533"/>
                  <a:gd name="connsiteX19" fmla="*/ 5326760 w 6256111"/>
                  <a:gd name="connsiteY19" fmla="*/ 1148773 h 1405533"/>
                  <a:gd name="connsiteX20" fmla="*/ 3979223 w 6256111"/>
                  <a:gd name="connsiteY20" fmla="*/ 1196900 h 1405533"/>
                  <a:gd name="connsiteX21" fmla="*/ 3193160 w 6256111"/>
                  <a:gd name="connsiteY21" fmla="*/ 1237005 h 1405533"/>
                  <a:gd name="connsiteX22" fmla="*/ 2054170 w 6256111"/>
                  <a:gd name="connsiteY22" fmla="*/ 1285131 h 1405533"/>
                  <a:gd name="connsiteX23" fmla="*/ 1059560 w 6256111"/>
                  <a:gd name="connsiteY23" fmla="*/ 1341279 h 1405533"/>
                  <a:gd name="connsiteX24" fmla="*/ 490065 w 6256111"/>
                  <a:gd name="connsiteY24" fmla="*/ 1373363 h 1405533"/>
                  <a:gd name="connsiteX25" fmla="*/ 121096 w 6256111"/>
                  <a:gd name="connsiteY25" fmla="*/ 1397426 h 1405533"/>
                  <a:gd name="connsiteX26" fmla="*/ 781 w 6256111"/>
                  <a:gd name="connsiteY26" fmla="*/ 1397426 h 1405533"/>
                  <a:gd name="connsiteX27" fmla="*/ 64949 w 6256111"/>
                  <a:gd name="connsiteY27" fmla="*/ 1277110 h 1405533"/>
                  <a:gd name="connsiteX28" fmla="*/ 193286 w 6256111"/>
                  <a:gd name="connsiteY28" fmla="*/ 1164815 h 1405533"/>
                  <a:gd name="connsiteX0" fmla="*/ 193286 w 6253764"/>
                  <a:gd name="connsiteY0" fmla="*/ 1164815 h 1405533"/>
                  <a:gd name="connsiteX1" fmla="*/ 393812 w 6253764"/>
                  <a:gd name="connsiteY1" fmla="*/ 1004394 h 1405533"/>
                  <a:gd name="connsiteX2" fmla="*/ 690591 w 6253764"/>
                  <a:gd name="connsiteY2" fmla="*/ 827931 h 1405533"/>
                  <a:gd name="connsiteX3" fmla="*/ 1059560 w 6253764"/>
                  <a:gd name="connsiteY3" fmla="*/ 611363 h 1405533"/>
                  <a:gd name="connsiteX4" fmla="*/ 1468633 w 6253764"/>
                  <a:gd name="connsiteY4" fmla="*/ 378752 h 1405533"/>
                  <a:gd name="connsiteX5" fmla="*/ 1749370 w 6253764"/>
                  <a:gd name="connsiteY5" fmla="*/ 250415 h 1405533"/>
                  <a:gd name="connsiteX6" fmla="*/ 2158444 w 6253764"/>
                  <a:gd name="connsiteY6" fmla="*/ 138121 h 1405533"/>
                  <a:gd name="connsiteX7" fmla="*/ 2800128 w 6253764"/>
                  <a:gd name="connsiteY7" fmla="*/ 33847 h 1405533"/>
                  <a:gd name="connsiteX8" fmla="*/ 3305454 w 6253764"/>
                  <a:gd name="connsiteY8" fmla="*/ 9784 h 1405533"/>
                  <a:gd name="connsiteX9" fmla="*/ 3834844 w 6253764"/>
                  <a:gd name="connsiteY9" fmla="*/ 1763 h 1405533"/>
                  <a:gd name="connsiteX10" fmla="*/ 4508612 w 6253764"/>
                  <a:gd name="connsiteY10" fmla="*/ 41868 h 1405533"/>
                  <a:gd name="connsiteX11" fmla="*/ 5206444 w 6253764"/>
                  <a:gd name="connsiteY11" fmla="*/ 146142 h 1405533"/>
                  <a:gd name="connsiteX12" fmla="*/ 5687707 w 6253764"/>
                  <a:gd name="connsiteY12" fmla="*/ 298542 h 1405533"/>
                  <a:gd name="connsiteX13" fmla="*/ 6088760 w 6253764"/>
                  <a:gd name="connsiteY13" fmla="*/ 475005 h 1405533"/>
                  <a:gd name="connsiteX14" fmla="*/ 6225117 w 6253764"/>
                  <a:gd name="connsiteY14" fmla="*/ 563237 h 1405533"/>
                  <a:gd name="connsiteX15" fmla="*/ 6249181 w 6253764"/>
                  <a:gd name="connsiteY15" fmla="*/ 707615 h 1405533"/>
                  <a:gd name="connsiteX16" fmla="*/ 6160949 w 6253764"/>
                  <a:gd name="connsiteY16" fmla="*/ 1020437 h 1405533"/>
                  <a:gd name="connsiteX17" fmla="*/ 6120844 w 6253764"/>
                  <a:gd name="connsiteY17" fmla="*/ 1100647 h 1405533"/>
                  <a:gd name="connsiteX18" fmla="*/ 6032612 w 6253764"/>
                  <a:gd name="connsiteY18" fmla="*/ 1108668 h 1405533"/>
                  <a:gd name="connsiteX19" fmla="*/ 5326760 w 6253764"/>
                  <a:gd name="connsiteY19" fmla="*/ 1148773 h 1405533"/>
                  <a:gd name="connsiteX20" fmla="*/ 3979223 w 6253764"/>
                  <a:gd name="connsiteY20" fmla="*/ 1196900 h 1405533"/>
                  <a:gd name="connsiteX21" fmla="*/ 3193160 w 6253764"/>
                  <a:gd name="connsiteY21" fmla="*/ 1237005 h 1405533"/>
                  <a:gd name="connsiteX22" fmla="*/ 2054170 w 6253764"/>
                  <a:gd name="connsiteY22" fmla="*/ 1285131 h 1405533"/>
                  <a:gd name="connsiteX23" fmla="*/ 1059560 w 6253764"/>
                  <a:gd name="connsiteY23" fmla="*/ 1341279 h 1405533"/>
                  <a:gd name="connsiteX24" fmla="*/ 490065 w 6253764"/>
                  <a:gd name="connsiteY24" fmla="*/ 1373363 h 1405533"/>
                  <a:gd name="connsiteX25" fmla="*/ 121096 w 6253764"/>
                  <a:gd name="connsiteY25" fmla="*/ 1397426 h 1405533"/>
                  <a:gd name="connsiteX26" fmla="*/ 781 w 6253764"/>
                  <a:gd name="connsiteY26" fmla="*/ 1397426 h 1405533"/>
                  <a:gd name="connsiteX27" fmla="*/ 64949 w 6253764"/>
                  <a:gd name="connsiteY27" fmla="*/ 1277110 h 1405533"/>
                  <a:gd name="connsiteX28" fmla="*/ 193286 w 6253764"/>
                  <a:gd name="connsiteY28" fmla="*/ 1164815 h 140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53764" h="1405533">
                    <a:moveTo>
                      <a:pt x="193286" y="1164815"/>
                    </a:moveTo>
                    <a:cubicBezTo>
                      <a:pt x="248096" y="1119362"/>
                      <a:pt x="310928" y="1060541"/>
                      <a:pt x="393812" y="1004394"/>
                    </a:cubicBezTo>
                    <a:cubicBezTo>
                      <a:pt x="476696" y="948247"/>
                      <a:pt x="690591" y="827931"/>
                      <a:pt x="690591" y="827931"/>
                    </a:cubicBezTo>
                    <a:lnTo>
                      <a:pt x="1059560" y="611363"/>
                    </a:lnTo>
                    <a:cubicBezTo>
                      <a:pt x="1189234" y="536500"/>
                      <a:pt x="1353665" y="438910"/>
                      <a:pt x="1468633" y="378752"/>
                    </a:cubicBezTo>
                    <a:cubicBezTo>
                      <a:pt x="1583601" y="318594"/>
                      <a:pt x="1634402" y="290520"/>
                      <a:pt x="1749370" y="250415"/>
                    </a:cubicBezTo>
                    <a:cubicBezTo>
                      <a:pt x="1864339" y="210310"/>
                      <a:pt x="1983318" y="174216"/>
                      <a:pt x="2158444" y="138121"/>
                    </a:cubicBezTo>
                    <a:cubicBezTo>
                      <a:pt x="2333570" y="102026"/>
                      <a:pt x="2608960" y="55236"/>
                      <a:pt x="2800128" y="33847"/>
                    </a:cubicBezTo>
                    <a:cubicBezTo>
                      <a:pt x="2991296" y="12457"/>
                      <a:pt x="3133001" y="15131"/>
                      <a:pt x="3305454" y="9784"/>
                    </a:cubicBezTo>
                    <a:cubicBezTo>
                      <a:pt x="3477907" y="4437"/>
                      <a:pt x="3634318" y="-3584"/>
                      <a:pt x="3834844" y="1763"/>
                    </a:cubicBezTo>
                    <a:cubicBezTo>
                      <a:pt x="4035370" y="7110"/>
                      <a:pt x="4280012" y="17805"/>
                      <a:pt x="4508612" y="41868"/>
                    </a:cubicBezTo>
                    <a:cubicBezTo>
                      <a:pt x="4737212" y="65931"/>
                      <a:pt x="5009928" y="103363"/>
                      <a:pt x="5206444" y="146142"/>
                    </a:cubicBezTo>
                    <a:cubicBezTo>
                      <a:pt x="5402960" y="188921"/>
                      <a:pt x="5540654" y="243731"/>
                      <a:pt x="5687707" y="298542"/>
                    </a:cubicBezTo>
                    <a:cubicBezTo>
                      <a:pt x="5834760" y="353352"/>
                      <a:pt x="5999192" y="430889"/>
                      <a:pt x="6088760" y="475005"/>
                    </a:cubicBezTo>
                    <a:cubicBezTo>
                      <a:pt x="6178328" y="519121"/>
                      <a:pt x="6198380" y="524469"/>
                      <a:pt x="6225117" y="563237"/>
                    </a:cubicBezTo>
                    <a:cubicBezTo>
                      <a:pt x="6251854" y="602005"/>
                      <a:pt x="6259876" y="631415"/>
                      <a:pt x="6249181" y="707615"/>
                    </a:cubicBezTo>
                    <a:cubicBezTo>
                      <a:pt x="6238486" y="783815"/>
                      <a:pt x="6182338" y="954932"/>
                      <a:pt x="6160949" y="1020437"/>
                    </a:cubicBezTo>
                    <a:cubicBezTo>
                      <a:pt x="6139560" y="1085942"/>
                      <a:pt x="6142234" y="1085942"/>
                      <a:pt x="6120844" y="1100647"/>
                    </a:cubicBezTo>
                    <a:cubicBezTo>
                      <a:pt x="6099455" y="1115352"/>
                      <a:pt x="6032612" y="1108668"/>
                      <a:pt x="6032612" y="1108668"/>
                    </a:cubicBezTo>
                    <a:lnTo>
                      <a:pt x="5326760" y="1148773"/>
                    </a:lnTo>
                    <a:lnTo>
                      <a:pt x="3979223" y="1196900"/>
                    </a:lnTo>
                    <a:lnTo>
                      <a:pt x="3193160" y="1237005"/>
                    </a:lnTo>
                    <a:lnTo>
                      <a:pt x="2054170" y="1285131"/>
                    </a:lnTo>
                    <a:lnTo>
                      <a:pt x="1059560" y="1341279"/>
                    </a:lnTo>
                    <a:lnTo>
                      <a:pt x="490065" y="1373363"/>
                    </a:lnTo>
                    <a:lnTo>
                      <a:pt x="121096" y="1397426"/>
                    </a:lnTo>
                    <a:cubicBezTo>
                      <a:pt x="39549" y="1401437"/>
                      <a:pt x="7465" y="1413468"/>
                      <a:pt x="781" y="1397426"/>
                    </a:cubicBezTo>
                    <a:cubicBezTo>
                      <a:pt x="-5903" y="1381384"/>
                      <a:pt x="31528" y="1313205"/>
                      <a:pt x="64949" y="1277110"/>
                    </a:cubicBezTo>
                    <a:cubicBezTo>
                      <a:pt x="98370" y="1241015"/>
                      <a:pt x="138476" y="1210268"/>
                      <a:pt x="193286" y="1164815"/>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8" name="Freeform 1667"/>
              <p:cNvSpPr/>
              <p:nvPr/>
            </p:nvSpPr>
            <p:spPr bwMode="auto">
              <a:xfrm>
                <a:off x="6637401" y="1501234"/>
                <a:ext cx="601973" cy="1247984"/>
              </a:xfrm>
              <a:custGeom>
                <a:avLst/>
                <a:gdLst>
                  <a:gd name="connsiteX0" fmla="*/ 0 w 572756"/>
                  <a:gd name="connsiteY0" fmla="*/ 1175657 h 1175657"/>
                  <a:gd name="connsiteX1" fmla="*/ 502417 w 572756"/>
                  <a:gd name="connsiteY1" fmla="*/ 1145512 h 1175657"/>
                  <a:gd name="connsiteX2" fmla="*/ 572756 w 572756"/>
                  <a:gd name="connsiteY2" fmla="*/ 0 h 1175657"/>
                  <a:gd name="connsiteX3" fmla="*/ 291402 w 572756"/>
                  <a:gd name="connsiteY3" fmla="*/ 0 h 1175657"/>
                  <a:gd name="connsiteX4" fmla="*/ 0 w 572756"/>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56" h="1175657">
                    <a:moveTo>
                      <a:pt x="0" y="1175657"/>
                    </a:moveTo>
                    <a:lnTo>
                      <a:pt x="502417" y="1145512"/>
                    </a:lnTo>
                    <a:lnTo>
                      <a:pt x="572756" y="0"/>
                    </a:lnTo>
                    <a:lnTo>
                      <a:pt x="291402" y="0"/>
                    </a:lnTo>
                    <a:lnTo>
                      <a:pt x="0" y="1175657"/>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69" name="Freeform 1668"/>
              <p:cNvSpPr/>
              <p:nvPr/>
            </p:nvSpPr>
            <p:spPr bwMode="auto">
              <a:xfrm>
                <a:off x="11132993" y="3577312"/>
                <a:ext cx="1588934" cy="1341534"/>
              </a:xfrm>
              <a:custGeom>
                <a:avLst/>
                <a:gdLst>
                  <a:gd name="connsiteX0" fmla="*/ 64396 w 1588934"/>
                  <a:gd name="connsiteY0" fmla="*/ 1339593 h 1341534"/>
                  <a:gd name="connsiteX1" fmla="*/ 208775 w 1588934"/>
                  <a:gd name="connsiteY1" fmla="*/ 1307509 h 1341534"/>
                  <a:gd name="connsiteX2" fmla="*/ 329091 w 1588934"/>
                  <a:gd name="connsiteY2" fmla="*/ 1251362 h 1341534"/>
                  <a:gd name="connsiteX3" fmla="*/ 561702 w 1588934"/>
                  <a:gd name="connsiteY3" fmla="*/ 1179172 h 1341534"/>
                  <a:gd name="connsiteX4" fmla="*/ 890565 w 1588934"/>
                  <a:gd name="connsiteY4" fmla="*/ 1131046 h 1341534"/>
                  <a:gd name="connsiteX5" fmla="*/ 1123175 w 1588934"/>
                  <a:gd name="connsiteY5" fmla="*/ 1098962 h 1341534"/>
                  <a:gd name="connsiteX6" fmla="*/ 1355786 w 1588934"/>
                  <a:gd name="connsiteY6" fmla="*/ 1058856 h 1341534"/>
                  <a:gd name="connsiteX7" fmla="*/ 1419954 w 1588934"/>
                  <a:gd name="connsiteY7" fmla="*/ 1010730 h 1341534"/>
                  <a:gd name="connsiteX8" fmla="*/ 1444018 w 1588934"/>
                  <a:gd name="connsiteY8" fmla="*/ 946562 h 1341534"/>
                  <a:gd name="connsiteX9" fmla="*/ 1484123 w 1588934"/>
                  <a:gd name="connsiteY9" fmla="*/ 930520 h 1341534"/>
                  <a:gd name="connsiteX10" fmla="*/ 1508186 w 1588934"/>
                  <a:gd name="connsiteY10" fmla="*/ 818225 h 1341534"/>
                  <a:gd name="connsiteX11" fmla="*/ 1564333 w 1588934"/>
                  <a:gd name="connsiteY11" fmla="*/ 697909 h 1341534"/>
                  <a:gd name="connsiteX12" fmla="*/ 1588396 w 1588934"/>
                  <a:gd name="connsiteY12" fmla="*/ 401130 h 1341534"/>
                  <a:gd name="connsiteX13" fmla="*/ 1580375 w 1588934"/>
                  <a:gd name="connsiteY13" fmla="*/ 56225 h 1341534"/>
                  <a:gd name="connsiteX14" fmla="*/ 1572354 w 1588934"/>
                  <a:gd name="connsiteY14" fmla="*/ 77 h 1341534"/>
                  <a:gd name="connsiteX15" fmla="*/ 1532249 w 1588934"/>
                  <a:gd name="connsiteY15" fmla="*/ 48204 h 1341534"/>
                  <a:gd name="connsiteX16" fmla="*/ 1395891 w 1588934"/>
                  <a:gd name="connsiteY16" fmla="*/ 72267 h 1341534"/>
                  <a:gd name="connsiteX17" fmla="*/ 1099112 w 1588934"/>
                  <a:gd name="connsiteY17" fmla="*/ 96330 h 1341534"/>
                  <a:gd name="connsiteX18" fmla="*/ 770249 w 1588934"/>
                  <a:gd name="connsiteY18" fmla="*/ 104351 h 1341534"/>
                  <a:gd name="connsiteX19" fmla="*/ 553681 w 1588934"/>
                  <a:gd name="connsiteY19" fmla="*/ 120393 h 1341534"/>
                  <a:gd name="connsiteX20" fmla="*/ 409302 w 1588934"/>
                  <a:gd name="connsiteY20" fmla="*/ 144456 h 1341534"/>
                  <a:gd name="connsiteX21" fmla="*/ 369196 w 1588934"/>
                  <a:gd name="connsiteY21" fmla="*/ 224667 h 1341534"/>
                  <a:gd name="connsiteX22" fmla="*/ 353154 w 1588934"/>
                  <a:gd name="connsiteY22" fmla="*/ 296856 h 1341534"/>
                  <a:gd name="connsiteX23" fmla="*/ 345133 w 1588934"/>
                  <a:gd name="connsiteY23" fmla="*/ 361025 h 1341534"/>
                  <a:gd name="connsiteX24" fmla="*/ 224818 w 1588934"/>
                  <a:gd name="connsiteY24" fmla="*/ 401130 h 1341534"/>
                  <a:gd name="connsiteX25" fmla="*/ 136586 w 1588934"/>
                  <a:gd name="connsiteY25" fmla="*/ 409151 h 1341534"/>
                  <a:gd name="connsiteX26" fmla="*/ 48354 w 1588934"/>
                  <a:gd name="connsiteY26" fmla="*/ 457277 h 1341534"/>
                  <a:gd name="connsiteX27" fmla="*/ 228 w 1588934"/>
                  <a:gd name="connsiteY27" fmla="*/ 529467 h 1341534"/>
                  <a:gd name="connsiteX28" fmla="*/ 32312 w 1588934"/>
                  <a:gd name="connsiteY28" fmla="*/ 569572 h 1341534"/>
                  <a:gd name="connsiteX29" fmla="*/ 80439 w 1588934"/>
                  <a:gd name="connsiteY29" fmla="*/ 786141 h 1341534"/>
                  <a:gd name="connsiteX30" fmla="*/ 96481 w 1588934"/>
                  <a:gd name="connsiteY30" fmla="*/ 1090941 h 1341534"/>
                  <a:gd name="connsiteX31" fmla="*/ 80439 w 1588934"/>
                  <a:gd name="connsiteY31" fmla="*/ 1251362 h 1341534"/>
                  <a:gd name="connsiteX32" fmla="*/ 64396 w 1588934"/>
                  <a:gd name="connsiteY32" fmla="*/ 1339593 h 13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8934" h="1341534">
                    <a:moveTo>
                      <a:pt x="64396" y="1339593"/>
                    </a:moveTo>
                    <a:cubicBezTo>
                      <a:pt x="85785" y="1348951"/>
                      <a:pt x="164659" y="1322214"/>
                      <a:pt x="208775" y="1307509"/>
                    </a:cubicBezTo>
                    <a:cubicBezTo>
                      <a:pt x="252891" y="1292804"/>
                      <a:pt x="270270" y="1272751"/>
                      <a:pt x="329091" y="1251362"/>
                    </a:cubicBezTo>
                    <a:cubicBezTo>
                      <a:pt x="387912" y="1229973"/>
                      <a:pt x="468123" y="1199225"/>
                      <a:pt x="561702" y="1179172"/>
                    </a:cubicBezTo>
                    <a:cubicBezTo>
                      <a:pt x="655281" y="1159119"/>
                      <a:pt x="890565" y="1131046"/>
                      <a:pt x="890565" y="1131046"/>
                    </a:cubicBezTo>
                    <a:lnTo>
                      <a:pt x="1123175" y="1098962"/>
                    </a:lnTo>
                    <a:cubicBezTo>
                      <a:pt x="1200712" y="1086930"/>
                      <a:pt x="1306323" y="1073561"/>
                      <a:pt x="1355786" y="1058856"/>
                    </a:cubicBezTo>
                    <a:cubicBezTo>
                      <a:pt x="1405249" y="1044151"/>
                      <a:pt x="1405249" y="1029446"/>
                      <a:pt x="1419954" y="1010730"/>
                    </a:cubicBezTo>
                    <a:cubicBezTo>
                      <a:pt x="1434659" y="992014"/>
                      <a:pt x="1433323" y="959930"/>
                      <a:pt x="1444018" y="946562"/>
                    </a:cubicBezTo>
                    <a:cubicBezTo>
                      <a:pt x="1454713" y="933194"/>
                      <a:pt x="1473428" y="951909"/>
                      <a:pt x="1484123" y="930520"/>
                    </a:cubicBezTo>
                    <a:cubicBezTo>
                      <a:pt x="1494818" y="909131"/>
                      <a:pt x="1494818" y="856993"/>
                      <a:pt x="1508186" y="818225"/>
                    </a:cubicBezTo>
                    <a:cubicBezTo>
                      <a:pt x="1521554" y="779457"/>
                      <a:pt x="1550965" y="767425"/>
                      <a:pt x="1564333" y="697909"/>
                    </a:cubicBezTo>
                    <a:cubicBezTo>
                      <a:pt x="1577701" y="628393"/>
                      <a:pt x="1585722" y="508077"/>
                      <a:pt x="1588396" y="401130"/>
                    </a:cubicBezTo>
                    <a:cubicBezTo>
                      <a:pt x="1591070" y="294183"/>
                      <a:pt x="1583049" y="123067"/>
                      <a:pt x="1580375" y="56225"/>
                    </a:cubicBezTo>
                    <a:cubicBezTo>
                      <a:pt x="1577701" y="-10617"/>
                      <a:pt x="1580375" y="1414"/>
                      <a:pt x="1572354" y="77"/>
                    </a:cubicBezTo>
                    <a:cubicBezTo>
                      <a:pt x="1564333" y="-1260"/>
                      <a:pt x="1561660" y="36172"/>
                      <a:pt x="1532249" y="48204"/>
                    </a:cubicBezTo>
                    <a:cubicBezTo>
                      <a:pt x="1502839" y="60236"/>
                      <a:pt x="1468080" y="64246"/>
                      <a:pt x="1395891" y="72267"/>
                    </a:cubicBezTo>
                    <a:cubicBezTo>
                      <a:pt x="1323702" y="80288"/>
                      <a:pt x="1203386" y="90983"/>
                      <a:pt x="1099112" y="96330"/>
                    </a:cubicBezTo>
                    <a:cubicBezTo>
                      <a:pt x="994838" y="101677"/>
                      <a:pt x="861154" y="100340"/>
                      <a:pt x="770249" y="104351"/>
                    </a:cubicBezTo>
                    <a:cubicBezTo>
                      <a:pt x="679344" y="108361"/>
                      <a:pt x="613839" y="113709"/>
                      <a:pt x="553681" y="120393"/>
                    </a:cubicBezTo>
                    <a:cubicBezTo>
                      <a:pt x="493523" y="127077"/>
                      <a:pt x="440050" y="127077"/>
                      <a:pt x="409302" y="144456"/>
                    </a:cubicBezTo>
                    <a:cubicBezTo>
                      <a:pt x="378555" y="161835"/>
                      <a:pt x="378554" y="199267"/>
                      <a:pt x="369196" y="224667"/>
                    </a:cubicBezTo>
                    <a:cubicBezTo>
                      <a:pt x="359838" y="250067"/>
                      <a:pt x="357164" y="274130"/>
                      <a:pt x="353154" y="296856"/>
                    </a:cubicBezTo>
                    <a:cubicBezTo>
                      <a:pt x="349144" y="319582"/>
                      <a:pt x="366522" y="343646"/>
                      <a:pt x="345133" y="361025"/>
                    </a:cubicBezTo>
                    <a:cubicBezTo>
                      <a:pt x="323744" y="378404"/>
                      <a:pt x="259576" y="393109"/>
                      <a:pt x="224818" y="401130"/>
                    </a:cubicBezTo>
                    <a:cubicBezTo>
                      <a:pt x="190060" y="409151"/>
                      <a:pt x="165997" y="399793"/>
                      <a:pt x="136586" y="409151"/>
                    </a:cubicBezTo>
                    <a:cubicBezTo>
                      <a:pt x="107175" y="418509"/>
                      <a:pt x="71080" y="437224"/>
                      <a:pt x="48354" y="457277"/>
                    </a:cubicBezTo>
                    <a:cubicBezTo>
                      <a:pt x="25628" y="477330"/>
                      <a:pt x="2902" y="510751"/>
                      <a:pt x="228" y="529467"/>
                    </a:cubicBezTo>
                    <a:cubicBezTo>
                      <a:pt x="-2446" y="548183"/>
                      <a:pt x="18944" y="526793"/>
                      <a:pt x="32312" y="569572"/>
                    </a:cubicBezTo>
                    <a:cubicBezTo>
                      <a:pt x="45680" y="612351"/>
                      <a:pt x="69744" y="699246"/>
                      <a:pt x="80439" y="786141"/>
                    </a:cubicBezTo>
                    <a:cubicBezTo>
                      <a:pt x="91134" y="873036"/>
                      <a:pt x="96481" y="1013404"/>
                      <a:pt x="96481" y="1090941"/>
                    </a:cubicBezTo>
                    <a:cubicBezTo>
                      <a:pt x="96481" y="1168478"/>
                      <a:pt x="83113" y="1211257"/>
                      <a:pt x="80439" y="1251362"/>
                    </a:cubicBezTo>
                    <a:cubicBezTo>
                      <a:pt x="77765" y="1291467"/>
                      <a:pt x="43007" y="1330235"/>
                      <a:pt x="64396" y="1339593"/>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70" name="Freeform 1669"/>
              <p:cNvSpPr/>
              <p:nvPr/>
            </p:nvSpPr>
            <p:spPr bwMode="auto">
              <a:xfrm>
                <a:off x="3304674" y="3416969"/>
                <a:ext cx="6023811" cy="1668380"/>
              </a:xfrm>
              <a:custGeom>
                <a:avLst/>
                <a:gdLst>
                  <a:gd name="connsiteX0" fmla="*/ 914400 w 6023810"/>
                  <a:gd name="connsiteY0" fmla="*/ 1588169 h 1668379"/>
                  <a:gd name="connsiteX1" fmla="*/ 3248526 w 6023810"/>
                  <a:gd name="connsiteY1" fmla="*/ 1604211 h 1668379"/>
                  <a:gd name="connsiteX2" fmla="*/ 5069305 w 6023810"/>
                  <a:gd name="connsiteY2" fmla="*/ 1612232 h 1668379"/>
                  <a:gd name="connsiteX3" fmla="*/ 5670884 w 6023810"/>
                  <a:gd name="connsiteY3" fmla="*/ 1620253 h 1668379"/>
                  <a:gd name="connsiteX4" fmla="*/ 5719010 w 6023810"/>
                  <a:gd name="connsiteY4" fmla="*/ 1620253 h 1668379"/>
                  <a:gd name="connsiteX5" fmla="*/ 5719010 w 6023810"/>
                  <a:gd name="connsiteY5" fmla="*/ 1499937 h 1668379"/>
                  <a:gd name="connsiteX6" fmla="*/ 5719010 w 6023810"/>
                  <a:gd name="connsiteY6" fmla="*/ 1307432 h 1668379"/>
                  <a:gd name="connsiteX7" fmla="*/ 5759115 w 6023810"/>
                  <a:gd name="connsiteY7" fmla="*/ 1034716 h 1668379"/>
                  <a:gd name="connsiteX8" fmla="*/ 5839326 w 6023810"/>
                  <a:gd name="connsiteY8" fmla="*/ 770021 h 1668379"/>
                  <a:gd name="connsiteX9" fmla="*/ 5919537 w 6023810"/>
                  <a:gd name="connsiteY9" fmla="*/ 609600 h 1668379"/>
                  <a:gd name="connsiteX10" fmla="*/ 6023810 w 6023810"/>
                  <a:gd name="connsiteY10" fmla="*/ 473243 h 1668379"/>
                  <a:gd name="connsiteX11" fmla="*/ 5895473 w 6023810"/>
                  <a:gd name="connsiteY11" fmla="*/ 481264 h 1668379"/>
                  <a:gd name="connsiteX12" fmla="*/ 5791200 w 6023810"/>
                  <a:gd name="connsiteY12" fmla="*/ 473243 h 1668379"/>
                  <a:gd name="connsiteX13" fmla="*/ 5686926 w 6023810"/>
                  <a:gd name="connsiteY13" fmla="*/ 425116 h 1668379"/>
                  <a:gd name="connsiteX14" fmla="*/ 5614737 w 6023810"/>
                  <a:gd name="connsiteY14" fmla="*/ 409074 h 1668379"/>
                  <a:gd name="connsiteX15" fmla="*/ 5566610 w 6023810"/>
                  <a:gd name="connsiteY15" fmla="*/ 457200 h 1668379"/>
                  <a:gd name="connsiteX16" fmla="*/ 5542547 w 6023810"/>
                  <a:gd name="connsiteY16" fmla="*/ 425116 h 1668379"/>
                  <a:gd name="connsiteX17" fmla="*/ 5542547 w 6023810"/>
                  <a:gd name="connsiteY17" fmla="*/ 144379 h 1668379"/>
                  <a:gd name="connsiteX18" fmla="*/ 5534526 w 6023810"/>
                  <a:gd name="connsiteY18" fmla="*/ 16043 h 1668379"/>
                  <a:gd name="connsiteX19" fmla="*/ 5430252 w 6023810"/>
                  <a:gd name="connsiteY19" fmla="*/ 0 h 1668379"/>
                  <a:gd name="connsiteX20" fmla="*/ 4267200 w 6023810"/>
                  <a:gd name="connsiteY20" fmla="*/ 40106 h 1668379"/>
                  <a:gd name="connsiteX21" fmla="*/ 2069431 w 6023810"/>
                  <a:gd name="connsiteY21" fmla="*/ 112295 h 1668379"/>
                  <a:gd name="connsiteX22" fmla="*/ 497305 w 6023810"/>
                  <a:gd name="connsiteY22" fmla="*/ 168443 h 1668379"/>
                  <a:gd name="connsiteX23" fmla="*/ 328863 w 6023810"/>
                  <a:gd name="connsiteY23" fmla="*/ 168443 h 1668379"/>
                  <a:gd name="connsiteX24" fmla="*/ 328863 w 6023810"/>
                  <a:gd name="connsiteY24" fmla="*/ 168443 h 1668379"/>
                  <a:gd name="connsiteX25" fmla="*/ 304800 w 6023810"/>
                  <a:gd name="connsiteY25" fmla="*/ 280737 h 1668379"/>
                  <a:gd name="connsiteX26" fmla="*/ 320842 w 6023810"/>
                  <a:gd name="connsiteY26" fmla="*/ 425116 h 1668379"/>
                  <a:gd name="connsiteX27" fmla="*/ 256673 w 6023810"/>
                  <a:gd name="connsiteY27" fmla="*/ 553453 h 1668379"/>
                  <a:gd name="connsiteX28" fmla="*/ 104273 w 6023810"/>
                  <a:gd name="connsiteY28" fmla="*/ 665748 h 1668379"/>
                  <a:gd name="connsiteX29" fmla="*/ 0 w 6023810"/>
                  <a:gd name="connsiteY29" fmla="*/ 729916 h 1668379"/>
                  <a:gd name="connsiteX30" fmla="*/ 24063 w 6023810"/>
                  <a:gd name="connsiteY30" fmla="*/ 802106 h 1668379"/>
                  <a:gd name="connsiteX31" fmla="*/ 72189 w 6023810"/>
                  <a:gd name="connsiteY31" fmla="*/ 1147011 h 1668379"/>
                  <a:gd name="connsiteX32" fmla="*/ 88231 w 6023810"/>
                  <a:gd name="connsiteY32" fmla="*/ 1347537 h 1668379"/>
                  <a:gd name="connsiteX33" fmla="*/ 80210 w 6023810"/>
                  <a:gd name="connsiteY33" fmla="*/ 1499937 h 1668379"/>
                  <a:gd name="connsiteX34" fmla="*/ 80210 w 6023810"/>
                  <a:gd name="connsiteY34" fmla="*/ 1628274 h 1668379"/>
                  <a:gd name="connsiteX35" fmla="*/ 80210 w 6023810"/>
                  <a:gd name="connsiteY35" fmla="*/ 1668379 h 1668379"/>
                  <a:gd name="connsiteX36" fmla="*/ 248652 w 6023810"/>
                  <a:gd name="connsiteY36" fmla="*/ 1620253 h 1668379"/>
                  <a:gd name="connsiteX37" fmla="*/ 441158 w 6023810"/>
                  <a:gd name="connsiteY37" fmla="*/ 1604211 h 1668379"/>
                  <a:gd name="connsiteX38" fmla="*/ 673768 w 6023810"/>
                  <a:gd name="connsiteY38" fmla="*/ 1588169 h 1668379"/>
                  <a:gd name="connsiteX39" fmla="*/ 914400 w 6023810"/>
                  <a:gd name="connsiteY39" fmla="*/ 1588169 h 166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23810" h="1668379">
                    <a:moveTo>
                      <a:pt x="914400" y="1588169"/>
                    </a:moveTo>
                    <a:lnTo>
                      <a:pt x="3248526" y="1604211"/>
                    </a:lnTo>
                    <a:lnTo>
                      <a:pt x="5069305" y="1612232"/>
                    </a:lnTo>
                    <a:lnTo>
                      <a:pt x="5670884" y="1620253"/>
                    </a:lnTo>
                    <a:lnTo>
                      <a:pt x="5719010" y="1620253"/>
                    </a:lnTo>
                    <a:lnTo>
                      <a:pt x="5719010" y="1499937"/>
                    </a:lnTo>
                    <a:lnTo>
                      <a:pt x="5719010" y="1307432"/>
                    </a:lnTo>
                    <a:lnTo>
                      <a:pt x="5759115" y="1034716"/>
                    </a:lnTo>
                    <a:lnTo>
                      <a:pt x="5839326" y="770021"/>
                    </a:lnTo>
                    <a:lnTo>
                      <a:pt x="5919537" y="609600"/>
                    </a:lnTo>
                    <a:lnTo>
                      <a:pt x="6023810" y="473243"/>
                    </a:lnTo>
                    <a:lnTo>
                      <a:pt x="5895473" y="481264"/>
                    </a:lnTo>
                    <a:lnTo>
                      <a:pt x="5791200" y="473243"/>
                    </a:lnTo>
                    <a:lnTo>
                      <a:pt x="5686926" y="425116"/>
                    </a:lnTo>
                    <a:lnTo>
                      <a:pt x="5614737" y="409074"/>
                    </a:lnTo>
                    <a:lnTo>
                      <a:pt x="5566610" y="457200"/>
                    </a:lnTo>
                    <a:lnTo>
                      <a:pt x="5542547" y="425116"/>
                    </a:lnTo>
                    <a:lnTo>
                      <a:pt x="5542547" y="144379"/>
                    </a:lnTo>
                    <a:lnTo>
                      <a:pt x="5534526" y="16043"/>
                    </a:lnTo>
                    <a:lnTo>
                      <a:pt x="5430252" y="0"/>
                    </a:lnTo>
                    <a:lnTo>
                      <a:pt x="4267200" y="40106"/>
                    </a:lnTo>
                    <a:lnTo>
                      <a:pt x="2069431" y="112295"/>
                    </a:lnTo>
                    <a:lnTo>
                      <a:pt x="497305" y="168443"/>
                    </a:lnTo>
                    <a:lnTo>
                      <a:pt x="328863" y="168443"/>
                    </a:lnTo>
                    <a:lnTo>
                      <a:pt x="328863" y="168443"/>
                    </a:lnTo>
                    <a:lnTo>
                      <a:pt x="304800" y="280737"/>
                    </a:lnTo>
                    <a:lnTo>
                      <a:pt x="320842" y="425116"/>
                    </a:lnTo>
                    <a:lnTo>
                      <a:pt x="256673" y="553453"/>
                    </a:lnTo>
                    <a:lnTo>
                      <a:pt x="104273" y="665748"/>
                    </a:lnTo>
                    <a:lnTo>
                      <a:pt x="0" y="729916"/>
                    </a:lnTo>
                    <a:lnTo>
                      <a:pt x="24063" y="802106"/>
                    </a:lnTo>
                    <a:lnTo>
                      <a:pt x="72189" y="1147011"/>
                    </a:lnTo>
                    <a:lnTo>
                      <a:pt x="88231" y="1347537"/>
                    </a:lnTo>
                    <a:lnTo>
                      <a:pt x="80210" y="1499937"/>
                    </a:lnTo>
                    <a:lnTo>
                      <a:pt x="80210" y="1628274"/>
                    </a:lnTo>
                    <a:lnTo>
                      <a:pt x="80210" y="1668379"/>
                    </a:lnTo>
                    <a:lnTo>
                      <a:pt x="248652" y="1620253"/>
                    </a:lnTo>
                    <a:lnTo>
                      <a:pt x="441158" y="1604211"/>
                    </a:lnTo>
                    <a:lnTo>
                      <a:pt x="673768" y="1588169"/>
                    </a:lnTo>
                    <a:lnTo>
                      <a:pt x="914400" y="1588169"/>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71" name="Freeform 1670"/>
              <p:cNvSpPr/>
              <p:nvPr/>
            </p:nvSpPr>
            <p:spPr bwMode="auto">
              <a:xfrm>
                <a:off x="11565391" y="2662073"/>
                <a:ext cx="935571" cy="603883"/>
              </a:xfrm>
              <a:custGeom>
                <a:avLst/>
                <a:gdLst>
                  <a:gd name="connsiteX0" fmla="*/ 714841 w 935571"/>
                  <a:gd name="connsiteY0" fmla="*/ 586453 h 603883"/>
                  <a:gd name="connsiteX1" fmla="*/ 923388 w 935571"/>
                  <a:gd name="connsiteY1" fmla="*/ 578432 h 603883"/>
                  <a:gd name="connsiteX2" fmla="*/ 899325 w 935571"/>
                  <a:gd name="connsiteY2" fmla="*/ 498222 h 603883"/>
                  <a:gd name="connsiteX3" fmla="*/ 803072 w 935571"/>
                  <a:gd name="connsiteY3" fmla="*/ 137274 h 603883"/>
                  <a:gd name="connsiteX4" fmla="*/ 746925 w 935571"/>
                  <a:gd name="connsiteY4" fmla="*/ 16959 h 603883"/>
                  <a:gd name="connsiteX5" fmla="*/ 690777 w 935571"/>
                  <a:gd name="connsiteY5" fmla="*/ 916 h 603883"/>
                  <a:gd name="connsiteX6" fmla="*/ 313788 w 935571"/>
                  <a:gd name="connsiteY6" fmla="*/ 8938 h 603883"/>
                  <a:gd name="connsiteX7" fmla="*/ 73156 w 935571"/>
                  <a:gd name="connsiteY7" fmla="*/ 24980 h 603883"/>
                  <a:gd name="connsiteX8" fmla="*/ 49093 w 935571"/>
                  <a:gd name="connsiteY8" fmla="*/ 81127 h 603883"/>
                  <a:gd name="connsiteX9" fmla="*/ 967 w 935571"/>
                  <a:gd name="connsiteY9" fmla="*/ 217485 h 603883"/>
                  <a:gd name="connsiteX10" fmla="*/ 97220 w 935571"/>
                  <a:gd name="connsiteY10" fmla="*/ 281653 h 603883"/>
                  <a:gd name="connsiteX11" fmla="*/ 658693 w 935571"/>
                  <a:gd name="connsiteY11" fmla="*/ 578432 h 603883"/>
                  <a:gd name="connsiteX12" fmla="*/ 714841 w 935571"/>
                  <a:gd name="connsiteY12" fmla="*/ 586453 h 60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571" h="603883">
                    <a:moveTo>
                      <a:pt x="714841" y="586453"/>
                    </a:moveTo>
                    <a:cubicBezTo>
                      <a:pt x="758957" y="586453"/>
                      <a:pt x="892641" y="593137"/>
                      <a:pt x="923388" y="578432"/>
                    </a:cubicBezTo>
                    <a:cubicBezTo>
                      <a:pt x="954135" y="563727"/>
                      <a:pt x="919378" y="571748"/>
                      <a:pt x="899325" y="498222"/>
                    </a:cubicBezTo>
                    <a:cubicBezTo>
                      <a:pt x="879272" y="424696"/>
                      <a:pt x="828472" y="217484"/>
                      <a:pt x="803072" y="137274"/>
                    </a:cubicBezTo>
                    <a:cubicBezTo>
                      <a:pt x="777672" y="57063"/>
                      <a:pt x="765641" y="39685"/>
                      <a:pt x="746925" y="16959"/>
                    </a:cubicBezTo>
                    <a:cubicBezTo>
                      <a:pt x="728209" y="-5767"/>
                      <a:pt x="690777" y="916"/>
                      <a:pt x="690777" y="916"/>
                    </a:cubicBezTo>
                    <a:lnTo>
                      <a:pt x="313788" y="8938"/>
                    </a:lnTo>
                    <a:cubicBezTo>
                      <a:pt x="210851" y="12949"/>
                      <a:pt x="117272" y="12949"/>
                      <a:pt x="73156" y="24980"/>
                    </a:cubicBezTo>
                    <a:cubicBezTo>
                      <a:pt x="29040" y="37011"/>
                      <a:pt x="61124" y="49043"/>
                      <a:pt x="49093" y="81127"/>
                    </a:cubicBezTo>
                    <a:cubicBezTo>
                      <a:pt x="37062" y="113211"/>
                      <a:pt x="-7054" y="184064"/>
                      <a:pt x="967" y="217485"/>
                    </a:cubicBezTo>
                    <a:cubicBezTo>
                      <a:pt x="8988" y="250906"/>
                      <a:pt x="-12401" y="221495"/>
                      <a:pt x="97220" y="281653"/>
                    </a:cubicBezTo>
                    <a:cubicBezTo>
                      <a:pt x="206841" y="341811"/>
                      <a:pt x="549072" y="526295"/>
                      <a:pt x="658693" y="578432"/>
                    </a:cubicBezTo>
                    <a:cubicBezTo>
                      <a:pt x="768314" y="630569"/>
                      <a:pt x="670725" y="586453"/>
                      <a:pt x="714841" y="586453"/>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72" name="Freeform 1671"/>
              <p:cNvSpPr/>
              <p:nvPr/>
            </p:nvSpPr>
            <p:spPr bwMode="auto">
              <a:xfrm>
                <a:off x="-120316" y="3777916"/>
                <a:ext cx="1483895" cy="1275347"/>
              </a:xfrm>
              <a:custGeom>
                <a:avLst/>
                <a:gdLst>
                  <a:gd name="connsiteX0" fmla="*/ 1267327 w 1483895"/>
                  <a:gd name="connsiteY0" fmla="*/ 1147010 h 1275347"/>
                  <a:gd name="connsiteX1" fmla="*/ 1275348 w 1483895"/>
                  <a:gd name="connsiteY1" fmla="*/ 850231 h 1275347"/>
                  <a:gd name="connsiteX2" fmla="*/ 1323474 w 1483895"/>
                  <a:gd name="connsiteY2" fmla="*/ 585537 h 1275347"/>
                  <a:gd name="connsiteX3" fmla="*/ 1387642 w 1483895"/>
                  <a:gd name="connsiteY3" fmla="*/ 409073 h 1275347"/>
                  <a:gd name="connsiteX4" fmla="*/ 1443790 w 1483895"/>
                  <a:gd name="connsiteY4" fmla="*/ 264695 h 1275347"/>
                  <a:gd name="connsiteX5" fmla="*/ 1483895 w 1483895"/>
                  <a:gd name="connsiteY5" fmla="*/ 200526 h 1275347"/>
                  <a:gd name="connsiteX6" fmla="*/ 1411705 w 1483895"/>
                  <a:gd name="connsiteY6" fmla="*/ 192505 h 1275347"/>
                  <a:gd name="connsiteX7" fmla="*/ 1323474 w 1483895"/>
                  <a:gd name="connsiteY7" fmla="*/ 192505 h 1275347"/>
                  <a:gd name="connsiteX8" fmla="*/ 1299411 w 1483895"/>
                  <a:gd name="connsiteY8" fmla="*/ 272716 h 1275347"/>
                  <a:gd name="connsiteX9" fmla="*/ 1259305 w 1483895"/>
                  <a:gd name="connsiteY9" fmla="*/ 240631 h 1275347"/>
                  <a:gd name="connsiteX10" fmla="*/ 1179095 w 1483895"/>
                  <a:gd name="connsiteY10" fmla="*/ 192505 h 1275347"/>
                  <a:gd name="connsiteX11" fmla="*/ 1098884 w 1483895"/>
                  <a:gd name="connsiteY11" fmla="*/ 208547 h 1275347"/>
                  <a:gd name="connsiteX12" fmla="*/ 954505 w 1483895"/>
                  <a:gd name="connsiteY12" fmla="*/ 136358 h 1275347"/>
                  <a:gd name="connsiteX13" fmla="*/ 786063 w 1483895"/>
                  <a:gd name="connsiteY13" fmla="*/ 152400 h 1275347"/>
                  <a:gd name="connsiteX14" fmla="*/ 505327 w 1483895"/>
                  <a:gd name="connsiteY14" fmla="*/ 224589 h 1275347"/>
                  <a:gd name="connsiteX15" fmla="*/ 352927 w 1483895"/>
                  <a:gd name="connsiteY15" fmla="*/ 184484 h 1275347"/>
                  <a:gd name="connsiteX16" fmla="*/ 200527 w 1483895"/>
                  <a:gd name="connsiteY16" fmla="*/ 120316 h 1275347"/>
                  <a:gd name="connsiteX17" fmla="*/ 88232 w 1483895"/>
                  <a:gd name="connsiteY17" fmla="*/ 0 h 1275347"/>
                  <a:gd name="connsiteX18" fmla="*/ 80211 w 1483895"/>
                  <a:gd name="connsiteY18" fmla="*/ 72189 h 1275347"/>
                  <a:gd name="connsiteX19" fmla="*/ 0 w 1483895"/>
                  <a:gd name="connsiteY19" fmla="*/ 393031 h 1275347"/>
                  <a:gd name="connsiteX20" fmla="*/ 0 w 1483895"/>
                  <a:gd name="connsiteY20" fmla="*/ 521368 h 1275347"/>
                  <a:gd name="connsiteX21" fmla="*/ 8021 w 1483895"/>
                  <a:gd name="connsiteY21" fmla="*/ 617621 h 1275347"/>
                  <a:gd name="connsiteX22" fmla="*/ 80211 w 1483895"/>
                  <a:gd name="connsiteY22" fmla="*/ 737937 h 1275347"/>
                  <a:gd name="connsiteX23" fmla="*/ 64169 w 1483895"/>
                  <a:gd name="connsiteY23" fmla="*/ 914400 h 1275347"/>
                  <a:gd name="connsiteX24" fmla="*/ 112295 w 1483895"/>
                  <a:gd name="connsiteY24" fmla="*/ 994610 h 1275347"/>
                  <a:gd name="connsiteX25" fmla="*/ 328863 w 1483895"/>
                  <a:gd name="connsiteY25" fmla="*/ 1122947 h 1275347"/>
                  <a:gd name="connsiteX26" fmla="*/ 585537 w 1483895"/>
                  <a:gd name="connsiteY26" fmla="*/ 1187116 h 1275347"/>
                  <a:gd name="connsiteX27" fmla="*/ 978569 w 1483895"/>
                  <a:gd name="connsiteY27" fmla="*/ 1219200 h 1275347"/>
                  <a:gd name="connsiteX28" fmla="*/ 1147011 w 1483895"/>
                  <a:gd name="connsiteY28" fmla="*/ 1235242 h 1275347"/>
                  <a:gd name="connsiteX29" fmla="*/ 1291390 w 1483895"/>
                  <a:gd name="connsiteY29" fmla="*/ 1275347 h 1275347"/>
                  <a:gd name="connsiteX30" fmla="*/ 1267327 w 1483895"/>
                  <a:gd name="connsiteY30" fmla="*/ 1147010 h 12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83895" h="1275347">
                    <a:moveTo>
                      <a:pt x="1267327" y="1147010"/>
                    </a:moveTo>
                    <a:lnTo>
                      <a:pt x="1275348" y="850231"/>
                    </a:lnTo>
                    <a:lnTo>
                      <a:pt x="1323474" y="585537"/>
                    </a:lnTo>
                    <a:lnTo>
                      <a:pt x="1387642" y="409073"/>
                    </a:lnTo>
                    <a:lnTo>
                      <a:pt x="1443790" y="264695"/>
                    </a:lnTo>
                    <a:lnTo>
                      <a:pt x="1483895" y="200526"/>
                    </a:lnTo>
                    <a:lnTo>
                      <a:pt x="1411705" y="192505"/>
                    </a:lnTo>
                    <a:lnTo>
                      <a:pt x="1323474" y="192505"/>
                    </a:lnTo>
                    <a:lnTo>
                      <a:pt x="1299411" y="272716"/>
                    </a:lnTo>
                    <a:lnTo>
                      <a:pt x="1259305" y="240631"/>
                    </a:lnTo>
                    <a:lnTo>
                      <a:pt x="1179095" y="192505"/>
                    </a:lnTo>
                    <a:lnTo>
                      <a:pt x="1098884" y="208547"/>
                    </a:lnTo>
                    <a:lnTo>
                      <a:pt x="954505" y="136358"/>
                    </a:lnTo>
                    <a:lnTo>
                      <a:pt x="786063" y="152400"/>
                    </a:lnTo>
                    <a:lnTo>
                      <a:pt x="505327" y="224589"/>
                    </a:lnTo>
                    <a:lnTo>
                      <a:pt x="352927" y="184484"/>
                    </a:lnTo>
                    <a:lnTo>
                      <a:pt x="200527" y="120316"/>
                    </a:lnTo>
                    <a:lnTo>
                      <a:pt x="88232" y="0"/>
                    </a:lnTo>
                    <a:lnTo>
                      <a:pt x="80211" y="72189"/>
                    </a:lnTo>
                    <a:lnTo>
                      <a:pt x="0" y="393031"/>
                    </a:lnTo>
                    <a:lnTo>
                      <a:pt x="0" y="521368"/>
                    </a:lnTo>
                    <a:lnTo>
                      <a:pt x="8021" y="617621"/>
                    </a:lnTo>
                    <a:lnTo>
                      <a:pt x="80211" y="737937"/>
                    </a:lnTo>
                    <a:lnTo>
                      <a:pt x="64169" y="914400"/>
                    </a:lnTo>
                    <a:lnTo>
                      <a:pt x="112295" y="994610"/>
                    </a:lnTo>
                    <a:lnTo>
                      <a:pt x="328863" y="1122947"/>
                    </a:lnTo>
                    <a:lnTo>
                      <a:pt x="585537" y="1187116"/>
                    </a:lnTo>
                    <a:lnTo>
                      <a:pt x="978569" y="1219200"/>
                    </a:lnTo>
                    <a:lnTo>
                      <a:pt x="1147011" y="1235242"/>
                    </a:lnTo>
                    <a:lnTo>
                      <a:pt x="1291390" y="1275347"/>
                    </a:lnTo>
                    <a:lnTo>
                      <a:pt x="1267327" y="114701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673" name="Freeform 1672"/>
              <p:cNvSpPr/>
              <p:nvPr/>
            </p:nvSpPr>
            <p:spPr bwMode="auto">
              <a:xfrm>
                <a:off x="10953" y="2973210"/>
                <a:ext cx="1397980" cy="734980"/>
              </a:xfrm>
              <a:custGeom>
                <a:avLst/>
                <a:gdLst>
                  <a:gd name="connsiteX0" fmla="*/ 3426 w 1396318"/>
                  <a:gd name="connsiteY0" fmla="*/ 684390 h 734979"/>
                  <a:gd name="connsiteX1" fmla="*/ 260100 w 1396318"/>
                  <a:gd name="connsiteY1" fmla="*/ 724495 h 734979"/>
                  <a:gd name="connsiteX2" fmla="*/ 813552 w 1396318"/>
                  <a:gd name="connsiteY2" fmla="*/ 515948 h 734979"/>
                  <a:gd name="connsiteX3" fmla="*/ 1350963 w 1396318"/>
                  <a:gd name="connsiteY3" fmla="*/ 58748 h 734979"/>
                  <a:gd name="connsiteX4" fmla="*/ 1350963 w 1396318"/>
                  <a:gd name="connsiteY4" fmla="*/ 2601 h 734979"/>
                  <a:gd name="connsiteX5" fmla="*/ 1214605 w 1396318"/>
                  <a:gd name="connsiteY5" fmla="*/ 26664 h 734979"/>
                  <a:gd name="connsiteX6" fmla="*/ 709279 w 1396318"/>
                  <a:gd name="connsiteY6" fmla="*/ 171043 h 734979"/>
                  <a:gd name="connsiteX7" fmla="*/ 276142 w 1396318"/>
                  <a:gd name="connsiteY7" fmla="*/ 427716 h 734979"/>
                  <a:gd name="connsiteX8" fmla="*/ 163847 w 1396318"/>
                  <a:gd name="connsiteY8" fmla="*/ 427716 h 734979"/>
                  <a:gd name="connsiteX9" fmla="*/ 115721 w 1396318"/>
                  <a:gd name="connsiteY9" fmla="*/ 515948 h 734979"/>
                  <a:gd name="connsiteX10" fmla="*/ 3426 w 1396318"/>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77804 w 1397980"/>
                  <a:gd name="connsiteY7" fmla="*/ 427716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396241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38862 h 734979"/>
                  <a:gd name="connsiteX8" fmla="*/ 165509 w 1397980"/>
                  <a:gd name="connsiteY8" fmla="*/ 396241 h 734979"/>
                  <a:gd name="connsiteX9" fmla="*/ 96399 w 1397980"/>
                  <a:gd name="connsiteY9" fmla="*/ 515948 h 734979"/>
                  <a:gd name="connsiteX10" fmla="*/ 5088 w 1397980"/>
                  <a:gd name="connsiteY10" fmla="*/ 684390 h 73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7980" h="734979">
                    <a:moveTo>
                      <a:pt x="5088" y="684390"/>
                    </a:moveTo>
                    <a:cubicBezTo>
                      <a:pt x="32649" y="719148"/>
                      <a:pt x="126741" y="752569"/>
                      <a:pt x="261762" y="724495"/>
                    </a:cubicBezTo>
                    <a:cubicBezTo>
                      <a:pt x="396783" y="696421"/>
                      <a:pt x="633404" y="626906"/>
                      <a:pt x="815214" y="515948"/>
                    </a:cubicBezTo>
                    <a:cubicBezTo>
                      <a:pt x="997024" y="404990"/>
                      <a:pt x="1263057" y="144306"/>
                      <a:pt x="1352625" y="58748"/>
                    </a:cubicBezTo>
                    <a:cubicBezTo>
                      <a:pt x="1442193" y="-26810"/>
                      <a:pt x="1375351" y="7948"/>
                      <a:pt x="1352625" y="2601"/>
                    </a:cubicBezTo>
                    <a:cubicBezTo>
                      <a:pt x="1329899" y="-2746"/>
                      <a:pt x="1330209" y="7334"/>
                      <a:pt x="1216267" y="26664"/>
                    </a:cubicBezTo>
                    <a:cubicBezTo>
                      <a:pt x="1102325" y="45994"/>
                      <a:pt x="823635" y="83217"/>
                      <a:pt x="668973" y="118583"/>
                    </a:cubicBezTo>
                    <a:cubicBezTo>
                      <a:pt x="514311" y="153949"/>
                      <a:pt x="372207" y="192586"/>
                      <a:pt x="288296" y="238862"/>
                    </a:cubicBezTo>
                    <a:cubicBezTo>
                      <a:pt x="204385" y="285138"/>
                      <a:pt x="192246" y="381536"/>
                      <a:pt x="165509" y="396241"/>
                    </a:cubicBezTo>
                    <a:cubicBezTo>
                      <a:pt x="138772" y="410946"/>
                      <a:pt x="123136" y="467923"/>
                      <a:pt x="96399" y="515948"/>
                    </a:cubicBezTo>
                    <a:cubicBezTo>
                      <a:pt x="69662" y="563973"/>
                      <a:pt x="-22473" y="649632"/>
                      <a:pt x="5088" y="684390"/>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659" name="Freeform 1658"/>
            <p:cNvSpPr/>
            <p:nvPr/>
          </p:nvSpPr>
          <p:spPr bwMode="auto">
            <a:xfrm rot="271620">
              <a:off x="3993004" y="3376093"/>
              <a:ext cx="521758" cy="457462"/>
            </a:xfrm>
            <a:custGeom>
              <a:avLst/>
              <a:gdLst>
                <a:gd name="connsiteX0" fmla="*/ 49366 w 521758"/>
                <a:gd name="connsiteY0" fmla="*/ 361980 h 459200"/>
                <a:gd name="connsiteX1" fmla="*/ 169682 w 521758"/>
                <a:gd name="connsiteY1" fmla="*/ 442191 h 459200"/>
                <a:gd name="connsiteX2" fmla="*/ 410314 w 521758"/>
                <a:gd name="connsiteY2" fmla="*/ 458233 h 459200"/>
                <a:gd name="connsiteX3" fmla="*/ 498545 w 521758"/>
                <a:gd name="connsiteY3" fmla="*/ 434170 h 459200"/>
                <a:gd name="connsiteX4" fmla="*/ 514587 w 521758"/>
                <a:gd name="connsiteY4" fmla="*/ 249686 h 459200"/>
                <a:gd name="connsiteX5" fmla="*/ 514587 w 521758"/>
                <a:gd name="connsiteY5" fmla="*/ 105307 h 459200"/>
                <a:gd name="connsiteX6" fmla="*/ 426356 w 521758"/>
                <a:gd name="connsiteY6" fmla="*/ 41138 h 459200"/>
                <a:gd name="connsiteX7" fmla="*/ 265935 w 521758"/>
                <a:gd name="connsiteY7" fmla="*/ 9054 h 459200"/>
                <a:gd name="connsiteX8" fmla="*/ 217808 w 521758"/>
                <a:gd name="connsiteY8" fmla="*/ 9054 h 459200"/>
                <a:gd name="connsiteX9" fmla="*/ 105514 w 521758"/>
                <a:gd name="connsiteY9" fmla="*/ 113328 h 459200"/>
                <a:gd name="connsiteX10" fmla="*/ 9261 w 521758"/>
                <a:gd name="connsiteY10" fmla="*/ 185517 h 459200"/>
                <a:gd name="connsiteX11" fmla="*/ 9261 w 521758"/>
                <a:gd name="connsiteY11" fmla="*/ 257707 h 459200"/>
                <a:gd name="connsiteX12" fmla="*/ 49366 w 521758"/>
                <a:gd name="connsiteY12" fmla="*/ 361980 h 459200"/>
                <a:gd name="connsiteX0" fmla="*/ 49366 w 521758"/>
                <a:gd name="connsiteY0" fmla="*/ 360242 h 457462"/>
                <a:gd name="connsiteX1" fmla="*/ 169682 w 521758"/>
                <a:gd name="connsiteY1" fmla="*/ 440453 h 457462"/>
                <a:gd name="connsiteX2" fmla="*/ 410314 w 521758"/>
                <a:gd name="connsiteY2" fmla="*/ 456495 h 457462"/>
                <a:gd name="connsiteX3" fmla="*/ 498545 w 521758"/>
                <a:gd name="connsiteY3" fmla="*/ 432432 h 457462"/>
                <a:gd name="connsiteX4" fmla="*/ 514587 w 521758"/>
                <a:gd name="connsiteY4" fmla="*/ 247948 h 457462"/>
                <a:gd name="connsiteX5" fmla="*/ 514587 w 521758"/>
                <a:gd name="connsiteY5" fmla="*/ 103569 h 457462"/>
                <a:gd name="connsiteX6" fmla="*/ 426356 w 521758"/>
                <a:gd name="connsiteY6" fmla="*/ 39400 h 457462"/>
                <a:gd name="connsiteX7" fmla="*/ 265935 w 521758"/>
                <a:gd name="connsiteY7" fmla="*/ 7316 h 457462"/>
                <a:gd name="connsiteX8" fmla="*/ 217808 w 521758"/>
                <a:gd name="connsiteY8" fmla="*/ 7316 h 457462"/>
                <a:gd name="connsiteX9" fmla="*/ 105514 w 521758"/>
                <a:gd name="connsiteY9" fmla="*/ 87527 h 457462"/>
                <a:gd name="connsiteX10" fmla="*/ 9261 w 521758"/>
                <a:gd name="connsiteY10" fmla="*/ 183779 h 457462"/>
                <a:gd name="connsiteX11" fmla="*/ 9261 w 521758"/>
                <a:gd name="connsiteY11" fmla="*/ 255969 h 457462"/>
                <a:gd name="connsiteX12" fmla="*/ 49366 w 521758"/>
                <a:gd name="connsiteY12" fmla="*/ 360242 h 45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758" h="457462">
                  <a:moveTo>
                    <a:pt x="49366" y="360242"/>
                  </a:moveTo>
                  <a:cubicBezTo>
                    <a:pt x="76103" y="390989"/>
                    <a:pt x="109524" y="424411"/>
                    <a:pt x="169682" y="440453"/>
                  </a:cubicBezTo>
                  <a:cubicBezTo>
                    <a:pt x="229840" y="456495"/>
                    <a:pt x="355504" y="457832"/>
                    <a:pt x="410314" y="456495"/>
                  </a:cubicBezTo>
                  <a:cubicBezTo>
                    <a:pt x="465125" y="455158"/>
                    <a:pt x="481166" y="467190"/>
                    <a:pt x="498545" y="432432"/>
                  </a:cubicBezTo>
                  <a:cubicBezTo>
                    <a:pt x="515924" y="397674"/>
                    <a:pt x="511913" y="302758"/>
                    <a:pt x="514587" y="247948"/>
                  </a:cubicBezTo>
                  <a:cubicBezTo>
                    <a:pt x="517261" y="193138"/>
                    <a:pt x="529292" y="138327"/>
                    <a:pt x="514587" y="103569"/>
                  </a:cubicBezTo>
                  <a:cubicBezTo>
                    <a:pt x="499882" y="68811"/>
                    <a:pt x="467798" y="55442"/>
                    <a:pt x="426356" y="39400"/>
                  </a:cubicBezTo>
                  <a:cubicBezTo>
                    <a:pt x="384914" y="23358"/>
                    <a:pt x="300693" y="12663"/>
                    <a:pt x="265935" y="7316"/>
                  </a:cubicBezTo>
                  <a:cubicBezTo>
                    <a:pt x="231177" y="1969"/>
                    <a:pt x="244545" y="-6052"/>
                    <a:pt x="217808" y="7316"/>
                  </a:cubicBezTo>
                  <a:cubicBezTo>
                    <a:pt x="191071" y="20684"/>
                    <a:pt x="140272" y="58117"/>
                    <a:pt x="105514" y="87527"/>
                  </a:cubicBezTo>
                  <a:cubicBezTo>
                    <a:pt x="70756" y="116937"/>
                    <a:pt x="25303" y="159716"/>
                    <a:pt x="9261" y="183779"/>
                  </a:cubicBezTo>
                  <a:cubicBezTo>
                    <a:pt x="-6781" y="207842"/>
                    <a:pt x="1240" y="225222"/>
                    <a:pt x="9261" y="255969"/>
                  </a:cubicBezTo>
                  <a:cubicBezTo>
                    <a:pt x="17282" y="286716"/>
                    <a:pt x="22629" y="329495"/>
                    <a:pt x="49366" y="360242"/>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25" name="Group 1024"/>
          <p:cNvGrpSpPr>
            <a:grpSpLocks noChangeAspect="1"/>
          </p:cNvGrpSpPr>
          <p:nvPr/>
        </p:nvGrpSpPr>
        <p:grpSpPr>
          <a:xfrm flipH="1">
            <a:off x="7011349" y="2916059"/>
            <a:ext cx="885950" cy="347848"/>
            <a:chOff x="1666793" y="1822148"/>
            <a:chExt cx="8612041" cy="3073935"/>
          </a:xfrm>
        </p:grpSpPr>
        <p:grpSp>
          <p:nvGrpSpPr>
            <p:cNvPr id="1026" name="Group 1025"/>
            <p:cNvGrpSpPr/>
            <p:nvPr/>
          </p:nvGrpSpPr>
          <p:grpSpPr>
            <a:xfrm>
              <a:off x="1666793" y="1822148"/>
              <a:ext cx="8612041" cy="3073935"/>
              <a:chOff x="1666793" y="1822148"/>
              <a:chExt cx="8612041" cy="3073935"/>
            </a:xfrm>
          </p:grpSpPr>
          <p:sp>
            <p:nvSpPr>
              <p:cNvPr id="1028" name="Freeform 1027"/>
              <p:cNvSpPr/>
              <p:nvPr/>
            </p:nvSpPr>
            <p:spPr bwMode="auto">
              <a:xfrm>
                <a:off x="1676932" y="1822148"/>
                <a:ext cx="8601902" cy="2717800"/>
              </a:xfrm>
              <a:custGeom>
                <a:avLst/>
                <a:gdLst>
                  <a:gd name="connsiteX0" fmla="*/ 286034 w 8601902"/>
                  <a:gd name="connsiteY0" fmla="*/ 2657323 h 2717800"/>
                  <a:gd name="connsiteX1" fmla="*/ 378563 w 8601902"/>
                  <a:gd name="connsiteY1" fmla="*/ 2679095 h 2717800"/>
                  <a:gd name="connsiteX2" fmla="*/ 563620 w 8601902"/>
                  <a:gd name="connsiteY2" fmla="*/ 2700866 h 2717800"/>
                  <a:gd name="connsiteX3" fmla="*/ 634377 w 8601902"/>
                  <a:gd name="connsiteY3" fmla="*/ 2717195 h 2717800"/>
                  <a:gd name="connsiteX4" fmla="*/ 634377 w 8601902"/>
                  <a:gd name="connsiteY4" fmla="*/ 2679095 h 2717800"/>
                  <a:gd name="connsiteX5" fmla="*/ 618049 w 8601902"/>
                  <a:gd name="connsiteY5" fmla="*/ 2504923 h 2717800"/>
                  <a:gd name="connsiteX6" fmla="*/ 628934 w 8601902"/>
                  <a:gd name="connsiteY6" fmla="*/ 2336195 h 2717800"/>
                  <a:gd name="connsiteX7" fmla="*/ 667034 w 8601902"/>
                  <a:gd name="connsiteY7" fmla="*/ 2162023 h 2717800"/>
                  <a:gd name="connsiteX8" fmla="*/ 748677 w 8601902"/>
                  <a:gd name="connsiteY8" fmla="*/ 2004181 h 2717800"/>
                  <a:gd name="connsiteX9" fmla="*/ 857534 w 8601902"/>
                  <a:gd name="connsiteY9" fmla="*/ 1878995 h 2717800"/>
                  <a:gd name="connsiteX10" fmla="*/ 1042592 w 8601902"/>
                  <a:gd name="connsiteY10" fmla="*/ 1753809 h 2717800"/>
                  <a:gd name="connsiteX11" fmla="*/ 1243977 w 8601902"/>
                  <a:gd name="connsiteY11" fmla="*/ 1693938 h 2717800"/>
                  <a:gd name="connsiteX12" fmla="*/ 1450806 w 8601902"/>
                  <a:gd name="connsiteY12" fmla="*/ 1693938 h 2717800"/>
                  <a:gd name="connsiteX13" fmla="*/ 1635863 w 8601902"/>
                  <a:gd name="connsiteY13" fmla="*/ 1710266 h 2717800"/>
                  <a:gd name="connsiteX14" fmla="*/ 1739277 w 8601902"/>
                  <a:gd name="connsiteY14" fmla="*/ 1753809 h 2717800"/>
                  <a:gd name="connsiteX15" fmla="*/ 1929777 w 8601902"/>
                  <a:gd name="connsiteY15" fmla="*/ 1862666 h 2717800"/>
                  <a:gd name="connsiteX16" fmla="*/ 2049520 w 8601902"/>
                  <a:gd name="connsiteY16" fmla="*/ 2015066 h 2717800"/>
                  <a:gd name="connsiteX17" fmla="*/ 2152934 w 8601902"/>
                  <a:gd name="connsiteY17" fmla="*/ 2243666 h 2717800"/>
                  <a:gd name="connsiteX18" fmla="*/ 2185592 w 8601902"/>
                  <a:gd name="connsiteY18" fmla="*/ 2406952 h 2717800"/>
                  <a:gd name="connsiteX19" fmla="*/ 2212806 w 8601902"/>
                  <a:gd name="connsiteY19" fmla="*/ 2575681 h 2717800"/>
                  <a:gd name="connsiteX20" fmla="*/ 2218249 w 8601902"/>
                  <a:gd name="connsiteY20" fmla="*/ 2668209 h 2717800"/>
                  <a:gd name="connsiteX21" fmla="*/ 2240020 w 8601902"/>
                  <a:gd name="connsiteY21" fmla="*/ 2668209 h 2717800"/>
                  <a:gd name="connsiteX22" fmla="*/ 2523049 w 8601902"/>
                  <a:gd name="connsiteY22" fmla="*/ 2662766 h 2717800"/>
                  <a:gd name="connsiteX23" fmla="*/ 3274163 w 8601902"/>
                  <a:gd name="connsiteY23" fmla="*/ 2651881 h 2717800"/>
                  <a:gd name="connsiteX24" fmla="*/ 3949077 w 8601902"/>
                  <a:gd name="connsiteY24" fmla="*/ 2646438 h 2717800"/>
                  <a:gd name="connsiteX25" fmla="*/ 5113849 w 8601902"/>
                  <a:gd name="connsiteY25" fmla="*/ 2630109 h 2717800"/>
                  <a:gd name="connsiteX26" fmla="*/ 5799649 w 8601902"/>
                  <a:gd name="connsiteY26" fmla="*/ 2613781 h 2717800"/>
                  <a:gd name="connsiteX27" fmla="*/ 5930277 w 8601902"/>
                  <a:gd name="connsiteY27" fmla="*/ 2613781 h 2717800"/>
                  <a:gd name="connsiteX28" fmla="*/ 5930277 w 8601902"/>
                  <a:gd name="connsiteY28" fmla="*/ 2586566 h 2717800"/>
                  <a:gd name="connsiteX29" fmla="*/ 5941163 w 8601902"/>
                  <a:gd name="connsiteY29" fmla="*/ 2450495 h 2717800"/>
                  <a:gd name="connsiteX30" fmla="*/ 5973820 w 8601902"/>
                  <a:gd name="connsiteY30" fmla="*/ 2243666 h 2717800"/>
                  <a:gd name="connsiteX31" fmla="*/ 6055463 w 8601902"/>
                  <a:gd name="connsiteY31" fmla="*/ 2015066 h 2717800"/>
                  <a:gd name="connsiteX32" fmla="*/ 6202420 w 8601902"/>
                  <a:gd name="connsiteY32" fmla="*/ 1835452 h 2717800"/>
                  <a:gd name="connsiteX33" fmla="*/ 6360263 w 8601902"/>
                  <a:gd name="connsiteY33" fmla="*/ 1742923 h 2717800"/>
                  <a:gd name="connsiteX34" fmla="*/ 6534434 w 8601902"/>
                  <a:gd name="connsiteY34" fmla="*/ 1672166 h 2717800"/>
                  <a:gd name="connsiteX35" fmla="*/ 6801134 w 8601902"/>
                  <a:gd name="connsiteY35" fmla="*/ 1650395 h 2717800"/>
                  <a:gd name="connsiteX36" fmla="*/ 7029734 w 8601902"/>
                  <a:gd name="connsiteY36" fmla="*/ 1704823 h 2717800"/>
                  <a:gd name="connsiteX37" fmla="*/ 7193020 w 8601902"/>
                  <a:gd name="connsiteY37" fmla="*/ 1781023 h 2717800"/>
                  <a:gd name="connsiteX38" fmla="*/ 7296434 w 8601902"/>
                  <a:gd name="connsiteY38" fmla="*/ 1878995 h 2717800"/>
                  <a:gd name="connsiteX39" fmla="*/ 7334534 w 8601902"/>
                  <a:gd name="connsiteY39" fmla="*/ 1927981 h 2717800"/>
                  <a:gd name="connsiteX40" fmla="*/ 7410734 w 8601902"/>
                  <a:gd name="connsiteY40" fmla="*/ 2025952 h 2717800"/>
                  <a:gd name="connsiteX41" fmla="*/ 7454277 w 8601902"/>
                  <a:gd name="connsiteY41" fmla="*/ 2134809 h 2717800"/>
                  <a:gd name="connsiteX42" fmla="*/ 7492377 w 8601902"/>
                  <a:gd name="connsiteY42" fmla="*/ 2243666 h 2717800"/>
                  <a:gd name="connsiteX43" fmla="*/ 7503263 w 8601902"/>
                  <a:gd name="connsiteY43" fmla="*/ 2347081 h 2717800"/>
                  <a:gd name="connsiteX44" fmla="*/ 7492377 w 8601902"/>
                  <a:gd name="connsiteY44" fmla="*/ 2445052 h 2717800"/>
                  <a:gd name="connsiteX45" fmla="*/ 7481492 w 8601902"/>
                  <a:gd name="connsiteY45" fmla="*/ 2504923 h 2717800"/>
                  <a:gd name="connsiteX46" fmla="*/ 7508706 w 8601902"/>
                  <a:gd name="connsiteY46" fmla="*/ 2510366 h 2717800"/>
                  <a:gd name="connsiteX47" fmla="*/ 7742749 w 8601902"/>
                  <a:gd name="connsiteY47" fmla="*/ 2466823 h 2717800"/>
                  <a:gd name="connsiteX48" fmla="*/ 7960463 w 8601902"/>
                  <a:gd name="connsiteY48" fmla="*/ 2439609 h 2717800"/>
                  <a:gd name="connsiteX49" fmla="*/ 8297920 w 8601902"/>
                  <a:gd name="connsiteY49" fmla="*/ 2379738 h 2717800"/>
                  <a:gd name="connsiteX50" fmla="*/ 8504749 w 8601902"/>
                  <a:gd name="connsiteY50" fmla="*/ 2303538 h 2717800"/>
                  <a:gd name="connsiteX51" fmla="*/ 8580949 w 8601902"/>
                  <a:gd name="connsiteY51" fmla="*/ 2134809 h 2717800"/>
                  <a:gd name="connsiteX52" fmla="*/ 8597277 w 8601902"/>
                  <a:gd name="connsiteY52" fmla="*/ 1922538 h 2717800"/>
                  <a:gd name="connsiteX53" fmla="*/ 8510192 w 8601902"/>
                  <a:gd name="connsiteY53" fmla="*/ 1672166 h 2717800"/>
                  <a:gd name="connsiteX54" fmla="*/ 8417663 w 8601902"/>
                  <a:gd name="connsiteY54" fmla="*/ 1449009 h 2717800"/>
                  <a:gd name="connsiteX55" fmla="*/ 8461206 w 8601902"/>
                  <a:gd name="connsiteY55" fmla="*/ 1372809 h 2717800"/>
                  <a:gd name="connsiteX56" fmla="*/ 8450320 w 8601902"/>
                  <a:gd name="connsiteY56" fmla="*/ 1078895 h 2717800"/>
                  <a:gd name="connsiteX57" fmla="*/ 8276149 w 8601902"/>
                  <a:gd name="connsiteY57" fmla="*/ 790423 h 2717800"/>
                  <a:gd name="connsiteX58" fmla="*/ 8080206 w 8601902"/>
                  <a:gd name="connsiteY58" fmla="*/ 534609 h 2717800"/>
                  <a:gd name="connsiteX59" fmla="*/ 7938692 w 8601902"/>
                  <a:gd name="connsiteY59" fmla="*/ 365881 h 2717800"/>
                  <a:gd name="connsiteX60" fmla="*/ 7900592 w 8601902"/>
                  <a:gd name="connsiteY60" fmla="*/ 284238 h 2717800"/>
                  <a:gd name="connsiteX61" fmla="*/ 7889706 w 8601902"/>
                  <a:gd name="connsiteY61" fmla="*/ 120952 h 2717800"/>
                  <a:gd name="connsiteX62" fmla="*/ 7857049 w 8601902"/>
                  <a:gd name="connsiteY62" fmla="*/ 99181 h 2717800"/>
                  <a:gd name="connsiteX63" fmla="*/ 7818949 w 8601902"/>
                  <a:gd name="connsiteY63" fmla="*/ 93738 h 2717800"/>
                  <a:gd name="connsiteX64" fmla="*/ 7394406 w 8601902"/>
                  <a:gd name="connsiteY64" fmla="*/ 33866 h 2717800"/>
                  <a:gd name="connsiteX65" fmla="*/ 6964420 w 8601902"/>
                  <a:gd name="connsiteY65" fmla="*/ 17538 h 2717800"/>
                  <a:gd name="connsiteX66" fmla="*/ 6567092 w 8601902"/>
                  <a:gd name="connsiteY66" fmla="*/ 1209 h 2717800"/>
                  <a:gd name="connsiteX67" fmla="*/ 6147992 w 8601902"/>
                  <a:gd name="connsiteY67" fmla="*/ 1209 h 2717800"/>
                  <a:gd name="connsiteX68" fmla="*/ 5571049 w 8601902"/>
                  <a:gd name="connsiteY68" fmla="*/ 1209 h 2717800"/>
                  <a:gd name="connsiteX69" fmla="*/ 5026763 w 8601902"/>
                  <a:gd name="connsiteY69" fmla="*/ 17538 h 2717800"/>
                  <a:gd name="connsiteX70" fmla="*/ 4487920 w 8601902"/>
                  <a:gd name="connsiteY70" fmla="*/ 39309 h 2717800"/>
                  <a:gd name="connsiteX71" fmla="*/ 4123249 w 8601902"/>
                  <a:gd name="connsiteY71" fmla="*/ 61081 h 2717800"/>
                  <a:gd name="connsiteX72" fmla="*/ 3731363 w 8601902"/>
                  <a:gd name="connsiteY72" fmla="*/ 110066 h 2717800"/>
                  <a:gd name="connsiteX73" fmla="*/ 3497320 w 8601902"/>
                  <a:gd name="connsiteY73" fmla="*/ 148166 h 2717800"/>
                  <a:gd name="connsiteX74" fmla="*/ 3263277 w 8601902"/>
                  <a:gd name="connsiteY74" fmla="*/ 208038 h 2717800"/>
                  <a:gd name="connsiteX75" fmla="*/ 2980249 w 8601902"/>
                  <a:gd name="connsiteY75" fmla="*/ 306009 h 2717800"/>
                  <a:gd name="connsiteX76" fmla="*/ 2566592 w 8601902"/>
                  <a:gd name="connsiteY76" fmla="*/ 512838 h 2717800"/>
                  <a:gd name="connsiteX77" fmla="*/ 2185592 w 8601902"/>
                  <a:gd name="connsiteY77" fmla="*/ 730552 h 2717800"/>
                  <a:gd name="connsiteX78" fmla="*/ 1815477 w 8601902"/>
                  <a:gd name="connsiteY78" fmla="*/ 942823 h 2717800"/>
                  <a:gd name="connsiteX79" fmla="*/ 1673963 w 8601902"/>
                  <a:gd name="connsiteY79" fmla="*/ 964595 h 2717800"/>
                  <a:gd name="connsiteX80" fmla="*/ 1309292 w 8601902"/>
                  <a:gd name="connsiteY80" fmla="*/ 1068009 h 2717800"/>
                  <a:gd name="connsiteX81" fmla="*/ 999049 w 8601902"/>
                  <a:gd name="connsiteY81" fmla="*/ 1155095 h 2717800"/>
                  <a:gd name="connsiteX82" fmla="*/ 656149 w 8601902"/>
                  <a:gd name="connsiteY82" fmla="*/ 1274838 h 2717800"/>
                  <a:gd name="connsiteX83" fmla="*/ 460206 w 8601902"/>
                  <a:gd name="connsiteY83" fmla="*/ 1351038 h 2717800"/>
                  <a:gd name="connsiteX84" fmla="*/ 329577 w 8601902"/>
                  <a:gd name="connsiteY84" fmla="*/ 1405466 h 2717800"/>
                  <a:gd name="connsiteX85" fmla="*/ 220720 w 8601902"/>
                  <a:gd name="connsiteY85" fmla="*/ 1497995 h 2717800"/>
                  <a:gd name="connsiteX86" fmla="*/ 122749 w 8601902"/>
                  <a:gd name="connsiteY86" fmla="*/ 1693938 h 2717800"/>
                  <a:gd name="connsiteX87" fmla="*/ 84649 w 8601902"/>
                  <a:gd name="connsiteY87" fmla="*/ 1846338 h 2717800"/>
                  <a:gd name="connsiteX88" fmla="*/ 3006 w 8601902"/>
                  <a:gd name="connsiteY88" fmla="*/ 2004181 h 2717800"/>
                  <a:gd name="connsiteX89" fmla="*/ 19334 w 8601902"/>
                  <a:gd name="connsiteY89" fmla="*/ 2113038 h 2717800"/>
                  <a:gd name="connsiteX90" fmla="*/ 35663 w 8601902"/>
                  <a:gd name="connsiteY90" fmla="*/ 2254552 h 2717800"/>
                  <a:gd name="connsiteX91" fmla="*/ 79206 w 8601902"/>
                  <a:gd name="connsiteY91" fmla="*/ 2292652 h 2717800"/>
                  <a:gd name="connsiteX92" fmla="*/ 106420 w 8601902"/>
                  <a:gd name="connsiteY92" fmla="*/ 2423281 h 2717800"/>
                  <a:gd name="connsiteX93" fmla="*/ 84649 w 8601902"/>
                  <a:gd name="connsiteY93" fmla="*/ 2494038 h 2717800"/>
                  <a:gd name="connsiteX94" fmla="*/ 139077 w 8601902"/>
                  <a:gd name="connsiteY94" fmla="*/ 2597452 h 2717800"/>
                  <a:gd name="connsiteX95" fmla="*/ 286034 w 8601902"/>
                  <a:gd name="connsiteY95" fmla="*/ 2657323 h 271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601902" h="2717800">
                    <a:moveTo>
                      <a:pt x="286034" y="2657323"/>
                    </a:moveTo>
                    <a:cubicBezTo>
                      <a:pt x="325948" y="2670930"/>
                      <a:pt x="332299" y="2671838"/>
                      <a:pt x="378563" y="2679095"/>
                    </a:cubicBezTo>
                    <a:cubicBezTo>
                      <a:pt x="424827" y="2686352"/>
                      <a:pt x="520984" y="2694516"/>
                      <a:pt x="563620" y="2700866"/>
                    </a:cubicBezTo>
                    <a:cubicBezTo>
                      <a:pt x="606256" y="2707216"/>
                      <a:pt x="622584" y="2720823"/>
                      <a:pt x="634377" y="2717195"/>
                    </a:cubicBezTo>
                    <a:cubicBezTo>
                      <a:pt x="646170" y="2713567"/>
                      <a:pt x="637098" y="2714474"/>
                      <a:pt x="634377" y="2679095"/>
                    </a:cubicBezTo>
                    <a:cubicBezTo>
                      <a:pt x="631656" y="2643716"/>
                      <a:pt x="618956" y="2562073"/>
                      <a:pt x="618049" y="2504923"/>
                    </a:cubicBezTo>
                    <a:cubicBezTo>
                      <a:pt x="617142" y="2447773"/>
                      <a:pt x="620770" y="2393345"/>
                      <a:pt x="628934" y="2336195"/>
                    </a:cubicBezTo>
                    <a:cubicBezTo>
                      <a:pt x="637098" y="2279045"/>
                      <a:pt x="647077" y="2217359"/>
                      <a:pt x="667034" y="2162023"/>
                    </a:cubicBezTo>
                    <a:cubicBezTo>
                      <a:pt x="686991" y="2106687"/>
                      <a:pt x="716927" y="2051352"/>
                      <a:pt x="748677" y="2004181"/>
                    </a:cubicBezTo>
                    <a:cubicBezTo>
                      <a:pt x="780427" y="1957010"/>
                      <a:pt x="808548" y="1920724"/>
                      <a:pt x="857534" y="1878995"/>
                    </a:cubicBezTo>
                    <a:cubicBezTo>
                      <a:pt x="906520" y="1837266"/>
                      <a:pt x="978185" y="1784652"/>
                      <a:pt x="1042592" y="1753809"/>
                    </a:cubicBezTo>
                    <a:cubicBezTo>
                      <a:pt x="1106999" y="1722966"/>
                      <a:pt x="1175941" y="1703917"/>
                      <a:pt x="1243977" y="1693938"/>
                    </a:cubicBezTo>
                    <a:cubicBezTo>
                      <a:pt x="1312013" y="1683959"/>
                      <a:pt x="1385492" y="1691217"/>
                      <a:pt x="1450806" y="1693938"/>
                    </a:cubicBezTo>
                    <a:cubicBezTo>
                      <a:pt x="1516120" y="1696659"/>
                      <a:pt x="1587785" y="1700288"/>
                      <a:pt x="1635863" y="1710266"/>
                    </a:cubicBezTo>
                    <a:cubicBezTo>
                      <a:pt x="1683941" y="1720244"/>
                      <a:pt x="1690291" y="1728409"/>
                      <a:pt x="1739277" y="1753809"/>
                    </a:cubicBezTo>
                    <a:cubicBezTo>
                      <a:pt x="1788263" y="1779209"/>
                      <a:pt x="1878070" y="1819123"/>
                      <a:pt x="1929777" y="1862666"/>
                    </a:cubicBezTo>
                    <a:cubicBezTo>
                      <a:pt x="1981484" y="1906209"/>
                      <a:pt x="2012327" y="1951566"/>
                      <a:pt x="2049520" y="2015066"/>
                    </a:cubicBezTo>
                    <a:cubicBezTo>
                      <a:pt x="2086713" y="2078566"/>
                      <a:pt x="2130255" y="2178352"/>
                      <a:pt x="2152934" y="2243666"/>
                    </a:cubicBezTo>
                    <a:cubicBezTo>
                      <a:pt x="2175613" y="2308980"/>
                      <a:pt x="2175613" y="2351616"/>
                      <a:pt x="2185592" y="2406952"/>
                    </a:cubicBezTo>
                    <a:cubicBezTo>
                      <a:pt x="2195571" y="2462288"/>
                      <a:pt x="2207363" y="2532138"/>
                      <a:pt x="2212806" y="2575681"/>
                    </a:cubicBezTo>
                    <a:cubicBezTo>
                      <a:pt x="2218249" y="2619224"/>
                      <a:pt x="2213713" y="2652788"/>
                      <a:pt x="2218249" y="2668209"/>
                    </a:cubicBezTo>
                    <a:cubicBezTo>
                      <a:pt x="2222785" y="2683630"/>
                      <a:pt x="2240020" y="2668209"/>
                      <a:pt x="2240020" y="2668209"/>
                    </a:cubicBezTo>
                    <a:lnTo>
                      <a:pt x="2523049" y="2662766"/>
                    </a:lnTo>
                    <a:lnTo>
                      <a:pt x="3274163" y="2651881"/>
                    </a:lnTo>
                    <a:lnTo>
                      <a:pt x="3949077" y="2646438"/>
                    </a:lnTo>
                    <a:lnTo>
                      <a:pt x="5113849" y="2630109"/>
                    </a:lnTo>
                    <a:lnTo>
                      <a:pt x="5799649" y="2613781"/>
                    </a:lnTo>
                    <a:cubicBezTo>
                      <a:pt x="5935720" y="2611060"/>
                      <a:pt x="5908506" y="2618317"/>
                      <a:pt x="5930277" y="2613781"/>
                    </a:cubicBezTo>
                    <a:cubicBezTo>
                      <a:pt x="5952048" y="2609245"/>
                      <a:pt x="5928463" y="2613780"/>
                      <a:pt x="5930277" y="2586566"/>
                    </a:cubicBezTo>
                    <a:cubicBezTo>
                      <a:pt x="5932091" y="2559352"/>
                      <a:pt x="5933906" y="2507645"/>
                      <a:pt x="5941163" y="2450495"/>
                    </a:cubicBezTo>
                    <a:cubicBezTo>
                      <a:pt x="5948420" y="2393345"/>
                      <a:pt x="5954770" y="2316238"/>
                      <a:pt x="5973820" y="2243666"/>
                    </a:cubicBezTo>
                    <a:cubicBezTo>
                      <a:pt x="5992870" y="2171094"/>
                      <a:pt x="6017363" y="2083102"/>
                      <a:pt x="6055463" y="2015066"/>
                    </a:cubicBezTo>
                    <a:cubicBezTo>
                      <a:pt x="6093563" y="1947030"/>
                      <a:pt x="6151620" y="1880809"/>
                      <a:pt x="6202420" y="1835452"/>
                    </a:cubicBezTo>
                    <a:cubicBezTo>
                      <a:pt x="6253220" y="1790095"/>
                      <a:pt x="6304927" y="1770137"/>
                      <a:pt x="6360263" y="1742923"/>
                    </a:cubicBezTo>
                    <a:cubicBezTo>
                      <a:pt x="6415599" y="1715709"/>
                      <a:pt x="6460956" y="1687587"/>
                      <a:pt x="6534434" y="1672166"/>
                    </a:cubicBezTo>
                    <a:cubicBezTo>
                      <a:pt x="6607912" y="1656745"/>
                      <a:pt x="6718584" y="1644952"/>
                      <a:pt x="6801134" y="1650395"/>
                    </a:cubicBezTo>
                    <a:cubicBezTo>
                      <a:pt x="6883684" y="1655838"/>
                      <a:pt x="6964420" y="1683052"/>
                      <a:pt x="7029734" y="1704823"/>
                    </a:cubicBezTo>
                    <a:cubicBezTo>
                      <a:pt x="7095048" y="1726594"/>
                      <a:pt x="7148570" y="1751994"/>
                      <a:pt x="7193020" y="1781023"/>
                    </a:cubicBezTo>
                    <a:cubicBezTo>
                      <a:pt x="7237470" y="1810052"/>
                      <a:pt x="7272848" y="1854502"/>
                      <a:pt x="7296434" y="1878995"/>
                    </a:cubicBezTo>
                    <a:cubicBezTo>
                      <a:pt x="7320020" y="1903488"/>
                      <a:pt x="7334534" y="1927981"/>
                      <a:pt x="7334534" y="1927981"/>
                    </a:cubicBezTo>
                    <a:cubicBezTo>
                      <a:pt x="7353584" y="1952474"/>
                      <a:pt x="7390777" y="1991481"/>
                      <a:pt x="7410734" y="2025952"/>
                    </a:cubicBezTo>
                    <a:cubicBezTo>
                      <a:pt x="7430691" y="2060423"/>
                      <a:pt x="7440670" y="2098523"/>
                      <a:pt x="7454277" y="2134809"/>
                    </a:cubicBezTo>
                    <a:cubicBezTo>
                      <a:pt x="7467884" y="2171095"/>
                      <a:pt x="7484213" y="2208287"/>
                      <a:pt x="7492377" y="2243666"/>
                    </a:cubicBezTo>
                    <a:cubicBezTo>
                      <a:pt x="7500541" y="2279045"/>
                      <a:pt x="7503263" y="2313517"/>
                      <a:pt x="7503263" y="2347081"/>
                    </a:cubicBezTo>
                    <a:cubicBezTo>
                      <a:pt x="7503263" y="2380645"/>
                      <a:pt x="7496005" y="2418745"/>
                      <a:pt x="7492377" y="2445052"/>
                    </a:cubicBezTo>
                    <a:cubicBezTo>
                      <a:pt x="7488749" y="2471359"/>
                      <a:pt x="7478771" y="2494037"/>
                      <a:pt x="7481492" y="2504923"/>
                    </a:cubicBezTo>
                    <a:cubicBezTo>
                      <a:pt x="7484213" y="2515809"/>
                      <a:pt x="7465163" y="2516716"/>
                      <a:pt x="7508706" y="2510366"/>
                    </a:cubicBezTo>
                    <a:cubicBezTo>
                      <a:pt x="7552249" y="2504016"/>
                      <a:pt x="7667456" y="2478616"/>
                      <a:pt x="7742749" y="2466823"/>
                    </a:cubicBezTo>
                    <a:cubicBezTo>
                      <a:pt x="7818042" y="2455030"/>
                      <a:pt x="7867935" y="2454123"/>
                      <a:pt x="7960463" y="2439609"/>
                    </a:cubicBezTo>
                    <a:cubicBezTo>
                      <a:pt x="8052991" y="2425095"/>
                      <a:pt x="8207206" y="2402416"/>
                      <a:pt x="8297920" y="2379738"/>
                    </a:cubicBezTo>
                    <a:cubicBezTo>
                      <a:pt x="8388634" y="2357060"/>
                      <a:pt x="8457578" y="2344359"/>
                      <a:pt x="8504749" y="2303538"/>
                    </a:cubicBezTo>
                    <a:cubicBezTo>
                      <a:pt x="8551920" y="2262717"/>
                      <a:pt x="8565528" y="2198309"/>
                      <a:pt x="8580949" y="2134809"/>
                    </a:cubicBezTo>
                    <a:cubicBezTo>
                      <a:pt x="8596370" y="2071309"/>
                      <a:pt x="8609070" y="1999645"/>
                      <a:pt x="8597277" y="1922538"/>
                    </a:cubicBezTo>
                    <a:cubicBezTo>
                      <a:pt x="8585484" y="1845431"/>
                      <a:pt x="8540128" y="1751087"/>
                      <a:pt x="8510192" y="1672166"/>
                    </a:cubicBezTo>
                    <a:cubicBezTo>
                      <a:pt x="8480256" y="1593244"/>
                      <a:pt x="8425827" y="1498902"/>
                      <a:pt x="8417663" y="1449009"/>
                    </a:cubicBezTo>
                    <a:cubicBezTo>
                      <a:pt x="8409499" y="1399116"/>
                      <a:pt x="8455763" y="1434495"/>
                      <a:pt x="8461206" y="1372809"/>
                    </a:cubicBezTo>
                    <a:cubicBezTo>
                      <a:pt x="8466649" y="1311123"/>
                      <a:pt x="8481163" y="1175959"/>
                      <a:pt x="8450320" y="1078895"/>
                    </a:cubicBezTo>
                    <a:cubicBezTo>
                      <a:pt x="8419477" y="981831"/>
                      <a:pt x="8337835" y="881137"/>
                      <a:pt x="8276149" y="790423"/>
                    </a:cubicBezTo>
                    <a:cubicBezTo>
                      <a:pt x="8214463" y="699709"/>
                      <a:pt x="8136449" y="605366"/>
                      <a:pt x="8080206" y="534609"/>
                    </a:cubicBezTo>
                    <a:cubicBezTo>
                      <a:pt x="8023963" y="463852"/>
                      <a:pt x="7968628" y="407609"/>
                      <a:pt x="7938692" y="365881"/>
                    </a:cubicBezTo>
                    <a:cubicBezTo>
                      <a:pt x="7908756" y="324153"/>
                      <a:pt x="7908756" y="325059"/>
                      <a:pt x="7900592" y="284238"/>
                    </a:cubicBezTo>
                    <a:cubicBezTo>
                      <a:pt x="7892428" y="243416"/>
                      <a:pt x="7896963" y="151795"/>
                      <a:pt x="7889706" y="120952"/>
                    </a:cubicBezTo>
                    <a:cubicBezTo>
                      <a:pt x="7882449" y="90109"/>
                      <a:pt x="7868842" y="103717"/>
                      <a:pt x="7857049" y="99181"/>
                    </a:cubicBezTo>
                    <a:cubicBezTo>
                      <a:pt x="7845256" y="94645"/>
                      <a:pt x="7818949" y="93738"/>
                      <a:pt x="7818949" y="93738"/>
                    </a:cubicBezTo>
                    <a:cubicBezTo>
                      <a:pt x="7741842" y="82852"/>
                      <a:pt x="7536827" y="46566"/>
                      <a:pt x="7394406" y="33866"/>
                    </a:cubicBezTo>
                    <a:cubicBezTo>
                      <a:pt x="7251985" y="21166"/>
                      <a:pt x="6964420" y="17538"/>
                      <a:pt x="6964420" y="17538"/>
                    </a:cubicBezTo>
                    <a:cubicBezTo>
                      <a:pt x="6826534" y="12095"/>
                      <a:pt x="6703163" y="3930"/>
                      <a:pt x="6567092" y="1209"/>
                    </a:cubicBezTo>
                    <a:cubicBezTo>
                      <a:pt x="6431021" y="-1512"/>
                      <a:pt x="6147992" y="1209"/>
                      <a:pt x="6147992" y="1209"/>
                    </a:cubicBezTo>
                    <a:lnTo>
                      <a:pt x="5571049" y="1209"/>
                    </a:lnTo>
                    <a:cubicBezTo>
                      <a:pt x="5384178" y="3930"/>
                      <a:pt x="5026763" y="17538"/>
                      <a:pt x="5026763" y="17538"/>
                    </a:cubicBezTo>
                    <a:lnTo>
                      <a:pt x="4487920" y="39309"/>
                    </a:lnTo>
                    <a:cubicBezTo>
                      <a:pt x="4337334" y="46566"/>
                      <a:pt x="4249342" y="49288"/>
                      <a:pt x="4123249" y="61081"/>
                    </a:cubicBezTo>
                    <a:cubicBezTo>
                      <a:pt x="3997156" y="72874"/>
                      <a:pt x="3835685" y="95552"/>
                      <a:pt x="3731363" y="110066"/>
                    </a:cubicBezTo>
                    <a:cubicBezTo>
                      <a:pt x="3627042" y="124580"/>
                      <a:pt x="3575334" y="131837"/>
                      <a:pt x="3497320" y="148166"/>
                    </a:cubicBezTo>
                    <a:cubicBezTo>
                      <a:pt x="3419306" y="164495"/>
                      <a:pt x="3349456" y="181731"/>
                      <a:pt x="3263277" y="208038"/>
                    </a:cubicBezTo>
                    <a:cubicBezTo>
                      <a:pt x="3177099" y="234345"/>
                      <a:pt x="3096363" y="255209"/>
                      <a:pt x="2980249" y="306009"/>
                    </a:cubicBezTo>
                    <a:cubicBezTo>
                      <a:pt x="2864135" y="356809"/>
                      <a:pt x="2699035" y="442081"/>
                      <a:pt x="2566592" y="512838"/>
                    </a:cubicBezTo>
                    <a:cubicBezTo>
                      <a:pt x="2434149" y="583595"/>
                      <a:pt x="2185592" y="730552"/>
                      <a:pt x="2185592" y="730552"/>
                    </a:cubicBezTo>
                    <a:cubicBezTo>
                      <a:pt x="2060406" y="802216"/>
                      <a:pt x="1900748" y="903816"/>
                      <a:pt x="1815477" y="942823"/>
                    </a:cubicBezTo>
                    <a:cubicBezTo>
                      <a:pt x="1730206" y="981830"/>
                      <a:pt x="1758327" y="943731"/>
                      <a:pt x="1673963" y="964595"/>
                    </a:cubicBezTo>
                    <a:cubicBezTo>
                      <a:pt x="1589599" y="985459"/>
                      <a:pt x="1309292" y="1068009"/>
                      <a:pt x="1309292" y="1068009"/>
                    </a:cubicBezTo>
                    <a:cubicBezTo>
                      <a:pt x="1196806" y="1099759"/>
                      <a:pt x="1107906" y="1120624"/>
                      <a:pt x="999049" y="1155095"/>
                    </a:cubicBezTo>
                    <a:cubicBezTo>
                      <a:pt x="890192" y="1189566"/>
                      <a:pt x="745956" y="1242181"/>
                      <a:pt x="656149" y="1274838"/>
                    </a:cubicBezTo>
                    <a:cubicBezTo>
                      <a:pt x="566342" y="1307495"/>
                      <a:pt x="514635" y="1329267"/>
                      <a:pt x="460206" y="1351038"/>
                    </a:cubicBezTo>
                    <a:cubicBezTo>
                      <a:pt x="405777" y="1372809"/>
                      <a:pt x="369491" y="1380973"/>
                      <a:pt x="329577" y="1405466"/>
                    </a:cubicBezTo>
                    <a:cubicBezTo>
                      <a:pt x="289663" y="1429959"/>
                      <a:pt x="255191" y="1449916"/>
                      <a:pt x="220720" y="1497995"/>
                    </a:cubicBezTo>
                    <a:cubicBezTo>
                      <a:pt x="186249" y="1546074"/>
                      <a:pt x="145427" y="1635881"/>
                      <a:pt x="122749" y="1693938"/>
                    </a:cubicBezTo>
                    <a:cubicBezTo>
                      <a:pt x="100071" y="1751995"/>
                      <a:pt x="104606" y="1794631"/>
                      <a:pt x="84649" y="1846338"/>
                    </a:cubicBezTo>
                    <a:cubicBezTo>
                      <a:pt x="64692" y="1898045"/>
                      <a:pt x="13892" y="1959731"/>
                      <a:pt x="3006" y="2004181"/>
                    </a:cubicBezTo>
                    <a:cubicBezTo>
                      <a:pt x="-7880" y="2048631"/>
                      <a:pt x="13891" y="2071309"/>
                      <a:pt x="19334" y="2113038"/>
                    </a:cubicBezTo>
                    <a:cubicBezTo>
                      <a:pt x="24777" y="2154767"/>
                      <a:pt x="25684" y="2224616"/>
                      <a:pt x="35663" y="2254552"/>
                    </a:cubicBezTo>
                    <a:cubicBezTo>
                      <a:pt x="45642" y="2284488"/>
                      <a:pt x="67413" y="2264531"/>
                      <a:pt x="79206" y="2292652"/>
                    </a:cubicBezTo>
                    <a:cubicBezTo>
                      <a:pt x="90999" y="2320773"/>
                      <a:pt x="105513" y="2389717"/>
                      <a:pt x="106420" y="2423281"/>
                    </a:cubicBezTo>
                    <a:cubicBezTo>
                      <a:pt x="107327" y="2456845"/>
                      <a:pt x="79206" y="2465010"/>
                      <a:pt x="84649" y="2494038"/>
                    </a:cubicBezTo>
                    <a:cubicBezTo>
                      <a:pt x="90092" y="2523066"/>
                      <a:pt x="108234" y="2568423"/>
                      <a:pt x="139077" y="2597452"/>
                    </a:cubicBezTo>
                    <a:cubicBezTo>
                      <a:pt x="169920" y="2626480"/>
                      <a:pt x="246120" y="2643716"/>
                      <a:pt x="286034" y="2657323"/>
                    </a:cubicBezTo>
                    <a:close/>
                  </a:path>
                </a:pathLst>
              </a:cu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29" name="Oval 1028"/>
              <p:cNvSpPr/>
              <p:nvPr/>
            </p:nvSpPr>
            <p:spPr bwMode="auto">
              <a:xfrm>
                <a:off x="2451619" y="3600216"/>
                <a:ext cx="1295867" cy="129586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0" name="Oval 1029"/>
              <p:cNvSpPr/>
              <p:nvPr/>
            </p:nvSpPr>
            <p:spPr bwMode="auto">
              <a:xfrm>
                <a:off x="7785773" y="3600216"/>
                <a:ext cx="1295867" cy="129586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1" name="Oval 1030"/>
              <p:cNvSpPr/>
              <p:nvPr/>
            </p:nvSpPr>
            <p:spPr bwMode="auto">
              <a:xfrm>
                <a:off x="8052710" y="3871653"/>
                <a:ext cx="761995" cy="761997"/>
              </a:xfrm>
              <a:prstGeom prst="ellipse">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2" name="Oval 1031"/>
              <p:cNvSpPr/>
              <p:nvPr/>
            </p:nvSpPr>
            <p:spPr bwMode="auto">
              <a:xfrm>
                <a:off x="2718552" y="3871653"/>
                <a:ext cx="761995" cy="761997"/>
              </a:xfrm>
              <a:prstGeom prst="ellipse">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4" name="Freeform 1033"/>
              <p:cNvSpPr/>
              <p:nvPr/>
            </p:nvSpPr>
            <p:spPr bwMode="auto">
              <a:xfrm>
                <a:off x="3488871" y="2008414"/>
                <a:ext cx="6166758" cy="1099457"/>
              </a:xfrm>
              <a:custGeom>
                <a:avLst/>
                <a:gdLst>
                  <a:gd name="connsiteX0" fmla="*/ 511629 w 6166758"/>
                  <a:gd name="connsiteY0" fmla="*/ 1034143 h 1099457"/>
                  <a:gd name="connsiteX1" fmla="*/ 1273629 w 6166758"/>
                  <a:gd name="connsiteY1" fmla="*/ 968829 h 1099457"/>
                  <a:gd name="connsiteX2" fmla="*/ 1959429 w 6166758"/>
                  <a:gd name="connsiteY2" fmla="*/ 908957 h 1099457"/>
                  <a:gd name="connsiteX3" fmla="*/ 2416629 w 6166758"/>
                  <a:gd name="connsiteY3" fmla="*/ 881743 h 1099457"/>
                  <a:gd name="connsiteX4" fmla="*/ 3238500 w 6166758"/>
                  <a:gd name="connsiteY4" fmla="*/ 821872 h 1099457"/>
                  <a:gd name="connsiteX5" fmla="*/ 3891643 w 6166758"/>
                  <a:gd name="connsiteY5" fmla="*/ 778329 h 1099457"/>
                  <a:gd name="connsiteX6" fmla="*/ 4049486 w 6166758"/>
                  <a:gd name="connsiteY6" fmla="*/ 772886 h 1099457"/>
                  <a:gd name="connsiteX7" fmla="*/ 4158343 w 6166758"/>
                  <a:gd name="connsiteY7" fmla="*/ 783772 h 1099457"/>
                  <a:gd name="connsiteX8" fmla="*/ 4365172 w 6166758"/>
                  <a:gd name="connsiteY8" fmla="*/ 843643 h 1099457"/>
                  <a:gd name="connsiteX9" fmla="*/ 4435929 w 6166758"/>
                  <a:gd name="connsiteY9" fmla="*/ 849086 h 1099457"/>
                  <a:gd name="connsiteX10" fmla="*/ 5502729 w 6166758"/>
                  <a:gd name="connsiteY10" fmla="*/ 751115 h 1099457"/>
                  <a:gd name="connsiteX11" fmla="*/ 6112329 w 6166758"/>
                  <a:gd name="connsiteY11" fmla="*/ 696686 h 1099457"/>
                  <a:gd name="connsiteX12" fmla="*/ 6166758 w 6166758"/>
                  <a:gd name="connsiteY12" fmla="*/ 691243 h 1099457"/>
                  <a:gd name="connsiteX13" fmla="*/ 6134100 w 6166758"/>
                  <a:gd name="connsiteY13" fmla="*/ 647700 h 1099457"/>
                  <a:gd name="connsiteX14" fmla="*/ 5715000 w 6166758"/>
                  <a:gd name="connsiteY14" fmla="*/ 332015 h 1099457"/>
                  <a:gd name="connsiteX15" fmla="*/ 5453743 w 6166758"/>
                  <a:gd name="connsiteY15" fmla="*/ 163286 h 1099457"/>
                  <a:gd name="connsiteX16" fmla="*/ 5334000 w 6166758"/>
                  <a:gd name="connsiteY16" fmla="*/ 108857 h 1099457"/>
                  <a:gd name="connsiteX17" fmla="*/ 5219700 w 6166758"/>
                  <a:gd name="connsiteY17" fmla="*/ 81643 h 1099457"/>
                  <a:gd name="connsiteX18" fmla="*/ 4876800 w 6166758"/>
                  <a:gd name="connsiteY18" fmla="*/ 48986 h 1099457"/>
                  <a:gd name="connsiteX19" fmla="*/ 4419600 w 6166758"/>
                  <a:gd name="connsiteY19" fmla="*/ 27215 h 1099457"/>
                  <a:gd name="connsiteX20" fmla="*/ 4142015 w 6166758"/>
                  <a:gd name="connsiteY20" fmla="*/ 16329 h 1099457"/>
                  <a:gd name="connsiteX21" fmla="*/ 3690258 w 6166758"/>
                  <a:gd name="connsiteY21" fmla="*/ 0 h 1099457"/>
                  <a:gd name="connsiteX22" fmla="*/ 3075215 w 6166758"/>
                  <a:gd name="connsiteY22" fmla="*/ 0 h 1099457"/>
                  <a:gd name="connsiteX23" fmla="*/ 2574472 w 6166758"/>
                  <a:gd name="connsiteY23" fmla="*/ 10886 h 1099457"/>
                  <a:gd name="connsiteX24" fmla="*/ 2204358 w 6166758"/>
                  <a:gd name="connsiteY24" fmla="*/ 43543 h 1099457"/>
                  <a:gd name="connsiteX25" fmla="*/ 1845129 w 6166758"/>
                  <a:gd name="connsiteY25" fmla="*/ 92529 h 1099457"/>
                  <a:gd name="connsiteX26" fmla="*/ 1589315 w 6166758"/>
                  <a:gd name="connsiteY26" fmla="*/ 146957 h 1099457"/>
                  <a:gd name="connsiteX27" fmla="*/ 1366158 w 6166758"/>
                  <a:gd name="connsiteY27" fmla="*/ 223157 h 1099457"/>
                  <a:gd name="connsiteX28" fmla="*/ 1094015 w 6166758"/>
                  <a:gd name="connsiteY28" fmla="*/ 342900 h 1099457"/>
                  <a:gd name="connsiteX29" fmla="*/ 778329 w 6166758"/>
                  <a:gd name="connsiteY29" fmla="*/ 527957 h 1099457"/>
                  <a:gd name="connsiteX30" fmla="*/ 408215 w 6166758"/>
                  <a:gd name="connsiteY30" fmla="*/ 745672 h 1099457"/>
                  <a:gd name="connsiteX31" fmla="*/ 87086 w 6166758"/>
                  <a:gd name="connsiteY31" fmla="*/ 952500 h 1099457"/>
                  <a:gd name="connsiteX32" fmla="*/ 5443 w 6166758"/>
                  <a:gd name="connsiteY32" fmla="*/ 1028700 h 1099457"/>
                  <a:gd name="connsiteX33" fmla="*/ 0 w 6166758"/>
                  <a:gd name="connsiteY33" fmla="*/ 1077686 h 1099457"/>
                  <a:gd name="connsiteX34" fmla="*/ 54429 w 6166758"/>
                  <a:gd name="connsiteY34" fmla="*/ 1099457 h 1099457"/>
                  <a:gd name="connsiteX35" fmla="*/ 206829 w 6166758"/>
                  <a:gd name="connsiteY35" fmla="*/ 1083129 h 1099457"/>
                  <a:gd name="connsiteX36" fmla="*/ 402772 w 6166758"/>
                  <a:gd name="connsiteY36" fmla="*/ 1055915 h 1099457"/>
                  <a:gd name="connsiteX37" fmla="*/ 511629 w 6166758"/>
                  <a:gd name="connsiteY37" fmla="*/ 1034143 h 109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66758" h="1099457">
                    <a:moveTo>
                      <a:pt x="511629" y="1034143"/>
                    </a:moveTo>
                    <a:lnTo>
                      <a:pt x="1273629" y="968829"/>
                    </a:lnTo>
                    <a:lnTo>
                      <a:pt x="1959429" y="908957"/>
                    </a:lnTo>
                    <a:lnTo>
                      <a:pt x="2416629" y="881743"/>
                    </a:lnTo>
                    <a:lnTo>
                      <a:pt x="3238500" y="821872"/>
                    </a:lnTo>
                    <a:lnTo>
                      <a:pt x="3891643" y="778329"/>
                    </a:lnTo>
                    <a:lnTo>
                      <a:pt x="4049486" y="772886"/>
                    </a:lnTo>
                    <a:lnTo>
                      <a:pt x="4158343" y="783772"/>
                    </a:lnTo>
                    <a:lnTo>
                      <a:pt x="4365172" y="843643"/>
                    </a:lnTo>
                    <a:lnTo>
                      <a:pt x="4435929" y="849086"/>
                    </a:lnTo>
                    <a:lnTo>
                      <a:pt x="5502729" y="751115"/>
                    </a:lnTo>
                    <a:lnTo>
                      <a:pt x="6112329" y="696686"/>
                    </a:lnTo>
                    <a:lnTo>
                      <a:pt x="6166758" y="691243"/>
                    </a:lnTo>
                    <a:lnTo>
                      <a:pt x="6134100" y="647700"/>
                    </a:lnTo>
                    <a:lnTo>
                      <a:pt x="5715000" y="332015"/>
                    </a:lnTo>
                    <a:lnTo>
                      <a:pt x="5453743" y="163286"/>
                    </a:lnTo>
                    <a:lnTo>
                      <a:pt x="5334000" y="108857"/>
                    </a:lnTo>
                    <a:lnTo>
                      <a:pt x="5219700" y="81643"/>
                    </a:lnTo>
                    <a:lnTo>
                      <a:pt x="4876800" y="48986"/>
                    </a:lnTo>
                    <a:lnTo>
                      <a:pt x="4419600" y="27215"/>
                    </a:lnTo>
                    <a:lnTo>
                      <a:pt x="4142015" y="16329"/>
                    </a:lnTo>
                    <a:lnTo>
                      <a:pt x="3690258" y="0"/>
                    </a:lnTo>
                    <a:lnTo>
                      <a:pt x="3075215" y="0"/>
                    </a:lnTo>
                    <a:lnTo>
                      <a:pt x="2574472" y="10886"/>
                    </a:lnTo>
                    <a:lnTo>
                      <a:pt x="2204358" y="43543"/>
                    </a:lnTo>
                    <a:lnTo>
                      <a:pt x="1845129" y="92529"/>
                    </a:lnTo>
                    <a:lnTo>
                      <a:pt x="1589315" y="146957"/>
                    </a:lnTo>
                    <a:lnTo>
                      <a:pt x="1366158" y="223157"/>
                    </a:lnTo>
                    <a:lnTo>
                      <a:pt x="1094015" y="342900"/>
                    </a:lnTo>
                    <a:lnTo>
                      <a:pt x="778329" y="527957"/>
                    </a:lnTo>
                    <a:lnTo>
                      <a:pt x="408215" y="745672"/>
                    </a:lnTo>
                    <a:lnTo>
                      <a:pt x="87086" y="952500"/>
                    </a:lnTo>
                    <a:lnTo>
                      <a:pt x="5443" y="1028700"/>
                    </a:lnTo>
                    <a:lnTo>
                      <a:pt x="0" y="1077686"/>
                    </a:lnTo>
                    <a:lnTo>
                      <a:pt x="54429" y="1099457"/>
                    </a:lnTo>
                    <a:lnTo>
                      <a:pt x="206829" y="1083129"/>
                    </a:lnTo>
                    <a:lnTo>
                      <a:pt x="402772" y="1055915"/>
                    </a:lnTo>
                    <a:lnTo>
                      <a:pt x="511629" y="1034143"/>
                    </a:ln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5" name="Freeform 1034"/>
              <p:cNvSpPr/>
              <p:nvPr/>
            </p:nvSpPr>
            <p:spPr bwMode="auto">
              <a:xfrm>
                <a:off x="4012890" y="2456141"/>
                <a:ext cx="399763" cy="598963"/>
              </a:xfrm>
              <a:custGeom>
                <a:avLst/>
                <a:gdLst>
                  <a:gd name="connsiteX0" fmla="*/ 119742 w 391885"/>
                  <a:gd name="connsiteY0" fmla="*/ 141514 h 500743"/>
                  <a:gd name="connsiteX1" fmla="*/ 0 w 391885"/>
                  <a:gd name="connsiteY1" fmla="*/ 500743 h 500743"/>
                  <a:gd name="connsiteX2" fmla="*/ 321128 w 391885"/>
                  <a:gd name="connsiteY2" fmla="*/ 473529 h 500743"/>
                  <a:gd name="connsiteX3" fmla="*/ 391885 w 391885"/>
                  <a:gd name="connsiteY3" fmla="*/ 0 h 500743"/>
                  <a:gd name="connsiteX4" fmla="*/ 119742 w 391885"/>
                  <a:gd name="connsiteY4" fmla="*/ 141514 h 50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885" h="500743">
                    <a:moveTo>
                      <a:pt x="119742" y="141514"/>
                    </a:moveTo>
                    <a:lnTo>
                      <a:pt x="0" y="500743"/>
                    </a:lnTo>
                    <a:lnTo>
                      <a:pt x="321128" y="473529"/>
                    </a:lnTo>
                    <a:lnTo>
                      <a:pt x="391885" y="0"/>
                    </a:lnTo>
                    <a:lnTo>
                      <a:pt x="119742" y="141514"/>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6" name="Freeform 1035"/>
              <p:cNvSpPr/>
              <p:nvPr/>
            </p:nvSpPr>
            <p:spPr bwMode="auto">
              <a:xfrm>
                <a:off x="5687784" y="2017711"/>
                <a:ext cx="457203" cy="901843"/>
              </a:xfrm>
              <a:custGeom>
                <a:avLst/>
                <a:gdLst>
                  <a:gd name="connsiteX0" fmla="*/ 103414 w 457200"/>
                  <a:gd name="connsiteY0" fmla="*/ 16328 h 816428"/>
                  <a:gd name="connsiteX1" fmla="*/ 0 w 457200"/>
                  <a:gd name="connsiteY1" fmla="*/ 816428 h 816428"/>
                  <a:gd name="connsiteX2" fmla="*/ 386443 w 457200"/>
                  <a:gd name="connsiteY2" fmla="*/ 783771 h 816428"/>
                  <a:gd name="connsiteX3" fmla="*/ 457200 w 457200"/>
                  <a:gd name="connsiteY3" fmla="*/ 0 h 816428"/>
                  <a:gd name="connsiteX4" fmla="*/ 103414 w 457200"/>
                  <a:gd name="connsiteY4" fmla="*/ 16328 h 816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816428">
                    <a:moveTo>
                      <a:pt x="103414" y="16328"/>
                    </a:moveTo>
                    <a:lnTo>
                      <a:pt x="0" y="816428"/>
                    </a:lnTo>
                    <a:lnTo>
                      <a:pt x="386443" y="783771"/>
                    </a:lnTo>
                    <a:lnTo>
                      <a:pt x="457200" y="0"/>
                    </a:lnTo>
                    <a:lnTo>
                      <a:pt x="103414" y="16328"/>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7" name="Freeform 1036"/>
              <p:cNvSpPr/>
              <p:nvPr/>
            </p:nvSpPr>
            <p:spPr bwMode="auto">
              <a:xfrm>
                <a:off x="7527472" y="2025426"/>
                <a:ext cx="353784" cy="831986"/>
              </a:xfrm>
              <a:custGeom>
                <a:avLst/>
                <a:gdLst>
                  <a:gd name="connsiteX0" fmla="*/ 43543 w 353786"/>
                  <a:gd name="connsiteY0" fmla="*/ 0 h 783772"/>
                  <a:gd name="connsiteX1" fmla="*/ 0 w 353786"/>
                  <a:gd name="connsiteY1" fmla="*/ 713014 h 783772"/>
                  <a:gd name="connsiteX2" fmla="*/ 353786 w 353786"/>
                  <a:gd name="connsiteY2" fmla="*/ 783772 h 783772"/>
                  <a:gd name="connsiteX3" fmla="*/ 342900 w 353786"/>
                  <a:gd name="connsiteY3" fmla="*/ 10886 h 783772"/>
                  <a:gd name="connsiteX4" fmla="*/ 43543 w 353786"/>
                  <a:gd name="connsiteY4" fmla="*/ 0 h 783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6" h="783772">
                    <a:moveTo>
                      <a:pt x="43543" y="0"/>
                    </a:moveTo>
                    <a:lnTo>
                      <a:pt x="0" y="713014"/>
                    </a:lnTo>
                    <a:lnTo>
                      <a:pt x="353786" y="783772"/>
                    </a:lnTo>
                    <a:lnTo>
                      <a:pt x="342900" y="10886"/>
                    </a:lnTo>
                    <a:lnTo>
                      <a:pt x="43543" y="0"/>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8" name="Freeform 1037"/>
              <p:cNvSpPr/>
              <p:nvPr/>
            </p:nvSpPr>
            <p:spPr bwMode="auto">
              <a:xfrm>
                <a:off x="3645856" y="3603750"/>
                <a:ext cx="4229101" cy="947053"/>
              </a:xfrm>
              <a:custGeom>
                <a:avLst/>
                <a:gdLst>
                  <a:gd name="connsiteX0" fmla="*/ 0 w 4229100"/>
                  <a:gd name="connsiteY0" fmla="*/ 179614 h 947057"/>
                  <a:gd name="connsiteX1" fmla="*/ 157843 w 4229100"/>
                  <a:gd name="connsiteY1" fmla="*/ 212271 h 947057"/>
                  <a:gd name="connsiteX2" fmla="*/ 283029 w 4229100"/>
                  <a:gd name="connsiteY2" fmla="*/ 212271 h 947057"/>
                  <a:gd name="connsiteX3" fmla="*/ 397329 w 4229100"/>
                  <a:gd name="connsiteY3" fmla="*/ 168728 h 947057"/>
                  <a:gd name="connsiteX4" fmla="*/ 495300 w 4229100"/>
                  <a:gd name="connsiteY4" fmla="*/ 103414 h 947057"/>
                  <a:gd name="connsiteX5" fmla="*/ 718457 w 4229100"/>
                  <a:gd name="connsiteY5" fmla="*/ 87086 h 947057"/>
                  <a:gd name="connsiteX6" fmla="*/ 1148443 w 4229100"/>
                  <a:gd name="connsiteY6" fmla="*/ 70757 h 947057"/>
                  <a:gd name="connsiteX7" fmla="*/ 1850572 w 4229100"/>
                  <a:gd name="connsiteY7" fmla="*/ 48986 h 947057"/>
                  <a:gd name="connsiteX8" fmla="*/ 2389414 w 4229100"/>
                  <a:gd name="connsiteY8" fmla="*/ 32657 h 947057"/>
                  <a:gd name="connsiteX9" fmla="*/ 2922814 w 4229100"/>
                  <a:gd name="connsiteY9" fmla="*/ 16328 h 947057"/>
                  <a:gd name="connsiteX10" fmla="*/ 3390900 w 4229100"/>
                  <a:gd name="connsiteY10" fmla="*/ 5443 h 947057"/>
                  <a:gd name="connsiteX11" fmla="*/ 3624943 w 4229100"/>
                  <a:gd name="connsiteY11" fmla="*/ 0 h 947057"/>
                  <a:gd name="connsiteX12" fmla="*/ 3897086 w 4229100"/>
                  <a:gd name="connsiteY12" fmla="*/ 92528 h 947057"/>
                  <a:gd name="connsiteX13" fmla="*/ 3978729 w 4229100"/>
                  <a:gd name="connsiteY13" fmla="*/ 125186 h 947057"/>
                  <a:gd name="connsiteX14" fmla="*/ 4229100 w 4229100"/>
                  <a:gd name="connsiteY14" fmla="*/ 114300 h 947057"/>
                  <a:gd name="connsiteX15" fmla="*/ 4169229 w 4229100"/>
                  <a:gd name="connsiteY15" fmla="*/ 174171 h 947057"/>
                  <a:gd name="connsiteX16" fmla="*/ 4103914 w 4229100"/>
                  <a:gd name="connsiteY16" fmla="*/ 266700 h 947057"/>
                  <a:gd name="connsiteX17" fmla="*/ 4038600 w 4229100"/>
                  <a:gd name="connsiteY17" fmla="*/ 386443 h 947057"/>
                  <a:gd name="connsiteX18" fmla="*/ 3995057 w 4229100"/>
                  <a:gd name="connsiteY18" fmla="*/ 538843 h 947057"/>
                  <a:gd name="connsiteX19" fmla="*/ 3967843 w 4229100"/>
                  <a:gd name="connsiteY19" fmla="*/ 691243 h 947057"/>
                  <a:gd name="connsiteX20" fmla="*/ 3962400 w 4229100"/>
                  <a:gd name="connsiteY20" fmla="*/ 805543 h 947057"/>
                  <a:gd name="connsiteX21" fmla="*/ 3973286 w 4229100"/>
                  <a:gd name="connsiteY21" fmla="*/ 887186 h 947057"/>
                  <a:gd name="connsiteX22" fmla="*/ 3973286 w 4229100"/>
                  <a:gd name="connsiteY22" fmla="*/ 887186 h 947057"/>
                  <a:gd name="connsiteX23" fmla="*/ 3619500 w 4229100"/>
                  <a:gd name="connsiteY23" fmla="*/ 898071 h 947057"/>
                  <a:gd name="connsiteX24" fmla="*/ 2852057 w 4229100"/>
                  <a:gd name="connsiteY24" fmla="*/ 914400 h 947057"/>
                  <a:gd name="connsiteX25" fmla="*/ 2095500 w 4229100"/>
                  <a:gd name="connsiteY25" fmla="*/ 925286 h 947057"/>
                  <a:gd name="connsiteX26" fmla="*/ 1164772 w 4229100"/>
                  <a:gd name="connsiteY26" fmla="*/ 936171 h 947057"/>
                  <a:gd name="connsiteX27" fmla="*/ 598714 w 4229100"/>
                  <a:gd name="connsiteY27" fmla="*/ 947057 h 947057"/>
                  <a:gd name="connsiteX28" fmla="*/ 277586 w 4229100"/>
                  <a:gd name="connsiteY28" fmla="*/ 947057 h 947057"/>
                  <a:gd name="connsiteX29" fmla="*/ 239486 w 4229100"/>
                  <a:gd name="connsiteY29" fmla="*/ 947057 h 947057"/>
                  <a:gd name="connsiteX30" fmla="*/ 239486 w 4229100"/>
                  <a:gd name="connsiteY30" fmla="*/ 887186 h 947057"/>
                  <a:gd name="connsiteX31" fmla="*/ 217714 w 4229100"/>
                  <a:gd name="connsiteY31" fmla="*/ 707571 h 947057"/>
                  <a:gd name="connsiteX32" fmla="*/ 185057 w 4229100"/>
                  <a:gd name="connsiteY32" fmla="*/ 560614 h 947057"/>
                  <a:gd name="connsiteX33" fmla="*/ 130629 w 4229100"/>
                  <a:gd name="connsiteY33" fmla="*/ 402771 h 947057"/>
                  <a:gd name="connsiteX34" fmla="*/ 65314 w 4229100"/>
                  <a:gd name="connsiteY34" fmla="*/ 277586 h 947057"/>
                  <a:gd name="connsiteX35" fmla="*/ 0 w 4229100"/>
                  <a:gd name="connsiteY35" fmla="*/ 179614 h 94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229100" h="947057">
                    <a:moveTo>
                      <a:pt x="0" y="179614"/>
                    </a:moveTo>
                    <a:lnTo>
                      <a:pt x="157843" y="212271"/>
                    </a:lnTo>
                    <a:lnTo>
                      <a:pt x="283029" y="212271"/>
                    </a:lnTo>
                    <a:lnTo>
                      <a:pt x="397329" y="168728"/>
                    </a:lnTo>
                    <a:lnTo>
                      <a:pt x="495300" y="103414"/>
                    </a:lnTo>
                    <a:lnTo>
                      <a:pt x="718457" y="87086"/>
                    </a:lnTo>
                    <a:lnTo>
                      <a:pt x="1148443" y="70757"/>
                    </a:lnTo>
                    <a:lnTo>
                      <a:pt x="1850572" y="48986"/>
                    </a:lnTo>
                    <a:lnTo>
                      <a:pt x="2389414" y="32657"/>
                    </a:lnTo>
                    <a:lnTo>
                      <a:pt x="2922814" y="16328"/>
                    </a:lnTo>
                    <a:lnTo>
                      <a:pt x="3390900" y="5443"/>
                    </a:lnTo>
                    <a:lnTo>
                      <a:pt x="3624943" y="0"/>
                    </a:lnTo>
                    <a:lnTo>
                      <a:pt x="3897086" y="92528"/>
                    </a:lnTo>
                    <a:lnTo>
                      <a:pt x="3978729" y="125186"/>
                    </a:lnTo>
                    <a:lnTo>
                      <a:pt x="4229100" y="114300"/>
                    </a:lnTo>
                    <a:lnTo>
                      <a:pt x="4169229" y="174171"/>
                    </a:lnTo>
                    <a:lnTo>
                      <a:pt x="4103914" y="266700"/>
                    </a:lnTo>
                    <a:lnTo>
                      <a:pt x="4038600" y="386443"/>
                    </a:lnTo>
                    <a:lnTo>
                      <a:pt x="3995057" y="538843"/>
                    </a:lnTo>
                    <a:lnTo>
                      <a:pt x="3967843" y="691243"/>
                    </a:lnTo>
                    <a:lnTo>
                      <a:pt x="3962400" y="805543"/>
                    </a:lnTo>
                    <a:lnTo>
                      <a:pt x="3973286" y="887186"/>
                    </a:lnTo>
                    <a:lnTo>
                      <a:pt x="3973286" y="887186"/>
                    </a:lnTo>
                    <a:lnTo>
                      <a:pt x="3619500" y="898071"/>
                    </a:lnTo>
                    <a:lnTo>
                      <a:pt x="2852057" y="914400"/>
                    </a:lnTo>
                    <a:lnTo>
                      <a:pt x="2095500" y="925286"/>
                    </a:lnTo>
                    <a:lnTo>
                      <a:pt x="1164772" y="936171"/>
                    </a:lnTo>
                    <a:lnTo>
                      <a:pt x="598714" y="947057"/>
                    </a:lnTo>
                    <a:lnTo>
                      <a:pt x="277586" y="947057"/>
                    </a:lnTo>
                    <a:lnTo>
                      <a:pt x="239486" y="947057"/>
                    </a:lnTo>
                    <a:lnTo>
                      <a:pt x="239486" y="887186"/>
                    </a:lnTo>
                    <a:lnTo>
                      <a:pt x="217714" y="707571"/>
                    </a:lnTo>
                    <a:lnTo>
                      <a:pt x="185057" y="560614"/>
                    </a:lnTo>
                    <a:lnTo>
                      <a:pt x="130629" y="402771"/>
                    </a:lnTo>
                    <a:lnTo>
                      <a:pt x="65314" y="277586"/>
                    </a:lnTo>
                    <a:lnTo>
                      <a:pt x="0" y="179614"/>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9" name="Freeform 1038"/>
              <p:cNvSpPr/>
              <p:nvPr/>
            </p:nvSpPr>
            <p:spPr bwMode="auto">
              <a:xfrm>
                <a:off x="1701888" y="3319772"/>
                <a:ext cx="642258" cy="424543"/>
              </a:xfrm>
              <a:custGeom>
                <a:avLst/>
                <a:gdLst>
                  <a:gd name="connsiteX0" fmla="*/ 0 w 642258"/>
                  <a:gd name="connsiteY0" fmla="*/ 424543 h 424543"/>
                  <a:gd name="connsiteX1" fmla="*/ 141515 w 642258"/>
                  <a:gd name="connsiteY1" fmla="*/ 348343 h 424543"/>
                  <a:gd name="connsiteX2" fmla="*/ 288472 w 642258"/>
                  <a:gd name="connsiteY2" fmla="*/ 277586 h 424543"/>
                  <a:gd name="connsiteX3" fmla="*/ 419100 w 642258"/>
                  <a:gd name="connsiteY3" fmla="*/ 239486 h 424543"/>
                  <a:gd name="connsiteX4" fmla="*/ 555172 w 642258"/>
                  <a:gd name="connsiteY4" fmla="*/ 119743 h 424543"/>
                  <a:gd name="connsiteX5" fmla="*/ 625929 w 642258"/>
                  <a:gd name="connsiteY5" fmla="*/ 43543 h 424543"/>
                  <a:gd name="connsiteX6" fmla="*/ 642258 w 642258"/>
                  <a:gd name="connsiteY6" fmla="*/ 0 h 424543"/>
                  <a:gd name="connsiteX7" fmla="*/ 566058 w 642258"/>
                  <a:gd name="connsiteY7" fmla="*/ 10886 h 424543"/>
                  <a:gd name="connsiteX8" fmla="*/ 321129 w 642258"/>
                  <a:gd name="connsiteY8" fmla="*/ 59871 h 424543"/>
                  <a:gd name="connsiteX9" fmla="*/ 195943 w 642258"/>
                  <a:gd name="connsiteY9" fmla="*/ 87086 h 424543"/>
                  <a:gd name="connsiteX10" fmla="*/ 157843 w 642258"/>
                  <a:gd name="connsiteY10" fmla="*/ 81643 h 424543"/>
                  <a:gd name="connsiteX11" fmla="*/ 152400 w 642258"/>
                  <a:gd name="connsiteY11" fmla="*/ 59871 h 424543"/>
                  <a:gd name="connsiteX12" fmla="*/ 87086 w 642258"/>
                  <a:gd name="connsiteY12" fmla="*/ 141514 h 424543"/>
                  <a:gd name="connsiteX13" fmla="*/ 54429 w 642258"/>
                  <a:gd name="connsiteY13" fmla="*/ 244929 h 424543"/>
                  <a:gd name="connsiteX14" fmla="*/ 38100 w 642258"/>
                  <a:gd name="connsiteY14" fmla="*/ 332014 h 424543"/>
                  <a:gd name="connsiteX15" fmla="*/ 0 w 642258"/>
                  <a:gd name="connsiteY15" fmla="*/ 424543 h 42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2258" h="424543">
                    <a:moveTo>
                      <a:pt x="0" y="424543"/>
                    </a:moveTo>
                    <a:lnTo>
                      <a:pt x="141515" y="348343"/>
                    </a:lnTo>
                    <a:lnTo>
                      <a:pt x="288472" y="277586"/>
                    </a:lnTo>
                    <a:lnTo>
                      <a:pt x="419100" y="239486"/>
                    </a:lnTo>
                    <a:lnTo>
                      <a:pt x="555172" y="119743"/>
                    </a:lnTo>
                    <a:lnTo>
                      <a:pt x="625929" y="43543"/>
                    </a:lnTo>
                    <a:lnTo>
                      <a:pt x="642258" y="0"/>
                    </a:lnTo>
                    <a:lnTo>
                      <a:pt x="566058" y="10886"/>
                    </a:lnTo>
                    <a:lnTo>
                      <a:pt x="321129" y="59871"/>
                    </a:lnTo>
                    <a:lnTo>
                      <a:pt x="195943" y="87086"/>
                    </a:lnTo>
                    <a:lnTo>
                      <a:pt x="157843" y="81643"/>
                    </a:lnTo>
                    <a:lnTo>
                      <a:pt x="152400" y="59871"/>
                    </a:lnTo>
                    <a:lnTo>
                      <a:pt x="87086" y="141514"/>
                    </a:lnTo>
                    <a:lnTo>
                      <a:pt x="54429" y="244929"/>
                    </a:lnTo>
                    <a:lnTo>
                      <a:pt x="38100" y="332014"/>
                    </a:lnTo>
                    <a:lnTo>
                      <a:pt x="0" y="424543"/>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0" name="Freeform 1039"/>
              <p:cNvSpPr/>
              <p:nvPr/>
            </p:nvSpPr>
            <p:spPr bwMode="auto">
              <a:xfrm>
                <a:off x="9720943" y="2917371"/>
                <a:ext cx="468086" cy="359229"/>
              </a:xfrm>
              <a:custGeom>
                <a:avLst/>
                <a:gdLst>
                  <a:gd name="connsiteX0" fmla="*/ 0 w 468086"/>
                  <a:gd name="connsiteY0" fmla="*/ 27215 h 359229"/>
                  <a:gd name="connsiteX1" fmla="*/ 81643 w 468086"/>
                  <a:gd name="connsiteY1" fmla="*/ 97972 h 359229"/>
                  <a:gd name="connsiteX2" fmla="*/ 195943 w 468086"/>
                  <a:gd name="connsiteY2" fmla="*/ 239486 h 359229"/>
                  <a:gd name="connsiteX3" fmla="*/ 261257 w 468086"/>
                  <a:gd name="connsiteY3" fmla="*/ 321129 h 359229"/>
                  <a:gd name="connsiteX4" fmla="*/ 342900 w 468086"/>
                  <a:gd name="connsiteY4" fmla="*/ 359229 h 359229"/>
                  <a:gd name="connsiteX5" fmla="*/ 413657 w 468086"/>
                  <a:gd name="connsiteY5" fmla="*/ 342900 h 359229"/>
                  <a:gd name="connsiteX6" fmla="*/ 457200 w 468086"/>
                  <a:gd name="connsiteY6" fmla="*/ 293915 h 359229"/>
                  <a:gd name="connsiteX7" fmla="*/ 468086 w 468086"/>
                  <a:gd name="connsiteY7" fmla="*/ 146958 h 359229"/>
                  <a:gd name="connsiteX8" fmla="*/ 468086 w 468086"/>
                  <a:gd name="connsiteY8" fmla="*/ 65315 h 359229"/>
                  <a:gd name="connsiteX9" fmla="*/ 446314 w 468086"/>
                  <a:gd name="connsiteY9" fmla="*/ 0 h 359229"/>
                  <a:gd name="connsiteX10" fmla="*/ 353786 w 468086"/>
                  <a:gd name="connsiteY10" fmla="*/ 5443 h 359229"/>
                  <a:gd name="connsiteX11" fmla="*/ 157843 w 468086"/>
                  <a:gd name="connsiteY11" fmla="*/ 21772 h 359229"/>
                  <a:gd name="connsiteX12" fmla="*/ 0 w 468086"/>
                  <a:gd name="connsiteY12" fmla="*/ 27215 h 35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8086" h="359229">
                    <a:moveTo>
                      <a:pt x="0" y="27215"/>
                    </a:moveTo>
                    <a:lnTo>
                      <a:pt x="81643" y="97972"/>
                    </a:lnTo>
                    <a:lnTo>
                      <a:pt x="195943" y="239486"/>
                    </a:lnTo>
                    <a:lnTo>
                      <a:pt x="261257" y="321129"/>
                    </a:lnTo>
                    <a:lnTo>
                      <a:pt x="342900" y="359229"/>
                    </a:lnTo>
                    <a:lnTo>
                      <a:pt x="413657" y="342900"/>
                    </a:lnTo>
                    <a:lnTo>
                      <a:pt x="457200" y="293915"/>
                    </a:lnTo>
                    <a:lnTo>
                      <a:pt x="468086" y="146958"/>
                    </a:lnTo>
                    <a:lnTo>
                      <a:pt x="468086" y="65315"/>
                    </a:lnTo>
                    <a:lnTo>
                      <a:pt x="446314" y="0"/>
                    </a:lnTo>
                    <a:lnTo>
                      <a:pt x="353786" y="5443"/>
                    </a:lnTo>
                    <a:lnTo>
                      <a:pt x="157843" y="21772"/>
                    </a:lnTo>
                    <a:lnTo>
                      <a:pt x="0" y="27215"/>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1" name="Freeform 1040"/>
              <p:cNvSpPr/>
              <p:nvPr/>
            </p:nvSpPr>
            <p:spPr bwMode="auto">
              <a:xfrm>
                <a:off x="5459186" y="3227614"/>
                <a:ext cx="353785" cy="70757"/>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2" name="Freeform 1041"/>
              <p:cNvSpPr/>
              <p:nvPr/>
            </p:nvSpPr>
            <p:spPr bwMode="auto">
              <a:xfrm rot="21132279" flipH="1">
                <a:off x="5868422" y="3202563"/>
                <a:ext cx="358826" cy="64325"/>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3" name="Freeform 1042"/>
              <p:cNvSpPr/>
              <p:nvPr/>
            </p:nvSpPr>
            <p:spPr bwMode="auto">
              <a:xfrm>
                <a:off x="9095418" y="3603653"/>
                <a:ext cx="1182152" cy="825456"/>
              </a:xfrm>
              <a:custGeom>
                <a:avLst/>
                <a:gdLst>
                  <a:gd name="connsiteX0" fmla="*/ 998341 w 1182156"/>
                  <a:gd name="connsiteY0" fmla="*/ 617676 h 825455"/>
                  <a:gd name="connsiteX1" fmla="*/ 1086264 w 1182156"/>
                  <a:gd name="connsiteY1" fmla="*/ 570783 h 825455"/>
                  <a:gd name="connsiteX2" fmla="*/ 1139018 w 1182156"/>
                  <a:gd name="connsiteY2" fmla="*/ 512168 h 825455"/>
                  <a:gd name="connsiteX3" fmla="*/ 1180049 w 1182156"/>
                  <a:gd name="connsiteY3" fmla="*/ 324599 h 825455"/>
                  <a:gd name="connsiteX4" fmla="*/ 1174187 w 1182156"/>
                  <a:gd name="connsiteY4" fmla="*/ 189783 h 825455"/>
                  <a:gd name="connsiteX5" fmla="*/ 1156603 w 1182156"/>
                  <a:gd name="connsiteY5" fmla="*/ 107722 h 825455"/>
                  <a:gd name="connsiteX6" fmla="*/ 1103849 w 1182156"/>
                  <a:gd name="connsiteY6" fmla="*/ 8076 h 825455"/>
                  <a:gd name="connsiteX7" fmla="*/ 1062818 w 1182156"/>
                  <a:gd name="connsiteY7" fmla="*/ 8076 h 825455"/>
                  <a:gd name="connsiteX8" fmla="*/ 910418 w 1182156"/>
                  <a:gd name="connsiteY8" fmla="*/ 25660 h 825455"/>
                  <a:gd name="connsiteX9" fmla="*/ 681818 w 1182156"/>
                  <a:gd name="connsiteY9" fmla="*/ 49107 h 825455"/>
                  <a:gd name="connsiteX10" fmla="*/ 453218 w 1182156"/>
                  <a:gd name="connsiteY10" fmla="*/ 72553 h 825455"/>
                  <a:gd name="connsiteX11" fmla="*/ 294957 w 1182156"/>
                  <a:gd name="connsiteY11" fmla="*/ 101860 h 825455"/>
                  <a:gd name="connsiteX12" fmla="*/ 160141 w 1182156"/>
                  <a:gd name="connsiteY12" fmla="*/ 154614 h 825455"/>
                  <a:gd name="connsiteX13" fmla="*/ 89803 w 1182156"/>
                  <a:gd name="connsiteY13" fmla="*/ 224953 h 825455"/>
                  <a:gd name="connsiteX14" fmla="*/ 42911 w 1182156"/>
                  <a:gd name="connsiteY14" fmla="*/ 283568 h 825455"/>
                  <a:gd name="connsiteX15" fmla="*/ 1880 w 1182156"/>
                  <a:gd name="connsiteY15" fmla="*/ 348045 h 825455"/>
                  <a:gd name="connsiteX16" fmla="*/ 13603 w 1182156"/>
                  <a:gd name="connsiteY16" fmla="*/ 383214 h 825455"/>
                  <a:gd name="connsiteX17" fmla="*/ 72218 w 1182156"/>
                  <a:gd name="connsiteY17" fmla="*/ 529753 h 825455"/>
                  <a:gd name="connsiteX18" fmla="*/ 83941 w 1182156"/>
                  <a:gd name="connsiteY18" fmla="*/ 670430 h 825455"/>
                  <a:gd name="connsiteX19" fmla="*/ 72218 w 1182156"/>
                  <a:gd name="connsiteY19" fmla="*/ 758353 h 825455"/>
                  <a:gd name="connsiteX20" fmla="*/ 48772 w 1182156"/>
                  <a:gd name="connsiteY20" fmla="*/ 822830 h 825455"/>
                  <a:gd name="connsiteX21" fmla="*/ 107387 w 1182156"/>
                  <a:gd name="connsiteY21" fmla="*/ 805245 h 825455"/>
                  <a:gd name="connsiteX22" fmla="*/ 476664 w 1182156"/>
                  <a:gd name="connsiteY22" fmla="*/ 734907 h 825455"/>
                  <a:gd name="connsiteX23" fmla="*/ 857664 w 1182156"/>
                  <a:gd name="connsiteY23" fmla="*/ 670430 h 825455"/>
                  <a:gd name="connsiteX24" fmla="*/ 998341 w 1182156"/>
                  <a:gd name="connsiteY24" fmla="*/ 617676 h 82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2156" h="825455">
                    <a:moveTo>
                      <a:pt x="998341" y="617676"/>
                    </a:moveTo>
                    <a:cubicBezTo>
                      <a:pt x="1036441" y="601068"/>
                      <a:pt x="1062818" y="588368"/>
                      <a:pt x="1086264" y="570783"/>
                    </a:cubicBezTo>
                    <a:cubicBezTo>
                      <a:pt x="1109710" y="553198"/>
                      <a:pt x="1123387" y="553199"/>
                      <a:pt x="1139018" y="512168"/>
                    </a:cubicBezTo>
                    <a:cubicBezTo>
                      <a:pt x="1154649" y="471137"/>
                      <a:pt x="1174188" y="378330"/>
                      <a:pt x="1180049" y="324599"/>
                    </a:cubicBezTo>
                    <a:cubicBezTo>
                      <a:pt x="1185910" y="270868"/>
                      <a:pt x="1178095" y="225929"/>
                      <a:pt x="1174187" y="189783"/>
                    </a:cubicBezTo>
                    <a:cubicBezTo>
                      <a:pt x="1170279" y="153637"/>
                      <a:pt x="1168326" y="138006"/>
                      <a:pt x="1156603" y="107722"/>
                    </a:cubicBezTo>
                    <a:cubicBezTo>
                      <a:pt x="1144880" y="77437"/>
                      <a:pt x="1119480" y="24684"/>
                      <a:pt x="1103849" y="8076"/>
                    </a:cubicBezTo>
                    <a:cubicBezTo>
                      <a:pt x="1088218" y="-8532"/>
                      <a:pt x="1095056" y="5145"/>
                      <a:pt x="1062818" y="8076"/>
                    </a:cubicBezTo>
                    <a:cubicBezTo>
                      <a:pt x="1030580" y="11007"/>
                      <a:pt x="910418" y="25660"/>
                      <a:pt x="910418" y="25660"/>
                    </a:cubicBezTo>
                    <a:lnTo>
                      <a:pt x="681818" y="49107"/>
                    </a:lnTo>
                    <a:cubicBezTo>
                      <a:pt x="605618" y="56922"/>
                      <a:pt x="517695" y="63761"/>
                      <a:pt x="453218" y="72553"/>
                    </a:cubicBezTo>
                    <a:cubicBezTo>
                      <a:pt x="388741" y="81345"/>
                      <a:pt x="343803" y="88183"/>
                      <a:pt x="294957" y="101860"/>
                    </a:cubicBezTo>
                    <a:cubicBezTo>
                      <a:pt x="246111" y="115537"/>
                      <a:pt x="194333" y="134099"/>
                      <a:pt x="160141" y="154614"/>
                    </a:cubicBezTo>
                    <a:cubicBezTo>
                      <a:pt x="125949" y="175129"/>
                      <a:pt x="109341" y="203461"/>
                      <a:pt x="89803" y="224953"/>
                    </a:cubicBezTo>
                    <a:cubicBezTo>
                      <a:pt x="70265" y="246445"/>
                      <a:pt x="57565" y="263053"/>
                      <a:pt x="42911" y="283568"/>
                    </a:cubicBezTo>
                    <a:cubicBezTo>
                      <a:pt x="28257" y="304083"/>
                      <a:pt x="6765" y="331437"/>
                      <a:pt x="1880" y="348045"/>
                    </a:cubicBezTo>
                    <a:cubicBezTo>
                      <a:pt x="-3005" y="364653"/>
                      <a:pt x="1880" y="352929"/>
                      <a:pt x="13603" y="383214"/>
                    </a:cubicBezTo>
                    <a:cubicBezTo>
                      <a:pt x="25326" y="413499"/>
                      <a:pt x="60495" y="481884"/>
                      <a:pt x="72218" y="529753"/>
                    </a:cubicBezTo>
                    <a:cubicBezTo>
                      <a:pt x="83941" y="577622"/>
                      <a:pt x="83941" y="632330"/>
                      <a:pt x="83941" y="670430"/>
                    </a:cubicBezTo>
                    <a:cubicBezTo>
                      <a:pt x="83941" y="708530"/>
                      <a:pt x="78079" y="732953"/>
                      <a:pt x="72218" y="758353"/>
                    </a:cubicBezTo>
                    <a:cubicBezTo>
                      <a:pt x="66357" y="783753"/>
                      <a:pt x="42910" y="815015"/>
                      <a:pt x="48772" y="822830"/>
                    </a:cubicBezTo>
                    <a:cubicBezTo>
                      <a:pt x="54633" y="830645"/>
                      <a:pt x="36072" y="819899"/>
                      <a:pt x="107387" y="805245"/>
                    </a:cubicBezTo>
                    <a:cubicBezTo>
                      <a:pt x="178702" y="790591"/>
                      <a:pt x="351618" y="757376"/>
                      <a:pt x="476664" y="734907"/>
                    </a:cubicBezTo>
                    <a:cubicBezTo>
                      <a:pt x="601710" y="712438"/>
                      <a:pt x="768764" y="690945"/>
                      <a:pt x="857664" y="670430"/>
                    </a:cubicBezTo>
                    <a:cubicBezTo>
                      <a:pt x="946564" y="649915"/>
                      <a:pt x="960241" y="634284"/>
                      <a:pt x="998341" y="617676"/>
                    </a:cubicBez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4" name="Freeform 1043"/>
              <p:cNvSpPr/>
              <p:nvPr/>
            </p:nvSpPr>
            <p:spPr bwMode="auto">
              <a:xfrm>
                <a:off x="1666793" y="3729775"/>
                <a:ext cx="767302" cy="878239"/>
              </a:xfrm>
              <a:custGeom>
                <a:avLst/>
                <a:gdLst>
                  <a:gd name="connsiteX0" fmla="*/ 615960 w 737366"/>
                  <a:gd name="connsiteY0" fmla="*/ 769799 h 869548"/>
                  <a:gd name="connsiteX1" fmla="*/ 610099 w 737366"/>
                  <a:gd name="connsiteY1" fmla="*/ 576368 h 869548"/>
                  <a:gd name="connsiteX2" fmla="*/ 633545 w 737366"/>
                  <a:gd name="connsiteY2" fmla="*/ 388799 h 869548"/>
                  <a:gd name="connsiteX3" fmla="*/ 674575 w 737366"/>
                  <a:gd name="connsiteY3" fmla="*/ 277429 h 869548"/>
                  <a:gd name="connsiteX4" fmla="*/ 733191 w 737366"/>
                  <a:gd name="connsiteY4" fmla="*/ 183645 h 869548"/>
                  <a:gd name="connsiteX5" fmla="*/ 709745 w 737366"/>
                  <a:gd name="connsiteY5" fmla="*/ 171922 h 869548"/>
                  <a:gd name="connsiteX6" fmla="*/ 528037 w 737366"/>
                  <a:gd name="connsiteY6" fmla="*/ 171922 h 869548"/>
                  <a:gd name="connsiteX7" fmla="*/ 234960 w 737366"/>
                  <a:gd name="connsiteY7" fmla="*/ 171922 h 869548"/>
                  <a:gd name="connsiteX8" fmla="*/ 147037 w 737366"/>
                  <a:gd name="connsiteY8" fmla="*/ 148476 h 869548"/>
                  <a:gd name="connsiteX9" fmla="*/ 147037 w 737366"/>
                  <a:gd name="connsiteY9" fmla="*/ 83999 h 869548"/>
                  <a:gd name="connsiteX10" fmla="*/ 152899 w 737366"/>
                  <a:gd name="connsiteY10" fmla="*/ 7799 h 869548"/>
                  <a:gd name="connsiteX11" fmla="*/ 123591 w 737366"/>
                  <a:gd name="connsiteY11" fmla="*/ 7799 h 869548"/>
                  <a:gd name="connsiteX12" fmla="*/ 59114 w 737366"/>
                  <a:gd name="connsiteY12" fmla="*/ 54691 h 869548"/>
                  <a:gd name="connsiteX13" fmla="*/ 29806 w 737366"/>
                  <a:gd name="connsiteY13" fmla="*/ 66414 h 869548"/>
                  <a:gd name="connsiteX14" fmla="*/ 499 w 737366"/>
                  <a:gd name="connsiteY14" fmla="*/ 142614 h 869548"/>
                  <a:gd name="connsiteX15" fmla="*/ 12222 w 737366"/>
                  <a:gd name="connsiteY15" fmla="*/ 201229 h 869548"/>
                  <a:gd name="connsiteX16" fmla="*/ 23945 w 737366"/>
                  <a:gd name="connsiteY16" fmla="*/ 388799 h 869548"/>
                  <a:gd name="connsiteX17" fmla="*/ 47391 w 737366"/>
                  <a:gd name="connsiteY17" fmla="*/ 418106 h 869548"/>
                  <a:gd name="connsiteX18" fmla="*/ 82560 w 737366"/>
                  <a:gd name="connsiteY18" fmla="*/ 447414 h 869548"/>
                  <a:gd name="connsiteX19" fmla="*/ 100145 w 737366"/>
                  <a:gd name="connsiteY19" fmla="*/ 570506 h 869548"/>
                  <a:gd name="connsiteX20" fmla="*/ 64975 w 737366"/>
                  <a:gd name="connsiteY20" fmla="*/ 623260 h 869548"/>
                  <a:gd name="connsiteX21" fmla="*/ 141175 w 737366"/>
                  <a:gd name="connsiteY21" fmla="*/ 752214 h 869548"/>
                  <a:gd name="connsiteX22" fmla="*/ 229099 w 737366"/>
                  <a:gd name="connsiteY22" fmla="*/ 787383 h 869548"/>
                  <a:gd name="connsiteX23" fmla="*/ 317022 w 737366"/>
                  <a:gd name="connsiteY23" fmla="*/ 828414 h 869548"/>
                  <a:gd name="connsiteX24" fmla="*/ 469422 w 737366"/>
                  <a:gd name="connsiteY24" fmla="*/ 840137 h 869548"/>
                  <a:gd name="connsiteX25" fmla="*/ 563206 w 737366"/>
                  <a:gd name="connsiteY25" fmla="*/ 840137 h 869548"/>
                  <a:gd name="connsiteX26" fmla="*/ 651129 w 737366"/>
                  <a:gd name="connsiteY26" fmla="*/ 869445 h 869548"/>
                  <a:gd name="connsiteX27" fmla="*/ 645268 w 737366"/>
                  <a:gd name="connsiteY27" fmla="*/ 828414 h 869548"/>
                  <a:gd name="connsiteX28" fmla="*/ 615960 w 737366"/>
                  <a:gd name="connsiteY28" fmla="*/ 769799 h 86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366" h="869548">
                    <a:moveTo>
                      <a:pt x="615960" y="769799"/>
                    </a:moveTo>
                    <a:cubicBezTo>
                      <a:pt x="610099" y="727791"/>
                      <a:pt x="607168" y="639868"/>
                      <a:pt x="610099" y="576368"/>
                    </a:cubicBezTo>
                    <a:cubicBezTo>
                      <a:pt x="613030" y="512868"/>
                      <a:pt x="622799" y="438622"/>
                      <a:pt x="633545" y="388799"/>
                    </a:cubicBezTo>
                    <a:cubicBezTo>
                      <a:pt x="644291" y="338976"/>
                      <a:pt x="657967" y="311621"/>
                      <a:pt x="674575" y="277429"/>
                    </a:cubicBezTo>
                    <a:cubicBezTo>
                      <a:pt x="691183" y="243237"/>
                      <a:pt x="727329" y="201229"/>
                      <a:pt x="733191" y="183645"/>
                    </a:cubicBezTo>
                    <a:cubicBezTo>
                      <a:pt x="739053" y="166060"/>
                      <a:pt x="743937" y="173876"/>
                      <a:pt x="709745" y="171922"/>
                    </a:cubicBezTo>
                    <a:cubicBezTo>
                      <a:pt x="675553" y="169968"/>
                      <a:pt x="528037" y="171922"/>
                      <a:pt x="528037" y="171922"/>
                    </a:cubicBezTo>
                    <a:cubicBezTo>
                      <a:pt x="448906" y="171922"/>
                      <a:pt x="298460" y="175830"/>
                      <a:pt x="234960" y="171922"/>
                    </a:cubicBezTo>
                    <a:cubicBezTo>
                      <a:pt x="171460" y="168014"/>
                      <a:pt x="161691" y="163130"/>
                      <a:pt x="147037" y="148476"/>
                    </a:cubicBezTo>
                    <a:cubicBezTo>
                      <a:pt x="132383" y="133822"/>
                      <a:pt x="146060" y="107445"/>
                      <a:pt x="147037" y="83999"/>
                    </a:cubicBezTo>
                    <a:cubicBezTo>
                      <a:pt x="148014" y="60553"/>
                      <a:pt x="156807" y="20499"/>
                      <a:pt x="152899" y="7799"/>
                    </a:cubicBezTo>
                    <a:cubicBezTo>
                      <a:pt x="148991" y="-4901"/>
                      <a:pt x="139222" y="-16"/>
                      <a:pt x="123591" y="7799"/>
                    </a:cubicBezTo>
                    <a:cubicBezTo>
                      <a:pt x="107960" y="15614"/>
                      <a:pt x="74745" y="44922"/>
                      <a:pt x="59114" y="54691"/>
                    </a:cubicBezTo>
                    <a:cubicBezTo>
                      <a:pt x="43483" y="64460"/>
                      <a:pt x="39575" y="51760"/>
                      <a:pt x="29806" y="66414"/>
                    </a:cubicBezTo>
                    <a:cubicBezTo>
                      <a:pt x="20037" y="81068"/>
                      <a:pt x="3430" y="120145"/>
                      <a:pt x="499" y="142614"/>
                    </a:cubicBezTo>
                    <a:cubicBezTo>
                      <a:pt x="-2432" y="165083"/>
                      <a:pt x="8314" y="160198"/>
                      <a:pt x="12222" y="201229"/>
                    </a:cubicBezTo>
                    <a:cubicBezTo>
                      <a:pt x="16130" y="242260"/>
                      <a:pt x="18084" y="352653"/>
                      <a:pt x="23945" y="388799"/>
                    </a:cubicBezTo>
                    <a:cubicBezTo>
                      <a:pt x="29806" y="424945"/>
                      <a:pt x="37622" y="408337"/>
                      <a:pt x="47391" y="418106"/>
                    </a:cubicBezTo>
                    <a:cubicBezTo>
                      <a:pt x="57160" y="427875"/>
                      <a:pt x="73768" y="422014"/>
                      <a:pt x="82560" y="447414"/>
                    </a:cubicBezTo>
                    <a:cubicBezTo>
                      <a:pt x="91352" y="472814"/>
                      <a:pt x="103076" y="541198"/>
                      <a:pt x="100145" y="570506"/>
                    </a:cubicBezTo>
                    <a:cubicBezTo>
                      <a:pt x="97214" y="599814"/>
                      <a:pt x="58137" y="592975"/>
                      <a:pt x="64975" y="623260"/>
                    </a:cubicBezTo>
                    <a:cubicBezTo>
                      <a:pt x="71813" y="653545"/>
                      <a:pt x="113821" y="724860"/>
                      <a:pt x="141175" y="752214"/>
                    </a:cubicBezTo>
                    <a:cubicBezTo>
                      <a:pt x="168529" y="779568"/>
                      <a:pt x="199791" y="774683"/>
                      <a:pt x="229099" y="787383"/>
                    </a:cubicBezTo>
                    <a:cubicBezTo>
                      <a:pt x="258407" y="800083"/>
                      <a:pt x="276968" y="819622"/>
                      <a:pt x="317022" y="828414"/>
                    </a:cubicBezTo>
                    <a:cubicBezTo>
                      <a:pt x="357076" y="837206"/>
                      <a:pt x="428391" y="838183"/>
                      <a:pt x="469422" y="840137"/>
                    </a:cubicBezTo>
                    <a:cubicBezTo>
                      <a:pt x="510453" y="842091"/>
                      <a:pt x="532922" y="835252"/>
                      <a:pt x="563206" y="840137"/>
                    </a:cubicBezTo>
                    <a:cubicBezTo>
                      <a:pt x="593490" y="845022"/>
                      <a:pt x="637452" y="871399"/>
                      <a:pt x="651129" y="869445"/>
                    </a:cubicBezTo>
                    <a:cubicBezTo>
                      <a:pt x="664806" y="867491"/>
                      <a:pt x="649176" y="845022"/>
                      <a:pt x="645268" y="828414"/>
                    </a:cubicBezTo>
                    <a:cubicBezTo>
                      <a:pt x="641360" y="811806"/>
                      <a:pt x="621821" y="811807"/>
                      <a:pt x="615960" y="769799"/>
                    </a:cubicBez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27" name="Freeform 1026"/>
            <p:cNvSpPr/>
            <p:nvPr/>
          </p:nvSpPr>
          <p:spPr bwMode="auto">
            <a:xfrm>
              <a:off x="4071427" y="2729263"/>
              <a:ext cx="346361" cy="307598"/>
            </a:xfrm>
            <a:custGeom>
              <a:avLst/>
              <a:gdLst>
                <a:gd name="connsiteX0" fmla="*/ 176028 w 346361"/>
                <a:gd name="connsiteY0" fmla="*/ 306019 h 307598"/>
                <a:gd name="connsiteX1" fmla="*/ 103292 w 346361"/>
                <a:gd name="connsiteY1" fmla="*/ 288701 h 307598"/>
                <a:gd name="connsiteX2" fmla="*/ 51338 w 346361"/>
                <a:gd name="connsiteY2" fmla="*/ 226356 h 307598"/>
                <a:gd name="connsiteX3" fmla="*/ 2847 w 346361"/>
                <a:gd name="connsiteY3" fmla="*/ 184792 h 307598"/>
                <a:gd name="connsiteX4" fmla="*/ 13238 w 346361"/>
                <a:gd name="connsiteY4" fmla="*/ 136301 h 307598"/>
                <a:gd name="connsiteX5" fmla="*/ 75583 w 346361"/>
                <a:gd name="connsiteY5" fmla="*/ 67029 h 307598"/>
                <a:gd name="connsiteX6" fmla="*/ 193347 w 346361"/>
                <a:gd name="connsiteY6" fmla="*/ 8147 h 307598"/>
                <a:gd name="connsiteX7" fmla="*/ 293792 w 346361"/>
                <a:gd name="connsiteY7" fmla="*/ 1219 h 307598"/>
                <a:gd name="connsiteX8" fmla="*/ 318038 w 346361"/>
                <a:gd name="connsiteY8" fmla="*/ 15074 h 307598"/>
                <a:gd name="connsiteX9" fmla="*/ 338819 w 346361"/>
                <a:gd name="connsiteY9" fmla="*/ 91274 h 307598"/>
                <a:gd name="connsiteX10" fmla="*/ 345747 w 346361"/>
                <a:gd name="connsiteY10" fmla="*/ 150156 h 307598"/>
                <a:gd name="connsiteX11" fmla="*/ 324965 w 346361"/>
                <a:gd name="connsiteY11" fmla="*/ 271383 h 307598"/>
                <a:gd name="connsiteX12" fmla="*/ 314574 w 346361"/>
                <a:gd name="connsiteY12" fmla="*/ 295629 h 307598"/>
                <a:gd name="connsiteX13" fmla="*/ 248765 w 346361"/>
                <a:gd name="connsiteY13" fmla="*/ 306019 h 307598"/>
                <a:gd name="connsiteX14" fmla="*/ 176028 w 346361"/>
                <a:gd name="connsiteY14" fmla="*/ 306019 h 307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6361" h="307598">
                  <a:moveTo>
                    <a:pt x="176028" y="306019"/>
                  </a:moveTo>
                  <a:cubicBezTo>
                    <a:pt x="151783" y="303133"/>
                    <a:pt x="124074" y="301978"/>
                    <a:pt x="103292" y="288701"/>
                  </a:cubicBezTo>
                  <a:cubicBezTo>
                    <a:pt x="82510" y="275424"/>
                    <a:pt x="68079" y="243674"/>
                    <a:pt x="51338" y="226356"/>
                  </a:cubicBezTo>
                  <a:cubicBezTo>
                    <a:pt x="34597" y="209038"/>
                    <a:pt x="9197" y="199801"/>
                    <a:pt x="2847" y="184792"/>
                  </a:cubicBezTo>
                  <a:cubicBezTo>
                    <a:pt x="-3503" y="169783"/>
                    <a:pt x="1115" y="155928"/>
                    <a:pt x="13238" y="136301"/>
                  </a:cubicBezTo>
                  <a:cubicBezTo>
                    <a:pt x="25361" y="116674"/>
                    <a:pt x="45565" y="88388"/>
                    <a:pt x="75583" y="67029"/>
                  </a:cubicBezTo>
                  <a:cubicBezTo>
                    <a:pt x="105601" y="45670"/>
                    <a:pt x="156979" y="19115"/>
                    <a:pt x="193347" y="8147"/>
                  </a:cubicBezTo>
                  <a:cubicBezTo>
                    <a:pt x="229715" y="-2821"/>
                    <a:pt x="273010" y="65"/>
                    <a:pt x="293792" y="1219"/>
                  </a:cubicBezTo>
                  <a:cubicBezTo>
                    <a:pt x="314574" y="2373"/>
                    <a:pt x="310534" y="65"/>
                    <a:pt x="318038" y="15074"/>
                  </a:cubicBezTo>
                  <a:cubicBezTo>
                    <a:pt x="325543" y="30083"/>
                    <a:pt x="334201" y="68760"/>
                    <a:pt x="338819" y="91274"/>
                  </a:cubicBezTo>
                  <a:cubicBezTo>
                    <a:pt x="343437" y="113788"/>
                    <a:pt x="348056" y="120138"/>
                    <a:pt x="345747" y="150156"/>
                  </a:cubicBezTo>
                  <a:cubicBezTo>
                    <a:pt x="343438" y="180174"/>
                    <a:pt x="330160" y="247138"/>
                    <a:pt x="324965" y="271383"/>
                  </a:cubicBezTo>
                  <a:cubicBezTo>
                    <a:pt x="319770" y="295628"/>
                    <a:pt x="327274" y="289856"/>
                    <a:pt x="314574" y="295629"/>
                  </a:cubicBezTo>
                  <a:cubicBezTo>
                    <a:pt x="301874" y="301402"/>
                    <a:pt x="271856" y="304865"/>
                    <a:pt x="248765" y="306019"/>
                  </a:cubicBezTo>
                  <a:cubicBezTo>
                    <a:pt x="225674" y="307173"/>
                    <a:pt x="200273" y="308905"/>
                    <a:pt x="176028" y="306019"/>
                  </a:cubicBez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2" name="Group 21"/>
          <p:cNvGrpSpPr/>
          <p:nvPr/>
        </p:nvGrpSpPr>
        <p:grpSpPr>
          <a:xfrm>
            <a:off x="1396121" y="3592807"/>
            <a:ext cx="885950" cy="347848"/>
            <a:chOff x="2387255" y="3089737"/>
            <a:chExt cx="885950" cy="347848"/>
          </a:xfrm>
        </p:grpSpPr>
        <p:grpSp>
          <p:nvGrpSpPr>
            <p:cNvPr id="1049" name="Group 1048"/>
            <p:cNvGrpSpPr>
              <a:grpSpLocks noChangeAspect="1"/>
            </p:cNvGrpSpPr>
            <p:nvPr/>
          </p:nvGrpSpPr>
          <p:grpSpPr>
            <a:xfrm flipH="1">
              <a:off x="2387255" y="3089737"/>
              <a:ext cx="885950" cy="347848"/>
              <a:chOff x="1666793" y="1822148"/>
              <a:chExt cx="8612041" cy="3073935"/>
            </a:xfrm>
          </p:grpSpPr>
          <p:grpSp>
            <p:nvGrpSpPr>
              <p:cNvPr id="1050" name="Group 1049"/>
              <p:cNvGrpSpPr/>
              <p:nvPr/>
            </p:nvGrpSpPr>
            <p:grpSpPr>
              <a:xfrm>
                <a:off x="1666793" y="1822148"/>
                <a:ext cx="8612041" cy="3073935"/>
                <a:chOff x="1666793" y="1822148"/>
                <a:chExt cx="8612041" cy="3073935"/>
              </a:xfrm>
            </p:grpSpPr>
            <p:sp>
              <p:nvSpPr>
                <p:cNvPr id="1052" name="Freeform 1051"/>
                <p:cNvSpPr/>
                <p:nvPr/>
              </p:nvSpPr>
              <p:spPr bwMode="auto">
                <a:xfrm>
                  <a:off x="1676932" y="1822148"/>
                  <a:ext cx="8601902" cy="2717800"/>
                </a:xfrm>
                <a:custGeom>
                  <a:avLst/>
                  <a:gdLst>
                    <a:gd name="connsiteX0" fmla="*/ 286034 w 8601902"/>
                    <a:gd name="connsiteY0" fmla="*/ 2657323 h 2717800"/>
                    <a:gd name="connsiteX1" fmla="*/ 378563 w 8601902"/>
                    <a:gd name="connsiteY1" fmla="*/ 2679095 h 2717800"/>
                    <a:gd name="connsiteX2" fmla="*/ 563620 w 8601902"/>
                    <a:gd name="connsiteY2" fmla="*/ 2700866 h 2717800"/>
                    <a:gd name="connsiteX3" fmla="*/ 634377 w 8601902"/>
                    <a:gd name="connsiteY3" fmla="*/ 2717195 h 2717800"/>
                    <a:gd name="connsiteX4" fmla="*/ 634377 w 8601902"/>
                    <a:gd name="connsiteY4" fmla="*/ 2679095 h 2717800"/>
                    <a:gd name="connsiteX5" fmla="*/ 618049 w 8601902"/>
                    <a:gd name="connsiteY5" fmla="*/ 2504923 h 2717800"/>
                    <a:gd name="connsiteX6" fmla="*/ 628934 w 8601902"/>
                    <a:gd name="connsiteY6" fmla="*/ 2336195 h 2717800"/>
                    <a:gd name="connsiteX7" fmla="*/ 667034 w 8601902"/>
                    <a:gd name="connsiteY7" fmla="*/ 2162023 h 2717800"/>
                    <a:gd name="connsiteX8" fmla="*/ 748677 w 8601902"/>
                    <a:gd name="connsiteY8" fmla="*/ 2004181 h 2717800"/>
                    <a:gd name="connsiteX9" fmla="*/ 857534 w 8601902"/>
                    <a:gd name="connsiteY9" fmla="*/ 1878995 h 2717800"/>
                    <a:gd name="connsiteX10" fmla="*/ 1042592 w 8601902"/>
                    <a:gd name="connsiteY10" fmla="*/ 1753809 h 2717800"/>
                    <a:gd name="connsiteX11" fmla="*/ 1243977 w 8601902"/>
                    <a:gd name="connsiteY11" fmla="*/ 1693938 h 2717800"/>
                    <a:gd name="connsiteX12" fmla="*/ 1450806 w 8601902"/>
                    <a:gd name="connsiteY12" fmla="*/ 1693938 h 2717800"/>
                    <a:gd name="connsiteX13" fmla="*/ 1635863 w 8601902"/>
                    <a:gd name="connsiteY13" fmla="*/ 1710266 h 2717800"/>
                    <a:gd name="connsiteX14" fmla="*/ 1739277 w 8601902"/>
                    <a:gd name="connsiteY14" fmla="*/ 1753809 h 2717800"/>
                    <a:gd name="connsiteX15" fmla="*/ 1929777 w 8601902"/>
                    <a:gd name="connsiteY15" fmla="*/ 1862666 h 2717800"/>
                    <a:gd name="connsiteX16" fmla="*/ 2049520 w 8601902"/>
                    <a:gd name="connsiteY16" fmla="*/ 2015066 h 2717800"/>
                    <a:gd name="connsiteX17" fmla="*/ 2152934 w 8601902"/>
                    <a:gd name="connsiteY17" fmla="*/ 2243666 h 2717800"/>
                    <a:gd name="connsiteX18" fmla="*/ 2185592 w 8601902"/>
                    <a:gd name="connsiteY18" fmla="*/ 2406952 h 2717800"/>
                    <a:gd name="connsiteX19" fmla="*/ 2212806 w 8601902"/>
                    <a:gd name="connsiteY19" fmla="*/ 2575681 h 2717800"/>
                    <a:gd name="connsiteX20" fmla="*/ 2218249 w 8601902"/>
                    <a:gd name="connsiteY20" fmla="*/ 2668209 h 2717800"/>
                    <a:gd name="connsiteX21" fmla="*/ 2240020 w 8601902"/>
                    <a:gd name="connsiteY21" fmla="*/ 2668209 h 2717800"/>
                    <a:gd name="connsiteX22" fmla="*/ 2523049 w 8601902"/>
                    <a:gd name="connsiteY22" fmla="*/ 2662766 h 2717800"/>
                    <a:gd name="connsiteX23" fmla="*/ 3274163 w 8601902"/>
                    <a:gd name="connsiteY23" fmla="*/ 2651881 h 2717800"/>
                    <a:gd name="connsiteX24" fmla="*/ 3949077 w 8601902"/>
                    <a:gd name="connsiteY24" fmla="*/ 2646438 h 2717800"/>
                    <a:gd name="connsiteX25" fmla="*/ 5113849 w 8601902"/>
                    <a:gd name="connsiteY25" fmla="*/ 2630109 h 2717800"/>
                    <a:gd name="connsiteX26" fmla="*/ 5799649 w 8601902"/>
                    <a:gd name="connsiteY26" fmla="*/ 2613781 h 2717800"/>
                    <a:gd name="connsiteX27" fmla="*/ 5930277 w 8601902"/>
                    <a:gd name="connsiteY27" fmla="*/ 2613781 h 2717800"/>
                    <a:gd name="connsiteX28" fmla="*/ 5930277 w 8601902"/>
                    <a:gd name="connsiteY28" fmla="*/ 2586566 h 2717800"/>
                    <a:gd name="connsiteX29" fmla="*/ 5941163 w 8601902"/>
                    <a:gd name="connsiteY29" fmla="*/ 2450495 h 2717800"/>
                    <a:gd name="connsiteX30" fmla="*/ 5973820 w 8601902"/>
                    <a:gd name="connsiteY30" fmla="*/ 2243666 h 2717800"/>
                    <a:gd name="connsiteX31" fmla="*/ 6055463 w 8601902"/>
                    <a:gd name="connsiteY31" fmla="*/ 2015066 h 2717800"/>
                    <a:gd name="connsiteX32" fmla="*/ 6202420 w 8601902"/>
                    <a:gd name="connsiteY32" fmla="*/ 1835452 h 2717800"/>
                    <a:gd name="connsiteX33" fmla="*/ 6360263 w 8601902"/>
                    <a:gd name="connsiteY33" fmla="*/ 1742923 h 2717800"/>
                    <a:gd name="connsiteX34" fmla="*/ 6534434 w 8601902"/>
                    <a:gd name="connsiteY34" fmla="*/ 1672166 h 2717800"/>
                    <a:gd name="connsiteX35" fmla="*/ 6801134 w 8601902"/>
                    <a:gd name="connsiteY35" fmla="*/ 1650395 h 2717800"/>
                    <a:gd name="connsiteX36" fmla="*/ 7029734 w 8601902"/>
                    <a:gd name="connsiteY36" fmla="*/ 1704823 h 2717800"/>
                    <a:gd name="connsiteX37" fmla="*/ 7193020 w 8601902"/>
                    <a:gd name="connsiteY37" fmla="*/ 1781023 h 2717800"/>
                    <a:gd name="connsiteX38" fmla="*/ 7296434 w 8601902"/>
                    <a:gd name="connsiteY38" fmla="*/ 1878995 h 2717800"/>
                    <a:gd name="connsiteX39" fmla="*/ 7334534 w 8601902"/>
                    <a:gd name="connsiteY39" fmla="*/ 1927981 h 2717800"/>
                    <a:gd name="connsiteX40" fmla="*/ 7410734 w 8601902"/>
                    <a:gd name="connsiteY40" fmla="*/ 2025952 h 2717800"/>
                    <a:gd name="connsiteX41" fmla="*/ 7454277 w 8601902"/>
                    <a:gd name="connsiteY41" fmla="*/ 2134809 h 2717800"/>
                    <a:gd name="connsiteX42" fmla="*/ 7492377 w 8601902"/>
                    <a:gd name="connsiteY42" fmla="*/ 2243666 h 2717800"/>
                    <a:gd name="connsiteX43" fmla="*/ 7503263 w 8601902"/>
                    <a:gd name="connsiteY43" fmla="*/ 2347081 h 2717800"/>
                    <a:gd name="connsiteX44" fmla="*/ 7492377 w 8601902"/>
                    <a:gd name="connsiteY44" fmla="*/ 2445052 h 2717800"/>
                    <a:gd name="connsiteX45" fmla="*/ 7481492 w 8601902"/>
                    <a:gd name="connsiteY45" fmla="*/ 2504923 h 2717800"/>
                    <a:gd name="connsiteX46" fmla="*/ 7508706 w 8601902"/>
                    <a:gd name="connsiteY46" fmla="*/ 2510366 h 2717800"/>
                    <a:gd name="connsiteX47" fmla="*/ 7742749 w 8601902"/>
                    <a:gd name="connsiteY47" fmla="*/ 2466823 h 2717800"/>
                    <a:gd name="connsiteX48" fmla="*/ 7960463 w 8601902"/>
                    <a:gd name="connsiteY48" fmla="*/ 2439609 h 2717800"/>
                    <a:gd name="connsiteX49" fmla="*/ 8297920 w 8601902"/>
                    <a:gd name="connsiteY49" fmla="*/ 2379738 h 2717800"/>
                    <a:gd name="connsiteX50" fmla="*/ 8504749 w 8601902"/>
                    <a:gd name="connsiteY50" fmla="*/ 2303538 h 2717800"/>
                    <a:gd name="connsiteX51" fmla="*/ 8580949 w 8601902"/>
                    <a:gd name="connsiteY51" fmla="*/ 2134809 h 2717800"/>
                    <a:gd name="connsiteX52" fmla="*/ 8597277 w 8601902"/>
                    <a:gd name="connsiteY52" fmla="*/ 1922538 h 2717800"/>
                    <a:gd name="connsiteX53" fmla="*/ 8510192 w 8601902"/>
                    <a:gd name="connsiteY53" fmla="*/ 1672166 h 2717800"/>
                    <a:gd name="connsiteX54" fmla="*/ 8417663 w 8601902"/>
                    <a:gd name="connsiteY54" fmla="*/ 1449009 h 2717800"/>
                    <a:gd name="connsiteX55" fmla="*/ 8461206 w 8601902"/>
                    <a:gd name="connsiteY55" fmla="*/ 1372809 h 2717800"/>
                    <a:gd name="connsiteX56" fmla="*/ 8450320 w 8601902"/>
                    <a:gd name="connsiteY56" fmla="*/ 1078895 h 2717800"/>
                    <a:gd name="connsiteX57" fmla="*/ 8276149 w 8601902"/>
                    <a:gd name="connsiteY57" fmla="*/ 790423 h 2717800"/>
                    <a:gd name="connsiteX58" fmla="*/ 8080206 w 8601902"/>
                    <a:gd name="connsiteY58" fmla="*/ 534609 h 2717800"/>
                    <a:gd name="connsiteX59" fmla="*/ 7938692 w 8601902"/>
                    <a:gd name="connsiteY59" fmla="*/ 365881 h 2717800"/>
                    <a:gd name="connsiteX60" fmla="*/ 7900592 w 8601902"/>
                    <a:gd name="connsiteY60" fmla="*/ 284238 h 2717800"/>
                    <a:gd name="connsiteX61" fmla="*/ 7889706 w 8601902"/>
                    <a:gd name="connsiteY61" fmla="*/ 120952 h 2717800"/>
                    <a:gd name="connsiteX62" fmla="*/ 7857049 w 8601902"/>
                    <a:gd name="connsiteY62" fmla="*/ 99181 h 2717800"/>
                    <a:gd name="connsiteX63" fmla="*/ 7818949 w 8601902"/>
                    <a:gd name="connsiteY63" fmla="*/ 93738 h 2717800"/>
                    <a:gd name="connsiteX64" fmla="*/ 7394406 w 8601902"/>
                    <a:gd name="connsiteY64" fmla="*/ 33866 h 2717800"/>
                    <a:gd name="connsiteX65" fmla="*/ 6964420 w 8601902"/>
                    <a:gd name="connsiteY65" fmla="*/ 17538 h 2717800"/>
                    <a:gd name="connsiteX66" fmla="*/ 6567092 w 8601902"/>
                    <a:gd name="connsiteY66" fmla="*/ 1209 h 2717800"/>
                    <a:gd name="connsiteX67" fmla="*/ 6147992 w 8601902"/>
                    <a:gd name="connsiteY67" fmla="*/ 1209 h 2717800"/>
                    <a:gd name="connsiteX68" fmla="*/ 5571049 w 8601902"/>
                    <a:gd name="connsiteY68" fmla="*/ 1209 h 2717800"/>
                    <a:gd name="connsiteX69" fmla="*/ 5026763 w 8601902"/>
                    <a:gd name="connsiteY69" fmla="*/ 17538 h 2717800"/>
                    <a:gd name="connsiteX70" fmla="*/ 4487920 w 8601902"/>
                    <a:gd name="connsiteY70" fmla="*/ 39309 h 2717800"/>
                    <a:gd name="connsiteX71" fmla="*/ 4123249 w 8601902"/>
                    <a:gd name="connsiteY71" fmla="*/ 61081 h 2717800"/>
                    <a:gd name="connsiteX72" fmla="*/ 3731363 w 8601902"/>
                    <a:gd name="connsiteY72" fmla="*/ 110066 h 2717800"/>
                    <a:gd name="connsiteX73" fmla="*/ 3497320 w 8601902"/>
                    <a:gd name="connsiteY73" fmla="*/ 148166 h 2717800"/>
                    <a:gd name="connsiteX74" fmla="*/ 3263277 w 8601902"/>
                    <a:gd name="connsiteY74" fmla="*/ 208038 h 2717800"/>
                    <a:gd name="connsiteX75" fmla="*/ 2980249 w 8601902"/>
                    <a:gd name="connsiteY75" fmla="*/ 306009 h 2717800"/>
                    <a:gd name="connsiteX76" fmla="*/ 2566592 w 8601902"/>
                    <a:gd name="connsiteY76" fmla="*/ 512838 h 2717800"/>
                    <a:gd name="connsiteX77" fmla="*/ 2185592 w 8601902"/>
                    <a:gd name="connsiteY77" fmla="*/ 730552 h 2717800"/>
                    <a:gd name="connsiteX78" fmla="*/ 1815477 w 8601902"/>
                    <a:gd name="connsiteY78" fmla="*/ 942823 h 2717800"/>
                    <a:gd name="connsiteX79" fmla="*/ 1673963 w 8601902"/>
                    <a:gd name="connsiteY79" fmla="*/ 964595 h 2717800"/>
                    <a:gd name="connsiteX80" fmla="*/ 1309292 w 8601902"/>
                    <a:gd name="connsiteY80" fmla="*/ 1068009 h 2717800"/>
                    <a:gd name="connsiteX81" fmla="*/ 999049 w 8601902"/>
                    <a:gd name="connsiteY81" fmla="*/ 1155095 h 2717800"/>
                    <a:gd name="connsiteX82" fmla="*/ 656149 w 8601902"/>
                    <a:gd name="connsiteY82" fmla="*/ 1274838 h 2717800"/>
                    <a:gd name="connsiteX83" fmla="*/ 460206 w 8601902"/>
                    <a:gd name="connsiteY83" fmla="*/ 1351038 h 2717800"/>
                    <a:gd name="connsiteX84" fmla="*/ 329577 w 8601902"/>
                    <a:gd name="connsiteY84" fmla="*/ 1405466 h 2717800"/>
                    <a:gd name="connsiteX85" fmla="*/ 220720 w 8601902"/>
                    <a:gd name="connsiteY85" fmla="*/ 1497995 h 2717800"/>
                    <a:gd name="connsiteX86" fmla="*/ 122749 w 8601902"/>
                    <a:gd name="connsiteY86" fmla="*/ 1693938 h 2717800"/>
                    <a:gd name="connsiteX87" fmla="*/ 84649 w 8601902"/>
                    <a:gd name="connsiteY87" fmla="*/ 1846338 h 2717800"/>
                    <a:gd name="connsiteX88" fmla="*/ 3006 w 8601902"/>
                    <a:gd name="connsiteY88" fmla="*/ 2004181 h 2717800"/>
                    <a:gd name="connsiteX89" fmla="*/ 19334 w 8601902"/>
                    <a:gd name="connsiteY89" fmla="*/ 2113038 h 2717800"/>
                    <a:gd name="connsiteX90" fmla="*/ 35663 w 8601902"/>
                    <a:gd name="connsiteY90" fmla="*/ 2254552 h 2717800"/>
                    <a:gd name="connsiteX91" fmla="*/ 79206 w 8601902"/>
                    <a:gd name="connsiteY91" fmla="*/ 2292652 h 2717800"/>
                    <a:gd name="connsiteX92" fmla="*/ 106420 w 8601902"/>
                    <a:gd name="connsiteY92" fmla="*/ 2423281 h 2717800"/>
                    <a:gd name="connsiteX93" fmla="*/ 84649 w 8601902"/>
                    <a:gd name="connsiteY93" fmla="*/ 2494038 h 2717800"/>
                    <a:gd name="connsiteX94" fmla="*/ 139077 w 8601902"/>
                    <a:gd name="connsiteY94" fmla="*/ 2597452 h 2717800"/>
                    <a:gd name="connsiteX95" fmla="*/ 286034 w 8601902"/>
                    <a:gd name="connsiteY95" fmla="*/ 2657323 h 271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601902" h="2717800">
                      <a:moveTo>
                        <a:pt x="286034" y="2657323"/>
                      </a:moveTo>
                      <a:cubicBezTo>
                        <a:pt x="325948" y="2670930"/>
                        <a:pt x="332299" y="2671838"/>
                        <a:pt x="378563" y="2679095"/>
                      </a:cubicBezTo>
                      <a:cubicBezTo>
                        <a:pt x="424827" y="2686352"/>
                        <a:pt x="520984" y="2694516"/>
                        <a:pt x="563620" y="2700866"/>
                      </a:cubicBezTo>
                      <a:cubicBezTo>
                        <a:pt x="606256" y="2707216"/>
                        <a:pt x="622584" y="2720823"/>
                        <a:pt x="634377" y="2717195"/>
                      </a:cubicBezTo>
                      <a:cubicBezTo>
                        <a:pt x="646170" y="2713567"/>
                        <a:pt x="637098" y="2714474"/>
                        <a:pt x="634377" y="2679095"/>
                      </a:cubicBezTo>
                      <a:cubicBezTo>
                        <a:pt x="631656" y="2643716"/>
                        <a:pt x="618956" y="2562073"/>
                        <a:pt x="618049" y="2504923"/>
                      </a:cubicBezTo>
                      <a:cubicBezTo>
                        <a:pt x="617142" y="2447773"/>
                        <a:pt x="620770" y="2393345"/>
                        <a:pt x="628934" y="2336195"/>
                      </a:cubicBezTo>
                      <a:cubicBezTo>
                        <a:pt x="637098" y="2279045"/>
                        <a:pt x="647077" y="2217359"/>
                        <a:pt x="667034" y="2162023"/>
                      </a:cubicBezTo>
                      <a:cubicBezTo>
                        <a:pt x="686991" y="2106687"/>
                        <a:pt x="716927" y="2051352"/>
                        <a:pt x="748677" y="2004181"/>
                      </a:cubicBezTo>
                      <a:cubicBezTo>
                        <a:pt x="780427" y="1957010"/>
                        <a:pt x="808548" y="1920724"/>
                        <a:pt x="857534" y="1878995"/>
                      </a:cubicBezTo>
                      <a:cubicBezTo>
                        <a:pt x="906520" y="1837266"/>
                        <a:pt x="978185" y="1784652"/>
                        <a:pt x="1042592" y="1753809"/>
                      </a:cubicBezTo>
                      <a:cubicBezTo>
                        <a:pt x="1106999" y="1722966"/>
                        <a:pt x="1175941" y="1703917"/>
                        <a:pt x="1243977" y="1693938"/>
                      </a:cubicBezTo>
                      <a:cubicBezTo>
                        <a:pt x="1312013" y="1683959"/>
                        <a:pt x="1385492" y="1691217"/>
                        <a:pt x="1450806" y="1693938"/>
                      </a:cubicBezTo>
                      <a:cubicBezTo>
                        <a:pt x="1516120" y="1696659"/>
                        <a:pt x="1587785" y="1700288"/>
                        <a:pt x="1635863" y="1710266"/>
                      </a:cubicBezTo>
                      <a:cubicBezTo>
                        <a:pt x="1683941" y="1720244"/>
                        <a:pt x="1690291" y="1728409"/>
                        <a:pt x="1739277" y="1753809"/>
                      </a:cubicBezTo>
                      <a:cubicBezTo>
                        <a:pt x="1788263" y="1779209"/>
                        <a:pt x="1878070" y="1819123"/>
                        <a:pt x="1929777" y="1862666"/>
                      </a:cubicBezTo>
                      <a:cubicBezTo>
                        <a:pt x="1981484" y="1906209"/>
                        <a:pt x="2012327" y="1951566"/>
                        <a:pt x="2049520" y="2015066"/>
                      </a:cubicBezTo>
                      <a:cubicBezTo>
                        <a:pt x="2086713" y="2078566"/>
                        <a:pt x="2130255" y="2178352"/>
                        <a:pt x="2152934" y="2243666"/>
                      </a:cubicBezTo>
                      <a:cubicBezTo>
                        <a:pt x="2175613" y="2308980"/>
                        <a:pt x="2175613" y="2351616"/>
                        <a:pt x="2185592" y="2406952"/>
                      </a:cubicBezTo>
                      <a:cubicBezTo>
                        <a:pt x="2195571" y="2462288"/>
                        <a:pt x="2207363" y="2532138"/>
                        <a:pt x="2212806" y="2575681"/>
                      </a:cubicBezTo>
                      <a:cubicBezTo>
                        <a:pt x="2218249" y="2619224"/>
                        <a:pt x="2213713" y="2652788"/>
                        <a:pt x="2218249" y="2668209"/>
                      </a:cubicBezTo>
                      <a:cubicBezTo>
                        <a:pt x="2222785" y="2683630"/>
                        <a:pt x="2240020" y="2668209"/>
                        <a:pt x="2240020" y="2668209"/>
                      </a:cubicBezTo>
                      <a:lnTo>
                        <a:pt x="2523049" y="2662766"/>
                      </a:lnTo>
                      <a:lnTo>
                        <a:pt x="3274163" y="2651881"/>
                      </a:lnTo>
                      <a:lnTo>
                        <a:pt x="3949077" y="2646438"/>
                      </a:lnTo>
                      <a:lnTo>
                        <a:pt x="5113849" y="2630109"/>
                      </a:lnTo>
                      <a:lnTo>
                        <a:pt x="5799649" y="2613781"/>
                      </a:lnTo>
                      <a:cubicBezTo>
                        <a:pt x="5935720" y="2611060"/>
                        <a:pt x="5908506" y="2618317"/>
                        <a:pt x="5930277" y="2613781"/>
                      </a:cubicBezTo>
                      <a:cubicBezTo>
                        <a:pt x="5952048" y="2609245"/>
                        <a:pt x="5928463" y="2613780"/>
                        <a:pt x="5930277" y="2586566"/>
                      </a:cubicBezTo>
                      <a:cubicBezTo>
                        <a:pt x="5932091" y="2559352"/>
                        <a:pt x="5933906" y="2507645"/>
                        <a:pt x="5941163" y="2450495"/>
                      </a:cubicBezTo>
                      <a:cubicBezTo>
                        <a:pt x="5948420" y="2393345"/>
                        <a:pt x="5954770" y="2316238"/>
                        <a:pt x="5973820" y="2243666"/>
                      </a:cubicBezTo>
                      <a:cubicBezTo>
                        <a:pt x="5992870" y="2171094"/>
                        <a:pt x="6017363" y="2083102"/>
                        <a:pt x="6055463" y="2015066"/>
                      </a:cubicBezTo>
                      <a:cubicBezTo>
                        <a:pt x="6093563" y="1947030"/>
                        <a:pt x="6151620" y="1880809"/>
                        <a:pt x="6202420" y="1835452"/>
                      </a:cubicBezTo>
                      <a:cubicBezTo>
                        <a:pt x="6253220" y="1790095"/>
                        <a:pt x="6304927" y="1770137"/>
                        <a:pt x="6360263" y="1742923"/>
                      </a:cubicBezTo>
                      <a:cubicBezTo>
                        <a:pt x="6415599" y="1715709"/>
                        <a:pt x="6460956" y="1687587"/>
                        <a:pt x="6534434" y="1672166"/>
                      </a:cubicBezTo>
                      <a:cubicBezTo>
                        <a:pt x="6607912" y="1656745"/>
                        <a:pt x="6718584" y="1644952"/>
                        <a:pt x="6801134" y="1650395"/>
                      </a:cubicBezTo>
                      <a:cubicBezTo>
                        <a:pt x="6883684" y="1655838"/>
                        <a:pt x="6964420" y="1683052"/>
                        <a:pt x="7029734" y="1704823"/>
                      </a:cubicBezTo>
                      <a:cubicBezTo>
                        <a:pt x="7095048" y="1726594"/>
                        <a:pt x="7148570" y="1751994"/>
                        <a:pt x="7193020" y="1781023"/>
                      </a:cubicBezTo>
                      <a:cubicBezTo>
                        <a:pt x="7237470" y="1810052"/>
                        <a:pt x="7272848" y="1854502"/>
                        <a:pt x="7296434" y="1878995"/>
                      </a:cubicBezTo>
                      <a:cubicBezTo>
                        <a:pt x="7320020" y="1903488"/>
                        <a:pt x="7334534" y="1927981"/>
                        <a:pt x="7334534" y="1927981"/>
                      </a:cubicBezTo>
                      <a:cubicBezTo>
                        <a:pt x="7353584" y="1952474"/>
                        <a:pt x="7390777" y="1991481"/>
                        <a:pt x="7410734" y="2025952"/>
                      </a:cubicBezTo>
                      <a:cubicBezTo>
                        <a:pt x="7430691" y="2060423"/>
                        <a:pt x="7440670" y="2098523"/>
                        <a:pt x="7454277" y="2134809"/>
                      </a:cubicBezTo>
                      <a:cubicBezTo>
                        <a:pt x="7467884" y="2171095"/>
                        <a:pt x="7484213" y="2208287"/>
                        <a:pt x="7492377" y="2243666"/>
                      </a:cubicBezTo>
                      <a:cubicBezTo>
                        <a:pt x="7500541" y="2279045"/>
                        <a:pt x="7503263" y="2313517"/>
                        <a:pt x="7503263" y="2347081"/>
                      </a:cubicBezTo>
                      <a:cubicBezTo>
                        <a:pt x="7503263" y="2380645"/>
                        <a:pt x="7496005" y="2418745"/>
                        <a:pt x="7492377" y="2445052"/>
                      </a:cubicBezTo>
                      <a:cubicBezTo>
                        <a:pt x="7488749" y="2471359"/>
                        <a:pt x="7478771" y="2494037"/>
                        <a:pt x="7481492" y="2504923"/>
                      </a:cubicBezTo>
                      <a:cubicBezTo>
                        <a:pt x="7484213" y="2515809"/>
                        <a:pt x="7465163" y="2516716"/>
                        <a:pt x="7508706" y="2510366"/>
                      </a:cubicBezTo>
                      <a:cubicBezTo>
                        <a:pt x="7552249" y="2504016"/>
                        <a:pt x="7667456" y="2478616"/>
                        <a:pt x="7742749" y="2466823"/>
                      </a:cubicBezTo>
                      <a:cubicBezTo>
                        <a:pt x="7818042" y="2455030"/>
                        <a:pt x="7867935" y="2454123"/>
                        <a:pt x="7960463" y="2439609"/>
                      </a:cubicBezTo>
                      <a:cubicBezTo>
                        <a:pt x="8052991" y="2425095"/>
                        <a:pt x="8207206" y="2402416"/>
                        <a:pt x="8297920" y="2379738"/>
                      </a:cubicBezTo>
                      <a:cubicBezTo>
                        <a:pt x="8388634" y="2357060"/>
                        <a:pt x="8457578" y="2344359"/>
                        <a:pt x="8504749" y="2303538"/>
                      </a:cubicBezTo>
                      <a:cubicBezTo>
                        <a:pt x="8551920" y="2262717"/>
                        <a:pt x="8565528" y="2198309"/>
                        <a:pt x="8580949" y="2134809"/>
                      </a:cubicBezTo>
                      <a:cubicBezTo>
                        <a:pt x="8596370" y="2071309"/>
                        <a:pt x="8609070" y="1999645"/>
                        <a:pt x="8597277" y="1922538"/>
                      </a:cubicBezTo>
                      <a:cubicBezTo>
                        <a:pt x="8585484" y="1845431"/>
                        <a:pt x="8540128" y="1751087"/>
                        <a:pt x="8510192" y="1672166"/>
                      </a:cubicBezTo>
                      <a:cubicBezTo>
                        <a:pt x="8480256" y="1593244"/>
                        <a:pt x="8425827" y="1498902"/>
                        <a:pt x="8417663" y="1449009"/>
                      </a:cubicBezTo>
                      <a:cubicBezTo>
                        <a:pt x="8409499" y="1399116"/>
                        <a:pt x="8455763" y="1434495"/>
                        <a:pt x="8461206" y="1372809"/>
                      </a:cubicBezTo>
                      <a:cubicBezTo>
                        <a:pt x="8466649" y="1311123"/>
                        <a:pt x="8481163" y="1175959"/>
                        <a:pt x="8450320" y="1078895"/>
                      </a:cubicBezTo>
                      <a:cubicBezTo>
                        <a:pt x="8419477" y="981831"/>
                        <a:pt x="8337835" y="881137"/>
                        <a:pt x="8276149" y="790423"/>
                      </a:cubicBezTo>
                      <a:cubicBezTo>
                        <a:pt x="8214463" y="699709"/>
                        <a:pt x="8136449" y="605366"/>
                        <a:pt x="8080206" y="534609"/>
                      </a:cubicBezTo>
                      <a:cubicBezTo>
                        <a:pt x="8023963" y="463852"/>
                        <a:pt x="7968628" y="407609"/>
                        <a:pt x="7938692" y="365881"/>
                      </a:cubicBezTo>
                      <a:cubicBezTo>
                        <a:pt x="7908756" y="324153"/>
                        <a:pt x="7908756" y="325059"/>
                        <a:pt x="7900592" y="284238"/>
                      </a:cubicBezTo>
                      <a:cubicBezTo>
                        <a:pt x="7892428" y="243416"/>
                        <a:pt x="7896963" y="151795"/>
                        <a:pt x="7889706" y="120952"/>
                      </a:cubicBezTo>
                      <a:cubicBezTo>
                        <a:pt x="7882449" y="90109"/>
                        <a:pt x="7868842" y="103717"/>
                        <a:pt x="7857049" y="99181"/>
                      </a:cubicBezTo>
                      <a:cubicBezTo>
                        <a:pt x="7845256" y="94645"/>
                        <a:pt x="7818949" y="93738"/>
                        <a:pt x="7818949" y="93738"/>
                      </a:cubicBezTo>
                      <a:cubicBezTo>
                        <a:pt x="7741842" y="82852"/>
                        <a:pt x="7536827" y="46566"/>
                        <a:pt x="7394406" y="33866"/>
                      </a:cubicBezTo>
                      <a:cubicBezTo>
                        <a:pt x="7251985" y="21166"/>
                        <a:pt x="6964420" y="17538"/>
                        <a:pt x="6964420" y="17538"/>
                      </a:cubicBezTo>
                      <a:cubicBezTo>
                        <a:pt x="6826534" y="12095"/>
                        <a:pt x="6703163" y="3930"/>
                        <a:pt x="6567092" y="1209"/>
                      </a:cubicBezTo>
                      <a:cubicBezTo>
                        <a:pt x="6431021" y="-1512"/>
                        <a:pt x="6147992" y="1209"/>
                        <a:pt x="6147992" y="1209"/>
                      </a:cubicBezTo>
                      <a:lnTo>
                        <a:pt x="5571049" y="1209"/>
                      </a:lnTo>
                      <a:cubicBezTo>
                        <a:pt x="5384178" y="3930"/>
                        <a:pt x="5026763" y="17538"/>
                        <a:pt x="5026763" y="17538"/>
                      </a:cubicBezTo>
                      <a:lnTo>
                        <a:pt x="4487920" y="39309"/>
                      </a:lnTo>
                      <a:cubicBezTo>
                        <a:pt x="4337334" y="46566"/>
                        <a:pt x="4249342" y="49288"/>
                        <a:pt x="4123249" y="61081"/>
                      </a:cubicBezTo>
                      <a:cubicBezTo>
                        <a:pt x="3997156" y="72874"/>
                        <a:pt x="3835685" y="95552"/>
                        <a:pt x="3731363" y="110066"/>
                      </a:cubicBezTo>
                      <a:cubicBezTo>
                        <a:pt x="3627042" y="124580"/>
                        <a:pt x="3575334" y="131837"/>
                        <a:pt x="3497320" y="148166"/>
                      </a:cubicBezTo>
                      <a:cubicBezTo>
                        <a:pt x="3419306" y="164495"/>
                        <a:pt x="3349456" y="181731"/>
                        <a:pt x="3263277" y="208038"/>
                      </a:cubicBezTo>
                      <a:cubicBezTo>
                        <a:pt x="3177099" y="234345"/>
                        <a:pt x="3096363" y="255209"/>
                        <a:pt x="2980249" y="306009"/>
                      </a:cubicBezTo>
                      <a:cubicBezTo>
                        <a:pt x="2864135" y="356809"/>
                        <a:pt x="2699035" y="442081"/>
                        <a:pt x="2566592" y="512838"/>
                      </a:cubicBezTo>
                      <a:cubicBezTo>
                        <a:pt x="2434149" y="583595"/>
                        <a:pt x="2185592" y="730552"/>
                        <a:pt x="2185592" y="730552"/>
                      </a:cubicBezTo>
                      <a:cubicBezTo>
                        <a:pt x="2060406" y="802216"/>
                        <a:pt x="1900748" y="903816"/>
                        <a:pt x="1815477" y="942823"/>
                      </a:cubicBezTo>
                      <a:cubicBezTo>
                        <a:pt x="1730206" y="981830"/>
                        <a:pt x="1758327" y="943731"/>
                        <a:pt x="1673963" y="964595"/>
                      </a:cubicBezTo>
                      <a:cubicBezTo>
                        <a:pt x="1589599" y="985459"/>
                        <a:pt x="1309292" y="1068009"/>
                        <a:pt x="1309292" y="1068009"/>
                      </a:cubicBezTo>
                      <a:cubicBezTo>
                        <a:pt x="1196806" y="1099759"/>
                        <a:pt x="1107906" y="1120624"/>
                        <a:pt x="999049" y="1155095"/>
                      </a:cubicBezTo>
                      <a:cubicBezTo>
                        <a:pt x="890192" y="1189566"/>
                        <a:pt x="745956" y="1242181"/>
                        <a:pt x="656149" y="1274838"/>
                      </a:cubicBezTo>
                      <a:cubicBezTo>
                        <a:pt x="566342" y="1307495"/>
                        <a:pt x="514635" y="1329267"/>
                        <a:pt x="460206" y="1351038"/>
                      </a:cubicBezTo>
                      <a:cubicBezTo>
                        <a:pt x="405777" y="1372809"/>
                        <a:pt x="369491" y="1380973"/>
                        <a:pt x="329577" y="1405466"/>
                      </a:cubicBezTo>
                      <a:cubicBezTo>
                        <a:pt x="289663" y="1429959"/>
                        <a:pt x="255191" y="1449916"/>
                        <a:pt x="220720" y="1497995"/>
                      </a:cubicBezTo>
                      <a:cubicBezTo>
                        <a:pt x="186249" y="1546074"/>
                        <a:pt x="145427" y="1635881"/>
                        <a:pt x="122749" y="1693938"/>
                      </a:cubicBezTo>
                      <a:cubicBezTo>
                        <a:pt x="100071" y="1751995"/>
                        <a:pt x="104606" y="1794631"/>
                        <a:pt x="84649" y="1846338"/>
                      </a:cubicBezTo>
                      <a:cubicBezTo>
                        <a:pt x="64692" y="1898045"/>
                        <a:pt x="13892" y="1959731"/>
                        <a:pt x="3006" y="2004181"/>
                      </a:cubicBezTo>
                      <a:cubicBezTo>
                        <a:pt x="-7880" y="2048631"/>
                        <a:pt x="13891" y="2071309"/>
                        <a:pt x="19334" y="2113038"/>
                      </a:cubicBezTo>
                      <a:cubicBezTo>
                        <a:pt x="24777" y="2154767"/>
                        <a:pt x="25684" y="2224616"/>
                        <a:pt x="35663" y="2254552"/>
                      </a:cubicBezTo>
                      <a:cubicBezTo>
                        <a:pt x="45642" y="2284488"/>
                        <a:pt x="67413" y="2264531"/>
                        <a:pt x="79206" y="2292652"/>
                      </a:cubicBezTo>
                      <a:cubicBezTo>
                        <a:pt x="90999" y="2320773"/>
                        <a:pt x="105513" y="2389717"/>
                        <a:pt x="106420" y="2423281"/>
                      </a:cubicBezTo>
                      <a:cubicBezTo>
                        <a:pt x="107327" y="2456845"/>
                        <a:pt x="79206" y="2465010"/>
                        <a:pt x="84649" y="2494038"/>
                      </a:cubicBezTo>
                      <a:cubicBezTo>
                        <a:pt x="90092" y="2523066"/>
                        <a:pt x="108234" y="2568423"/>
                        <a:pt x="139077" y="2597452"/>
                      </a:cubicBezTo>
                      <a:cubicBezTo>
                        <a:pt x="169920" y="2626480"/>
                        <a:pt x="246120" y="2643716"/>
                        <a:pt x="286034" y="2657323"/>
                      </a:cubicBez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3" name="Oval 1052"/>
                <p:cNvSpPr/>
                <p:nvPr/>
              </p:nvSpPr>
              <p:spPr bwMode="auto">
                <a:xfrm>
                  <a:off x="2451619" y="3600216"/>
                  <a:ext cx="1295867" cy="129586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4" name="Oval 1053"/>
                <p:cNvSpPr/>
                <p:nvPr/>
              </p:nvSpPr>
              <p:spPr bwMode="auto">
                <a:xfrm>
                  <a:off x="7785773" y="3600216"/>
                  <a:ext cx="1295867" cy="129586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5" name="Oval 1054"/>
                <p:cNvSpPr/>
                <p:nvPr/>
              </p:nvSpPr>
              <p:spPr bwMode="auto">
                <a:xfrm>
                  <a:off x="8052710" y="3871653"/>
                  <a:ext cx="761995" cy="761997"/>
                </a:xfrm>
                <a:prstGeom prst="ellipse">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6" name="Oval 1055"/>
                <p:cNvSpPr/>
                <p:nvPr/>
              </p:nvSpPr>
              <p:spPr bwMode="auto">
                <a:xfrm>
                  <a:off x="2718552" y="3871653"/>
                  <a:ext cx="761995" cy="761997"/>
                </a:xfrm>
                <a:prstGeom prst="ellipse">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7" name="Freeform 1056"/>
                <p:cNvSpPr/>
                <p:nvPr/>
              </p:nvSpPr>
              <p:spPr bwMode="auto">
                <a:xfrm>
                  <a:off x="3488871" y="2008414"/>
                  <a:ext cx="6166758" cy="1099457"/>
                </a:xfrm>
                <a:custGeom>
                  <a:avLst/>
                  <a:gdLst>
                    <a:gd name="connsiteX0" fmla="*/ 511629 w 6166758"/>
                    <a:gd name="connsiteY0" fmla="*/ 1034143 h 1099457"/>
                    <a:gd name="connsiteX1" fmla="*/ 1273629 w 6166758"/>
                    <a:gd name="connsiteY1" fmla="*/ 968829 h 1099457"/>
                    <a:gd name="connsiteX2" fmla="*/ 1959429 w 6166758"/>
                    <a:gd name="connsiteY2" fmla="*/ 908957 h 1099457"/>
                    <a:gd name="connsiteX3" fmla="*/ 2416629 w 6166758"/>
                    <a:gd name="connsiteY3" fmla="*/ 881743 h 1099457"/>
                    <a:gd name="connsiteX4" fmla="*/ 3238500 w 6166758"/>
                    <a:gd name="connsiteY4" fmla="*/ 821872 h 1099457"/>
                    <a:gd name="connsiteX5" fmla="*/ 3891643 w 6166758"/>
                    <a:gd name="connsiteY5" fmla="*/ 778329 h 1099457"/>
                    <a:gd name="connsiteX6" fmla="*/ 4049486 w 6166758"/>
                    <a:gd name="connsiteY6" fmla="*/ 772886 h 1099457"/>
                    <a:gd name="connsiteX7" fmla="*/ 4158343 w 6166758"/>
                    <a:gd name="connsiteY7" fmla="*/ 783772 h 1099457"/>
                    <a:gd name="connsiteX8" fmla="*/ 4365172 w 6166758"/>
                    <a:gd name="connsiteY8" fmla="*/ 843643 h 1099457"/>
                    <a:gd name="connsiteX9" fmla="*/ 4435929 w 6166758"/>
                    <a:gd name="connsiteY9" fmla="*/ 849086 h 1099457"/>
                    <a:gd name="connsiteX10" fmla="*/ 5502729 w 6166758"/>
                    <a:gd name="connsiteY10" fmla="*/ 751115 h 1099457"/>
                    <a:gd name="connsiteX11" fmla="*/ 6112329 w 6166758"/>
                    <a:gd name="connsiteY11" fmla="*/ 696686 h 1099457"/>
                    <a:gd name="connsiteX12" fmla="*/ 6166758 w 6166758"/>
                    <a:gd name="connsiteY12" fmla="*/ 691243 h 1099457"/>
                    <a:gd name="connsiteX13" fmla="*/ 6134100 w 6166758"/>
                    <a:gd name="connsiteY13" fmla="*/ 647700 h 1099457"/>
                    <a:gd name="connsiteX14" fmla="*/ 5715000 w 6166758"/>
                    <a:gd name="connsiteY14" fmla="*/ 332015 h 1099457"/>
                    <a:gd name="connsiteX15" fmla="*/ 5453743 w 6166758"/>
                    <a:gd name="connsiteY15" fmla="*/ 163286 h 1099457"/>
                    <a:gd name="connsiteX16" fmla="*/ 5334000 w 6166758"/>
                    <a:gd name="connsiteY16" fmla="*/ 108857 h 1099457"/>
                    <a:gd name="connsiteX17" fmla="*/ 5219700 w 6166758"/>
                    <a:gd name="connsiteY17" fmla="*/ 81643 h 1099457"/>
                    <a:gd name="connsiteX18" fmla="*/ 4876800 w 6166758"/>
                    <a:gd name="connsiteY18" fmla="*/ 48986 h 1099457"/>
                    <a:gd name="connsiteX19" fmla="*/ 4419600 w 6166758"/>
                    <a:gd name="connsiteY19" fmla="*/ 27215 h 1099457"/>
                    <a:gd name="connsiteX20" fmla="*/ 4142015 w 6166758"/>
                    <a:gd name="connsiteY20" fmla="*/ 16329 h 1099457"/>
                    <a:gd name="connsiteX21" fmla="*/ 3690258 w 6166758"/>
                    <a:gd name="connsiteY21" fmla="*/ 0 h 1099457"/>
                    <a:gd name="connsiteX22" fmla="*/ 3075215 w 6166758"/>
                    <a:gd name="connsiteY22" fmla="*/ 0 h 1099457"/>
                    <a:gd name="connsiteX23" fmla="*/ 2574472 w 6166758"/>
                    <a:gd name="connsiteY23" fmla="*/ 10886 h 1099457"/>
                    <a:gd name="connsiteX24" fmla="*/ 2204358 w 6166758"/>
                    <a:gd name="connsiteY24" fmla="*/ 43543 h 1099457"/>
                    <a:gd name="connsiteX25" fmla="*/ 1845129 w 6166758"/>
                    <a:gd name="connsiteY25" fmla="*/ 92529 h 1099457"/>
                    <a:gd name="connsiteX26" fmla="*/ 1589315 w 6166758"/>
                    <a:gd name="connsiteY26" fmla="*/ 146957 h 1099457"/>
                    <a:gd name="connsiteX27" fmla="*/ 1366158 w 6166758"/>
                    <a:gd name="connsiteY27" fmla="*/ 223157 h 1099457"/>
                    <a:gd name="connsiteX28" fmla="*/ 1094015 w 6166758"/>
                    <a:gd name="connsiteY28" fmla="*/ 342900 h 1099457"/>
                    <a:gd name="connsiteX29" fmla="*/ 778329 w 6166758"/>
                    <a:gd name="connsiteY29" fmla="*/ 527957 h 1099457"/>
                    <a:gd name="connsiteX30" fmla="*/ 408215 w 6166758"/>
                    <a:gd name="connsiteY30" fmla="*/ 745672 h 1099457"/>
                    <a:gd name="connsiteX31" fmla="*/ 87086 w 6166758"/>
                    <a:gd name="connsiteY31" fmla="*/ 952500 h 1099457"/>
                    <a:gd name="connsiteX32" fmla="*/ 5443 w 6166758"/>
                    <a:gd name="connsiteY32" fmla="*/ 1028700 h 1099457"/>
                    <a:gd name="connsiteX33" fmla="*/ 0 w 6166758"/>
                    <a:gd name="connsiteY33" fmla="*/ 1077686 h 1099457"/>
                    <a:gd name="connsiteX34" fmla="*/ 54429 w 6166758"/>
                    <a:gd name="connsiteY34" fmla="*/ 1099457 h 1099457"/>
                    <a:gd name="connsiteX35" fmla="*/ 206829 w 6166758"/>
                    <a:gd name="connsiteY35" fmla="*/ 1083129 h 1099457"/>
                    <a:gd name="connsiteX36" fmla="*/ 402772 w 6166758"/>
                    <a:gd name="connsiteY36" fmla="*/ 1055915 h 1099457"/>
                    <a:gd name="connsiteX37" fmla="*/ 511629 w 6166758"/>
                    <a:gd name="connsiteY37" fmla="*/ 1034143 h 109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66758" h="1099457">
                      <a:moveTo>
                        <a:pt x="511629" y="1034143"/>
                      </a:moveTo>
                      <a:lnTo>
                        <a:pt x="1273629" y="968829"/>
                      </a:lnTo>
                      <a:lnTo>
                        <a:pt x="1959429" y="908957"/>
                      </a:lnTo>
                      <a:lnTo>
                        <a:pt x="2416629" y="881743"/>
                      </a:lnTo>
                      <a:lnTo>
                        <a:pt x="3238500" y="821872"/>
                      </a:lnTo>
                      <a:lnTo>
                        <a:pt x="3891643" y="778329"/>
                      </a:lnTo>
                      <a:lnTo>
                        <a:pt x="4049486" y="772886"/>
                      </a:lnTo>
                      <a:lnTo>
                        <a:pt x="4158343" y="783772"/>
                      </a:lnTo>
                      <a:lnTo>
                        <a:pt x="4365172" y="843643"/>
                      </a:lnTo>
                      <a:lnTo>
                        <a:pt x="4435929" y="849086"/>
                      </a:lnTo>
                      <a:lnTo>
                        <a:pt x="5502729" y="751115"/>
                      </a:lnTo>
                      <a:lnTo>
                        <a:pt x="6112329" y="696686"/>
                      </a:lnTo>
                      <a:lnTo>
                        <a:pt x="6166758" y="691243"/>
                      </a:lnTo>
                      <a:lnTo>
                        <a:pt x="6134100" y="647700"/>
                      </a:lnTo>
                      <a:lnTo>
                        <a:pt x="5715000" y="332015"/>
                      </a:lnTo>
                      <a:lnTo>
                        <a:pt x="5453743" y="163286"/>
                      </a:lnTo>
                      <a:lnTo>
                        <a:pt x="5334000" y="108857"/>
                      </a:lnTo>
                      <a:lnTo>
                        <a:pt x="5219700" y="81643"/>
                      </a:lnTo>
                      <a:lnTo>
                        <a:pt x="4876800" y="48986"/>
                      </a:lnTo>
                      <a:lnTo>
                        <a:pt x="4419600" y="27215"/>
                      </a:lnTo>
                      <a:lnTo>
                        <a:pt x="4142015" y="16329"/>
                      </a:lnTo>
                      <a:lnTo>
                        <a:pt x="3690258" y="0"/>
                      </a:lnTo>
                      <a:lnTo>
                        <a:pt x="3075215" y="0"/>
                      </a:lnTo>
                      <a:lnTo>
                        <a:pt x="2574472" y="10886"/>
                      </a:lnTo>
                      <a:lnTo>
                        <a:pt x="2204358" y="43543"/>
                      </a:lnTo>
                      <a:lnTo>
                        <a:pt x="1845129" y="92529"/>
                      </a:lnTo>
                      <a:lnTo>
                        <a:pt x="1589315" y="146957"/>
                      </a:lnTo>
                      <a:lnTo>
                        <a:pt x="1366158" y="223157"/>
                      </a:lnTo>
                      <a:lnTo>
                        <a:pt x="1094015" y="342900"/>
                      </a:lnTo>
                      <a:lnTo>
                        <a:pt x="778329" y="527957"/>
                      </a:lnTo>
                      <a:lnTo>
                        <a:pt x="408215" y="745672"/>
                      </a:lnTo>
                      <a:lnTo>
                        <a:pt x="87086" y="952500"/>
                      </a:lnTo>
                      <a:lnTo>
                        <a:pt x="5443" y="1028700"/>
                      </a:lnTo>
                      <a:lnTo>
                        <a:pt x="0" y="1077686"/>
                      </a:lnTo>
                      <a:lnTo>
                        <a:pt x="54429" y="1099457"/>
                      </a:lnTo>
                      <a:lnTo>
                        <a:pt x="206829" y="1083129"/>
                      </a:lnTo>
                      <a:lnTo>
                        <a:pt x="402772" y="1055915"/>
                      </a:lnTo>
                      <a:lnTo>
                        <a:pt x="511629" y="1034143"/>
                      </a:ln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8" name="Freeform 1057"/>
                <p:cNvSpPr/>
                <p:nvPr/>
              </p:nvSpPr>
              <p:spPr bwMode="auto">
                <a:xfrm>
                  <a:off x="4012890" y="2456141"/>
                  <a:ext cx="399763" cy="598963"/>
                </a:xfrm>
                <a:custGeom>
                  <a:avLst/>
                  <a:gdLst>
                    <a:gd name="connsiteX0" fmla="*/ 119742 w 391885"/>
                    <a:gd name="connsiteY0" fmla="*/ 141514 h 500743"/>
                    <a:gd name="connsiteX1" fmla="*/ 0 w 391885"/>
                    <a:gd name="connsiteY1" fmla="*/ 500743 h 500743"/>
                    <a:gd name="connsiteX2" fmla="*/ 321128 w 391885"/>
                    <a:gd name="connsiteY2" fmla="*/ 473529 h 500743"/>
                    <a:gd name="connsiteX3" fmla="*/ 391885 w 391885"/>
                    <a:gd name="connsiteY3" fmla="*/ 0 h 500743"/>
                    <a:gd name="connsiteX4" fmla="*/ 119742 w 391885"/>
                    <a:gd name="connsiteY4" fmla="*/ 141514 h 50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885" h="500743">
                      <a:moveTo>
                        <a:pt x="119742" y="141514"/>
                      </a:moveTo>
                      <a:lnTo>
                        <a:pt x="0" y="500743"/>
                      </a:lnTo>
                      <a:lnTo>
                        <a:pt x="321128" y="473529"/>
                      </a:lnTo>
                      <a:lnTo>
                        <a:pt x="391885" y="0"/>
                      </a:lnTo>
                      <a:lnTo>
                        <a:pt x="119742" y="141514"/>
                      </a:ln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9" name="Freeform 1058"/>
                <p:cNvSpPr/>
                <p:nvPr/>
              </p:nvSpPr>
              <p:spPr bwMode="auto">
                <a:xfrm>
                  <a:off x="5687784" y="2017711"/>
                  <a:ext cx="457203" cy="901843"/>
                </a:xfrm>
                <a:custGeom>
                  <a:avLst/>
                  <a:gdLst>
                    <a:gd name="connsiteX0" fmla="*/ 103414 w 457200"/>
                    <a:gd name="connsiteY0" fmla="*/ 16328 h 816428"/>
                    <a:gd name="connsiteX1" fmla="*/ 0 w 457200"/>
                    <a:gd name="connsiteY1" fmla="*/ 816428 h 816428"/>
                    <a:gd name="connsiteX2" fmla="*/ 386443 w 457200"/>
                    <a:gd name="connsiteY2" fmla="*/ 783771 h 816428"/>
                    <a:gd name="connsiteX3" fmla="*/ 457200 w 457200"/>
                    <a:gd name="connsiteY3" fmla="*/ 0 h 816428"/>
                    <a:gd name="connsiteX4" fmla="*/ 103414 w 457200"/>
                    <a:gd name="connsiteY4" fmla="*/ 16328 h 816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816428">
                      <a:moveTo>
                        <a:pt x="103414" y="16328"/>
                      </a:moveTo>
                      <a:lnTo>
                        <a:pt x="0" y="816428"/>
                      </a:lnTo>
                      <a:lnTo>
                        <a:pt x="386443" y="783771"/>
                      </a:lnTo>
                      <a:lnTo>
                        <a:pt x="457200" y="0"/>
                      </a:lnTo>
                      <a:lnTo>
                        <a:pt x="103414" y="16328"/>
                      </a:ln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0" name="Freeform 1059"/>
                <p:cNvSpPr/>
                <p:nvPr/>
              </p:nvSpPr>
              <p:spPr bwMode="auto">
                <a:xfrm>
                  <a:off x="7527472" y="2025426"/>
                  <a:ext cx="353784" cy="831986"/>
                </a:xfrm>
                <a:custGeom>
                  <a:avLst/>
                  <a:gdLst>
                    <a:gd name="connsiteX0" fmla="*/ 43543 w 353786"/>
                    <a:gd name="connsiteY0" fmla="*/ 0 h 783772"/>
                    <a:gd name="connsiteX1" fmla="*/ 0 w 353786"/>
                    <a:gd name="connsiteY1" fmla="*/ 713014 h 783772"/>
                    <a:gd name="connsiteX2" fmla="*/ 353786 w 353786"/>
                    <a:gd name="connsiteY2" fmla="*/ 783772 h 783772"/>
                    <a:gd name="connsiteX3" fmla="*/ 342900 w 353786"/>
                    <a:gd name="connsiteY3" fmla="*/ 10886 h 783772"/>
                    <a:gd name="connsiteX4" fmla="*/ 43543 w 353786"/>
                    <a:gd name="connsiteY4" fmla="*/ 0 h 783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6" h="783772">
                      <a:moveTo>
                        <a:pt x="43543" y="0"/>
                      </a:moveTo>
                      <a:lnTo>
                        <a:pt x="0" y="713014"/>
                      </a:lnTo>
                      <a:lnTo>
                        <a:pt x="353786" y="783772"/>
                      </a:lnTo>
                      <a:lnTo>
                        <a:pt x="342900" y="10886"/>
                      </a:lnTo>
                      <a:lnTo>
                        <a:pt x="43543" y="0"/>
                      </a:ln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1" name="Freeform 1060"/>
                <p:cNvSpPr/>
                <p:nvPr/>
              </p:nvSpPr>
              <p:spPr bwMode="auto">
                <a:xfrm>
                  <a:off x="3645856" y="3603750"/>
                  <a:ext cx="4229101" cy="947053"/>
                </a:xfrm>
                <a:custGeom>
                  <a:avLst/>
                  <a:gdLst>
                    <a:gd name="connsiteX0" fmla="*/ 0 w 4229100"/>
                    <a:gd name="connsiteY0" fmla="*/ 179614 h 947057"/>
                    <a:gd name="connsiteX1" fmla="*/ 157843 w 4229100"/>
                    <a:gd name="connsiteY1" fmla="*/ 212271 h 947057"/>
                    <a:gd name="connsiteX2" fmla="*/ 283029 w 4229100"/>
                    <a:gd name="connsiteY2" fmla="*/ 212271 h 947057"/>
                    <a:gd name="connsiteX3" fmla="*/ 397329 w 4229100"/>
                    <a:gd name="connsiteY3" fmla="*/ 168728 h 947057"/>
                    <a:gd name="connsiteX4" fmla="*/ 495300 w 4229100"/>
                    <a:gd name="connsiteY4" fmla="*/ 103414 h 947057"/>
                    <a:gd name="connsiteX5" fmla="*/ 718457 w 4229100"/>
                    <a:gd name="connsiteY5" fmla="*/ 87086 h 947057"/>
                    <a:gd name="connsiteX6" fmla="*/ 1148443 w 4229100"/>
                    <a:gd name="connsiteY6" fmla="*/ 70757 h 947057"/>
                    <a:gd name="connsiteX7" fmla="*/ 1850572 w 4229100"/>
                    <a:gd name="connsiteY7" fmla="*/ 48986 h 947057"/>
                    <a:gd name="connsiteX8" fmla="*/ 2389414 w 4229100"/>
                    <a:gd name="connsiteY8" fmla="*/ 32657 h 947057"/>
                    <a:gd name="connsiteX9" fmla="*/ 2922814 w 4229100"/>
                    <a:gd name="connsiteY9" fmla="*/ 16328 h 947057"/>
                    <a:gd name="connsiteX10" fmla="*/ 3390900 w 4229100"/>
                    <a:gd name="connsiteY10" fmla="*/ 5443 h 947057"/>
                    <a:gd name="connsiteX11" fmla="*/ 3624943 w 4229100"/>
                    <a:gd name="connsiteY11" fmla="*/ 0 h 947057"/>
                    <a:gd name="connsiteX12" fmla="*/ 3897086 w 4229100"/>
                    <a:gd name="connsiteY12" fmla="*/ 92528 h 947057"/>
                    <a:gd name="connsiteX13" fmla="*/ 3978729 w 4229100"/>
                    <a:gd name="connsiteY13" fmla="*/ 125186 h 947057"/>
                    <a:gd name="connsiteX14" fmla="*/ 4229100 w 4229100"/>
                    <a:gd name="connsiteY14" fmla="*/ 114300 h 947057"/>
                    <a:gd name="connsiteX15" fmla="*/ 4169229 w 4229100"/>
                    <a:gd name="connsiteY15" fmla="*/ 174171 h 947057"/>
                    <a:gd name="connsiteX16" fmla="*/ 4103914 w 4229100"/>
                    <a:gd name="connsiteY16" fmla="*/ 266700 h 947057"/>
                    <a:gd name="connsiteX17" fmla="*/ 4038600 w 4229100"/>
                    <a:gd name="connsiteY17" fmla="*/ 386443 h 947057"/>
                    <a:gd name="connsiteX18" fmla="*/ 3995057 w 4229100"/>
                    <a:gd name="connsiteY18" fmla="*/ 538843 h 947057"/>
                    <a:gd name="connsiteX19" fmla="*/ 3967843 w 4229100"/>
                    <a:gd name="connsiteY19" fmla="*/ 691243 h 947057"/>
                    <a:gd name="connsiteX20" fmla="*/ 3962400 w 4229100"/>
                    <a:gd name="connsiteY20" fmla="*/ 805543 h 947057"/>
                    <a:gd name="connsiteX21" fmla="*/ 3973286 w 4229100"/>
                    <a:gd name="connsiteY21" fmla="*/ 887186 h 947057"/>
                    <a:gd name="connsiteX22" fmla="*/ 3973286 w 4229100"/>
                    <a:gd name="connsiteY22" fmla="*/ 887186 h 947057"/>
                    <a:gd name="connsiteX23" fmla="*/ 3619500 w 4229100"/>
                    <a:gd name="connsiteY23" fmla="*/ 898071 h 947057"/>
                    <a:gd name="connsiteX24" fmla="*/ 2852057 w 4229100"/>
                    <a:gd name="connsiteY24" fmla="*/ 914400 h 947057"/>
                    <a:gd name="connsiteX25" fmla="*/ 2095500 w 4229100"/>
                    <a:gd name="connsiteY25" fmla="*/ 925286 h 947057"/>
                    <a:gd name="connsiteX26" fmla="*/ 1164772 w 4229100"/>
                    <a:gd name="connsiteY26" fmla="*/ 936171 h 947057"/>
                    <a:gd name="connsiteX27" fmla="*/ 598714 w 4229100"/>
                    <a:gd name="connsiteY27" fmla="*/ 947057 h 947057"/>
                    <a:gd name="connsiteX28" fmla="*/ 277586 w 4229100"/>
                    <a:gd name="connsiteY28" fmla="*/ 947057 h 947057"/>
                    <a:gd name="connsiteX29" fmla="*/ 239486 w 4229100"/>
                    <a:gd name="connsiteY29" fmla="*/ 947057 h 947057"/>
                    <a:gd name="connsiteX30" fmla="*/ 239486 w 4229100"/>
                    <a:gd name="connsiteY30" fmla="*/ 887186 h 947057"/>
                    <a:gd name="connsiteX31" fmla="*/ 217714 w 4229100"/>
                    <a:gd name="connsiteY31" fmla="*/ 707571 h 947057"/>
                    <a:gd name="connsiteX32" fmla="*/ 185057 w 4229100"/>
                    <a:gd name="connsiteY32" fmla="*/ 560614 h 947057"/>
                    <a:gd name="connsiteX33" fmla="*/ 130629 w 4229100"/>
                    <a:gd name="connsiteY33" fmla="*/ 402771 h 947057"/>
                    <a:gd name="connsiteX34" fmla="*/ 65314 w 4229100"/>
                    <a:gd name="connsiteY34" fmla="*/ 277586 h 947057"/>
                    <a:gd name="connsiteX35" fmla="*/ 0 w 4229100"/>
                    <a:gd name="connsiteY35" fmla="*/ 179614 h 94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229100" h="947057">
                      <a:moveTo>
                        <a:pt x="0" y="179614"/>
                      </a:moveTo>
                      <a:lnTo>
                        <a:pt x="157843" y="212271"/>
                      </a:lnTo>
                      <a:lnTo>
                        <a:pt x="283029" y="212271"/>
                      </a:lnTo>
                      <a:lnTo>
                        <a:pt x="397329" y="168728"/>
                      </a:lnTo>
                      <a:lnTo>
                        <a:pt x="495300" y="103414"/>
                      </a:lnTo>
                      <a:lnTo>
                        <a:pt x="718457" y="87086"/>
                      </a:lnTo>
                      <a:lnTo>
                        <a:pt x="1148443" y="70757"/>
                      </a:lnTo>
                      <a:lnTo>
                        <a:pt x="1850572" y="48986"/>
                      </a:lnTo>
                      <a:lnTo>
                        <a:pt x="2389414" y="32657"/>
                      </a:lnTo>
                      <a:lnTo>
                        <a:pt x="2922814" y="16328"/>
                      </a:lnTo>
                      <a:lnTo>
                        <a:pt x="3390900" y="5443"/>
                      </a:lnTo>
                      <a:lnTo>
                        <a:pt x="3624943" y="0"/>
                      </a:lnTo>
                      <a:lnTo>
                        <a:pt x="3897086" y="92528"/>
                      </a:lnTo>
                      <a:lnTo>
                        <a:pt x="3978729" y="125186"/>
                      </a:lnTo>
                      <a:lnTo>
                        <a:pt x="4229100" y="114300"/>
                      </a:lnTo>
                      <a:lnTo>
                        <a:pt x="4169229" y="174171"/>
                      </a:lnTo>
                      <a:lnTo>
                        <a:pt x="4103914" y="266700"/>
                      </a:lnTo>
                      <a:lnTo>
                        <a:pt x="4038600" y="386443"/>
                      </a:lnTo>
                      <a:lnTo>
                        <a:pt x="3995057" y="538843"/>
                      </a:lnTo>
                      <a:lnTo>
                        <a:pt x="3967843" y="691243"/>
                      </a:lnTo>
                      <a:lnTo>
                        <a:pt x="3962400" y="805543"/>
                      </a:lnTo>
                      <a:lnTo>
                        <a:pt x="3973286" y="887186"/>
                      </a:lnTo>
                      <a:lnTo>
                        <a:pt x="3973286" y="887186"/>
                      </a:lnTo>
                      <a:lnTo>
                        <a:pt x="3619500" y="898071"/>
                      </a:lnTo>
                      <a:lnTo>
                        <a:pt x="2852057" y="914400"/>
                      </a:lnTo>
                      <a:lnTo>
                        <a:pt x="2095500" y="925286"/>
                      </a:lnTo>
                      <a:lnTo>
                        <a:pt x="1164772" y="936171"/>
                      </a:lnTo>
                      <a:lnTo>
                        <a:pt x="598714" y="947057"/>
                      </a:lnTo>
                      <a:lnTo>
                        <a:pt x="277586" y="947057"/>
                      </a:lnTo>
                      <a:lnTo>
                        <a:pt x="239486" y="947057"/>
                      </a:lnTo>
                      <a:lnTo>
                        <a:pt x="239486" y="887186"/>
                      </a:lnTo>
                      <a:lnTo>
                        <a:pt x="217714" y="707571"/>
                      </a:lnTo>
                      <a:lnTo>
                        <a:pt x="185057" y="560614"/>
                      </a:lnTo>
                      <a:lnTo>
                        <a:pt x="130629" y="402771"/>
                      </a:lnTo>
                      <a:lnTo>
                        <a:pt x="65314" y="277586"/>
                      </a:lnTo>
                      <a:lnTo>
                        <a:pt x="0" y="179614"/>
                      </a:ln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2" name="Freeform 1061"/>
                <p:cNvSpPr/>
                <p:nvPr/>
              </p:nvSpPr>
              <p:spPr bwMode="auto">
                <a:xfrm>
                  <a:off x="1701888" y="3319772"/>
                  <a:ext cx="642258" cy="424543"/>
                </a:xfrm>
                <a:custGeom>
                  <a:avLst/>
                  <a:gdLst>
                    <a:gd name="connsiteX0" fmla="*/ 0 w 642258"/>
                    <a:gd name="connsiteY0" fmla="*/ 424543 h 424543"/>
                    <a:gd name="connsiteX1" fmla="*/ 141515 w 642258"/>
                    <a:gd name="connsiteY1" fmla="*/ 348343 h 424543"/>
                    <a:gd name="connsiteX2" fmla="*/ 288472 w 642258"/>
                    <a:gd name="connsiteY2" fmla="*/ 277586 h 424543"/>
                    <a:gd name="connsiteX3" fmla="*/ 419100 w 642258"/>
                    <a:gd name="connsiteY3" fmla="*/ 239486 h 424543"/>
                    <a:gd name="connsiteX4" fmla="*/ 555172 w 642258"/>
                    <a:gd name="connsiteY4" fmla="*/ 119743 h 424543"/>
                    <a:gd name="connsiteX5" fmla="*/ 625929 w 642258"/>
                    <a:gd name="connsiteY5" fmla="*/ 43543 h 424543"/>
                    <a:gd name="connsiteX6" fmla="*/ 642258 w 642258"/>
                    <a:gd name="connsiteY6" fmla="*/ 0 h 424543"/>
                    <a:gd name="connsiteX7" fmla="*/ 566058 w 642258"/>
                    <a:gd name="connsiteY7" fmla="*/ 10886 h 424543"/>
                    <a:gd name="connsiteX8" fmla="*/ 321129 w 642258"/>
                    <a:gd name="connsiteY8" fmla="*/ 59871 h 424543"/>
                    <a:gd name="connsiteX9" fmla="*/ 195943 w 642258"/>
                    <a:gd name="connsiteY9" fmla="*/ 87086 h 424543"/>
                    <a:gd name="connsiteX10" fmla="*/ 157843 w 642258"/>
                    <a:gd name="connsiteY10" fmla="*/ 81643 h 424543"/>
                    <a:gd name="connsiteX11" fmla="*/ 152400 w 642258"/>
                    <a:gd name="connsiteY11" fmla="*/ 59871 h 424543"/>
                    <a:gd name="connsiteX12" fmla="*/ 87086 w 642258"/>
                    <a:gd name="connsiteY12" fmla="*/ 141514 h 424543"/>
                    <a:gd name="connsiteX13" fmla="*/ 54429 w 642258"/>
                    <a:gd name="connsiteY13" fmla="*/ 244929 h 424543"/>
                    <a:gd name="connsiteX14" fmla="*/ 38100 w 642258"/>
                    <a:gd name="connsiteY14" fmla="*/ 332014 h 424543"/>
                    <a:gd name="connsiteX15" fmla="*/ 0 w 642258"/>
                    <a:gd name="connsiteY15" fmla="*/ 424543 h 42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2258" h="424543">
                      <a:moveTo>
                        <a:pt x="0" y="424543"/>
                      </a:moveTo>
                      <a:lnTo>
                        <a:pt x="141515" y="348343"/>
                      </a:lnTo>
                      <a:lnTo>
                        <a:pt x="288472" y="277586"/>
                      </a:lnTo>
                      <a:lnTo>
                        <a:pt x="419100" y="239486"/>
                      </a:lnTo>
                      <a:lnTo>
                        <a:pt x="555172" y="119743"/>
                      </a:lnTo>
                      <a:lnTo>
                        <a:pt x="625929" y="43543"/>
                      </a:lnTo>
                      <a:lnTo>
                        <a:pt x="642258" y="0"/>
                      </a:lnTo>
                      <a:lnTo>
                        <a:pt x="566058" y="10886"/>
                      </a:lnTo>
                      <a:lnTo>
                        <a:pt x="321129" y="59871"/>
                      </a:lnTo>
                      <a:lnTo>
                        <a:pt x="195943" y="87086"/>
                      </a:lnTo>
                      <a:lnTo>
                        <a:pt x="157843" y="81643"/>
                      </a:lnTo>
                      <a:lnTo>
                        <a:pt x="152400" y="59871"/>
                      </a:lnTo>
                      <a:lnTo>
                        <a:pt x="87086" y="141514"/>
                      </a:lnTo>
                      <a:lnTo>
                        <a:pt x="54429" y="244929"/>
                      </a:lnTo>
                      <a:lnTo>
                        <a:pt x="38100" y="332014"/>
                      </a:lnTo>
                      <a:lnTo>
                        <a:pt x="0" y="424543"/>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3" name="Freeform 1062"/>
                <p:cNvSpPr/>
                <p:nvPr/>
              </p:nvSpPr>
              <p:spPr bwMode="auto">
                <a:xfrm>
                  <a:off x="9720943" y="2917371"/>
                  <a:ext cx="468086" cy="359229"/>
                </a:xfrm>
                <a:custGeom>
                  <a:avLst/>
                  <a:gdLst>
                    <a:gd name="connsiteX0" fmla="*/ 0 w 468086"/>
                    <a:gd name="connsiteY0" fmla="*/ 27215 h 359229"/>
                    <a:gd name="connsiteX1" fmla="*/ 81643 w 468086"/>
                    <a:gd name="connsiteY1" fmla="*/ 97972 h 359229"/>
                    <a:gd name="connsiteX2" fmla="*/ 195943 w 468086"/>
                    <a:gd name="connsiteY2" fmla="*/ 239486 h 359229"/>
                    <a:gd name="connsiteX3" fmla="*/ 261257 w 468086"/>
                    <a:gd name="connsiteY3" fmla="*/ 321129 h 359229"/>
                    <a:gd name="connsiteX4" fmla="*/ 342900 w 468086"/>
                    <a:gd name="connsiteY4" fmla="*/ 359229 h 359229"/>
                    <a:gd name="connsiteX5" fmla="*/ 413657 w 468086"/>
                    <a:gd name="connsiteY5" fmla="*/ 342900 h 359229"/>
                    <a:gd name="connsiteX6" fmla="*/ 457200 w 468086"/>
                    <a:gd name="connsiteY6" fmla="*/ 293915 h 359229"/>
                    <a:gd name="connsiteX7" fmla="*/ 468086 w 468086"/>
                    <a:gd name="connsiteY7" fmla="*/ 146958 h 359229"/>
                    <a:gd name="connsiteX8" fmla="*/ 468086 w 468086"/>
                    <a:gd name="connsiteY8" fmla="*/ 65315 h 359229"/>
                    <a:gd name="connsiteX9" fmla="*/ 446314 w 468086"/>
                    <a:gd name="connsiteY9" fmla="*/ 0 h 359229"/>
                    <a:gd name="connsiteX10" fmla="*/ 353786 w 468086"/>
                    <a:gd name="connsiteY10" fmla="*/ 5443 h 359229"/>
                    <a:gd name="connsiteX11" fmla="*/ 157843 w 468086"/>
                    <a:gd name="connsiteY11" fmla="*/ 21772 h 359229"/>
                    <a:gd name="connsiteX12" fmla="*/ 0 w 468086"/>
                    <a:gd name="connsiteY12" fmla="*/ 27215 h 35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8086" h="359229">
                      <a:moveTo>
                        <a:pt x="0" y="27215"/>
                      </a:moveTo>
                      <a:lnTo>
                        <a:pt x="81643" y="97972"/>
                      </a:lnTo>
                      <a:lnTo>
                        <a:pt x="195943" y="239486"/>
                      </a:lnTo>
                      <a:lnTo>
                        <a:pt x="261257" y="321129"/>
                      </a:lnTo>
                      <a:lnTo>
                        <a:pt x="342900" y="359229"/>
                      </a:lnTo>
                      <a:lnTo>
                        <a:pt x="413657" y="342900"/>
                      </a:lnTo>
                      <a:lnTo>
                        <a:pt x="457200" y="293915"/>
                      </a:lnTo>
                      <a:lnTo>
                        <a:pt x="468086" y="146958"/>
                      </a:lnTo>
                      <a:lnTo>
                        <a:pt x="468086" y="65315"/>
                      </a:lnTo>
                      <a:lnTo>
                        <a:pt x="446314" y="0"/>
                      </a:lnTo>
                      <a:lnTo>
                        <a:pt x="353786" y="5443"/>
                      </a:lnTo>
                      <a:lnTo>
                        <a:pt x="157843" y="21772"/>
                      </a:lnTo>
                      <a:lnTo>
                        <a:pt x="0" y="27215"/>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4" name="Freeform 1063"/>
                <p:cNvSpPr/>
                <p:nvPr/>
              </p:nvSpPr>
              <p:spPr bwMode="auto">
                <a:xfrm>
                  <a:off x="5459186" y="3227614"/>
                  <a:ext cx="353785" cy="70757"/>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5" name="Freeform 1064"/>
                <p:cNvSpPr/>
                <p:nvPr/>
              </p:nvSpPr>
              <p:spPr bwMode="auto">
                <a:xfrm rot="21132279" flipH="1">
                  <a:off x="5868422" y="3202563"/>
                  <a:ext cx="358826" cy="64325"/>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6" name="Freeform 1065"/>
                <p:cNvSpPr/>
                <p:nvPr/>
              </p:nvSpPr>
              <p:spPr bwMode="auto">
                <a:xfrm>
                  <a:off x="9095418" y="3603653"/>
                  <a:ext cx="1182152" cy="825456"/>
                </a:xfrm>
                <a:custGeom>
                  <a:avLst/>
                  <a:gdLst>
                    <a:gd name="connsiteX0" fmla="*/ 998341 w 1182156"/>
                    <a:gd name="connsiteY0" fmla="*/ 617676 h 825455"/>
                    <a:gd name="connsiteX1" fmla="*/ 1086264 w 1182156"/>
                    <a:gd name="connsiteY1" fmla="*/ 570783 h 825455"/>
                    <a:gd name="connsiteX2" fmla="*/ 1139018 w 1182156"/>
                    <a:gd name="connsiteY2" fmla="*/ 512168 h 825455"/>
                    <a:gd name="connsiteX3" fmla="*/ 1180049 w 1182156"/>
                    <a:gd name="connsiteY3" fmla="*/ 324599 h 825455"/>
                    <a:gd name="connsiteX4" fmla="*/ 1174187 w 1182156"/>
                    <a:gd name="connsiteY4" fmla="*/ 189783 h 825455"/>
                    <a:gd name="connsiteX5" fmla="*/ 1156603 w 1182156"/>
                    <a:gd name="connsiteY5" fmla="*/ 107722 h 825455"/>
                    <a:gd name="connsiteX6" fmla="*/ 1103849 w 1182156"/>
                    <a:gd name="connsiteY6" fmla="*/ 8076 h 825455"/>
                    <a:gd name="connsiteX7" fmla="*/ 1062818 w 1182156"/>
                    <a:gd name="connsiteY7" fmla="*/ 8076 h 825455"/>
                    <a:gd name="connsiteX8" fmla="*/ 910418 w 1182156"/>
                    <a:gd name="connsiteY8" fmla="*/ 25660 h 825455"/>
                    <a:gd name="connsiteX9" fmla="*/ 681818 w 1182156"/>
                    <a:gd name="connsiteY9" fmla="*/ 49107 h 825455"/>
                    <a:gd name="connsiteX10" fmla="*/ 453218 w 1182156"/>
                    <a:gd name="connsiteY10" fmla="*/ 72553 h 825455"/>
                    <a:gd name="connsiteX11" fmla="*/ 294957 w 1182156"/>
                    <a:gd name="connsiteY11" fmla="*/ 101860 h 825455"/>
                    <a:gd name="connsiteX12" fmla="*/ 160141 w 1182156"/>
                    <a:gd name="connsiteY12" fmla="*/ 154614 h 825455"/>
                    <a:gd name="connsiteX13" fmla="*/ 89803 w 1182156"/>
                    <a:gd name="connsiteY13" fmla="*/ 224953 h 825455"/>
                    <a:gd name="connsiteX14" fmla="*/ 42911 w 1182156"/>
                    <a:gd name="connsiteY14" fmla="*/ 283568 h 825455"/>
                    <a:gd name="connsiteX15" fmla="*/ 1880 w 1182156"/>
                    <a:gd name="connsiteY15" fmla="*/ 348045 h 825455"/>
                    <a:gd name="connsiteX16" fmla="*/ 13603 w 1182156"/>
                    <a:gd name="connsiteY16" fmla="*/ 383214 h 825455"/>
                    <a:gd name="connsiteX17" fmla="*/ 72218 w 1182156"/>
                    <a:gd name="connsiteY17" fmla="*/ 529753 h 825455"/>
                    <a:gd name="connsiteX18" fmla="*/ 83941 w 1182156"/>
                    <a:gd name="connsiteY18" fmla="*/ 670430 h 825455"/>
                    <a:gd name="connsiteX19" fmla="*/ 72218 w 1182156"/>
                    <a:gd name="connsiteY19" fmla="*/ 758353 h 825455"/>
                    <a:gd name="connsiteX20" fmla="*/ 48772 w 1182156"/>
                    <a:gd name="connsiteY20" fmla="*/ 822830 h 825455"/>
                    <a:gd name="connsiteX21" fmla="*/ 107387 w 1182156"/>
                    <a:gd name="connsiteY21" fmla="*/ 805245 h 825455"/>
                    <a:gd name="connsiteX22" fmla="*/ 476664 w 1182156"/>
                    <a:gd name="connsiteY22" fmla="*/ 734907 h 825455"/>
                    <a:gd name="connsiteX23" fmla="*/ 857664 w 1182156"/>
                    <a:gd name="connsiteY23" fmla="*/ 670430 h 825455"/>
                    <a:gd name="connsiteX24" fmla="*/ 998341 w 1182156"/>
                    <a:gd name="connsiteY24" fmla="*/ 617676 h 82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2156" h="825455">
                      <a:moveTo>
                        <a:pt x="998341" y="617676"/>
                      </a:moveTo>
                      <a:cubicBezTo>
                        <a:pt x="1036441" y="601068"/>
                        <a:pt x="1062818" y="588368"/>
                        <a:pt x="1086264" y="570783"/>
                      </a:cubicBezTo>
                      <a:cubicBezTo>
                        <a:pt x="1109710" y="553198"/>
                        <a:pt x="1123387" y="553199"/>
                        <a:pt x="1139018" y="512168"/>
                      </a:cubicBezTo>
                      <a:cubicBezTo>
                        <a:pt x="1154649" y="471137"/>
                        <a:pt x="1174188" y="378330"/>
                        <a:pt x="1180049" y="324599"/>
                      </a:cubicBezTo>
                      <a:cubicBezTo>
                        <a:pt x="1185910" y="270868"/>
                        <a:pt x="1178095" y="225929"/>
                        <a:pt x="1174187" y="189783"/>
                      </a:cubicBezTo>
                      <a:cubicBezTo>
                        <a:pt x="1170279" y="153637"/>
                        <a:pt x="1168326" y="138006"/>
                        <a:pt x="1156603" y="107722"/>
                      </a:cubicBezTo>
                      <a:cubicBezTo>
                        <a:pt x="1144880" y="77437"/>
                        <a:pt x="1119480" y="24684"/>
                        <a:pt x="1103849" y="8076"/>
                      </a:cubicBezTo>
                      <a:cubicBezTo>
                        <a:pt x="1088218" y="-8532"/>
                        <a:pt x="1095056" y="5145"/>
                        <a:pt x="1062818" y="8076"/>
                      </a:cubicBezTo>
                      <a:cubicBezTo>
                        <a:pt x="1030580" y="11007"/>
                        <a:pt x="910418" y="25660"/>
                        <a:pt x="910418" y="25660"/>
                      </a:cubicBezTo>
                      <a:lnTo>
                        <a:pt x="681818" y="49107"/>
                      </a:lnTo>
                      <a:cubicBezTo>
                        <a:pt x="605618" y="56922"/>
                        <a:pt x="517695" y="63761"/>
                        <a:pt x="453218" y="72553"/>
                      </a:cubicBezTo>
                      <a:cubicBezTo>
                        <a:pt x="388741" y="81345"/>
                        <a:pt x="343803" y="88183"/>
                        <a:pt x="294957" y="101860"/>
                      </a:cubicBezTo>
                      <a:cubicBezTo>
                        <a:pt x="246111" y="115537"/>
                        <a:pt x="194333" y="134099"/>
                        <a:pt x="160141" y="154614"/>
                      </a:cubicBezTo>
                      <a:cubicBezTo>
                        <a:pt x="125949" y="175129"/>
                        <a:pt x="109341" y="203461"/>
                        <a:pt x="89803" y="224953"/>
                      </a:cubicBezTo>
                      <a:cubicBezTo>
                        <a:pt x="70265" y="246445"/>
                        <a:pt x="57565" y="263053"/>
                        <a:pt x="42911" y="283568"/>
                      </a:cubicBezTo>
                      <a:cubicBezTo>
                        <a:pt x="28257" y="304083"/>
                        <a:pt x="6765" y="331437"/>
                        <a:pt x="1880" y="348045"/>
                      </a:cubicBezTo>
                      <a:cubicBezTo>
                        <a:pt x="-3005" y="364653"/>
                        <a:pt x="1880" y="352929"/>
                        <a:pt x="13603" y="383214"/>
                      </a:cubicBezTo>
                      <a:cubicBezTo>
                        <a:pt x="25326" y="413499"/>
                        <a:pt x="60495" y="481884"/>
                        <a:pt x="72218" y="529753"/>
                      </a:cubicBezTo>
                      <a:cubicBezTo>
                        <a:pt x="83941" y="577622"/>
                        <a:pt x="83941" y="632330"/>
                        <a:pt x="83941" y="670430"/>
                      </a:cubicBezTo>
                      <a:cubicBezTo>
                        <a:pt x="83941" y="708530"/>
                        <a:pt x="78079" y="732953"/>
                        <a:pt x="72218" y="758353"/>
                      </a:cubicBezTo>
                      <a:cubicBezTo>
                        <a:pt x="66357" y="783753"/>
                        <a:pt x="42910" y="815015"/>
                        <a:pt x="48772" y="822830"/>
                      </a:cubicBezTo>
                      <a:cubicBezTo>
                        <a:pt x="54633" y="830645"/>
                        <a:pt x="36072" y="819899"/>
                        <a:pt x="107387" y="805245"/>
                      </a:cubicBezTo>
                      <a:cubicBezTo>
                        <a:pt x="178702" y="790591"/>
                        <a:pt x="351618" y="757376"/>
                        <a:pt x="476664" y="734907"/>
                      </a:cubicBezTo>
                      <a:cubicBezTo>
                        <a:pt x="601710" y="712438"/>
                        <a:pt x="768764" y="690945"/>
                        <a:pt x="857664" y="670430"/>
                      </a:cubicBezTo>
                      <a:cubicBezTo>
                        <a:pt x="946564" y="649915"/>
                        <a:pt x="960241" y="634284"/>
                        <a:pt x="998341" y="617676"/>
                      </a:cubicBez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7" name="Freeform 1066"/>
                <p:cNvSpPr/>
                <p:nvPr/>
              </p:nvSpPr>
              <p:spPr bwMode="auto">
                <a:xfrm>
                  <a:off x="1666793" y="3729775"/>
                  <a:ext cx="767302" cy="878239"/>
                </a:xfrm>
                <a:custGeom>
                  <a:avLst/>
                  <a:gdLst>
                    <a:gd name="connsiteX0" fmla="*/ 615960 w 737366"/>
                    <a:gd name="connsiteY0" fmla="*/ 769799 h 869548"/>
                    <a:gd name="connsiteX1" fmla="*/ 610099 w 737366"/>
                    <a:gd name="connsiteY1" fmla="*/ 576368 h 869548"/>
                    <a:gd name="connsiteX2" fmla="*/ 633545 w 737366"/>
                    <a:gd name="connsiteY2" fmla="*/ 388799 h 869548"/>
                    <a:gd name="connsiteX3" fmla="*/ 674575 w 737366"/>
                    <a:gd name="connsiteY3" fmla="*/ 277429 h 869548"/>
                    <a:gd name="connsiteX4" fmla="*/ 733191 w 737366"/>
                    <a:gd name="connsiteY4" fmla="*/ 183645 h 869548"/>
                    <a:gd name="connsiteX5" fmla="*/ 709745 w 737366"/>
                    <a:gd name="connsiteY5" fmla="*/ 171922 h 869548"/>
                    <a:gd name="connsiteX6" fmla="*/ 528037 w 737366"/>
                    <a:gd name="connsiteY6" fmla="*/ 171922 h 869548"/>
                    <a:gd name="connsiteX7" fmla="*/ 234960 w 737366"/>
                    <a:gd name="connsiteY7" fmla="*/ 171922 h 869548"/>
                    <a:gd name="connsiteX8" fmla="*/ 147037 w 737366"/>
                    <a:gd name="connsiteY8" fmla="*/ 148476 h 869548"/>
                    <a:gd name="connsiteX9" fmla="*/ 147037 w 737366"/>
                    <a:gd name="connsiteY9" fmla="*/ 83999 h 869548"/>
                    <a:gd name="connsiteX10" fmla="*/ 152899 w 737366"/>
                    <a:gd name="connsiteY10" fmla="*/ 7799 h 869548"/>
                    <a:gd name="connsiteX11" fmla="*/ 123591 w 737366"/>
                    <a:gd name="connsiteY11" fmla="*/ 7799 h 869548"/>
                    <a:gd name="connsiteX12" fmla="*/ 59114 w 737366"/>
                    <a:gd name="connsiteY12" fmla="*/ 54691 h 869548"/>
                    <a:gd name="connsiteX13" fmla="*/ 29806 w 737366"/>
                    <a:gd name="connsiteY13" fmla="*/ 66414 h 869548"/>
                    <a:gd name="connsiteX14" fmla="*/ 499 w 737366"/>
                    <a:gd name="connsiteY14" fmla="*/ 142614 h 869548"/>
                    <a:gd name="connsiteX15" fmla="*/ 12222 w 737366"/>
                    <a:gd name="connsiteY15" fmla="*/ 201229 h 869548"/>
                    <a:gd name="connsiteX16" fmla="*/ 23945 w 737366"/>
                    <a:gd name="connsiteY16" fmla="*/ 388799 h 869548"/>
                    <a:gd name="connsiteX17" fmla="*/ 47391 w 737366"/>
                    <a:gd name="connsiteY17" fmla="*/ 418106 h 869548"/>
                    <a:gd name="connsiteX18" fmla="*/ 82560 w 737366"/>
                    <a:gd name="connsiteY18" fmla="*/ 447414 h 869548"/>
                    <a:gd name="connsiteX19" fmla="*/ 100145 w 737366"/>
                    <a:gd name="connsiteY19" fmla="*/ 570506 h 869548"/>
                    <a:gd name="connsiteX20" fmla="*/ 64975 w 737366"/>
                    <a:gd name="connsiteY20" fmla="*/ 623260 h 869548"/>
                    <a:gd name="connsiteX21" fmla="*/ 141175 w 737366"/>
                    <a:gd name="connsiteY21" fmla="*/ 752214 h 869548"/>
                    <a:gd name="connsiteX22" fmla="*/ 229099 w 737366"/>
                    <a:gd name="connsiteY22" fmla="*/ 787383 h 869548"/>
                    <a:gd name="connsiteX23" fmla="*/ 317022 w 737366"/>
                    <a:gd name="connsiteY23" fmla="*/ 828414 h 869548"/>
                    <a:gd name="connsiteX24" fmla="*/ 469422 w 737366"/>
                    <a:gd name="connsiteY24" fmla="*/ 840137 h 869548"/>
                    <a:gd name="connsiteX25" fmla="*/ 563206 w 737366"/>
                    <a:gd name="connsiteY25" fmla="*/ 840137 h 869548"/>
                    <a:gd name="connsiteX26" fmla="*/ 651129 w 737366"/>
                    <a:gd name="connsiteY26" fmla="*/ 869445 h 869548"/>
                    <a:gd name="connsiteX27" fmla="*/ 645268 w 737366"/>
                    <a:gd name="connsiteY27" fmla="*/ 828414 h 869548"/>
                    <a:gd name="connsiteX28" fmla="*/ 615960 w 737366"/>
                    <a:gd name="connsiteY28" fmla="*/ 769799 h 86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366" h="869548">
                      <a:moveTo>
                        <a:pt x="615960" y="769799"/>
                      </a:moveTo>
                      <a:cubicBezTo>
                        <a:pt x="610099" y="727791"/>
                        <a:pt x="607168" y="639868"/>
                        <a:pt x="610099" y="576368"/>
                      </a:cubicBezTo>
                      <a:cubicBezTo>
                        <a:pt x="613030" y="512868"/>
                        <a:pt x="622799" y="438622"/>
                        <a:pt x="633545" y="388799"/>
                      </a:cubicBezTo>
                      <a:cubicBezTo>
                        <a:pt x="644291" y="338976"/>
                        <a:pt x="657967" y="311621"/>
                        <a:pt x="674575" y="277429"/>
                      </a:cubicBezTo>
                      <a:cubicBezTo>
                        <a:pt x="691183" y="243237"/>
                        <a:pt x="727329" y="201229"/>
                        <a:pt x="733191" y="183645"/>
                      </a:cubicBezTo>
                      <a:cubicBezTo>
                        <a:pt x="739053" y="166060"/>
                        <a:pt x="743937" y="173876"/>
                        <a:pt x="709745" y="171922"/>
                      </a:cubicBezTo>
                      <a:cubicBezTo>
                        <a:pt x="675553" y="169968"/>
                        <a:pt x="528037" y="171922"/>
                        <a:pt x="528037" y="171922"/>
                      </a:cubicBezTo>
                      <a:cubicBezTo>
                        <a:pt x="448906" y="171922"/>
                        <a:pt x="298460" y="175830"/>
                        <a:pt x="234960" y="171922"/>
                      </a:cubicBezTo>
                      <a:cubicBezTo>
                        <a:pt x="171460" y="168014"/>
                        <a:pt x="161691" y="163130"/>
                        <a:pt x="147037" y="148476"/>
                      </a:cubicBezTo>
                      <a:cubicBezTo>
                        <a:pt x="132383" y="133822"/>
                        <a:pt x="146060" y="107445"/>
                        <a:pt x="147037" y="83999"/>
                      </a:cubicBezTo>
                      <a:cubicBezTo>
                        <a:pt x="148014" y="60553"/>
                        <a:pt x="156807" y="20499"/>
                        <a:pt x="152899" y="7799"/>
                      </a:cubicBezTo>
                      <a:cubicBezTo>
                        <a:pt x="148991" y="-4901"/>
                        <a:pt x="139222" y="-16"/>
                        <a:pt x="123591" y="7799"/>
                      </a:cubicBezTo>
                      <a:cubicBezTo>
                        <a:pt x="107960" y="15614"/>
                        <a:pt x="74745" y="44922"/>
                        <a:pt x="59114" y="54691"/>
                      </a:cubicBezTo>
                      <a:cubicBezTo>
                        <a:pt x="43483" y="64460"/>
                        <a:pt x="39575" y="51760"/>
                        <a:pt x="29806" y="66414"/>
                      </a:cubicBezTo>
                      <a:cubicBezTo>
                        <a:pt x="20037" y="81068"/>
                        <a:pt x="3430" y="120145"/>
                        <a:pt x="499" y="142614"/>
                      </a:cubicBezTo>
                      <a:cubicBezTo>
                        <a:pt x="-2432" y="165083"/>
                        <a:pt x="8314" y="160198"/>
                        <a:pt x="12222" y="201229"/>
                      </a:cubicBezTo>
                      <a:cubicBezTo>
                        <a:pt x="16130" y="242260"/>
                        <a:pt x="18084" y="352653"/>
                        <a:pt x="23945" y="388799"/>
                      </a:cubicBezTo>
                      <a:cubicBezTo>
                        <a:pt x="29806" y="424945"/>
                        <a:pt x="37622" y="408337"/>
                        <a:pt x="47391" y="418106"/>
                      </a:cubicBezTo>
                      <a:cubicBezTo>
                        <a:pt x="57160" y="427875"/>
                        <a:pt x="73768" y="422014"/>
                        <a:pt x="82560" y="447414"/>
                      </a:cubicBezTo>
                      <a:cubicBezTo>
                        <a:pt x="91352" y="472814"/>
                        <a:pt x="103076" y="541198"/>
                        <a:pt x="100145" y="570506"/>
                      </a:cubicBezTo>
                      <a:cubicBezTo>
                        <a:pt x="97214" y="599814"/>
                        <a:pt x="58137" y="592975"/>
                        <a:pt x="64975" y="623260"/>
                      </a:cubicBezTo>
                      <a:cubicBezTo>
                        <a:pt x="71813" y="653545"/>
                        <a:pt x="113821" y="724860"/>
                        <a:pt x="141175" y="752214"/>
                      </a:cubicBezTo>
                      <a:cubicBezTo>
                        <a:pt x="168529" y="779568"/>
                        <a:pt x="199791" y="774683"/>
                        <a:pt x="229099" y="787383"/>
                      </a:cubicBezTo>
                      <a:cubicBezTo>
                        <a:pt x="258407" y="800083"/>
                        <a:pt x="276968" y="819622"/>
                        <a:pt x="317022" y="828414"/>
                      </a:cubicBezTo>
                      <a:cubicBezTo>
                        <a:pt x="357076" y="837206"/>
                        <a:pt x="428391" y="838183"/>
                        <a:pt x="469422" y="840137"/>
                      </a:cubicBezTo>
                      <a:cubicBezTo>
                        <a:pt x="510453" y="842091"/>
                        <a:pt x="532922" y="835252"/>
                        <a:pt x="563206" y="840137"/>
                      </a:cubicBezTo>
                      <a:cubicBezTo>
                        <a:pt x="593490" y="845022"/>
                        <a:pt x="637452" y="871399"/>
                        <a:pt x="651129" y="869445"/>
                      </a:cubicBezTo>
                      <a:cubicBezTo>
                        <a:pt x="664806" y="867491"/>
                        <a:pt x="649176" y="845022"/>
                        <a:pt x="645268" y="828414"/>
                      </a:cubicBezTo>
                      <a:cubicBezTo>
                        <a:pt x="641360" y="811806"/>
                        <a:pt x="621821" y="811807"/>
                        <a:pt x="615960" y="769799"/>
                      </a:cubicBez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51" name="Freeform 1050"/>
              <p:cNvSpPr/>
              <p:nvPr/>
            </p:nvSpPr>
            <p:spPr bwMode="auto">
              <a:xfrm>
                <a:off x="4071427" y="2729263"/>
                <a:ext cx="346361" cy="307598"/>
              </a:xfrm>
              <a:custGeom>
                <a:avLst/>
                <a:gdLst>
                  <a:gd name="connsiteX0" fmla="*/ 176028 w 346361"/>
                  <a:gd name="connsiteY0" fmla="*/ 306019 h 307598"/>
                  <a:gd name="connsiteX1" fmla="*/ 103292 w 346361"/>
                  <a:gd name="connsiteY1" fmla="*/ 288701 h 307598"/>
                  <a:gd name="connsiteX2" fmla="*/ 51338 w 346361"/>
                  <a:gd name="connsiteY2" fmla="*/ 226356 h 307598"/>
                  <a:gd name="connsiteX3" fmla="*/ 2847 w 346361"/>
                  <a:gd name="connsiteY3" fmla="*/ 184792 h 307598"/>
                  <a:gd name="connsiteX4" fmla="*/ 13238 w 346361"/>
                  <a:gd name="connsiteY4" fmla="*/ 136301 h 307598"/>
                  <a:gd name="connsiteX5" fmla="*/ 75583 w 346361"/>
                  <a:gd name="connsiteY5" fmla="*/ 67029 h 307598"/>
                  <a:gd name="connsiteX6" fmla="*/ 193347 w 346361"/>
                  <a:gd name="connsiteY6" fmla="*/ 8147 h 307598"/>
                  <a:gd name="connsiteX7" fmla="*/ 293792 w 346361"/>
                  <a:gd name="connsiteY7" fmla="*/ 1219 h 307598"/>
                  <a:gd name="connsiteX8" fmla="*/ 318038 w 346361"/>
                  <a:gd name="connsiteY8" fmla="*/ 15074 h 307598"/>
                  <a:gd name="connsiteX9" fmla="*/ 338819 w 346361"/>
                  <a:gd name="connsiteY9" fmla="*/ 91274 h 307598"/>
                  <a:gd name="connsiteX10" fmla="*/ 345747 w 346361"/>
                  <a:gd name="connsiteY10" fmla="*/ 150156 h 307598"/>
                  <a:gd name="connsiteX11" fmla="*/ 324965 w 346361"/>
                  <a:gd name="connsiteY11" fmla="*/ 271383 h 307598"/>
                  <a:gd name="connsiteX12" fmla="*/ 314574 w 346361"/>
                  <a:gd name="connsiteY12" fmla="*/ 295629 h 307598"/>
                  <a:gd name="connsiteX13" fmla="*/ 248765 w 346361"/>
                  <a:gd name="connsiteY13" fmla="*/ 306019 h 307598"/>
                  <a:gd name="connsiteX14" fmla="*/ 176028 w 346361"/>
                  <a:gd name="connsiteY14" fmla="*/ 306019 h 307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6361" h="307598">
                    <a:moveTo>
                      <a:pt x="176028" y="306019"/>
                    </a:moveTo>
                    <a:cubicBezTo>
                      <a:pt x="151783" y="303133"/>
                      <a:pt x="124074" y="301978"/>
                      <a:pt x="103292" y="288701"/>
                    </a:cubicBezTo>
                    <a:cubicBezTo>
                      <a:pt x="82510" y="275424"/>
                      <a:pt x="68079" y="243674"/>
                      <a:pt x="51338" y="226356"/>
                    </a:cubicBezTo>
                    <a:cubicBezTo>
                      <a:pt x="34597" y="209038"/>
                      <a:pt x="9197" y="199801"/>
                      <a:pt x="2847" y="184792"/>
                    </a:cubicBezTo>
                    <a:cubicBezTo>
                      <a:pt x="-3503" y="169783"/>
                      <a:pt x="1115" y="155928"/>
                      <a:pt x="13238" y="136301"/>
                    </a:cubicBezTo>
                    <a:cubicBezTo>
                      <a:pt x="25361" y="116674"/>
                      <a:pt x="45565" y="88388"/>
                      <a:pt x="75583" y="67029"/>
                    </a:cubicBezTo>
                    <a:cubicBezTo>
                      <a:pt x="105601" y="45670"/>
                      <a:pt x="156979" y="19115"/>
                      <a:pt x="193347" y="8147"/>
                    </a:cubicBezTo>
                    <a:cubicBezTo>
                      <a:pt x="229715" y="-2821"/>
                      <a:pt x="273010" y="65"/>
                      <a:pt x="293792" y="1219"/>
                    </a:cubicBezTo>
                    <a:cubicBezTo>
                      <a:pt x="314574" y="2373"/>
                      <a:pt x="310534" y="65"/>
                      <a:pt x="318038" y="15074"/>
                    </a:cubicBezTo>
                    <a:cubicBezTo>
                      <a:pt x="325543" y="30083"/>
                      <a:pt x="334201" y="68760"/>
                      <a:pt x="338819" y="91274"/>
                    </a:cubicBezTo>
                    <a:cubicBezTo>
                      <a:pt x="343437" y="113788"/>
                      <a:pt x="348056" y="120138"/>
                      <a:pt x="345747" y="150156"/>
                    </a:cubicBezTo>
                    <a:cubicBezTo>
                      <a:pt x="343438" y="180174"/>
                      <a:pt x="330160" y="247138"/>
                      <a:pt x="324965" y="271383"/>
                    </a:cubicBezTo>
                    <a:cubicBezTo>
                      <a:pt x="319770" y="295628"/>
                      <a:pt x="327274" y="289856"/>
                      <a:pt x="314574" y="295629"/>
                    </a:cubicBezTo>
                    <a:cubicBezTo>
                      <a:pt x="301874" y="301402"/>
                      <a:pt x="271856" y="304865"/>
                      <a:pt x="248765" y="306019"/>
                    </a:cubicBezTo>
                    <a:cubicBezTo>
                      <a:pt x="225674" y="307173"/>
                      <a:pt x="200273" y="308905"/>
                      <a:pt x="176028" y="306019"/>
                    </a:cubicBez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277" name="Rectangle 45"/>
            <p:cNvSpPr/>
            <p:nvPr/>
          </p:nvSpPr>
          <p:spPr bwMode="auto">
            <a:xfrm rot="230292">
              <a:off x="2602773" y="3268371"/>
              <a:ext cx="460625" cy="43709"/>
            </a:xfrm>
            <a:custGeom>
              <a:avLst/>
              <a:gdLst/>
              <a:ahLst/>
              <a:cxnLst/>
              <a:rect l="l" t="t" r="r" b="b"/>
              <a:pathLst>
                <a:path w="299154" h="28387">
                  <a:moveTo>
                    <a:pt x="0" y="0"/>
                  </a:moveTo>
                  <a:lnTo>
                    <a:pt x="299154" y="0"/>
                  </a:lnTo>
                  <a:cubicBezTo>
                    <a:pt x="289187" y="6892"/>
                    <a:pt x="281990" y="16870"/>
                    <a:pt x="278037" y="28387"/>
                  </a:cubicBezTo>
                  <a:lnTo>
                    <a:pt x="25768" y="28387"/>
                  </a:lnTo>
                  <a:cubicBezTo>
                    <a:pt x="19830" y="17590"/>
                    <a:pt x="10939" y="8836"/>
                    <a:pt x="191" y="2843"/>
                  </a:cubicBezTo>
                  <a:close/>
                </a:path>
              </a:pathLst>
            </a:custGeom>
            <a:pattFill prst="wdUpDiag">
              <a:fgClr>
                <a:schemeClr val="tx1"/>
              </a:fgClr>
              <a:bgClr>
                <a:srgbClr val="FFFF00"/>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172" name="Group 4"/>
          <p:cNvGrpSpPr>
            <a:grpSpLocks noChangeAspect="1"/>
          </p:cNvGrpSpPr>
          <p:nvPr/>
        </p:nvGrpSpPr>
        <p:grpSpPr bwMode="auto">
          <a:xfrm>
            <a:off x="2326974" y="3483251"/>
            <a:ext cx="174917" cy="443413"/>
            <a:chOff x="3008" y="60"/>
            <a:chExt cx="1658" cy="4203"/>
          </a:xfrm>
          <a:solidFill>
            <a:schemeClr val="bg1"/>
          </a:solidFill>
        </p:grpSpPr>
        <p:sp>
          <p:nvSpPr>
            <p:cNvPr id="1264" name="Freeform 6"/>
            <p:cNvSpPr>
              <a:spLocks/>
            </p:cNvSpPr>
            <p:nvPr/>
          </p:nvSpPr>
          <p:spPr bwMode="auto">
            <a:xfrm>
              <a:off x="3503" y="60"/>
              <a:ext cx="666" cy="665"/>
            </a:xfrm>
            <a:custGeom>
              <a:avLst/>
              <a:gdLst>
                <a:gd name="T0" fmla="*/ 333 w 666"/>
                <a:gd name="T1" fmla="*/ 0 h 665"/>
                <a:gd name="T2" fmla="*/ 382 w 666"/>
                <a:gd name="T3" fmla="*/ 3 h 665"/>
                <a:gd name="T4" fmla="*/ 429 w 666"/>
                <a:gd name="T5" fmla="*/ 14 h 665"/>
                <a:gd name="T6" fmla="*/ 474 w 666"/>
                <a:gd name="T7" fmla="*/ 30 h 665"/>
                <a:gd name="T8" fmla="*/ 514 w 666"/>
                <a:gd name="T9" fmla="*/ 53 h 665"/>
                <a:gd name="T10" fmla="*/ 551 w 666"/>
                <a:gd name="T11" fmla="*/ 81 h 665"/>
                <a:gd name="T12" fmla="*/ 585 w 666"/>
                <a:gd name="T13" fmla="*/ 114 h 665"/>
                <a:gd name="T14" fmla="*/ 613 w 666"/>
                <a:gd name="T15" fmla="*/ 151 h 665"/>
                <a:gd name="T16" fmla="*/ 636 w 666"/>
                <a:gd name="T17" fmla="*/ 192 h 665"/>
                <a:gd name="T18" fmla="*/ 652 w 666"/>
                <a:gd name="T19" fmla="*/ 237 h 665"/>
                <a:gd name="T20" fmla="*/ 662 w 666"/>
                <a:gd name="T21" fmla="*/ 284 h 665"/>
                <a:gd name="T22" fmla="*/ 666 w 666"/>
                <a:gd name="T23" fmla="*/ 332 h 665"/>
                <a:gd name="T24" fmla="*/ 662 w 666"/>
                <a:gd name="T25" fmla="*/ 382 h 665"/>
                <a:gd name="T26" fmla="*/ 652 w 666"/>
                <a:gd name="T27" fmla="*/ 429 h 665"/>
                <a:gd name="T28" fmla="*/ 636 w 666"/>
                <a:gd name="T29" fmla="*/ 472 h 665"/>
                <a:gd name="T30" fmla="*/ 613 w 666"/>
                <a:gd name="T31" fmla="*/ 513 h 665"/>
                <a:gd name="T32" fmla="*/ 585 w 666"/>
                <a:gd name="T33" fmla="*/ 551 h 665"/>
                <a:gd name="T34" fmla="*/ 551 w 666"/>
                <a:gd name="T35" fmla="*/ 583 h 665"/>
                <a:gd name="T36" fmla="*/ 514 w 666"/>
                <a:gd name="T37" fmla="*/ 611 h 665"/>
                <a:gd name="T38" fmla="*/ 474 w 666"/>
                <a:gd name="T39" fmla="*/ 634 h 665"/>
                <a:gd name="T40" fmla="*/ 429 w 666"/>
                <a:gd name="T41" fmla="*/ 651 h 665"/>
                <a:gd name="T42" fmla="*/ 382 w 666"/>
                <a:gd name="T43" fmla="*/ 662 h 665"/>
                <a:gd name="T44" fmla="*/ 333 w 666"/>
                <a:gd name="T45" fmla="*/ 665 h 665"/>
                <a:gd name="T46" fmla="*/ 284 w 666"/>
                <a:gd name="T47" fmla="*/ 662 h 665"/>
                <a:gd name="T48" fmla="*/ 237 w 666"/>
                <a:gd name="T49" fmla="*/ 651 h 665"/>
                <a:gd name="T50" fmla="*/ 193 w 666"/>
                <a:gd name="T51" fmla="*/ 634 h 665"/>
                <a:gd name="T52" fmla="*/ 151 w 666"/>
                <a:gd name="T53" fmla="*/ 611 h 665"/>
                <a:gd name="T54" fmla="*/ 114 w 666"/>
                <a:gd name="T55" fmla="*/ 583 h 665"/>
                <a:gd name="T56" fmla="*/ 82 w 666"/>
                <a:gd name="T57" fmla="*/ 551 h 665"/>
                <a:gd name="T58" fmla="*/ 54 w 666"/>
                <a:gd name="T59" fmla="*/ 513 h 665"/>
                <a:gd name="T60" fmla="*/ 31 w 666"/>
                <a:gd name="T61" fmla="*/ 472 h 665"/>
                <a:gd name="T62" fmla="*/ 15 w 666"/>
                <a:gd name="T63" fmla="*/ 429 h 665"/>
                <a:gd name="T64" fmla="*/ 3 w 666"/>
                <a:gd name="T65" fmla="*/ 382 h 665"/>
                <a:gd name="T66" fmla="*/ 0 w 666"/>
                <a:gd name="T67" fmla="*/ 332 h 665"/>
                <a:gd name="T68" fmla="*/ 3 w 666"/>
                <a:gd name="T69" fmla="*/ 284 h 665"/>
                <a:gd name="T70" fmla="*/ 15 w 666"/>
                <a:gd name="T71" fmla="*/ 237 h 665"/>
                <a:gd name="T72" fmla="*/ 31 w 666"/>
                <a:gd name="T73" fmla="*/ 192 h 665"/>
                <a:gd name="T74" fmla="*/ 54 w 666"/>
                <a:gd name="T75" fmla="*/ 151 h 665"/>
                <a:gd name="T76" fmla="*/ 82 w 666"/>
                <a:gd name="T77" fmla="*/ 114 h 665"/>
                <a:gd name="T78" fmla="*/ 114 w 666"/>
                <a:gd name="T79" fmla="*/ 81 h 665"/>
                <a:gd name="T80" fmla="*/ 151 w 666"/>
                <a:gd name="T81" fmla="*/ 53 h 665"/>
                <a:gd name="T82" fmla="*/ 193 w 666"/>
                <a:gd name="T83" fmla="*/ 30 h 665"/>
                <a:gd name="T84" fmla="*/ 237 w 666"/>
                <a:gd name="T85" fmla="*/ 14 h 665"/>
                <a:gd name="T86" fmla="*/ 284 w 666"/>
                <a:gd name="T87" fmla="*/ 3 h 665"/>
                <a:gd name="T88" fmla="*/ 333 w 666"/>
                <a:gd name="T89"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6" h="665">
                  <a:moveTo>
                    <a:pt x="333" y="0"/>
                  </a:moveTo>
                  <a:lnTo>
                    <a:pt x="382" y="3"/>
                  </a:lnTo>
                  <a:lnTo>
                    <a:pt x="429" y="14"/>
                  </a:lnTo>
                  <a:lnTo>
                    <a:pt x="474" y="30"/>
                  </a:lnTo>
                  <a:lnTo>
                    <a:pt x="514" y="53"/>
                  </a:lnTo>
                  <a:lnTo>
                    <a:pt x="551" y="81"/>
                  </a:lnTo>
                  <a:lnTo>
                    <a:pt x="585" y="114"/>
                  </a:lnTo>
                  <a:lnTo>
                    <a:pt x="613" y="151"/>
                  </a:lnTo>
                  <a:lnTo>
                    <a:pt x="636" y="192"/>
                  </a:lnTo>
                  <a:lnTo>
                    <a:pt x="652" y="237"/>
                  </a:lnTo>
                  <a:lnTo>
                    <a:pt x="662" y="284"/>
                  </a:lnTo>
                  <a:lnTo>
                    <a:pt x="666" y="332"/>
                  </a:lnTo>
                  <a:lnTo>
                    <a:pt x="662" y="382"/>
                  </a:lnTo>
                  <a:lnTo>
                    <a:pt x="652" y="429"/>
                  </a:lnTo>
                  <a:lnTo>
                    <a:pt x="636" y="472"/>
                  </a:lnTo>
                  <a:lnTo>
                    <a:pt x="613" y="513"/>
                  </a:lnTo>
                  <a:lnTo>
                    <a:pt x="585" y="551"/>
                  </a:lnTo>
                  <a:lnTo>
                    <a:pt x="551" y="583"/>
                  </a:lnTo>
                  <a:lnTo>
                    <a:pt x="514" y="611"/>
                  </a:lnTo>
                  <a:lnTo>
                    <a:pt x="474" y="634"/>
                  </a:lnTo>
                  <a:lnTo>
                    <a:pt x="429" y="651"/>
                  </a:lnTo>
                  <a:lnTo>
                    <a:pt x="382" y="662"/>
                  </a:lnTo>
                  <a:lnTo>
                    <a:pt x="333" y="665"/>
                  </a:lnTo>
                  <a:lnTo>
                    <a:pt x="284" y="662"/>
                  </a:lnTo>
                  <a:lnTo>
                    <a:pt x="237" y="651"/>
                  </a:lnTo>
                  <a:lnTo>
                    <a:pt x="193" y="634"/>
                  </a:lnTo>
                  <a:lnTo>
                    <a:pt x="151" y="611"/>
                  </a:lnTo>
                  <a:lnTo>
                    <a:pt x="114" y="583"/>
                  </a:lnTo>
                  <a:lnTo>
                    <a:pt x="82" y="551"/>
                  </a:lnTo>
                  <a:lnTo>
                    <a:pt x="54" y="513"/>
                  </a:lnTo>
                  <a:lnTo>
                    <a:pt x="31" y="472"/>
                  </a:lnTo>
                  <a:lnTo>
                    <a:pt x="15" y="429"/>
                  </a:lnTo>
                  <a:lnTo>
                    <a:pt x="3" y="382"/>
                  </a:lnTo>
                  <a:lnTo>
                    <a:pt x="0" y="332"/>
                  </a:lnTo>
                  <a:lnTo>
                    <a:pt x="3" y="284"/>
                  </a:lnTo>
                  <a:lnTo>
                    <a:pt x="15" y="237"/>
                  </a:lnTo>
                  <a:lnTo>
                    <a:pt x="31" y="192"/>
                  </a:lnTo>
                  <a:lnTo>
                    <a:pt x="54" y="151"/>
                  </a:lnTo>
                  <a:lnTo>
                    <a:pt x="82" y="114"/>
                  </a:lnTo>
                  <a:lnTo>
                    <a:pt x="114" y="81"/>
                  </a:lnTo>
                  <a:lnTo>
                    <a:pt x="151" y="53"/>
                  </a:lnTo>
                  <a:lnTo>
                    <a:pt x="193" y="30"/>
                  </a:lnTo>
                  <a:lnTo>
                    <a:pt x="237" y="14"/>
                  </a:lnTo>
                  <a:lnTo>
                    <a:pt x="284" y="3"/>
                  </a:lnTo>
                  <a:lnTo>
                    <a:pt x="3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5" name="Freeform 7"/>
            <p:cNvSpPr>
              <a:spLocks/>
            </p:cNvSpPr>
            <p:nvPr/>
          </p:nvSpPr>
          <p:spPr bwMode="auto">
            <a:xfrm>
              <a:off x="4363" y="2258"/>
              <a:ext cx="293" cy="232"/>
            </a:xfrm>
            <a:custGeom>
              <a:avLst/>
              <a:gdLst>
                <a:gd name="T0" fmla="*/ 0 w 293"/>
                <a:gd name="T1" fmla="*/ 0 h 232"/>
                <a:gd name="T2" fmla="*/ 293 w 293"/>
                <a:gd name="T3" fmla="*/ 0 h 232"/>
                <a:gd name="T4" fmla="*/ 292 w 293"/>
                <a:gd name="T5" fmla="*/ 45 h 232"/>
                <a:gd name="T6" fmla="*/ 292 w 293"/>
                <a:gd name="T7" fmla="*/ 47 h 232"/>
                <a:gd name="T8" fmla="*/ 292 w 293"/>
                <a:gd name="T9" fmla="*/ 55 h 232"/>
                <a:gd name="T10" fmla="*/ 290 w 293"/>
                <a:gd name="T11" fmla="*/ 64 h 232"/>
                <a:gd name="T12" fmla="*/ 290 w 293"/>
                <a:gd name="T13" fmla="*/ 72 h 232"/>
                <a:gd name="T14" fmla="*/ 290 w 293"/>
                <a:gd name="T15" fmla="*/ 74 h 232"/>
                <a:gd name="T16" fmla="*/ 287 w 293"/>
                <a:gd name="T17" fmla="*/ 101 h 232"/>
                <a:gd name="T18" fmla="*/ 280 w 293"/>
                <a:gd name="T19" fmla="*/ 126 h 232"/>
                <a:gd name="T20" fmla="*/ 271 w 293"/>
                <a:gd name="T21" fmla="*/ 151 h 232"/>
                <a:gd name="T22" fmla="*/ 260 w 293"/>
                <a:gd name="T23" fmla="*/ 172 h 232"/>
                <a:gd name="T24" fmla="*/ 245 w 293"/>
                <a:gd name="T25" fmla="*/ 191 h 232"/>
                <a:gd name="T26" fmla="*/ 228 w 293"/>
                <a:gd name="T27" fmla="*/ 208 h 232"/>
                <a:gd name="T28" fmla="*/ 206 w 293"/>
                <a:gd name="T29" fmla="*/ 221 h 232"/>
                <a:gd name="T30" fmla="*/ 181 w 293"/>
                <a:gd name="T31" fmla="*/ 230 h 232"/>
                <a:gd name="T32" fmla="*/ 153 w 293"/>
                <a:gd name="T33" fmla="*/ 232 h 232"/>
                <a:gd name="T34" fmla="*/ 122 w 293"/>
                <a:gd name="T35" fmla="*/ 230 h 232"/>
                <a:gd name="T36" fmla="*/ 95 w 293"/>
                <a:gd name="T37" fmla="*/ 219 h 232"/>
                <a:gd name="T38" fmla="*/ 71 w 293"/>
                <a:gd name="T39" fmla="*/ 205 h 232"/>
                <a:gd name="T40" fmla="*/ 50 w 293"/>
                <a:gd name="T41" fmla="*/ 186 h 232"/>
                <a:gd name="T42" fmla="*/ 32 w 293"/>
                <a:gd name="T43" fmla="*/ 163 h 232"/>
                <a:gd name="T44" fmla="*/ 19 w 293"/>
                <a:gd name="T45" fmla="*/ 137 h 232"/>
                <a:gd name="T46" fmla="*/ 9 w 293"/>
                <a:gd name="T47" fmla="*/ 110 h 232"/>
                <a:gd name="T48" fmla="*/ 4 w 293"/>
                <a:gd name="T49" fmla="*/ 80 h 232"/>
                <a:gd name="T50" fmla="*/ 0 w 293"/>
                <a:gd name="T51" fmla="*/ 63 h 232"/>
                <a:gd name="T52" fmla="*/ 0 w 293"/>
                <a:gd name="T53" fmla="*/ 61 h 232"/>
                <a:gd name="T54" fmla="*/ 0 w 293"/>
                <a:gd name="T55" fmla="*/ 59 h 232"/>
                <a:gd name="T56" fmla="*/ 0 w 293"/>
                <a:gd name="T57" fmla="*/ 55 h 232"/>
                <a:gd name="T58" fmla="*/ 0 w 293"/>
                <a:gd name="T59" fmla="*/ 52 h 232"/>
                <a:gd name="T60" fmla="*/ 0 w 293"/>
                <a:gd name="T61" fmla="*/ 49 h 232"/>
                <a:gd name="T62" fmla="*/ 0 w 293"/>
                <a:gd name="T63" fmla="*/ 46 h 232"/>
                <a:gd name="T64" fmla="*/ 0 w 293"/>
                <a:gd name="T6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3" h="232">
                  <a:moveTo>
                    <a:pt x="0" y="0"/>
                  </a:moveTo>
                  <a:lnTo>
                    <a:pt x="293" y="0"/>
                  </a:lnTo>
                  <a:lnTo>
                    <a:pt x="292" y="45"/>
                  </a:lnTo>
                  <a:lnTo>
                    <a:pt x="292" y="47"/>
                  </a:lnTo>
                  <a:lnTo>
                    <a:pt x="292" y="55"/>
                  </a:lnTo>
                  <a:lnTo>
                    <a:pt x="290" y="64"/>
                  </a:lnTo>
                  <a:lnTo>
                    <a:pt x="290" y="72"/>
                  </a:lnTo>
                  <a:lnTo>
                    <a:pt x="290" y="74"/>
                  </a:lnTo>
                  <a:lnTo>
                    <a:pt x="287" y="101"/>
                  </a:lnTo>
                  <a:lnTo>
                    <a:pt x="280" y="126"/>
                  </a:lnTo>
                  <a:lnTo>
                    <a:pt x="271" y="151"/>
                  </a:lnTo>
                  <a:lnTo>
                    <a:pt x="260" y="172"/>
                  </a:lnTo>
                  <a:lnTo>
                    <a:pt x="245" y="191"/>
                  </a:lnTo>
                  <a:lnTo>
                    <a:pt x="228" y="208"/>
                  </a:lnTo>
                  <a:lnTo>
                    <a:pt x="206" y="221"/>
                  </a:lnTo>
                  <a:lnTo>
                    <a:pt x="181" y="230"/>
                  </a:lnTo>
                  <a:lnTo>
                    <a:pt x="153" y="232"/>
                  </a:lnTo>
                  <a:lnTo>
                    <a:pt x="122" y="230"/>
                  </a:lnTo>
                  <a:lnTo>
                    <a:pt x="95" y="219"/>
                  </a:lnTo>
                  <a:lnTo>
                    <a:pt x="71" y="205"/>
                  </a:lnTo>
                  <a:lnTo>
                    <a:pt x="50" y="186"/>
                  </a:lnTo>
                  <a:lnTo>
                    <a:pt x="32" y="163"/>
                  </a:lnTo>
                  <a:lnTo>
                    <a:pt x="19" y="137"/>
                  </a:lnTo>
                  <a:lnTo>
                    <a:pt x="9" y="110"/>
                  </a:lnTo>
                  <a:lnTo>
                    <a:pt x="4" y="80"/>
                  </a:lnTo>
                  <a:lnTo>
                    <a:pt x="0" y="63"/>
                  </a:lnTo>
                  <a:lnTo>
                    <a:pt x="0" y="61"/>
                  </a:lnTo>
                  <a:lnTo>
                    <a:pt x="0" y="59"/>
                  </a:lnTo>
                  <a:lnTo>
                    <a:pt x="0" y="55"/>
                  </a:lnTo>
                  <a:lnTo>
                    <a:pt x="0" y="52"/>
                  </a:lnTo>
                  <a:lnTo>
                    <a:pt x="0" y="49"/>
                  </a:lnTo>
                  <a:lnTo>
                    <a:pt x="0" y="4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6" name="Freeform 8"/>
            <p:cNvSpPr>
              <a:spLocks/>
            </p:cNvSpPr>
            <p:nvPr/>
          </p:nvSpPr>
          <p:spPr bwMode="auto">
            <a:xfrm>
              <a:off x="3008" y="2258"/>
              <a:ext cx="291" cy="232"/>
            </a:xfrm>
            <a:custGeom>
              <a:avLst/>
              <a:gdLst>
                <a:gd name="T0" fmla="*/ 0 w 291"/>
                <a:gd name="T1" fmla="*/ 0 h 232"/>
                <a:gd name="T2" fmla="*/ 291 w 291"/>
                <a:gd name="T3" fmla="*/ 0 h 232"/>
                <a:gd name="T4" fmla="*/ 291 w 291"/>
                <a:gd name="T5" fmla="*/ 4 h 232"/>
                <a:gd name="T6" fmla="*/ 289 w 291"/>
                <a:gd name="T7" fmla="*/ 35 h 232"/>
                <a:gd name="T8" fmla="*/ 285 w 291"/>
                <a:gd name="T9" fmla="*/ 65 h 232"/>
                <a:gd name="T10" fmla="*/ 279 w 291"/>
                <a:gd name="T11" fmla="*/ 97 h 232"/>
                <a:gd name="T12" fmla="*/ 269 w 291"/>
                <a:gd name="T13" fmla="*/ 128 h 232"/>
                <a:gd name="T14" fmla="*/ 255 w 291"/>
                <a:gd name="T15" fmla="*/ 154 h 232"/>
                <a:gd name="T16" fmla="*/ 237 w 291"/>
                <a:gd name="T17" fmla="*/ 180 h 232"/>
                <a:gd name="T18" fmla="*/ 215 w 291"/>
                <a:gd name="T19" fmla="*/ 200 h 232"/>
                <a:gd name="T20" fmla="*/ 190 w 291"/>
                <a:gd name="T21" fmla="*/ 217 h 232"/>
                <a:gd name="T22" fmla="*/ 162 w 291"/>
                <a:gd name="T23" fmla="*/ 227 h 232"/>
                <a:gd name="T24" fmla="*/ 133 w 291"/>
                <a:gd name="T25" fmla="*/ 232 h 232"/>
                <a:gd name="T26" fmla="*/ 102 w 291"/>
                <a:gd name="T27" fmla="*/ 230 h 232"/>
                <a:gd name="T28" fmla="*/ 78 w 291"/>
                <a:gd name="T29" fmla="*/ 222 h 232"/>
                <a:gd name="T30" fmla="*/ 55 w 291"/>
                <a:gd name="T31" fmla="*/ 209 h 232"/>
                <a:gd name="T32" fmla="*/ 36 w 291"/>
                <a:gd name="T33" fmla="*/ 191 h 232"/>
                <a:gd name="T34" fmla="*/ 22 w 291"/>
                <a:gd name="T35" fmla="*/ 171 h 232"/>
                <a:gd name="T36" fmla="*/ 10 w 291"/>
                <a:gd name="T37" fmla="*/ 147 h 232"/>
                <a:gd name="T38" fmla="*/ 3 w 291"/>
                <a:gd name="T39" fmla="*/ 121 h 232"/>
                <a:gd name="T40" fmla="*/ 0 w 291"/>
                <a:gd name="T41" fmla="*/ 96 h 232"/>
                <a:gd name="T42" fmla="*/ 0 w 291"/>
                <a:gd name="T43" fmla="*/ 94 h 232"/>
                <a:gd name="T44" fmla="*/ 0 w 291"/>
                <a:gd name="T45" fmla="*/ 92 h 232"/>
                <a:gd name="T46" fmla="*/ 0 w 291"/>
                <a:gd name="T47" fmla="*/ 87 h 232"/>
                <a:gd name="T48" fmla="*/ 0 w 291"/>
                <a:gd name="T49" fmla="*/ 84 h 232"/>
                <a:gd name="T50" fmla="*/ 0 w 291"/>
                <a:gd name="T51" fmla="*/ 83 h 232"/>
                <a:gd name="T52" fmla="*/ 0 w 291"/>
                <a:gd name="T5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232">
                  <a:moveTo>
                    <a:pt x="0" y="0"/>
                  </a:moveTo>
                  <a:lnTo>
                    <a:pt x="291" y="0"/>
                  </a:lnTo>
                  <a:lnTo>
                    <a:pt x="291" y="4"/>
                  </a:lnTo>
                  <a:lnTo>
                    <a:pt x="289" y="35"/>
                  </a:lnTo>
                  <a:lnTo>
                    <a:pt x="285" y="65"/>
                  </a:lnTo>
                  <a:lnTo>
                    <a:pt x="279" y="97"/>
                  </a:lnTo>
                  <a:lnTo>
                    <a:pt x="269" y="128"/>
                  </a:lnTo>
                  <a:lnTo>
                    <a:pt x="255" y="154"/>
                  </a:lnTo>
                  <a:lnTo>
                    <a:pt x="237" y="180"/>
                  </a:lnTo>
                  <a:lnTo>
                    <a:pt x="215" y="200"/>
                  </a:lnTo>
                  <a:lnTo>
                    <a:pt x="190" y="217"/>
                  </a:lnTo>
                  <a:lnTo>
                    <a:pt x="162" y="227"/>
                  </a:lnTo>
                  <a:lnTo>
                    <a:pt x="133" y="232"/>
                  </a:lnTo>
                  <a:lnTo>
                    <a:pt x="102" y="230"/>
                  </a:lnTo>
                  <a:lnTo>
                    <a:pt x="78" y="222"/>
                  </a:lnTo>
                  <a:lnTo>
                    <a:pt x="55" y="209"/>
                  </a:lnTo>
                  <a:lnTo>
                    <a:pt x="36" y="191"/>
                  </a:lnTo>
                  <a:lnTo>
                    <a:pt x="22" y="171"/>
                  </a:lnTo>
                  <a:lnTo>
                    <a:pt x="10" y="147"/>
                  </a:lnTo>
                  <a:lnTo>
                    <a:pt x="3" y="121"/>
                  </a:lnTo>
                  <a:lnTo>
                    <a:pt x="0" y="96"/>
                  </a:lnTo>
                  <a:lnTo>
                    <a:pt x="0" y="94"/>
                  </a:lnTo>
                  <a:lnTo>
                    <a:pt x="0" y="92"/>
                  </a:lnTo>
                  <a:lnTo>
                    <a:pt x="0" y="87"/>
                  </a:lnTo>
                  <a:lnTo>
                    <a:pt x="0" y="84"/>
                  </a:lnTo>
                  <a:lnTo>
                    <a:pt x="0" y="8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7" name="Freeform 9"/>
            <p:cNvSpPr>
              <a:spLocks/>
            </p:cNvSpPr>
            <p:nvPr/>
          </p:nvSpPr>
          <p:spPr bwMode="auto">
            <a:xfrm>
              <a:off x="3389" y="2797"/>
              <a:ext cx="404" cy="1466"/>
            </a:xfrm>
            <a:custGeom>
              <a:avLst/>
              <a:gdLst>
                <a:gd name="T0" fmla="*/ 0 w 404"/>
                <a:gd name="T1" fmla="*/ 0 h 1466"/>
                <a:gd name="T2" fmla="*/ 399 w 404"/>
                <a:gd name="T3" fmla="*/ 0 h 1466"/>
                <a:gd name="T4" fmla="*/ 398 w 404"/>
                <a:gd name="T5" fmla="*/ 75 h 1466"/>
                <a:gd name="T6" fmla="*/ 398 w 404"/>
                <a:gd name="T7" fmla="*/ 790 h 1466"/>
                <a:gd name="T8" fmla="*/ 399 w 404"/>
                <a:gd name="T9" fmla="*/ 863 h 1466"/>
                <a:gd name="T10" fmla="*/ 402 w 404"/>
                <a:gd name="T11" fmla="*/ 937 h 1466"/>
                <a:gd name="T12" fmla="*/ 403 w 404"/>
                <a:gd name="T13" fmla="*/ 1012 h 1466"/>
                <a:gd name="T14" fmla="*/ 404 w 404"/>
                <a:gd name="T15" fmla="*/ 1087 h 1466"/>
                <a:gd name="T16" fmla="*/ 402 w 404"/>
                <a:gd name="T17" fmla="*/ 1163 h 1466"/>
                <a:gd name="T18" fmla="*/ 396 w 404"/>
                <a:gd name="T19" fmla="*/ 1237 h 1466"/>
                <a:gd name="T20" fmla="*/ 386 w 404"/>
                <a:gd name="T21" fmla="*/ 1308 h 1466"/>
                <a:gd name="T22" fmla="*/ 377 w 404"/>
                <a:gd name="T23" fmla="*/ 1340 h 1466"/>
                <a:gd name="T24" fmla="*/ 366 w 404"/>
                <a:gd name="T25" fmla="*/ 1369 h 1466"/>
                <a:gd name="T26" fmla="*/ 349 w 404"/>
                <a:gd name="T27" fmla="*/ 1397 h 1466"/>
                <a:gd name="T28" fmla="*/ 328 w 404"/>
                <a:gd name="T29" fmla="*/ 1420 h 1466"/>
                <a:gd name="T30" fmla="*/ 306 w 404"/>
                <a:gd name="T31" fmla="*/ 1438 h 1466"/>
                <a:gd name="T32" fmla="*/ 282 w 404"/>
                <a:gd name="T33" fmla="*/ 1451 h 1466"/>
                <a:gd name="T34" fmla="*/ 255 w 404"/>
                <a:gd name="T35" fmla="*/ 1460 h 1466"/>
                <a:gd name="T36" fmla="*/ 228 w 404"/>
                <a:gd name="T37" fmla="*/ 1465 h 1466"/>
                <a:gd name="T38" fmla="*/ 200 w 404"/>
                <a:gd name="T39" fmla="*/ 1466 h 1466"/>
                <a:gd name="T40" fmla="*/ 172 w 404"/>
                <a:gd name="T41" fmla="*/ 1465 h 1466"/>
                <a:gd name="T42" fmla="*/ 135 w 404"/>
                <a:gd name="T43" fmla="*/ 1457 h 1466"/>
                <a:gd name="T44" fmla="*/ 103 w 404"/>
                <a:gd name="T45" fmla="*/ 1443 h 1466"/>
                <a:gd name="T46" fmla="*/ 74 w 404"/>
                <a:gd name="T47" fmla="*/ 1426 h 1466"/>
                <a:gd name="T48" fmla="*/ 50 w 404"/>
                <a:gd name="T49" fmla="*/ 1404 h 1466"/>
                <a:gd name="T50" fmla="*/ 29 w 404"/>
                <a:gd name="T51" fmla="*/ 1377 h 1466"/>
                <a:gd name="T52" fmla="*/ 13 w 404"/>
                <a:gd name="T53" fmla="*/ 1346 h 1466"/>
                <a:gd name="T54" fmla="*/ 1 w 404"/>
                <a:gd name="T55" fmla="*/ 1312 h 1466"/>
                <a:gd name="T56" fmla="*/ 1 w 404"/>
                <a:gd name="T57" fmla="*/ 1295 h 1466"/>
                <a:gd name="T58" fmla="*/ 1 w 404"/>
                <a:gd name="T59" fmla="*/ 1294 h 1466"/>
                <a:gd name="T60" fmla="*/ 1 w 404"/>
                <a:gd name="T61" fmla="*/ 1291 h 1466"/>
                <a:gd name="T62" fmla="*/ 1 w 404"/>
                <a:gd name="T63" fmla="*/ 1281 h 1466"/>
                <a:gd name="T64" fmla="*/ 1 w 404"/>
                <a:gd name="T65" fmla="*/ 1279 h 1466"/>
                <a:gd name="T66" fmla="*/ 1 w 404"/>
                <a:gd name="T67" fmla="*/ 1277 h 1466"/>
                <a:gd name="T68" fmla="*/ 0 w 404"/>
                <a:gd name="T69" fmla="*/ 0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4" h="1466">
                  <a:moveTo>
                    <a:pt x="0" y="0"/>
                  </a:moveTo>
                  <a:lnTo>
                    <a:pt x="399" y="0"/>
                  </a:lnTo>
                  <a:lnTo>
                    <a:pt x="398" y="75"/>
                  </a:lnTo>
                  <a:lnTo>
                    <a:pt x="398" y="790"/>
                  </a:lnTo>
                  <a:lnTo>
                    <a:pt x="399" y="863"/>
                  </a:lnTo>
                  <a:lnTo>
                    <a:pt x="402" y="937"/>
                  </a:lnTo>
                  <a:lnTo>
                    <a:pt x="403" y="1012"/>
                  </a:lnTo>
                  <a:lnTo>
                    <a:pt x="404" y="1087"/>
                  </a:lnTo>
                  <a:lnTo>
                    <a:pt x="402" y="1163"/>
                  </a:lnTo>
                  <a:lnTo>
                    <a:pt x="396" y="1237"/>
                  </a:lnTo>
                  <a:lnTo>
                    <a:pt x="386" y="1308"/>
                  </a:lnTo>
                  <a:lnTo>
                    <a:pt x="377" y="1340"/>
                  </a:lnTo>
                  <a:lnTo>
                    <a:pt x="366" y="1369"/>
                  </a:lnTo>
                  <a:lnTo>
                    <a:pt x="349" y="1397"/>
                  </a:lnTo>
                  <a:lnTo>
                    <a:pt x="328" y="1420"/>
                  </a:lnTo>
                  <a:lnTo>
                    <a:pt x="306" y="1438"/>
                  </a:lnTo>
                  <a:lnTo>
                    <a:pt x="282" y="1451"/>
                  </a:lnTo>
                  <a:lnTo>
                    <a:pt x="255" y="1460"/>
                  </a:lnTo>
                  <a:lnTo>
                    <a:pt x="228" y="1465"/>
                  </a:lnTo>
                  <a:lnTo>
                    <a:pt x="200" y="1466"/>
                  </a:lnTo>
                  <a:lnTo>
                    <a:pt x="172" y="1465"/>
                  </a:lnTo>
                  <a:lnTo>
                    <a:pt x="135" y="1457"/>
                  </a:lnTo>
                  <a:lnTo>
                    <a:pt x="103" y="1443"/>
                  </a:lnTo>
                  <a:lnTo>
                    <a:pt x="74" y="1426"/>
                  </a:lnTo>
                  <a:lnTo>
                    <a:pt x="50" y="1404"/>
                  </a:lnTo>
                  <a:lnTo>
                    <a:pt x="29" y="1377"/>
                  </a:lnTo>
                  <a:lnTo>
                    <a:pt x="13" y="1346"/>
                  </a:lnTo>
                  <a:lnTo>
                    <a:pt x="1" y="1312"/>
                  </a:lnTo>
                  <a:lnTo>
                    <a:pt x="1" y="1295"/>
                  </a:lnTo>
                  <a:lnTo>
                    <a:pt x="1" y="1294"/>
                  </a:lnTo>
                  <a:lnTo>
                    <a:pt x="1" y="1291"/>
                  </a:lnTo>
                  <a:lnTo>
                    <a:pt x="1" y="1281"/>
                  </a:lnTo>
                  <a:lnTo>
                    <a:pt x="1" y="1279"/>
                  </a:lnTo>
                  <a:lnTo>
                    <a:pt x="1" y="127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8" name="Freeform 10"/>
            <p:cNvSpPr>
              <a:spLocks/>
            </p:cNvSpPr>
            <p:nvPr/>
          </p:nvSpPr>
          <p:spPr bwMode="auto">
            <a:xfrm>
              <a:off x="3875" y="2797"/>
              <a:ext cx="380" cy="1465"/>
            </a:xfrm>
            <a:custGeom>
              <a:avLst/>
              <a:gdLst>
                <a:gd name="T0" fmla="*/ 0 w 380"/>
                <a:gd name="T1" fmla="*/ 0 h 1465"/>
                <a:gd name="T2" fmla="*/ 378 w 380"/>
                <a:gd name="T3" fmla="*/ 0 h 1465"/>
                <a:gd name="T4" fmla="*/ 380 w 380"/>
                <a:gd name="T5" fmla="*/ 769 h 1465"/>
                <a:gd name="T6" fmla="*/ 378 w 380"/>
                <a:gd name="T7" fmla="*/ 895 h 1465"/>
                <a:gd name="T8" fmla="*/ 376 w 380"/>
                <a:gd name="T9" fmla="*/ 1021 h 1465"/>
                <a:gd name="T10" fmla="*/ 376 w 380"/>
                <a:gd name="T11" fmla="*/ 1147 h 1465"/>
                <a:gd name="T12" fmla="*/ 380 w 380"/>
                <a:gd name="T13" fmla="*/ 1274 h 1465"/>
                <a:gd name="T14" fmla="*/ 377 w 380"/>
                <a:gd name="T15" fmla="*/ 1309 h 1465"/>
                <a:gd name="T16" fmla="*/ 367 w 380"/>
                <a:gd name="T17" fmla="*/ 1344 h 1465"/>
                <a:gd name="T18" fmla="*/ 351 w 380"/>
                <a:gd name="T19" fmla="*/ 1374 h 1465"/>
                <a:gd name="T20" fmla="*/ 330 w 380"/>
                <a:gd name="T21" fmla="*/ 1402 h 1465"/>
                <a:gd name="T22" fmla="*/ 304 w 380"/>
                <a:gd name="T23" fmla="*/ 1425 h 1465"/>
                <a:gd name="T24" fmla="*/ 274 w 380"/>
                <a:gd name="T25" fmla="*/ 1444 h 1465"/>
                <a:gd name="T26" fmla="*/ 241 w 380"/>
                <a:gd name="T27" fmla="*/ 1457 h 1465"/>
                <a:gd name="T28" fmla="*/ 206 w 380"/>
                <a:gd name="T29" fmla="*/ 1463 h 1465"/>
                <a:gd name="T30" fmla="*/ 174 w 380"/>
                <a:gd name="T31" fmla="*/ 1465 h 1465"/>
                <a:gd name="T32" fmla="*/ 144 w 380"/>
                <a:gd name="T33" fmla="*/ 1460 h 1465"/>
                <a:gd name="T34" fmla="*/ 114 w 380"/>
                <a:gd name="T35" fmla="*/ 1451 h 1465"/>
                <a:gd name="T36" fmla="*/ 86 w 380"/>
                <a:gd name="T37" fmla="*/ 1438 h 1465"/>
                <a:gd name="T38" fmla="*/ 61 w 380"/>
                <a:gd name="T39" fmla="*/ 1421 h 1465"/>
                <a:gd name="T40" fmla="*/ 39 w 380"/>
                <a:gd name="T41" fmla="*/ 1400 h 1465"/>
                <a:gd name="T42" fmla="*/ 23 w 380"/>
                <a:gd name="T43" fmla="*/ 1376 h 1465"/>
                <a:gd name="T44" fmla="*/ 10 w 380"/>
                <a:gd name="T45" fmla="*/ 1347 h 1465"/>
                <a:gd name="T46" fmla="*/ 4 w 380"/>
                <a:gd name="T47" fmla="*/ 1317 h 1465"/>
                <a:gd name="T48" fmla="*/ 0 w 380"/>
                <a:gd name="T49" fmla="*/ 658 h 1465"/>
                <a:gd name="T50" fmla="*/ 0 w 380"/>
                <a:gd name="T51" fmla="*/ 0 h 1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0" h="1465">
                  <a:moveTo>
                    <a:pt x="0" y="0"/>
                  </a:moveTo>
                  <a:lnTo>
                    <a:pt x="378" y="0"/>
                  </a:lnTo>
                  <a:lnTo>
                    <a:pt x="380" y="769"/>
                  </a:lnTo>
                  <a:lnTo>
                    <a:pt x="378" y="895"/>
                  </a:lnTo>
                  <a:lnTo>
                    <a:pt x="376" y="1021"/>
                  </a:lnTo>
                  <a:lnTo>
                    <a:pt x="376" y="1147"/>
                  </a:lnTo>
                  <a:lnTo>
                    <a:pt x="380" y="1274"/>
                  </a:lnTo>
                  <a:lnTo>
                    <a:pt x="377" y="1309"/>
                  </a:lnTo>
                  <a:lnTo>
                    <a:pt x="367" y="1344"/>
                  </a:lnTo>
                  <a:lnTo>
                    <a:pt x="351" y="1374"/>
                  </a:lnTo>
                  <a:lnTo>
                    <a:pt x="330" y="1402"/>
                  </a:lnTo>
                  <a:lnTo>
                    <a:pt x="304" y="1425"/>
                  </a:lnTo>
                  <a:lnTo>
                    <a:pt x="274" y="1444"/>
                  </a:lnTo>
                  <a:lnTo>
                    <a:pt x="241" y="1457"/>
                  </a:lnTo>
                  <a:lnTo>
                    <a:pt x="206" y="1463"/>
                  </a:lnTo>
                  <a:lnTo>
                    <a:pt x="174" y="1465"/>
                  </a:lnTo>
                  <a:lnTo>
                    <a:pt x="144" y="1460"/>
                  </a:lnTo>
                  <a:lnTo>
                    <a:pt x="114" y="1451"/>
                  </a:lnTo>
                  <a:lnTo>
                    <a:pt x="86" y="1438"/>
                  </a:lnTo>
                  <a:lnTo>
                    <a:pt x="61" y="1421"/>
                  </a:lnTo>
                  <a:lnTo>
                    <a:pt x="39" y="1400"/>
                  </a:lnTo>
                  <a:lnTo>
                    <a:pt x="23" y="1376"/>
                  </a:lnTo>
                  <a:lnTo>
                    <a:pt x="10" y="1347"/>
                  </a:lnTo>
                  <a:lnTo>
                    <a:pt x="4" y="1317"/>
                  </a:lnTo>
                  <a:lnTo>
                    <a:pt x="0" y="65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9"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70"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71" name="Freeform 13"/>
            <p:cNvSpPr>
              <a:spLocks/>
            </p:cNvSpPr>
            <p:nvPr/>
          </p:nvSpPr>
          <p:spPr bwMode="auto">
            <a:xfrm>
              <a:off x="3861" y="789"/>
              <a:ext cx="238" cy="340"/>
            </a:xfrm>
            <a:custGeom>
              <a:avLst/>
              <a:gdLst>
                <a:gd name="T0" fmla="*/ 126 w 238"/>
                <a:gd name="T1" fmla="*/ 0 h 340"/>
                <a:gd name="T2" fmla="*/ 158 w 238"/>
                <a:gd name="T3" fmla="*/ 1 h 340"/>
                <a:gd name="T4" fmla="*/ 238 w 238"/>
                <a:gd name="T5" fmla="*/ 74 h 340"/>
                <a:gd name="T6" fmla="*/ 224 w 238"/>
                <a:gd name="T7" fmla="*/ 74 h 340"/>
                <a:gd name="T8" fmla="*/ 224 w 238"/>
                <a:gd name="T9" fmla="*/ 74 h 340"/>
                <a:gd name="T10" fmla="*/ 198 w 238"/>
                <a:gd name="T11" fmla="*/ 74 h 340"/>
                <a:gd name="T12" fmla="*/ 198 w 238"/>
                <a:gd name="T13" fmla="*/ 74 h 340"/>
                <a:gd name="T14" fmla="*/ 198 w 238"/>
                <a:gd name="T15" fmla="*/ 74 h 340"/>
                <a:gd name="T16" fmla="*/ 198 w 238"/>
                <a:gd name="T17" fmla="*/ 100 h 340"/>
                <a:gd name="T18" fmla="*/ 198 w 238"/>
                <a:gd name="T19" fmla="*/ 100 h 340"/>
                <a:gd name="T20" fmla="*/ 200 w 238"/>
                <a:gd name="T21" fmla="*/ 137 h 340"/>
                <a:gd name="T22" fmla="*/ 0 w 238"/>
                <a:gd name="T23" fmla="*/ 340 h 340"/>
                <a:gd name="T24" fmla="*/ 0 w 238"/>
                <a:gd name="T25" fmla="*/ 216 h 340"/>
                <a:gd name="T26" fmla="*/ 126 w 238"/>
                <a:gd name="T27"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340">
                  <a:moveTo>
                    <a:pt x="126" y="0"/>
                  </a:moveTo>
                  <a:lnTo>
                    <a:pt x="158" y="1"/>
                  </a:lnTo>
                  <a:lnTo>
                    <a:pt x="238" y="74"/>
                  </a:lnTo>
                  <a:lnTo>
                    <a:pt x="224" y="74"/>
                  </a:lnTo>
                  <a:lnTo>
                    <a:pt x="224" y="74"/>
                  </a:lnTo>
                  <a:lnTo>
                    <a:pt x="198" y="74"/>
                  </a:lnTo>
                  <a:lnTo>
                    <a:pt x="198" y="74"/>
                  </a:lnTo>
                  <a:lnTo>
                    <a:pt x="198" y="74"/>
                  </a:lnTo>
                  <a:lnTo>
                    <a:pt x="198" y="100"/>
                  </a:lnTo>
                  <a:lnTo>
                    <a:pt x="198" y="100"/>
                  </a:lnTo>
                  <a:lnTo>
                    <a:pt x="200" y="137"/>
                  </a:lnTo>
                  <a:lnTo>
                    <a:pt x="0" y="340"/>
                  </a:lnTo>
                  <a:lnTo>
                    <a:pt x="0" y="216"/>
                  </a:lnTo>
                  <a:lnTo>
                    <a:pt x="1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72" name="Freeform 14"/>
            <p:cNvSpPr>
              <a:spLocks noEditPoints="1"/>
            </p:cNvSpPr>
            <p:nvPr/>
          </p:nvSpPr>
          <p:spPr bwMode="auto">
            <a:xfrm>
              <a:off x="3856" y="791"/>
              <a:ext cx="810" cy="1963"/>
            </a:xfrm>
            <a:custGeom>
              <a:avLst/>
              <a:gdLst>
                <a:gd name="T0" fmla="*/ 66 w 810"/>
                <a:gd name="T1" fmla="*/ 1677 h 1963"/>
                <a:gd name="T2" fmla="*/ 336 w 810"/>
                <a:gd name="T3" fmla="*/ 1633 h 1963"/>
                <a:gd name="T4" fmla="*/ 261 w 810"/>
                <a:gd name="T5" fmla="*/ 375 h 1963"/>
                <a:gd name="T6" fmla="*/ 248 w 810"/>
                <a:gd name="T7" fmla="*/ 388 h 1963"/>
                <a:gd name="T8" fmla="*/ 243 w 810"/>
                <a:gd name="T9" fmla="*/ 421 h 1963"/>
                <a:gd name="T10" fmla="*/ 244 w 810"/>
                <a:gd name="T11" fmla="*/ 462 h 1963"/>
                <a:gd name="T12" fmla="*/ 243 w 810"/>
                <a:gd name="T13" fmla="*/ 516 h 1963"/>
                <a:gd name="T14" fmla="*/ 62 w 810"/>
                <a:gd name="T15" fmla="*/ 556 h 1963"/>
                <a:gd name="T16" fmla="*/ 333 w 810"/>
                <a:gd name="T17" fmla="*/ 516 h 1963"/>
                <a:gd name="T18" fmla="*/ 270 w 810"/>
                <a:gd name="T19" fmla="*/ 492 h 1963"/>
                <a:gd name="T20" fmla="*/ 277 w 810"/>
                <a:gd name="T21" fmla="*/ 468 h 1963"/>
                <a:gd name="T22" fmla="*/ 279 w 810"/>
                <a:gd name="T23" fmla="*/ 421 h 1963"/>
                <a:gd name="T24" fmla="*/ 274 w 810"/>
                <a:gd name="T25" fmla="*/ 388 h 1963"/>
                <a:gd name="T26" fmla="*/ 261 w 810"/>
                <a:gd name="T27" fmla="*/ 375 h 1963"/>
                <a:gd name="T28" fmla="*/ 356 w 810"/>
                <a:gd name="T29" fmla="*/ 8 h 1963"/>
                <a:gd name="T30" fmla="*/ 449 w 810"/>
                <a:gd name="T31" fmla="*/ 19 h 1963"/>
                <a:gd name="T32" fmla="*/ 540 w 810"/>
                <a:gd name="T33" fmla="*/ 43 h 1963"/>
                <a:gd name="T34" fmla="*/ 623 w 810"/>
                <a:gd name="T35" fmla="*/ 83 h 1963"/>
                <a:gd name="T36" fmla="*/ 695 w 810"/>
                <a:gd name="T37" fmla="*/ 143 h 1963"/>
                <a:gd name="T38" fmla="*/ 745 w 810"/>
                <a:gd name="T39" fmla="*/ 216 h 1963"/>
                <a:gd name="T40" fmla="*/ 774 w 810"/>
                <a:gd name="T41" fmla="*/ 295 h 1963"/>
                <a:gd name="T42" fmla="*/ 791 w 810"/>
                <a:gd name="T43" fmla="*/ 380 h 1963"/>
                <a:gd name="T44" fmla="*/ 805 w 810"/>
                <a:gd name="T45" fmla="*/ 590 h 1963"/>
                <a:gd name="T46" fmla="*/ 809 w 810"/>
                <a:gd name="T47" fmla="*/ 923 h 1963"/>
                <a:gd name="T48" fmla="*/ 803 w 810"/>
                <a:gd name="T49" fmla="*/ 1257 h 1963"/>
                <a:gd name="T50" fmla="*/ 507 w 810"/>
                <a:gd name="T51" fmla="*/ 1424 h 1963"/>
                <a:gd name="T52" fmla="*/ 503 w 810"/>
                <a:gd name="T53" fmla="*/ 567 h 1963"/>
                <a:gd name="T54" fmla="*/ 474 w 810"/>
                <a:gd name="T55" fmla="*/ 567 h 1963"/>
                <a:gd name="T56" fmla="*/ 434 w 810"/>
                <a:gd name="T57" fmla="*/ 569 h 1963"/>
                <a:gd name="T58" fmla="*/ 405 w 810"/>
                <a:gd name="T59" fmla="*/ 569 h 1963"/>
                <a:gd name="T60" fmla="*/ 397 w 810"/>
                <a:gd name="T61" fmla="*/ 574 h 1963"/>
                <a:gd name="T62" fmla="*/ 392 w 810"/>
                <a:gd name="T63" fmla="*/ 609 h 1963"/>
                <a:gd name="T64" fmla="*/ 390 w 810"/>
                <a:gd name="T65" fmla="*/ 673 h 1963"/>
                <a:gd name="T66" fmla="*/ 387 w 810"/>
                <a:gd name="T67" fmla="*/ 758 h 1963"/>
                <a:gd name="T68" fmla="*/ 388 w 810"/>
                <a:gd name="T69" fmla="*/ 858 h 1963"/>
                <a:gd name="T70" fmla="*/ 388 w 810"/>
                <a:gd name="T71" fmla="*/ 965 h 1963"/>
                <a:gd name="T72" fmla="*/ 391 w 810"/>
                <a:gd name="T73" fmla="*/ 1073 h 1963"/>
                <a:gd name="T74" fmla="*/ 392 w 810"/>
                <a:gd name="T75" fmla="*/ 1177 h 1963"/>
                <a:gd name="T76" fmla="*/ 395 w 810"/>
                <a:gd name="T77" fmla="*/ 1267 h 1963"/>
                <a:gd name="T78" fmla="*/ 396 w 810"/>
                <a:gd name="T79" fmla="*/ 1338 h 1963"/>
                <a:gd name="T80" fmla="*/ 397 w 810"/>
                <a:gd name="T81" fmla="*/ 1384 h 1963"/>
                <a:gd name="T82" fmla="*/ 397 w 810"/>
                <a:gd name="T83" fmla="*/ 1963 h 1963"/>
                <a:gd name="T84" fmla="*/ 5 w 810"/>
                <a:gd name="T85" fmla="*/ 375 h 1963"/>
                <a:gd name="T86" fmla="*/ 232 w 810"/>
                <a:gd name="T87" fmla="*/ 148 h 1963"/>
                <a:gd name="T88" fmla="*/ 232 w 810"/>
                <a:gd name="T89" fmla="*/ 147 h 1963"/>
                <a:gd name="T90" fmla="*/ 230 w 810"/>
                <a:gd name="T91" fmla="*/ 98 h 1963"/>
                <a:gd name="T92" fmla="*/ 274 w 810"/>
                <a:gd name="T93" fmla="*/ 98 h 1963"/>
                <a:gd name="T94" fmla="*/ 275 w 810"/>
                <a:gd name="T95" fmla="*/ 98 h 1963"/>
                <a:gd name="T96" fmla="*/ 291 w 810"/>
                <a:gd name="T97" fmla="*/ 79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0" h="1963">
                  <a:moveTo>
                    <a:pt x="66" y="1633"/>
                  </a:moveTo>
                  <a:lnTo>
                    <a:pt x="66" y="1677"/>
                  </a:lnTo>
                  <a:lnTo>
                    <a:pt x="336" y="1677"/>
                  </a:lnTo>
                  <a:lnTo>
                    <a:pt x="336" y="1633"/>
                  </a:lnTo>
                  <a:lnTo>
                    <a:pt x="66" y="1633"/>
                  </a:lnTo>
                  <a:close/>
                  <a:moveTo>
                    <a:pt x="261" y="375"/>
                  </a:moveTo>
                  <a:lnTo>
                    <a:pt x="254" y="379"/>
                  </a:lnTo>
                  <a:lnTo>
                    <a:pt x="248" y="388"/>
                  </a:lnTo>
                  <a:lnTo>
                    <a:pt x="244" y="403"/>
                  </a:lnTo>
                  <a:lnTo>
                    <a:pt x="243" y="421"/>
                  </a:lnTo>
                  <a:lnTo>
                    <a:pt x="243" y="451"/>
                  </a:lnTo>
                  <a:lnTo>
                    <a:pt x="244" y="462"/>
                  </a:lnTo>
                  <a:lnTo>
                    <a:pt x="243" y="462"/>
                  </a:lnTo>
                  <a:lnTo>
                    <a:pt x="243" y="516"/>
                  </a:lnTo>
                  <a:lnTo>
                    <a:pt x="62" y="516"/>
                  </a:lnTo>
                  <a:lnTo>
                    <a:pt x="62" y="556"/>
                  </a:lnTo>
                  <a:lnTo>
                    <a:pt x="333" y="556"/>
                  </a:lnTo>
                  <a:lnTo>
                    <a:pt x="333" y="516"/>
                  </a:lnTo>
                  <a:lnTo>
                    <a:pt x="270" y="516"/>
                  </a:lnTo>
                  <a:lnTo>
                    <a:pt x="270" y="492"/>
                  </a:lnTo>
                  <a:lnTo>
                    <a:pt x="275" y="482"/>
                  </a:lnTo>
                  <a:lnTo>
                    <a:pt x="277" y="468"/>
                  </a:lnTo>
                  <a:lnTo>
                    <a:pt x="279" y="451"/>
                  </a:lnTo>
                  <a:lnTo>
                    <a:pt x="279" y="421"/>
                  </a:lnTo>
                  <a:lnTo>
                    <a:pt x="277" y="403"/>
                  </a:lnTo>
                  <a:lnTo>
                    <a:pt x="274" y="388"/>
                  </a:lnTo>
                  <a:lnTo>
                    <a:pt x="268" y="379"/>
                  </a:lnTo>
                  <a:lnTo>
                    <a:pt x="261" y="375"/>
                  </a:lnTo>
                  <a:close/>
                  <a:moveTo>
                    <a:pt x="203" y="0"/>
                  </a:moveTo>
                  <a:lnTo>
                    <a:pt x="356" y="8"/>
                  </a:lnTo>
                  <a:lnTo>
                    <a:pt x="402" y="13"/>
                  </a:lnTo>
                  <a:lnTo>
                    <a:pt x="449" y="19"/>
                  </a:lnTo>
                  <a:lnTo>
                    <a:pt x="495" y="29"/>
                  </a:lnTo>
                  <a:lnTo>
                    <a:pt x="540" y="43"/>
                  </a:lnTo>
                  <a:lnTo>
                    <a:pt x="582" y="61"/>
                  </a:lnTo>
                  <a:lnTo>
                    <a:pt x="623" y="83"/>
                  </a:lnTo>
                  <a:lnTo>
                    <a:pt x="661" y="111"/>
                  </a:lnTo>
                  <a:lnTo>
                    <a:pt x="695" y="143"/>
                  </a:lnTo>
                  <a:lnTo>
                    <a:pt x="722" y="179"/>
                  </a:lnTo>
                  <a:lnTo>
                    <a:pt x="745" y="216"/>
                  </a:lnTo>
                  <a:lnTo>
                    <a:pt x="762" y="255"/>
                  </a:lnTo>
                  <a:lnTo>
                    <a:pt x="774" y="295"/>
                  </a:lnTo>
                  <a:lnTo>
                    <a:pt x="785" y="337"/>
                  </a:lnTo>
                  <a:lnTo>
                    <a:pt x="791" y="380"/>
                  </a:lnTo>
                  <a:lnTo>
                    <a:pt x="795" y="423"/>
                  </a:lnTo>
                  <a:lnTo>
                    <a:pt x="805" y="590"/>
                  </a:lnTo>
                  <a:lnTo>
                    <a:pt x="810" y="757"/>
                  </a:lnTo>
                  <a:lnTo>
                    <a:pt x="809" y="923"/>
                  </a:lnTo>
                  <a:lnTo>
                    <a:pt x="806" y="1090"/>
                  </a:lnTo>
                  <a:lnTo>
                    <a:pt x="803" y="1257"/>
                  </a:lnTo>
                  <a:lnTo>
                    <a:pt x="800" y="1424"/>
                  </a:lnTo>
                  <a:lnTo>
                    <a:pt x="507" y="1424"/>
                  </a:lnTo>
                  <a:lnTo>
                    <a:pt x="507" y="567"/>
                  </a:lnTo>
                  <a:lnTo>
                    <a:pt x="503" y="567"/>
                  </a:lnTo>
                  <a:lnTo>
                    <a:pt x="490" y="567"/>
                  </a:lnTo>
                  <a:lnTo>
                    <a:pt x="474" y="567"/>
                  </a:lnTo>
                  <a:lnTo>
                    <a:pt x="455" y="567"/>
                  </a:lnTo>
                  <a:lnTo>
                    <a:pt x="434" y="569"/>
                  </a:lnTo>
                  <a:lnTo>
                    <a:pt x="418" y="569"/>
                  </a:lnTo>
                  <a:lnTo>
                    <a:pt x="405" y="569"/>
                  </a:lnTo>
                  <a:lnTo>
                    <a:pt x="401" y="569"/>
                  </a:lnTo>
                  <a:lnTo>
                    <a:pt x="397" y="574"/>
                  </a:lnTo>
                  <a:lnTo>
                    <a:pt x="395" y="588"/>
                  </a:lnTo>
                  <a:lnTo>
                    <a:pt x="392" y="609"/>
                  </a:lnTo>
                  <a:lnTo>
                    <a:pt x="391" y="639"/>
                  </a:lnTo>
                  <a:lnTo>
                    <a:pt x="390" y="673"/>
                  </a:lnTo>
                  <a:lnTo>
                    <a:pt x="388" y="714"/>
                  </a:lnTo>
                  <a:lnTo>
                    <a:pt x="387" y="758"/>
                  </a:lnTo>
                  <a:lnTo>
                    <a:pt x="387" y="806"/>
                  </a:lnTo>
                  <a:lnTo>
                    <a:pt x="388" y="858"/>
                  </a:lnTo>
                  <a:lnTo>
                    <a:pt x="388" y="910"/>
                  </a:lnTo>
                  <a:lnTo>
                    <a:pt x="388" y="965"/>
                  </a:lnTo>
                  <a:lnTo>
                    <a:pt x="390" y="1019"/>
                  </a:lnTo>
                  <a:lnTo>
                    <a:pt x="391" y="1073"/>
                  </a:lnTo>
                  <a:lnTo>
                    <a:pt x="392" y="1126"/>
                  </a:lnTo>
                  <a:lnTo>
                    <a:pt x="392" y="1177"/>
                  </a:lnTo>
                  <a:lnTo>
                    <a:pt x="393" y="1224"/>
                  </a:lnTo>
                  <a:lnTo>
                    <a:pt x="395" y="1267"/>
                  </a:lnTo>
                  <a:lnTo>
                    <a:pt x="396" y="1305"/>
                  </a:lnTo>
                  <a:lnTo>
                    <a:pt x="396" y="1338"/>
                  </a:lnTo>
                  <a:lnTo>
                    <a:pt x="397" y="1365"/>
                  </a:lnTo>
                  <a:lnTo>
                    <a:pt x="397" y="1384"/>
                  </a:lnTo>
                  <a:lnTo>
                    <a:pt x="397" y="1396"/>
                  </a:lnTo>
                  <a:lnTo>
                    <a:pt x="397" y="1963"/>
                  </a:lnTo>
                  <a:lnTo>
                    <a:pt x="0" y="1963"/>
                  </a:lnTo>
                  <a:lnTo>
                    <a:pt x="5" y="375"/>
                  </a:lnTo>
                  <a:lnTo>
                    <a:pt x="229" y="148"/>
                  </a:lnTo>
                  <a:lnTo>
                    <a:pt x="232" y="148"/>
                  </a:lnTo>
                  <a:lnTo>
                    <a:pt x="232" y="147"/>
                  </a:lnTo>
                  <a:lnTo>
                    <a:pt x="232" y="147"/>
                  </a:lnTo>
                  <a:lnTo>
                    <a:pt x="232" y="147"/>
                  </a:lnTo>
                  <a:lnTo>
                    <a:pt x="230" y="98"/>
                  </a:lnTo>
                  <a:lnTo>
                    <a:pt x="272" y="98"/>
                  </a:lnTo>
                  <a:lnTo>
                    <a:pt x="274" y="98"/>
                  </a:lnTo>
                  <a:lnTo>
                    <a:pt x="274" y="98"/>
                  </a:lnTo>
                  <a:lnTo>
                    <a:pt x="275" y="98"/>
                  </a:lnTo>
                  <a:lnTo>
                    <a:pt x="275" y="97"/>
                  </a:lnTo>
                  <a:lnTo>
                    <a:pt x="291" y="79"/>
                  </a:lnTo>
                  <a:lnTo>
                    <a:pt x="2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73" name="Rectangle 1172"/>
          <p:cNvSpPr/>
          <p:nvPr/>
        </p:nvSpPr>
        <p:spPr bwMode="auto">
          <a:xfrm>
            <a:off x="595526" y="3217348"/>
            <a:ext cx="1954912" cy="800120"/>
          </a:xfrm>
          <a:prstGeom prst="rect">
            <a:avLst/>
          </a:prstGeom>
          <a:gradFill flip="none" rotWithShape="1">
            <a:gsLst>
              <a:gs pos="4583">
                <a:schemeClr val="accent4">
                  <a:alpha val="61000"/>
                </a:schemeClr>
              </a:gs>
              <a:gs pos="100000">
                <a:srgbClr val="000608">
                  <a:alpha val="0"/>
                </a:srgbClr>
              </a:gs>
              <a:gs pos="58000">
                <a:schemeClr val="accent4">
                  <a:lumMod val="60000"/>
                  <a:lumOff val="40000"/>
                  <a:alpha val="39000"/>
                </a:schemeClr>
              </a:gs>
              <a:gs pos="86000">
                <a:schemeClr val="tx2">
                  <a:lumMod val="60000"/>
                  <a:lumOff val="40000"/>
                  <a:alpha val="44000"/>
                </a:schemeClr>
              </a:gs>
              <a:gs pos="31000">
                <a:schemeClr val="tx1">
                  <a:lumMod val="75000"/>
                  <a:lumOff val="25000"/>
                  <a:alpha val="58000"/>
                </a:schemeClr>
              </a:gs>
            </a:gsLst>
            <a:lin ang="27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174" name="Group 1173"/>
          <p:cNvGrpSpPr/>
          <p:nvPr/>
        </p:nvGrpSpPr>
        <p:grpSpPr>
          <a:xfrm>
            <a:off x="262316" y="4094741"/>
            <a:ext cx="2009188" cy="354456"/>
            <a:chOff x="3911910" y="3987329"/>
            <a:chExt cx="4852522" cy="308456"/>
          </a:xfrm>
        </p:grpSpPr>
        <p:sp>
          <p:nvSpPr>
            <p:cNvPr id="1262" name="Rectangle 1261"/>
            <p:cNvSpPr/>
            <p:nvPr/>
          </p:nvSpPr>
          <p:spPr bwMode="auto">
            <a:xfrm>
              <a:off x="3914784"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63" name="Trapezoid 1262"/>
            <p:cNvSpPr/>
            <p:nvPr/>
          </p:nvSpPr>
          <p:spPr bwMode="auto">
            <a:xfrm>
              <a:off x="3911910" y="3987329"/>
              <a:ext cx="4852520" cy="262428"/>
            </a:xfrm>
            <a:prstGeom prst="trapezoid">
              <a:avLst>
                <a:gd name="adj" fmla="val 89982"/>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175" name="Rectangle 1174"/>
          <p:cNvSpPr/>
          <p:nvPr/>
        </p:nvSpPr>
        <p:spPr bwMode="auto">
          <a:xfrm flipH="1">
            <a:off x="621332" y="4013810"/>
            <a:ext cx="1954912" cy="2838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6" name="Rectangle 1175"/>
          <p:cNvSpPr/>
          <p:nvPr/>
        </p:nvSpPr>
        <p:spPr bwMode="auto">
          <a:xfrm rot="5400000" flipH="1">
            <a:off x="2168579" y="3620032"/>
            <a:ext cx="790221" cy="25807"/>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8" name="Rectangle 1067"/>
          <p:cNvSpPr/>
          <p:nvPr/>
        </p:nvSpPr>
        <p:spPr bwMode="auto">
          <a:xfrm>
            <a:off x="539252" y="2954647"/>
            <a:ext cx="2118674" cy="1129251"/>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7" name="Rectangle 1176"/>
          <p:cNvSpPr/>
          <p:nvPr/>
        </p:nvSpPr>
        <p:spPr bwMode="auto">
          <a:xfrm>
            <a:off x="692836" y="3514486"/>
            <a:ext cx="1004871" cy="684322"/>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8" name="Freeform 32"/>
          <p:cNvSpPr>
            <a:spLocks noEditPoints="1"/>
          </p:cNvSpPr>
          <p:nvPr/>
        </p:nvSpPr>
        <p:spPr bwMode="auto">
          <a:xfrm>
            <a:off x="686352" y="3468872"/>
            <a:ext cx="1030530" cy="872208"/>
          </a:xfrm>
          <a:custGeom>
            <a:avLst/>
            <a:gdLst>
              <a:gd name="T0" fmla="*/ 24 w 715"/>
              <a:gd name="T1" fmla="*/ 0 h 607"/>
              <a:gd name="T2" fmla="*/ 19 w 715"/>
              <a:gd name="T3" fmla="*/ 0 h 607"/>
              <a:gd name="T4" fmla="*/ 11 w 715"/>
              <a:gd name="T5" fmla="*/ 4 h 607"/>
              <a:gd name="T6" fmla="*/ 4 w 715"/>
              <a:gd name="T7" fmla="*/ 10 h 607"/>
              <a:gd name="T8" fmla="*/ 1 w 715"/>
              <a:gd name="T9" fmla="*/ 18 h 607"/>
              <a:gd name="T10" fmla="*/ 0 w 715"/>
              <a:gd name="T11" fmla="*/ 503 h 607"/>
              <a:gd name="T12" fmla="*/ 1 w 715"/>
              <a:gd name="T13" fmla="*/ 507 h 607"/>
              <a:gd name="T14" fmla="*/ 4 w 715"/>
              <a:gd name="T15" fmla="*/ 515 h 607"/>
              <a:gd name="T16" fmla="*/ 11 w 715"/>
              <a:gd name="T17" fmla="*/ 521 h 607"/>
              <a:gd name="T18" fmla="*/ 19 w 715"/>
              <a:gd name="T19" fmla="*/ 525 h 607"/>
              <a:gd name="T20" fmla="*/ 244 w 715"/>
              <a:gd name="T21" fmla="*/ 525 h 607"/>
              <a:gd name="T22" fmla="*/ 195 w 715"/>
              <a:gd name="T23" fmla="*/ 607 h 607"/>
              <a:gd name="T24" fmla="*/ 485 w 715"/>
              <a:gd name="T25" fmla="*/ 560 h 607"/>
              <a:gd name="T26" fmla="*/ 692 w 715"/>
              <a:gd name="T27" fmla="*/ 525 h 607"/>
              <a:gd name="T28" fmla="*/ 697 w 715"/>
              <a:gd name="T29" fmla="*/ 525 h 607"/>
              <a:gd name="T30" fmla="*/ 705 w 715"/>
              <a:gd name="T31" fmla="*/ 521 h 607"/>
              <a:gd name="T32" fmla="*/ 711 w 715"/>
              <a:gd name="T33" fmla="*/ 515 h 607"/>
              <a:gd name="T34" fmla="*/ 714 w 715"/>
              <a:gd name="T35" fmla="*/ 507 h 607"/>
              <a:gd name="T36" fmla="*/ 715 w 715"/>
              <a:gd name="T37" fmla="*/ 22 h 607"/>
              <a:gd name="T38" fmla="*/ 714 w 715"/>
              <a:gd name="T39" fmla="*/ 18 h 607"/>
              <a:gd name="T40" fmla="*/ 711 w 715"/>
              <a:gd name="T41" fmla="*/ 10 h 607"/>
              <a:gd name="T42" fmla="*/ 705 w 715"/>
              <a:gd name="T43" fmla="*/ 4 h 607"/>
              <a:gd name="T44" fmla="*/ 697 w 715"/>
              <a:gd name="T45" fmla="*/ 0 h 607"/>
              <a:gd name="T46" fmla="*/ 674 w 715"/>
              <a:gd name="T47" fmla="*/ 467 h 607"/>
              <a:gd name="T48" fmla="*/ 674 w 715"/>
              <a:gd name="T49" fmla="*/ 471 h 607"/>
              <a:gd name="T50" fmla="*/ 669 w 715"/>
              <a:gd name="T51" fmla="*/ 480 h 607"/>
              <a:gd name="T52" fmla="*/ 658 w 715"/>
              <a:gd name="T53" fmla="*/ 485 h 607"/>
              <a:gd name="T54" fmla="*/ 62 w 715"/>
              <a:gd name="T55" fmla="*/ 487 h 607"/>
              <a:gd name="T56" fmla="*/ 58 w 715"/>
              <a:gd name="T57" fmla="*/ 485 h 607"/>
              <a:gd name="T58" fmla="*/ 48 w 715"/>
              <a:gd name="T59" fmla="*/ 480 h 607"/>
              <a:gd name="T60" fmla="*/ 42 w 715"/>
              <a:gd name="T61" fmla="*/ 471 h 607"/>
              <a:gd name="T62" fmla="*/ 42 w 715"/>
              <a:gd name="T63" fmla="*/ 58 h 607"/>
              <a:gd name="T64" fmla="*/ 42 w 715"/>
              <a:gd name="T65" fmla="*/ 54 h 607"/>
              <a:gd name="T66" fmla="*/ 48 w 715"/>
              <a:gd name="T67" fmla="*/ 45 h 607"/>
              <a:gd name="T68" fmla="*/ 58 w 715"/>
              <a:gd name="T69" fmla="*/ 40 h 607"/>
              <a:gd name="T70" fmla="*/ 655 w 715"/>
              <a:gd name="T71" fmla="*/ 38 h 607"/>
              <a:gd name="T72" fmla="*/ 658 w 715"/>
              <a:gd name="T73" fmla="*/ 40 h 607"/>
              <a:gd name="T74" fmla="*/ 669 w 715"/>
              <a:gd name="T75" fmla="*/ 45 h 607"/>
              <a:gd name="T76" fmla="*/ 674 w 715"/>
              <a:gd name="T77" fmla="*/ 54 h 607"/>
              <a:gd name="T78" fmla="*/ 674 w 715"/>
              <a:gd name="T79" fmla="*/ 467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5" h="607">
                <a:moveTo>
                  <a:pt x="692" y="0"/>
                </a:moveTo>
                <a:lnTo>
                  <a:pt x="24" y="0"/>
                </a:lnTo>
                <a:lnTo>
                  <a:pt x="24" y="0"/>
                </a:lnTo>
                <a:lnTo>
                  <a:pt x="19" y="0"/>
                </a:lnTo>
                <a:lnTo>
                  <a:pt x="15" y="1"/>
                </a:lnTo>
                <a:lnTo>
                  <a:pt x="11" y="4"/>
                </a:lnTo>
                <a:lnTo>
                  <a:pt x="8" y="6"/>
                </a:lnTo>
                <a:lnTo>
                  <a:pt x="4" y="10"/>
                </a:lnTo>
                <a:lnTo>
                  <a:pt x="2" y="14"/>
                </a:lnTo>
                <a:lnTo>
                  <a:pt x="1" y="18"/>
                </a:lnTo>
                <a:lnTo>
                  <a:pt x="0" y="22"/>
                </a:lnTo>
                <a:lnTo>
                  <a:pt x="0" y="503"/>
                </a:lnTo>
                <a:lnTo>
                  <a:pt x="0" y="503"/>
                </a:lnTo>
                <a:lnTo>
                  <a:pt x="1" y="507"/>
                </a:lnTo>
                <a:lnTo>
                  <a:pt x="2" y="511"/>
                </a:lnTo>
                <a:lnTo>
                  <a:pt x="4" y="515"/>
                </a:lnTo>
                <a:lnTo>
                  <a:pt x="8" y="519"/>
                </a:lnTo>
                <a:lnTo>
                  <a:pt x="11" y="521"/>
                </a:lnTo>
                <a:lnTo>
                  <a:pt x="15" y="524"/>
                </a:lnTo>
                <a:lnTo>
                  <a:pt x="19" y="525"/>
                </a:lnTo>
                <a:lnTo>
                  <a:pt x="24" y="525"/>
                </a:lnTo>
                <a:lnTo>
                  <a:pt x="244" y="525"/>
                </a:lnTo>
                <a:lnTo>
                  <a:pt x="244" y="560"/>
                </a:lnTo>
                <a:lnTo>
                  <a:pt x="195" y="607"/>
                </a:lnTo>
                <a:lnTo>
                  <a:pt x="533" y="607"/>
                </a:lnTo>
                <a:lnTo>
                  <a:pt x="485" y="560"/>
                </a:lnTo>
                <a:lnTo>
                  <a:pt x="485" y="525"/>
                </a:lnTo>
                <a:lnTo>
                  <a:pt x="692" y="525"/>
                </a:lnTo>
                <a:lnTo>
                  <a:pt x="692" y="525"/>
                </a:lnTo>
                <a:lnTo>
                  <a:pt x="697" y="525"/>
                </a:lnTo>
                <a:lnTo>
                  <a:pt x="701" y="524"/>
                </a:lnTo>
                <a:lnTo>
                  <a:pt x="705" y="521"/>
                </a:lnTo>
                <a:lnTo>
                  <a:pt x="709" y="519"/>
                </a:lnTo>
                <a:lnTo>
                  <a:pt x="711" y="515"/>
                </a:lnTo>
                <a:lnTo>
                  <a:pt x="713" y="511"/>
                </a:lnTo>
                <a:lnTo>
                  <a:pt x="714" y="507"/>
                </a:lnTo>
                <a:lnTo>
                  <a:pt x="715" y="503"/>
                </a:lnTo>
                <a:lnTo>
                  <a:pt x="715" y="22"/>
                </a:lnTo>
                <a:lnTo>
                  <a:pt x="715" y="22"/>
                </a:lnTo>
                <a:lnTo>
                  <a:pt x="714" y="18"/>
                </a:lnTo>
                <a:lnTo>
                  <a:pt x="713" y="14"/>
                </a:lnTo>
                <a:lnTo>
                  <a:pt x="711" y="10"/>
                </a:lnTo>
                <a:lnTo>
                  <a:pt x="709" y="6"/>
                </a:lnTo>
                <a:lnTo>
                  <a:pt x="705" y="4"/>
                </a:lnTo>
                <a:lnTo>
                  <a:pt x="701" y="1"/>
                </a:lnTo>
                <a:lnTo>
                  <a:pt x="697" y="0"/>
                </a:lnTo>
                <a:lnTo>
                  <a:pt x="692" y="0"/>
                </a:lnTo>
                <a:close/>
                <a:moveTo>
                  <a:pt x="674" y="467"/>
                </a:moveTo>
                <a:lnTo>
                  <a:pt x="674" y="467"/>
                </a:lnTo>
                <a:lnTo>
                  <a:pt x="674" y="471"/>
                </a:lnTo>
                <a:lnTo>
                  <a:pt x="673" y="475"/>
                </a:lnTo>
                <a:lnTo>
                  <a:pt x="669" y="480"/>
                </a:lnTo>
                <a:lnTo>
                  <a:pt x="662" y="485"/>
                </a:lnTo>
                <a:lnTo>
                  <a:pt x="658" y="485"/>
                </a:lnTo>
                <a:lnTo>
                  <a:pt x="655" y="487"/>
                </a:lnTo>
                <a:lnTo>
                  <a:pt x="62" y="487"/>
                </a:lnTo>
                <a:lnTo>
                  <a:pt x="62" y="487"/>
                </a:lnTo>
                <a:lnTo>
                  <a:pt x="58" y="485"/>
                </a:lnTo>
                <a:lnTo>
                  <a:pt x="54" y="485"/>
                </a:lnTo>
                <a:lnTo>
                  <a:pt x="48" y="480"/>
                </a:lnTo>
                <a:lnTo>
                  <a:pt x="44" y="475"/>
                </a:lnTo>
                <a:lnTo>
                  <a:pt x="42" y="471"/>
                </a:lnTo>
                <a:lnTo>
                  <a:pt x="42" y="467"/>
                </a:lnTo>
                <a:lnTo>
                  <a:pt x="42" y="58"/>
                </a:lnTo>
                <a:lnTo>
                  <a:pt x="42" y="58"/>
                </a:lnTo>
                <a:lnTo>
                  <a:pt x="42" y="54"/>
                </a:lnTo>
                <a:lnTo>
                  <a:pt x="44" y="50"/>
                </a:lnTo>
                <a:lnTo>
                  <a:pt x="48" y="45"/>
                </a:lnTo>
                <a:lnTo>
                  <a:pt x="54" y="40"/>
                </a:lnTo>
                <a:lnTo>
                  <a:pt x="58" y="40"/>
                </a:lnTo>
                <a:lnTo>
                  <a:pt x="62" y="38"/>
                </a:lnTo>
                <a:lnTo>
                  <a:pt x="655" y="38"/>
                </a:lnTo>
                <a:lnTo>
                  <a:pt x="655" y="38"/>
                </a:lnTo>
                <a:lnTo>
                  <a:pt x="658" y="40"/>
                </a:lnTo>
                <a:lnTo>
                  <a:pt x="662" y="40"/>
                </a:lnTo>
                <a:lnTo>
                  <a:pt x="669" y="45"/>
                </a:lnTo>
                <a:lnTo>
                  <a:pt x="673" y="50"/>
                </a:lnTo>
                <a:lnTo>
                  <a:pt x="674" y="54"/>
                </a:lnTo>
                <a:lnTo>
                  <a:pt x="674" y="58"/>
                </a:lnTo>
                <a:lnTo>
                  <a:pt x="674" y="46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79" name="Rectangle 1178"/>
          <p:cNvSpPr/>
          <p:nvPr/>
        </p:nvSpPr>
        <p:spPr bwMode="auto">
          <a:xfrm>
            <a:off x="782422" y="3560370"/>
            <a:ext cx="209804" cy="159188"/>
          </a:xfrm>
          <a:prstGeom prst="rect">
            <a:avLst/>
          </a:prstGeom>
          <a:solidFill>
            <a:schemeClr val="tx1"/>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80" name="Rectangle 1179"/>
          <p:cNvSpPr/>
          <p:nvPr/>
        </p:nvSpPr>
        <p:spPr bwMode="auto">
          <a:xfrm>
            <a:off x="1027334" y="3560370"/>
            <a:ext cx="366974" cy="159188"/>
          </a:xfrm>
          <a:prstGeom prst="rect">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81" name="Rectangle 1180"/>
          <p:cNvSpPr/>
          <p:nvPr/>
        </p:nvSpPr>
        <p:spPr bwMode="auto">
          <a:xfrm>
            <a:off x="1429058" y="3560370"/>
            <a:ext cx="198108" cy="159188"/>
          </a:xfrm>
          <a:prstGeom prst="rect">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1182" name="Elbow Connector 1181"/>
          <p:cNvCxnSpPr/>
          <p:nvPr/>
        </p:nvCxnSpPr>
        <p:spPr>
          <a:xfrm rot="16200000" flipH="1">
            <a:off x="818491" y="3752209"/>
            <a:ext cx="139642" cy="87893"/>
          </a:xfrm>
          <a:prstGeom prst="bentConnector2">
            <a:avLst/>
          </a:prstGeom>
          <a:ln>
            <a:solidFill>
              <a:schemeClr val="accent3"/>
            </a:solidFill>
            <a:prstDash val="sysDot"/>
          </a:ln>
        </p:spPr>
        <p:style>
          <a:lnRef idx="1">
            <a:schemeClr val="accent1"/>
          </a:lnRef>
          <a:fillRef idx="0">
            <a:schemeClr val="accent1"/>
          </a:fillRef>
          <a:effectRef idx="0">
            <a:schemeClr val="accent1"/>
          </a:effectRef>
          <a:fontRef idx="minor">
            <a:schemeClr val="tx1"/>
          </a:fontRef>
        </p:style>
      </p:cxnSp>
      <p:grpSp>
        <p:nvGrpSpPr>
          <p:cNvPr id="1183" name="Group 1182"/>
          <p:cNvGrpSpPr>
            <a:grpSpLocks noChangeAspect="1"/>
          </p:cNvGrpSpPr>
          <p:nvPr/>
        </p:nvGrpSpPr>
        <p:grpSpPr>
          <a:xfrm>
            <a:off x="806977" y="3592098"/>
            <a:ext cx="69734" cy="69990"/>
            <a:chOff x="15749588" y="-1260475"/>
            <a:chExt cx="430213" cy="431800"/>
          </a:xfrm>
          <a:solidFill>
            <a:schemeClr val="accent3"/>
          </a:solidFill>
        </p:grpSpPr>
        <p:sp>
          <p:nvSpPr>
            <p:cNvPr id="1256" name="Freeform 89"/>
            <p:cNvSpPr>
              <a:spLocks/>
            </p:cNvSpPr>
            <p:nvPr/>
          </p:nvSpPr>
          <p:spPr bwMode="auto">
            <a:xfrm>
              <a:off x="15784513" y="-1065213"/>
              <a:ext cx="160338" cy="161925"/>
            </a:xfrm>
            <a:custGeom>
              <a:avLst/>
              <a:gdLst>
                <a:gd name="T0" fmla="*/ 263 w 303"/>
                <a:gd name="T1" fmla="*/ 0 h 308"/>
                <a:gd name="T2" fmla="*/ 0 w 303"/>
                <a:gd name="T3" fmla="*/ 263 h 308"/>
                <a:gd name="T4" fmla="*/ 0 w 303"/>
                <a:gd name="T5" fmla="*/ 263 h 308"/>
                <a:gd name="T6" fmla="*/ 15 w 303"/>
                <a:gd name="T7" fmla="*/ 286 h 308"/>
                <a:gd name="T8" fmla="*/ 33 w 303"/>
                <a:gd name="T9" fmla="*/ 308 h 308"/>
                <a:gd name="T10" fmla="*/ 303 w 303"/>
                <a:gd name="T11" fmla="*/ 40 h 308"/>
                <a:gd name="T12" fmla="*/ 263 w 303"/>
                <a:gd name="T13" fmla="*/ 0 h 308"/>
              </a:gdLst>
              <a:ahLst/>
              <a:cxnLst>
                <a:cxn ang="0">
                  <a:pos x="T0" y="T1"/>
                </a:cxn>
                <a:cxn ang="0">
                  <a:pos x="T2" y="T3"/>
                </a:cxn>
                <a:cxn ang="0">
                  <a:pos x="T4" y="T5"/>
                </a:cxn>
                <a:cxn ang="0">
                  <a:pos x="T6" y="T7"/>
                </a:cxn>
                <a:cxn ang="0">
                  <a:pos x="T8" y="T9"/>
                </a:cxn>
                <a:cxn ang="0">
                  <a:pos x="T10" y="T11"/>
                </a:cxn>
                <a:cxn ang="0">
                  <a:pos x="T12" y="T13"/>
                </a:cxn>
              </a:cxnLst>
              <a:rect l="0" t="0" r="r" b="b"/>
              <a:pathLst>
                <a:path w="303" h="308">
                  <a:moveTo>
                    <a:pt x="263" y="0"/>
                  </a:moveTo>
                  <a:lnTo>
                    <a:pt x="0" y="263"/>
                  </a:lnTo>
                  <a:lnTo>
                    <a:pt x="0" y="263"/>
                  </a:lnTo>
                  <a:lnTo>
                    <a:pt x="15" y="286"/>
                  </a:lnTo>
                  <a:lnTo>
                    <a:pt x="33" y="308"/>
                  </a:lnTo>
                  <a:lnTo>
                    <a:pt x="303" y="40"/>
                  </a:lnTo>
                  <a:lnTo>
                    <a:pt x="2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57" name="Freeform 90"/>
            <p:cNvSpPr>
              <a:spLocks/>
            </p:cNvSpPr>
            <p:nvPr/>
          </p:nvSpPr>
          <p:spPr bwMode="auto">
            <a:xfrm>
              <a:off x="15749588" y="-1147763"/>
              <a:ext cx="114300" cy="133350"/>
            </a:xfrm>
            <a:custGeom>
              <a:avLst/>
              <a:gdLst>
                <a:gd name="T0" fmla="*/ 176 w 215"/>
                <a:gd name="T1" fmla="*/ 0 h 250"/>
                <a:gd name="T2" fmla="*/ 0 w 215"/>
                <a:gd name="T3" fmla="*/ 176 h 250"/>
                <a:gd name="T4" fmla="*/ 0 w 215"/>
                <a:gd name="T5" fmla="*/ 176 h 250"/>
                <a:gd name="T6" fmla="*/ 0 w 215"/>
                <a:gd name="T7" fmla="*/ 194 h 250"/>
                <a:gd name="T8" fmla="*/ 0 w 215"/>
                <a:gd name="T9" fmla="*/ 213 h 250"/>
                <a:gd name="T10" fmla="*/ 2 w 215"/>
                <a:gd name="T11" fmla="*/ 232 h 250"/>
                <a:gd name="T12" fmla="*/ 3 w 215"/>
                <a:gd name="T13" fmla="*/ 250 h 250"/>
                <a:gd name="T14" fmla="*/ 215 w 215"/>
                <a:gd name="T15" fmla="*/ 39 h 250"/>
                <a:gd name="T16" fmla="*/ 176 w 215"/>
                <a:gd name="T1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50">
                  <a:moveTo>
                    <a:pt x="176" y="0"/>
                  </a:moveTo>
                  <a:lnTo>
                    <a:pt x="0" y="176"/>
                  </a:lnTo>
                  <a:lnTo>
                    <a:pt x="0" y="176"/>
                  </a:lnTo>
                  <a:lnTo>
                    <a:pt x="0" y="194"/>
                  </a:lnTo>
                  <a:lnTo>
                    <a:pt x="0" y="213"/>
                  </a:lnTo>
                  <a:lnTo>
                    <a:pt x="2" y="232"/>
                  </a:lnTo>
                  <a:lnTo>
                    <a:pt x="3" y="250"/>
                  </a:lnTo>
                  <a:lnTo>
                    <a:pt x="215" y="39"/>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58" name="Freeform 91"/>
            <p:cNvSpPr>
              <a:spLocks/>
            </p:cNvSpPr>
            <p:nvPr/>
          </p:nvSpPr>
          <p:spPr bwMode="auto">
            <a:xfrm>
              <a:off x="15822613" y="-1187450"/>
              <a:ext cx="357188" cy="358775"/>
            </a:xfrm>
            <a:custGeom>
              <a:avLst/>
              <a:gdLst>
                <a:gd name="T0" fmla="*/ 0 w 675"/>
                <a:gd name="T1" fmla="*/ 574 h 676"/>
                <a:gd name="T2" fmla="*/ 14 w 675"/>
                <a:gd name="T3" fmla="*/ 587 h 676"/>
                <a:gd name="T4" fmla="*/ 46 w 675"/>
                <a:gd name="T5" fmla="*/ 610 h 676"/>
                <a:gd name="T6" fmla="*/ 80 w 675"/>
                <a:gd name="T7" fmla="*/ 629 h 676"/>
                <a:gd name="T8" fmla="*/ 115 w 675"/>
                <a:gd name="T9" fmla="*/ 646 h 676"/>
                <a:gd name="T10" fmla="*/ 151 w 675"/>
                <a:gd name="T11" fmla="*/ 658 h 676"/>
                <a:gd name="T12" fmla="*/ 186 w 675"/>
                <a:gd name="T13" fmla="*/ 667 h 676"/>
                <a:gd name="T14" fmla="*/ 224 w 675"/>
                <a:gd name="T15" fmla="*/ 673 h 676"/>
                <a:gd name="T16" fmla="*/ 262 w 675"/>
                <a:gd name="T17" fmla="*/ 676 h 676"/>
                <a:gd name="T18" fmla="*/ 299 w 675"/>
                <a:gd name="T19" fmla="*/ 674 h 676"/>
                <a:gd name="T20" fmla="*/ 336 w 675"/>
                <a:gd name="T21" fmla="*/ 670 h 676"/>
                <a:gd name="T22" fmla="*/ 373 w 675"/>
                <a:gd name="T23" fmla="*/ 661 h 676"/>
                <a:gd name="T24" fmla="*/ 409 w 675"/>
                <a:gd name="T25" fmla="*/ 650 h 676"/>
                <a:gd name="T26" fmla="*/ 444 w 675"/>
                <a:gd name="T27" fmla="*/ 635 h 676"/>
                <a:gd name="T28" fmla="*/ 478 w 675"/>
                <a:gd name="T29" fmla="*/ 617 h 676"/>
                <a:gd name="T30" fmla="*/ 511 w 675"/>
                <a:gd name="T31" fmla="*/ 595 h 676"/>
                <a:gd name="T32" fmla="*/ 541 w 675"/>
                <a:gd name="T33" fmla="*/ 570 h 676"/>
                <a:gd name="T34" fmla="*/ 555 w 675"/>
                <a:gd name="T35" fmla="*/ 556 h 676"/>
                <a:gd name="T36" fmla="*/ 583 w 675"/>
                <a:gd name="T37" fmla="*/ 526 h 676"/>
                <a:gd name="T38" fmla="*/ 605 w 675"/>
                <a:gd name="T39" fmla="*/ 495 h 676"/>
                <a:gd name="T40" fmla="*/ 626 w 675"/>
                <a:gd name="T41" fmla="*/ 461 h 676"/>
                <a:gd name="T42" fmla="*/ 642 w 675"/>
                <a:gd name="T43" fmla="*/ 428 h 676"/>
                <a:gd name="T44" fmla="*/ 656 w 675"/>
                <a:gd name="T45" fmla="*/ 392 h 676"/>
                <a:gd name="T46" fmla="*/ 665 w 675"/>
                <a:gd name="T47" fmla="*/ 355 h 676"/>
                <a:gd name="T48" fmla="*/ 671 w 675"/>
                <a:gd name="T49" fmla="*/ 318 h 676"/>
                <a:gd name="T50" fmla="*/ 675 w 675"/>
                <a:gd name="T51" fmla="*/ 281 h 676"/>
                <a:gd name="T52" fmla="*/ 674 w 675"/>
                <a:gd name="T53" fmla="*/ 243 h 676"/>
                <a:gd name="T54" fmla="*/ 670 w 675"/>
                <a:gd name="T55" fmla="*/ 206 h 676"/>
                <a:gd name="T56" fmla="*/ 663 w 675"/>
                <a:gd name="T57" fmla="*/ 169 h 676"/>
                <a:gd name="T58" fmla="*/ 651 w 675"/>
                <a:gd name="T59" fmla="*/ 133 h 676"/>
                <a:gd name="T60" fmla="*/ 636 w 675"/>
                <a:gd name="T61" fmla="*/ 97 h 676"/>
                <a:gd name="T62" fmla="*/ 620 w 675"/>
                <a:gd name="T63" fmla="*/ 64 h 676"/>
                <a:gd name="T64" fmla="*/ 598 w 675"/>
                <a:gd name="T65" fmla="*/ 30 h 676"/>
                <a:gd name="T66" fmla="*/ 573 w 675"/>
                <a:gd name="T67" fmla="*/ 0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5" h="676">
                  <a:moveTo>
                    <a:pt x="573" y="0"/>
                  </a:moveTo>
                  <a:lnTo>
                    <a:pt x="0" y="574"/>
                  </a:lnTo>
                  <a:lnTo>
                    <a:pt x="0" y="574"/>
                  </a:lnTo>
                  <a:lnTo>
                    <a:pt x="14" y="587"/>
                  </a:lnTo>
                  <a:lnTo>
                    <a:pt x="31" y="599"/>
                  </a:lnTo>
                  <a:lnTo>
                    <a:pt x="46" y="610"/>
                  </a:lnTo>
                  <a:lnTo>
                    <a:pt x="63" y="619"/>
                  </a:lnTo>
                  <a:lnTo>
                    <a:pt x="80" y="629"/>
                  </a:lnTo>
                  <a:lnTo>
                    <a:pt x="97" y="637"/>
                  </a:lnTo>
                  <a:lnTo>
                    <a:pt x="115" y="646"/>
                  </a:lnTo>
                  <a:lnTo>
                    <a:pt x="133" y="652"/>
                  </a:lnTo>
                  <a:lnTo>
                    <a:pt x="151" y="658"/>
                  </a:lnTo>
                  <a:lnTo>
                    <a:pt x="168" y="662"/>
                  </a:lnTo>
                  <a:lnTo>
                    <a:pt x="186" y="667"/>
                  </a:lnTo>
                  <a:lnTo>
                    <a:pt x="206" y="671"/>
                  </a:lnTo>
                  <a:lnTo>
                    <a:pt x="224" y="673"/>
                  </a:lnTo>
                  <a:lnTo>
                    <a:pt x="243" y="674"/>
                  </a:lnTo>
                  <a:lnTo>
                    <a:pt x="262" y="676"/>
                  </a:lnTo>
                  <a:lnTo>
                    <a:pt x="280" y="674"/>
                  </a:lnTo>
                  <a:lnTo>
                    <a:pt x="299" y="674"/>
                  </a:lnTo>
                  <a:lnTo>
                    <a:pt x="318" y="672"/>
                  </a:lnTo>
                  <a:lnTo>
                    <a:pt x="336" y="670"/>
                  </a:lnTo>
                  <a:lnTo>
                    <a:pt x="355" y="666"/>
                  </a:lnTo>
                  <a:lnTo>
                    <a:pt x="373" y="661"/>
                  </a:lnTo>
                  <a:lnTo>
                    <a:pt x="391" y="656"/>
                  </a:lnTo>
                  <a:lnTo>
                    <a:pt x="409" y="650"/>
                  </a:lnTo>
                  <a:lnTo>
                    <a:pt x="427" y="643"/>
                  </a:lnTo>
                  <a:lnTo>
                    <a:pt x="444" y="635"/>
                  </a:lnTo>
                  <a:lnTo>
                    <a:pt x="462" y="626"/>
                  </a:lnTo>
                  <a:lnTo>
                    <a:pt x="478" y="617"/>
                  </a:lnTo>
                  <a:lnTo>
                    <a:pt x="494" y="606"/>
                  </a:lnTo>
                  <a:lnTo>
                    <a:pt x="511" y="595"/>
                  </a:lnTo>
                  <a:lnTo>
                    <a:pt x="526" y="583"/>
                  </a:lnTo>
                  <a:lnTo>
                    <a:pt x="541" y="570"/>
                  </a:lnTo>
                  <a:lnTo>
                    <a:pt x="555" y="556"/>
                  </a:lnTo>
                  <a:lnTo>
                    <a:pt x="555" y="556"/>
                  </a:lnTo>
                  <a:lnTo>
                    <a:pt x="569" y="541"/>
                  </a:lnTo>
                  <a:lnTo>
                    <a:pt x="583" y="526"/>
                  </a:lnTo>
                  <a:lnTo>
                    <a:pt x="595" y="510"/>
                  </a:lnTo>
                  <a:lnTo>
                    <a:pt x="605" y="495"/>
                  </a:lnTo>
                  <a:lnTo>
                    <a:pt x="616" y="478"/>
                  </a:lnTo>
                  <a:lnTo>
                    <a:pt x="626" y="461"/>
                  </a:lnTo>
                  <a:lnTo>
                    <a:pt x="634" y="445"/>
                  </a:lnTo>
                  <a:lnTo>
                    <a:pt x="642" y="428"/>
                  </a:lnTo>
                  <a:lnTo>
                    <a:pt x="650" y="410"/>
                  </a:lnTo>
                  <a:lnTo>
                    <a:pt x="656" y="392"/>
                  </a:lnTo>
                  <a:lnTo>
                    <a:pt x="660" y="374"/>
                  </a:lnTo>
                  <a:lnTo>
                    <a:pt x="665" y="355"/>
                  </a:lnTo>
                  <a:lnTo>
                    <a:pt x="669" y="337"/>
                  </a:lnTo>
                  <a:lnTo>
                    <a:pt x="671" y="318"/>
                  </a:lnTo>
                  <a:lnTo>
                    <a:pt x="674" y="300"/>
                  </a:lnTo>
                  <a:lnTo>
                    <a:pt x="675" y="281"/>
                  </a:lnTo>
                  <a:lnTo>
                    <a:pt x="675" y="261"/>
                  </a:lnTo>
                  <a:lnTo>
                    <a:pt x="674" y="243"/>
                  </a:lnTo>
                  <a:lnTo>
                    <a:pt x="672" y="224"/>
                  </a:lnTo>
                  <a:lnTo>
                    <a:pt x="670" y="206"/>
                  </a:lnTo>
                  <a:lnTo>
                    <a:pt x="666" y="187"/>
                  </a:lnTo>
                  <a:lnTo>
                    <a:pt x="663" y="169"/>
                  </a:lnTo>
                  <a:lnTo>
                    <a:pt x="657" y="151"/>
                  </a:lnTo>
                  <a:lnTo>
                    <a:pt x="651" y="133"/>
                  </a:lnTo>
                  <a:lnTo>
                    <a:pt x="645" y="115"/>
                  </a:lnTo>
                  <a:lnTo>
                    <a:pt x="636" y="97"/>
                  </a:lnTo>
                  <a:lnTo>
                    <a:pt x="628" y="81"/>
                  </a:lnTo>
                  <a:lnTo>
                    <a:pt x="620" y="64"/>
                  </a:lnTo>
                  <a:lnTo>
                    <a:pt x="609" y="47"/>
                  </a:lnTo>
                  <a:lnTo>
                    <a:pt x="598" y="30"/>
                  </a:lnTo>
                  <a:lnTo>
                    <a:pt x="586" y="15"/>
                  </a:lnTo>
                  <a:lnTo>
                    <a:pt x="573" y="0"/>
                  </a:lnTo>
                  <a:lnTo>
                    <a:pt x="57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59" name="Freeform 92"/>
            <p:cNvSpPr>
              <a:spLocks/>
            </p:cNvSpPr>
            <p:nvPr/>
          </p:nvSpPr>
          <p:spPr bwMode="auto">
            <a:xfrm>
              <a:off x="15822613" y="-1260475"/>
              <a:ext cx="284163" cy="195263"/>
            </a:xfrm>
            <a:custGeom>
              <a:avLst/>
              <a:gdLst>
                <a:gd name="T0" fmla="*/ 536 w 536"/>
                <a:gd name="T1" fmla="*/ 100 h 368"/>
                <a:gd name="T2" fmla="*/ 536 w 536"/>
                <a:gd name="T3" fmla="*/ 100 h 368"/>
                <a:gd name="T4" fmla="*/ 522 w 536"/>
                <a:gd name="T5" fmla="*/ 88 h 368"/>
                <a:gd name="T6" fmla="*/ 506 w 536"/>
                <a:gd name="T7" fmla="*/ 76 h 368"/>
                <a:gd name="T8" fmla="*/ 490 w 536"/>
                <a:gd name="T9" fmla="*/ 65 h 368"/>
                <a:gd name="T10" fmla="*/ 475 w 536"/>
                <a:gd name="T11" fmla="*/ 56 h 368"/>
                <a:gd name="T12" fmla="*/ 459 w 536"/>
                <a:gd name="T13" fmla="*/ 47 h 368"/>
                <a:gd name="T14" fmla="*/ 443 w 536"/>
                <a:gd name="T15" fmla="*/ 39 h 368"/>
                <a:gd name="T16" fmla="*/ 426 w 536"/>
                <a:gd name="T17" fmla="*/ 31 h 368"/>
                <a:gd name="T18" fmla="*/ 409 w 536"/>
                <a:gd name="T19" fmla="*/ 25 h 368"/>
                <a:gd name="T20" fmla="*/ 392 w 536"/>
                <a:gd name="T21" fmla="*/ 19 h 368"/>
                <a:gd name="T22" fmla="*/ 374 w 536"/>
                <a:gd name="T23" fmla="*/ 14 h 368"/>
                <a:gd name="T24" fmla="*/ 356 w 536"/>
                <a:gd name="T25" fmla="*/ 9 h 368"/>
                <a:gd name="T26" fmla="*/ 340 w 536"/>
                <a:gd name="T27" fmla="*/ 6 h 368"/>
                <a:gd name="T28" fmla="*/ 322 w 536"/>
                <a:gd name="T29" fmla="*/ 3 h 368"/>
                <a:gd name="T30" fmla="*/ 304 w 536"/>
                <a:gd name="T31" fmla="*/ 1 h 368"/>
                <a:gd name="T32" fmla="*/ 286 w 536"/>
                <a:gd name="T33" fmla="*/ 0 h 368"/>
                <a:gd name="T34" fmla="*/ 268 w 536"/>
                <a:gd name="T35" fmla="*/ 0 h 368"/>
                <a:gd name="T36" fmla="*/ 250 w 536"/>
                <a:gd name="T37" fmla="*/ 0 h 368"/>
                <a:gd name="T38" fmla="*/ 232 w 536"/>
                <a:gd name="T39" fmla="*/ 1 h 368"/>
                <a:gd name="T40" fmla="*/ 214 w 536"/>
                <a:gd name="T41" fmla="*/ 3 h 368"/>
                <a:gd name="T42" fmla="*/ 196 w 536"/>
                <a:gd name="T43" fmla="*/ 6 h 368"/>
                <a:gd name="T44" fmla="*/ 178 w 536"/>
                <a:gd name="T45" fmla="*/ 9 h 368"/>
                <a:gd name="T46" fmla="*/ 161 w 536"/>
                <a:gd name="T47" fmla="*/ 14 h 368"/>
                <a:gd name="T48" fmla="*/ 143 w 536"/>
                <a:gd name="T49" fmla="*/ 19 h 368"/>
                <a:gd name="T50" fmla="*/ 127 w 536"/>
                <a:gd name="T51" fmla="*/ 25 h 368"/>
                <a:gd name="T52" fmla="*/ 110 w 536"/>
                <a:gd name="T53" fmla="*/ 31 h 368"/>
                <a:gd name="T54" fmla="*/ 93 w 536"/>
                <a:gd name="T55" fmla="*/ 39 h 368"/>
                <a:gd name="T56" fmla="*/ 76 w 536"/>
                <a:gd name="T57" fmla="*/ 47 h 368"/>
                <a:gd name="T58" fmla="*/ 60 w 536"/>
                <a:gd name="T59" fmla="*/ 56 h 368"/>
                <a:gd name="T60" fmla="*/ 44 w 536"/>
                <a:gd name="T61" fmla="*/ 65 h 368"/>
                <a:gd name="T62" fmla="*/ 28 w 536"/>
                <a:gd name="T63" fmla="*/ 76 h 368"/>
                <a:gd name="T64" fmla="*/ 14 w 536"/>
                <a:gd name="T65" fmla="*/ 88 h 368"/>
                <a:gd name="T66" fmla="*/ 0 w 536"/>
                <a:gd name="T67" fmla="*/ 100 h 368"/>
                <a:gd name="T68" fmla="*/ 268 w 536"/>
                <a:gd name="T69" fmla="*/ 368 h 368"/>
                <a:gd name="T70" fmla="*/ 536 w 536"/>
                <a:gd name="T71" fmla="*/ 10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6" h="368">
                  <a:moveTo>
                    <a:pt x="536" y="100"/>
                  </a:moveTo>
                  <a:lnTo>
                    <a:pt x="536" y="100"/>
                  </a:lnTo>
                  <a:lnTo>
                    <a:pt x="522" y="88"/>
                  </a:lnTo>
                  <a:lnTo>
                    <a:pt x="506" y="76"/>
                  </a:lnTo>
                  <a:lnTo>
                    <a:pt x="490" y="65"/>
                  </a:lnTo>
                  <a:lnTo>
                    <a:pt x="475" y="56"/>
                  </a:lnTo>
                  <a:lnTo>
                    <a:pt x="459" y="47"/>
                  </a:lnTo>
                  <a:lnTo>
                    <a:pt x="443" y="39"/>
                  </a:lnTo>
                  <a:lnTo>
                    <a:pt x="426" y="31"/>
                  </a:lnTo>
                  <a:lnTo>
                    <a:pt x="409" y="25"/>
                  </a:lnTo>
                  <a:lnTo>
                    <a:pt x="392" y="19"/>
                  </a:lnTo>
                  <a:lnTo>
                    <a:pt x="374" y="14"/>
                  </a:lnTo>
                  <a:lnTo>
                    <a:pt x="356" y="9"/>
                  </a:lnTo>
                  <a:lnTo>
                    <a:pt x="340" y="6"/>
                  </a:lnTo>
                  <a:lnTo>
                    <a:pt x="322" y="3"/>
                  </a:lnTo>
                  <a:lnTo>
                    <a:pt x="304" y="1"/>
                  </a:lnTo>
                  <a:lnTo>
                    <a:pt x="286" y="0"/>
                  </a:lnTo>
                  <a:lnTo>
                    <a:pt x="268" y="0"/>
                  </a:lnTo>
                  <a:lnTo>
                    <a:pt x="250" y="0"/>
                  </a:lnTo>
                  <a:lnTo>
                    <a:pt x="232" y="1"/>
                  </a:lnTo>
                  <a:lnTo>
                    <a:pt x="214" y="3"/>
                  </a:lnTo>
                  <a:lnTo>
                    <a:pt x="196" y="6"/>
                  </a:lnTo>
                  <a:lnTo>
                    <a:pt x="178" y="9"/>
                  </a:lnTo>
                  <a:lnTo>
                    <a:pt x="161" y="14"/>
                  </a:lnTo>
                  <a:lnTo>
                    <a:pt x="143" y="19"/>
                  </a:lnTo>
                  <a:lnTo>
                    <a:pt x="127" y="25"/>
                  </a:lnTo>
                  <a:lnTo>
                    <a:pt x="110" y="31"/>
                  </a:lnTo>
                  <a:lnTo>
                    <a:pt x="93" y="39"/>
                  </a:lnTo>
                  <a:lnTo>
                    <a:pt x="76" y="47"/>
                  </a:lnTo>
                  <a:lnTo>
                    <a:pt x="60" y="56"/>
                  </a:lnTo>
                  <a:lnTo>
                    <a:pt x="44" y="65"/>
                  </a:lnTo>
                  <a:lnTo>
                    <a:pt x="28" y="76"/>
                  </a:lnTo>
                  <a:lnTo>
                    <a:pt x="14" y="88"/>
                  </a:lnTo>
                  <a:lnTo>
                    <a:pt x="0" y="100"/>
                  </a:lnTo>
                  <a:lnTo>
                    <a:pt x="268" y="368"/>
                  </a:lnTo>
                  <a:lnTo>
                    <a:pt x="53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0" name="Freeform 93"/>
            <p:cNvSpPr>
              <a:spLocks/>
            </p:cNvSpPr>
            <p:nvPr/>
          </p:nvSpPr>
          <p:spPr bwMode="auto">
            <a:xfrm>
              <a:off x="15757526" y="-1187450"/>
              <a:ext cx="65088" cy="85725"/>
            </a:xfrm>
            <a:custGeom>
              <a:avLst/>
              <a:gdLst>
                <a:gd name="T0" fmla="*/ 86 w 125"/>
                <a:gd name="T1" fmla="*/ 0 h 162"/>
                <a:gd name="T2" fmla="*/ 86 w 125"/>
                <a:gd name="T3" fmla="*/ 0 h 162"/>
                <a:gd name="T4" fmla="*/ 72 w 125"/>
                <a:gd name="T5" fmla="*/ 18 h 162"/>
                <a:gd name="T6" fmla="*/ 58 w 125"/>
                <a:gd name="T7" fmla="*/ 38 h 162"/>
                <a:gd name="T8" fmla="*/ 45 w 125"/>
                <a:gd name="T9" fmla="*/ 57 h 162"/>
                <a:gd name="T10" fmla="*/ 34 w 125"/>
                <a:gd name="T11" fmla="*/ 77 h 162"/>
                <a:gd name="T12" fmla="*/ 23 w 125"/>
                <a:gd name="T13" fmla="*/ 97 h 162"/>
                <a:gd name="T14" fmla="*/ 15 w 125"/>
                <a:gd name="T15" fmla="*/ 119 h 162"/>
                <a:gd name="T16" fmla="*/ 6 w 125"/>
                <a:gd name="T17" fmla="*/ 139 h 162"/>
                <a:gd name="T18" fmla="*/ 0 w 125"/>
                <a:gd name="T19" fmla="*/ 162 h 162"/>
                <a:gd name="T20" fmla="*/ 125 w 125"/>
                <a:gd name="T21" fmla="*/ 38 h 162"/>
                <a:gd name="T22" fmla="*/ 86 w 125"/>
                <a:gd name="T2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62">
                  <a:moveTo>
                    <a:pt x="86" y="0"/>
                  </a:moveTo>
                  <a:lnTo>
                    <a:pt x="86" y="0"/>
                  </a:lnTo>
                  <a:lnTo>
                    <a:pt x="72" y="18"/>
                  </a:lnTo>
                  <a:lnTo>
                    <a:pt x="58" y="38"/>
                  </a:lnTo>
                  <a:lnTo>
                    <a:pt x="45" y="57"/>
                  </a:lnTo>
                  <a:lnTo>
                    <a:pt x="34" y="77"/>
                  </a:lnTo>
                  <a:lnTo>
                    <a:pt x="23" y="97"/>
                  </a:lnTo>
                  <a:lnTo>
                    <a:pt x="15" y="119"/>
                  </a:lnTo>
                  <a:lnTo>
                    <a:pt x="6" y="139"/>
                  </a:lnTo>
                  <a:lnTo>
                    <a:pt x="0" y="162"/>
                  </a:lnTo>
                  <a:lnTo>
                    <a:pt x="125" y="38"/>
                  </a:lnTo>
                  <a:lnTo>
                    <a:pt x="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1" name="Freeform 94"/>
            <p:cNvSpPr>
              <a:spLocks/>
            </p:cNvSpPr>
            <p:nvPr/>
          </p:nvSpPr>
          <p:spPr bwMode="auto">
            <a:xfrm>
              <a:off x="15759113" y="-1106488"/>
              <a:ext cx="144463" cy="153988"/>
            </a:xfrm>
            <a:custGeom>
              <a:avLst/>
              <a:gdLst>
                <a:gd name="T0" fmla="*/ 234 w 274"/>
                <a:gd name="T1" fmla="*/ 0 h 292"/>
                <a:gd name="T2" fmla="*/ 0 w 274"/>
                <a:gd name="T3" fmla="*/ 236 h 292"/>
                <a:gd name="T4" fmla="*/ 0 w 274"/>
                <a:gd name="T5" fmla="*/ 236 h 292"/>
                <a:gd name="T6" fmla="*/ 9 w 274"/>
                <a:gd name="T7" fmla="*/ 265 h 292"/>
                <a:gd name="T8" fmla="*/ 21 w 274"/>
                <a:gd name="T9" fmla="*/ 292 h 292"/>
                <a:gd name="T10" fmla="*/ 274 w 274"/>
                <a:gd name="T11" fmla="*/ 40 h 292"/>
                <a:gd name="T12" fmla="*/ 234 w 274"/>
                <a:gd name="T13" fmla="*/ 0 h 292"/>
              </a:gdLst>
              <a:ahLst/>
              <a:cxnLst>
                <a:cxn ang="0">
                  <a:pos x="T0" y="T1"/>
                </a:cxn>
                <a:cxn ang="0">
                  <a:pos x="T2" y="T3"/>
                </a:cxn>
                <a:cxn ang="0">
                  <a:pos x="T4" y="T5"/>
                </a:cxn>
                <a:cxn ang="0">
                  <a:pos x="T6" y="T7"/>
                </a:cxn>
                <a:cxn ang="0">
                  <a:pos x="T8" y="T9"/>
                </a:cxn>
                <a:cxn ang="0">
                  <a:pos x="T10" y="T11"/>
                </a:cxn>
                <a:cxn ang="0">
                  <a:pos x="T12" y="T13"/>
                </a:cxn>
              </a:cxnLst>
              <a:rect l="0" t="0" r="r" b="b"/>
              <a:pathLst>
                <a:path w="274" h="292">
                  <a:moveTo>
                    <a:pt x="234" y="0"/>
                  </a:moveTo>
                  <a:lnTo>
                    <a:pt x="0" y="236"/>
                  </a:lnTo>
                  <a:lnTo>
                    <a:pt x="0" y="236"/>
                  </a:lnTo>
                  <a:lnTo>
                    <a:pt x="9" y="265"/>
                  </a:lnTo>
                  <a:lnTo>
                    <a:pt x="21" y="292"/>
                  </a:lnTo>
                  <a:lnTo>
                    <a:pt x="274" y="40"/>
                  </a:lnTo>
                  <a:lnTo>
                    <a:pt x="2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84" name="Rectangle 1183"/>
          <p:cNvSpPr/>
          <p:nvPr/>
        </p:nvSpPr>
        <p:spPr bwMode="auto">
          <a:xfrm>
            <a:off x="892850" y="3598674"/>
            <a:ext cx="70342" cy="12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85" name="Rectangle 1184"/>
          <p:cNvSpPr/>
          <p:nvPr/>
        </p:nvSpPr>
        <p:spPr bwMode="auto">
          <a:xfrm>
            <a:off x="892850" y="3624367"/>
            <a:ext cx="70342" cy="12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86" name="Rectangle 1185"/>
          <p:cNvSpPr/>
          <p:nvPr/>
        </p:nvSpPr>
        <p:spPr bwMode="auto">
          <a:xfrm>
            <a:off x="892850" y="3650060"/>
            <a:ext cx="70342" cy="12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1187" name="Elbow Connector 1186"/>
          <p:cNvCxnSpPr/>
          <p:nvPr/>
        </p:nvCxnSpPr>
        <p:spPr>
          <a:xfrm rot="5400000">
            <a:off x="1441047" y="3816297"/>
            <a:ext cx="217438" cy="40401"/>
          </a:xfrm>
          <a:prstGeom prst="bentConnector4">
            <a:avLst>
              <a:gd name="adj1" fmla="val 46804"/>
              <a:gd name="adj2" fmla="val -85993"/>
            </a:avLst>
          </a:prstGeom>
          <a:ln>
            <a:prstDash val="sysDot"/>
          </a:ln>
        </p:spPr>
        <p:style>
          <a:lnRef idx="1">
            <a:schemeClr val="accent1"/>
          </a:lnRef>
          <a:fillRef idx="0">
            <a:schemeClr val="accent1"/>
          </a:fillRef>
          <a:effectRef idx="0">
            <a:schemeClr val="accent1"/>
          </a:effectRef>
          <a:fontRef idx="minor">
            <a:schemeClr val="tx1"/>
          </a:fontRef>
        </p:style>
      </p:cxnSp>
      <p:grpSp>
        <p:nvGrpSpPr>
          <p:cNvPr id="1188" name="Group 1187"/>
          <p:cNvGrpSpPr/>
          <p:nvPr/>
        </p:nvGrpSpPr>
        <p:grpSpPr>
          <a:xfrm>
            <a:off x="709832" y="4174577"/>
            <a:ext cx="964573" cy="790914"/>
            <a:chOff x="738436" y="5390178"/>
            <a:chExt cx="964573" cy="790914"/>
          </a:xfrm>
        </p:grpSpPr>
        <p:sp>
          <p:nvSpPr>
            <p:cNvPr id="1252" name="Rounded Rectangle 815"/>
            <p:cNvSpPr/>
            <p:nvPr/>
          </p:nvSpPr>
          <p:spPr bwMode="auto">
            <a:xfrm>
              <a:off x="1004409" y="5390178"/>
              <a:ext cx="432626" cy="790914"/>
            </a:xfrm>
            <a:custGeom>
              <a:avLst/>
              <a:gdLst/>
              <a:ahLst/>
              <a:cxnLst/>
              <a:rect l="l" t="t" r="r" b="b"/>
              <a:pathLst>
                <a:path w="575826" h="1009357">
                  <a:moveTo>
                    <a:pt x="287913" y="0"/>
                  </a:moveTo>
                  <a:cubicBezTo>
                    <a:pt x="446923" y="0"/>
                    <a:pt x="575826" y="128903"/>
                    <a:pt x="575826" y="287913"/>
                  </a:cubicBezTo>
                  <a:cubicBezTo>
                    <a:pt x="575826" y="449394"/>
                    <a:pt x="575825" y="610876"/>
                    <a:pt x="575825" y="772357"/>
                  </a:cubicBezTo>
                  <a:cubicBezTo>
                    <a:pt x="575825" y="870761"/>
                    <a:pt x="526458" y="957634"/>
                    <a:pt x="450998" y="1009357"/>
                  </a:cubicBezTo>
                  <a:lnTo>
                    <a:pt x="124828" y="1009357"/>
                  </a:lnTo>
                  <a:cubicBezTo>
                    <a:pt x="49368" y="957634"/>
                    <a:pt x="0" y="870760"/>
                    <a:pt x="0" y="772356"/>
                  </a:cubicBezTo>
                  <a:lnTo>
                    <a:pt x="0" y="287913"/>
                  </a:lnTo>
                  <a:cubicBezTo>
                    <a:pt x="0" y="128903"/>
                    <a:pt x="128903" y="0"/>
                    <a:pt x="28791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53" name="Group 1252"/>
            <p:cNvGrpSpPr/>
            <p:nvPr/>
          </p:nvGrpSpPr>
          <p:grpSpPr>
            <a:xfrm>
              <a:off x="738436" y="5521256"/>
              <a:ext cx="964573" cy="142897"/>
              <a:chOff x="738436" y="5521256"/>
              <a:chExt cx="964573" cy="142897"/>
            </a:xfrm>
          </p:grpSpPr>
          <p:sp>
            <p:nvSpPr>
              <p:cNvPr id="1254" name="Rounded Rectangle 1253"/>
              <p:cNvSpPr/>
              <p:nvPr/>
            </p:nvSpPr>
            <p:spPr bwMode="auto">
              <a:xfrm rot="1562965">
                <a:off x="1312079" y="5521256"/>
                <a:ext cx="390930" cy="14289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55" name="Rounded Rectangle 1254"/>
              <p:cNvSpPr/>
              <p:nvPr/>
            </p:nvSpPr>
            <p:spPr bwMode="auto">
              <a:xfrm rot="20037035" flipH="1">
                <a:off x="738436" y="5521256"/>
                <a:ext cx="390930" cy="14289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1189" name="Group 1188"/>
          <p:cNvGrpSpPr/>
          <p:nvPr/>
        </p:nvGrpSpPr>
        <p:grpSpPr>
          <a:xfrm>
            <a:off x="908987" y="3786785"/>
            <a:ext cx="630127" cy="247405"/>
            <a:chOff x="3333792" y="7213837"/>
            <a:chExt cx="1808059" cy="709893"/>
          </a:xfrm>
        </p:grpSpPr>
        <p:sp>
          <p:nvSpPr>
            <p:cNvPr id="1205" name="Freeform 1204"/>
            <p:cNvSpPr/>
            <p:nvPr/>
          </p:nvSpPr>
          <p:spPr bwMode="auto">
            <a:xfrm flipH="1">
              <a:off x="3333792" y="7213837"/>
              <a:ext cx="1805930" cy="627647"/>
            </a:xfrm>
            <a:custGeom>
              <a:avLst/>
              <a:gdLst>
                <a:gd name="connsiteX0" fmla="*/ 286034 w 8601902"/>
                <a:gd name="connsiteY0" fmla="*/ 2657323 h 2717800"/>
                <a:gd name="connsiteX1" fmla="*/ 378563 w 8601902"/>
                <a:gd name="connsiteY1" fmla="*/ 2679095 h 2717800"/>
                <a:gd name="connsiteX2" fmla="*/ 563620 w 8601902"/>
                <a:gd name="connsiteY2" fmla="*/ 2700866 h 2717800"/>
                <a:gd name="connsiteX3" fmla="*/ 634377 w 8601902"/>
                <a:gd name="connsiteY3" fmla="*/ 2717195 h 2717800"/>
                <a:gd name="connsiteX4" fmla="*/ 634377 w 8601902"/>
                <a:gd name="connsiteY4" fmla="*/ 2679095 h 2717800"/>
                <a:gd name="connsiteX5" fmla="*/ 618049 w 8601902"/>
                <a:gd name="connsiteY5" fmla="*/ 2504923 h 2717800"/>
                <a:gd name="connsiteX6" fmla="*/ 628934 w 8601902"/>
                <a:gd name="connsiteY6" fmla="*/ 2336195 h 2717800"/>
                <a:gd name="connsiteX7" fmla="*/ 667034 w 8601902"/>
                <a:gd name="connsiteY7" fmla="*/ 2162023 h 2717800"/>
                <a:gd name="connsiteX8" fmla="*/ 748677 w 8601902"/>
                <a:gd name="connsiteY8" fmla="*/ 2004181 h 2717800"/>
                <a:gd name="connsiteX9" fmla="*/ 857534 w 8601902"/>
                <a:gd name="connsiteY9" fmla="*/ 1878995 h 2717800"/>
                <a:gd name="connsiteX10" fmla="*/ 1042592 w 8601902"/>
                <a:gd name="connsiteY10" fmla="*/ 1753809 h 2717800"/>
                <a:gd name="connsiteX11" fmla="*/ 1243977 w 8601902"/>
                <a:gd name="connsiteY11" fmla="*/ 1693938 h 2717800"/>
                <a:gd name="connsiteX12" fmla="*/ 1450806 w 8601902"/>
                <a:gd name="connsiteY12" fmla="*/ 1693938 h 2717800"/>
                <a:gd name="connsiteX13" fmla="*/ 1635863 w 8601902"/>
                <a:gd name="connsiteY13" fmla="*/ 1710266 h 2717800"/>
                <a:gd name="connsiteX14" fmla="*/ 1739277 w 8601902"/>
                <a:gd name="connsiteY14" fmla="*/ 1753809 h 2717800"/>
                <a:gd name="connsiteX15" fmla="*/ 1929777 w 8601902"/>
                <a:gd name="connsiteY15" fmla="*/ 1862666 h 2717800"/>
                <a:gd name="connsiteX16" fmla="*/ 2049520 w 8601902"/>
                <a:gd name="connsiteY16" fmla="*/ 2015066 h 2717800"/>
                <a:gd name="connsiteX17" fmla="*/ 2152934 w 8601902"/>
                <a:gd name="connsiteY17" fmla="*/ 2243666 h 2717800"/>
                <a:gd name="connsiteX18" fmla="*/ 2185592 w 8601902"/>
                <a:gd name="connsiteY18" fmla="*/ 2406952 h 2717800"/>
                <a:gd name="connsiteX19" fmla="*/ 2212806 w 8601902"/>
                <a:gd name="connsiteY19" fmla="*/ 2575681 h 2717800"/>
                <a:gd name="connsiteX20" fmla="*/ 2218249 w 8601902"/>
                <a:gd name="connsiteY20" fmla="*/ 2668209 h 2717800"/>
                <a:gd name="connsiteX21" fmla="*/ 2240020 w 8601902"/>
                <a:gd name="connsiteY21" fmla="*/ 2668209 h 2717800"/>
                <a:gd name="connsiteX22" fmla="*/ 2523049 w 8601902"/>
                <a:gd name="connsiteY22" fmla="*/ 2662766 h 2717800"/>
                <a:gd name="connsiteX23" fmla="*/ 3274163 w 8601902"/>
                <a:gd name="connsiteY23" fmla="*/ 2651881 h 2717800"/>
                <a:gd name="connsiteX24" fmla="*/ 3949077 w 8601902"/>
                <a:gd name="connsiteY24" fmla="*/ 2646438 h 2717800"/>
                <a:gd name="connsiteX25" fmla="*/ 5113849 w 8601902"/>
                <a:gd name="connsiteY25" fmla="*/ 2630109 h 2717800"/>
                <a:gd name="connsiteX26" fmla="*/ 5799649 w 8601902"/>
                <a:gd name="connsiteY26" fmla="*/ 2613781 h 2717800"/>
                <a:gd name="connsiteX27" fmla="*/ 5930277 w 8601902"/>
                <a:gd name="connsiteY27" fmla="*/ 2613781 h 2717800"/>
                <a:gd name="connsiteX28" fmla="*/ 5930277 w 8601902"/>
                <a:gd name="connsiteY28" fmla="*/ 2586566 h 2717800"/>
                <a:gd name="connsiteX29" fmla="*/ 5941163 w 8601902"/>
                <a:gd name="connsiteY29" fmla="*/ 2450495 h 2717800"/>
                <a:gd name="connsiteX30" fmla="*/ 5973820 w 8601902"/>
                <a:gd name="connsiteY30" fmla="*/ 2243666 h 2717800"/>
                <a:gd name="connsiteX31" fmla="*/ 6055463 w 8601902"/>
                <a:gd name="connsiteY31" fmla="*/ 2015066 h 2717800"/>
                <a:gd name="connsiteX32" fmla="*/ 6202420 w 8601902"/>
                <a:gd name="connsiteY32" fmla="*/ 1835452 h 2717800"/>
                <a:gd name="connsiteX33" fmla="*/ 6360263 w 8601902"/>
                <a:gd name="connsiteY33" fmla="*/ 1742923 h 2717800"/>
                <a:gd name="connsiteX34" fmla="*/ 6534434 w 8601902"/>
                <a:gd name="connsiteY34" fmla="*/ 1672166 h 2717800"/>
                <a:gd name="connsiteX35" fmla="*/ 6801134 w 8601902"/>
                <a:gd name="connsiteY35" fmla="*/ 1650395 h 2717800"/>
                <a:gd name="connsiteX36" fmla="*/ 7029734 w 8601902"/>
                <a:gd name="connsiteY36" fmla="*/ 1704823 h 2717800"/>
                <a:gd name="connsiteX37" fmla="*/ 7193020 w 8601902"/>
                <a:gd name="connsiteY37" fmla="*/ 1781023 h 2717800"/>
                <a:gd name="connsiteX38" fmla="*/ 7296434 w 8601902"/>
                <a:gd name="connsiteY38" fmla="*/ 1878995 h 2717800"/>
                <a:gd name="connsiteX39" fmla="*/ 7334534 w 8601902"/>
                <a:gd name="connsiteY39" fmla="*/ 1927981 h 2717800"/>
                <a:gd name="connsiteX40" fmla="*/ 7410734 w 8601902"/>
                <a:gd name="connsiteY40" fmla="*/ 2025952 h 2717800"/>
                <a:gd name="connsiteX41" fmla="*/ 7454277 w 8601902"/>
                <a:gd name="connsiteY41" fmla="*/ 2134809 h 2717800"/>
                <a:gd name="connsiteX42" fmla="*/ 7492377 w 8601902"/>
                <a:gd name="connsiteY42" fmla="*/ 2243666 h 2717800"/>
                <a:gd name="connsiteX43" fmla="*/ 7503263 w 8601902"/>
                <a:gd name="connsiteY43" fmla="*/ 2347081 h 2717800"/>
                <a:gd name="connsiteX44" fmla="*/ 7492377 w 8601902"/>
                <a:gd name="connsiteY44" fmla="*/ 2445052 h 2717800"/>
                <a:gd name="connsiteX45" fmla="*/ 7481492 w 8601902"/>
                <a:gd name="connsiteY45" fmla="*/ 2504923 h 2717800"/>
                <a:gd name="connsiteX46" fmla="*/ 7508706 w 8601902"/>
                <a:gd name="connsiteY46" fmla="*/ 2510366 h 2717800"/>
                <a:gd name="connsiteX47" fmla="*/ 7742749 w 8601902"/>
                <a:gd name="connsiteY47" fmla="*/ 2466823 h 2717800"/>
                <a:gd name="connsiteX48" fmla="*/ 7960463 w 8601902"/>
                <a:gd name="connsiteY48" fmla="*/ 2439609 h 2717800"/>
                <a:gd name="connsiteX49" fmla="*/ 8297920 w 8601902"/>
                <a:gd name="connsiteY49" fmla="*/ 2379738 h 2717800"/>
                <a:gd name="connsiteX50" fmla="*/ 8504749 w 8601902"/>
                <a:gd name="connsiteY50" fmla="*/ 2303538 h 2717800"/>
                <a:gd name="connsiteX51" fmla="*/ 8580949 w 8601902"/>
                <a:gd name="connsiteY51" fmla="*/ 2134809 h 2717800"/>
                <a:gd name="connsiteX52" fmla="*/ 8597277 w 8601902"/>
                <a:gd name="connsiteY52" fmla="*/ 1922538 h 2717800"/>
                <a:gd name="connsiteX53" fmla="*/ 8510192 w 8601902"/>
                <a:gd name="connsiteY53" fmla="*/ 1672166 h 2717800"/>
                <a:gd name="connsiteX54" fmla="*/ 8417663 w 8601902"/>
                <a:gd name="connsiteY54" fmla="*/ 1449009 h 2717800"/>
                <a:gd name="connsiteX55" fmla="*/ 8461206 w 8601902"/>
                <a:gd name="connsiteY55" fmla="*/ 1372809 h 2717800"/>
                <a:gd name="connsiteX56" fmla="*/ 8450320 w 8601902"/>
                <a:gd name="connsiteY56" fmla="*/ 1078895 h 2717800"/>
                <a:gd name="connsiteX57" fmla="*/ 8276149 w 8601902"/>
                <a:gd name="connsiteY57" fmla="*/ 790423 h 2717800"/>
                <a:gd name="connsiteX58" fmla="*/ 8080206 w 8601902"/>
                <a:gd name="connsiteY58" fmla="*/ 534609 h 2717800"/>
                <a:gd name="connsiteX59" fmla="*/ 7938692 w 8601902"/>
                <a:gd name="connsiteY59" fmla="*/ 365881 h 2717800"/>
                <a:gd name="connsiteX60" fmla="*/ 7900592 w 8601902"/>
                <a:gd name="connsiteY60" fmla="*/ 284238 h 2717800"/>
                <a:gd name="connsiteX61" fmla="*/ 7889706 w 8601902"/>
                <a:gd name="connsiteY61" fmla="*/ 120952 h 2717800"/>
                <a:gd name="connsiteX62" fmla="*/ 7857049 w 8601902"/>
                <a:gd name="connsiteY62" fmla="*/ 99181 h 2717800"/>
                <a:gd name="connsiteX63" fmla="*/ 7818949 w 8601902"/>
                <a:gd name="connsiteY63" fmla="*/ 93738 h 2717800"/>
                <a:gd name="connsiteX64" fmla="*/ 7394406 w 8601902"/>
                <a:gd name="connsiteY64" fmla="*/ 33866 h 2717800"/>
                <a:gd name="connsiteX65" fmla="*/ 6964420 w 8601902"/>
                <a:gd name="connsiteY65" fmla="*/ 17538 h 2717800"/>
                <a:gd name="connsiteX66" fmla="*/ 6567092 w 8601902"/>
                <a:gd name="connsiteY66" fmla="*/ 1209 h 2717800"/>
                <a:gd name="connsiteX67" fmla="*/ 6147992 w 8601902"/>
                <a:gd name="connsiteY67" fmla="*/ 1209 h 2717800"/>
                <a:gd name="connsiteX68" fmla="*/ 5571049 w 8601902"/>
                <a:gd name="connsiteY68" fmla="*/ 1209 h 2717800"/>
                <a:gd name="connsiteX69" fmla="*/ 5026763 w 8601902"/>
                <a:gd name="connsiteY69" fmla="*/ 17538 h 2717800"/>
                <a:gd name="connsiteX70" fmla="*/ 4487920 w 8601902"/>
                <a:gd name="connsiteY70" fmla="*/ 39309 h 2717800"/>
                <a:gd name="connsiteX71" fmla="*/ 4123249 w 8601902"/>
                <a:gd name="connsiteY71" fmla="*/ 61081 h 2717800"/>
                <a:gd name="connsiteX72" fmla="*/ 3731363 w 8601902"/>
                <a:gd name="connsiteY72" fmla="*/ 110066 h 2717800"/>
                <a:gd name="connsiteX73" fmla="*/ 3497320 w 8601902"/>
                <a:gd name="connsiteY73" fmla="*/ 148166 h 2717800"/>
                <a:gd name="connsiteX74" fmla="*/ 3263277 w 8601902"/>
                <a:gd name="connsiteY74" fmla="*/ 208038 h 2717800"/>
                <a:gd name="connsiteX75" fmla="*/ 2980249 w 8601902"/>
                <a:gd name="connsiteY75" fmla="*/ 306009 h 2717800"/>
                <a:gd name="connsiteX76" fmla="*/ 2566592 w 8601902"/>
                <a:gd name="connsiteY76" fmla="*/ 512838 h 2717800"/>
                <a:gd name="connsiteX77" fmla="*/ 2185592 w 8601902"/>
                <a:gd name="connsiteY77" fmla="*/ 730552 h 2717800"/>
                <a:gd name="connsiteX78" fmla="*/ 1815477 w 8601902"/>
                <a:gd name="connsiteY78" fmla="*/ 942823 h 2717800"/>
                <a:gd name="connsiteX79" fmla="*/ 1673963 w 8601902"/>
                <a:gd name="connsiteY79" fmla="*/ 964595 h 2717800"/>
                <a:gd name="connsiteX80" fmla="*/ 1309292 w 8601902"/>
                <a:gd name="connsiteY80" fmla="*/ 1068009 h 2717800"/>
                <a:gd name="connsiteX81" fmla="*/ 999049 w 8601902"/>
                <a:gd name="connsiteY81" fmla="*/ 1155095 h 2717800"/>
                <a:gd name="connsiteX82" fmla="*/ 656149 w 8601902"/>
                <a:gd name="connsiteY82" fmla="*/ 1274838 h 2717800"/>
                <a:gd name="connsiteX83" fmla="*/ 460206 w 8601902"/>
                <a:gd name="connsiteY83" fmla="*/ 1351038 h 2717800"/>
                <a:gd name="connsiteX84" fmla="*/ 329577 w 8601902"/>
                <a:gd name="connsiteY84" fmla="*/ 1405466 h 2717800"/>
                <a:gd name="connsiteX85" fmla="*/ 220720 w 8601902"/>
                <a:gd name="connsiteY85" fmla="*/ 1497995 h 2717800"/>
                <a:gd name="connsiteX86" fmla="*/ 122749 w 8601902"/>
                <a:gd name="connsiteY86" fmla="*/ 1693938 h 2717800"/>
                <a:gd name="connsiteX87" fmla="*/ 84649 w 8601902"/>
                <a:gd name="connsiteY87" fmla="*/ 1846338 h 2717800"/>
                <a:gd name="connsiteX88" fmla="*/ 3006 w 8601902"/>
                <a:gd name="connsiteY88" fmla="*/ 2004181 h 2717800"/>
                <a:gd name="connsiteX89" fmla="*/ 19334 w 8601902"/>
                <a:gd name="connsiteY89" fmla="*/ 2113038 h 2717800"/>
                <a:gd name="connsiteX90" fmla="*/ 35663 w 8601902"/>
                <a:gd name="connsiteY90" fmla="*/ 2254552 h 2717800"/>
                <a:gd name="connsiteX91" fmla="*/ 79206 w 8601902"/>
                <a:gd name="connsiteY91" fmla="*/ 2292652 h 2717800"/>
                <a:gd name="connsiteX92" fmla="*/ 106420 w 8601902"/>
                <a:gd name="connsiteY92" fmla="*/ 2423281 h 2717800"/>
                <a:gd name="connsiteX93" fmla="*/ 84649 w 8601902"/>
                <a:gd name="connsiteY93" fmla="*/ 2494038 h 2717800"/>
                <a:gd name="connsiteX94" fmla="*/ 139077 w 8601902"/>
                <a:gd name="connsiteY94" fmla="*/ 2597452 h 2717800"/>
                <a:gd name="connsiteX95" fmla="*/ 286034 w 8601902"/>
                <a:gd name="connsiteY95" fmla="*/ 2657323 h 271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601902" h="2717800">
                  <a:moveTo>
                    <a:pt x="286034" y="2657323"/>
                  </a:moveTo>
                  <a:cubicBezTo>
                    <a:pt x="325948" y="2670930"/>
                    <a:pt x="332299" y="2671838"/>
                    <a:pt x="378563" y="2679095"/>
                  </a:cubicBezTo>
                  <a:cubicBezTo>
                    <a:pt x="424827" y="2686352"/>
                    <a:pt x="520984" y="2694516"/>
                    <a:pt x="563620" y="2700866"/>
                  </a:cubicBezTo>
                  <a:cubicBezTo>
                    <a:pt x="606256" y="2707216"/>
                    <a:pt x="622584" y="2720823"/>
                    <a:pt x="634377" y="2717195"/>
                  </a:cubicBezTo>
                  <a:cubicBezTo>
                    <a:pt x="646170" y="2713567"/>
                    <a:pt x="637098" y="2714474"/>
                    <a:pt x="634377" y="2679095"/>
                  </a:cubicBezTo>
                  <a:cubicBezTo>
                    <a:pt x="631656" y="2643716"/>
                    <a:pt x="618956" y="2562073"/>
                    <a:pt x="618049" y="2504923"/>
                  </a:cubicBezTo>
                  <a:cubicBezTo>
                    <a:pt x="617142" y="2447773"/>
                    <a:pt x="620770" y="2393345"/>
                    <a:pt x="628934" y="2336195"/>
                  </a:cubicBezTo>
                  <a:cubicBezTo>
                    <a:pt x="637098" y="2279045"/>
                    <a:pt x="647077" y="2217359"/>
                    <a:pt x="667034" y="2162023"/>
                  </a:cubicBezTo>
                  <a:cubicBezTo>
                    <a:pt x="686991" y="2106687"/>
                    <a:pt x="716927" y="2051352"/>
                    <a:pt x="748677" y="2004181"/>
                  </a:cubicBezTo>
                  <a:cubicBezTo>
                    <a:pt x="780427" y="1957010"/>
                    <a:pt x="808548" y="1920724"/>
                    <a:pt x="857534" y="1878995"/>
                  </a:cubicBezTo>
                  <a:cubicBezTo>
                    <a:pt x="906520" y="1837266"/>
                    <a:pt x="978185" y="1784652"/>
                    <a:pt x="1042592" y="1753809"/>
                  </a:cubicBezTo>
                  <a:cubicBezTo>
                    <a:pt x="1106999" y="1722966"/>
                    <a:pt x="1175941" y="1703917"/>
                    <a:pt x="1243977" y="1693938"/>
                  </a:cubicBezTo>
                  <a:cubicBezTo>
                    <a:pt x="1312013" y="1683959"/>
                    <a:pt x="1385492" y="1691217"/>
                    <a:pt x="1450806" y="1693938"/>
                  </a:cubicBezTo>
                  <a:cubicBezTo>
                    <a:pt x="1516120" y="1696659"/>
                    <a:pt x="1587785" y="1700288"/>
                    <a:pt x="1635863" y="1710266"/>
                  </a:cubicBezTo>
                  <a:cubicBezTo>
                    <a:pt x="1683941" y="1720244"/>
                    <a:pt x="1690291" y="1728409"/>
                    <a:pt x="1739277" y="1753809"/>
                  </a:cubicBezTo>
                  <a:cubicBezTo>
                    <a:pt x="1788263" y="1779209"/>
                    <a:pt x="1878070" y="1819123"/>
                    <a:pt x="1929777" y="1862666"/>
                  </a:cubicBezTo>
                  <a:cubicBezTo>
                    <a:pt x="1981484" y="1906209"/>
                    <a:pt x="2012327" y="1951566"/>
                    <a:pt x="2049520" y="2015066"/>
                  </a:cubicBezTo>
                  <a:cubicBezTo>
                    <a:pt x="2086713" y="2078566"/>
                    <a:pt x="2130255" y="2178352"/>
                    <a:pt x="2152934" y="2243666"/>
                  </a:cubicBezTo>
                  <a:cubicBezTo>
                    <a:pt x="2175613" y="2308980"/>
                    <a:pt x="2175613" y="2351616"/>
                    <a:pt x="2185592" y="2406952"/>
                  </a:cubicBezTo>
                  <a:cubicBezTo>
                    <a:pt x="2195571" y="2462288"/>
                    <a:pt x="2207363" y="2532138"/>
                    <a:pt x="2212806" y="2575681"/>
                  </a:cubicBezTo>
                  <a:cubicBezTo>
                    <a:pt x="2218249" y="2619224"/>
                    <a:pt x="2213713" y="2652788"/>
                    <a:pt x="2218249" y="2668209"/>
                  </a:cubicBezTo>
                  <a:cubicBezTo>
                    <a:pt x="2222785" y="2683630"/>
                    <a:pt x="2240020" y="2668209"/>
                    <a:pt x="2240020" y="2668209"/>
                  </a:cubicBezTo>
                  <a:lnTo>
                    <a:pt x="2523049" y="2662766"/>
                  </a:lnTo>
                  <a:lnTo>
                    <a:pt x="3274163" y="2651881"/>
                  </a:lnTo>
                  <a:lnTo>
                    <a:pt x="3949077" y="2646438"/>
                  </a:lnTo>
                  <a:lnTo>
                    <a:pt x="5113849" y="2630109"/>
                  </a:lnTo>
                  <a:lnTo>
                    <a:pt x="5799649" y="2613781"/>
                  </a:lnTo>
                  <a:cubicBezTo>
                    <a:pt x="5935720" y="2611060"/>
                    <a:pt x="5908506" y="2618317"/>
                    <a:pt x="5930277" y="2613781"/>
                  </a:cubicBezTo>
                  <a:cubicBezTo>
                    <a:pt x="5952048" y="2609245"/>
                    <a:pt x="5928463" y="2613780"/>
                    <a:pt x="5930277" y="2586566"/>
                  </a:cubicBezTo>
                  <a:cubicBezTo>
                    <a:pt x="5932091" y="2559352"/>
                    <a:pt x="5933906" y="2507645"/>
                    <a:pt x="5941163" y="2450495"/>
                  </a:cubicBezTo>
                  <a:cubicBezTo>
                    <a:pt x="5948420" y="2393345"/>
                    <a:pt x="5954770" y="2316238"/>
                    <a:pt x="5973820" y="2243666"/>
                  </a:cubicBezTo>
                  <a:cubicBezTo>
                    <a:pt x="5992870" y="2171094"/>
                    <a:pt x="6017363" y="2083102"/>
                    <a:pt x="6055463" y="2015066"/>
                  </a:cubicBezTo>
                  <a:cubicBezTo>
                    <a:pt x="6093563" y="1947030"/>
                    <a:pt x="6151620" y="1880809"/>
                    <a:pt x="6202420" y="1835452"/>
                  </a:cubicBezTo>
                  <a:cubicBezTo>
                    <a:pt x="6253220" y="1790095"/>
                    <a:pt x="6304927" y="1770137"/>
                    <a:pt x="6360263" y="1742923"/>
                  </a:cubicBezTo>
                  <a:cubicBezTo>
                    <a:pt x="6415599" y="1715709"/>
                    <a:pt x="6460956" y="1687587"/>
                    <a:pt x="6534434" y="1672166"/>
                  </a:cubicBezTo>
                  <a:cubicBezTo>
                    <a:pt x="6607912" y="1656745"/>
                    <a:pt x="6718584" y="1644952"/>
                    <a:pt x="6801134" y="1650395"/>
                  </a:cubicBezTo>
                  <a:cubicBezTo>
                    <a:pt x="6883684" y="1655838"/>
                    <a:pt x="6964420" y="1683052"/>
                    <a:pt x="7029734" y="1704823"/>
                  </a:cubicBezTo>
                  <a:cubicBezTo>
                    <a:pt x="7095048" y="1726594"/>
                    <a:pt x="7148570" y="1751994"/>
                    <a:pt x="7193020" y="1781023"/>
                  </a:cubicBezTo>
                  <a:cubicBezTo>
                    <a:pt x="7237470" y="1810052"/>
                    <a:pt x="7272848" y="1854502"/>
                    <a:pt x="7296434" y="1878995"/>
                  </a:cubicBezTo>
                  <a:cubicBezTo>
                    <a:pt x="7320020" y="1903488"/>
                    <a:pt x="7334534" y="1927981"/>
                    <a:pt x="7334534" y="1927981"/>
                  </a:cubicBezTo>
                  <a:cubicBezTo>
                    <a:pt x="7353584" y="1952474"/>
                    <a:pt x="7390777" y="1991481"/>
                    <a:pt x="7410734" y="2025952"/>
                  </a:cubicBezTo>
                  <a:cubicBezTo>
                    <a:pt x="7430691" y="2060423"/>
                    <a:pt x="7440670" y="2098523"/>
                    <a:pt x="7454277" y="2134809"/>
                  </a:cubicBezTo>
                  <a:cubicBezTo>
                    <a:pt x="7467884" y="2171095"/>
                    <a:pt x="7484213" y="2208287"/>
                    <a:pt x="7492377" y="2243666"/>
                  </a:cubicBezTo>
                  <a:cubicBezTo>
                    <a:pt x="7500541" y="2279045"/>
                    <a:pt x="7503263" y="2313517"/>
                    <a:pt x="7503263" y="2347081"/>
                  </a:cubicBezTo>
                  <a:cubicBezTo>
                    <a:pt x="7503263" y="2380645"/>
                    <a:pt x="7496005" y="2418745"/>
                    <a:pt x="7492377" y="2445052"/>
                  </a:cubicBezTo>
                  <a:cubicBezTo>
                    <a:pt x="7488749" y="2471359"/>
                    <a:pt x="7478771" y="2494037"/>
                    <a:pt x="7481492" y="2504923"/>
                  </a:cubicBezTo>
                  <a:cubicBezTo>
                    <a:pt x="7484213" y="2515809"/>
                    <a:pt x="7465163" y="2516716"/>
                    <a:pt x="7508706" y="2510366"/>
                  </a:cubicBezTo>
                  <a:cubicBezTo>
                    <a:pt x="7552249" y="2504016"/>
                    <a:pt x="7667456" y="2478616"/>
                    <a:pt x="7742749" y="2466823"/>
                  </a:cubicBezTo>
                  <a:cubicBezTo>
                    <a:pt x="7818042" y="2455030"/>
                    <a:pt x="7867935" y="2454123"/>
                    <a:pt x="7960463" y="2439609"/>
                  </a:cubicBezTo>
                  <a:cubicBezTo>
                    <a:pt x="8052991" y="2425095"/>
                    <a:pt x="8207206" y="2402416"/>
                    <a:pt x="8297920" y="2379738"/>
                  </a:cubicBezTo>
                  <a:cubicBezTo>
                    <a:pt x="8388634" y="2357060"/>
                    <a:pt x="8457578" y="2344359"/>
                    <a:pt x="8504749" y="2303538"/>
                  </a:cubicBezTo>
                  <a:cubicBezTo>
                    <a:pt x="8551920" y="2262717"/>
                    <a:pt x="8565528" y="2198309"/>
                    <a:pt x="8580949" y="2134809"/>
                  </a:cubicBezTo>
                  <a:cubicBezTo>
                    <a:pt x="8596370" y="2071309"/>
                    <a:pt x="8609070" y="1999645"/>
                    <a:pt x="8597277" y="1922538"/>
                  </a:cubicBezTo>
                  <a:cubicBezTo>
                    <a:pt x="8585484" y="1845431"/>
                    <a:pt x="8540128" y="1751087"/>
                    <a:pt x="8510192" y="1672166"/>
                  </a:cubicBezTo>
                  <a:cubicBezTo>
                    <a:pt x="8480256" y="1593244"/>
                    <a:pt x="8425827" y="1498902"/>
                    <a:pt x="8417663" y="1449009"/>
                  </a:cubicBezTo>
                  <a:cubicBezTo>
                    <a:pt x="8409499" y="1399116"/>
                    <a:pt x="8455763" y="1434495"/>
                    <a:pt x="8461206" y="1372809"/>
                  </a:cubicBezTo>
                  <a:cubicBezTo>
                    <a:pt x="8466649" y="1311123"/>
                    <a:pt x="8481163" y="1175959"/>
                    <a:pt x="8450320" y="1078895"/>
                  </a:cubicBezTo>
                  <a:cubicBezTo>
                    <a:pt x="8419477" y="981831"/>
                    <a:pt x="8337835" y="881137"/>
                    <a:pt x="8276149" y="790423"/>
                  </a:cubicBezTo>
                  <a:cubicBezTo>
                    <a:pt x="8214463" y="699709"/>
                    <a:pt x="8136449" y="605366"/>
                    <a:pt x="8080206" y="534609"/>
                  </a:cubicBezTo>
                  <a:cubicBezTo>
                    <a:pt x="8023963" y="463852"/>
                    <a:pt x="7968628" y="407609"/>
                    <a:pt x="7938692" y="365881"/>
                  </a:cubicBezTo>
                  <a:cubicBezTo>
                    <a:pt x="7908756" y="324153"/>
                    <a:pt x="7908756" y="325059"/>
                    <a:pt x="7900592" y="284238"/>
                  </a:cubicBezTo>
                  <a:cubicBezTo>
                    <a:pt x="7892428" y="243416"/>
                    <a:pt x="7896963" y="151795"/>
                    <a:pt x="7889706" y="120952"/>
                  </a:cubicBezTo>
                  <a:cubicBezTo>
                    <a:pt x="7882449" y="90109"/>
                    <a:pt x="7868842" y="103717"/>
                    <a:pt x="7857049" y="99181"/>
                  </a:cubicBezTo>
                  <a:cubicBezTo>
                    <a:pt x="7845256" y="94645"/>
                    <a:pt x="7818949" y="93738"/>
                    <a:pt x="7818949" y="93738"/>
                  </a:cubicBezTo>
                  <a:cubicBezTo>
                    <a:pt x="7741842" y="82852"/>
                    <a:pt x="7536827" y="46566"/>
                    <a:pt x="7394406" y="33866"/>
                  </a:cubicBezTo>
                  <a:cubicBezTo>
                    <a:pt x="7251985" y="21166"/>
                    <a:pt x="6964420" y="17538"/>
                    <a:pt x="6964420" y="17538"/>
                  </a:cubicBezTo>
                  <a:cubicBezTo>
                    <a:pt x="6826534" y="12095"/>
                    <a:pt x="6703163" y="3930"/>
                    <a:pt x="6567092" y="1209"/>
                  </a:cubicBezTo>
                  <a:cubicBezTo>
                    <a:pt x="6431021" y="-1512"/>
                    <a:pt x="6147992" y="1209"/>
                    <a:pt x="6147992" y="1209"/>
                  </a:cubicBezTo>
                  <a:lnTo>
                    <a:pt x="5571049" y="1209"/>
                  </a:lnTo>
                  <a:cubicBezTo>
                    <a:pt x="5384178" y="3930"/>
                    <a:pt x="5026763" y="17538"/>
                    <a:pt x="5026763" y="17538"/>
                  </a:cubicBezTo>
                  <a:lnTo>
                    <a:pt x="4487920" y="39309"/>
                  </a:lnTo>
                  <a:cubicBezTo>
                    <a:pt x="4337334" y="46566"/>
                    <a:pt x="4249342" y="49288"/>
                    <a:pt x="4123249" y="61081"/>
                  </a:cubicBezTo>
                  <a:cubicBezTo>
                    <a:pt x="3997156" y="72874"/>
                    <a:pt x="3835685" y="95552"/>
                    <a:pt x="3731363" y="110066"/>
                  </a:cubicBezTo>
                  <a:cubicBezTo>
                    <a:pt x="3627042" y="124580"/>
                    <a:pt x="3575334" y="131837"/>
                    <a:pt x="3497320" y="148166"/>
                  </a:cubicBezTo>
                  <a:cubicBezTo>
                    <a:pt x="3419306" y="164495"/>
                    <a:pt x="3349456" y="181731"/>
                    <a:pt x="3263277" y="208038"/>
                  </a:cubicBezTo>
                  <a:cubicBezTo>
                    <a:pt x="3177099" y="234345"/>
                    <a:pt x="3096363" y="255209"/>
                    <a:pt x="2980249" y="306009"/>
                  </a:cubicBezTo>
                  <a:cubicBezTo>
                    <a:pt x="2864135" y="356809"/>
                    <a:pt x="2699035" y="442081"/>
                    <a:pt x="2566592" y="512838"/>
                  </a:cubicBezTo>
                  <a:cubicBezTo>
                    <a:pt x="2434149" y="583595"/>
                    <a:pt x="2185592" y="730552"/>
                    <a:pt x="2185592" y="730552"/>
                  </a:cubicBezTo>
                  <a:cubicBezTo>
                    <a:pt x="2060406" y="802216"/>
                    <a:pt x="1900748" y="903816"/>
                    <a:pt x="1815477" y="942823"/>
                  </a:cubicBezTo>
                  <a:cubicBezTo>
                    <a:pt x="1730206" y="981830"/>
                    <a:pt x="1758327" y="943731"/>
                    <a:pt x="1673963" y="964595"/>
                  </a:cubicBezTo>
                  <a:cubicBezTo>
                    <a:pt x="1589599" y="985459"/>
                    <a:pt x="1309292" y="1068009"/>
                    <a:pt x="1309292" y="1068009"/>
                  </a:cubicBezTo>
                  <a:cubicBezTo>
                    <a:pt x="1196806" y="1099759"/>
                    <a:pt x="1107906" y="1120624"/>
                    <a:pt x="999049" y="1155095"/>
                  </a:cubicBezTo>
                  <a:cubicBezTo>
                    <a:pt x="890192" y="1189566"/>
                    <a:pt x="745956" y="1242181"/>
                    <a:pt x="656149" y="1274838"/>
                  </a:cubicBezTo>
                  <a:cubicBezTo>
                    <a:pt x="566342" y="1307495"/>
                    <a:pt x="514635" y="1329267"/>
                    <a:pt x="460206" y="1351038"/>
                  </a:cubicBezTo>
                  <a:cubicBezTo>
                    <a:pt x="405777" y="1372809"/>
                    <a:pt x="369491" y="1380973"/>
                    <a:pt x="329577" y="1405466"/>
                  </a:cubicBezTo>
                  <a:cubicBezTo>
                    <a:pt x="289663" y="1429959"/>
                    <a:pt x="255191" y="1449916"/>
                    <a:pt x="220720" y="1497995"/>
                  </a:cubicBezTo>
                  <a:cubicBezTo>
                    <a:pt x="186249" y="1546074"/>
                    <a:pt x="145427" y="1635881"/>
                    <a:pt x="122749" y="1693938"/>
                  </a:cubicBezTo>
                  <a:cubicBezTo>
                    <a:pt x="100071" y="1751995"/>
                    <a:pt x="104606" y="1794631"/>
                    <a:pt x="84649" y="1846338"/>
                  </a:cubicBezTo>
                  <a:cubicBezTo>
                    <a:pt x="64692" y="1898045"/>
                    <a:pt x="13892" y="1959731"/>
                    <a:pt x="3006" y="2004181"/>
                  </a:cubicBezTo>
                  <a:cubicBezTo>
                    <a:pt x="-7880" y="2048631"/>
                    <a:pt x="13891" y="2071309"/>
                    <a:pt x="19334" y="2113038"/>
                  </a:cubicBezTo>
                  <a:cubicBezTo>
                    <a:pt x="24777" y="2154767"/>
                    <a:pt x="25684" y="2224616"/>
                    <a:pt x="35663" y="2254552"/>
                  </a:cubicBezTo>
                  <a:cubicBezTo>
                    <a:pt x="45642" y="2284488"/>
                    <a:pt x="67413" y="2264531"/>
                    <a:pt x="79206" y="2292652"/>
                  </a:cubicBezTo>
                  <a:cubicBezTo>
                    <a:pt x="90999" y="2320773"/>
                    <a:pt x="105513" y="2389717"/>
                    <a:pt x="106420" y="2423281"/>
                  </a:cubicBezTo>
                  <a:cubicBezTo>
                    <a:pt x="107327" y="2456845"/>
                    <a:pt x="79206" y="2465010"/>
                    <a:pt x="84649" y="2494038"/>
                  </a:cubicBezTo>
                  <a:cubicBezTo>
                    <a:pt x="90092" y="2523066"/>
                    <a:pt x="108234" y="2568423"/>
                    <a:pt x="139077" y="2597452"/>
                  </a:cubicBezTo>
                  <a:cubicBezTo>
                    <a:pt x="169920" y="2626480"/>
                    <a:pt x="246120" y="2643716"/>
                    <a:pt x="286034" y="2657323"/>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6" name="Oval 1205"/>
            <p:cNvSpPr/>
            <p:nvPr/>
          </p:nvSpPr>
          <p:spPr bwMode="auto">
            <a:xfrm flipH="1">
              <a:off x="3775637" y="7513404"/>
              <a:ext cx="64753" cy="71228"/>
            </a:xfrm>
            <a:prstGeom prst="ellipse">
              <a:avLst/>
            </a:prstGeom>
            <a:solidFill>
              <a:schemeClr val="tx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7" name="Freeform 1206"/>
            <p:cNvSpPr/>
            <p:nvPr/>
          </p:nvSpPr>
          <p:spPr bwMode="auto">
            <a:xfrm flipH="1">
              <a:off x="3464631" y="7256853"/>
              <a:ext cx="1294683" cy="253908"/>
            </a:xfrm>
            <a:custGeom>
              <a:avLst/>
              <a:gdLst>
                <a:gd name="connsiteX0" fmla="*/ 511629 w 6166758"/>
                <a:gd name="connsiteY0" fmla="*/ 1034143 h 1099457"/>
                <a:gd name="connsiteX1" fmla="*/ 1273629 w 6166758"/>
                <a:gd name="connsiteY1" fmla="*/ 968829 h 1099457"/>
                <a:gd name="connsiteX2" fmla="*/ 1959429 w 6166758"/>
                <a:gd name="connsiteY2" fmla="*/ 908957 h 1099457"/>
                <a:gd name="connsiteX3" fmla="*/ 2416629 w 6166758"/>
                <a:gd name="connsiteY3" fmla="*/ 881743 h 1099457"/>
                <a:gd name="connsiteX4" fmla="*/ 3238500 w 6166758"/>
                <a:gd name="connsiteY4" fmla="*/ 821872 h 1099457"/>
                <a:gd name="connsiteX5" fmla="*/ 3891643 w 6166758"/>
                <a:gd name="connsiteY5" fmla="*/ 778329 h 1099457"/>
                <a:gd name="connsiteX6" fmla="*/ 4049486 w 6166758"/>
                <a:gd name="connsiteY6" fmla="*/ 772886 h 1099457"/>
                <a:gd name="connsiteX7" fmla="*/ 4158343 w 6166758"/>
                <a:gd name="connsiteY7" fmla="*/ 783772 h 1099457"/>
                <a:gd name="connsiteX8" fmla="*/ 4365172 w 6166758"/>
                <a:gd name="connsiteY8" fmla="*/ 843643 h 1099457"/>
                <a:gd name="connsiteX9" fmla="*/ 4435929 w 6166758"/>
                <a:gd name="connsiteY9" fmla="*/ 849086 h 1099457"/>
                <a:gd name="connsiteX10" fmla="*/ 5502729 w 6166758"/>
                <a:gd name="connsiteY10" fmla="*/ 751115 h 1099457"/>
                <a:gd name="connsiteX11" fmla="*/ 6112329 w 6166758"/>
                <a:gd name="connsiteY11" fmla="*/ 696686 h 1099457"/>
                <a:gd name="connsiteX12" fmla="*/ 6166758 w 6166758"/>
                <a:gd name="connsiteY12" fmla="*/ 691243 h 1099457"/>
                <a:gd name="connsiteX13" fmla="*/ 6134100 w 6166758"/>
                <a:gd name="connsiteY13" fmla="*/ 647700 h 1099457"/>
                <a:gd name="connsiteX14" fmla="*/ 5715000 w 6166758"/>
                <a:gd name="connsiteY14" fmla="*/ 332015 h 1099457"/>
                <a:gd name="connsiteX15" fmla="*/ 5453743 w 6166758"/>
                <a:gd name="connsiteY15" fmla="*/ 163286 h 1099457"/>
                <a:gd name="connsiteX16" fmla="*/ 5334000 w 6166758"/>
                <a:gd name="connsiteY16" fmla="*/ 108857 h 1099457"/>
                <a:gd name="connsiteX17" fmla="*/ 5219700 w 6166758"/>
                <a:gd name="connsiteY17" fmla="*/ 81643 h 1099457"/>
                <a:gd name="connsiteX18" fmla="*/ 4876800 w 6166758"/>
                <a:gd name="connsiteY18" fmla="*/ 48986 h 1099457"/>
                <a:gd name="connsiteX19" fmla="*/ 4419600 w 6166758"/>
                <a:gd name="connsiteY19" fmla="*/ 27215 h 1099457"/>
                <a:gd name="connsiteX20" fmla="*/ 4142015 w 6166758"/>
                <a:gd name="connsiteY20" fmla="*/ 16329 h 1099457"/>
                <a:gd name="connsiteX21" fmla="*/ 3690258 w 6166758"/>
                <a:gd name="connsiteY21" fmla="*/ 0 h 1099457"/>
                <a:gd name="connsiteX22" fmla="*/ 3075215 w 6166758"/>
                <a:gd name="connsiteY22" fmla="*/ 0 h 1099457"/>
                <a:gd name="connsiteX23" fmla="*/ 2574472 w 6166758"/>
                <a:gd name="connsiteY23" fmla="*/ 10886 h 1099457"/>
                <a:gd name="connsiteX24" fmla="*/ 2204358 w 6166758"/>
                <a:gd name="connsiteY24" fmla="*/ 43543 h 1099457"/>
                <a:gd name="connsiteX25" fmla="*/ 1845129 w 6166758"/>
                <a:gd name="connsiteY25" fmla="*/ 92529 h 1099457"/>
                <a:gd name="connsiteX26" fmla="*/ 1589315 w 6166758"/>
                <a:gd name="connsiteY26" fmla="*/ 146957 h 1099457"/>
                <a:gd name="connsiteX27" fmla="*/ 1366158 w 6166758"/>
                <a:gd name="connsiteY27" fmla="*/ 223157 h 1099457"/>
                <a:gd name="connsiteX28" fmla="*/ 1094015 w 6166758"/>
                <a:gd name="connsiteY28" fmla="*/ 342900 h 1099457"/>
                <a:gd name="connsiteX29" fmla="*/ 778329 w 6166758"/>
                <a:gd name="connsiteY29" fmla="*/ 527957 h 1099457"/>
                <a:gd name="connsiteX30" fmla="*/ 408215 w 6166758"/>
                <a:gd name="connsiteY30" fmla="*/ 745672 h 1099457"/>
                <a:gd name="connsiteX31" fmla="*/ 87086 w 6166758"/>
                <a:gd name="connsiteY31" fmla="*/ 952500 h 1099457"/>
                <a:gd name="connsiteX32" fmla="*/ 5443 w 6166758"/>
                <a:gd name="connsiteY32" fmla="*/ 1028700 h 1099457"/>
                <a:gd name="connsiteX33" fmla="*/ 0 w 6166758"/>
                <a:gd name="connsiteY33" fmla="*/ 1077686 h 1099457"/>
                <a:gd name="connsiteX34" fmla="*/ 54429 w 6166758"/>
                <a:gd name="connsiteY34" fmla="*/ 1099457 h 1099457"/>
                <a:gd name="connsiteX35" fmla="*/ 206829 w 6166758"/>
                <a:gd name="connsiteY35" fmla="*/ 1083129 h 1099457"/>
                <a:gd name="connsiteX36" fmla="*/ 402772 w 6166758"/>
                <a:gd name="connsiteY36" fmla="*/ 1055915 h 1099457"/>
                <a:gd name="connsiteX37" fmla="*/ 511629 w 6166758"/>
                <a:gd name="connsiteY37" fmla="*/ 1034143 h 109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66758" h="1099457">
                  <a:moveTo>
                    <a:pt x="511629" y="1034143"/>
                  </a:moveTo>
                  <a:lnTo>
                    <a:pt x="1273629" y="968829"/>
                  </a:lnTo>
                  <a:lnTo>
                    <a:pt x="1959429" y="908957"/>
                  </a:lnTo>
                  <a:lnTo>
                    <a:pt x="2416629" y="881743"/>
                  </a:lnTo>
                  <a:lnTo>
                    <a:pt x="3238500" y="821872"/>
                  </a:lnTo>
                  <a:lnTo>
                    <a:pt x="3891643" y="778329"/>
                  </a:lnTo>
                  <a:lnTo>
                    <a:pt x="4049486" y="772886"/>
                  </a:lnTo>
                  <a:lnTo>
                    <a:pt x="4158343" y="783772"/>
                  </a:lnTo>
                  <a:lnTo>
                    <a:pt x="4365172" y="843643"/>
                  </a:lnTo>
                  <a:lnTo>
                    <a:pt x="4435929" y="849086"/>
                  </a:lnTo>
                  <a:lnTo>
                    <a:pt x="5502729" y="751115"/>
                  </a:lnTo>
                  <a:lnTo>
                    <a:pt x="6112329" y="696686"/>
                  </a:lnTo>
                  <a:lnTo>
                    <a:pt x="6166758" y="691243"/>
                  </a:lnTo>
                  <a:lnTo>
                    <a:pt x="6134100" y="647700"/>
                  </a:lnTo>
                  <a:lnTo>
                    <a:pt x="5715000" y="332015"/>
                  </a:lnTo>
                  <a:lnTo>
                    <a:pt x="5453743" y="163286"/>
                  </a:lnTo>
                  <a:lnTo>
                    <a:pt x="5334000" y="108857"/>
                  </a:lnTo>
                  <a:lnTo>
                    <a:pt x="5219700" y="81643"/>
                  </a:lnTo>
                  <a:lnTo>
                    <a:pt x="4876800" y="48986"/>
                  </a:lnTo>
                  <a:lnTo>
                    <a:pt x="4419600" y="27215"/>
                  </a:lnTo>
                  <a:lnTo>
                    <a:pt x="4142015" y="16329"/>
                  </a:lnTo>
                  <a:lnTo>
                    <a:pt x="3690258" y="0"/>
                  </a:lnTo>
                  <a:lnTo>
                    <a:pt x="3075215" y="0"/>
                  </a:lnTo>
                  <a:lnTo>
                    <a:pt x="2574472" y="10886"/>
                  </a:lnTo>
                  <a:lnTo>
                    <a:pt x="2204358" y="43543"/>
                  </a:lnTo>
                  <a:lnTo>
                    <a:pt x="1845129" y="92529"/>
                  </a:lnTo>
                  <a:lnTo>
                    <a:pt x="1589315" y="146957"/>
                  </a:lnTo>
                  <a:lnTo>
                    <a:pt x="1366158" y="223157"/>
                  </a:lnTo>
                  <a:lnTo>
                    <a:pt x="1094015" y="342900"/>
                  </a:lnTo>
                  <a:lnTo>
                    <a:pt x="778329" y="527957"/>
                  </a:lnTo>
                  <a:lnTo>
                    <a:pt x="408215" y="745672"/>
                  </a:lnTo>
                  <a:lnTo>
                    <a:pt x="87086" y="952500"/>
                  </a:lnTo>
                  <a:lnTo>
                    <a:pt x="5443" y="1028700"/>
                  </a:lnTo>
                  <a:lnTo>
                    <a:pt x="0" y="1077686"/>
                  </a:lnTo>
                  <a:lnTo>
                    <a:pt x="54429" y="1099457"/>
                  </a:lnTo>
                  <a:lnTo>
                    <a:pt x="206829" y="1083129"/>
                  </a:lnTo>
                  <a:lnTo>
                    <a:pt x="402772" y="1055915"/>
                  </a:lnTo>
                  <a:lnTo>
                    <a:pt x="511629" y="1034143"/>
                  </a:ln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8" name="Freeform 1207"/>
            <p:cNvSpPr/>
            <p:nvPr/>
          </p:nvSpPr>
          <p:spPr bwMode="auto">
            <a:xfrm flipH="1">
              <a:off x="4565370" y="7359211"/>
              <a:ext cx="83928" cy="138324"/>
            </a:xfrm>
            <a:custGeom>
              <a:avLst/>
              <a:gdLst>
                <a:gd name="connsiteX0" fmla="*/ 119742 w 391885"/>
                <a:gd name="connsiteY0" fmla="*/ 141514 h 500743"/>
                <a:gd name="connsiteX1" fmla="*/ 0 w 391885"/>
                <a:gd name="connsiteY1" fmla="*/ 500743 h 500743"/>
                <a:gd name="connsiteX2" fmla="*/ 321128 w 391885"/>
                <a:gd name="connsiteY2" fmla="*/ 473529 h 500743"/>
                <a:gd name="connsiteX3" fmla="*/ 391885 w 391885"/>
                <a:gd name="connsiteY3" fmla="*/ 0 h 500743"/>
                <a:gd name="connsiteX4" fmla="*/ 119742 w 391885"/>
                <a:gd name="connsiteY4" fmla="*/ 141514 h 50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885" h="500743">
                  <a:moveTo>
                    <a:pt x="119742" y="141514"/>
                  </a:moveTo>
                  <a:lnTo>
                    <a:pt x="0" y="500743"/>
                  </a:lnTo>
                  <a:lnTo>
                    <a:pt x="321128" y="473529"/>
                  </a:lnTo>
                  <a:lnTo>
                    <a:pt x="391885" y="0"/>
                  </a:lnTo>
                  <a:lnTo>
                    <a:pt x="119742" y="141514"/>
                  </a:ln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9" name="Freeform 1208"/>
            <p:cNvSpPr/>
            <p:nvPr/>
          </p:nvSpPr>
          <p:spPr bwMode="auto">
            <a:xfrm flipH="1">
              <a:off x="4201675" y="7257960"/>
              <a:ext cx="95987" cy="208272"/>
            </a:xfrm>
            <a:custGeom>
              <a:avLst/>
              <a:gdLst>
                <a:gd name="connsiteX0" fmla="*/ 103414 w 457200"/>
                <a:gd name="connsiteY0" fmla="*/ 16328 h 816428"/>
                <a:gd name="connsiteX1" fmla="*/ 0 w 457200"/>
                <a:gd name="connsiteY1" fmla="*/ 816428 h 816428"/>
                <a:gd name="connsiteX2" fmla="*/ 386443 w 457200"/>
                <a:gd name="connsiteY2" fmla="*/ 783771 h 816428"/>
                <a:gd name="connsiteX3" fmla="*/ 457200 w 457200"/>
                <a:gd name="connsiteY3" fmla="*/ 0 h 816428"/>
                <a:gd name="connsiteX4" fmla="*/ 103414 w 457200"/>
                <a:gd name="connsiteY4" fmla="*/ 16328 h 816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816428">
                  <a:moveTo>
                    <a:pt x="103414" y="16328"/>
                  </a:moveTo>
                  <a:lnTo>
                    <a:pt x="0" y="816428"/>
                  </a:lnTo>
                  <a:lnTo>
                    <a:pt x="386443" y="783771"/>
                  </a:lnTo>
                  <a:lnTo>
                    <a:pt x="457200" y="0"/>
                  </a:lnTo>
                  <a:lnTo>
                    <a:pt x="103414" y="16328"/>
                  </a:ln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0" name="Freeform 1209"/>
            <p:cNvSpPr/>
            <p:nvPr/>
          </p:nvSpPr>
          <p:spPr bwMode="auto">
            <a:xfrm flipH="1">
              <a:off x="3837152" y="7259742"/>
              <a:ext cx="74276" cy="192139"/>
            </a:xfrm>
            <a:custGeom>
              <a:avLst/>
              <a:gdLst>
                <a:gd name="connsiteX0" fmla="*/ 43543 w 353786"/>
                <a:gd name="connsiteY0" fmla="*/ 0 h 783772"/>
                <a:gd name="connsiteX1" fmla="*/ 0 w 353786"/>
                <a:gd name="connsiteY1" fmla="*/ 713014 h 783772"/>
                <a:gd name="connsiteX2" fmla="*/ 353786 w 353786"/>
                <a:gd name="connsiteY2" fmla="*/ 783772 h 783772"/>
                <a:gd name="connsiteX3" fmla="*/ 342900 w 353786"/>
                <a:gd name="connsiteY3" fmla="*/ 10886 h 783772"/>
                <a:gd name="connsiteX4" fmla="*/ 43543 w 353786"/>
                <a:gd name="connsiteY4" fmla="*/ 0 h 783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6" h="783772">
                  <a:moveTo>
                    <a:pt x="43543" y="0"/>
                  </a:moveTo>
                  <a:lnTo>
                    <a:pt x="0" y="713014"/>
                  </a:lnTo>
                  <a:lnTo>
                    <a:pt x="353786" y="783772"/>
                  </a:lnTo>
                  <a:lnTo>
                    <a:pt x="342900" y="10886"/>
                  </a:lnTo>
                  <a:lnTo>
                    <a:pt x="43543" y="0"/>
                  </a:ln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1" name="Freeform 1210"/>
            <p:cNvSpPr/>
            <p:nvPr/>
          </p:nvSpPr>
          <p:spPr bwMode="auto">
            <a:xfrm flipH="1">
              <a:off x="3838475" y="7612576"/>
              <a:ext cx="887880" cy="218713"/>
            </a:xfrm>
            <a:custGeom>
              <a:avLst/>
              <a:gdLst>
                <a:gd name="connsiteX0" fmla="*/ 0 w 4229100"/>
                <a:gd name="connsiteY0" fmla="*/ 179614 h 947057"/>
                <a:gd name="connsiteX1" fmla="*/ 157843 w 4229100"/>
                <a:gd name="connsiteY1" fmla="*/ 212271 h 947057"/>
                <a:gd name="connsiteX2" fmla="*/ 283029 w 4229100"/>
                <a:gd name="connsiteY2" fmla="*/ 212271 h 947057"/>
                <a:gd name="connsiteX3" fmla="*/ 397329 w 4229100"/>
                <a:gd name="connsiteY3" fmla="*/ 168728 h 947057"/>
                <a:gd name="connsiteX4" fmla="*/ 495300 w 4229100"/>
                <a:gd name="connsiteY4" fmla="*/ 103414 h 947057"/>
                <a:gd name="connsiteX5" fmla="*/ 718457 w 4229100"/>
                <a:gd name="connsiteY5" fmla="*/ 87086 h 947057"/>
                <a:gd name="connsiteX6" fmla="*/ 1148443 w 4229100"/>
                <a:gd name="connsiteY6" fmla="*/ 70757 h 947057"/>
                <a:gd name="connsiteX7" fmla="*/ 1850572 w 4229100"/>
                <a:gd name="connsiteY7" fmla="*/ 48986 h 947057"/>
                <a:gd name="connsiteX8" fmla="*/ 2389414 w 4229100"/>
                <a:gd name="connsiteY8" fmla="*/ 32657 h 947057"/>
                <a:gd name="connsiteX9" fmla="*/ 2922814 w 4229100"/>
                <a:gd name="connsiteY9" fmla="*/ 16328 h 947057"/>
                <a:gd name="connsiteX10" fmla="*/ 3390900 w 4229100"/>
                <a:gd name="connsiteY10" fmla="*/ 5443 h 947057"/>
                <a:gd name="connsiteX11" fmla="*/ 3624943 w 4229100"/>
                <a:gd name="connsiteY11" fmla="*/ 0 h 947057"/>
                <a:gd name="connsiteX12" fmla="*/ 3897086 w 4229100"/>
                <a:gd name="connsiteY12" fmla="*/ 92528 h 947057"/>
                <a:gd name="connsiteX13" fmla="*/ 3978729 w 4229100"/>
                <a:gd name="connsiteY13" fmla="*/ 125186 h 947057"/>
                <a:gd name="connsiteX14" fmla="*/ 4229100 w 4229100"/>
                <a:gd name="connsiteY14" fmla="*/ 114300 h 947057"/>
                <a:gd name="connsiteX15" fmla="*/ 4169229 w 4229100"/>
                <a:gd name="connsiteY15" fmla="*/ 174171 h 947057"/>
                <a:gd name="connsiteX16" fmla="*/ 4103914 w 4229100"/>
                <a:gd name="connsiteY16" fmla="*/ 266700 h 947057"/>
                <a:gd name="connsiteX17" fmla="*/ 4038600 w 4229100"/>
                <a:gd name="connsiteY17" fmla="*/ 386443 h 947057"/>
                <a:gd name="connsiteX18" fmla="*/ 3995057 w 4229100"/>
                <a:gd name="connsiteY18" fmla="*/ 538843 h 947057"/>
                <a:gd name="connsiteX19" fmla="*/ 3967843 w 4229100"/>
                <a:gd name="connsiteY19" fmla="*/ 691243 h 947057"/>
                <a:gd name="connsiteX20" fmla="*/ 3962400 w 4229100"/>
                <a:gd name="connsiteY20" fmla="*/ 805543 h 947057"/>
                <a:gd name="connsiteX21" fmla="*/ 3973286 w 4229100"/>
                <a:gd name="connsiteY21" fmla="*/ 887186 h 947057"/>
                <a:gd name="connsiteX22" fmla="*/ 3973286 w 4229100"/>
                <a:gd name="connsiteY22" fmla="*/ 887186 h 947057"/>
                <a:gd name="connsiteX23" fmla="*/ 3619500 w 4229100"/>
                <a:gd name="connsiteY23" fmla="*/ 898071 h 947057"/>
                <a:gd name="connsiteX24" fmla="*/ 2852057 w 4229100"/>
                <a:gd name="connsiteY24" fmla="*/ 914400 h 947057"/>
                <a:gd name="connsiteX25" fmla="*/ 2095500 w 4229100"/>
                <a:gd name="connsiteY25" fmla="*/ 925286 h 947057"/>
                <a:gd name="connsiteX26" fmla="*/ 1164772 w 4229100"/>
                <a:gd name="connsiteY26" fmla="*/ 936171 h 947057"/>
                <a:gd name="connsiteX27" fmla="*/ 598714 w 4229100"/>
                <a:gd name="connsiteY27" fmla="*/ 947057 h 947057"/>
                <a:gd name="connsiteX28" fmla="*/ 277586 w 4229100"/>
                <a:gd name="connsiteY28" fmla="*/ 947057 h 947057"/>
                <a:gd name="connsiteX29" fmla="*/ 239486 w 4229100"/>
                <a:gd name="connsiteY29" fmla="*/ 947057 h 947057"/>
                <a:gd name="connsiteX30" fmla="*/ 239486 w 4229100"/>
                <a:gd name="connsiteY30" fmla="*/ 887186 h 947057"/>
                <a:gd name="connsiteX31" fmla="*/ 217714 w 4229100"/>
                <a:gd name="connsiteY31" fmla="*/ 707571 h 947057"/>
                <a:gd name="connsiteX32" fmla="*/ 185057 w 4229100"/>
                <a:gd name="connsiteY32" fmla="*/ 560614 h 947057"/>
                <a:gd name="connsiteX33" fmla="*/ 130629 w 4229100"/>
                <a:gd name="connsiteY33" fmla="*/ 402771 h 947057"/>
                <a:gd name="connsiteX34" fmla="*/ 65314 w 4229100"/>
                <a:gd name="connsiteY34" fmla="*/ 277586 h 947057"/>
                <a:gd name="connsiteX35" fmla="*/ 0 w 4229100"/>
                <a:gd name="connsiteY35" fmla="*/ 179614 h 94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229100" h="947057">
                  <a:moveTo>
                    <a:pt x="0" y="179614"/>
                  </a:moveTo>
                  <a:lnTo>
                    <a:pt x="157843" y="212271"/>
                  </a:lnTo>
                  <a:lnTo>
                    <a:pt x="283029" y="212271"/>
                  </a:lnTo>
                  <a:lnTo>
                    <a:pt x="397329" y="168728"/>
                  </a:lnTo>
                  <a:lnTo>
                    <a:pt x="495300" y="103414"/>
                  </a:lnTo>
                  <a:lnTo>
                    <a:pt x="718457" y="87086"/>
                  </a:lnTo>
                  <a:lnTo>
                    <a:pt x="1148443" y="70757"/>
                  </a:lnTo>
                  <a:lnTo>
                    <a:pt x="1850572" y="48986"/>
                  </a:lnTo>
                  <a:lnTo>
                    <a:pt x="2389414" y="32657"/>
                  </a:lnTo>
                  <a:lnTo>
                    <a:pt x="2922814" y="16328"/>
                  </a:lnTo>
                  <a:lnTo>
                    <a:pt x="3390900" y="5443"/>
                  </a:lnTo>
                  <a:lnTo>
                    <a:pt x="3624943" y="0"/>
                  </a:lnTo>
                  <a:lnTo>
                    <a:pt x="3897086" y="92528"/>
                  </a:lnTo>
                  <a:lnTo>
                    <a:pt x="3978729" y="125186"/>
                  </a:lnTo>
                  <a:lnTo>
                    <a:pt x="4229100" y="114300"/>
                  </a:lnTo>
                  <a:lnTo>
                    <a:pt x="4169229" y="174171"/>
                  </a:lnTo>
                  <a:lnTo>
                    <a:pt x="4103914" y="266700"/>
                  </a:lnTo>
                  <a:lnTo>
                    <a:pt x="4038600" y="386443"/>
                  </a:lnTo>
                  <a:lnTo>
                    <a:pt x="3995057" y="538843"/>
                  </a:lnTo>
                  <a:lnTo>
                    <a:pt x="3967843" y="691243"/>
                  </a:lnTo>
                  <a:lnTo>
                    <a:pt x="3962400" y="805543"/>
                  </a:lnTo>
                  <a:lnTo>
                    <a:pt x="3973286" y="887186"/>
                  </a:lnTo>
                  <a:lnTo>
                    <a:pt x="3973286" y="887186"/>
                  </a:lnTo>
                  <a:lnTo>
                    <a:pt x="3619500" y="898071"/>
                  </a:lnTo>
                  <a:lnTo>
                    <a:pt x="2852057" y="914400"/>
                  </a:lnTo>
                  <a:lnTo>
                    <a:pt x="2095500" y="925286"/>
                  </a:lnTo>
                  <a:lnTo>
                    <a:pt x="1164772" y="936171"/>
                  </a:lnTo>
                  <a:lnTo>
                    <a:pt x="598714" y="947057"/>
                  </a:lnTo>
                  <a:lnTo>
                    <a:pt x="277586" y="947057"/>
                  </a:lnTo>
                  <a:lnTo>
                    <a:pt x="239486" y="947057"/>
                  </a:lnTo>
                  <a:lnTo>
                    <a:pt x="239486" y="887186"/>
                  </a:lnTo>
                  <a:lnTo>
                    <a:pt x="217714" y="707571"/>
                  </a:lnTo>
                  <a:lnTo>
                    <a:pt x="185057" y="560614"/>
                  </a:lnTo>
                  <a:lnTo>
                    <a:pt x="130629" y="402771"/>
                  </a:lnTo>
                  <a:lnTo>
                    <a:pt x="65314" y="277586"/>
                  </a:lnTo>
                  <a:lnTo>
                    <a:pt x="0" y="179614"/>
                  </a:ln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2" name="Freeform 1211"/>
            <p:cNvSpPr/>
            <p:nvPr/>
          </p:nvSpPr>
          <p:spPr bwMode="auto">
            <a:xfrm flipH="1">
              <a:off x="4999644" y="7559697"/>
              <a:ext cx="134839" cy="98044"/>
            </a:xfrm>
            <a:custGeom>
              <a:avLst/>
              <a:gdLst>
                <a:gd name="connsiteX0" fmla="*/ 0 w 642258"/>
                <a:gd name="connsiteY0" fmla="*/ 424543 h 424543"/>
                <a:gd name="connsiteX1" fmla="*/ 141515 w 642258"/>
                <a:gd name="connsiteY1" fmla="*/ 348343 h 424543"/>
                <a:gd name="connsiteX2" fmla="*/ 288472 w 642258"/>
                <a:gd name="connsiteY2" fmla="*/ 277586 h 424543"/>
                <a:gd name="connsiteX3" fmla="*/ 419100 w 642258"/>
                <a:gd name="connsiteY3" fmla="*/ 239486 h 424543"/>
                <a:gd name="connsiteX4" fmla="*/ 555172 w 642258"/>
                <a:gd name="connsiteY4" fmla="*/ 119743 h 424543"/>
                <a:gd name="connsiteX5" fmla="*/ 625929 w 642258"/>
                <a:gd name="connsiteY5" fmla="*/ 43543 h 424543"/>
                <a:gd name="connsiteX6" fmla="*/ 642258 w 642258"/>
                <a:gd name="connsiteY6" fmla="*/ 0 h 424543"/>
                <a:gd name="connsiteX7" fmla="*/ 566058 w 642258"/>
                <a:gd name="connsiteY7" fmla="*/ 10886 h 424543"/>
                <a:gd name="connsiteX8" fmla="*/ 321129 w 642258"/>
                <a:gd name="connsiteY8" fmla="*/ 59871 h 424543"/>
                <a:gd name="connsiteX9" fmla="*/ 195943 w 642258"/>
                <a:gd name="connsiteY9" fmla="*/ 87086 h 424543"/>
                <a:gd name="connsiteX10" fmla="*/ 157843 w 642258"/>
                <a:gd name="connsiteY10" fmla="*/ 81643 h 424543"/>
                <a:gd name="connsiteX11" fmla="*/ 152400 w 642258"/>
                <a:gd name="connsiteY11" fmla="*/ 59871 h 424543"/>
                <a:gd name="connsiteX12" fmla="*/ 87086 w 642258"/>
                <a:gd name="connsiteY12" fmla="*/ 141514 h 424543"/>
                <a:gd name="connsiteX13" fmla="*/ 54429 w 642258"/>
                <a:gd name="connsiteY13" fmla="*/ 244929 h 424543"/>
                <a:gd name="connsiteX14" fmla="*/ 38100 w 642258"/>
                <a:gd name="connsiteY14" fmla="*/ 332014 h 424543"/>
                <a:gd name="connsiteX15" fmla="*/ 0 w 642258"/>
                <a:gd name="connsiteY15" fmla="*/ 424543 h 42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2258" h="424543">
                  <a:moveTo>
                    <a:pt x="0" y="424543"/>
                  </a:moveTo>
                  <a:lnTo>
                    <a:pt x="141515" y="348343"/>
                  </a:lnTo>
                  <a:lnTo>
                    <a:pt x="288472" y="277586"/>
                  </a:lnTo>
                  <a:lnTo>
                    <a:pt x="419100" y="239486"/>
                  </a:lnTo>
                  <a:lnTo>
                    <a:pt x="555172" y="119743"/>
                  </a:lnTo>
                  <a:lnTo>
                    <a:pt x="625929" y="43543"/>
                  </a:lnTo>
                  <a:lnTo>
                    <a:pt x="642258" y="0"/>
                  </a:lnTo>
                  <a:lnTo>
                    <a:pt x="566058" y="10886"/>
                  </a:lnTo>
                  <a:lnTo>
                    <a:pt x="321129" y="59871"/>
                  </a:lnTo>
                  <a:lnTo>
                    <a:pt x="195943" y="87086"/>
                  </a:lnTo>
                  <a:lnTo>
                    <a:pt x="157843" y="81643"/>
                  </a:lnTo>
                  <a:lnTo>
                    <a:pt x="152400" y="59871"/>
                  </a:lnTo>
                  <a:lnTo>
                    <a:pt x="87086" y="141514"/>
                  </a:lnTo>
                  <a:lnTo>
                    <a:pt x="54429" y="244929"/>
                  </a:lnTo>
                  <a:lnTo>
                    <a:pt x="38100" y="332014"/>
                  </a:lnTo>
                  <a:lnTo>
                    <a:pt x="0" y="424543"/>
                  </a:lnTo>
                  <a:close/>
                </a:path>
              </a:pathLst>
            </a:custGeom>
            <a:solidFill>
              <a:schemeClr val="tx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3" name="Freeform 1212"/>
            <p:cNvSpPr/>
            <p:nvPr/>
          </p:nvSpPr>
          <p:spPr bwMode="auto">
            <a:xfrm flipH="1">
              <a:off x="3352646" y="7466767"/>
              <a:ext cx="98273" cy="82960"/>
            </a:xfrm>
            <a:custGeom>
              <a:avLst/>
              <a:gdLst>
                <a:gd name="connsiteX0" fmla="*/ 0 w 468086"/>
                <a:gd name="connsiteY0" fmla="*/ 27215 h 359229"/>
                <a:gd name="connsiteX1" fmla="*/ 81643 w 468086"/>
                <a:gd name="connsiteY1" fmla="*/ 97972 h 359229"/>
                <a:gd name="connsiteX2" fmla="*/ 195943 w 468086"/>
                <a:gd name="connsiteY2" fmla="*/ 239486 h 359229"/>
                <a:gd name="connsiteX3" fmla="*/ 261257 w 468086"/>
                <a:gd name="connsiteY3" fmla="*/ 321129 h 359229"/>
                <a:gd name="connsiteX4" fmla="*/ 342900 w 468086"/>
                <a:gd name="connsiteY4" fmla="*/ 359229 h 359229"/>
                <a:gd name="connsiteX5" fmla="*/ 413657 w 468086"/>
                <a:gd name="connsiteY5" fmla="*/ 342900 h 359229"/>
                <a:gd name="connsiteX6" fmla="*/ 457200 w 468086"/>
                <a:gd name="connsiteY6" fmla="*/ 293915 h 359229"/>
                <a:gd name="connsiteX7" fmla="*/ 468086 w 468086"/>
                <a:gd name="connsiteY7" fmla="*/ 146958 h 359229"/>
                <a:gd name="connsiteX8" fmla="*/ 468086 w 468086"/>
                <a:gd name="connsiteY8" fmla="*/ 65315 h 359229"/>
                <a:gd name="connsiteX9" fmla="*/ 446314 w 468086"/>
                <a:gd name="connsiteY9" fmla="*/ 0 h 359229"/>
                <a:gd name="connsiteX10" fmla="*/ 353786 w 468086"/>
                <a:gd name="connsiteY10" fmla="*/ 5443 h 359229"/>
                <a:gd name="connsiteX11" fmla="*/ 157843 w 468086"/>
                <a:gd name="connsiteY11" fmla="*/ 21772 h 359229"/>
                <a:gd name="connsiteX12" fmla="*/ 0 w 468086"/>
                <a:gd name="connsiteY12" fmla="*/ 27215 h 35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8086" h="359229">
                  <a:moveTo>
                    <a:pt x="0" y="27215"/>
                  </a:moveTo>
                  <a:lnTo>
                    <a:pt x="81643" y="97972"/>
                  </a:lnTo>
                  <a:lnTo>
                    <a:pt x="195943" y="239486"/>
                  </a:lnTo>
                  <a:lnTo>
                    <a:pt x="261257" y="321129"/>
                  </a:lnTo>
                  <a:lnTo>
                    <a:pt x="342900" y="359229"/>
                  </a:lnTo>
                  <a:lnTo>
                    <a:pt x="413657" y="342900"/>
                  </a:lnTo>
                  <a:lnTo>
                    <a:pt x="457200" y="293915"/>
                  </a:lnTo>
                  <a:lnTo>
                    <a:pt x="468086" y="146958"/>
                  </a:lnTo>
                  <a:lnTo>
                    <a:pt x="468086" y="65315"/>
                  </a:lnTo>
                  <a:lnTo>
                    <a:pt x="446314" y="0"/>
                  </a:lnTo>
                  <a:lnTo>
                    <a:pt x="353786" y="5443"/>
                  </a:lnTo>
                  <a:lnTo>
                    <a:pt x="157843" y="21772"/>
                  </a:lnTo>
                  <a:lnTo>
                    <a:pt x="0" y="27215"/>
                  </a:lnTo>
                  <a:close/>
                </a:path>
              </a:pathLst>
            </a:custGeom>
            <a:solidFill>
              <a:schemeClr val="tx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4" name="Freeform 1213"/>
            <p:cNvSpPr/>
            <p:nvPr/>
          </p:nvSpPr>
          <p:spPr bwMode="auto">
            <a:xfrm flipH="1">
              <a:off x="4271380" y="7538415"/>
              <a:ext cx="74276" cy="16341"/>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5" name="Freeform 1214"/>
            <p:cNvSpPr/>
            <p:nvPr/>
          </p:nvSpPr>
          <p:spPr bwMode="auto">
            <a:xfrm rot="467721">
              <a:off x="4184404" y="7532629"/>
              <a:ext cx="75334" cy="14855"/>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6" name="Freeform 1215"/>
            <p:cNvSpPr/>
            <p:nvPr/>
          </p:nvSpPr>
          <p:spPr bwMode="auto">
            <a:xfrm flipH="1">
              <a:off x="3334058" y="7612554"/>
              <a:ext cx="248188" cy="190630"/>
            </a:xfrm>
            <a:custGeom>
              <a:avLst/>
              <a:gdLst>
                <a:gd name="connsiteX0" fmla="*/ 998341 w 1182156"/>
                <a:gd name="connsiteY0" fmla="*/ 617676 h 825455"/>
                <a:gd name="connsiteX1" fmla="*/ 1086264 w 1182156"/>
                <a:gd name="connsiteY1" fmla="*/ 570783 h 825455"/>
                <a:gd name="connsiteX2" fmla="*/ 1139018 w 1182156"/>
                <a:gd name="connsiteY2" fmla="*/ 512168 h 825455"/>
                <a:gd name="connsiteX3" fmla="*/ 1180049 w 1182156"/>
                <a:gd name="connsiteY3" fmla="*/ 324599 h 825455"/>
                <a:gd name="connsiteX4" fmla="*/ 1174187 w 1182156"/>
                <a:gd name="connsiteY4" fmla="*/ 189783 h 825455"/>
                <a:gd name="connsiteX5" fmla="*/ 1156603 w 1182156"/>
                <a:gd name="connsiteY5" fmla="*/ 107722 h 825455"/>
                <a:gd name="connsiteX6" fmla="*/ 1103849 w 1182156"/>
                <a:gd name="connsiteY6" fmla="*/ 8076 h 825455"/>
                <a:gd name="connsiteX7" fmla="*/ 1062818 w 1182156"/>
                <a:gd name="connsiteY7" fmla="*/ 8076 h 825455"/>
                <a:gd name="connsiteX8" fmla="*/ 910418 w 1182156"/>
                <a:gd name="connsiteY8" fmla="*/ 25660 h 825455"/>
                <a:gd name="connsiteX9" fmla="*/ 681818 w 1182156"/>
                <a:gd name="connsiteY9" fmla="*/ 49107 h 825455"/>
                <a:gd name="connsiteX10" fmla="*/ 453218 w 1182156"/>
                <a:gd name="connsiteY10" fmla="*/ 72553 h 825455"/>
                <a:gd name="connsiteX11" fmla="*/ 294957 w 1182156"/>
                <a:gd name="connsiteY11" fmla="*/ 101860 h 825455"/>
                <a:gd name="connsiteX12" fmla="*/ 160141 w 1182156"/>
                <a:gd name="connsiteY12" fmla="*/ 154614 h 825455"/>
                <a:gd name="connsiteX13" fmla="*/ 89803 w 1182156"/>
                <a:gd name="connsiteY13" fmla="*/ 224953 h 825455"/>
                <a:gd name="connsiteX14" fmla="*/ 42911 w 1182156"/>
                <a:gd name="connsiteY14" fmla="*/ 283568 h 825455"/>
                <a:gd name="connsiteX15" fmla="*/ 1880 w 1182156"/>
                <a:gd name="connsiteY15" fmla="*/ 348045 h 825455"/>
                <a:gd name="connsiteX16" fmla="*/ 13603 w 1182156"/>
                <a:gd name="connsiteY16" fmla="*/ 383214 h 825455"/>
                <a:gd name="connsiteX17" fmla="*/ 72218 w 1182156"/>
                <a:gd name="connsiteY17" fmla="*/ 529753 h 825455"/>
                <a:gd name="connsiteX18" fmla="*/ 83941 w 1182156"/>
                <a:gd name="connsiteY18" fmla="*/ 670430 h 825455"/>
                <a:gd name="connsiteX19" fmla="*/ 72218 w 1182156"/>
                <a:gd name="connsiteY19" fmla="*/ 758353 h 825455"/>
                <a:gd name="connsiteX20" fmla="*/ 48772 w 1182156"/>
                <a:gd name="connsiteY20" fmla="*/ 822830 h 825455"/>
                <a:gd name="connsiteX21" fmla="*/ 107387 w 1182156"/>
                <a:gd name="connsiteY21" fmla="*/ 805245 h 825455"/>
                <a:gd name="connsiteX22" fmla="*/ 476664 w 1182156"/>
                <a:gd name="connsiteY22" fmla="*/ 734907 h 825455"/>
                <a:gd name="connsiteX23" fmla="*/ 857664 w 1182156"/>
                <a:gd name="connsiteY23" fmla="*/ 670430 h 825455"/>
                <a:gd name="connsiteX24" fmla="*/ 998341 w 1182156"/>
                <a:gd name="connsiteY24" fmla="*/ 617676 h 82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2156" h="825455">
                  <a:moveTo>
                    <a:pt x="998341" y="617676"/>
                  </a:moveTo>
                  <a:cubicBezTo>
                    <a:pt x="1036441" y="601068"/>
                    <a:pt x="1062818" y="588368"/>
                    <a:pt x="1086264" y="570783"/>
                  </a:cubicBezTo>
                  <a:cubicBezTo>
                    <a:pt x="1109710" y="553198"/>
                    <a:pt x="1123387" y="553199"/>
                    <a:pt x="1139018" y="512168"/>
                  </a:cubicBezTo>
                  <a:cubicBezTo>
                    <a:pt x="1154649" y="471137"/>
                    <a:pt x="1174188" y="378330"/>
                    <a:pt x="1180049" y="324599"/>
                  </a:cubicBezTo>
                  <a:cubicBezTo>
                    <a:pt x="1185910" y="270868"/>
                    <a:pt x="1178095" y="225929"/>
                    <a:pt x="1174187" y="189783"/>
                  </a:cubicBezTo>
                  <a:cubicBezTo>
                    <a:pt x="1170279" y="153637"/>
                    <a:pt x="1168326" y="138006"/>
                    <a:pt x="1156603" y="107722"/>
                  </a:cubicBezTo>
                  <a:cubicBezTo>
                    <a:pt x="1144880" y="77437"/>
                    <a:pt x="1119480" y="24684"/>
                    <a:pt x="1103849" y="8076"/>
                  </a:cubicBezTo>
                  <a:cubicBezTo>
                    <a:pt x="1088218" y="-8532"/>
                    <a:pt x="1095056" y="5145"/>
                    <a:pt x="1062818" y="8076"/>
                  </a:cubicBezTo>
                  <a:cubicBezTo>
                    <a:pt x="1030580" y="11007"/>
                    <a:pt x="910418" y="25660"/>
                    <a:pt x="910418" y="25660"/>
                  </a:cubicBezTo>
                  <a:lnTo>
                    <a:pt x="681818" y="49107"/>
                  </a:lnTo>
                  <a:cubicBezTo>
                    <a:pt x="605618" y="56922"/>
                    <a:pt x="517695" y="63761"/>
                    <a:pt x="453218" y="72553"/>
                  </a:cubicBezTo>
                  <a:cubicBezTo>
                    <a:pt x="388741" y="81345"/>
                    <a:pt x="343803" y="88183"/>
                    <a:pt x="294957" y="101860"/>
                  </a:cubicBezTo>
                  <a:cubicBezTo>
                    <a:pt x="246111" y="115537"/>
                    <a:pt x="194333" y="134099"/>
                    <a:pt x="160141" y="154614"/>
                  </a:cubicBezTo>
                  <a:cubicBezTo>
                    <a:pt x="125949" y="175129"/>
                    <a:pt x="109341" y="203461"/>
                    <a:pt x="89803" y="224953"/>
                  </a:cubicBezTo>
                  <a:cubicBezTo>
                    <a:pt x="70265" y="246445"/>
                    <a:pt x="57565" y="263053"/>
                    <a:pt x="42911" y="283568"/>
                  </a:cubicBezTo>
                  <a:cubicBezTo>
                    <a:pt x="28257" y="304083"/>
                    <a:pt x="6765" y="331437"/>
                    <a:pt x="1880" y="348045"/>
                  </a:cubicBezTo>
                  <a:cubicBezTo>
                    <a:pt x="-3005" y="364653"/>
                    <a:pt x="1880" y="352929"/>
                    <a:pt x="13603" y="383214"/>
                  </a:cubicBezTo>
                  <a:cubicBezTo>
                    <a:pt x="25326" y="413499"/>
                    <a:pt x="60495" y="481884"/>
                    <a:pt x="72218" y="529753"/>
                  </a:cubicBezTo>
                  <a:cubicBezTo>
                    <a:pt x="83941" y="577622"/>
                    <a:pt x="83941" y="632330"/>
                    <a:pt x="83941" y="670430"/>
                  </a:cubicBezTo>
                  <a:cubicBezTo>
                    <a:pt x="83941" y="708530"/>
                    <a:pt x="78079" y="732953"/>
                    <a:pt x="72218" y="758353"/>
                  </a:cubicBezTo>
                  <a:cubicBezTo>
                    <a:pt x="66357" y="783753"/>
                    <a:pt x="42910" y="815015"/>
                    <a:pt x="48772" y="822830"/>
                  </a:cubicBezTo>
                  <a:cubicBezTo>
                    <a:pt x="54633" y="830645"/>
                    <a:pt x="36072" y="819899"/>
                    <a:pt x="107387" y="805245"/>
                  </a:cubicBezTo>
                  <a:cubicBezTo>
                    <a:pt x="178702" y="790591"/>
                    <a:pt x="351618" y="757376"/>
                    <a:pt x="476664" y="734907"/>
                  </a:cubicBezTo>
                  <a:cubicBezTo>
                    <a:pt x="601710" y="712438"/>
                    <a:pt x="768764" y="690945"/>
                    <a:pt x="857664" y="670430"/>
                  </a:cubicBezTo>
                  <a:cubicBezTo>
                    <a:pt x="946564" y="649915"/>
                    <a:pt x="960241" y="634284"/>
                    <a:pt x="998341" y="617676"/>
                  </a:cubicBez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7" name="Freeform 1216"/>
            <p:cNvSpPr/>
            <p:nvPr/>
          </p:nvSpPr>
          <p:spPr bwMode="auto">
            <a:xfrm flipH="1">
              <a:off x="4980759" y="7641679"/>
              <a:ext cx="161092" cy="202821"/>
            </a:xfrm>
            <a:custGeom>
              <a:avLst/>
              <a:gdLst>
                <a:gd name="connsiteX0" fmla="*/ 615960 w 737366"/>
                <a:gd name="connsiteY0" fmla="*/ 769799 h 869548"/>
                <a:gd name="connsiteX1" fmla="*/ 610099 w 737366"/>
                <a:gd name="connsiteY1" fmla="*/ 576368 h 869548"/>
                <a:gd name="connsiteX2" fmla="*/ 633545 w 737366"/>
                <a:gd name="connsiteY2" fmla="*/ 388799 h 869548"/>
                <a:gd name="connsiteX3" fmla="*/ 674575 w 737366"/>
                <a:gd name="connsiteY3" fmla="*/ 277429 h 869548"/>
                <a:gd name="connsiteX4" fmla="*/ 733191 w 737366"/>
                <a:gd name="connsiteY4" fmla="*/ 183645 h 869548"/>
                <a:gd name="connsiteX5" fmla="*/ 709745 w 737366"/>
                <a:gd name="connsiteY5" fmla="*/ 171922 h 869548"/>
                <a:gd name="connsiteX6" fmla="*/ 528037 w 737366"/>
                <a:gd name="connsiteY6" fmla="*/ 171922 h 869548"/>
                <a:gd name="connsiteX7" fmla="*/ 234960 w 737366"/>
                <a:gd name="connsiteY7" fmla="*/ 171922 h 869548"/>
                <a:gd name="connsiteX8" fmla="*/ 147037 w 737366"/>
                <a:gd name="connsiteY8" fmla="*/ 148476 h 869548"/>
                <a:gd name="connsiteX9" fmla="*/ 147037 w 737366"/>
                <a:gd name="connsiteY9" fmla="*/ 83999 h 869548"/>
                <a:gd name="connsiteX10" fmla="*/ 152899 w 737366"/>
                <a:gd name="connsiteY10" fmla="*/ 7799 h 869548"/>
                <a:gd name="connsiteX11" fmla="*/ 123591 w 737366"/>
                <a:gd name="connsiteY11" fmla="*/ 7799 h 869548"/>
                <a:gd name="connsiteX12" fmla="*/ 59114 w 737366"/>
                <a:gd name="connsiteY12" fmla="*/ 54691 h 869548"/>
                <a:gd name="connsiteX13" fmla="*/ 29806 w 737366"/>
                <a:gd name="connsiteY13" fmla="*/ 66414 h 869548"/>
                <a:gd name="connsiteX14" fmla="*/ 499 w 737366"/>
                <a:gd name="connsiteY14" fmla="*/ 142614 h 869548"/>
                <a:gd name="connsiteX15" fmla="*/ 12222 w 737366"/>
                <a:gd name="connsiteY15" fmla="*/ 201229 h 869548"/>
                <a:gd name="connsiteX16" fmla="*/ 23945 w 737366"/>
                <a:gd name="connsiteY16" fmla="*/ 388799 h 869548"/>
                <a:gd name="connsiteX17" fmla="*/ 47391 w 737366"/>
                <a:gd name="connsiteY17" fmla="*/ 418106 h 869548"/>
                <a:gd name="connsiteX18" fmla="*/ 82560 w 737366"/>
                <a:gd name="connsiteY18" fmla="*/ 447414 h 869548"/>
                <a:gd name="connsiteX19" fmla="*/ 100145 w 737366"/>
                <a:gd name="connsiteY19" fmla="*/ 570506 h 869548"/>
                <a:gd name="connsiteX20" fmla="*/ 64975 w 737366"/>
                <a:gd name="connsiteY20" fmla="*/ 623260 h 869548"/>
                <a:gd name="connsiteX21" fmla="*/ 141175 w 737366"/>
                <a:gd name="connsiteY21" fmla="*/ 752214 h 869548"/>
                <a:gd name="connsiteX22" fmla="*/ 229099 w 737366"/>
                <a:gd name="connsiteY22" fmla="*/ 787383 h 869548"/>
                <a:gd name="connsiteX23" fmla="*/ 317022 w 737366"/>
                <a:gd name="connsiteY23" fmla="*/ 828414 h 869548"/>
                <a:gd name="connsiteX24" fmla="*/ 469422 w 737366"/>
                <a:gd name="connsiteY24" fmla="*/ 840137 h 869548"/>
                <a:gd name="connsiteX25" fmla="*/ 563206 w 737366"/>
                <a:gd name="connsiteY25" fmla="*/ 840137 h 869548"/>
                <a:gd name="connsiteX26" fmla="*/ 651129 w 737366"/>
                <a:gd name="connsiteY26" fmla="*/ 869445 h 869548"/>
                <a:gd name="connsiteX27" fmla="*/ 645268 w 737366"/>
                <a:gd name="connsiteY27" fmla="*/ 828414 h 869548"/>
                <a:gd name="connsiteX28" fmla="*/ 615960 w 737366"/>
                <a:gd name="connsiteY28" fmla="*/ 769799 h 86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366" h="869548">
                  <a:moveTo>
                    <a:pt x="615960" y="769799"/>
                  </a:moveTo>
                  <a:cubicBezTo>
                    <a:pt x="610099" y="727791"/>
                    <a:pt x="607168" y="639868"/>
                    <a:pt x="610099" y="576368"/>
                  </a:cubicBezTo>
                  <a:cubicBezTo>
                    <a:pt x="613030" y="512868"/>
                    <a:pt x="622799" y="438622"/>
                    <a:pt x="633545" y="388799"/>
                  </a:cubicBezTo>
                  <a:cubicBezTo>
                    <a:pt x="644291" y="338976"/>
                    <a:pt x="657967" y="311621"/>
                    <a:pt x="674575" y="277429"/>
                  </a:cubicBezTo>
                  <a:cubicBezTo>
                    <a:pt x="691183" y="243237"/>
                    <a:pt x="727329" y="201229"/>
                    <a:pt x="733191" y="183645"/>
                  </a:cubicBezTo>
                  <a:cubicBezTo>
                    <a:pt x="739053" y="166060"/>
                    <a:pt x="743937" y="173876"/>
                    <a:pt x="709745" y="171922"/>
                  </a:cubicBezTo>
                  <a:cubicBezTo>
                    <a:pt x="675553" y="169968"/>
                    <a:pt x="528037" y="171922"/>
                    <a:pt x="528037" y="171922"/>
                  </a:cubicBezTo>
                  <a:cubicBezTo>
                    <a:pt x="448906" y="171922"/>
                    <a:pt x="298460" y="175830"/>
                    <a:pt x="234960" y="171922"/>
                  </a:cubicBezTo>
                  <a:cubicBezTo>
                    <a:pt x="171460" y="168014"/>
                    <a:pt x="161691" y="163130"/>
                    <a:pt x="147037" y="148476"/>
                  </a:cubicBezTo>
                  <a:cubicBezTo>
                    <a:pt x="132383" y="133822"/>
                    <a:pt x="146060" y="107445"/>
                    <a:pt x="147037" y="83999"/>
                  </a:cubicBezTo>
                  <a:cubicBezTo>
                    <a:pt x="148014" y="60553"/>
                    <a:pt x="156807" y="20499"/>
                    <a:pt x="152899" y="7799"/>
                  </a:cubicBezTo>
                  <a:cubicBezTo>
                    <a:pt x="148991" y="-4901"/>
                    <a:pt x="139222" y="-16"/>
                    <a:pt x="123591" y="7799"/>
                  </a:cubicBezTo>
                  <a:cubicBezTo>
                    <a:pt x="107960" y="15614"/>
                    <a:pt x="74745" y="44922"/>
                    <a:pt x="59114" y="54691"/>
                  </a:cubicBezTo>
                  <a:cubicBezTo>
                    <a:pt x="43483" y="64460"/>
                    <a:pt x="39575" y="51760"/>
                    <a:pt x="29806" y="66414"/>
                  </a:cubicBezTo>
                  <a:cubicBezTo>
                    <a:pt x="20037" y="81068"/>
                    <a:pt x="3430" y="120145"/>
                    <a:pt x="499" y="142614"/>
                  </a:cubicBezTo>
                  <a:cubicBezTo>
                    <a:pt x="-2432" y="165083"/>
                    <a:pt x="8314" y="160198"/>
                    <a:pt x="12222" y="201229"/>
                  </a:cubicBezTo>
                  <a:cubicBezTo>
                    <a:pt x="16130" y="242260"/>
                    <a:pt x="18084" y="352653"/>
                    <a:pt x="23945" y="388799"/>
                  </a:cubicBezTo>
                  <a:cubicBezTo>
                    <a:pt x="29806" y="424945"/>
                    <a:pt x="37622" y="408337"/>
                    <a:pt x="47391" y="418106"/>
                  </a:cubicBezTo>
                  <a:cubicBezTo>
                    <a:pt x="57160" y="427875"/>
                    <a:pt x="73768" y="422014"/>
                    <a:pt x="82560" y="447414"/>
                  </a:cubicBezTo>
                  <a:cubicBezTo>
                    <a:pt x="91352" y="472814"/>
                    <a:pt x="103076" y="541198"/>
                    <a:pt x="100145" y="570506"/>
                  </a:cubicBezTo>
                  <a:cubicBezTo>
                    <a:pt x="97214" y="599814"/>
                    <a:pt x="58137" y="592975"/>
                    <a:pt x="64975" y="623260"/>
                  </a:cubicBezTo>
                  <a:cubicBezTo>
                    <a:pt x="71813" y="653545"/>
                    <a:pt x="113821" y="724860"/>
                    <a:pt x="141175" y="752214"/>
                  </a:cubicBezTo>
                  <a:cubicBezTo>
                    <a:pt x="168529" y="779568"/>
                    <a:pt x="199791" y="774683"/>
                    <a:pt x="229099" y="787383"/>
                  </a:cubicBezTo>
                  <a:cubicBezTo>
                    <a:pt x="258407" y="800083"/>
                    <a:pt x="276968" y="819622"/>
                    <a:pt x="317022" y="828414"/>
                  </a:cubicBezTo>
                  <a:cubicBezTo>
                    <a:pt x="357076" y="837206"/>
                    <a:pt x="428391" y="838183"/>
                    <a:pt x="469422" y="840137"/>
                  </a:cubicBezTo>
                  <a:cubicBezTo>
                    <a:pt x="510453" y="842091"/>
                    <a:pt x="532922" y="835252"/>
                    <a:pt x="563206" y="840137"/>
                  </a:cubicBezTo>
                  <a:cubicBezTo>
                    <a:pt x="593490" y="845022"/>
                    <a:pt x="637452" y="871399"/>
                    <a:pt x="651129" y="869445"/>
                  </a:cubicBezTo>
                  <a:cubicBezTo>
                    <a:pt x="664806" y="867491"/>
                    <a:pt x="649176" y="845022"/>
                    <a:pt x="645268" y="828414"/>
                  </a:cubicBezTo>
                  <a:cubicBezTo>
                    <a:pt x="641360" y="811806"/>
                    <a:pt x="621821" y="811807"/>
                    <a:pt x="615960" y="769799"/>
                  </a:cubicBezTo>
                  <a:close/>
                </a:path>
              </a:pathLst>
            </a:cu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18" name="Group 1217"/>
            <p:cNvGrpSpPr/>
            <p:nvPr/>
          </p:nvGrpSpPr>
          <p:grpSpPr>
            <a:xfrm flipH="1">
              <a:off x="4757631" y="7498590"/>
              <a:ext cx="242970" cy="185121"/>
              <a:chOff x="1857586" y="4696260"/>
              <a:chExt cx="323065" cy="246146"/>
            </a:xfrm>
            <a:solidFill>
              <a:schemeClr val="accent1"/>
            </a:solidFill>
          </p:grpSpPr>
          <p:sp>
            <p:nvSpPr>
              <p:cNvPr id="1249" name="Freeform 247"/>
              <p:cNvSpPr>
                <a:spLocks/>
              </p:cNvSpPr>
              <p:nvPr/>
            </p:nvSpPr>
            <p:spPr bwMode="auto">
              <a:xfrm>
                <a:off x="1999889" y="4696260"/>
                <a:ext cx="92304" cy="53844"/>
              </a:xfrm>
              <a:custGeom>
                <a:avLst/>
                <a:gdLst>
                  <a:gd name="T0" fmla="*/ 45 w 71"/>
                  <a:gd name="T1" fmla="*/ 40 h 40"/>
                  <a:gd name="T2" fmla="*/ 45 w 71"/>
                  <a:gd name="T3" fmla="*/ 20 h 40"/>
                  <a:gd name="T4" fmla="*/ 71 w 71"/>
                  <a:gd name="T5" fmla="*/ 20 h 40"/>
                  <a:gd name="T6" fmla="*/ 71 w 71"/>
                  <a:gd name="T7" fmla="*/ 0 h 40"/>
                  <a:gd name="T8" fmla="*/ 0 w 71"/>
                  <a:gd name="T9" fmla="*/ 0 h 40"/>
                  <a:gd name="T10" fmla="*/ 0 w 71"/>
                  <a:gd name="T11" fmla="*/ 20 h 40"/>
                  <a:gd name="T12" fmla="*/ 25 w 71"/>
                  <a:gd name="T13" fmla="*/ 20 h 40"/>
                  <a:gd name="T14" fmla="*/ 25 w 71"/>
                  <a:gd name="T15" fmla="*/ 40 h 40"/>
                  <a:gd name="T16" fmla="*/ 45 w 71"/>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40">
                    <a:moveTo>
                      <a:pt x="45" y="40"/>
                    </a:moveTo>
                    <a:lnTo>
                      <a:pt x="45" y="20"/>
                    </a:lnTo>
                    <a:lnTo>
                      <a:pt x="71" y="20"/>
                    </a:lnTo>
                    <a:lnTo>
                      <a:pt x="71" y="0"/>
                    </a:lnTo>
                    <a:lnTo>
                      <a:pt x="0" y="0"/>
                    </a:lnTo>
                    <a:lnTo>
                      <a:pt x="0" y="20"/>
                    </a:lnTo>
                    <a:lnTo>
                      <a:pt x="25" y="20"/>
                    </a:lnTo>
                    <a:lnTo>
                      <a:pt x="25" y="40"/>
                    </a:lnTo>
                    <a:lnTo>
                      <a:pt x="45" y="40"/>
                    </a:lnTo>
                    <a:close/>
                  </a:path>
                </a:pathLst>
              </a:custGeom>
              <a:solidFill>
                <a:schemeClr val="tx1"/>
              </a:solidFill>
              <a:ln w="3175">
                <a:solidFill>
                  <a:schemeClr val="accent1"/>
                </a:solid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50" name="Freeform 249"/>
              <p:cNvSpPr>
                <a:spLocks/>
              </p:cNvSpPr>
              <p:nvPr/>
            </p:nvSpPr>
            <p:spPr bwMode="auto">
              <a:xfrm>
                <a:off x="1857586" y="4800102"/>
                <a:ext cx="53844" cy="103843"/>
              </a:xfrm>
              <a:custGeom>
                <a:avLst/>
                <a:gdLst>
                  <a:gd name="T0" fmla="*/ 40 w 40"/>
                  <a:gd name="T1" fmla="*/ 31 h 81"/>
                  <a:gd name="T2" fmla="*/ 20 w 40"/>
                  <a:gd name="T3" fmla="*/ 31 h 81"/>
                  <a:gd name="T4" fmla="*/ 20 w 40"/>
                  <a:gd name="T5" fmla="*/ 0 h 81"/>
                  <a:gd name="T6" fmla="*/ 0 w 40"/>
                  <a:gd name="T7" fmla="*/ 0 h 81"/>
                  <a:gd name="T8" fmla="*/ 0 w 40"/>
                  <a:gd name="T9" fmla="*/ 81 h 81"/>
                  <a:gd name="T10" fmla="*/ 20 w 40"/>
                  <a:gd name="T11" fmla="*/ 81 h 81"/>
                  <a:gd name="T12" fmla="*/ 20 w 40"/>
                  <a:gd name="T13" fmla="*/ 51 h 81"/>
                  <a:gd name="T14" fmla="*/ 40 w 40"/>
                  <a:gd name="T15" fmla="*/ 51 h 81"/>
                  <a:gd name="T16" fmla="*/ 40 w 40"/>
                  <a:gd name="T17" fmla="*/ 3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81">
                    <a:moveTo>
                      <a:pt x="40" y="31"/>
                    </a:moveTo>
                    <a:lnTo>
                      <a:pt x="20" y="31"/>
                    </a:lnTo>
                    <a:lnTo>
                      <a:pt x="20" y="0"/>
                    </a:lnTo>
                    <a:lnTo>
                      <a:pt x="0" y="0"/>
                    </a:lnTo>
                    <a:lnTo>
                      <a:pt x="0" y="81"/>
                    </a:lnTo>
                    <a:lnTo>
                      <a:pt x="20" y="81"/>
                    </a:lnTo>
                    <a:lnTo>
                      <a:pt x="20" y="51"/>
                    </a:lnTo>
                    <a:lnTo>
                      <a:pt x="40" y="51"/>
                    </a:lnTo>
                    <a:lnTo>
                      <a:pt x="40" y="31"/>
                    </a:lnTo>
                    <a:close/>
                  </a:path>
                </a:pathLst>
              </a:custGeom>
              <a:solidFill>
                <a:schemeClr val="tx1"/>
              </a:solidFill>
              <a:ln w="3175">
                <a:solidFill>
                  <a:schemeClr val="accent1"/>
                </a:solid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51" name="Freeform 251"/>
              <p:cNvSpPr>
                <a:spLocks/>
              </p:cNvSpPr>
              <p:nvPr/>
            </p:nvSpPr>
            <p:spPr bwMode="auto">
              <a:xfrm>
                <a:off x="1922969" y="4761643"/>
                <a:ext cx="257682" cy="180763"/>
              </a:xfrm>
              <a:custGeom>
                <a:avLst/>
                <a:gdLst>
                  <a:gd name="T0" fmla="*/ 180 w 200"/>
                  <a:gd name="T1" fmla="*/ 24 h 140"/>
                  <a:gd name="T2" fmla="*/ 180 w 200"/>
                  <a:gd name="T3" fmla="*/ 49 h 140"/>
                  <a:gd name="T4" fmla="*/ 165 w 200"/>
                  <a:gd name="T5" fmla="*/ 49 h 140"/>
                  <a:gd name="T6" fmla="*/ 165 w 200"/>
                  <a:gd name="T7" fmla="*/ 9 h 140"/>
                  <a:gd name="T8" fmla="*/ 165 w 200"/>
                  <a:gd name="T9" fmla="*/ 9 h 140"/>
                  <a:gd name="T10" fmla="*/ 164 w 200"/>
                  <a:gd name="T11" fmla="*/ 5 h 140"/>
                  <a:gd name="T12" fmla="*/ 163 w 200"/>
                  <a:gd name="T13" fmla="*/ 3 h 140"/>
                  <a:gd name="T14" fmla="*/ 160 w 200"/>
                  <a:gd name="T15" fmla="*/ 0 h 140"/>
                  <a:gd name="T16" fmla="*/ 156 w 200"/>
                  <a:gd name="T17" fmla="*/ 0 h 140"/>
                  <a:gd name="T18" fmla="*/ 54 w 200"/>
                  <a:gd name="T19" fmla="*/ 0 h 140"/>
                  <a:gd name="T20" fmla="*/ 54 w 200"/>
                  <a:gd name="T21" fmla="*/ 0 h 140"/>
                  <a:gd name="T22" fmla="*/ 50 w 200"/>
                  <a:gd name="T23" fmla="*/ 0 h 140"/>
                  <a:gd name="T24" fmla="*/ 48 w 200"/>
                  <a:gd name="T25" fmla="*/ 3 h 140"/>
                  <a:gd name="T26" fmla="*/ 24 w 200"/>
                  <a:gd name="T27" fmla="*/ 29 h 140"/>
                  <a:gd name="T28" fmla="*/ 9 w 200"/>
                  <a:gd name="T29" fmla="*/ 29 h 140"/>
                  <a:gd name="T30" fmla="*/ 9 w 200"/>
                  <a:gd name="T31" fmla="*/ 29 h 140"/>
                  <a:gd name="T32" fmla="*/ 5 w 200"/>
                  <a:gd name="T33" fmla="*/ 31 h 140"/>
                  <a:gd name="T34" fmla="*/ 2 w 200"/>
                  <a:gd name="T35" fmla="*/ 33 h 140"/>
                  <a:gd name="T36" fmla="*/ 0 w 200"/>
                  <a:gd name="T37" fmla="*/ 36 h 140"/>
                  <a:gd name="T38" fmla="*/ 0 w 200"/>
                  <a:gd name="T39" fmla="*/ 40 h 140"/>
                  <a:gd name="T40" fmla="*/ 0 w 200"/>
                  <a:gd name="T41" fmla="*/ 100 h 140"/>
                  <a:gd name="T42" fmla="*/ 0 w 200"/>
                  <a:gd name="T43" fmla="*/ 100 h 140"/>
                  <a:gd name="T44" fmla="*/ 0 w 200"/>
                  <a:gd name="T45" fmla="*/ 104 h 140"/>
                  <a:gd name="T46" fmla="*/ 2 w 200"/>
                  <a:gd name="T47" fmla="*/ 107 h 140"/>
                  <a:gd name="T48" fmla="*/ 5 w 200"/>
                  <a:gd name="T49" fmla="*/ 110 h 140"/>
                  <a:gd name="T50" fmla="*/ 9 w 200"/>
                  <a:gd name="T51" fmla="*/ 110 h 140"/>
                  <a:gd name="T52" fmla="*/ 24 w 200"/>
                  <a:gd name="T53" fmla="*/ 110 h 140"/>
                  <a:gd name="T54" fmla="*/ 48 w 200"/>
                  <a:gd name="T55" fmla="*/ 138 h 140"/>
                  <a:gd name="T56" fmla="*/ 48 w 200"/>
                  <a:gd name="T57" fmla="*/ 138 h 140"/>
                  <a:gd name="T58" fmla="*/ 50 w 200"/>
                  <a:gd name="T59" fmla="*/ 140 h 140"/>
                  <a:gd name="T60" fmla="*/ 54 w 200"/>
                  <a:gd name="T61" fmla="*/ 140 h 140"/>
                  <a:gd name="T62" fmla="*/ 119 w 200"/>
                  <a:gd name="T63" fmla="*/ 140 h 140"/>
                  <a:gd name="T64" fmla="*/ 119 w 200"/>
                  <a:gd name="T65" fmla="*/ 140 h 140"/>
                  <a:gd name="T66" fmla="*/ 123 w 200"/>
                  <a:gd name="T67" fmla="*/ 140 h 140"/>
                  <a:gd name="T68" fmla="*/ 125 w 200"/>
                  <a:gd name="T69" fmla="*/ 138 h 140"/>
                  <a:gd name="T70" fmla="*/ 163 w 200"/>
                  <a:gd name="T71" fmla="*/ 100 h 140"/>
                  <a:gd name="T72" fmla="*/ 163 w 200"/>
                  <a:gd name="T73" fmla="*/ 100 h 140"/>
                  <a:gd name="T74" fmla="*/ 164 w 200"/>
                  <a:gd name="T75" fmla="*/ 97 h 140"/>
                  <a:gd name="T76" fmla="*/ 165 w 200"/>
                  <a:gd name="T77" fmla="*/ 93 h 140"/>
                  <a:gd name="T78" fmla="*/ 165 w 200"/>
                  <a:gd name="T79" fmla="*/ 80 h 140"/>
                  <a:gd name="T80" fmla="*/ 180 w 200"/>
                  <a:gd name="T81" fmla="*/ 80 h 140"/>
                  <a:gd name="T82" fmla="*/ 180 w 200"/>
                  <a:gd name="T83" fmla="*/ 105 h 140"/>
                  <a:gd name="T84" fmla="*/ 200 w 200"/>
                  <a:gd name="T85" fmla="*/ 105 h 140"/>
                  <a:gd name="T86" fmla="*/ 200 w 200"/>
                  <a:gd name="T87" fmla="*/ 24 h 140"/>
                  <a:gd name="T88" fmla="*/ 180 w 200"/>
                  <a:gd name="T89" fmla="*/ 2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140">
                    <a:moveTo>
                      <a:pt x="180" y="24"/>
                    </a:moveTo>
                    <a:lnTo>
                      <a:pt x="180" y="49"/>
                    </a:lnTo>
                    <a:lnTo>
                      <a:pt x="165" y="49"/>
                    </a:lnTo>
                    <a:lnTo>
                      <a:pt x="165" y="9"/>
                    </a:lnTo>
                    <a:lnTo>
                      <a:pt x="165" y="9"/>
                    </a:lnTo>
                    <a:lnTo>
                      <a:pt x="164" y="5"/>
                    </a:lnTo>
                    <a:lnTo>
                      <a:pt x="163" y="3"/>
                    </a:lnTo>
                    <a:lnTo>
                      <a:pt x="160" y="0"/>
                    </a:lnTo>
                    <a:lnTo>
                      <a:pt x="156" y="0"/>
                    </a:lnTo>
                    <a:lnTo>
                      <a:pt x="54" y="0"/>
                    </a:lnTo>
                    <a:lnTo>
                      <a:pt x="54" y="0"/>
                    </a:lnTo>
                    <a:lnTo>
                      <a:pt x="50" y="0"/>
                    </a:lnTo>
                    <a:lnTo>
                      <a:pt x="48" y="3"/>
                    </a:lnTo>
                    <a:lnTo>
                      <a:pt x="24" y="29"/>
                    </a:lnTo>
                    <a:lnTo>
                      <a:pt x="9" y="29"/>
                    </a:lnTo>
                    <a:lnTo>
                      <a:pt x="9" y="29"/>
                    </a:lnTo>
                    <a:lnTo>
                      <a:pt x="5" y="31"/>
                    </a:lnTo>
                    <a:lnTo>
                      <a:pt x="2" y="33"/>
                    </a:lnTo>
                    <a:lnTo>
                      <a:pt x="0" y="36"/>
                    </a:lnTo>
                    <a:lnTo>
                      <a:pt x="0" y="40"/>
                    </a:lnTo>
                    <a:lnTo>
                      <a:pt x="0" y="100"/>
                    </a:lnTo>
                    <a:lnTo>
                      <a:pt x="0" y="100"/>
                    </a:lnTo>
                    <a:lnTo>
                      <a:pt x="0" y="104"/>
                    </a:lnTo>
                    <a:lnTo>
                      <a:pt x="2" y="107"/>
                    </a:lnTo>
                    <a:lnTo>
                      <a:pt x="5" y="110"/>
                    </a:lnTo>
                    <a:lnTo>
                      <a:pt x="9" y="110"/>
                    </a:lnTo>
                    <a:lnTo>
                      <a:pt x="24" y="110"/>
                    </a:lnTo>
                    <a:lnTo>
                      <a:pt x="48" y="138"/>
                    </a:lnTo>
                    <a:lnTo>
                      <a:pt x="48" y="138"/>
                    </a:lnTo>
                    <a:lnTo>
                      <a:pt x="50" y="140"/>
                    </a:lnTo>
                    <a:lnTo>
                      <a:pt x="54" y="140"/>
                    </a:lnTo>
                    <a:lnTo>
                      <a:pt x="119" y="140"/>
                    </a:lnTo>
                    <a:lnTo>
                      <a:pt x="119" y="140"/>
                    </a:lnTo>
                    <a:lnTo>
                      <a:pt x="123" y="140"/>
                    </a:lnTo>
                    <a:lnTo>
                      <a:pt x="125" y="138"/>
                    </a:lnTo>
                    <a:lnTo>
                      <a:pt x="163" y="100"/>
                    </a:lnTo>
                    <a:lnTo>
                      <a:pt x="163" y="100"/>
                    </a:lnTo>
                    <a:lnTo>
                      <a:pt x="164" y="97"/>
                    </a:lnTo>
                    <a:lnTo>
                      <a:pt x="165" y="93"/>
                    </a:lnTo>
                    <a:lnTo>
                      <a:pt x="165" y="80"/>
                    </a:lnTo>
                    <a:lnTo>
                      <a:pt x="180" y="80"/>
                    </a:lnTo>
                    <a:lnTo>
                      <a:pt x="180" y="105"/>
                    </a:lnTo>
                    <a:lnTo>
                      <a:pt x="200" y="105"/>
                    </a:lnTo>
                    <a:lnTo>
                      <a:pt x="200" y="24"/>
                    </a:lnTo>
                    <a:lnTo>
                      <a:pt x="180" y="24"/>
                    </a:lnTo>
                    <a:close/>
                  </a:path>
                </a:pathLst>
              </a:custGeom>
              <a:solidFill>
                <a:schemeClr val="tx1"/>
              </a:solidFill>
              <a:ln w="3175">
                <a:solidFill>
                  <a:schemeClr val="accent1"/>
                </a:solidFill>
                <a:round/>
                <a:headEnd/>
                <a:tailEn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19" name="Group 1218"/>
            <p:cNvGrpSpPr/>
            <p:nvPr/>
          </p:nvGrpSpPr>
          <p:grpSpPr>
            <a:xfrm>
              <a:off x="3635539" y="7669723"/>
              <a:ext cx="1295858" cy="193573"/>
              <a:chOff x="3679735" y="6018819"/>
              <a:chExt cx="1295858" cy="193573"/>
            </a:xfrm>
          </p:grpSpPr>
          <p:sp>
            <p:nvSpPr>
              <p:cNvPr id="1247" name="Oval 1246"/>
              <p:cNvSpPr/>
              <p:nvPr/>
            </p:nvSpPr>
            <p:spPr bwMode="auto">
              <a:xfrm flipH="1">
                <a:off x="4799617" y="6018819"/>
                <a:ext cx="175976" cy="193573"/>
              </a:xfrm>
              <a:prstGeom prst="ellipse">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48" name="Oval 1247"/>
              <p:cNvSpPr/>
              <p:nvPr/>
            </p:nvSpPr>
            <p:spPr bwMode="auto">
              <a:xfrm flipH="1">
                <a:off x="3679735" y="6018819"/>
                <a:ext cx="175976" cy="193573"/>
              </a:xfrm>
              <a:prstGeom prst="ellipse">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20" name="Group 1219"/>
            <p:cNvGrpSpPr/>
            <p:nvPr/>
          </p:nvGrpSpPr>
          <p:grpSpPr>
            <a:xfrm>
              <a:off x="3698627" y="7738869"/>
              <a:ext cx="1193502" cy="47105"/>
              <a:chOff x="4007547" y="6070343"/>
              <a:chExt cx="619675" cy="88737"/>
            </a:xfrm>
          </p:grpSpPr>
          <p:sp>
            <p:nvSpPr>
              <p:cNvPr id="1244" name="Rectangle 1243"/>
              <p:cNvSpPr/>
              <p:nvPr/>
            </p:nvSpPr>
            <p:spPr bwMode="auto">
              <a:xfrm>
                <a:off x="4046253" y="6090452"/>
                <a:ext cx="542911" cy="45719"/>
              </a:xfrm>
              <a:prstGeom prst="rect">
                <a:avLst/>
              </a:prstGeom>
              <a:solidFill>
                <a:schemeClr val="tx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45" name="Rectangle 1244"/>
              <p:cNvSpPr/>
              <p:nvPr/>
            </p:nvSpPr>
            <p:spPr bwMode="auto">
              <a:xfrm>
                <a:off x="4599758" y="6070343"/>
                <a:ext cx="27464" cy="83840"/>
              </a:xfrm>
              <a:prstGeom prst="rect">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46" name="Rectangle 1245"/>
              <p:cNvSpPr/>
              <p:nvPr/>
            </p:nvSpPr>
            <p:spPr bwMode="auto">
              <a:xfrm>
                <a:off x="4007547" y="6075240"/>
                <a:ext cx="27464" cy="83840"/>
              </a:xfrm>
              <a:prstGeom prst="rect">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221" name="Oval 1220"/>
            <p:cNvSpPr/>
            <p:nvPr/>
          </p:nvSpPr>
          <p:spPr bwMode="auto">
            <a:xfrm flipH="1">
              <a:off x="4705019" y="7624463"/>
              <a:ext cx="272061" cy="299267"/>
            </a:xfrm>
            <a:prstGeom prst="ellipse">
              <a:avLst/>
            </a:prstGeom>
            <a:solidFill>
              <a:schemeClr val="tx2">
                <a:lumMod val="50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2" name="Oval 1221"/>
            <p:cNvSpPr/>
            <p:nvPr/>
          </p:nvSpPr>
          <p:spPr bwMode="auto">
            <a:xfrm flipH="1">
              <a:off x="4753062" y="7677310"/>
              <a:ext cx="175976" cy="193573"/>
            </a:xfrm>
            <a:prstGeom prst="ellipse">
              <a:avLst/>
            </a:prstGeom>
            <a:solidFill>
              <a:schemeClr val="accent5">
                <a:lumMod val="50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3" name="Oval 1222"/>
            <p:cNvSpPr/>
            <p:nvPr/>
          </p:nvSpPr>
          <p:spPr bwMode="auto">
            <a:xfrm flipH="1">
              <a:off x="3585137" y="7624463"/>
              <a:ext cx="272061" cy="299267"/>
            </a:xfrm>
            <a:prstGeom prst="ellipse">
              <a:avLst/>
            </a:prstGeom>
            <a:solidFill>
              <a:schemeClr val="tx2">
                <a:lumMod val="50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4" name="Oval 1223"/>
            <p:cNvSpPr/>
            <p:nvPr/>
          </p:nvSpPr>
          <p:spPr bwMode="auto">
            <a:xfrm flipH="1">
              <a:off x="3633180" y="7677310"/>
              <a:ext cx="175976" cy="193573"/>
            </a:xfrm>
            <a:prstGeom prst="ellipse">
              <a:avLst/>
            </a:prstGeom>
            <a:solidFill>
              <a:schemeClr val="accent5">
                <a:lumMod val="50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25" name="Group 1224"/>
            <p:cNvGrpSpPr/>
            <p:nvPr/>
          </p:nvGrpSpPr>
          <p:grpSpPr>
            <a:xfrm rot="19656354">
              <a:off x="4773321" y="7608182"/>
              <a:ext cx="168798" cy="164175"/>
              <a:chOff x="4836855" y="5907587"/>
              <a:chExt cx="254840" cy="247861"/>
            </a:xfrm>
          </p:grpSpPr>
          <p:grpSp>
            <p:nvGrpSpPr>
              <p:cNvPr id="1238" name="Group 1237"/>
              <p:cNvGrpSpPr>
                <a:grpSpLocks noChangeAspect="1"/>
              </p:cNvGrpSpPr>
              <p:nvPr/>
            </p:nvGrpSpPr>
            <p:grpSpPr>
              <a:xfrm>
                <a:off x="4883112" y="5907587"/>
                <a:ext cx="208583" cy="208018"/>
                <a:chOff x="9107488" y="8710613"/>
                <a:chExt cx="2924175" cy="2916238"/>
              </a:xfrm>
              <a:solidFill>
                <a:schemeClr val="accent1"/>
              </a:solidFill>
            </p:grpSpPr>
            <p:sp>
              <p:nvSpPr>
                <p:cNvPr id="1240" name="Freeform 31"/>
                <p:cNvSpPr>
                  <a:spLocks noEditPoints="1"/>
                </p:cNvSpPr>
                <p:nvPr/>
              </p:nvSpPr>
              <p:spPr bwMode="auto">
                <a:xfrm>
                  <a:off x="10177463" y="8710613"/>
                  <a:ext cx="1854200" cy="1333500"/>
                </a:xfrm>
                <a:custGeom>
                  <a:avLst/>
                  <a:gdLst>
                    <a:gd name="T0" fmla="*/ 1715 w 2336"/>
                    <a:gd name="T1" fmla="*/ 1040 h 1682"/>
                    <a:gd name="T2" fmla="*/ 1683 w 2336"/>
                    <a:gd name="T3" fmla="*/ 1141 h 1682"/>
                    <a:gd name="T4" fmla="*/ 1504 w 2336"/>
                    <a:gd name="T5" fmla="*/ 1319 h 1682"/>
                    <a:gd name="T6" fmla="*/ 1429 w 2336"/>
                    <a:gd name="T7" fmla="*/ 1431 h 1682"/>
                    <a:gd name="T8" fmla="*/ 1593 w 2336"/>
                    <a:gd name="T9" fmla="*/ 1454 h 1682"/>
                    <a:gd name="T10" fmla="*/ 1621 w 2336"/>
                    <a:gd name="T11" fmla="*/ 1370 h 1682"/>
                    <a:gd name="T12" fmla="*/ 1745 w 2336"/>
                    <a:gd name="T13" fmla="*/ 1270 h 1682"/>
                    <a:gd name="T14" fmla="*/ 1808 w 2336"/>
                    <a:gd name="T15" fmla="*/ 1338 h 1682"/>
                    <a:gd name="T16" fmla="*/ 1848 w 2336"/>
                    <a:gd name="T17" fmla="*/ 1431 h 1682"/>
                    <a:gd name="T18" fmla="*/ 1846 w 2336"/>
                    <a:gd name="T19" fmla="*/ 1525 h 1682"/>
                    <a:gd name="T20" fmla="*/ 1799 w 2336"/>
                    <a:gd name="T21" fmla="*/ 1607 h 1682"/>
                    <a:gd name="T22" fmla="*/ 1707 w 2336"/>
                    <a:gd name="T23" fmla="*/ 1663 h 1682"/>
                    <a:gd name="T24" fmla="*/ 1552 w 2336"/>
                    <a:gd name="T25" fmla="*/ 1682 h 1682"/>
                    <a:gd name="T26" fmla="*/ 1285 w 2336"/>
                    <a:gd name="T27" fmla="*/ 1641 h 1682"/>
                    <a:gd name="T28" fmla="*/ 774 w 2336"/>
                    <a:gd name="T29" fmla="*/ 1437 h 1682"/>
                    <a:gd name="T30" fmla="*/ 437 w 2336"/>
                    <a:gd name="T31" fmla="*/ 1327 h 1682"/>
                    <a:gd name="T32" fmla="*/ 265 w 2336"/>
                    <a:gd name="T33" fmla="*/ 1328 h 1682"/>
                    <a:gd name="T34" fmla="*/ 233 w 2336"/>
                    <a:gd name="T35" fmla="*/ 1409 h 1682"/>
                    <a:gd name="T36" fmla="*/ 123 w 2336"/>
                    <a:gd name="T37" fmla="*/ 1495 h 1682"/>
                    <a:gd name="T38" fmla="*/ 16 w 2336"/>
                    <a:gd name="T39" fmla="*/ 1366 h 1682"/>
                    <a:gd name="T40" fmla="*/ 1 w 2336"/>
                    <a:gd name="T41" fmla="*/ 1261 h 1682"/>
                    <a:gd name="T42" fmla="*/ 39 w 2336"/>
                    <a:gd name="T43" fmla="*/ 1169 h 1682"/>
                    <a:gd name="T44" fmla="*/ 142 w 2336"/>
                    <a:gd name="T45" fmla="*/ 1110 h 1682"/>
                    <a:gd name="T46" fmla="*/ 362 w 2336"/>
                    <a:gd name="T47" fmla="*/ 1096 h 1682"/>
                    <a:gd name="T48" fmla="*/ 651 w 2336"/>
                    <a:gd name="T49" fmla="*/ 1160 h 1682"/>
                    <a:gd name="T50" fmla="*/ 954 w 2336"/>
                    <a:gd name="T51" fmla="*/ 876 h 1682"/>
                    <a:gd name="T52" fmla="*/ 1103 w 2336"/>
                    <a:gd name="T53" fmla="*/ 709 h 1682"/>
                    <a:gd name="T54" fmla="*/ 1249 w 2336"/>
                    <a:gd name="T55" fmla="*/ 618 h 1682"/>
                    <a:gd name="T56" fmla="*/ 1343 w 2336"/>
                    <a:gd name="T57" fmla="*/ 618 h 1682"/>
                    <a:gd name="T58" fmla="*/ 1447 w 2336"/>
                    <a:gd name="T59" fmla="*/ 552 h 1682"/>
                    <a:gd name="T60" fmla="*/ 1517 w 2336"/>
                    <a:gd name="T61" fmla="*/ 387 h 1682"/>
                    <a:gd name="T62" fmla="*/ 1541 w 2336"/>
                    <a:gd name="T63" fmla="*/ 245 h 1682"/>
                    <a:gd name="T64" fmla="*/ 1606 w 2336"/>
                    <a:gd name="T65" fmla="*/ 137 h 1682"/>
                    <a:gd name="T66" fmla="*/ 1756 w 2336"/>
                    <a:gd name="T67" fmla="*/ 32 h 1682"/>
                    <a:gd name="T68" fmla="*/ 1999 w 2336"/>
                    <a:gd name="T69" fmla="*/ 6 h 1682"/>
                    <a:gd name="T70" fmla="*/ 2205 w 2336"/>
                    <a:gd name="T71" fmla="*/ 96 h 1682"/>
                    <a:gd name="T72" fmla="*/ 2285 w 2336"/>
                    <a:gd name="T73" fmla="*/ 191 h 1682"/>
                    <a:gd name="T74" fmla="*/ 2330 w 2336"/>
                    <a:gd name="T75" fmla="*/ 318 h 1682"/>
                    <a:gd name="T76" fmla="*/ 2334 w 2336"/>
                    <a:gd name="T77" fmla="*/ 449 h 1682"/>
                    <a:gd name="T78" fmla="*/ 2272 w 2336"/>
                    <a:gd name="T79" fmla="*/ 621 h 1682"/>
                    <a:gd name="T80" fmla="*/ 2130 w 2336"/>
                    <a:gd name="T81" fmla="*/ 760 h 1682"/>
                    <a:gd name="T82" fmla="*/ 1986 w 2336"/>
                    <a:gd name="T83" fmla="*/ 805 h 1682"/>
                    <a:gd name="T84" fmla="*/ 1866 w 2336"/>
                    <a:gd name="T85" fmla="*/ 805 h 1682"/>
                    <a:gd name="T86" fmla="*/ 1799 w 2336"/>
                    <a:gd name="T87" fmla="*/ 850 h 1682"/>
                    <a:gd name="T88" fmla="*/ 1949 w 2336"/>
                    <a:gd name="T89" fmla="*/ 582 h 1682"/>
                    <a:gd name="T90" fmla="*/ 2037 w 2336"/>
                    <a:gd name="T91" fmla="*/ 550 h 1682"/>
                    <a:gd name="T92" fmla="*/ 2095 w 2336"/>
                    <a:gd name="T93" fmla="*/ 470 h 1682"/>
                    <a:gd name="T94" fmla="*/ 2100 w 2336"/>
                    <a:gd name="T95" fmla="*/ 371 h 1682"/>
                    <a:gd name="T96" fmla="*/ 2057 w 2336"/>
                    <a:gd name="T97" fmla="*/ 281 h 1682"/>
                    <a:gd name="T98" fmla="*/ 1967 w 2336"/>
                    <a:gd name="T99" fmla="*/ 228 h 1682"/>
                    <a:gd name="T100" fmla="*/ 1863 w 2336"/>
                    <a:gd name="T101" fmla="*/ 236 h 1682"/>
                    <a:gd name="T102" fmla="*/ 1777 w 2336"/>
                    <a:gd name="T103" fmla="*/ 296 h 1682"/>
                    <a:gd name="T104" fmla="*/ 1752 w 2336"/>
                    <a:gd name="T105" fmla="*/ 387 h 1682"/>
                    <a:gd name="T106" fmla="*/ 1779 w 2336"/>
                    <a:gd name="T107" fmla="*/ 485 h 1682"/>
                    <a:gd name="T108" fmla="*/ 1846 w 2336"/>
                    <a:gd name="T109" fmla="*/ 558 h 1682"/>
                    <a:gd name="T110" fmla="*/ 1949 w 2336"/>
                    <a:gd name="T111" fmla="*/ 582 h 1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36" h="1682">
                      <a:moveTo>
                        <a:pt x="1706" y="956"/>
                      </a:moveTo>
                      <a:lnTo>
                        <a:pt x="1706" y="956"/>
                      </a:lnTo>
                      <a:lnTo>
                        <a:pt x="1709" y="979"/>
                      </a:lnTo>
                      <a:lnTo>
                        <a:pt x="1713" y="999"/>
                      </a:lnTo>
                      <a:lnTo>
                        <a:pt x="1715" y="1020"/>
                      </a:lnTo>
                      <a:lnTo>
                        <a:pt x="1715" y="1040"/>
                      </a:lnTo>
                      <a:lnTo>
                        <a:pt x="1713" y="1059"/>
                      </a:lnTo>
                      <a:lnTo>
                        <a:pt x="1709" y="1076"/>
                      </a:lnTo>
                      <a:lnTo>
                        <a:pt x="1706" y="1093"/>
                      </a:lnTo>
                      <a:lnTo>
                        <a:pt x="1698" y="1110"/>
                      </a:lnTo>
                      <a:lnTo>
                        <a:pt x="1693" y="1126"/>
                      </a:lnTo>
                      <a:lnTo>
                        <a:pt x="1683" y="1141"/>
                      </a:lnTo>
                      <a:lnTo>
                        <a:pt x="1664" y="1169"/>
                      </a:lnTo>
                      <a:lnTo>
                        <a:pt x="1642" y="1197"/>
                      </a:lnTo>
                      <a:lnTo>
                        <a:pt x="1616" y="1224"/>
                      </a:lnTo>
                      <a:lnTo>
                        <a:pt x="1588" y="1248"/>
                      </a:lnTo>
                      <a:lnTo>
                        <a:pt x="1560" y="1272"/>
                      </a:lnTo>
                      <a:lnTo>
                        <a:pt x="1504" y="1319"/>
                      </a:lnTo>
                      <a:lnTo>
                        <a:pt x="1476" y="1343"/>
                      </a:lnTo>
                      <a:lnTo>
                        <a:pt x="1451" y="1370"/>
                      </a:lnTo>
                      <a:lnTo>
                        <a:pt x="1429" y="1396"/>
                      </a:lnTo>
                      <a:lnTo>
                        <a:pt x="1410" y="1424"/>
                      </a:lnTo>
                      <a:lnTo>
                        <a:pt x="1410" y="1424"/>
                      </a:lnTo>
                      <a:lnTo>
                        <a:pt x="1429" y="1431"/>
                      </a:lnTo>
                      <a:lnTo>
                        <a:pt x="1449" y="1437"/>
                      </a:lnTo>
                      <a:lnTo>
                        <a:pt x="1472" y="1443"/>
                      </a:lnTo>
                      <a:lnTo>
                        <a:pt x="1494" y="1446"/>
                      </a:lnTo>
                      <a:lnTo>
                        <a:pt x="1543" y="1450"/>
                      </a:lnTo>
                      <a:lnTo>
                        <a:pt x="1593" y="1454"/>
                      </a:lnTo>
                      <a:lnTo>
                        <a:pt x="1593" y="1454"/>
                      </a:lnTo>
                      <a:lnTo>
                        <a:pt x="1593" y="1439"/>
                      </a:lnTo>
                      <a:lnTo>
                        <a:pt x="1597" y="1424"/>
                      </a:lnTo>
                      <a:lnTo>
                        <a:pt x="1601" y="1409"/>
                      </a:lnTo>
                      <a:lnTo>
                        <a:pt x="1606" y="1396"/>
                      </a:lnTo>
                      <a:lnTo>
                        <a:pt x="1612" y="1383"/>
                      </a:lnTo>
                      <a:lnTo>
                        <a:pt x="1621" y="1370"/>
                      </a:lnTo>
                      <a:lnTo>
                        <a:pt x="1631" y="1356"/>
                      </a:lnTo>
                      <a:lnTo>
                        <a:pt x="1640" y="1345"/>
                      </a:lnTo>
                      <a:lnTo>
                        <a:pt x="1663" y="1323"/>
                      </a:lnTo>
                      <a:lnTo>
                        <a:pt x="1689" y="1302"/>
                      </a:lnTo>
                      <a:lnTo>
                        <a:pt x="1717" y="1285"/>
                      </a:lnTo>
                      <a:lnTo>
                        <a:pt x="1745" y="1270"/>
                      </a:lnTo>
                      <a:lnTo>
                        <a:pt x="1745" y="1270"/>
                      </a:lnTo>
                      <a:lnTo>
                        <a:pt x="1760" y="1284"/>
                      </a:lnTo>
                      <a:lnTo>
                        <a:pt x="1773" y="1295"/>
                      </a:lnTo>
                      <a:lnTo>
                        <a:pt x="1786" y="1310"/>
                      </a:lnTo>
                      <a:lnTo>
                        <a:pt x="1797" y="1323"/>
                      </a:lnTo>
                      <a:lnTo>
                        <a:pt x="1808" y="1338"/>
                      </a:lnTo>
                      <a:lnTo>
                        <a:pt x="1818" y="1353"/>
                      </a:lnTo>
                      <a:lnTo>
                        <a:pt x="1827" y="1368"/>
                      </a:lnTo>
                      <a:lnTo>
                        <a:pt x="1833" y="1383"/>
                      </a:lnTo>
                      <a:lnTo>
                        <a:pt x="1840" y="1399"/>
                      </a:lnTo>
                      <a:lnTo>
                        <a:pt x="1844" y="1414"/>
                      </a:lnTo>
                      <a:lnTo>
                        <a:pt x="1848" y="1431"/>
                      </a:lnTo>
                      <a:lnTo>
                        <a:pt x="1852" y="1446"/>
                      </a:lnTo>
                      <a:lnTo>
                        <a:pt x="1852" y="1463"/>
                      </a:lnTo>
                      <a:lnTo>
                        <a:pt x="1853" y="1478"/>
                      </a:lnTo>
                      <a:lnTo>
                        <a:pt x="1852" y="1495"/>
                      </a:lnTo>
                      <a:lnTo>
                        <a:pt x="1850" y="1510"/>
                      </a:lnTo>
                      <a:lnTo>
                        <a:pt x="1846" y="1525"/>
                      </a:lnTo>
                      <a:lnTo>
                        <a:pt x="1842" y="1540"/>
                      </a:lnTo>
                      <a:lnTo>
                        <a:pt x="1837" y="1555"/>
                      </a:lnTo>
                      <a:lnTo>
                        <a:pt x="1829" y="1570"/>
                      </a:lnTo>
                      <a:lnTo>
                        <a:pt x="1820" y="1583"/>
                      </a:lnTo>
                      <a:lnTo>
                        <a:pt x="1810" y="1596"/>
                      </a:lnTo>
                      <a:lnTo>
                        <a:pt x="1799" y="1607"/>
                      </a:lnTo>
                      <a:lnTo>
                        <a:pt x="1788" y="1618"/>
                      </a:lnTo>
                      <a:lnTo>
                        <a:pt x="1775" y="1630"/>
                      </a:lnTo>
                      <a:lnTo>
                        <a:pt x="1760" y="1639"/>
                      </a:lnTo>
                      <a:lnTo>
                        <a:pt x="1743" y="1648"/>
                      </a:lnTo>
                      <a:lnTo>
                        <a:pt x="1726" y="1656"/>
                      </a:lnTo>
                      <a:lnTo>
                        <a:pt x="1707" y="1663"/>
                      </a:lnTo>
                      <a:lnTo>
                        <a:pt x="1687" y="1669"/>
                      </a:lnTo>
                      <a:lnTo>
                        <a:pt x="1666" y="1673"/>
                      </a:lnTo>
                      <a:lnTo>
                        <a:pt x="1644" y="1676"/>
                      </a:lnTo>
                      <a:lnTo>
                        <a:pt x="1644" y="1676"/>
                      </a:lnTo>
                      <a:lnTo>
                        <a:pt x="1597" y="1680"/>
                      </a:lnTo>
                      <a:lnTo>
                        <a:pt x="1552" y="1682"/>
                      </a:lnTo>
                      <a:lnTo>
                        <a:pt x="1505" y="1680"/>
                      </a:lnTo>
                      <a:lnTo>
                        <a:pt x="1461" y="1676"/>
                      </a:lnTo>
                      <a:lnTo>
                        <a:pt x="1416" y="1671"/>
                      </a:lnTo>
                      <a:lnTo>
                        <a:pt x="1373" y="1661"/>
                      </a:lnTo>
                      <a:lnTo>
                        <a:pt x="1328" y="1652"/>
                      </a:lnTo>
                      <a:lnTo>
                        <a:pt x="1285" y="1641"/>
                      </a:lnTo>
                      <a:lnTo>
                        <a:pt x="1242" y="1628"/>
                      </a:lnTo>
                      <a:lnTo>
                        <a:pt x="1199" y="1615"/>
                      </a:lnTo>
                      <a:lnTo>
                        <a:pt x="1113" y="1583"/>
                      </a:lnTo>
                      <a:lnTo>
                        <a:pt x="1027" y="1547"/>
                      </a:lnTo>
                      <a:lnTo>
                        <a:pt x="942" y="1512"/>
                      </a:lnTo>
                      <a:lnTo>
                        <a:pt x="774" y="1437"/>
                      </a:lnTo>
                      <a:lnTo>
                        <a:pt x="692" y="1403"/>
                      </a:lnTo>
                      <a:lnTo>
                        <a:pt x="608" y="1373"/>
                      </a:lnTo>
                      <a:lnTo>
                        <a:pt x="565" y="1358"/>
                      </a:lnTo>
                      <a:lnTo>
                        <a:pt x="521" y="1347"/>
                      </a:lnTo>
                      <a:lnTo>
                        <a:pt x="480" y="1336"/>
                      </a:lnTo>
                      <a:lnTo>
                        <a:pt x="437" y="1327"/>
                      </a:lnTo>
                      <a:lnTo>
                        <a:pt x="394" y="1319"/>
                      </a:lnTo>
                      <a:lnTo>
                        <a:pt x="351" y="1315"/>
                      </a:lnTo>
                      <a:lnTo>
                        <a:pt x="308" y="1312"/>
                      </a:lnTo>
                      <a:lnTo>
                        <a:pt x="265" y="1312"/>
                      </a:lnTo>
                      <a:lnTo>
                        <a:pt x="265" y="1312"/>
                      </a:lnTo>
                      <a:lnTo>
                        <a:pt x="265" y="1328"/>
                      </a:lnTo>
                      <a:lnTo>
                        <a:pt x="265" y="1343"/>
                      </a:lnTo>
                      <a:lnTo>
                        <a:pt x="261" y="1358"/>
                      </a:lnTo>
                      <a:lnTo>
                        <a:pt x="258" y="1371"/>
                      </a:lnTo>
                      <a:lnTo>
                        <a:pt x="250" y="1385"/>
                      </a:lnTo>
                      <a:lnTo>
                        <a:pt x="243" y="1398"/>
                      </a:lnTo>
                      <a:lnTo>
                        <a:pt x="233" y="1409"/>
                      </a:lnTo>
                      <a:lnTo>
                        <a:pt x="224" y="1422"/>
                      </a:lnTo>
                      <a:lnTo>
                        <a:pt x="202" y="1443"/>
                      </a:lnTo>
                      <a:lnTo>
                        <a:pt x="175" y="1461"/>
                      </a:lnTo>
                      <a:lnTo>
                        <a:pt x="149" y="1478"/>
                      </a:lnTo>
                      <a:lnTo>
                        <a:pt x="123" y="1495"/>
                      </a:lnTo>
                      <a:lnTo>
                        <a:pt x="123" y="1495"/>
                      </a:lnTo>
                      <a:lnTo>
                        <a:pt x="99" y="1472"/>
                      </a:lnTo>
                      <a:lnTo>
                        <a:pt x="74" y="1450"/>
                      </a:lnTo>
                      <a:lnTo>
                        <a:pt x="52" y="1424"/>
                      </a:lnTo>
                      <a:lnTo>
                        <a:pt x="33" y="1396"/>
                      </a:lnTo>
                      <a:lnTo>
                        <a:pt x="24" y="1383"/>
                      </a:lnTo>
                      <a:lnTo>
                        <a:pt x="16" y="1366"/>
                      </a:lnTo>
                      <a:lnTo>
                        <a:pt x="11" y="1351"/>
                      </a:lnTo>
                      <a:lnTo>
                        <a:pt x="5" y="1334"/>
                      </a:lnTo>
                      <a:lnTo>
                        <a:pt x="3" y="1317"/>
                      </a:lnTo>
                      <a:lnTo>
                        <a:pt x="0" y="1298"/>
                      </a:lnTo>
                      <a:lnTo>
                        <a:pt x="0" y="1280"/>
                      </a:lnTo>
                      <a:lnTo>
                        <a:pt x="1" y="1261"/>
                      </a:lnTo>
                      <a:lnTo>
                        <a:pt x="1" y="1261"/>
                      </a:lnTo>
                      <a:lnTo>
                        <a:pt x="5" y="1239"/>
                      </a:lnTo>
                      <a:lnTo>
                        <a:pt x="11" y="1220"/>
                      </a:lnTo>
                      <a:lnTo>
                        <a:pt x="18" y="1201"/>
                      </a:lnTo>
                      <a:lnTo>
                        <a:pt x="28" y="1184"/>
                      </a:lnTo>
                      <a:lnTo>
                        <a:pt x="39" y="1169"/>
                      </a:lnTo>
                      <a:lnTo>
                        <a:pt x="52" y="1156"/>
                      </a:lnTo>
                      <a:lnTo>
                        <a:pt x="69" y="1145"/>
                      </a:lnTo>
                      <a:lnTo>
                        <a:pt x="84" y="1134"/>
                      </a:lnTo>
                      <a:lnTo>
                        <a:pt x="102" y="1125"/>
                      </a:lnTo>
                      <a:lnTo>
                        <a:pt x="121" y="1117"/>
                      </a:lnTo>
                      <a:lnTo>
                        <a:pt x="142" y="1110"/>
                      </a:lnTo>
                      <a:lnTo>
                        <a:pt x="164" y="1104"/>
                      </a:lnTo>
                      <a:lnTo>
                        <a:pt x="187" y="1100"/>
                      </a:lnTo>
                      <a:lnTo>
                        <a:pt x="211" y="1096"/>
                      </a:lnTo>
                      <a:lnTo>
                        <a:pt x="260" y="1095"/>
                      </a:lnTo>
                      <a:lnTo>
                        <a:pt x="310" y="1095"/>
                      </a:lnTo>
                      <a:lnTo>
                        <a:pt x="362" y="1096"/>
                      </a:lnTo>
                      <a:lnTo>
                        <a:pt x="415" y="1104"/>
                      </a:lnTo>
                      <a:lnTo>
                        <a:pt x="467" y="1111"/>
                      </a:lnTo>
                      <a:lnTo>
                        <a:pt x="518" y="1123"/>
                      </a:lnTo>
                      <a:lnTo>
                        <a:pt x="565" y="1134"/>
                      </a:lnTo>
                      <a:lnTo>
                        <a:pt x="609" y="1147"/>
                      </a:lnTo>
                      <a:lnTo>
                        <a:pt x="651" y="1160"/>
                      </a:lnTo>
                      <a:lnTo>
                        <a:pt x="651" y="1160"/>
                      </a:lnTo>
                      <a:lnTo>
                        <a:pt x="686" y="1130"/>
                      </a:lnTo>
                      <a:lnTo>
                        <a:pt x="722" y="1100"/>
                      </a:lnTo>
                      <a:lnTo>
                        <a:pt x="795" y="1033"/>
                      </a:lnTo>
                      <a:lnTo>
                        <a:pt x="871" y="958"/>
                      </a:lnTo>
                      <a:lnTo>
                        <a:pt x="954" y="876"/>
                      </a:lnTo>
                      <a:lnTo>
                        <a:pt x="954" y="876"/>
                      </a:lnTo>
                      <a:lnTo>
                        <a:pt x="974" y="855"/>
                      </a:lnTo>
                      <a:lnTo>
                        <a:pt x="995" y="833"/>
                      </a:lnTo>
                      <a:lnTo>
                        <a:pt x="1036" y="782"/>
                      </a:lnTo>
                      <a:lnTo>
                        <a:pt x="1081" y="734"/>
                      </a:lnTo>
                      <a:lnTo>
                        <a:pt x="1103" y="709"/>
                      </a:lnTo>
                      <a:lnTo>
                        <a:pt x="1128" y="687"/>
                      </a:lnTo>
                      <a:lnTo>
                        <a:pt x="1152" y="666"/>
                      </a:lnTo>
                      <a:lnTo>
                        <a:pt x="1178" y="647"/>
                      </a:lnTo>
                      <a:lnTo>
                        <a:pt x="1206" y="633"/>
                      </a:lnTo>
                      <a:lnTo>
                        <a:pt x="1234" y="621"/>
                      </a:lnTo>
                      <a:lnTo>
                        <a:pt x="1249" y="618"/>
                      </a:lnTo>
                      <a:lnTo>
                        <a:pt x="1264" y="614"/>
                      </a:lnTo>
                      <a:lnTo>
                        <a:pt x="1279" y="612"/>
                      </a:lnTo>
                      <a:lnTo>
                        <a:pt x="1294" y="612"/>
                      </a:lnTo>
                      <a:lnTo>
                        <a:pt x="1311" y="612"/>
                      </a:lnTo>
                      <a:lnTo>
                        <a:pt x="1326" y="614"/>
                      </a:lnTo>
                      <a:lnTo>
                        <a:pt x="1343" y="618"/>
                      </a:lnTo>
                      <a:lnTo>
                        <a:pt x="1360" y="621"/>
                      </a:lnTo>
                      <a:lnTo>
                        <a:pt x="1360" y="621"/>
                      </a:lnTo>
                      <a:lnTo>
                        <a:pt x="1384" y="606"/>
                      </a:lnTo>
                      <a:lnTo>
                        <a:pt x="1406" y="590"/>
                      </a:lnTo>
                      <a:lnTo>
                        <a:pt x="1427" y="573"/>
                      </a:lnTo>
                      <a:lnTo>
                        <a:pt x="1447" y="552"/>
                      </a:lnTo>
                      <a:lnTo>
                        <a:pt x="1485" y="511"/>
                      </a:lnTo>
                      <a:lnTo>
                        <a:pt x="1522" y="470"/>
                      </a:lnTo>
                      <a:lnTo>
                        <a:pt x="1522" y="470"/>
                      </a:lnTo>
                      <a:lnTo>
                        <a:pt x="1519" y="442"/>
                      </a:lnTo>
                      <a:lnTo>
                        <a:pt x="1517" y="414"/>
                      </a:lnTo>
                      <a:lnTo>
                        <a:pt x="1517" y="387"/>
                      </a:lnTo>
                      <a:lnTo>
                        <a:pt x="1517" y="361"/>
                      </a:lnTo>
                      <a:lnTo>
                        <a:pt x="1520" y="337"/>
                      </a:lnTo>
                      <a:lnTo>
                        <a:pt x="1522" y="313"/>
                      </a:lnTo>
                      <a:lnTo>
                        <a:pt x="1528" y="290"/>
                      </a:lnTo>
                      <a:lnTo>
                        <a:pt x="1533" y="268"/>
                      </a:lnTo>
                      <a:lnTo>
                        <a:pt x="1541" y="245"/>
                      </a:lnTo>
                      <a:lnTo>
                        <a:pt x="1550" y="225"/>
                      </a:lnTo>
                      <a:lnTo>
                        <a:pt x="1560" y="206"/>
                      </a:lnTo>
                      <a:lnTo>
                        <a:pt x="1569" y="187"/>
                      </a:lnTo>
                      <a:lnTo>
                        <a:pt x="1580" y="169"/>
                      </a:lnTo>
                      <a:lnTo>
                        <a:pt x="1593" y="152"/>
                      </a:lnTo>
                      <a:lnTo>
                        <a:pt x="1606" y="137"/>
                      </a:lnTo>
                      <a:lnTo>
                        <a:pt x="1620" y="122"/>
                      </a:lnTo>
                      <a:lnTo>
                        <a:pt x="1635" y="107"/>
                      </a:lnTo>
                      <a:lnTo>
                        <a:pt x="1649" y="94"/>
                      </a:lnTo>
                      <a:lnTo>
                        <a:pt x="1683" y="69"/>
                      </a:lnTo>
                      <a:lnTo>
                        <a:pt x="1719" y="49"/>
                      </a:lnTo>
                      <a:lnTo>
                        <a:pt x="1756" y="32"/>
                      </a:lnTo>
                      <a:lnTo>
                        <a:pt x="1795" y="19"/>
                      </a:lnTo>
                      <a:lnTo>
                        <a:pt x="1835" y="10"/>
                      </a:lnTo>
                      <a:lnTo>
                        <a:pt x="1876" y="2"/>
                      </a:lnTo>
                      <a:lnTo>
                        <a:pt x="1917" y="0"/>
                      </a:lnTo>
                      <a:lnTo>
                        <a:pt x="1958" y="2"/>
                      </a:lnTo>
                      <a:lnTo>
                        <a:pt x="1999" y="6"/>
                      </a:lnTo>
                      <a:lnTo>
                        <a:pt x="2040" y="13"/>
                      </a:lnTo>
                      <a:lnTo>
                        <a:pt x="2080" y="26"/>
                      </a:lnTo>
                      <a:lnTo>
                        <a:pt x="2117" y="41"/>
                      </a:lnTo>
                      <a:lnTo>
                        <a:pt x="2155" y="60"/>
                      </a:lnTo>
                      <a:lnTo>
                        <a:pt x="2188" y="83"/>
                      </a:lnTo>
                      <a:lnTo>
                        <a:pt x="2205" y="96"/>
                      </a:lnTo>
                      <a:lnTo>
                        <a:pt x="2220" y="109"/>
                      </a:lnTo>
                      <a:lnTo>
                        <a:pt x="2235" y="124"/>
                      </a:lnTo>
                      <a:lnTo>
                        <a:pt x="2248" y="139"/>
                      </a:lnTo>
                      <a:lnTo>
                        <a:pt x="2261" y="156"/>
                      </a:lnTo>
                      <a:lnTo>
                        <a:pt x="2274" y="172"/>
                      </a:lnTo>
                      <a:lnTo>
                        <a:pt x="2285" y="191"/>
                      </a:lnTo>
                      <a:lnTo>
                        <a:pt x="2295" y="210"/>
                      </a:lnTo>
                      <a:lnTo>
                        <a:pt x="2304" y="230"/>
                      </a:lnTo>
                      <a:lnTo>
                        <a:pt x="2312" y="251"/>
                      </a:lnTo>
                      <a:lnTo>
                        <a:pt x="2319" y="271"/>
                      </a:lnTo>
                      <a:lnTo>
                        <a:pt x="2325" y="294"/>
                      </a:lnTo>
                      <a:lnTo>
                        <a:pt x="2330" y="318"/>
                      </a:lnTo>
                      <a:lnTo>
                        <a:pt x="2334" y="343"/>
                      </a:lnTo>
                      <a:lnTo>
                        <a:pt x="2336" y="369"/>
                      </a:lnTo>
                      <a:lnTo>
                        <a:pt x="2336" y="395"/>
                      </a:lnTo>
                      <a:lnTo>
                        <a:pt x="2336" y="421"/>
                      </a:lnTo>
                      <a:lnTo>
                        <a:pt x="2334" y="449"/>
                      </a:lnTo>
                      <a:lnTo>
                        <a:pt x="2334" y="449"/>
                      </a:lnTo>
                      <a:lnTo>
                        <a:pt x="2329" y="479"/>
                      </a:lnTo>
                      <a:lnTo>
                        <a:pt x="2323" y="507"/>
                      </a:lnTo>
                      <a:lnTo>
                        <a:pt x="2314" y="537"/>
                      </a:lnTo>
                      <a:lnTo>
                        <a:pt x="2302" y="565"/>
                      </a:lnTo>
                      <a:lnTo>
                        <a:pt x="2287" y="593"/>
                      </a:lnTo>
                      <a:lnTo>
                        <a:pt x="2272" y="621"/>
                      </a:lnTo>
                      <a:lnTo>
                        <a:pt x="2254" y="649"/>
                      </a:lnTo>
                      <a:lnTo>
                        <a:pt x="2233" y="674"/>
                      </a:lnTo>
                      <a:lnTo>
                        <a:pt x="2211" y="698"/>
                      </a:lnTo>
                      <a:lnTo>
                        <a:pt x="2186" y="720"/>
                      </a:lnTo>
                      <a:lnTo>
                        <a:pt x="2158" y="741"/>
                      </a:lnTo>
                      <a:lnTo>
                        <a:pt x="2130" y="760"/>
                      </a:lnTo>
                      <a:lnTo>
                        <a:pt x="2100" y="775"/>
                      </a:lnTo>
                      <a:lnTo>
                        <a:pt x="2068" y="788"/>
                      </a:lnTo>
                      <a:lnTo>
                        <a:pt x="2035" y="797"/>
                      </a:lnTo>
                      <a:lnTo>
                        <a:pt x="1999" y="805"/>
                      </a:lnTo>
                      <a:lnTo>
                        <a:pt x="1999" y="805"/>
                      </a:lnTo>
                      <a:lnTo>
                        <a:pt x="1986" y="805"/>
                      </a:lnTo>
                      <a:lnTo>
                        <a:pt x="1971" y="805"/>
                      </a:lnTo>
                      <a:lnTo>
                        <a:pt x="1941" y="799"/>
                      </a:lnTo>
                      <a:lnTo>
                        <a:pt x="1926" y="799"/>
                      </a:lnTo>
                      <a:lnTo>
                        <a:pt x="1908" y="797"/>
                      </a:lnTo>
                      <a:lnTo>
                        <a:pt x="1889" y="799"/>
                      </a:lnTo>
                      <a:lnTo>
                        <a:pt x="1866" y="805"/>
                      </a:lnTo>
                      <a:lnTo>
                        <a:pt x="1866" y="805"/>
                      </a:lnTo>
                      <a:lnTo>
                        <a:pt x="1853" y="808"/>
                      </a:lnTo>
                      <a:lnTo>
                        <a:pt x="1840" y="816"/>
                      </a:lnTo>
                      <a:lnTo>
                        <a:pt x="1829" y="821"/>
                      </a:lnTo>
                      <a:lnTo>
                        <a:pt x="1820" y="831"/>
                      </a:lnTo>
                      <a:lnTo>
                        <a:pt x="1799" y="850"/>
                      </a:lnTo>
                      <a:lnTo>
                        <a:pt x="1782" y="870"/>
                      </a:lnTo>
                      <a:lnTo>
                        <a:pt x="1747" y="915"/>
                      </a:lnTo>
                      <a:lnTo>
                        <a:pt x="1728" y="936"/>
                      </a:lnTo>
                      <a:lnTo>
                        <a:pt x="1706" y="956"/>
                      </a:lnTo>
                      <a:lnTo>
                        <a:pt x="1706" y="956"/>
                      </a:lnTo>
                      <a:close/>
                      <a:moveTo>
                        <a:pt x="1949" y="582"/>
                      </a:moveTo>
                      <a:lnTo>
                        <a:pt x="1949" y="582"/>
                      </a:lnTo>
                      <a:lnTo>
                        <a:pt x="1969" y="578"/>
                      </a:lnTo>
                      <a:lnTo>
                        <a:pt x="1988" y="575"/>
                      </a:lnTo>
                      <a:lnTo>
                        <a:pt x="2007" y="567"/>
                      </a:lnTo>
                      <a:lnTo>
                        <a:pt x="2022" y="560"/>
                      </a:lnTo>
                      <a:lnTo>
                        <a:pt x="2037" y="550"/>
                      </a:lnTo>
                      <a:lnTo>
                        <a:pt x="2050" y="539"/>
                      </a:lnTo>
                      <a:lnTo>
                        <a:pt x="2061" y="528"/>
                      </a:lnTo>
                      <a:lnTo>
                        <a:pt x="2072" y="515"/>
                      </a:lnTo>
                      <a:lnTo>
                        <a:pt x="2080" y="500"/>
                      </a:lnTo>
                      <a:lnTo>
                        <a:pt x="2087" y="485"/>
                      </a:lnTo>
                      <a:lnTo>
                        <a:pt x="2095" y="470"/>
                      </a:lnTo>
                      <a:lnTo>
                        <a:pt x="2098" y="453"/>
                      </a:lnTo>
                      <a:lnTo>
                        <a:pt x="2102" y="438"/>
                      </a:lnTo>
                      <a:lnTo>
                        <a:pt x="2102" y="421"/>
                      </a:lnTo>
                      <a:lnTo>
                        <a:pt x="2104" y="404"/>
                      </a:lnTo>
                      <a:lnTo>
                        <a:pt x="2102" y="387"/>
                      </a:lnTo>
                      <a:lnTo>
                        <a:pt x="2100" y="371"/>
                      </a:lnTo>
                      <a:lnTo>
                        <a:pt x="2097" y="354"/>
                      </a:lnTo>
                      <a:lnTo>
                        <a:pt x="2091" y="337"/>
                      </a:lnTo>
                      <a:lnTo>
                        <a:pt x="2083" y="322"/>
                      </a:lnTo>
                      <a:lnTo>
                        <a:pt x="2076" y="307"/>
                      </a:lnTo>
                      <a:lnTo>
                        <a:pt x="2067" y="294"/>
                      </a:lnTo>
                      <a:lnTo>
                        <a:pt x="2057" y="281"/>
                      </a:lnTo>
                      <a:lnTo>
                        <a:pt x="2046" y="268"/>
                      </a:lnTo>
                      <a:lnTo>
                        <a:pt x="2033" y="257"/>
                      </a:lnTo>
                      <a:lnTo>
                        <a:pt x="2018" y="247"/>
                      </a:lnTo>
                      <a:lnTo>
                        <a:pt x="2003" y="240"/>
                      </a:lnTo>
                      <a:lnTo>
                        <a:pt x="1986" y="234"/>
                      </a:lnTo>
                      <a:lnTo>
                        <a:pt x="1967" y="228"/>
                      </a:lnTo>
                      <a:lnTo>
                        <a:pt x="1949" y="227"/>
                      </a:lnTo>
                      <a:lnTo>
                        <a:pt x="1928" y="225"/>
                      </a:lnTo>
                      <a:lnTo>
                        <a:pt x="1908" y="227"/>
                      </a:lnTo>
                      <a:lnTo>
                        <a:pt x="1908" y="227"/>
                      </a:lnTo>
                      <a:lnTo>
                        <a:pt x="1885" y="230"/>
                      </a:lnTo>
                      <a:lnTo>
                        <a:pt x="1863" y="236"/>
                      </a:lnTo>
                      <a:lnTo>
                        <a:pt x="1844" y="242"/>
                      </a:lnTo>
                      <a:lnTo>
                        <a:pt x="1827" y="251"/>
                      </a:lnTo>
                      <a:lnTo>
                        <a:pt x="1812" y="260"/>
                      </a:lnTo>
                      <a:lnTo>
                        <a:pt x="1799" y="271"/>
                      </a:lnTo>
                      <a:lnTo>
                        <a:pt x="1788" y="283"/>
                      </a:lnTo>
                      <a:lnTo>
                        <a:pt x="1777" y="296"/>
                      </a:lnTo>
                      <a:lnTo>
                        <a:pt x="1769" y="311"/>
                      </a:lnTo>
                      <a:lnTo>
                        <a:pt x="1762" y="324"/>
                      </a:lnTo>
                      <a:lnTo>
                        <a:pt x="1758" y="341"/>
                      </a:lnTo>
                      <a:lnTo>
                        <a:pt x="1754" y="356"/>
                      </a:lnTo>
                      <a:lnTo>
                        <a:pt x="1752" y="373"/>
                      </a:lnTo>
                      <a:lnTo>
                        <a:pt x="1752" y="387"/>
                      </a:lnTo>
                      <a:lnTo>
                        <a:pt x="1752" y="404"/>
                      </a:lnTo>
                      <a:lnTo>
                        <a:pt x="1756" y="421"/>
                      </a:lnTo>
                      <a:lnTo>
                        <a:pt x="1760" y="438"/>
                      </a:lnTo>
                      <a:lnTo>
                        <a:pt x="1764" y="453"/>
                      </a:lnTo>
                      <a:lnTo>
                        <a:pt x="1771" y="470"/>
                      </a:lnTo>
                      <a:lnTo>
                        <a:pt x="1779" y="485"/>
                      </a:lnTo>
                      <a:lnTo>
                        <a:pt x="1786" y="500"/>
                      </a:lnTo>
                      <a:lnTo>
                        <a:pt x="1797" y="513"/>
                      </a:lnTo>
                      <a:lnTo>
                        <a:pt x="1807" y="526"/>
                      </a:lnTo>
                      <a:lnTo>
                        <a:pt x="1820" y="537"/>
                      </a:lnTo>
                      <a:lnTo>
                        <a:pt x="1833" y="548"/>
                      </a:lnTo>
                      <a:lnTo>
                        <a:pt x="1846" y="558"/>
                      </a:lnTo>
                      <a:lnTo>
                        <a:pt x="1861" y="565"/>
                      </a:lnTo>
                      <a:lnTo>
                        <a:pt x="1878" y="573"/>
                      </a:lnTo>
                      <a:lnTo>
                        <a:pt x="1895" y="578"/>
                      </a:lnTo>
                      <a:lnTo>
                        <a:pt x="1911" y="580"/>
                      </a:lnTo>
                      <a:lnTo>
                        <a:pt x="1930" y="582"/>
                      </a:lnTo>
                      <a:lnTo>
                        <a:pt x="1949" y="582"/>
                      </a:lnTo>
                      <a:lnTo>
                        <a:pt x="1949" y="5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41" name="Freeform 33"/>
                <p:cNvSpPr>
                  <a:spLocks/>
                </p:cNvSpPr>
                <p:nvPr/>
              </p:nvSpPr>
              <p:spPr bwMode="auto">
                <a:xfrm>
                  <a:off x="9832975" y="9847263"/>
                  <a:ext cx="1468438" cy="541338"/>
                </a:xfrm>
                <a:custGeom>
                  <a:avLst/>
                  <a:gdLst>
                    <a:gd name="T0" fmla="*/ 1554 w 1850"/>
                    <a:gd name="T1" fmla="*/ 268 h 683"/>
                    <a:gd name="T2" fmla="*/ 1509 w 1850"/>
                    <a:gd name="T3" fmla="*/ 324 h 683"/>
                    <a:gd name="T4" fmla="*/ 1427 w 1850"/>
                    <a:gd name="T5" fmla="*/ 402 h 683"/>
                    <a:gd name="T6" fmla="*/ 1429 w 1850"/>
                    <a:gd name="T7" fmla="*/ 432 h 683"/>
                    <a:gd name="T8" fmla="*/ 1541 w 1850"/>
                    <a:gd name="T9" fmla="*/ 455 h 683"/>
                    <a:gd name="T10" fmla="*/ 1592 w 1850"/>
                    <a:gd name="T11" fmla="*/ 442 h 683"/>
                    <a:gd name="T12" fmla="*/ 1605 w 1850"/>
                    <a:gd name="T13" fmla="*/ 399 h 683"/>
                    <a:gd name="T14" fmla="*/ 1638 w 1850"/>
                    <a:gd name="T15" fmla="*/ 348 h 683"/>
                    <a:gd name="T16" fmla="*/ 1715 w 1850"/>
                    <a:gd name="T17" fmla="*/ 288 h 683"/>
                    <a:gd name="T18" fmla="*/ 1758 w 1850"/>
                    <a:gd name="T19" fmla="*/ 286 h 683"/>
                    <a:gd name="T20" fmla="*/ 1795 w 1850"/>
                    <a:gd name="T21" fmla="*/ 324 h 683"/>
                    <a:gd name="T22" fmla="*/ 1823 w 1850"/>
                    <a:gd name="T23" fmla="*/ 369 h 683"/>
                    <a:gd name="T24" fmla="*/ 1842 w 1850"/>
                    <a:gd name="T25" fmla="*/ 415 h 683"/>
                    <a:gd name="T26" fmla="*/ 1850 w 1850"/>
                    <a:gd name="T27" fmla="*/ 464 h 683"/>
                    <a:gd name="T28" fmla="*/ 1846 w 1850"/>
                    <a:gd name="T29" fmla="*/ 511 h 683"/>
                    <a:gd name="T30" fmla="*/ 1833 w 1850"/>
                    <a:gd name="T31" fmla="*/ 558 h 683"/>
                    <a:gd name="T32" fmla="*/ 1808 w 1850"/>
                    <a:gd name="T33" fmla="*/ 599 h 683"/>
                    <a:gd name="T34" fmla="*/ 1771 w 1850"/>
                    <a:gd name="T35" fmla="*/ 632 h 683"/>
                    <a:gd name="T36" fmla="*/ 1724 w 1850"/>
                    <a:gd name="T37" fmla="*/ 660 h 683"/>
                    <a:gd name="T38" fmla="*/ 1664 w 1850"/>
                    <a:gd name="T39" fmla="*/ 677 h 683"/>
                    <a:gd name="T40" fmla="*/ 1599 w 1850"/>
                    <a:gd name="T41" fmla="*/ 683 h 683"/>
                    <a:gd name="T42" fmla="*/ 1468 w 1850"/>
                    <a:gd name="T43" fmla="*/ 677 h 683"/>
                    <a:gd name="T44" fmla="*/ 1335 w 1850"/>
                    <a:gd name="T45" fmla="*/ 653 h 683"/>
                    <a:gd name="T46" fmla="*/ 1202 w 1850"/>
                    <a:gd name="T47" fmla="*/ 614 h 683"/>
                    <a:gd name="T48" fmla="*/ 935 w 1850"/>
                    <a:gd name="T49" fmla="*/ 509 h 683"/>
                    <a:gd name="T50" fmla="*/ 589 w 1850"/>
                    <a:gd name="T51" fmla="*/ 372 h 683"/>
                    <a:gd name="T52" fmla="*/ 464 w 1850"/>
                    <a:gd name="T53" fmla="*/ 337 h 683"/>
                    <a:gd name="T54" fmla="*/ 342 w 1850"/>
                    <a:gd name="T55" fmla="*/ 316 h 683"/>
                    <a:gd name="T56" fmla="*/ 263 w 1850"/>
                    <a:gd name="T57" fmla="*/ 314 h 683"/>
                    <a:gd name="T58" fmla="*/ 260 w 1850"/>
                    <a:gd name="T59" fmla="*/ 361 h 683"/>
                    <a:gd name="T60" fmla="*/ 239 w 1850"/>
                    <a:gd name="T61" fmla="*/ 402 h 683"/>
                    <a:gd name="T62" fmla="*/ 209 w 1850"/>
                    <a:gd name="T63" fmla="*/ 438 h 683"/>
                    <a:gd name="T64" fmla="*/ 140 w 1850"/>
                    <a:gd name="T65" fmla="*/ 485 h 683"/>
                    <a:gd name="T66" fmla="*/ 91 w 1850"/>
                    <a:gd name="T67" fmla="*/ 473 h 683"/>
                    <a:gd name="T68" fmla="*/ 35 w 1850"/>
                    <a:gd name="T69" fmla="*/ 402 h 683"/>
                    <a:gd name="T70" fmla="*/ 9 w 1850"/>
                    <a:gd name="T71" fmla="*/ 350 h 683"/>
                    <a:gd name="T72" fmla="*/ 0 w 1850"/>
                    <a:gd name="T73" fmla="*/ 301 h 683"/>
                    <a:gd name="T74" fmla="*/ 1 w 1850"/>
                    <a:gd name="T75" fmla="*/ 260 h 683"/>
                    <a:gd name="T76" fmla="*/ 20 w 1850"/>
                    <a:gd name="T77" fmla="*/ 200 h 683"/>
                    <a:gd name="T78" fmla="*/ 58 w 1850"/>
                    <a:gd name="T79" fmla="*/ 155 h 683"/>
                    <a:gd name="T80" fmla="*/ 110 w 1850"/>
                    <a:gd name="T81" fmla="*/ 124 h 683"/>
                    <a:gd name="T82" fmla="*/ 175 w 1850"/>
                    <a:gd name="T83" fmla="*/ 105 h 683"/>
                    <a:gd name="T84" fmla="*/ 248 w 1850"/>
                    <a:gd name="T85" fmla="*/ 96 h 683"/>
                    <a:gd name="T86" fmla="*/ 407 w 1850"/>
                    <a:gd name="T87" fmla="*/ 105 h 683"/>
                    <a:gd name="T88" fmla="*/ 561 w 1850"/>
                    <a:gd name="T89" fmla="*/ 135 h 683"/>
                    <a:gd name="T90" fmla="*/ 649 w 1850"/>
                    <a:gd name="T91" fmla="*/ 163 h 683"/>
                    <a:gd name="T92" fmla="*/ 699 w 1850"/>
                    <a:gd name="T93" fmla="*/ 127 h 683"/>
                    <a:gd name="T94" fmla="*/ 783 w 1850"/>
                    <a:gd name="T95" fmla="*/ 39 h 683"/>
                    <a:gd name="T96" fmla="*/ 830 w 1850"/>
                    <a:gd name="T97" fmla="*/ 0 h 683"/>
                    <a:gd name="T98" fmla="*/ 976 w 1850"/>
                    <a:gd name="T99" fmla="*/ 38 h 683"/>
                    <a:gd name="T100" fmla="*/ 1199 w 1850"/>
                    <a:gd name="T101" fmla="*/ 124 h 683"/>
                    <a:gd name="T102" fmla="*/ 1419 w 1850"/>
                    <a:gd name="T103" fmla="*/ 212 h 683"/>
                    <a:gd name="T104" fmla="*/ 1562 w 1850"/>
                    <a:gd name="T105" fmla="*/ 255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50" h="683">
                      <a:moveTo>
                        <a:pt x="1562" y="255"/>
                      </a:moveTo>
                      <a:lnTo>
                        <a:pt x="1562" y="255"/>
                      </a:lnTo>
                      <a:lnTo>
                        <a:pt x="1554" y="268"/>
                      </a:lnTo>
                      <a:lnTo>
                        <a:pt x="1547" y="279"/>
                      </a:lnTo>
                      <a:lnTo>
                        <a:pt x="1528" y="303"/>
                      </a:lnTo>
                      <a:lnTo>
                        <a:pt x="1509" y="324"/>
                      </a:lnTo>
                      <a:lnTo>
                        <a:pt x="1489" y="342"/>
                      </a:lnTo>
                      <a:lnTo>
                        <a:pt x="1446" y="382"/>
                      </a:lnTo>
                      <a:lnTo>
                        <a:pt x="1427" y="402"/>
                      </a:lnTo>
                      <a:lnTo>
                        <a:pt x="1408" y="427"/>
                      </a:lnTo>
                      <a:lnTo>
                        <a:pt x="1408" y="427"/>
                      </a:lnTo>
                      <a:lnTo>
                        <a:pt x="1429" y="432"/>
                      </a:lnTo>
                      <a:lnTo>
                        <a:pt x="1449" y="440"/>
                      </a:lnTo>
                      <a:lnTo>
                        <a:pt x="1492" y="449"/>
                      </a:lnTo>
                      <a:lnTo>
                        <a:pt x="1541" y="455"/>
                      </a:lnTo>
                      <a:lnTo>
                        <a:pt x="1592" y="457"/>
                      </a:lnTo>
                      <a:lnTo>
                        <a:pt x="1592" y="457"/>
                      </a:lnTo>
                      <a:lnTo>
                        <a:pt x="1592" y="442"/>
                      </a:lnTo>
                      <a:lnTo>
                        <a:pt x="1595" y="427"/>
                      </a:lnTo>
                      <a:lnTo>
                        <a:pt x="1599" y="414"/>
                      </a:lnTo>
                      <a:lnTo>
                        <a:pt x="1605" y="399"/>
                      </a:lnTo>
                      <a:lnTo>
                        <a:pt x="1612" y="386"/>
                      </a:lnTo>
                      <a:lnTo>
                        <a:pt x="1620" y="372"/>
                      </a:lnTo>
                      <a:lnTo>
                        <a:pt x="1638" y="348"/>
                      </a:lnTo>
                      <a:lnTo>
                        <a:pt x="1661" y="326"/>
                      </a:lnTo>
                      <a:lnTo>
                        <a:pt x="1687" y="305"/>
                      </a:lnTo>
                      <a:lnTo>
                        <a:pt x="1715" y="288"/>
                      </a:lnTo>
                      <a:lnTo>
                        <a:pt x="1743" y="273"/>
                      </a:lnTo>
                      <a:lnTo>
                        <a:pt x="1743" y="273"/>
                      </a:lnTo>
                      <a:lnTo>
                        <a:pt x="1758" y="286"/>
                      </a:lnTo>
                      <a:lnTo>
                        <a:pt x="1771" y="298"/>
                      </a:lnTo>
                      <a:lnTo>
                        <a:pt x="1784" y="311"/>
                      </a:lnTo>
                      <a:lnTo>
                        <a:pt x="1795" y="324"/>
                      </a:lnTo>
                      <a:lnTo>
                        <a:pt x="1807" y="339"/>
                      </a:lnTo>
                      <a:lnTo>
                        <a:pt x="1816" y="354"/>
                      </a:lnTo>
                      <a:lnTo>
                        <a:pt x="1823" y="369"/>
                      </a:lnTo>
                      <a:lnTo>
                        <a:pt x="1831" y="384"/>
                      </a:lnTo>
                      <a:lnTo>
                        <a:pt x="1837" y="399"/>
                      </a:lnTo>
                      <a:lnTo>
                        <a:pt x="1842" y="415"/>
                      </a:lnTo>
                      <a:lnTo>
                        <a:pt x="1846" y="432"/>
                      </a:lnTo>
                      <a:lnTo>
                        <a:pt x="1848" y="447"/>
                      </a:lnTo>
                      <a:lnTo>
                        <a:pt x="1850" y="464"/>
                      </a:lnTo>
                      <a:lnTo>
                        <a:pt x="1850" y="481"/>
                      </a:lnTo>
                      <a:lnTo>
                        <a:pt x="1848" y="496"/>
                      </a:lnTo>
                      <a:lnTo>
                        <a:pt x="1846" y="511"/>
                      </a:lnTo>
                      <a:lnTo>
                        <a:pt x="1842" y="528"/>
                      </a:lnTo>
                      <a:lnTo>
                        <a:pt x="1838" y="543"/>
                      </a:lnTo>
                      <a:lnTo>
                        <a:pt x="1833" y="558"/>
                      </a:lnTo>
                      <a:lnTo>
                        <a:pt x="1825" y="571"/>
                      </a:lnTo>
                      <a:lnTo>
                        <a:pt x="1818" y="586"/>
                      </a:lnTo>
                      <a:lnTo>
                        <a:pt x="1808" y="599"/>
                      </a:lnTo>
                      <a:lnTo>
                        <a:pt x="1797" y="610"/>
                      </a:lnTo>
                      <a:lnTo>
                        <a:pt x="1784" y="623"/>
                      </a:lnTo>
                      <a:lnTo>
                        <a:pt x="1771" y="632"/>
                      </a:lnTo>
                      <a:lnTo>
                        <a:pt x="1756" y="644"/>
                      </a:lnTo>
                      <a:lnTo>
                        <a:pt x="1741" y="651"/>
                      </a:lnTo>
                      <a:lnTo>
                        <a:pt x="1724" y="660"/>
                      </a:lnTo>
                      <a:lnTo>
                        <a:pt x="1706" y="666"/>
                      </a:lnTo>
                      <a:lnTo>
                        <a:pt x="1685" y="672"/>
                      </a:lnTo>
                      <a:lnTo>
                        <a:pt x="1664" y="677"/>
                      </a:lnTo>
                      <a:lnTo>
                        <a:pt x="1642" y="679"/>
                      </a:lnTo>
                      <a:lnTo>
                        <a:pt x="1642" y="679"/>
                      </a:lnTo>
                      <a:lnTo>
                        <a:pt x="1599" y="683"/>
                      </a:lnTo>
                      <a:lnTo>
                        <a:pt x="1556" y="683"/>
                      </a:lnTo>
                      <a:lnTo>
                        <a:pt x="1511" y="681"/>
                      </a:lnTo>
                      <a:lnTo>
                        <a:pt x="1468" y="677"/>
                      </a:lnTo>
                      <a:lnTo>
                        <a:pt x="1423" y="670"/>
                      </a:lnTo>
                      <a:lnTo>
                        <a:pt x="1380" y="662"/>
                      </a:lnTo>
                      <a:lnTo>
                        <a:pt x="1335" y="653"/>
                      </a:lnTo>
                      <a:lnTo>
                        <a:pt x="1290" y="640"/>
                      </a:lnTo>
                      <a:lnTo>
                        <a:pt x="1247" y="627"/>
                      </a:lnTo>
                      <a:lnTo>
                        <a:pt x="1202" y="614"/>
                      </a:lnTo>
                      <a:lnTo>
                        <a:pt x="1113" y="582"/>
                      </a:lnTo>
                      <a:lnTo>
                        <a:pt x="1025" y="546"/>
                      </a:lnTo>
                      <a:lnTo>
                        <a:pt x="935" y="509"/>
                      </a:lnTo>
                      <a:lnTo>
                        <a:pt x="761" y="436"/>
                      </a:lnTo>
                      <a:lnTo>
                        <a:pt x="675" y="402"/>
                      </a:lnTo>
                      <a:lnTo>
                        <a:pt x="589" y="372"/>
                      </a:lnTo>
                      <a:lnTo>
                        <a:pt x="548" y="359"/>
                      </a:lnTo>
                      <a:lnTo>
                        <a:pt x="505" y="348"/>
                      </a:lnTo>
                      <a:lnTo>
                        <a:pt x="464" y="337"/>
                      </a:lnTo>
                      <a:lnTo>
                        <a:pt x="422" y="328"/>
                      </a:lnTo>
                      <a:lnTo>
                        <a:pt x="381" y="322"/>
                      </a:lnTo>
                      <a:lnTo>
                        <a:pt x="342" y="316"/>
                      </a:lnTo>
                      <a:lnTo>
                        <a:pt x="303" y="314"/>
                      </a:lnTo>
                      <a:lnTo>
                        <a:pt x="263" y="314"/>
                      </a:lnTo>
                      <a:lnTo>
                        <a:pt x="263" y="314"/>
                      </a:lnTo>
                      <a:lnTo>
                        <a:pt x="263" y="331"/>
                      </a:lnTo>
                      <a:lnTo>
                        <a:pt x="261" y="346"/>
                      </a:lnTo>
                      <a:lnTo>
                        <a:pt x="260" y="361"/>
                      </a:lnTo>
                      <a:lnTo>
                        <a:pt x="254" y="376"/>
                      </a:lnTo>
                      <a:lnTo>
                        <a:pt x="248" y="389"/>
                      </a:lnTo>
                      <a:lnTo>
                        <a:pt x="239" y="402"/>
                      </a:lnTo>
                      <a:lnTo>
                        <a:pt x="230" y="415"/>
                      </a:lnTo>
                      <a:lnTo>
                        <a:pt x="220" y="427"/>
                      </a:lnTo>
                      <a:lnTo>
                        <a:pt x="209" y="438"/>
                      </a:lnTo>
                      <a:lnTo>
                        <a:pt x="196" y="449"/>
                      </a:lnTo>
                      <a:lnTo>
                        <a:pt x="170" y="468"/>
                      </a:lnTo>
                      <a:lnTo>
                        <a:pt x="140" y="485"/>
                      </a:lnTo>
                      <a:lnTo>
                        <a:pt x="110" y="498"/>
                      </a:lnTo>
                      <a:lnTo>
                        <a:pt x="110" y="498"/>
                      </a:lnTo>
                      <a:lnTo>
                        <a:pt x="91" y="473"/>
                      </a:lnTo>
                      <a:lnTo>
                        <a:pt x="73" y="449"/>
                      </a:lnTo>
                      <a:lnTo>
                        <a:pt x="54" y="427"/>
                      </a:lnTo>
                      <a:lnTo>
                        <a:pt x="35" y="402"/>
                      </a:lnTo>
                      <a:lnTo>
                        <a:pt x="20" y="376"/>
                      </a:lnTo>
                      <a:lnTo>
                        <a:pt x="15" y="363"/>
                      </a:lnTo>
                      <a:lnTo>
                        <a:pt x="9" y="350"/>
                      </a:lnTo>
                      <a:lnTo>
                        <a:pt x="5" y="335"/>
                      </a:lnTo>
                      <a:lnTo>
                        <a:pt x="1" y="318"/>
                      </a:lnTo>
                      <a:lnTo>
                        <a:pt x="0" y="301"/>
                      </a:lnTo>
                      <a:lnTo>
                        <a:pt x="0" y="284"/>
                      </a:lnTo>
                      <a:lnTo>
                        <a:pt x="0" y="284"/>
                      </a:lnTo>
                      <a:lnTo>
                        <a:pt x="1" y="260"/>
                      </a:lnTo>
                      <a:lnTo>
                        <a:pt x="5" y="238"/>
                      </a:lnTo>
                      <a:lnTo>
                        <a:pt x="11" y="219"/>
                      </a:lnTo>
                      <a:lnTo>
                        <a:pt x="20" y="200"/>
                      </a:lnTo>
                      <a:lnTo>
                        <a:pt x="30" y="183"/>
                      </a:lnTo>
                      <a:lnTo>
                        <a:pt x="43" y="169"/>
                      </a:lnTo>
                      <a:lnTo>
                        <a:pt x="58" y="155"/>
                      </a:lnTo>
                      <a:lnTo>
                        <a:pt x="73" y="142"/>
                      </a:lnTo>
                      <a:lnTo>
                        <a:pt x="91" y="133"/>
                      </a:lnTo>
                      <a:lnTo>
                        <a:pt x="110" y="124"/>
                      </a:lnTo>
                      <a:lnTo>
                        <a:pt x="131" y="116"/>
                      </a:lnTo>
                      <a:lnTo>
                        <a:pt x="153" y="111"/>
                      </a:lnTo>
                      <a:lnTo>
                        <a:pt x="175" y="105"/>
                      </a:lnTo>
                      <a:lnTo>
                        <a:pt x="198" y="101"/>
                      </a:lnTo>
                      <a:lnTo>
                        <a:pt x="222" y="97"/>
                      </a:lnTo>
                      <a:lnTo>
                        <a:pt x="248" y="96"/>
                      </a:lnTo>
                      <a:lnTo>
                        <a:pt x="301" y="96"/>
                      </a:lnTo>
                      <a:lnTo>
                        <a:pt x="353" y="97"/>
                      </a:lnTo>
                      <a:lnTo>
                        <a:pt x="407" y="105"/>
                      </a:lnTo>
                      <a:lnTo>
                        <a:pt x="460" y="112"/>
                      </a:lnTo>
                      <a:lnTo>
                        <a:pt x="512" y="124"/>
                      </a:lnTo>
                      <a:lnTo>
                        <a:pt x="561" y="135"/>
                      </a:lnTo>
                      <a:lnTo>
                        <a:pt x="608" y="148"/>
                      </a:lnTo>
                      <a:lnTo>
                        <a:pt x="649" y="163"/>
                      </a:lnTo>
                      <a:lnTo>
                        <a:pt x="649" y="163"/>
                      </a:lnTo>
                      <a:lnTo>
                        <a:pt x="662" y="155"/>
                      </a:lnTo>
                      <a:lnTo>
                        <a:pt x="675" y="146"/>
                      </a:lnTo>
                      <a:lnTo>
                        <a:pt x="699" y="127"/>
                      </a:lnTo>
                      <a:lnTo>
                        <a:pt x="722" y="107"/>
                      </a:lnTo>
                      <a:lnTo>
                        <a:pt x="742" y="84"/>
                      </a:lnTo>
                      <a:lnTo>
                        <a:pt x="783" y="39"/>
                      </a:lnTo>
                      <a:lnTo>
                        <a:pt x="806" y="19"/>
                      </a:lnTo>
                      <a:lnTo>
                        <a:pt x="830" y="0"/>
                      </a:lnTo>
                      <a:lnTo>
                        <a:pt x="830" y="0"/>
                      </a:lnTo>
                      <a:lnTo>
                        <a:pt x="881" y="11"/>
                      </a:lnTo>
                      <a:lnTo>
                        <a:pt x="929" y="24"/>
                      </a:lnTo>
                      <a:lnTo>
                        <a:pt x="976" y="38"/>
                      </a:lnTo>
                      <a:lnTo>
                        <a:pt x="1023" y="54"/>
                      </a:lnTo>
                      <a:lnTo>
                        <a:pt x="1113" y="88"/>
                      </a:lnTo>
                      <a:lnTo>
                        <a:pt x="1199" y="124"/>
                      </a:lnTo>
                      <a:lnTo>
                        <a:pt x="1287" y="159"/>
                      </a:lnTo>
                      <a:lnTo>
                        <a:pt x="1375" y="195"/>
                      </a:lnTo>
                      <a:lnTo>
                        <a:pt x="1419" y="212"/>
                      </a:lnTo>
                      <a:lnTo>
                        <a:pt x="1464" y="227"/>
                      </a:lnTo>
                      <a:lnTo>
                        <a:pt x="1511" y="241"/>
                      </a:lnTo>
                      <a:lnTo>
                        <a:pt x="1562" y="255"/>
                      </a:lnTo>
                      <a:lnTo>
                        <a:pt x="1562" y="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42" name="Freeform 34"/>
                <p:cNvSpPr>
                  <a:spLocks/>
                </p:cNvSpPr>
                <p:nvPr/>
              </p:nvSpPr>
              <p:spPr bwMode="auto">
                <a:xfrm>
                  <a:off x="9486900" y="10193338"/>
                  <a:ext cx="1471613" cy="539750"/>
                </a:xfrm>
                <a:custGeom>
                  <a:avLst/>
                  <a:gdLst>
                    <a:gd name="T0" fmla="*/ 1554 w 1854"/>
                    <a:gd name="T1" fmla="*/ 268 h 681"/>
                    <a:gd name="T2" fmla="*/ 1509 w 1854"/>
                    <a:gd name="T3" fmla="*/ 324 h 681"/>
                    <a:gd name="T4" fmla="*/ 1425 w 1854"/>
                    <a:gd name="T5" fmla="*/ 402 h 681"/>
                    <a:gd name="T6" fmla="*/ 1427 w 1854"/>
                    <a:gd name="T7" fmla="*/ 434 h 681"/>
                    <a:gd name="T8" fmla="*/ 1493 w 1854"/>
                    <a:gd name="T9" fmla="*/ 447 h 681"/>
                    <a:gd name="T10" fmla="*/ 1592 w 1854"/>
                    <a:gd name="T11" fmla="*/ 456 h 681"/>
                    <a:gd name="T12" fmla="*/ 1597 w 1854"/>
                    <a:gd name="T13" fmla="*/ 413 h 681"/>
                    <a:gd name="T14" fmla="*/ 1618 w 1854"/>
                    <a:gd name="T15" fmla="*/ 374 h 681"/>
                    <a:gd name="T16" fmla="*/ 1683 w 1854"/>
                    <a:gd name="T17" fmla="*/ 309 h 681"/>
                    <a:gd name="T18" fmla="*/ 1734 w 1854"/>
                    <a:gd name="T19" fmla="*/ 275 h 681"/>
                    <a:gd name="T20" fmla="*/ 1782 w 1854"/>
                    <a:gd name="T21" fmla="*/ 314 h 681"/>
                    <a:gd name="T22" fmla="*/ 1820 w 1854"/>
                    <a:gd name="T23" fmla="*/ 357 h 681"/>
                    <a:gd name="T24" fmla="*/ 1842 w 1854"/>
                    <a:gd name="T25" fmla="*/ 406 h 681"/>
                    <a:gd name="T26" fmla="*/ 1852 w 1854"/>
                    <a:gd name="T27" fmla="*/ 455 h 681"/>
                    <a:gd name="T28" fmla="*/ 1850 w 1854"/>
                    <a:gd name="T29" fmla="*/ 503 h 681"/>
                    <a:gd name="T30" fmla="*/ 1835 w 1854"/>
                    <a:gd name="T31" fmla="*/ 550 h 681"/>
                    <a:gd name="T32" fmla="*/ 1809 w 1854"/>
                    <a:gd name="T33" fmla="*/ 593 h 681"/>
                    <a:gd name="T34" fmla="*/ 1769 w 1854"/>
                    <a:gd name="T35" fmla="*/ 629 h 681"/>
                    <a:gd name="T36" fmla="*/ 1719 w 1854"/>
                    <a:gd name="T37" fmla="*/ 657 h 681"/>
                    <a:gd name="T38" fmla="*/ 1659 w 1854"/>
                    <a:gd name="T39" fmla="*/ 673 h 681"/>
                    <a:gd name="T40" fmla="*/ 1612 w 1854"/>
                    <a:gd name="T41" fmla="*/ 679 h 681"/>
                    <a:gd name="T42" fmla="*/ 1472 w 1854"/>
                    <a:gd name="T43" fmla="*/ 677 h 681"/>
                    <a:gd name="T44" fmla="*/ 1337 w 1854"/>
                    <a:gd name="T45" fmla="*/ 655 h 681"/>
                    <a:gd name="T46" fmla="*/ 1208 w 1854"/>
                    <a:gd name="T47" fmla="*/ 619 h 681"/>
                    <a:gd name="T48" fmla="*/ 1002 w 1854"/>
                    <a:gd name="T49" fmla="*/ 539 h 681"/>
                    <a:gd name="T50" fmla="*/ 761 w 1854"/>
                    <a:gd name="T51" fmla="*/ 434 h 681"/>
                    <a:gd name="T52" fmla="*/ 557 w 1854"/>
                    <a:gd name="T53" fmla="*/ 359 h 681"/>
                    <a:gd name="T54" fmla="*/ 434 w 1854"/>
                    <a:gd name="T55" fmla="*/ 329 h 681"/>
                    <a:gd name="T56" fmla="*/ 307 w 1854"/>
                    <a:gd name="T57" fmla="*/ 314 h 681"/>
                    <a:gd name="T58" fmla="*/ 263 w 1854"/>
                    <a:gd name="T59" fmla="*/ 331 h 681"/>
                    <a:gd name="T60" fmla="*/ 256 w 1854"/>
                    <a:gd name="T61" fmla="*/ 374 h 681"/>
                    <a:gd name="T62" fmla="*/ 234 w 1854"/>
                    <a:gd name="T63" fmla="*/ 410 h 681"/>
                    <a:gd name="T64" fmla="*/ 177 w 1854"/>
                    <a:gd name="T65" fmla="*/ 462 h 681"/>
                    <a:gd name="T66" fmla="*/ 104 w 1854"/>
                    <a:gd name="T67" fmla="*/ 479 h 681"/>
                    <a:gd name="T68" fmla="*/ 37 w 1854"/>
                    <a:gd name="T69" fmla="*/ 410 h 681"/>
                    <a:gd name="T70" fmla="*/ 9 w 1854"/>
                    <a:gd name="T71" fmla="*/ 352 h 681"/>
                    <a:gd name="T72" fmla="*/ 0 w 1854"/>
                    <a:gd name="T73" fmla="*/ 301 h 681"/>
                    <a:gd name="T74" fmla="*/ 0 w 1854"/>
                    <a:gd name="T75" fmla="*/ 260 h 681"/>
                    <a:gd name="T76" fmla="*/ 18 w 1854"/>
                    <a:gd name="T77" fmla="*/ 200 h 681"/>
                    <a:gd name="T78" fmla="*/ 58 w 1854"/>
                    <a:gd name="T79" fmla="*/ 155 h 681"/>
                    <a:gd name="T80" fmla="*/ 110 w 1854"/>
                    <a:gd name="T81" fmla="*/ 123 h 681"/>
                    <a:gd name="T82" fmla="*/ 174 w 1854"/>
                    <a:gd name="T83" fmla="*/ 105 h 681"/>
                    <a:gd name="T84" fmla="*/ 247 w 1854"/>
                    <a:gd name="T85" fmla="*/ 95 h 681"/>
                    <a:gd name="T86" fmla="*/ 408 w 1854"/>
                    <a:gd name="T87" fmla="*/ 103 h 681"/>
                    <a:gd name="T88" fmla="*/ 561 w 1854"/>
                    <a:gd name="T89" fmla="*/ 135 h 681"/>
                    <a:gd name="T90" fmla="*/ 649 w 1854"/>
                    <a:gd name="T91" fmla="*/ 163 h 681"/>
                    <a:gd name="T92" fmla="*/ 699 w 1854"/>
                    <a:gd name="T93" fmla="*/ 127 h 681"/>
                    <a:gd name="T94" fmla="*/ 784 w 1854"/>
                    <a:gd name="T95" fmla="*/ 39 h 681"/>
                    <a:gd name="T96" fmla="*/ 830 w 1854"/>
                    <a:gd name="T97" fmla="*/ 0 h 681"/>
                    <a:gd name="T98" fmla="*/ 978 w 1854"/>
                    <a:gd name="T99" fmla="*/ 37 h 681"/>
                    <a:gd name="T100" fmla="*/ 1113 w 1854"/>
                    <a:gd name="T101" fmla="*/ 86 h 681"/>
                    <a:gd name="T102" fmla="*/ 1375 w 1854"/>
                    <a:gd name="T103" fmla="*/ 195 h 681"/>
                    <a:gd name="T104" fmla="*/ 1511 w 1854"/>
                    <a:gd name="T105" fmla="*/ 241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54" h="681">
                      <a:moveTo>
                        <a:pt x="1560" y="254"/>
                      </a:moveTo>
                      <a:lnTo>
                        <a:pt x="1560" y="254"/>
                      </a:lnTo>
                      <a:lnTo>
                        <a:pt x="1554" y="268"/>
                      </a:lnTo>
                      <a:lnTo>
                        <a:pt x="1547" y="279"/>
                      </a:lnTo>
                      <a:lnTo>
                        <a:pt x="1528" y="303"/>
                      </a:lnTo>
                      <a:lnTo>
                        <a:pt x="1509" y="324"/>
                      </a:lnTo>
                      <a:lnTo>
                        <a:pt x="1487" y="342"/>
                      </a:lnTo>
                      <a:lnTo>
                        <a:pt x="1446" y="382"/>
                      </a:lnTo>
                      <a:lnTo>
                        <a:pt x="1425" y="402"/>
                      </a:lnTo>
                      <a:lnTo>
                        <a:pt x="1408" y="427"/>
                      </a:lnTo>
                      <a:lnTo>
                        <a:pt x="1408" y="427"/>
                      </a:lnTo>
                      <a:lnTo>
                        <a:pt x="1427" y="434"/>
                      </a:lnTo>
                      <a:lnTo>
                        <a:pt x="1449" y="440"/>
                      </a:lnTo>
                      <a:lnTo>
                        <a:pt x="1470" y="443"/>
                      </a:lnTo>
                      <a:lnTo>
                        <a:pt x="1493" y="447"/>
                      </a:lnTo>
                      <a:lnTo>
                        <a:pt x="1541" y="453"/>
                      </a:lnTo>
                      <a:lnTo>
                        <a:pt x="1592" y="456"/>
                      </a:lnTo>
                      <a:lnTo>
                        <a:pt x="1592" y="456"/>
                      </a:lnTo>
                      <a:lnTo>
                        <a:pt x="1592" y="441"/>
                      </a:lnTo>
                      <a:lnTo>
                        <a:pt x="1594" y="428"/>
                      </a:lnTo>
                      <a:lnTo>
                        <a:pt x="1597" y="413"/>
                      </a:lnTo>
                      <a:lnTo>
                        <a:pt x="1603" y="400"/>
                      </a:lnTo>
                      <a:lnTo>
                        <a:pt x="1610" y="387"/>
                      </a:lnTo>
                      <a:lnTo>
                        <a:pt x="1618" y="374"/>
                      </a:lnTo>
                      <a:lnTo>
                        <a:pt x="1637" y="352"/>
                      </a:lnTo>
                      <a:lnTo>
                        <a:pt x="1659" y="329"/>
                      </a:lnTo>
                      <a:lnTo>
                        <a:pt x="1683" y="309"/>
                      </a:lnTo>
                      <a:lnTo>
                        <a:pt x="1708" y="292"/>
                      </a:lnTo>
                      <a:lnTo>
                        <a:pt x="1734" y="275"/>
                      </a:lnTo>
                      <a:lnTo>
                        <a:pt x="1734" y="275"/>
                      </a:lnTo>
                      <a:lnTo>
                        <a:pt x="1751" y="286"/>
                      </a:lnTo>
                      <a:lnTo>
                        <a:pt x="1767" y="299"/>
                      </a:lnTo>
                      <a:lnTo>
                        <a:pt x="1782" y="314"/>
                      </a:lnTo>
                      <a:lnTo>
                        <a:pt x="1796" y="327"/>
                      </a:lnTo>
                      <a:lnTo>
                        <a:pt x="1809" y="342"/>
                      </a:lnTo>
                      <a:lnTo>
                        <a:pt x="1820" y="357"/>
                      </a:lnTo>
                      <a:lnTo>
                        <a:pt x="1827" y="374"/>
                      </a:lnTo>
                      <a:lnTo>
                        <a:pt x="1837" y="389"/>
                      </a:lnTo>
                      <a:lnTo>
                        <a:pt x="1842" y="406"/>
                      </a:lnTo>
                      <a:lnTo>
                        <a:pt x="1846" y="423"/>
                      </a:lnTo>
                      <a:lnTo>
                        <a:pt x="1850" y="440"/>
                      </a:lnTo>
                      <a:lnTo>
                        <a:pt x="1852" y="455"/>
                      </a:lnTo>
                      <a:lnTo>
                        <a:pt x="1854" y="471"/>
                      </a:lnTo>
                      <a:lnTo>
                        <a:pt x="1852" y="488"/>
                      </a:lnTo>
                      <a:lnTo>
                        <a:pt x="1850" y="503"/>
                      </a:lnTo>
                      <a:lnTo>
                        <a:pt x="1846" y="520"/>
                      </a:lnTo>
                      <a:lnTo>
                        <a:pt x="1842" y="535"/>
                      </a:lnTo>
                      <a:lnTo>
                        <a:pt x="1835" y="550"/>
                      </a:lnTo>
                      <a:lnTo>
                        <a:pt x="1827" y="565"/>
                      </a:lnTo>
                      <a:lnTo>
                        <a:pt x="1818" y="580"/>
                      </a:lnTo>
                      <a:lnTo>
                        <a:pt x="1809" y="593"/>
                      </a:lnTo>
                      <a:lnTo>
                        <a:pt x="1797" y="606"/>
                      </a:lnTo>
                      <a:lnTo>
                        <a:pt x="1784" y="617"/>
                      </a:lnTo>
                      <a:lnTo>
                        <a:pt x="1769" y="629"/>
                      </a:lnTo>
                      <a:lnTo>
                        <a:pt x="1754" y="638"/>
                      </a:lnTo>
                      <a:lnTo>
                        <a:pt x="1738" y="647"/>
                      </a:lnTo>
                      <a:lnTo>
                        <a:pt x="1719" y="657"/>
                      </a:lnTo>
                      <a:lnTo>
                        <a:pt x="1700" y="664"/>
                      </a:lnTo>
                      <a:lnTo>
                        <a:pt x="1680" y="670"/>
                      </a:lnTo>
                      <a:lnTo>
                        <a:pt x="1659" y="673"/>
                      </a:lnTo>
                      <a:lnTo>
                        <a:pt x="1635" y="677"/>
                      </a:lnTo>
                      <a:lnTo>
                        <a:pt x="1612" y="679"/>
                      </a:lnTo>
                      <a:lnTo>
                        <a:pt x="1612" y="679"/>
                      </a:lnTo>
                      <a:lnTo>
                        <a:pt x="1564" y="681"/>
                      </a:lnTo>
                      <a:lnTo>
                        <a:pt x="1517" y="681"/>
                      </a:lnTo>
                      <a:lnTo>
                        <a:pt x="1472" y="677"/>
                      </a:lnTo>
                      <a:lnTo>
                        <a:pt x="1427" y="672"/>
                      </a:lnTo>
                      <a:lnTo>
                        <a:pt x="1382" y="664"/>
                      </a:lnTo>
                      <a:lnTo>
                        <a:pt x="1337" y="655"/>
                      </a:lnTo>
                      <a:lnTo>
                        <a:pt x="1294" y="645"/>
                      </a:lnTo>
                      <a:lnTo>
                        <a:pt x="1251" y="632"/>
                      </a:lnTo>
                      <a:lnTo>
                        <a:pt x="1208" y="619"/>
                      </a:lnTo>
                      <a:lnTo>
                        <a:pt x="1167" y="606"/>
                      </a:lnTo>
                      <a:lnTo>
                        <a:pt x="1085" y="574"/>
                      </a:lnTo>
                      <a:lnTo>
                        <a:pt x="1002" y="539"/>
                      </a:lnTo>
                      <a:lnTo>
                        <a:pt x="922" y="503"/>
                      </a:lnTo>
                      <a:lnTo>
                        <a:pt x="840" y="468"/>
                      </a:lnTo>
                      <a:lnTo>
                        <a:pt x="761" y="434"/>
                      </a:lnTo>
                      <a:lnTo>
                        <a:pt x="679" y="400"/>
                      </a:lnTo>
                      <a:lnTo>
                        <a:pt x="598" y="372"/>
                      </a:lnTo>
                      <a:lnTo>
                        <a:pt x="557" y="359"/>
                      </a:lnTo>
                      <a:lnTo>
                        <a:pt x="516" y="348"/>
                      </a:lnTo>
                      <a:lnTo>
                        <a:pt x="475" y="337"/>
                      </a:lnTo>
                      <a:lnTo>
                        <a:pt x="434" y="329"/>
                      </a:lnTo>
                      <a:lnTo>
                        <a:pt x="391" y="322"/>
                      </a:lnTo>
                      <a:lnTo>
                        <a:pt x="350" y="318"/>
                      </a:lnTo>
                      <a:lnTo>
                        <a:pt x="307" y="314"/>
                      </a:lnTo>
                      <a:lnTo>
                        <a:pt x="263" y="314"/>
                      </a:lnTo>
                      <a:lnTo>
                        <a:pt x="263" y="314"/>
                      </a:lnTo>
                      <a:lnTo>
                        <a:pt x="263" y="331"/>
                      </a:lnTo>
                      <a:lnTo>
                        <a:pt x="263" y="346"/>
                      </a:lnTo>
                      <a:lnTo>
                        <a:pt x="262" y="359"/>
                      </a:lnTo>
                      <a:lnTo>
                        <a:pt x="256" y="374"/>
                      </a:lnTo>
                      <a:lnTo>
                        <a:pt x="250" y="385"/>
                      </a:lnTo>
                      <a:lnTo>
                        <a:pt x="243" y="398"/>
                      </a:lnTo>
                      <a:lnTo>
                        <a:pt x="234" y="410"/>
                      </a:lnTo>
                      <a:lnTo>
                        <a:pt x="224" y="421"/>
                      </a:lnTo>
                      <a:lnTo>
                        <a:pt x="202" y="441"/>
                      </a:lnTo>
                      <a:lnTo>
                        <a:pt x="177" y="462"/>
                      </a:lnTo>
                      <a:lnTo>
                        <a:pt x="131" y="498"/>
                      </a:lnTo>
                      <a:lnTo>
                        <a:pt x="131" y="498"/>
                      </a:lnTo>
                      <a:lnTo>
                        <a:pt x="104" y="479"/>
                      </a:lnTo>
                      <a:lnTo>
                        <a:pt x="80" y="458"/>
                      </a:lnTo>
                      <a:lnTo>
                        <a:pt x="58" y="434"/>
                      </a:lnTo>
                      <a:lnTo>
                        <a:pt x="37" y="410"/>
                      </a:lnTo>
                      <a:lnTo>
                        <a:pt x="22" y="382"/>
                      </a:lnTo>
                      <a:lnTo>
                        <a:pt x="15" y="367"/>
                      </a:lnTo>
                      <a:lnTo>
                        <a:pt x="9" y="352"/>
                      </a:lnTo>
                      <a:lnTo>
                        <a:pt x="5" y="335"/>
                      </a:lnTo>
                      <a:lnTo>
                        <a:pt x="2" y="318"/>
                      </a:lnTo>
                      <a:lnTo>
                        <a:pt x="0" y="301"/>
                      </a:lnTo>
                      <a:lnTo>
                        <a:pt x="0" y="284"/>
                      </a:lnTo>
                      <a:lnTo>
                        <a:pt x="0" y="284"/>
                      </a:lnTo>
                      <a:lnTo>
                        <a:pt x="0" y="260"/>
                      </a:lnTo>
                      <a:lnTo>
                        <a:pt x="5" y="239"/>
                      </a:lnTo>
                      <a:lnTo>
                        <a:pt x="11" y="219"/>
                      </a:lnTo>
                      <a:lnTo>
                        <a:pt x="18" y="200"/>
                      </a:lnTo>
                      <a:lnTo>
                        <a:pt x="30" y="183"/>
                      </a:lnTo>
                      <a:lnTo>
                        <a:pt x="43" y="168"/>
                      </a:lnTo>
                      <a:lnTo>
                        <a:pt x="58" y="155"/>
                      </a:lnTo>
                      <a:lnTo>
                        <a:pt x="73" y="144"/>
                      </a:lnTo>
                      <a:lnTo>
                        <a:pt x="90" y="133"/>
                      </a:lnTo>
                      <a:lnTo>
                        <a:pt x="110" y="123"/>
                      </a:lnTo>
                      <a:lnTo>
                        <a:pt x="131" y="116"/>
                      </a:lnTo>
                      <a:lnTo>
                        <a:pt x="151" y="110"/>
                      </a:lnTo>
                      <a:lnTo>
                        <a:pt x="174" y="105"/>
                      </a:lnTo>
                      <a:lnTo>
                        <a:pt x="198" y="101"/>
                      </a:lnTo>
                      <a:lnTo>
                        <a:pt x="222" y="97"/>
                      </a:lnTo>
                      <a:lnTo>
                        <a:pt x="247" y="95"/>
                      </a:lnTo>
                      <a:lnTo>
                        <a:pt x="299" y="95"/>
                      </a:lnTo>
                      <a:lnTo>
                        <a:pt x="353" y="97"/>
                      </a:lnTo>
                      <a:lnTo>
                        <a:pt x="408" y="103"/>
                      </a:lnTo>
                      <a:lnTo>
                        <a:pt x="460" y="112"/>
                      </a:lnTo>
                      <a:lnTo>
                        <a:pt x="512" y="122"/>
                      </a:lnTo>
                      <a:lnTo>
                        <a:pt x="561" y="135"/>
                      </a:lnTo>
                      <a:lnTo>
                        <a:pt x="608" y="148"/>
                      </a:lnTo>
                      <a:lnTo>
                        <a:pt x="649" y="163"/>
                      </a:lnTo>
                      <a:lnTo>
                        <a:pt x="649" y="163"/>
                      </a:lnTo>
                      <a:lnTo>
                        <a:pt x="662" y="155"/>
                      </a:lnTo>
                      <a:lnTo>
                        <a:pt x="675" y="146"/>
                      </a:lnTo>
                      <a:lnTo>
                        <a:pt x="699" y="127"/>
                      </a:lnTo>
                      <a:lnTo>
                        <a:pt x="722" y="107"/>
                      </a:lnTo>
                      <a:lnTo>
                        <a:pt x="742" y="84"/>
                      </a:lnTo>
                      <a:lnTo>
                        <a:pt x="784" y="39"/>
                      </a:lnTo>
                      <a:lnTo>
                        <a:pt x="806" y="19"/>
                      </a:lnTo>
                      <a:lnTo>
                        <a:pt x="830" y="0"/>
                      </a:lnTo>
                      <a:lnTo>
                        <a:pt x="830" y="0"/>
                      </a:lnTo>
                      <a:lnTo>
                        <a:pt x="881" y="11"/>
                      </a:lnTo>
                      <a:lnTo>
                        <a:pt x="929" y="24"/>
                      </a:lnTo>
                      <a:lnTo>
                        <a:pt x="978" y="37"/>
                      </a:lnTo>
                      <a:lnTo>
                        <a:pt x="1023" y="52"/>
                      </a:lnTo>
                      <a:lnTo>
                        <a:pt x="1070" y="69"/>
                      </a:lnTo>
                      <a:lnTo>
                        <a:pt x="1113" y="86"/>
                      </a:lnTo>
                      <a:lnTo>
                        <a:pt x="1201" y="122"/>
                      </a:lnTo>
                      <a:lnTo>
                        <a:pt x="1287" y="159"/>
                      </a:lnTo>
                      <a:lnTo>
                        <a:pt x="1375" y="195"/>
                      </a:lnTo>
                      <a:lnTo>
                        <a:pt x="1420" y="211"/>
                      </a:lnTo>
                      <a:lnTo>
                        <a:pt x="1464" y="226"/>
                      </a:lnTo>
                      <a:lnTo>
                        <a:pt x="1511" y="241"/>
                      </a:lnTo>
                      <a:lnTo>
                        <a:pt x="1560" y="254"/>
                      </a:lnTo>
                      <a:lnTo>
                        <a:pt x="156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43" name="Freeform 35"/>
                <p:cNvSpPr>
                  <a:spLocks/>
                </p:cNvSpPr>
                <p:nvPr/>
              </p:nvSpPr>
              <p:spPr bwMode="auto">
                <a:xfrm>
                  <a:off x="9107488" y="10539413"/>
                  <a:ext cx="1271588" cy="1087438"/>
                </a:xfrm>
                <a:custGeom>
                  <a:avLst/>
                  <a:gdLst>
                    <a:gd name="T0" fmla="*/ 1564 w 1601"/>
                    <a:gd name="T1" fmla="*/ 299 h 1369"/>
                    <a:gd name="T2" fmla="*/ 1352 w 1601"/>
                    <a:gd name="T3" fmla="*/ 524 h 1369"/>
                    <a:gd name="T4" fmla="*/ 1225 w 1601"/>
                    <a:gd name="T5" fmla="*/ 647 h 1369"/>
                    <a:gd name="T6" fmla="*/ 1139 w 1601"/>
                    <a:gd name="T7" fmla="*/ 722 h 1369"/>
                    <a:gd name="T8" fmla="*/ 1135 w 1601"/>
                    <a:gd name="T9" fmla="*/ 731 h 1369"/>
                    <a:gd name="T10" fmla="*/ 1145 w 1601"/>
                    <a:gd name="T11" fmla="*/ 754 h 1369"/>
                    <a:gd name="T12" fmla="*/ 1186 w 1601"/>
                    <a:gd name="T13" fmla="*/ 801 h 1369"/>
                    <a:gd name="T14" fmla="*/ 1247 w 1601"/>
                    <a:gd name="T15" fmla="*/ 853 h 1369"/>
                    <a:gd name="T16" fmla="*/ 1304 w 1601"/>
                    <a:gd name="T17" fmla="*/ 907 h 1369"/>
                    <a:gd name="T18" fmla="*/ 1335 w 1601"/>
                    <a:gd name="T19" fmla="*/ 961 h 1369"/>
                    <a:gd name="T20" fmla="*/ 1337 w 1601"/>
                    <a:gd name="T21" fmla="*/ 984 h 1369"/>
                    <a:gd name="T22" fmla="*/ 1330 w 1601"/>
                    <a:gd name="T23" fmla="*/ 1036 h 1369"/>
                    <a:gd name="T24" fmla="*/ 1307 w 1601"/>
                    <a:gd name="T25" fmla="*/ 1083 h 1369"/>
                    <a:gd name="T26" fmla="*/ 1234 w 1601"/>
                    <a:gd name="T27" fmla="*/ 1162 h 1369"/>
                    <a:gd name="T28" fmla="*/ 1141 w 1601"/>
                    <a:gd name="T29" fmla="*/ 1255 h 1369"/>
                    <a:gd name="T30" fmla="*/ 1060 w 1601"/>
                    <a:gd name="T31" fmla="*/ 1332 h 1369"/>
                    <a:gd name="T32" fmla="*/ 1017 w 1601"/>
                    <a:gd name="T33" fmla="*/ 1358 h 1369"/>
                    <a:gd name="T34" fmla="*/ 972 w 1601"/>
                    <a:gd name="T35" fmla="*/ 1369 h 1369"/>
                    <a:gd name="T36" fmla="*/ 937 w 1601"/>
                    <a:gd name="T37" fmla="*/ 1364 h 1369"/>
                    <a:gd name="T38" fmla="*/ 879 w 1601"/>
                    <a:gd name="T39" fmla="*/ 1332 h 1369"/>
                    <a:gd name="T40" fmla="*/ 784 w 1601"/>
                    <a:gd name="T41" fmla="*/ 1248 h 1369"/>
                    <a:gd name="T42" fmla="*/ 699 w 1601"/>
                    <a:gd name="T43" fmla="*/ 1156 h 1369"/>
                    <a:gd name="T44" fmla="*/ 149 w 1601"/>
                    <a:gd name="T45" fmla="*/ 610 h 1369"/>
                    <a:gd name="T46" fmla="*/ 48 w 1601"/>
                    <a:gd name="T47" fmla="*/ 507 h 1369"/>
                    <a:gd name="T48" fmla="*/ 13 w 1601"/>
                    <a:gd name="T49" fmla="*/ 454 h 1369"/>
                    <a:gd name="T50" fmla="*/ 0 w 1601"/>
                    <a:gd name="T51" fmla="*/ 406 h 1369"/>
                    <a:gd name="T52" fmla="*/ 3 w 1601"/>
                    <a:gd name="T53" fmla="*/ 372 h 1369"/>
                    <a:gd name="T54" fmla="*/ 24 w 1601"/>
                    <a:gd name="T55" fmla="*/ 327 h 1369"/>
                    <a:gd name="T56" fmla="*/ 84 w 1601"/>
                    <a:gd name="T57" fmla="*/ 260 h 1369"/>
                    <a:gd name="T58" fmla="*/ 162 w 1601"/>
                    <a:gd name="T59" fmla="*/ 193 h 1369"/>
                    <a:gd name="T60" fmla="*/ 204 w 1601"/>
                    <a:gd name="T61" fmla="*/ 146 h 1369"/>
                    <a:gd name="T62" fmla="*/ 277 w 1601"/>
                    <a:gd name="T63" fmla="*/ 69 h 1369"/>
                    <a:gd name="T64" fmla="*/ 318 w 1601"/>
                    <a:gd name="T65" fmla="*/ 43 h 1369"/>
                    <a:gd name="T66" fmla="*/ 365 w 1601"/>
                    <a:gd name="T67" fmla="*/ 32 h 1369"/>
                    <a:gd name="T68" fmla="*/ 391 w 1601"/>
                    <a:gd name="T69" fmla="*/ 32 h 1369"/>
                    <a:gd name="T70" fmla="*/ 436 w 1601"/>
                    <a:gd name="T71" fmla="*/ 45 h 1369"/>
                    <a:gd name="T72" fmla="*/ 488 w 1601"/>
                    <a:gd name="T73" fmla="*/ 84 h 1369"/>
                    <a:gd name="T74" fmla="*/ 533 w 1601"/>
                    <a:gd name="T75" fmla="*/ 135 h 1369"/>
                    <a:gd name="T76" fmla="*/ 600 w 1601"/>
                    <a:gd name="T77" fmla="*/ 215 h 1369"/>
                    <a:gd name="T78" fmla="*/ 628 w 1601"/>
                    <a:gd name="T79" fmla="*/ 234 h 1369"/>
                    <a:gd name="T80" fmla="*/ 643 w 1601"/>
                    <a:gd name="T81" fmla="*/ 222 h 1369"/>
                    <a:gd name="T82" fmla="*/ 785 w 1601"/>
                    <a:gd name="T83" fmla="*/ 69 h 1369"/>
                    <a:gd name="T84" fmla="*/ 858 w 1601"/>
                    <a:gd name="T85" fmla="*/ 7 h 1369"/>
                    <a:gd name="T86" fmla="*/ 881 w 1601"/>
                    <a:gd name="T87" fmla="*/ 0 h 1369"/>
                    <a:gd name="T88" fmla="*/ 972 w 1601"/>
                    <a:gd name="T89" fmla="*/ 26 h 1369"/>
                    <a:gd name="T90" fmla="*/ 1231 w 1601"/>
                    <a:gd name="T91" fmla="*/ 120 h 1369"/>
                    <a:gd name="T92" fmla="*/ 1502 w 1601"/>
                    <a:gd name="T93" fmla="*/ 221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1" h="1369">
                      <a:moveTo>
                        <a:pt x="1601" y="254"/>
                      </a:moveTo>
                      <a:lnTo>
                        <a:pt x="1601" y="254"/>
                      </a:lnTo>
                      <a:lnTo>
                        <a:pt x="1564" y="299"/>
                      </a:lnTo>
                      <a:lnTo>
                        <a:pt x="1522" y="344"/>
                      </a:lnTo>
                      <a:lnTo>
                        <a:pt x="1440" y="434"/>
                      </a:lnTo>
                      <a:lnTo>
                        <a:pt x="1352" y="524"/>
                      </a:lnTo>
                      <a:lnTo>
                        <a:pt x="1257" y="619"/>
                      </a:lnTo>
                      <a:lnTo>
                        <a:pt x="1257" y="619"/>
                      </a:lnTo>
                      <a:lnTo>
                        <a:pt x="1225" y="647"/>
                      </a:lnTo>
                      <a:lnTo>
                        <a:pt x="1186" y="679"/>
                      </a:lnTo>
                      <a:lnTo>
                        <a:pt x="1150" y="711"/>
                      </a:lnTo>
                      <a:lnTo>
                        <a:pt x="1139" y="722"/>
                      </a:lnTo>
                      <a:lnTo>
                        <a:pt x="1137" y="728"/>
                      </a:lnTo>
                      <a:lnTo>
                        <a:pt x="1135" y="731"/>
                      </a:lnTo>
                      <a:lnTo>
                        <a:pt x="1135" y="731"/>
                      </a:lnTo>
                      <a:lnTo>
                        <a:pt x="1135" y="737"/>
                      </a:lnTo>
                      <a:lnTo>
                        <a:pt x="1139" y="746"/>
                      </a:lnTo>
                      <a:lnTo>
                        <a:pt x="1145" y="754"/>
                      </a:lnTo>
                      <a:lnTo>
                        <a:pt x="1150" y="763"/>
                      </a:lnTo>
                      <a:lnTo>
                        <a:pt x="1167" y="782"/>
                      </a:lnTo>
                      <a:lnTo>
                        <a:pt x="1186" y="801"/>
                      </a:lnTo>
                      <a:lnTo>
                        <a:pt x="1223" y="832"/>
                      </a:lnTo>
                      <a:lnTo>
                        <a:pt x="1247" y="853"/>
                      </a:lnTo>
                      <a:lnTo>
                        <a:pt x="1247" y="853"/>
                      </a:lnTo>
                      <a:lnTo>
                        <a:pt x="1275" y="879"/>
                      </a:lnTo>
                      <a:lnTo>
                        <a:pt x="1290" y="892"/>
                      </a:lnTo>
                      <a:lnTo>
                        <a:pt x="1304" y="907"/>
                      </a:lnTo>
                      <a:lnTo>
                        <a:pt x="1317" y="924"/>
                      </a:lnTo>
                      <a:lnTo>
                        <a:pt x="1328" y="943"/>
                      </a:lnTo>
                      <a:lnTo>
                        <a:pt x="1335" y="961"/>
                      </a:lnTo>
                      <a:lnTo>
                        <a:pt x="1337" y="973"/>
                      </a:lnTo>
                      <a:lnTo>
                        <a:pt x="1337" y="984"/>
                      </a:lnTo>
                      <a:lnTo>
                        <a:pt x="1337" y="984"/>
                      </a:lnTo>
                      <a:lnTo>
                        <a:pt x="1337" y="1003"/>
                      </a:lnTo>
                      <a:lnTo>
                        <a:pt x="1335" y="1019"/>
                      </a:lnTo>
                      <a:lnTo>
                        <a:pt x="1330" y="1036"/>
                      </a:lnTo>
                      <a:lnTo>
                        <a:pt x="1324" y="1053"/>
                      </a:lnTo>
                      <a:lnTo>
                        <a:pt x="1317" y="1068"/>
                      </a:lnTo>
                      <a:lnTo>
                        <a:pt x="1307" y="1083"/>
                      </a:lnTo>
                      <a:lnTo>
                        <a:pt x="1285" y="1111"/>
                      </a:lnTo>
                      <a:lnTo>
                        <a:pt x="1261" y="1137"/>
                      </a:lnTo>
                      <a:lnTo>
                        <a:pt x="1234" y="1162"/>
                      </a:lnTo>
                      <a:lnTo>
                        <a:pt x="1186" y="1206"/>
                      </a:lnTo>
                      <a:lnTo>
                        <a:pt x="1186" y="1206"/>
                      </a:lnTo>
                      <a:lnTo>
                        <a:pt x="1141" y="1255"/>
                      </a:lnTo>
                      <a:lnTo>
                        <a:pt x="1115" y="1281"/>
                      </a:lnTo>
                      <a:lnTo>
                        <a:pt x="1088" y="1307"/>
                      </a:lnTo>
                      <a:lnTo>
                        <a:pt x="1060" y="1332"/>
                      </a:lnTo>
                      <a:lnTo>
                        <a:pt x="1047" y="1341"/>
                      </a:lnTo>
                      <a:lnTo>
                        <a:pt x="1032" y="1350"/>
                      </a:lnTo>
                      <a:lnTo>
                        <a:pt x="1017" y="1358"/>
                      </a:lnTo>
                      <a:lnTo>
                        <a:pt x="1002" y="1364"/>
                      </a:lnTo>
                      <a:lnTo>
                        <a:pt x="987" y="1367"/>
                      </a:lnTo>
                      <a:lnTo>
                        <a:pt x="972" y="1369"/>
                      </a:lnTo>
                      <a:lnTo>
                        <a:pt x="972" y="1369"/>
                      </a:lnTo>
                      <a:lnTo>
                        <a:pt x="956" y="1367"/>
                      </a:lnTo>
                      <a:lnTo>
                        <a:pt x="937" y="1364"/>
                      </a:lnTo>
                      <a:lnTo>
                        <a:pt x="916" y="1356"/>
                      </a:lnTo>
                      <a:lnTo>
                        <a:pt x="898" y="1345"/>
                      </a:lnTo>
                      <a:lnTo>
                        <a:pt x="879" y="1332"/>
                      </a:lnTo>
                      <a:lnTo>
                        <a:pt x="858" y="1317"/>
                      </a:lnTo>
                      <a:lnTo>
                        <a:pt x="821" y="1283"/>
                      </a:lnTo>
                      <a:lnTo>
                        <a:pt x="784" y="1248"/>
                      </a:lnTo>
                      <a:lnTo>
                        <a:pt x="752" y="1212"/>
                      </a:lnTo>
                      <a:lnTo>
                        <a:pt x="699" y="1156"/>
                      </a:lnTo>
                      <a:lnTo>
                        <a:pt x="699" y="1156"/>
                      </a:lnTo>
                      <a:lnTo>
                        <a:pt x="213" y="670"/>
                      </a:lnTo>
                      <a:lnTo>
                        <a:pt x="213" y="670"/>
                      </a:lnTo>
                      <a:lnTo>
                        <a:pt x="149" y="610"/>
                      </a:lnTo>
                      <a:lnTo>
                        <a:pt x="114" y="576"/>
                      </a:lnTo>
                      <a:lnTo>
                        <a:pt x="80" y="542"/>
                      </a:lnTo>
                      <a:lnTo>
                        <a:pt x="48" y="507"/>
                      </a:lnTo>
                      <a:lnTo>
                        <a:pt x="35" y="488"/>
                      </a:lnTo>
                      <a:lnTo>
                        <a:pt x="24" y="471"/>
                      </a:lnTo>
                      <a:lnTo>
                        <a:pt x="13" y="454"/>
                      </a:lnTo>
                      <a:lnTo>
                        <a:pt x="5" y="438"/>
                      </a:lnTo>
                      <a:lnTo>
                        <a:pt x="2" y="421"/>
                      </a:lnTo>
                      <a:lnTo>
                        <a:pt x="0" y="406"/>
                      </a:lnTo>
                      <a:lnTo>
                        <a:pt x="0" y="406"/>
                      </a:lnTo>
                      <a:lnTo>
                        <a:pt x="0" y="389"/>
                      </a:lnTo>
                      <a:lnTo>
                        <a:pt x="3" y="372"/>
                      </a:lnTo>
                      <a:lnTo>
                        <a:pt x="9" y="357"/>
                      </a:lnTo>
                      <a:lnTo>
                        <a:pt x="15" y="340"/>
                      </a:lnTo>
                      <a:lnTo>
                        <a:pt x="24" y="327"/>
                      </a:lnTo>
                      <a:lnTo>
                        <a:pt x="35" y="312"/>
                      </a:lnTo>
                      <a:lnTo>
                        <a:pt x="58" y="286"/>
                      </a:lnTo>
                      <a:lnTo>
                        <a:pt x="84" y="260"/>
                      </a:lnTo>
                      <a:lnTo>
                        <a:pt x="112" y="237"/>
                      </a:lnTo>
                      <a:lnTo>
                        <a:pt x="138" y="215"/>
                      </a:lnTo>
                      <a:lnTo>
                        <a:pt x="162" y="193"/>
                      </a:lnTo>
                      <a:lnTo>
                        <a:pt x="162" y="193"/>
                      </a:lnTo>
                      <a:lnTo>
                        <a:pt x="183" y="170"/>
                      </a:lnTo>
                      <a:lnTo>
                        <a:pt x="204" y="146"/>
                      </a:lnTo>
                      <a:lnTo>
                        <a:pt x="228" y="120"/>
                      </a:lnTo>
                      <a:lnTo>
                        <a:pt x="252" y="93"/>
                      </a:lnTo>
                      <a:lnTo>
                        <a:pt x="277" y="69"/>
                      </a:lnTo>
                      <a:lnTo>
                        <a:pt x="290" y="60"/>
                      </a:lnTo>
                      <a:lnTo>
                        <a:pt x="305" y="50"/>
                      </a:lnTo>
                      <a:lnTo>
                        <a:pt x="318" y="43"/>
                      </a:lnTo>
                      <a:lnTo>
                        <a:pt x="333" y="37"/>
                      </a:lnTo>
                      <a:lnTo>
                        <a:pt x="350" y="34"/>
                      </a:lnTo>
                      <a:lnTo>
                        <a:pt x="365" y="32"/>
                      </a:lnTo>
                      <a:lnTo>
                        <a:pt x="365" y="32"/>
                      </a:lnTo>
                      <a:lnTo>
                        <a:pt x="378" y="30"/>
                      </a:lnTo>
                      <a:lnTo>
                        <a:pt x="391" y="32"/>
                      </a:lnTo>
                      <a:lnTo>
                        <a:pt x="404" y="34"/>
                      </a:lnTo>
                      <a:lnTo>
                        <a:pt x="415" y="37"/>
                      </a:lnTo>
                      <a:lnTo>
                        <a:pt x="436" y="45"/>
                      </a:lnTo>
                      <a:lnTo>
                        <a:pt x="456" y="58"/>
                      </a:lnTo>
                      <a:lnTo>
                        <a:pt x="473" y="71"/>
                      </a:lnTo>
                      <a:lnTo>
                        <a:pt x="488" y="84"/>
                      </a:lnTo>
                      <a:lnTo>
                        <a:pt x="516" y="112"/>
                      </a:lnTo>
                      <a:lnTo>
                        <a:pt x="516" y="112"/>
                      </a:lnTo>
                      <a:lnTo>
                        <a:pt x="533" y="135"/>
                      </a:lnTo>
                      <a:lnTo>
                        <a:pt x="565" y="176"/>
                      </a:lnTo>
                      <a:lnTo>
                        <a:pt x="581" y="196"/>
                      </a:lnTo>
                      <a:lnTo>
                        <a:pt x="600" y="215"/>
                      </a:lnTo>
                      <a:lnTo>
                        <a:pt x="615" y="228"/>
                      </a:lnTo>
                      <a:lnTo>
                        <a:pt x="623" y="232"/>
                      </a:lnTo>
                      <a:lnTo>
                        <a:pt x="628" y="234"/>
                      </a:lnTo>
                      <a:lnTo>
                        <a:pt x="628" y="234"/>
                      </a:lnTo>
                      <a:lnTo>
                        <a:pt x="634" y="232"/>
                      </a:lnTo>
                      <a:lnTo>
                        <a:pt x="643" y="222"/>
                      </a:lnTo>
                      <a:lnTo>
                        <a:pt x="671" y="196"/>
                      </a:lnTo>
                      <a:lnTo>
                        <a:pt x="746" y="112"/>
                      </a:lnTo>
                      <a:lnTo>
                        <a:pt x="785" y="69"/>
                      </a:lnTo>
                      <a:lnTo>
                        <a:pt x="825" y="32"/>
                      </a:lnTo>
                      <a:lnTo>
                        <a:pt x="842" y="17"/>
                      </a:lnTo>
                      <a:lnTo>
                        <a:pt x="858" y="7"/>
                      </a:lnTo>
                      <a:lnTo>
                        <a:pt x="871" y="2"/>
                      </a:lnTo>
                      <a:lnTo>
                        <a:pt x="877" y="0"/>
                      </a:lnTo>
                      <a:lnTo>
                        <a:pt x="881" y="0"/>
                      </a:lnTo>
                      <a:lnTo>
                        <a:pt x="881" y="0"/>
                      </a:lnTo>
                      <a:lnTo>
                        <a:pt x="928" y="13"/>
                      </a:lnTo>
                      <a:lnTo>
                        <a:pt x="972" y="26"/>
                      </a:lnTo>
                      <a:lnTo>
                        <a:pt x="1060" y="54"/>
                      </a:lnTo>
                      <a:lnTo>
                        <a:pt x="1145" y="86"/>
                      </a:lnTo>
                      <a:lnTo>
                        <a:pt x="1231" y="120"/>
                      </a:lnTo>
                      <a:lnTo>
                        <a:pt x="1319" y="153"/>
                      </a:lnTo>
                      <a:lnTo>
                        <a:pt x="1408" y="187"/>
                      </a:lnTo>
                      <a:lnTo>
                        <a:pt x="1502" y="221"/>
                      </a:lnTo>
                      <a:lnTo>
                        <a:pt x="1601" y="254"/>
                      </a:lnTo>
                      <a:lnTo>
                        <a:pt x="1601"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239" name="Freeform 36"/>
              <p:cNvSpPr>
                <a:spLocks noEditPoints="1"/>
              </p:cNvSpPr>
              <p:nvPr/>
            </p:nvSpPr>
            <p:spPr bwMode="auto">
              <a:xfrm>
                <a:off x="4836855" y="6077294"/>
                <a:ext cx="77584" cy="78154"/>
              </a:xfrm>
              <a:custGeom>
                <a:avLst/>
                <a:gdLst>
                  <a:gd name="T0" fmla="*/ 1036 w 1633"/>
                  <a:gd name="T1" fmla="*/ 1014 h 1644"/>
                  <a:gd name="T2" fmla="*/ 1040 w 1633"/>
                  <a:gd name="T3" fmla="*/ 1150 h 1644"/>
                  <a:gd name="T4" fmla="*/ 1014 w 1633"/>
                  <a:gd name="T5" fmla="*/ 1275 h 1644"/>
                  <a:gd name="T6" fmla="*/ 964 w 1633"/>
                  <a:gd name="T7" fmla="*/ 1386 h 1644"/>
                  <a:gd name="T8" fmla="*/ 891 w 1633"/>
                  <a:gd name="T9" fmla="*/ 1481 h 1644"/>
                  <a:gd name="T10" fmla="*/ 799 w 1633"/>
                  <a:gd name="T11" fmla="*/ 1556 h 1644"/>
                  <a:gd name="T12" fmla="*/ 694 w 1633"/>
                  <a:gd name="T13" fmla="*/ 1610 h 1644"/>
                  <a:gd name="T14" fmla="*/ 580 w 1633"/>
                  <a:gd name="T15" fmla="*/ 1638 h 1644"/>
                  <a:gd name="T16" fmla="*/ 458 w 1633"/>
                  <a:gd name="T17" fmla="*/ 1642 h 1644"/>
                  <a:gd name="T18" fmla="*/ 371 w 1633"/>
                  <a:gd name="T19" fmla="*/ 1627 h 1644"/>
                  <a:gd name="T20" fmla="*/ 268 w 1633"/>
                  <a:gd name="T21" fmla="*/ 1588 h 1644"/>
                  <a:gd name="T22" fmla="*/ 182 w 1633"/>
                  <a:gd name="T23" fmla="*/ 1530 h 1644"/>
                  <a:gd name="T24" fmla="*/ 112 w 1633"/>
                  <a:gd name="T25" fmla="*/ 1459 h 1644"/>
                  <a:gd name="T26" fmla="*/ 60 w 1633"/>
                  <a:gd name="T27" fmla="*/ 1375 h 1644"/>
                  <a:gd name="T28" fmla="*/ 17 w 1633"/>
                  <a:gd name="T29" fmla="*/ 1259 h 1644"/>
                  <a:gd name="T30" fmla="*/ 4 w 1633"/>
                  <a:gd name="T31" fmla="*/ 1060 h 1644"/>
                  <a:gd name="T32" fmla="*/ 45 w 1633"/>
                  <a:gd name="T33" fmla="*/ 892 h 1644"/>
                  <a:gd name="T34" fmla="*/ 94 w 1633"/>
                  <a:gd name="T35" fmla="*/ 806 h 1644"/>
                  <a:gd name="T36" fmla="*/ 157 w 1633"/>
                  <a:gd name="T37" fmla="*/ 729 h 1644"/>
                  <a:gd name="T38" fmla="*/ 240 w 1633"/>
                  <a:gd name="T39" fmla="*/ 669 h 1644"/>
                  <a:gd name="T40" fmla="*/ 337 w 1633"/>
                  <a:gd name="T41" fmla="*/ 625 h 1644"/>
                  <a:gd name="T42" fmla="*/ 453 w 1633"/>
                  <a:gd name="T43" fmla="*/ 602 h 1644"/>
                  <a:gd name="T44" fmla="*/ 584 w 1633"/>
                  <a:gd name="T45" fmla="*/ 602 h 1644"/>
                  <a:gd name="T46" fmla="*/ 623 w 1633"/>
                  <a:gd name="T47" fmla="*/ 559 h 1644"/>
                  <a:gd name="T48" fmla="*/ 614 w 1633"/>
                  <a:gd name="T49" fmla="*/ 391 h 1644"/>
                  <a:gd name="T50" fmla="*/ 619 w 1633"/>
                  <a:gd name="T51" fmla="*/ 282 h 1644"/>
                  <a:gd name="T52" fmla="*/ 653 w 1633"/>
                  <a:gd name="T53" fmla="*/ 219 h 1644"/>
                  <a:gd name="T54" fmla="*/ 747 w 1633"/>
                  <a:gd name="T55" fmla="*/ 134 h 1644"/>
                  <a:gd name="T56" fmla="*/ 844 w 1633"/>
                  <a:gd name="T57" fmla="*/ 56 h 1644"/>
                  <a:gd name="T58" fmla="*/ 883 w 1633"/>
                  <a:gd name="T59" fmla="*/ 0 h 1644"/>
                  <a:gd name="T60" fmla="*/ 1452 w 1633"/>
                  <a:gd name="T61" fmla="*/ 557 h 1644"/>
                  <a:gd name="T62" fmla="*/ 1611 w 1633"/>
                  <a:gd name="T63" fmla="*/ 707 h 1644"/>
                  <a:gd name="T64" fmla="*/ 1633 w 1633"/>
                  <a:gd name="T65" fmla="*/ 739 h 1644"/>
                  <a:gd name="T66" fmla="*/ 1616 w 1633"/>
                  <a:gd name="T67" fmla="*/ 772 h 1644"/>
                  <a:gd name="T68" fmla="*/ 1502 w 1633"/>
                  <a:gd name="T69" fmla="*/ 881 h 1644"/>
                  <a:gd name="T70" fmla="*/ 1360 w 1633"/>
                  <a:gd name="T71" fmla="*/ 1014 h 1644"/>
                  <a:gd name="T72" fmla="*/ 314 w 1633"/>
                  <a:gd name="T73" fmla="*/ 1128 h 1644"/>
                  <a:gd name="T74" fmla="*/ 341 w 1633"/>
                  <a:gd name="T75" fmla="*/ 1231 h 1644"/>
                  <a:gd name="T76" fmla="*/ 402 w 1633"/>
                  <a:gd name="T77" fmla="*/ 1292 h 1644"/>
                  <a:gd name="T78" fmla="*/ 485 w 1633"/>
                  <a:gd name="T79" fmla="*/ 1319 h 1644"/>
                  <a:gd name="T80" fmla="*/ 548 w 1633"/>
                  <a:gd name="T81" fmla="*/ 1317 h 1644"/>
                  <a:gd name="T82" fmla="*/ 625 w 1633"/>
                  <a:gd name="T83" fmla="*/ 1289 h 1644"/>
                  <a:gd name="T84" fmla="*/ 675 w 1633"/>
                  <a:gd name="T85" fmla="*/ 1232 h 1644"/>
                  <a:gd name="T86" fmla="*/ 702 w 1633"/>
                  <a:gd name="T87" fmla="*/ 1161 h 1644"/>
                  <a:gd name="T88" fmla="*/ 704 w 1633"/>
                  <a:gd name="T89" fmla="*/ 1083 h 1644"/>
                  <a:gd name="T90" fmla="*/ 681 w 1633"/>
                  <a:gd name="T91" fmla="*/ 1010 h 1644"/>
                  <a:gd name="T92" fmla="*/ 632 w 1633"/>
                  <a:gd name="T93" fmla="*/ 954 h 1644"/>
                  <a:gd name="T94" fmla="*/ 558 w 1633"/>
                  <a:gd name="T95" fmla="*/ 924 h 1644"/>
                  <a:gd name="T96" fmla="*/ 458 w 1633"/>
                  <a:gd name="T97" fmla="*/ 931 h 1644"/>
                  <a:gd name="T98" fmla="*/ 410 w 1633"/>
                  <a:gd name="T99" fmla="*/ 950 h 1644"/>
                  <a:gd name="T100" fmla="*/ 363 w 1633"/>
                  <a:gd name="T101" fmla="*/ 986 h 1644"/>
                  <a:gd name="T102" fmla="*/ 320 w 1633"/>
                  <a:gd name="T103" fmla="*/ 1068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33" h="1644">
                    <a:moveTo>
                      <a:pt x="1360" y="1014"/>
                    </a:moveTo>
                    <a:lnTo>
                      <a:pt x="1360" y="1014"/>
                    </a:lnTo>
                    <a:lnTo>
                      <a:pt x="1036" y="1014"/>
                    </a:lnTo>
                    <a:lnTo>
                      <a:pt x="1036" y="1014"/>
                    </a:lnTo>
                    <a:lnTo>
                      <a:pt x="1040" y="1047"/>
                    </a:lnTo>
                    <a:lnTo>
                      <a:pt x="1042" y="1083"/>
                    </a:lnTo>
                    <a:lnTo>
                      <a:pt x="1042" y="1116"/>
                    </a:lnTo>
                    <a:lnTo>
                      <a:pt x="1040" y="1150"/>
                    </a:lnTo>
                    <a:lnTo>
                      <a:pt x="1036" y="1182"/>
                    </a:lnTo>
                    <a:lnTo>
                      <a:pt x="1031" y="1214"/>
                    </a:lnTo>
                    <a:lnTo>
                      <a:pt x="1023" y="1246"/>
                    </a:lnTo>
                    <a:lnTo>
                      <a:pt x="1014" y="1275"/>
                    </a:lnTo>
                    <a:lnTo>
                      <a:pt x="1003" y="1304"/>
                    </a:lnTo>
                    <a:lnTo>
                      <a:pt x="992" y="1333"/>
                    </a:lnTo>
                    <a:lnTo>
                      <a:pt x="978" y="1360"/>
                    </a:lnTo>
                    <a:lnTo>
                      <a:pt x="964" y="1386"/>
                    </a:lnTo>
                    <a:lnTo>
                      <a:pt x="947" y="1412"/>
                    </a:lnTo>
                    <a:lnTo>
                      <a:pt x="930" y="1436"/>
                    </a:lnTo>
                    <a:lnTo>
                      <a:pt x="909" y="1459"/>
                    </a:lnTo>
                    <a:lnTo>
                      <a:pt x="891" y="1481"/>
                    </a:lnTo>
                    <a:lnTo>
                      <a:pt x="868" y="1502"/>
                    </a:lnTo>
                    <a:lnTo>
                      <a:pt x="848" y="1521"/>
                    </a:lnTo>
                    <a:lnTo>
                      <a:pt x="823" y="1539"/>
                    </a:lnTo>
                    <a:lnTo>
                      <a:pt x="799" y="1556"/>
                    </a:lnTo>
                    <a:lnTo>
                      <a:pt x="775" y="1571"/>
                    </a:lnTo>
                    <a:lnTo>
                      <a:pt x="748" y="1586"/>
                    </a:lnTo>
                    <a:lnTo>
                      <a:pt x="722" y="1599"/>
                    </a:lnTo>
                    <a:lnTo>
                      <a:pt x="694" y="1610"/>
                    </a:lnTo>
                    <a:lnTo>
                      <a:pt x="666" y="1620"/>
                    </a:lnTo>
                    <a:lnTo>
                      <a:pt x="638" y="1627"/>
                    </a:lnTo>
                    <a:lnTo>
                      <a:pt x="608" y="1635"/>
                    </a:lnTo>
                    <a:lnTo>
                      <a:pt x="580" y="1638"/>
                    </a:lnTo>
                    <a:lnTo>
                      <a:pt x="550" y="1642"/>
                    </a:lnTo>
                    <a:lnTo>
                      <a:pt x="518" y="1644"/>
                    </a:lnTo>
                    <a:lnTo>
                      <a:pt x="488" y="1644"/>
                    </a:lnTo>
                    <a:lnTo>
                      <a:pt x="458" y="1642"/>
                    </a:lnTo>
                    <a:lnTo>
                      <a:pt x="458" y="1642"/>
                    </a:lnTo>
                    <a:lnTo>
                      <a:pt x="427" y="1638"/>
                    </a:lnTo>
                    <a:lnTo>
                      <a:pt x="399" y="1633"/>
                    </a:lnTo>
                    <a:lnTo>
                      <a:pt x="371" y="1627"/>
                    </a:lnTo>
                    <a:lnTo>
                      <a:pt x="342" y="1620"/>
                    </a:lnTo>
                    <a:lnTo>
                      <a:pt x="316" y="1610"/>
                    </a:lnTo>
                    <a:lnTo>
                      <a:pt x="292" y="1599"/>
                    </a:lnTo>
                    <a:lnTo>
                      <a:pt x="268" y="1588"/>
                    </a:lnTo>
                    <a:lnTo>
                      <a:pt x="245" y="1575"/>
                    </a:lnTo>
                    <a:lnTo>
                      <a:pt x="223" y="1562"/>
                    </a:lnTo>
                    <a:lnTo>
                      <a:pt x="202" y="1547"/>
                    </a:lnTo>
                    <a:lnTo>
                      <a:pt x="182" y="1530"/>
                    </a:lnTo>
                    <a:lnTo>
                      <a:pt x="163" y="1515"/>
                    </a:lnTo>
                    <a:lnTo>
                      <a:pt x="146" y="1496"/>
                    </a:lnTo>
                    <a:lnTo>
                      <a:pt x="129" y="1478"/>
                    </a:lnTo>
                    <a:lnTo>
                      <a:pt x="112" y="1459"/>
                    </a:lnTo>
                    <a:lnTo>
                      <a:pt x="97" y="1438"/>
                    </a:lnTo>
                    <a:lnTo>
                      <a:pt x="84" y="1418"/>
                    </a:lnTo>
                    <a:lnTo>
                      <a:pt x="71" y="1397"/>
                    </a:lnTo>
                    <a:lnTo>
                      <a:pt x="60" y="1375"/>
                    </a:lnTo>
                    <a:lnTo>
                      <a:pt x="49" y="1352"/>
                    </a:lnTo>
                    <a:lnTo>
                      <a:pt x="39" y="1330"/>
                    </a:lnTo>
                    <a:lnTo>
                      <a:pt x="32" y="1305"/>
                    </a:lnTo>
                    <a:lnTo>
                      <a:pt x="17" y="1259"/>
                    </a:lnTo>
                    <a:lnTo>
                      <a:pt x="8" y="1210"/>
                    </a:lnTo>
                    <a:lnTo>
                      <a:pt x="2" y="1160"/>
                    </a:lnTo>
                    <a:lnTo>
                      <a:pt x="0" y="1109"/>
                    </a:lnTo>
                    <a:lnTo>
                      <a:pt x="4" y="1060"/>
                    </a:lnTo>
                    <a:lnTo>
                      <a:pt x="9" y="1010"/>
                    </a:lnTo>
                    <a:lnTo>
                      <a:pt x="21" y="961"/>
                    </a:lnTo>
                    <a:lnTo>
                      <a:pt x="36" y="914"/>
                    </a:lnTo>
                    <a:lnTo>
                      <a:pt x="45" y="892"/>
                    </a:lnTo>
                    <a:lnTo>
                      <a:pt x="56" y="870"/>
                    </a:lnTo>
                    <a:lnTo>
                      <a:pt x="67" y="847"/>
                    </a:lnTo>
                    <a:lnTo>
                      <a:pt x="81" y="827"/>
                    </a:lnTo>
                    <a:lnTo>
                      <a:pt x="94" y="806"/>
                    </a:lnTo>
                    <a:lnTo>
                      <a:pt x="109" y="785"/>
                    </a:lnTo>
                    <a:lnTo>
                      <a:pt x="124" y="767"/>
                    </a:lnTo>
                    <a:lnTo>
                      <a:pt x="140" y="748"/>
                    </a:lnTo>
                    <a:lnTo>
                      <a:pt x="157" y="729"/>
                    </a:lnTo>
                    <a:lnTo>
                      <a:pt x="176" y="712"/>
                    </a:lnTo>
                    <a:lnTo>
                      <a:pt x="197" y="697"/>
                    </a:lnTo>
                    <a:lnTo>
                      <a:pt x="217" y="682"/>
                    </a:lnTo>
                    <a:lnTo>
                      <a:pt x="240" y="669"/>
                    </a:lnTo>
                    <a:lnTo>
                      <a:pt x="262" y="656"/>
                    </a:lnTo>
                    <a:lnTo>
                      <a:pt x="286" y="645"/>
                    </a:lnTo>
                    <a:lnTo>
                      <a:pt x="311" y="634"/>
                    </a:lnTo>
                    <a:lnTo>
                      <a:pt x="337" y="625"/>
                    </a:lnTo>
                    <a:lnTo>
                      <a:pt x="365" y="617"/>
                    </a:lnTo>
                    <a:lnTo>
                      <a:pt x="393" y="611"/>
                    </a:lnTo>
                    <a:lnTo>
                      <a:pt x="421" y="606"/>
                    </a:lnTo>
                    <a:lnTo>
                      <a:pt x="453" y="602"/>
                    </a:lnTo>
                    <a:lnTo>
                      <a:pt x="483" y="600"/>
                    </a:lnTo>
                    <a:lnTo>
                      <a:pt x="516" y="598"/>
                    </a:lnTo>
                    <a:lnTo>
                      <a:pt x="550" y="600"/>
                    </a:lnTo>
                    <a:lnTo>
                      <a:pt x="584" y="602"/>
                    </a:lnTo>
                    <a:lnTo>
                      <a:pt x="619" y="608"/>
                    </a:lnTo>
                    <a:lnTo>
                      <a:pt x="619" y="608"/>
                    </a:lnTo>
                    <a:lnTo>
                      <a:pt x="623" y="583"/>
                    </a:lnTo>
                    <a:lnTo>
                      <a:pt x="623" y="559"/>
                    </a:lnTo>
                    <a:lnTo>
                      <a:pt x="623" y="514"/>
                    </a:lnTo>
                    <a:lnTo>
                      <a:pt x="621" y="471"/>
                    </a:lnTo>
                    <a:lnTo>
                      <a:pt x="617" y="430"/>
                    </a:lnTo>
                    <a:lnTo>
                      <a:pt x="614" y="391"/>
                    </a:lnTo>
                    <a:lnTo>
                      <a:pt x="612" y="353"/>
                    </a:lnTo>
                    <a:lnTo>
                      <a:pt x="614" y="318"/>
                    </a:lnTo>
                    <a:lnTo>
                      <a:pt x="616" y="299"/>
                    </a:lnTo>
                    <a:lnTo>
                      <a:pt x="619" y="282"/>
                    </a:lnTo>
                    <a:lnTo>
                      <a:pt x="619" y="282"/>
                    </a:lnTo>
                    <a:lnTo>
                      <a:pt x="629" y="260"/>
                    </a:lnTo>
                    <a:lnTo>
                      <a:pt x="640" y="237"/>
                    </a:lnTo>
                    <a:lnTo>
                      <a:pt x="653" y="219"/>
                    </a:lnTo>
                    <a:lnTo>
                      <a:pt x="670" y="200"/>
                    </a:lnTo>
                    <a:lnTo>
                      <a:pt x="687" y="181"/>
                    </a:lnTo>
                    <a:lnTo>
                      <a:pt x="707" y="164"/>
                    </a:lnTo>
                    <a:lnTo>
                      <a:pt x="747" y="134"/>
                    </a:lnTo>
                    <a:lnTo>
                      <a:pt x="790" y="103"/>
                    </a:lnTo>
                    <a:lnTo>
                      <a:pt x="808" y="88"/>
                    </a:lnTo>
                    <a:lnTo>
                      <a:pt x="827" y="71"/>
                    </a:lnTo>
                    <a:lnTo>
                      <a:pt x="844" y="56"/>
                    </a:lnTo>
                    <a:lnTo>
                      <a:pt x="861" y="37"/>
                    </a:lnTo>
                    <a:lnTo>
                      <a:pt x="874" y="18"/>
                    </a:lnTo>
                    <a:lnTo>
                      <a:pt x="883" y="0"/>
                    </a:lnTo>
                    <a:lnTo>
                      <a:pt x="883" y="0"/>
                    </a:lnTo>
                    <a:lnTo>
                      <a:pt x="1149" y="258"/>
                    </a:lnTo>
                    <a:lnTo>
                      <a:pt x="1304" y="409"/>
                    </a:lnTo>
                    <a:lnTo>
                      <a:pt x="1452" y="557"/>
                    </a:lnTo>
                    <a:lnTo>
                      <a:pt x="1452" y="557"/>
                    </a:lnTo>
                    <a:lnTo>
                      <a:pt x="1495" y="598"/>
                    </a:lnTo>
                    <a:lnTo>
                      <a:pt x="1557" y="654"/>
                    </a:lnTo>
                    <a:lnTo>
                      <a:pt x="1586" y="682"/>
                    </a:lnTo>
                    <a:lnTo>
                      <a:pt x="1611" y="707"/>
                    </a:lnTo>
                    <a:lnTo>
                      <a:pt x="1628" y="727"/>
                    </a:lnTo>
                    <a:lnTo>
                      <a:pt x="1631" y="735"/>
                    </a:lnTo>
                    <a:lnTo>
                      <a:pt x="1633" y="739"/>
                    </a:lnTo>
                    <a:lnTo>
                      <a:pt x="1633" y="739"/>
                    </a:lnTo>
                    <a:lnTo>
                      <a:pt x="1633" y="746"/>
                    </a:lnTo>
                    <a:lnTo>
                      <a:pt x="1629" y="754"/>
                    </a:lnTo>
                    <a:lnTo>
                      <a:pt x="1624" y="763"/>
                    </a:lnTo>
                    <a:lnTo>
                      <a:pt x="1616" y="772"/>
                    </a:lnTo>
                    <a:lnTo>
                      <a:pt x="1598" y="795"/>
                    </a:lnTo>
                    <a:lnTo>
                      <a:pt x="1577" y="815"/>
                    </a:lnTo>
                    <a:lnTo>
                      <a:pt x="1532" y="855"/>
                    </a:lnTo>
                    <a:lnTo>
                      <a:pt x="1502" y="881"/>
                    </a:lnTo>
                    <a:lnTo>
                      <a:pt x="1502" y="881"/>
                    </a:lnTo>
                    <a:lnTo>
                      <a:pt x="1463" y="920"/>
                    </a:lnTo>
                    <a:lnTo>
                      <a:pt x="1427" y="952"/>
                    </a:lnTo>
                    <a:lnTo>
                      <a:pt x="1360" y="1014"/>
                    </a:lnTo>
                    <a:lnTo>
                      <a:pt x="1360" y="1014"/>
                    </a:lnTo>
                    <a:close/>
                    <a:moveTo>
                      <a:pt x="316" y="1094"/>
                    </a:moveTo>
                    <a:lnTo>
                      <a:pt x="316" y="1094"/>
                    </a:lnTo>
                    <a:lnTo>
                      <a:pt x="314" y="1128"/>
                    </a:lnTo>
                    <a:lnTo>
                      <a:pt x="316" y="1158"/>
                    </a:lnTo>
                    <a:lnTo>
                      <a:pt x="322" y="1184"/>
                    </a:lnTo>
                    <a:lnTo>
                      <a:pt x="329" y="1208"/>
                    </a:lnTo>
                    <a:lnTo>
                      <a:pt x="341" y="1231"/>
                    </a:lnTo>
                    <a:lnTo>
                      <a:pt x="354" y="1249"/>
                    </a:lnTo>
                    <a:lnTo>
                      <a:pt x="367" y="1266"/>
                    </a:lnTo>
                    <a:lnTo>
                      <a:pt x="384" y="1279"/>
                    </a:lnTo>
                    <a:lnTo>
                      <a:pt x="402" y="1292"/>
                    </a:lnTo>
                    <a:lnTo>
                      <a:pt x="421" y="1302"/>
                    </a:lnTo>
                    <a:lnTo>
                      <a:pt x="442" y="1309"/>
                    </a:lnTo>
                    <a:lnTo>
                      <a:pt x="464" y="1315"/>
                    </a:lnTo>
                    <a:lnTo>
                      <a:pt x="485" y="1319"/>
                    </a:lnTo>
                    <a:lnTo>
                      <a:pt x="507" y="1319"/>
                    </a:lnTo>
                    <a:lnTo>
                      <a:pt x="528" y="1319"/>
                    </a:lnTo>
                    <a:lnTo>
                      <a:pt x="548" y="1317"/>
                    </a:lnTo>
                    <a:lnTo>
                      <a:pt x="548" y="1317"/>
                    </a:lnTo>
                    <a:lnTo>
                      <a:pt x="571" y="1313"/>
                    </a:lnTo>
                    <a:lnTo>
                      <a:pt x="589" y="1307"/>
                    </a:lnTo>
                    <a:lnTo>
                      <a:pt x="608" y="1298"/>
                    </a:lnTo>
                    <a:lnTo>
                      <a:pt x="625" y="1289"/>
                    </a:lnTo>
                    <a:lnTo>
                      <a:pt x="640" y="1277"/>
                    </a:lnTo>
                    <a:lnTo>
                      <a:pt x="653" y="1262"/>
                    </a:lnTo>
                    <a:lnTo>
                      <a:pt x="664" y="1249"/>
                    </a:lnTo>
                    <a:lnTo>
                      <a:pt x="675" y="1232"/>
                    </a:lnTo>
                    <a:lnTo>
                      <a:pt x="685" y="1216"/>
                    </a:lnTo>
                    <a:lnTo>
                      <a:pt x="692" y="1199"/>
                    </a:lnTo>
                    <a:lnTo>
                      <a:pt x="698" y="1180"/>
                    </a:lnTo>
                    <a:lnTo>
                      <a:pt x="702" y="1161"/>
                    </a:lnTo>
                    <a:lnTo>
                      <a:pt x="705" y="1141"/>
                    </a:lnTo>
                    <a:lnTo>
                      <a:pt x="707" y="1122"/>
                    </a:lnTo>
                    <a:lnTo>
                      <a:pt x="705" y="1102"/>
                    </a:lnTo>
                    <a:lnTo>
                      <a:pt x="704" y="1083"/>
                    </a:lnTo>
                    <a:lnTo>
                      <a:pt x="702" y="1064"/>
                    </a:lnTo>
                    <a:lnTo>
                      <a:pt x="696" y="1045"/>
                    </a:lnTo>
                    <a:lnTo>
                      <a:pt x="689" y="1027"/>
                    </a:lnTo>
                    <a:lnTo>
                      <a:pt x="681" y="1010"/>
                    </a:lnTo>
                    <a:lnTo>
                      <a:pt x="672" y="995"/>
                    </a:lnTo>
                    <a:lnTo>
                      <a:pt x="660" y="980"/>
                    </a:lnTo>
                    <a:lnTo>
                      <a:pt x="647" y="965"/>
                    </a:lnTo>
                    <a:lnTo>
                      <a:pt x="632" y="954"/>
                    </a:lnTo>
                    <a:lnTo>
                      <a:pt x="616" y="943"/>
                    </a:lnTo>
                    <a:lnTo>
                      <a:pt x="599" y="935"/>
                    </a:lnTo>
                    <a:lnTo>
                      <a:pt x="580" y="928"/>
                    </a:lnTo>
                    <a:lnTo>
                      <a:pt x="558" y="924"/>
                    </a:lnTo>
                    <a:lnTo>
                      <a:pt x="535" y="922"/>
                    </a:lnTo>
                    <a:lnTo>
                      <a:pt x="511" y="922"/>
                    </a:lnTo>
                    <a:lnTo>
                      <a:pt x="485" y="926"/>
                    </a:lnTo>
                    <a:lnTo>
                      <a:pt x="458" y="931"/>
                    </a:lnTo>
                    <a:lnTo>
                      <a:pt x="458" y="931"/>
                    </a:lnTo>
                    <a:lnTo>
                      <a:pt x="442" y="937"/>
                    </a:lnTo>
                    <a:lnTo>
                      <a:pt x="425" y="943"/>
                    </a:lnTo>
                    <a:lnTo>
                      <a:pt x="410" y="950"/>
                    </a:lnTo>
                    <a:lnTo>
                      <a:pt x="397" y="957"/>
                    </a:lnTo>
                    <a:lnTo>
                      <a:pt x="385" y="967"/>
                    </a:lnTo>
                    <a:lnTo>
                      <a:pt x="374" y="976"/>
                    </a:lnTo>
                    <a:lnTo>
                      <a:pt x="363" y="986"/>
                    </a:lnTo>
                    <a:lnTo>
                      <a:pt x="354" y="997"/>
                    </a:lnTo>
                    <a:lnTo>
                      <a:pt x="339" y="1019"/>
                    </a:lnTo>
                    <a:lnTo>
                      <a:pt x="328" y="1042"/>
                    </a:lnTo>
                    <a:lnTo>
                      <a:pt x="320" y="1068"/>
                    </a:lnTo>
                    <a:lnTo>
                      <a:pt x="316" y="1094"/>
                    </a:lnTo>
                    <a:lnTo>
                      <a:pt x="316" y="109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226" name="Group 1225"/>
            <p:cNvGrpSpPr/>
            <p:nvPr/>
          </p:nvGrpSpPr>
          <p:grpSpPr>
            <a:xfrm>
              <a:off x="3624410" y="7679847"/>
              <a:ext cx="169901" cy="166450"/>
              <a:chOff x="3644798" y="6664515"/>
              <a:chExt cx="169901" cy="166450"/>
            </a:xfrm>
          </p:grpSpPr>
          <p:sp>
            <p:nvSpPr>
              <p:cNvPr id="1229" name="Freeform 38"/>
              <p:cNvSpPr>
                <a:spLocks noEditPoints="1"/>
              </p:cNvSpPr>
              <p:nvPr/>
            </p:nvSpPr>
            <p:spPr bwMode="auto">
              <a:xfrm rot="3600000">
                <a:off x="3655103" y="6671369"/>
                <a:ext cx="166450" cy="152742"/>
              </a:xfrm>
              <a:custGeom>
                <a:avLst/>
                <a:gdLst>
                  <a:gd name="T0" fmla="*/ 1162 w 4420"/>
                  <a:gd name="T1" fmla="*/ 3932 h 4055"/>
                  <a:gd name="T2" fmla="*/ 939 w 4420"/>
                  <a:gd name="T3" fmla="*/ 3911 h 4055"/>
                  <a:gd name="T4" fmla="*/ 599 w 4420"/>
                  <a:gd name="T5" fmla="*/ 3595 h 4055"/>
                  <a:gd name="T6" fmla="*/ 219 w 4420"/>
                  <a:gd name="T7" fmla="*/ 3015 h 4055"/>
                  <a:gd name="T8" fmla="*/ 60 w 4420"/>
                  <a:gd name="T9" fmla="*/ 2555 h 4055"/>
                  <a:gd name="T10" fmla="*/ 0 w 4420"/>
                  <a:gd name="T11" fmla="*/ 2033 h 4055"/>
                  <a:gd name="T12" fmla="*/ 80 w 4420"/>
                  <a:gd name="T13" fmla="*/ 1401 h 4055"/>
                  <a:gd name="T14" fmla="*/ 335 w 4420"/>
                  <a:gd name="T15" fmla="*/ 819 h 4055"/>
                  <a:gd name="T16" fmla="*/ 700 w 4420"/>
                  <a:gd name="T17" fmla="*/ 364 h 4055"/>
                  <a:gd name="T18" fmla="*/ 1328 w 4420"/>
                  <a:gd name="T19" fmla="*/ 127 h 4055"/>
                  <a:gd name="T20" fmla="*/ 1863 w 4420"/>
                  <a:gd name="T21" fmla="*/ 76 h 4055"/>
                  <a:gd name="T22" fmla="*/ 2376 w 4420"/>
                  <a:gd name="T23" fmla="*/ 0 h 4055"/>
                  <a:gd name="T24" fmla="*/ 2892 w 4420"/>
                  <a:gd name="T25" fmla="*/ 60 h 4055"/>
                  <a:gd name="T26" fmla="*/ 3335 w 4420"/>
                  <a:gd name="T27" fmla="*/ 230 h 4055"/>
                  <a:gd name="T28" fmla="*/ 3792 w 4420"/>
                  <a:gd name="T29" fmla="*/ 563 h 4055"/>
                  <a:gd name="T30" fmla="*/ 4149 w 4420"/>
                  <a:gd name="T31" fmla="*/ 1019 h 4055"/>
                  <a:gd name="T32" fmla="*/ 4332 w 4420"/>
                  <a:gd name="T33" fmla="*/ 1436 h 4055"/>
                  <a:gd name="T34" fmla="*/ 4417 w 4420"/>
                  <a:gd name="T35" fmla="*/ 1910 h 4055"/>
                  <a:gd name="T36" fmla="*/ 4396 w 4420"/>
                  <a:gd name="T37" fmla="*/ 2366 h 4055"/>
                  <a:gd name="T38" fmla="*/ 4265 w 4420"/>
                  <a:gd name="T39" fmla="*/ 2815 h 4055"/>
                  <a:gd name="T40" fmla="*/ 4044 w 4420"/>
                  <a:gd name="T41" fmla="*/ 3197 h 4055"/>
                  <a:gd name="T42" fmla="*/ 3539 w 4420"/>
                  <a:gd name="T43" fmla="*/ 3696 h 4055"/>
                  <a:gd name="T44" fmla="*/ 3154 w 4420"/>
                  <a:gd name="T45" fmla="*/ 3913 h 4055"/>
                  <a:gd name="T46" fmla="*/ 2692 w 4420"/>
                  <a:gd name="T47" fmla="*/ 4036 h 4055"/>
                  <a:gd name="T48" fmla="*/ 2200 w 4420"/>
                  <a:gd name="T49" fmla="*/ 4046 h 4055"/>
                  <a:gd name="T50" fmla="*/ 1650 w 4420"/>
                  <a:gd name="T51" fmla="*/ 3906 h 4055"/>
                  <a:gd name="T52" fmla="*/ 920 w 4420"/>
                  <a:gd name="T53" fmla="*/ 421 h 4055"/>
                  <a:gd name="T54" fmla="*/ 576 w 4420"/>
                  <a:gd name="T55" fmla="*/ 804 h 4055"/>
                  <a:gd name="T56" fmla="*/ 316 w 4420"/>
                  <a:gd name="T57" fmla="*/ 1290 h 4055"/>
                  <a:gd name="T58" fmla="*/ 195 w 4420"/>
                  <a:gd name="T59" fmla="*/ 1882 h 4055"/>
                  <a:gd name="T60" fmla="*/ 224 w 4420"/>
                  <a:gd name="T61" fmla="*/ 2403 h 4055"/>
                  <a:gd name="T62" fmla="*/ 372 w 4420"/>
                  <a:gd name="T63" fmla="*/ 2894 h 4055"/>
                  <a:gd name="T64" fmla="*/ 608 w 4420"/>
                  <a:gd name="T65" fmla="*/ 3309 h 4055"/>
                  <a:gd name="T66" fmla="*/ 902 w 4420"/>
                  <a:gd name="T67" fmla="*/ 3634 h 4055"/>
                  <a:gd name="T68" fmla="*/ 1077 w 4420"/>
                  <a:gd name="T69" fmla="*/ 3739 h 4055"/>
                  <a:gd name="T70" fmla="*/ 1143 w 4420"/>
                  <a:gd name="T71" fmla="*/ 3163 h 4055"/>
                  <a:gd name="T72" fmla="*/ 1094 w 4420"/>
                  <a:gd name="T73" fmla="*/ 2662 h 4055"/>
                  <a:gd name="T74" fmla="*/ 947 w 4420"/>
                  <a:gd name="T75" fmla="*/ 2170 h 4055"/>
                  <a:gd name="T76" fmla="*/ 952 w 4420"/>
                  <a:gd name="T77" fmla="*/ 1829 h 4055"/>
                  <a:gd name="T78" fmla="*/ 1106 w 4420"/>
                  <a:gd name="T79" fmla="*/ 1375 h 4055"/>
                  <a:gd name="T80" fmla="*/ 1141 w 4420"/>
                  <a:gd name="T81" fmla="*/ 873 h 4055"/>
                  <a:gd name="T82" fmla="*/ 1092 w 4420"/>
                  <a:gd name="T83" fmla="*/ 314 h 4055"/>
                  <a:gd name="T84" fmla="*/ 1236 w 4420"/>
                  <a:gd name="T85" fmla="*/ 1911 h 4055"/>
                  <a:gd name="T86" fmla="*/ 1287 w 4420"/>
                  <a:gd name="T87" fmla="*/ 2394 h 4055"/>
                  <a:gd name="T88" fmla="*/ 1493 w 4420"/>
                  <a:gd name="T89" fmla="*/ 2776 h 4055"/>
                  <a:gd name="T90" fmla="*/ 1815 w 4420"/>
                  <a:gd name="T91" fmla="*/ 3043 h 4055"/>
                  <a:gd name="T92" fmla="*/ 2155 w 4420"/>
                  <a:gd name="T93" fmla="*/ 3169 h 4055"/>
                  <a:gd name="T94" fmla="*/ 2628 w 4420"/>
                  <a:gd name="T95" fmla="*/ 3174 h 4055"/>
                  <a:gd name="T96" fmla="*/ 3047 w 4420"/>
                  <a:gd name="T97" fmla="*/ 3006 h 4055"/>
                  <a:gd name="T98" fmla="*/ 3362 w 4420"/>
                  <a:gd name="T99" fmla="*/ 2693 h 4055"/>
                  <a:gd name="T100" fmla="*/ 3537 w 4420"/>
                  <a:gd name="T101" fmla="*/ 2284 h 4055"/>
                  <a:gd name="T102" fmla="*/ 3558 w 4420"/>
                  <a:gd name="T103" fmla="*/ 1938 h 4055"/>
                  <a:gd name="T104" fmla="*/ 3408 w 4420"/>
                  <a:gd name="T105" fmla="*/ 1449 h 4055"/>
                  <a:gd name="T106" fmla="*/ 3122 w 4420"/>
                  <a:gd name="T107" fmla="*/ 1111 h 4055"/>
                  <a:gd name="T108" fmla="*/ 2615 w 4420"/>
                  <a:gd name="T109" fmla="*/ 890 h 4055"/>
                  <a:gd name="T110" fmla="*/ 2119 w 4420"/>
                  <a:gd name="T111" fmla="*/ 903 h 4055"/>
                  <a:gd name="T112" fmla="*/ 1712 w 4420"/>
                  <a:gd name="T113" fmla="*/ 1085 h 4055"/>
                  <a:gd name="T114" fmla="*/ 1409 w 4420"/>
                  <a:gd name="T115" fmla="*/ 1397 h 4055"/>
                  <a:gd name="T116" fmla="*/ 1250 w 4420"/>
                  <a:gd name="T117" fmla="*/ 1809 h 4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20" h="4055">
                    <a:moveTo>
                      <a:pt x="1328" y="3747"/>
                    </a:moveTo>
                    <a:lnTo>
                      <a:pt x="1328" y="3747"/>
                    </a:lnTo>
                    <a:lnTo>
                      <a:pt x="1328" y="3930"/>
                    </a:lnTo>
                    <a:lnTo>
                      <a:pt x="1328" y="3930"/>
                    </a:lnTo>
                    <a:lnTo>
                      <a:pt x="1309" y="3926"/>
                    </a:lnTo>
                    <a:lnTo>
                      <a:pt x="1291" y="3924"/>
                    </a:lnTo>
                    <a:lnTo>
                      <a:pt x="1250" y="3924"/>
                    </a:lnTo>
                    <a:lnTo>
                      <a:pt x="1207" y="3928"/>
                    </a:lnTo>
                    <a:lnTo>
                      <a:pt x="1162" y="3932"/>
                    </a:lnTo>
                    <a:lnTo>
                      <a:pt x="1115" y="3935"/>
                    </a:lnTo>
                    <a:lnTo>
                      <a:pt x="1070" y="3937"/>
                    </a:lnTo>
                    <a:lnTo>
                      <a:pt x="1048" y="3937"/>
                    </a:lnTo>
                    <a:lnTo>
                      <a:pt x="1025" y="3935"/>
                    </a:lnTo>
                    <a:lnTo>
                      <a:pt x="1005" y="3934"/>
                    </a:lnTo>
                    <a:lnTo>
                      <a:pt x="984" y="3930"/>
                    </a:lnTo>
                    <a:lnTo>
                      <a:pt x="984" y="3930"/>
                    </a:lnTo>
                    <a:lnTo>
                      <a:pt x="962" y="3922"/>
                    </a:lnTo>
                    <a:lnTo>
                      <a:pt x="939" y="3911"/>
                    </a:lnTo>
                    <a:lnTo>
                      <a:pt x="915" y="3896"/>
                    </a:lnTo>
                    <a:lnTo>
                      <a:pt x="889" y="3877"/>
                    </a:lnTo>
                    <a:lnTo>
                      <a:pt x="862" y="3857"/>
                    </a:lnTo>
                    <a:lnTo>
                      <a:pt x="834" y="3834"/>
                    </a:lnTo>
                    <a:lnTo>
                      <a:pt x="778" y="3784"/>
                    </a:lnTo>
                    <a:lnTo>
                      <a:pt x="724" y="3732"/>
                    </a:lnTo>
                    <a:lnTo>
                      <a:pt x="675" y="3679"/>
                    </a:lnTo>
                    <a:lnTo>
                      <a:pt x="632" y="3632"/>
                    </a:lnTo>
                    <a:lnTo>
                      <a:pt x="599" y="3595"/>
                    </a:lnTo>
                    <a:lnTo>
                      <a:pt x="599" y="3595"/>
                    </a:lnTo>
                    <a:lnTo>
                      <a:pt x="537" y="3522"/>
                    </a:lnTo>
                    <a:lnTo>
                      <a:pt x="479" y="3445"/>
                    </a:lnTo>
                    <a:lnTo>
                      <a:pt x="421" y="3367"/>
                    </a:lnTo>
                    <a:lnTo>
                      <a:pt x="367" y="3283"/>
                    </a:lnTo>
                    <a:lnTo>
                      <a:pt x="314" y="3197"/>
                    </a:lnTo>
                    <a:lnTo>
                      <a:pt x="266" y="3107"/>
                    </a:lnTo>
                    <a:lnTo>
                      <a:pt x="241" y="3062"/>
                    </a:lnTo>
                    <a:lnTo>
                      <a:pt x="219" y="3015"/>
                    </a:lnTo>
                    <a:lnTo>
                      <a:pt x="198" y="2966"/>
                    </a:lnTo>
                    <a:lnTo>
                      <a:pt x="178" y="2918"/>
                    </a:lnTo>
                    <a:lnTo>
                      <a:pt x="157" y="2869"/>
                    </a:lnTo>
                    <a:lnTo>
                      <a:pt x="138" y="2819"/>
                    </a:lnTo>
                    <a:lnTo>
                      <a:pt x="120" y="2768"/>
                    </a:lnTo>
                    <a:lnTo>
                      <a:pt x="105" y="2716"/>
                    </a:lnTo>
                    <a:lnTo>
                      <a:pt x="88" y="2663"/>
                    </a:lnTo>
                    <a:lnTo>
                      <a:pt x="73" y="2609"/>
                    </a:lnTo>
                    <a:lnTo>
                      <a:pt x="60" y="2555"/>
                    </a:lnTo>
                    <a:lnTo>
                      <a:pt x="49" y="2501"/>
                    </a:lnTo>
                    <a:lnTo>
                      <a:pt x="37" y="2445"/>
                    </a:lnTo>
                    <a:lnTo>
                      <a:pt x="28" y="2388"/>
                    </a:lnTo>
                    <a:lnTo>
                      <a:pt x="19" y="2330"/>
                    </a:lnTo>
                    <a:lnTo>
                      <a:pt x="13" y="2272"/>
                    </a:lnTo>
                    <a:lnTo>
                      <a:pt x="7" y="2214"/>
                    </a:lnTo>
                    <a:lnTo>
                      <a:pt x="4" y="2155"/>
                    </a:lnTo>
                    <a:lnTo>
                      <a:pt x="0" y="2095"/>
                    </a:lnTo>
                    <a:lnTo>
                      <a:pt x="0" y="2033"/>
                    </a:lnTo>
                    <a:lnTo>
                      <a:pt x="0" y="2033"/>
                    </a:lnTo>
                    <a:lnTo>
                      <a:pt x="0" y="1947"/>
                    </a:lnTo>
                    <a:lnTo>
                      <a:pt x="4" y="1865"/>
                    </a:lnTo>
                    <a:lnTo>
                      <a:pt x="11" y="1782"/>
                    </a:lnTo>
                    <a:lnTo>
                      <a:pt x="21" y="1702"/>
                    </a:lnTo>
                    <a:lnTo>
                      <a:pt x="32" y="1623"/>
                    </a:lnTo>
                    <a:lnTo>
                      <a:pt x="45" y="1549"/>
                    </a:lnTo>
                    <a:lnTo>
                      <a:pt x="62" y="1474"/>
                    </a:lnTo>
                    <a:lnTo>
                      <a:pt x="80" y="1401"/>
                    </a:lnTo>
                    <a:lnTo>
                      <a:pt x="101" y="1330"/>
                    </a:lnTo>
                    <a:lnTo>
                      <a:pt x="123" y="1259"/>
                    </a:lnTo>
                    <a:lnTo>
                      <a:pt x="150" y="1191"/>
                    </a:lnTo>
                    <a:lnTo>
                      <a:pt x="176" y="1126"/>
                    </a:lnTo>
                    <a:lnTo>
                      <a:pt x="204" y="1060"/>
                    </a:lnTo>
                    <a:lnTo>
                      <a:pt x="236" y="999"/>
                    </a:lnTo>
                    <a:lnTo>
                      <a:pt x="268" y="937"/>
                    </a:lnTo>
                    <a:lnTo>
                      <a:pt x="299" y="877"/>
                    </a:lnTo>
                    <a:lnTo>
                      <a:pt x="335" y="819"/>
                    </a:lnTo>
                    <a:lnTo>
                      <a:pt x="372" y="763"/>
                    </a:lnTo>
                    <a:lnTo>
                      <a:pt x="410" y="707"/>
                    </a:lnTo>
                    <a:lnTo>
                      <a:pt x="447" y="654"/>
                    </a:lnTo>
                    <a:lnTo>
                      <a:pt x="488" y="602"/>
                    </a:lnTo>
                    <a:lnTo>
                      <a:pt x="528" y="551"/>
                    </a:lnTo>
                    <a:lnTo>
                      <a:pt x="571" y="503"/>
                    </a:lnTo>
                    <a:lnTo>
                      <a:pt x="614" y="454"/>
                    </a:lnTo>
                    <a:lnTo>
                      <a:pt x="657" y="409"/>
                    </a:lnTo>
                    <a:lnTo>
                      <a:pt x="700" y="364"/>
                    </a:lnTo>
                    <a:lnTo>
                      <a:pt x="745" y="321"/>
                    </a:lnTo>
                    <a:lnTo>
                      <a:pt x="789" y="278"/>
                    </a:lnTo>
                    <a:lnTo>
                      <a:pt x="836" y="239"/>
                    </a:lnTo>
                    <a:lnTo>
                      <a:pt x="881" y="200"/>
                    </a:lnTo>
                    <a:lnTo>
                      <a:pt x="928" y="162"/>
                    </a:lnTo>
                    <a:lnTo>
                      <a:pt x="973" y="127"/>
                    </a:lnTo>
                    <a:lnTo>
                      <a:pt x="973" y="127"/>
                    </a:lnTo>
                    <a:lnTo>
                      <a:pt x="1328" y="127"/>
                    </a:lnTo>
                    <a:lnTo>
                      <a:pt x="1328" y="127"/>
                    </a:lnTo>
                    <a:lnTo>
                      <a:pt x="1328" y="299"/>
                    </a:lnTo>
                    <a:lnTo>
                      <a:pt x="1328" y="299"/>
                    </a:lnTo>
                    <a:lnTo>
                      <a:pt x="1425" y="250"/>
                    </a:lnTo>
                    <a:lnTo>
                      <a:pt x="1528" y="204"/>
                    </a:lnTo>
                    <a:lnTo>
                      <a:pt x="1635" y="159"/>
                    </a:lnTo>
                    <a:lnTo>
                      <a:pt x="1689" y="136"/>
                    </a:lnTo>
                    <a:lnTo>
                      <a:pt x="1747" y="116"/>
                    </a:lnTo>
                    <a:lnTo>
                      <a:pt x="1803" y="95"/>
                    </a:lnTo>
                    <a:lnTo>
                      <a:pt x="1863" y="76"/>
                    </a:lnTo>
                    <a:lnTo>
                      <a:pt x="1923" y="60"/>
                    </a:lnTo>
                    <a:lnTo>
                      <a:pt x="1987" y="45"/>
                    </a:lnTo>
                    <a:lnTo>
                      <a:pt x="2050" y="31"/>
                    </a:lnTo>
                    <a:lnTo>
                      <a:pt x="2116" y="20"/>
                    </a:lnTo>
                    <a:lnTo>
                      <a:pt x="2181" y="11"/>
                    </a:lnTo>
                    <a:lnTo>
                      <a:pt x="2250" y="5"/>
                    </a:lnTo>
                    <a:lnTo>
                      <a:pt x="2250" y="5"/>
                    </a:lnTo>
                    <a:lnTo>
                      <a:pt x="2314" y="2"/>
                    </a:lnTo>
                    <a:lnTo>
                      <a:pt x="2376" y="0"/>
                    </a:lnTo>
                    <a:lnTo>
                      <a:pt x="2436" y="0"/>
                    </a:lnTo>
                    <a:lnTo>
                      <a:pt x="2495" y="2"/>
                    </a:lnTo>
                    <a:lnTo>
                      <a:pt x="2555" y="5"/>
                    </a:lnTo>
                    <a:lnTo>
                      <a:pt x="2613" y="9"/>
                    </a:lnTo>
                    <a:lnTo>
                      <a:pt x="2671" y="16"/>
                    </a:lnTo>
                    <a:lnTo>
                      <a:pt x="2727" y="26"/>
                    </a:lnTo>
                    <a:lnTo>
                      <a:pt x="2783" y="35"/>
                    </a:lnTo>
                    <a:lnTo>
                      <a:pt x="2840" y="46"/>
                    </a:lnTo>
                    <a:lnTo>
                      <a:pt x="2892" y="60"/>
                    </a:lnTo>
                    <a:lnTo>
                      <a:pt x="2946" y="73"/>
                    </a:lnTo>
                    <a:lnTo>
                      <a:pt x="2999" y="89"/>
                    </a:lnTo>
                    <a:lnTo>
                      <a:pt x="3049" y="106"/>
                    </a:lnTo>
                    <a:lnTo>
                      <a:pt x="3100" y="123"/>
                    </a:lnTo>
                    <a:lnTo>
                      <a:pt x="3148" y="142"/>
                    </a:lnTo>
                    <a:lnTo>
                      <a:pt x="3197" y="162"/>
                    </a:lnTo>
                    <a:lnTo>
                      <a:pt x="3244" y="185"/>
                    </a:lnTo>
                    <a:lnTo>
                      <a:pt x="3290" y="207"/>
                    </a:lnTo>
                    <a:lnTo>
                      <a:pt x="3335" y="230"/>
                    </a:lnTo>
                    <a:lnTo>
                      <a:pt x="3378" y="254"/>
                    </a:lnTo>
                    <a:lnTo>
                      <a:pt x="3421" y="278"/>
                    </a:lnTo>
                    <a:lnTo>
                      <a:pt x="3464" y="305"/>
                    </a:lnTo>
                    <a:lnTo>
                      <a:pt x="3506" y="331"/>
                    </a:lnTo>
                    <a:lnTo>
                      <a:pt x="3545" y="357"/>
                    </a:lnTo>
                    <a:lnTo>
                      <a:pt x="3584" y="385"/>
                    </a:lnTo>
                    <a:lnTo>
                      <a:pt x="3657" y="443"/>
                    </a:lnTo>
                    <a:lnTo>
                      <a:pt x="3728" y="501"/>
                    </a:lnTo>
                    <a:lnTo>
                      <a:pt x="3792" y="563"/>
                    </a:lnTo>
                    <a:lnTo>
                      <a:pt x="3792" y="563"/>
                    </a:lnTo>
                    <a:lnTo>
                      <a:pt x="3859" y="630"/>
                    </a:lnTo>
                    <a:lnTo>
                      <a:pt x="3923" y="701"/>
                    </a:lnTo>
                    <a:lnTo>
                      <a:pt x="3984" y="776"/>
                    </a:lnTo>
                    <a:lnTo>
                      <a:pt x="4042" y="855"/>
                    </a:lnTo>
                    <a:lnTo>
                      <a:pt x="4070" y="894"/>
                    </a:lnTo>
                    <a:lnTo>
                      <a:pt x="4097" y="935"/>
                    </a:lnTo>
                    <a:lnTo>
                      <a:pt x="4123" y="976"/>
                    </a:lnTo>
                    <a:lnTo>
                      <a:pt x="4149" y="1019"/>
                    </a:lnTo>
                    <a:lnTo>
                      <a:pt x="4173" y="1062"/>
                    </a:lnTo>
                    <a:lnTo>
                      <a:pt x="4196" y="1107"/>
                    </a:lnTo>
                    <a:lnTo>
                      <a:pt x="4218" y="1152"/>
                    </a:lnTo>
                    <a:lnTo>
                      <a:pt x="4241" y="1197"/>
                    </a:lnTo>
                    <a:lnTo>
                      <a:pt x="4261" y="1244"/>
                    </a:lnTo>
                    <a:lnTo>
                      <a:pt x="4280" y="1290"/>
                    </a:lnTo>
                    <a:lnTo>
                      <a:pt x="4299" y="1339"/>
                    </a:lnTo>
                    <a:lnTo>
                      <a:pt x="4316" y="1388"/>
                    </a:lnTo>
                    <a:lnTo>
                      <a:pt x="4332" y="1436"/>
                    </a:lnTo>
                    <a:lnTo>
                      <a:pt x="4345" y="1487"/>
                    </a:lnTo>
                    <a:lnTo>
                      <a:pt x="4360" y="1537"/>
                    </a:lnTo>
                    <a:lnTo>
                      <a:pt x="4372" y="1588"/>
                    </a:lnTo>
                    <a:lnTo>
                      <a:pt x="4383" y="1640"/>
                    </a:lnTo>
                    <a:lnTo>
                      <a:pt x="4392" y="1693"/>
                    </a:lnTo>
                    <a:lnTo>
                      <a:pt x="4402" y="1747"/>
                    </a:lnTo>
                    <a:lnTo>
                      <a:pt x="4407" y="1801"/>
                    </a:lnTo>
                    <a:lnTo>
                      <a:pt x="4413" y="1855"/>
                    </a:lnTo>
                    <a:lnTo>
                      <a:pt x="4417" y="1910"/>
                    </a:lnTo>
                    <a:lnTo>
                      <a:pt x="4420" y="1966"/>
                    </a:lnTo>
                    <a:lnTo>
                      <a:pt x="4420" y="2022"/>
                    </a:lnTo>
                    <a:lnTo>
                      <a:pt x="4420" y="2022"/>
                    </a:lnTo>
                    <a:lnTo>
                      <a:pt x="4420" y="2082"/>
                    </a:lnTo>
                    <a:lnTo>
                      <a:pt x="4418" y="2142"/>
                    </a:lnTo>
                    <a:lnTo>
                      <a:pt x="4415" y="2198"/>
                    </a:lnTo>
                    <a:lnTo>
                      <a:pt x="4409" y="2256"/>
                    </a:lnTo>
                    <a:lnTo>
                      <a:pt x="4403" y="2310"/>
                    </a:lnTo>
                    <a:lnTo>
                      <a:pt x="4396" y="2366"/>
                    </a:lnTo>
                    <a:lnTo>
                      <a:pt x="4387" y="2418"/>
                    </a:lnTo>
                    <a:lnTo>
                      <a:pt x="4375" y="2473"/>
                    </a:lnTo>
                    <a:lnTo>
                      <a:pt x="4362" y="2523"/>
                    </a:lnTo>
                    <a:lnTo>
                      <a:pt x="4349" y="2574"/>
                    </a:lnTo>
                    <a:lnTo>
                      <a:pt x="4334" y="2624"/>
                    </a:lnTo>
                    <a:lnTo>
                      <a:pt x="4319" y="2673"/>
                    </a:lnTo>
                    <a:lnTo>
                      <a:pt x="4302" y="2721"/>
                    </a:lnTo>
                    <a:lnTo>
                      <a:pt x="4284" y="2768"/>
                    </a:lnTo>
                    <a:lnTo>
                      <a:pt x="4265" y="2815"/>
                    </a:lnTo>
                    <a:lnTo>
                      <a:pt x="4244" y="2860"/>
                    </a:lnTo>
                    <a:lnTo>
                      <a:pt x="4222" y="2905"/>
                    </a:lnTo>
                    <a:lnTo>
                      <a:pt x="4200" y="2950"/>
                    </a:lnTo>
                    <a:lnTo>
                      <a:pt x="4175" y="2993"/>
                    </a:lnTo>
                    <a:lnTo>
                      <a:pt x="4151" y="3034"/>
                    </a:lnTo>
                    <a:lnTo>
                      <a:pt x="4127" y="3077"/>
                    </a:lnTo>
                    <a:lnTo>
                      <a:pt x="4099" y="3116"/>
                    </a:lnTo>
                    <a:lnTo>
                      <a:pt x="4072" y="3157"/>
                    </a:lnTo>
                    <a:lnTo>
                      <a:pt x="4044" y="3197"/>
                    </a:lnTo>
                    <a:lnTo>
                      <a:pt x="3984" y="3271"/>
                    </a:lnTo>
                    <a:lnTo>
                      <a:pt x="3923" y="3344"/>
                    </a:lnTo>
                    <a:lnTo>
                      <a:pt x="3859" y="3415"/>
                    </a:lnTo>
                    <a:lnTo>
                      <a:pt x="3792" y="3483"/>
                    </a:lnTo>
                    <a:lnTo>
                      <a:pt x="3792" y="3483"/>
                    </a:lnTo>
                    <a:lnTo>
                      <a:pt x="3724" y="3548"/>
                    </a:lnTo>
                    <a:lnTo>
                      <a:pt x="3651" y="3610"/>
                    </a:lnTo>
                    <a:lnTo>
                      <a:pt x="3577" y="3668"/>
                    </a:lnTo>
                    <a:lnTo>
                      <a:pt x="3539" y="3696"/>
                    </a:lnTo>
                    <a:lnTo>
                      <a:pt x="3500" y="3724"/>
                    </a:lnTo>
                    <a:lnTo>
                      <a:pt x="3459" y="3752"/>
                    </a:lnTo>
                    <a:lnTo>
                      <a:pt x="3418" y="3776"/>
                    </a:lnTo>
                    <a:lnTo>
                      <a:pt x="3376" y="3803"/>
                    </a:lnTo>
                    <a:lnTo>
                      <a:pt x="3333" y="3827"/>
                    </a:lnTo>
                    <a:lnTo>
                      <a:pt x="3290" y="3849"/>
                    </a:lnTo>
                    <a:lnTo>
                      <a:pt x="3246" y="3872"/>
                    </a:lnTo>
                    <a:lnTo>
                      <a:pt x="3201" y="3892"/>
                    </a:lnTo>
                    <a:lnTo>
                      <a:pt x="3154" y="3913"/>
                    </a:lnTo>
                    <a:lnTo>
                      <a:pt x="3107" y="3932"/>
                    </a:lnTo>
                    <a:lnTo>
                      <a:pt x="3058" y="3949"/>
                    </a:lnTo>
                    <a:lnTo>
                      <a:pt x="3008" y="3965"/>
                    </a:lnTo>
                    <a:lnTo>
                      <a:pt x="2957" y="3980"/>
                    </a:lnTo>
                    <a:lnTo>
                      <a:pt x="2907" y="3993"/>
                    </a:lnTo>
                    <a:lnTo>
                      <a:pt x="2855" y="4007"/>
                    </a:lnTo>
                    <a:lnTo>
                      <a:pt x="2800" y="4018"/>
                    </a:lnTo>
                    <a:lnTo>
                      <a:pt x="2746" y="4027"/>
                    </a:lnTo>
                    <a:lnTo>
                      <a:pt x="2692" y="4036"/>
                    </a:lnTo>
                    <a:lnTo>
                      <a:pt x="2634" y="4042"/>
                    </a:lnTo>
                    <a:lnTo>
                      <a:pt x="2578" y="4048"/>
                    </a:lnTo>
                    <a:lnTo>
                      <a:pt x="2518" y="4051"/>
                    </a:lnTo>
                    <a:lnTo>
                      <a:pt x="2458" y="4053"/>
                    </a:lnTo>
                    <a:lnTo>
                      <a:pt x="2396" y="4055"/>
                    </a:lnTo>
                    <a:lnTo>
                      <a:pt x="2335" y="4053"/>
                    </a:lnTo>
                    <a:lnTo>
                      <a:pt x="2271" y="4051"/>
                    </a:lnTo>
                    <a:lnTo>
                      <a:pt x="2271" y="4051"/>
                    </a:lnTo>
                    <a:lnTo>
                      <a:pt x="2200" y="4046"/>
                    </a:lnTo>
                    <a:lnTo>
                      <a:pt x="2131" y="4038"/>
                    </a:lnTo>
                    <a:lnTo>
                      <a:pt x="2063" y="4029"/>
                    </a:lnTo>
                    <a:lnTo>
                      <a:pt x="2000" y="4016"/>
                    </a:lnTo>
                    <a:lnTo>
                      <a:pt x="1938" y="4003"/>
                    </a:lnTo>
                    <a:lnTo>
                      <a:pt x="1876" y="3986"/>
                    </a:lnTo>
                    <a:lnTo>
                      <a:pt x="1818" y="3969"/>
                    </a:lnTo>
                    <a:lnTo>
                      <a:pt x="1760" y="3950"/>
                    </a:lnTo>
                    <a:lnTo>
                      <a:pt x="1704" y="3928"/>
                    </a:lnTo>
                    <a:lnTo>
                      <a:pt x="1650" y="3906"/>
                    </a:lnTo>
                    <a:lnTo>
                      <a:pt x="1596" y="3883"/>
                    </a:lnTo>
                    <a:lnTo>
                      <a:pt x="1541" y="3857"/>
                    </a:lnTo>
                    <a:lnTo>
                      <a:pt x="1435" y="3805"/>
                    </a:lnTo>
                    <a:lnTo>
                      <a:pt x="1328" y="3747"/>
                    </a:lnTo>
                    <a:lnTo>
                      <a:pt x="1328" y="3747"/>
                    </a:lnTo>
                    <a:close/>
                    <a:moveTo>
                      <a:pt x="1003" y="349"/>
                    </a:moveTo>
                    <a:lnTo>
                      <a:pt x="1003" y="349"/>
                    </a:lnTo>
                    <a:lnTo>
                      <a:pt x="962" y="385"/>
                    </a:lnTo>
                    <a:lnTo>
                      <a:pt x="920" y="421"/>
                    </a:lnTo>
                    <a:lnTo>
                      <a:pt x="879" y="460"/>
                    </a:lnTo>
                    <a:lnTo>
                      <a:pt x="838" y="497"/>
                    </a:lnTo>
                    <a:lnTo>
                      <a:pt x="799" y="538"/>
                    </a:lnTo>
                    <a:lnTo>
                      <a:pt x="759" y="580"/>
                    </a:lnTo>
                    <a:lnTo>
                      <a:pt x="720" y="623"/>
                    </a:lnTo>
                    <a:lnTo>
                      <a:pt x="683" y="666"/>
                    </a:lnTo>
                    <a:lnTo>
                      <a:pt x="647" y="710"/>
                    </a:lnTo>
                    <a:lnTo>
                      <a:pt x="610" y="757"/>
                    </a:lnTo>
                    <a:lnTo>
                      <a:pt x="576" y="804"/>
                    </a:lnTo>
                    <a:lnTo>
                      <a:pt x="541" y="855"/>
                    </a:lnTo>
                    <a:lnTo>
                      <a:pt x="509" y="903"/>
                    </a:lnTo>
                    <a:lnTo>
                      <a:pt x="477" y="956"/>
                    </a:lnTo>
                    <a:lnTo>
                      <a:pt x="447" y="1008"/>
                    </a:lnTo>
                    <a:lnTo>
                      <a:pt x="417" y="1062"/>
                    </a:lnTo>
                    <a:lnTo>
                      <a:pt x="391" y="1116"/>
                    </a:lnTo>
                    <a:lnTo>
                      <a:pt x="365" y="1173"/>
                    </a:lnTo>
                    <a:lnTo>
                      <a:pt x="339" y="1231"/>
                    </a:lnTo>
                    <a:lnTo>
                      <a:pt x="316" y="1290"/>
                    </a:lnTo>
                    <a:lnTo>
                      <a:pt x="296" y="1350"/>
                    </a:lnTo>
                    <a:lnTo>
                      <a:pt x="275" y="1412"/>
                    </a:lnTo>
                    <a:lnTo>
                      <a:pt x="258" y="1476"/>
                    </a:lnTo>
                    <a:lnTo>
                      <a:pt x="243" y="1539"/>
                    </a:lnTo>
                    <a:lnTo>
                      <a:pt x="228" y="1605"/>
                    </a:lnTo>
                    <a:lnTo>
                      <a:pt x="217" y="1672"/>
                    </a:lnTo>
                    <a:lnTo>
                      <a:pt x="208" y="1741"/>
                    </a:lnTo>
                    <a:lnTo>
                      <a:pt x="200" y="1810"/>
                    </a:lnTo>
                    <a:lnTo>
                      <a:pt x="195" y="1882"/>
                    </a:lnTo>
                    <a:lnTo>
                      <a:pt x="191" y="1954"/>
                    </a:lnTo>
                    <a:lnTo>
                      <a:pt x="191" y="2029"/>
                    </a:lnTo>
                    <a:lnTo>
                      <a:pt x="193" y="2104"/>
                    </a:lnTo>
                    <a:lnTo>
                      <a:pt x="193" y="2104"/>
                    </a:lnTo>
                    <a:lnTo>
                      <a:pt x="195" y="2166"/>
                    </a:lnTo>
                    <a:lnTo>
                      <a:pt x="200" y="2226"/>
                    </a:lnTo>
                    <a:lnTo>
                      <a:pt x="208" y="2286"/>
                    </a:lnTo>
                    <a:lnTo>
                      <a:pt x="215" y="2345"/>
                    </a:lnTo>
                    <a:lnTo>
                      <a:pt x="224" y="2403"/>
                    </a:lnTo>
                    <a:lnTo>
                      <a:pt x="236" y="2461"/>
                    </a:lnTo>
                    <a:lnTo>
                      <a:pt x="249" y="2519"/>
                    </a:lnTo>
                    <a:lnTo>
                      <a:pt x="262" y="2576"/>
                    </a:lnTo>
                    <a:lnTo>
                      <a:pt x="277" y="2630"/>
                    </a:lnTo>
                    <a:lnTo>
                      <a:pt x="294" y="2684"/>
                    </a:lnTo>
                    <a:lnTo>
                      <a:pt x="311" y="2738"/>
                    </a:lnTo>
                    <a:lnTo>
                      <a:pt x="331" y="2791"/>
                    </a:lnTo>
                    <a:lnTo>
                      <a:pt x="350" y="2843"/>
                    </a:lnTo>
                    <a:lnTo>
                      <a:pt x="372" y="2894"/>
                    </a:lnTo>
                    <a:lnTo>
                      <a:pt x="395" y="2944"/>
                    </a:lnTo>
                    <a:lnTo>
                      <a:pt x="417" y="2993"/>
                    </a:lnTo>
                    <a:lnTo>
                      <a:pt x="441" y="3041"/>
                    </a:lnTo>
                    <a:lnTo>
                      <a:pt x="468" y="3088"/>
                    </a:lnTo>
                    <a:lnTo>
                      <a:pt x="494" y="3133"/>
                    </a:lnTo>
                    <a:lnTo>
                      <a:pt x="522" y="3180"/>
                    </a:lnTo>
                    <a:lnTo>
                      <a:pt x="550" y="3223"/>
                    </a:lnTo>
                    <a:lnTo>
                      <a:pt x="578" y="3266"/>
                    </a:lnTo>
                    <a:lnTo>
                      <a:pt x="608" y="3309"/>
                    </a:lnTo>
                    <a:lnTo>
                      <a:pt x="638" y="3348"/>
                    </a:lnTo>
                    <a:lnTo>
                      <a:pt x="670" y="3389"/>
                    </a:lnTo>
                    <a:lnTo>
                      <a:pt x="701" y="3427"/>
                    </a:lnTo>
                    <a:lnTo>
                      <a:pt x="733" y="3464"/>
                    </a:lnTo>
                    <a:lnTo>
                      <a:pt x="765" y="3501"/>
                    </a:lnTo>
                    <a:lnTo>
                      <a:pt x="799" y="3537"/>
                    </a:lnTo>
                    <a:lnTo>
                      <a:pt x="832" y="3571"/>
                    </a:lnTo>
                    <a:lnTo>
                      <a:pt x="868" y="3604"/>
                    </a:lnTo>
                    <a:lnTo>
                      <a:pt x="902" y="3634"/>
                    </a:lnTo>
                    <a:lnTo>
                      <a:pt x="902" y="3634"/>
                    </a:lnTo>
                    <a:lnTo>
                      <a:pt x="926" y="3655"/>
                    </a:lnTo>
                    <a:lnTo>
                      <a:pt x="950" y="3675"/>
                    </a:lnTo>
                    <a:lnTo>
                      <a:pt x="976" y="3696"/>
                    </a:lnTo>
                    <a:lnTo>
                      <a:pt x="1003" y="3713"/>
                    </a:lnTo>
                    <a:lnTo>
                      <a:pt x="1033" y="3726"/>
                    </a:lnTo>
                    <a:lnTo>
                      <a:pt x="1046" y="3732"/>
                    </a:lnTo>
                    <a:lnTo>
                      <a:pt x="1063" y="3735"/>
                    </a:lnTo>
                    <a:lnTo>
                      <a:pt x="1077" y="3739"/>
                    </a:lnTo>
                    <a:lnTo>
                      <a:pt x="1092" y="3739"/>
                    </a:lnTo>
                    <a:lnTo>
                      <a:pt x="1109" y="3739"/>
                    </a:lnTo>
                    <a:lnTo>
                      <a:pt x="1124" y="3737"/>
                    </a:lnTo>
                    <a:lnTo>
                      <a:pt x="1124" y="3737"/>
                    </a:lnTo>
                    <a:lnTo>
                      <a:pt x="1124" y="3662"/>
                    </a:lnTo>
                    <a:lnTo>
                      <a:pt x="1124" y="3588"/>
                    </a:lnTo>
                    <a:lnTo>
                      <a:pt x="1130" y="3442"/>
                    </a:lnTo>
                    <a:lnTo>
                      <a:pt x="1135" y="3301"/>
                    </a:lnTo>
                    <a:lnTo>
                      <a:pt x="1143" y="3163"/>
                    </a:lnTo>
                    <a:lnTo>
                      <a:pt x="1145" y="3096"/>
                    </a:lnTo>
                    <a:lnTo>
                      <a:pt x="1145" y="3030"/>
                    </a:lnTo>
                    <a:lnTo>
                      <a:pt x="1143" y="2965"/>
                    </a:lnTo>
                    <a:lnTo>
                      <a:pt x="1139" y="2901"/>
                    </a:lnTo>
                    <a:lnTo>
                      <a:pt x="1134" y="2839"/>
                    </a:lnTo>
                    <a:lnTo>
                      <a:pt x="1124" y="2779"/>
                    </a:lnTo>
                    <a:lnTo>
                      <a:pt x="1111" y="2720"/>
                    </a:lnTo>
                    <a:lnTo>
                      <a:pt x="1094" y="2662"/>
                    </a:lnTo>
                    <a:lnTo>
                      <a:pt x="1094" y="2662"/>
                    </a:lnTo>
                    <a:lnTo>
                      <a:pt x="1070" y="2589"/>
                    </a:lnTo>
                    <a:lnTo>
                      <a:pt x="1044" y="2519"/>
                    </a:lnTo>
                    <a:lnTo>
                      <a:pt x="1021" y="2456"/>
                    </a:lnTo>
                    <a:lnTo>
                      <a:pt x="999" y="2394"/>
                    </a:lnTo>
                    <a:lnTo>
                      <a:pt x="978" y="2334"/>
                    </a:lnTo>
                    <a:lnTo>
                      <a:pt x="963" y="2271"/>
                    </a:lnTo>
                    <a:lnTo>
                      <a:pt x="956" y="2239"/>
                    </a:lnTo>
                    <a:lnTo>
                      <a:pt x="950" y="2205"/>
                    </a:lnTo>
                    <a:lnTo>
                      <a:pt x="947" y="2170"/>
                    </a:lnTo>
                    <a:lnTo>
                      <a:pt x="943" y="2134"/>
                    </a:lnTo>
                    <a:lnTo>
                      <a:pt x="943" y="2134"/>
                    </a:lnTo>
                    <a:lnTo>
                      <a:pt x="939" y="2074"/>
                    </a:lnTo>
                    <a:lnTo>
                      <a:pt x="939" y="2018"/>
                    </a:lnTo>
                    <a:lnTo>
                      <a:pt x="939" y="1964"/>
                    </a:lnTo>
                    <a:lnTo>
                      <a:pt x="943" y="1911"/>
                    </a:lnTo>
                    <a:lnTo>
                      <a:pt x="943" y="1911"/>
                    </a:lnTo>
                    <a:lnTo>
                      <a:pt x="947" y="1868"/>
                    </a:lnTo>
                    <a:lnTo>
                      <a:pt x="952" y="1829"/>
                    </a:lnTo>
                    <a:lnTo>
                      <a:pt x="960" y="1792"/>
                    </a:lnTo>
                    <a:lnTo>
                      <a:pt x="967" y="1756"/>
                    </a:lnTo>
                    <a:lnTo>
                      <a:pt x="976" y="1721"/>
                    </a:lnTo>
                    <a:lnTo>
                      <a:pt x="986" y="1689"/>
                    </a:lnTo>
                    <a:lnTo>
                      <a:pt x="1010" y="1625"/>
                    </a:lnTo>
                    <a:lnTo>
                      <a:pt x="1034" y="1564"/>
                    </a:lnTo>
                    <a:lnTo>
                      <a:pt x="1059" y="1504"/>
                    </a:lnTo>
                    <a:lnTo>
                      <a:pt x="1083" y="1440"/>
                    </a:lnTo>
                    <a:lnTo>
                      <a:pt x="1106" y="1375"/>
                    </a:lnTo>
                    <a:lnTo>
                      <a:pt x="1106" y="1375"/>
                    </a:lnTo>
                    <a:lnTo>
                      <a:pt x="1121" y="1315"/>
                    </a:lnTo>
                    <a:lnTo>
                      <a:pt x="1132" y="1255"/>
                    </a:lnTo>
                    <a:lnTo>
                      <a:pt x="1139" y="1195"/>
                    </a:lnTo>
                    <a:lnTo>
                      <a:pt x="1143" y="1133"/>
                    </a:lnTo>
                    <a:lnTo>
                      <a:pt x="1145" y="1070"/>
                    </a:lnTo>
                    <a:lnTo>
                      <a:pt x="1145" y="1004"/>
                    </a:lnTo>
                    <a:lnTo>
                      <a:pt x="1143" y="941"/>
                    </a:lnTo>
                    <a:lnTo>
                      <a:pt x="1141" y="873"/>
                    </a:lnTo>
                    <a:lnTo>
                      <a:pt x="1134" y="739"/>
                    </a:lnTo>
                    <a:lnTo>
                      <a:pt x="1128" y="602"/>
                    </a:lnTo>
                    <a:lnTo>
                      <a:pt x="1126" y="531"/>
                    </a:lnTo>
                    <a:lnTo>
                      <a:pt x="1128" y="462"/>
                    </a:lnTo>
                    <a:lnTo>
                      <a:pt x="1130" y="391"/>
                    </a:lnTo>
                    <a:lnTo>
                      <a:pt x="1135" y="320"/>
                    </a:lnTo>
                    <a:lnTo>
                      <a:pt x="1135" y="320"/>
                    </a:lnTo>
                    <a:lnTo>
                      <a:pt x="1113" y="316"/>
                    </a:lnTo>
                    <a:lnTo>
                      <a:pt x="1092" y="314"/>
                    </a:lnTo>
                    <a:lnTo>
                      <a:pt x="1072" y="318"/>
                    </a:lnTo>
                    <a:lnTo>
                      <a:pt x="1055" y="321"/>
                    </a:lnTo>
                    <a:lnTo>
                      <a:pt x="1038" y="327"/>
                    </a:lnTo>
                    <a:lnTo>
                      <a:pt x="1025" y="334"/>
                    </a:lnTo>
                    <a:lnTo>
                      <a:pt x="1012" y="342"/>
                    </a:lnTo>
                    <a:lnTo>
                      <a:pt x="1003" y="349"/>
                    </a:lnTo>
                    <a:lnTo>
                      <a:pt x="1003" y="349"/>
                    </a:lnTo>
                    <a:close/>
                    <a:moveTo>
                      <a:pt x="1236" y="1911"/>
                    </a:moveTo>
                    <a:lnTo>
                      <a:pt x="1236" y="1911"/>
                    </a:lnTo>
                    <a:lnTo>
                      <a:pt x="1233" y="1969"/>
                    </a:lnTo>
                    <a:lnTo>
                      <a:pt x="1233" y="2027"/>
                    </a:lnTo>
                    <a:lnTo>
                      <a:pt x="1233" y="2084"/>
                    </a:lnTo>
                    <a:lnTo>
                      <a:pt x="1236" y="2138"/>
                    </a:lnTo>
                    <a:lnTo>
                      <a:pt x="1242" y="2192"/>
                    </a:lnTo>
                    <a:lnTo>
                      <a:pt x="1251" y="2244"/>
                    </a:lnTo>
                    <a:lnTo>
                      <a:pt x="1261" y="2295"/>
                    </a:lnTo>
                    <a:lnTo>
                      <a:pt x="1272" y="2345"/>
                    </a:lnTo>
                    <a:lnTo>
                      <a:pt x="1287" y="2394"/>
                    </a:lnTo>
                    <a:lnTo>
                      <a:pt x="1302" y="2443"/>
                    </a:lnTo>
                    <a:lnTo>
                      <a:pt x="1321" y="2489"/>
                    </a:lnTo>
                    <a:lnTo>
                      <a:pt x="1339" y="2534"/>
                    </a:lnTo>
                    <a:lnTo>
                      <a:pt x="1362" y="2577"/>
                    </a:lnTo>
                    <a:lnTo>
                      <a:pt x="1384" y="2620"/>
                    </a:lnTo>
                    <a:lnTo>
                      <a:pt x="1409" y="2662"/>
                    </a:lnTo>
                    <a:lnTo>
                      <a:pt x="1435" y="2701"/>
                    </a:lnTo>
                    <a:lnTo>
                      <a:pt x="1463" y="2740"/>
                    </a:lnTo>
                    <a:lnTo>
                      <a:pt x="1493" y="2776"/>
                    </a:lnTo>
                    <a:lnTo>
                      <a:pt x="1523" y="2811"/>
                    </a:lnTo>
                    <a:lnTo>
                      <a:pt x="1554" y="2847"/>
                    </a:lnTo>
                    <a:lnTo>
                      <a:pt x="1588" y="2879"/>
                    </a:lnTo>
                    <a:lnTo>
                      <a:pt x="1624" y="2910"/>
                    </a:lnTo>
                    <a:lnTo>
                      <a:pt x="1659" y="2940"/>
                    </a:lnTo>
                    <a:lnTo>
                      <a:pt x="1697" y="2968"/>
                    </a:lnTo>
                    <a:lnTo>
                      <a:pt x="1734" y="2995"/>
                    </a:lnTo>
                    <a:lnTo>
                      <a:pt x="1773" y="3021"/>
                    </a:lnTo>
                    <a:lnTo>
                      <a:pt x="1815" y="3043"/>
                    </a:lnTo>
                    <a:lnTo>
                      <a:pt x="1856" y="3066"/>
                    </a:lnTo>
                    <a:lnTo>
                      <a:pt x="1897" y="3086"/>
                    </a:lnTo>
                    <a:lnTo>
                      <a:pt x="1940" y="3105"/>
                    </a:lnTo>
                    <a:lnTo>
                      <a:pt x="1983" y="3122"/>
                    </a:lnTo>
                    <a:lnTo>
                      <a:pt x="2028" y="3139"/>
                    </a:lnTo>
                    <a:lnTo>
                      <a:pt x="2028" y="3139"/>
                    </a:lnTo>
                    <a:lnTo>
                      <a:pt x="2058" y="3148"/>
                    </a:lnTo>
                    <a:lnTo>
                      <a:pt x="2089" y="3155"/>
                    </a:lnTo>
                    <a:lnTo>
                      <a:pt x="2155" y="3169"/>
                    </a:lnTo>
                    <a:lnTo>
                      <a:pt x="2224" y="3180"/>
                    </a:lnTo>
                    <a:lnTo>
                      <a:pt x="2293" y="3185"/>
                    </a:lnTo>
                    <a:lnTo>
                      <a:pt x="2361" y="3191"/>
                    </a:lnTo>
                    <a:lnTo>
                      <a:pt x="2424" y="3193"/>
                    </a:lnTo>
                    <a:lnTo>
                      <a:pt x="2479" y="3191"/>
                    </a:lnTo>
                    <a:lnTo>
                      <a:pt x="2525" y="3189"/>
                    </a:lnTo>
                    <a:lnTo>
                      <a:pt x="2525" y="3189"/>
                    </a:lnTo>
                    <a:lnTo>
                      <a:pt x="2578" y="3183"/>
                    </a:lnTo>
                    <a:lnTo>
                      <a:pt x="2628" y="3174"/>
                    </a:lnTo>
                    <a:lnTo>
                      <a:pt x="2679" y="3165"/>
                    </a:lnTo>
                    <a:lnTo>
                      <a:pt x="2729" y="3152"/>
                    </a:lnTo>
                    <a:lnTo>
                      <a:pt x="2778" y="3137"/>
                    </a:lnTo>
                    <a:lnTo>
                      <a:pt x="2827" y="3120"/>
                    </a:lnTo>
                    <a:lnTo>
                      <a:pt x="2871" y="3101"/>
                    </a:lnTo>
                    <a:lnTo>
                      <a:pt x="2918" y="3079"/>
                    </a:lnTo>
                    <a:lnTo>
                      <a:pt x="2963" y="3056"/>
                    </a:lnTo>
                    <a:lnTo>
                      <a:pt x="3006" y="3032"/>
                    </a:lnTo>
                    <a:lnTo>
                      <a:pt x="3047" y="3006"/>
                    </a:lnTo>
                    <a:lnTo>
                      <a:pt x="3088" y="2976"/>
                    </a:lnTo>
                    <a:lnTo>
                      <a:pt x="3128" y="2946"/>
                    </a:lnTo>
                    <a:lnTo>
                      <a:pt x="3165" y="2914"/>
                    </a:lnTo>
                    <a:lnTo>
                      <a:pt x="3203" y="2880"/>
                    </a:lnTo>
                    <a:lnTo>
                      <a:pt x="3238" y="2847"/>
                    </a:lnTo>
                    <a:lnTo>
                      <a:pt x="3272" y="2809"/>
                    </a:lnTo>
                    <a:lnTo>
                      <a:pt x="3304" y="2772"/>
                    </a:lnTo>
                    <a:lnTo>
                      <a:pt x="3333" y="2733"/>
                    </a:lnTo>
                    <a:lnTo>
                      <a:pt x="3362" y="2693"/>
                    </a:lnTo>
                    <a:lnTo>
                      <a:pt x="3390" y="2652"/>
                    </a:lnTo>
                    <a:lnTo>
                      <a:pt x="3414" y="2609"/>
                    </a:lnTo>
                    <a:lnTo>
                      <a:pt x="3438" y="2566"/>
                    </a:lnTo>
                    <a:lnTo>
                      <a:pt x="3459" y="2521"/>
                    </a:lnTo>
                    <a:lnTo>
                      <a:pt x="3479" y="2475"/>
                    </a:lnTo>
                    <a:lnTo>
                      <a:pt x="3496" y="2428"/>
                    </a:lnTo>
                    <a:lnTo>
                      <a:pt x="3511" y="2381"/>
                    </a:lnTo>
                    <a:lnTo>
                      <a:pt x="3526" y="2332"/>
                    </a:lnTo>
                    <a:lnTo>
                      <a:pt x="3537" y="2284"/>
                    </a:lnTo>
                    <a:lnTo>
                      <a:pt x="3547" y="2235"/>
                    </a:lnTo>
                    <a:lnTo>
                      <a:pt x="3554" y="2185"/>
                    </a:lnTo>
                    <a:lnTo>
                      <a:pt x="3560" y="2134"/>
                    </a:lnTo>
                    <a:lnTo>
                      <a:pt x="3560" y="2134"/>
                    </a:lnTo>
                    <a:lnTo>
                      <a:pt x="3562" y="2095"/>
                    </a:lnTo>
                    <a:lnTo>
                      <a:pt x="3562" y="2054"/>
                    </a:lnTo>
                    <a:lnTo>
                      <a:pt x="3562" y="2014"/>
                    </a:lnTo>
                    <a:lnTo>
                      <a:pt x="3562" y="1977"/>
                    </a:lnTo>
                    <a:lnTo>
                      <a:pt x="3558" y="1938"/>
                    </a:lnTo>
                    <a:lnTo>
                      <a:pt x="3554" y="1900"/>
                    </a:lnTo>
                    <a:lnTo>
                      <a:pt x="3550" y="1865"/>
                    </a:lnTo>
                    <a:lnTo>
                      <a:pt x="3545" y="1827"/>
                    </a:lnTo>
                    <a:lnTo>
                      <a:pt x="3530" y="1758"/>
                    </a:lnTo>
                    <a:lnTo>
                      <a:pt x="3511" y="1691"/>
                    </a:lnTo>
                    <a:lnTo>
                      <a:pt x="3491" y="1625"/>
                    </a:lnTo>
                    <a:lnTo>
                      <a:pt x="3464" y="1564"/>
                    </a:lnTo>
                    <a:lnTo>
                      <a:pt x="3438" y="1506"/>
                    </a:lnTo>
                    <a:lnTo>
                      <a:pt x="3408" y="1449"/>
                    </a:lnTo>
                    <a:lnTo>
                      <a:pt x="3376" y="1397"/>
                    </a:lnTo>
                    <a:lnTo>
                      <a:pt x="3345" y="1347"/>
                    </a:lnTo>
                    <a:lnTo>
                      <a:pt x="3311" y="1300"/>
                    </a:lnTo>
                    <a:lnTo>
                      <a:pt x="3275" y="1257"/>
                    </a:lnTo>
                    <a:lnTo>
                      <a:pt x="3240" y="1217"/>
                    </a:lnTo>
                    <a:lnTo>
                      <a:pt x="3204" y="1182"/>
                    </a:lnTo>
                    <a:lnTo>
                      <a:pt x="3204" y="1182"/>
                    </a:lnTo>
                    <a:lnTo>
                      <a:pt x="3165" y="1146"/>
                    </a:lnTo>
                    <a:lnTo>
                      <a:pt x="3122" y="1111"/>
                    </a:lnTo>
                    <a:lnTo>
                      <a:pt x="3077" y="1079"/>
                    </a:lnTo>
                    <a:lnTo>
                      <a:pt x="3029" y="1047"/>
                    </a:lnTo>
                    <a:lnTo>
                      <a:pt x="2976" y="1017"/>
                    </a:lnTo>
                    <a:lnTo>
                      <a:pt x="2922" y="989"/>
                    </a:lnTo>
                    <a:lnTo>
                      <a:pt x="2864" y="965"/>
                    </a:lnTo>
                    <a:lnTo>
                      <a:pt x="2806" y="942"/>
                    </a:lnTo>
                    <a:lnTo>
                      <a:pt x="2744" y="922"/>
                    </a:lnTo>
                    <a:lnTo>
                      <a:pt x="2681" y="905"/>
                    </a:lnTo>
                    <a:lnTo>
                      <a:pt x="2615" y="890"/>
                    </a:lnTo>
                    <a:lnTo>
                      <a:pt x="2548" y="881"/>
                    </a:lnTo>
                    <a:lnTo>
                      <a:pt x="2480" y="873"/>
                    </a:lnTo>
                    <a:lnTo>
                      <a:pt x="2411" y="869"/>
                    </a:lnTo>
                    <a:lnTo>
                      <a:pt x="2342" y="871"/>
                    </a:lnTo>
                    <a:lnTo>
                      <a:pt x="2271" y="877"/>
                    </a:lnTo>
                    <a:lnTo>
                      <a:pt x="2271" y="877"/>
                    </a:lnTo>
                    <a:lnTo>
                      <a:pt x="2219" y="883"/>
                    </a:lnTo>
                    <a:lnTo>
                      <a:pt x="2168" y="892"/>
                    </a:lnTo>
                    <a:lnTo>
                      <a:pt x="2119" y="903"/>
                    </a:lnTo>
                    <a:lnTo>
                      <a:pt x="2069" y="916"/>
                    </a:lnTo>
                    <a:lnTo>
                      <a:pt x="2020" y="931"/>
                    </a:lnTo>
                    <a:lnTo>
                      <a:pt x="1974" y="946"/>
                    </a:lnTo>
                    <a:lnTo>
                      <a:pt x="1927" y="965"/>
                    </a:lnTo>
                    <a:lnTo>
                      <a:pt x="1882" y="985"/>
                    </a:lnTo>
                    <a:lnTo>
                      <a:pt x="1837" y="1008"/>
                    </a:lnTo>
                    <a:lnTo>
                      <a:pt x="1794" y="1032"/>
                    </a:lnTo>
                    <a:lnTo>
                      <a:pt x="1753" y="1058"/>
                    </a:lnTo>
                    <a:lnTo>
                      <a:pt x="1712" y="1085"/>
                    </a:lnTo>
                    <a:lnTo>
                      <a:pt x="1672" y="1115"/>
                    </a:lnTo>
                    <a:lnTo>
                      <a:pt x="1635" y="1144"/>
                    </a:lnTo>
                    <a:lnTo>
                      <a:pt x="1598" y="1176"/>
                    </a:lnTo>
                    <a:lnTo>
                      <a:pt x="1562" y="1210"/>
                    </a:lnTo>
                    <a:lnTo>
                      <a:pt x="1528" y="1244"/>
                    </a:lnTo>
                    <a:lnTo>
                      <a:pt x="1497" y="1281"/>
                    </a:lnTo>
                    <a:lnTo>
                      <a:pt x="1465" y="1318"/>
                    </a:lnTo>
                    <a:lnTo>
                      <a:pt x="1437" y="1358"/>
                    </a:lnTo>
                    <a:lnTo>
                      <a:pt x="1409" y="1397"/>
                    </a:lnTo>
                    <a:lnTo>
                      <a:pt x="1384" y="1438"/>
                    </a:lnTo>
                    <a:lnTo>
                      <a:pt x="1360" y="1481"/>
                    </a:lnTo>
                    <a:lnTo>
                      <a:pt x="1338" y="1526"/>
                    </a:lnTo>
                    <a:lnTo>
                      <a:pt x="1319" y="1571"/>
                    </a:lnTo>
                    <a:lnTo>
                      <a:pt x="1300" y="1616"/>
                    </a:lnTo>
                    <a:lnTo>
                      <a:pt x="1285" y="1663"/>
                    </a:lnTo>
                    <a:lnTo>
                      <a:pt x="1270" y="1711"/>
                    </a:lnTo>
                    <a:lnTo>
                      <a:pt x="1259" y="1760"/>
                    </a:lnTo>
                    <a:lnTo>
                      <a:pt x="1250" y="1809"/>
                    </a:lnTo>
                    <a:lnTo>
                      <a:pt x="1242" y="1859"/>
                    </a:lnTo>
                    <a:lnTo>
                      <a:pt x="1236" y="1911"/>
                    </a:lnTo>
                    <a:lnTo>
                      <a:pt x="1236" y="191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0" name="Freeform 39"/>
              <p:cNvSpPr>
                <a:spLocks/>
              </p:cNvSpPr>
              <p:nvPr/>
            </p:nvSpPr>
            <p:spPr bwMode="auto">
              <a:xfrm rot="3600000">
                <a:off x="3691344" y="6632890"/>
                <a:ext cx="35926" cy="129017"/>
              </a:xfrm>
              <a:custGeom>
                <a:avLst/>
                <a:gdLst>
                  <a:gd name="T0" fmla="*/ 939 w 954"/>
                  <a:gd name="T1" fmla="*/ 77 h 3425"/>
                  <a:gd name="T2" fmla="*/ 937 w 954"/>
                  <a:gd name="T3" fmla="*/ 288 h 3425"/>
                  <a:gd name="T4" fmla="*/ 952 w 954"/>
                  <a:gd name="T5" fmla="*/ 627 h 3425"/>
                  <a:gd name="T6" fmla="*/ 952 w 954"/>
                  <a:gd name="T7" fmla="*/ 819 h 3425"/>
                  <a:gd name="T8" fmla="*/ 930 w 954"/>
                  <a:gd name="T9" fmla="*/ 1001 h 3425"/>
                  <a:gd name="T10" fmla="*/ 892 w 954"/>
                  <a:gd name="T11" fmla="*/ 1126 h 3425"/>
                  <a:gd name="T12" fmla="*/ 819 w 954"/>
                  <a:gd name="T13" fmla="*/ 1311 h 3425"/>
                  <a:gd name="T14" fmla="*/ 776 w 954"/>
                  <a:gd name="T15" fmla="*/ 1442 h 3425"/>
                  <a:gd name="T16" fmla="*/ 756 w 954"/>
                  <a:gd name="T17" fmla="*/ 1554 h 3425"/>
                  <a:gd name="T18" fmla="*/ 748 w 954"/>
                  <a:gd name="T19" fmla="*/ 1650 h 3425"/>
                  <a:gd name="T20" fmla="*/ 752 w 954"/>
                  <a:gd name="T21" fmla="*/ 1820 h 3425"/>
                  <a:gd name="T22" fmla="*/ 759 w 954"/>
                  <a:gd name="T23" fmla="*/ 1891 h 3425"/>
                  <a:gd name="T24" fmla="*/ 787 w 954"/>
                  <a:gd name="T25" fmla="*/ 2020 h 3425"/>
                  <a:gd name="T26" fmla="*/ 853 w 954"/>
                  <a:gd name="T27" fmla="*/ 2205 h 3425"/>
                  <a:gd name="T28" fmla="*/ 903 w 954"/>
                  <a:gd name="T29" fmla="*/ 2348 h 3425"/>
                  <a:gd name="T30" fmla="*/ 943 w 954"/>
                  <a:gd name="T31" fmla="*/ 2525 h 3425"/>
                  <a:gd name="T32" fmla="*/ 954 w 954"/>
                  <a:gd name="T33" fmla="*/ 2716 h 3425"/>
                  <a:gd name="T34" fmla="*/ 944 w 954"/>
                  <a:gd name="T35" fmla="*/ 2987 h 3425"/>
                  <a:gd name="T36" fmla="*/ 933 w 954"/>
                  <a:gd name="T37" fmla="*/ 3348 h 3425"/>
                  <a:gd name="T38" fmla="*/ 918 w 954"/>
                  <a:gd name="T39" fmla="*/ 3425 h 3425"/>
                  <a:gd name="T40" fmla="*/ 872 w 954"/>
                  <a:gd name="T41" fmla="*/ 3421 h 3425"/>
                  <a:gd name="T42" fmla="*/ 812 w 954"/>
                  <a:gd name="T43" fmla="*/ 3399 h 3425"/>
                  <a:gd name="T44" fmla="*/ 735 w 954"/>
                  <a:gd name="T45" fmla="*/ 3341 h 3425"/>
                  <a:gd name="T46" fmla="*/ 677 w 954"/>
                  <a:gd name="T47" fmla="*/ 3290 h 3425"/>
                  <a:gd name="T48" fmla="*/ 574 w 954"/>
                  <a:gd name="T49" fmla="*/ 3187 h 3425"/>
                  <a:gd name="T50" fmla="*/ 479 w 954"/>
                  <a:gd name="T51" fmla="*/ 3075 h 3425"/>
                  <a:gd name="T52" fmla="*/ 387 w 954"/>
                  <a:gd name="T53" fmla="*/ 2952 h 3425"/>
                  <a:gd name="T54" fmla="*/ 303 w 954"/>
                  <a:gd name="T55" fmla="*/ 2819 h 3425"/>
                  <a:gd name="T56" fmla="*/ 226 w 954"/>
                  <a:gd name="T57" fmla="*/ 2679 h 3425"/>
                  <a:gd name="T58" fmla="*/ 159 w 954"/>
                  <a:gd name="T59" fmla="*/ 2529 h 3425"/>
                  <a:gd name="T60" fmla="*/ 103 w 954"/>
                  <a:gd name="T61" fmla="*/ 2370 h 3425"/>
                  <a:gd name="T62" fmla="*/ 58 w 954"/>
                  <a:gd name="T63" fmla="*/ 2205 h 3425"/>
                  <a:gd name="T64" fmla="*/ 24 w 954"/>
                  <a:gd name="T65" fmla="*/ 2031 h 3425"/>
                  <a:gd name="T66" fmla="*/ 4 w 954"/>
                  <a:gd name="T67" fmla="*/ 1852 h 3425"/>
                  <a:gd name="T68" fmla="*/ 0 w 954"/>
                  <a:gd name="T69" fmla="*/ 1715 h 3425"/>
                  <a:gd name="T70" fmla="*/ 9 w 954"/>
                  <a:gd name="T71" fmla="*/ 1496 h 3425"/>
                  <a:gd name="T72" fmla="*/ 37 w 954"/>
                  <a:gd name="T73" fmla="*/ 1291 h 3425"/>
                  <a:gd name="T74" fmla="*/ 84 w 954"/>
                  <a:gd name="T75" fmla="*/ 1098 h 3425"/>
                  <a:gd name="T76" fmla="*/ 148 w 954"/>
                  <a:gd name="T77" fmla="*/ 917 h 3425"/>
                  <a:gd name="T78" fmla="*/ 226 w 954"/>
                  <a:gd name="T79" fmla="*/ 748 h 3425"/>
                  <a:gd name="T80" fmla="*/ 318 w 954"/>
                  <a:gd name="T81" fmla="*/ 589 h 3425"/>
                  <a:gd name="T82" fmla="*/ 419 w 954"/>
                  <a:gd name="T83" fmla="*/ 443 h 3425"/>
                  <a:gd name="T84" fmla="*/ 529 w 954"/>
                  <a:gd name="T85" fmla="*/ 309 h 3425"/>
                  <a:gd name="T86" fmla="*/ 647 w 954"/>
                  <a:gd name="T87" fmla="*/ 183 h 3425"/>
                  <a:gd name="T88" fmla="*/ 771 w 954"/>
                  <a:gd name="T89" fmla="*/ 71 h 3425"/>
                  <a:gd name="T90" fmla="*/ 821 w 954"/>
                  <a:gd name="T91" fmla="*/ 28 h 3425"/>
                  <a:gd name="T92" fmla="*/ 864 w 954"/>
                  <a:gd name="T93" fmla="*/ 7 h 3425"/>
                  <a:gd name="T94" fmla="*/ 922 w 954"/>
                  <a:gd name="T95" fmla="*/ 2 h 3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4" h="3425">
                    <a:moveTo>
                      <a:pt x="944" y="6"/>
                    </a:moveTo>
                    <a:lnTo>
                      <a:pt x="944" y="6"/>
                    </a:lnTo>
                    <a:lnTo>
                      <a:pt x="939" y="77"/>
                    </a:lnTo>
                    <a:lnTo>
                      <a:pt x="937" y="148"/>
                    </a:lnTo>
                    <a:lnTo>
                      <a:pt x="935" y="217"/>
                    </a:lnTo>
                    <a:lnTo>
                      <a:pt x="937" y="288"/>
                    </a:lnTo>
                    <a:lnTo>
                      <a:pt x="943" y="425"/>
                    </a:lnTo>
                    <a:lnTo>
                      <a:pt x="950" y="559"/>
                    </a:lnTo>
                    <a:lnTo>
                      <a:pt x="952" y="627"/>
                    </a:lnTo>
                    <a:lnTo>
                      <a:pt x="954" y="690"/>
                    </a:lnTo>
                    <a:lnTo>
                      <a:pt x="954" y="756"/>
                    </a:lnTo>
                    <a:lnTo>
                      <a:pt x="952" y="819"/>
                    </a:lnTo>
                    <a:lnTo>
                      <a:pt x="948" y="881"/>
                    </a:lnTo>
                    <a:lnTo>
                      <a:pt x="941" y="941"/>
                    </a:lnTo>
                    <a:lnTo>
                      <a:pt x="930" y="1001"/>
                    </a:lnTo>
                    <a:lnTo>
                      <a:pt x="915" y="1061"/>
                    </a:lnTo>
                    <a:lnTo>
                      <a:pt x="915" y="1061"/>
                    </a:lnTo>
                    <a:lnTo>
                      <a:pt x="892" y="1126"/>
                    </a:lnTo>
                    <a:lnTo>
                      <a:pt x="868" y="1190"/>
                    </a:lnTo>
                    <a:lnTo>
                      <a:pt x="843" y="1250"/>
                    </a:lnTo>
                    <a:lnTo>
                      <a:pt x="819" y="1311"/>
                    </a:lnTo>
                    <a:lnTo>
                      <a:pt x="795" y="1375"/>
                    </a:lnTo>
                    <a:lnTo>
                      <a:pt x="785" y="1407"/>
                    </a:lnTo>
                    <a:lnTo>
                      <a:pt x="776" y="1442"/>
                    </a:lnTo>
                    <a:lnTo>
                      <a:pt x="769" y="1478"/>
                    </a:lnTo>
                    <a:lnTo>
                      <a:pt x="761" y="1515"/>
                    </a:lnTo>
                    <a:lnTo>
                      <a:pt x="756" y="1554"/>
                    </a:lnTo>
                    <a:lnTo>
                      <a:pt x="752" y="1597"/>
                    </a:lnTo>
                    <a:lnTo>
                      <a:pt x="752" y="1597"/>
                    </a:lnTo>
                    <a:lnTo>
                      <a:pt x="748" y="1650"/>
                    </a:lnTo>
                    <a:lnTo>
                      <a:pt x="748" y="1704"/>
                    </a:lnTo>
                    <a:lnTo>
                      <a:pt x="748" y="1760"/>
                    </a:lnTo>
                    <a:lnTo>
                      <a:pt x="752" y="1820"/>
                    </a:lnTo>
                    <a:lnTo>
                      <a:pt x="752" y="1820"/>
                    </a:lnTo>
                    <a:lnTo>
                      <a:pt x="756" y="1856"/>
                    </a:lnTo>
                    <a:lnTo>
                      <a:pt x="759" y="1891"/>
                    </a:lnTo>
                    <a:lnTo>
                      <a:pt x="765" y="1925"/>
                    </a:lnTo>
                    <a:lnTo>
                      <a:pt x="772" y="1957"/>
                    </a:lnTo>
                    <a:lnTo>
                      <a:pt x="787" y="2020"/>
                    </a:lnTo>
                    <a:lnTo>
                      <a:pt x="808" y="2080"/>
                    </a:lnTo>
                    <a:lnTo>
                      <a:pt x="830" y="2142"/>
                    </a:lnTo>
                    <a:lnTo>
                      <a:pt x="853" y="2205"/>
                    </a:lnTo>
                    <a:lnTo>
                      <a:pt x="879" y="2275"/>
                    </a:lnTo>
                    <a:lnTo>
                      <a:pt x="903" y="2348"/>
                    </a:lnTo>
                    <a:lnTo>
                      <a:pt x="903" y="2348"/>
                    </a:lnTo>
                    <a:lnTo>
                      <a:pt x="920" y="2406"/>
                    </a:lnTo>
                    <a:lnTo>
                      <a:pt x="933" y="2465"/>
                    </a:lnTo>
                    <a:lnTo>
                      <a:pt x="943" y="2525"/>
                    </a:lnTo>
                    <a:lnTo>
                      <a:pt x="948" y="2587"/>
                    </a:lnTo>
                    <a:lnTo>
                      <a:pt x="952" y="2651"/>
                    </a:lnTo>
                    <a:lnTo>
                      <a:pt x="954" y="2716"/>
                    </a:lnTo>
                    <a:lnTo>
                      <a:pt x="954" y="2782"/>
                    </a:lnTo>
                    <a:lnTo>
                      <a:pt x="952" y="2849"/>
                    </a:lnTo>
                    <a:lnTo>
                      <a:pt x="944" y="2987"/>
                    </a:lnTo>
                    <a:lnTo>
                      <a:pt x="939" y="3128"/>
                    </a:lnTo>
                    <a:lnTo>
                      <a:pt x="933" y="3274"/>
                    </a:lnTo>
                    <a:lnTo>
                      <a:pt x="933" y="3348"/>
                    </a:lnTo>
                    <a:lnTo>
                      <a:pt x="933" y="3423"/>
                    </a:lnTo>
                    <a:lnTo>
                      <a:pt x="933" y="3423"/>
                    </a:lnTo>
                    <a:lnTo>
                      <a:pt x="918" y="3425"/>
                    </a:lnTo>
                    <a:lnTo>
                      <a:pt x="901" y="3425"/>
                    </a:lnTo>
                    <a:lnTo>
                      <a:pt x="886" y="3425"/>
                    </a:lnTo>
                    <a:lnTo>
                      <a:pt x="872" y="3421"/>
                    </a:lnTo>
                    <a:lnTo>
                      <a:pt x="855" y="3418"/>
                    </a:lnTo>
                    <a:lnTo>
                      <a:pt x="842" y="3412"/>
                    </a:lnTo>
                    <a:lnTo>
                      <a:pt x="812" y="3399"/>
                    </a:lnTo>
                    <a:lnTo>
                      <a:pt x="785" y="3382"/>
                    </a:lnTo>
                    <a:lnTo>
                      <a:pt x="759" y="3361"/>
                    </a:lnTo>
                    <a:lnTo>
                      <a:pt x="735" y="3341"/>
                    </a:lnTo>
                    <a:lnTo>
                      <a:pt x="711" y="3320"/>
                    </a:lnTo>
                    <a:lnTo>
                      <a:pt x="711" y="3320"/>
                    </a:lnTo>
                    <a:lnTo>
                      <a:pt x="677" y="3290"/>
                    </a:lnTo>
                    <a:lnTo>
                      <a:pt x="641" y="3257"/>
                    </a:lnTo>
                    <a:lnTo>
                      <a:pt x="608" y="3223"/>
                    </a:lnTo>
                    <a:lnTo>
                      <a:pt x="574" y="3187"/>
                    </a:lnTo>
                    <a:lnTo>
                      <a:pt x="542" y="3150"/>
                    </a:lnTo>
                    <a:lnTo>
                      <a:pt x="510" y="3113"/>
                    </a:lnTo>
                    <a:lnTo>
                      <a:pt x="479" y="3075"/>
                    </a:lnTo>
                    <a:lnTo>
                      <a:pt x="447" y="3034"/>
                    </a:lnTo>
                    <a:lnTo>
                      <a:pt x="417" y="2995"/>
                    </a:lnTo>
                    <a:lnTo>
                      <a:pt x="387" y="2952"/>
                    </a:lnTo>
                    <a:lnTo>
                      <a:pt x="359" y="2909"/>
                    </a:lnTo>
                    <a:lnTo>
                      <a:pt x="331" y="2866"/>
                    </a:lnTo>
                    <a:lnTo>
                      <a:pt x="303" y="2819"/>
                    </a:lnTo>
                    <a:lnTo>
                      <a:pt x="277" y="2774"/>
                    </a:lnTo>
                    <a:lnTo>
                      <a:pt x="250" y="2727"/>
                    </a:lnTo>
                    <a:lnTo>
                      <a:pt x="226" y="2679"/>
                    </a:lnTo>
                    <a:lnTo>
                      <a:pt x="204" y="2630"/>
                    </a:lnTo>
                    <a:lnTo>
                      <a:pt x="181" y="2580"/>
                    </a:lnTo>
                    <a:lnTo>
                      <a:pt x="159" y="2529"/>
                    </a:lnTo>
                    <a:lnTo>
                      <a:pt x="140" y="2477"/>
                    </a:lnTo>
                    <a:lnTo>
                      <a:pt x="120" y="2424"/>
                    </a:lnTo>
                    <a:lnTo>
                      <a:pt x="103" y="2370"/>
                    </a:lnTo>
                    <a:lnTo>
                      <a:pt x="86" y="2316"/>
                    </a:lnTo>
                    <a:lnTo>
                      <a:pt x="71" y="2262"/>
                    </a:lnTo>
                    <a:lnTo>
                      <a:pt x="58" y="2205"/>
                    </a:lnTo>
                    <a:lnTo>
                      <a:pt x="45" y="2147"/>
                    </a:lnTo>
                    <a:lnTo>
                      <a:pt x="33" y="2089"/>
                    </a:lnTo>
                    <a:lnTo>
                      <a:pt x="24" y="2031"/>
                    </a:lnTo>
                    <a:lnTo>
                      <a:pt x="17" y="1972"/>
                    </a:lnTo>
                    <a:lnTo>
                      <a:pt x="9" y="1912"/>
                    </a:lnTo>
                    <a:lnTo>
                      <a:pt x="4" y="1852"/>
                    </a:lnTo>
                    <a:lnTo>
                      <a:pt x="2" y="1790"/>
                    </a:lnTo>
                    <a:lnTo>
                      <a:pt x="2" y="1790"/>
                    </a:lnTo>
                    <a:lnTo>
                      <a:pt x="0" y="1715"/>
                    </a:lnTo>
                    <a:lnTo>
                      <a:pt x="0" y="1640"/>
                    </a:lnTo>
                    <a:lnTo>
                      <a:pt x="4" y="1568"/>
                    </a:lnTo>
                    <a:lnTo>
                      <a:pt x="9" y="1496"/>
                    </a:lnTo>
                    <a:lnTo>
                      <a:pt x="17" y="1427"/>
                    </a:lnTo>
                    <a:lnTo>
                      <a:pt x="26" y="1358"/>
                    </a:lnTo>
                    <a:lnTo>
                      <a:pt x="37" y="1291"/>
                    </a:lnTo>
                    <a:lnTo>
                      <a:pt x="52" y="1225"/>
                    </a:lnTo>
                    <a:lnTo>
                      <a:pt x="67" y="1162"/>
                    </a:lnTo>
                    <a:lnTo>
                      <a:pt x="84" y="1098"/>
                    </a:lnTo>
                    <a:lnTo>
                      <a:pt x="105" y="1036"/>
                    </a:lnTo>
                    <a:lnTo>
                      <a:pt x="125" y="976"/>
                    </a:lnTo>
                    <a:lnTo>
                      <a:pt x="148" y="917"/>
                    </a:lnTo>
                    <a:lnTo>
                      <a:pt x="174" y="859"/>
                    </a:lnTo>
                    <a:lnTo>
                      <a:pt x="200" y="802"/>
                    </a:lnTo>
                    <a:lnTo>
                      <a:pt x="226" y="748"/>
                    </a:lnTo>
                    <a:lnTo>
                      <a:pt x="256" y="694"/>
                    </a:lnTo>
                    <a:lnTo>
                      <a:pt x="286" y="642"/>
                    </a:lnTo>
                    <a:lnTo>
                      <a:pt x="318" y="589"/>
                    </a:lnTo>
                    <a:lnTo>
                      <a:pt x="350" y="541"/>
                    </a:lnTo>
                    <a:lnTo>
                      <a:pt x="385" y="490"/>
                    </a:lnTo>
                    <a:lnTo>
                      <a:pt x="419" y="443"/>
                    </a:lnTo>
                    <a:lnTo>
                      <a:pt x="456" y="396"/>
                    </a:lnTo>
                    <a:lnTo>
                      <a:pt x="492" y="352"/>
                    </a:lnTo>
                    <a:lnTo>
                      <a:pt x="529" y="309"/>
                    </a:lnTo>
                    <a:lnTo>
                      <a:pt x="568" y="266"/>
                    </a:lnTo>
                    <a:lnTo>
                      <a:pt x="608" y="224"/>
                    </a:lnTo>
                    <a:lnTo>
                      <a:pt x="647" y="183"/>
                    </a:lnTo>
                    <a:lnTo>
                      <a:pt x="688" y="146"/>
                    </a:lnTo>
                    <a:lnTo>
                      <a:pt x="729" y="107"/>
                    </a:lnTo>
                    <a:lnTo>
                      <a:pt x="771" y="71"/>
                    </a:lnTo>
                    <a:lnTo>
                      <a:pt x="812" y="35"/>
                    </a:lnTo>
                    <a:lnTo>
                      <a:pt x="812" y="35"/>
                    </a:lnTo>
                    <a:lnTo>
                      <a:pt x="821" y="28"/>
                    </a:lnTo>
                    <a:lnTo>
                      <a:pt x="834" y="20"/>
                    </a:lnTo>
                    <a:lnTo>
                      <a:pt x="847" y="13"/>
                    </a:lnTo>
                    <a:lnTo>
                      <a:pt x="864" y="7"/>
                    </a:lnTo>
                    <a:lnTo>
                      <a:pt x="881" y="4"/>
                    </a:lnTo>
                    <a:lnTo>
                      <a:pt x="901" y="0"/>
                    </a:lnTo>
                    <a:lnTo>
                      <a:pt x="922" y="2"/>
                    </a:lnTo>
                    <a:lnTo>
                      <a:pt x="944" y="6"/>
                    </a:lnTo>
                    <a:lnTo>
                      <a:pt x="944" y="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1" name="Freeform 41"/>
              <p:cNvSpPr>
                <a:spLocks noEditPoints="1"/>
              </p:cNvSpPr>
              <p:nvPr/>
            </p:nvSpPr>
            <p:spPr bwMode="auto">
              <a:xfrm rot="3600000">
                <a:off x="3706435" y="6718647"/>
                <a:ext cx="71024" cy="7027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232" name="Group 1231"/>
              <p:cNvGrpSpPr/>
              <p:nvPr/>
            </p:nvGrpSpPr>
            <p:grpSpPr>
              <a:xfrm>
                <a:off x="3719266" y="6731404"/>
                <a:ext cx="44973" cy="45154"/>
                <a:chOff x="3719266" y="6731404"/>
                <a:chExt cx="44973" cy="45154"/>
              </a:xfrm>
              <a:solidFill>
                <a:schemeClr val="tx1"/>
              </a:solidFill>
            </p:grpSpPr>
            <p:sp>
              <p:nvSpPr>
                <p:cNvPr id="1233" name="Freeform 42"/>
                <p:cNvSpPr>
                  <a:spLocks/>
                </p:cNvSpPr>
                <p:nvPr/>
              </p:nvSpPr>
              <p:spPr bwMode="auto">
                <a:xfrm rot="3600000">
                  <a:off x="3757309" y="6739112"/>
                  <a:ext cx="6779" cy="708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4" name="Freeform 43"/>
                <p:cNvSpPr>
                  <a:spLocks/>
                </p:cNvSpPr>
                <p:nvPr/>
              </p:nvSpPr>
              <p:spPr bwMode="auto">
                <a:xfrm rot="3600000">
                  <a:off x="3731820" y="6743963"/>
                  <a:ext cx="19658" cy="198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5" name="Freeform 44"/>
                <p:cNvSpPr>
                  <a:spLocks/>
                </p:cNvSpPr>
                <p:nvPr/>
              </p:nvSpPr>
              <p:spPr bwMode="auto">
                <a:xfrm rot="3600000">
                  <a:off x="3727469" y="6731254"/>
                  <a:ext cx="6553" cy="68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6" name="Freeform 45"/>
                <p:cNvSpPr>
                  <a:spLocks/>
                </p:cNvSpPr>
                <p:nvPr/>
              </p:nvSpPr>
              <p:spPr bwMode="auto">
                <a:xfrm rot="3600000">
                  <a:off x="3749490" y="6769667"/>
                  <a:ext cx="6779" cy="700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37" name="Freeform 46"/>
                <p:cNvSpPr>
                  <a:spLocks/>
                </p:cNvSpPr>
                <p:nvPr/>
              </p:nvSpPr>
              <p:spPr bwMode="auto">
                <a:xfrm rot="3600000">
                  <a:off x="3719265" y="6761488"/>
                  <a:ext cx="6779" cy="677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1227" name="Diagonal Stripe 1226"/>
            <p:cNvSpPr/>
            <p:nvPr/>
          </p:nvSpPr>
          <p:spPr bwMode="auto">
            <a:xfrm>
              <a:off x="4459584" y="7463873"/>
              <a:ext cx="144187" cy="131819"/>
            </a:xfrm>
            <a:prstGeom prst="diagStripe">
              <a:avLst>
                <a:gd name="adj" fmla="val 5643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8" name="Freeform 1227"/>
            <p:cNvSpPr/>
            <p:nvPr/>
          </p:nvSpPr>
          <p:spPr bwMode="auto">
            <a:xfrm flipH="1">
              <a:off x="4564292" y="7423326"/>
              <a:ext cx="72717" cy="71037"/>
            </a:xfrm>
            <a:custGeom>
              <a:avLst/>
              <a:gdLst>
                <a:gd name="connsiteX0" fmla="*/ 176028 w 346361"/>
                <a:gd name="connsiteY0" fmla="*/ 306019 h 307598"/>
                <a:gd name="connsiteX1" fmla="*/ 103292 w 346361"/>
                <a:gd name="connsiteY1" fmla="*/ 288701 h 307598"/>
                <a:gd name="connsiteX2" fmla="*/ 51338 w 346361"/>
                <a:gd name="connsiteY2" fmla="*/ 226356 h 307598"/>
                <a:gd name="connsiteX3" fmla="*/ 2847 w 346361"/>
                <a:gd name="connsiteY3" fmla="*/ 184792 h 307598"/>
                <a:gd name="connsiteX4" fmla="*/ 13238 w 346361"/>
                <a:gd name="connsiteY4" fmla="*/ 136301 h 307598"/>
                <a:gd name="connsiteX5" fmla="*/ 75583 w 346361"/>
                <a:gd name="connsiteY5" fmla="*/ 67029 h 307598"/>
                <a:gd name="connsiteX6" fmla="*/ 193347 w 346361"/>
                <a:gd name="connsiteY6" fmla="*/ 8147 h 307598"/>
                <a:gd name="connsiteX7" fmla="*/ 293792 w 346361"/>
                <a:gd name="connsiteY7" fmla="*/ 1219 h 307598"/>
                <a:gd name="connsiteX8" fmla="*/ 318038 w 346361"/>
                <a:gd name="connsiteY8" fmla="*/ 15074 h 307598"/>
                <a:gd name="connsiteX9" fmla="*/ 338819 w 346361"/>
                <a:gd name="connsiteY9" fmla="*/ 91274 h 307598"/>
                <a:gd name="connsiteX10" fmla="*/ 345747 w 346361"/>
                <a:gd name="connsiteY10" fmla="*/ 150156 h 307598"/>
                <a:gd name="connsiteX11" fmla="*/ 324965 w 346361"/>
                <a:gd name="connsiteY11" fmla="*/ 271383 h 307598"/>
                <a:gd name="connsiteX12" fmla="*/ 314574 w 346361"/>
                <a:gd name="connsiteY12" fmla="*/ 295629 h 307598"/>
                <a:gd name="connsiteX13" fmla="*/ 248765 w 346361"/>
                <a:gd name="connsiteY13" fmla="*/ 306019 h 307598"/>
                <a:gd name="connsiteX14" fmla="*/ 176028 w 346361"/>
                <a:gd name="connsiteY14" fmla="*/ 306019 h 307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6361" h="307598">
                  <a:moveTo>
                    <a:pt x="176028" y="306019"/>
                  </a:moveTo>
                  <a:cubicBezTo>
                    <a:pt x="151783" y="303133"/>
                    <a:pt x="124074" y="301978"/>
                    <a:pt x="103292" y="288701"/>
                  </a:cubicBezTo>
                  <a:cubicBezTo>
                    <a:pt x="82510" y="275424"/>
                    <a:pt x="68079" y="243674"/>
                    <a:pt x="51338" y="226356"/>
                  </a:cubicBezTo>
                  <a:cubicBezTo>
                    <a:pt x="34597" y="209038"/>
                    <a:pt x="9197" y="199801"/>
                    <a:pt x="2847" y="184792"/>
                  </a:cubicBezTo>
                  <a:cubicBezTo>
                    <a:pt x="-3503" y="169783"/>
                    <a:pt x="1115" y="155928"/>
                    <a:pt x="13238" y="136301"/>
                  </a:cubicBezTo>
                  <a:cubicBezTo>
                    <a:pt x="25361" y="116674"/>
                    <a:pt x="45565" y="88388"/>
                    <a:pt x="75583" y="67029"/>
                  </a:cubicBezTo>
                  <a:cubicBezTo>
                    <a:pt x="105601" y="45670"/>
                    <a:pt x="156979" y="19115"/>
                    <a:pt x="193347" y="8147"/>
                  </a:cubicBezTo>
                  <a:cubicBezTo>
                    <a:pt x="229715" y="-2821"/>
                    <a:pt x="273010" y="65"/>
                    <a:pt x="293792" y="1219"/>
                  </a:cubicBezTo>
                  <a:cubicBezTo>
                    <a:pt x="314574" y="2373"/>
                    <a:pt x="310534" y="65"/>
                    <a:pt x="318038" y="15074"/>
                  </a:cubicBezTo>
                  <a:cubicBezTo>
                    <a:pt x="325543" y="30083"/>
                    <a:pt x="334201" y="68760"/>
                    <a:pt x="338819" y="91274"/>
                  </a:cubicBezTo>
                  <a:cubicBezTo>
                    <a:pt x="343437" y="113788"/>
                    <a:pt x="348056" y="120138"/>
                    <a:pt x="345747" y="150156"/>
                  </a:cubicBezTo>
                  <a:cubicBezTo>
                    <a:pt x="343438" y="180174"/>
                    <a:pt x="330160" y="247138"/>
                    <a:pt x="324965" y="271383"/>
                  </a:cubicBezTo>
                  <a:cubicBezTo>
                    <a:pt x="319770" y="295628"/>
                    <a:pt x="327274" y="289856"/>
                    <a:pt x="314574" y="295629"/>
                  </a:cubicBezTo>
                  <a:cubicBezTo>
                    <a:pt x="301874" y="301402"/>
                    <a:pt x="271856" y="304865"/>
                    <a:pt x="248765" y="306019"/>
                  </a:cubicBezTo>
                  <a:cubicBezTo>
                    <a:pt x="225674" y="307173"/>
                    <a:pt x="200273" y="308905"/>
                    <a:pt x="176028" y="306019"/>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190" name="Freeform 12"/>
          <p:cNvSpPr>
            <a:spLocks/>
          </p:cNvSpPr>
          <p:nvPr/>
        </p:nvSpPr>
        <p:spPr bwMode="auto">
          <a:xfrm flipH="1">
            <a:off x="999402" y="3828603"/>
            <a:ext cx="367910" cy="379410"/>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1" name="Trapezoid 1190"/>
          <p:cNvSpPr/>
          <p:nvPr/>
        </p:nvSpPr>
        <p:spPr bwMode="auto">
          <a:xfrm>
            <a:off x="1036125" y="4173573"/>
            <a:ext cx="299473" cy="73553"/>
          </a:xfrm>
          <a:prstGeom prst="trapezoid">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92" name="Freeform 29"/>
          <p:cNvSpPr>
            <a:spLocks noEditPoints="1"/>
          </p:cNvSpPr>
          <p:nvPr/>
        </p:nvSpPr>
        <p:spPr bwMode="auto">
          <a:xfrm>
            <a:off x="1461753" y="3595125"/>
            <a:ext cx="135625" cy="91348"/>
          </a:xfrm>
          <a:custGeom>
            <a:avLst/>
            <a:gdLst>
              <a:gd name="T0" fmla="*/ 10 w 548"/>
              <a:gd name="T1" fmla="*/ 485 h 485"/>
              <a:gd name="T2" fmla="*/ 528 w 548"/>
              <a:gd name="T3" fmla="*/ 338 h 485"/>
              <a:gd name="T4" fmla="*/ 476 w 548"/>
              <a:gd name="T5" fmla="*/ 271 h 485"/>
              <a:gd name="T6" fmla="*/ 410 w 548"/>
              <a:gd name="T7" fmla="*/ 213 h 485"/>
              <a:gd name="T8" fmla="*/ 410 w 548"/>
              <a:gd name="T9" fmla="*/ 279 h 485"/>
              <a:gd name="T10" fmla="*/ 402 w 548"/>
              <a:gd name="T11" fmla="*/ 338 h 485"/>
              <a:gd name="T12" fmla="*/ 336 w 548"/>
              <a:gd name="T13" fmla="*/ 404 h 485"/>
              <a:gd name="T14" fmla="*/ 212 w 548"/>
              <a:gd name="T15" fmla="*/ 404 h 485"/>
              <a:gd name="T16" fmla="*/ 146 w 548"/>
              <a:gd name="T17" fmla="*/ 346 h 485"/>
              <a:gd name="T18" fmla="*/ 146 w 548"/>
              <a:gd name="T19" fmla="*/ 412 h 485"/>
              <a:gd name="T20" fmla="*/ 212 w 548"/>
              <a:gd name="T21" fmla="*/ 412 h 485"/>
              <a:gd name="T22" fmla="*/ 344 w 548"/>
              <a:gd name="T23" fmla="*/ 412 h 485"/>
              <a:gd name="T24" fmla="*/ 468 w 548"/>
              <a:gd name="T25" fmla="*/ 412 h 485"/>
              <a:gd name="T26" fmla="*/ 468 w 548"/>
              <a:gd name="T27" fmla="*/ 346 h 485"/>
              <a:gd name="T28" fmla="*/ 476 w 548"/>
              <a:gd name="T29" fmla="*/ 404 h 485"/>
              <a:gd name="T30" fmla="*/ 270 w 548"/>
              <a:gd name="T31" fmla="*/ 72 h 485"/>
              <a:gd name="T32" fmla="*/ 204 w 548"/>
              <a:gd name="T33" fmla="*/ 72 h 485"/>
              <a:gd name="T34" fmla="*/ 204 w 548"/>
              <a:gd name="T35" fmla="*/ 138 h 485"/>
              <a:gd name="T36" fmla="*/ 80 w 548"/>
              <a:gd name="T37" fmla="*/ 20 h 485"/>
              <a:gd name="T38" fmla="*/ 80 w 548"/>
              <a:gd name="T39" fmla="*/ 80 h 485"/>
              <a:gd name="T40" fmla="*/ 72 w 548"/>
              <a:gd name="T41" fmla="*/ 138 h 485"/>
              <a:gd name="T42" fmla="*/ 20 w 548"/>
              <a:gd name="T43" fmla="*/ 279 h 485"/>
              <a:gd name="T44" fmla="*/ 20 w 548"/>
              <a:gd name="T45" fmla="*/ 213 h 485"/>
              <a:gd name="T46" fmla="*/ 138 w 548"/>
              <a:gd name="T47" fmla="*/ 271 h 485"/>
              <a:gd name="T48" fmla="*/ 138 w 548"/>
              <a:gd name="T49" fmla="*/ 205 h 485"/>
              <a:gd name="T50" fmla="*/ 146 w 548"/>
              <a:gd name="T51" fmla="*/ 146 h 485"/>
              <a:gd name="T52" fmla="*/ 212 w 548"/>
              <a:gd name="T53" fmla="*/ 138 h 485"/>
              <a:gd name="T54" fmla="*/ 336 w 548"/>
              <a:gd name="T55" fmla="*/ 80 h 485"/>
              <a:gd name="T56" fmla="*/ 402 w 548"/>
              <a:gd name="T57" fmla="*/ 138 h 485"/>
              <a:gd name="T58" fmla="*/ 402 w 548"/>
              <a:gd name="T59" fmla="*/ 72 h 485"/>
              <a:gd name="T60" fmla="*/ 72 w 548"/>
              <a:gd name="T61" fmla="*/ 20 h 485"/>
              <a:gd name="T62" fmla="*/ 389 w 548"/>
              <a:gd name="T63" fmla="*/ 209 h 485"/>
              <a:gd name="T64" fmla="*/ 505 w 548"/>
              <a:gd name="T65" fmla="*/ 76 h 485"/>
              <a:gd name="T66" fmla="*/ 504 w 548"/>
              <a:gd name="T67" fmla="*/ 70 h 485"/>
              <a:gd name="T68" fmla="*/ 500 w 548"/>
              <a:gd name="T69" fmla="*/ 66 h 485"/>
              <a:gd name="T70" fmla="*/ 493 w 548"/>
              <a:gd name="T71" fmla="*/ 64 h 485"/>
              <a:gd name="T72" fmla="*/ 429 w 548"/>
              <a:gd name="T73" fmla="*/ 90 h 485"/>
              <a:gd name="T74" fmla="*/ 249 w 548"/>
              <a:gd name="T75" fmla="*/ 278 h 485"/>
              <a:gd name="T76" fmla="*/ 41 w 548"/>
              <a:gd name="T77" fmla="*/ 412 h 485"/>
              <a:gd name="T78" fmla="*/ 80 w 548"/>
              <a:gd name="T79" fmla="*/ 364 h 485"/>
              <a:gd name="T80" fmla="*/ 138 w 548"/>
              <a:gd name="T81" fmla="*/ 279 h 485"/>
              <a:gd name="T82" fmla="*/ 146 w 548"/>
              <a:gd name="T83" fmla="*/ 271 h 485"/>
              <a:gd name="T84" fmla="*/ 270 w 548"/>
              <a:gd name="T85" fmla="*/ 213 h 485"/>
              <a:gd name="T86" fmla="*/ 278 w 548"/>
              <a:gd name="T87" fmla="*/ 205 h 485"/>
              <a:gd name="T88" fmla="*/ 344 w 548"/>
              <a:gd name="T89" fmla="*/ 146 h 485"/>
              <a:gd name="T90" fmla="*/ 418 w 548"/>
              <a:gd name="T91" fmla="*/ 138 h 485"/>
              <a:gd name="T92" fmla="*/ 410 w 548"/>
              <a:gd name="T93" fmla="*/ 20 h 485"/>
              <a:gd name="T94" fmla="*/ 528 w 548"/>
              <a:gd name="T95" fmla="*/ 72 h 485"/>
              <a:gd name="T96" fmla="*/ 528 w 548"/>
              <a:gd name="T97" fmla="*/ 80 h 485"/>
              <a:gd name="T98" fmla="*/ 476 w 548"/>
              <a:gd name="T99" fmla="*/ 205 h 485"/>
              <a:gd name="T100" fmla="*/ 468 w 548"/>
              <a:gd name="T101" fmla="*/ 205 h 485"/>
              <a:gd name="T102" fmla="*/ 344 w 548"/>
              <a:gd name="T103" fmla="*/ 218 h 485"/>
              <a:gd name="T104" fmla="*/ 336 w 548"/>
              <a:gd name="T105" fmla="*/ 338 h 485"/>
              <a:gd name="T106" fmla="*/ 212 w 548"/>
              <a:gd name="T107" fmla="*/ 293 h 485"/>
              <a:gd name="T108" fmla="*/ 99 w 548"/>
              <a:gd name="T109" fmla="*/ 404 h 485"/>
              <a:gd name="T110" fmla="*/ 72 w 548"/>
              <a:gd name="T111" fmla="*/ 438 h 485"/>
              <a:gd name="T112" fmla="*/ 528 w 548"/>
              <a:gd name="T113" fmla="*/ 41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8" h="485">
                <a:moveTo>
                  <a:pt x="538" y="0"/>
                </a:moveTo>
                <a:cubicBezTo>
                  <a:pt x="10" y="0"/>
                  <a:pt x="10" y="0"/>
                  <a:pt x="10" y="0"/>
                </a:cubicBezTo>
                <a:cubicBezTo>
                  <a:pt x="4" y="0"/>
                  <a:pt x="0" y="4"/>
                  <a:pt x="0" y="10"/>
                </a:cubicBezTo>
                <a:cubicBezTo>
                  <a:pt x="0" y="465"/>
                  <a:pt x="0" y="465"/>
                  <a:pt x="0" y="465"/>
                </a:cubicBezTo>
                <a:cubicBezTo>
                  <a:pt x="0" y="475"/>
                  <a:pt x="0" y="475"/>
                  <a:pt x="0" y="475"/>
                </a:cubicBezTo>
                <a:cubicBezTo>
                  <a:pt x="0" y="480"/>
                  <a:pt x="4" y="485"/>
                  <a:pt x="10" y="485"/>
                </a:cubicBezTo>
                <a:cubicBezTo>
                  <a:pt x="35" y="485"/>
                  <a:pt x="35" y="485"/>
                  <a:pt x="35" y="485"/>
                </a:cubicBezTo>
                <a:cubicBezTo>
                  <a:pt x="538" y="485"/>
                  <a:pt x="538" y="485"/>
                  <a:pt x="538" y="485"/>
                </a:cubicBezTo>
                <a:cubicBezTo>
                  <a:pt x="544" y="485"/>
                  <a:pt x="548" y="480"/>
                  <a:pt x="548" y="475"/>
                </a:cubicBezTo>
                <a:cubicBezTo>
                  <a:pt x="548" y="10"/>
                  <a:pt x="548" y="10"/>
                  <a:pt x="548" y="10"/>
                </a:cubicBezTo>
                <a:cubicBezTo>
                  <a:pt x="548" y="4"/>
                  <a:pt x="544" y="0"/>
                  <a:pt x="538" y="0"/>
                </a:cubicBezTo>
                <a:close/>
                <a:moveTo>
                  <a:pt x="528" y="338"/>
                </a:moveTo>
                <a:cubicBezTo>
                  <a:pt x="476" y="338"/>
                  <a:pt x="476" y="338"/>
                  <a:pt x="476" y="338"/>
                </a:cubicBezTo>
                <a:cubicBezTo>
                  <a:pt x="476" y="279"/>
                  <a:pt x="476" y="279"/>
                  <a:pt x="476" y="279"/>
                </a:cubicBezTo>
                <a:cubicBezTo>
                  <a:pt x="528" y="279"/>
                  <a:pt x="528" y="279"/>
                  <a:pt x="528" y="279"/>
                </a:cubicBezTo>
                <a:cubicBezTo>
                  <a:pt x="528" y="299"/>
                  <a:pt x="528" y="319"/>
                  <a:pt x="528" y="338"/>
                </a:cubicBezTo>
                <a:close/>
                <a:moveTo>
                  <a:pt x="528" y="271"/>
                </a:moveTo>
                <a:cubicBezTo>
                  <a:pt x="476" y="271"/>
                  <a:pt x="476" y="271"/>
                  <a:pt x="476" y="271"/>
                </a:cubicBezTo>
                <a:cubicBezTo>
                  <a:pt x="476" y="213"/>
                  <a:pt x="476" y="213"/>
                  <a:pt x="476" y="213"/>
                </a:cubicBezTo>
                <a:cubicBezTo>
                  <a:pt x="528" y="213"/>
                  <a:pt x="528" y="213"/>
                  <a:pt x="528" y="213"/>
                </a:cubicBezTo>
                <a:cubicBezTo>
                  <a:pt x="528" y="232"/>
                  <a:pt x="528" y="252"/>
                  <a:pt x="528" y="271"/>
                </a:cubicBezTo>
                <a:close/>
                <a:moveTo>
                  <a:pt x="468" y="271"/>
                </a:moveTo>
                <a:cubicBezTo>
                  <a:pt x="410" y="271"/>
                  <a:pt x="410" y="271"/>
                  <a:pt x="410" y="271"/>
                </a:cubicBezTo>
                <a:cubicBezTo>
                  <a:pt x="410" y="213"/>
                  <a:pt x="410" y="213"/>
                  <a:pt x="410" y="213"/>
                </a:cubicBezTo>
                <a:cubicBezTo>
                  <a:pt x="468" y="213"/>
                  <a:pt x="468" y="213"/>
                  <a:pt x="468" y="213"/>
                </a:cubicBezTo>
                <a:lnTo>
                  <a:pt x="468" y="271"/>
                </a:lnTo>
                <a:close/>
                <a:moveTo>
                  <a:pt x="468" y="279"/>
                </a:moveTo>
                <a:cubicBezTo>
                  <a:pt x="468" y="338"/>
                  <a:pt x="468" y="338"/>
                  <a:pt x="468" y="338"/>
                </a:cubicBezTo>
                <a:cubicBezTo>
                  <a:pt x="410" y="338"/>
                  <a:pt x="410" y="338"/>
                  <a:pt x="410" y="338"/>
                </a:cubicBezTo>
                <a:cubicBezTo>
                  <a:pt x="410" y="279"/>
                  <a:pt x="410" y="279"/>
                  <a:pt x="410" y="279"/>
                </a:cubicBezTo>
                <a:lnTo>
                  <a:pt x="468" y="279"/>
                </a:lnTo>
                <a:close/>
                <a:moveTo>
                  <a:pt x="402" y="338"/>
                </a:moveTo>
                <a:cubicBezTo>
                  <a:pt x="344" y="338"/>
                  <a:pt x="344" y="338"/>
                  <a:pt x="344" y="338"/>
                </a:cubicBezTo>
                <a:cubicBezTo>
                  <a:pt x="344" y="279"/>
                  <a:pt x="344" y="279"/>
                  <a:pt x="344" y="279"/>
                </a:cubicBezTo>
                <a:cubicBezTo>
                  <a:pt x="402" y="279"/>
                  <a:pt x="402" y="279"/>
                  <a:pt x="402" y="279"/>
                </a:cubicBezTo>
                <a:lnTo>
                  <a:pt x="402" y="338"/>
                </a:lnTo>
                <a:close/>
                <a:moveTo>
                  <a:pt x="402" y="346"/>
                </a:moveTo>
                <a:cubicBezTo>
                  <a:pt x="402" y="404"/>
                  <a:pt x="402" y="404"/>
                  <a:pt x="402" y="404"/>
                </a:cubicBezTo>
                <a:cubicBezTo>
                  <a:pt x="344" y="404"/>
                  <a:pt x="344" y="404"/>
                  <a:pt x="344" y="404"/>
                </a:cubicBezTo>
                <a:cubicBezTo>
                  <a:pt x="344" y="346"/>
                  <a:pt x="344" y="346"/>
                  <a:pt x="344" y="346"/>
                </a:cubicBezTo>
                <a:lnTo>
                  <a:pt x="402" y="346"/>
                </a:lnTo>
                <a:close/>
                <a:moveTo>
                  <a:pt x="336" y="404"/>
                </a:moveTo>
                <a:cubicBezTo>
                  <a:pt x="278" y="404"/>
                  <a:pt x="278" y="404"/>
                  <a:pt x="278" y="404"/>
                </a:cubicBezTo>
                <a:cubicBezTo>
                  <a:pt x="278" y="346"/>
                  <a:pt x="278" y="346"/>
                  <a:pt x="278" y="346"/>
                </a:cubicBezTo>
                <a:cubicBezTo>
                  <a:pt x="336" y="346"/>
                  <a:pt x="336" y="346"/>
                  <a:pt x="336" y="346"/>
                </a:cubicBezTo>
                <a:lnTo>
                  <a:pt x="336" y="404"/>
                </a:lnTo>
                <a:close/>
                <a:moveTo>
                  <a:pt x="270" y="404"/>
                </a:moveTo>
                <a:cubicBezTo>
                  <a:pt x="212" y="404"/>
                  <a:pt x="212" y="404"/>
                  <a:pt x="212" y="404"/>
                </a:cubicBezTo>
                <a:cubicBezTo>
                  <a:pt x="212" y="346"/>
                  <a:pt x="212" y="346"/>
                  <a:pt x="212" y="346"/>
                </a:cubicBezTo>
                <a:cubicBezTo>
                  <a:pt x="270" y="346"/>
                  <a:pt x="270" y="346"/>
                  <a:pt x="270" y="346"/>
                </a:cubicBezTo>
                <a:lnTo>
                  <a:pt x="270" y="404"/>
                </a:lnTo>
                <a:close/>
                <a:moveTo>
                  <a:pt x="204" y="404"/>
                </a:moveTo>
                <a:cubicBezTo>
                  <a:pt x="146" y="404"/>
                  <a:pt x="146" y="404"/>
                  <a:pt x="146" y="404"/>
                </a:cubicBezTo>
                <a:cubicBezTo>
                  <a:pt x="146" y="346"/>
                  <a:pt x="146" y="346"/>
                  <a:pt x="146" y="346"/>
                </a:cubicBezTo>
                <a:cubicBezTo>
                  <a:pt x="204" y="346"/>
                  <a:pt x="204" y="346"/>
                  <a:pt x="204" y="346"/>
                </a:cubicBezTo>
                <a:lnTo>
                  <a:pt x="204" y="404"/>
                </a:lnTo>
                <a:close/>
                <a:moveTo>
                  <a:pt x="204" y="412"/>
                </a:moveTo>
                <a:cubicBezTo>
                  <a:pt x="204" y="465"/>
                  <a:pt x="204" y="465"/>
                  <a:pt x="204" y="465"/>
                </a:cubicBezTo>
                <a:cubicBezTo>
                  <a:pt x="184" y="465"/>
                  <a:pt x="164" y="465"/>
                  <a:pt x="146" y="465"/>
                </a:cubicBezTo>
                <a:cubicBezTo>
                  <a:pt x="146" y="412"/>
                  <a:pt x="146" y="412"/>
                  <a:pt x="146" y="412"/>
                </a:cubicBezTo>
                <a:lnTo>
                  <a:pt x="204" y="412"/>
                </a:lnTo>
                <a:close/>
                <a:moveTo>
                  <a:pt x="212" y="412"/>
                </a:moveTo>
                <a:cubicBezTo>
                  <a:pt x="270" y="412"/>
                  <a:pt x="270" y="412"/>
                  <a:pt x="270" y="412"/>
                </a:cubicBezTo>
                <a:cubicBezTo>
                  <a:pt x="270" y="465"/>
                  <a:pt x="270" y="465"/>
                  <a:pt x="270" y="465"/>
                </a:cubicBezTo>
                <a:cubicBezTo>
                  <a:pt x="251" y="465"/>
                  <a:pt x="231" y="465"/>
                  <a:pt x="212" y="465"/>
                </a:cubicBezTo>
                <a:lnTo>
                  <a:pt x="212" y="412"/>
                </a:lnTo>
                <a:close/>
                <a:moveTo>
                  <a:pt x="278" y="412"/>
                </a:moveTo>
                <a:cubicBezTo>
                  <a:pt x="336" y="412"/>
                  <a:pt x="336" y="412"/>
                  <a:pt x="336" y="412"/>
                </a:cubicBezTo>
                <a:cubicBezTo>
                  <a:pt x="336" y="465"/>
                  <a:pt x="336" y="465"/>
                  <a:pt x="336" y="465"/>
                </a:cubicBezTo>
                <a:cubicBezTo>
                  <a:pt x="317" y="465"/>
                  <a:pt x="298" y="465"/>
                  <a:pt x="278" y="465"/>
                </a:cubicBezTo>
                <a:lnTo>
                  <a:pt x="278" y="412"/>
                </a:lnTo>
                <a:close/>
                <a:moveTo>
                  <a:pt x="344" y="412"/>
                </a:moveTo>
                <a:cubicBezTo>
                  <a:pt x="402" y="412"/>
                  <a:pt x="402" y="412"/>
                  <a:pt x="402" y="412"/>
                </a:cubicBezTo>
                <a:cubicBezTo>
                  <a:pt x="402" y="465"/>
                  <a:pt x="402" y="465"/>
                  <a:pt x="402" y="465"/>
                </a:cubicBezTo>
                <a:cubicBezTo>
                  <a:pt x="384" y="465"/>
                  <a:pt x="364" y="465"/>
                  <a:pt x="344" y="465"/>
                </a:cubicBezTo>
                <a:lnTo>
                  <a:pt x="344" y="412"/>
                </a:lnTo>
                <a:close/>
                <a:moveTo>
                  <a:pt x="410" y="412"/>
                </a:moveTo>
                <a:cubicBezTo>
                  <a:pt x="468" y="412"/>
                  <a:pt x="468" y="412"/>
                  <a:pt x="468" y="412"/>
                </a:cubicBezTo>
                <a:cubicBezTo>
                  <a:pt x="468" y="465"/>
                  <a:pt x="468" y="465"/>
                  <a:pt x="468" y="465"/>
                </a:cubicBezTo>
                <a:cubicBezTo>
                  <a:pt x="452" y="465"/>
                  <a:pt x="432" y="465"/>
                  <a:pt x="410" y="465"/>
                </a:cubicBezTo>
                <a:lnTo>
                  <a:pt x="410" y="412"/>
                </a:lnTo>
                <a:close/>
                <a:moveTo>
                  <a:pt x="410" y="404"/>
                </a:moveTo>
                <a:cubicBezTo>
                  <a:pt x="410" y="346"/>
                  <a:pt x="410" y="346"/>
                  <a:pt x="410" y="346"/>
                </a:cubicBezTo>
                <a:cubicBezTo>
                  <a:pt x="468" y="346"/>
                  <a:pt x="468" y="346"/>
                  <a:pt x="468" y="346"/>
                </a:cubicBezTo>
                <a:cubicBezTo>
                  <a:pt x="468" y="404"/>
                  <a:pt x="468" y="404"/>
                  <a:pt x="468" y="404"/>
                </a:cubicBezTo>
                <a:lnTo>
                  <a:pt x="410" y="404"/>
                </a:lnTo>
                <a:close/>
                <a:moveTo>
                  <a:pt x="476" y="346"/>
                </a:moveTo>
                <a:cubicBezTo>
                  <a:pt x="528" y="346"/>
                  <a:pt x="528" y="346"/>
                  <a:pt x="528" y="346"/>
                </a:cubicBezTo>
                <a:cubicBezTo>
                  <a:pt x="528" y="367"/>
                  <a:pt x="528" y="387"/>
                  <a:pt x="528" y="404"/>
                </a:cubicBezTo>
                <a:cubicBezTo>
                  <a:pt x="476" y="404"/>
                  <a:pt x="476" y="404"/>
                  <a:pt x="476" y="404"/>
                </a:cubicBezTo>
                <a:lnTo>
                  <a:pt x="476" y="346"/>
                </a:lnTo>
                <a:close/>
                <a:moveTo>
                  <a:pt x="270" y="72"/>
                </a:moveTo>
                <a:cubicBezTo>
                  <a:pt x="212" y="72"/>
                  <a:pt x="212" y="72"/>
                  <a:pt x="212" y="72"/>
                </a:cubicBezTo>
                <a:cubicBezTo>
                  <a:pt x="212" y="20"/>
                  <a:pt x="212" y="20"/>
                  <a:pt x="212" y="20"/>
                </a:cubicBezTo>
                <a:cubicBezTo>
                  <a:pt x="231" y="20"/>
                  <a:pt x="251" y="20"/>
                  <a:pt x="270" y="20"/>
                </a:cubicBezTo>
                <a:lnTo>
                  <a:pt x="270" y="72"/>
                </a:lnTo>
                <a:close/>
                <a:moveTo>
                  <a:pt x="278" y="20"/>
                </a:moveTo>
                <a:cubicBezTo>
                  <a:pt x="298" y="20"/>
                  <a:pt x="317" y="20"/>
                  <a:pt x="336" y="20"/>
                </a:cubicBezTo>
                <a:cubicBezTo>
                  <a:pt x="336" y="72"/>
                  <a:pt x="336" y="72"/>
                  <a:pt x="336" y="72"/>
                </a:cubicBezTo>
                <a:cubicBezTo>
                  <a:pt x="278" y="72"/>
                  <a:pt x="278" y="72"/>
                  <a:pt x="278" y="72"/>
                </a:cubicBezTo>
                <a:lnTo>
                  <a:pt x="278" y="20"/>
                </a:lnTo>
                <a:close/>
                <a:moveTo>
                  <a:pt x="204" y="72"/>
                </a:moveTo>
                <a:cubicBezTo>
                  <a:pt x="146" y="72"/>
                  <a:pt x="146" y="72"/>
                  <a:pt x="146" y="72"/>
                </a:cubicBezTo>
                <a:cubicBezTo>
                  <a:pt x="146" y="20"/>
                  <a:pt x="146" y="20"/>
                  <a:pt x="146" y="20"/>
                </a:cubicBezTo>
                <a:cubicBezTo>
                  <a:pt x="164" y="20"/>
                  <a:pt x="184" y="20"/>
                  <a:pt x="204" y="20"/>
                </a:cubicBezTo>
                <a:lnTo>
                  <a:pt x="204" y="72"/>
                </a:lnTo>
                <a:close/>
                <a:moveTo>
                  <a:pt x="204" y="80"/>
                </a:moveTo>
                <a:cubicBezTo>
                  <a:pt x="204" y="138"/>
                  <a:pt x="204" y="138"/>
                  <a:pt x="204" y="138"/>
                </a:cubicBezTo>
                <a:cubicBezTo>
                  <a:pt x="146" y="138"/>
                  <a:pt x="146" y="138"/>
                  <a:pt x="146" y="138"/>
                </a:cubicBezTo>
                <a:cubicBezTo>
                  <a:pt x="146" y="80"/>
                  <a:pt x="146" y="80"/>
                  <a:pt x="146" y="80"/>
                </a:cubicBezTo>
                <a:lnTo>
                  <a:pt x="204" y="80"/>
                </a:lnTo>
                <a:close/>
                <a:moveTo>
                  <a:pt x="138" y="72"/>
                </a:moveTo>
                <a:cubicBezTo>
                  <a:pt x="80" y="72"/>
                  <a:pt x="80" y="72"/>
                  <a:pt x="80" y="72"/>
                </a:cubicBezTo>
                <a:cubicBezTo>
                  <a:pt x="80" y="20"/>
                  <a:pt x="80" y="20"/>
                  <a:pt x="80" y="20"/>
                </a:cubicBezTo>
                <a:cubicBezTo>
                  <a:pt x="97" y="20"/>
                  <a:pt x="116" y="20"/>
                  <a:pt x="138" y="20"/>
                </a:cubicBezTo>
                <a:lnTo>
                  <a:pt x="138" y="72"/>
                </a:lnTo>
                <a:close/>
                <a:moveTo>
                  <a:pt x="138" y="80"/>
                </a:moveTo>
                <a:cubicBezTo>
                  <a:pt x="138" y="138"/>
                  <a:pt x="138" y="138"/>
                  <a:pt x="138" y="138"/>
                </a:cubicBezTo>
                <a:cubicBezTo>
                  <a:pt x="80" y="138"/>
                  <a:pt x="80" y="138"/>
                  <a:pt x="80" y="138"/>
                </a:cubicBezTo>
                <a:cubicBezTo>
                  <a:pt x="80" y="80"/>
                  <a:pt x="80" y="80"/>
                  <a:pt x="80" y="80"/>
                </a:cubicBezTo>
                <a:lnTo>
                  <a:pt x="138" y="80"/>
                </a:lnTo>
                <a:close/>
                <a:moveTo>
                  <a:pt x="72" y="138"/>
                </a:moveTo>
                <a:cubicBezTo>
                  <a:pt x="20" y="138"/>
                  <a:pt x="20" y="138"/>
                  <a:pt x="20" y="138"/>
                </a:cubicBezTo>
                <a:cubicBezTo>
                  <a:pt x="20" y="117"/>
                  <a:pt x="20" y="97"/>
                  <a:pt x="20" y="80"/>
                </a:cubicBezTo>
                <a:cubicBezTo>
                  <a:pt x="72" y="80"/>
                  <a:pt x="72" y="80"/>
                  <a:pt x="72" y="80"/>
                </a:cubicBezTo>
                <a:lnTo>
                  <a:pt x="72" y="138"/>
                </a:lnTo>
                <a:close/>
                <a:moveTo>
                  <a:pt x="20" y="146"/>
                </a:moveTo>
                <a:cubicBezTo>
                  <a:pt x="72" y="146"/>
                  <a:pt x="72" y="146"/>
                  <a:pt x="72" y="146"/>
                </a:cubicBezTo>
                <a:cubicBezTo>
                  <a:pt x="72" y="205"/>
                  <a:pt x="72" y="205"/>
                  <a:pt x="72" y="205"/>
                </a:cubicBezTo>
                <a:cubicBezTo>
                  <a:pt x="20" y="205"/>
                  <a:pt x="20" y="205"/>
                  <a:pt x="20" y="205"/>
                </a:cubicBezTo>
                <a:cubicBezTo>
                  <a:pt x="20" y="185"/>
                  <a:pt x="20" y="165"/>
                  <a:pt x="20" y="146"/>
                </a:cubicBezTo>
                <a:close/>
                <a:moveTo>
                  <a:pt x="20" y="279"/>
                </a:moveTo>
                <a:cubicBezTo>
                  <a:pt x="72" y="279"/>
                  <a:pt x="72" y="279"/>
                  <a:pt x="72" y="279"/>
                </a:cubicBezTo>
                <a:cubicBezTo>
                  <a:pt x="72" y="338"/>
                  <a:pt x="72" y="338"/>
                  <a:pt x="72" y="338"/>
                </a:cubicBezTo>
                <a:cubicBezTo>
                  <a:pt x="20" y="338"/>
                  <a:pt x="20" y="338"/>
                  <a:pt x="20" y="338"/>
                </a:cubicBezTo>
                <a:cubicBezTo>
                  <a:pt x="20" y="319"/>
                  <a:pt x="20" y="299"/>
                  <a:pt x="20" y="279"/>
                </a:cubicBezTo>
                <a:close/>
                <a:moveTo>
                  <a:pt x="20" y="271"/>
                </a:moveTo>
                <a:cubicBezTo>
                  <a:pt x="20" y="252"/>
                  <a:pt x="20" y="232"/>
                  <a:pt x="20" y="213"/>
                </a:cubicBezTo>
                <a:cubicBezTo>
                  <a:pt x="72" y="213"/>
                  <a:pt x="72" y="213"/>
                  <a:pt x="72" y="213"/>
                </a:cubicBezTo>
                <a:cubicBezTo>
                  <a:pt x="72" y="271"/>
                  <a:pt x="72" y="271"/>
                  <a:pt x="72" y="271"/>
                </a:cubicBezTo>
                <a:lnTo>
                  <a:pt x="20" y="271"/>
                </a:lnTo>
                <a:close/>
                <a:moveTo>
                  <a:pt x="80" y="213"/>
                </a:moveTo>
                <a:cubicBezTo>
                  <a:pt x="138" y="213"/>
                  <a:pt x="138" y="213"/>
                  <a:pt x="138" y="213"/>
                </a:cubicBezTo>
                <a:cubicBezTo>
                  <a:pt x="138" y="271"/>
                  <a:pt x="138" y="271"/>
                  <a:pt x="138" y="271"/>
                </a:cubicBezTo>
                <a:cubicBezTo>
                  <a:pt x="80" y="271"/>
                  <a:pt x="80" y="271"/>
                  <a:pt x="80" y="271"/>
                </a:cubicBezTo>
                <a:lnTo>
                  <a:pt x="80" y="213"/>
                </a:lnTo>
                <a:close/>
                <a:moveTo>
                  <a:pt x="80" y="205"/>
                </a:moveTo>
                <a:cubicBezTo>
                  <a:pt x="80" y="146"/>
                  <a:pt x="80" y="146"/>
                  <a:pt x="80" y="146"/>
                </a:cubicBezTo>
                <a:cubicBezTo>
                  <a:pt x="138" y="146"/>
                  <a:pt x="138" y="146"/>
                  <a:pt x="138" y="146"/>
                </a:cubicBezTo>
                <a:cubicBezTo>
                  <a:pt x="138" y="205"/>
                  <a:pt x="138" y="205"/>
                  <a:pt x="138" y="205"/>
                </a:cubicBezTo>
                <a:lnTo>
                  <a:pt x="80" y="205"/>
                </a:lnTo>
                <a:close/>
                <a:moveTo>
                  <a:pt x="146" y="146"/>
                </a:moveTo>
                <a:cubicBezTo>
                  <a:pt x="204" y="146"/>
                  <a:pt x="204" y="146"/>
                  <a:pt x="204" y="146"/>
                </a:cubicBezTo>
                <a:cubicBezTo>
                  <a:pt x="204" y="205"/>
                  <a:pt x="204" y="205"/>
                  <a:pt x="204" y="205"/>
                </a:cubicBezTo>
                <a:cubicBezTo>
                  <a:pt x="146" y="205"/>
                  <a:pt x="146" y="205"/>
                  <a:pt x="146" y="205"/>
                </a:cubicBezTo>
                <a:lnTo>
                  <a:pt x="146" y="146"/>
                </a:lnTo>
                <a:close/>
                <a:moveTo>
                  <a:pt x="212" y="146"/>
                </a:moveTo>
                <a:cubicBezTo>
                  <a:pt x="270" y="146"/>
                  <a:pt x="270" y="146"/>
                  <a:pt x="270" y="146"/>
                </a:cubicBezTo>
                <a:cubicBezTo>
                  <a:pt x="270" y="205"/>
                  <a:pt x="270" y="205"/>
                  <a:pt x="270" y="205"/>
                </a:cubicBezTo>
                <a:cubicBezTo>
                  <a:pt x="212" y="205"/>
                  <a:pt x="212" y="205"/>
                  <a:pt x="212" y="205"/>
                </a:cubicBezTo>
                <a:lnTo>
                  <a:pt x="212" y="146"/>
                </a:lnTo>
                <a:close/>
                <a:moveTo>
                  <a:pt x="212" y="138"/>
                </a:moveTo>
                <a:cubicBezTo>
                  <a:pt x="212" y="80"/>
                  <a:pt x="212" y="80"/>
                  <a:pt x="212" y="80"/>
                </a:cubicBezTo>
                <a:cubicBezTo>
                  <a:pt x="270" y="80"/>
                  <a:pt x="270" y="80"/>
                  <a:pt x="270" y="80"/>
                </a:cubicBezTo>
                <a:cubicBezTo>
                  <a:pt x="270" y="138"/>
                  <a:pt x="270" y="138"/>
                  <a:pt x="270" y="138"/>
                </a:cubicBezTo>
                <a:lnTo>
                  <a:pt x="212" y="138"/>
                </a:lnTo>
                <a:close/>
                <a:moveTo>
                  <a:pt x="278" y="80"/>
                </a:moveTo>
                <a:cubicBezTo>
                  <a:pt x="336" y="80"/>
                  <a:pt x="336" y="80"/>
                  <a:pt x="336" y="80"/>
                </a:cubicBezTo>
                <a:cubicBezTo>
                  <a:pt x="336" y="138"/>
                  <a:pt x="336" y="138"/>
                  <a:pt x="336" y="138"/>
                </a:cubicBezTo>
                <a:cubicBezTo>
                  <a:pt x="278" y="138"/>
                  <a:pt x="278" y="138"/>
                  <a:pt x="278" y="138"/>
                </a:cubicBezTo>
                <a:lnTo>
                  <a:pt x="278" y="80"/>
                </a:lnTo>
                <a:close/>
                <a:moveTo>
                  <a:pt x="344" y="80"/>
                </a:moveTo>
                <a:cubicBezTo>
                  <a:pt x="402" y="80"/>
                  <a:pt x="402" y="80"/>
                  <a:pt x="402" y="80"/>
                </a:cubicBezTo>
                <a:cubicBezTo>
                  <a:pt x="402" y="138"/>
                  <a:pt x="402" y="138"/>
                  <a:pt x="402" y="138"/>
                </a:cubicBezTo>
                <a:cubicBezTo>
                  <a:pt x="344" y="138"/>
                  <a:pt x="344" y="138"/>
                  <a:pt x="344" y="138"/>
                </a:cubicBezTo>
                <a:lnTo>
                  <a:pt x="344" y="80"/>
                </a:lnTo>
                <a:close/>
                <a:moveTo>
                  <a:pt x="344" y="72"/>
                </a:moveTo>
                <a:cubicBezTo>
                  <a:pt x="344" y="20"/>
                  <a:pt x="344" y="20"/>
                  <a:pt x="344" y="20"/>
                </a:cubicBezTo>
                <a:cubicBezTo>
                  <a:pt x="364" y="20"/>
                  <a:pt x="384" y="20"/>
                  <a:pt x="402" y="20"/>
                </a:cubicBezTo>
                <a:cubicBezTo>
                  <a:pt x="402" y="72"/>
                  <a:pt x="402" y="72"/>
                  <a:pt x="402" y="72"/>
                </a:cubicBezTo>
                <a:lnTo>
                  <a:pt x="344" y="72"/>
                </a:lnTo>
                <a:close/>
                <a:moveTo>
                  <a:pt x="72" y="20"/>
                </a:moveTo>
                <a:cubicBezTo>
                  <a:pt x="72" y="72"/>
                  <a:pt x="72" y="72"/>
                  <a:pt x="72" y="72"/>
                </a:cubicBezTo>
                <a:cubicBezTo>
                  <a:pt x="20" y="72"/>
                  <a:pt x="20" y="72"/>
                  <a:pt x="20" y="72"/>
                </a:cubicBezTo>
                <a:cubicBezTo>
                  <a:pt x="20" y="43"/>
                  <a:pt x="20" y="23"/>
                  <a:pt x="20" y="20"/>
                </a:cubicBezTo>
                <a:cubicBezTo>
                  <a:pt x="23" y="20"/>
                  <a:pt x="43" y="20"/>
                  <a:pt x="72" y="20"/>
                </a:cubicBezTo>
                <a:close/>
                <a:moveTo>
                  <a:pt x="42" y="465"/>
                </a:moveTo>
                <a:cubicBezTo>
                  <a:pt x="74" y="424"/>
                  <a:pt x="183" y="286"/>
                  <a:pt x="193" y="273"/>
                </a:cubicBezTo>
                <a:cubicBezTo>
                  <a:pt x="206" y="281"/>
                  <a:pt x="246" y="304"/>
                  <a:pt x="246" y="304"/>
                </a:cubicBezTo>
                <a:cubicBezTo>
                  <a:pt x="251" y="307"/>
                  <a:pt x="257" y="306"/>
                  <a:pt x="261" y="301"/>
                </a:cubicBezTo>
                <a:cubicBezTo>
                  <a:pt x="261" y="301"/>
                  <a:pt x="347" y="203"/>
                  <a:pt x="359" y="189"/>
                </a:cubicBezTo>
                <a:cubicBezTo>
                  <a:pt x="369" y="196"/>
                  <a:pt x="389" y="209"/>
                  <a:pt x="389" y="209"/>
                </a:cubicBezTo>
                <a:cubicBezTo>
                  <a:pt x="394" y="212"/>
                  <a:pt x="401" y="211"/>
                  <a:pt x="405" y="206"/>
                </a:cubicBezTo>
                <a:cubicBezTo>
                  <a:pt x="481" y="110"/>
                  <a:pt x="481" y="110"/>
                  <a:pt x="481" y="110"/>
                </a:cubicBezTo>
                <a:cubicBezTo>
                  <a:pt x="481" y="133"/>
                  <a:pt x="481" y="133"/>
                  <a:pt x="481" y="133"/>
                </a:cubicBezTo>
                <a:cubicBezTo>
                  <a:pt x="481" y="139"/>
                  <a:pt x="487" y="145"/>
                  <a:pt x="493" y="145"/>
                </a:cubicBezTo>
                <a:cubicBezTo>
                  <a:pt x="500" y="145"/>
                  <a:pt x="505" y="139"/>
                  <a:pt x="505" y="133"/>
                </a:cubicBezTo>
                <a:cubicBezTo>
                  <a:pt x="505" y="76"/>
                  <a:pt x="505" y="76"/>
                  <a:pt x="505" y="76"/>
                </a:cubicBezTo>
                <a:cubicBezTo>
                  <a:pt x="505" y="76"/>
                  <a:pt x="505" y="76"/>
                  <a:pt x="505" y="76"/>
                </a:cubicBezTo>
                <a:cubicBezTo>
                  <a:pt x="505" y="75"/>
                  <a:pt x="505" y="74"/>
                  <a:pt x="505" y="74"/>
                </a:cubicBezTo>
                <a:cubicBezTo>
                  <a:pt x="505" y="74"/>
                  <a:pt x="505" y="74"/>
                  <a:pt x="505" y="73"/>
                </a:cubicBezTo>
                <a:cubicBezTo>
                  <a:pt x="505" y="73"/>
                  <a:pt x="505" y="72"/>
                  <a:pt x="505" y="71"/>
                </a:cubicBezTo>
                <a:cubicBezTo>
                  <a:pt x="504" y="71"/>
                  <a:pt x="504" y="71"/>
                  <a:pt x="504" y="71"/>
                </a:cubicBezTo>
                <a:cubicBezTo>
                  <a:pt x="504" y="71"/>
                  <a:pt x="504" y="70"/>
                  <a:pt x="504" y="70"/>
                </a:cubicBezTo>
                <a:cubicBezTo>
                  <a:pt x="504" y="70"/>
                  <a:pt x="503" y="69"/>
                  <a:pt x="503" y="69"/>
                </a:cubicBezTo>
                <a:cubicBezTo>
                  <a:pt x="503" y="69"/>
                  <a:pt x="503" y="69"/>
                  <a:pt x="503" y="69"/>
                </a:cubicBezTo>
                <a:cubicBezTo>
                  <a:pt x="503" y="68"/>
                  <a:pt x="502" y="68"/>
                  <a:pt x="502" y="68"/>
                </a:cubicBezTo>
                <a:cubicBezTo>
                  <a:pt x="502" y="68"/>
                  <a:pt x="502" y="67"/>
                  <a:pt x="502" y="67"/>
                </a:cubicBezTo>
                <a:cubicBezTo>
                  <a:pt x="501" y="67"/>
                  <a:pt x="501" y="67"/>
                  <a:pt x="500" y="66"/>
                </a:cubicBezTo>
                <a:cubicBezTo>
                  <a:pt x="500" y="66"/>
                  <a:pt x="500" y="66"/>
                  <a:pt x="500" y="66"/>
                </a:cubicBezTo>
                <a:cubicBezTo>
                  <a:pt x="499" y="66"/>
                  <a:pt x="499" y="65"/>
                  <a:pt x="498" y="65"/>
                </a:cubicBezTo>
                <a:cubicBezTo>
                  <a:pt x="498" y="65"/>
                  <a:pt x="498" y="65"/>
                  <a:pt x="498" y="65"/>
                </a:cubicBezTo>
                <a:cubicBezTo>
                  <a:pt x="497" y="65"/>
                  <a:pt x="497" y="64"/>
                  <a:pt x="496" y="64"/>
                </a:cubicBezTo>
                <a:cubicBezTo>
                  <a:pt x="496" y="64"/>
                  <a:pt x="496" y="64"/>
                  <a:pt x="495" y="64"/>
                </a:cubicBezTo>
                <a:cubicBezTo>
                  <a:pt x="495" y="64"/>
                  <a:pt x="494" y="64"/>
                  <a:pt x="494" y="64"/>
                </a:cubicBezTo>
                <a:cubicBezTo>
                  <a:pt x="494" y="64"/>
                  <a:pt x="494" y="64"/>
                  <a:pt x="493" y="64"/>
                </a:cubicBezTo>
                <a:cubicBezTo>
                  <a:pt x="493" y="64"/>
                  <a:pt x="493" y="64"/>
                  <a:pt x="493" y="64"/>
                </a:cubicBezTo>
                <a:cubicBezTo>
                  <a:pt x="493" y="64"/>
                  <a:pt x="492" y="64"/>
                  <a:pt x="491" y="64"/>
                </a:cubicBezTo>
                <a:cubicBezTo>
                  <a:pt x="491" y="64"/>
                  <a:pt x="491" y="64"/>
                  <a:pt x="491" y="64"/>
                </a:cubicBezTo>
                <a:cubicBezTo>
                  <a:pt x="491" y="64"/>
                  <a:pt x="491" y="64"/>
                  <a:pt x="491" y="64"/>
                </a:cubicBezTo>
                <a:cubicBezTo>
                  <a:pt x="438" y="76"/>
                  <a:pt x="438" y="76"/>
                  <a:pt x="438" y="76"/>
                </a:cubicBezTo>
                <a:cubicBezTo>
                  <a:pt x="432" y="77"/>
                  <a:pt x="428" y="84"/>
                  <a:pt x="429" y="90"/>
                </a:cubicBezTo>
                <a:cubicBezTo>
                  <a:pt x="431" y="97"/>
                  <a:pt x="437" y="101"/>
                  <a:pt x="443" y="99"/>
                </a:cubicBezTo>
                <a:cubicBezTo>
                  <a:pt x="443" y="99"/>
                  <a:pt x="454" y="97"/>
                  <a:pt x="463" y="95"/>
                </a:cubicBezTo>
                <a:cubicBezTo>
                  <a:pt x="439" y="125"/>
                  <a:pt x="402" y="171"/>
                  <a:pt x="393" y="183"/>
                </a:cubicBezTo>
                <a:cubicBezTo>
                  <a:pt x="382" y="176"/>
                  <a:pt x="363" y="163"/>
                  <a:pt x="363" y="163"/>
                </a:cubicBezTo>
                <a:cubicBezTo>
                  <a:pt x="358" y="160"/>
                  <a:pt x="352" y="161"/>
                  <a:pt x="348" y="165"/>
                </a:cubicBezTo>
                <a:cubicBezTo>
                  <a:pt x="348" y="165"/>
                  <a:pt x="261" y="265"/>
                  <a:pt x="249" y="278"/>
                </a:cubicBezTo>
                <a:cubicBezTo>
                  <a:pt x="236" y="271"/>
                  <a:pt x="196" y="247"/>
                  <a:pt x="196" y="247"/>
                </a:cubicBezTo>
                <a:cubicBezTo>
                  <a:pt x="191" y="244"/>
                  <a:pt x="184" y="245"/>
                  <a:pt x="181" y="250"/>
                </a:cubicBezTo>
                <a:cubicBezTo>
                  <a:pt x="20" y="454"/>
                  <a:pt x="20" y="454"/>
                  <a:pt x="20" y="454"/>
                </a:cubicBezTo>
                <a:cubicBezTo>
                  <a:pt x="20" y="450"/>
                  <a:pt x="20" y="445"/>
                  <a:pt x="20" y="439"/>
                </a:cubicBezTo>
                <a:cubicBezTo>
                  <a:pt x="20" y="432"/>
                  <a:pt x="20" y="423"/>
                  <a:pt x="20" y="412"/>
                </a:cubicBezTo>
                <a:cubicBezTo>
                  <a:pt x="41" y="412"/>
                  <a:pt x="41" y="412"/>
                  <a:pt x="41" y="412"/>
                </a:cubicBezTo>
                <a:cubicBezTo>
                  <a:pt x="48" y="404"/>
                  <a:pt x="48" y="404"/>
                  <a:pt x="48" y="404"/>
                </a:cubicBezTo>
                <a:cubicBezTo>
                  <a:pt x="20" y="404"/>
                  <a:pt x="20" y="404"/>
                  <a:pt x="20" y="404"/>
                </a:cubicBezTo>
                <a:cubicBezTo>
                  <a:pt x="20" y="387"/>
                  <a:pt x="20" y="367"/>
                  <a:pt x="20" y="346"/>
                </a:cubicBezTo>
                <a:cubicBezTo>
                  <a:pt x="72" y="346"/>
                  <a:pt x="72" y="346"/>
                  <a:pt x="72" y="346"/>
                </a:cubicBezTo>
                <a:cubicBezTo>
                  <a:pt x="72" y="374"/>
                  <a:pt x="72" y="374"/>
                  <a:pt x="72" y="374"/>
                </a:cubicBezTo>
                <a:cubicBezTo>
                  <a:pt x="80" y="364"/>
                  <a:pt x="80" y="364"/>
                  <a:pt x="80" y="364"/>
                </a:cubicBezTo>
                <a:cubicBezTo>
                  <a:pt x="80" y="346"/>
                  <a:pt x="80" y="346"/>
                  <a:pt x="80" y="346"/>
                </a:cubicBezTo>
                <a:cubicBezTo>
                  <a:pt x="94" y="346"/>
                  <a:pt x="94" y="346"/>
                  <a:pt x="94" y="346"/>
                </a:cubicBezTo>
                <a:cubicBezTo>
                  <a:pt x="101" y="338"/>
                  <a:pt x="101" y="338"/>
                  <a:pt x="101" y="338"/>
                </a:cubicBezTo>
                <a:cubicBezTo>
                  <a:pt x="80" y="338"/>
                  <a:pt x="80" y="338"/>
                  <a:pt x="80" y="338"/>
                </a:cubicBezTo>
                <a:cubicBezTo>
                  <a:pt x="80" y="279"/>
                  <a:pt x="80" y="279"/>
                  <a:pt x="80" y="279"/>
                </a:cubicBezTo>
                <a:cubicBezTo>
                  <a:pt x="138" y="279"/>
                  <a:pt x="138" y="279"/>
                  <a:pt x="138" y="279"/>
                </a:cubicBezTo>
                <a:cubicBezTo>
                  <a:pt x="138" y="291"/>
                  <a:pt x="138" y="291"/>
                  <a:pt x="138" y="291"/>
                </a:cubicBezTo>
                <a:cubicBezTo>
                  <a:pt x="146" y="281"/>
                  <a:pt x="146" y="281"/>
                  <a:pt x="146" y="281"/>
                </a:cubicBezTo>
                <a:cubicBezTo>
                  <a:pt x="146" y="279"/>
                  <a:pt x="146" y="279"/>
                  <a:pt x="146" y="279"/>
                </a:cubicBezTo>
                <a:cubicBezTo>
                  <a:pt x="147" y="279"/>
                  <a:pt x="147" y="279"/>
                  <a:pt x="147" y="279"/>
                </a:cubicBezTo>
                <a:cubicBezTo>
                  <a:pt x="153" y="271"/>
                  <a:pt x="153" y="271"/>
                  <a:pt x="153" y="271"/>
                </a:cubicBezTo>
                <a:cubicBezTo>
                  <a:pt x="146" y="271"/>
                  <a:pt x="146" y="271"/>
                  <a:pt x="146" y="271"/>
                </a:cubicBezTo>
                <a:cubicBezTo>
                  <a:pt x="146" y="213"/>
                  <a:pt x="146" y="213"/>
                  <a:pt x="146" y="213"/>
                </a:cubicBezTo>
                <a:cubicBezTo>
                  <a:pt x="204" y="213"/>
                  <a:pt x="204" y="213"/>
                  <a:pt x="204" y="213"/>
                </a:cubicBezTo>
                <a:cubicBezTo>
                  <a:pt x="204" y="242"/>
                  <a:pt x="204" y="242"/>
                  <a:pt x="204" y="242"/>
                </a:cubicBezTo>
                <a:cubicBezTo>
                  <a:pt x="206" y="243"/>
                  <a:pt x="209" y="245"/>
                  <a:pt x="212" y="247"/>
                </a:cubicBezTo>
                <a:cubicBezTo>
                  <a:pt x="212" y="213"/>
                  <a:pt x="212" y="213"/>
                  <a:pt x="212" y="213"/>
                </a:cubicBezTo>
                <a:cubicBezTo>
                  <a:pt x="270" y="213"/>
                  <a:pt x="270" y="213"/>
                  <a:pt x="270" y="213"/>
                </a:cubicBezTo>
                <a:cubicBezTo>
                  <a:pt x="270" y="242"/>
                  <a:pt x="270" y="242"/>
                  <a:pt x="270" y="242"/>
                </a:cubicBezTo>
                <a:cubicBezTo>
                  <a:pt x="273" y="239"/>
                  <a:pt x="275" y="236"/>
                  <a:pt x="278" y="233"/>
                </a:cubicBezTo>
                <a:cubicBezTo>
                  <a:pt x="278" y="213"/>
                  <a:pt x="278" y="213"/>
                  <a:pt x="278" y="213"/>
                </a:cubicBezTo>
                <a:cubicBezTo>
                  <a:pt x="295" y="213"/>
                  <a:pt x="295" y="213"/>
                  <a:pt x="295" y="213"/>
                </a:cubicBezTo>
                <a:cubicBezTo>
                  <a:pt x="298" y="210"/>
                  <a:pt x="300" y="207"/>
                  <a:pt x="302" y="205"/>
                </a:cubicBezTo>
                <a:cubicBezTo>
                  <a:pt x="278" y="205"/>
                  <a:pt x="278" y="205"/>
                  <a:pt x="278" y="205"/>
                </a:cubicBezTo>
                <a:cubicBezTo>
                  <a:pt x="278" y="146"/>
                  <a:pt x="278" y="146"/>
                  <a:pt x="278" y="146"/>
                </a:cubicBezTo>
                <a:cubicBezTo>
                  <a:pt x="336" y="146"/>
                  <a:pt x="336" y="146"/>
                  <a:pt x="336" y="146"/>
                </a:cubicBezTo>
                <a:cubicBezTo>
                  <a:pt x="336" y="166"/>
                  <a:pt x="336" y="166"/>
                  <a:pt x="336" y="166"/>
                </a:cubicBezTo>
                <a:cubicBezTo>
                  <a:pt x="340" y="162"/>
                  <a:pt x="342" y="160"/>
                  <a:pt x="342" y="160"/>
                </a:cubicBezTo>
                <a:cubicBezTo>
                  <a:pt x="342" y="159"/>
                  <a:pt x="343" y="158"/>
                  <a:pt x="344" y="158"/>
                </a:cubicBezTo>
                <a:cubicBezTo>
                  <a:pt x="344" y="146"/>
                  <a:pt x="344" y="146"/>
                  <a:pt x="344" y="146"/>
                </a:cubicBezTo>
                <a:cubicBezTo>
                  <a:pt x="402" y="146"/>
                  <a:pt x="402" y="146"/>
                  <a:pt x="402" y="146"/>
                </a:cubicBezTo>
                <a:cubicBezTo>
                  <a:pt x="402" y="158"/>
                  <a:pt x="402" y="158"/>
                  <a:pt x="402" y="158"/>
                </a:cubicBezTo>
                <a:cubicBezTo>
                  <a:pt x="405" y="155"/>
                  <a:pt x="407" y="152"/>
                  <a:pt x="410" y="148"/>
                </a:cubicBezTo>
                <a:cubicBezTo>
                  <a:pt x="410" y="146"/>
                  <a:pt x="410" y="146"/>
                  <a:pt x="410" y="146"/>
                </a:cubicBezTo>
                <a:cubicBezTo>
                  <a:pt x="412" y="146"/>
                  <a:pt x="412" y="146"/>
                  <a:pt x="412" y="146"/>
                </a:cubicBezTo>
                <a:cubicBezTo>
                  <a:pt x="414" y="144"/>
                  <a:pt x="416" y="141"/>
                  <a:pt x="418" y="138"/>
                </a:cubicBezTo>
                <a:cubicBezTo>
                  <a:pt x="410" y="138"/>
                  <a:pt x="410" y="138"/>
                  <a:pt x="410" y="138"/>
                </a:cubicBezTo>
                <a:cubicBezTo>
                  <a:pt x="410" y="80"/>
                  <a:pt x="410" y="80"/>
                  <a:pt x="410" y="80"/>
                </a:cubicBezTo>
                <a:cubicBezTo>
                  <a:pt x="422" y="80"/>
                  <a:pt x="422" y="80"/>
                  <a:pt x="422" y="80"/>
                </a:cubicBezTo>
                <a:cubicBezTo>
                  <a:pt x="424" y="77"/>
                  <a:pt x="426" y="74"/>
                  <a:pt x="429" y="72"/>
                </a:cubicBezTo>
                <a:cubicBezTo>
                  <a:pt x="410" y="72"/>
                  <a:pt x="410" y="72"/>
                  <a:pt x="410" y="72"/>
                </a:cubicBezTo>
                <a:cubicBezTo>
                  <a:pt x="410" y="20"/>
                  <a:pt x="410" y="20"/>
                  <a:pt x="410" y="20"/>
                </a:cubicBezTo>
                <a:cubicBezTo>
                  <a:pt x="432" y="20"/>
                  <a:pt x="452" y="20"/>
                  <a:pt x="468" y="20"/>
                </a:cubicBezTo>
                <a:cubicBezTo>
                  <a:pt x="468" y="61"/>
                  <a:pt x="468" y="61"/>
                  <a:pt x="468" y="61"/>
                </a:cubicBezTo>
                <a:cubicBezTo>
                  <a:pt x="476" y="59"/>
                  <a:pt x="476" y="59"/>
                  <a:pt x="476" y="59"/>
                </a:cubicBezTo>
                <a:cubicBezTo>
                  <a:pt x="476" y="20"/>
                  <a:pt x="476" y="20"/>
                  <a:pt x="476" y="20"/>
                </a:cubicBezTo>
                <a:cubicBezTo>
                  <a:pt x="506" y="20"/>
                  <a:pt x="525" y="20"/>
                  <a:pt x="528" y="20"/>
                </a:cubicBezTo>
                <a:cubicBezTo>
                  <a:pt x="528" y="23"/>
                  <a:pt x="528" y="43"/>
                  <a:pt x="528" y="72"/>
                </a:cubicBezTo>
                <a:cubicBezTo>
                  <a:pt x="513" y="72"/>
                  <a:pt x="513" y="72"/>
                  <a:pt x="513" y="72"/>
                </a:cubicBezTo>
                <a:cubicBezTo>
                  <a:pt x="513" y="72"/>
                  <a:pt x="513" y="72"/>
                  <a:pt x="513" y="73"/>
                </a:cubicBezTo>
                <a:cubicBezTo>
                  <a:pt x="513" y="74"/>
                  <a:pt x="513" y="74"/>
                  <a:pt x="513" y="75"/>
                </a:cubicBezTo>
                <a:cubicBezTo>
                  <a:pt x="513" y="76"/>
                  <a:pt x="513" y="76"/>
                  <a:pt x="513" y="76"/>
                </a:cubicBezTo>
                <a:cubicBezTo>
                  <a:pt x="513" y="80"/>
                  <a:pt x="513" y="80"/>
                  <a:pt x="513" y="80"/>
                </a:cubicBezTo>
                <a:cubicBezTo>
                  <a:pt x="528" y="80"/>
                  <a:pt x="528" y="80"/>
                  <a:pt x="528" y="80"/>
                </a:cubicBezTo>
                <a:cubicBezTo>
                  <a:pt x="528" y="97"/>
                  <a:pt x="528" y="117"/>
                  <a:pt x="528" y="138"/>
                </a:cubicBezTo>
                <a:cubicBezTo>
                  <a:pt x="512" y="138"/>
                  <a:pt x="512" y="138"/>
                  <a:pt x="512" y="138"/>
                </a:cubicBezTo>
                <a:cubicBezTo>
                  <a:pt x="512" y="141"/>
                  <a:pt x="510" y="144"/>
                  <a:pt x="508" y="146"/>
                </a:cubicBezTo>
                <a:cubicBezTo>
                  <a:pt x="528" y="146"/>
                  <a:pt x="528" y="146"/>
                  <a:pt x="528" y="146"/>
                </a:cubicBezTo>
                <a:cubicBezTo>
                  <a:pt x="528" y="165"/>
                  <a:pt x="528" y="185"/>
                  <a:pt x="528" y="205"/>
                </a:cubicBezTo>
                <a:cubicBezTo>
                  <a:pt x="476" y="205"/>
                  <a:pt x="476" y="205"/>
                  <a:pt x="476" y="205"/>
                </a:cubicBezTo>
                <a:cubicBezTo>
                  <a:pt x="476" y="146"/>
                  <a:pt x="476" y="146"/>
                  <a:pt x="476" y="146"/>
                </a:cubicBezTo>
                <a:cubicBezTo>
                  <a:pt x="479" y="146"/>
                  <a:pt x="479" y="146"/>
                  <a:pt x="479" y="146"/>
                </a:cubicBezTo>
                <a:cubicBezTo>
                  <a:pt x="476" y="143"/>
                  <a:pt x="474" y="138"/>
                  <a:pt x="473" y="133"/>
                </a:cubicBezTo>
                <a:cubicBezTo>
                  <a:pt x="463" y="146"/>
                  <a:pt x="463" y="146"/>
                  <a:pt x="463" y="146"/>
                </a:cubicBezTo>
                <a:cubicBezTo>
                  <a:pt x="468" y="146"/>
                  <a:pt x="468" y="146"/>
                  <a:pt x="468" y="146"/>
                </a:cubicBezTo>
                <a:cubicBezTo>
                  <a:pt x="468" y="205"/>
                  <a:pt x="468" y="205"/>
                  <a:pt x="468" y="205"/>
                </a:cubicBezTo>
                <a:cubicBezTo>
                  <a:pt x="416" y="205"/>
                  <a:pt x="416" y="205"/>
                  <a:pt x="416" y="205"/>
                </a:cubicBezTo>
                <a:cubicBezTo>
                  <a:pt x="411" y="211"/>
                  <a:pt x="411" y="211"/>
                  <a:pt x="411" y="211"/>
                </a:cubicBezTo>
                <a:cubicBezTo>
                  <a:pt x="409" y="214"/>
                  <a:pt x="406" y="216"/>
                  <a:pt x="402" y="218"/>
                </a:cubicBezTo>
                <a:cubicBezTo>
                  <a:pt x="402" y="271"/>
                  <a:pt x="402" y="271"/>
                  <a:pt x="402" y="271"/>
                </a:cubicBezTo>
                <a:cubicBezTo>
                  <a:pt x="344" y="271"/>
                  <a:pt x="344" y="271"/>
                  <a:pt x="344" y="271"/>
                </a:cubicBezTo>
                <a:cubicBezTo>
                  <a:pt x="344" y="218"/>
                  <a:pt x="344" y="218"/>
                  <a:pt x="344" y="218"/>
                </a:cubicBezTo>
                <a:cubicBezTo>
                  <a:pt x="342" y="221"/>
                  <a:pt x="339" y="224"/>
                  <a:pt x="336" y="227"/>
                </a:cubicBezTo>
                <a:cubicBezTo>
                  <a:pt x="336" y="271"/>
                  <a:pt x="336" y="271"/>
                  <a:pt x="336" y="271"/>
                </a:cubicBezTo>
                <a:cubicBezTo>
                  <a:pt x="298" y="271"/>
                  <a:pt x="298" y="271"/>
                  <a:pt x="298" y="271"/>
                </a:cubicBezTo>
                <a:cubicBezTo>
                  <a:pt x="295" y="274"/>
                  <a:pt x="293" y="277"/>
                  <a:pt x="291" y="279"/>
                </a:cubicBezTo>
                <a:cubicBezTo>
                  <a:pt x="336" y="279"/>
                  <a:pt x="336" y="279"/>
                  <a:pt x="336" y="279"/>
                </a:cubicBezTo>
                <a:cubicBezTo>
                  <a:pt x="336" y="338"/>
                  <a:pt x="336" y="338"/>
                  <a:pt x="336" y="338"/>
                </a:cubicBezTo>
                <a:cubicBezTo>
                  <a:pt x="278" y="338"/>
                  <a:pt x="278" y="338"/>
                  <a:pt x="278" y="338"/>
                </a:cubicBezTo>
                <a:cubicBezTo>
                  <a:pt x="278" y="293"/>
                  <a:pt x="278" y="293"/>
                  <a:pt x="278" y="293"/>
                </a:cubicBezTo>
                <a:cubicBezTo>
                  <a:pt x="275" y="297"/>
                  <a:pt x="272" y="300"/>
                  <a:pt x="270" y="303"/>
                </a:cubicBezTo>
                <a:cubicBezTo>
                  <a:pt x="270" y="338"/>
                  <a:pt x="270" y="338"/>
                  <a:pt x="270" y="338"/>
                </a:cubicBezTo>
                <a:cubicBezTo>
                  <a:pt x="212" y="338"/>
                  <a:pt x="212" y="338"/>
                  <a:pt x="212" y="338"/>
                </a:cubicBezTo>
                <a:cubicBezTo>
                  <a:pt x="212" y="293"/>
                  <a:pt x="212" y="293"/>
                  <a:pt x="212" y="293"/>
                </a:cubicBezTo>
                <a:cubicBezTo>
                  <a:pt x="209" y="292"/>
                  <a:pt x="207" y="290"/>
                  <a:pt x="204" y="289"/>
                </a:cubicBezTo>
                <a:cubicBezTo>
                  <a:pt x="204" y="338"/>
                  <a:pt x="204" y="338"/>
                  <a:pt x="204" y="338"/>
                </a:cubicBezTo>
                <a:cubicBezTo>
                  <a:pt x="152" y="338"/>
                  <a:pt x="152" y="338"/>
                  <a:pt x="152" y="338"/>
                </a:cubicBezTo>
                <a:cubicBezTo>
                  <a:pt x="147" y="343"/>
                  <a:pt x="143" y="349"/>
                  <a:pt x="138" y="355"/>
                </a:cubicBezTo>
                <a:cubicBezTo>
                  <a:pt x="138" y="404"/>
                  <a:pt x="138" y="404"/>
                  <a:pt x="138" y="404"/>
                </a:cubicBezTo>
                <a:cubicBezTo>
                  <a:pt x="99" y="404"/>
                  <a:pt x="99" y="404"/>
                  <a:pt x="99" y="404"/>
                </a:cubicBezTo>
                <a:cubicBezTo>
                  <a:pt x="97" y="407"/>
                  <a:pt x="95" y="410"/>
                  <a:pt x="93" y="412"/>
                </a:cubicBezTo>
                <a:cubicBezTo>
                  <a:pt x="138" y="412"/>
                  <a:pt x="138" y="412"/>
                  <a:pt x="138" y="412"/>
                </a:cubicBezTo>
                <a:cubicBezTo>
                  <a:pt x="138" y="465"/>
                  <a:pt x="138" y="465"/>
                  <a:pt x="138" y="465"/>
                </a:cubicBezTo>
                <a:cubicBezTo>
                  <a:pt x="116" y="465"/>
                  <a:pt x="97" y="465"/>
                  <a:pt x="80" y="465"/>
                </a:cubicBezTo>
                <a:cubicBezTo>
                  <a:pt x="80" y="428"/>
                  <a:pt x="80" y="428"/>
                  <a:pt x="80" y="428"/>
                </a:cubicBezTo>
                <a:cubicBezTo>
                  <a:pt x="77" y="432"/>
                  <a:pt x="74" y="435"/>
                  <a:pt x="72" y="438"/>
                </a:cubicBezTo>
                <a:cubicBezTo>
                  <a:pt x="72" y="465"/>
                  <a:pt x="72" y="465"/>
                  <a:pt x="72" y="465"/>
                </a:cubicBezTo>
                <a:cubicBezTo>
                  <a:pt x="64" y="465"/>
                  <a:pt x="57" y="465"/>
                  <a:pt x="51" y="465"/>
                </a:cubicBezTo>
                <a:cubicBezTo>
                  <a:pt x="48" y="465"/>
                  <a:pt x="45" y="465"/>
                  <a:pt x="42" y="465"/>
                </a:cubicBezTo>
                <a:close/>
                <a:moveTo>
                  <a:pt x="476" y="465"/>
                </a:moveTo>
                <a:cubicBezTo>
                  <a:pt x="476" y="412"/>
                  <a:pt x="476" y="412"/>
                  <a:pt x="476" y="412"/>
                </a:cubicBezTo>
                <a:cubicBezTo>
                  <a:pt x="528" y="412"/>
                  <a:pt x="528" y="412"/>
                  <a:pt x="528" y="412"/>
                </a:cubicBezTo>
                <a:cubicBezTo>
                  <a:pt x="528" y="441"/>
                  <a:pt x="528" y="461"/>
                  <a:pt x="528" y="465"/>
                </a:cubicBezTo>
                <a:cubicBezTo>
                  <a:pt x="525" y="465"/>
                  <a:pt x="506" y="465"/>
                  <a:pt x="476" y="465"/>
                </a:cubicBezTo>
                <a:close/>
              </a:path>
            </a:pathLst>
          </a:custGeom>
          <a:solidFill>
            <a:schemeClr val="accent1"/>
          </a:solidFill>
          <a:ln>
            <a:noFill/>
          </a:ln>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000000"/>
              </a:solidFill>
              <a:effectLst/>
              <a:uLnTx/>
              <a:uFillTx/>
            </a:endParaRPr>
          </a:p>
        </p:txBody>
      </p:sp>
      <p:grpSp>
        <p:nvGrpSpPr>
          <p:cNvPr id="1193" name="Group 1192"/>
          <p:cNvGrpSpPr/>
          <p:nvPr/>
        </p:nvGrpSpPr>
        <p:grpSpPr>
          <a:xfrm>
            <a:off x="1059179" y="3592378"/>
            <a:ext cx="303285" cy="94714"/>
            <a:chOff x="1087783" y="4811378"/>
            <a:chExt cx="303285" cy="94714"/>
          </a:xfrm>
        </p:grpSpPr>
        <p:cxnSp>
          <p:nvCxnSpPr>
            <p:cNvPr id="1201" name="Straight Connector 1200"/>
            <p:cNvCxnSpPr/>
            <p:nvPr/>
          </p:nvCxnSpPr>
          <p:spPr>
            <a:xfrm>
              <a:off x="1087783" y="4811378"/>
              <a:ext cx="303285"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202" name="Straight Connector 1201"/>
            <p:cNvCxnSpPr/>
            <p:nvPr/>
          </p:nvCxnSpPr>
          <p:spPr>
            <a:xfrm>
              <a:off x="1087783" y="4842949"/>
              <a:ext cx="303285"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203" name="Straight Connector 1202"/>
            <p:cNvCxnSpPr/>
            <p:nvPr/>
          </p:nvCxnSpPr>
          <p:spPr>
            <a:xfrm>
              <a:off x="1087783" y="4874520"/>
              <a:ext cx="303285"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204" name="Straight Connector 1203"/>
            <p:cNvCxnSpPr/>
            <p:nvPr/>
          </p:nvCxnSpPr>
          <p:spPr>
            <a:xfrm>
              <a:off x="1087783" y="4906092"/>
              <a:ext cx="303285" cy="0"/>
            </a:xfrm>
            <a:prstGeom prst="line">
              <a:avLst/>
            </a:prstGeom>
            <a:ln w="3175"/>
          </p:spPr>
          <p:style>
            <a:lnRef idx="1">
              <a:schemeClr val="accent1"/>
            </a:lnRef>
            <a:fillRef idx="0">
              <a:schemeClr val="accent1"/>
            </a:fillRef>
            <a:effectRef idx="0">
              <a:schemeClr val="accent1"/>
            </a:effectRef>
            <a:fontRef idx="minor">
              <a:schemeClr val="tx1"/>
            </a:fontRef>
          </p:style>
        </p:cxnSp>
      </p:grpSp>
      <p:grpSp>
        <p:nvGrpSpPr>
          <p:cNvPr id="1194" name="Group 1193"/>
          <p:cNvGrpSpPr/>
          <p:nvPr/>
        </p:nvGrpSpPr>
        <p:grpSpPr>
          <a:xfrm>
            <a:off x="1118826" y="3598310"/>
            <a:ext cx="214851" cy="90236"/>
            <a:chOff x="1147430" y="4813911"/>
            <a:chExt cx="214851" cy="90236"/>
          </a:xfrm>
        </p:grpSpPr>
        <p:sp>
          <p:nvSpPr>
            <p:cNvPr id="1195" name="Rectangle 1194"/>
            <p:cNvSpPr/>
            <p:nvPr/>
          </p:nvSpPr>
          <p:spPr bwMode="auto">
            <a:xfrm>
              <a:off x="1147430" y="4853212"/>
              <a:ext cx="25807" cy="509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96" name="Rectangle 1195"/>
            <p:cNvSpPr/>
            <p:nvPr/>
          </p:nvSpPr>
          <p:spPr bwMode="auto">
            <a:xfrm>
              <a:off x="1171289" y="4813911"/>
              <a:ext cx="25807" cy="902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97" name="Rectangle 1196"/>
            <p:cNvSpPr/>
            <p:nvPr/>
          </p:nvSpPr>
          <p:spPr bwMode="auto">
            <a:xfrm>
              <a:off x="1225169" y="4853212"/>
              <a:ext cx="25807" cy="5093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98" name="Rectangle 1197"/>
            <p:cNvSpPr/>
            <p:nvPr/>
          </p:nvSpPr>
          <p:spPr bwMode="auto">
            <a:xfrm>
              <a:off x="1251486" y="4840139"/>
              <a:ext cx="25807" cy="640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99" name="Rectangle 1198"/>
            <p:cNvSpPr/>
            <p:nvPr/>
          </p:nvSpPr>
          <p:spPr bwMode="auto">
            <a:xfrm>
              <a:off x="1310157" y="4874880"/>
              <a:ext cx="25807" cy="2926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0" name="Rectangle 1199"/>
            <p:cNvSpPr/>
            <p:nvPr/>
          </p:nvSpPr>
          <p:spPr bwMode="auto">
            <a:xfrm>
              <a:off x="1336474" y="4852297"/>
              <a:ext cx="25807" cy="518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762" name="Group 1761"/>
          <p:cNvGrpSpPr/>
          <p:nvPr/>
        </p:nvGrpSpPr>
        <p:grpSpPr>
          <a:xfrm>
            <a:off x="549591" y="4577372"/>
            <a:ext cx="2106044" cy="411480"/>
            <a:chOff x="831806" y="3541920"/>
            <a:chExt cx="752119" cy="1261873"/>
          </a:xfrm>
        </p:grpSpPr>
        <p:sp>
          <p:nvSpPr>
            <p:cNvPr id="1763" name="Rectangle 1762"/>
            <p:cNvSpPr/>
            <p:nvPr/>
          </p:nvSpPr>
          <p:spPr bwMode="auto">
            <a:xfrm>
              <a:off x="831806" y="3541922"/>
              <a:ext cx="752119" cy="12618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Use remote diagnostics to reengineer products for better performance</a:t>
              </a:r>
            </a:p>
          </p:txBody>
        </p:sp>
        <p:cxnSp>
          <p:nvCxnSpPr>
            <p:cNvPr id="1764" name="Straight Connector 1763"/>
            <p:cNvCxnSpPr/>
            <p:nvPr/>
          </p:nvCxnSpPr>
          <p:spPr>
            <a:xfrm flipV="1">
              <a:off x="831806" y="3541920"/>
              <a:ext cx="0" cy="1261873"/>
            </a:xfrm>
            <a:prstGeom prst="line">
              <a:avLst/>
            </a:prstGeom>
            <a:solidFill>
              <a:srgbClr val="8DC548">
                <a:alpha val="50000"/>
              </a:srgbClr>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069" name="Group 1068"/>
          <p:cNvGrpSpPr/>
          <p:nvPr/>
        </p:nvGrpSpPr>
        <p:grpSpPr>
          <a:xfrm>
            <a:off x="7414638" y="4291826"/>
            <a:ext cx="1218286" cy="413703"/>
            <a:chOff x="6209881" y="2359257"/>
            <a:chExt cx="1107533" cy="341904"/>
          </a:xfrm>
        </p:grpSpPr>
        <p:grpSp>
          <p:nvGrpSpPr>
            <p:cNvPr id="1070" name="Group 1069"/>
            <p:cNvGrpSpPr/>
            <p:nvPr/>
          </p:nvGrpSpPr>
          <p:grpSpPr>
            <a:xfrm rot="18024326">
              <a:off x="6175248" y="2393890"/>
              <a:ext cx="211348" cy="142081"/>
              <a:chOff x="3136655" y="5749640"/>
              <a:chExt cx="167801" cy="112806"/>
            </a:xfrm>
            <a:solidFill>
              <a:schemeClr val="accent1"/>
            </a:solidFill>
          </p:grpSpPr>
          <p:sp>
            <p:nvSpPr>
              <p:cNvPr id="1088"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9"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90"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71" name="Group 1070"/>
            <p:cNvGrpSpPr/>
            <p:nvPr/>
          </p:nvGrpSpPr>
          <p:grpSpPr>
            <a:xfrm>
              <a:off x="6346689" y="2376382"/>
              <a:ext cx="970725" cy="324779"/>
              <a:chOff x="-120317" y="2227654"/>
              <a:chExt cx="12842245" cy="4296675"/>
            </a:xfrm>
          </p:grpSpPr>
          <p:grpSp>
            <p:nvGrpSpPr>
              <p:cNvPr id="1072" name="Group 1071"/>
              <p:cNvGrpSpPr/>
              <p:nvPr/>
            </p:nvGrpSpPr>
            <p:grpSpPr>
              <a:xfrm>
                <a:off x="-120317" y="2227654"/>
                <a:ext cx="12842245" cy="4296675"/>
                <a:chOff x="-120316" y="1299411"/>
                <a:chExt cx="12842243" cy="4296675"/>
              </a:xfrm>
            </p:grpSpPr>
            <p:sp>
              <p:nvSpPr>
                <p:cNvPr id="1074" name="Freeform 1073"/>
                <p:cNvSpPr/>
                <p:nvPr/>
              </p:nvSpPr>
              <p:spPr bwMode="auto">
                <a:xfrm>
                  <a:off x="-112861" y="1299411"/>
                  <a:ext cx="12828018" cy="3773269"/>
                </a:xfrm>
                <a:custGeom>
                  <a:avLst/>
                  <a:gdLst>
                    <a:gd name="connsiteX0" fmla="*/ 1259872 w 12828018"/>
                    <a:gd name="connsiteY0" fmla="*/ 3489157 h 3773269"/>
                    <a:gd name="connsiteX1" fmla="*/ 1275914 w 12828018"/>
                    <a:gd name="connsiteY1" fmla="*/ 3312694 h 3773269"/>
                    <a:gd name="connsiteX2" fmla="*/ 1307998 w 12828018"/>
                    <a:gd name="connsiteY2" fmla="*/ 3072063 h 3773269"/>
                    <a:gd name="connsiteX3" fmla="*/ 1380187 w 12828018"/>
                    <a:gd name="connsiteY3" fmla="*/ 2863515 h 3773269"/>
                    <a:gd name="connsiteX4" fmla="*/ 1476440 w 12828018"/>
                    <a:gd name="connsiteY4" fmla="*/ 2687052 h 3773269"/>
                    <a:gd name="connsiteX5" fmla="*/ 1668945 w 12828018"/>
                    <a:gd name="connsiteY5" fmla="*/ 2486526 h 3773269"/>
                    <a:gd name="connsiteX6" fmla="*/ 1885514 w 12828018"/>
                    <a:gd name="connsiteY6" fmla="*/ 2350168 h 3773269"/>
                    <a:gd name="connsiteX7" fmla="*/ 2126145 w 12828018"/>
                    <a:gd name="connsiteY7" fmla="*/ 2261936 h 3773269"/>
                    <a:gd name="connsiteX8" fmla="*/ 2471050 w 12828018"/>
                    <a:gd name="connsiteY8" fmla="*/ 2221831 h 3773269"/>
                    <a:gd name="connsiteX9" fmla="*/ 2775850 w 12828018"/>
                    <a:gd name="connsiteY9" fmla="*/ 2277978 h 3773269"/>
                    <a:gd name="connsiteX10" fmla="*/ 3112735 w 12828018"/>
                    <a:gd name="connsiteY10" fmla="*/ 2454442 h 3773269"/>
                    <a:gd name="connsiteX11" fmla="*/ 3353366 w 12828018"/>
                    <a:gd name="connsiteY11" fmla="*/ 2751221 h 3773269"/>
                    <a:gd name="connsiteX12" fmla="*/ 3433577 w 12828018"/>
                    <a:gd name="connsiteY12" fmla="*/ 2943726 h 3773269"/>
                    <a:gd name="connsiteX13" fmla="*/ 3481703 w 12828018"/>
                    <a:gd name="connsiteY13" fmla="*/ 3200400 h 3773269"/>
                    <a:gd name="connsiteX14" fmla="*/ 3513787 w 12828018"/>
                    <a:gd name="connsiteY14" fmla="*/ 3449052 h 3773269"/>
                    <a:gd name="connsiteX15" fmla="*/ 3505766 w 12828018"/>
                    <a:gd name="connsiteY15" fmla="*/ 3625515 h 3773269"/>
                    <a:gd name="connsiteX16" fmla="*/ 3505766 w 12828018"/>
                    <a:gd name="connsiteY16" fmla="*/ 3761873 h 3773269"/>
                    <a:gd name="connsiteX17" fmla="*/ 3561914 w 12828018"/>
                    <a:gd name="connsiteY17" fmla="*/ 3761873 h 3773269"/>
                    <a:gd name="connsiteX18" fmla="*/ 3722335 w 12828018"/>
                    <a:gd name="connsiteY18" fmla="*/ 3729789 h 3773269"/>
                    <a:gd name="connsiteX19" fmla="*/ 4043177 w 12828018"/>
                    <a:gd name="connsiteY19" fmla="*/ 3713747 h 3773269"/>
                    <a:gd name="connsiteX20" fmla="*/ 4596629 w 12828018"/>
                    <a:gd name="connsiteY20" fmla="*/ 3721768 h 3773269"/>
                    <a:gd name="connsiteX21" fmla="*/ 6040419 w 12828018"/>
                    <a:gd name="connsiteY21" fmla="*/ 3713747 h 3773269"/>
                    <a:gd name="connsiteX22" fmla="*/ 7572440 w 12828018"/>
                    <a:gd name="connsiteY22" fmla="*/ 3729789 h 3773269"/>
                    <a:gd name="connsiteX23" fmla="*/ 8623198 w 12828018"/>
                    <a:gd name="connsiteY23" fmla="*/ 3721768 h 3773269"/>
                    <a:gd name="connsiteX24" fmla="*/ 8960082 w 12828018"/>
                    <a:gd name="connsiteY24" fmla="*/ 3729789 h 3773269"/>
                    <a:gd name="connsiteX25" fmla="*/ 9072377 w 12828018"/>
                    <a:gd name="connsiteY25" fmla="*/ 3729789 h 3773269"/>
                    <a:gd name="connsiteX26" fmla="*/ 9128524 w 12828018"/>
                    <a:gd name="connsiteY26" fmla="*/ 3729789 h 3773269"/>
                    <a:gd name="connsiteX27" fmla="*/ 9136545 w 12828018"/>
                    <a:gd name="connsiteY27" fmla="*/ 3609473 h 3773269"/>
                    <a:gd name="connsiteX28" fmla="*/ 9128524 w 12828018"/>
                    <a:gd name="connsiteY28" fmla="*/ 3441031 h 3773269"/>
                    <a:gd name="connsiteX29" fmla="*/ 9192693 w 12828018"/>
                    <a:gd name="connsiteY29" fmla="*/ 3072063 h 3773269"/>
                    <a:gd name="connsiteX30" fmla="*/ 9313008 w 12828018"/>
                    <a:gd name="connsiteY30" fmla="*/ 2743200 h 3773269"/>
                    <a:gd name="connsiteX31" fmla="*/ 9545619 w 12828018"/>
                    <a:gd name="connsiteY31" fmla="*/ 2470484 h 3773269"/>
                    <a:gd name="connsiteX32" fmla="*/ 9898545 w 12828018"/>
                    <a:gd name="connsiteY32" fmla="*/ 2286000 h 3773269"/>
                    <a:gd name="connsiteX33" fmla="*/ 10227408 w 12828018"/>
                    <a:gd name="connsiteY33" fmla="*/ 2237873 h 3773269"/>
                    <a:gd name="connsiteX34" fmla="*/ 10652524 w 12828018"/>
                    <a:gd name="connsiteY34" fmla="*/ 2302042 h 3773269"/>
                    <a:gd name="connsiteX35" fmla="*/ 10949303 w 12828018"/>
                    <a:gd name="connsiteY35" fmla="*/ 2462463 h 3773269"/>
                    <a:gd name="connsiteX36" fmla="*/ 11165872 w 12828018"/>
                    <a:gd name="connsiteY36" fmla="*/ 2695073 h 3773269"/>
                    <a:gd name="connsiteX37" fmla="*/ 11286187 w 12828018"/>
                    <a:gd name="connsiteY37" fmla="*/ 2903621 h 3773269"/>
                    <a:gd name="connsiteX38" fmla="*/ 11318272 w 12828018"/>
                    <a:gd name="connsiteY38" fmla="*/ 3064042 h 3773269"/>
                    <a:gd name="connsiteX39" fmla="*/ 11334314 w 12828018"/>
                    <a:gd name="connsiteY39" fmla="*/ 3328736 h 3773269"/>
                    <a:gd name="connsiteX40" fmla="*/ 11318272 w 12828018"/>
                    <a:gd name="connsiteY40" fmla="*/ 3569368 h 3773269"/>
                    <a:gd name="connsiteX41" fmla="*/ 11334314 w 12828018"/>
                    <a:gd name="connsiteY41" fmla="*/ 3617494 h 3773269"/>
                    <a:gd name="connsiteX42" fmla="*/ 11462650 w 12828018"/>
                    <a:gd name="connsiteY42" fmla="*/ 3593431 h 3773269"/>
                    <a:gd name="connsiteX43" fmla="*/ 11663177 w 12828018"/>
                    <a:gd name="connsiteY43" fmla="*/ 3513221 h 3773269"/>
                    <a:gd name="connsiteX44" fmla="*/ 11951935 w 12828018"/>
                    <a:gd name="connsiteY44" fmla="*/ 3441031 h 3773269"/>
                    <a:gd name="connsiteX45" fmla="*/ 12296840 w 12828018"/>
                    <a:gd name="connsiteY45" fmla="*/ 3392905 h 3773269"/>
                    <a:gd name="connsiteX46" fmla="*/ 12601640 w 12828018"/>
                    <a:gd name="connsiteY46" fmla="*/ 3328736 h 3773269"/>
                    <a:gd name="connsiteX47" fmla="*/ 12681850 w 12828018"/>
                    <a:gd name="connsiteY47" fmla="*/ 3240505 h 3773269"/>
                    <a:gd name="connsiteX48" fmla="*/ 12721956 w 12828018"/>
                    <a:gd name="connsiteY48" fmla="*/ 3200400 h 3773269"/>
                    <a:gd name="connsiteX49" fmla="*/ 12737998 w 12828018"/>
                    <a:gd name="connsiteY49" fmla="*/ 3096126 h 3773269"/>
                    <a:gd name="connsiteX50" fmla="*/ 12810187 w 12828018"/>
                    <a:gd name="connsiteY50" fmla="*/ 2943726 h 3773269"/>
                    <a:gd name="connsiteX51" fmla="*/ 12818208 w 12828018"/>
                    <a:gd name="connsiteY51" fmla="*/ 2751221 h 3773269"/>
                    <a:gd name="connsiteX52" fmla="*/ 12818208 w 12828018"/>
                    <a:gd name="connsiteY52" fmla="*/ 2294021 h 3773269"/>
                    <a:gd name="connsiteX53" fmla="*/ 12689872 w 12828018"/>
                    <a:gd name="connsiteY53" fmla="*/ 2061410 h 3773269"/>
                    <a:gd name="connsiteX54" fmla="*/ 12593619 w 12828018"/>
                    <a:gd name="connsiteY54" fmla="*/ 1933073 h 3773269"/>
                    <a:gd name="connsiteX55" fmla="*/ 12529450 w 12828018"/>
                    <a:gd name="connsiteY55" fmla="*/ 1676400 h 3773269"/>
                    <a:gd name="connsiteX56" fmla="*/ 12417156 w 12828018"/>
                    <a:gd name="connsiteY56" fmla="*/ 1363578 h 3773269"/>
                    <a:gd name="connsiteX57" fmla="*/ 12280798 w 12828018"/>
                    <a:gd name="connsiteY57" fmla="*/ 1163052 h 3773269"/>
                    <a:gd name="connsiteX58" fmla="*/ 12248714 w 12828018"/>
                    <a:gd name="connsiteY58" fmla="*/ 1114926 h 3773269"/>
                    <a:gd name="connsiteX59" fmla="*/ 12144440 w 12828018"/>
                    <a:gd name="connsiteY59" fmla="*/ 1098884 h 3773269"/>
                    <a:gd name="connsiteX60" fmla="*/ 11695261 w 12828018"/>
                    <a:gd name="connsiteY60" fmla="*/ 1058778 h 3773269"/>
                    <a:gd name="connsiteX61" fmla="*/ 11470672 w 12828018"/>
                    <a:gd name="connsiteY61" fmla="*/ 1018673 h 3773269"/>
                    <a:gd name="connsiteX62" fmla="*/ 11085661 w 12828018"/>
                    <a:gd name="connsiteY62" fmla="*/ 874294 h 3773269"/>
                    <a:gd name="connsiteX63" fmla="*/ 10612419 w 12828018"/>
                    <a:gd name="connsiteY63" fmla="*/ 665747 h 3773269"/>
                    <a:gd name="connsiteX64" fmla="*/ 10034903 w 12828018"/>
                    <a:gd name="connsiteY64" fmla="*/ 433136 h 3773269"/>
                    <a:gd name="connsiteX65" fmla="*/ 9617808 w 12828018"/>
                    <a:gd name="connsiteY65" fmla="*/ 272715 h 3773269"/>
                    <a:gd name="connsiteX66" fmla="*/ 9160608 w 12828018"/>
                    <a:gd name="connsiteY66" fmla="*/ 152400 h 3773269"/>
                    <a:gd name="connsiteX67" fmla="*/ 8631219 w 12828018"/>
                    <a:gd name="connsiteY67" fmla="*/ 64168 h 3773269"/>
                    <a:gd name="connsiteX68" fmla="*/ 7965472 w 12828018"/>
                    <a:gd name="connsiteY68" fmla="*/ 16042 h 3773269"/>
                    <a:gd name="connsiteX69" fmla="*/ 7403998 w 12828018"/>
                    <a:gd name="connsiteY69" fmla="*/ 0 h 3773269"/>
                    <a:gd name="connsiteX70" fmla="*/ 6754293 w 12828018"/>
                    <a:gd name="connsiteY70" fmla="*/ 8021 h 3773269"/>
                    <a:gd name="connsiteX71" fmla="*/ 6208861 w 12828018"/>
                    <a:gd name="connsiteY71" fmla="*/ 56147 h 3773269"/>
                    <a:gd name="connsiteX72" fmla="*/ 5623324 w 12828018"/>
                    <a:gd name="connsiteY72" fmla="*/ 184484 h 3773269"/>
                    <a:gd name="connsiteX73" fmla="*/ 5254356 w 12828018"/>
                    <a:gd name="connsiteY73" fmla="*/ 336884 h 3773269"/>
                    <a:gd name="connsiteX74" fmla="*/ 4468293 w 12828018"/>
                    <a:gd name="connsiteY74" fmla="*/ 762000 h 3773269"/>
                    <a:gd name="connsiteX75" fmla="*/ 3834629 w 12828018"/>
                    <a:gd name="connsiteY75" fmla="*/ 1138989 h 3773269"/>
                    <a:gd name="connsiteX76" fmla="*/ 3642124 w 12828018"/>
                    <a:gd name="connsiteY76" fmla="*/ 1251284 h 3773269"/>
                    <a:gd name="connsiteX77" fmla="*/ 3457640 w 12828018"/>
                    <a:gd name="connsiteY77" fmla="*/ 1275347 h 3773269"/>
                    <a:gd name="connsiteX78" fmla="*/ 2815956 w 12828018"/>
                    <a:gd name="connsiteY78" fmla="*/ 1331494 h 3773269"/>
                    <a:gd name="connsiteX79" fmla="*/ 2158229 w 12828018"/>
                    <a:gd name="connsiteY79" fmla="*/ 1411705 h 3773269"/>
                    <a:gd name="connsiteX80" fmla="*/ 1580714 w 12828018"/>
                    <a:gd name="connsiteY80" fmla="*/ 1499936 h 3773269"/>
                    <a:gd name="connsiteX81" fmla="*/ 1075387 w 12828018"/>
                    <a:gd name="connsiteY81" fmla="*/ 1596189 h 3773269"/>
                    <a:gd name="connsiteX82" fmla="*/ 650272 w 12828018"/>
                    <a:gd name="connsiteY82" fmla="*/ 1748589 h 3773269"/>
                    <a:gd name="connsiteX83" fmla="*/ 457766 w 12828018"/>
                    <a:gd name="connsiteY83" fmla="*/ 1868905 h 3773269"/>
                    <a:gd name="connsiteX84" fmla="*/ 273282 w 12828018"/>
                    <a:gd name="connsiteY84" fmla="*/ 2101515 h 3773269"/>
                    <a:gd name="connsiteX85" fmla="*/ 169008 w 12828018"/>
                    <a:gd name="connsiteY85" fmla="*/ 2326105 h 3773269"/>
                    <a:gd name="connsiteX86" fmla="*/ 88798 w 12828018"/>
                    <a:gd name="connsiteY86" fmla="*/ 2454442 h 3773269"/>
                    <a:gd name="connsiteX87" fmla="*/ 8587 w 12828018"/>
                    <a:gd name="connsiteY87" fmla="*/ 2855494 h 3773269"/>
                    <a:gd name="connsiteX88" fmla="*/ 8587 w 12828018"/>
                    <a:gd name="connsiteY88" fmla="*/ 3080084 h 3773269"/>
                    <a:gd name="connsiteX89" fmla="*/ 64735 w 12828018"/>
                    <a:gd name="connsiteY89" fmla="*/ 3232484 h 3773269"/>
                    <a:gd name="connsiteX90" fmla="*/ 64735 w 12828018"/>
                    <a:gd name="connsiteY90" fmla="*/ 3433010 h 3773269"/>
                    <a:gd name="connsiteX91" fmla="*/ 120882 w 12828018"/>
                    <a:gd name="connsiteY91" fmla="*/ 3481136 h 3773269"/>
                    <a:gd name="connsiteX92" fmla="*/ 345472 w 12828018"/>
                    <a:gd name="connsiteY92" fmla="*/ 3601452 h 3773269"/>
                    <a:gd name="connsiteX93" fmla="*/ 706419 w 12828018"/>
                    <a:gd name="connsiteY93" fmla="*/ 3673642 h 3773269"/>
                    <a:gd name="connsiteX94" fmla="*/ 1051324 w 12828018"/>
                    <a:gd name="connsiteY94" fmla="*/ 3697705 h 3773269"/>
                    <a:gd name="connsiteX95" fmla="*/ 1251850 w 12828018"/>
                    <a:gd name="connsiteY95" fmla="*/ 3729789 h 3773269"/>
                    <a:gd name="connsiteX96" fmla="*/ 1275914 w 12828018"/>
                    <a:gd name="connsiteY96" fmla="*/ 3697705 h 3773269"/>
                    <a:gd name="connsiteX97" fmla="*/ 1259872 w 12828018"/>
                    <a:gd name="connsiteY97" fmla="*/ 3489157 h 377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28018" h="3773269">
                      <a:moveTo>
                        <a:pt x="1259872" y="3489157"/>
                      </a:moveTo>
                      <a:cubicBezTo>
                        <a:pt x="1259872" y="3424989"/>
                        <a:pt x="1267893" y="3382210"/>
                        <a:pt x="1275914" y="3312694"/>
                      </a:cubicBezTo>
                      <a:cubicBezTo>
                        <a:pt x="1283935" y="3243178"/>
                        <a:pt x="1290619" y="3146926"/>
                        <a:pt x="1307998" y="3072063"/>
                      </a:cubicBezTo>
                      <a:cubicBezTo>
                        <a:pt x="1325377" y="2997200"/>
                        <a:pt x="1352113" y="2927683"/>
                        <a:pt x="1380187" y="2863515"/>
                      </a:cubicBezTo>
                      <a:cubicBezTo>
                        <a:pt x="1408261" y="2799346"/>
                        <a:pt x="1428314" y="2749884"/>
                        <a:pt x="1476440" y="2687052"/>
                      </a:cubicBezTo>
                      <a:cubicBezTo>
                        <a:pt x="1524566" y="2624220"/>
                        <a:pt x="1600766" y="2542673"/>
                        <a:pt x="1668945" y="2486526"/>
                      </a:cubicBezTo>
                      <a:cubicBezTo>
                        <a:pt x="1737124" y="2430379"/>
                        <a:pt x="1809314" y="2387600"/>
                        <a:pt x="1885514" y="2350168"/>
                      </a:cubicBezTo>
                      <a:cubicBezTo>
                        <a:pt x="1961714" y="2312736"/>
                        <a:pt x="2028556" y="2283325"/>
                        <a:pt x="2126145" y="2261936"/>
                      </a:cubicBezTo>
                      <a:cubicBezTo>
                        <a:pt x="2223734" y="2240547"/>
                        <a:pt x="2362766" y="2219157"/>
                        <a:pt x="2471050" y="2221831"/>
                      </a:cubicBezTo>
                      <a:cubicBezTo>
                        <a:pt x="2579334" y="2224505"/>
                        <a:pt x="2668903" y="2239210"/>
                        <a:pt x="2775850" y="2277978"/>
                      </a:cubicBezTo>
                      <a:cubicBezTo>
                        <a:pt x="2882797" y="2316746"/>
                        <a:pt x="3016482" y="2375568"/>
                        <a:pt x="3112735" y="2454442"/>
                      </a:cubicBezTo>
                      <a:cubicBezTo>
                        <a:pt x="3208988" y="2533316"/>
                        <a:pt x="3299892" y="2669674"/>
                        <a:pt x="3353366" y="2751221"/>
                      </a:cubicBezTo>
                      <a:cubicBezTo>
                        <a:pt x="3406840" y="2832768"/>
                        <a:pt x="3412188" y="2868863"/>
                        <a:pt x="3433577" y="2943726"/>
                      </a:cubicBezTo>
                      <a:cubicBezTo>
                        <a:pt x="3454966" y="3018589"/>
                        <a:pt x="3468335" y="3116179"/>
                        <a:pt x="3481703" y="3200400"/>
                      </a:cubicBezTo>
                      <a:cubicBezTo>
                        <a:pt x="3495071" y="3284621"/>
                        <a:pt x="3509777" y="3378200"/>
                        <a:pt x="3513787" y="3449052"/>
                      </a:cubicBezTo>
                      <a:cubicBezTo>
                        <a:pt x="3517797" y="3519904"/>
                        <a:pt x="3507103" y="3573378"/>
                        <a:pt x="3505766" y="3625515"/>
                      </a:cubicBezTo>
                      <a:cubicBezTo>
                        <a:pt x="3504429" y="3677652"/>
                        <a:pt x="3496408" y="3739147"/>
                        <a:pt x="3505766" y="3761873"/>
                      </a:cubicBezTo>
                      <a:cubicBezTo>
                        <a:pt x="3515124" y="3784599"/>
                        <a:pt x="3525819" y="3767220"/>
                        <a:pt x="3561914" y="3761873"/>
                      </a:cubicBezTo>
                      <a:cubicBezTo>
                        <a:pt x="3598009" y="3756526"/>
                        <a:pt x="3642125" y="3737810"/>
                        <a:pt x="3722335" y="3729789"/>
                      </a:cubicBezTo>
                      <a:cubicBezTo>
                        <a:pt x="3802546" y="3721768"/>
                        <a:pt x="4043177" y="3713747"/>
                        <a:pt x="4043177" y="3713747"/>
                      </a:cubicBezTo>
                      <a:lnTo>
                        <a:pt x="4596629" y="3721768"/>
                      </a:lnTo>
                      <a:lnTo>
                        <a:pt x="6040419" y="3713747"/>
                      </a:lnTo>
                      <a:lnTo>
                        <a:pt x="7572440" y="3729789"/>
                      </a:lnTo>
                      <a:lnTo>
                        <a:pt x="8623198" y="3721768"/>
                      </a:lnTo>
                      <a:cubicBezTo>
                        <a:pt x="8854472" y="3721768"/>
                        <a:pt x="8885219" y="3728452"/>
                        <a:pt x="8960082" y="3729789"/>
                      </a:cubicBezTo>
                      <a:cubicBezTo>
                        <a:pt x="9034945" y="3731126"/>
                        <a:pt x="9072377" y="3729789"/>
                        <a:pt x="9072377" y="3729789"/>
                      </a:cubicBezTo>
                      <a:cubicBezTo>
                        <a:pt x="9100451" y="3729789"/>
                        <a:pt x="9117829" y="3749842"/>
                        <a:pt x="9128524" y="3729789"/>
                      </a:cubicBezTo>
                      <a:cubicBezTo>
                        <a:pt x="9139219" y="3709736"/>
                        <a:pt x="9136545" y="3657599"/>
                        <a:pt x="9136545" y="3609473"/>
                      </a:cubicBezTo>
                      <a:cubicBezTo>
                        <a:pt x="9136545" y="3561347"/>
                        <a:pt x="9119166" y="3530599"/>
                        <a:pt x="9128524" y="3441031"/>
                      </a:cubicBezTo>
                      <a:cubicBezTo>
                        <a:pt x="9137882" y="3351463"/>
                        <a:pt x="9161946" y="3188368"/>
                        <a:pt x="9192693" y="3072063"/>
                      </a:cubicBezTo>
                      <a:cubicBezTo>
                        <a:pt x="9223440" y="2955758"/>
                        <a:pt x="9254187" y="2843463"/>
                        <a:pt x="9313008" y="2743200"/>
                      </a:cubicBezTo>
                      <a:cubicBezTo>
                        <a:pt x="9371829" y="2642937"/>
                        <a:pt x="9448030" y="2546684"/>
                        <a:pt x="9545619" y="2470484"/>
                      </a:cubicBezTo>
                      <a:cubicBezTo>
                        <a:pt x="9643209" y="2394284"/>
                        <a:pt x="9784914" y="2324768"/>
                        <a:pt x="9898545" y="2286000"/>
                      </a:cubicBezTo>
                      <a:cubicBezTo>
                        <a:pt x="10012176" y="2247232"/>
                        <a:pt x="10101745" y="2235199"/>
                        <a:pt x="10227408" y="2237873"/>
                      </a:cubicBezTo>
                      <a:cubicBezTo>
                        <a:pt x="10353071" y="2240547"/>
                        <a:pt x="10532208" y="2264610"/>
                        <a:pt x="10652524" y="2302042"/>
                      </a:cubicBezTo>
                      <a:cubicBezTo>
                        <a:pt x="10772840" y="2339474"/>
                        <a:pt x="10863745" y="2396958"/>
                        <a:pt x="10949303" y="2462463"/>
                      </a:cubicBezTo>
                      <a:cubicBezTo>
                        <a:pt x="11034861" y="2527968"/>
                        <a:pt x="11109725" y="2621547"/>
                        <a:pt x="11165872" y="2695073"/>
                      </a:cubicBezTo>
                      <a:cubicBezTo>
                        <a:pt x="11222019" y="2768599"/>
                        <a:pt x="11260787" y="2842126"/>
                        <a:pt x="11286187" y="2903621"/>
                      </a:cubicBezTo>
                      <a:cubicBezTo>
                        <a:pt x="11311587" y="2965116"/>
                        <a:pt x="11310251" y="2993189"/>
                        <a:pt x="11318272" y="3064042"/>
                      </a:cubicBezTo>
                      <a:cubicBezTo>
                        <a:pt x="11326293" y="3134894"/>
                        <a:pt x="11334314" y="3244515"/>
                        <a:pt x="11334314" y="3328736"/>
                      </a:cubicBezTo>
                      <a:cubicBezTo>
                        <a:pt x="11334314" y="3412957"/>
                        <a:pt x="11318272" y="3521242"/>
                        <a:pt x="11318272" y="3569368"/>
                      </a:cubicBezTo>
                      <a:cubicBezTo>
                        <a:pt x="11318272" y="3617494"/>
                        <a:pt x="11310251" y="3613484"/>
                        <a:pt x="11334314" y="3617494"/>
                      </a:cubicBezTo>
                      <a:cubicBezTo>
                        <a:pt x="11358377" y="3621505"/>
                        <a:pt x="11407840" y="3610810"/>
                        <a:pt x="11462650" y="3593431"/>
                      </a:cubicBezTo>
                      <a:cubicBezTo>
                        <a:pt x="11517461" y="3576052"/>
                        <a:pt x="11581629" y="3538621"/>
                        <a:pt x="11663177" y="3513221"/>
                      </a:cubicBezTo>
                      <a:cubicBezTo>
                        <a:pt x="11744725" y="3487821"/>
                        <a:pt x="11846325" y="3461084"/>
                        <a:pt x="11951935" y="3441031"/>
                      </a:cubicBezTo>
                      <a:cubicBezTo>
                        <a:pt x="12057546" y="3420978"/>
                        <a:pt x="12188556" y="3411621"/>
                        <a:pt x="12296840" y="3392905"/>
                      </a:cubicBezTo>
                      <a:cubicBezTo>
                        <a:pt x="12405124" y="3374189"/>
                        <a:pt x="12537472" y="3354136"/>
                        <a:pt x="12601640" y="3328736"/>
                      </a:cubicBezTo>
                      <a:cubicBezTo>
                        <a:pt x="12665808" y="3303336"/>
                        <a:pt x="12661797" y="3261894"/>
                        <a:pt x="12681850" y="3240505"/>
                      </a:cubicBezTo>
                      <a:cubicBezTo>
                        <a:pt x="12701903" y="3219116"/>
                        <a:pt x="12712598" y="3224463"/>
                        <a:pt x="12721956" y="3200400"/>
                      </a:cubicBezTo>
                      <a:cubicBezTo>
                        <a:pt x="12731314" y="3176337"/>
                        <a:pt x="12723293" y="3138905"/>
                        <a:pt x="12737998" y="3096126"/>
                      </a:cubicBezTo>
                      <a:cubicBezTo>
                        <a:pt x="12752703" y="3053347"/>
                        <a:pt x="12796819" y="3001210"/>
                        <a:pt x="12810187" y="2943726"/>
                      </a:cubicBezTo>
                      <a:cubicBezTo>
                        <a:pt x="12823555" y="2886242"/>
                        <a:pt x="12816871" y="2859505"/>
                        <a:pt x="12818208" y="2751221"/>
                      </a:cubicBezTo>
                      <a:cubicBezTo>
                        <a:pt x="12819545" y="2642937"/>
                        <a:pt x="12839597" y="2408989"/>
                        <a:pt x="12818208" y="2294021"/>
                      </a:cubicBezTo>
                      <a:cubicBezTo>
                        <a:pt x="12796819" y="2179053"/>
                        <a:pt x="12727304" y="2121568"/>
                        <a:pt x="12689872" y="2061410"/>
                      </a:cubicBezTo>
                      <a:cubicBezTo>
                        <a:pt x="12652440" y="2001252"/>
                        <a:pt x="12620356" y="1997241"/>
                        <a:pt x="12593619" y="1933073"/>
                      </a:cubicBezTo>
                      <a:cubicBezTo>
                        <a:pt x="12566882" y="1868905"/>
                        <a:pt x="12558860" y="1771316"/>
                        <a:pt x="12529450" y="1676400"/>
                      </a:cubicBezTo>
                      <a:cubicBezTo>
                        <a:pt x="12500040" y="1581484"/>
                        <a:pt x="12458598" y="1449136"/>
                        <a:pt x="12417156" y="1363578"/>
                      </a:cubicBezTo>
                      <a:cubicBezTo>
                        <a:pt x="12375714" y="1278020"/>
                        <a:pt x="12308872" y="1204494"/>
                        <a:pt x="12280798" y="1163052"/>
                      </a:cubicBezTo>
                      <a:cubicBezTo>
                        <a:pt x="12252724" y="1121610"/>
                        <a:pt x="12271440" y="1125621"/>
                        <a:pt x="12248714" y="1114926"/>
                      </a:cubicBezTo>
                      <a:cubicBezTo>
                        <a:pt x="12225988" y="1104231"/>
                        <a:pt x="12236682" y="1108242"/>
                        <a:pt x="12144440" y="1098884"/>
                      </a:cubicBezTo>
                      <a:cubicBezTo>
                        <a:pt x="12052198" y="1089526"/>
                        <a:pt x="11807556" y="1072147"/>
                        <a:pt x="11695261" y="1058778"/>
                      </a:cubicBezTo>
                      <a:cubicBezTo>
                        <a:pt x="11582966" y="1045409"/>
                        <a:pt x="11572272" y="1049420"/>
                        <a:pt x="11470672" y="1018673"/>
                      </a:cubicBezTo>
                      <a:cubicBezTo>
                        <a:pt x="11369072" y="987926"/>
                        <a:pt x="11228703" y="933115"/>
                        <a:pt x="11085661" y="874294"/>
                      </a:cubicBezTo>
                      <a:cubicBezTo>
                        <a:pt x="10942619" y="815473"/>
                        <a:pt x="10787545" y="739273"/>
                        <a:pt x="10612419" y="665747"/>
                      </a:cubicBezTo>
                      <a:cubicBezTo>
                        <a:pt x="10437293" y="592221"/>
                        <a:pt x="10200671" y="498641"/>
                        <a:pt x="10034903" y="433136"/>
                      </a:cubicBezTo>
                      <a:cubicBezTo>
                        <a:pt x="9869135" y="367631"/>
                        <a:pt x="9763524" y="319504"/>
                        <a:pt x="9617808" y="272715"/>
                      </a:cubicBezTo>
                      <a:cubicBezTo>
                        <a:pt x="9472092" y="225926"/>
                        <a:pt x="9325040" y="187158"/>
                        <a:pt x="9160608" y="152400"/>
                      </a:cubicBezTo>
                      <a:cubicBezTo>
                        <a:pt x="8996177" y="117642"/>
                        <a:pt x="8830408" y="86894"/>
                        <a:pt x="8631219" y="64168"/>
                      </a:cubicBezTo>
                      <a:cubicBezTo>
                        <a:pt x="8432030" y="41442"/>
                        <a:pt x="8170009" y="26737"/>
                        <a:pt x="7965472" y="16042"/>
                      </a:cubicBezTo>
                      <a:cubicBezTo>
                        <a:pt x="7760935" y="5347"/>
                        <a:pt x="7403998" y="0"/>
                        <a:pt x="7403998" y="0"/>
                      </a:cubicBezTo>
                      <a:lnTo>
                        <a:pt x="6754293" y="8021"/>
                      </a:lnTo>
                      <a:cubicBezTo>
                        <a:pt x="6555104" y="17379"/>
                        <a:pt x="6397356" y="26736"/>
                        <a:pt x="6208861" y="56147"/>
                      </a:cubicBezTo>
                      <a:cubicBezTo>
                        <a:pt x="6020366" y="85558"/>
                        <a:pt x="5782408" y="137695"/>
                        <a:pt x="5623324" y="184484"/>
                      </a:cubicBezTo>
                      <a:cubicBezTo>
                        <a:pt x="5464240" y="231273"/>
                        <a:pt x="5446861" y="240631"/>
                        <a:pt x="5254356" y="336884"/>
                      </a:cubicBezTo>
                      <a:cubicBezTo>
                        <a:pt x="5061851" y="433137"/>
                        <a:pt x="4704914" y="628316"/>
                        <a:pt x="4468293" y="762000"/>
                      </a:cubicBezTo>
                      <a:cubicBezTo>
                        <a:pt x="4231672" y="895684"/>
                        <a:pt x="3834629" y="1138989"/>
                        <a:pt x="3834629" y="1138989"/>
                      </a:cubicBezTo>
                      <a:cubicBezTo>
                        <a:pt x="3696934" y="1220536"/>
                        <a:pt x="3704956" y="1228558"/>
                        <a:pt x="3642124" y="1251284"/>
                      </a:cubicBezTo>
                      <a:cubicBezTo>
                        <a:pt x="3579293" y="1274010"/>
                        <a:pt x="3457640" y="1275347"/>
                        <a:pt x="3457640" y="1275347"/>
                      </a:cubicBezTo>
                      <a:lnTo>
                        <a:pt x="2815956" y="1331494"/>
                      </a:lnTo>
                      <a:cubicBezTo>
                        <a:pt x="2599388" y="1354220"/>
                        <a:pt x="2364103" y="1383631"/>
                        <a:pt x="2158229" y="1411705"/>
                      </a:cubicBezTo>
                      <a:cubicBezTo>
                        <a:pt x="1952355" y="1439779"/>
                        <a:pt x="1761188" y="1469189"/>
                        <a:pt x="1580714" y="1499936"/>
                      </a:cubicBezTo>
                      <a:cubicBezTo>
                        <a:pt x="1400240" y="1530683"/>
                        <a:pt x="1230461" y="1554747"/>
                        <a:pt x="1075387" y="1596189"/>
                      </a:cubicBezTo>
                      <a:cubicBezTo>
                        <a:pt x="920313" y="1637631"/>
                        <a:pt x="753209" y="1703136"/>
                        <a:pt x="650272" y="1748589"/>
                      </a:cubicBezTo>
                      <a:cubicBezTo>
                        <a:pt x="547335" y="1794042"/>
                        <a:pt x="520597" y="1810084"/>
                        <a:pt x="457766" y="1868905"/>
                      </a:cubicBezTo>
                      <a:cubicBezTo>
                        <a:pt x="394935" y="1927726"/>
                        <a:pt x="321408" y="2025315"/>
                        <a:pt x="273282" y="2101515"/>
                      </a:cubicBezTo>
                      <a:cubicBezTo>
                        <a:pt x="225156" y="2177715"/>
                        <a:pt x="199755" y="2267284"/>
                        <a:pt x="169008" y="2326105"/>
                      </a:cubicBezTo>
                      <a:cubicBezTo>
                        <a:pt x="138261" y="2384926"/>
                        <a:pt x="115535" y="2366211"/>
                        <a:pt x="88798" y="2454442"/>
                      </a:cubicBezTo>
                      <a:cubicBezTo>
                        <a:pt x="62061" y="2542673"/>
                        <a:pt x="21956" y="2751220"/>
                        <a:pt x="8587" y="2855494"/>
                      </a:cubicBezTo>
                      <a:cubicBezTo>
                        <a:pt x="-4782" y="2959768"/>
                        <a:pt x="-771" y="3017253"/>
                        <a:pt x="8587" y="3080084"/>
                      </a:cubicBezTo>
                      <a:cubicBezTo>
                        <a:pt x="17945" y="3142915"/>
                        <a:pt x="55377" y="3173663"/>
                        <a:pt x="64735" y="3232484"/>
                      </a:cubicBezTo>
                      <a:cubicBezTo>
                        <a:pt x="74093" y="3291305"/>
                        <a:pt x="55377" y="3391568"/>
                        <a:pt x="64735" y="3433010"/>
                      </a:cubicBezTo>
                      <a:cubicBezTo>
                        <a:pt x="74093" y="3474452"/>
                        <a:pt x="74092" y="3453062"/>
                        <a:pt x="120882" y="3481136"/>
                      </a:cubicBezTo>
                      <a:cubicBezTo>
                        <a:pt x="167671" y="3509210"/>
                        <a:pt x="247883" y="3569368"/>
                        <a:pt x="345472" y="3601452"/>
                      </a:cubicBezTo>
                      <a:cubicBezTo>
                        <a:pt x="443061" y="3633536"/>
                        <a:pt x="588777" y="3657600"/>
                        <a:pt x="706419" y="3673642"/>
                      </a:cubicBezTo>
                      <a:cubicBezTo>
                        <a:pt x="824061" y="3689684"/>
                        <a:pt x="960419" y="3688347"/>
                        <a:pt x="1051324" y="3697705"/>
                      </a:cubicBezTo>
                      <a:cubicBezTo>
                        <a:pt x="1142229" y="3707063"/>
                        <a:pt x="1214418" y="3729789"/>
                        <a:pt x="1251850" y="3729789"/>
                      </a:cubicBezTo>
                      <a:cubicBezTo>
                        <a:pt x="1289282" y="3729789"/>
                        <a:pt x="1273240" y="3739147"/>
                        <a:pt x="1275914" y="3697705"/>
                      </a:cubicBezTo>
                      <a:cubicBezTo>
                        <a:pt x="1278588" y="3656263"/>
                        <a:pt x="1259872" y="3553325"/>
                        <a:pt x="1259872" y="348915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5" name="Oval 1074"/>
                <p:cNvSpPr/>
                <p:nvPr/>
              </p:nvSpPr>
              <p:spPr bwMode="auto">
                <a:xfrm>
                  <a:off x="1367928"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6" name="Oval 1075"/>
                <p:cNvSpPr/>
                <p:nvPr/>
              </p:nvSpPr>
              <p:spPr bwMode="auto">
                <a:xfrm>
                  <a:off x="9163831"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7" name="Oval 1076"/>
                <p:cNvSpPr/>
                <p:nvPr/>
              </p:nvSpPr>
              <p:spPr bwMode="auto">
                <a:xfrm>
                  <a:off x="1677434"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8" name="Oval 1077"/>
                <p:cNvSpPr/>
                <p:nvPr/>
              </p:nvSpPr>
              <p:spPr bwMode="auto">
                <a:xfrm>
                  <a:off x="9493068"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9" name="Freeform 1078"/>
                <p:cNvSpPr/>
                <p:nvPr/>
              </p:nvSpPr>
              <p:spPr bwMode="auto">
                <a:xfrm>
                  <a:off x="6023811" y="3064042"/>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0" name="Freeform 1079"/>
                <p:cNvSpPr/>
                <p:nvPr/>
              </p:nvSpPr>
              <p:spPr bwMode="auto">
                <a:xfrm>
                  <a:off x="8857759" y="2942649"/>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1" name="Freeform 1080"/>
                <p:cNvSpPr/>
                <p:nvPr/>
              </p:nvSpPr>
              <p:spPr bwMode="auto">
                <a:xfrm>
                  <a:off x="3745051" y="1498174"/>
                  <a:ext cx="6253764" cy="1405533"/>
                </a:xfrm>
                <a:custGeom>
                  <a:avLst/>
                  <a:gdLst>
                    <a:gd name="connsiteX0" fmla="*/ 193076 w 6255901"/>
                    <a:gd name="connsiteY0" fmla="*/ 1164815 h 1405533"/>
                    <a:gd name="connsiteX1" fmla="*/ 393602 w 6255901"/>
                    <a:gd name="connsiteY1" fmla="*/ 1004394 h 1405533"/>
                    <a:gd name="connsiteX2" fmla="*/ 690381 w 6255901"/>
                    <a:gd name="connsiteY2" fmla="*/ 827931 h 1405533"/>
                    <a:gd name="connsiteX3" fmla="*/ 1059350 w 6255901"/>
                    <a:gd name="connsiteY3" fmla="*/ 611363 h 1405533"/>
                    <a:gd name="connsiteX4" fmla="*/ 1468423 w 6255901"/>
                    <a:gd name="connsiteY4" fmla="*/ 378752 h 1405533"/>
                    <a:gd name="connsiteX5" fmla="*/ 1749160 w 6255901"/>
                    <a:gd name="connsiteY5" fmla="*/ 250415 h 1405533"/>
                    <a:gd name="connsiteX6" fmla="*/ 2158234 w 6255901"/>
                    <a:gd name="connsiteY6" fmla="*/ 138121 h 1405533"/>
                    <a:gd name="connsiteX7" fmla="*/ 2799918 w 6255901"/>
                    <a:gd name="connsiteY7" fmla="*/ 33847 h 1405533"/>
                    <a:gd name="connsiteX8" fmla="*/ 3305244 w 6255901"/>
                    <a:gd name="connsiteY8" fmla="*/ 9784 h 1405533"/>
                    <a:gd name="connsiteX9" fmla="*/ 3834634 w 6255901"/>
                    <a:gd name="connsiteY9" fmla="*/ 1763 h 1405533"/>
                    <a:gd name="connsiteX10" fmla="*/ 4508402 w 6255901"/>
                    <a:gd name="connsiteY10" fmla="*/ 41868 h 1405533"/>
                    <a:gd name="connsiteX11" fmla="*/ 5206234 w 6255901"/>
                    <a:gd name="connsiteY11" fmla="*/ 146142 h 1405533"/>
                    <a:gd name="connsiteX12" fmla="*/ 5687497 w 6255901"/>
                    <a:gd name="connsiteY12" fmla="*/ 298542 h 1405533"/>
                    <a:gd name="connsiteX13" fmla="*/ 6088550 w 6255901"/>
                    <a:gd name="connsiteY13" fmla="*/ 475005 h 1405533"/>
                    <a:gd name="connsiteX14" fmla="*/ 6224907 w 6255901"/>
                    <a:gd name="connsiteY14" fmla="*/ 563237 h 1405533"/>
                    <a:gd name="connsiteX15" fmla="*/ 6248971 w 6255901"/>
                    <a:gd name="connsiteY15" fmla="*/ 707615 h 1405533"/>
                    <a:gd name="connsiteX16" fmla="*/ 6128655 w 6255901"/>
                    <a:gd name="connsiteY16" fmla="*/ 1044500 h 1405533"/>
                    <a:gd name="connsiteX17" fmla="*/ 6120634 w 6255901"/>
                    <a:gd name="connsiteY17" fmla="*/ 1100647 h 1405533"/>
                    <a:gd name="connsiteX18" fmla="*/ 6032402 w 6255901"/>
                    <a:gd name="connsiteY18" fmla="*/ 1108668 h 1405533"/>
                    <a:gd name="connsiteX19" fmla="*/ 5326550 w 6255901"/>
                    <a:gd name="connsiteY19" fmla="*/ 1148773 h 1405533"/>
                    <a:gd name="connsiteX20" fmla="*/ 3979013 w 6255901"/>
                    <a:gd name="connsiteY20" fmla="*/ 1196900 h 1405533"/>
                    <a:gd name="connsiteX21" fmla="*/ 3192950 w 6255901"/>
                    <a:gd name="connsiteY21" fmla="*/ 1237005 h 1405533"/>
                    <a:gd name="connsiteX22" fmla="*/ 2053960 w 6255901"/>
                    <a:gd name="connsiteY22" fmla="*/ 1285131 h 1405533"/>
                    <a:gd name="connsiteX23" fmla="*/ 1059350 w 6255901"/>
                    <a:gd name="connsiteY23" fmla="*/ 1341279 h 1405533"/>
                    <a:gd name="connsiteX24" fmla="*/ 489855 w 6255901"/>
                    <a:gd name="connsiteY24" fmla="*/ 1373363 h 1405533"/>
                    <a:gd name="connsiteX25" fmla="*/ 120886 w 6255901"/>
                    <a:gd name="connsiteY25" fmla="*/ 1397426 h 1405533"/>
                    <a:gd name="connsiteX26" fmla="*/ 571 w 6255901"/>
                    <a:gd name="connsiteY26" fmla="*/ 1397426 h 1405533"/>
                    <a:gd name="connsiteX27" fmla="*/ 80781 w 6255901"/>
                    <a:gd name="connsiteY27" fmla="*/ 1301173 h 1405533"/>
                    <a:gd name="connsiteX28" fmla="*/ 193076 w 6255901"/>
                    <a:gd name="connsiteY28" fmla="*/ 1164815 h 1405533"/>
                    <a:gd name="connsiteX0" fmla="*/ 193286 w 6256111"/>
                    <a:gd name="connsiteY0" fmla="*/ 1164815 h 1405533"/>
                    <a:gd name="connsiteX1" fmla="*/ 393812 w 6256111"/>
                    <a:gd name="connsiteY1" fmla="*/ 1004394 h 1405533"/>
                    <a:gd name="connsiteX2" fmla="*/ 690591 w 6256111"/>
                    <a:gd name="connsiteY2" fmla="*/ 827931 h 1405533"/>
                    <a:gd name="connsiteX3" fmla="*/ 1059560 w 6256111"/>
                    <a:gd name="connsiteY3" fmla="*/ 611363 h 1405533"/>
                    <a:gd name="connsiteX4" fmla="*/ 1468633 w 6256111"/>
                    <a:gd name="connsiteY4" fmla="*/ 378752 h 1405533"/>
                    <a:gd name="connsiteX5" fmla="*/ 1749370 w 6256111"/>
                    <a:gd name="connsiteY5" fmla="*/ 250415 h 1405533"/>
                    <a:gd name="connsiteX6" fmla="*/ 2158444 w 6256111"/>
                    <a:gd name="connsiteY6" fmla="*/ 138121 h 1405533"/>
                    <a:gd name="connsiteX7" fmla="*/ 2800128 w 6256111"/>
                    <a:gd name="connsiteY7" fmla="*/ 33847 h 1405533"/>
                    <a:gd name="connsiteX8" fmla="*/ 3305454 w 6256111"/>
                    <a:gd name="connsiteY8" fmla="*/ 9784 h 1405533"/>
                    <a:gd name="connsiteX9" fmla="*/ 3834844 w 6256111"/>
                    <a:gd name="connsiteY9" fmla="*/ 1763 h 1405533"/>
                    <a:gd name="connsiteX10" fmla="*/ 4508612 w 6256111"/>
                    <a:gd name="connsiteY10" fmla="*/ 41868 h 1405533"/>
                    <a:gd name="connsiteX11" fmla="*/ 5206444 w 6256111"/>
                    <a:gd name="connsiteY11" fmla="*/ 146142 h 1405533"/>
                    <a:gd name="connsiteX12" fmla="*/ 5687707 w 6256111"/>
                    <a:gd name="connsiteY12" fmla="*/ 298542 h 1405533"/>
                    <a:gd name="connsiteX13" fmla="*/ 6088760 w 6256111"/>
                    <a:gd name="connsiteY13" fmla="*/ 475005 h 1405533"/>
                    <a:gd name="connsiteX14" fmla="*/ 6225117 w 6256111"/>
                    <a:gd name="connsiteY14" fmla="*/ 563237 h 1405533"/>
                    <a:gd name="connsiteX15" fmla="*/ 6249181 w 6256111"/>
                    <a:gd name="connsiteY15" fmla="*/ 707615 h 1405533"/>
                    <a:gd name="connsiteX16" fmla="*/ 6128865 w 6256111"/>
                    <a:gd name="connsiteY16" fmla="*/ 1044500 h 1405533"/>
                    <a:gd name="connsiteX17" fmla="*/ 6120844 w 6256111"/>
                    <a:gd name="connsiteY17" fmla="*/ 1100647 h 1405533"/>
                    <a:gd name="connsiteX18" fmla="*/ 6032612 w 6256111"/>
                    <a:gd name="connsiteY18" fmla="*/ 1108668 h 1405533"/>
                    <a:gd name="connsiteX19" fmla="*/ 5326760 w 6256111"/>
                    <a:gd name="connsiteY19" fmla="*/ 1148773 h 1405533"/>
                    <a:gd name="connsiteX20" fmla="*/ 3979223 w 6256111"/>
                    <a:gd name="connsiteY20" fmla="*/ 1196900 h 1405533"/>
                    <a:gd name="connsiteX21" fmla="*/ 3193160 w 6256111"/>
                    <a:gd name="connsiteY21" fmla="*/ 1237005 h 1405533"/>
                    <a:gd name="connsiteX22" fmla="*/ 2054170 w 6256111"/>
                    <a:gd name="connsiteY22" fmla="*/ 1285131 h 1405533"/>
                    <a:gd name="connsiteX23" fmla="*/ 1059560 w 6256111"/>
                    <a:gd name="connsiteY23" fmla="*/ 1341279 h 1405533"/>
                    <a:gd name="connsiteX24" fmla="*/ 490065 w 6256111"/>
                    <a:gd name="connsiteY24" fmla="*/ 1373363 h 1405533"/>
                    <a:gd name="connsiteX25" fmla="*/ 121096 w 6256111"/>
                    <a:gd name="connsiteY25" fmla="*/ 1397426 h 1405533"/>
                    <a:gd name="connsiteX26" fmla="*/ 781 w 6256111"/>
                    <a:gd name="connsiteY26" fmla="*/ 1397426 h 1405533"/>
                    <a:gd name="connsiteX27" fmla="*/ 64949 w 6256111"/>
                    <a:gd name="connsiteY27" fmla="*/ 1277110 h 1405533"/>
                    <a:gd name="connsiteX28" fmla="*/ 193286 w 6256111"/>
                    <a:gd name="connsiteY28" fmla="*/ 1164815 h 1405533"/>
                    <a:gd name="connsiteX0" fmla="*/ 193286 w 6253764"/>
                    <a:gd name="connsiteY0" fmla="*/ 1164815 h 1405533"/>
                    <a:gd name="connsiteX1" fmla="*/ 393812 w 6253764"/>
                    <a:gd name="connsiteY1" fmla="*/ 1004394 h 1405533"/>
                    <a:gd name="connsiteX2" fmla="*/ 690591 w 6253764"/>
                    <a:gd name="connsiteY2" fmla="*/ 827931 h 1405533"/>
                    <a:gd name="connsiteX3" fmla="*/ 1059560 w 6253764"/>
                    <a:gd name="connsiteY3" fmla="*/ 611363 h 1405533"/>
                    <a:gd name="connsiteX4" fmla="*/ 1468633 w 6253764"/>
                    <a:gd name="connsiteY4" fmla="*/ 378752 h 1405533"/>
                    <a:gd name="connsiteX5" fmla="*/ 1749370 w 6253764"/>
                    <a:gd name="connsiteY5" fmla="*/ 250415 h 1405533"/>
                    <a:gd name="connsiteX6" fmla="*/ 2158444 w 6253764"/>
                    <a:gd name="connsiteY6" fmla="*/ 138121 h 1405533"/>
                    <a:gd name="connsiteX7" fmla="*/ 2800128 w 6253764"/>
                    <a:gd name="connsiteY7" fmla="*/ 33847 h 1405533"/>
                    <a:gd name="connsiteX8" fmla="*/ 3305454 w 6253764"/>
                    <a:gd name="connsiteY8" fmla="*/ 9784 h 1405533"/>
                    <a:gd name="connsiteX9" fmla="*/ 3834844 w 6253764"/>
                    <a:gd name="connsiteY9" fmla="*/ 1763 h 1405533"/>
                    <a:gd name="connsiteX10" fmla="*/ 4508612 w 6253764"/>
                    <a:gd name="connsiteY10" fmla="*/ 41868 h 1405533"/>
                    <a:gd name="connsiteX11" fmla="*/ 5206444 w 6253764"/>
                    <a:gd name="connsiteY11" fmla="*/ 146142 h 1405533"/>
                    <a:gd name="connsiteX12" fmla="*/ 5687707 w 6253764"/>
                    <a:gd name="connsiteY12" fmla="*/ 298542 h 1405533"/>
                    <a:gd name="connsiteX13" fmla="*/ 6088760 w 6253764"/>
                    <a:gd name="connsiteY13" fmla="*/ 475005 h 1405533"/>
                    <a:gd name="connsiteX14" fmla="*/ 6225117 w 6253764"/>
                    <a:gd name="connsiteY14" fmla="*/ 563237 h 1405533"/>
                    <a:gd name="connsiteX15" fmla="*/ 6249181 w 6253764"/>
                    <a:gd name="connsiteY15" fmla="*/ 707615 h 1405533"/>
                    <a:gd name="connsiteX16" fmla="*/ 6160949 w 6253764"/>
                    <a:gd name="connsiteY16" fmla="*/ 1020437 h 1405533"/>
                    <a:gd name="connsiteX17" fmla="*/ 6120844 w 6253764"/>
                    <a:gd name="connsiteY17" fmla="*/ 1100647 h 1405533"/>
                    <a:gd name="connsiteX18" fmla="*/ 6032612 w 6253764"/>
                    <a:gd name="connsiteY18" fmla="*/ 1108668 h 1405533"/>
                    <a:gd name="connsiteX19" fmla="*/ 5326760 w 6253764"/>
                    <a:gd name="connsiteY19" fmla="*/ 1148773 h 1405533"/>
                    <a:gd name="connsiteX20" fmla="*/ 3979223 w 6253764"/>
                    <a:gd name="connsiteY20" fmla="*/ 1196900 h 1405533"/>
                    <a:gd name="connsiteX21" fmla="*/ 3193160 w 6253764"/>
                    <a:gd name="connsiteY21" fmla="*/ 1237005 h 1405533"/>
                    <a:gd name="connsiteX22" fmla="*/ 2054170 w 6253764"/>
                    <a:gd name="connsiteY22" fmla="*/ 1285131 h 1405533"/>
                    <a:gd name="connsiteX23" fmla="*/ 1059560 w 6253764"/>
                    <a:gd name="connsiteY23" fmla="*/ 1341279 h 1405533"/>
                    <a:gd name="connsiteX24" fmla="*/ 490065 w 6253764"/>
                    <a:gd name="connsiteY24" fmla="*/ 1373363 h 1405533"/>
                    <a:gd name="connsiteX25" fmla="*/ 121096 w 6253764"/>
                    <a:gd name="connsiteY25" fmla="*/ 1397426 h 1405533"/>
                    <a:gd name="connsiteX26" fmla="*/ 781 w 6253764"/>
                    <a:gd name="connsiteY26" fmla="*/ 1397426 h 1405533"/>
                    <a:gd name="connsiteX27" fmla="*/ 64949 w 6253764"/>
                    <a:gd name="connsiteY27" fmla="*/ 1277110 h 1405533"/>
                    <a:gd name="connsiteX28" fmla="*/ 193286 w 6253764"/>
                    <a:gd name="connsiteY28" fmla="*/ 1164815 h 140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53764" h="1405533">
                      <a:moveTo>
                        <a:pt x="193286" y="1164815"/>
                      </a:moveTo>
                      <a:cubicBezTo>
                        <a:pt x="248096" y="1119362"/>
                        <a:pt x="310928" y="1060541"/>
                        <a:pt x="393812" y="1004394"/>
                      </a:cubicBezTo>
                      <a:cubicBezTo>
                        <a:pt x="476696" y="948247"/>
                        <a:pt x="690591" y="827931"/>
                        <a:pt x="690591" y="827931"/>
                      </a:cubicBezTo>
                      <a:lnTo>
                        <a:pt x="1059560" y="611363"/>
                      </a:lnTo>
                      <a:cubicBezTo>
                        <a:pt x="1189234" y="536500"/>
                        <a:pt x="1353665" y="438910"/>
                        <a:pt x="1468633" y="378752"/>
                      </a:cubicBezTo>
                      <a:cubicBezTo>
                        <a:pt x="1583601" y="318594"/>
                        <a:pt x="1634402" y="290520"/>
                        <a:pt x="1749370" y="250415"/>
                      </a:cubicBezTo>
                      <a:cubicBezTo>
                        <a:pt x="1864339" y="210310"/>
                        <a:pt x="1983318" y="174216"/>
                        <a:pt x="2158444" y="138121"/>
                      </a:cubicBezTo>
                      <a:cubicBezTo>
                        <a:pt x="2333570" y="102026"/>
                        <a:pt x="2608960" y="55236"/>
                        <a:pt x="2800128" y="33847"/>
                      </a:cubicBezTo>
                      <a:cubicBezTo>
                        <a:pt x="2991296" y="12457"/>
                        <a:pt x="3133001" y="15131"/>
                        <a:pt x="3305454" y="9784"/>
                      </a:cubicBezTo>
                      <a:cubicBezTo>
                        <a:pt x="3477907" y="4437"/>
                        <a:pt x="3634318" y="-3584"/>
                        <a:pt x="3834844" y="1763"/>
                      </a:cubicBezTo>
                      <a:cubicBezTo>
                        <a:pt x="4035370" y="7110"/>
                        <a:pt x="4280012" y="17805"/>
                        <a:pt x="4508612" y="41868"/>
                      </a:cubicBezTo>
                      <a:cubicBezTo>
                        <a:pt x="4737212" y="65931"/>
                        <a:pt x="5009928" y="103363"/>
                        <a:pt x="5206444" y="146142"/>
                      </a:cubicBezTo>
                      <a:cubicBezTo>
                        <a:pt x="5402960" y="188921"/>
                        <a:pt x="5540654" y="243731"/>
                        <a:pt x="5687707" y="298542"/>
                      </a:cubicBezTo>
                      <a:cubicBezTo>
                        <a:pt x="5834760" y="353352"/>
                        <a:pt x="5999192" y="430889"/>
                        <a:pt x="6088760" y="475005"/>
                      </a:cubicBezTo>
                      <a:cubicBezTo>
                        <a:pt x="6178328" y="519121"/>
                        <a:pt x="6198380" y="524469"/>
                        <a:pt x="6225117" y="563237"/>
                      </a:cubicBezTo>
                      <a:cubicBezTo>
                        <a:pt x="6251854" y="602005"/>
                        <a:pt x="6259876" y="631415"/>
                        <a:pt x="6249181" y="707615"/>
                      </a:cubicBezTo>
                      <a:cubicBezTo>
                        <a:pt x="6238486" y="783815"/>
                        <a:pt x="6182338" y="954932"/>
                        <a:pt x="6160949" y="1020437"/>
                      </a:cubicBezTo>
                      <a:cubicBezTo>
                        <a:pt x="6139560" y="1085942"/>
                        <a:pt x="6142234" y="1085942"/>
                        <a:pt x="6120844" y="1100647"/>
                      </a:cubicBezTo>
                      <a:cubicBezTo>
                        <a:pt x="6099455" y="1115352"/>
                        <a:pt x="6032612" y="1108668"/>
                        <a:pt x="6032612" y="1108668"/>
                      </a:cubicBezTo>
                      <a:lnTo>
                        <a:pt x="5326760" y="1148773"/>
                      </a:lnTo>
                      <a:lnTo>
                        <a:pt x="3979223" y="1196900"/>
                      </a:lnTo>
                      <a:lnTo>
                        <a:pt x="3193160" y="1237005"/>
                      </a:lnTo>
                      <a:lnTo>
                        <a:pt x="2054170" y="1285131"/>
                      </a:lnTo>
                      <a:lnTo>
                        <a:pt x="1059560" y="1341279"/>
                      </a:lnTo>
                      <a:lnTo>
                        <a:pt x="490065" y="1373363"/>
                      </a:lnTo>
                      <a:lnTo>
                        <a:pt x="121096" y="1397426"/>
                      </a:lnTo>
                      <a:cubicBezTo>
                        <a:pt x="39549" y="1401437"/>
                        <a:pt x="7465" y="1413468"/>
                        <a:pt x="781" y="1397426"/>
                      </a:cubicBezTo>
                      <a:cubicBezTo>
                        <a:pt x="-5903" y="1381384"/>
                        <a:pt x="31528" y="1313205"/>
                        <a:pt x="64949" y="1277110"/>
                      </a:cubicBezTo>
                      <a:cubicBezTo>
                        <a:pt x="98370" y="1241015"/>
                        <a:pt x="138476" y="1210268"/>
                        <a:pt x="193286" y="1164815"/>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2" name="Freeform 1081"/>
                <p:cNvSpPr/>
                <p:nvPr/>
              </p:nvSpPr>
              <p:spPr bwMode="auto">
                <a:xfrm>
                  <a:off x="6637401" y="1501234"/>
                  <a:ext cx="601973" cy="1247984"/>
                </a:xfrm>
                <a:custGeom>
                  <a:avLst/>
                  <a:gdLst>
                    <a:gd name="connsiteX0" fmla="*/ 0 w 572756"/>
                    <a:gd name="connsiteY0" fmla="*/ 1175657 h 1175657"/>
                    <a:gd name="connsiteX1" fmla="*/ 502417 w 572756"/>
                    <a:gd name="connsiteY1" fmla="*/ 1145512 h 1175657"/>
                    <a:gd name="connsiteX2" fmla="*/ 572756 w 572756"/>
                    <a:gd name="connsiteY2" fmla="*/ 0 h 1175657"/>
                    <a:gd name="connsiteX3" fmla="*/ 291402 w 572756"/>
                    <a:gd name="connsiteY3" fmla="*/ 0 h 1175657"/>
                    <a:gd name="connsiteX4" fmla="*/ 0 w 572756"/>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56" h="1175657">
                      <a:moveTo>
                        <a:pt x="0" y="1175657"/>
                      </a:moveTo>
                      <a:lnTo>
                        <a:pt x="502417" y="1145512"/>
                      </a:lnTo>
                      <a:lnTo>
                        <a:pt x="572756" y="0"/>
                      </a:lnTo>
                      <a:lnTo>
                        <a:pt x="291402" y="0"/>
                      </a:lnTo>
                      <a:lnTo>
                        <a:pt x="0" y="1175657"/>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3" name="Freeform 1082"/>
                <p:cNvSpPr/>
                <p:nvPr/>
              </p:nvSpPr>
              <p:spPr bwMode="auto">
                <a:xfrm>
                  <a:off x="11132993" y="3577312"/>
                  <a:ext cx="1588934" cy="1341534"/>
                </a:xfrm>
                <a:custGeom>
                  <a:avLst/>
                  <a:gdLst>
                    <a:gd name="connsiteX0" fmla="*/ 64396 w 1588934"/>
                    <a:gd name="connsiteY0" fmla="*/ 1339593 h 1341534"/>
                    <a:gd name="connsiteX1" fmla="*/ 208775 w 1588934"/>
                    <a:gd name="connsiteY1" fmla="*/ 1307509 h 1341534"/>
                    <a:gd name="connsiteX2" fmla="*/ 329091 w 1588934"/>
                    <a:gd name="connsiteY2" fmla="*/ 1251362 h 1341534"/>
                    <a:gd name="connsiteX3" fmla="*/ 561702 w 1588934"/>
                    <a:gd name="connsiteY3" fmla="*/ 1179172 h 1341534"/>
                    <a:gd name="connsiteX4" fmla="*/ 890565 w 1588934"/>
                    <a:gd name="connsiteY4" fmla="*/ 1131046 h 1341534"/>
                    <a:gd name="connsiteX5" fmla="*/ 1123175 w 1588934"/>
                    <a:gd name="connsiteY5" fmla="*/ 1098962 h 1341534"/>
                    <a:gd name="connsiteX6" fmla="*/ 1355786 w 1588934"/>
                    <a:gd name="connsiteY6" fmla="*/ 1058856 h 1341534"/>
                    <a:gd name="connsiteX7" fmla="*/ 1419954 w 1588934"/>
                    <a:gd name="connsiteY7" fmla="*/ 1010730 h 1341534"/>
                    <a:gd name="connsiteX8" fmla="*/ 1444018 w 1588934"/>
                    <a:gd name="connsiteY8" fmla="*/ 946562 h 1341534"/>
                    <a:gd name="connsiteX9" fmla="*/ 1484123 w 1588934"/>
                    <a:gd name="connsiteY9" fmla="*/ 930520 h 1341534"/>
                    <a:gd name="connsiteX10" fmla="*/ 1508186 w 1588934"/>
                    <a:gd name="connsiteY10" fmla="*/ 818225 h 1341534"/>
                    <a:gd name="connsiteX11" fmla="*/ 1564333 w 1588934"/>
                    <a:gd name="connsiteY11" fmla="*/ 697909 h 1341534"/>
                    <a:gd name="connsiteX12" fmla="*/ 1588396 w 1588934"/>
                    <a:gd name="connsiteY12" fmla="*/ 401130 h 1341534"/>
                    <a:gd name="connsiteX13" fmla="*/ 1580375 w 1588934"/>
                    <a:gd name="connsiteY13" fmla="*/ 56225 h 1341534"/>
                    <a:gd name="connsiteX14" fmla="*/ 1572354 w 1588934"/>
                    <a:gd name="connsiteY14" fmla="*/ 77 h 1341534"/>
                    <a:gd name="connsiteX15" fmla="*/ 1532249 w 1588934"/>
                    <a:gd name="connsiteY15" fmla="*/ 48204 h 1341534"/>
                    <a:gd name="connsiteX16" fmla="*/ 1395891 w 1588934"/>
                    <a:gd name="connsiteY16" fmla="*/ 72267 h 1341534"/>
                    <a:gd name="connsiteX17" fmla="*/ 1099112 w 1588934"/>
                    <a:gd name="connsiteY17" fmla="*/ 96330 h 1341534"/>
                    <a:gd name="connsiteX18" fmla="*/ 770249 w 1588934"/>
                    <a:gd name="connsiteY18" fmla="*/ 104351 h 1341534"/>
                    <a:gd name="connsiteX19" fmla="*/ 553681 w 1588934"/>
                    <a:gd name="connsiteY19" fmla="*/ 120393 h 1341534"/>
                    <a:gd name="connsiteX20" fmla="*/ 409302 w 1588934"/>
                    <a:gd name="connsiteY20" fmla="*/ 144456 h 1341534"/>
                    <a:gd name="connsiteX21" fmla="*/ 369196 w 1588934"/>
                    <a:gd name="connsiteY21" fmla="*/ 224667 h 1341534"/>
                    <a:gd name="connsiteX22" fmla="*/ 353154 w 1588934"/>
                    <a:gd name="connsiteY22" fmla="*/ 296856 h 1341534"/>
                    <a:gd name="connsiteX23" fmla="*/ 345133 w 1588934"/>
                    <a:gd name="connsiteY23" fmla="*/ 361025 h 1341534"/>
                    <a:gd name="connsiteX24" fmla="*/ 224818 w 1588934"/>
                    <a:gd name="connsiteY24" fmla="*/ 401130 h 1341534"/>
                    <a:gd name="connsiteX25" fmla="*/ 136586 w 1588934"/>
                    <a:gd name="connsiteY25" fmla="*/ 409151 h 1341534"/>
                    <a:gd name="connsiteX26" fmla="*/ 48354 w 1588934"/>
                    <a:gd name="connsiteY26" fmla="*/ 457277 h 1341534"/>
                    <a:gd name="connsiteX27" fmla="*/ 228 w 1588934"/>
                    <a:gd name="connsiteY27" fmla="*/ 529467 h 1341534"/>
                    <a:gd name="connsiteX28" fmla="*/ 32312 w 1588934"/>
                    <a:gd name="connsiteY28" fmla="*/ 569572 h 1341534"/>
                    <a:gd name="connsiteX29" fmla="*/ 80439 w 1588934"/>
                    <a:gd name="connsiteY29" fmla="*/ 786141 h 1341534"/>
                    <a:gd name="connsiteX30" fmla="*/ 96481 w 1588934"/>
                    <a:gd name="connsiteY30" fmla="*/ 1090941 h 1341534"/>
                    <a:gd name="connsiteX31" fmla="*/ 80439 w 1588934"/>
                    <a:gd name="connsiteY31" fmla="*/ 1251362 h 1341534"/>
                    <a:gd name="connsiteX32" fmla="*/ 64396 w 1588934"/>
                    <a:gd name="connsiteY32" fmla="*/ 1339593 h 13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8934" h="1341534">
                      <a:moveTo>
                        <a:pt x="64396" y="1339593"/>
                      </a:moveTo>
                      <a:cubicBezTo>
                        <a:pt x="85785" y="1348951"/>
                        <a:pt x="164659" y="1322214"/>
                        <a:pt x="208775" y="1307509"/>
                      </a:cubicBezTo>
                      <a:cubicBezTo>
                        <a:pt x="252891" y="1292804"/>
                        <a:pt x="270270" y="1272751"/>
                        <a:pt x="329091" y="1251362"/>
                      </a:cubicBezTo>
                      <a:cubicBezTo>
                        <a:pt x="387912" y="1229973"/>
                        <a:pt x="468123" y="1199225"/>
                        <a:pt x="561702" y="1179172"/>
                      </a:cubicBezTo>
                      <a:cubicBezTo>
                        <a:pt x="655281" y="1159119"/>
                        <a:pt x="890565" y="1131046"/>
                        <a:pt x="890565" y="1131046"/>
                      </a:cubicBezTo>
                      <a:lnTo>
                        <a:pt x="1123175" y="1098962"/>
                      </a:lnTo>
                      <a:cubicBezTo>
                        <a:pt x="1200712" y="1086930"/>
                        <a:pt x="1306323" y="1073561"/>
                        <a:pt x="1355786" y="1058856"/>
                      </a:cubicBezTo>
                      <a:cubicBezTo>
                        <a:pt x="1405249" y="1044151"/>
                        <a:pt x="1405249" y="1029446"/>
                        <a:pt x="1419954" y="1010730"/>
                      </a:cubicBezTo>
                      <a:cubicBezTo>
                        <a:pt x="1434659" y="992014"/>
                        <a:pt x="1433323" y="959930"/>
                        <a:pt x="1444018" y="946562"/>
                      </a:cubicBezTo>
                      <a:cubicBezTo>
                        <a:pt x="1454713" y="933194"/>
                        <a:pt x="1473428" y="951909"/>
                        <a:pt x="1484123" y="930520"/>
                      </a:cubicBezTo>
                      <a:cubicBezTo>
                        <a:pt x="1494818" y="909131"/>
                        <a:pt x="1494818" y="856993"/>
                        <a:pt x="1508186" y="818225"/>
                      </a:cubicBezTo>
                      <a:cubicBezTo>
                        <a:pt x="1521554" y="779457"/>
                        <a:pt x="1550965" y="767425"/>
                        <a:pt x="1564333" y="697909"/>
                      </a:cubicBezTo>
                      <a:cubicBezTo>
                        <a:pt x="1577701" y="628393"/>
                        <a:pt x="1585722" y="508077"/>
                        <a:pt x="1588396" y="401130"/>
                      </a:cubicBezTo>
                      <a:cubicBezTo>
                        <a:pt x="1591070" y="294183"/>
                        <a:pt x="1583049" y="123067"/>
                        <a:pt x="1580375" y="56225"/>
                      </a:cubicBezTo>
                      <a:cubicBezTo>
                        <a:pt x="1577701" y="-10617"/>
                        <a:pt x="1580375" y="1414"/>
                        <a:pt x="1572354" y="77"/>
                      </a:cubicBezTo>
                      <a:cubicBezTo>
                        <a:pt x="1564333" y="-1260"/>
                        <a:pt x="1561660" y="36172"/>
                        <a:pt x="1532249" y="48204"/>
                      </a:cubicBezTo>
                      <a:cubicBezTo>
                        <a:pt x="1502839" y="60236"/>
                        <a:pt x="1468080" y="64246"/>
                        <a:pt x="1395891" y="72267"/>
                      </a:cubicBezTo>
                      <a:cubicBezTo>
                        <a:pt x="1323702" y="80288"/>
                        <a:pt x="1203386" y="90983"/>
                        <a:pt x="1099112" y="96330"/>
                      </a:cubicBezTo>
                      <a:cubicBezTo>
                        <a:pt x="994838" y="101677"/>
                        <a:pt x="861154" y="100340"/>
                        <a:pt x="770249" y="104351"/>
                      </a:cubicBezTo>
                      <a:cubicBezTo>
                        <a:pt x="679344" y="108361"/>
                        <a:pt x="613839" y="113709"/>
                        <a:pt x="553681" y="120393"/>
                      </a:cubicBezTo>
                      <a:cubicBezTo>
                        <a:pt x="493523" y="127077"/>
                        <a:pt x="440050" y="127077"/>
                        <a:pt x="409302" y="144456"/>
                      </a:cubicBezTo>
                      <a:cubicBezTo>
                        <a:pt x="378555" y="161835"/>
                        <a:pt x="378554" y="199267"/>
                        <a:pt x="369196" y="224667"/>
                      </a:cubicBezTo>
                      <a:cubicBezTo>
                        <a:pt x="359838" y="250067"/>
                        <a:pt x="357164" y="274130"/>
                        <a:pt x="353154" y="296856"/>
                      </a:cubicBezTo>
                      <a:cubicBezTo>
                        <a:pt x="349144" y="319582"/>
                        <a:pt x="366522" y="343646"/>
                        <a:pt x="345133" y="361025"/>
                      </a:cubicBezTo>
                      <a:cubicBezTo>
                        <a:pt x="323744" y="378404"/>
                        <a:pt x="259576" y="393109"/>
                        <a:pt x="224818" y="401130"/>
                      </a:cubicBezTo>
                      <a:cubicBezTo>
                        <a:pt x="190060" y="409151"/>
                        <a:pt x="165997" y="399793"/>
                        <a:pt x="136586" y="409151"/>
                      </a:cubicBezTo>
                      <a:cubicBezTo>
                        <a:pt x="107175" y="418509"/>
                        <a:pt x="71080" y="437224"/>
                        <a:pt x="48354" y="457277"/>
                      </a:cubicBezTo>
                      <a:cubicBezTo>
                        <a:pt x="25628" y="477330"/>
                        <a:pt x="2902" y="510751"/>
                        <a:pt x="228" y="529467"/>
                      </a:cubicBezTo>
                      <a:cubicBezTo>
                        <a:pt x="-2446" y="548183"/>
                        <a:pt x="18944" y="526793"/>
                        <a:pt x="32312" y="569572"/>
                      </a:cubicBezTo>
                      <a:cubicBezTo>
                        <a:pt x="45680" y="612351"/>
                        <a:pt x="69744" y="699246"/>
                        <a:pt x="80439" y="786141"/>
                      </a:cubicBezTo>
                      <a:cubicBezTo>
                        <a:pt x="91134" y="873036"/>
                        <a:pt x="96481" y="1013404"/>
                        <a:pt x="96481" y="1090941"/>
                      </a:cubicBezTo>
                      <a:cubicBezTo>
                        <a:pt x="96481" y="1168478"/>
                        <a:pt x="83113" y="1211257"/>
                        <a:pt x="80439" y="1251362"/>
                      </a:cubicBezTo>
                      <a:cubicBezTo>
                        <a:pt x="77765" y="1291467"/>
                        <a:pt x="43007" y="1330235"/>
                        <a:pt x="64396" y="1339593"/>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4" name="Freeform 1083"/>
                <p:cNvSpPr/>
                <p:nvPr/>
              </p:nvSpPr>
              <p:spPr bwMode="auto">
                <a:xfrm>
                  <a:off x="3304674" y="3416969"/>
                  <a:ext cx="6023811" cy="1668380"/>
                </a:xfrm>
                <a:custGeom>
                  <a:avLst/>
                  <a:gdLst>
                    <a:gd name="connsiteX0" fmla="*/ 914400 w 6023810"/>
                    <a:gd name="connsiteY0" fmla="*/ 1588169 h 1668379"/>
                    <a:gd name="connsiteX1" fmla="*/ 3248526 w 6023810"/>
                    <a:gd name="connsiteY1" fmla="*/ 1604211 h 1668379"/>
                    <a:gd name="connsiteX2" fmla="*/ 5069305 w 6023810"/>
                    <a:gd name="connsiteY2" fmla="*/ 1612232 h 1668379"/>
                    <a:gd name="connsiteX3" fmla="*/ 5670884 w 6023810"/>
                    <a:gd name="connsiteY3" fmla="*/ 1620253 h 1668379"/>
                    <a:gd name="connsiteX4" fmla="*/ 5719010 w 6023810"/>
                    <a:gd name="connsiteY4" fmla="*/ 1620253 h 1668379"/>
                    <a:gd name="connsiteX5" fmla="*/ 5719010 w 6023810"/>
                    <a:gd name="connsiteY5" fmla="*/ 1499937 h 1668379"/>
                    <a:gd name="connsiteX6" fmla="*/ 5719010 w 6023810"/>
                    <a:gd name="connsiteY6" fmla="*/ 1307432 h 1668379"/>
                    <a:gd name="connsiteX7" fmla="*/ 5759115 w 6023810"/>
                    <a:gd name="connsiteY7" fmla="*/ 1034716 h 1668379"/>
                    <a:gd name="connsiteX8" fmla="*/ 5839326 w 6023810"/>
                    <a:gd name="connsiteY8" fmla="*/ 770021 h 1668379"/>
                    <a:gd name="connsiteX9" fmla="*/ 5919537 w 6023810"/>
                    <a:gd name="connsiteY9" fmla="*/ 609600 h 1668379"/>
                    <a:gd name="connsiteX10" fmla="*/ 6023810 w 6023810"/>
                    <a:gd name="connsiteY10" fmla="*/ 473243 h 1668379"/>
                    <a:gd name="connsiteX11" fmla="*/ 5895473 w 6023810"/>
                    <a:gd name="connsiteY11" fmla="*/ 481264 h 1668379"/>
                    <a:gd name="connsiteX12" fmla="*/ 5791200 w 6023810"/>
                    <a:gd name="connsiteY12" fmla="*/ 473243 h 1668379"/>
                    <a:gd name="connsiteX13" fmla="*/ 5686926 w 6023810"/>
                    <a:gd name="connsiteY13" fmla="*/ 425116 h 1668379"/>
                    <a:gd name="connsiteX14" fmla="*/ 5614737 w 6023810"/>
                    <a:gd name="connsiteY14" fmla="*/ 409074 h 1668379"/>
                    <a:gd name="connsiteX15" fmla="*/ 5566610 w 6023810"/>
                    <a:gd name="connsiteY15" fmla="*/ 457200 h 1668379"/>
                    <a:gd name="connsiteX16" fmla="*/ 5542547 w 6023810"/>
                    <a:gd name="connsiteY16" fmla="*/ 425116 h 1668379"/>
                    <a:gd name="connsiteX17" fmla="*/ 5542547 w 6023810"/>
                    <a:gd name="connsiteY17" fmla="*/ 144379 h 1668379"/>
                    <a:gd name="connsiteX18" fmla="*/ 5534526 w 6023810"/>
                    <a:gd name="connsiteY18" fmla="*/ 16043 h 1668379"/>
                    <a:gd name="connsiteX19" fmla="*/ 5430252 w 6023810"/>
                    <a:gd name="connsiteY19" fmla="*/ 0 h 1668379"/>
                    <a:gd name="connsiteX20" fmla="*/ 4267200 w 6023810"/>
                    <a:gd name="connsiteY20" fmla="*/ 40106 h 1668379"/>
                    <a:gd name="connsiteX21" fmla="*/ 2069431 w 6023810"/>
                    <a:gd name="connsiteY21" fmla="*/ 112295 h 1668379"/>
                    <a:gd name="connsiteX22" fmla="*/ 497305 w 6023810"/>
                    <a:gd name="connsiteY22" fmla="*/ 168443 h 1668379"/>
                    <a:gd name="connsiteX23" fmla="*/ 328863 w 6023810"/>
                    <a:gd name="connsiteY23" fmla="*/ 168443 h 1668379"/>
                    <a:gd name="connsiteX24" fmla="*/ 328863 w 6023810"/>
                    <a:gd name="connsiteY24" fmla="*/ 168443 h 1668379"/>
                    <a:gd name="connsiteX25" fmla="*/ 304800 w 6023810"/>
                    <a:gd name="connsiteY25" fmla="*/ 280737 h 1668379"/>
                    <a:gd name="connsiteX26" fmla="*/ 320842 w 6023810"/>
                    <a:gd name="connsiteY26" fmla="*/ 425116 h 1668379"/>
                    <a:gd name="connsiteX27" fmla="*/ 256673 w 6023810"/>
                    <a:gd name="connsiteY27" fmla="*/ 553453 h 1668379"/>
                    <a:gd name="connsiteX28" fmla="*/ 104273 w 6023810"/>
                    <a:gd name="connsiteY28" fmla="*/ 665748 h 1668379"/>
                    <a:gd name="connsiteX29" fmla="*/ 0 w 6023810"/>
                    <a:gd name="connsiteY29" fmla="*/ 729916 h 1668379"/>
                    <a:gd name="connsiteX30" fmla="*/ 24063 w 6023810"/>
                    <a:gd name="connsiteY30" fmla="*/ 802106 h 1668379"/>
                    <a:gd name="connsiteX31" fmla="*/ 72189 w 6023810"/>
                    <a:gd name="connsiteY31" fmla="*/ 1147011 h 1668379"/>
                    <a:gd name="connsiteX32" fmla="*/ 88231 w 6023810"/>
                    <a:gd name="connsiteY32" fmla="*/ 1347537 h 1668379"/>
                    <a:gd name="connsiteX33" fmla="*/ 80210 w 6023810"/>
                    <a:gd name="connsiteY33" fmla="*/ 1499937 h 1668379"/>
                    <a:gd name="connsiteX34" fmla="*/ 80210 w 6023810"/>
                    <a:gd name="connsiteY34" fmla="*/ 1628274 h 1668379"/>
                    <a:gd name="connsiteX35" fmla="*/ 80210 w 6023810"/>
                    <a:gd name="connsiteY35" fmla="*/ 1668379 h 1668379"/>
                    <a:gd name="connsiteX36" fmla="*/ 248652 w 6023810"/>
                    <a:gd name="connsiteY36" fmla="*/ 1620253 h 1668379"/>
                    <a:gd name="connsiteX37" fmla="*/ 441158 w 6023810"/>
                    <a:gd name="connsiteY37" fmla="*/ 1604211 h 1668379"/>
                    <a:gd name="connsiteX38" fmla="*/ 673768 w 6023810"/>
                    <a:gd name="connsiteY38" fmla="*/ 1588169 h 1668379"/>
                    <a:gd name="connsiteX39" fmla="*/ 914400 w 6023810"/>
                    <a:gd name="connsiteY39" fmla="*/ 1588169 h 166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23810" h="1668379">
                      <a:moveTo>
                        <a:pt x="914400" y="1588169"/>
                      </a:moveTo>
                      <a:lnTo>
                        <a:pt x="3248526" y="1604211"/>
                      </a:lnTo>
                      <a:lnTo>
                        <a:pt x="5069305" y="1612232"/>
                      </a:lnTo>
                      <a:lnTo>
                        <a:pt x="5670884" y="1620253"/>
                      </a:lnTo>
                      <a:lnTo>
                        <a:pt x="5719010" y="1620253"/>
                      </a:lnTo>
                      <a:lnTo>
                        <a:pt x="5719010" y="1499937"/>
                      </a:lnTo>
                      <a:lnTo>
                        <a:pt x="5719010" y="1307432"/>
                      </a:lnTo>
                      <a:lnTo>
                        <a:pt x="5759115" y="1034716"/>
                      </a:lnTo>
                      <a:lnTo>
                        <a:pt x="5839326" y="770021"/>
                      </a:lnTo>
                      <a:lnTo>
                        <a:pt x="5919537" y="609600"/>
                      </a:lnTo>
                      <a:lnTo>
                        <a:pt x="6023810" y="473243"/>
                      </a:lnTo>
                      <a:lnTo>
                        <a:pt x="5895473" y="481264"/>
                      </a:lnTo>
                      <a:lnTo>
                        <a:pt x="5791200" y="473243"/>
                      </a:lnTo>
                      <a:lnTo>
                        <a:pt x="5686926" y="425116"/>
                      </a:lnTo>
                      <a:lnTo>
                        <a:pt x="5614737" y="409074"/>
                      </a:lnTo>
                      <a:lnTo>
                        <a:pt x="5566610" y="457200"/>
                      </a:lnTo>
                      <a:lnTo>
                        <a:pt x="5542547" y="425116"/>
                      </a:lnTo>
                      <a:lnTo>
                        <a:pt x="5542547" y="144379"/>
                      </a:lnTo>
                      <a:lnTo>
                        <a:pt x="5534526" y="16043"/>
                      </a:lnTo>
                      <a:lnTo>
                        <a:pt x="5430252" y="0"/>
                      </a:lnTo>
                      <a:lnTo>
                        <a:pt x="4267200" y="40106"/>
                      </a:lnTo>
                      <a:lnTo>
                        <a:pt x="2069431" y="112295"/>
                      </a:lnTo>
                      <a:lnTo>
                        <a:pt x="497305" y="168443"/>
                      </a:lnTo>
                      <a:lnTo>
                        <a:pt x="328863" y="168443"/>
                      </a:lnTo>
                      <a:lnTo>
                        <a:pt x="328863" y="168443"/>
                      </a:lnTo>
                      <a:lnTo>
                        <a:pt x="304800" y="280737"/>
                      </a:lnTo>
                      <a:lnTo>
                        <a:pt x="320842" y="425116"/>
                      </a:lnTo>
                      <a:lnTo>
                        <a:pt x="256673" y="553453"/>
                      </a:lnTo>
                      <a:lnTo>
                        <a:pt x="104273" y="665748"/>
                      </a:lnTo>
                      <a:lnTo>
                        <a:pt x="0" y="729916"/>
                      </a:lnTo>
                      <a:lnTo>
                        <a:pt x="24063" y="802106"/>
                      </a:lnTo>
                      <a:lnTo>
                        <a:pt x="72189" y="1147011"/>
                      </a:lnTo>
                      <a:lnTo>
                        <a:pt x="88231" y="1347537"/>
                      </a:lnTo>
                      <a:lnTo>
                        <a:pt x="80210" y="1499937"/>
                      </a:lnTo>
                      <a:lnTo>
                        <a:pt x="80210" y="1628274"/>
                      </a:lnTo>
                      <a:lnTo>
                        <a:pt x="80210" y="1668379"/>
                      </a:lnTo>
                      <a:lnTo>
                        <a:pt x="248652" y="1620253"/>
                      </a:lnTo>
                      <a:lnTo>
                        <a:pt x="441158" y="1604211"/>
                      </a:lnTo>
                      <a:lnTo>
                        <a:pt x="673768" y="1588169"/>
                      </a:lnTo>
                      <a:lnTo>
                        <a:pt x="914400" y="1588169"/>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5" name="Freeform 1084"/>
                <p:cNvSpPr/>
                <p:nvPr/>
              </p:nvSpPr>
              <p:spPr bwMode="auto">
                <a:xfrm>
                  <a:off x="11565391" y="2662073"/>
                  <a:ext cx="935571" cy="603883"/>
                </a:xfrm>
                <a:custGeom>
                  <a:avLst/>
                  <a:gdLst>
                    <a:gd name="connsiteX0" fmla="*/ 714841 w 935571"/>
                    <a:gd name="connsiteY0" fmla="*/ 586453 h 603883"/>
                    <a:gd name="connsiteX1" fmla="*/ 923388 w 935571"/>
                    <a:gd name="connsiteY1" fmla="*/ 578432 h 603883"/>
                    <a:gd name="connsiteX2" fmla="*/ 899325 w 935571"/>
                    <a:gd name="connsiteY2" fmla="*/ 498222 h 603883"/>
                    <a:gd name="connsiteX3" fmla="*/ 803072 w 935571"/>
                    <a:gd name="connsiteY3" fmla="*/ 137274 h 603883"/>
                    <a:gd name="connsiteX4" fmla="*/ 746925 w 935571"/>
                    <a:gd name="connsiteY4" fmla="*/ 16959 h 603883"/>
                    <a:gd name="connsiteX5" fmla="*/ 690777 w 935571"/>
                    <a:gd name="connsiteY5" fmla="*/ 916 h 603883"/>
                    <a:gd name="connsiteX6" fmla="*/ 313788 w 935571"/>
                    <a:gd name="connsiteY6" fmla="*/ 8938 h 603883"/>
                    <a:gd name="connsiteX7" fmla="*/ 73156 w 935571"/>
                    <a:gd name="connsiteY7" fmla="*/ 24980 h 603883"/>
                    <a:gd name="connsiteX8" fmla="*/ 49093 w 935571"/>
                    <a:gd name="connsiteY8" fmla="*/ 81127 h 603883"/>
                    <a:gd name="connsiteX9" fmla="*/ 967 w 935571"/>
                    <a:gd name="connsiteY9" fmla="*/ 217485 h 603883"/>
                    <a:gd name="connsiteX10" fmla="*/ 97220 w 935571"/>
                    <a:gd name="connsiteY10" fmla="*/ 281653 h 603883"/>
                    <a:gd name="connsiteX11" fmla="*/ 658693 w 935571"/>
                    <a:gd name="connsiteY11" fmla="*/ 578432 h 603883"/>
                    <a:gd name="connsiteX12" fmla="*/ 714841 w 935571"/>
                    <a:gd name="connsiteY12" fmla="*/ 586453 h 60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571" h="603883">
                      <a:moveTo>
                        <a:pt x="714841" y="586453"/>
                      </a:moveTo>
                      <a:cubicBezTo>
                        <a:pt x="758957" y="586453"/>
                        <a:pt x="892641" y="593137"/>
                        <a:pt x="923388" y="578432"/>
                      </a:cubicBezTo>
                      <a:cubicBezTo>
                        <a:pt x="954135" y="563727"/>
                        <a:pt x="919378" y="571748"/>
                        <a:pt x="899325" y="498222"/>
                      </a:cubicBezTo>
                      <a:cubicBezTo>
                        <a:pt x="879272" y="424696"/>
                        <a:pt x="828472" y="217484"/>
                        <a:pt x="803072" y="137274"/>
                      </a:cubicBezTo>
                      <a:cubicBezTo>
                        <a:pt x="777672" y="57063"/>
                        <a:pt x="765641" y="39685"/>
                        <a:pt x="746925" y="16959"/>
                      </a:cubicBezTo>
                      <a:cubicBezTo>
                        <a:pt x="728209" y="-5767"/>
                        <a:pt x="690777" y="916"/>
                        <a:pt x="690777" y="916"/>
                      </a:cubicBezTo>
                      <a:lnTo>
                        <a:pt x="313788" y="8938"/>
                      </a:lnTo>
                      <a:cubicBezTo>
                        <a:pt x="210851" y="12949"/>
                        <a:pt x="117272" y="12949"/>
                        <a:pt x="73156" y="24980"/>
                      </a:cubicBezTo>
                      <a:cubicBezTo>
                        <a:pt x="29040" y="37011"/>
                        <a:pt x="61124" y="49043"/>
                        <a:pt x="49093" y="81127"/>
                      </a:cubicBezTo>
                      <a:cubicBezTo>
                        <a:pt x="37062" y="113211"/>
                        <a:pt x="-7054" y="184064"/>
                        <a:pt x="967" y="217485"/>
                      </a:cubicBezTo>
                      <a:cubicBezTo>
                        <a:pt x="8988" y="250906"/>
                        <a:pt x="-12401" y="221495"/>
                        <a:pt x="97220" y="281653"/>
                      </a:cubicBezTo>
                      <a:cubicBezTo>
                        <a:pt x="206841" y="341811"/>
                        <a:pt x="549072" y="526295"/>
                        <a:pt x="658693" y="578432"/>
                      </a:cubicBezTo>
                      <a:cubicBezTo>
                        <a:pt x="768314" y="630569"/>
                        <a:pt x="670725" y="586453"/>
                        <a:pt x="714841" y="586453"/>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6" name="Freeform 1085"/>
                <p:cNvSpPr/>
                <p:nvPr/>
              </p:nvSpPr>
              <p:spPr bwMode="auto">
                <a:xfrm>
                  <a:off x="-120316" y="3777916"/>
                  <a:ext cx="1483895" cy="1275347"/>
                </a:xfrm>
                <a:custGeom>
                  <a:avLst/>
                  <a:gdLst>
                    <a:gd name="connsiteX0" fmla="*/ 1267327 w 1483895"/>
                    <a:gd name="connsiteY0" fmla="*/ 1147010 h 1275347"/>
                    <a:gd name="connsiteX1" fmla="*/ 1275348 w 1483895"/>
                    <a:gd name="connsiteY1" fmla="*/ 850231 h 1275347"/>
                    <a:gd name="connsiteX2" fmla="*/ 1323474 w 1483895"/>
                    <a:gd name="connsiteY2" fmla="*/ 585537 h 1275347"/>
                    <a:gd name="connsiteX3" fmla="*/ 1387642 w 1483895"/>
                    <a:gd name="connsiteY3" fmla="*/ 409073 h 1275347"/>
                    <a:gd name="connsiteX4" fmla="*/ 1443790 w 1483895"/>
                    <a:gd name="connsiteY4" fmla="*/ 264695 h 1275347"/>
                    <a:gd name="connsiteX5" fmla="*/ 1483895 w 1483895"/>
                    <a:gd name="connsiteY5" fmla="*/ 200526 h 1275347"/>
                    <a:gd name="connsiteX6" fmla="*/ 1411705 w 1483895"/>
                    <a:gd name="connsiteY6" fmla="*/ 192505 h 1275347"/>
                    <a:gd name="connsiteX7" fmla="*/ 1323474 w 1483895"/>
                    <a:gd name="connsiteY7" fmla="*/ 192505 h 1275347"/>
                    <a:gd name="connsiteX8" fmla="*/ 1299411 w 1483895"/>
                    <a:gd name="connsiteY8" fmla="*/ 272716 h 1275347"/>
                    <a:gd name="connsiteX9" fmla="*/ 1259305 w 1483895"/>
                    <a:gd name="connsiteY9" fmla="*/ 240631 h 1275347"/>
                    <a:gd name="connsiteX10" fmla="*/ 1179095 w 1483895"/>
                    <a:gd name="connsiteY10" fmla="*/ 192505 h 1275347"/>
                    <a:gd name="connsiteX11" fmla="*/ 1098884 w 1483895"/>
                    <a:gd name="connsiteY11" fmla="*/ 208547 h 1275347"/>
                    <a:gd name="connsiteX12" fmla="*/ 954505 w 1483895"/>
                    <a:gd name="connsiteY12" fmla="*/ 136358 h 1275347"/>
                    <a:gd name="connsiteX13" fmla="*/ 786063 w 1483895"/>
                    <a:gd name="connsiteY13" fmla="*/ 152400 h 1275347"/>
                    <a:gd name="connsiteX14" fmla="*/ 505327 w 1483895"/>
                    <a:gd name="connsiteY14" fmla="*/ 224589 h 1275347"/>
                    <a:gd name="connsiteX15" fmla="*/ 352927 w 1483895"/>
                    <a:gd name="connsiteY15" fmla="*/ 184484 h 1275347"/>
                    <a:gd name="connsiteX16" fmla="*/ 200527 w 1483895"/>
                    <a:gd name="connsiteY16" fmla="*/ 120316 h 1275347"/>
                    <a:gd name="connsiteX17" fmla="*/ 88232 w 1483895"/>
                    <a:gd name="connsiteY17" fmla="*/ 0 h 1275347"/>
                    <a:gd name="connsiteX18" fmla="*/ 80211 w 1483895"/>
                    <a:gd name="connsiteY18" fmla="*/ 72189 h 1275347"/>
                    <a:gd name="connsiteX19" fmla="*/ 0 w 1483895"/>
                    <a:gd name="connsiteY19" fmla="*/ 393031 h 1275347"/>
                    <a:gd name="connsiteX20" fmla="*/ 0 w 1483895"/>
                    <a:gd name="connsiteY20" fmla="*/ 521368 h 1275347"/>
                    <a:gd name="connsiteX21" fmla="*/ 8021 w 1483895"/>
                    <a:gd name="connsiteY21" fmla="*/ 617621 h 1275347"/>
                    <a:gd name="connsiteX22" fmla="*/ 80211 w 1483895"/>
                    <a:gd name="connsiteY22" fmla="*/ 737937 h 1275347"/>
                    <a:gd name="connsiteX23" fmla="*/ 64169 w 1483895"/>
                    <a:gd name="connsiteY23" fmla="*/ 914400 h 1275347"/>
                    <a:gd name="connsiteX24" fmla="*/ 112295 w 1483895"/>
                    <a:gd name="connsiteY24" fmla="*/ 994610 h 1275347"/>
                    <a:gd name="connsiteX25" fmla="*/ 328863 w 1483895"/>
                    <a:gd name="connsiteY25" fmla="*/ 1122947 h 1275347"/>
                    <a:gd name="connsiteX26" fmla="*/ 585537 w 1483895"/>
                    <a:gd name="connsiteY26" fmla="*/ 1187116 h 1275347"/>
                    <a:gd name="connsiteX27" fmla="*/ 978569 w 1483895"/>
                    <a:gd name="connsiteY27" fmla="*/ 1219200 h 1275347"/>
                    <a:gd name="connsiteX28" fmla="*/ 1147011 w 1483895"/>
                    <a:gd name="connsiteY28" fmla="*/ 1235242 h 1275347"/>
                    <a:gd name="connsiteX29" fmla="*/ 1291390 w 1483895"/>
                    <a:gd name="connsiteY29" fmla="*/ 1275347 h 1275347"/>
                    <a:gd name="connsiteX30" fmla="*/ 1267327 w 1483895"/>
                    <a:gd name="connsiteY30" fmla="*/ 1147010 h 12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83895" h="1275347">
                      <a:moveTo>
                        <a:pt x="1267327" y="1147010"/>
                      </a:moveTo>
                      <a:lnTo>
                        <a:pt x="1275348" y="850231"/>
                      </a:lnTo>
                      <a:lnTo>
                        <a:pt x="1323474" y="585537"/>
                      </a:lnTo>
                      <a:lnTo>
                        <a:pt x="1387642" y="409073"/>
                      </a:lnTo>
                      <a:lnTo>
                        <a:pt x="1443790" y="264695"/>
                      </a:lnTo>
                      <a:lnTo>
                        <a:pt x="1483895" y="200526"/>
                      </a:lnTo>
                      <a:lnTo>
                        <a:pt x="1411705" y="192505"/>
                      </a:lnTo>
                      <a:lnTo>
                        <a:pt x="1323474" y="192505"/>
                      </a:lnTo>
                      <a:lnTo>
                        <a:pt x="1299411" y="272716"/>
                      </a:lnTo>
                      <a:lnTo>
                        <a:pt x="1259305" y="240631"/>
                      </a:lnTo>
                      <a:lnTo>
                        <a:pt x="1179095" y="192505"/>
                      </a:lnTo>
                      <a:lnTo>
                        <a:pt x="1098884" y="208547"/>
                      </a:lnTo>
                      <a:lnTo>
                        <a:pt x="954505" y="136358"/>
                      </a:lnTo>
                      <a:lnTo>
                        <a:pt x="786063" y="152400"/>
                      </a:lnTo>
                      <a:lnTo>
                        <a:pt x="505327" y="224589"/>
                      </a:lnTo>
                      <a:lnTo>
                        <a:pt x="352927" y="184484"/>
                      </a:lnTo>
                      <a:lnTo>
                        <a:pt x="200527" y="120316"/>
                      </a:lnTo>
                      <a:lnTo>
                        <a:pt x="88232" y="0"/>
                      </a:lnTo>
                      <a:lnTo>
                        <a:pt x="80211" y="72189"/>
                      </a:lnTo>
                      <a:lnTo>
                        <a:pt x="0" y="393031"/>
                      </a:lnTo>
                      <a:lnTo>
                        <a:pt x="0" y="521368"/>
                      </a:lnTo>
                      <a:lnTo>
                        <a:pt x="8021" y="617621"/>
                      </a:lnTo>
                      <a:lnTo>
                        <a:pt x="80211" y="737937"/>
                      </a:lnTo>
                      <a:lnTo>
                        <a:pt x="64169" y="914400"/>
                      </a:lnTo>
                      <a:lnTo>
                        <a:pt x="112295" y="994610"/>
                      </a:lnTo>
                      <a:lnTo>
                        <a:pt x="328863" y="1122947"/>
                      </a:lnTo>
                      <a:lnTo>
                        <a:pt x="585537" y="1187116"/>
                      </a:lnTo>
                      <a:lnTo>
                        <a:pt x="978569" y="1219200"/>
                      </a:lnTo>
                      <a:lnTo>
                        <a:pt x="1147011" y="1235242"/>
                      </a:lnTo>
                      <a:lnTo>
                        <a:pt x="1291390" y="1275347"/>
                      </a:lnTo>
                      <a:lnTo>
                        <a:pt x="1267327" y="114701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7" name="Freeform 1086"/>
                <p:cNvSpPr/>
                <p:nvPr/>
              </p:nvSpPr>
              <p:spPr bwMode="auto">
                <a:xfrm>
                  <a:off x="10953" y="2973210"/>
                  <a:ext cx="1397980" cy="734980"/>
                </a:xfrm>
                <a:custGeom>
                  <a:avLst/>
                  <a:gdLst>
                    <a:gd name="connsiteX0" fmla="*/ 3426 w 1396318"/>
                    <a:gd name="connsiteY0" fmla="*/ 684390 h 734979"/>
                    <a:gd name="connsiteX1" fmla="*/ 260100 w 1396318"/>
                    <a:gd name="connsiteY1" fmla="*/ 724495 h 734979"/>
                    <a:gd name="connsiteX2" fmla="*/ 813552 w 1396318"/>
                    <a:gd name="connsiteY2" fmla="*/ 515948 h 734979"/>
                    <a:gd name="connsiteX3" fmla="*/ 1350963 w 1396318"/>
                    <a:gd name="connsiteY3" fmla="*/ 58748 h 734979"/>
                    <a:gd name="connsiteX4" fmla="*/ 1350963 w 1396318"/>
                    <a:gd name="connsiteY4" fmla="*/ 2601 h 734979"/>
                    <a:gd name="connsiteX5" fmla="*/ 1214605 w 1396318"/>
                    <a:gd name="connsiteY5" fmla="*/ 26664 h 734979"/>
                    <a:gd name="connsiteX6" fmla="*/ 709279 w 1396318"/>
                    <a:gd name="connsiteY6" fmla="*/ 171043 h 734979"/>
                    <a:gd name="connsiteX7" fmla="*/ 276142 w 1396318"/>
                    <a:gd name="connsiteY7" fmla="*/ 427716 h 734979"/>
                    <a:gd name="connsiteX8" fmla="*/ 163847 w 1396318"/>
                    <a:gd name="connsiteY8" fmla="*/ 427716 h 734979"/>
                    <a:gd name="connsiteX9" fmla="*/ 115721 w 1396318"/>
                    <a:gd name="connsiteY9" fmla="*/ 515948 h 734979"/>
                    <a:gd name="connsiteX10" fmla="*/ 3426 w 1396318"/>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77804 w 1397980"/>
                    <a:gd name="connsiteY7" fmla="*/ 427716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396241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38862 h 734979"/>
                    <a:gd name="connsiteX8" fmla="*/ 165509 w 1397980"/>
                    <a:gd name="connsiteY8" fmla="*/ 396241 h 734979"/>
                    <a:gd name="connsiteX9" fmla="*/ 96399 w 1397980"/>
                    <a:gd name="connsiteY9" fmla="*/ 515948 h 734979"/>
                    <a:gd name="connsiteX10" fmla="*/ 5088 w 1397980"/>
                    <a:gd name="connsiteY10" fmla="*/ 684390 h 73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7980" h="734979">
                      <a:moveTo>
                        <a:pt x="5088" y="684390"/>
                      </a:moveTo>
                      <a:cubicBezTo>
                        <a:pt x="32649" y="719148"/>
                        <a:pt x="126741" y="752569"/>
                        <a:pt x="261762" y="724495"/>
                      </a:cubicBezTo>
                      <a:cubicBezTo>
                        <a:pt x="396783" y="696421"/>
                        <a:pt x="633404" y="626906"/>
                        <a:pt x="815214" y="515948"/>
                      </a:cubicBezTo>
                      <a:cubicBezTo>
                        <a:pt x="997024" y="404990"/>
                        <a:pt x="1263057" y="144306"/>
                        <a:pt x="1352625" y="58748"/>
                      </a:cubicBezTo>
                      <a:cubicBezTo>
                        <a:pt x="1442193" y="-26810"/>
                        <a:pt x="1375351" y="7948"/>
                        <a:pt x="1352625" y="2601"/>
                      </a:cubicBezTo>
                      <a:cubicBezTo>
                        <a:pt x="1329899" y="-2746"/>
                        <a:pt x="1330209" y="7334"/>
                        <a:pt x="1216267" y="26664"/>
                      </a:cubicBezTo>
                      <a:cubicBezTo>
                        <a:pt x="1102325" y="45994"/>
                        <a:pt x="823635" y="83217"/>
                        <a:pt x="668973" y="118583"/>
                      </a:cubicBezTo>
                      <a:cubicBezTo>
                        <a:pt x="514311" y="153949"/>
                        <a:pt x="372207" y="192586"/>
                        <a:pt x="288296" y="238862"/>
                      </a:cubicBezTo>
                      <a:cubicBezTo>
                        <a:pt x="204385" y="285138"/>
                        <a:pt x="192246" y="381536"/>
                        <a:pt x="165509" y="396241"/>
                      </a:cubicBezTo>
                      <a:cubicBezTo>
                        <a:pt x="138772" y="410946"/>
                        <a:pt x="123136" y="467923"/>
                        <a:pt x="96399" y="515948"/>
                      </a:cubicBezTo>
                      <a:cubicBezTo>
                        <a:pt x="69662" y="563973"/>
                        <a:pt x="-22473" y="649632"/>
                        <a:pt x="5088" y="684390"/>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73" name="Freeform 1072"/>
              <p:cNvSpPr/>
              <p:nvPr/>
            </p:nvSpPr>
            <p:spPr bwMode="auto">
              <a:xfrm rot="271620">
                <a:off x="3993004" y="3376093"/>
                <a:ext cx="521758" cy="457462"/>
              </a:xfrm>
              <a:custGeom>
                <a:avLst/>
                <a:gdLst>
                  <a:gd name="connsiteX0" fmla="*/ 49366 w 521758"/>
                  <a:gd name="connsiteY0" fmla="*/ 361980 h 459200"/>
                  <a:gd name="connsiteX1" fmla="*/ 169682 w 521758"/>
                  <a:gd name="connsiteY1" fmla="*/ 442191 h 459200"/>
                  <a:gd name="connsiteX2" fmla="*/ 410314 w 521758"/>
                  <a:gd name="connsiteY2" fmla="*/ 458233 h 459200"/>
                  <a:gd name="connsiteX3" fmla="*/ 498545 w 521758"/>
                  <a:gd name="connsiteY3" fmla="*/ 434170 h 459200"/>
                  <a:gd name="connsiteX4" fmla="*/ 514587 w 521758"/>
                  <a:gd name="connsiteY4" fmla="*/ 249686 h 459200"/>
                  <a:gd name="connsiteX5" fmla="*/ 514587 w 521758"/>
                  <a:gd name="connsiteY5" fmla="*/ 105307 h 459200"/>
                  <a:gd name="connsiteX6" fmla="*/ 426356 w 521758"/>
                  <a:gd name="connsiteY6" fmla="*/ 41138 h 459200"/>
                  <a:gd name="connsiteX7" fmla="*/ 265935 w 521758"/>
                  <a:gd name="connsiteY7" fmla="*/ 9054 h 459200"/>
                  <a:gd name="connsiteX8" fmla="*/ 217808 w 521758"/>
                  <a:gd name="connsiteY8" fmla="*/ 9054 h 459200"/>
                  <a:gd name="connsiteX9" fmla="*/ 105514 w 521758"/>
                  <a:gd name="connsiteY9" fmla="*/ 113328 h 459200"/>
                  <a:gd name="connsiteX10" fmla="*/ 9261 w 521758"/>
                  <a:gd name="connsiteY10" fmla="*/ 185517 h 459200"/>
                  <a:gd name="connsiteX11" fmla="*/ 9261 w 521758"/>
                  <a:gd name="connsiteY11" fmla="*/ 257707 h 459200"/>
                  <a:gd name="connsiteX12" fmla="*/ 49366 w 521758"/>
                  <a:gd name="connsiteY12" fmla="*/ 361980 h 459200"/>
                  <a:gd name="connsiteX0" fmla="*/ 49366 w 521758"/>
                  <a:gd name="connsiteY0" fmla="*/ 360242 h 457462"/>
                  <a:gd name="connsiteX1" fmla="*/ 169682 w 521758"/>
                  <a:gd name="connsiteY1" fmla="*/ 440453 h 457462"/>
                  <a:gd name="connsiteX2" fmla="*/ 410314 w 521758"/>
                  <a:gd name="connsiteY2" fmla="*/ 456495 h 457462"/>
                  <a:gd name="connsiteX3" fmla="*/ 498545 w 521758"/>
                  <a:gd name="connsiteY3" fmla="*/ 432432 h 457462"/>
                  <a:gd name="connsiteX4" fmla="*/ 514587 w 521758"/>
                  <a:gd name="connsiteY4" fmla="*/ 247948 h 457462"/>
                  <a:gd name="connsiteX5" fmla="*/ 514587 w 521758"/>
                  <a:gd name="connsiteY5" fmla="*/ 103569 h 457462"/>
                  <a:gd name="connsiteX6" fmla="*/ 426356 w 521758"/>
                  <a:gd name="connsiteY6" fmla="*/ 39400 h 457462"/>
                  <a:gd name="connsiteX7" fmla="*/ 265935 w 521758"/>
                  <a:gd name="connsiteY7" fmla="*/ 7316 h 457462"/>
                  <a:gd name="connsiteX8" fmla="*/ 217808 w 521758"/>
                  <a:gd name="connsiteY8" fmla="*/ 7316 h 457462"/>
                  <a:gd name="connsiteX9" fmla="*/ 105514 w 521758"/>
                  <a:gd name="connsiteY9" fmla="*/ 87527 h 457462"/>
                  <a:gd name="connsiteX10" fmla="*/ 9261 w 521758"/>
                  <a:gd name="connsiteY10" fmla="*/ 183779 h 457462"/>
                  <a:gd name="connsiteX11" fmla="*/ 9261 w 521758"/>
                  <a:gd name="connsiteY11" fmla="*/ 255969 h 457462"/>
                  <a:gd name="connsiteX12" fmla="*/ 49366 w 521758"/>
                  <a:gd name="connsiteY12" fmla="*/ 360242 h 45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758" h="457462">
                    <a:moveTo>
                      <a:pt x="49366" y="360242"/>
                    </a:moveTo>
                    <a:cubicBezTo>
                      <a:pt x="76103" y="390989"/>
                      <a:pt x="109524" y="424411"/>
                      <a:pt x="169682" y="440453"/>
                    </a:cubicBezTo>
                    <a:cubicBezTo>
                      <a:pt x="229840" y="456495"/>
                      <a:pt x="355504" y="457832"/>
                      <a:pt x="410314" y="456495"/>
                    </a:cubicBezTo>
                    <a:cubicBezTo>
                      <a:pt x="465125" y="455158"/>
                      <a:pt x="481166" y="467190"/>
                      <a:pt x="498545" y="432432"/>
                    </a:cubicBezTo>
                    <a:cubicBezTo>
                      <a:pt x="515924" y="397674"/>
                      <a:pt x="511913" y="302758"/>
                      <a:pt x="514587" y="247948"/>
                    </a:cubicBezTo>
                    <a:cubicBezTo>
                      <a:pt x="517261" y="193138"/>
                      <a:pt x="529292" y="138327"/>
                      <a:pt x="514587" y="103569"/>
                    </a:cubicBezTo>
                    <a:cubicBezTo>
                      <a:pt x="499882" y="68811"/>
                      <a:pt x="467798" y="55442"/>
                      <a:pt x="426356" y="39400"/>
                    </a:cubicBezTo>
                    <a:cubicBezTo>
                      <a:pt x="384914" y="23358"/>
                      <a:pt x="300693" y="12663"/>
                      <a:pt x="265935" y="7316"/>
                    </a:cubicBezTo>
                    <a:cubicBezTo>
                      <a:pt x="231177" y="1969"/>
                      <a:pt x="244545" y="-6052"/>
                      <a:pt x="217808" y="7316"/>
                    </a:cubicBezTo>
                    <a:cubicBezTo>
                      <a:pt x="191071" y="20684"/>
                      <a:pt x="140272" y="58117"/>
                      <a:pt x="105514" y="87527"/>
                    </a:cubicBezTo>
                    <a:cubicBezTo>
                      <a:pt x="70756" y="116937"/>
                      <a:pt x="25303" y="159716"/>
                      <a:pt x="9261" y="183779"/>
                    </a:cubicBezTo>
                    <a:cubicBezTo>
                      <a:pt x="-6781" y="207842"/>
                      <a:pt x="1240" y="225222"/>
                      <a:pt x="9261" y="255969"/>
                    </a:cubicBezTo>
                    <a:cubicBezTo>
                      <a:pt x="17282" y="286716"/>
                      <a:pt x="22629" y="329495"/>
                      <a:pt x="49366" y="360242"/>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31" name="Group 30"/>
          <p:cNvGrpSpPr/>
          <p:nvPr/>
        </p:nvGrpSpPr>
        <p:grpSpPr>
          <a:xfrm>
            <a:off x="8130173" y="4950904"/>
            <a:ext cx="835140" cy="681152"/>
            <a:chOff x="8163421" y="4950904"/>
            <a:chExt cx="835140" cy="681152"/>
          </a:xfrm>
        </p:grpSpPr>
        <p:sp>
          <p:nvSpPr>
            <p:cNvPr id="1098" name="Rectangle 1097"/>
            <p:cNvSpPr/>
            <p:nvPr/>
          </p:nvSpPr>
          <p:spPr bwMode="auto">
            <a:xfrm>
              <a:off x="8362867" y="5181228"/>
              <a:ext cx="635694" cy="450828"/>
            </a:xfrm>
            <a:prstGeom prst="rect">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91440" numCol="1" spcCol="0" rtlCol="0" fromWordArt="0" anchor="ctr" anchorCtr="0" forceAA="0" compatLnSpc="1">
              <a:prstTxWarp prst="textNoShape">
                <a:avLst/>
              </a:prstTxWarp>
              <a:noAutofit/>
            </a:bodyPr>
            <a:lstStyle/>
            <a:p>
              <a:pPr marL="0" marR="0" lvl="0" indent="0" algn="r" defTabSz="895639"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w="3175">
                    <a:noFill/>
                  </a:ln>
                  <a:solidFill>
                    <a:srgbClr val="00BCF2"/>
                  </a:solidFill>
                  <a:effectLst/>
                  <a:uLnTx/>
                  <a:uFillTx/>
                  <a:cs typeface="Arial" charset="0"/>
                </a:rPr>
                <a:t>SAFE </a:t>
              </a:r>
              <a:br>
                <a:rPr kumimoji="0" lang="en-US" sz="800" b="0" i="0" u="none" strike="noStrike" kern="0" cap="none" spc="0" normalizeH="0" baseline="0" noProof="0" dirty="0">
                  <a:ln w="3175">
                    <a:noFill/>
                  </a:ln>
                  <a:solidFill>
                    <a:srgbClr val="00BCF2"/>
                  </a:solidFill>
                  <a:effectLst/>
                  <a:uLnTx/>
                  <a:uFillTx/>
                  <a:cs typeface="Arial" charset="0"/>
                </a:rPr>
              </a:br>
              <a:r>
                <a:rPr kumimoji="0" lang="en-US" sz="800" b="0" i="0" u="none" strike="noStrike" kern="0" cap="none" spc="0" normalizeH="0" baseline="0" noProof="0" dirty="0">
                  <a:ln w="3175">
                    <a:noFill/>
                  </a:ln>
                  <a:solidFill>
                    <a:srgbClr val="00BCF2"/>
                  </a:solidFill>
                  <a:effectLst/>
                  <a:uLnTx/>
                  <a:uFillTx/>
                  <a:cs typeface="Arial" charset="0"/>
                </a:rPr>
                <a:t>DRIVER DISCOUNT</a:t>
              </a:r>
              <a:endParaRPr kumimoji="0" lang="en-US" sz="600" b="0" i="0" u="none" strike="noStrike" kern="0" cap="none" spc="0" normalizeH="0" baseline="0" noProof="0" dirty="0">
                <a:ln w="3175">
                  <a:noFill/>
                </a:ln>
                <a:solidFill>
                  <a:srgbClr val="00BCF2"/>
                </a:solidFill>
                <a:effectLst/>
                <a:uLnTx/>
                <a:uFillTx/>
                <a:cs typeface="Arial" charset="0"/>
              </a:endParaRPr>
            </a:p>
          </p:txBody>
        </p:sp>
        <p:grpSp>
          <p:nvGrpSpPr>
            <p:cNvPr id="29" name="Group 28"/>
            <p:cNvGrpSpPr/>
            <p:nvPr/>
          </p:nvGrpSpPr>
          <p:grpSpPr>
            <a:xfrm>
              <a:off x="8163421" y="4950904"/>
              <a:ext cx="431684" cy="441431"/>
              <a:chOff x="8142272" y="4911414"/>
              <a:chExt cx="474852" cy="485574"/>
            </a:xfrm>
          </p:grpSpPr>
          <p:sp>
            <p:nvSpPr>
              <p:cNvPr id="1101" name="Oval 1100"/>
              <p:cNvSpPr/>
              <p:nvPr/>
            </p:nvSpPr>
            <p:spPr bwMode="auto">
              <a:xfrm>
                <a:off x="8142272" y="4911414"/>
                <a:ext cx="474852" cy="485574"/>
              </a:xfrm>
              <a:prstGeom prst="ellipse">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121" name="Group 1120"/>
              <p:cNvGrpSpPr>
                <a:grpSpLocks noChangeAspect="1"/>
              </p:cNvGrpSpPr>
              <p:nvPr/>
            </p:nvGrpSpPr>
            <p:grpSpPr>
              <a:xfrm rot="580746">
                <a:off x="8241620" y="5021014"/>
                <a:ext cx="288286" cy="285012"/>
                <a:chOff x="8045070" y="2682683"/>
                <a:chExt cx="314877" cy="311298"/>
              </a:xfrm>
              <a:solidFill>
                <a:schemeClr val="accent1"/>
              </a:solidFill>
            </p:grpSpPr>
            <p:sp>
              <p:nvSpPr>
                <p:cNvPr id="1122" name="Freeform 274"/>
                <p:cNvSpPr>
                  <a:spLocks noEditPoints="1"/>
                </p:cNvSpPr>
                <p:nvPr/>
              </p:nvSpPr>
              <p:spPr bwMode="auto">
                <a:xfrm>
                  <a:off x="8079260" y="2716556"/>
                  <a:ext cx="54865" cy="54865"/>
                </a:xfrm>
                <a:custGeom>
                  <a:avLst/>
                  <a:gdLst>
                    <a:gd name="T0" fmla="*/ 37 w 323"/>
                    <a:gd name="T1" fmla="*/ 58 h 320"/>
                    <a:gd name="T2" fmla="*/ 12 w 323"/>
                    <a:gd name="T3" fmla="*/ 98 h 320"/>
                    <a:gd name="T4" fmla="*/ 1 w 323"/>
                    <a:gd name="T5" fmla="*/ 143 h 320"/>
                    <a:gd name="T6" fmla="*/ 1 w 323"/>
                    <a:gd name="T7" fmla="*/ 175 h 320"/>
                    <a:gd name="T8" fmla="*/ 12 w 323"/>
                    <a:gd name="T9" fmla="*/ 221 h 320"/>
                    <a:gd name="T10" fmla="*/ 37 w 323"/>
                    <a:gd name="T11" fmla="*/ 261 h 320"/>
                    <a:gd name="T12" fmla="*/ 60 w 323"/>
                    <a:gd name="T13" fmla="*/ 284 h 320"/>
                    <a:gd name="T14" fmla="*/ 101 w 323"/>
                    <a:gd name="T15" fmla="*/ 308 h 320"/>
                    <a:gd name="T16" fmla="*/ 146 w 323"/>
                    <a:gd name="T17" fmla="*/ 320 h 320"/>
                    <a:gd name="T18" fmla="*/ 192 w 323"/>
                    <a:gd name="T19" fmla="*/ 317 h 320"/>
                    <a:gd name="T20" fmla="*/ 237 w 323"/>
                    <a:gd name="T21" fmla="*/ 301 h 320"/>
                    <a:gd name="T22" fmla="*/ 276 w 323"/>
                    <a:gd name="T23" fmla="*/ 274 h 320"/>
                    <a:gd name="T24" fmla="*/ 296 w 323"/>
                    <a:gd name="T25" fmla="*/ 249 h 320"/>
                    <a:gd name="T26" fmla="*/ 316 w 323"/>
                    <a:gd name="T27" fmla="*/ 206 h 320"/>
                    <a:gd name="T28" fmla="*/ 323 w 323"/>
                    <a:gd name="T29" fmla="*/ 160 h 320"/>
                    <a:gd name="T30" fmla="*/ 323 w 323"/>
                    <a:gd name="T31" fmla="*/ 160 h 320"/>
                    <a:gd name="T32" fmla="*/ 316 w 323"/>
                    <a:gd name="T33" fmla="*/ 112 h 320"/>
                    <a:gd name="T34" fmla="*/ 296 w 323"/>
                    <a:gd name="T35" fmla="*/ 70 h 320"/>
                    <a:gd name="T36" fmla="*/ 276 w 323"/>
                    <a:gd name="T37" fmla="*/ 46 h 320"/>
                    <a:gd name="T38" fmla="*/ 237 w 323"/>
                    <a:gd name="T39" fmla="*/ 17 h 320"/>
                    <a:gd name="T40" fmla="*/ 192 w 323"/>
                    <a:gd name="T41" fmla="*/ 2 h 320"/>
                    <a:gd name="T42" fmla="*/ 146 w 323"/>
                    <a:gd name="T43" fmla="*/ 0 h 320"/>
                    <a:gd name="T44" fmla="*/ 101 w 323"/>
                    <a:gd name="T45" fmla="*/ 11 h 320"/>
                    <a:gd name="T46" fmla="*/ 60 w 323"/>
                    <a:gd name="T47" fmla="*/ 35 h 320"/>
                    <a:gd name="T48" fmla="*/ 105 w 323"/>
                    <a:gd name="T49" fmla="*/ 215 h 320"/>
                    <a:gd name="T50" fmla="*/ 95 w 323"/>
                    <a:gd name="T51" fmla="*/ 203 h 320"/>
                    <a:gd name="T52" fmla="*/ 85 w 323"/>
                    <a:gd name="T53" fmla="*/ 182 h 320"/>
                    <a:gd name="T54" fmla="*/ 82 w 323"/>
                    <a:gd name="T55" fmla="*/ 160 h 320"/>
                    <a:gd name="T56" fmla="*/ 83 w 323"/>
                    <a:gd name="T57" fmla="*/ 144 h 320"/>
                    <a:gd name="T58" fmla="*/ 91 w 323"/>
                    <a:gd name="T59" fmla="*/ 123 h 320"/>
                    <a:gd name="T60" fmla="*/ 105 w 323"/>
                    <a:gd name="T61" fmla="*/ 104 h 320"/>
                    <a:gd name="T62" fmla="*/ 118 w 323"/>
                    <a:gd name="T63" fmla="*/ 94 h 320"/>
                    <a:gd name="T64" fmla="*/ 139 w 323"/>
                    <a:gd name="T65" fmla="*/ 84 h 320"/>
                    <a:gd name="T66" fmla="*/ 162 w 323"/>
                    <a:gd name="T67" fmla="*/ 81 h 320"/>
                    <a:gd name="T68" fmla="*/ 184 w 323"/>
                    <a:gd name="T69" fmla="*/ 84 h 320"/>
                    <a:gd name="T70" fmla="*/ 206 w 323"/>
                    <a:gd name="T71" fmla="*/ 94 h 320"/>
                    <a:gd name="T72" fmla="*/ 218 w 323"/>
                    <a:gd name="T73" fmla="*/ 104 h 320"/>
                    <a:gd name="T74" fmla="*/ 228 w 323"/>
                    <a:gd name="T75" fmla="*/ 116 h 320"/>
                    <a:gd name="T76" fmla="*/ 238 w 323"/>
                    <a:gd name="T77" fmla="*/ 136 h 320"/>
                    <a:gd name="T78" fmla="*/ 242 w 323"/>
                    <a:gd name="T79" fmla="*/ 160 h 320"/>
                    <a:gd name="T80" fmla="*/ 240 w 323"/>
                    <a:gd name="T81" fmla="*/ 175 h 320"/>
                    <a:gd name="T82" fmla="*/ 233 w 323"/>
                    <a:gd name="T83" fmla="*/ 197 h 320"/>
                    <a:gd name="T84" fmla="*/ 218 w 323"/>
                    <a:gd name="T85" fmla="*/ 215 h 320"/>
                    <a:gd name="T86" fmla="*/ 206 w 323"/>
                    <a:gd name="T87" fmla="*/ 225 h 320"/>
                    <a:gd name="T88" fmla="*/ 184 w 323"/>
                    <a:gd name="T89" fmla="*/ 236 h 320"/>
                    <a:gd name="T90" fmla="*/ 162 w 323"/>
                    <a:gd name="T91" fmla="*/ 239 h 320"/>
                    <a:gd name="T92" fmla="*/ 139 w 323"/>
                    <a:gd name="T93" fmla="*/ 236 h 320"/>
                    <a:gd name="T94" fmla="*/ 118 w 323"/>
                    <a:gd name="T95" fmla="*/ 225 h 320"/>
                    <a:gd name="T96" fmla="*/ 105 w 323"/>
                    <a:gd name="T97" fmla="*/ 215 h 320"/>
                    <a:gd name="T98" fmla="*/ 276 w 323"/>
                    <a:gd name="T99" fmla="*/ 4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3" h="320">
                      <a:moveTo>
                        <a:pt x="48" y="46"/>
                      </a:moveTo>
                      <a:lnTo>
                        <a:pt x="48" y="46"/>
                      </a:lnTo>
                      <a:lnTo>
                        <a:pt x="37" y="58"/>
                      </a:lnTo>
                      <a:lnTo>
                        <a:pt x="27" y="70"/>
                      </a:lnTo>
                      <a:lnTo>
                        <a:pt x="19" y="84"/>
                      </a:lnTo>
                      <a:lnTo>
                        <a:pt x="12" y="98"/>
                      </a:lnTo>
                      <a:lnTo>
                        <a:pt x="7" y="112"/>
                      </a:lnTo>
                      <a:lnTo>
                        <a:pt x="3" y="128"/>
                      </a:lnTo>
                      <a:lnTo>
                        <a:pt x="1" y="143"/>
                      </a:lnTo>
                      <a:lnTo>
                        <a:pt x="0" y="160"/>
                      </a:lnTo>
                      <a:lnTo>
                        <a:pt x="0" y="160"/>
                      </a:lnTo>
                      <a:lnTo>
                        <a:pt x="1" y="175"/>
                      </a:lnTo>
                      <a:lnTo>
                        <a:pt x="3" y="191"/>
                      </a:lnTo>
                      <a:lnTo>
                        <a:pt x="7" y="206"/>
                      </a:lnTo>
                      <a:lnTo>
                        <a:pt x="12" y="221"/>
                      </a:lnTo>
                      <a:lnTo>
                        <a:pt x="19" y="236"/>
                      </a:lnTo>
                      <a:lnTo>
                        <a:pt x="27" y="249"/>
                      </a:lnTo>
                      <a:lnTo>
                        <a:pt x="37" y="261"/>
                      </a:lnTo>
                      <a:lnTo>
                        <a:pt x="48" y="274"/>
                      </a:lnTo>
                      <a:lnTo>
                        <a:pt x="48" y="274"/>
                      </a:lnTo>
                      <a:lnTo>
                        <a:pt x="60" y="284"/>
                      </a:lnTo>
                      <a:lnTo>
                        <a:pt x="72" y="294"/>
                      </a:lnTo>
                      <a:lnTo>
                        <a:pt x="87" y="301"/>
                      </a:lnTo>
                      <a:lnTo>
                        <a:pt x="101" y="308"/>
                      </a:lnTo>
                      <a:lnTo>
                        <a:pt x="116" y="314"/>
                      </a:lnTo>
                      <a:lnTo>
                        <a:pt x="131" y="317"/>
                      </a:lnTo>
                      <a:lnTo>
                        <a:pt x="146" y="320"/>
                      </a:lnTo>
                      <a:lnTo>
                        <a:pt x="162" y="320"/>
                      </a:lnTo>
                      <a:lnTo>
                        <a:pt x="177" y="320"/>
                      </a:lnTo>
                      <a:lnTo>
                        <a:pt x="192" y="317"/>
                      </a:lnTo>
                      <a:lnTo>
                        <a:pt x="208" y="314"/>
                      </a:lnTo>
                      <a:lnTo>
                        <a:pt x="222" y="308"/>
                      </a:lnTo>
                      <a:lnTo>
                        <a:pt x="237" y="301"/>
                      </a:lnTo>
                      <a:lnTo>
                        <a:pt x="250" y="294"/>
                      </a:lnTo>
                      <a:lnTo>
                        <a:pt x="263" y="284"/>
                      </a:lnTo>
                      <a:lnTo>
                        <a:pt x="276" y="274"/>
                      </a:lnTo>
                      <a:lnTo>
                        <a:pt x="276" y="274"/>
                      </a:lnTo>
                      <a:lnTo>
                        <a:pt x="287" y="261"/>
                      </a:lnTo>
                      <a:lnTo>
                        <a:pt x="296" y="249"/>
                      </a:lnTo>
                      <a:lnTo>
                        <a:pt x="304" y="236"/>
                      </a:lnTo>
                      <a:lnTo>
                        <a:pt x="310" y="221"/>
                      </a:lnTo>
                      <a:lnTo>
                        <a:pt x="316" y="206"/>
                      </a:lnTo>
                      <a:lnTo>
                        <a:pt x="320" y="191"/>
                      </a:lnTo>
                      <a:lnTo>
                        <a:pt x="323" y="175"/>
                      </a:lnTo>
                      <a:lnTo>
                        <a:pt x="323" y="160"/>
                      </a:lnTo>
                      <a:lnTo>
                        <a:pt x="323" y="160"/>
                      </a:lnTo>
                      <a:lnTo>
                        <a:pt x="323" y="160"/>
                      </a:lnTo>
                      <a:lnTo>
                        <a:pt x="323" y="160"/>
                      </a:lnTo>
                      <a:lnTo>
                        <a:pt x="322" y="143"/>
                      </a:lnTo>
                      <a:lnTo>
                        <a:pt x="320" y="128"/>
                      </a:lnTo>
                      <a:lnTo>
                        <a:pt x="316" y="112"/>
                      </a:lnTo>
                      <a:lnTo>
                        <a:pt x="310" y="98"/>
                      </a:lnTo>
                      <a:lnTo>
                        <a:pt x="304" y="84"/>
                      </a:lnTo>
                      <a:lnTo>
                        <a:pt x="296" y="70"/>
                      </a:lnTo>
                      <a:lnTo>
                        <a:pt x="287" y="58"/>
                      </a:lnTo>
                      <a:lnTo>
                        <a:pt x="276" y="46"/>
                      </a:lnTo>
                      <a:lnTo>
                        <a:pt x="276" y="46"/>
                      </a:lnTo>
                      <a:lnTo>
                        <a:pt x="263" y="35"/>
                      </a:lnTo>
                      <a:lnTo>
                        <a:pt x="250" y="25"/>
                      </a:lnTo>
                      <a:lnTo>
                        <a:pt x="237" y="17"/>
                      </a:lnTo>
                      <a:lnTo>
                        <a:pt x="222" y="11"/>
                      </a:lnTo>
                      <a:lnTo>
                        <a:pt x="208" y="6"/>
                      </a:lnTo>
                      <a:lnTo>
                        <a:pt x="192" y="2"/>
                      </a:lnTo>
                      <a:lnTo>
                        <a:pt x="177" y="0"/>
                      </a:lnTo>
                      <a:lnTo>
                        <a:pt x="162" y="0"/>
                      </a:lnTo>
                      <a:lnTo>
                        <a:pt x="146" y="0"/>
                      </a:lnTo>
                      <a:lnTo>
                        <a:pt x="131" y="2"/>
                      </a:lnTo>
                      <a:lnTo>
                        <a:pt x="116" y="6"/>
                      </a:lnTo>
                      <a:lnTo>
                        <a:pt x="101" y="11"/>
                      </a:lnTo>
                      <a:lnTo>
                        <a:pt x="87" y="17"/>
                      </a:lnTo>
                      <a:lnTo>
                        <a:pt x="72" y="25"/>
                      </a:lnTo>
                      <a:lnTo>
                        <a:pt x="60" y="35"/>
                      </a:lnTo>
                      <a:lnTo>
                        <a:pt x="48" y="46"/>
                      </a:lnTo>
                      <a:lnTo>
                        <a:pt x="48" y="46"/>
                      </a:lnTo>
                      <a:close/>
                      <a:moveTo>
                        <a:pt x="105" y="215"/>
                      </a:moveTo>
                      <a:lnTo>
                        <a:pt x="105" y="215"/>
                      </a:lnTo>
                      <a:lnTo>
                        <a:pt x="99" y="210"/>
                      </a:lnTo>
                      <a:lnTo>
                        <a:pt x="95" y="203"/>
                      </a:lnTo>
                      <a:lnTo>
                        <a:pt x="91" y="197"/>
                      </a:lnTo>
                      <a:lnTo>
                        <a:pt x="88" y="189"/>
                      </a:lnTo>
                      <a:lnTo>
                        <a:pt x="85" y="182"/>
                      </a:lnTo>
                      <a:lnTo>
                        <a:pt x="83" y="175"/>
                      </a:lnTo>
                      <a:lnTo>
                        <a:pt x="82" y="167"/>
                      </a:lnTo>
                      <a:lnTo>
                        <a:pt x="82" y="160"/>
                      </a:lnTo>
                      <a:lnTo>
                        <a:pt x="82" y="160"/>
                      </a:lnTo>
                      <a:lnTo>
                        <a:pt x="82" y="151"/>
                      </a:lnTo>
                      <a:lnTo>
                        <a:pt x="83" y="144"/>
                      </a:lnTo>
                      <a:lnTo>
                        <a:pt x="85" y="136"/>
                      </a:lnTo>
                      <a:lnTo>
                        <a:pt x="88" y="129"/>
                      </a:lnTo>
                      <a:lnTo>
                        <a:pt x="91" y="123"/>
                      </a:lnTo>
                      <a:lnTo>
                        <a:pt x="95" y="116"/>
                      </a:lnTo>
                      <a:lnTo>
                        <a:pt x="99" y="109"/>
                      </a:lnTo>
                      <a:lnTo>
                        <a:pt x="105" y="104"/>
                      </a:lnTo>
                      <a:lnTo>
                        <a:pt x="105" y="104"/>
                      </a:lnTo>
                      <a:lnTo>
                        <a:pt x="110" y="98"/>
                      </a:lnTo>
                      <a:lnTo>
                        <a:pt x="118" y="94"/>
                      </a:lnTo>
                      <a:lnTo>
                        <a:pt x="124" y="90"/>
                      </a:lnTo>
                      <a:lnTo>
                        <a:pt x="131" y="87"/>
                      </a:lnTo>
                      <a:lnTo>
                        <a:pt x="139" y="84"/>
                      </a:lnTo>
                      <a:lnTo>
                        <a:pt x="146" y="82"/>
                      </a:lnTo>
                      <a:lnTo>
                        <a:pt x="154" y="81"/>
                      </a:lnTo>
                      <a:lnTo>
                        <a:pt x="162" y="81"/>
                      </a:lnTo>
                      <a:lnTo>
                        <a:pt x="169" y="81"/>
                      </a:lnTo>
                      <a:lnTo>
                        <a:pt x="177" y="82"/>
                      </a:lnTo>
                      <a:lnTo>
                        <a:pt x="184" y="84"/>
                      </a:lnTo>
                      <a:lnTo>
                        <a:pt x="191" y="87"/>
                      </a:lnTo>
                      <a:lnTo>
                        <a:pt x="199" y="90"/>
                      </a:lnTo>
                      <a:lnTo>
                        <a:pt x="206" y="94"/>
                      </a:lnTo>
                      <a:lnTo>
                        <a:pt x="212" y="98"/>
                      </a:lnTo>
                      <a:lnTo>
                        <a:pt x="218" y="104"/>
                      </a:lnTo>
                      <a:lnTo>
                        <a:pt x="218" y="104"/>
                      </a:lnTo>
                      <a:lnTo>
                        <a:pt x="218" y="104"/>
                      </a:lnTo>
                      <a:lnTo>
                        <a:pt x="223" y="109"/>
                      </a:lnTo>
                      <a:lnTo>
                        <a:pt x="228" y="116"/>
                      </a:lnTo>
                      <a:lnTo>
                        <a:pt x="233" y="123"/>
                      </a:lnTo>
                      <a:lnTo>
                        <a:pt x="236" y="129"/>
                      </a:lnTo>
                      <a:lnTo>
                        <a:pt x="238" y="136"/>
                      </a:lnTo>
                      <a:lnTo>
                        <a:pt x="240" y="144"/>
                      </a:lnTo>
                      <a:lnTo>
                        <a:pt x="241" y="151"/>
                      </a:lnTo>
                      <a:lnTo>
                        <a:pt x="242" y="160"/>
                      </a:lnTo>
                      <a:lnTo>
                        <a:pt x="242" y="160"/>
                      </a:lnTo>
                      <a:lnTo>
                        <a:pt x="241" y="167"/>
                      </a:lnTo>
                      <a:lnTo>
                        <a:pt x="240" y="175"/>
                      </a:lnTo>
                      <a:lnTo>
                        <a:pt x="239" y="182"/>
                      </a:lnTo>
                      <a:lnTo>
                        <a:pt x="236" y="189"/>
                      </a:lnTo>
                      <a:lnTo>
                        <a:pt x="233" y="197"/>
                      </a:lnTo>
                      <a:lnTo>
                        <a:pt x="228" y="203"/>
                      </a:lnTo>
                      <a:lnTo>
                        <a:pt x="223" y="209"/>
                      </a:lnTo>
                      <a:lnTo>
                        <a:pt x="218" y="215"/>
                      </a:lnTo>
                      <a:lnTo>
                        <a:pt x="218" y="215"/>
                      </a:lnTo>
                      <a:lnTo>
                        <a:pt x="212" y="220"/>
                      </a:lnTo>
                      <a:lnTo>
                        <a:pt x="206" y="225"/>
                      </a:lnTo>
                      <a:lnTo>
                        <a:pt x="199" y="229"/>
                      </a:lnTo>
                      <a:lnTo>
                        <a:pt x="191" y="233"/>
                      </a:lnTo>
                      <a:lnTo>
                        <a:pt x="184" y="236"/>
                      </a:lnTo>
                      <a:lnTo>
                        <a:pt x="177" y="237"/>
                      </a:lnTo>
                      <a:lnTo>
                        <a:pt x="169" y="239"/>
                      </a:lnTo>
                      <a:lnTo>
                        <a:pt x="162" y="239"/>
                      </a:lnTo>
                      <a:lnTo>
                        <a:pt x="154" y="239"/>
                      </a:lnTo>
                      <a:lnTo>
                        <a:pt x="146" y="238"/>
                      </a:lnTo>
                      <a:lnTo>
                        <a:pt x="139" y="236"/>
                      </a:lnTo>
                      <a:lnTo>
                        <a:pt x="131" y="233"/>
                      </a:lnTo>
                      <a:lnTo>
                        <a:pt x="125" y="229"/>
                      </a:lnTo>
                      <a:lnTo>
                        <a:pt x="118" y="225"/>
                      </a:lnTo>
                      <a:lnTo>
                        <a:pt x="111" y="221"/>
                      </a:lnTo>
                      <a:lnTo>
                        <a:pt x="105" y="215"/>
                      </a:lnTo>
                      <a:lnTo>
                        <a:pt x="105" y="215"/>
                      </a:lnTo>
                      <a:close/>
                      <a:moveTo>
                        <a:pt x="276" y="46"/>
                      </a:moveTo>
                      <a:lnTo>
                        <a:pt x="276" y="46"/>
                      </a:lnTo>
                      <a:lnTo>
                        <a:pt x="276"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23" name="Freeform 275"/>
                <p:cNvSpPr>
                  <a:spLocks noEditPoints="1"/>
                </p:cNvSpPr>
                <p:nvPr/>
              </p:nvSpPr>
              <p:spPr bwMode="auto">
                <a:xfrm>
                  <a:off x="8045070" y="2682683"/>
                  <a:ext cx="314877" cy="311298"/>
                </a:xfrm>
                <a:custGeom>
                  <a:avLst/>
                  <a:gdLst>
                    <a:gd name="T0" fmla="*/ 1022 w 1845"/>
                    <a:gd name="T1" fmla="*/ 127 h 1829"/>
                    <a:gd name="T2" fmla="*/ 984 w 1845"/>
                    <a:gd name="T3" fmla="*/ 93 h 1829"/>
                    <a:gd name="T4" fmla="*/ 929 w 1845"/>
                    <a:gd name="T5" fmla="*/ 65 h 1829"/>
                    <a:gd name="T6" fmla="*/ 878 w 1845"/>
                    <a:gd name="T7" fmla="*/ 55 h 1829"/>
                    <a:gd name="T8" fmla="*/ 307 w 1845"/>
                    <a:gd name="T9" fmla="*/ 0 h 1829"/>
                    <a:gd name="T10" fmla="*/ 273 w 1845"/>
                    <a:gd name="T11" fmla="*/ 8 h 1829"/>
                    <a:gd name="T12" fmla="*/ 225 w 1845"/>
                    <a:gd name="T13" fmla="*/ 38 h 1829"/>
                    <a:gd name="T14" fmla="*/ 151 w 1845"/>
                    <a:gd name="T15" fmla="*/ 101 h 1829"/>
                    <a:gd name="T16" fmla="*/ 84 w 1845"/>
                    <a:gd name="T17" fmla="*/ 168 h 1829"/>
                    <a:gd name="T18" fmla="*/ 29 w 1845"/>
                    <a:gd name="T19" fmla="*/ 236 h 1829"/>
                    <a:gd name="T20" fmla="*/ 5 w 1845"/>
                    <a:gd name="T21" fmla="*/ 279 h 1829"/>
                    <a:gd name="T22" fmla="*/ 1 w 1845"/>
                    <a:gd name="T23" fmla="*/ 311 h 1829"/>
                    <a:gd name="T24" fmla="*/ 59 w 1845"/>
                    <a:gd name="T25" fmla="*/ 899 h 1829"/>
                    <a:gd name="T26" fmla="*/ 77 w 1845"/>
                    <a:gd name="T27" fmla="*/ 946 h 1829"/>
                    <a:gd name="T28" fmla="*/ 111 w 1845"/>
                    <a:gd name="T29" fmla="*/ 995 h 1829"/>
                    <a:gd name="T30" fmla="*/ 866 w 1845"/>
                    <a:gd name="T31" fmla="*/ 1744 h 1829"/>
                    <a:gd name="T32" fmla="*/ 899 w 1845"/>
                    <a:gd name="T33" fmla="*/ 1772 h 1829"/>
                    <a:gd name="T34" fmla="*/ 947 w 1845"/>
                    <a:gd name="T35" fmla="*/ 1802 h 1829"/>
                    <a:gd name="T36" fmla="*/ 1000 w 1845"/>
                    <a:gd name="T37" fmla="*/ 1820 h 1829"/>
                    <a:gd name="T38" fmla="*/ 1056 w 1845"/>
                    <a:gd name="T39" fmla="*/ 1828 h 1829"/>
                    <a:gd name="T40" fmla="*/ 1098 w 1845"/>
                    <a:gd name="T41" fmla="*/ 1827 h 1829"/>
                    <a:gd name="T42" fmla="*/ 1151 w 1845"/>
                    <a:gd name="T43" fmla="*/ 1817 h 1829"/>
                    <a:gd name="T44" fmla="*/ 1202 w 1845"/>
                    <a:gd name="T45" fmla="*/ 1796 h 1829"/>
                    <a:gd name="T46" fmla="*/ 1248 w 1845"/>
                    <a:gd name="T47" fmla="*/ 1766 h 1829"/>
                    <a:gd name="T48" fmla="*/ 1763 w 1845"/>
                    <a:gd name="T49" fmla="*/ 1257 h 1829"/>
                    <a:gd name="T50" fmla="*/ 1798 w 1845"/>
                    <a:gd name="T51" fmla="*/ 1215 h 1829"/>
                    <a:gd name="T52" fmla="*/ 1824 w 1845"/>
                    <a:gd name="T53" fmla="*/ 1167 h 1829"/>
                    <a:gd name="T54" fmla="*/ 1840 w 1845"/>
                    <a:gd name="T55" fmla="*/ 1115 h 1829"/>
                    <a:gd name="T56" fmla="*/ 1845 w 1845"/>
                    <a:gd name="T57" fmla="*/ 1061 h 1829"/>
                    <a:gd name="T58" fmla="*/ 1842 w 1845"/>
                    <a:gd name="T59" fmla="*/ 1019 h 1829"/>
                    <a:gd name="T60" fmla="*/ 1828 w 1845"/>
                    <a:gd name="T61" fmla="*/ 965 h 1829"/>
                    <a:gd name="T62" fmla="*/ 1804 w 1845"/>
                    <a:gd name="T63" fmla="*/ 914 h 1829"/>
                    <a:gd name="T64" fmla="*/ 1770 w 1845"/>
                    <a:gd name="T65" fmla="*/ 869 h 1829"/>
                    <a:gd name="T66" fmla="*/ 1738 w 1845"/>
                    <a:gd name="T67" fmla="*/ 1061 h 1829"/>
                    <a:gd name="T68" fmla="*/ 1726 w 1845"/>
                    <a:gd name="T69" fmla="*/ 1127 h 1829"/>
                    <a:gd name="T70" fmla="*/ 1688 w 1845"/>
                    <a:gd name="T71" fmla="*/ 1182 h 1829"/>
                    <a:gd name="T72" fmla="*/ 1180 w 1845"/>
                    <a:gd name="T73" fmla="*/ 1684 h 1829"/>
                    <a:gd name="T74" fmla="*/ 1120 w 1845"/>
                    <a:gd name="T75" fmla="*/ 1715 h 1829"/>
                    <a:gd name="T76" fmla="*/ 1070 w 1845"/>
                    <a:gd name="T77" fmla="*/ 1724 h 1829"/>
                    <a:gd name="T78" fmla="*/ 1001 w 1845"/>
                    <a:gd name="T79" fmla="*/ 1709 h 1829"/>
                    <a:gd name="T80" fmla="*/ 942 w 1845"/>
                    <a:gd name="T81" fmla="*/ 1669 h 1829"/>
                    <a:gd name="T82" fmla="*/ 185 w 1845"/>
                    <a:gd name="T83" fmla="*/ 918 h 1829"/>
                    <a:gd name="T84" fmla="*/ 164 w 1845"/>
                    <a:gd name="T85" fmla="*/ 875 h 1829"/>
                    <a:gd name="T86" fmla="*/ 108 w 1845"/>
                    <a:gd name="T87" fmla="*/ 311 h 1829"/>
                    <a:gd name="T88" fmla="*/ 143 w 1845"/>
                    <a:gd name="T89" fmla="*/ 264 h 1829"/>
                    <a:gd name="T90" fmla="*/ 266 w 1845"/>
                    <a:gd name="T91" fmla="*/ 141 h 1829"/>
                    <a:gd name="T92" fmla="*/ 313 w 1845"/>
                    <a:gd name="T93" fmla="*/ 107 h 1829"/>
                    <a:gd name="T94" fmla="*/ 881 w 1845"/>
                    <a:gd name="T95" fmla="*/ 162 h 1829"/>
                    <a:gd name="T96" fmla="*/ 922 w 1845"/>
                    <a:gd name="T97" fmla="*/ 181 h 1829"/>
                    <a:gd name="T98" fmla="*/ 951 w 1845"/>
                    <a:gd name="T99" fmla="*/ 206 h 1829"/>
                    <a:gd name="T100" fmla="*/ 1707 w 1845"/>
                    <a:gd name="T101" fmla="*/ 961 h 1829"/>
                    <a:gd name="T102" fmla="*/ 1735 w 1845"/>
                    <a:gd name="T103" fmla="*/ 1026 h 1829"/>
                    <a:gd name="T104" fmla="*/ 1738 w 1845"/>
                    <a:gd name="T105" fmla="*/ 1061 h 1829"/>
                    <a:gd name="T106" fmla="*/ 404 w 1845"/>
                    <a:gd name="T107" fmla="*/ 906 h 1829"/>
                    <a:gd name="T108" fmla="*/ 1566 w 1845"/>
                    <a:gd name="T109" fmla="*/ 1047 h 1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5" h="1829">
                      <a:moveTo>
                        <a:pt x="1760" y="859"/>
                      </a:moveTo>
                      <a:lnTo>
                        <a:pt x="1026" y="131"/>
                      </a:lnTo>
                      <a:lnTo>
                        <a:pt x="1026" y="131"/>
                      </a:lnTo>
                      <a:lnTo>
                        <a:pt x="1022" y="127"/>
                      </a:lnTo>
                      <a:lnTo>
                        <a:pt x="1022" y="127"/>
                      </a:lnTo>
                      <a:lnTo>
                        <a:pt x="1011" y="116"/>
                      </a:lnTo>
                      <a:lnTo>
                        <a:pt x="998" y="105"/>
                      </a:lnTo>
                      <a:lnTo>
                        <a:pt x="984" y="93"/>
                      </a:lnTo>
                      <a:lnTo>
                        <a:pt x="968" y="83"/>
                      </a:lnTo>
                      <a:lnTo>
                        <a:pt x="949" y="74"/>
                      </a:lnTo>
                      <a:lnTo>
                        <a:pt x="940" y="69"/>
                      </a:lnTo>
                      <a:lnTo>
                        <a:pt x="929" y="65"/>
                      </a:lnTo>
                      <a:lnTo>
                        <a:pt x="917" y="62"/>
                      </a:lnTo>
                      <a:lnTo>
                        <a:pt x="905" y="59"/>
                      </a:lnTo>
                      <a:lnTo>
                        <a:pt x="893" y="57"/>
                      </a:lnTo>
                      <a:lnTo>
                        <a:pt x="878" y="55"/>
                      </a:lnTo>
                      <a:lnTo>
                        <a:pt x="878" y="55"/>
                      </a:lnTo>
                      <a:lnTo>
                        <a:pt x="314" y="1"/>
                      </a:lnTo>
                      <a:lnTo>
                        <a:pt x="314" y="1"/>
                      </a:lnTo>
                      <a:lnTo>
                        <a:pt x="307" y="0"/>
                      </a:lnTo>
                      <a:lnTo>
                        <a:pt x="295" y="1"/>
                      </a:lnTo>
                      <a:lnTo>
                        <a:pt x="289" y="3"/>
                      </a:lnTo>
                      <a:lnTo>
                        <a:pt x="282" y="5"/>
                      </a:lnTo>
                      <a:lnTo>
                        <a:pt x="273" y="8"/>
                      </a:lnTo>
                      <a:lnTo>
                        <a:pt x="263" y="13"/>
                      </a:lnTo>
                      <a:lnTo>
                        <a:pt x="251" y="20"/>
                      </a:lnTo>
                      <a:lnTo>
                        <a:pt x="239" y="28"/>
                      </a:lnTo>
                      <a:lnTo>
                        <a:pt x="225" y="38"/>
                      </a:lnTo>
                      <a:lnTo>
                        <a:pt x="209" y="50"/>
                      </a:lnTo>
                      <a:lnTo>
                        <a:pt x="192" y="65"/>
                      </a:lnTo>
                      <a:lnTo>
                        <a:pt x="172" y="81"/>
                      </a:lnTo>
                      <a:lnTo>
                        <a:pt x="151" y="101"/>
                      </a:lnTo>
                      <a:lnTo>
                        <a:pt x="127" y="123"/>
                      </a:lnTo>
                      <a:lnTo>
                        <a:pt x="127" y="123"/>
                      </a:lnTo>
                      <a:lnTo>
                        <a:pt x="105" y="147"/>
                      </a:lnTo>
                      <a:lnTo>
                        <a:pt x="84" y="168"/>
                      </a:lnTo>
                      <a:lnTo>
                        <a:pt x="67" y="188"/>
                      </a:lnTo>
                      <a:lnTo>
                        <a:pt x="51" y="205"/>
                      </a:lnTo>
                      <a:lnTo>
                        <a:pt x="39" y="222"/>
                      </a:lnTo>
                      <a:lnTo>
                        <a:pt x="29" y="236"/>
                      </a:lnTo>
                      <a:lnTo>
                        <a:pt x="21" y="248"/>
                      </a:lnTo>
                      <a:lnTo>
                        <a:pt x="14" y="260"/>
                      </a:lnTo>
                      <a:lnTo>
                        <a:pt x="9" y="270"/>
                      </a:lnTo>
                      <a:lnTo>
                        <a:pt x="5" y="279"/>
                      </a:lnTo>
                      <a:lnTo>
                        <a:pt x="3" y="286"/>
                      </a:lnTo>
                      <a:lnTo>
                        <a:pt x="1" y="294"/>
                      </a:lnTo>
                      <a:lnTo>
                        <a:pt x="0" y="304"/>
                      </a:lnTo>
                      <a:lnTo>
                        <a:pt x="1" y="311"/>
                      </a:lnTo>
                      <a:lnTo>
                        <a:pt x="55" y="871"/>
                      </a:lnTo>
                      <a:lnTo>
                        <a:pt x="55" y="871"/>
                      </a:lnTo>
                      <a:lnTo>
                        <a:pt x="57" y="885"/>
                      </a:lnTo>
                      <a:lnTo>
                        <a:pt x="59" y="899"/>
                      </a:lnTo>
                      <a:lnTo>
                        <a:pt x="63" y="912"/>
                      </a:lnTo>
                      <a:lnTo>
                        <a:pt x="67" y="924"/>
                      </a:lnTo>
                      <a:lnTo>
                        <a:pt x="72" y="936"/>
                      </a:lnTo>
                      <a:lnTo>
                        <a:pt x="77" y="946"/>
                      </a:lnTo>
                      <a:lnTo>
                        <a:pt x="82" y="955"/>
                      </a:lnTo>
                      <a:lnTo>
                        <a:pt x="87" y="964"/>
                      </a:lnTo>
                      <a:lnTo>
                        <a:pt x="100" y="981"/>
                      </a:lnTo>
                      <a:lnTo>
                        <a:pt x="111" y="995"/>
                      </a:lnTo>
                      <a:lnTo>
                        <a:pt x="123" y="1008"/>
                      </a:lnTo>
                      <a:lnTo>
                        <a:pt x="133" y="1018"/>
                      </a:lnTo>
                      <a:lnTo>
                        <a:pt x="133" y="1018"/>
                      </a:lnTo>
                      <a:lnTo>
                        <a:pt x="866" y="1744"/>
                      </a:lnTo>
                      <a:lnTo>
                        <a:pt x="866" y="1744"/>
                      </a:lnTo>
                      <a:lnTo>
                        <a:pt x="876" y="1754"/>
                      </a:lnTo>
                      <a:lnTo>
                        <a:pt x="888" y="1764"/>
                      </a:lnTo>
                      <a:lnTo>
                        <a:pt x="899" y="1772"/>
                      </a:lnTo>
                      <a:lnTo>
                        <a:pt x="910" y="1780"/>
                      </a:lnTo>
                      <a:lnTo>
                        <a:pt x="922" y="1788"/>
                      </a:lnTo>
                      <a:lnTo>
                        <a:pt x="935" y="1795"/>
                      </a:lnTo>
                      <a:lnTo>
                        <a:pt x="947" y="1802"/>
                      </a:lnTo>
                      <a:lnTo>
                        <a:pt x="960" y="1807"/>
                      </a:lnTo>
                      <a:lnTo>
                        <a:pt x="974" y="1812"/>
                      </a:lnTo>
                      <a:lnTo>
                        <a:pt x="987" y="1817"/>
                      </a:lnTo>
                      <a:lnTo>
                        <a:pt x="1000" y="1820"/>
                      </a:lnTo>
                      <a:lnTo>
                        <a:pt x="1014" y="1823"/>
                      </a:lnTo>
                      <a:lnTo>
                        <a:pt x="1028" y="1826"/>
                      </a:lnTo>
                      <a:lnTo>
                        <a:pt x="1041" y="1827"/>
                      </a:lnTo>
                      <a:lnTo>
                        <a:pt x="1056" y="1828"/>
                      </a:lnTo>
                      <a:lnTo>
                        <a:pt x="1070" y="1829"/>
                      </a:lnTo>
                      <a:lnTo>
                        <a:pt x="1070" y="1829"/>
                      </a:lnTo>
                      <a:lnTo>
                        <a:pt x="1085" y="1828"/>
                      </a:lnTo>
                      <a:lnTo>
                        <a:pt x="1098" y="1827"/>
                      </a:lnTo>
                      <a:lnTo>
                        <a:pt x="1111" y="1826"/>
                      </a:lnTo>
                      <a:lnTo>
                        <a:pt x="1126" y="1823"/>
                      </a:lnTo>
                      <a:lnTo>
                        <a:pt x="1139" y="1821"/>
                      </a:lnTo>
                      <a:lnTo>
                        <a:pt x="1151" y="1817"/>
                      </a:lnTo>
                      <a:lnTo>
                        <a:pt x="1165" y="1813"/>
                      </a:lnTo>
                      <a:lnTo>
                        <a:pt x="1177" y="1808"/>
                      </a:lnTo>
                      <a:lnTo>
                        <a:pt x="1190" y="1803"/>
                      </a:lnTo>
                      <a:lnTo>
                        <a:pt x="1202" y="1796"/>
                      </a:lnTo>
                      <a:lnTo>
                        <a:pt x="1214" y="1789"/>
                      </a:lnTo>
                      <a:lnTo>
                        <a:pt x="1225" y="1782"/>
                      </a:lnTo>
                      <a:lnTo>
                        <a:pt x="1236" y="1775"/>
                      </a:lnTo>
                      <a:lnTo>
                        <a:pt x="1248" y="1766"/>
                      </a:lnTo>
                      <a:lnTo>
                        <a:pt x="1258" y="1756"/>
                      </a:lnTo>
                      <a:lnTo>
                        <a:pt x="1268" y="1747"/>
                      </a:lnTo>
                      <a:lnTo>
                        <a:pt x="1763" y="1257"/>
                      </a:lnTo>
                      <a:lnTo>
                        <a:pt x="1763" y="1257"/>
                      </a:lnTo>
                      <a:lnTo>
                        <a:pt x="1773" y="1247"/>
                      </a:lnTo>
                      <a:lnTo>
                        <a:pt x="1781" y="1236"/>
                      </a:lnTo>
                      <a:lnTo>
                        <a:pt x="1790" y="1226"/>
                      </a:lnTo>
                      <a:lnTo>
                        <a:pt x="1798" y="1215"/>
                      </a:lnTo>
                      <a:lnTo>
                        <a:pt x="1806" y="1204"/>
                      </a:lnTo>
                      <a:lnTo>
                        <a:pt x="1812" y="1191"/>
                      </a:lnTo>
                      <a:lnTo>
                        <a:pt x="1818" y="1179"/>
                      </a:lnTo>
                      <a:lnTo>
                        <a:pt x="1824" y="1167"/>
                      </a:lnTo>
                      <a:lnTo>
                        <a:pt x="1828" y="1154"/>
                      </a:lnTo>
                      <a:lnTo>
                        <a:pt x="1834" y="1142"/>
                      </a:lnTo>
                      <a:lnTo>
                        <a:pt x="1837" y="1129"/>
                      </a:lnTo>
                      <a:lnTo>
                        <a:pt x="1840" y="1115"/>
                      </a:lnTo>
                      <a:lnTo>
                        <a:pt x="1842" y="1102"/>
                      </a:lnTo>
                      <a:lnTo>
                        <a:pt x="1844" y="1089"/>
                      </a:lnTo>
                      <a:lnTo>
                        <a:pt x="1845" y="1075"/>
                      </a:lnTo>
                      <a:lnTo>
                        <a:pt x="1845" y="1061"/>
                      </a:lnTo>
                      <a:lnTo>
                        <a:pt x="1845" y="1061"/>
                      </a:lnTo>
                      <a:lnTo>
                        <a:pt x="1845" y="1047"/>
                      </a:lnTo>
                      <a:lnTo>
                        <a:pt x="1844" y="1033"/>
                      </a:lnTo>
                      <a:lnTo>
                        <a:pt x="1842" y="1019"/>
                      </a:lnTo>
                      <a:lnTo>
                        <a:pt x="1840" y="1006"/>
                      </a:lnTo>
                      <a:lnTo>
                        <a:pt x="1837" y="991"/>
                      </a:lnTo>
                      <a:lnTo>
                        <a:pt x="1833" y="978"/>
                      </a:lnTo>
                      <a:lnTo>
                        <a:pt x="1828" y="965"/>
                      </a:lnTo>
                      <a:lnTo>
                        <a:pt x="1823" y="952"/>
                      </a:lnTo>
                      <a:lnTo>
                        <a:pt x="1817" y="939"/>
                      </a:lnTo>
                      <a:lnTo>
                        <a:pt x="1811" y="927"/>
                      </a:lnTo>
                      <a:lnTo>
                        <a:pt x="1804" y="914"/>
                      </a:lnTo>
                      <a:lnTo>
                        <a:pt x="1797" y="903"/>
                      </a:lnTo>
                      <a:lnTo>
                        <a:pt x="1788" y="891"/>
                      </a:lnTo>
                      <a:lnTo>
                        <a:pt x="1779" y="880"/>
                      </a:lnTo>
                      <a:lnTo>
                        <a:pt x="1770" y="869"/>
                      </a:lnTo>
                      <a:lnTo>
                        <a:pt x="1760" y="859"/>
                      </a:lnTo>
                      <a:lnTo>
                        <a:pt x="1760" y="859"/>
                      </a:lnTo>
                      <a:close/>
                      <a:moveTo>
                        <a:pt x="1738" y="1061"/>
                      </a:moveTo>
                      <a:lnTo>
                        <a:pt x="1738" y="1061"/>
                      </a:lnTo>
                      <a:lnTo>
                        <a:pt x="1738" y="1078"/>
                      </a:lnTo>
                      <a:lnTo>
                        <a:pt x="1735" y="1095"/>
                      </a:lnTo>
                      <a:lnTo>
                        <a:pt x="1731" y="1111"/>
                      </a:lnTo>
                      <a:lnTo>
                        <a:pt x="1726" y="1127"/>
                      </a:lnTo>
                      <a:lnTo>
                        <a:pt x="1719" y="1142"/>
                      </a:lnTo>
                      <a:lnTo>
                        <a:pt x="1709" y="1155"/>
                      </a:lnTo>
                      <a:lnTo>
                        <a:pt x="1699" y="1170"/>
                      </a:lnTo>
                      <a:lnTo>
                        <a:pt x="1688" y="1182"/>
                      </a:lnTo>
                      <a:lnTo>
                        <a:pt x="1688" y="1182"/>
                      </a:lnTo>
                      <a:lnTo>
                        <a:pt x="1192" y="1672"/>
                      </a:lnTo>
                      <a:lnTo>
                        <a:pt x="1192" y="1672"/>
                      </a:lnTo>
                      <a:lnTo>
                        <a:pt x="1180" y="1684"/>
                      </a:lnTo>
                      <a:lnTo>
                        <a:pt x="1167" y="1694"/>
                      </a:lnTo>
                      <a:lnTo>
                        <a:pt x="1151" y="1703"/>
                      </a:lnTo>
                      <a:lnTo>
                        <a:pt x="1137" y="1710"/>
                      </a:lnTo>
                      <a:lnTo>
                        <a:pt x="1120" y="1715"/>
                      </a:lnTo>
                      <a:lnTo>
                        <a:pt x="1104" y="1720"/>
                      </a:lnTo>
                      <a:lnTo>
                        <a:pt x="1088" y="1723"/>
                      </a:lnTo>
                      <a:lnTo>
                        <a:pt x="1070" y="1724"/>
                      </a:lnTo>
                      <a:lnTo>
                        <a:pt x="1070" y="1724"/>
                      </a:lnTo>
                      <a:lnTo>
                        <a:pt x="1053" y="1723"/>
                      </a:lnTo>
                      <a:lnTo>
                        <a:pt x="1035" y="1720"/>
                      </a:lnTo>
                      <a:lnTo>
                        <a:pt x="1018" y="1715"/>
                      </a:lnTo>
                      <a:lnTo>
                        <a:pt x="1001" y="1709"/>
                      </a:lnTo>
                      <a:lnTo>
                        <a:pt x="985" y="1701"/>
                      </a:lnTo>
                      <a:lnTo>
                        <a:pt x="970" y="1692"/>
                      </a:lnTo>
                      <a:lnTo>
                        <a:pt x="955" y="1682"/>
                      </a:lnTo>
                      <a:lnTo>
                        <a:pt x="942" y="1669"/>
                      </a:lnTo>
                      <a:lnTo>
                        <a:pt x="208" y="942"/>
                      </a:lnTo>
                      <a:lnTo>
                        <a:pt x="208" y="942"/>
                      </a:lnTo>
                      <a:lnTo>
                        <a:pt x="192" y="927"/>
                      </a:lnTo>
                      <a:lnTo>
                        <a:pt x="185" y="918"/>
                      </a:lnTo>
                      <a:lnTo>
                        <a:pt x="177" y="909"/>
                      </a:lnTo>
                      <a:lnTo>
                        <a:pt x="172" y="899"/>
                      </a:lnTo>
                      <a:lnTo>
                        <a:pt x="167" y="888"/>
                      </a:lnTo>
                      <a:lnTo>
                        <a:pt x="164" y="875"/>
                      </a:lnTo>
                      <a:lnTo>
                        <a:pt x="161" y="861"/>
                      </a:lnTo>
                      <a:lnTo>
                        <a:pt x="161" y="861"/>
                      </a:lnTo>
                      <a:lnTo>
                        <a:pt x="108" y="311"/>
                      </a:lnTo>
                      <a:lnTo>
                        <a:pt x="108" y="311"/>
                      </a:lnTo>
                      <a:lnTo>
                        <a:pt x="113" y="302"/>
                      </a:lnTo>
                      <a:lnTo>
                        <a:pt x="121" y="290"/>
                      </a:lnTo>
                      <a:lnTo>
                        <a:pt x="130" y="277"/>
                      </a:lnTo>
                      <a:lnTo>
                        <a:pt x="143" y="264"/>
                      </a:lnTo>
                      <a:lnTo>
                        <a:pt x="170" y="233"/>
                      </a:lnTo>
                      <a:lnTo>
                        <a:pt x="202" y="200"/>
                      </a:lnTo>
                      <a:lnTo>
                        <a:pt x="235" y="168"/>
                      </a:lnTo>
                      <a:lnTo>
                        <a:pt x="266" y="141"/>
                      </a:lnTo>
                      <a:lnTo>
                        <a:pt x="280" y="129"/>
                      </a:lnTo>
                      <a:lnTo>
                        <a:pt x="292" y="119"/>
                      </a:lnTo>
                      <a:lnTo>
                        <a:pt x="304" y="112"/>
                      </a:lnTo>
                      <a:lnTo>
                        <a:pt x="313" y="107"/>
                      </a:lnTo>
                      <a:lnTo>
                        <a:pt x="313" y="107"/>
                      </a:lnTo>
                      <a:lnTo>
                        <a:pt x="868" y="160"/>
                      </a:lnTo>
                      <a:lnTo>
                        <a:pt x="868" y="160"/>
                      </a:lnTo>
                      <a:lnTo>
                        <a:pt x="881" y="162"/>
                      </a:lnTo>
                      <a:lnTo>
                        <a:pt x="894" y="165"/>
                      </a:lnTo>
                      <a:lnTo>
                        <a:pt x="904" y="169"/>
                      </a:lnTo>
                      <a:lnTo>
                        <a:pt x="913" y="175"/>
                      </a:lnTo>
                      <a:lnTo>
                        <a:pt x="922" y="181"/>
                      </a:lnTo>
                      <a:lnTo>
                        <a:pt x="931" y="187"/>
                      </a:lnTo>
                      <a:lnTo>
                        <a:pt x="947" y="203"/>
                      </a:lnTo>
                      <a:lnTo>
                        <a:pt x="947" y="203"/>
                      </a:lnTo>
                      <a:lnTo>
                        <a:pt x="951" y="206"/>
                      </a:lnTo>
                      <a:lnTo>
                        <a:pt x="1684" y="934"/>
                      </a:lnTo>
                      <a:lnTo>
                        <a:pt x="1684" y="934"/>
                      </a:lnTo>
                      <a:lnTo>
                        <a:pt x="1696" y="947"/>
                      </a:lnTo>
                      <a:lnTo>
                        <a:pt x="1707" y="961"/>
                      </a:lnTo>
                      <a:lnTo>
                        <a:pt x="1717" y="977"/>
                      </a:lnTo>
                      <a:lnTo>
                        <a:pt x="1725" y="992"/>
                      </a:lnTo>
                      <a:lnTo>
                        <a:pt x="1731" y="1009"/>
                      </a:lnTo>
                      <a:lnTo>
                        <a:pt x="1735" y="1026"/>
                      </a:lnTo>
                      <a:lnTo>
                        <a:pt x="1738" y="1043"/>
                      </a:lnTo>
                      <a:lnTo>
                        <a:pt x="1738" y="1061"/>
                      </a:lnTo>
                      <a:lnTo>
                        <a:pt x="1738" y="1061"/>
                      </a:lnTo>
                      <a:lnTo>
                        <a:pt x="1738" y="1061"/>
                      </a:lnTo>
                      <a:lnTo>
                        <a:pt x="1738" y="1061"/>
                      </a:lnTo>
                      <a:close/>
                      <a:moveTo>
                        <a:pt x="914" y="401"/>
                      </a:moveTo>
                      <a:lnTo>
                        <a:pt x="914" y="401"/>
                      </a:lnTo>
                      <a:lnTo>
                        <a:pt x="404" y="906"/>
                      </a:lnTo>
                      <a:lnTo>
                        <a:pt x="404" y="906"/>
                      </a:lnTo>
                      <a:lnTo>
                        <a:pt x="1056" y="1551"/>
                      </a:lnTo>
                      <a:lnTo>
                        <a:pt x="1056" y="1551"/>
                      </a:lnTo>
                      <a:lnTo>
                        <a:pt x="1566" y="1047"/>
                      </a:lnTo>
                      <a:lnTo>
                        <a:pt x="1566" y="1047"/>
                      </a:lnTo>
                      <a:lnTo>
                        <a:pt x="914" y="401"/>
                      </a:lnTo>
                      <a:lnTo>
                        <a:pt x="914"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cxnSp>
        <p:nvCxnSpPr>
          <p:cNvPr id="1124" name="Elbow Connector 1123"/>
          <p:cNvCxnSpPr>
            <a:stCxn id="1101" idx="2"/>
            <a:endCxn id="1073" idx="6"/>
          </p:cNvCxnSpPr>
          <p:nvPr/>
        </p:nvCxnSpPr>
        <p:spPr>
          <a:xfrm rot="10800000">
            <a:off x="7943913" y="4422328"/>
            <a:ext cx="186260" cy="749292"/>
          </a:xfrm>
          <a:prstGeom prst="bentConnector3">
            <a:avLst>
              <a:gd name="adj1" fmla="val 50000"/>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1133" name="Group 1132"/>
          <p:cNvGrpSpPr>
            <a:grpSpLocks noChangeAspect="1"/>
          </p:cNvGrpSpPr>
          <p:nvPr/>
        </p:nvGrpSpPr>
        <p:grpSpPr>
          <a:xfrm flipH="1">
            <a:off x="9338774" y="3083109"/>
            <a:ext cx="1072000" cy="420896"/>
            <a:chOff x="1666793" y="1822148"/>
            <a:chExt cx="8612041" cy="3073935"/>
          </a:xfrm>
        </p:grpSpPr>
        <p:grpSp>
          <p:nvGrpSpPr>
            <p:cNvPr id="1134" name="Group 1133"/>
            <p:cNvGrpSpPr/>
            <p:nvPr/>
          </p:nvGrpSpPr>
          <p:grpSpPr>
            <a:xfrm>
              <a:off x="1666793" y="1822148"/>
              <a:ext cx="8612041" cy="3073935"/>
              <a:chOff x="1666793" y="1822148"/>
              <a:chExt cx="8612041" cy="3073935"/>
            </a:xfrm>
          </p:grpSpPr>
          <p:sp>
            <p:nvSpPr>
              <p:cNvPr id="1136" name="Freeform 1135"/>
              <p:cNvSpPr/>
              <p:nvPr/>
            </p:nvSpPr>
            <p:spPr bwMode="auto">
              <a:xfrm>
                <a:off x="1676932" y="1822148"/>
                <a:ext cx="8601902" cy="2717800"/>
              </a:xfrm>
              <a:custGeom>
                <a:avLst/>
                <a:gdLst>
                  <a:gd name="connsiteX0" fmla="*/ 286034 w 8601902"/>
                  <a:gd name="connsiteY0" fmla="*/ 2657323 h 2717800"/>
                  <a:gd name="connsiteX1" fmla="*/ 378563 w 8601902"/>
                  <a:gd name="connsiteY1" fmla="*/ 2679095 h 2717800"/>
                  <a:gd name="connsiteX2" fmla="*/ 563620 w 8601902"/>
                  <a:gd name="connsiteY2" fmla="*/ 2700866 h 2717800"/>
                  <a:gd name="connsiteX3" fmla="*/ 634377 w 8601902"/>
                  <a:gd name="connsiteY3" fmla="*/ 2717195 h 2717800"/>
                  <a:gd name="connsiteX4" fmla="*/ 634377 w 8601902"/>
                  <a:gd name="connsiteY4" fmla="*/ 2679095 h 2717800"/>
                  <a:gd name="connsiteX5" fmla="*/ 618049 w 8601902"/>
                  <a:gd name="connsiteY5" fmla="*/ 2504923 h 2717800"/>
                  <a:gd name="connsiteX6" fmla="*/ 628934 w 8601902"/>
                  <a:gd name="connsiteY6" fmla="*/ 2336195 h 2717800"/>
                  <a:gd name="connsiteX7" fmla="*/ 667034 w 8601902"/>
                  <a:gd name="connsiteY7" fmla="*/ 2162023 h 2717800"/>
                  <a:gd name="connsiteX8" fmla="*/ 748677 w 8601902"/>
                  <a:gd name="connsiteY8" fmla="*/ 2004181 h 2717800"/>
                  <a:gd name="connsiteX9" fmla="*/ 857534 w 8601902"/>
                  <a:gd name="connsiteY9" fmla="*/ 1878995 h 2717800"/>
                  <a:gd name="connsiteX10" fmla="*/ 1042592 w 8601902"/>
                  <a:gd name="connsiteY10" fmla="*/ 1753809 h 2717800"/>
                  <a:gd name="connsiteX11" fmla="*/ 1243977 w 8601902"/>
                  <a:gd name="connsiteY11" fmla="*/ 1693938 h 2717800"/>
                  <a:gd name="connsiteX12" fmla="*/ 1450806 w 8601902"/>
                  <a:gd name="connsiteY12" fmla="*/ 1693938 h 2717800"/>
                  <a:gd name="connsiteX13" fmla="*/ 1635863 w 8601902"/>
                  <a:gd name="connsiteY13" fmla="*/ 1710266 h 2717800"/>
                  <a:gd name="connsiteX14" fmla="*/ 1739277 w 8601902"/>
                  <a:gd name="connsiteY14" fmla="*/ 1753809 h 2717800"/>
                  <a:gd name="connsiteX15" fmla="*/ 1929777 w 8601902"/>
                  <a:gd name="connsiteY15" fmla="*/ 1862666 h 2717800"/>
                  <a:gd name="connsiteX16" fmla="*/ 2049520 w 8601902"/>
                  <a:gd name="connsiteY16" fmla="*/ 2015066 h 2717800"/>
                  <a:gd name="connsiteX17" fmla="*/ 2152934 w 8601902"/>
                  <a:gd name="connsiteY17" fmla="*/ 2243666 h 2717800"/>
                  <a:gd name="connsiteX18" fmla="*/ 2185592 w 8601902"/>
                  <a:gd name="connsiteY18" fmla="*/ 2406952 h 2717800"/>
                  <a:gd name="connsiteX19" fmla="*/ 2212806 w 8601902"/>
                  <a:gd name="connsiteY19" fmla="*/ 2575681 h 2717800"/>
                  <a:gd name="connsiteX20" fmla="*/ 2218249 w 8601902"/>
                  <a:gd name="connsiteY20" fmla="*/ 2668209 h 2717800"/>
                  <a:gd name="connsiteX21" fmla="*/ 2240020 w 8601902"/>
                  <a:gd name="connsiteY21" fmla="*/ 2668209 h 2717800"/>
                  <a:gd name="connsiteX22" fmla="*/ 2523049 w 8601902"/>
                  <a:gd name="connsiteY22" fmla="*/ 2662766 h 2717800"/>
                  <a:gd name="connsiteX23" fmla="*/ 3274163 w 8601902"/>
                  <a:gd name="connsiteY23" fmla="*/ 2651881 h 2717800"/>
                  <a:gd name="connsiteX24" fmla="*/ 3949077 w 8601902"/>
                  <a:gd name="connsiteY24" fmla="*/ 2646438 h 2717800"/>
                  <a:gd name="connsiteX25" fmla="*/ 5113849 w 8601902"/>
                  <a:gd name="connsiteY25" fmla="*/ 2630109 h 2717800"/>
                  <a:gd name="connsiteX26" fmla="*/ 5799649 w 8601902"/>
                  <a:gd name="connsiteY26" fmla="*/ 2613781 h 2717800"/>
                  <a:gd name="connsiteX27" fmla="*/ 5930277 w 8601902"/>
                  <a:gd name="connsiteY27" fmla="*/ 2613781 h 2717800"/>
                  <a:gd name="connsiteX28" fmla="*/ 5930277 w 8601902"/>
                  <a:gd name="connsiteY28" fmla="*/ 2586566 h 2717800"/>
                  <a:gd name="connsiteX29" fmla="*/ 5941163 w 8601902"/>
                  <a:gd name="connsiteY29" fmla="*/ 2450495 h 2717800"/>
                  <a:gd name="connsiteX30" fmla="*/ 5973820 w 8601902"/>
                  <a:gd name="connsiteY30" fmla="*/ 2243666 h 2717800"/>
                  <a:gd name="connsiteX31" fmla="*/ 6055463 w 8601902"/>
                  <a:gd name="connsiteY31" fmla="*/ 2015066 h 2717800"/>
                  <a:gd name="connsiteX32" fmla="*/ 6202420 w 8601902"/>
                  <a:gd name="connsiteY32" fmla="*/ 1835452 h 2717800"/>
                  <a:gd name="connsiteX33" fmla="*/ 6360263 w 8601902"/>
                  <a:gd name="connsiteY33" fmla="*/ 1742923 h 2717800"/>
                  <a:gd name="connsiteX34" fmla="*/ 6534434 w 8601902"/>
                  <a:gd name="connsiteY34" fmla="*/ 1672166 h 2717800"/>
                  <a:gd name="connsiteX35" fmla="*/ 6801134 w 8601902"/>
                  <a:gd name="connsiteY35" fmla="*/ 1650395 h 2717800"/>
                  <a:gd name="connsiteX36" fmla="*/ 7029734 w 8601902"/>
                  <a:gd name="connsiteY36" fmla="*/ 1704823 h 2717800"/>
                  <a:gd name="connsiteX37" fmla="*/ 7193020 w 8601902"/>
                  <a:gd name="connsiteY37" fmla="*/ 1781023 h 2717800"/>
                  <a:gd name="connsiteX38" fmla="*/ 7296434 w 8601902"/>
                  <a:gd name="connsiteY38" fmla="*/ 1878995 h 2717800"/>
                  <a:gd name="connsiteX39" fmla="*/ 7334534 w 8601902"/>
                  <a:gd name="connsiteY39" fmla="*/ 1927981 h 2717800"/>
                  <a:gd name="connsiteX40" fmla="*/ 7410734 w 8601902"/>
                  <a:gd name="connsiteY40" fmla="*/ 2025952 h 2717800"/>
                  <a:gd name="connsiteX41" fmla="*/ 7454277 w 8601902"/>
                  <a:gd name="connsiteY41" fmla="*/ 2134809 h 2717800"/>
                  <a:gd name="connsiteX42" fmla="*/ 7492377 w 8601902"/>
                  <a:gd name="connsiteY42" fmla="*/ 2243666 h 2717800"/>
                  <a:gd name="connsiteX43" fmla="*/ 7503263 w 8601902"/>
                  <a:gd name="connsiteY43" fmla="*/ 2347081 h 2717800"/>
                  <a:gd name="connsiteX44" fmla="*/ 7492377 w 8601902"/>
                  <a:gd name="connsiteY44" fmla="*/ 2445052 h 2717800"/>
                  <a:gd name="connsiteX45" fmla="*/ 7481492 w 8601902"/>
                  <a:gd name="connsiteY45" fmla="*/ 2504923 h 2717800"/>
                  <a:gd name="connsiteX46" fmla="*/ 7508706 w 8601902"/>
                  <a:gd name="connsiteY46" fmla="*/ 2510366 h 2717800"/>
                  <a:gd name="connsiteX47" fmla="*/ 7742749 w 8601902"/>
                  <a:gd name="connsiteY47" fmla="*/ 2466823 h 2717800"/>
                  <a:gd name="connsiteX48" fmla="*/ 7960463 w 8601902"/>
                  <a:gd name="connsiteY48" fmla="*/ 2439609 h 2717800"/>
                  <a:gd name="connsiteX49" fmla="*/ 8297920 w 8601902"/>
                  <a:gd name="connsiteY49" fmla="*/ 2379738 h 2717800"/>
                  <a:gd name="connsiteX50" fmla="*/ 8504749 w 8601902"/>
                  <a:gd name="connsiteY50" fmla="*/ 2303538 h 2717800"/>
                  <a:gd name="connsiteX51" fmla="*/ 8580949 w 8601902"/>
                  <a:gd name="connsiteY51" fmla="*/ 2134809 h 2717800"/>
                  <a:gd name="connsiteX52" fmla="*/ 8597277 w 8601902"/>
                  <a:gd name="connsiteY52" fmla="*/ 1922538 h 2717800"/>
                  <a:gd name="connsiteX53" fmla="*/ 8510192 w 8601902"/>
                  <a:gd name="connsiteY53" fmla="*/ 1672166 h 2717800"/>
                  <a:gd name="connsiteX54" fmla="*/ 8417663 w 8601902"/>
                  <a:gd name="connsiteY54" fmla="*/ 1449009 h 2717800"/>
                  <a:gd name="connsiteX55" fmla="*/ 8461206 w 8601902"/>
                  <a:gd name="connsiteY55" fmla="*/ 1372809 h 2717800"/>
                  <a:gd name="connsiteX56" fmla="*/ 8450320 w 8601902"/>
                  <a:gd name="connsiteY56" fmla="*/ 1078895 h 2717800"/>
                  <a:gd name="connsiteX57" fmla="*/ 8276149 w 8601902"/>
                  <a:gd name="connsiteY57" fmla="*/ 790423 h 2717800"/>
                  <a:gd name="connsiteX58" fmla="*/ 8080206 w 8601902"/>
                  <a:gd name="connsiteY58" fmla="*/ 534609 h 2717800"/>
                  <a:gd name="connsiteX59" fmla="*/ 7938692 w 8601902"/>
                  <a:gd name="connsiteY59" fmla="*/ 365881 h 2717800"/>
                  <a:gd name="connsiteX60" fmla="*/ 7900592 w 8601902"/>
                  <a:gd name="connsiteY60" fmla="*/ 284238 h 2717800"/>
                  <a:gd name="connsiteX61" fmla="*/ 7889706 w 8601902"/>
                  <a:gd name="connsiteY61" fmla="*/ 120952 h 2717800"/>
                  <a:gd name="connsiteX62" fmla="*/ 7857049 w 8601902"/>
                  <a:gd name="connsiteY62" fmla="*/ 99181 h 2717800"/>
                  <a:gd name="connsiteX63" fmla="*/ 7818949 w 8601902"/>
                  <a:gd name="connsiteY63" fmla="*/ 93738 h 2717800"/>
                  <a:gd name="connsiteX64" fmla="*/ 7394406 w 8601902"/>
                  <a:gd name="connsiteY64" fmla="*/ 33866 h 2717800"/>
                  <a:gd name="connsiteX65" fmla="*/ 6964420 w 8601902"/>
                  <a:gd name="connsiteY65" fmla="*/ 17538 h 2717800"/>
                  <a:gd name="connsiteX66" fmla="*/ 6567092 w 8601902"/>
                  <a:gd name="connsiteY66" fmla="*/ 1209 h 2717800"/>
                  <a:gd name="connsiteX67" fmla="*/ 6147992 w 8601902"/>
                  <a:gd name="connsiteY67" fmla="*/ 1209 h 2717800"/>
                  <a:gd name="connsiteX68" fmla="*/ 5571049 w 8601902"/>
                  <a:gd name="connsiteY68" fmla="*/ 1209 h 2717800"/>
                  <a:gd name="connsiteX69" fmla="*/ 5026763 w 8601902"/>
                  <a:gd name="connsiteY69" fmla="*/ 17538 h 2717800"/>
                  <a:gd name="connsiteX70" fmla="*/ 4487920 w 8601902"/>
                  <a:gd name="connsiteY70" fmla="*/ 39309 h 2717800"/>
                  <a:gd name="connsiteX71" fmla="*/ 4123249 w 8601902"/>
                  <a:gd name="connsiteY71" fmla="*/ 61081 h 2717800"/>
                  <a:gd name="connsiteX72" fmla="*/ 3731363 w 8601902"/>
                  <a:gd name="connsiteY72" fmla="*/ 110066 h 2717800"/>
                  <a:gd name="connsiteX73" fmla="*/ 3497320 w 8601902"/>
                  <a:gd name="connsiteY73" fmla="*/ 148166 h 2717800"/>
                  <a:gd name="connsiteX74" fmla="*/ 3263277 w 8601902"/>
                  <a:gd name="connsiteY74" fmla="*/ 208038 h 2717800"/>
                  <a:gd name="connsiteX75" fmla="*/ 2980249 w 8601902"/>
                  <a:gd name="connsiteY75" fmla="*/ 306009 h 2717800"/>
                  <a:gd name="connsiteX76" fmla="*/ 2566592 w 8601902"/>
                  <a:gd name="connsiteY76" fmla="*/ 512838 h 2717800"/>
                  <a:gd name="connsiteX77" fmla="*/ 2185592 w 8601902"/>
                  <a:gd name="connsiteY77" fmla="*/ 730552 h 2717800"/>
                  <a:gd name="connsiteX78" fmla="*/ 1815477 w 8601902"/>
                  <a:gd name="connsiteY78" fmla="*/ 942823 h 2717800"/>
                  <a:gd name="connsiteX79" fmla="*/ 1673963 w 8601902"/>
                  <a:gd name="connsiteY79" fmla="*/ 964595 h 2717800"/>
                  <a:gd name="connsiteX80" fmla="*/ 1309292 w 8601902"/>
                  <a:gd name="connsiteY80" fmla="*/ 1068009 h 2717800"/>
                  <a:gd name="connsiteX81" fmla="*/ 999049 w 8601902"/>
                  <a:gd name="connsiteY81" fmla="*/ 1155095 h 2717800"/>
                  <a:gd name="connsiteX82" fmla="*/ 656149 w 8601902"/>
                  <a:gd name="connsiteY82" fmla="*/ 1274838 h 2717800"/>
                  <a:gd name="connsiteX83" fmla="*/ 460206 w 8601902"/>
                  <a:gd name="connsiteY83" fmla="*/ 1351038 h 2717800"/>
                  <a:gd name="connsiteX84" fmla="*/ 329577 w 8601902"/>
                  <a:gd name="connsiteY84" fmla="*/ 1405466 h 2717800"/>
                  <a:gd name="connsiteX85" fmla="*/ 220720 w 8601902"/>
                  <a:gd name="connsiteY85" fmla="*/ 1497995 h 2717800"/>
                  <a:gd name="connsiteX86" fmla="*/ 122749 w 8601902"/>
                  <a:gd name="connsiteY86" fmla="*/ 1693938 h 2717800"/>
                  <a:gd name="connsiteX87" fmla="*/ 84649 w 8601902"/>
                  <a:gd name="connsiteY87" fmla="*/ 1846338 h 2717800"/>
                  <a:gd name="connsiteX88" fmla="*/ 3006 w 8601902"/>
                  <a:gd name="connsiteY88" fmla="*/ 2004181 h 2717800"/>
                  <a:gd name="connsiteX89" fmla="*/ 19334 w 8601902"/>
                  <a:gd name="connsiteY89" fmla="*/ 2113038 h 2717800"/>
                  <a:gd name="connsiteX90" fmla="*/ 35663 w 8601902"/>
                  <a:gd name="connsiteY90" fmla="*/ 2254552 h 2717800"/>
                  <a:gd name="connsiteX91" fmla="*/ 79206 w 8601902"/>
                  <a:gd name="connsiteY91" fmla="*/ 2292652 h 2717800"/>
                  <a:gd name="connsiteX92" fmla="*/ 106420 w 8601902"/>
                  <a:gd name="connsiteY92" fmla="*/ 2423281 h 2717800"/>
                  <a:gd name="connsiteX93" fmla="*/ 84649 w 8601902"/>
                  <a:gd name="connsiteY93" fmla="*/ 2494038 h 2717800"/>
                  <a:gd name="connsiteX94" fmla="*/ 139077 w 8601902"/>
                  <a:gd name="connsiteY94" fmla="*/ 2597452 h 2717800"/>
                  <a:gd name="connsiteX95" fmla="*/ 286034 w 8601902"/>
                  <a:gd name="connsiteY95" fmla="*/ 2657323 h 271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601902" h="2717800">
                    <a:moveTo>
                      <a:pt x="286034" y="2657323"/>
                    </a:moveTo>
                    <a:cubicBezTo>
                      <a:pt x="325948" y="2670930"/>
                      <a:pt x="332299" y="2671838"/>
                      <a:pt x="378563" y="2679095"/>
                    </a:cubicBezTo>
                    <a:cubicBezTo>
                      <a:pt x="424827" y="2686352"/>
                      <a:pt x="520984" y="2694516"/>
                      <a:pt x="563620" y="2700866"/>
                    </a:cubicBezTo>
                    <a:cubicBezTo>
                      <a:pt x="606256" y="2707216"/>
                      <a:pt x="622584" y="2720823"/>
                      <a:pt x="634377" y="2717195"/>
                    </a:cubicBezTo>
                    <a:cubicBezTo>
                      <a:pt x="646170" y="2713567"/>
                      <a:pt x="637098" y="2714474"/>
                      <a:pt x="634377" y="2679095"/>
                    </a:cubicBezTo>
                    <a:cubicBezTo>
                      <a:pt x="631656" y="2643716"/>
                      <a:pt x="618956" y="2562073"/>
                      <a:pt x="618049" y="2504923"/>
                    </a:cubicBezTo>
                    <a:cubicBezTo>
                      <a:pt x="617142" y="2447773"/>
                      <a:pt x="620770" y="2393345"/>
                      <a:pt x="628934" y="2336195"/>
                    </a:cubicBezTo>
                    <a:cubicBezTo>
                      <a:pt x="637098" y="2279045"/>
                      <a:pt x="647077" y="2217359"/>
                      <a:pt x="667034" y="2162023"/>
                    </a:cubicBezTo>
                    <a:cubicBezTo>
                      <a:pt x="686991" y="2106687"/>
                      <a:pt x="716927" y="2051352"/>
                      <a:pt x="748677" y="2004181"/>
                    </a:cubicBezTo>
                    <a:cubicBezTo>
                      <a:pt x="780427" y="1957010"/>
                      <a:pt x="808548" y="1920724"/>
                      <a:pt x="857534" y="1878995"/>
                    </a:cubicBezTo>
                    <a:cubicBezTo>
                      <a:pt x="906520" y="1837266"/>
                      <a:pt x="978185" y="1784652"/>
                      <a:pt x="1042592" y="1753809"/>
                    </a:cubicBezTo>
                    <a:cubicBezTo>
                      <a:pt x="1106999" y="1722966"/>
                      <a:pt x="1175941" y="1703917"/>
                      <a:pt x="1243977" y="1693938"/>
                    </a:cubicBezTo>
                    <a:cubicBezTo>
                      <a:pt x="1312013" y="1683959"/>
                      <a:pt x="1385492" y="1691217"/>
                      <a:pt x="1450806" y="1693938"/>
                    </a:cubicBezTo>
                    <a:cubicBezTo>
                      <a:pt x="1516120" y="1696659"/>
                      <a:pt x="1587785" y="1700288"/>
                      <a:pt x="1635863" y="1710266"/>
                    </a:cubicBezTo>
                    <a:cubicBezTo>
                      <a:pt x="1683941" y="1720244"/>
                      <a:pt x="1690291" y="1728409"/>
                      <a:pt x="1739277" y="1753809"/>
                    </a:cubicBezTo>
                    <a:cubicBezTo>
                      <a:pt x="1788263" y="1779209"/>
                      <a:pt x="1878070" y="1819123"/>
                      <a:pt x="1929777" y="1862666"/>
                    </a:cubicBezTo>
                    <a:cubicBezTo>
                      <a:pt x="1981484" y="1906209"/>
                      <a:pt x="2012327" y="1951566"/>
                      <a:pt x="2049520" y="2015066"/>
                    </a:cubicBezTo>
                    <a:cubicBezTo>
                      <a:pt x="2086713" y="2078566"/>
                      <a:pt x="2130255" y="2178352"/>
                      <a:pt x="2152934" y="2243666"/>
                    </a:cubicBezTo>
                    <a:cubicBezTo>
                      <a:pt x="2175613" y="2308980"/>
                      <a:pt x="2175613" y="2351616"/>
                      <a:pt x="2185592" y="2406952"/>
                    </a:cubicBezTo>
                    <a:cubicBezTo>
                      <a:pt x="2195571" y="2462288"/>
                      <a:pt x="2207363" y="2532138"/>
                      <a:pt x="2212806" y="2575681"/>
                    </a:cubicBezTo>
                    <a:cubicBezTo>
                      <a:pt x="2218249" y="2619224"/>
                      <a:pt x="2213713" y="2652788"/>
                      <a:pt x="2218249" y="2668209"/>
                    </a:cubicBezTo>
                    <a:cubicBezTo>
                      <a:pt x="2222785" y="2683630"/>
                      <a:pt x="2240020" y="2668209"/>
                      <a:pt x="2240020" y="2668209"/>
                    </a:cubicBezTo>
                    <a:lnTo>
                      <a:pt x="2523049" y="2662766"/>
                    </a:lnTo>
                    <a:lnTo>
                      <a:pt x="3274163" y="2651881"/>
                    </a:lnTo>
                    <a:lnTo>
                      <a:pt x="3949077" y="2646438"/>
                    </a:lnTo>
                    <a:lnTo>
                      <a:pt x="5113849" y="2630109"/>
                    </a:lnTo>
                    <a:lnTo>
                      <a:pt x="5799649" y="2613781"/>
                    </a:lnTo>
                    <a:cubicBezTo>
                      <a:pt x="5935720" y="2611060"/>
                      <a:pt x="5908506" y="2618317"/>
                      <a:pt x="5930277" y="2613781"/>
                    </a:cubicBezTo>
                    <a:cubicBezTo>
                      <a:pt x="5952048" y="2609245"/>
                      <a:pt x="5928463" y="2613780"/>
                      <a:pt x="5930277" y="2586566"/>
                    </a:cubicBezTo>
                    <a:cubicBezTo>
                      <a:pt x="5932091" y="2559352"/>
                      <a:pt x="5933906" y="2507645"/>
                      <a:pt x="5941163" y="2450495"/>
                    </a:cubicBezTo>
                    <a:cubicBezTo>
                      <a:pt x="5948420" y="2393345"/>
                      <a:pt x="5954770" y="2316238"/>
                      <a:pt x="5973820" y="2243666"/>
                    </a:cubicBezTo>
                    <a:cubicBezTo>
                      <a:pt x="5992870" y="2171094"/>
                      <a:pt x="6017363" y="2083102"/>
                      <a:pt x="6055463" y="2015066"/>
                    </a:cubicBezTo>
                    <a:cubicBezTo>
                      <a:pt x="6093563" y="1947030"/>
                      <a:pt x="6151620" y="1880809"/>
                      <a:pt x="6202420" y="1835452"/>
                    </a:cubicBezTo>
                    <a:cubicBezTo>
                      <a:pt x="6253220" y="1790095"/>
                      <a:pt x="6304927" y="1770137"/>
                      <a:pt x="6360263" y="1742923"/>
                    </a:cubicBezTo>
                    <a:cubicBezTo>
                      <a:pt x="6415599" y="1715709"/>
                      <a:pt x="6460956" y="1687587"/>
                      <a:pt x="6534434" y="1672166"/>
                    </a:cubicBezTo>
                    <a:cubicBezTo>
                      <a:pt x="6607912" y="1656745"/>
                      <a:pt x="6718584" y="1644952"/>
                      <a:pt x="6801134" y="1650395"/>
                    </a:cubicBezTo>
                    <a:cubicBezTo>
                      <a:pt x="6883684" y="1655838"/>
                      <a:pt x="6964420" y="1683052"/>
                      <a:pt x="7029734" y="1704823"/>
                    </a:cubicBezTo>
                    <a:cubicBezTo>
                      <a:pt x="7095048" y="1726594"/>
                      <a:pt x="7148570" y="1751994"/>
                      <a:pt x="7193020" y="1781023"/>
                    </a:cubicBezTo>
                    <a:cubicBezTo>
                      <a:pt x="7237470" y="1810052"/>
                      <a:pt x="7272848" y="1854502"/>
                      <a:pt x="7296434" y="1878995"/>
                    </a:cubicBezTo>
                    <a:cubicBezTo>
                      <a:pt x="7320020" y="1903488"/>
                      <a:pt x="7334534" y="1927981"/>
                      <a:pt x="7334534" y="1927981"/>
                    </a:cubicBezTo>
                    <a:cubicBezTo>
                      <a:pt x="7353584" y="1952474"/>
                      <a:pt x="7390777" y="1991481"/>
                      <a:pt x="7410734" y="2025952"/>
                    </a:cubicBezTo>
                    <a:cubicBezTo>
                      <a:pt x="7430691" y="2060423"/>
                      <a:pt x="7440670" y="2098523"/>
                      <a:pt x="7454277" y="2134809"/>
                    </a:cubicBezTo>
                    <a:cubicBezTo>
                      <a:pt x="7467884" y="2171095"/>
                      <a:pt x="7484213" y="2208287"/>
                      <a:pt x="7492377" y="2243666"/>
                    </a:cubicBezTo>
                    <a:cubicBezTo>
                      <a:pt x="7500541" y="2279045"/>
                      <a:pt x="7503263" y="2313517"/>
                      <a:pt x="7503263" y="2347081"/>
                    </a:cubicBezTo>
                    <a:cubicBezTo>
                      <a:pt x="7503263" y="2380645"/>
                      <a:pt x="7496005" y="2418745"/>
                      <a:pt x="7492377" y="2445052"/>
                    </a:cubicBezTo>
                    <a:cubicBezTo>
                      <a:pt x="7488749" y="2471359"/>
                      <a:pt x="7478771" y="2494037"/>
                      <a:pt x="7481492" y="2504923"/>
                    </a:cubicBezTo>
                    <a:cubicBezTo>
                      <a:pt x="7484213" y="2515809"/>
                      <a:pt x="7465163" y="2516716"/>
                      <a:pt x="7508706" y="2510366"/>
                    </a:cubicBezTo>
                    <a:cubicBezTo>
                      <a:pt x="7552249" y="2504016"/>
                      <a:pt x="7667456" y="2478616"/>
                      <a:pt x="7742749" y="2466823"/>
                    </a:cubicBezTo>
                    <a:cubicBezTo>
                      <a:pt x="7818042" y="2455030"/>
                      <a:pt x="7867935" y="2454123"/>
                      <a:pt x="7960463" y="2439609"/>
                    </a:cubicBezTo>
                    <a:cubicBezTo>
                      <a:pt x="8052991" y="2425095"/>
                      <a:pt x="8207206" y="2402416"/>
                      <a:pt x="8297920" y="2379738"/>
                    </a:cubicBezTo>
                    <a:cubicBezTo>
                      <a:pt x="8388634" y="2357060"/>
                      <a:pt x="8457578" y="2344359"/>
                      <a:pt x="8504749" y="2303538"/>
                    </a:cubicBezTo>
                    <a:cubicBezTo>
                      <a:pt x="8551920" y="2262717"/>
                      <a:pt x="8565528" y="2198309"/>
                      <a:pt x="8580949" y="2134809"/>
                    </a:cubicBezTo>
                    <a:cubicBezTo>
                      <a:pt x="8596370" y="2071309"/>
                      <a:pt x="8609070" y="1999645"/>
                      <a:pt x="8597277" y="1922538"/>
                    </a:cubicBezTo>
                    <a:cubicBezTo>
                      <a:pt x="8585484" y="1845431"/>
                      <a:pt x="8540128" y="1751087"/>
                      <a:pt x="8510192" y="1672166"/>
                    </a:cubicBezTo>
                    <a:cubicBezTo>
                      <a:pt x="8480256" y="1593244"/>
                      <a:pt x="8425827" y="1498902"/>
                      <a:pt x="8417663" y="1449009"/>
                    </a:cubicBezTo>
                    <a:cubicBezTo>
                      <a:pt x="8409499" y="1399116"/>
                      <a:pt x="8455763" y="1434495"/>
                      <a:pt x="8461206" y="1372809"/>
                    </a:cubicBezTo>
                    <a:cubicBezTo>
                      <a:pt x="8466649" y="1311123"/>
                      <a:pt x="8481163" y="1175959"/>
                      <a:pt x="8450320" y="1078895"/>
                    </a:cubicBezTo>
                    <a:cubicBezTo>
                      <a:pt x="8419477" y="981831"/>
                      <a:pt x="8337835" y="881137"/>
                      <a:pt x="8276149" y="790423"/>
                    </a:cubicBezTo>
                    <a:cubicBezTo>
                      <a:pt x="8214463" y="699709"/>
                      <a:pt x="8136449" y="605366"/>
                      <a:pt x="8080206" y="534609"/>
                    </a:cubicBezTo>
                    <a:cubicBezTo>
                      <a:pt x="8023963" y="463852"/>
                      <a:pt x="7968628" y="407609"/>
                      <a:pt x="7938692" y="365881"/>
                    </a:cubicBezTo>
                    <a:cubicBezTo>
                      <a:pt x="7908756" y="324153"/>
                      <a:pt x="7908756" y="325059"/>
                      <a:pt x="7900592" y="284238"/>
                    </a:cubicBezTo>
                    <a:cubicBezTo>
                      <a:pt x="7892428" y="243416"/>
                      <a:pt x="7896963" y="151795"/>
                      <a:pt x="7889706" y="120952"/>
                    </a:cubicBezTo>
                    <a:cubicBezTo>
                      <a:pt x="7882449" y="90109"/>
                      <a:pt x="7868842" y="103717"/>
                      <a:pt x="7857049" y="99181"/>
                    </a:cubicBezTo>
                    <a:cubicBezTo>
                      <a:pt x="7845256" y="94645"/>
                      <a:pt x="7818949" y="93738"/>
                      <a:pt x="7818949" y="93738"/>
                    </a:cubicBezTo>
                    <a:cubicBezTo>
                      <a:pt x="7741842" y="82852"/>
                      <a:pt x="7536827" y="46566"/>
                      <a:pt x="7394406" y="33866"/>
                    </a:cubicBezTo>
                    <a:cubicBezTo>
                      <a:pt x="7251985" y="21166"/>
                      <a:pt x="6964420" y="17538"/>
                      <a:pt x="6964420" y="17538"/>
                    </a:cubicBezTo>
                    <a:cubicBezTo>
                      <a:pt x="6826534" y="12095"/>
                      <a:pt x="6703163" y="3930"/>
                      <a:pt x="6567092" y="1209"/>
                    </a:cubicBezTo>
                    <a:cubicBezTo>
                      <a:pt x="6431021" y="-1512"/>
                      <a:pt x="6147992" y="1209"/>
                      <a:pt x="6147992" y="1209"/>
                    </a:cubicBezTo>
                    <a:lnTo>
                      <a:pt x="5571049" y="1209"/>
                    </a:lnTo>
                    <a:cubicBezTo>
                      <a:pt x="5384178" y="3930"/>
                      <a:pt x="5026763" y="17538"/>
                      <a:pt x="5026763" y="17538"/>
                    </a:cubicBezTo>
                    <a:lnTo>
                      <a:pt x="4487920" y="39309"/>
                    </a:lnTo>
                    <a:cubicBezTo>
                      <a:pt x="4337334" y="46566"/>
                      <a:pt x="4249342" y="49288"/>
                      <a:pt x="4123249" y="61081"/>
                    </a:cubicBezTo>
                    <a:cubicBezTo>
                      <a:pt x="3997156" y="72874"/>
                      <a:pt x="3835685" y="95552"/>
                      <a:pt x="3731363" y="110066"/>
                    </a:cubicBezTo>
                    <a:cubicBezTo>
                      <a:pt x="3627042" y="124580"/>
                      <a:pt x="3575334" y="131837"/>
                      <a:pt x="3497320" y="148166"/>
                    </a:cubicBezTo>
                    <a:cubicBezTo>
                      <a:pt x="3419306" y="164495"/>
                      <a:pt x="3349456" y="181731"/>
                      <a:pt x="3263277" y="208038"/>
                    </a:cubicBezTo>
                    <a:cubicBezTo>
                      <a:pt x="3177099" y="234345"/>
                      <a:pt x="3096363" y="255209"/>
                      <a:pt x="2980249" y="306009"/>
                    </a:cubicBezTo>
                    <a:cubicBezTo>
                      <a:pt x="2864135" y="356809"/>
                      <a:pt x="2699035" y="442081"/>
                      <a:pt x="2566592" y="512838"/>
                    </a:cubicBezTo>
                    <a:cubicBezTo>
                      <a:pt x="2434149" y="583595"/>
                      <a:pt x="2185592" y="730552"/>
                      <a:pt x="2185592" y="730552"/>
                    </a:cubicBezTo>
                    <a:cubicBezTo>
                      <a:pt x="2060406" y="802216"/>
                      <a:pt x="1900748" y="903816"/>
                      <a:pt x="1815477" y="942823"/>
                    </a:cubicBezTo>
                    <a:cubicBezTo>
                      <a:pt x="1730206" y="981830"/>
                      <a:pt x="1758327" y="943731"/>
                      <a:pt x="1673963" y="964595"/>
                    </a:cubicBezTo>
                    <a:cubicBezTo>
                      <a:pt x="1589599" y="985459"/>
                      <a:pt x="1309292" y="1068009"/>
                      <a:pt x="1309292" y="1068009"/>
                    </a:cubicBezTo>
                    <a:cubicBezTo>
                      <a:pt x="1196806" y="1099759"/>
                      <a:pt x="1107906" y="1120624"/>
                      <a:pt x="999049" y="1155095"/>
                    </a:cubicBezTo>
                    <a:cubicBezTo>
                      <a:pt x="890192" y="1189566"/>
                      <a:pt x="745956" y="1242181"/>
                      <a:pt x="656149" y="1274838"/>
                    </a:cubicBezTo>
                    <a:cubicBezTo>
                      <a:pt x="566342" y="1307495"/>
                      <a:pt x="514635" y="1329267"/>
                      <a:pt x="460206" y="1351038"/>
                    </a:cubicBezTo>
                    <a:cubicBezTo>
                      <a:pt x="405777" y="1372809"/>
                      <a:pt x="369491" y="1380973"/>
                      <a:pt x="329577" y="1405466"/>
                    </a:cubicBezTo>
                    <a:cubicBezTo>
                      <a:pt x="289663" y="1429959"/>
                      <a:pt x="255191" y="1449916"/>
                      <a:pt x="220720" y="1497995"/>
                    </a:cubicBezTo>
                    <a:cubicBezTo>
                      <a:pt x="186249" y="1546074"/>
                      <a:pt x="145427" y="1635881"/>
                      <a:pt x="122749" y="1693938"/>
                    </a:cubicBezTo>
                    <a:cubicBezTo>
                      <a:pt x="100071" y="1751995"/>
                      <a:pt x="104606" y="1794631"/>
                      <a:pt x="84649" y="1846338"/>
                    </a:cubicBezTo>
                    <a:cubicBezTo>
                      <a:pt x="64692" y="1898045"/>
                      <a:pt x="13892" y="1959731"/>
                      <a:pt x="3006" y="2004181"/>
                    </a:cubicBezTo>
                    <a:cubicBezTo>
                      <a:pt x="-7880" y="2048631"/>
                      <a:pt x="13891" y="2071309"/>
                      <a:pt x="19334" y="2113038"/>
                    </a:cubicBezTo>
                    <a:cubicBezTo>
                      <a:pt x="24777" y="2154767"/>
                      <a:pt x="25684" y="2224616"/>
                      <a:pt x="35663" y="2254552"/>
                    </a:cubicBezTo>
                    <a:cubicBezTo>
                      <a:pt x="45642" y="2284488"/>
                      <a:pt x="67413" y="2264531"/>
                      <a:pt x="79206" y="2292652"/>
                    </a:cubicBezTo>
                    <a:cubicBezTo>
                      <a:pt x="90999" y="2320773"/>
                      <a:pt x="105513" y="2389717"/>
                      <a:pt x="106420" y="2423281"/>
                    </a:cubicBezTo>
                    <a:cubicBezTo>
                      <a:pt x="107327" y="2456845"/>
                      <a:pt x="79206" y="2465010"/>
                      <a:pt x="84649" y="2494038"/>
                    </a:cubicBezTo>
                    <a:cubicBezTo>
                      <a:pt x="90092" y="2523066"/>
                      <a:pt x="108234" y="2568423"/>
                      <a:pt x="139077" y="2597452"/>
                    </a:cubicBezTo>
                    <a:cubicBezTo>
                      <a:pt x="169920" y="2626480"/>
                      <a:pt x="246120" y="2643716"/>
                      <a:pt x="286034" y="265732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37" name="Oval 1136"/>
              <p:cNvSpPr/>
              <p:nvPr/>
            </p:nvSpPr>
            <p:spPr bwMode="auto">
              <a:xfrm>
                <a:off x="2451619" y="3600216"/>
                <a:ext cx="1295867" cy="129586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38" name="Oval 1137"/>
              <p:cNvSpPr/>
              <p:nvPr/>
            </p:nvSpPr>
            <p:spPr bwMode="auto">
              <a:xfrm>
                <a:off x="7785773" y="3600216"/>
                <a:ext cx="1295867" cy="129586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39" name="Oval 1138"/>
              <p:cNvSpPr/>
              <p:nvPr/>
            </p:nvSpPr>
            <p:spPr bwMode="auto">
              <a:xfrm>
                <a:off x="8052710" y="3871653"/>
                <a:ext cx="761995" cy="761997"/>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0" name="Oval 1139"/>
              <p:cNvSpPr/>
              <p:nvPr/>
            </p:nvSpPr>
            <p:spPr bwMode="auto">
              <a:xfrm>
                <a:off x="2718552" y="3871653"/>
                <a:ext cx="761995" cy="761997"/>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1" name="Freeform 1140"/>
              <p:cNvSpPr/>
              <p:nvPr/>
            </p:nvSpPr>
            <p:spPr bwMode="auto">
              <a:xfrm>
                <a:off x="3488871" y="2008414"/>
                <a:ext cx="6166758" cy="1099457"/>
              </a:xfrm>
              <a:custGeom>
                <a:avLst/>
                <a:gdLst>
                  <a:gd name="connsiteX0" fmla="*/ 511629 w 6166758"/>
                  <a:gd name="connsiteY0" fmla="*/ 1034143 h 1099457"/>
                  <a:gd name="connsiteX1" fmla="*/ 1273629 w 6166758"/>
                  <a:gd name="connsiteY1" fmla="*/ 968829 h 1099457"/>
                  <a:gd name="connsiteX2" fmla="*/ 1959429 w 6166758"/>
                  <a:gd name="connsiteY2" fmla="*/ 908957 h 1099457"/>
                  <a:gd name="connsiteX3" fmla="*/ 2416629 w 6166758"/>
                  <a:gd name="connsiteY3" fmla="*/ 881743 h 1099457"/>
                  <a:gd name="connsiteX4" fmla="*/ 3238500 w 6166758"/>
                  <a:gd name="connsiteY4" fmla="*/ 821872 h 1099457"/>
                  <a:gd name="connsiteX5" fmla="*/ 3891643 w 6166758"/>
                  <a:gd name="connsiteY5" fmla="*/ 778329 h 1099457"/>
                  <a:gd name="connsiteX6" fmla="*/ 4049486 w 6166758"/>
                  <a:gd name="connsiteY6" fmla="*/ 772886 h 1099457"/>
                  <a:gd name="connsiteX7" fmla="*/ 4158343 w 6166758"/>
                  <a:gd name="connsiteY7" fmla="*/ 783772 h 1099457"/>
                  <a:gd name="connsiteX8" fmla="*/ 4365172 w 6166758"/>
                  <a:gd name="connsiteY8" fmla="*/ 843643 h 1099457"/>
                  <a:gd name="connsiteX9" fmla="*/ 4435929 w 6166758"/>
                  <a:gd name="connsiteY9" fmla="*/ 849086 h 1099457"/>
                  <a:gd name="connsiteX10" fmla="*/ 5502729 w 6166758"/>
                  <a:gd name="connsiteY10" fmla="*/ 751115 h 1099457"/>
                  <a:gd name="connsiteX11" fmla="*/ 6112329 w 6166758"/>
                  <a:gd name="connsiteY11" fmla="*/ 696686 h 1099457"/>
                  <a:gd name="connsiteX12" fmla="*/ 6166758 w 6166758"/>
                  <a:gd name="connsiteY12" fmla="*/ 691243 h 1099457"/>
                  <a:gd name="connsiteX13" fmla="*/ 6134100 w 6166758"/>
                  <a:gd name="connsiteY13" fmla="*/ 647700 h 1099457"/>
                  <a:gd name="connsiteX14" fmla="*/ 5715000 w 6166758"/>
                  <a:gd name="connsiteY14" fmla="*/ 332015 h 1099457"/>
                  <a:gd name="connsiteX15" fmla="*/ 5453743 w 6166758"/>
                  <a:gd name="connsiteY15" fmla="*/ 163286 h 1099457"/>
                  <a:gd name="connsiteX16" fmla="*/ 5334000 w 6166758"/>
                  <a:gd name="connsiteY16" fmla="*/ 108857 h 1099457"/>
                  <a:gd name="connsiteX17" fmla="*/ 5219700 w 6166758"/>
                  <a:gd name="connsiteY17" fmla="*/ 81643 h 1099457"/>
                  <a:gd name="connsiteX18" fmla="*/ 4876800 w 6166758"/>
                  <a:gd name="connsiteY18" fmla="*/ 48986 h 1099457"/>
                  <a:gd name="connsiteX19" fmla="*/ 4419600 w 6166758"/>
                  <a:gd name="connsiteY19" fmla="*/ 27215 h 1099457"/>
                  <a:gd name="connsiteX20" fmla="*/ 4142015 w 6166758"/>
                  <a:gd name="connsiteY20" fmla="*/ 16329 h 1099457"/>
                  <a:gd name="connsiteX21" fmla="*/ 3690258 w 6166758"/>
                  <a:gd name="connsiteY21" fmla="*/ 0 h 1099457"/>
                  <a:gd name="connsiteX22" fmla="*/ 3075215 w 6166758"/>
                  <a:gd name="connsiteY22" fmla="*/ 0 h 1099457"/>
                  <a:gd name="connsiteX23" fmla="*/ 2574472 w 6166758"/>
                  <a:gd name="connsiteY23" fmla="*/ 10886 h 1099457"/>
                  <a:gd name="connsiteX24" fmla="*/ 2204358 w 6166758"/>
                  <a:gd name="connsiteY24" fmla="*/ 43543 h 1099457"/>
                  <a:gd name="connsiteX25" fmla="*/ 1845129 w 6166758"/>
                  <a:gd name="connsiteY25" fmla="*/ 92529 h 1099457"/>
                  <a:gd name="connsiteX26" fmla="*/ 1589315 w 6166758"/>
                  <a:gd name="connsiteY26" fmla="*/ 146957 h 1099457"/>
                  <a:gd name="connsiteX27" fmla="*/ 1366158 w 6166758"/>
                  <a:gd name="connsiteY27" fmla="*/ 223157 h 1099457"/>
                  <a:gd name="connsiteX28" fmla="*/ 1094015 w 6166758"/>
                  <a:gd name="connsiteY28" fmla="*/ 342900 h 1099457"/>
                  <a:gd name="connsiteX29" fmla="*/ 778329 w 6166758"/>
                  <a:gd name="connsiteY29" fmla="*/ 527957 h 1099457"/>
                  <a:gd name="connsiteX30" fmla="*/ 408215 w 6166758"/>
                  <a:gd name="connsiteY30" fmla="*/ 745672 h 1099457"/>
                  <a:gd name="connsiteX31" fmla="*/ 87086 w 6166758"/>
                  <a:gd name="connsiteY31" fmla="*/ 952500 h 1099457"/>
                  <a:gd name="connsiteX32" fmla="*/ 5443 w 6166758"/>
                  <a:gd name="connsiteY32" fmla="*/ 1028700 h 1099457"/>
                  <a:gd name="connsiteX33" fmla="*/ 0 w 6166758"/>
                  <a:gd name="connsiteY33" fmla="*/ 1077686 h 1099457"/>
                  <a:gd name="connsiteX34" fmla="*/ 54429 w 6166758"/>
                  <a:gd name="connsiteY34" fmla="*/ 1099457 h 1099457"/>
                  <a:gd name="connsiteX35" fmla="*/ 206829 w 6166758"/>
                  <a:gd name="connsiteY35" fmla="*/ 1083129 h 1099457"/>
                  <a:gd name="connsiteX36" fmla="*/ 402772 w 6166758"/>
                  <a:gd name="connsiteY36" fmla="*/ 1055915 h 1099457"/>
                  <a:gd name="connsiteX37" fmla="*/ 511629 w 6166758"/>
                  <a:gd name="connsiteY37" fmla="*/ 1034143 h 109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66758" h="1099457">
                    <a:moveTo>
                      <a:pt x="511629" y="1034143"/>
                    </a:moveTo>
                    <a:lnTo>
                      <a:pt x="1273629" y="968829"/>
                    </a:lnTo>
                    <a:lnTo>
                      <a:pt x="1959429" y="908957"/>
                    </a:lnTo>
                    <a:lnTo>
                      <a:pt x="2416629" y="881743"/>
                    </a:lnTo>
                    <a:lnTo>
                      <a:pt x="3238500" y="821872"/>
                    </a:lnTo>
                    <a:lnTo>
                      <a:pt x="3891643" y="778329"/>
                    </a:lnTo>
                    <a:lnTo>
                      <a:pt x="4049486" y="772886"/>
                    </a:lnTo>
                    <a:lnTo>
                      <a:pt x="4158343" y="783772"/>
                    </a:lnTo>
                    <a:lnTo>
                      <a:pt x="4365172" y="843643"/>
                    </a:lnTo>
                    <a:lnTo>
                      <a:pt x="4435929" y="849086"/>
                    </a:lnTo>
                    <a:lnTo>
                      <a:pt x="5502729" y="751115"/>
                    </a:lnTo>
                    <a:lnTo>
                      <a:pt x="6112329" y="696686"/>
                    </a:lnTo>
                    <a:lnTo>
                      <a:pt x="6166758" y="691243"/>
                    </a:lnTo>
                    <a:lnTo>
                      <a:pt x="6134100" y="647700"/>
                    </a:lnTo>
                    <a:lnTo>
                      <a:pt x="5715000" y="332015"/>
                    </a:lnTo>
                    <a:lnTo>
                      <a:pt x="5453743" y="163286"/>
                    </a:lnTo>
                    <a:lnTo>
                      <a:pt x="5334000" y="108857"/>
                    </a:lnTo>
                    <a:lnTo>
                      <a:pt x="5219700" y="81643"/>
                    </a:lnTo>
                    <a:lnTo>
                      <a:pt x="4876800" y="48986"/>
                    </a:lnTo>
                    <a:lnTo>
                      <a:pt x="4419600" y="27215"/>
                    </a:lnTo>
                    <a:lnTo>
                      <a:pt x="4142015" y="16329"/>
                    </a:lnTo>
                    <a:lnTo>
                      <a:pt x="3690258" y="0"/>
                    </a:lnTo>
                    <a:lnTo>
                      <a:pt x="3075215" y="0"/>
                    </a:lnTo>
                    <a:lnTo>
                      <a:pt x="2574472" y="10886"/>
                    </a:lnTo>
                    <a:lnTo>
                      <a:pt x="2204358" y="43543"/>
                    </a:lnTo>
                    <a:lnTo>
                      <a:pt x="1845129" y="92529"/>
                    </a:lnTo>
                    <a:lnTo>
                      <a:pt x="1589315" y="146957"/>
                    </a:lnTo>
                    <a:lnTo>
                      <a:pt x="1366158" y="223157"/>
                    </a:lnTo>
                    <a:lnTo>
                      <a:pt x="1094015" y="342900"/>
                    </a:lnTo>
                    <a:lnTo>
                      <a:pt x="778329" y="527957"/>
                    </a:lnTo>
                    <a:lnTo>
                      <a:pt x="408215" y="745672"/>
                    </a:lnTo>
                    <a:lnTo>
                      <a:pt x="87086" y="952500"/>
                    </a:lnTo>
                    <a:lnTo>
                      <a:pt x="5443" y="1028700"/>
                    </a:lnTo>
                    <a:lnTo>
                      <a:pt x="0" y="1077686"/>
                    </a:lnTo>
                    <a:lnTo>
                      <a:pt x="54429" y="1099457"/>
                    </a:lnTo>
                    <a:lnTo>
                      <a:pt x="206829" y="1083129"/>
                    </a:lnTo>
                    <a:lnTo>
                      <a:pt x="402772" y="1055915"/>
                    </a:lnTo>
                    <a:lnTo>
                      <a:pt x="511629" y="1034143"/>
                    </a:ln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2" name="Freeform 1141"/>
              <p:cNvSpPr/>
              <p:nvPr/>
            </p:nvSpPr>
            <p:spPr bwMode="auto">
              <a:xfrm>
                <a:off x="4012890" y="2456141"/>
                <a:ext cx="399763" cy="598963"/>
              </a:xfrm>
              <a:custGeom>
                <a:avLst/>
                <a:gdLst>
                  <a:gd name="connsiteX0" fmla="*/ 119742 w 391885"/>
                  <a:gd name="connsiteY0" fmla="*/ 141514 h 500743"/>
                  <a:gd name="connsiteX1" fmla="*/ 0 w 391885"/>
                  <a:gd name="connsiteY1" fmla="*/ 500743 h 500743"/>
                  <a:gd name="connsiteX2" fmla="*/ 321128 w 391885"/>
                  <a:gd name="connsiteY2" fmla="*/ 473529 h 500743"/>
                  <a:gd name="connsiteX3" fmla="*/ 391885 w 391885"/>
                  <a:gd name="connsiteY3" fmla="*/ 0 h 500743"/>
                  <a:gd name="connsiteX4" fmla="*/ 119742 w 391885"/>
                  <a:gd name="connsiteY4" fmla="*/ 141514 h 50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885" h="500743">
                    <a:moveTo>
                      <a:pt x="119742" y="141514"/>
                    </a:moveTo>
                    <a:lnTo>
                      <a:pt x="0" y="500743"/>
                    </a:lnTo>
                    <a:lnTo>
                      <a:pt x="321128" y="473529"/>
                    </a:lnTo>
                    <a:lnTo>
                      <a:pt x="391885" y="0"/>
                    </a:lnTo>
                    <a:lnTo>
                      <a:pt x="119742" y="141514"/>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3" name="Freeform 1142"/>
              <p:cNvSpPr/>
              <p:nvPr/>
            </p:nvSpPr>
            <p:spPr bwMode="auto">
              <a:xfrm>
                <a:off x="5687784" y="2017711"/>
                <a:ext cx="457203" cy="901843"/>
              </a:xfrm>
              <a:custGeom>
                <a:avLst/>
                <a:gdLst>
                  <a:gd name="connsiteX0" fmla="*/ 103414 w 457200"/>
                  <a:gd name="connsiteY0" fmla="*/ 16328 h 816428"/>
                  <a:gd name="connsiteX1" fmla="*/ 0 w 457200"/>
                  <a:gd name="connsiteY1" fmla="*/ 816428 h 816428"/>
                  <a:gd name="connsiteX2" fmla="*/ 386443 w 457200"/>
                  <a:gd name="connsiteY2" fmla="*/ 783771 h 816428"/>
                  <a:gd name="connsiteX3" fmla="*/ 457200 w 457200"/>
                  <a:gd name="connsiteY3" fmla="*/ 0 h 816428"/>
                  <a:gd name="connsiteX4" fmla="*/ 103414 w 457200"/>
                  <a:gd name="connsiteY4" fmla="*/ 16328 h 816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816428">
                    <a:moveTo>
                      <a:pt x="103414" y="16328"/>
                    </a:moveTo>
                    <a:lnTo>
                      <a:pt x="0" y="816428"/>
                    </a:lnTo>
                    <a:lnTo>
                      <a:pt x="386443" y="783771"/>
                    </a:lnTo>
                    <a:lnTo>
                      <a:pt x="457200" y="0"/>
                    </a:lnTo>
                    <a:lnTo>
                      <a:pt x="103414" y="16328"/>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4" name="Freeform 1143"/>
              <p:cNvSpPr/>
              <p:nvPr/>
            </p:nvSpPr>
            <p:spPr bwMode="auto">
              <a:xfrm>
                <a:off x="7527472" y="2025426"/>
                <a:ext cx="353784" cy="831986"/>
              </a:xfrm>
              <a:custGeom>
                <a:avLst/>
                <a:gdLst>
                  <a:gd name="connsiteX0" fmla="*/ 43543 w 353786"/>
                  <a:gd name="connsiteY0" fmla="*/ 0 h 783772"/>
                  <a:gd name="connsiteX1" fmla="*/ 0 w 353786"/>
                  <a:gd name="connsiteY1" fmla="*/ 713014 h 783772"/>
                  <a:gd name="connsiteX2" fmla="*/ 353786 w 353786"/>
                  <a:gd name="connsiteY2" fmla="*/ 783772 h 783772"/>
                  <a:gd name="connsiteX3" fmla="*/ 342900 w 353786"/>
                  <a:gd name="connsiteY3" fmla="*/ 10886 h 783772"/>
                  <a:gd name="connsiteX4" fmla="*/ 43543 w 353786"/>
                  <a:gd name="connsiteY4" fmla="*/ 0 h 783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6" h="783772">
                    <a:moveTo>
                      <a:pt x="43543" y="0"/>
                    </a:moveTo>
                    <a:lnTo>
                      <a:pt x="0" y="713014"/>
                    </a:lnTo>
                    <a:lnTo>
                      <a:pt x="353786" y="783772"/>
                    </a:lnTo>
                    <a:lnTo>
                      <a:pt x="342900" y="10886"/>
                    </a:lnTo>
                    <a:lnTo>
                      <a:pt x="43543" y="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5" name="Freeform 1144"/>
              <p:cNvSpPr/>
              <p:nvPr/>
            </p:nvSpPr>
            <p:spPr bwMode="auto">
              <a:xfrm>
                <a:off x="3645856" y="3603750"/>
                <a:ext cx="4229101" cy="947053"/>
              </a:xfrm>
              <a:custGeom>
                <a:avLst/>
                <a:gdLst>
                  <a:gd name="connsiteX0" fmla="*/ 0 w 4229100"/>
                  <a:gd name="connsiteY0" fmla="*/ 179614 h 947057"/>
                  <a:gd name="connsiteX1" fmla="*/ 157843 w 4229100"/>
                  <a:gd name="connsiteY1" fmla="*/ 212271 h 947057"/>
                  <a:gd name="connsiteX2" fmla="*/ 283029 w 4229100"/>
                  <a:gd name="connsiteY2" fmla="*/ 212271 h 947057"/>
                  <a:gd name="connsiteX3" fmla="*/ 397329 w 4229100"/>
                  <a:gd name="connsiteY3" fmla="*/ 168728 h 947057"/>
                  <a:gd name="connsiteX4" fmla="*/ 495300 w 4229100"/>
                  <a:gd name="connsiteY4" fmla="*/ 103414 h 947057"/>
                  <a:gd name="connsiteX5" fmla="*/ 718457 w 4229100"/>
                  <a:gd name="connsiteY5" fmla="*/ 87086 h 947057"/>
                  <a:gd name="connsiteX6" fmla="*/ 1148443 w 4229100"/>
                  <a:gd name="connsiteY6" fmla="*/ 70757 h 947057"/>
                  <a:gd name="connsiteX7" fmla="*/ 1850572 w 4229100"/>
                  <a:gd name="connsiteY7" fmla="*/ 48986 h 947057"/>
                  <a:gd name="connsiteX8" fmla="*/ 2389414 w 4229100"/>
                  <a:gd name="connsiteY8" fmla="*/ 32657 h 947057"/>
                  <a:gd name="connsiteX9" fmla="*/ 2922814 w 4229100"/>
                  <a:gd name="connsiteY9" fmla="*/ 16328 h 947057"/>
                  <a:gd name="connsiteX10" fmla="*/ 3390900 w 4229100"/>
                  <a:gd name="connsiteY10" fmla="*/ 5443 h 947057"/>
                  <a:gd name="connsiteX11" fmla="*/ 3624943 w 4229100"/>
                  <a:gd name="connsiteY11" fmla="*/ 0 h 947057"/>
                  <a:gd name="connsiteX12" fmla="*/ 3897086 w 4229100"/>
                  <a:gd name="connsiteY12" fmla="*/ 92528 h 947057"/>
                  <a:gd name="connsiteX13" fmla="*/ 3978729 w 4229100"/>
                  <a:gd name="connsiteY13" fmla="*/ 125186 h 947057"/>
                  <a:gd name="connsiteX14" fmla="*/ 4229100 w 4229100"/>
                  <a:gd name="connsiteY14" fmla="*/ 114300 h 947057"/>
                  <a:gd name="connsiteX15" fmla="*/ 4169229 w 4229100"/>
                  <a:gd name="connsiteY15" fmla="*/ 174171 h 947057"/>
                  <a:gd name="connsiteX16" fmla="*/ 4103914 w 4229100"/>
                  <a:gd name="connsiteY16" fmla="*/ 266700 h 947057"/>
                  <a:gd name="connsiteX17" fmla="*/ 4038600 w 4229100"/>
                  <a:gd name="connsiteY17" fmla="*/ 386443 h 947057"/>
                  <a:gd name="connsiteX18" fmla="*/ 3995057 w 4229100"/>
                  <a:gd name="connsiteY18" fmla="*/ 538843 h 947057"/>
                  <a:gd name="connsiteX19" fmla="*/ 3967843 w 4229100"/>
                  <a:gd name="connsiteY19" fmla="*/ 691243 h 947057"/>
                  <a:gd name="connsiteX20" fmla="*/ 3962400 w 4229100"/>
                  <a:gd name="connsiteY20" fmla="*/ 805543 h 947057"/>
                  <a:gd name="connsiteX21" fmla="*/ 3973286 w 4229100"/>
                  <a:gd name="connsiteY21" fmla="*/ 887186 h 947057"/>
                  <a:gd name="connsiteX22" fmla="*/ 3973286 w 4229100"/>
                  <a:gd name="connsiteY22" fmla="*/ 887186 h 947057"/>
                  <a:gd name="connsiteX23" fmla="*/ 3619500 w 4229100"/>
                  <a:gd name="connsiteY23" fmla="*/ 898071 h 947057"/>
                  <a:gd name="connsiteX24" fmla="*/ 2852057 w 4229100"/>
                  <a:gd name="connsiteY24" fmla="*/ 914400 h 947057"/>
                  <a:gd name="connsiteX25" fmla="*/ 2095500 w 4229100"/>
                  <a:gd name="connsiteY25" fmla="*/ 925286 h 947057"/>
                  <a:gd name="connsiteX26" fmla="*/ 1164772 w 4229100"/>
                  <a:gd name="connsiteY26" fmla="*/ 936171 h 947057"/>
                  <a:gd name="connsiteX27" fmla="*/ 598714 w 4229100"/>
                  <a:gd name="connsiteY27" fmla="*/ 947057 h 947057"/>
                  <a:gd name="connsiteX28" fmla="*/ 277586 w 4229100"/>
                  <a:gd name="connsiteY28" fmla="*/ 947057 h 947057"/>
                  <a:gd name="connsiteX29" fmla="*/ 239486 w 4229100"/>
                  <a:gd name="connsiteY29" fmla="*/ 947057 h 947057"/>
                  <a:gd name="connsiteX30" fmla="*/ 239486 w 4229100"/>
                  <a:gd name="connsiteY30" fmla="*/ 887186 h 947057"/>
                  <a:gd name="connsiteX31" fmla="*/ 217714 w 4229100"/>
                  <a:gd name="connsiteY31" fmla="*/ 707571 h 947057"/>
                  <a:gd name="connsiteX32" fmla="*/ 185057 w 4229100"/>
                  <a:gd name="connsiteY32" fmla="*/ 560614 h 947057"/>
                  <a:gd name="connsiteX33" fmla="*/ 130629 w 4229100"/>
                  <a:gd name="connsiteY33" fmla="*/ 402771 h 947057"/>
                  <a:gd name="connsiteX34" fmla="*/ 65314 w 4229100"/>
                  <a:gd name="connsiteY34" fmla="*/ 277586 h 947057"/>
                  <a:gd name="connsiteX35" fmla="*/ 0 w 4229100"/>
                  <a:gd name="connsiteY35" fmla="*/ 179614 h 94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229100" h="947057">
                    <a:moveTo>
                      <a:pt x="0" y="179614"/>
                    </a:moveTo>
                    <a:lnTo>
                      <a:pt x="157843" y="212271"/>
                    </a:lnTo>
                    <a:lnTo>
                      <a:pt x="283029" y="212271"/>
                    </a:lnTo>
                    <a:lnTo>
                      <a:pt x="397329" y="168728"/>
                    </a:lnTo>
                    <a:lnTo>
                      <a:pt x="495300" y="103414"/>
                    </a:lnTo>
                    <a:lnTo>
                      <a:pt x="718457" y="87086"/>
                    </a:lnTo>
                    <a:lnTo>
                      <a:pt x="1148443" y="70757"/>
                    </a:lnTo>
                    <a:lnTo>
                      <a:pt x="1850572" y="48986"/>
                    </a:lnTo>
                    <a:lnTo>
                      <a:pt x="2389414" y="32657"/>
                    </a:lnTo>
                    <a:lnTo>
                      <a:pt x="2922814" y="16328"/>
                    </a:lnTo>
                    <a:lnTo>
                      <a:pt x="3390900" y="5443"/>
                    </a:lnTo>
                    <a:lnTo>
                      <a:pt x="3624943" y="0"/>
                    </a:lnTo>
                    <a:lnTo>
                      <a:pt x="3897086" y="92528"/>
                    </a:lnTo>
                    <a:lnTo>
                      <a:pt x="3978729" y="125186"/>
                    </a:lnTo>
                    <a:lnTo>
                      <a:pt x="4229100" y="114300"/>
                    </a:lnTo>
                    <a:lnTo>
                      <a:pt x="4169229" y="174171"/>
                    </a:lnTo>
                    <a:lnTo>
                      <a:pt x="4103914" y="266700"/>
                    </a:lnTo>
                    <a:lnTo>
                      <a:pt x="4038600" y="386443"/>
                    </a:lnTo>
                    <a:lnTo>
                      <a:pt x="3995057" y="538843"/>
                    </a:lnTo>
                    <a:lnTo>
                      <a:pt x="3967843" y="691243"/>
                    </a:lnTo>
                    <a:lnTo>
                      <a:pt x="3962400" y="805543"/>
                    </a:lnTo>
                    <a:lnTo>
                      <a:pt x="3973286" y="887186"/>
                    </a:lnTo>
                    <a:lnTo>
                      <a:pt x="3973286" y="887186"/>
                    </a:lnTo>
                    <a:lnTo>
                      <a:pt x="3619500" y="898071"/>
                    </a:lnTo>
                    <a:lnTo>
                      <a:pt x="2852057" y="914400"/>
                    </a:lnTo>
                    <a:lnTo>
                      <a:pt x="2095500" y="925286"/>
                    </a:lnTo>
                    <a:lnTo>
                      <a:pt x="1164772" y="936171"/>
                    </a:lnTo>
                    <a:lnTo>
                      <a:pt x="598714" y="947057"/>
                    </a:lnTo>
                    <a:lnTo>
                      <a:pt x="277586" y="947057"/>
                    </a:lnTo>
                    <a:lnTo>
                      <a:pt x="239486" y="947057"/>
                    </a:lnTo>
                    <a:lnTo>
                      <a:pt x="239486" y="887186"/>
                    </a:lnTo>
                    <a:lnTo>
                      <a:pt x="217714" y="707571"/>
                    </a:lnTo>
                    <a:lnTo>
                      <a:pt x="185057" y="560614"/>
                    </a:lnTo>
                    <a:lnTo>
                      <a:pt x="130629" y="402771"/>
                    </a:lnTo>
                    <a:lnTo>
                      <a:pt x="65314" y="277586"/>
                    </a:lnTo>
                    <a:lnTo>
                      <a:pt x="0" y="179614"/>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6" name="Freeform 1145"/>
              <p:cNvSpPr/>
              <p:nvPr/>
            </p:nvSpPr>
            <p:spPr bwMode="auto">
              <a:xfrm>
                <a:off x="1701888" y="3319772"/>
                <a:ext cx="642258" cy="424543"/>
              </a:xfrm>
              <a:custGeom>
                <a:avLst/>
                <a:gdLst>
                  <a:gd name="connsiteX0" fmla="*/ 0 w 642258"/>
                  <a:gd name="connsiteY0" fmla="*/ 424543 h 424543"/>
                  <a:gd name="connsiteX1" fmla="*/ 141515 w 642258"/>
                  <a:gd name="connsiteY1" fmla="*/ 348343 h 424543"/>
                  <a:gd name="connsiteX2" fmla="*/ 288472 w 642258"/>
                  <a:gd name="connsiteY2" fmla="*/ 277586 h 424543"/>
                  <a:gd name="connsiteX3" fmla="*/ 419100 w 642258"/>
                  <a:gd name="connsiteY3" fmla="*/ 239486 h 424543"/>
                  <a:gd name="connsiteX4" fmla="*/ 555172 w 642258"/>
                  <a:gd name="connsiteY4" fmla="*/ 119743 h 424543"/>
                  <a:gd name="connsiteX5" fmla="*/ 625929 w 642258"/>
                  <a:gd name="connsiteY5" fmla="*/ 43543 h 424543"/>
                  <a:gd name="connsiteX6" fmla="*/ 642258 w 642258"/>
                  <a:gd name="connsiteY6" fmla="*/ 0 h 424543"/>
                  <a:gd name="connsiteX7" fmla="*/ 566058 w 642258"/>
                  <a:gd name="connsiteY7" fmla="*/ 10886 h 424543"/>
                  <a:gd name="connsiteX8" fmla="*/ 321129 w 642258"/>
                  <a:gd name="connsiteY8" fmla="*/ 59871 h 424543"/>
                  <a:gd name="connsiteX9" fmla="*/ 195943 w 642258"/>
                  <a:gd name="connsiteY9" fmla="*/ 87086 h 424543"/>
                  <a:gd name="connsiteX10" fmla="*/ 157843 w 642258"/>
                  <a:gd name="connsiteY10" fmla="*/ 81643 h 424543"/>
                  <a:gd name="connsiteX11" fmla="*/ 152400 w 642258"/>
                  <a:gd name="connsiteY11" fmla="*/ 59871 h 424543"/>
                  <a:gd name="connsiteX12" fmla="*/ 87086 w 642258"/>
                  <a:gd name="connsiteY12" fmla="*/ 141514 h 424543"/>
                  <a:gd name="connsiteX13" fmla="*/ 54429 w 642258"/>
                  <a:gd name="connsiteY13" fmla="*/ 244929 h 424543"/>
                  <a:gd name="connsiteX14" fmla="*/ 38100 w 642258"/>
                  <a:gd name="connsiteY14" fmla="*/ 332014 h 424543"/>
                  <a:gd name="connsiteX15" fmla="*/ 0 w 642258"/>
                  <a:gd name="connsiteY15" fmla="*/ 424543 h 42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2258" h="424543">
                    <a:moveTo>
                      <a:pt x="0" y="424543"/>
                    </a:moveTo>
                    <a:lnTo>
                      <a:pt x="141515" y="348343"/>
                    </a:lnTo>
                    <a:lnTo>
                      <a:pt x="288472" y="277586"/>
                    </a:lnTo>
                    <a:lnTo>
                      <a:pt x="419100" y="239486"/>
                    </a:lnTo>
                    <a:lnTo>
                      <a:pt x="555172" y="119743"/>
                    </a:lnTo>
                    <a:lnTo>
                      <a:pt x="625929" y="43543"/>
                    </a:lnTo>
                    <a:lnTo>
                      <a:pt x="642258" y="0"/>
                    </a:lnTo>
                    <a:lnTo>
                      <a:pt x="566058" y="10886"/>
                    </a:lnTo>
                    <a:lnTo>
                      <a:pt x="321129" y="59871"/>
                    </a:lnTo>
                    <a:lnTo>
                      <a:pt x="195943" y="87086"/>
                    </a:lnTo>
                    <a:lnTo>
                      <a:pt x="157843" y="81643"/>
                    </a:lnTo>
                    <a:lnTo>
                      <a:pt x="152400" y="59871"/>
                    </a:lnTo>
                    <a:lnTo>
                      <a:pt x="87086" y="141514"/>
                    </a:lnTo>
                    <a:lnTo>
                      <a:pt x="54429" y="244929"/>
                    </a:lnTo>
                    <a:lnTo>
                      <a:pt x="38100" y="332014"/>
                    </a:lnTo>
                    <a:lnTo>
                      <a:pt x="0" y="424543"/>
                    </a:ln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3" name="Freeform 1162"/>
              <p:cNvSpPr/>
              <p:nvPr/>
            </p:nvSpPr>
            <p:spPr bwMode="auto">
              <a:xfrm>
                <a:off x="9720943" y="2917371"/>
                <a:ext cx="468086" cy="359229"/>
              </a:xfrm>
              <a:custGeom>
                <a:avLst/>
                <a:gdLst>
                  <a:gd name="connsiteX0" fmla="*/ 0 w 468086"/>
                  <a:gd name="connsiteY0" fmla="*/ 27215 h 359229"/>
                  <a:gd name="connsiteX1" fmla="*/ 81643 w 468086"/>
                  <a:gd name="connsiteY1" fmla="*/ 97972 h 359229"/>
                  <a:gd name="connsiteX2" fmla="*/ 195943 w 468086"/>
                  <a:gd name="connsiteY2" fmla="*/ 239486 h 359229"/>
                  <a:gd name="connsiteX3" fmla="*/ 261257 w 468086"/>
                  <a:gd name="connsiteY3" fmla="*/ 321129 h 359229"/>
                  <a:gd name="connsiteX4" fmla="*/ 342900 w 468086"/>
                  <a:gd name="connsiteY4" fmla="*/ 359229 h 359229"/>
                  <a:gd name="connsiteX5" fmla="*/ 413657 w 468086"/>
                  <a:gd name="connsiteY5" fmla="*/ 342900 h 359229"/>
                  <a:gd name="connsiteX6" fmla="*/ 457200 w 468086"/>
                  <a:gd name="connsiteY6" fmla="*/ 293915 h 359229"/>
                  <a:gd name="connsiteX7" fmla="*/ 468086 w 468086"/>
                  <a:gd name="connsiteY7" fmla="*/ 146958 h 359229"/>
                  <a:gd name="connsiteX8" fmla="*/ 468086 w 468086"/>
                  <a:gd name="connsiteY8" fmla="*/ 65315 h 359229"/>
                  <a:gd name="connsiteX9" fmla="*/ 446314 w 468086"/>
                  <a:gd name="connsiteY9" fmla="*/ 0 h 359229"/>
                  <a:gd name="connsiteX10" fmla="*/ 353786 w 468086"/>
                  <a:gd name="connsiteY10" fmla="*/ 5443 h 359229"/>
                  <a:gd name="connsiteX11" fmla="*/ 157843 w 468086"/>
                  <a:gd name="connsiteY11" fmla="*/ 21772 h 359229"/>
                  <a:gd name="connsiteX12" fmla="*/ 0 w 468086"/>
                  <a:gd name="connsiteY12" fmla="*/ 27215 h 35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8086" h="359229">
                    <a:moveTo>
                      <a:pt x="0" y="27215"/>
                    </a:moveTo>
                    <a:lnTo>
                      <a:pt x="81643" y="97972"/>
                    </a:lnTo>
                    <a:lnTo>
                      <a:pt x="195943" y="239486"/>
                    </a:lnTo>
                    <a:lnTo>
                      <a:pt x="261257" y="321129"/>
                    </a:lnTo>
                    <a:lnTo>
                      <a:pt x="342900" y="359229"/>
                    </a:lnTo>
                    <a:lnTo>
                      <a:pt x="413657" y="342900"/>
                    </a:lnTo>
                    <a:lnTo>
                      <a:pt x="457200" y="293915"/>
                    </a:lnTo>
                    <a:lnTo>
                      <a:pt x="468086" y="146958"/>
                    </a:lnTo>
                    <a:lnTo>
                      <a:pt x="468086" y="65315"/>
                    </a:lnTo>
                    <a:lnTo>
                      <a:pt x="446314" y="0"/>
                    </a:lnTo>
                    <a:lnTo>
                      <a:pt x="353786" y="5443"/>
                    </a:lnTo>
                    <a:lnTo>
                      <a:pt x="157843" y="21772"/>
                    </a:lnTo>
                    <a:lnTo>
                      <a:pt x="0" y="27215"/>
                    </a:ln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8" name="Freeform 1297"/>
              <p:cNvSpPr/>
              <p:nvPr/>
            </p:nvSpPr>
            <p:spPr bwMode="auto">
              <a:xfrm>
                <a:off x="5459186" y="3227614"/>
                <a:ext cx="353785" cy="70757"/>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99" name="Freeform 1298"/>
              <p:cNvSpPr/>
              <p:nvPr/>
            </p:nvSpPr>
            <p:spPr bwMode="auto">
              <a:xfrm rot="21132279" flipH="1">
                <a:off x="5868422" y="3202563"/>
                <a:ext cx="358826" cy="64325"/>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24" name="Freeform 1423"/>
              <p:cNvSpPr/>
              <p:nvPr/>
            </p:nvSpPr>
            <p:spPr bwMode="auto">
              <a:xfrm>
                <a:off x="9095418" y="3603653"/>
                <a:ext cx="1182152" cy="825456"/>
              </a:xfrm>
              <a:custGeom>
                <a:avLst/>
                <a:gdLst>
                  <a:gd name="connsiteX0" fmla="*/ 998341 w 1182156"/>
                  <a:gd name="connsiteY0" fmla="*/ 617676 h 825455"/>
                  <a:gd name="connsiteX1" fmla="*/ 1086264 w 1182156"/>
                  <a:gd name="connsiteY1" fmla="*/ 570783 h 825455"/>
                  <a:gd name="connsiteX2" fmla="*/ 1139018 w 1182156"/>
                  <a:gd name="connsiteY2" fmla="*/ 512168 h 825455"/>
                  <a:gd name="connsiteX3" fmla="*/ 1180049 w 1182156"/>
                  <a:gd name="connsiteY3" fmla="*/ 324599 h 825455"/>
                  <a:gd name="connsiteX4" fmla="*/ 1174187 w 1182156"/>
                  <a:gd name="connsiteY4" fmla="*/ 189783 h 825455"/>
                  <a:gd name="connsiteX5" fmla="*/ 1156603 w 1182156"/>
                  <a:gd name="connsiteY5" fmla="*/ 107722 h 825455"/>
                  <a:gd name="connsiteX6" fmla="*/ 1103849 w 1182156"/>
                  <a:gd name="connsiteY6" fmla="*/ 8076 h 825455"/>
                  <a:gd name="connsiteX7" fmla="*/ 1062818 w 1182156"/>
                  <a:gd name="connsiteY7" fmla="*/ 8076 h 825455"/>
                  <a:gd name="connsiteX8" fmla="*/ 910418 w 1182156"/>
                  <a:gd name="connsiteY8" fmla="*/ 25660 h 825455"/>
                  <a:gd name="connsiteX9" fmla="*/ 681818 w 1182156"/>
                  <a:gd name="connsiteY9" fmla="*/ 49107 h 825455"/>
                  <a:gd name="connsiteX10" fmla="*/ 453218 w 1182156"/>
                  <a:gd name="connsiteY10" fmla="*/ 72553 h 825455"/>
                  <a:gd name="connsiteX11" fmla="*/ 294957 w 1182156"/>
                  <a:gd name="connsiteY11" fmla="*/ 101860 h 825455"/>
                  <a:gd name="connsiteX12" fmla="*/ 160141 w 1182156"/>
                  <a:gd name="connsiteY12" fmla="*/ 154614 h 825455"/>
                  <a:gd name="connsiteX13" fmla="*/ 89803 w 1182156"/>
                  <a:gd name="connsiteY13" fmla="*/ 224953 h 825455"/>
                  <a:gd name="connsiteX14" fmla="*/ 42911 w 1182156"/>
                  <a:gd name="connsiteY14" fmla="*/ 283568 h 825455"/>
                  <a:gd name="connsiteX15" fmla="*/ 1880 w 1182156"/>
                  <a:gd name="connsiteY15" fmla="*/ 348045 h 825455"/>
                  <a:gd name="connsiteX16" fmla="*/ 13603 w 1182156"/>
                  <a:gd name="connsiteY16" fmla="*/ 383214 h 825455"/>
                  <a:gd name="connsiteX17" fmla="*/ 72218 w 1182156"/>
                  <a:gd name="connsiteY17" fmla="*/ 529753 h 825455"/>
                  <a:gd name="connsiteX18" fmla="*/ 83941 w 1182156"/>
                  <a:gd name="connsiteY18" fmla="*/ 670430 h 825455"/>
                  <a:gd name="connsiteX19" fmla="*/ 72218 w 1182156"/>
                  <a:gd name="connsiteY19" fmla="*/ 758353 h 825455"/>
                  <a:gd name="connsiteX20" fmla="*/ 48772 w 1182156"/>
                  <a:gd name="connsiteY20" fmla="*/ 822830 h 825455"/>
                  <a:gd name="connsiteX21" fmla="*/ 107387 w 1182156"/>
                  <a:gd name="connsiteY21" fmla="*/ 805245 h 825455"/>
                  <a:gd name="connsiteX22" fmla="*/ 476664 w 1182156"/>
                  <a:gd name="connsiteY22" fmla="*/ 734907 h 825455"/>
                  <a:gd name="connsiteX23" fmla="*/ 857664 w 1182156"/>
                  <a:gd name="connsiteY23" fmla="*/ 670430 h 825455"/>
                  <a:gd name="connsiteX24" fmla="*/ 998341 w 1182156"/>
                  <a:gd name="connsiteY24" fmla="*/ 617676 h 82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2156" h="825455">
                    <a:moveTo>
                      <a:pt x="998341" y="617676"/>
                    </a:moveTo>
                    <a:cubicBezTo>
                      <a:pt x="1036441" y="601068"/>
                      <a:pt x="1062818" y="588368"/>
                      <a:pt x="1086264" y="570783"/>
                    </a:cubicBezTo>
                    <a:cubicBezTo>
                      <a:pt x="1109710" y="553198"/>
                      <a:pt x="1123387" y="553199"/>
                      <a:pt x="1139018" y="512168"/>
                    </a:cubicBezTo>
                    <a:cubicBezTo>
                      <a:pt x="1154649" y="471137"/>
                      <a:pt x="1174188" y="378330"/>
                      <a:pt x="1180049" y="324599"/>
                    </a:cubicBezTo>
                    <a:cubicBezTo>
                      <a:pt x="1185910" y="270868"/>
                      <a:pt x="1178095" y="225929"/>
                      <a:pt x="1174187" y="189783"/>
                    </a:cubicBezTo>
                    <a:cubicBezTo>
                      <a:pt x="1170279" y="153637"/>
                      <a:pt x="1168326" y="138006"/>
                      <a:pt x="1156603" y="107722"/>
                    </a:cubicBezTo>
                    <a:cubicBezTo>
                      <a:pt x="1144880" y="77437"/>
                      <a:pt x="1119480" y="24684"/>
                      <a:pt x="1103849" y="8076"/>
                    </a:cubicBezTo>
                    <a:cubicBezTo>
                      <a:pt x="1088218" y="-8532"/>
                      <a:pt x="1095056" y="5145"/>
                      <a:pt x="1062818" y="8076"/>
                    </a:cubicBezTo>
                    <a:cubicBezTo>
                      <a:pt x="1030580" y="11007"/>
                      <a:pt x="910418" y="25660"/>
                      <a:pt x="910418" y="25660"/>
                    </a:cubicBezTo>
                    <a:lnTo>
                      <a:pt x="681818" y="49107"/>
                    </a:lnTo>
                    <a:cubicBezTo>
                      <a:pt x="605618" y="56922"/>
                      <a:pt x="517695" y="63761"/>
                      <a:pt x="453218" y="72553"/>
                    </a:cubicBezTo>
                    <a:cubicBezTo>
                      <a:pt x="388741" y="81345"/>
                      <a:pt x="343803" y="88183"/>
                      <a:pt x="294957" y="101860"/>
                    </a:cubicBezTo>
                    <a:cubicBezTo>
                      <a:pt x="246111" y="115537"/>
                      <a:pt x="194333" y="134099"/>
                      <a:pt x="160141" y="154614"/>
                    </a:cubicBezTo>
                    <a:cubicBezTo>
                      <a:pt x="125949" y="175129"/>
                      <a:pt x="109341" y="203461"/>
                      <a:pt x="89803" y="224953"/>
                    </a:cubicBezTo>
                    <a:cubicBezTo>
                      <a:pt x="70265" y="246445"/>
                      <a:pt x="57565" y="263053"/>
                      <a:pt x="42911" y="283568"/>
                    </a:cubicBezTo>
                    <a:cubicBezTo>
                      <a:pt x="28257" y="304083"/>
                      <a:pt x="6765" y="331437"/>
                      <a:pt x="1880" y="348045"/>
                    </a:cubicBezTo>
                    <a:cubicBezTo>
                      <a:pt x="-3005" y="364653"/>
                      <a:pt x="1880" y="352929"/>
                      <a:pt x="13603" y="383214"/>
                    </a:cubicBezTo>
                    <a:cubicBezTo>
                      <a:pt x="25326" y="413499"/>
                      <a:pt x="60495" y="481884"/>
                      <a:pt x="72218" y="529753"/>
                    </a:cubicBezTo>
                    <a:cubicBezTo>
                      <a:pt x="83941" y="577622"/>
                      <a:pt x="83941" y="632330"/>
                      <a:pt x="83941" y="670430"/>
                    </a:cubicBezTo>
                    <a:cubicBezTo>
                      <a:pt x="83941" y="708530"/>
                      <a:pt x="78079" y="732953"/>
                      <a:pt x="72218" y="758353"/>
                    </a:cubicBezTo>
                    <a:cubicBezTo>
                      <a:pt x="66357" y="783753"/>
                      <a:pt x="42910" y="815015"/>
                      <a:pt x="48772" y="822830"/>
                    </a:cubicBezTo>
                    <a:cubicBezTo>
                      <a:pt x="54633" y="830645"/>
                      <a:pt x="36072" y="819899"/>
                      <a:pt x="107387" y="805245"/>
                    </a:cubicBezTo>
                    <a:cubicBezTo>
                      <a:pt x="178702" y="790591"/>
                      <a:pt x="351618" y="757376"/>
                      <a:pt x="476664" y="734907"/>
                    </a:cubicBezTo>
                    <a:cubicBezTo>
                      <a:pt x="601710" y="712438"/>
                      <a:pt x="768764" y="690945"/>
                      <a:pt x="857664" y="670430"/>
                    </a:cubicBezTo>
                    <a:cubicBezTo>
                      <a:pt x="946564" y="649915"/>
                      <a:pt x="960241" y="634284"/>
                      <a:pt x="998341" y="617676"/>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25" name="Freeform 1424"/>
              <p:cNvSpPr/>
              <p:nvPr/>
            </p:nvSpPr>
            <p:spPr bwMode="auto">
              <a:xfrm>
                <a:off x="1666793" y="3729775"/>
                <a:ext cx="767302" cy="878239"/>
              </a:xfrm>
              <a:custGeom>
                <a:avLst/>
                <a:gdLst>
                  <a:gd name="connsiteX0" fmla="*/ 615960 w 737366"/>
                  <a:gd name="connsiteY0" fmla="*/ 769799 h 869548"/>
                  <a:gd name="connsiteX1" fmla="*/ 610099 w 737366"/>
                  <a:gd name="connsiteY1" fmla="*/ 576368 h 869548"/>
                  <a:gd name="connsiteX2" fmla="*/ 633545 w 737366"/>
                  <a:gd name="connsiteY2" fmla="*/ 388799 h 869548"/>
                  <a:gd name="connsiteX3" fmla="*/ 674575 w 737366"/>
                  <a:gd name="connsiteY3" fmla="*/ 277429 h 869548"/>
                  <a:gd name="connsiteX4" fmla="*/ 733191 w 737366"/>
                  <a:gd name="connsiteY4" fmla="*/ 183645 h 869548"/>
                  <a:gd name="connsiteX5" fmla="*/ 709745 w 737366"/>
                  <a:gd name="connsiteY5" fmla="*/ 171922 h 869548"/>
                  <a:gd name="connsiteX6" fmla="*/ 528037 w 737366"/>
                  <a:gd name="connsiteY6" fmla="*/ 171922 h 869548"/>
                  <a:gd name="connsiteX7" fmla="*/ 234960 w 737366"/>
                  <a:gd name="connsiteY7" fmla="*/ 171922 h 869548"/>
                  <a:gd name="connsiteX8" fmla="*/ 147037 w 737366"/>
                  <a:gd name="connsiteY8" fmla="*/ 148476 h 869548"/>
                  <a:gd name="connsiteX9" fmla="*/ 147037 w 737366"/>
                  <a:gd name="connsiteY9" fmla="*/ 83999 h 869548"/>
                  <a:gd name="connsiteX10" fmla="*/ 152899 w 737366"/>
                  <a:gd name="connsiteY10" fmla="*/ 7799 h 869548"/>
                  <a:gd name="connsiteX11" fmla="*/ 123591 w 737366"/>
                  <a:gd name="connsiteY11" fmla="*/ 7799 h 869548"/>
                  <a:gd name="connsiteX12" fmla="*/ 59114 w 737366"/>
                  <a:gd name="connsiteY12" fmla="*/ 54691 h 869548"/>
                  <a:gd name="connsiteX13" fmla="*/ 29806 w 737366"/>
                  <a:gd name="connsiteY13" fmla="*/ 66414 h 869548"/>
                  <a:gd name="connsiteX14" fmla="*/ 499 w 737366"/>
                  <a:gd name="connsiteY14" fmla="*/ 142614 h 869548"/>
                  <a:gd name="connsiteX15" fmla="*/ 12222 w 737366"/>
                  <a:gd name="connsiteY15" fmla="*/ 201229 h 869548"/>
                  <a:gd name="connsiteX16" fmla="*/ 23945 w 737366"/>
                  <a:gd name="connsiteY16" fmla="*/ 388799 h 869548"/>
                  <a:gd name="connsiteX17" fmla="*/ 47391 w 737366"/>
                  <a:gd name="connsiteY17" fmla="*/ 418106 h 869548"/>
                  <a:gd name="connsiteX18" fmla="*/ 82560 w 737366"/>
                  <a:gd name="connsiteY18" fmla="*/ 447414 h 869548"/>
                  <a:gd name="connsiteX19" fmla="*/ 100145 w 737366"/>
                  <a:gd name="connsiteY19" fmla="*/ 570506 h 869548"/>
                  <a:gd name="connsiteX20" fmla="*/ 64975 w 737366"/>
                  <a:gd name="connsiteY20" fmla="*/ 623260 h 869548"/>
                  <a:gd name="connsiteX21" fmla="*/ 141175 w 737366"/>
                  <a:gd name="connsiteY21" fmla="*/ 752214 h 869548"/>
                  <a:gd name="connsiteX22" fmla="*/ 229099 w 737366"/>
                  <a:gd name="connsiteY22" fmla="*/ 787383 h 869548"/>
                  <a:gd name="connsiteX23" fmla="*/ 317022 w 737366"/>
                  <a:gd name="connsiteY23" fmla="*/ 828414 h 869548"/>
                  <a:gd name="connsiteX24" fmla="*/ 469422 w 737366"/>
                  <a:gd name="connsiteY24" fmla="*/ 840137 h 869548"/>
                  <a:gd name="connsiteX25" fmla="*/ 563206 w 737366"/>
                  <a:gd name="connsiteY25" fmla="*/ 840137 h 869548"/>
                  <a:gd name="connsiteX26" fmla="*/ 651129 w 737366"/>
                  <a:gd name="connsiteY26" fmla="*/ 869445 h 869548"/>
                  <a:gd name="connsiteX27" fmla="*/ 645268 w 737366"/>
                  <a:gd name="connsiteY27" fmla="*/ 828414 h 869548"/>
                  <a:gd name="connsiteX28" fmla="*/ 615960 w 737366"/>
                  <a:gd name="connsiteY28" fmla="*/ 769799 h 86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366" h="869548">
                    <a:moveTo>
                      <a:pt x="615960" y="769799"/>
                    </a:moveTo>
                    <a:cubicBezTo>
                      <a:pt x="610099" y="727791"/>
                      <a:pt x="607168" y="639868"/>
                      <a:pt x="610099" y="576368"/>
                    </a:cubicBezTo>
                    <a:cubicBezTo>
                      <a:pt x="613030" y="512868"/>
                      <a:pt x="622799" y="438622"/>
                      <a:pt x="633545" y="388799"/>
                    </a:cubicBezTo>
                    <a:cubicBezTo>
                      <a:pt x="644291" y="338976"/>
                      <a:pt x="657967" y="311621"/>
                      <a:pt x="674575" y="277429"/>
                    </a:cubicBezTo>
                    <a:cubicBezTo>
                      <a:pt x="691183" y="243237"/>
                      <a:pt x="727329" y="201229"/>
                      <a:pt x="733191" y="183645"/>
                    </a:cubicBezTo>
                    <a:cubicBezTo>
                      <a:pt x="739053" y="166060"/>
                      <a:pt x="743937" y="173876"/>
                      <a:pt x="709745" y="171922"/>
                    </a:cubicBezTo>
                    <a:cubicBezTo>
                      <a:pt x="675553" y="169968"/>
                      <a:pt x="528037" y="171922"/>
                      <a:pt x="528037" y="171922"/>
                    </a:cubicBezTo>
                    <a:cubicBezTo>
                      <a:pt x="448906" y="171922"/>
                      <a:pt x="298460" y="175830"/>
                      <a:pt x="234960" y="171922"/>
                    </a:cubicBezTo>
                    <a:cubicBezTo>
                      <a:pt x="171460" y="168014"/>
                      <a:pt x="161691" y="163130"/>
                      <a:pt x="147037" y="148476"/>
                    </a:cubicBezTo>
                    <a:cubicBezTo>
                      <a:pt x="132383" y="133822"/>
                      <a:pt x="146060" y="107445"/>
                      <a:pt x="147037" y="83999"/>
                    </a:cubicBezTo>
                    <a:cubicBezTo>
                      <a:pt x="148014" y="60553"/>
                      <a:pt x="156807" y="20499"/>
                      <a:pt x="152899" y="7799"/>
                    </a:cubicBezTo>
                    <a:cubicBezTo>
                      <a:pt x="148991" y="-4901"/>
                      <a:pt x="139222" y="-16"/>
                      <a:pt x="123591" y="7799"/>
                    </a:cubicBezTo>
                    <a:cubicBezTo>
                      <a:pt x="107960" y="15614"/>
                      <a:pt x="74745" y="44922"/>
                      <a:pt x="59114" y="54691"/>
                    </a:cubicBezTo>
                    <a:cubicBezTo>
                      <a:pt x="43483" y="64460"/>
                      <a:pt x="39575" y="51760"/>
                      <a:pt x="29806" y="66414"/>
                    </a:cubicBezTo>
                    <a:cubicBezTo>
                      <a:pt x="20037" y="81068"/>
                      <a:pt x="3430" y="120145"/>
                      <a:pt x="499" y="142614"/>
                    </a:cubicBezTo>
                    <a:cubicBezTo>
                      <a:pt x="-2432" y="165083"/>
                      <a:pt x="8314" y="160198"/>
                      <a:pt x="12222" y="201229"/>
                    </a:cubicBezTo>
                    <a:cubicBezTo>
                      <a:pt x="16130" y="242260"/>
                      <a:pt x="18084" y="352653"/>
                      <a:pt x="23945" y="388799"/>
                    </a:cubicBezTo>
                    <a:cubicBezTo>
                      <a:pt x="29806" y="424945"/>
                      <a:pt x="37622" y="408337"/>
                      <a:pt x="47391" y="418106"/>
                    </a:cubicBezTo>
                    <a:cubicBezTo>
                      <a:pt x="57160" y="427875"/>
                      <a:pt x="73768" y="422014"/>
                      <a:pt x="82560" y="447414"/>
                    </a:cubicBezTo>
                    <a:cubicBezTo>
                      <a:pt x="91352" y="472814"/>
                      <a:pt x="103076" y="541198"/>
                      <a:pt x="100145" y="570506"/>
                    </a:cubicBezTo>
                    <a:cubicBezTo>
                      <a:pt x="97214" y="599814"/>
                      <a:pt x="58137" y="592975"/>
                      <a:pt x="64975" y="623260"/>
                    </a:cubicBezTo>
                    <a:cubicBezTo>
                      <a:pt x="71813" y="653545"/>
                      <a:pt x="113821" y="724860"/>
                      <a:pt x="141175" y="752214"/>
                    </a:cubicBezTo>
                    <a:cubicBezTo>
                      <a:pt x="168529" y="779568"/>
                      <a:pt x="199791" y="774683"/>
                      <a:pt x="229099" y="787383"/>
                    </a:cubicBezTo>
                    <a:cubicBezTo>
                      <a:pt x="258407" y="800083"/>
                      <a:pt x="276968" y="819622"/>
                      <a:pt x="317022" y="828414"/>
                    </a:cubicBezTo>
                    <a:cubicBezTo>
                      <a:pt x="357076" y="837206"/>
                      <a:pt x="428391" y="838183"/>
                      <a:pt x="469422" y="840137"/>
                    </a:cubicBezTo>
                    <a:cubicBezTo>
                      <a:pt x="510453" y="842091"/>
                      <a:pt x="532922" y="835252"/>
                      <a:pt x="563206" y="840137"/>
                    </a:cubicBezTo>
                    <a:cubicBezTo>
                      <a:pt x="593490" y="845022"/>
                      <a:pt x="637452" y="871399"/>
                      <a:pt x="651129" y="869445"/>
                    </a:cubicBezTo>
                    <a:cubicBezTo>
                      <a:pt x="664806" y="867491"/>
                      <a:pt x="649176" y="845022"/>
                      <a:pt x="645268" y="828414"/>
                    </a:cubicBezTo>
                    <a:cubicBezTo>
                      <a:pt x="641360" y="811806"/>
                      <a:pt x="621821" y="811807"/>
                      <a:pt x="615960" y="76979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135" name="Freeform 1134"/>
            <p:cNvSpPr/>
            <p:nvPr/>
          </p:nvSpPr>
          <p:spPr bwMode="auto">
            <a:xfrm>
              <a:off x="4071427" y="2729263"/>
              <a:ext cx="346361" cy="307598"/>
            </a:xfrm>
            <a:custGeom>
              <a:avLst/>
              <a:gdLst>
                <a:gd name="connsiteX0" fmla="*/ 176028 w 346361"/>
                <a:gd name="connsiteY0" fmla="*/ 306019 h 307598"/>
                <a:gd name="connsiteX1" fmla="*/ 103292 w 346361"/>
                <a:gd name="connsiteY1" fmla="*/ 288701 h 307598"/>
                <a:gd name="connsiteX2" fmla="*/ 51338 w 346361"/>
                <a:gd name="connsiteY2" fmla="*/ 226356 h 307598"/>
                <a:gd name="connsiteX3" fmla="*/ 2847 w 346361"/>
                <a:gd name="connsiteY3" fmla="*/ 184792 h 307598"/>
                <a:gd name="connsiteX4" fmla="*/ 13238 w 346361"/>
                <a:gd name="connsiteY4" fmla="*/ 136301 h 307598"/>
                <a:gd name="connsiteX5" fmla="*/ 75583 w 346361"/>
                <a:gd name="connsiteY5" fmla="*/ 67029 h 307598"/>
                <a:gd name="connsiteX6" fmla="*/ 193347 w 346361"/>
                <a:gd name="connsiteY6" fmla="*/ 8147 h 307598"/>
                <a:gd name="connsiteX7" fmla="*/ 293792 w 346361"/>
                <a:gd name="connsiteY7" fmla="*/ 1219 h 307598"/>
                <a:gd name="connsiteX8" fmla="*/ 318038 w 346361"/>
                <a:gd name="connsiteY8" fmla="*/ 15074 h 307598"/>
                <a:gd name="connsiteX9" fmla="*/ 338819 w 346361"/>
                <a:gd name="connsiteY9" fmla="*/ 91274 h 307598"/>
                <a:gd name="connsiteX10" fmla="*/ 345747 w 346361"/>
                <a:gd name="connsiteY10" fmla="*/ 150156 h 307598"/>
                <a:gd name="connsiteX11" fmla="*/ 324965 w 346361"/>
                <a:gd name="connsiteY11" fmla="*/ 271383 h 307598"/>
                <a:gd name="connsiteX12" fmla="*/ 314574 w 346361"/>
                <a:gd name="connsiteY12" fmla="*/ 295629 h 307598"/>
                <a:gd name="connsiteX13" fmla="*/ 248765 w 346361"/>
                <a:gd name="connsiteY13" fmla="*/ 306019 h 307598"/>
                <a:gd name="connsiteX14" fmla="*/ 176028 w 346361"/>
                <a:gd name="connsiteY14" fmla="*/ 306019 h 307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6361" h="307598">
                  <a:moveTo>
                    <a:pt x="176028" y="306019"/>
                  </a:moveTo>
                  <a:cubicBezTo>
                    <a:pt x="151783" y="303133"/>
                    <a:pt x="124074" y="301978"/>
                    <a:pt x="103292" y="288701"/>
                  </a:cubicBezTo>
                  <a:cubicBezTo>
                    <a:pt x="82510" y="275424"/>
                    <a:pt x="68079" y="243674"/>
                    <a:pt x="51338" y="226356"/>
                  </a:cubicBezTo>
                  <a:cubicBezTo>
                    <a:pt x="34597" y="209038"/>
                    <a:pt x="9197" y="199801"/>
                    <a:pt x="2847" y="184792"/>
                  </a:cubicBezTo>
                  <a:cubicBezTo>
                    <a:pt x="-3503" y="169783"/>
                    <a:pt x="1115" y="155928"/>
                    <a:pt x="13238" y="136301"/>
                  </a:cubicBezTo>
                  <a:cubicBezTo>
                    <a:pt x="25361" y="116674"/>
                    <a:pt x="45565" y="88388"/>
                    <a:pt x="75583" y="67029"/>
                  </a:cubicBezTo>
                  <a:cubicBezTo>
                    <a:pt x="105601" y="45670"/>
                    <a:pt x="156979" y="19115"/>
                    <a:pt x="193347" y="8147"/>
                  </a:cubicBezTo>
                  <a:cubicBezTo>
                    <a:pt x="229715" y="-2821"/>
                    <a:pt x="273010" y="65"/>
                    <a:pt x="293792" y="1219"/>
                  </a:cubicBezTo>
                  <a:cubicBezTo>
                    <a:pt x="314574" y="2373"/>
                    <a:pt x="310534" y="65"/>
                    <a:pt x="318038" y="15074"/>
                  </a:cubicBezTo>
                  <a:cubicBezTo>
                    <a:pt x="325543" y="30083"/>
                    <a:pt x="334201" y="68760"/>
                    <a:pt x="338819" y="91274"/>
                  </a:cubicBezTo>
                  <a:cubicBezTo>
                    <a:pt x="343437" y="113788"/>
                    <a:pt x="348056" y="120138"/>
                    <a:pt x="345747" y="150156"/>
                  </a:cubicBezTo>
                  <a:cubicBezTo>
                    <a:pt x="343438" y="180174"/>
                    <a:pt x="330160" y="247138"/>
                    <a:pt x="324965" y="271383"/>
                  </a:cubicBezTo>
                  <a:cubicBezTo>
                    <a:pt x="319770" y="295628"/>
                    <a:pt x="327274" y="289856"/>
                    <a:pt x="314574" y="295629"/>
                  </a:cubicBezTo>
                  <a:cubicBezTo>
                    <a:pt x="301874" y="301402"/>
                    <a:pt x="271856" y="304865"/>
                    <a:pt x="248765" y="306019"/>
                  </a:cubicBezTo>
                  <a:cubicBezTo>
                    <a:pt x="225674" y="307173"/>
                    <a:pt x="200273" y="308905"/>
                    <a:pt x="176028" y="306019"/>
                  </a:cubicBez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457" name="Group 1456"/>
          <p:cNvGrpSpPr/>
          <p:nvPr/>
        </p:nvGrpSpPr>
        <p:grpSpPr>
          <a:xfrm rot="2930596">
            <a:off x="10368486" y="3149484"/>
            <a:ext cx="203039" cy="136495"/>
            <a:chOff x="3136655" y="5749640"/>
            <a:chExt cx="167801" cy="112806"/>
          </a:xfrm>
          <a:solidFill>
            <a:schemeClr val="accent2"/>
          </a:solidFill>
        </p:grpSpPr>
        <p:sp>
          <p:nvSpPr>
            <p:cNvPr id="1471"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473"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23"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788" name="Group 1787"/>
          <p:cNvGrpSpPr/>
          <p:nvPr/>
        </p:nvGrpSpPr>
        <p:grpSpPr>
          <a:xfrm flipH="1">
            <a:off x="9413865" y="2427618"/>
            <a:ext cx="1017445" cy="721048"/>
            <a:chOff x="5388642" y="4195779"/>
            <a:chExt cx="840863" cy="595907"/>
          </a:xfrm>
        </p:grpSpPr>
        <p:grpSp>
          <p:nvGrpSpPr>
            <p:cNvPr id="1789" name="Group 1788"/>
            <p:cNvGrpSpPr/>
            <p:nvPr/>
          </p:nvGrpSpPr>
          <p:grpSpPr>
            <a:xfrm>
              <a:off x="5388642" y="4195779"/>
              <a:ext cx="840863" cy="595907"/>
              <a:chOff x="5388642" y="4195779"/>
              <a:chExt cx="840863" cy="595907"/>
            </a:xfrm>
          </p:grpSpPr>
          <p:sp>
            <p:nvSpPr>
              <p:cNvPr id="1795" name="Rectangle 1794"/>
              <p:cNvSpPr/>
              <p:nvPr/>
            </p:nvSpPr>
            <p:spPr bwMode="auto">
              <a:xfrm>
                <a:off x="5631394" y="4210319"/>
                <a:ext cx="598111" cy="372585"/>
              </a:xfrm>
              <a:prstGeom prst="rect">
                <a:avLst/>
              </a:prstGeom>
              <a:solidFill>
                <a:schemeClr val="tx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8DC548"/>
                    </a:solidFill>
                    <a:effectLst/>
                    <a:uLnTx/>
                    <a:uFillTx/>
                    <a:cs typeface="Arial" charset="0"/>
                  </a:rPr>
                  <a:t>YOUR OIL </a:t>
                </a:r>
                <a:br>
                  <a:rPr kumimoji="0" lang="en-US" sz="700" b="0" i="0" u="none" strike="noStrike" kern="0" cap="none" spc="0" normalizeH="0" baseline="0" noProof="0" dirty="0">
                    <a:ln w="3175">
                      <a:noFill/>
                    </a:ln>
                    <a:solidFill>
                      <a:srgbClr val="8DC548"/>
                    </a:solidFill>
                    <a:effectLst/>
                    <a:uLnTx/>
                    <a:uFillTx/>
                    <a:cs typeface="Arial" charset="0"/>
                  </a:rPr>
                </a:br>
                <a:r>
                  <a:rPr kumimoji="0" lang="en-US" sz="700" b="0" i="0" u="none" strike="noStrike" kern="0" cap="none" spc="0" normalizeH="0" baseline="0" noProof="0" dirty="0">
                    <a:ln w="3175">
                      <a:noFill/>
                    </a:ln>
                    <a:solidFill>
                      <a:srgbClr val="8DC548"/>
                    </a:solidFill>
                    <a:effectLst/>
                    <a:uLnTx/>
                    <a:uFillTx/>
                    <a:cs typeface="Arial" charset="0"/>
                  </a:rPr>
                  <a:t>IS LOW</a:t>
                </a:r>
              </a:p>
              <a:p>
                <a:pPr marL="0" marR="0" lvl="0" indent="0" defTabSz="895639"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w="3175">
                      <a:noFill/>
                    </a:ln>
                    <a:solidFill>
                      <a:srgbClr val="8DC548"/>
                    </a:solidFill>
                    <a:effectLst/>
                    <a:uLnTx/>
                    <a:uFillTx/>
                    <a:cs typeface="Arial" charset="0"/>
                  </a:rPr>
                  <a:t>Thur. 25% off</a:t>
                </a:r>
              </a:p>
              <a:p>
                <a:pPr marL="0" marR="0" lvl="0" indent="0" defTabSz="895639"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w="3175">
                      <a:noFill/>
                    </a:ln>
                    <a:solidFill>
                      <a:srgbClr val="8DC548"/>
                    </a:solidFill>
                    <a:effectLst/>
                    <a:uLnTx/>
                    <a:uFillTx/>
                    <a:cs typeface="Arial" charset="0"/>
                  </a:rPr>
                  <a:t>1 gallon of oil</a:t>
                </a:r>
              </a:p>
            </p:txBody>
          </p:sp>
          <p:sp>
            <p:nvSpPr>
              <p:cNvPr id="1796" name="Isosceles Triangle 1429"/>
              <p:cNvSpPr/>
              <p:nvPr/>
            </p:nvSpPr>
            <p:spPr bwMode="auto">
              <a:xfrm rot="3527749">
                <a:off x="5363125" y="4367975"/>
                <a:ext cx="449228" cy="398193"/>
              </a:xfrm>
              <a:custGeom>
                <a:avLst/>
                <a:gdLst>
                  <a:gd name="connsiteX0" fmla="*/ 0 w 279491"/>
                  <a:gd name="connsiteY0" fmla="*/ 382302 h 382302"/>
                  <a:gd name="connsiteX1" fmla="*/ 220429 w 279491"/>
                  <a:gd name="connsiteY1" fmla="*/ 0 h 382302"/>
                  <a:gd name="connsiteX2" fmla="*/ 279491 w 279491"/>
                  <a:gd name="connsiteY2" fmla="*/ 382302 h 382302"/>
                  <a:gd name="connsiteX3" fmla="*/ 0 w 279491"/>
                  <a:gd name="connsiteY3" fmla="*/ 382302 h 382302"/>
                  <a:gd name="connsiteX0" fmla="*/ 0 w 489374"/>
                  <a:gd name="connsiteY0" fmla="*/ 382302 h 487079"/>
                  <a:gd name="connsiteX1" fmla="*/ 220429 w 489374"/>
                  <a:gd name="connsiteY1" fmla="*/ 0 h 487079"/>
                  <a:gd name="connsiteX2" fmla="*/ 489374 w 489374"/>
                  <a:gd name="connsiteY2" fmla="*/ 487079 h 487079"/>
                  <a:gd name="connsiteX3" fmla="*/ 0 w 489374"/>
                  <a:gd name="connsiteY3" fmla="*/ 382302 h 487079"/>
                  <a:gd name="connsiteX0" fmla="*/ 0 w 508179"/>
                  <a:gd name="connsiteY0" fmla="*/ 380959 h 487079"/>
                  <a:gd name="connsiteX1" fmla="*/ 239234 w 508179"/>
                  <a:gd name="connsiteY1" fmla="*/ 0 h 487079"/>
                  <a:gd name="connsiteX2" fmla="*/ 508179 w 508179"/>
                  <a:gd name="connsiteY2" fmla="*/ 487079 h 487079"/>
                  <a:gd name="connsiteX3" fmla="*/ 0 w 508179"/>
                  <a:gd name="connsiteY3" fmla="*/ 380959 h 487079"/>
                  <a:gd name="connsiteX0" fmla="*/ 0 w 381289"/>
                  <a:gd name="connsiteY0" fmla="*/ 324490 h 487079"/>
                  <a:gd name="connsiteX1" fmla="*/ 112344 w 381289"/>
                  <a:gd name="connsiteY1" fmla="*/ 0 h 487079"/>
                  <a:gd name="connsiteX2" fmla="*/ 381289 w 381289"/>
                  <a:gd name="connsiteY2" fmla="*/ 487079 h 487079"/>
                  <a:gd name="connsiteX3" fmla="*/ 0 w 381289"/>
                  <a:gd name="connsiteY3" fmla="*/ 324490 h 487079"/>
                  <a:gd name="connsiteX0" fmla="*/ 0 w 381289"/>
                  <a:gd name="connsiteY0" fmla="*/ 281837 h 444426"/>
                  <a:gd name="connsiteX1" fmla="*/ 246991 w 381289"/>
                  <a:gd name="connsiteY1" fmla="*/ 0 h 444426"/>
                  <a:gd name="connsiteX2" fmla="*/ 381289 w 381289"/>
                  <a:gd name="connsiteY2" fmla="*/ 444426 h 444426"/>
                  <a:gd name="connsiteX3" fmla="*/ 0 w 381289"/>
                  <a:gd name="connsiteY3" fmla="*/ 281837 h 444426"/>
                </a:gdLst>
                <a:ahLst/>
                <a:cxnLst>
                  <a:cxn ang="0">
                    <a:pos x="connsiteX0" y="connsiteY0"/>
                  </a:cxn>
                  <a:cxn ang="0">
                    <a:pos x="connsiteX1" y="connsiteY1"/>
                  </a:cxn>
                  <a:cxn ang="0">
                    <a:pos x="connsiteX2" y="connsiteY2"/>
                  </a:cxn>
                  <a:cxn ang="0">
                    <a:pos x="connsiteX3" y="connsiteY3"/>
                  </a:cxn>
                </a:cxnLst>
                <a:rect l="l" t="t" r="r" b="b"/>
                <a:pathLst>
                  <a:path w="381289" h="444426">
                    <a:moveTo>
                      <a:pt x="0" y="281837"/>
                    </a:moveTo>
                    <a:lnTo>
                      <a:pt x="246991" y="0"/>
                    </a:lnTo>
                    <a:lnTo>
                      <a:pt x="381289" y="444426"/>
                    </a:lnTo>
                    <a:lnTo>
                      <a:pt x="0" y="281837"/>
                    </a:lnTo>
                    <a:close/>
                  </a:path>
                </a:pathLst>
              </a:custGeom>
              <a:solidFill>
                <a:schemeClr val="accent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797" name="Group 1796"/>
              <p:cNvGrpSpPr/>
              <p:nvPr/>
            </p:nvGrpSpPr>
            <p:grpSpPr>
              <a:xfrm>
                <a:off x="5432847" y="4195779"/>
                <a:ext cx="392439" cy="401301"/>
                <a:chOff x="5794389" y="4756630"/>
                <a:chExt cx="749847" cy="749847"/>
              </a:xfrm>
            </p:grpSpPr>
            <p:sp>
              <p:nvSpPr>
                <p:cNvPr id="1811" name="Oval 1810"/>
                <p:cNvSpPr/>
                <p:nvPr/>
              </p:nvSpPr>
              <p:spPr bwMode="auto">
                <a:xfrm>
                  <a:off x="5794389" y="4756630"/>
                  <a:ext cx="749847" cy="749847"/>
                </a:xfrm>
                <a:prstGeom prst="ellipse">
                  <a:avLst/>
                </a:prstGeom>
                <a:solidFill>
                  <a:schemeClr val="tx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812" name="Group 1811"/>
                <p:cNvGrpSpPr/>
                <p:nvPr/>
              </p:nvGrpSpPr>
              <p:grpSpPr>
                <a:xfrm>
                  <a:off x="6010431" y="4853211"/>
                  <a:ext cx="310009" cy="551392"/>
                  <a:chOff x="10925525" y="3994027"/>
                  <a:chExt cx="256205" cy="455695"/>
                </a:xfrm>
              </p:grpSpPr>
              <p:sp>
                <p:nvSpPr>
                  <p:cNvPr id="1936" name="Rectangle 1935"/>
                  <p:cNvSpPr/>
                  <p:nvPr/>
                </p:nvSpPr>
                <p:spPr bwMode="auto">
                  <a:xfrm>
                    <a:off x="10938761" y="4024315"/>
                    <a:ext cx="236427" cy="3764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37" name="Rounded Rectangle 223"/>
                  <p:cNvSpPr/>
                  <p:nvPr/>
                </p:nvSpPr>
                <p:spPr bwMode="auto">
                  <a:xfrm>
                    <a:off x="10925525" y="3994027"/>
                    <a:ext cx="256205" cy="45569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873" name="Rectangle 1872"/>
                <p:cNvSpPr/>
                <p:nvPr/>
              </p:nvSpPr>
              <p:spPr bwMode="auto">
                <a:xfrm>
                  <a:off x="6063357" y="4918781"/>
                  <a:ext cx="206203" cy="151758"/>
                </a:xfrm>
                <a:prstGeom prst="rect">
                  <a:avLst/>
                </a:prstGeom>
                <a:solidFill>
                  <a:schemeClr val="tx1"/>
                </a:solidFill>
                <a:ln w="952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400" b="0" i="0" u="none" strike="noStrike" kern="0" cap="none" spc="0" normalizeH="0" baseline="0" noProof="0" dirty="0">
                      <a:ln w="3175">
                        <a:noFill/>
                      </a:ln>
                      <a:solidFill>
                        <a:srgbClr val="8DC548"/>
                      </a:solidFill>
                      <a:effectLst/>
                      <a:uLnTx/>
                      <a:uFillTx/>
                      <a:cs typeface="Arial" charset="0"/>
                    </a:rPr>
                    <a:t>50%</a:t>
                  </a:r>
                </a:p>
              </p:txBody>
            </p:sp>
          </p:grpSp>
        </p:grpSp>
        <p:grpSp>
          <p:nvGrpSpPr>
            <p:cNvPr id="1790" name="Group 1789"/>
            <p:cNvGrpSpPr/>
            <p:nvPr/>
          </p:nvGrpSpPr>
          <p:grpSpPr>
            <a:xfrm>
              <a:off x="5573916" y="4390426"/>
              <a:ext cx="103392" cy="96729"/>
              <a:chOff x="7142701" y="3555387"/>
              <a:chExt cx="812800" cy="760413"/>
            </a:xfrm>
            <a:solidFill>
              <a:schemeClr val="accent3"/>
            </a:solidFill>
          </p:grpSpPr>
          <p:sp>
            <p:nvSpPr>
              <p:cNvPr id="1791" name="Freeform 9"/>
              <p:cNvSpPr>
                <a:spLocks/>
              </p:cNvSpPr>
              <p:nvPr/>
            </p:nvSpPr>
            <p:spPr bwMode="auto">
              <a:xfrm>
                <a:off x="7291926" y="3726837"/>
                <a:ext cx="663575" cy="473075"/>
              </a:xfrm>
              <a:custGeom>
                <a:avLst/>
                <a:gdLst>
                  <a:gd name="T0" fmla="*/ 1256 w 1256"/>
                  <a:gd name="T1" fmla="*/ 125 h 895"/>
                  <a:gd name="T2" fmla="*/ 1214 w 1256"/>
                  <a:gd name="T3" fmla="*/ 127 h 895"/>
                  <a:gd name="T4" fmla="*/ 1094 w 1256"/>
                  <a:gd name="T5" fmla="*/ 124 h 895"/>
                  <a:gd name="T6" fmla="*/ 1042 w 1256"/>
                  <a:gd name="T7" fmla="*/ 126 h 895"/>
                  <a:gd name="T8" fmla="*/ 996 w 1256"/>
                  <a:gd name="T9" fmla="*/ 139 h 895"/>
                  <a:gd name="T10" fmla="*/ 971 w 1256"/>
                  <a:gd name="T11" fmla="*/ 155 h 895"/>
                  <a:gd name="T12" fmla="*/ 942 w 1256"/>
                  <a:gd name="T13" fmla="*/ 190 h 895"/>
                  <a:gd name="T14" fmla="*/ 895 w 1256"/>
                  <a:gd name="T15" fmla="*/ 277 h 895"/>
                  <a:gd name="T16" fmla="*/ 872 w 1256"/>
                  <a:gd name="T17" fmla="*/ 319 h 895"/>
                  <a:gd name="T18" fmla="*/ 792 w 1256"/>
                  <a:gd name="T19" fmla="*/ 443 h 895"/>
                  <a:gd name="T20" fmla="*/ 764 w 1256"/>
                  <a:gd name="T21" fmla="*/ 479 h 895"/>
                  <a:gd name="T22" fmla="*/ 585 w 1256"/>
                  <a:gd name="T23" fmla="*/ 176 h 895"/>
                  <a:gd name="T24" fmla="*/ 470 w 1256"/>
                  <a:gd name="T25" fmla="*/ 0 h 895"/>
                  <a:gd name="T26" fmla="*/ 388 w 1256"/>
                  <a:gd name="T27" fmla="*/ 0 h 895"/>
                  <a:gd name="T28" fmla="*/ 538 w 1256"/>
                  <a:gd name="T29" fmla="*/ 250 h 895"/>
                  <a:gd name="T30" fmla="*/ 648 w 1256"/>
                  <a:gd name="T31" fmla="*/ 436 h 895"/>
                  <a:gd name="T32" fmla="*/ 576 w 1256"/>
                  <a:gd name="T33" fmla="*/ 505 h 895"/>
                  <a:gd name="T34" fmla="*/ 286 w 1256"/>
                  <a:gd name="T35" fmla="*/ 532 h 895"/>
                  <a:gd name="T36" fmla="*/ 185 w 1256"/>
                  <a:gd name="T37" fmla="*/ 547 h 895"/>
                  <a:gd name="T38" fmla="*/ 128 w 1256"/>
                  <a:gd name="T39" fmla="*/ 560 h 895"/>
                  <a:gd name="T40" fmla="*/ 87 w 1256"/>
                  <a:gd name="T41" fmla="*/ 579 h 895"/>
                  <a:gd name="T42" fmla="*/ 58 w 1256"/>
                  <a:gd name="T43" fmla="*/ 610 h 895"/>
                  <a:gd name="T44" fmla="*/ 36 w 1256"/>
                  <a:gd name="T45" fmla="*/ 656 h 895"/>
                  <a:gd name="T46" fmla="*/ 25 w 1256"/>
                  <a:gd name="T47" fmla="*/ 700 h 895"/>
                  <a:gd name="T48" fmla="*/ 5 w 1256"/>
                  <a:gd name="T49" fmla="*/ 787 h 895"/>
                  <a:gd name="T50" fmla="*/ 0 w 1256"/>
                  <a:gd name="T51" fmla="*/ 838 h 895"/>
                  <a:gd name="T52" fmla="*/ 7 w 1256"/>
                  <a:gd name="T53" fmla="*/ 868 h 895"/>
                  <a:gd name="T54" fmla="*/ 18 w 1256"/>
                  <a:gd name="T55" fmla="*/ 882 h 895"/>
                  <a:gd name="T56" fmla="*/ 38 w 1256"/>
                  <a:gd name="T57" fmla="*/ 892 h 895"/>
                  <a:gd name="T58" fmla="*/ 75 w 1256"/>
                  <a:gd name="T59" fmla="*/ 895 h 895"/>
                  <a:gd name="T60" fmla="*/ 163 w 1256"/>
                  <a:gd name="T61" fmla="*/ 894 h 895"/>
                  <a:gd name="T62" fmla="*/ 176 w 1256"/>
                  <a:gd name="T63" fmla="*/ 837 h 895"/>
                  <a:gd name="T64" fmla="*/ 210 w 1256"/>
                  <a:gd name="T65" fmla="*/ 760 h 895"/>
                  <a:gd name="T66" fmla="*/ 251 w 1256"/>
                  <a:gd name="T67" fmla="*/ 706 h 895"/>
                  <a:gd name="T68" fmla="*/ 281 w 1256"/>
                  <a:gd name="T69" fmla="*/ 680 h 895"/>
                  <a:gd name="T70" fmla="*/ 315 w 1256"/>
                  <a:gd name="T71" fmla="*/ 659 h 895"/>
                  <a:gd name="T72" fmla="*/ 352 w 1256"/>
                  <a:gd name="T73" fmla="*/ 642 h 895"/>
                  <a:gd name="T74" fmla="*/ 394 w 1256"/>
                  <a:gd name="T75" fmla="*/ 633 h 895"/>
                  <a:gd name="T76" fmla="*/ 439 w 1256"/>
                  <a:gd name="T77" fmla="*/ 629 h 895"/>
                  <a:gd name="T78" fmla="*/ 470 w 1256"/>
                  <a:gd name="T79" fmla="*/ 631 h 895"/>
                  <a:gd name="T80" fmla="*/ 546 w 1256"/>
                  <a:gd name="T81" fmla="*/ 648 h 895"/>
                  <a:gd name="T82" fmla="*/ 610 w 1256"/>
                  <a:gd name="T83" fmla="*/ 681 h 895"/>
                  <a:gd name="T84" fmla="*/ 659 w 1256"/>
                  <a:gd name="T85" fmla="*/ 731 h 895"/>
                  <a:gd name="T86" fmla="*/ 696 w 1256"/>
                  <a:gd name="T87" fmla="*/ 794 h 895"/>
                  <a:gd name="T88" fmla="*/ 720 w 1256"/>
                  <a:gd name="T89" fmla="*/ 867 h 895"/>
                  <a:gd name="T90" fmla="*/ 1226 w 1256"/>
                  <a:gd name="T91" fmla="*/ 894 h 895"/>
                  <a:gd name="T92" fmla="*/ 863 w 1256"/>
                  <a:gd name="T93" fmla="*/ 488 h 895"/>
                  <a:gd name="T94" fmla="*/ 945 w 1256"/>
                  <a:gd name="T95" fmla="*/ 341 h 895"/>
                  <a:gd name="T96" fmla="*/ 964 w 1256"/>
                  <a:gd name="T97" fmla="*/ 303 h 895"/>
                  <a:gd name="T98" fmla="*/ 993 w 1256"/>
                  <a:gd name="T99" fmla="*/ 247 h 895"/>
                  <a:gd name="T100" fmla="*/ 1015 w 1256"/>
                  <a:gd name="T101" fmla="*/ 220 h 895"/>
                  <a:gd name="T102" fmla="*/ 1039 w 1256"/>
                  <a:gd name="T103" fmla="*/ 204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56" h="895">
                    <a:moveTo>
                      <a:pt x="1256" y="203"/>
                    </a:moveTo>
                    <a:lnTo>
                      <a:pt x="1256" y="203"/>
                    </a:lnTo>
                    <a:lnTo>
                      <a:pt x="1256" y="125"/>
                    </a:lnTo>
                    <a:lnTo>
                      <a:pt x="1256" y="125"/>
                    </a:lnTo>
                    <a:lnTo>
                      <a:pt x="1235" y="126"/>
                    </a:lnTo>
                    <a:lnTo>
                      <a:pt x="1214" y="127"/>
                    </a:lnTo>
                    <a:lnTo>
                      <a:pt x="1172" y="126"/>
                    </a:lnTo>
                    <a:lnTo>
                      <a:pt x="1132" y="125"/>
                    </a:lnTo>
                    <a:lnTo>
                      <a:pt x="1094" y="124"/>
                    </a:lnTo>
                    <a:lnTo>
                      <a:pt x="1076" y="124"/>
                    </a:lnTo>
                    <a:lnTo>
                      <a:pt x="1059" y="125"/>
                    </a:lnTo>
                    <a:lnTo>
                      <a:pt x="1042" y="126"/>
                    </a:lnTo>
                    <a:lnTo>
                      <a:pt x="1025" y="129"/>
                    </a:lnTo>
                    <a:lnTo>
                      <a:pt x="1010" y="134"/>
                    </a:lnTo>
                    <a:lnTo>
                      <a:pt x="996" y="139"/>
                    </a:lnTo>
                    <a:lnTo>
                      <a:pt x="983" y="147"/>
                    </a:lnTo>
                    <a:lnTo>
                      <a:pt x="971" y="155"/>
                    </a:lnTo>
                    <a:lnTo>
                      <a:pt x="971" y="155"/>
                    </a:lnTo>
                    <a:lnTo>
                      <a:pt x="964" y="163"/>
                    </a:lnTo>
                    <a:lnTo>
                      <a:pt x="956" y="172"/>
                    </a:lnTo>
                    <a:lnTo>
                      <a:pt x="942" y="190"/>
                    </a:lnTo>
                    <a:lnTo>
                      <a:pt x="929" y="209"/>
                    </a:lnTo>
                    <a:lnTo>
                      <a:pt x="917" y="232"/>
                    </a:lnTo>
                    <a:lnTo>
                      <a:pt x="895" y="277"/>
                    </a:lnTo>
                    <a:lnTo>
                      <a:pt x="884" y="299"/>
                    </a:lnTo>
                    <a:lnTo>
                      <a:pt x="872" y="319"/>
                    </a:lnTo>
                    <a:lnTo>
                      <a:pt x="872" y="319"/>
                    </a:lnTo>
                    <a:lnTo>
                      <a:pt x="845" y="363"/>
                    </a:lnTo>
                    <a:lnTo>
                      <a:pt x="819" y="404"/>
                    </a:lnTo>
                    <a:lnTo>
                      <a:pt x="792" y="443"/>
                    </a:lnTo>
                    <a:lnTo>
                      <a:pt x="778" y="461"/>
                    </a:lnTo>
                    <a:lnTo>
                      <a:pt x="764" y="479"/>
                    </a:lnTo>
                    <a:lnTo>
                      <a:pt x="764" y="479"/>
                    </a:lnTo>
                    <a:lnTo>
                      <a:pt x="693" y="357"/>
                    </a:lnTo>
                    <a:lnTo>
                      <a:pt x="620" y="236"/>
                    </a:lnTo>
                    <a:lnTo>
                      <a:pt x="585" y="176"/>
                    </a:lnTo>
                    <a:lnTo>
                      <a:pt x="547" y="116"/>
                    </a:lnTo>
                    <a:lnTo>
                      <a:pt x="509" y="57"/>
                    </a:lnTo>
                    <a:lnTo>
                      <a:pt x="470" y="0"/>
                    </a:lnTo>
                    <a:lnTo>
                      <a:pt x="470" y="0"/>
                    </a:lnTo>
                    <a:lnTo>
                      <a:pt x="388" y="0"/>
                    </a:lnTo>
                    <a:lnTo>
                      <a:pt x="388" y="0"/>
                    </a:lnTo>
                    <a:lnTo>
                      <a:pt x="424" y="62"/>
                    </a:lnTo>
                    <a:lnTo>
                      <a:pt x="462" y="125"/>
                    </a:lnTo>
                    <a:lnTo>
                      <a:pt x="538" y="250"/>
                    </a:lnTo>
                    <a:lnTo>
                      <a:pt x="576" y="313"/>
                    </a:lnTo>
                    <a:lnTo>
                      <a:pt x="613" y="375"/>
                    </a:lnTo>
                    <a:lnTo>
                      <a:pt x="648" y="436"/>
                    </a:lnTo>
                    <a:lnTo>
                      <a:pt x="682" y="497"/>
                    </a:lnTo>
                    <a:lnTo>
                      <a:pt x="682" y="497"/>
                    </a:lnTo>
                    <a:lnTo>
                      <a:pt x="576" y="505"/>
                    </a:lnTo>
                    <a:lnTo>
                      <a:pt x="459" y="515"/>
                    </a:lnTo>
                    <a:lnTo>
                      <a:pt x="342" y="526"/>
                    </a:lnTo>
                    <a:lnTo>
                      <a:pt x="286" y="532"/>
                    </a:lnTo>
                    <a:lnTo>
                      <a:pt x="233" y="540"/>
                    </a:lnTo>
                    <a:lnTo>
                      <a:pt x="233" y="540"/>
                    </a:lnTo>
                    <a:lnTo>
                      <a:pt x="185" y="547"/>
                    </a:lnTo>
                    <a:lnTo>
                      <a:pt x="165" y="552"/>
                    </a:lnTo>
                    <a:lnTo>
                      <a:pt x="145" y="555"/>
                    </a:lnTo>
                    <a:lnTo>
                      <a:pt x="128" y="560"/>
                    </a:lnTo>
                    <a:lnTo>
                      <a:pt x="113" y="566"/>
                    </a:lnTo>
                    <a:lnTo>
                      <a:pt x="99" y="572"/>
                    </a:lnTo>
                    <a:lnTo>
                      <a:pt x="87" y="579"/>
                    </a:lnTo>
                    <a:lnTo>
                      <a:pt x="76" y="587"/>
                    </a:lnTo>
                    <a:lnTo>
                      <a:pt x="66" y="598"/>
                    </a:lnTo>
                    <a:lnTo>
                      <a:pt x="58" y="610"/>
                    </a:lnTo>
                    <a:lnTo>
                      <a:pt x="49" y="623"/>
                    </a:lnTo>
                    <a:lnTo>
                      <a:pt x="43" y="639"/>
                    </a:lnTo>
                    <a:lnTo>
                      <a:pt x="36" y="656"/>
                    </a:lnTo>
                    <a:lnTo>
                      <a:pt x="31" y="677"/>
                    </a:lnTo>
                    <a:lnTo>
                      <a:pt x="25" y="700"/>
                    </a:lnTo>
                    <a:lnTo>
                      <a:pt x="25" y="700"/>
                    </a:lnTo>
                    <a:lnTo>
                      <a:pt x="16" y="737"/>
                    </a:lnTo>
                    <a:lnTo>
                      <a:pt x="9" y="762"/>
                    </a:lnTo>
                    <a:lnTo>
                      <a:pt x="5" y="787"/>
                    </a:lnTo>
                    <a:lnTo>
                      <a:pt x="0" y="813"/>
                    </a:lnTo>
                    <a:lnTo>
                      <a:pt x="0" y="826"/>
                    </a:lnTo>
                    <a:lnTo>
                      <a:pt x="0" y="838"/>
                    </a:lnTo>
                    <a:lnTo>
                      <a:pt x="1" y="849"/>
                    </a:lnTo>
                    <a:lnTo>
                      <a:pt x="4" y="859"/>
                    </a:lnTo>
                    <a:lnTo>
                      <a:pt x="7" y="868"/>
                    </a:lnTo>
                    <a:lnTo>
                      <a:pt x="12" y="877"/>
                    </a:lnTo>
                    <a:lnTo>
                      <a:pt x="12" y="877"/>
                    </a:lnTo>
                    <a:lnTo>
                      <a:pt x="18" y="882"/>
                    </a:lnTo>
                    <a:lnTo>
                      <a:pt x="23" y="886"/>
                    </a:lnTo>
                    <a:lnTo>
                      <a:pt x="31" y="890"/>
                    </a:lnTo>
                    <a:lnTo>
                      <a:pt x="38" y="892"/>
                    </a:lnTo>
                    <a:lnTo>
                      <a:pt x="47" y="894"/>
                    </a:lnTo>
                    <a:lnTo>
                      <a:pt x="55" y="895"/>
                    </a:lnTo>
                    <a:lnTo>
                      <a:pt x="75" y="895"/>
                    </a:lnTo>
                    <a:lnTo>
                      <a:pt x="119" y="893"/>
                    </a:lnTo>
                    <a:lnTo>
                      <a:pt x="142" y="893"/>
                    </a:lnTo>
                    <a:lnTo>
                      <a:pt x="163" y="894"/>
                    </a:lnTo>
                    <a:lnTo>
                      <a:pt x="163" y="894"/>
                    </a:lnTo>
                    <a:lnTo>
                      <a:pt x="169" y="865"/>
                    </a:lnTo>
                    <a:lnTo>
                      <a:pt x="176" y="837"/>
                    </a:lnTo>
                    <a:lnTo>
                      <a:pt x="185" y="810"/>
                    </a:lnTo>
                    <a:lnTo>
                      <a:pt x="197" y="784"/>
                    </a:lnTo>
                    <a:lnTo>
                      <a:pt x="210" y="760"/>
                    </a:lnTo>
                    <a:lnTo>
                      <a:pt x="225" y="737"/>
                    </a:lnTo>
                    <a:lnTo>
                      <a:pt x="242" y="716"/>
                    </a:lnTo>
                    <a:lnTo>
                      <a:pt x="251" y="706"/>
                    </a:lnTo>
                    <a:lnTo>
                      <a:pt x="261" y="697"/>
                    </a:lnTo>
                    <a:lnTo>
                      <a:pt x="270" y="689"/>
                    </a:lnTo>
                    <a:lnTo>
                      <a:pt x="281" y="680"/>
                    </a:lnTo>
                    <a:lnTo>
                      <a:pt x="292" y="673"/>
                    </a:lnTo>
                    <a:lnTo>
                      <a:pt x="303" y="665"/>
                    </a:lnTo>
                    <a:lnTo>
                      <a:pt x="315" y="659"/>
                    </a:lnTo>
                    <a:lnTo>
                      <a:pt x="327" y="653"/>
                    </a:lnTo>
                    <a:lnTo>
                      <a:pt x="340" y="648"/>
                    </a:lnTo>
                    <a:lnTo>
                      <a:pt x="352" y="642"/>
                    </a:lnTo>
                    <a:lnTo>
                      <a:pt x="365" y="639"/>
                    </a:lnTo>
                    <a:lnTo>
                      <a:pt x="379" y="636"/>
                    </a:lnTo>
                    <a:lnTo>
                      <a:pt x="394" y="633"/>
                    </a:lnTo>
                    <a:lnTo>
                      <a:pt x="409" y="631"/>
                    </a:lnTo>
                    <a:lnTo>
                      <a:pt x="423" y="629"/>
                    </a:lnTo>
                    <a:lnTo>
                      <a:pt x="439" y="629"/>
                    </a:lnTo>
                    <a:lnTo>
                      <a:pt x="454" y="629"/>
                    </a:lnTo>
                    <a:lnTo>
                      <a:pt x="470" y="631"/>
                    </a:lnTo>
                    <a:lnTo>
                      <a:pt x="470" y="631"/>
                    </a:lnTo>
                    <a:lnTo>
                      <a:pt x="497" y="634"/>
                    </a:lnTo>
                    <a:lnTo>
                      <a:pt x="522" y="640"/>
                    </a:lnTo>
                    <a:lnTo>
                      <a:pt x="546" y="648"/>
                    </a:lnTo>
                    <a:lnTo>
                      <a:pt x="568" y="658"/>
                    </a:lnTo>
                    <a:lnTo>
                      <a:pt x="590" y="668"/>
                    </a:lnTo>
                    <a:lnTo>
                      <a:pt x="610" y="681"/>
                    </a:lnTo>
                    <a:lnTo>
                      <a:pt x="628" y="696"/>
                    </a:lnTo>
                    <a:lnTo>
                      <a:pt x="644" y="714"/>
                    </a:lnTo>
                    <a:lnTo>
                      <a:pt x="659" y="731"/>
                    </a:lnTo>
                    <a:lnTo>
                      <a:pt x="673" y="750"/>
                    </a:lnTo>
                    <a:lnTo>
                      <a:pt x="685" y="772"/>
                    </a:lnTo>
                    <a:lnTo>
                      <a:pt x="696" y="794"/>
                    </a:lnTo>
                    <a:lnTo>
                      <a:pt x="706" y="817"/>
                    </a:lnTo>
                    <a:lnTo>
                      <a:pt x="713" y="842"/>
                    </a:lnTo>
                    <a:lnTo>
                      <a:pt x="720" y="867"/>
                    </a:lnTo>
                    <a:lnTo>
                      <a:pt x="725" y="894"/>
                    </a:lnTo>
                    <a:lnTo>
                      <a:pt x="725" y="894"/>
                    </a:lnTo>
                    <a:lnTo>
                      <a:pt x="1226" y="894"/>
                    </a:lnTo>
                    <a:lnTo>
                      <a:pt x="1231" y="492"/>
                    </a:lnTo>
                    <a:lnTo>
                      <a:pt x="863" y="488"/>
                    </a:lnTo>
                    <a:lnTo>
                      <a:pt x="863" y="488"/>
                    </a:lnTo>
                    <a:lnTo>
                      <a:pt x="892" y="435"/>
                    </a:lnTo>
                    <a:lnTo>
                      <a:pt x="918" y="386"/>
                    </a:lnTo>
                    <a:lnTo>
                      <a:pt x="945" y="341"/>
                    </a:lnTo>
                    <a:lnTo>
                      <a:pt x="945" y="341"/>
                    </a:lnTo>
                    <a:lnTo>
                      <a:pt x="954" y="325"/>
                    </a:lnTo>
                    <a:lnTo>
                      <a:pt x="964" y="303"/>
                    </a:lnTo>
                    <a:lnTo>
                      <a:pt x="975" y="281"/>
                    </a:lnTo>
                    <a:lnTo>
                      <a:pt x="986" y="258"/>
                    </a:lnTo>
                    <a:lnTo>
                      <a:pt x="993" y="247"/>
                    </a:lnTo>
                    <a:lnTo>
                      <a:pt x="999" y="237"/>
                    </a:lnTo>
                    <a:lnTo>
                      <a:pt x="1007" y="228"/>
                    </a:lnTo>
                    <a:lnTo>
                      <a:pt x="1015" y="220"/>
                    </a:lnTo>
                    <a:lnTo>
                      <a:pt x="1022" y="213"/>
                    </a:lnTo>
                    <a:lnTo>
                      <a:pt x="1031" y="207"/>
                    </a:lnTo>
                    <a:lnTo>
                      <a:pt x="1039" y="204"/>
                    </a:lnTo>
                    <a:lnTo>
                      <a:pt x="1049" y="203"/>
                    </a:lnTo>
                    <a:lnTo>
                      <a:pt x="1256" y="20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92" name="Freeform 13"/>
              <p:cNvSpPr>
                <a:spLocks/>
              </p:cNvSpPr>
              <p:nvPr/>
            </p:nvSpPr>
            <p:spPr bwMode="auto">
              <a:xfrm>
                <a:off x="7142701" y="3555387"/>
                <a:ext cx="250825" cy="215900"/>
              </a:xfrm>
              <a:custGeom>
                <a:avLst/>
                <a:gdLst>
                  <a:gd name="T0" fmla="*/ 475 w 475"/>
                  <a:gd name="T1" fmla="*/ 311 h 410"/>
                  <a:gd name="T2" fmla="*/ 475 w 475"/>
                  <a:gd name="T3" fmla="*/ 311 h 410"/>
                  <a:gd name="T4" fmla="*/ 463 w 475"/>
                  <a:gd name="T5" fmla="*/ 325 h 410"/>
                  <a:gd name="T6" fmla="*/ 449 w 475"/>
                  <a:gd name="T7" fmla="*/ 338 h 410"/>
                  <a:gd name="T8" fmla="*/ 435 w 475"/>
                  <a:gd name="T9" fmla="*/ 350 h 410"/>
                  <a:gd name="T10" fmla="*/ 420 w 475"/>
                  <a:gd name="T11" fmla="*/ 362 h 410"/>
                  <a:gd name="T12" fmla="*/ 389 w 475"/>
                  <a:gd name="T13" fmla="*/ 384 h 410"/>
                  <a:gd name="T14" fmla="*/ 375 w 475"/>
                  <a:gd name="T15" fmla="*/ 397 h 410"/>
                  <a:gd name="T16" fmla="*/ 362 w 475"/>
                  <a:gd name="T17" fmla="*/ 410 h 410"/>
                  <a:gd name="T18" fmla="*/ 362 w 475"/>
                  <a:gd name="T19" fmla="*/ 410 h 410"/>
                  <a:gd name="T20" fmla="*/ 345 w 475"/>
                  <a:gd name="T21" fmla="*/ 391 h 410"/>
                  <a:gd name="T22" fmla="*/ 328 w 475"/>
                  <a:gd name="T23" fmla="*/ 372 h 410"/>
                  <a:gd name="T24" fmla="*/ 309 w 475"/>
                  <a:gd name="T25" fmla="*/ 354 h 410"/>
                  <a:gd name="T26" fmla="*/ 290 w 475"/>
                  <a:gd name="T27" fmla="*/ 338 h 410"/>
                  <a:gd name="T28" fmla="*/ 271 w 475"/>
                  <a:gd name="T29" fmla="*/ 322 h 410"/>
                  <a:gd name="T30" fmla="*/ 250 w 475"/>
                  <a:gd name="T31" fmla="*/ 305 h 410"/>
                  <a:gd name="T32" fmla="*/ 228 w 475"/>
                  <a:gd name="T33" fmla="*/ 290 h 410"/>
                  <a:gd name="T34" fmla="*/ 207 w 475"/>
                  <a:gd name="T35" fmla="*/ 276 h 410"/>
                  <a:gd name="T36" fmla="*/ 183 w 475"/>
                  <a:gd name="T37" fmla="*/ 263 h 410"/>
                  <a:gd name="T38" fmla="*/ 159 w 475"/>
                  <a:gd name="T39" fmla="*/ 251 h 410"/>
                  <a:gd name="T40" fmla="*/ 136 w 475"/>
                  <a:gd name="T41" fmla="*/ 240 h 410"/>
                  <a:gd name="T42" fmla="*/ 110 w 475"/>
                  <a:gd name="T43" fmla="*/ 229 h 410"/>
                  <a:gd name="T44" fmla="*/ 84 w 475"/>
                  <a:gd name="T45" fmla="*/ 219 h 410"/>
                  <a:gd name="T46" fmla="*/ 57 w 475"/>
                  <a:gd name="T47" fmla="*/ 209 h 410"/>
                  <a:gd name="T48" fmla="*/ 29 w 475"/>
                  <a:gd name="T49" fmla="*/ 202 h 410"/>
                  <a:gd name="T50" fmla="*/ 0 w 475"/>
                  <a:gd name="T51" fmla="*/ 194 h 410"/>
                  <a:gd name="T52" fmla="*/ 0 w 475"/>
                  <a:gd name="T53" fmla="*/ 194 h 410"/>
                  <a:gd name="T54" fmla="*/ 0 w 475"/>
                  <a:gd name="T55" fmla="*/ 0 h 410"/>
                  <a:gd name="T56" fmla="*/ 0 w 475"/>
                  <a:gd name="T57" fmla="*/ 0 h 410"/>
                  <a:gd name="T58" fmla="*/ 39 w 475"/>
                  <a:gd name="T59" fmla="*/ 8 h 410"/>
                  <a:gd name="T60" fmla="*/ 78 w 475"/>
                  <a:gd name="T61" fmla="*/ 19 h 410"/>
                  <a:gd name="T62" fmla="*/ 116 w 475"/>
                  <a:gd name="T63" fmla="*/ 31 h 410"/>
                  <a:gd name="T64" fmla="*/ 152 w 475"/>
                  <a:gd name="T65" fmla="*/ 44 h 410"/>
                  <a:gd name="T66" fmla="*/ 186 w 475"/>
                  <a:gd name="T67" fmla="*/ 59 h 410"/>
                  <a:gd name="T68" fmla="*/ 219 w 475"/>
                  <a:gd name="T69" fmla="*/ 75 h 410"/>
                  <a:gd name="T70" fmla="*/ 250 w 475"/>
                  <a:gd name="T71" fmla="*/ 94 h 410"/>
                  <a:gd name="T72" fmla="*/ 279 w 475"/>
                  <a:gd name="T73" fmla="*/ 113 h 410"/>
                  <a:gd name="T74" fmla="*/ 308 w 475"/>
                  <a:gd name="T75" fmla="*/ 134 h 410"/>
                  <a:gd name="T76" fmla="*/ 335 w 475"/>
                  <a:gd name="T77" fmla="*/ 155 h 410"/>
                  <a:gd name="T78" fmla="*/ 361 w 475"/>
                  <a:gd name="T79" fmla="*/ 178 h 410"/>
                  <a:gd name="T80" fmla="*/ 386 w 475"/>
                  <a:gd name="T81" fmla="*/ 203 h 410"/>
                  <a:gd name="T82" fmla="*/ 410 w 475"/>
                  <a:gd name="T83" fmla="*/ 228 h 410"/>
                  <a:gd name="T84" fmla="*/ 433 w 475"/>
                  <a:gd name="T85" fmla="*/ 255 h 410"/>
                  <a:gd name="T86" fmla="*/ 454 w 475"/>
                  <a:gd name="T87" fmla="*/ 282 h 410"/>
                  <a:gd name="T88" fmla="*/ 475 w 475"/>
                  <a:gd name="T89" fmla="*/ 311 h 410"/>
                  <a:gd name="T90" fmla="*/ 475 w 475"/>
                  <a:gd name="T91" fmla="*/ 311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5" h="410">
                    <a:moveTo>
                      <a:pt x="475" y="311"/>
                    </a:moveTo>
                    <a:lnTo>
                      <a:pt x="475" y="311"/>
                    </a:lnTo>
                    <a:lnTo>
                      <a:pt x="463" y="325"/>
                    </a:lnTo>
                    <a:lnTo>
                      <a:pt x="449" y="338"/>
                    </a:lnTo>
                    <a:lnTo>
                      <a:pt x="435" y="350"/>
                    </a:lnTo>
                    <a:lnTo>
                      <a:pt x="420" y="362"/>
                    </a:lnTo>
                    <a:lnTo>
                      <a:pt x="389" y="384"/>
                    </a:lnTo>
                    <a:lnTo>
                      <a:pt x="375" y="397"/>
                    </a:lnTo>
                    <a:lnTo>
                      <a:pt x="362" y="410"/>
                    </a:lnTo>
                    <a:lnTo>
                      <a:pt x="362" y="410"/>
                    </a:lnTo>
                    <a:lnTo>
                      <a:pt x="345" y="391"/>
                    </a:lnTo>
                    <a:lnTo>
                      <a:pt x="328" y="372"/>
                    </a:lnTo>
                    <a:lnTo>
                      <a:pt x="309" y="354"/>
                    </a:lnTo>
                    <a:lnTo>
                      <a:pt x="290" y="338"/>
                    </a:lnTo>
                    <a:lnTo>
                      <a:pt x="271" y="322"/>
                    </a:lnTo>
                    <a:lnTo>
                      <a:pt x="250" y="305"/>
                    </a:lnTo>
                    <a:lnTo>
                      <a:pt x="228" y="290"/>
                    </a:lnTo>
                    <a:lnTo>
                      <a:pt x="207" y="276"/>
                    </a:lnTo>
                    <a:lnTo>
                      <a:pt x="183" y="263"/>
                    </a:lnTo>
                    <a:lnTo>
                      <a:pt x="159" y="251"/>
                    </a:lnTo>
                    <a:lnTo>
                      <a:pt x="136" y="240"/>
                    </a:lnTo>
                    <a:lnTo>
                      <a:pt x="110" y="229"/>
                    </a:lnTo>
                    <a:lnTo>
                      <a:pt x="84" y="219"/>
                    </a:lnTo>
                    <a:lnTo>
                      <a:pt x="57" y="209"/>
                    </a:lnTo>
                    <a:lnTo>
                      <a:pt x="29" y="202"/>
                    </a:lnTo>
                    <a:lnTo>
                      <a:pt x="0" y="194"/>
                    </a:lnTo>
                    <a:lnTo>
                      <a:pt x="0" y="194"/>
                    </a:lnTo>
                    <a:lnTo>
                      <a:pt x="0" y="0"/>
                    </a:lnTo>
                    <a:lnTo>
                      <a:pt x="0" y="0"/>
                    </a:lnTo>
                    <a:lnTo>
                      <a:pt x="39" y="8"/>
                    </a:lnTo>
                    <a:lnTo>
                      <a:pt x="78" y="19"/>
                    </a:lnTo>
                    <a:lnTo>
                      <a:pt x="116" y="31"/>
                    </a:lnTo>
                    <a:lnTo>
                      <a:pt x="152" y="44"/>
                    </a:lnTo>
                    <a:lnTo>
                      <a:pt x="186" y="59"/>
                    </a:lnTo>
                    <a:lnTo>
                      <a:pt x="219" y="75"/>
                    </a:lnTo>
                    <a:lnTo>
                      <a:pt x="250" y="94"/>
                    </a:lnTo>
                    <a:lnTo>
                      <a:pt x="279" y="113"/>
                    </a:lnTo>
                    <a:lnTo>
                      <a:pt x="308" y="134"/>
                    </a:lnTo>
                    <a:lnTo>
                      <a:pt x="335" y="155"/>
                    </a:lnTo>
                    <a:lnTo>
                      <a:pt x="361" y="178"/>
                    </a:lnTo>
                    <a:lnTo>
                      <a:pt x="386" y="203"/>
                    </a:lnTo>
                    <a:lnTo>
                      <a:pt x="410" y="228"/>
                    </a:lnTo>
                    <a:lnTo>
                      <a:pt x="433" y="255"/>
                    </a:lnTo>
                    <a:lnTo>
                      <a:pt x="454" y="282"/>
                    </a:lnTo>
                    <a:lnTo>
                      <a:pt x="475" y="311"/>
                    </a:lnTo>
                    <a:lnTo>
                      <a:pt x="475" y="31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93" name="Freeform 14"/>
              <p:cNvSpPr>
                <a:spLocks/>
              </p:cNvSpPr>
              <p:nvPr/>
            </p:nvSpPr>
            <p:spPr bwMode="auto">
              <a:xfrm>
                <a:off x="7330026" y="3768112"/>
                <a:ext cx="107950" cy="203200"/>
              </a:xfrm>
              <a:custGeom>
                <a:avLst/>
                <a:gdLst>
                  <a:gd name="T0" fmla="*/ 100 w 205"/>
                  <a:gd name="T1" fmla="*/ 0 h 385"/>
                  <a:gd name="T2" fmla="*/ 100 w 205"/>
                  <a:gd name="T3" fmla="*/ 0 h 385"/>
                  <a:gd name="T4" fmla="*/ 104 w 205"/>
                  <a:gd name="T5" fmla="*/ 11 h 385"/>
                  <a:gd name="T6" fmla="*/ 110 w 205"/>
                  <a:gd name="T7" fmla="*/ 25 h 385"/>
                  <a:gd name="T8" fmla="*/ 125 w 205"/>
                  <a:gd name="T9" fmla="*/ 58 h 385"/>
                  <a:gd name="T10" fmla="*/ 143 w 205"/>
                  <a:gd name="T11" fmla="*/ 96 h 385"/>
                  <a:gd name="T12" fmla="*/ 162 w 205"/>
                  <a:gd name="T13" fmla="*/ 137 h 385"/>
                  <a:gd name="T14" fmla="*/ 180 w 205"/>
                  <a:gd name="T15" fmla="*/ 179 h 385"/>
                  <a:gd name="T16" fmla="*/ 188 w 205"/>
                  <a:gd name="T17" fmla="*/ 200 h 385"/>
                  <a:gd name="T18" fmla="*/ 194 w 205"/>
                  <a:gd name="T19" fmla="*/ 221 h 385"/>
                  <a:gd name="T20" fmla="*/ 199 w 205"/>
                  <a:gd name="T21" fmla="*/ 241 h 385"/>
                  <a:gd name="T22" fmla="*/ 203 w 205"/>
                  <a:gd name="T23" fmla="*/ 261 h 385"/>
                  <a:gd name="T24" fmla="*/ 205 w 205"/>
                  <a:gd name="T25" fmla="*/ 280 h 385"/>
                  <a:gd name="T26" fmla="*/ 204 w 205"/>
                  <a:gd name="T27" fmla="*/ 298 h 385"/>
                  <a:gd name="T28" fmla="*/ 204 w 205"/>
                  <a:gd name="T29" fmla="*/ 298 h 385"/>
                  <a:gd name="T30" fmla="*/ 203 w 205"/>
                  <a:gd name="T31" fmla="*/ 308 h 385"/>
                  <a:gd name="T32" fmla="*/ 199 w 205"/>
                  <a:gd name="T33" fmla="*/ 318 h 385"/>
                  <a:gd name="T34" fmla="*/ 196 w 205"/>
                  <a:gd name="T35" fmla="*/ 327 h 385"/>
                  <a:gd name="T36" fmla="*/ 192 w 205"/>
                  <a:gd name="T37" fmla="*/ 335 h 385"/>
                  <a:gd name="T38" fmla="*/ 188 w 205"/>
                  <a:gd name="T39" fmla="*/ 343 h 385"/>
                  <a:gd name="T40" fmla="*/ 182 w 205"/>
                  <a:gd name="T41" fmla="*/ 349 h 385"/>
                  <a:gd name="T42" fmla="*/ 176 w 205"/>
                  <a:gd name="T43" fmla="*/ 356 h 385"/>
                  <a:gd name="T44" fmla="*/ 169 w 205"/>
                  <a:gd name="T45" fmla="*/ 362 h 385"/>
                  <a:gd name="T46" fmla="*/ 162 w 205"/>
                  <a:gd name="T47" fmla="*/ 367 h 385"/>
                  <a:gd name="T48" fmla="*/ 154 w 205"/>
                  <a:gd name="T49" fmla="*/ 372 h 385"/>
                  <a:gd name="T50" fmla="*/ 147 w 205"/>
                  <a:gd name="T51" fmla="*/ 375 h 385"/>
                  <a:gd name="T52" fmla="*/ 138 w 205"/>
                  <a:gd name="T53" fmla="*/ 379 h 385"/>
                  <a:gd name="T54" fmla="*/ 130 w 205"/>
                  <a:gd name="T55" fmla="*/ 381 h 385"/>
                  <a:gd name="T56" fmla="*/ 122 w 205"/>
                  <a:gd name="T57" fmla="*/ 383 h 385"/>
                  <a:gd name="T58" fmla="*/ 112 w 205"/>
                  <a:gd name="T59" fmla="*/ 384 h 385"/>
                  <a:gd name="T60" fmla="*/ 103 w 205"/>
                  <a:gd name="T61" fmla="*/ 385 h 385"/>
                  <a:gd name="T62" fmla="*/ 95 w 205"/>
                  <a:gd name="T63" fmla="*/ 385 h 385"/>
                  <a:gd name="T64" fmla="*/ 86 w 205"/>
                  <a:gd name="T65" fmla="*/ 384 h 385"/>
                  <a:gd name="T66" fmla="*/ 77 w 205"/>
                  <a:gd name="T67" fmla="*/ 383 h 385"/>
                  <a:gd name="T68" fmla="*/ 69 w 205"/>
                  <a:gd name="T69" fmla="*/ 381 h 385"/>
                  <a:gd name="T70" fmla="*/ 60 w 205"/>
                  <a:gd name="T71" fmla="*/ 378 h 385"/>
                  <a:gd name="T72" fmla="*/ 53 w 205"/>
                  <a:gd name="T73" fmla="*/ 374 h 385"/>
                  <a:gd name="T74" fmla="*/ 44 w 205"/>
                  <a:gd name="T75" fmla="*/ 370 h 385"/>
                  <a:gd name="T76" fmla="*/ 37 w 205"/>
                  <a:gd name="T77" fmla="*/ 365 h 385"/>
                  <a:gd name="T78" fmla="*/ 30 w 205"/>
                  <a:gd name="T79" fmla="*/ 359 h 385"/>
                  <a:gd name="T80" fmla="*/ 25 w 205"/>
                  <a:gd name="T81" fmla="*/ 354 h 385"/>
                  <a:gd name="T82" fmla="*/ 18 w 205"/>
                  <a:gd name="T83" fmla="*/ 346 h 385"/>
                  <a:gd name="T84" fmla="*/ 14 w 205"/>
                  <a:gd name="T85" fmla="*/ 339 h 385"/>
                  <a:gd name="T86" fmla="*/ 9 w 205"/>
                  <a:gd name="T87" fmla="*/ 331 h 385"/>
                  <a:gd name="T88" fmla="*/ 5 w 205"/>
                  <a:gd name="T89" fmla="*/ 321 h 385"/>
                  <a:gd name="T90" fmla="*/ 3 w 205"/>
                  <a:gd name="T91" fmla="*/ 313 h 385"/>
                  <a:gd name="T92" fmla="*/ 1 w 205"/>
                  <a:gd name="T93" fmla="*/ 302 h 385"/>
                  <a:gd name="T94" fmla="*/ 1 w 205"/>
                  <a:gd name="T95" fmla="*/ 302 h 385"/>
                  <a:gd name="T96" fmla="*/ 0 w 205"/>
                  <a:gd name="T97" fmla="*/ 293 h 385"/>
                  <a:gd name="T98" fmla="*/ 0 w 205"/>
                  <a:gd name="T99" fmla="*/ 284 h 385"/>
                  <a:gd name="T100" fmla="*/ 2 w 205"/>
                  <a:gd name="T101" fmla="*/ 264 h 385"/>
                  <a:gd name="T102" fmla="*/ 5 w 205"/>
                  <a:gd name="T103" fmla="*/ 245 h 385"/>
                  <a:gd name="T104" fmla="*/ 10 w 205"/>
                  <a:gd name="T105" fmla="*/ 224 h 385"/>
                  <a:gd name="T106" fmla="*/ 18 w 205"/>
                  <a:gd name="T107" fmla="*/ 205 h 385"/>
                  <a:gd name="T108" fmla="*/ 25 w 205"/>
                  <a:gd name="T109" fmla="*/ 185 h 385"/>
                  <a:gd name="T110" fmla="*/ 40 w 205"/>
                  <a:gd name="T111" fmla="*/ 146 h 385"/>
                  <a:gd name="T112" fmla="*/ 40 w 205"/>
                  <a:gd name="T113" fmla="*/ 146 h 385"/>
                  <a:gd name="T114" fmla="*/ 55 w 205"/>
                  <a:gd name="T115" fmla="*/ 106 h 385"/>
                  <a:gd name="T116" fmla="*/ 71 w 205"/>
                  <a:gd name="T117" fmla="*/ 69 h 385"/>
                  <a:gd name="T118" fmla="*/ 86 w 205"/>
                  <a:gd name="T119" fmla="*/ 33 h 385"/>
                  <a:gd name="T120" fmla="*/ 100 w 205"/>
                  <a:gd name="T121" fmla="*/ 0 h 385"/>
                  <a:gd name="T122" fmla="*/ 100 w 205"/>
                  <a:gd name="T123"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5" h="385">
                    <a:moveTo>
                      <a:pt x="100" y="0"/>
                    </a:moveTo>
                    <a:lnTo>
                      <a:pt x="100" y="0"/>
                    </a:lnTo>
                    <a:lnTo>
                      <a:pt x="104" y="11"/>
                    </a:lnTo>
                    <a:lnTo>
                      <a:pt x="110" y="25"/>
                    </a:lnTo>
                    <a:lnTo>
                      <a:pt x="125" y="58"/>
                    </a:lnTo>
                    <a:lnTo>
                      <a:pt x="143" y="96"/>
                    </a:lnTo>
                    <a:lnTo>
                      <a:pt x="162" y="137"/>
                    </a:lnTo>
                    <a:lnTo>
                      <a:pt x="180" y="179"/>
                    </a:lnTo>
                    <a:lnTo>
                      <a:pt x="188" y="200"/>
                    </a:lnTo>
                    <a:lnTo>
                      <a:pt x="194" y="221"/>
                    </a:lnTo>
                    <a:lnTo>
                      <a:pt x="199" y="241"/>
                    </a:lnTo>
                    <a:lnTo>
                      <a:pt x="203" y="261"/>
                    </a:lnTo>
                    <a:lnTo>
                      <a:pt x="205" y="280"/>
                    </a:lnTo>
                    <a:lnTo>
                      <a:pt x="204" y="298"/>
                    </a:lnTo>
                    <a:lnTo>
                      <a:pt x="204" y="298"/>
                    </a:lnTo>
                    <a:lnTo>
                      <a:pt x="203" y="308"/>
                    </a:lnTo>
                    <a:lnTo>
                      <a:pt x="199" y="318"/>
                    </a:lnTo>
                    <a:lnTo>
                      <a:pt x="196" y="327"/>
                    </a:lnTo>
                    <a:lnTo>
                      <a:pt x="192" y="335"/>
                    </a:lnTo>
                    <a:lnTo>
                      <a:pt x="188" y="343"/>
                    </a:lnTo>
                    <a:lnTo>
                      <a:pt x="182" y="349"/>
                    </a:lnTo>
                    <a:lnTo>
                      <a:pt x="176" y="356"/>
                    </a:lnTo>
                    <a:lnTo>
                      <a:pt x="169" y="362"/>
                    </a:lnTo>
                    <a:lnTo>
                      <a:pt x="162" y="367"/>
                    </a:lnTo>
                    <a:lnTo>
                      <a:pt x="154" y="372"/>
                    </a:lnTo>
                    <a:lnTo>
                      <a:pt x="147" y="375"/>
                    </a:lnTo>
                    <a:lnTo>
                      <a:pt x="138" y="379"/>
                    </a:lnTo>
                    <a:lnTo>
                      <a:pt x="130" y="381"/>
                    </a:lnTo>
                    <a:lnTo>
                      <a:pt x="122" y="383"/>
                    </a:lnTo>
                    <a:lnTo>
                      <a:pt x="112" y="384"/>
                    </a:lnTo>
                    <a:lnTo>
                      <a:pt x="103" y="385"/>
                    </a:lnTo>
                    <a:lnTo>
                      <a:pt x="95" y="385"/>
                    </a:lnTo>
                    <a:lnTo>
                      <a:pt x="86" y="384"/>
                    </a:lnTo>
                    <a:lnTo>
                      <a:pt x="77" y="383"/>
                    </a:lnTo>
                    <a:lnTo>
                      <a:pt x="69" y="381"/>
                    </a:lnTo>
                    <a:lnTo>
                      <a:pt x="60" y="378"/>
                    </a:lnTo>
                    <a:lnTo>
                      <a:pt x="53" y="374"/>
                    </a:lnTo>
                    <a:lnTo>
                      <a:pt x="44" y="370"/>
                    </a:lnTo>
                    <a:lnTo>
                      <a:pt x="37" y="365"/>
                    </a:lnTo>
                    <a:lnTo>
                      <a:pt x="30" y="359"/>
                    </a:lnTo>
                    <a:lnTo>
                      <a:pt x="25" y="354"/>
                    </a:lnTo>
                    <a:lnTo>
                      <a:pt x="18" y="346"/>
                    </a:lnTo>
                    <a:lnTo>
                      <a:pt x="14" y="339"/>
                    </a:lnTo>
                    <a:lnTo>
                      <a:pt x="9" y="331"/>
                    </a:lnTo>
                    <a:lnTo>
                      <a:pt x="5" y="321"/>
                    </a:lnTo>
                    <a:lnTo>
                      <a:pt x="3" y="313"/>
                    </a:lnTo>
                    <a:lnTo>
                      <a:pt x="1" y="302"/>
                    </a:lnTo>
                    <a:lnTo>
                      <a:pt x="1" y="302"/>
                    </a:lnTo>
                    <a:lnTo>
                      <a:pt x="0" y="293"/>
                    </a:lnTo>
                    <a:lnTo>
                      <a:pt x="0" y="284"/>
                    </a:lnTo>
                    <a:lnTo>
                      <a:pt x="2" y="264"/>
                    </a:lnTo>
                    <a:lnTo>
                      <a:pt x="5" y="245"/>
                    </a:lnTo>
                    <a:lnTo>
                      <a:pt x="10" y="224"/>
                    </a:lnTo>
                    <a:lnTo>
                      <a:pt x="18" y="205"/>
                    </a:lnTo>
                    <a:lnTo>
                      <a:pt x="25" y="185"/>
                    </a:lnTo>
                    <a:lnTo>
                      <a:pt x="40" y="146"/>
                    </a:lnTo>
                    <a:lnTo>
                      <a:pt x="40" y="146"/>
                    </a:lnTo>
                    <a:lnTo>
                      <a:pt x="55" y="106"/>
                    </a:lnTo>
                    <a:lnTo>
                      <a:pt x="71" y="69"/>
                    </a:lnTo>
                    <a:lnTo>
                      <a:pt x="86" y="33"/>
                    </a:lnTo>
                    <a:lnTo>
                      <a:pt x="100" y="0"/>
                    </a:lnTo>
                    <a:lnTo>
                      <a:pt x="10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794" name="Freeform 15"/>
              <p:cNvSpPr>
                <a:spLocks/>
              </p:cNvSpPr>
              <p:nvPr/>
            </p:nvSpPr>
            <p:spPr bwMode="auto">
              <a:xfrm>
                <a:off x="7420514" y="4103075"/>
                <a:ext cx="209550" cy="212725"/>
              </a:xfrm>
              <a:custGeom>
                <a:avLst/>
                <a:gdLst>
                  <a:gd name="T0" fmla="*/ 162 w 397"/>
                  <a:gd name="T1" fmla="*/ 4 h 401"/>
                  <a:gd name="T2" fmla="*/ 189 w 397"/>
                  <a:gd name="T3" fmla="*/ 1 h 401"/>
                  <a:gd name="T4" fmla="*/ 214 w 397"/>
                  <a:gd name="T5" fmla="*/ 0 h 401"/>
                  <a:gd name="T6" fmla="*/ 238 w 397"/>
                  <a:gd name="T7" fmla="*/ 2 h 401"/>
                  <a:gd name="T8" fmla="*/ 261 w 397"/>
                  <a:gd name="T9" fmla="*/ 6 h 401"/>
                  <a:gd name="T10" fmla="*/ 281 w 397"/>
                  <a:gd name="T11" fmla="*/ 13 h 401"/>
                  <a:gd name="T12" fmla="*/ 317 w 397"/>
                  <a:gd name="T13" fmla="*/ 32 h 401"/>
                  <a:gd name="T14" fmla="*/ 346 w 397"/>
                  <a:gd name="T15" fmla="*/ 59 h 401"/>
                  <a:gd name="T16" fmla="*/ 369 w 397"/>
                  <a:gd name="T17" fmla="*/ 90 h 401"/>
                  <a:gd name="T18" fmla="*/ 385 w 397"/>
                  <a:gd name="T19" fmla="*/ 127 h 401"/>
                  <a:gd name="T20" fmla="*/ 395 w 397"/>
                  <a:gd name="T21" fmla="*/ 166 h 401"/>
                  <a:gd name="T22" fmla="*/ 397 w 397"/>
                  <a:gd name="T23" fmla="*/ 206 h 401"/>
                  <a:gd name="T24" fmla="*/ 392 w 397"/>
                  <a:gd name="T25" fmla="*/ 246 h 401"/>
                  <a:gd name="T26" fmla="*/ 381 w 397"/>
                  <a:gd name="T27" fmla="*/ 285 h 401"/>
                  <a:gd name="T28" fmla="*/ 362 w 397"/>
                  <a:gd name="T29" fmla="*/ 320 h 401"/>
                  <a:gd name="T30" fmla="*/ 337 w 397"/>
                  <a:gd name="T31" fmla="*/ 351 h 401"/>
                  <a:gd name="T32" fmla="*/ 305 w 397"/>
                  <a:gd name="T33" fmla="*/ 375 h 401"/>
                  <a:gd name="T34" fmla="*/ 276 w 397"/>
                  <a:gd name="T35" fmla="*/ 389 h 401"/>
                  <a:gd name="T36" fmla="*/ 254 w 397"/>
                  <a:gd name="T37" fmla="*/ 396 h 401"/>
                  <a:gd name="T38" fmla="*/ 232 w 397"/>
                  <a:gd name="T39" fmla="*/ 400 h 401"/>
                  <a:gd name="T40" fmla="*/ 206 w 397"/>
                  <a:gd name="T41" fmla="*/ 401 h 401"/>
                  <a:gd name="T42" fmla="*/ 193 w 397"/>
                  <a:gd name="T43" fmla="*/ 401 h 401"/>
                  <a:gd name="T44" fmla="*/ 149 w 397"/>
                  <a:gd name="T45" fmla="*/ 395 h 401"/>
                  <a:gd name="T46" fmla="*/ 109 w 397"/>
                  <a:gd name="T47" fmla="*/ 381 h 401"/>
                  <a:gd name="T48" fmla="*/ 74 w 397"/>
                  <a:gd name="T49" fmla="*/ 359 h 401"/>
                  <a:gd name="T50" fmla="*/ 44 w 397"/>
                  <a:gd name="T51" fmla="*/ 329 h 401"/>
                  <a:gd name="T52" fmla="*/ 21 w 397"/>
                  <a:gd name="T53" fmla="*/ 293 h 401"/>
                  <a:gd name="T54" fmla="*/ 12 w 397"/>
                  <a:gd name="T55" fmla="*/ 273 h 401"/>
                  <a:gd name="T56" fmla="*/ 6 w 397"/>
                  <a:gd name="T57" fmla="*/ 251 h 401"/>
                  <a:gd name="T58" fmla="*/ 1 w 397"/>
                  <a:gd name="T59" fmla="*/ 227 h 401"/>
                  <a:gd name="T60" fmla="*/ 0 w 397"/>
                  <a:gd name="T61" fmla="*/ 204 h 401"/>
                  <a:gd name="T62" fmla="*/ 3 w 397"/>
                  <a:gd name="T63" fmla="*/ 178 h 401"/>
                  <a:gd name="T64" fmla="*/ 7 w 397"/>
                  <a:gd name="T65" fmla="*/ 151 h 401"/>
                  <a:gd name="T66" fmla="*/ 10 w 397"/>
                  <a:gd name="T67" fmla="*/ 138 h 401"/>
                  <a:gd name="T68" fmla="*/ 20 w 397"/>
                  <a:gd name="T69" fmla="*/ 113 h 401"/>
                  <a:gd name="T70" fmla="*/ 33 w 397"/>
                  <a:gd name="T71" fmla="*/ 89 h 401"/>
                  <a:gd name="T72" fmla="*/ 49 w 397"/>
                  <a:gd name="T73" fmla="*/ 68 h 401"/>
                  <a:gd name="T74" fmla="*/ 68 w 397"/>
                  <a:gd name="T75" fmla="*/ 48 h 401"/>
                  <a:gd name="T76" fmla="*/ 91 w 397"/>
                  <a:gd name="T77" fmla="*/ 31 h 401"/>
                  <a:gd name="T78" fmla="*/ 117 w 397"/>
                  <a:gd name="T79" fmla="*/ 18 h 401"/>
                  <a:gd name="T80" fmla="*/ 146 w 397"/>
                  <a:gd name="T81" fmla="*/ 7 h 401"/>
                  <a:gd name="T82" fmla="*/ 162 w 397"/>
                  <a:gd name="T83" fmla="*/ 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7" h="401">
                    <a:moveTo>
                      <a:pt x="162" y="4"/>
                    </a:moveTo>
                    <a:lnTo>
                      <a:pt x="162" y="4"/>
                    </a:lnTo>
                    <a:lnTo>
                      <a:pt x="176" y="2"/>
                    </a:lnTo>
                    <a:lnTo>
                      <a:pt x="189" y="1"/>
                    </a:lnTo>
                    <a:lnTo>
                      <a:pt x="202" y="0"/>
                    </a:lnTo>
                    <a:lnTo>
                      <a:pt x="214" y="0"/>
                    </a:lnTo>
                    <a:lnTo>
                      <a:pt x="226" y="1"/>
                    </a:lnTo>
                    <a:lnTo>
                      <a:pt x="238" y="2"/>
                    </a:lnTo>
                    <a:lnTo>
                      <a:pt x="250" y="4"/>
                    </a:lnTo>
                    <a:lnTo>
                      <a:pt x="261" y="6"/>
                    </a:lnTo>
                    <a:lnTo>
                      <a:pt x="270" y="9"/>
                    </a:lnTo>
                    <a:lnTo>
                      <a:pt x="281" y="13"/>
                    </a:lnTo>
                    <a:lnTo>
                      <a:pt x="300" y="21"/>
                    </a:lnTo>
                    <a:lnTo>
                      <a:pt x="317" y="32"/>
                    </a:lnTo>
                    <a:lnTo>
                      <a:pt x="332" y="45"/>
                    </a:lnTo>
                    <a:lnTo>
                      <a:pt x="346" y="59"/>
                    </a:lnTo>
                    <a:lnTo>
                      <a:pt x="358" y="74"/>
                    </a:lnTo>
                    <a:lnTo>
                      <a:pt x="369" y="90"/>
                    </a:lnTo>
                    <a:lnTo>
                      <a:pt x="377" y="109"/>
                    </a:lnTo>
                    <a:lnTo>
                      <a:pt x="385" y="127"/>
                    </a:lnTo>
                    <a:lnTo>
                      <a:pt x="390" y="146"/>
                    </a:lnTo>
                    <a:lnTo>
                      <a:pt x="395" y="166"/>
                    </a:lnTo>
                    <a:lnTo>
                      <a:pt x="396" y="186"/>
                    </a:lnTo>
                    <a:lnTo>
                      <a:pt x="397" y="206"/>
                    </a:lnTo>
                    <a:lnTo>
                      <a:pt x="396" y="226"/>
                    </a:lnTo>
                    <a:lnTo>
                      <a:pt x="392" y="246"/>
                    </a:lnTo>
                    <a:lnTo>
                      <a:pt x="387" y="265"/>
                    </a:lnTo>
                    <a:lnTo>
                      <a:pt x="381" y="285"/>
                    </a:lnTo>
                    <a:lnTo>
                      <a:pt x="373" y="303"/>
                    </a:lnTo>
                    <a:lnTo>
                      <a:pt x="362" y="320"/>
                    </a:lnTo>
                    <a:lnTo>
                      <a:pt x="351" y="335"/>
                    </a:lnTo>
                    <a:lnTo>
                      <a:pt x="337" y="351"/>
                    </a:lnTo>
                    <a:lnTo>
                      <a:pt x="322" y="364"/>
                    </a:lnTo>
                    <a:lnTo>
                      <a:pt x="305" y="375"/>
                    </a:lnTo>
                    <a:lnTo>
                      <a:pt x="287" y="385"/>
                    </a:lnTo>
                    <a:lnTo>
                      <a:pt x="276" y="389"/>
                    </a:lnTo>
                    <a:lnTo>
                      <a:pt x="265" y="393"/>
                    </a:lnTo>
                    <a:lnTo>
                      <a:pt x="254" y="396"/>
                    </a:lnTo>
                    <a:lnTo>
                      <a:pt x="243" y="398"/>
                    </a:lnTo>
                    <a:lnTo>
                      <a:pt x="232" y="400"/>
                    </a:lnTo>
                    <a:lnTo>
                      <a:pt x="219" y="401"/>
                    </a:lnTo>
                    <a:lnTo>
                      <a:pt x="206" y="401"/>
                    </a:lnTo>
                    <a:lnTo>
                      <a:pt x="193" y="401"/>
                    </a:lnTo>
                    <a:lnTo>
                      <a:pt x="193" y="401"/>
                    </a:lnTo>
                    <a:lnTo>
                      <a:pt x="171" y="399"/>
                    </a:lnTo>
                    <a:lnTo>
                      <a:pt x="149" y="395"/>
                    </a:lnTo>
                    <a:lnTo>
                      <a:pt x="130" y="389"/>
                    </a:lnTo>
                    <a:lnTo>
                      <a:pt x="109" y="381"/>
                    </a:lnTo>
                    <a:lnTo>
                      <a:pt x="91" y="371"/>
                    </a:lnTo>
                    <a:lnTo>
                      <a:pt x="74" y="359"/>
                    </a:lnTo>
                    <a:lnTo>
                      <a:pt x="59" y="345"/>
                    </a:lnTo>
                    <a:lnTo>
                      <a:pt x="44" y="329"/>
                    </a:lnTo>
                    <a:lnTo>
                      <a:pt x="32" y="312"/>
                    </a:lnTo>
                    <a:lnTo>
                      <a:pt x="21" y="293"/>
                    </a:lnTo>
                    <a:lnTo>
                      <a:pt x="17" y="283"/>
                    </a:lnTo>
                    <a:lnTo>
                      <a:pt x="12" y="273"/>
                    </a:lnTo>
                    <a:lnTo>
                      <a:pt x="9" y="262"/>
                    </a:lnTo>
                    <a:lnTo>
                      <a:pt x="6" y="251"/>
                    </a:lnTo>
                    <a:lnTo>
                      <a:pt x="4" y="239"/>
                    </a:lnTo>
                    <a:lnTo>
                      <a:pt x="1" y="227"/>
                    </a:lnTo>
                    <a:lnTo>
                      <a:pt x="1" y="216"/>
                    </a:lnTo>
                    <a:lnTo>
                      <a:pt x="0" y="204"/>
                    </a:lnTo>
                    <a:lnTo>
                      <a:pt x="1" y="191"/>
                    </a:lnTo>
                    <a:lnTo>
                      <a:pt x="3" y="178"/>
                    </a:lnTo>
                    <a:lnTo>
                      <a:pt x="5" y="165"/>
                    </a:lnTo>
                    <a:lnTo>
                      <a:pt x="7" y="151"/>
                    </a:lnTo>
                    <a:lnTo>
                      <a:pt x="7" y="151"/>
                    </a:lnTo>
                    <a:lnTo>
                      <a:pt x="10" y="138"/>
                    </a:lnTo>
                    <a:lnTo>
                      <a:pt x="14" y="125"/>
                    </a:lnTo>
                    <a:lnTo>
                      <a:pt x="20" y="113"/>
                    </a:lnTo>
                    <a:lnTo>
                      <a:pt x="25" y="101"/>
                    </a:lnTo>
                    <a:lnTo>
                      <a:pt x="33" y="89"/>
                    </a:lnTo>
                    <a:lnTo>
                      <a:pt x="40" y="78"/>
                    </a:lnTo>
                    <a:lnTo>
                      <a:pt x="49" y="68"/>
                    </a:lnTo>
                    <a:lnTo>
                      <a:pt x="58" y="58"/>
                    </a:lnTo>
                    <a:lnTo>
                      <a:pt x="68" y="48"/>
                    </a:lnTo>
                    <a:lnTo>
                      <a:pt x="79" y="40"/>
                    </a:lnTo>
                    <a:lnTo>
                      <a:pt x="91" y="31"/>
                    </a:lnTo>
                    <a:lnTo>
                      <a:pt x="104" y="23"/>
                    </a:lnTo>
                    <a:lnTo>
                      <a:pt x="117" y="18"/>
                    </a:lnTo>
                    <a:lnTo>
                      <a:pt x="132" y="11"/>
                    </a:lnTo>
                    <a:lnTo>
                      <a:pt x="146" y="7"/>
                    </a:lnTo>
                    <a:lnTo>
                      <a:pt x="162" y="4"/>
                    </a:lnTo>
                    <a:lnTo>
                      <a:pt x="162" y="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1765" name="Rectangle 1764"/>
          <p:cNvSpPr/>
          <p:nvPr/>
        </p:nvSpPr>
        <p:spPr bwMode="auto">
          <a:xfrm>
            <a:off x="264908" y="1556750"/>
            <a:ext cx="2743200" cy="3556728"/>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60" name="Group 59"/>
          <p:cNvGrpSpPr/>
          <p:nvPr/>
        </p:nvGrpSpPr>
        <p:grpSpPr>
          <a:xfrm>
            <a:off x="9282970" y="5656304"/>
            <a:ext cx="2695472" cy="722425"/>
            <a:chOff x="9281382" y="5656303"/>
            <a:chExt cx="2572754" cy="722425"/>
          </a:xfrm>
        </p:grpSpPr>
        <p:sp>
          <p:nvSpPr>
            <p:cNvPr id="1941" name="Freeform 30"/>
            <p:cNvSpPr>
              <a:spLocks/>
            </p:cNvSpPr>
            <p:nvPr/>
          </p:nvSpPr>
          <p:spPr bwMode="auto">
            <a:xfrm flipH="1">
              <a:off x="9281382" y="5656303"/>
              <a:ext cx="1599520" cy="722425"/>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rgbClr val="00425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943" name="Freeform 30"/>
            <p:cNvSpPr>
              <a:spLocks/>
            </p:cNvSpPr>
            <p:nvPr/>
          </p:nvSpPr>
          <p:spPr bwMode="auto">
            <a:xfrm flipH="1">
              <a:off x="10254616" y="5656303"/>
              <a:ext cx="1599520" cy="722425"/>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rgbClr val="00425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67" name="Rectangle 1166"/>
          <p:cNvSpPr/>
          <p:nvPr/>
        </p:nvSpPr>
        <p:spPr bwMode="auto">
          <a:xfrm>
            <a:off x="9250326" y="4179730"/>
            <a:ext cx="2743200" cy="2473554"/>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58" name="Group 2057"/>
          <p:cNvGrpSpPr/>
          <p:nvPr/>
        </p:nvGrpSpPr>
        <p:grpSpPr>
          <a:xfrm rot="19202978">
            <a:off x="9676919" y="5561662"/>
            <a:ext cx="233065" cy="379210"/>
            <a:chOff x="2658904" y="3122439"/>
            <a:chExt cx="81472" cy="132564"/>
          </a:xfrm>
          <a:solidFill>
            <a:schemeClr val="accent2"/>
          </a:solidFill>
        </p:grpSpPr>
        <p:sp>
          <p:nvSpPr>
            <p:cNvPr id="205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6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6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62" name="Group 61"/>
          <p:cNvGrpSpPr/>
          <p:nvPr/>
        </p:nvGrpSpPr>
        <p:grpSpPr>
          <a:xfrm>
            <a:off x="10115434" y="5913637"/>
            <a:ext cx="1195302" cy="641251"/>
            <a:chOff x="10146862" y="5785392"/>
            <a:chExt cx="1446315" cy="775914"/>
          </a:xfrm>
        </p:grpSpPr>
        <p:grpSp>
          <p:nvGrpSpPr>
            <p:cNvPr id="55" name="Group 54"/>
            <p:cNvGrpSpPr/>
            <p:nvPr/>
          </p:nvGrpSpPr>
          <p:grpSpPr>
            <a:xfrm>
              <a:off x="10146862" y="5785392"/>
              <a:ext cx="1287900" cy="775914"/>
              <a:chOff x="5046165" y="2456801"/>
              <a:chExt cx="6509651" cy="3921839"/>
            </a:xfrm>
          </p:grpSpPr>
          <p:grpSp>
            <p:nvGrpSpPr>
              <p:cNvPr id="49" name="Group 48"/>
              <p:cNvGrpSpPr/>
              <p:nvPr/>
            </p:nvGrpSpPr>
            <p:grpSpPr>
              <a:xfrm>
                <a:off x="5046165" y="2456801"/>
                <a:ext cx="6509651" cy="3921839"/>
                <a:chOff x="5366029" y="2753297"/>
                <a:chExt cx="2509751" cy="1512037"/>
              </a:xfrm>
              <a:solidFill>
                <a:schemeClr val="accent2"/>
              </a:solidFill>
            </p:grpSpPr>
            <p:grpSp>
              <p:nvGrpSpPr>
                <p:cNvPr id="47" name="Group 46"/>
                <p:cNvGrpSpPr/>
                <p:nvPr/>
              </p:nvGrpSpPr>
              <p:grpSpPr>
                <a:xfrm>
                  <a:off x="5366029" y="2753297"/>
                  <a:ext cx="2509751" cy="1512037"/>
                  <a:chOff x="854788" y="35429"/>
                  <a:chExt cx="11532233" cy="6947772"/>
                </a:xfrm>
                <a:grpFill/>
              </p:grpSpPr>
              <p:sp>
                <p:nvSpPr>
                  <p:cNvPr id="39" name="Freeform 38"/>
                  <p:cNvSpPr/>
                  <p:nvPr/>
                </p:nvSpPr>
                <p:spPr bwMode="auto">
                  <a:xfrm>
                    <a:off x="854788" y="35429"/>
                    <a:ext cx="11532233" cy="6081286"/>
                  </a:xfrm>
                  <a:custGeom>
                    <a:avLst/>
                    <a:gdLst>
                      <a:gd name="connsiteX0" fmla="*/ 1568816 w 11532233"/>
                      <a:gd name="connsiteY0" fmla="*/ 319678 h 6087389"/>
                      <a:gd name="connsiteX1" fmla="*/ 2678525 w 11532233"/>
                      <a:gd name="connsiteY1" fmla="*/ 168757 h 6087389"/>
                      <a:gd name="connsiteX2" fmla="*/ 4019053 w 11532233"/>
                      <a:gd name="connsiteY2" fmla="*/ 26715 h 6087389"/>
                      <a:gd name="connsiteX3" fmla="*/ 5155395 w 11532233"/>
                      <a:gd name="connsiteY3" fmla="*/ 82 h 6087389"/>
                      <a:gd name="connsiteX4" fmla="*/ 5812342 w 11532233"/>
                      <a:gd name="connsiteY4" fmla="*/ 26715 h 6087389"/>
                      <a:gd name="connsiteX5" fmla="*/ 6522556 w 11532233"/>
                      <a:gd name="connsiteY5" fmla="*/ 177635 h 6087389"/>
                      <a:gd name="connsiteX6" fmla="*/ 7357057 w 11532233"/>
                      <a:gd name="connsiteY6" fmla="*/ 657029 h 6087389"/>
                      <a:gd name="connsiteX7" fmla="*/ 8635441 w 11532233"/>
                      <a:gd name="connsiteY7" fmla="*/ 1527041 h 6087389"/>
                      <a:gd name="connsiteX8" fmla="*/ 9478820 w 11532233"/>
                      <a:gd name="connsiteY8" fmla="*/ 2139600 h 6087389"/>
                      <a:gd name="connsiteX9" fmla="*/ 9789538 w 11532233"/>
                      <a:gd name="connsiteY9" fmla="*/ 2237254 h 6087389"/>
                      <a:gd name="connsiteX10" fmla="*/ 10073624 w 11532233"/>
                      <a:gd name="connsiteY10" fmla="*/ 2343787 h 6087389"/>
                      <a:gd name="connsiteX11" fmla="*/ 10490874 w 11532233"/>
                      <a:gd name="connsiteY11" fmla="*/ 2681138 h 6087389"/>
                      <a:gd name="connsiteX12" fmla="*/ 11156699 w 11532233"/>
                      <a:gd name="connsiteY12" fmla="*/ 3249309 h 6087389"/>
                      <a:gd name="connsiteX13" fmla="*/ 11272109 w 11532233"/>
                      <a:gd name="connsiteY13" fmla="*/ 3817480 h 6087389"/>
                      <a:gd name="connsiteX14" fmla="*/ 11316497 w 11532233"/>
                      <a:gd name="connsiteY14" fmla="*/ 4145954 h 6087389"/>
                      <a:gd name="connsiteX15" fmla="*/ 11520684 w 11532233"/>
                      <a:gd name="connsiteY15" fmla="*/ 4767390 h 6087389"/>
                      <a:gd name="connsiteX16" fmla="*/ 11494051 w 11532233"/>
                      <a:gd name="connsiteY16" fmla="*/ 5459849 h 6087389"/>
                      <a:gd name="connsiteX17" fmla="*/ 11387519 w 11532233"/>
                      <a:gd name="connsiteY17" fmla="*/ 5894854 h 6087389"/>
                      <a:gd name="connsiteX18" fmla="*/ 11298742 w 11532233"/>
                      <a:gd name="connsiteY18" fmla="*/ 5930365 h 6087389"/>
                      <a:gd name="connsiteX19" fmla="*/ 11236598 w 11532233"/>
                      <a:gd name="connsiteY19" fmla="*/ 5823833 h 6087389"/>
                      <a:gd name="connsiteX20" fmla="*/ 11236598 w 11532233"/>
                      <a:gd name="connsiteY20" fmla="*/ 5584136 h 6087389"/>
                      <a:gd name="connsiteX21" fmla="*/ 11156699 w 11532233"/>
                      <a:gd name="connsiteY21" fmla="*/ 5113620 h 6087389"/>
                      <a:gd name="connsiteX22" fmla="*/ 10899247 w 11532233"/>
                      <a:gd name="connsiteY22" fmla="*/ 4589837 h 6087389"/>
                      <a:gd name="connsiteX23" fmla="*/ 10410975 w 11532233"/>
                      <a:gd name="connsiteY23" fmla="*/ 4279119 h 6087389"/>
                      <a:gd name="connsiteX24" fmla="*/ 9798416 w 11532233"/>
                      <a:gd name="connsiteY24" fmla="*/ 4163709 h 6087389"/>
                      <a:gd name="connsiteX25" fmla="*/ 8990548 w 11532233"/>
                      <a:gd name="connsiteY25" fmla="*/ 4385651 h 6087389"/>
                      <a:gd name="connsiteX26" fmla="*/ 8528909 w 11532233"/>
                      <a:gd name="connsiteY26" fmla="*/ 4882800 h 6087389"/>
                      <a:gd name="connsiteX27" fmla="*/ 8280334 w 11532233"/>
                      <a:gd name="connsiteY27" fmla="*/ 5379950 h 6087389"/>
                      <a:gd name="connsiteX28" fmla="*/ 8209313 w 11532233"/>
                      <a:gd name="connsiteY28" fmla="*/ 5965876 h 6087389"/>
                      <a:gd name="connsiteX29" fmla="*/ 8200435 w 11532233"/>
                      <a:gd name="connsiteY29" fmla="*/ 6081286 h 6087389"/>
                      <a:gd name="connsiteX30" fmla="*/ 8093903 w 11532233"/>
                      <a:gd name="connsiteY30" fmla="*/ 6072408 h 6087389"/>
                      <a:gd name="connsiteX31" fmla="*/ 6868785 w 11532233"/>
                      <a:gd name="connsiteY31" fmla="*/ 6081286 h 6087389"/>
                      <a:gd name="connsiteX32" fmla="*/ 3548536 w 11532233"/>
                      <a:gd name="connsiteY32" fmla="*/ 6054653 h 6087389"/>
                      <a:gd name="connsiteX33" fmla="*/ 3149041 w 11532233"/>
                      <a:gd name="connsiteY33" fmla="*/ 6063530 h 6087389"/>
                      <a:gd name="connsiteX34" fmla="*/ 3051387 w 11532233"/>
                      <a:gd name="connsiteY34" fmla="*/ 6054653 h 6087389"/>
                      <a:gd name="connsiteX35" fmla="*/ 3033631 w 11532233"/>
                      <a:gd name="connsiteY35" fmla="*/ 5956998 h 6087389"/>
                      <a:gd name="connsiteX36" fmla="*/ 2971488 w 11532233"/>
                      <a:gd name="connsiteY36" fmla="*/ 5619647 h 6087389"/>
                      <a:gd name="connsiteX37" fmla="*/ 2873833 w 11532233"/>
                      <a:gd name="connsiteY37" fmla="*/ 5264540 h 6087389"/>
                      <a:gd name="connsiteX38" fmla="*/ 2669647 w 11532233"/>
                      <a:gd name="connsiteY38" fmla="*/ 4856167 h 6087389"/>
                      <a:gd name="connsiteX39" fmla="*/ 2305662 w 11532233"/>
                      <a:gd name="connsiteY39" fmla="*/ 4501060 h 6087389"/>
                      <a:gd name="connsiteX40" fmla="*/ 1728614 w 11532233"/>
                      <a:gd name="connsiteY40" fmla="*/ 4252486 h 6087389"/>
                      <a:gd name="connsiteX41" fmla="*/ 1062789 w 11532233"/>
                      <a:gd name="connsiteY41" fmla="*/ 4234730 h 6087389"/>
                      <a:gd name="connsiteX42" fmla="*/ 494618 w 11532233"/>
                      <a:gd name="connsiteY42" fmla="*/ 4509938 h 6087389"/>
                      <a:gd name="connsiteX43" fmla="*/ 148389 w 11532233"/>
                      <a:gd name="connsiteY43" fmla="*/ 4998210 h 6087389"/>
                      <a:gd name="connsiteX44" fmla="*/ 121756 w 11532233"/>
                      <a:gd name="connsiteY44" fmla="*/ 5424338 h 6087389"/>
                      <a:gd name="connsiteX45" fmla="*/ 166144 w 11532233"/>
                      <a:gd name="connsiteY45" fmla="*/ 5681790 h 6087389"/>
                      <a:gd name="connsiteX46" fmla="*/ 86245 w 11532233"/>
                      <a:gd name="connsiteY46" fmla="*/ 5619647 h 6087389"/>
                      <a:gd name="connsiteX47" fmla="*/ 6346 w 11532233"/>
                      <a:gd name="connsiteY47" fmla="*/ 5433216 h 6087389"/>
                      <a:gd name="connsiteX48" fmla="*/ 24101 w 11532233"/>
                      <a:gd name="connsiteY48" fmla="*/ 4447794 h 6087389"/>
                      <a:gd name="connsiteX49" fmla="*/ 175022 w 11532233"/>
                      <a:gd name="connsiteY49" fmla="*/ 3852990 h 6087389"/>
                      <a:gd name="connsiteX50" fmla="*/ 379208 w 11532233"/>
                      <a:gd name="connsiteY50" fmla="*/ 3577783 h 6087389"/>
                      <a:gd name="connsiteX51" fmla="*/ 379208 w 11532233"/>
                      <a:gd name="connsiteY51" fmla="*/ 3409107 h 6087389"/>
                      <a:gd name="connsiteX52" fmla="*/ 370330 w 11532233"/>
                      <a:gd name="connsiteY52" fmla="*/ 2911957 h 6087389"/>
                      <a:gd name="connsiteX53" fmla="*/ 512373 w 11532233"/>
                      <a:gd name="connsiteY53" fmla="*/ 2210621 h 6087389"/>
                      <a:gd name="connsiteX54" fmla="*/ 849725 w 11532233"/>
                      <a:gd name="connsiteY54" fmla="*/ 1358365 h 6087389"/>
                      <a:gd name="connsiteX55" fmla="*/ 1107177 w 11532233"/>
                      <a:gd name="connsiteY55" fmla="*/ 692540 h 6087389"/>
                      <a:gd name="connsiteX56" fmla="*/ 1133810 w 11532233"/>
                      <a:gd name="connsiteY56" fmla="*/ 630396 h 6087389"/>
                      <a:gd name="connsiteX57" fmla="*/ 1062789 w 11532233"/>
                      <a:gd name="connsiteY57" fmla="*/ 541620 h 6087389"/>
                      <a:gd name="connsiteX58" fmla="*/ 1053911 w 11532233"/>
                      <a:gd name="connsiteY58" fmla="*/ 435088 h 6087389"/>
                      <a:gd name="connsiteX59" fmla="*/ 1195954 w 11532233"/>
                      <a:gd name="connsiteY59" fmla="*/ 399577 h 6087389"/>
                      <a:gd name="connsiteX60" fmla="*/ 1568816 w 11532233"/>
                      <a:gd name="connsiteY60" fmla="*/ 319678 h 6087389"/>
                      <a:gd name="connsiteX0" fmla="*/ 1568816 w 11532233"/>
                      <a:gd name="connsiteY0" fmla="*/ 319678 h 6081286"/>
                      <a:gd name="connsiteX1" fmla="*/ 2678525 w 11532233"/>
                      <a:gd name="connsiteY1" fmla="*/ 168757 h 6081286"/>
                      <a:gd name="connsiteX2" fmla="*/ 4019053 w 11532233"/>
                      <a:gd name="connsiteY2" fmla="*/ 26715 h 6081286"/>
                      <a:gd name="connsiteX3" fmla="*/ 5155395 w 11532233"/>
                      <a:gd name="connsiteY3" fmla="*/ 82 h 6081286"/>
                      <a:gd name="connsiteX4" fmla="*/ 5812342 w 11532233"/>
                      <a:gd name="connsiteY4" fmla="*/ 26715 h 6081286"/>
                      <a:gd name="connsiteX5" fmla="*/ 6522556 w 11532233"/>
                      <a:gd name="connsiteY5" fmla="*/ 177635 h 6081286"/>
                      <a:gd name="connsiteX6" fmla="*/ 7357057 w 11532233"/>
                      <a:gd name="connsiteY6" fmla="*/ 657029 h 6081286"/>
                      <a:gd name="connsiteX7" fmla="*/ 8635441 w 11532233"/>
                      <a:gd name="connsiteY7" fmla="*/ 1527041 h 6081286"/>
                      <a:gd name="connsiteX8" fmla="*/ 9478820 w 11532233"/>
                      <a:gd name="connsiteY8" fmla="*/ 2139600 h 6081286"/>
                      <a:gd name="connsiteX9" fmla="*/ 9789538 w 11532233"/>
                      <a:gd name="connsiteY9" fmla="*/ 2237254 h 6081286"/>
                      <a:gd name="connsiteX10" fmla="*/ 10073624 w 11532233"/>
                      <a:gd name="connsiteY10" fmla="*/ 2343787 h 6081286"/>
                      <a:gd name="connsiteX11" fmla="*/ 10490874 w 11532233"/>
                      <a:gd name="connsiteY11" fmla="*/ 2681138 h 6081286"/>
                      <a:gd name="connsiteX12" fmla="*/ 11156699 w 11532233"/>
                      <a:gd name="connsiteY12" fmla="*/ 3249309 h 6081286"/>
                      <a:gd name="connsiteX13" fmla="*/ 11272109 w 11532233"/>
                      <a:gd name="connsiteY13" fmla="*/ 3817480 h 6081286"/>
                      <a:gd name="connsiteX14" fmla="*/ 11316497 w 11532233"/>
                      <a:gd name="connsiteY14" fmla="*/ 4145954 h 6081286"/>
                      <a:gd name="connsiteX15" fmla="*/ 11520684 w 11532233"/>
                      <a:gd name="connsiteY15" fmla="*/ 4767390 h 6081286"/>
                      <a:gd name="connsiteX16" fmla="*/ 11494051 w 11532233"/>
                      <a:gd name="connsiteY16" fmla="*/ 5459849 h 6081286"/>
                      <a:gd name="connsiteX17" fmla="*/ 11387519 w 11532233"/>
                      <a:gd name="connsiteY17" fmla="*/ 5894854 h 6081286"/>
                      <a:gd name="connsiteX18" fmla="*/ 11298742 w 11532233"/>
                      <a:gd name="connsiteY18" fmla="*/ 5930365 h 6081286"/>
                      <a:gd name="connsiteX19" fmla="*/ 11236598 w 11532233"/>
                      <a:gd name="connsiteY19" fmla="*/ 5823833 h 6081286"/>
                      <a:gd name="connsiteX20" fmla="*/ 11236598 w 11532233"/>
                      <a:gd name="connsiteY20" fmla="*/ 5584136 h 6081286"/>
                      <a:gd name="connsiteX21" fmla="*/ 11156699 w 11532233"/>
                      <a:gd name="connsiteY21" fmla="*/ 5113620 h 6081286"/>
                      <a:gd name="connsiteX22" fmla="*/ 10899247 w 11532233"/>
                      <a:gd name="connsiteY22" fmla="*/ 4589837 h 6081286"/>
                      <a:gd name="connsiteX23" fmla="*/ 10410975 w 11532233"/>
                      <a:gd name="connsiteY23" fmla="*/ 4279119 h 6081286"/>
                      <a:gd name="connsiteX24" fmla="*/ 9798416 w 11532233"/>
                      <a:gd name="connsiteY24" fmla="*/ 4163709 h 6081286"/>
                      <a:gd name="connsiteX25" fmla="*/ 8990548 w 11532233"/>
                      <a:gd name="connsiteY25" fmla="*/ 4385651 h 6081286"/>
                      <a:gd name="connsiteX26" fmla="*/ 8528909 w 11532233"/>
                      <a:gd name="connsiteY26" fmla="*/ 4882800 h 6081286"/>
                      <a:gd name="connsiteX27" fmla="*/ 8280334 w 11532233"/>
                      <a:gd name="connsiteY27" fmla="*/ 5379950 h 6081286"/>
                      <a:gd name="connsiteX28" fmla="*/ 8209313 w 11532233"/>
                      <a:gd name="connsiteY28" fmla="*/ 5965876 h 6081286"/>
                      <a:gd name="connsiteX29" fmla="*/ 8191557 w 11532233"/>
                      <a:gd name="connsiteY29" fmla="*/ 6063531 h 6081286"/>
                      <a:gd name="connsiteX30" fmla="*/ 8093903 w 11532233"/>
                      <a:gd name="connsiteY30" fmla="*/ 6072408 h 6081286"/>
                      <a:gd name="connsiteX31" fmla="*/ 6868785 w 11532233"/>
                      <a:gd name="connsiteY31" fmla="*/ 6081286 h 6081286"/>
                      <a:gd name="connsiteX32" fmla="*/ 3548536 w 11532233"/>
                      <a:gd name="connsiteY32" fmla="*/ 6054653 h 6081286"/>
                      <a:gd name="connsiteX33" fmla="*/ 3149041 w 11532233"/>
                      <a:gd name="connsiteY33" fmla="*/ 6063530 h 6081286"/>
                      <a:gd name="connsiteX34" fmla="*/ 3051387 w 11532233"/>
                      <a:gd name="connsiteY34" fmla="*/ 6054653 h 6081286"/>
                      <a:gd name="connsiteX35" fmla="*/ 3033631 w 11532233"/>
                      <a:gd name="connsiteY35" fmla="*/ 5956998 h 6081286"/>
                      <a:gd name="connsiteX36" fmla="*/ 2971488 w 11532233"/>
                      <a:gd name="connsiteY36" fmla="*/ 5619647 h 6081286"/>
                      <a:gd name="connsiteX37" fmla="*/ 2873833 w 11532233"/>
                      <a:gd name="connsiteY37" fmla="*/ 5264540 h 6081286"/>
                      <a:gd name="connsiteX38" fmla="*/ 2669647 w 11532233"/>
                      <a:gd name="connsiteY38" fmla="*/ 4856167 h 6081286"/>
                      <a:gd name="connsiteX39" fmla="*/ 2305662 w 11532233"/>
                      <a:gd name="connsiteY39" fmla="*/ 4501060 h 6081286"/>
                      <a:gd name="connsiteX40" fmla="*/ 1728614 w 11532233"/>
                      <a:gd name="connsiteY40" fmla="*/ 4252486 h 6081286"/>
                      <a:gd name="connsiteX41" fmla="*/ 1062789 w 11532233"/>
                      <a:gd name="connsiteY41" fmla="*/ 4234730 h 6081286"/>
                      <a:gd name="connsiteX42" fmla="*/ 494618 w 11532233"/>
                      <a:gd name="connsiteY42" fmla="*/ 4509938 h 6081286"/>
                      <a:gd name="connsiteX43" fmla="*/ 148389 w 11532233"/>
                      <a:gd name="connsiteY43" fmla="*/ 4998210 h 6081286"/>
                      <a:gd name="connsiteX44" fmla="*/ 121756 w 11532233"/>
                      <a:gd name="connsiteY44" fmla="*/ 5424338 h 6081286"/>
                      <a:gd name="connsiteX45" fmla="*/ 166144 w 11532233"/>
                      <a:gd name="connsiteY45" fmla="*/ 5681790 h 6081286"/>
                      <a:gd name="connsiteX46" fmla="*/ 86245 w 11532233"/>
                      <a:gd name="connsiteY46" fmla="*/ 5619647 h 6081286"/>
                      <a:gd name="connsiteX47" fmla="*/ 6346 w 11532233"/>
                      <a:gd name="connsiteY47" fmla="*/ 5433216 h 6081286"/>
                      <a:gd name="connsiteX48" fmla="*/ 24101 w 11532233"/>
                      <a:gd name="connsiteY48" fmla="*/ 4447794 h 6081286"/>
                      <a:gd name="connsiteX49" fmla="*/ 175022 w 11532233"/>
                      <a:gd name="connsiteY49" fmla="*/ 3852990 h 6081286"/>
                      <a:gd name="connsiteX50" fmla="*/ 379208 w 11532233"/>
                      <a:gd name="connsiteY50" fmla="*/ 3577783 h 6081286"/>
                      <a:gd name="connsiteX51" fmla="*/ 379208 w 11532233"/>
                      <a:gd name="connsiteY51" fmla="*/ 3409107 h 6081286"/>
                      <a:gd name="connsiteX52" fmla="*/ 370330 w 11532233"/>
                      <a:gd name="connsiteY52" fmla="*/ 2911957 h 6081286"/>
                      <a:gd name="connsiteX53" fmla="*/ 512373 w 11532233"/>
                      <a:gd name="connsiteY53" fmla="*/ 2210621 h 6081286"/>
                      <a:gd name="connsiteX54" fmla="*/ 849725 w 11532233"/>
                      <a:gd name="connsiteY54" fmla="*/ 1358365 h 6081286"/>
                      <a:gd name="connsiteX55" fmla="*/ 1107177 w 11532233"/>
                      <a:gd name="connsiteY55" fmla="*/ 692540 h 6081286"/>
                      <a:gd name="connsiteX56" fmla="*/ 1133810 w 11532233"/>
                      <a:gd name="connsiteY56" fmla="*/ 630396 h 6081286"/>
                      <a:gd name="connsiteX57" fmla="*/ 1062789 w 11532233"/>
                      <a:gd name="connsiteY57" fmla="*/ 541620 h 6081286"/>
                      <a:gd name="connsiteX58" fmla="*/ 1053911 w 11532233"/>
                      <a:gd name="connsiteY58" fmla="*/ 435088 h 6081286"/>
                      <a:gd name="connsiteX59" fmla="*/ 1195954 w 11532233"/>
                      <a:gd name="connsiteY59" fmla="*/ 399577 h 6081286"/>
                      <a:gd name="connsiteX60" fmla="*/ 1568816 w 11532233"/>
                      <a:gd name="connsiteY60" fmla="*/ 319678 h 608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1532233" h="6081286">
                        <a:moveTo>
                          <a:pt x="1568816" y="319678"/>
                        </a:moveTo>
                        <a:cubicBezTo>
                          <a:pt x="1815911" y="281208"/>
                          <a:pt x="2270152" y="217584"/>
                          <a:pt x="2678525" y="168757"/>
                        </a:cubicBezTo>
                        <a:cubicBezTo>
                          <a:pt x="3086898" y="119930"/>
                          <a:pt x="3606241" y="54827"/>
                          <a:pt x="4019053" y="26715"/>
                        </a:cubicBezTo>
                        <a:cubicBezTo>
                          <a:pt x="4431865" y="-1397"/>
                          <a:pt x="4856514" y="82"/>
                          <a:pt x="5155395" y="82"/>
                        </a:cubicBezTo>
                        <a:cubicBezTo>
                          <a:pt x="5454276" y="82"/>
                          <a:pt x="5584482" y="-2877"/>
                          <a:pt x="5812342" y="26715"/>
                        </a:cubicBezTo>
                        <a:cubicBezTo>
                          <a:pt x="6040202" y="56307"/>
                          <a:pt x="6265104" y="72583"/>
                          <a:pt x="6522556" y="177635"/>
                        </a:cubicBezTo>
                        <a:cubicBezTo>
                          <a:pt x="6780009" y="282687"/>
                          <a:pt x="7004910" y="432128"/>
                          <a:pt x="7357057" y="657029"/>
                        </a:cubicBezTo>
                        <a:cubicBezTo>
                          <a:pt x="7709204" y="881930"/>
                          <a:pt x="8281814" y="1279946"/>
                          <a:pt x="8635441" y="1527041"/>
                        </a:cubicBezTo>
                        <a:cubicBezTo>
                          <a:pt x="8989068" y="1774136"/>
                          <a:pt x="9286471" y="2021231"/>
                          <a:pt x="9478820" y="2139600"/>
                        </a:cubicBezTo>
                        <a:cubicBezTo>
                          <a:pt x="9671169" y="2257969"/>
                          <a:pt x="9690404" y="2203223"/>
                          <a:pt x="9789538" y="2237254"/>
                        </a:cubicBezTo>
                        <a:cubicBezTo>
                          <a:pt x="9888672" y="2271285"/>
                          <a:pt x="9956735" y="2269806"/>
                          <a:pt x="10073624" y="2343787"/>
                        </a:cubicBezTo>
                        <a:cubicBezTo>
                          <a:pt x="10190513" y="2417768"/>
                          <a:pt x="10310361" y="2530218"/>
                          <a:pt x="10490874" y="2681138"/>
                        </a:cubicBezTo>
                        <a:cubicBezTo>
                          <a:pt x="10671387" y="2832058"/>
                          <a:pt x="11026493" y="3059919"/>
                          <a:pt x="11156699" y="3249309"/>
                        </a:cubicBezTo>
                        <a:cubicBezTo>
                          <a:pt x="11286905" y="3438699"/>
                          <a:pt x="11245476" y="3668039"/>
                          <a:pt x="11272109" y="3817480"/>
                        </a:cubicBezTo>
                        <a:cubicBezTo>
                          <a:pt x="11298742" y="3966921"/>
                          <a:pt x="11275068" y="3987636"/>
                          <a:pt x="11316497" y="4145954"/>
                        </a:cubicBezTo>
                        <a:cubicBezTo>
                          <a:pt x="11357926" y="4304272"/>
                          <a:pt x="11491092" y="4548408"/>
                          <a:pt x="11520684" y="4767390"/>
                        </a:cubicBezTo>
                        <a:cubicBezTo>
                          <a:pt x="11550276" y="4986372"/>
                          <a:pt x="11516245" y="5271938"/>
                          <a:pt x="11494051" y="5459849"/>
                        </a:cubicBezTo>
                        <a:cubicBezTo>
                          <a:pt x="11471857" y="5647760"/>
                          <a:pt x="11420070" y="5816435"/>
                          <a:pt x="11387519" y="5894854"/>
                        </a:cubicBezTo>
                        <a:cubicBezTo>
                          <a:pt x="11354968" y="5973273"/>
                          <a:pt x="11323896" y="5942202"/>
                          <a:pt x="11298742" y="5930365"/>
                        </a:cubicBezTo>
                        <a:cubicBezTo>
                          <a:pt x="11273588" y="5918528"/>
                          <a:pt x="11246955" y="5881538"/>
                          <a:pt x="11236598" y="5823833"/>
                        </a:cubicBezTo>
                        <a:cubicBezTo>
                          <a:pt x="11226241" y="5766128"/>
                          <a:pt x="11249915" y="5702505"/>
                          <a:pt x="11236598" y="5584136"/>
                        </a:cubicBezTo>
                        <a:cubicBezTo>
                          <a:pt x="11223282" y="5465767"/>
                          <a:pt x="11212924" y="5279336"/>
                          <a:pt x="11156699" y="5113620"/>
                        </a:cubicBezTo>
                        <a:cubicBezTo>
                          <a:pt x="11100474" y="4947904"/>
                          <a:pt x="11023534" y="4728920"/>
                          <a:pt x="10899247" y="4589837"/>
                        </a:cubicBezTo>
                        <a:cubicBezTo>
                          <a:pt x="10774960" y="4450754"/>
                          <a:pt x="10594447" y="4350140"/>
                          <a:pt x="10410975" y="4279119"/>
                        </a:cubicBezTo>
                        <a:cubicBezTo>
                          <a:pt x="10227503" y="4208098"/>
                          <a:pt x="10035154" y="4145954"/>
                          <a:pt x="9798416" y="4163709"/>
                        </a:cubicBezTo>
                        <a:cubicBezTo>
                          <a:pt x="9561678" y="4181464"/>
                          <a:pt x="9202133" y="4265802"/>
                          <a:pt x="8990548" y="4385651"/>
                        </a:cubicBezTo>
                        <a:cubicBezTo>
                          <a:pt x="8778963" y="4505500"/>
                          <a:pt x="8647278" y="4717084"/>
                          <a:pt x="8528909" y="4882800"/>
                        </a:cubicBezTo>
                        <a:cubicBezTo>
                          <a:pt x="8410540" y="5048516"/>
                          <a:pt x="8333600" y="5199437"/>
                          <a:pt x="8280334" y="5379950"/>
                        </a:cubicBezTo>
                        <a:cubicBezTo>
                          <a:pt x="8227068" y="5560463"/>
                          <a:pt x="8224109" y="5851946"/>
                          <a:pt x="8209313" y="5965876"/>
                        </a:cubicBezTo>
                        <a:cubicBezTo>
                          <a:pt x="8194517" y="6079806"/>
                          <a:pt x="8210792" y="6045776"/>
                          <a:pt x="8191557" y="6063531"/>
                        </a:cubicBezTo>
                        <a:cubicBezTo>
                          <a:pt x="8172322" y="6081286"/>
                          <a:pt x="8314365" y="6069449"/>
                          <a:pt x="8093903" y="6072408"/>
                        </a:cubicBezTo>
                        <a:lnTo>
                          <a:pt x="6868785" y="6081286"/>
                        </a:lnTo>
                        <a:lnTo>
                          <a:pt x="3548536" y="6054653"/>
                        </a:lnTo>
                        <a:cubicBezTo>
                          <a:pt x="2928579" y="6051694"/>
                          <a:pt x="3231899" y="6063530"/>
                          <a:pt x="3149041" y="6063530"/>
                        </a:cubicBezTo>
                        <a:cubicBezTo>
                          <a:pt x="3066183" y="6063530"/>
                          <a:pt x="3070622" y="6072408"/>
                          <a:pt x="3051387" y="6054653"/>
                        </a:cubicBezTo>
                        <a:cubicBezTo>
                          <a:pt x="3032152" y="6036898"/>
                          <a:pt x="3046947" y="6029499"/>
                          <a:pt x="3033631" y="5956998"/>
                        </a:cubicBezTo>
                        <a:cubicBezTo>
                          <a:pt x="3020315" y="5884497"/>
                          <a:pt x="2998121" y="5735057"/>
                          <a:pt x="2971488" y="5619647"/>
                        </a:cubicBezTo>
                        <a:cubicBezTo>
                          <a:pt x="2944855" y="5504237"/>
                          <a:pt x="2924140" y="5391787"/>
                          <a:pt x="2873833" y="5264540"/>
                        </a:cubicBezTo>
                        <a:cubicBezTo>
                          <a:pt x="2823526" y="5137293"/>
                          <a:pt x="2764342" y="4983414"/>
                          <a:pt x="2669647" y="4856167"/>
                        </a:cubicBezTo>
                        <a:cubicBezTo>
                          <a:pt x="2574952" y="4728920"/>
                          <a:pt x="2462501" y="4601673"/>
                          <a:pt x="2305662" y="4501060"/>
                        </a:cubicBezTo>
                        <a:cubicBezTo>
                          <a:pt x="2148823" y="4400447"/>
                          <a:pt x="1935759" y="4296874"/>
                          <a:pt x="1728614" y="4252486"/>
                        </a:cubicBezTo>
                        <a:cubicBezTo>
                          <a:pt x="1521469" y="4208098"/>
                          <a:pt x="1268455" y="4191821"/>
                          <a:pt x="1062789" y="4234730"/>
                        </a:cubicBezTo>
                        <a:cubicBezTo>
                          <a:pt x="857123" y="4277639"/>
                          <a:pt x="647018" y="4382691"/>
                          <a:pt x="494618" y="4509938"/>
                        </a:cubicBezTo>
                        <a:cubicBezTo>
                          <a:pt x="342218" y="4637185"/>
                          <a:pt x="210533" y="4845810"/>
                          <a:pt x="148389" y="4998210"/>
                        </a:cubicBezTo>
                        <a:cubicBezTo>
                          <a:pt x="86245" y="5150610"/>
                          <a:pt x="118797" y="5310408"/>
                          <a:pt x="121756" y="5424338"/>
                        </a:cubicBezTo>
                        <a:cubicBezTo>
                          <a:pt x="124715" y="5538268"/>
                          <a:pt x="172063" y="5649238"/>
                          <a:pt x="166144" y="5681790"/>
                        </a:cubicBezTo>
                        <a:cubicBezTo>
                          <a:pt x="160225" y="5714342"/>
                          <a:pt x="112878" y="5661076"/>
                          <a:pt x="86245" y="5619647"/>
                        </a:cubicBezTo>
                        <a:cubicBezTo>
                          <a:pt x="59612" y="5578218"/>
                          <a:pt x="16703" y="5628525"/>
                          <a:pt x="6346" y="5433216"/>
                        </a:cubicBezTo>
                        <a:cubicBezTo>
                          <a:pt x="-4011" y="5237907"/>
                          <a:pt x="-4012" y="4711165"/>
                          <a:pt x="24101" y="4447794"/>
                        </a:cubicBezTo>
                        <a:cubicBezTo>
                          <a:pt x="52214" y="4184423"/>
                          <a:pt x="115838" y="3997992"/>
                          <a:pt x="175022" y="3852990"/>
                        </a:cubicBezTo>
                        <a:cubicBezTo>
                          <a:pt x="234206" y="3707988"/>
                          <a:pt x="345177" y="3651763"/>
                          <a:pt x="379208" y="3577783"/>
                        </a:cubicBezTo>
                        <a:cubicBezTo>
                          <a:pt x="413239" y="3503803"/>
                          <a:pt x="380688" y="3520078"/>
                          <a:pt x="379208" y="3409107"/>
                        </a:cubicBezTo>
                        <a:cubicBezTo>
                          <a:pt x="377728" y="3298136"/>
                          <a:pt x="348136" y="3111705"/>
                          <a:pt x="370330" y="2911957"/>
                        </a:cubicBezTo>
                        <a:cubicBezTo>
                          <a:pt x="392524" y="2712209"/>
                          <a:pt x="432474" y="2469553"/>
                          <a:pt x="512373" y="2210621"/>
                        </a:cubicBezTo>
                        <a:cubicBezTo>
                          <a:pt x="592272" y="1951689"/>
                          <a:pt x="750591" y="1611378"/>
                          <a:pt x="849725" y="1358365"/>
                        </a:cubicBezTo>
                        <a:cubicBezTo>
                          <a:pt x="948859" y="1105352"/>
                          <a:pt x="1059830" y="813868"/>
                          <a:pt x="1107177" y="692540"/>
                        </a:cubicBezTo>
                        <a:cubicBezTo>
                          <a:pt x="1154524" y="571212"/>
                          <a:pt x="1141208" y="655549"/>
                          <a:pt x="1133810" y="630396"/>
                        </a:cubicBezTo>
                        <a:cubicBezTo>
                          <a:pt x="1126412" y="605243"/>
                          <a:pt x="1076105" y="574171"/>
                          <a:pt x="1062789" y="541620"/>
                        </a:cubicBezTo>
                        <a:cubicBezTo>
                          <a:pt x="1049473" y="509069"/>
                          <a:pt x="1031717" y="458762"/>
                          <a:pt x="1053911" y="435088"/>
                        </a:cubicBezTo>
                        <a:cubicBezTo>
                          <a:pt x="1076105" y="411414"/>
                          <a:pt x="1113096" y="417333"/>
                          <a:pt x="1195954" y="399577"/>
                        </a:cubicBezTo>
                        <a:cubicBezTo>
                          <a:pt x="1278812" y="381822"/>
                          <a:pt x="1321721" y="358148"/>
                          <a:pt x="1568816" y="319678"/>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0" name="Oval 39"/>
                  <p:cNvSpPr/>
                  <p:nvPr/>
                </p:nvSpPr>
                <p:spPr bwMode="auto">
                  <a:xfrm>
                    <a:off x="1062112" y="4495474"/>
                    <a:ext cx="2487722" cy="248772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38" name="Oval 1937"/>
                  <p:cNvSpPr/>
                  <p:nvPr/>
                </p:nvSpPr>
                <p:spPr bwMode="auto">
                  <a:xfrm>
                    <a:off x="9406071" y="4391927"/>
                    <a:ext cx="2487724" cy="24877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39" name="Oval 1938"/>
                  <p:cNvSpPr/>
                  <p:nvPr/>
                </p:nvSpPr>
                <p:spPr bwMode="auto">
                  <a:xfrm>
                    <a:off x="1523242" y="4999723"/>
                    <a:ext cx="1544681" cy="154466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40" name="Oval 1939"/>
                  <p:cNvSpPr/>
                  <p:nvPr/>
                </p:nvSpPr>
                <p:spPr bwMode="auto">
                  <a:xfrm>
                    <a:off x="9877601" y="4875397"/>
                    <a:ext cx="1544679" cy="154467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1" name="Oval 40"/>
                  <p:cNvSpPr/>
                  <p:nvPr/>
                </p:nvSpPr>
                <p:spPr bwMode="auto">
                  <a:xfrm>
                    <a:off x="1738251" y="3012290"/>
                    <a:ext cx="743434" cy="743436"/>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6" name="Freeform 45"/>
                  <p:cNvSpPr/>
                  <p:nvPr/>
                </p:nvSpPr>
                <p:spPr bwMode="auto">
                  <a:xfrm>
                    <a:off x="3359612" y="392831"/>
                    <a:ext cx="5009443" cy="2063444"/>
                  </a:xfrm>
                  <a:custGeom>
                    <a:avLst/>
                    <a:gdLst>
                      <a:gd name="connsiteX0" fmla="*/ 431699 w 5032299"/>
                      <a:gd name="connsiteY0" fmla="*/ 157886 h 2109367"/>
                      <a:gd name="connsiteX1" fmla="*/ 275836 w 5032299"/>
                      <a:gd name="connsiteY1" fmla="*/ 490395 h 2109367"/>
                      <a:gd name="connsiteX2" fmla="*/ 47236 w 5032299"/>
                      <a:gd name="connsiteY2" fmla="*/ 1300886 h 2109367"/>
                      <a:gd name="connsiteX3" fmla="*/ 26454 w 5032299"/>
                      <a:gd name="connsiteY3" fmla="*/ 1695741 h 2109367"/>
                      <a:gd name="connsiteX4" fmla="*/ 348572 w 5032299"/>
                      <a:gd name="connsiteY4" fmla="*/ 1747695 h 2109367"/>
                      <a:gd name="connsiteX5" fmla="*/ 2821608 w 5032299"/>
                      <a:gd name="connsiteY5" fmla="*/ 1893168 h 2109367"/>
                      <a:gd name="connsiteX6" fmla="*/ 4847836 w 5032299"/>
                      <a:gd name="connsiteY6" fmla="*/ 2059423 h 2109367"/>
                      <a:gd name="connsiteX7" fmla="*/ 4951745 w 5032299"/>
                      <a:gd name="connsiteY7" fmla="*/ 2059423 h 2109367"/>
                      <a:gd name="connsiteX8" fmla="*/ 4962136 w 5032299"/>
                      <a:gd name="connsiteY8" fmla="*/ 1477532 h 2109367"/>
                      <a:gd name="connsiteX9" fmla="*/ 4941354 w 5032299"/>
                      <a:gd name="connsiteY9" fmla="*/ 1134632 h 2109367"/>
                      <a:gd name="connsiteX10" fmla="*/ 4743927 w 5032299"/>
                      <a:gd name="connsiteY10" fmla="*/ 947595 h 2109367"/>
                      <a:gd name="connsiteX11" fmla="*/ 3943827 w 5032299"/>
                      <a:gd name="connsiteY11" fmla="*/ 407268 h 2109367"/>
                      <a:gd name="connsiteX12" fmla="*/ 3174899 w 5032299"/>
                      <a:gd name="connsiteY12" fmla="*/ 85150 h 2109367"/>
                      <a:gd name="connsiteX13" fmla="*/ 2343627 w 5032299"/>
                      <a:gd name="connsiteY13" fmla="*/ 2023 h 2109367"/>
                      <a:gd name="connsiteX14" fmla="*/ 1366881 w 5032299"/>
                      <a:gd name="connsiteY14" fmla="*/ 33195 h 2109367"/>
                      <a:gd name="connsiteX15" fmla="*/ 545999 w 5032299"/>
                      <a:gd name="connsiteY15" fmla="*/ 116323 h 2109367"/>
                      <a:gd name="connsiteX16" fmla="*/ 431699 w 5032299"/>
                      <a:gd name="connsiteY16" fmla="*/ 157886 h 2109367"/>
                      <a:gd name="connsiteX0" fmla="*/ 431699 w 5033308"/>
                      <a:gd name="connsiteY0" fmla="*/ 157886 h 2073426"/>
                      <a:gd name="connsiteX1" fmla="*/ 275836 w 5033308"/>
                      <a:gd name="connsiteY1" fmla="*/ 490395 h 2073426"/>
                      <a:gd name="connsiteX2" fmla="*/ 47236 w 5033308"/>
                      <a:gd name="connsiteY2" fmla="*/ 1300886 h 2073426"/>
                      <a:gd name="connsiteX3" fmla="*/ 26454 w 5033308"/>
                      <a:gd name="connsiteY3" fmla="*/ 1695741 h 2073426"/>
                      <a:gd name="connsiteX4" fmla="*/ 348572 w 5033308"/>
                      <a:gd name="connsiteY4" fmla="*/ 1747695 h 2073426"/>
                      <a:gd name="connsiteX5" fmla="*/ 2821608 w 5033308"/>
                      <a:gd name="connsiteY5" fmla="*/ 1893168 h 2073426"/>
                      <a:gd name="connsiteX6" fmla="*/ 4847836 w 5033308"/>
                      <a:gd name="connsiteY6" fmla="*/ 2059423 h 2073426"/>
                      <a:gd name="connsiteX7" fmla="*/ 4951745 w 5033308"/>
                      <a:gd name="connsiteY7" fmla="*/ 2059423 h 2073426"/>
                      <a:gd name="connsiteX8" fmla="*/ 4941354 w 5033308"/>
                      <a:gd name="connsiteY8" fmla="*/ 2017859 h 2073426"/>
                      <a:gd name="connsiteX9" fmla="*/ 4962136 w 5033308"/>
                      <a:gd name="connsiteY9" fmla="*/ 1477532 h 2073426"/>
                      <a:gd name="connsiteX10" fmla="*/ 4941354 w 5033308"/>
                      <a:gd name="connsiteY10" fmla="*/ 1134632 h 2073426"/>
                      <a:gd name="connsiteX11" fmla="*/ 4743927 w 5033308"/>
                      <a:gd name="connsiteY11" fmla="*/ 947595 h 2073426"/>
                      <a:gd name="connsiteX12" fmla="*/ 3943827 w 5033308"/>
                      <a:gd name="connsiteY12" fmla="*/ 407268 h 2073426"/>
                      <a:gd name="connsiteX13" fmla="*/ 3174899 w 5033308"/>
                      <a:gd name="connsiteY13" fmla="*/ 85150 h 2073426"/>
                      <a:gd name="connsiteX14" fmla="*/ 2343627 w 5033308"/>
                      <a:gd name="connsiteY14" fmla="*/ 2023 h 2073426"/>
                      <a:gd name="connsiteX15" fmla="*/ 1366881 w 5033308"/>
                      <a:gd name="connsiteY15" fmla="*/ 33195 h 2073426"/>
                      <a:gd name="connsiteX16" fmla="*/ 545999 w 5033308"/>
                      <a:gd name="connsiteY16" fmla="*/ 116323 h 2073426"/>
                      <a:gd name="connsiteX17" fmla="*/ 431699 w 5033308"/>
                      <a:gd name="connsiteY17" fmla="*/ 157886 h 2073426"/>
                      <a:gd name="connsiteX0" fmla="*/ 431699 w 5031797"/>
                      <a:gd name="connsiteY0" fmla="*/ 157886 h 2079560"/>
                      <a:gd name="connsiteX1" fmla="*/ 275836 w 5031797"/>
                      <a:gd name="connsiteY1" fmla="*/ 490395 h 2079560"/>
                      <a:gd name="connsiteX2" fmla="*/ 47236 w 5031797"/>
                      <a:gd name="connsiteY2" fmla="*/ 1300886 h 2079560"/>
                      <a:gd name="connsiteX3" fmla="*/ 26454 w 5031797"/>
                      <a:gd name="connsiteY3" fmla="*/ 1695741 h 2079560"/>
                      <a:gd name="connsiteX4" fmla="*/ 348572 w 5031797"/>
                      <a:gd name="connsiteY4" fmla="*/ 1747695 h 2079560"/>
                      <a:gd name="connsiteX5" fmla="*/ 2821608 w 5031797"/>
                      <a:gd name="connsiteY5" fmla="*/ 1893168 h 2079560"/>
                      <a:gd name="connsiteX6" fmla="*/ 4847836 w 5031797"/>
                      <a:gd name="connsiteY6" fmla="*/ 2059423 h 2079560"/>
                      <a:gd name="connsiteX7" fmla="*/ 4951745 w 5031797"/>
                      <a:gd name="connsiteY7" fmla="*/ 2059423 h 2079560"/>
                      <a:gd name="connsiteX8" fmla="*/ 4972527 w 5031797"/>
                      <a:gd name="connsiteY8" fmla="*/ 1903559 h 2079560"/>
                      <a:gd name="connsiteX9" fmla="*/ 4962136 w 5031797"/>
                      <a:gd name="connsiteY9" fmla="*/ 1477532 h 2079560"/>
                      <a:gd name="connsiteX10" fmla="*/ 4941354 w 5031797"/>
                      <a:gd name="connsiteY10" fmla="*/ 1134632 h 2079560"/>
                      <a:gd name="connsiteX11" fmla="*/ 4743927 w 5031797"/>
                      <a:gd name="connsiteY11" fmla="*/ 947595 h 2079560"/>
                      <a:gd name="connsiteX12" fmla="*/ 3943827 w 5031797"/>
                      <a:gd name="connsiteY12" fmla="*/ 407268 h 2079560"/>
                      <a:gd name="connsiteX13" fmla="*/ 3174899 w 5031797"/>
                      <a:gd name="connsiteY13" fmla="*/ 85150 h 2079560"/>
                      <a:gd name="connsiteX14" fmla="*/ 2343627 w 5031797"/>
                      <a:gd name="connsiteY14" fmla="*/ 2023 h 2079560"/>
                      <a:gd name="connsiteX15" fmla="*/ 1366881 w 5031797"/>
                      <a:gd name="connsiteY15" fmla="*/ 33195 h 2079560"/>
                      <a:gd name="connsiteX16" fmla="*/ 545999 w 5031797"/>
                      <a:gd name="connsiteY16" fmla="*/ 116323 h 2079560"/>
                      <a:gd name="connsiteX17" fmla="*/ 431699 w 5031797"/>
                      <a:gd name="connsiteY17" fmla="*/ 157886 h 2079560"/>
                      <a:gd name="connsiteX0" fmla="*/ 431699 w 5036288"/>
                      <a:gd name="connsiteY0" fmla="*/ 157886 h 2065581"/>
                      <a:gd name="connsiteX1" fmla="*/ 275836 w 5036288"/>
                      <a:gd name="connsiteY1" fmla="*/ 490395 h 2065581"/>
                      <a:gd name="connsiteX2" fmla="*/ 47236 w 5036288"/>
                      <a:gd name="connsiteY2" fmla="*/ 1300886 h 2065581"/>
                      <a:gd name="connsiteX3" fmla="*/ 26454 w 5036288"/>
                      <a:gd name="connsiteY3" fmla="*/ 1695741 h 2065581"/>
                      <a:gd name="connsiteX4" fmla="*/ 348572 w 5036288"/>
                      <a:gd name="connsiteY4" fmla="*/ 1747695 h 2065581"/>
                      <a:gd name="connsiteX5" fmla="*/ 2821608 w 5036288"/>
                      <a:gd name="connsiteY5" fmla="*/ 1893168 h 2065581"/>
                      <a:gd name="connsiteX6" fmla="*/ 4847836 w 5036288"/>
                      <a:gd name="connsiteY6" fmla="*/ 2059423 h 2065581"/>
                      <a:gd name="connsiteX7" fmla="*/ 4962136 w 5036288"/>
                      <a:gd name="connsiteY7" fmla="*/ 2017860 h 2065581"/>
                      <a:gd name="connsiteX8" fmla="*/ 4972527 w 5036288"/>
                      <a:gd name="connsiteY8" fmla="*/ 1903559 h 2065581"/>
                      <a:gd name="connsiteX9" fmla="*/ 4962136 w 5036288"/>
                      <a:gd name="connsiteY9" fmla="*/ 1477532 h 2065581"/>
                      <a:gd name="connsiteX10" fmla="*/ 4941354 w 5036288"/>
                      <a:gd name="connsiteY10" fmla="*/ 1134632 h 2065581"/>
                      <a:gd name="connsiteX11" fmla="*/ 4743927 w 5036288"/>
                      <a:gd name="connsiteY11" fmla="*/ 947595 h 2065581"/>
                      <a:gd name="connsiteX12" fmla="*/ 3943827 w 5036288"/>
                      <a:gd name="connsiteY12" fmla="*/ 407268 h 2065581"/>
                      <a:gd name="connsiteX13" fmla="*/ 3174899 w 5036288"/>
                      <a:gd name="connsiteY13" fmla="*/ 85150 h 2065581"/>
                      <a:gd name="connsiteX14" fmla="*/ 2343627 w 5036288"/>
                      <a:gd name="connsiteY14" fmla="*/ 2023 h 2065581"/>
                      <a:gd name="connsiteX15" fmla="*/ 1366881 w 5036288"/>
                      <a:gd name="connsiteY15" fmla="*/ 33195 h 2065581"/>
                      <a:gd name="connsiteX16" fmla="*/ 545999 w 5036288"/>
                      <a:gd name="connsiteY16" fmla="*/ 116323 h 2065581"/>
                      <a:gd name="connsiteX17" fmla="*/ 431699 w 5036288"/>
                      <a:gd name="connsiteY17" fmla="*/ 157886 h 2065581"/>
                      <a:gd name="connsiteX0" fmla="*/ 431699 w 5036805"/>
                      <a:gd name="connsiteY0" fmla="*/ 157886 h 2066812"/>
                      <a:gd name="connsiteX1" fmla="*/ 275836 w 5036805"/>
                      <a:gd name="connsiteY1" fmla="*/ 490395 h 2066812"/>
                      <a:gd name="connsiteX2" fmla="*/ 47236 w 5036805"/>
                      <a:gd name="connsiteY2" fmla="*/ 1300886 h 2066812"/>
                      <a:gd name="connsiteX3" fmla="*/ 26454 w 5036805"/>
                      <a:gd name="connsiteY3" fmla="*/ 1695741 h 2066812"/>
                      <a:gd name="connsiteX4" fmla="*/ 348572 w 5036805"/>
                      <a:gd name="connsiteY4" fmla="*/ 1747695 h 2066812"/>
                      <a:gd name="connsiteX5" fmla="*/ 2821608 w 5036805"/>
                      <a:gd name="connsiteY5" fmla="*/ 1893168 h 2066812"/>
                      <a:gd name="connsiteX6" fmla="*/ 4847836 w 5036805"/>
                      <a:gd name="connsiteY6" fmla="*/ 2059423 h 2066812"/>
                      <a:gd name="connsiteX7" fmla="*/ 4962136 w 5036805"/>
                      <a:gd name="connsiteY7" fmla="*/ 2017860 h 2066812"/>
                      <a:gd name="connsiteX8" fmla="*/ 4962136 w 5036805"/>
                      <a:gd name="connsiteY8" fmla="*/ 1841213 h 2066812"/>
                      <a:gd name="connsiteX9" fmla="*/ 4962136 w 5036805"/>
                      <a:gd name="connsiteY9" fmla="*/ 1477532 h 2066812"/>
                      <a:gd name="connsiteX10" fmla="*/ 4941354 w 5036805"/>
                      <a:gd name="connsiteY10" fmla="*/ 1134632 h 2066812"/>
                      <a:gd name="connsiteX11" fmla="*/ 4743927 w 5036805"/>
                      <a:gd name="connsiteY11" fmla="*/ 947595 h 2066812"/>
                      <a:gd name="connsiteX12" fmla="*/ 3943827 w 5036805"/>
                      <a:gd name="connsiteY12" fmla="*/ 407268 h 2066812"/>
                      <a:gd name="connsiteX13" fmla="*/ 3174899 w 5036805"/>
                      <a:gd name="connsiteY13" fmla="*/ 85150 h 2066812"/>
                      <a:gd name="connsiteX14" fmla="*/ 2343627 w 5036805"/>
                      <a:gd name="connsiteY14" fmla="*/ 2023 h 2066812"/>
                      <a:gd name="connsiteX15" fmla="*/ 1366881 w 5036805"/>
                      <a:gd name="connsiteY15" fmla="*/ 33195 h 2066812"/>
                      <a:gd name="connsiteX16" fmla="*/ 545999 w 5036805"/>
                      <a:gd name="connsiteY16" fmla="*/ 116323 h 2066812"/>
                      <a:gd name="connsiteX17" fmla="*/ 431699 w 5036805"/>
                      <a:gd name="connsiteY17" fmla="*/ 157886 h 2066812"/>
                      <a:gd name="connsiteX0" fmla="*/ 431699 w 5171081"/>
                      <a:gd name="connsiteY0" fmla="*/ 157886 h 2231384"/>
                      <a:gd name="connsiteX1" fmla="*/ 275836 w 5171081"/>
                      <a:gd name="connsiteY1" fmla="*/ 490395 h 2231384"/>
                      <a:gd name="connsiteX2" fmla="*/ 47236 w 5171081"/>
                      <a:gd name="connsiteY2" fmla="*/ 1300886 h 2231384"/>
                      <a:gd name="connsiteX3" fmla="*/ 26454 w 5171081"/>
                      <a:gd name="connsiteY3" fmla="*/ 1695741 h 2231384"/>
                      <a:gd name="connsiteX4" fmla="*/ 348572 w 5171081"/>
                      <a:gd name="connsiteY4" fmla="*/ 1747695 h 2231384"/>
                      <a:gd name="connsiteX5" fmla="*/ 2821608 w 5171081"/>
                      <a:gd name="connsiteY5" fmla="*/ 1893168 h 2231384"/>
                      <a:gd name="connsiteX6" fmla="*/ 4847836 w 5171081"/>
                      <a:gd name="connsiteY6" fmla="*/ 2059423 h 2231384"/>
                      <a:gd name="connsiteX7" fmla="*/ 5169954 w 5171081"/>
                      <a:gd name="connsiteY7" fmla="*/ 2225678 h 2231384"/>
                      <a:gd name="connsiteX8" fmla="*/ 4962136 w 5171081"/>
                      <a:gd name="connsiteY8" fmla="*/ 1841213 h 2231384"/>
                      <a:gd name="connsiteX9" fmla="*/ 4962136 w 5171081"/>
                      <a:gd name="connsiteY9" fmla="*/ 1477532 h 2231384"/>
                      <a:gd name="connsiteX10" fmla="*/ 4941354 w 5171081"/>
                      <a:gd name="connsiteY10" fmla="*/ 1134632 h 2231384"/>
                      <a:gd name="connsiteX11" fmla="*/ 4743927 w 5171081"/>
                      <a:gd name="connsiteY11" fmla="*/ 947595 h 2231384"/>
                      <a:gd name="connsiteX12" fmla="*/ 3943827 w 5171081"/>
                      <a:gd name="connsiteY12" fmla="*/ 407268 h 2231384"/>
                      <a:gd name="connsiteX13" fmla="*/ 3174899 w 5171081"/>
                      <a:gd name="connsiteY13" fmla="*/ 85150 h 2231384"/>
                      <a:gd name="connsiteX14" fmla="*/ 2343627 w 5171081"/>
                      <a:gd name="connsiteY14" fmla="*/ 2023 h 2231384"/>
                      <a:gd name="connsiteX15" fmla="*/ 1366881 w 5171081"/>
                      <a:gd name="connsiteY15" fmla="*/ 33195 h 2231384"/>
                      <a:gd name="connsiteX16" fmla="*/ 545999 w 5171081"/>
                      <a:gd name="connsiteY16" fmla="*/ 116323 h 2231384"/>
                      <a:gd name="connsiteX17" fmla="*/ 431699 w 5171081"/>
                      <a:gd name="connsiteY17" fmla="*/ 157886 h 2231384"/>
                      <a:gd name="connsiteX0" fmla="*/ 431699 w 5036805"/>
                      <a:gd name="connsiteY0" fmla="*/ 157886 h 2064828"/>
                      <a:gd name="connsiteX1" fmla="*/ 275836 w 5036805"/>
                      <a:gd name="connsiteY1" fmla="*/ 490395 h 2064828"/>
                      <a:gd name="connsiteX2" fmla="*/ 47236 w 5036805"/>
                      <a:gd name="connsiteY2" fmla="*/ 1300886 h 2064828"/>
                      <a:gd name="connsiteX3" fmla="*/ 26454 w 5036805"/>
                      <a:gd name="connsiteY3" fmla="*/ 1695741 h 2064828"/>
                      <a:gd name="connsiteX4" fmla="*/ 348572 w 5036805"/>
                      <a:gd name="connsiteY4" fmla="*/ 1747695 h 2064828"/>
                      <a:gd name="connsiteX5" fmla="*/ 2821608 w 5036805"/>
                      <a:gd name="connsiteY5" fmla="*/ 1893168 h 2064828"/>
                      <a:gd name="connsiteX6" fmla="*/ 4847836 w 5036805"/>
                      <a:gd name="connsiteY6" fmla="*/ 2059423 h 2064828"/>
                      <a:gd name="connsiteX7" fmla="*/ 4962136 w 5036805"/>
                      <a:gd name="connsiteY7" fmla="*/ 2007469 h 2064828"/>
                      <a:gd name="connsiteX8" fmla="*/ 4962136 w 5036805"/>
                      <a:gd name="connsiteY8" fmla="*/ 1841213 h 2064828"/>
                      <a:gd name="connsiteX9" fmla="*/ 4962136 w 5036805"/>
                      <a:gd name="connsiteY9" fmla="*/ 1477532 h 2064828"/>
                      <a:gd name="connsiteX10" fmla="*/ 4941354 w 5036805"/>
                      <a:gd name="connsiteY10" fmla="*/ 1134632 h 2064828"/>
                      <a:gd name="connsiteX11" fmla="*/ 4743927 w 5036805"/>
                      <a:gd name="connsiteY11" fmla="*/ 947595 h 2064828"/>
                      <a:gd name="connsiteX12" fmla="*/ 3943827 w 5036805"/>
                      <a:gd name="connsiteY12" fmla="*/ 407268 h 2064828"/>
                      <a:gd name="connsiteX13" fmla="*/ 3174899 w 5036805"/>
                      <a:gd name="connsiteY13" fmla="*/ 85150 h 2064828"/>
                      <a:gd name="connsiteX14" fmla="*/ 2343627 w 5036805"/>
                      <a:gd name="connsiteY14" fmla="*/ 2023 h 2064828"/>
                      <a:gd name="connsiteX15" fmla="*/ 1366881 w 5036805"/>
                      <a:gd name="connsiteY15" fmla="*/ 33195 h 2064828"/>
                      <a:gd name="connsiteX16" fmla="*/ 545999 w 5036805"/>
                      <a:gd name="connsiteY16" fmla="*/ 116323 h 2064828"/>
                      <a:gd name="connsiteX17" fmla="*/ 431699 w 5036805"/>
                      <a:gd name="connsiteY17" fmla="*/ 157886 h 2064828"/>
                      <a:gd name="connsiteX0" fmla="*/ 431699 w 5000238"/>
                      <a:gd name="connsiteY0" fmla="*/ 157886 h 2038295"/>
                      <a:gd name="connsiteX1" fmla="*/ 275836 w 5000238"/>
                      <a:gd name="connsiteY1" fmla="*/ 490395 h 2038295"/>
                      <a:gd name="connsiteX2" fmla="*/ 47236 w 5000238"/>
                      <a:gd name="connsiteY2" fmla="*/ 1300886 h 2038295"/>
                      <a:gd name="connsiteX3" fmla="*/ 26454 w 5000238"/>
                      <a:gd name="connsiteY3" fmla="*/ 1695741 h 2038295"/>
                      <a:gd name="connsiteX4" fmla="*/ 348572 w 5000238"/>
                      <a:gd name="connsiteY4" fmla="*/ 1747695 h 2038295"/>
                      <a:gd name="connsiteX5" fmla="*/ 2821608 w 5000238"/>
                      <a:gd name="connsiteY5" fmla="*/ 1893168 h 2038295"/>
                      <a:gd name="connsiteX6" fmla="*/ 4442590 w 5000238"/>
                      <a:gd name="connsiteY6" fmla="*/ 2028251 h 2038295"/>
                      <a:gd name="connsiteX7" fmla="*/ 4962136 w 5000238"/>
                      <a:gd name="connsiteY7" fmla="*/ 2007469 h 2038295"/>
                      <a:gd name="connsiteX8" fmla="*/ 4962136 w 5000238"/>
                      <a:gd name="connsiteY8" fmla="*/ 1841213 h 2038295"/>
                      <a:gd name="connsiteX9" fmla="*/ 4962136 w 5000238"/>
                      <a:gd name="connsiteY9" fmla="*/ 1477532 h 2038295"/>
                      <a:gd name="connsiteX10" fmla="*/ 4941354 w 5000238"/>
                      <a:gd name="connsiteY10" fmla="*/ 1134632 h 2038295"/>
                      <a:gd name="connsiteX11" fmla="*/ 4743927 w 5000238"/>
                      <a:gd name="connsiteY11" fmla="*/ 947595 h 2038295"/>
                      <a:gd name="connsiteX12" fmla="*/ 3943827 w 5000238"/>
                      <a:gd name="connsiteY12" fmla="*/ 407268 h 2038295"/>
                      <a:gd name="connsiteX13" fmla="*/ 3174899 w 5000238"/>
                      <a:gd name="connsiteY13" fmla="*/ 85150 h 2038295"/>
                      <a:gd name="connsiteX14" fmla="*/ 2343627 w 5000238"/>
                      <a:gd name="connsiteY14" fmla="*/ 2023 h 2038295"/>
                      <a:gd name="connsiteX15" fmla="*/ 1366881 w 5000238"/>
                      <a:gd name="connsiteY15" fmla="*/ 33195 h 2038295"/>
                      <a:gd name="connsiteX16" fmla="*/ 545999 w 5000238"/>
                      <a:gd name="connsiteY16" fmla="*/ 116323 h 2038295"/>
                      <a:gd name="connsiteX17" fmla="*/ 431699 w 5000238"/>
                      <a:gd name="connsiteY17" fmla="*/ 157886 h 2038295"/>
                      <a:gd name="connsiteX0" fmla="*/ 431699 w 4992689"/>
                      <a:gd name="connsiteY0" fmla="*/ 157886 h 2055455"/>
                      <a:gd name="connsiteX1" fmla="*/ 275836 w 4992689"/>
                      <a:gd name="connsiteY1" fmla="*/ 490395 h 2055455"/>
                      <a:gd name="connsiteX2" fmla="*/ 47236 w 4992689"/>
                      <a:gd name="connsiteY2" fmla="*/ 1300886 h 2055455"/>
                      <a:gd name="connsiteX3" fmla="*/ 26454 w 4992689"/>
                      <a:gd name="connsiteY3" fmla="*/ 1695741 h 2055455"/>
                      <a:gd name="connsiteX4" fmla="*/ 348572 w 4992689"/>
                      <a:gd name="connsiteY4" fmla="*/ 1747695 h 2055455"/>
                      <a:gd name="connsiteX5" fmla="*/ 2821608 w 4992689"/>
                      <a:gd name="connsiteY5" fmla="*/ 1893168 h 2055455"/>
                      <a:gd name="connsiteX6" fmla="*/ 4442590 w 4992689"/>
                      <a:gd name="connsiteY6" fmla="*/ 2028251 h 2055455"/>
                      <a:gd name="connsiteX7" fmla="*/ 4951745 w 4992689"/>
                      <a:gd name="connsiteY7" fmla="*/ 2038642 h 2055455"/>
                      <a:gd name="connsiteX8" fmla="*/ 4962136 w 4992689"/>
                      <a:gd name="connsiteY8" fmla="*/ 1841213 h 2055455"/>
                      <a:gd name="connsiteX9" fmla="*/ 4962136 w 4992689"/>
                      <a:gd name="connsiteY9" fmla="*/ 1477532 h 2055455"/>
                      <a:gd name="connsiteX10" fmla="*/ 4941354 w 4992689"/>
                      <a:gd name="connsiteY10" fmla="*/ 1134632 h 2055455"/>
                      <a:gd name="connsiteX11" fmla="*/ 4743927 w 4992689"/>
                      <a:gd name="connsiteY11" fmla="*/ 947595 h 2055455"/>
                      <a:gd name="connsiteX12" fmla="*/ 3943827 w 4992689"/>
                      <a:gd name="connsiteY12" fmla="*/ 407268 h 2055455"/>
                      <a:gd name="connsiteX13" fmla="*/ 3174899 w 4992689"/>
                      <a:gd name="connsiteY13" fmla="*/ 85150 h 2055455"/>
                      <a:gd name="connsiteX14" fmla="*/ 2343627 w 4992689"/>
                      <a:gd name="connsiteY14" fmla="*/ 2023 h 2055455"/>
                      <a:gd name="connsiteX15" fmla="*/ 1366881 w 4992689"/>
                      <a:gd name="connsiteY15" fmla="*/ 33195 h 2055455"/>
                      <a:gd name="connsiteX16" fmla="*/ 545999 w 4992689"/>
                      <a:gd name="connsiteY16" fmla="*/ 116323 h 2055455"/>
                      <a:gd name="connsiteX17" fmla="*/ 431699 w 4992689"/>
                      <a:gd name="connsiteY17" fmla="*/ 157886 h 2055455"/>
                      <a:gd name="connsiteX0" fmla="*/ 431699 w 4964135"/>
                      <a:gd name="connsiteY0" fmla="*/ 157886 h 2078387"/>
                      <a:gd name="connsiteX1" fmla="*/ 275836 w 4964135"/>
                      <a:gd name="connsiteY1" fmla="*/ 490395 h 2078387"/>
                      <a:gd name="connsiteX2" fmla="*/ 47236 w 4964135"/>
                      <a:gd name="connsiteY2" fmla="*/ 1300886 h 2078387"/>
                      <a:gd name="connsiteX3" fmla="*/ 26454 w 4964135"/>
                      <a:gd name="connsiteY3" fmla="*/ 1695741 h 2078387"/>
                      <a:gd name="connsiteX4" fmla="*/ 348572 w 4964135"/>
                      <a:gd name="connsiteY4" fmla="*/ 1747695 h 2078387"/>
                      <a:gd name="connsiteX5" fmla="*/ 2821608 w 4964135"/>
                      <a:gd name="connsiteY5" fmla="*/ 1893168 h 2078387"/>
                      <a:gd name="connsiteX6" fmla="*/ 4442590 w 4964135"/>
                      <a:gd name="connsiteY6" fmla="*/ 2028251 h 2078387"/>
                      <a:gd name="connsiteX7" fmla="*/ 4951745 w 4964135"/>
                      <a:gd name="connsiteY7" fmla="*/ 2038642 h 2078387"/>
                      <a:gd name="connsiteX8" fmla="*/ 4962136 w 4964135"/>
                      <a:gd name="connsiteY8" fmla="*/ 1841213 h 2078387"/>
                      <a:gd name="connsiteX9" fmla="*/ 4962136 w 4964135"/>
                      <a:gd name="connsiteY9" fmla="*/ 1477532 h 2078387"/>
                      <a:gd name="connsiteX10" fmla="*/ 4941354 w 4964135"/>
                      <a:gd name="connsiteY10" fmla="*/ 1134632 h 2078387"/>
                      <a:gd name="connsiteX11" fmla="*/ 4743927 w 4964135"/>
                      <a:gd name="connsiteY11" fmla="*/ 947595 h 2078387"/>
                      <a:gd name="connsiteX12" fmla="*/ 3943827 w 4964135"/>
                      <a:gd name="connsiteY12" fmla="*/ 407268 h 2078387"/>
                      <a:gd name="connsiteX13" fmla="*/ 3174899 w 4964135"/>
                      <a:gd name="connsiteY13" fmla="*/ 85150 h 2078387"/>
                      <a:gd name="connsiteX14" fmla="*/ 2343627 w 4964135"/>
                      <a:gd name="connsiteY14" fmla="*/ 2023 h 2078387"/>
                      <a:gd name="connsiteX15" fmla="*/ 1366881 w 4964135"/>
                      <a:gd name="connsiteY15" fmla="*/ 33195 h 2078387"/>
                      <a:gd name="connsiteX16" fmla="*/ 545999 w 4964135"/>
                      <a:gd name="connsiteY16" fmla="*/ 116323 h 2078387"/>
                      <a:gd name="connsiteX17" fmla="*/ 431699 w 4964135"/>
                      <a:gd name="connsiteY17" fmla="*/ 157886 h 2078387"/>
                      <a:gd name="connsiteX0" fmla="*/ 431699 w 4964135"/>
                      <a:gd name="connsiteY0" fmla="*/ 157886 h 2063444"/>
                      <a:gd name="connsiteX1" fmla="*/ 275836 w 4964135"/>
                      <a:gd name="connsiteY1" fmla="*/ 490395 h 2063444"/>
                      <a:gd name="connsiteX2" fmla="*/ 47236 w 4964135"/>
                      <a:gd name="connsiteY2" fmla="*/ 1300886 h 2063444"/>
                      <a:gd name="connsiteX3" fmla="*/ 26454 w 4964135"/>
                      <a:gd name="connsiteY3" fmla="*/ 1695741 h 2063444"/>
                      <a:gd name="connsiteX4" fmla="*/ 348572 w 4964135"/>
                      <a:gd name="connsiteY4" fmla="*/ 1747695 h 2063444"/>
                      <a:gd name="connsiteX5" fmla="*/ 2821608 w 4964135"/>
                      <a:gd name="connsiteY5" fmla="*/ 1893168 h 2063444"/>
                      <a:gd name="connsiteX6" fmla="*/ 4442590 w 4964135"/>
                      <a:gd name="connsiteY6" fmla="*/ 2028251 h 2063444"/>
                      <a:gd name="connsiteX7" fmla="*/ 4941354 w 4964135"/>
                      <a:gd name="connsiteY7" fmla="*/ 2017860 h 2063444"/>
                      <a:gd name="connsiteX8" fmla="*/ 4962136 w 4964135"/>
                      <a:gd name="connsiteY8" fmla="*/ 1841213 h 2063444"/>
                      <a:gd name="connsiteX9" fmla="*/ 4962136 w 4964135"/>
                      <a:gd name="connsiteY9" fmla="*/ 1477532 h 2063444"/>
                      <a:gd name="connsiteX10" fmla="*/ 4941354 w 4964135"/>
                      <a:gd name="connsiteY10" fmla="*/ 1134632 h 2063444"/>
                      <a:gd name="connsiteX11" fmla="*/ 4743927 w 4964135"/>
                      <a:gd name="connsiteY11" fmla="*/ 947595 h 2063444"/>
                      <a:gd name="connsiteX12" fmla="*/ 3943827 w 4964135"/>
                      <a:gd name="connsiteY12" fmla="*/ 407268 h 2063444"/>
                      <a:gd name="connsiteX13" fmla="*/ 3174899 w 4964135"/>
                      <a:gd name="connsiteY13" fmla="*/ 85150 h 2063444"/>
                      <a:gd name="connsiteX14" fmla="*/ 2343627 w 4964135"/>
                      <a:gd name="connsiteY14" fmla="*/ 2023 h 2063444"/>
                      <a:gd name="connsiteX15" fmla="*/ 1366881 w 4964135"/>
                      <a:gd name="connsiteY15" fmla="*/ 33195 h 2063444"/>
                      <a:gd name="connsiteX16" fmla="*/ 545999 w 4964135"/>
                      <a:gd name="connsiteY16" fmla="*/ 116323 h 2063444"/>
                      <a:gd name="connsiteX17" fmla="*/ 431699 w 4964135"/>
                      <a:gd name="connsiteY17" fmla="*/ 157886 h 2063444"/>
                      <a:gd name="connsiteX0" fmla="*/ 431699 w 4964135"/>
                      <a:gd name="connsiteY0" fmla="*/ 157886 h 2063444"/>
                      <a:gd name="connsiteX1" fmla="*/ 275836 w 4964135"/>
                      <a:gd name="connsiteY1" fmla="*/ 490395 h 2063444"/>
                      <a:gd name="connsiteX2" fmla="*/ 47236 w 4964135"/>
                      <a:gd name="connsiteY2" fmla="*/ 1300886 h 2063444"/>
                      <a:gd name="connsiteX3" fmla="*/ 26454 w 4964135"/>
                      <a:gd name="connsiteY3" fmla="*/ 1695741 h 2063444"/>
                      <a:gd name="connsiteX4" fmla="*/ 348572 w 4964135"/>
                      <a:gd name="connsiteY4" fmla="*/ 1747695 h 2063444"/>
                      <a:gd name="connsiteX5" fmla="*/ 2821608 w 4964135"/>
                      <a:gd name="connsiteY5" fmla="*/ 1893168 h 2063444"/>
                      <a:gd name="connsiteX6" fmla="*/ 4442590 w 4964135"/>
                      <a:gd name="connsiteY6" fmla="*/ 2028251 h 2063444"/>
                      <a:gd name="connsiteX7" fmla="*/ 4941354 w 4964135"/>
                      <a:gd name="connsiteY7" fmla="*/ 2017860 h 2063444"/>
                      <a:gd name="connsiteX8" fmla="*/ 4962136 w 4964135"/>
                      <a:gd name="connsiteY8" fmla="*/ 1841213 h 2063444"/>
                      <a:gd name="connsiteX9" fmla="*/ 4962136 w 4964135"/>
                      <a:gd name="connsiteY9" fmla="*/ 1477532 h 2063444"/>
                      <a:gd name="connsiteX10" fmla="*/ 4941354 w 4964135"/>
                      <a:gd name="connsiteY10" fmla="*/ 1134632 h 2063444"/>
                      <a:gd name="connsiteX11" fmla="*/ 4743927 w 4964135"/>
                      <a:gd name="connsiteY11" fmla="*/ 947595 h 2063444"/>
                      <a:gd name="connsiteX12" fmla="*/ 3943827 w 4964135"/>
                      <a:gd name="connsiteY12" fmla="*/ 407268 h 2063444"/>
                      <a:gd name="connsiteX13" fmla="*/ 3174899 w 4964135"/>
                      <a:gd name="connsiteY13" fmla="*/ 85150 h 2063444"/>
                      <a:gd name="connsiteX14" fmla="*/ 2343627 w 4964135"/>
                      <a:gd name="connsiteY14" fmla="*/ 2023 h 2063444"/>
                      <a:gd name="connsiteX15" fmla="*/ 1366881 w 4964135"/>
                      <a:gd name="connsiteY15" fmla="*/ 33195 h 2063444"/>
                      <a:gd name="connsiteX16" fmla="*/ 582815 w 4964135"/>
                      <a:gd name="connsiteY16" fmla="*/ 116322 h 2063444"/>
                      <a:gd name="connsiteX17" fmla="*/ 431699 w 4964135"/>
                      <a:gd name="connsiteY17" fmla="*/ 157886 h 2063444"/>
                      <a:gd name="connsiteX0" fmla="*/ 431699 w 4964135"/>
                      <a:gd name="connsiteY0" fmla="*/ 157886 h 2063444"/>
                      <a:gd name="connsiteX1" fmla="*/ 275836 w 4964135"/>
                      <a:gd name="connsiteY1" fmla="*/ 490395 h 2063444"/>
                      <a:gd name="connsiteX2" fmla="*/ 47237 w 4964135"/>
                      <a:gd name="connsiteY2" fmla="*/ 1116804 h 2063444"/>
                      <a:gd name="connsiteX3" fmla="*/ 26454 w 4964135"/>
                      <a:gd name="connsiteY3" fmla="*/ 1695741 h 2063444"/>
                      <a:gd name="connsiteX4" fmla="*/ 348572 w 4964135"/>
                      <a:gd name="connsiteY4" fmla="*/ 1747695 h 2063444"/>
                      <a:gd name="connsiteX5" fmla="*/ 2821608 w 4964135"/>
                      <a:gd name="connsiteY5" fmla="*/ 1893168 h 2063444"/>
                      <a:gd name="connsiteX6" fmla="*/ 4442590 w 4964135"/>
                      <a:gd name="connsiteY6" fmla="*/ 2028251 h 2063444"/>
                      <a:gd name="connsiteX7" fmla="*/ 4941354 w 4964135"/>
                      <a:gd name="connsiteY7" fmla="*/ 2017860 h 2063444"/>
                      <a:gd name="connsiteX8" fmla="*/ 4962136 w 4964135"/>
                      <a:gd name="connsiteY8" fmla="*/ 1841213 h 2063444"/>
                      <a:gd name="connsiteX9" fmla="*/ 4962136 w 4964135"/>
                      <a:gd name="connsiteY9" fmla="*/ 1477532 h 2063444"/>
                      <a:gd name="connsiteX10" fmla="*/ 4941354 w 4964135"/>
                      <a:gd name="connsiteY10" fmla="*/ 1134632 h 2063444"/>
                      <a:gd name="connsiteX11" fmla="*/ 4743927 w 4964135"/>
                      <a:gd name="connsiteY11" fmla="*/ 947595 h 2063444"/>
                      <a:gd name="connsiteX12" fmla="*/ 3943827 w 4964135"/>
                      <a:gd name="connsiteY12" fmla="*/ 407268 h 2063444"/>
                      <a:gd name="connsiteX13" fmla="*/ 3174899 w 4964135"/>
                      <a:gd name="connsiteY13" fmla="*/ 85150 h 2063444"/>
                      <a:gd name="connsiteX14" fmla="*/ 2343627 w 4964135"/>
                      <a:gd name="connsiteY14" fmla="*/ 2023 h 2063444"/>
                      <a:gd name="connsiteX15" fmla="*/ 1366881 w 4964135"/>
                      <a:gd name="connsiteY15" fmla="*/ 33195 h 2063444"/>
                      <a:gd name="connsiteX16" fmla="*/ 582815 w 4964135"/>
                      <a:gd name="connsiteY16" fmla="*/ 116322 h 2063444"/>
                      <a:gd name="connsiteX17" fmla="*/ 431699 w 4964135"/>
                      <a:gd name="connsiteY17" fmla="*/ 157886 h 2063444"/>
                      <a:gd name="connsiteX0" fmla="*/ 461027 w 4993463"/>
                      <a:gd name="connsiteY0" fmla="*/ 157886 h 2063444"/>
                      <a:gd name="connsiteX1" fmla="*/ 305164 w 4993463"/>
                      <a:gd name="connsiteY1" fmla="*/ 490395 h 2063444"/>
                      <a:gd name="connsiteX2" fmla="*/ 76565 w 4993463"/>
                      <a:gd name="connsiteY2" fmla="*/ 1116804 h 2063444"/>
                      <a:gd name="connsiteX3" fmla="*/ 18966 w 4993463"/>
                      <a:gd name="connsiteY3" fmla="*/ 1714149 h 2063444"/>
                      <a:gd name="connsiteX4" fmla="*/ 377900 w 4993463"/>
                      <a:gd name="connsiteY4" fmla="*/ 1747695 h 2063444"/>
                      <a:gd name="connsiteX5" fmla="*/ 2850936 w 4993463"/>
                      <a:gd name="connsiteY5" fmla="*/ 1893168 h 2063444"/>
                      <a:gd name="connsiteX6" fmla="*/ 4471918 w 4993463"/>
                      <a:gd name="connsiteY6" fmla="*/ 2028251 h 2063444"/>
                      <a:gd name="connsiteX7" fmla="*/ 4970682 w 4993463"/>
                      <a:gd name="connsiteY7" fmla="*/ 2017860 h 2063444"/>
                      <a:gd name="connsiteX8" fmla="*/ 4991464 w 4993463"/>
                      <a:gd name="connsiteY8" fmla="*/ 1841213 h 2063444"/>
                      <a:gd name="connsiteX9" fmla="*/ 4991464 w 4993463"/>
                      <a:gd name="connsiteY9" fmla="*/ 1477532 h 2063444"/>
                      <a:gd name="connsiteX10" fmla="*/ 4970682 w 4993463"/>
                      <a:gd name="connsiteY10" fmla="*/ 1134632 h 2063444"/>
                      <a:gd name="connsiteX11" fmla="*/ 4773255 w 4993463"/>
                      <a:gd name="connsiteY11" fmla="*/ 947595 h 2063444"/>
                      <a:gd name="connsiteX12" fmla="*/ 3973155 w 4993463"/>
                      <a:gd name="connsiteY12" fmla="*/ 407268 h 2063444"/>
                      <a:gd name="connsiteX13" fmla="*/ 3204227 w 4993463"/>
                      <a:gd name="connsiteY13" fmla="*/ 85150 h 2063444"/>
                      <a:gd name="connsiteX14" fmla="*/ 2372955 w 4993463"/>
                      <a:gd name="connsiteY14" fmla="*/ 2023 h 2063444"/>
                      <a:gd name="connsiteX15" fmla="*/ 1396209 w 4993463"/>
                      <a:gd name="connsiteY15" fmla="*/ 33195 h 2063444"/>
                      <a:gd name="connsiteX16" fmla="*/ 612143 w 4993463"/>
                      <a:gd name="connsiteY16" fmla="*/ 116322 h 2063444"/>
                      <a:gd name="connsiteX17" fmla="*/ 461027 w 4993463"/>
                      <a:gd name="connsiteY17" fmla="*/ 157886 h 2063444"/>
                      <a:gd name="connsiteX0" fmla="*/ 477006 w 5009442"/>
                      <a:gd name="connsiteY0" fmla="*/ 157886 h 2063444"/>
                      <a:gd name="connsiteX1" fmla="*/ 321143 w 5009442"/>
                      <a:gd name="connsiteY1" fmla="*/ 490395 h 2063444"/>
                      <a:gd name="connsiteX2" fmla="*/ 92544 w 5009442"/>
                      <a:gd name="connsiteY2" fmla="*/ 1116804 h 2063444"/>
                      <a:gd name="connsiteX3" fmla="*/ 16537 w 5009442"/>
                      <a:gd name="connsiteY3" fmla="*/ 1658926 h 2063444"/>
                      <a:gd name="connsiteX4" fmla="*/ 393879 w 5009442"/>
                      <a:gd name="connsiteY4" fmla="*/ 1747695 h 2063444"/>
                      <a:gd name="connsiteX5" fmla="*/ 2866915 w 5009442"/>
                      <a:gd name="connsiteY5" fmla="*/ 1893168 h 2063444"/>
                      <a:gd name="connsiteX6" fmla="*/ 4487897 w 5009442"/>
                      <a:gd name="connsiteY6" fmla="*/ 2028251 h 2063444"/>
                      <a:gd name="connsiteX7" fmla="*/ 4986661 w 5009442"/>
                      <a:gd name="connsiteY7" fmla="*/ 2017860 h 2063444"/>
                      <a:gd name="connsiteX8" fmla="*/ 5007443 w 5009442"/>
                      <a:gd name="connsiteY8" fmla="*/ 1841213 h 2063444"/>
                      <a:gd name="connsiteX9" fmla="*/ 5007443 w 5009442"/>
                      <a:gd name="connsiteY9" fmla="*/ 1477532 h 2063444"/>
                      <a:gd name="connsiteX10" fmla="*/ 4986661 w 5009442"/>
                      <a:gd name="connsiteY10" fmla="*/ 1134632 h 2063444"/>
                      <a:gd name="connsiteX11" fmla="*/ 4789234 w 5009442"/>
                      <a:gd name="connsiteY11" fmla="*/ 947595 h 2063444"/>
                      <a:gd name="connsiteX12" fmla="*/ 3989134 w 5009442"/>
                      <a:gd name="connsiteY12" fmla="*/ 407268 h 2063444"/>
                      <a:gd name="connsiteX13" fmla="*/ 3220206 w 5009442"/>
                      <a:gd name="connsiteY13" fmla="*/ 85150 h 2063444"/>
                      <a:gd name="connsiteX14" fmla="*/ 2388934 w 5009442"/>
                      <a:gd name="connsiteY14" fmla="*/ 2023 h 2063444"/>
                      <a:gd name="connsiteX15" fmla="*/ 1412188 w 5009442"/>
                      <a:gd name="connsiteY15" fmla="*/ 33195 h 2063444"/>
                      <a:gd name="connsiteX16" fmla="*/ 628122 w 5009442"/>
                      <a:gd name="connsiteY16" fmla="*/ 116322 h 2063444"/>
                      <a:gd name="connsiteX17" fmla="*/ 477006 w 5009442"/>
                      <a:gd name="connsiteY17" fmla="*/ 157886 h 206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09442" h="2063444">
                        <a:moveTo>
                          <a:pt x="477006" y="157886"/>
                        </a:moveTo>
                        <a:cubicBezTo>
                          <a:pt x="425843" y="220231"/>
                          <a:pt x="385220" y="330575"/>
                          <a:pt x="321143" y="490395"/>
                        </a:cubicBezTo>
                        <a:cubicBezTo>
                          <a:pt x="257066" y="650215"/>
                          <a:pt x="143312" y="922049"/>
                          <a:pt x="92544" y="1116804"/>
                        </a:cubicBezTo>
                        <a:cubicBezTo>
                          <a:pt x="41776" y="1311559"/>
                          <a:pt x="-33686" y="1553777"/>
                          <a:pt x="16537" y="1658926"/>
                        </a:cubicBezTo>
                        <a:cubicBezTo>
                          <a:pt x="66760" y="1764075"/>
                          <a:pt x="-81184" y="1708655"/>
                          <a:pt x="393879" y="1747695"/>
                        </a:cubicBezTo>
                        <a:cubicBezTo>
                          <a:pt x="868942" y="1786735"/>
                          <a:pt x="2042570" y="1844677"/>
                          <a:pt x="2866915" y="1893168"/>
                        </a:cubicBezTo>
                        <a:cubicBezTo>
                          <a:pt x="3549251" y="1939927"/>
                          <a:pt x="4134606" y="2007469"/>
                          <a:pt x="4487897" y="2028251"/>
                        </a:cubicBezTo>
                        <a:cubicBezTo>
                          <a:pt x="4841188" y="2049033"/>
                          <a:pt x="4983198" y="2100988"/>
                          <a:pt x="4986661" y="2017860"/>
                        </a:cubicBezTo>
                        <a:cubicBezTo>
                          <a:pt x="4990124" y="1934732"/>
                          <a:pt x="5005711" y="1938195"/>
                          <a:pt x="5007443" y="1841213"/>
                        </a:cubicBezTo>
                        <a:cubicBezTo>
                          <a:pt x="5009175" y="1744231"/>
                          <a:pt x="5010907" y="1595295"/>
                          <a:pt x="5007443" y="1477532"/>
                        </a:cubicBezTo>
                        <a:cubicBezTo>
                          <a:pt x="5003979" y="1359769"/>
                          <a:pt x="5023029" y="1222955"/>
                          <a:pt x="4986661" y="1134632"/>
                        </a:cubicBezTo>
                        <a:cubicBezTo>
                          <a:pt x="4950293" y="1046309"/>
                          <a:pt x="4955488" y="1068822"/>
                          <a:pt x="4789234" y="947595"/>
                        </a:cubicBezTo>
                        <a:cubicBezTo>
                          <a:pt x="4622980" y="826368"/>
                          <a:pt x="4250639" y="551009"/>
                          <a:pt x="3989134" y="407268"/>
                        </a:cubicBezTo>
                        <a:cubicBezTo>
                          <a:pt x="3727629" y="263527"/>
                          <a:pt x="3486906" y="152691"/>
                          <a:pt x="3220206" y="85150"/>
                        </a:cubicBezTo>
                        <a:cubicBezTo>
                          <a:pt x="2953506" y="17609"/>
                          <a:pt x="2690270" y="10682"/>
                          <a:pt x="2388934" y="2023"/>
                        </a:cubicBezTo>
                        <a:cubicBezTo>
                          <a:pt x="2087598" y="-6636"/>
                          <a:pt x="1711793" y="14145"/>
                          <a:pt x="1412188" y="33195"/>
                        </a:cubicBezTo>
                        <a:cubicBezTo>
                          <a:pt x="1112583" y="52245"/>
                          <a:pt x="785718" y="100736"/>
                          <a:pt x="628122" y="116322"/>
                        </a:cubicBezTo>
                        <a:cubicBezTo>
                          <a:pt x="470526" y="131908"/>
                          <a:pt x="528169" y="95541"/>
                          <a:pt x="477006" y="15788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48" name="Freeform 47"/>
                <p:cNvSpPr/>
                <p:nvPr/>
              </p:nvSpPr>
              <p:spPr bwMode="auto">
                <a:xfrm>
                  <a:off x="6832058" y="3074034"/>
                  <a:ext cx="233335" cy="222814"/>
                </a:xfrm>
                <a:custGeom>
                  <a:avLst/>
                  <a:gdLst>
                    <a:gd name="connsiteX0" fmla="*/ 279185 w 732303"/>
                    <a:gd name="connsiteY0" fmla="*/ 29961 h 699293"/>
                    <a:gd name="connsiteX1" fmla="*/ 146020 w 732303"/>
                    <a:gd name="connsiteY1" fmla="*/ 189759 h 699293"/>
                    <a:gd name="connsiteX2" fmla="*/ 21732 w 732303"/>
                    <a:gd name="connsiteY2" fmla="*/ 429456 h 699293"/>
                    <a:gd name="connsiteX3" fmla="*/ 12855 w 732303"/>
                    <a:gd name="connsiteY3" fmla="*/ 669153 h 699293"/>
                    <a:gd name="connsiteX4" fmla="*/ 154897 w 732303"/>
                    <a:gd name="connsiteY4" fmla="*/ 695786 h 699293"/>
                    <a:gd name="connsiteX5" fmla="*/ 510004 w 732303"/>
                    <a:gd name="connsiteY5" fmla="*/ 669153 h 699293"/>
                    <a:gd name="connsiteX6" fmla="*/ 714191 w 732303"/>
                    <a:gd name="connsiteY6" fmla="*/ 535988 h 699293"/>
                    <a:gd name="connsiteX7" fmla="*/ 714191 w 732303"/>
                    <a:gd name="connsiteY7" fmla="*/ 340679 h 699293"/>
                    <a:gd name="connsiteX8" fmla="*/ 643169 w 732303"/>
                    <a:gd name="connsiteY8" fmla="*/ 118738 h 699293"/>
                    <a:gd name="connsiteX9" fmla="*/ 483371 w 732303"/>
                    <a:gd name="connsiteY9" fmla="*/ 12206 h 699293"/>
                    <a:gd name="connsiteX10" fmla="*/ 323573 w 732303"/>
                    <a:gd name="connsiteY10" fmla="*/ 3328 h 699293"/>
                    <a:gd name="connsiteX11" fmla="*/ 279185 w 732303"/>
                    <a:gd name="connsiteY11" fmla="*/ 29961 h 69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2303" h="699293">
                      <a:moveTo>
                        <a:pt x="279185" y="29961"/>
                      </a:moveTo>
                      <a:cubicBezTo>
                        <a:pt x="249593" y="61033"/>
                        <a:pt x="188929" y="123177"/>
                        <a:pt x="146020" y="189759"/>
                      </a:cubicBezTo>
                      <a:cubicBezTo>
                        <a:pt x="103111" y="256341"/>
                        <a:pt x="43926" y="349557"/>
                        <a:pt x="21732" y="429456"/>
                      </a:cubicBezTo>
                      <a:cubicBezTo>
                        <a:pt x="-462" y="509355"/>
                        <a:pt x="-9339" y="624765"/>
                        <a:pt x="12855" y="669153"/>
                      </a:cubicBezTo>
                      <a:cubicBezTo>
                        <a:pt x="35049" y="713541"/>
                        <a:pt x="72039" y="695786"/>
                        <a:pt x="154897" y="695786"/>
                      </a:cubicBezTo>
                      <a:cubicBezTo>
                        <a:pt x="237755" y="695786"/>
                        <a:pt x="416788" y="695786"/>
                        <a:pt x="510004" y="669153"/>
                      </a:cubicBezTo>
                      <a:cubicBezTo>
                        <a:pt x="603220" y="642520"/>
                        <a:pt x="680160" y="590734"/>
                        <a:pt x="714191" y="535988"/>
                      </a:cubicBezTo>
                      <a:cubicBezTo>
                        <a:pt x="748222" y="481242"/>
                        <a:pt x="726028" y="410221"/>
                        <a:pt x="714191" y="340679"/>
                      </a:cubicBezTo>
                      <a:cubicBezTo>
                        <a:pt x="702354" y="271137"/>
                        <a:pt x="681639" y="173483"/>
                        <a:pt x="643169" y="118738"/>
                      </a:cubicBezTo>
                      <a:cubicBezTo>
                        <a:pt x="604699" y="63993"/>
                        <a:pt x="536637" y="31441"/>
                        <a:pt x="483371" y="12206"/>
                      </a:cubicBezTo>
                      <a:cubicBezTo>
                        <a:pt x="430105" y="-7029"/>
                        <a:pt x="354645" y="1849"/>
                        <a:pt x="323573" y="3328"/>
                      </a:cubicBezTo>
                      <a:cubicBezTo>
                        <a:pt x="292501" y="4807"/>
                        <a:pt x="308777" y="-1111"/>
                        <a:pt x="279185" y="29961"/>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54" name="Rectangle 53"/>
              <p:cNvSpPr/>
              <p:nvPr/>
            </p:nvSpPr>
            <p:spPr bwMode="auto">
              <a:xfrm>
                <a:off x="7147525" y="2660060"/>
                <a:ext cx="103314" cy="102917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088" name="Group 2087"/>
            <p:cNvGrpSpPr/>
            <p:nvPr/>
          </p:nvGrpSpPr>
          <p:grpSpPr>
            <a:xfrm rot="2995357">
              <a:off x="11357970" y="5947612"/>
              <a:ext cx="281304" cy="189110"/>
              <a:chOff x="3136655" y="5749640"/>
              <a:chExt cx="167801" cy="112806"/>
            </a:xfrm>
            <a:solidFill>
              <a:schemeClr val="accent2"/>
            </a:solidFill>
          </p:grpSpPr>
          <p:sp>
            <p:nvSpPr>
              <p:cNvPr id="2089" name="Freeform 75"/>
              <p:cNvSpPr>
                <a:spLocks/>
              </p:cNvSpPr>
              <p:nvPr/>
            </p:nvSpPr>
            <p:spPr bwMode="auto">
              <a:xfrm rot="5661103" flipH="1" flipV="1">
                <a:off x="3201226" y="5815298"/>
                <a:ext cx="27737" cy="66559"/>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90" name="Freeform 77"/>
              <p:cNvSpPr>
                <a:spLocks/>
              </p:cNvSpPr>
              <p:nvPr/>
            </p:nvSpPr>
            <p:spPr bwMode="auto">
              <a:xfrm rot="5661103" flipH="1" flipV="1">
                <a:off x="3196457" y="5759159"/>
                <a:ext cx="42119" cy="115304"/>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91" name="Freeform 79"/>
              <p:cNvSpPr>
                <a:spLocks/>
              </p:cNvSpPr>
              <p:nvPr/>
            </p:nvSpPr>
            <p:spPr bwMode="auto">
              <a:xfrm rot="5661103" flipH="1" flipV="1">
                <a:off x="3193332" y="5692963"/>
                <a:ext cx="54447" cy="167801"/>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2066" name="TextBox 2065"/>
          <p:cNvSpPr txBox="1"/>
          <p:nvPr/>
        </p:nvSpPr>
        <p:spPr>
          <a:xfrm>
            <a:off x="10772254" y="5588992"/>
            <a:ext cx="1276435" cy="161583"/>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38" normalizeH="0" baseline="0" noProof="0" dirty="0">
                <a:ln>
                  <a:noFill/>
                </a:ln>
                <a:solidFill>
                  <a:srgbClr val="8DC548"/>
                </a:solidFill>
                <a:effectLst/>
                <a:uLnTx/>
                <a:uFillTx/>
                <a:ea typeface="Segoe UI" pitchFamily="34" charset="0"/>
                <a:cs typeface="Segoe UI" pitchFamily="34" charset="0"/>
              </a:rPr>
              <a:t>Smart Charging</a:t>
            </a:r>
          </a:p>
        </p:txBody>
      </p:sp>
      <p:cxnSp>
        <p:nvCxnSpPr>
          <p:cNvPr id="71" name="Curved Connector 70"/>
          <p:cNvCxnSpPr>
            <a:endCxn id="41" idx="3"/>
          </p:cNvCxnSpPr>
          <p:nvPr/>
        </p:nvCxnSpPr>
        <p:spPr>
          <a:xfrm>
            <a:off x="9686879" y="6224441"/>
            <a:ext cx="520145" cy="22515"/>
          </a:xfrm>
          <a:prstGeom prst="curvedConnector4">
            <a:avLst>
              <a:gd name="adj1" fmla="val 49034"/>
              <a:gd name="adj2" fmla="val 1115323"/>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74" name="Oval 73"/>
          <p:cNvSpPr/>
          <p:nvPr/>
        </p:nvSpPr>
        <p:spPr bwMode="auto">
          <a:xfrm>
            <a:off x="10183192" y="6208168"/>
            <a:ext cx="47268" cy="62913"/>
          </a:xfrm>
          <a:prstGeom prst="ellipse">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77" name="Group 76"/>
          <p:cNvGrpSpPr/>
          <p:nvPr/>
        </p:nvGrpSpPr>
        <p:grpSpPr>
          <a:xfrm>
            <a:off x="9517898" y="5832542"/>
            <a:ext cx="165703" cy="704588"/>
            <a:chOff x="9626352" y="5832542"/>
            <a:chExt cx="165703" cy="704588"/>
          </a:xfrm>
        </p:grpSpPr>
        <p:sp>
          <p:nvSpPr>
            <p:cNvPr id="75" name="Rounded Rectangle 74"/>
            <p:cNvSpPr/>
            <p:nvPr/>
          </p:nvSpPr>
          <p:spPr bwMode="auto">
            <a:xfrm>
              <a:off x="9626352" y="5832542"/>
              <a:ext cx="165703" cy="704588"/>
            </a:xfrm>
            <a:prstGeom prst="roundRect">
              <a:avLst/>
            </a:prstGeom>
            <a:gradFill>
              <a:gsLst>
                <a:gs pos="0">
                  <a:schemeClr val="bg1"/>
                </a:gs>
                <a:gs pos="100000">
                  <a:schemeClr val="bg1">
                    <a:lumMod val="65000"/>
                  </a:schemeClr>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 name="Rectangle 75"/>
            <p:cNvSpPr/>
            <p:nvPr/>
          </p:nvSpPr>
          <p:spPr bwMode="auto">
            <a:xfrm>
              <a:off x="9647055" y="5865636"/>
              <a:ext cx="129300" cy="17209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44" name="Freeform 1943"/>
            <p:cNvSpPr>
              <a:spLocks noChangeAspect="1"/>
            </p:cNvSpPr>
            <p:nvPr/>
          </p:nvSpPr>
          <p:spPr bwMode="auto">
            <a:xfrm flipH="1">
              <a:off x="9665558" y="6145735"/>
              <a:ext cx="95443" cy="192266"/>
            </a:xfrm>
            <a:custGeom>
              <a:avLst/>
              <a:gdLst>
                <a:gd name="connsiteX0" fmla="*/ 714375 w 985838"/>
                <a:gd name="connsiteY0" fmla="*/ 0 h 1985962"/>
                <a:gd name="connsiteX1" fmla="*/ 0 w 985838"/>
                <a:gd name="connsiteY1" fmla="*/ 1069181 h 1985962"/>
                <a:gd name="connsiteX2" fmla="*/ 457200 w 985838"/>
                <a:gd name="connsiteY2" fmla="*/ 1062037 h 1985962"/>
                <a:gd name="connsiteX3" fmla="*/ 257175 w 985838"/>
                <a:gd name="connsiteY3" fmla="*/ 1985962 h 1985962"/>
                <a:gd name="connsiteX4" fmla="*/ 985838 w 985838"/>
                <a:gd name="connsiteY4" fmla="*/ 795337 h 1985962"/>
                <a:gd name="connsiteX5" fmla="*/ 531019 w 985838"/>
                <a:gd name="connsiteY5" fmla="*/ 800100 h 1985962"/>
                <a:gd name="connsiteX6" fmla="*/ 714375 w 985838"/>
                <a:gd name="connsiteY6" fmla="*/ 0 h 1985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838" h="1985962">
                  <a:moveTo>
                    <a:pt x="714375" y="0"/>
                  </a:moveTo>
                  <a:lnTo>
                    <a:pt x="0" y="1069181"/>
                  </a:lnTo>
                  <a:lnTo>
                    <a:pt x="457200" y="1062037"/>
                  </a:lnTo>
                  <a:lnTo>
                    <a:pt x="257175" y="1985962"/>
                  </a:lnTo>
                  <a:lnTo>
                    <a:pt x="985838" y="795337"/>
                  </a:lnTo>
                  <a:lnTo>
                    <a:pt x="531019" y="800100"/>
                  </a:lnTo>
                  <a:lnTo>
                    <a:pt x="714375" y="0"/>
                  </a:lnTo>
                  <a:close/>
                </a:path>
              </a:pathLst>
            </a:cu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err="1">
                <a:ln>
                  <a:noFill/>
                </a:ln>
                <a:solidFill>
                  <a:srgbClr val="8DC548"/>
                </a:solidFill>
                <a:effectLst/>
                <a:uLnTx/>
                <a:uFillTx/>
                <a:ea typeface="Segoe UI" pitchFamily="34" charset="0"/>
                <a:cs typeface="Segoe UI" pitchFamily="34" charset="0"/>
              </a:endParaRPr>
            </a:p>
          </p:txBody>
        </p:sp>
      </p:grpSp>
      <p:grpSp>
        <p:nvGrpSpPr>
          <p:cNvPr id="1985" name="Group 1984"/>
          <p:cNvGrpSpPr/>
          <p:nvPr/>
        </p:nvGrpSpPr>
        <p:grpSpPr>
          <a:xfrm>
            <a:off x="5051897" y="4524590"/>
            <a:ext cx="1317387" cy="522411"/>
            <a:chOff x="9992125" y="2351961"/>
            <a:chExt cx="1928787" cy="764862"/>
          </a:xfrm>
        </p:grpSpPr>
        <p:grpSp>
          <p:nvGrpSpPr>
            <p:cNvPr id="1986" name="Group 1985"/>
            <p:cNvGrpSpPr/>
            <p:nvPr/>
          </p:nvGrpSpPr>
          <p:grpSpPr>
            <a:xfrm>
              <a:off x="9992125" y="2527279"/>
              <a:ext cx="1928787" cy="589544"/>
              <a:chOff x="6828478" y="3359851"/>
              <a:chExt cx="2105549" cy="643572"/>
            </a:xfrm>
          </p:grpSpPr>
          <p:sp>
            <p:nvSpPr>
              <p:cNvPr id="2004" name="Rectangle 2003"/>
              <p:cNvSpPr/>
              <p:nvPr/>
            </p:nvSpPr>
            <p:spPr bwMode="auto">
              <a:xfrm>
                <a:off x="6912231" y="3585741"/>
                <a:ext cx="1948900" cy="413966"/>
              </a:xfrm>
              <a:prstGeom prst="rect">
                <a:avLst/>
              </a:prstGeom>
              <a:solidFill>
                <a:srgbClr val="0040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05" name="Group 2004"/>
              <p:cNvGrpSpPr/>
              <p:nvPr/>
            </p:nvGrpSpPr>
            <p:grpSpPr>
              <a:xfrm>
                <a:off x="6828478" y="3359851"/>
                <a:ext cx="2105549" cy="643572"/>
                <a:chOff x="512496" y="2974109"/>
                <a:chExt cx="2267031" cy="692930"/>
              </a:xfrm>
            </p:grpSpPr>
            <p:grpSp>
              <p:nvGrpSpPr>
                <p:cNvPr id="2006" name="Group 2005"/>
                <p:cNvGrpSpPr/>
                <p:nvPr/>
              </p:nvGrpSpPr>
              <p:grpSpPr>
                <a:xfrm>
                  <a:off x="589053" y="3154960"/>
                  <a:ext cx="2113917" cy="512079"/>
                  <a:chOff x="640727" y="3242384"/>
                  <a:chExt cx="2113917" cy="465526"/>
                </a:xfrm>
              </p:grpSpPr>
              <p:sp>
                <p:nvSpPr>
                  <p:cNvPr id="2011" name="Rectangle 2010"/>
                  <p:cNvSpPr/>
                  <p:nvPr/>
                </p:nvSpPr>
                <p:spPr bwMode="auto">
                  <a:xfrm>
                    <a:off x="640727"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12" name="Rectangle 2011"/>
                  <p:cNvSpPr/>
                  <p:nvPr/>
                </p:nvSpPr>
                <p:spPr bwMode="auto">
                  <a:xfrm>
                    <a:off x="1231247"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13" name="Rectangle 2012"/>
                  <p:cNvSpPr/>
                  <p:nvPr/>
                </p:nvSpPr>
                <p:spPr bwMode="auto">
                  <a:xfrm>
                    <a:off x="2036575"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14" name="Rectangle 2013"/>
                  <p:cNvSpPr/>
                  <p:nvPr/>
                </p:nvSpPr>
                <p:spPr bwMode="auto">
                  <a:xfrm>
                    <a:off x="2627095"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15" name="Rectangle 2014"/>
                  <p:cNvSpPr/>
                  <p:nvPr/>
                </p:nvSpPr>
                <p:spPr bwMode="auto">
                  <a:xfrm>
                    <a:off x="654346" y="3281270"/>
                    <a:ext cx="2029469" cy="77250"/>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2007" name="Trapezoid 2006"/>
                <p:cNvSpPr/>
                <p:nvPr/>
              </p:nvSpPr>
              <p:spPr bwMode="auto">
                <a:xfrm>
                  <a:off x="512496" y="3015836"/>
                  <a:ext cx="2267031" cy="184444"/>
                </a:xfrm>
                <a:prstGeom prst="trapezoid">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08" name="Group 2007"/>
                <p:cNvGrpSpPr/>
                <p:nvPr/>
              </p:nvGrpSpPr>
              <p:grpSpPr>
                <a:xfrm>
                  <a:off x="1481159" y="2974109"/>
                  <a:ext cx="360268" cy="277150"/>
                  <a:chOff x="1487784" y="2989017"/>
                  <a:chExt cx="479518" cy="368887"/>
                </a:xfrm>
              </p:grpSpPr>
              <p:sp>
                <p:nvSpPr>
                  <p:cNvPr id="2009" name="Rectangle 2008"/>
                  <p:cNvSpPr/>
                  <p:nvPr/>
                </p:nvSpPr>
                <p:spPr bwMode="auto">
                  <a:xfrm>
                    <a:off x="1487784" y="2989017"/>
                    <a:ext cx="479518" cy="368887"/>
                  </a:xfrm>
                  <a:prstGeom prst="rect">
                    <a:avLst/>
                  </a:prstGeom>
                  <a:solidFill>
                    <a:schemeClr val="accent4">
                      <a:lumMod val="75000"/>
                    </a:schemeClr>
                  </a:solidFill>
                  <a:ln w="19050">
                    <a:solidFill>
                      <a:schemeClr val="tx1">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10" name="Freeform 146"/>
                  <p:cNvSpPr>
                    <a:spLocks/>
                  </p:cNvSpPr>
                  <p:nvPr/>
                </p:nvSpPr>
                <p:spPr bwMode="auto">
                  <a:xfrm>
                    <a:off x="1587625" y="3037558"/>
                    <a:ext cx="267742" cy="267741"/>
                  </a:xfrm>
                  <a:custGeom>
                    <a:avLst/>
                    <a:gdLst>
                      <a:gd name="T0" fmla="*/ 282 w 495"/>
                      <a:gd name="T1" fmla="*/ 380 h 495"/>
                      <a:gd name="T2" fmla="*/ 376 w 495"/>
                      <a:gd name="T3" fmla="*/ 475 h 495"/>
                      <a:gd name="T4" fmla="*/ 376 w 495"/>
                      <a:gd name="T5" fmla="*/ 475 h 495"/>
                      <a:gd name="T6" fmla="*/ 382 w 495"/>
                      <a:gd name="T7" fmla="*/ 480 h 495"/>
                      <a:gd name="T8" fmla="*/ 387 w 495"/>
                      <a:gd name="T9" fmla="*/ 484 h 495"/>
                      <a:gd name="T10" fmla="*/ 393 w 495"/>
                      <a:gd name="T11" fmla="*/ 487 h 495"/>
                      <a:gd name="T12" fmla="*/ 399 w 495"/>
                      <a:gd name="T13" fmla="*/ 490 h 495"/>
                      <a:gd name="T14" fmla="*/ 405 w 495"/>
                      <a:gd name="T15" fmla="*/ 493 h 495"/>
                      <a:gd name="T16" fmla="*/ 412 w 495"/>
                      <a:gd name="T17" fmla="*/ 494 h 495"/>
                      <a:gd name="T18" fmla="*/ 418 w 495"/>
                      <a:gd name="T19" fmla="*/ 495 h 495"/>
                      <a:gd name="T20" fmla="*/ 425 w 495"/>
                      <a:gd name="T21" fmla="*/ 495 h 495"/>
                      <a:gd name="T22" fmla="*/ 431 w 495"/>
                      <a:gd name="T23" fmla="*/ 495 h 495"/>
                      <a:gd name="T24" fmla="*/ 438 w 495"/>
                      <a:gd name="T25" fmla="*/ 494 h 495"/>
                      <a:gd name="T26" fmla="*/ 444 w 495"/>
                      <a:gd name="T27" fmla="*/ 493 h 495"/>
                      <a:gd name="T28" fmla="*/ 451 w 495"/>
                      <a:gd name="T29" fmla="*/ 490 h 495"/>
                      <a:gd name="T30" fmla="*/ 457 w 495"/>
                      <a:gd name="T31" fmla="*/ 488 h 495"/>
                      <a:gd name="T32" fmla="*/ 463 w 495"/>
                      <a:gd name="T33" fmla="*/ 484 h 495"/>
                      <a:gd name="T34" fmla="*/ 468 w 495"/>
                      <a:gd name="T35" fmla="*/ 480 h 495"/>
                      <a:gd name="T36" fmla="*/ 474 w 495"/>
                      <a:gd name="T37" fmla="*/ 475 h 495"/>
                      <a:gd name="T38" fmla="*/ 474 w 495"/>
                      <a:gd name="T39" fmla="*/ 475 h 495"/>
                      <a:gd name="T40" fmla="*/ 478 w 495"/>
                      <a:gd name="T41" fmla="*/ 470 h 495"/>
                      <a:gd name="T42" fmla="*/ 482 w 495"/>
                      <a:gd name="T43" fmla="*/ 465 h 495"/>
                      <a:gd name="T44" fmla="*/ 487 w 495"/>
                      <a:gd name="T45" fmla="*/ 459 h 495"/>
                      <a:gd name="T46" fmla="*/ 490 w 495"/>
                      <a:gd name="T47" fmla="*/ 453 h 495"/>
                      <a:gd name="T48" fmla="*/ 492 w 495"/>
                      <a:gd name="T49" fmla="*/ 446 h 495"/>
                      <a:gd name="T50" fmla="*/ 493 w 495"/>
                      <a:gd name="T51" fmla="*/ 439 h 495"/>
                      <a:gd name="T52" fmla="*/ 494 w 495"/>
                      <a:gd name="T53" fmla="*/ 432 h 495"/>
                      <a:gd name="T54" fmla="*/ 495 w 495"/>
                      <a:gd name="T55" fmla="*/ 426 h 495"/>
                      <a:gd name="T56" fmla="*/ 494 w 495"/>
                      <a:gd name="T57" fmla="*/ 419 h 495"/>
                      <a:gd name="T58" fmla="*/ 493 w 495"/>
                      <a:gd name="T59" fmla="*/ 413 h 495"/>
                      <a:gd name="T60" fmla="*/ 492 w 495"/>
                      <a:gd name="T61" fmla="*/ 406 h 495"/>
                      <a:gd name="T62" fmla="*/ 490 w 495"/>
                      <a:gd name="T63" fmla="*/ 400 h 495"/>
                      <a:gd name="T64" fmla="*/ 487 w 495"/>
                      <a:gd name="T65" fmla="*/ 394 h 495"/>
                      <a:gd name="T66" fmla="*/ 482 w 495"/>
                      <a:gd name="T67" fmla="*/ 388 h 495"/>
                      <a:gd name="T68" fmla="*/ 478 w 495"/>
                      <a:gd name="T69" fmla="*/ 382 h 495"/>
                      <a:gd name="T70" fmla="*/ 473 w 495"/>
                      <a:gd name="T71" fmla="*/ 377 h 495"/>
                      <a:gd name="T72" fmla="*/ 379 w 495"/>
                      <a:gd name="T73" fmla="*/ 283 h 495"/>
                      <a:gd name="T74" fmla="*/ 379 w 495"/>
                      <a:gd name="T75" fmla="*/ 283 h 495"/>
                      <a:gd name="T76" fmla="*/ 376 w 495"/>
                      <a:gd name="T77" fmla="*/ 280 h 495"/>
                      <a:gd name="T78" fmla="*/ 315 w 495"/>
                      <a:gd name="T79" fmla="*/ 218 h 495"/>
                      <a:gd name="T80" fmla="*/ 315 w 495"/>
                      <a:gd name="T81" fmla="*/ 91 h 495"/>
                      <a:gd name="T82" fmla="*/ 225 w 495"/>
                      <a:gd name="T83" fmla="*/ 0 h 495"/>
                      <a:gd name="T84" fmla="*/ 97 w 495"/>
                      <a:gd name="T85" fmla="*/ 6 h 495"/>
                      <a:gd name="T86" fmla="*/ 219 w 495"/>
                      <a:gd name="T87" fmla="*/ 128 h 495"/>
                      <a:gd name="T88" fmla="*/ 219 w 495"/>
                      <a:gd name="T89" fmla="*/ 180 h 495"/>
                      <a:gd name="T90" fmla="*/ 179 w 495"/>
                      <a:gd name="T91" fmla="*/ 220 h 495"/>
                      <a:gd name="T92" fmla="*/ 128 w 495"/>
                      <a:gd name="T93" fmla="*/ 220 h 495"/>
                      <a:gd name="T94" fmla="*/ 5 w 495"/>
                      <a:gd name="T95" fmla="*/ 98 h 495"/>
                      <a:gd name="T96" fmla="*/ 0 w 495"/>
                      <a:gd name="T97" fmla="*/ 225 h 495"/>
                      <a:gd name="T98" fmla="*/ 90 w 495"/>
                      <a:gd name="T99" fmla="*/ 316 h 495"/>
                      <a:gd name="T100" fmla="*/ 217 w 495"/>
                      <a:gd name="T101" fmla="*/ 316 h 495"/>
                      <a:gd name="T102" fmla="*/ 282 w 495"/>
                      <a:gd name="T103" fmla="*/ 38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5" h="495">
                        <a:moveTo>
                          <a:pt x="282" y="380"/>
                        </a:moveTo>
                        <a:lnTo>
                          <a:pt x="376" y="475"/>
                        </a:lnTo>
                        <a:lnTo>
                          <a:pt x="376" y="475"/>
                        </a:lnTo>
                        <a:lnTo>
                          <a:pt x="382" y="480"/>
                        </a:lnTo>
                        <a:lnTo>
                          <a:pt x="387" y="484"/>
                        </a:lnTo>
                        <a:lnTo>
                          <a:pt x="393" y="487"/>
                        </a:lnTo>
                        <a:lnTo>
                          <a:pt x="399" y="490"/>
                        </a:lnTo>
                        <a:lnTo>
                          <a:pt x="405" y="493"/>
                        </a:lnTo>
                        <a:lnTo>
                          <a:pt x="412" y="494"/>
                        </a:lnTo>
                        <a:lnTo>
                          <a:pt x="418" y="495"/>
                        </a:lnTo>
                        <a:lnTo>
                          <a:pt x="425" y="495"/>
                        </a:lnTo>
                        <a:lnTo>
                          <a:pt x="431" y="495"/>
                        </a:lnTo>
                        <a:lnTo>
                          <a:pt x="438" y="494"/>
                        </a:lnTo>
                        <a:lnTo>
                          <a:pt x="444" y="493"/>
                        </a:lnTo>
                        <a:lnTo>
                          <a:pt x="451" y="490"/>
                        </a:lnTo>
                        <a:lnTo>
                          <a:pt x="457" y="488"/>
                        </a:lnTo>
                        <a:lnTo>
                          <a:pt x="463" y="484"/>
                        </a:lnTo>
                        <a:lnTo>
                          <a:pt x="468" y="480"/>
                        </a:lnTo>
                        <a:lnTo>
                          <a:pt x="474" y="475"/>
                        </a:lnTo>
                        <a:lnTo>
                          <a:pt x="474" y="475"/>
                        </a:lnTo>
                        <a:lnTo>
                          <a:pt x="478" y="470"/>
                        </a:lnTo>
                        <a:lnTo>
                          <a:pt x="482" y="465"/>
                        </a:lnTo>
                        <a:lnTo>
                          <a:pt x="487" y="459"/>
                        </a:lnTo>
                        <a:lnTo>
                          <a:pt x="490" y="453"/>
                        </a:lnTo>
                        <a:lnTo>
                          <a:pt x="492" y="446"/>
                        </a:lnTo>
                        <a:lnTo>
                          <a:pt x="493" y="439"/>
                        </a:lnTo>
                        <a:lnTo>
                          <a:pt x="494" y="432"/>
                        </a:lnTo>
                        <a:lnTo>
                          <a:pt x="495" y="426"/>
                        </a:lnTo>
                        <a:lnTo>
                          <a:pt x="494" y="419"/>
                        </a:lnTo>
                        <a:lnTo>
                          <a:pt x="493" y="413"/>
                        </a:lnTo>
                        <a:lnTo>
                          <a:pt x="492" y="406"/>
                        </a:lnTo>
                        <a:lnTo>
                          <a:pt x="490" y="400"/>
                        </a:lnTo>
                        <a:lnTo>
                          <a:pt x="487" y="394"/>
                        </a:lnTo>
                        <a:lnTo>
                          <a:pt x="482" y="388"/>
                        </a:lnTo>
                        <a:lnTo>
                          <a:pt x="478" y="382"/>
                        </a:lnTo>
                        <a:lnTo>
                          <a:pt x="473" y="377"/>
                        </a:lnTo>
                        <a:lnTo>
                          <a:pt x="379" y="283"/>
                        </a:lnTo>
                        <a:lnTo>
                          <a:pt x="379" y="283"/>
                        </a:lnTo>
                        <a:lnTo>
                          <a:pt x="376" y="280"/>
                        </a:lnTo>
                        <a:lnTo>
                          <a:pt x="315" y="218"/>
                        </a:lnTo>
                        <a:lnTo>
                          <a:pt x="315" y="91"/>
                        </a:lnTo>
                        <a:lnTo>
                          <a:pt x="225" y="0"/>
                        </a:lnTo>
                        <a:lnTo>
                          <a:pt x="97" y="6"/>
                        </a:lnTo>
                        <a:lnTo>
                          <a:pt x="219" y="128"/>
                        </a:lnTo>
                        <a:lnTo>
                          <a:pt x="219" y="180"/>
                        </a:lnTo>
                        <a:lnTo>
                          <a:pt x="179" y="220"/>
                        </a:lnTo>
                        <a:lnTo>
                          <a:pt x="128" y="220"/>
                        </a:lnTo>
                        <a:lnTo>
                          <a:pt x="5" y="98"/>
                        </a:lnTo>
                        <a:lnTo>
                          <a:pt x="0" y="225"/>
                        </a:lnTo>
                        <a:lnTo>
                          <a:pt x="90" y="316"/>
                        </a:lnTo>
                        <a:lnTo>
                          <a:pt x="217" y="316"/>
                        </a:lnTo>
                        <a:lnTo>
                          <a:pt x="282" y="38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grpSp>
        </p:grpSp>
        <p:grpSp>
          <p:nvGrpSpPr>
            <p:cNvPr id="1987" name="Group 1986"/>
            <p:cNvGrpSpPr/>
            <p:nvPr/>
          </p:nvGrpSpPr>
          <p:grpSpPr>
            <a:xfrm>
              <a:off x="10452689" y="2351961"/>
              <a:ext cx="1036992" cy="211754"/>
              <a:chOff x="6860688" y="3905095"/>
              <a:chExt cx="1036992" cy="211754"/>
            </a:xfrm>
          </p:grpSpPr>
          <p:sp>
            <p:nvSpPr>
              <p:cNvPr id="1999" name="Rectangle 1998"/>
              <p:cNvSpPr/>
              <p:nvPr/>
            </p:nvSpPr>
            <p:spPr bwMode="auto">
              <a:xfrm rot="10800000" flipH="1">
                <a:off x="7798475" y="4008012"/>
                <a:ext cx="36814" cy="1088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100" b="1"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000" name="Rectangle 1999"/>
              <p:cNvSpPr/>
              <p:nvPr/>
            </p:nvSpPr>
            <p:spPr bwMode="auto">
              <a:xfrm rot="10800000" flipH="1">
                <a:off x="6911521" y="4008012"/>
                <a:ext cx="36814" cy="1088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100" b="1"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01" name="Group 2000"/>
              <p:cNvGrpSpPr/>
              <p:nvPr/>
            </p:nvGrpSpPr>
            <p:grpSpPr>
              <a:xfrm rot="16200000">
                <a:off x="7303111" y="3462672"/>
                <a:ext cx="152145" cy="1036992"/>
                <a:chOff x="3057466" y="2666157"/>
                <a:chExt cx="163657" cy="33798394"/>
              </a:xfrm>
            </p:grpSpPr>
            <p:sp>
              <p:nvSpPr>
                <p:cNvPr id="2002" name="Rectangle 2001"/>
                <p:cNvSpPr/>
                <p:nvPr/>
              </p:nvSpPr>
              <p:spPr bwMode="auto">
                <a:xfrm>
                  <a:off x="3077072" y="2666157"/>
                  <a:ext cx="144051" cy="33798394"/>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w="3175">
                        <a:noFill/>
                      </a:ln>
                      <a:solidFill>
                        <a:srgbClr val="FFFFFF"/>
                      </a:solidFill>
                      <a:effectLst/>
                      <a:uLnTx/>
                      <a:uFillTx/>
                      <a:cs typeface="Arial" charset="0"/>
                    </a:rPr>
                    <a:t>SERVICE CENTER </a:t>
                  </a:r>
                </a:p>
              </p:txBody>
            </p:sp>
            <p:sp>
              <p:nvSpPr>
                <p:cNvPr id="2003" name="Rectangle 2002"/>
                <p:cNvSpPr/>
                <p:nvPr/>
              </p:nvSpPr>
              <p:spPr bwMode="auto">
                <a:xfrm>
                  <a:off x="3057466" y="2998490"/>
                  <a:ext cx="21395" cy="3313827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100" b="1"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1988" name="Group 1987"/>
            <p:cNvGrpSpPr>
              <a:grpSpLocks noChangeAspect="1"/>
            </p:cNvGrpSpPr>
            <p:nvPr/>
          </p:nvGrpSpPr>
          <p:grpSpPr>
            <a:xfrm>
              <a:off x="11432425" y="2879133"/>
              <a:ext cx="277725" cy="231437"/>
              <a:chOff x="8316853" y="2640409"/>
              <a:chExt cx="414001" cy="379500"/>
            </a:xfrm>
          </p:grpSpPr>
          <p:sp>
            <p:nvSpPr>
              <p:cNvPr id="1995" name="Rectangle 1994"/>
              <p:cNvSpPr/>
              <p:nvPr/>
            </p:nvSpPr>
            <p:spPr bwMode="auto">
              <a:xfrm>
                <a:off x="8335671" y="2803820"/>
                <a:ext cx="376365" cy="1202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996" name="Group 1995"/>
              <p:cNvGrpSpPr/>
              <p:nvPr/>
            </p:nvGrpSpPr>
            <p:grpSpPr>
              <a:xfrm>
                <a:off x="8316853" y="2640409"/>
                <a:ext cx="414001" cy="379500"/>
                <a:chOff x="8316853" y="2640409"/>
                <a:chExt cx="414001" cy="379500"/>
              </a:xfrm>
            </p:grpSpPr>
            <p:sp>
              <p:nvSpPr>
                <p:cNvPr id="1997" name="Rectangle 1996"/>
                <p:cNvSpPr/>
                <p:nvPr/>
              </p:nvSpPr>
              <p:spPr bwMode="auto">
                <a:xfrm>
                  <a:off x="8366141" y="2668299"/>
                  <a:ext cx="307365" cy="104794"/>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98" name="Freeform 65"/>
                <p:cNvSpPr>
                  <a:spLocks noEditPoints="1"/>
                </p:cNvSpPr>
                <p:nvPr/>
              </p:nvSpPr>
              <p:spPr bwMode="auto">
                <a:xfrm>
                  <a:off x="8316853" y="2640409"/>
                  <a:ext cx="414001" cy="379500"/>
                </a:xfrm>
                <a:custGeom>
                  <a:avLst/>
                  <a:gdLst>
                    <a:gd name="T0" fmla="*/ 1083 w 1261"/>
                    <a:gd name="T1" fmla="*/ 59 h 1154"/>
                    <a:gd name="T2" fmla="*/ 1025 w 1261"/>
                    <a:gd name="T3" fmla="*/ 13 h 1154"/>
                    <a:gd name="T4" fmla="*/ 296 w 1261"/>
                    <a:gd name="T5" fmla="*/ 0 h 1154"/>
                    <a:gd name="T6" fmla="*/ 223 w 1261"/>
                    <a:gd name="T7" fmla="*/ 19 h 1154"/>
                    <a:gd name="T8" fmla="*/ 165 w 1261"/>
                    <a:gd name="T9" fmla="*/ 78 h 1154"/>
                    <a:gd name="T10" fmla="*/ 56 w 1261"/>
                    <a:gd name="T11" fmla="*/ 457 h 1154"/>
                    <a:gd name="T12" fmla="*/ 3 w 1261"/>
                    <a:gd name="T13" fmla="*/ 523 h 1154"/>
                    <a:gd name="T14" fmla="*/ 3 w 1261"/>
                    <a:gd name="T15" fmla="*/ 833 h 1154"/>
                    <a:gd name="T16" fmla="*/ 52 w 1261"/>
                    <a:gd name="T17" fmla="*/ 906 h 1154"/>
                    <a:gd name="T18" fmla="*/ 108 w 1261"/>
                    <a:gd name="T19" fmla="*/ 1147 h 1154"/>
                    <a:gd name="T20" fmla="*/ 174 w 1261"/>
                    <a:gd name="T21" fmla="*/ 1150 h 1154"/>
                    <a:gd name="T22" fmla="*/ 246 w 1261"/>
                    <a:gd name="T23" fmla="*/ 1109 h 1154"/>
                    <a:gd name="T24" fmla="*/ 1016 w 1261"/>
                    <a:gd name="T25" fmla="*/ 1109 h 1154"/>
                    <a:gd name="T26" fmla="*/ 1075 w 1261"/>
                    <a:gd name="T27" fmla="*/ 1147 h 1154"/>
                    <a:gd name="T28" fmla="*/ 1142 w 1261"/>
                    <a:gd name="T29" fmla="*/ 1150 h 1154"/>
                    <a:gd name="T30" fmla="*/ 1206 w 1261"/>
                    <a:gd name="T31" fmla="*/ 1109 h 1154"/>
                    <a:gd name="T32" fmla="*/ 1249 w 1261"/>
                    <a:gd name="T33" fmla="*/ 861 h 1154"/>
                    <a:gd name="T34" fmla="*/ 1261 w 1261"/>
                    <a:gd name="T35" fmla="*/ 539 h 1154"/>
                    <a:gd name="T36" fmla="*/ 1234 w 1261"/>
                    <a:gd name="T37" fmla="*/ 479 h 1154"/>
                    <a:gd name="T38" fmla="*/ 157 w 1261"/>
                    <a:gd name="T39" fmla="*/ 682 h 1154"/>
                    <a:gd name="T40" fmla="*/ 116 w 1261"/>
                    <a:gd name="T41" fmla="*/ 671 h 1154"/>
                    <a:gd name="T42" fmla="*/ 78 w 1261"/>
                    <a:gd name="T43" fmla="*/ 628 h 1154"/>
                    <a:gd name="T44" fmla="*/ 71 w 1261"/>
                    <a:gd name="T45" fmla="*/ 584 h 1154"/>
                    <a:gd name="T46" fmla="*/ 96 w 1261"/>
                    <a:gd name="T47" fmla="*/ 531 h 1154"/>
                    <a:gd name="T48" fmla="*/ 139 w 1261"/>
                    <a:gd name="T49" fmla="*/ 507 h 1154"/>
                    <a:gd name="T50" fmla="*/ 183 w 1261"/>
                    <a:gd name="T51" fmla="*/ 509 h 1154"/>
                    <a:gd name="T52" fmla="*/ 229 w 1261"/>
                    <a:gd name="T53" fmla="*/ 544 h 1154"/>
                    <a:gd name="T54" fmla="*/ 243 w 1261"/>
                    <a:gd name="T55" fmla="*/ 594 h 1154"/>
                    <a:gd name="T56" fmla="*/ 233 w 1261"/>
                    <a:gd name="T57" fmla="*/ 636 h 1154"/>
                    <a:gd name="T58" fmla="*/ 190 w 1261"/>
                    <a:gd name="T59" fmla="*/ 675 h 1154"/>
                    <a:gd name="T60" fmla="*/ 952 w 1261"/>
                    <a:gd name="T61" fmla="*/ 827 h 1154"/>
                    <a:gd name="T62" fmla="*/ 631 w 1261"/>
                    <a:gd name="T63" fmla="*/ 789 h 1154"/>
                    <a:gd name="T64" fmla="*/ 308 w 1261"/>
                    <a:gd name="T65" fmla="*/ 739 h 1154"/>
                    <a:gd name="T66" fmla="*/ 308 w 1261"/>
                    <a:gd name="T67" fmla="*/ 638 h 1154"/>
                    <a:gd name="T68" fmla="*/ 952 w 1261"/>
                    <a:gd name="T69" fmla="*/ 638 h 1154"/>
                    <a:gd name="T70" fmla="*/ 263 w 1261"/>
                    <a:gd name="T71" fmla="*/ 393 h 1154"/>
                    <a:gd name="T72" fmla="*/ 191 w 1261"/>
                    <a:gd name="T73" fmla="*/ 377 h 1154"/>
                    <a:gd name="T74" fmla="*/ 171 w 1261"/>
                    <a:gd name="T75" fmla="*/ 336 h 1154"/>
                    <a:gd name="T76" fmla="*/ 203 w 1261"/>
                    <a:gd name="T77" fmla="*/ 178 h 1154"/>
                    <a:gd name="T78" fmla="*/ 282 w 1261"/>
                    <a:gd name="T79" fmla="*/ 115 h 1154"/>
                    <a:gd name="T80" fmla="*/ 441 w 1261"/>
                    <a:gd name="T81" fmla="*/ 94 h 1154"/>
                    <a:gd name="T82" fmla="*/ 925 w 1261"/>
                    <a:gd name="T83" fmla="*/ 100 h 1154"/>
                    <a:gd name="T84" fmla="*/ 1025 w 1261"/>
                    <a:gd name="T85" fmla="*/ 139 h 1154"/>
                    <a:gd name="T86" fmla="*/ 1087 w 1261"/>
                    <a:gd name="T87" fmla="*/ 316 h 1154"/>
                    <a:gd name="T88" fmla="*/ 1084 w 1261"/>
                    <a:gd name="T89" fmla="*/ 360 h 1154"/>
                    <a:gd name="T90" fmla="*/ 1049 w 1261"/>
                    <a:gd name="T91" fmla="*/ 388 h 1154"/>
                    <a:gd name="T92" fmla="*/ 1100 w 1261"/>
                    <a:gd name="T93" fmla="*/ 682 h 1154"/>
                    <a:gd name="T94" fmla="*/ 1052 w 1261"/>
                    <a:gd name="T95" fmla="*/ 667 h 1154"/>
                    <a:gd name="T96" fmla="*/ 1017 w 1261"/>
                    <a:gd name="T97" fmla="*/ 620 h 1154"/>
                    <a:gd name="T98" fmla="*/ 1016 w 1261"/>
                    <a:gd name="T99" fmla="*/ 576 h 1154"/>
                    <a:gd name="T100" fmla="*/ 1045 w 1261"/>
                    <a:gd name="T101" fmla="*/ 525 h 1154"/>
                    <a:gd name="T102" fmla="*/ 1091 w 1261"/>
                    <a:gd name="T103" fmla="*/ 505 h 1154"/>
                    <a:gd name="T104" fmla="*/ 1134 w 1261"/>
                    <a:gd name="T105" fmla="*/ 512 h 1154"/>
                    <a:gd name="T106" fmla="*/ 1175 w 1261"/>
                    <a:gd name="T107" fmla="*/ 551 h 1154"/>
                    <a:gd name="T108" fmla="*/ 1186 w 1261"/>
                    <a:gd name="T109" fmla="*/ 594 h 1154"/>
                    <a:gd name="T110" fmla="*/ 1171 w 1261"/>
                    <a:gd name="T111" fmla="*/ 643 h 1154"/>
                    <a:gd name="T112" fmla="*/ 1126 w 1261"/>
                    <a:gd name="T113" fmla="*/ 678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1" h="1154">
                      <a:moveTo>
                        <a:pt x="1175" y="445"/>
                      </a:moveTo>
                      <a:lnTo>
                        <a:pt x="1108" y="110"/>
                      </a:lnTo>
                      <a:lnTo>
                        <a:pt x="1108" y="110"/>
                      </a:lnTo>
                      <a:lnTo>
                        <a:pt x="1103" y="94"/>
                      </a:lnTo>
                      <a:lnTo>
                        <a:pt x="1095" y="78"/>
                      </a:lnTo>
                      <a:lnTo>
                        <a:pt x="1083" y="59"/>
                      </a:lnTo>
                      <a:lnTo>
                        <a:pt x="1076" y="51"/>
                      </a:lnTo>
                      <a:lnTo>
                        <a:pt x="1068" y="42"/>
                      </a:lnTo>
                      <a:lnTo>
                        <a:pt x="1059" y="34"/>
                      </a:lnTo>
                      <a:lnTo>
                        <a:pt x="1048" y="26"/>
                      </a:lnTo>
                      <a:lnTo>
                        <a:pt x="1037" y="19"/>
                      </a:lnTo>
                      <a:lnTo>
                        <a:pt x="1025" y="13"/>
                      </a:lnTo>
                      <a:lnTo>
                        <a:pt x="1012" y="8"/>
                      </a:lnTo>
                      <a:lnTo>
                        <a:pt x="999" y="4"/>
                      </a:lnTo>
                      <a:lnTo>
                        <a:pt x="983" y="1"/>
                      </a:lnTo>
                      <a:lnTo>
                        <a:pt x="967" y="0"/>
                      </a:lnTo>
                      <a:lnTo>
                        <a:pt x="631" y="0"/>
                      </a:lnTo>
                      <a:lnTo>
                        <a:pt x="296" y="0"/>
                      </a:lnTo>
                      <a:lnTo>
                        <a:pt x="296" y="0"/>
                      </a:lnTo>
                      <a:lnTo>
                        <a:pt x="278" y="1"/>
                      </a:lnTo>
                      <a:lnTo>
                        <a:pt x="263" y="4"/>
                      </a:lnTo>
                      <a:lnTo>
                        <a:pt x="249" y="8"/>
                      </a:lnTo>
                      <a:lnTo>
                        <a:pt x="235" y="13"/>
                      </a:lnTo>
                      <a:lnTo>
                        <a:pt x="223" y="19"/>
                      </a:lnTo>
                      <a:lnTo>
                        <a:pt x="211" y="26"/>
                      </a:lnTo>
                      <a:lnTo>
                        <a:pt x="202" y="34"/>
                      </a:lnTo>
                      <a:lnTo>
                        <a:pt x="193" y="42"/>
                      </a:lnTo>
                      <a:lnTo>
                        <a:pt x="185" y="51"/>
                      </a:lnTo>
                      <a:lnTo>
                        <a:pt x="177" y="59"/>
                      </a:lnTo>
                      <a:lnTo>
                        <a:pt x="165" y="78"/>
                      </a:lnTo>
                      <a:lnTo>
                        <a:pt x="157" y="94"/>
                      </a:lnTo>
                      <a:lnTo>
                        <a:pt x="151" y="110"/>
                      </a:lnTo>
                      <a:lnTo>
                        <a:pt x="87" y="445"/>
                      </a:lnTo>
                      <a:lnTo>
                        <a:pt x="87" y="445"/>
                      </a:lnTo>
                      <a:lnTo>
                        <a:pt x="71" y="449"/>
                      </a:lnTo>
                      <a:lnTo>
                        <a:pt x="56" y="457"/>
                      </a:lnTo>
                      <a:lnTo>
                        <a:pt x="42" y="467"/>
                      </a:lnTo>
                      <a:lnTo>
                        <a:pt x="28" y="479"/>
                      </a:lnTo>
                      <a:lnTo>
                        <a:pt x="18" y="492"/>
                      </a:lnTo>
                      <a:lnTo>
                        <a:pt x="8" y="507"/>
                      </a:lnTo>
                      <a:lnTo>
                        <a:pt x="5" y="515"/>
                      </a:lnTo>
                      <a:lnTo>
                        <a:pt x="3" y="523"/>
                      </a:lnTo>
                      <a:lnTo>
                        <a:pt x="1" y="531"/>
                      </a:lnTo>
                      <a:lnTo>
                        <a:pt x="0" y="539"/>
                      </a:lnTo>
                      <a:lnTo>
                        <a:pt x="0" y="818"/>
                      </a:lnTo>
                      <a:lnTo>
                        <a:pt x="0" y="818"/>
                      </a:lnTo>
                      <a:lnTo>
                        <a:pt x="1" y="825"/>
                      </a:lnTo>
                      <a:lnTo>
                        <a:pt x="3" y="833"/>
                      </a:lnTo>
                      <a:lnTo>
                        <a:pt x="7" y="847"/>
                      </a:lnTo>
                      <a:lnTo>
                        <a:pt x="14" y="861"/>
                      </a:lnTo>
                      <a:lnTo>
                        <a:pt x="22" y="873"/>
                      </a:lnTo>
                      <a:lnTo>
                        <a:pt x="30" y="884"/>
                      </a:lnTo>
                      <a:lnTo>
                        <a:pt x="38" y="893"/>
                      </a:lnTo>
                      <a:lnTo>
                        <a:pt x="52" y="906"/>
                      </a:lnTo>
                      <a:lnTo>
                        <a:pt x="52" y="1109"/>
                      </a:lnTo>
                      <a:lnTo>
                        <a:pt x="52" y="1109"/>
                      </a:lnTo>
                      <a:lnTo>
                        <a:pt x="75" y="1127"/>
                      </a:lnTo>
                      <a:lnTo>
                        <a:pt x="86" y="1135"/>
                      </a:lnTo>
                      <a:lnTo>
                        <a:pt x="96" y="1141"/>
                      </a:lnTo>
                      <a:lnTo>
                        <a:pt x="108" y="1147"/>
                      </a:lnTo>
                      <a:lnTo>
                        <a:pt x="120" y="1150"/>
                      </a:lnTo>
                      <a:lnTo>
                        <a:pt x="134" y="1152"/>
                      </a:lnTo>
                      <a:lnTo>
                        <a:pt x="147" y="1154"/>
                      </a:lnTo>
                      <a:lnTo>
                        <a:pt x="147" y="1154"/>
                      </a:lnTo>
                      <a:lnTo>
                        <a:pt x="161" y="1152"/>
                      </a:lnTo>
                      <a:lnTo>
                        <a:pt x="174" y="1150"/>
                      </a:lnTo>
                      <a:lnTo>
                        <a:pt x="187" y="1147"/>
                      </a:lnTo>
                      <a:lnTo>
                        <a:pt x="201" y="1141"/>
                      </a:lnTo>
                      <a:lnTo>
                        <a:pt x="214" y="1135"/>
                      </a:lnTo>
                      <a:lnTo>
                        <a:pt x="226" y="1127"/>
                      </a:lnTo>
                      <a:lnTo>
                        <a:pt x="237" y="1119"/>
                      </a:lnTo>
                      <a:lnTo>
                        <a:pt x="246" y="1109"/>
                      </a:lnTo>
                      <a:lnTo>
                        <a:pt x="246" y="914"/>
                      </a:lnTo>
                      <a:lnTo>
                        <a:pt x="420" y="926"/>
                      </a:lnTo>
                      <a:lnTo>
                        <a:pt x="631" y="926"/>
                      </a:lnTo>
                      <a:lnTo>
                        <a:pt x="842" y="926"/>
                      </a:lnTo>
                      <a:lnTo>
                        <a:pt x="1016" y="914"/>
                      </a:lnTo>
                      <a:lnTo>
                        <a:pt x="1016" y="1109"/>
                      </a:lnTo>
                      <a:lnTo>
                        <a:pt x="1016" y="1109"/>
                      </a:lnTo>
                      <a:lnTo>
                        <a:pt x="1025" y="1119"/>
                      </a:lnTo>
                      <a:lnTo>
                        <a:pt x="1036" y="1127"/>
                      </a:lnTo>
                      <a:lnTo>
                        <a:pt x="1048" y="1135"/>
                      </a:lnTo>
                      <a:lnTo>
                        <a:pt x="1061" y="1141"/>
                      </a:lnTo>
                      <a:lnTo>
                        <a:pt x="1075" y="1147"/>
                      </a:lnTo>
                      <a:lnTo>
                        <a:pt x="1088" y="1150"/>
                      </a:lnTo>
                      <a:lnTo>
                        <a:pt x="1102" y="1152"/>
                      </a:lnTo>
                      <a:lnTo>
                        <a:pt x="1115" y="1154"/>
                      </a:lnTo>
                      <a:lnTo>
                        <a:pt x="1115" y="1154"/>
                      </a:lnTo>
                      <a:lnTo>
                        <a:pt x="1128" y="1152"/>
                      </a:lnTo>
                      <a:lnTo>
                        <a:pt x="1142" y="1150"/>
                      </a:lnTo>
                      <a:lnTo>
                        <a:pt x="1154" y="1147"/>
                      </a:lnTo>
                      <a:lnTo>
                        <a:pt x="1164" y="1141"/>
                      </a:lnTo>
                      <a:lnTo>
                        <a:pt x="1176" y="1135"/>
                      </a:lnTo>
                      <a:lnTo>
                        <a:pt x="1186" y="1127"/>
                      </a:lnTo>
                      <a:lnTo>
                        <a:pt x="1196" y="1119"/>
                      </a:lnTo>
                      <a:lnTo>
                        <a:pt x="1206" y="1109"/>
                      </a:lnTo>
                      <a:lnTo>
                        <a:pt x="1206" y="906"/>
                      </a:lnTo>
                      <a:lnTo>
                        <a:pt x="1206" y="906"/>
                      </a:lnTo>
                      <a:lnTo>
                        <a:pt x="1223" y="893"/>
                      </a:lnTo>
                      <a:lnTo>
                        <a:pt x="1231" y="884"/>
                      </a:lnTo>
                      <a:lnTo>
                        <a:pt x="1241" y="873"/>
                      </a:lnTo>
                      <a:lnTo>
                        <a:pt x="1249" y="861"/>
                      </a:lnTo>
                      <a:lnTo>
                        <a:pt x="1255" y="847"/>
                      </a:lnTo>
                      <a:lnTo>
                        <a:pt x="1259" y="833"/>
                      </a:lnTo>
                      <a:lnTo>
                        <a:pt x="1261" y="825"/>
                      </a:lnTo>
                      <a:lnTo>
                        <a:pt x="1261" y="818"/>
                      </a:lnTo>
                      <a:lnTo>
                        <a:pt x="1261" y="539"/>
                      </a:lnTo>
                      <a:lnTo>
                        <a:pt x="1261" y="539"/>
                      </a:lnTo>
                      <a:lnTo>
                        <a:pt x="1261" y="531"/>
                      </a:lnTo>
                      <a:lnTo>
                        <a:pt x="1259" y="523"/>
                      </a:lnTo>
                      <a:lnTo>
                        <a:pt x="1257" y="515"/>
                      </a:lnTo>
                      <a:lnTo>
                        <a:pt x="1254" y="507"/>
                      </a:lnTo>
                      <a:lnTo>
                        <a:pt x="1245" y="492"/>
                      </a:lnTo>
                      <a:lnTo>
                        <a:pt x="1234" y="479"/>
                      </a:lnTo>
                      <a:lnTo>
                        <a:pt x="1220" y="467"/>
                      </a:lnTo>
                      <a:lnTo>
                        <a:pt x="1206" y="457"/>
                      </a:lnTo>
                      <a:lnTo>
                        <a:pt x="1191" y="449"/>
                      </a:lnTo>
                      <a:lnTo>
                        <a:pt x="1175" y="445"/>
                      </a:lnTo>
                      <a:lnTo>
                        <a:pt x="1175" y="445"/>
                      </a:lnTo>
                      <a:close/>
                      <a:moveTo>
                        <a:pt x="157" y="682"/>
                      </a:moveTo>
                      <a:lnTo>
                        <a:pt x="157" y="682"/>
                      </a:lnTo>
                      <a:lnTo>
                        <a:pt x="149" y="682"/>
                      </a:lnTo>
                      <a:lnTo>
                        <a:pt x="139" y="680"/>
                      </a:lnTo>
                      <a:lnTo>
                        <a:pt x="131" y="678"/>
                      </a:lnTo>
                      <a:lnTo>
                        <a:pt x="123" y="675"/>
                      </a:lnTo>
                      <a:lnTo>
                        <a:pt x="116" y="671"/>
                      </a:lnTo>
                      <a:lnTo>
                        <a:pt x="108" y="667"/>
                      </a:lnTo>
                      <a:lnTo>
                        <a:pt x="102" y="662"/>
                      </a:lnTo>
                      <a:lnTo>
                        <a:pt x="96" y="656"/>
                      </a:lnTo>
                      <a:lnTo>
                        <a:pt x="86" y="643"/>
                      </a:lnTo>
                      <a:lnTo>
                        <a:pt x="82" y="636"/>
                      </a:lnTo>
                      <a:lnTo>
                        <a:pt x="78" y="628"/>
                      </a:lnTo>
                      <a:lnTo>
                        <a:pt x="75" y="620"/>
                      </a:lnTo>
                      <a:lnTo>
                        <a:pt x="72" y="611"/>
                      </a:lnTo>
                      <a:lnTo>
                        <a:pt x="71" y="603"/>
                      </a:lnTo>
                      <a:lnTo>
                        <a:pt x="71" y="594"/>
                      </a:lnTo>
                      <a:lnTo>
                        <a:pt x="71" y="594"/>
                      </a:lnTo>
                      <a:lnTo>
                        <a:pt x="71" y="584"/>
                      </a:lnTo>
                      <a:lnTo>
                        <a:pt x="72" y="576"/>
                      </a:lnTo>
                      <a:lnTo>
                        <a:pt x="75" y="567"/>
                      </a:lnTo>
                      <a:lnTo>
                        <a:pt x="78" y="559"/>
                      </a:lnTo>
                      <a:lnTo>
                        <a:pt x="82" y="551"/>
                      </a:lnTo>
                      <a:lnTo>
                        <a:pt x="86" y="544"/>
                      </a:lnTo>
                      <a:lnTo>
                        <a:pt x="96" y="531"/>
                      </a:lnTo>
                      <a:lnTo>
                        <a:pt x="102" y="525"/>
                      </a:lnTo>
                      <a:lnTo>
                        <a:pt x="108" y="520"/>
                      </a:lnTo>
                      <a:lnTo>
                        <a:pt x="116" y="516"/>
                      </a:lnTo>
                      <a:lnTo>
                        <a:pt x="123" y="512"/>
                      </a:lnTo>
                      <a:lnTo>
                        <a:pt x="131" y="509"/>
                      </a:lnTo>
                      <a:lnTo>
                        <a:pt x="139" y="507"/>
                      </a:lnTo>
                      <a:lnTo>
                        <a:pt x="149" y="505"/>
                      </a:lnTo>
                      <a:lnTo>
                        <a:pt x="157" y="505"/>
                      </a:lnTo>
                      <a:lnTo>
                        <a:pt x="157" y="505"/>
                      </a:lnTo>
                      <a:lnTo>
                        <a:pt x="166" y="505"/>
                      </a:lnTo>
                      <a:lnTo>
                        <a:pt x="174" y="507"/>
                      </a:lnTo>
                      <a:lnTo>
                        <a:pt x="183" y="509"/>
                      </a:lnTo>
                      <a:lnTo>
                        <a:pt x="190" y="512"/>
                      </a:lnTo>
                      <a:lnTo>
                        <a:pt x="198" y="516"/>
                      </a:lnTo>
                      <a:lnTo>
                        <a:pt x="205" y="520"/>
                      </a:lnTo>
                      <a:lnTo>
                        <a:pt x="211" y="525"/>
                      </a:lnTo>
                      <a:lnTo>
                        <a:pt x="218" y="531"/>
                      </a:lnTo>
                      <a:lnTo>
                        <a:pt x="229" y="544"/>
                      </a:lnTo>
                      <a:lnTo>
                        <a:pt x="233" y="551"/>
                      </a:lnTo>
                      <a:lnTo>
                        <a:pt x="237" y="559"/>
                      </a:lnTo>
                      <a:lnTo>
                        <a:pt x="239" y="567"/>
                      </a:lnTo>
                      <a:lnTo>
                        <a:pt x="241" y="576"/>
                      </a:lnTo>
                      <a:lnTo>
                        <a:pt x="242" y="584"/>
                      </a:lnTo>
                      <a:lnTo>
                        <a:pt x="243" y="594"/>
                      </a:lnTo>
                      <a:lnTo>
                        <a:pt x="243" y="594"/>
                      </a:lnTo>
                      <a:lnTo>
                        <a:pt x="242" y="603"/>
                      </a:lnTo>
                      <a:lnTo>
                        <a:pt x="241" y="611"/>
                      </a:lnTo>
                      <a:lnTo>
                        <a:pt x="239" y="620"/>
                      </a:lnTo>
                      <a:lnTo>
                        <a:pt x="237" y="628"/>
                      </a:lnTo>
                      <a:lnTo>
                        <a:pt x="233" y="636"/>
                      </a:lnTo>
                      <a:lnTo>
                        <a:pt x="229" y="643"/>
                      </a:lnTo>
                      <a:lnTo>
                        <a:pt x="218" y="656"/>
                      </a:lnTo>
                      <a:lnTo>
                        <a:pt x="211" y="662"/>
                      </a:lnTo>
                      <a:lnTo>
                        <a:pt x="205" y="667"/>
                      </a:lnTo>
                      <a:lnTo>
                        <a:pt x="198" y="671"/>
                      </a:lnTo>
                      <a:lnTo>
                        <a:pt x="190" y="675"/>
                      </a:lnTo>
                      <a:lnTo>
                        <a:pt x="183" y="678"/>
                      </a:lnTo>
                      <a:lnTo>
                        <a:pt x="174" y="680"/>
                      </a:lnTo>
                      <a:lnTo>
                        <a:pt x="166" y="682"/>
                      </a:lnTo>
                      <a:lnTo>
                        <a:pt x="157" y="682"/>
                      </a:lnTo>
                      <a:lnTo>
                        <a:pt x="157" y="682"/>
                      </a:lnTo>
                      <a:close/>
                      <a:moveTo>
                        <a:pt x="952" y="827"/>
                      </a:moveTo>
                      <a:lnTo>
                        <a:pt x="751" y="838"/>
                      </a:lnTo>
                      <a:lnTo>
                        <a:pt x="631" y="838"/>
                      </a:lnTo>
                      <a:lnTo>
                        <a:pt x="511" y="838"/>
                      </a:lnTo>
                      <a:lnTo>
                        <a:pt x="308" y="827"/>
                      </a:lnTo>
                      <a:lnTo>
                        <a:pt x="308" y="789"/>
                      </a:lnTo>
                      <a:lnTo>
                        <a:pt x="631" y="789"/>
                      </a:lnTo>
                      <a:lnTo>
                        <a:pt x="952" y="789"/>
                      </a:lnTo>
                      <a:lnTo>
                        <a:pt x="952" y="827"/>
                      </a:lnTo>
                      <a:close/>
                      <a:moveTo>
                        <a:pt x="954" y="739"/>
                      </a:moveTo>
                      <a:lnTo>
                        <a:pt x="631" y="739"/>
                      </a:lnTo>
                      <a:lnTo>
                        <a:pt x="628" y="739"/>
                      </a:lnTo>
                      <a:lnTo>
                        <a:pt x="308" y="739"/>
                      </a:lnTo>
                      <a:lnTo>
                        <a:pt x="308" y="690"/>
                      </a:lnTo>
                      <a:lnTo>
                        <a:pt x="628" y="690"/>
                      </a:lnTo>
                      <a:lnTo>
                        <a:pt x="631" y="690"/>
                      </a:lnTo>
                      <a:lnTo>
                        <a:pt x="954" y="690"/>
                      </a:lnTo>
                      <a:lnTo>
                        <a:pt x="954" y="739"/>
                      </a:lnTo>
                      <a:close/>
                      <a:moveTo>
                        <a:pt x="308" y="638"/>
                      </a:moveTo>
                      <a:lnTo>
                        <a:pt x="308" y="602"/>
                      </a:lnTo>
                      <a:lnTo>
                        <a:pt x="511" y="588"/>
                      </a:lnTo>
                      <a:lnTo>
                        <a:pt x="631" y="588"/>
                      </a:lnTo>
                      <a:lnTo>
                        <a:pt x="751" y="588"/>
                      </a:lnTo>
                      <a:lnTo>
                        <a:pt x="952" y="602"/>
                      </a:lnTo>
                      <a:lnTo>
                        <a:pt x="952" y="638"/>
                      </a:lnTo>
                      <a:lnTo>
                        <a:pt x="631" y="638"/>
                      </a:lnTo>
                      <a:lnTo>
                        <a:pt x="308" y="638"/>
                      </a:lnTo>
                      <a:close/>
                      <a:moveTo>
                        <a:pt x="999" y="393"/>
                      </a:moveTo>
                      <a:lnTo>
                        <a:pt x="631" y="377"/>
                      </a:lnTo>
                      <a:lnTo>
                        <a:pt x="263" y="393"/>
                      </a:lnTo>
                      <a:lnTo>
                        <a:pt x="263" y="393"/>
                      </a:lnTo>
                      <a:lnTo>
                        <a:pt x="241" y="393"/>
                      </a:lnTo>
                      <a:lnTo>
                        <a:pt x="221" y="390"/>
                      </a:lnTo>
                      <a:lnTo>
                        <a:pt x="213" y="388"/>
                      </a:lnTo>
                      <a:lnTo>
                        <a:pt x="205" y="385"/>
                      </a:lnTo>
                      <a:lnTo>
                        <a:pt x="197" y="382"/>
                      </a:lnTo>
                      <a:lnTo>
                        <a:pt x="191" y="377"/>
                      </a:lnTo>
                      <a:lnTo>
                        <a:pt x="186" y="373"/>
                      </a:lnTo>
                      <a:lnTo>
                        <a:pt x="181" y="366"/>
                      </a:lnTo>
                      <a:lnTo>
                        <a:pt x="178" y="360"/>
                      </a:lnTo>
                      <a:lnTo>
                        <a:pt x="174" y="353"/>
                      </a:lnTo>
                      <a:lnTo>
                        <a:pt x="173" y="345"/>
                      </a:lnTo>
                      <a:lnTo>
                        <a:pt x="171" y="336"/>
                      </a:lnTo>
                      <a:lnTo>
                        <a:pt x="171" y="326"/>
                      </a:lnTo>
                      <a:lnTo>
                        <a:pt x="173" y="316"/>
                      </a:lnTo>
                      <a:lnTo>
                        <a:pt x="191" y="214"/>
                      </a:lnTo>
                      <a:lnTo>
                        <a:pt x="191" y="214"/>
                      </a:lnTo>
                      <a:lnTo>
                        <a:pt x="197" y="195"/>
                      </a:lnTo>
                      <a:lnTo>
                        <a:pt x="203" y="178"/>
                      </a:lnTo>
                      <a:lnTo>
                        <a:pt x="213" y="163"/>
                      </a:lnTo>
                      <a:lnTo>
                        <a:pt x="223" y="151"/>
                      </a:lnTo>
                      <a:lnTo>
                        <a:pt x="237" y="139"/>
                      </a:lnTo>
                      <a:lnTo>
                        <a:pt x="250" y="130"/>
                      </a:lnTo>
                      <a:lnTo>
                        <a:pt x="265" y="122"/>
                      </a:lnTo>
                      <a:lnTo>
                        <a:pt x="282" y="115"/>
                      </a:lnTo>
                      <a:lnTo>
                        <a:pt x="300" y="108"/>
                      </a:lnTo>
                      <a:lnTo>
                        <a:pt x="318" y="104"/>
                      </a:lnTo>
                      <a:lnTo>
                        <a:pt x="337" y="100"/>
                      </a:lnTo>
                      <a:lnTo>
                        <a:pt x="357" y="98"/>
                      </a:lnTo>
                      <a:lnTo>
                        <a:pt x="398" y="95"/>
                      </a:lnTo>
                      <a:lnTo>
                        <a:pt x="441" y="94"/>
                      </a:lnTo>
                      <a:lnTo>
                        <a:pt x="631" y="94"/>
                      </a:lnTo>
                      <a:lnTo>
                        <a:pt x="821" y="94"/>
                      </a:lnTo>
                      <a:lnTo>
                        <a:pt x="821" y="94"/>
                      </a:lnTo>
                      <a:lnTo>
                        <a:pt x="864" y="95"/>
                      </a:lnTo>
                      <a:lnTo>
                        <a:pt x="905" y="98"/>
                      </a:lnTo>
                      <a:lnTo>
                        <a:pt x="925" y="100"/>
                      </a:lnTo>
                      <a:lnTo>
                        <a:pt x="944" y="104"/>
                      </a:lnTo>
                      <a:lnTo>
                        <a:pt x="962" y="108"/>
                      </a:lnTo>
                      <a:lnTo>
                        <a:pt x="980" y="115"/>
                      </a:lnTo>
                      <a:lnTo>
                        <a:pt x="996" y="122"/>
                      </a:lnTo>
                      <a:lnTo>
                        <a:pt x="1012" y="130"/>
                      </a:lnTo>
                      <a:lnTo>
                        <a:pt x="1025" y="139"/>
                      </a:lnTo>
                      <a:lnTo>
                        <a:pt x="1037" y="151"/>
                      </a:lnTo>
                      <a:lnTo>
                        <a:pt x="1048" y="163"/>
                      </a:lnTo>
                      <a:lnTo>
                        <a:pt x="1056" y="178"/>
                      </a:lnTo>
                      <a:lnTo>
                        <a:pt x="1064" y="195"/>
                      </a:lnTo>
                      <a:lnTo>
                        <a:pt x="1068" y="214"/>
                      </a:lnTo>
                      <a:lnTo>
                        <a:pt x="1087" y="316"/>
                      </a:lnTo>
                      <a:lnTo>
                        <a:pt x="1087" y="316"/>
                      </a:lnTo>
                      <a:lnTo>
                        <a:pt x="1088" y="326"/>
                      </a:lnTo>
                      <a:lnTo>
                        <a:pt x="1088" y="336"/>
                      </a:lnTo>
                      <a:lnTo>
                        <a:pt x="1088" y="345"/>
                      </a:lnTo>
                      <a:lnTo>
                        <a:pt x="1087" y="353"/>
                      </a:lnTo>
                      <a:lnTo>
                        <a:pt x="1084" y="360"/>
                      </a:lnTo>
                      <a:lnTo>
                        <a:pt x="1080" y="366"/>
                      </a:lnTo>
                      <a:lnTo>
                        <a:pt x="1076" y="373"/>
                      </a:lnTo>
                      <a:lnTo>
                        <a:pt x="1071" y="377"/>
                      </a:lnTo>
                      <a:lnTo>
                        <a:pt x="1064" y="382"/>
                      </a:lnTo>
                      <a:lnTo>
                        <a:pt x="1057" y="385"/>
                      </a:lnTo>
                      <a:lnTo>
                        <a:pt x="1049" y="388"/>
                      </a:lnTo>
                      <a:lnTo>
                        <a:pt x="1041" y="390"/>
                      </a:lnTo>
                      <a:lnTo>
                        <a:pt x="1021" y="393"/>
                      </a:lnTo>
                      <a:lnTo>
                        <a:pt x="999" y="393"/>
                      </a:lnTo>
                      <a:lnTo>
                        <a:pt x="999" y="393"/>
                      </a:lnTo>
                      <a:close/>
                      <a:moveTo>
                        <a:pt x="1100" y="682"/>
                      </a:moveTo>
                      <a:lnTo>
                        <a:pt x="1100" y="682"/>
                      </a:lnTo>
                      <a:lnTo>
                        <a:pt x="1091" y="682"/>
                      </a:lnTo>
                      <a:lnTo>
                        <a:pt x="1083" y="680"/>
                      </a:lnTo>
                      <a:lnTo>
                        <a:pt x="1075" y="678"/>
                      </a:lnTo>
                      <a:lnTo>
                        <a:pt x="1067" y="675"/>
                      </a:lnTo>
                      <a:lnTo>
                        <a:pt x="1059" y="671"/>
                      </a:lnTo>
                      <a:lnTo>
                        <a:pt x="1052" y="667"/>
                      </a:lnTo>
                      <a:lnTo>
                        <a:pt x="1045" y="662"/>
                      </a:lnTo>
                      <a:lnTo>
                        <a:pt x="1039" y="656"/>
                      </a:lnTo>
                      <a:lnTo>
                        <a:pt x="1028" y="643"/>
                      </a:lnTo>
                      <a:lnTo>
                        <a:pt x="1024" y="636"/>
                      </a:lnTo>
                      <a:lnTo>
                        <a:pt x="1020" y="628"/>
                      </a:lnTo>
                      <a:lnTo>
                        <a:pt x="1017" y="620"/>
                      </a:lnTo>
                      <a:lnTo>
                        <a:pt x="1016" y="611"/>
                      </a:lnTo>
                      <a:lnTo>
                        <a:pt x="1015" y="603"/>
                      </a:lnTo>
                      <a:lnTo>
                        <a:pt x="1013" y="594"/>
                      </a:lnTo>
                      <a:lnTo>
                        <a:pt x="1013" y="594"/>
                      </a:lnTo>
                      <a:lnTo>
                        <a:pt x="1015" y="584"/>
                      </a:lnTo>
                      <a:lnTo>
                        <a:pt x="1016" y="576"/>
                      </a:lnTo>
                      <a:lnTo>
                        <a:pt x="1017" y="567"/>
                      </a:lnTo>
                      <a:lnTo>
                        <a:pt x="1020" y="559"/>
                      </a:lnTo>
                      <a:lnTo>
                        <a:pt x="1024" y="551"/>
                      </a:lnTo>
                      <a:lnTo>
                        <a:pt x="1028" y="544"/>
                      </a:lnTo>
                      <a:lnTo>
                        <a:pt x="1039" y="531"/>
                      </a:lnTo>
                      <a:lnTo>
                        <a:pt x="1045" y="525"/>
                      </a:lnTo>
                      <a:lnTo>
                        <a:pt x="1052" y="520"/>
                      </a:lnTo>
                      <a:lnTo>
                        <a:pt x="1059" y="516"/>
                      </a:lnTo>
                      <a:lnTo>
                        <a:pt x="1067" y="512"/>
                      </a:lnTo>
                      <a:lnTo>
                        <a:pt x="1075" y="509"/>
                      </a:lnTo>
                      <a:lnTo>
                        <a:pt x="1083" y="507"/>
                      </a:lnTo>
                      <a:lnTo>
                        <a:pt x="1091" y="505"/>
                      </a:lnTo>
                      <a:lnTo>
                        <a:pt x="1100" y="505"/>
                      </a:lnTo>
                      <a:lnTo>
                        <a:pt x="1100" y="505"/>
                      </a:lnTo>
                      <a:lnTo>
                        <a:pt x="1108" y="505"/>
                      </a:lnTo>
                      <a:lnTo>
                        <a:pt x="1118" y="507"/>
                      </a:lnTo>
                      <a:lnTo>
                        <a:pt x="1126" y="509"/>
                      </a:lnTo>
                      <a:lnTo>
                        <a:pt x="1134" y="512"/>
                      </a:lnTo>
                      <a:lnTo>
                        <a:pt x="1140" y="516"/>
                      </a:lnTo>
                      <a:lnTo>
                        <a:pt x="1148" y="520"/>
                      </a:lnTo>
                      <a:lnTo>
                        <a:pt x="1155" y="525"/>
                      </a:lnTo>
                      <a:lnTo>
                        <a:pt x="1160" y="531"/>
                      </a:lnTo>
                      <a:lnTo>
                        <a:pt x="1171" y="544"/>
                      </a:lnTo>
                      <a:lnTo>
                        <a:pt x="1175" y="551"/>
                      </a:lnTo>
                      <a:lnTo>
                        <a:pt x="1179" y="559"/>
                      </a:lnTo>
                      <a:lnTo>
                        <a:pt x="1182" y="567"/>
                      </a:lnTo>
                      <a:lnTo>
                        <a:pt x="1184" y="576"/>
                      </a:lnTo>
                      <a:lnTo>
                        <a:pt x="1186" y="584"/>
                      </a:lnTo>
                      <a:lnTo>
                        <a:pt x="1186" y="594"/>
                      </a:lnTo>
                      <a:lnTo>
                        <a:pt x="1186" y="594"/>
                      </a:lnTo>
                      <a:lnTo>
                        <a:pt x="1186" y="603"/>
                      </a:lnTo>
                      <a:lnTo>
                        <a:pt x="1184" y="611"/>
                      </a:lnTo>
                      <a:lnTo>
                        <a:pt x="1182" y="620"/>
                      </a:lnTo>
                      <a:lnTo>
                        <a:pt x="1179" y="628"/>
                      </a:lnTo>
                      <a:lnTo>
                        <a:pt x="1175" y="636"/>
                      </a:lnTo>
                      <a:lnTo>
                        <a:pt x="1171" y="643"/>
                      </a:lnTo>
                      <a:lnTo>
                        <a:pt x="1160" y="656"/>
                      </a:lnTo>
                      <a:lnTo>
                        <a:pt x="1155" y="662"/>
                      </a:lnTo>
                      <a:lnTo>
                        <a:pt x="1148" y="667"/>
                      </a:lnTo>
                      <a:lnTo>
                        <a:pt x="1140" y="671"/>
                      </a:lnTo>
                      <a:lnTo>
                        <a:pt x="1134" y="675"/>
                      </a:lnTo>
                      <a:lnTo>
                        <a:pt x="1126" y="678"/>
                      </a:lnTo>
                      <a:lnTo>
                        <a:pt x="1118" y="680"/>
                      </a:lnTo>
                      <a:lnTo>
                        <a:pt x="1108" y="682"/>
                      </a:lnTo>
                      <a:lnTo>
                        <a:pt x="1100" y="682"/>
                      </a:lnTo>
                      <a:lnTo>
                        <a:pt x="1100" y="682"/>
                      </a:lnTo>
                      <a:close/>
                    </a:path>
                  </a:pathLst>
                </a:custGeom>
                <a:solidFill>
                  <a:srgbClr val="427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grpSp>
        <p:grpSp>
          <p:nvGrpSpPr>
            <p:cNvPr id="1989" name="Group 1988"/>
            <p:cNvGrpSpPr>
              <a:grpSpLocks noChangeAspect="1"/>
            </p:cNvGrpSpPr>
            <p:nvPr/>
          </p:nvGrpSpPr>
          <p:grpSpPr>
            <a:xfrm>
              <a:off x="10880902" y="2889287"/>
              <a:ext cx="276636" cy="227536"/>
              <a:chOff x="8970859" y="2626225"/>
              <a:chExt cx="414001" cy="374572"/>
            </a:xfrm>
          </p:grpSpPr>
          <p:sp>
            <p:nvSpPr>
              <p:cNvPr id="1990" name="Rectangle 1989"/>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991" name="Group 1990"/>
              <p:cNvGrpSpPr/>
              <p:nvPr/>
            </p:nvGrpSpPr>
            <p:grpSpPr>
              <a:xfrm>
                <a:off x="8970859" y="2626225"/>
                <a:ext cx="414001" cy="374572"/>
                <a:chOff x="25455229" y="-39674"/>
                <a:chExt cx="806770" cy="729935"/>
              </a:xfrm>
            </p:grpSpPr>
            <p:sp>
              <p:nvSpPr>
                <p:cNvPr id="1992"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993"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994"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grpSp>
      </p:grpSp>
      <p:sp>
        <p:nvSpPr>
          <p:cNvPr id="2036" name="Isosceles Triangle 2035"/>
          <p:cNvSpPr/>
          <p:nvPr/>
        </p:nvSpPr>
        <p:spPr bwMode="auto">
          <a:xfrm rot="5400000">
            <a:off x="6615111" y="5716360"/>
            <a:ext cx="238750" cy="134345"/>
          </a:xfrm>
          <a:prstGeom prst="triangle">
            <a:avLst>
              <a:gd name="adj" fmla="val 5019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6" name="Rectangle 1165"/>
          <p:cNvSpPr/>
          <p:nvPr/>
        </p:nvSpPr>
        <p:spPr bwMode="auto">
          <a:xfrm>
            <a:off x="9251416" y="1556751"/>
            <a:ext cx="2743200" cy="1983629"/>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171" name="Group 2170"/>
          <p:cNvGrpSpPr/>
          <p:nvPr/>
        </p:nvGrpSpPr>
        <p:grpSpPr>
          <a:xfrm flipH="1">
            <a:off x="4186999" y="4247125"/>
            <a:ext cx="734885" cy="270460"/>
            <a:chOff x="-120317" y="2227654"/>
            <a:chExt cx="12842245" cy="4296675"/>
          </a:xfrm>
        </p:grpSpPr>
        <p:grpSp>
          <p:nvGrpSpPr>
            <p:cNvPr id="2172" name="Group 2171"/>
            <p:cNvGrpSpPr/>
            <p:nvPr/>
          </p:nvGrpSpPr>
          <p:grpSpPr>
            <a:xfrm>
              <a:off x="-120317" y="2227654"/>
              <a:ext cx="12842245" cy="4296675"/>
              <a:chOff x="-120316" y="1299411"/>
              <a:chExt cx="12842243" cy="4296675"/>
            </a:xfrm>
          </p:grpSpPr>
          <p:sp>
            <p:nvSpPr>
              <p:cNvPr id="2174" name="Freeform 2173"/>
              <p:cNvSpPr/>
              <p:nvPr/>
            </p:nvSpPr>
            <p:spPr bwMode="auto">
              <a:xfrm>
                <a:off x="-112861" y="1299411"/>
                <a:ext cx="12828018" cy="3773269"/>
              </a:xfrm>
              <a:custGeom>
                <a:avLst/>
                <a:gdLst>
                  <a:gd name="connsiteX0" fmla="*/ 1259872 w 12828018"/>
                  <a:gd name="connsiteY0" fmla="*/ 3489157 h 3773269"/>
                  <a:gd name="connsiteX1" fmla="*/ 1275914 w 12828018"/>
                  <a:gd name="connsiteY1" fmla="*/ 3312694 h 3773269"/>
                  <a:gd name="connsiteX2" fmla="*/ 1307998 w 12828018"/>
                  <a:gd name="connsiteY2" fmla="*/ 3072063 h 3773269"/>
                  <a:gd name="connsiteX3" fmla="*/ 1380187 w 12828018"/>
                  <a:gd name="connsiteY3" fmla="*/ 2863515 h 3773269"/>
                  <a:gd name="connsiteX4" fmla="*/ 1476440 w 12828018"/>
                  <a:gd name="connsiteY4" fmla="*/ 2687052 h 3773269"/>
                  <a:gd name="connsiteX5" fmla="*/ 1668945 w 12828018"/>
                  <a:gd name="connsiteY5" fmla="*/ 2486526 h 3773269"/>
                  <a:gd name="connsiteX6" fmla="*/ 1885514 w 12828018"/>
                  <a:gd name="connsiteY6" fmla="*/ 2350168 h 3773269"/>
                  <a:gd name="connsiteX7" fmla="*/ 2126145 w 12828018"/>
                  <a:gd name="connsiteY7" fmla="*/ 2261936 h 3773269"/>
                  <a:gd name="connsiteX8" fmla="*/ 2471050 w 12828018"/>
                  <a:gd name="connsiteY8" fmla="*/ 2221831 h 3773269"/>
                  <a:gd name="connsiteX9" fmla="*/ 2775850 w 12828018"/>
                  <a:gd name="connsiteY9" fmla="*/ 2277978 h 3773269"/>
                  <a:gd name="connsiteX10" fmla="*/ 3112735 w 12828018"/>
                  <a:gd name="connsiteY10" fmla="*/ 2454442 h 3773269"/>
                  <a:gd name="connsiteX11" fmla="*/ 3353366 w 12828018"/>
                  <a:gd name="connsiteY11" fmla="*/ 2751221 h 3773269"/>
                  <a:gd name="connsiteX12" fmla="*/ 3433577 w 12828018"/>
                  <a:gd name="connsiteY12" fmla="*/ 2943726 h 3773269"/>
                  <a:gd name="connsiteX13" fmla="*/ 3481703 w 12828018"/>
                  <a:gd name="connsiteY13" fmla="*/ 3200400 h 3773269"/>
                  <a:gd name="connsiteX14" fmla="*/ 3513787 w 12828018"/>
                  <a:gd name="connsiteY14" fmla="*/ 3449052 h 3773269"/>
                  <a:gd name="connsiteX15" fmla="*/ 3505766 w 12828018"/>
                  <a:gd name="connsiteY15" fmla="*/ 3625515 h 3773269"/>
                  <a:gd name="connsiteX16" fmla="*/ 3505766 w 12828018"/>
                  <a:gd name="connsiteY16" fmla="*/ 3761873 h 3773269"/>
                  <a:gd name="connsiteX17" fmla="*/ 3561914 w 12828018"/>
                  <a:gd name="connsiteY17" fmla="*/ 3761873 h 3773269"/>
                  <a:gd name="connsiteX18" fmla="*/ 3722335 w 12828018"/>
                  <a:gd name="connsiteY18" fmla="*/ 3729789 h 3773269"/>
                  <a:gd name="connsiteX19" fmla="*/ 4043177 w 12828018"/>
                  <a:gd name="connsiteY19" fmla="*/ 3713747 h 3773269"/>
                  <a:gd name="connsiteX20" fmla="*/ 4596629 w 12828018"/>
                  <a:gd name="connsiteY20" fmla="*/ 3721768 h 3773269"/>
                  <a:gd name="connsiteX21" fmla="*/ 6040419 w 12828018"/>
                  <a:gd name="connsiteY21" fmla="*/ 3713747 h 3773269"/>
                  <a:gd name="connsiteX22" fmla="*/ 7572440 w 12828018"/>
                  <a:gd name="connsiteY22" fmla="*/ 3729789 h 3773269"/>
                  <a:gd name="connsiteX23" fmla="*/ 8623198 w 12828018"/>
                  <a:gd name="connsiteY23" fmla="*/ 3721768 h 3773269"/>
                  <a:gd name="connsiteX24" fmla="*/ 8960082 w 12828018"/>
                  <a:gd name="connsiteY24" fmla="*/ 3729789 h 3773269"/>
                  <a:gd name="connsiteX25" fmla="*/ 9072377 w 12828018"/>
                  <a:gd name="connsiteY25" fmla="*/ 3729789 h 3773269"/>
                  <a:gd name="connsiteX26" fmla="*/ 9128524 w 12828018"/>
                  <a:gd name="connsiteY26" fmla="*/ 3729789 h 3773269"/>
                  <a:gd name="connsiteX27" fmla="*/ 9136545 w 12828018"/>
                  <a:gd name="connsiteY27" fmla="*/ 3609473 h 3773269"/>
                  <a:gd name="connsiteX28" fmla="*/ 9128524 w 12828018"/>
                  <a:gd name="connsiteY28" fmla="*/ 3441031 h 3773269"/>
                  <a:gd name="connsiteX29" fmla="*/ 9192693 w 12828018"/>
                  <a:gd name="connsiteY29" fmla="*/ 3072063 h 3773269"/>
                  <a:gd name="connsiteX30" fmla="*/ 9313008 w 12828018"/>
                  <a:gd name="connsiteY30" fmla="*/ 2743200 h 3773269"/>
                  <a:gd name="connsiteX31" fmla="*/ 9545619 w 12828018"/>
                  <a:gd name="connsiteY31" fmla="*/ 2470484 h 3773269"/>
                  <a:gd name="connsiteX32" fmla="*/ 9898545 w 12828018"/>
                  <a:gd name="connsiteY32" fmla="*/ 2286000 h 3773269"/>
                  <a:gd name="connsiteX33" fmla="*/ 10227408 w 12828018"/>
                  <a:gd name="connsiteY33" fmla="*/ 2237873 h 3773269"/>
                  <a:gd name="connsiteX34" fmla="*/ 10652524 w 12828018"/>
                  <a:gd name="connsiteY34" fmla="*/ 2302042 h 3773269"/>
                  <a:gd name="connsiteX35" fmla="*/ 10949303 w 12828018"/>
                  <a:gd name="connsiteY35" fmla="*/ 2462463 h 3773269"/>
                  <a:gd name="connsiteX36" fmla="*/ 11165872 w 12828018"/>
                  <a:gd name="connsiteY36" fmla="*/ 2695073 h 3773269"/>
                  <a:gd name="connsiteX37" fmla="*/ 11286187 w 12828018"/>
                  <a:gd name="connsiteY37" fmla="*/ 2903621 h 3773269"/>
                  <a:gd name="connsiteX38" fmla="*/ 11318272 w 12828018"/>
                  <a:gd name="connsiteY38" fmla="*/ 3064042 h 3773269"/>
                  <a:gd name="connsiteX39" fmla="*/ 11334314 w 12828018"/>
                  <a:gd name="connsiteY39" fmla="*/ 3328736 h 3773269"/>
                  <a:gd name="connsiteX40" fmla="*/ 11318272 w 12828018"/>
                  <a:gd name="connsiteY40" fmla="*/ 3569368 h 3773269"/>
                  <a:gd name="connsiteX41" fmla="*/ 11334314 w 12828018"/>
                  <a:gd name="connsiteY41" fmla="*/ 3617494 h 3773269"/>
                  <a:gd name="connsiteX42" fmla="*/ 11462650 w 12828018"/>
                  <a:gd name="connsiteY42" fmla="*/ 3593431 h 3773269"/>
                  <a:gd name="connsiteX43" fmla="*/ 11663177 w 12828018"/>
                  <a:gd name="connsiteY43" fmla="*/ 3513221 h 3773269"/>
                  <a:gd name="connsiteX44" fmla="*/ 11951935 w 12828018"/>
                  <a:gd name="connsiteY44" fmla="*/ 3441031 h 3773269"/>
                  <a:gd name="connsiteX45" fmla="*/ 12296840 w 12828018"/>
                  <a:gd name="connsiteY45" fmla="*/ 3392905 h 3773269"/>
                  <a:gd name="connsiteX46" fmla="*/ 12601640 w 12828018"/>
                  <a:gd name="connsiteY46" fmla="*/ 3328736 h 3773269"/>
                  <a:gd name="connsiteX47" fmla="*/ 12681850 w 12828018"/>
                  <a:gd name="connsiteY47" fmla="*/ 3240505 h 3773269"/>
                  <a:gd name="connsiteX48" fmla="*/ 12721956 w 12828018"/>
                  <a:gd name="connsiteY48" fmla="*/ 3200400 h 3773269"/>
                  <a:gd name="connsiteX49" fmla="*/ 12737998 w 12828018"/>
                  <a:gd name="connsiteY49" fmla="*/ 3096126 h 3773269"/>
                  <a:gd name="connsiteX50" fmla="*/ 12810187 w 12828018"/>
                  <a:gd name="connsiteY50" fmla="*/ 2943726 h 3773269"/>
                  <a:gd name="connsiteX51" fmla="*/ 12818208 w 12828018"/>
                  <a:gd name="connsiteY51" fmla="*/ 2751221 h 3773269"/>
                  <a:gd name="connsiteX52" fmla="*/ 12818208 w 12828018"/>
                  <a:gd name="connsiteY52" fmla="*/ 2294021 h 3773269"/>
                  <a:gd name="connsiteX53" fmla="*/ 12689872 w 12828018"/>
                  <a:gd name="connsiteY53" fmla="*/ 2061410 h 3773269"/>
                  <a:gd name="connsiteX54" fmla="*/ 12593619 w 12828018"/>
                  <a:gd name="connsiteY54" fmla="*/ 1933073 h 3773269"/>
                  <a:gd name="connsiteX55" fmla="*/ 12529450 w 12828018"/>
                  <a:gd name="connsiteY55" fmla="*/ 1676400 h 3773269"/>
                  <a:gd name="connsiteX56" fmla="*/ 12417156 w 12828018"/>
                  <a:gd name="connsiteY56" fmla="*/ 1363578 h 3773269"/>
                  <a:gd name="connsiteX57" fmla="*/ 12280798 w 12828018"/>
                  <a:gd name="connsiteY57" fmla="*/ 1163052 h 3773269"/>
                  <a:gd name="connsiteX58" fmla="*/ 12248714 w 12828018"/>
                  <a:gd name="connsiteY58" fmla="*/ 1114926 h 3773269"/>
                  <a:gd name="connsiteX59" fmla="*/ 12144440 w 12828018"/>
                  <a:gd name="connsiteY59" fmla="*/ 1098884 h 3773269"/>
                  <a:gd name="connsiteX60" fmla="*/ 11695261 w 12828018"/>
                  <a:gd name="connsiteY60" fmla="*/ 1058778 h 3773269"/>
                  <a:gd name="connsiteX61" fmla="*/ 11470672 w 12828018"/>
                  <a:gd name="connsiteY61" fmla="*/ 1018673 h 3773269"/>
                  <a:gd name="connsiteX62" fmla="*/ 11085661 w 12828018"/>
                  <a:gd name="connsiteY62" fmla="*/ 874294 h 3773269"/>
                  <a:gd name="connsiteX63" fmla="*/ 10612419 w 12828018"/>
                  <a:gd name="connsiteY63" fmla="*/ 665747 h 3773269"/>
                  <a:gd name="connsiteX64" fmla="*/ 10034903 w 12828018"/>
                  <a:gd name="connsiteY64" fmla="*/ 433136 h 3773269"/>
                  <a:gd name="connsiteX65" fmla="*/ 9617808 w 12828018"/>
                  <a:gd name="connsiteY65" fmla="*/ 272715 h 3773269"/>
                  <a:gd name="connsiteX66" fmla="*/ 9160608 w 12828018"/>
                  <a:gd name="connsiteY66" fmla="*/ 152400 h 3773269"/>
                  <a:gd name="connsiteX67" fmla="*/ 8631219 w 12828018"/>
                  <a:gd name="connsiteY67" fmla="*/ 64168 h 3773269"/>
                  <a:gd name="connsiteX68" fmla="*/ 7965472 w 12828018"/>
                  <a:gd name="connsiteY68" fmla="*/ 16042 h 3773269"/>
                  <a:gd name="connsiteX69" fmla="*/ 7403998 w 12828018"/>
                  <a:gd name="connsiteY69" fmla="*/ 0 h 3773269"/>
                  <a:gd name="connsiteX70" fmla="*/ 6754293 w 12828018"/>
                  <a:gd name="connsiteY70" fmla="*/ 8021 h 3773269"/>
                  <a:gd name="connsiteX71" fmla="*/ 6208861 w 12828018"/>
                  <a:gd name="connsiteY71" fmla="*/ 56147 h 3773269"/>
                  <a:gd name="connsiteX72" fmla="*/ 5623324 w 12828018"/>
                  <a:gd name="connsiteY72" fmla="*/ 184484 h 3773269"/>
                  <a:gd name="connsiteX73" fmla="*/ 5254356 w 12828018"/>
                  <a:gd name="connsiteY73" fmla="*/ 336884 h 3773269"/>
                  <a:gd name="connsiteX74" fmla="*/ 4468293 w 12828018"/>
                  <a:gd name="connsiteY74" fmla="*/ 762000 h 3773269"/>
                  <a:gd name="connsiteX75" fmla="*/ 3834629 w 12828018"/>
                  <a:gd name="connsiteY75" fmla="*/ 1138989 h 3773269"/>
                  <a:gd name="connsiteX76" fmla="*/ 3642124 w 12828018"/>
                  <a:gd name="connsiteY76" fmla="*/ 1251284 h 3773269"/>
                  <a:gd name="connsiteX77" fmla="*/ 3457640 w 12828018"/>
                  <a:gd name="connsiteY77" fmla="*/ 1275347 h 3773269"/>
                  <a:gd name="connsiteX78" fmla="*/ 2815956 w 12828018"/>
                  <a:gd name="connsiteY78" fmla="*/ 1331494 h 3773269"/>
                  <a:gd name="connsiteX79" fmla="*/ 2158229 w 12828018"/>
                  <a:gd name="connsiteY79" fmla="*/ 1411705 h 3773269"/>
                  <a:gd name="connsiteX80" fmla="*/ 1580714 w 12828018"/>
                  <a:gd name="connsiteY80" fmla="*/ 1499936 h 3773269"/>
                  <a:gd name="connsiteX81" fmla="*/ 1075387 w 12828018"/>
                  <a:gd name="connsiteY81" fmla="*/ 1596189 h 3773269"/>
                  <a:gd name="connsiteX82" fmla="*/ 650272 w 12828018"/>
                  <a:gd name="connsiteY82" fmla="*/ 1748589 h 3773269"/>
                  <a:gd name="connsiteX83" fmla="*/ 457766 w 12828018"/>
                  <a:gd name="connsiteY83" fmla="*/ 1868905 h 3773269"/>
                  <a:gd name="connsiteX84" fmla="*/ 273282 w 12828018"/>
                  <a:gd name="connsiteY84" fmla="*/ 2101515 h 3773269"/>
                  <a:gd name="connsiteX85" fmla="*/ 169008 w 12828018"/>
                  <a:gd name="connsiteY85" fmla="*/ 2326105 h 3773269"/>
                  <a:gd name="connsiteX86" fmla="*/ 88798 w 12828018"/>
                  <a:gd name="connsiteY86" fmla="*/ 2454442 h 3773269"/>
                  <a:gd name="connsiteX87" fmla="*/ 8587 w 12828018"/>
                  <a:gd name="connsiteY87" fmla="*/ 2855494 h 3773269"/>
                  <a:gd name="connsiteX88" fmla="*/ 8587 w 12828018"/>
                  <a:gd name="connsiteY88" fmla="*/ 3080084 h 3773269"/>
                  <a:gd name="connsiteX89" fmla="*/ 64735 w 12828018"/>
                  <a:gd name="connsiteY89" fmla="*/ 3232484 h 3773269"/>
                  <a:gd name="connsiteX90" fmla="*/ 64735 w 12828018"/>
                  <a:gd name="connsiteY90" fmla="*/ 3433010 h 3773269"/>
                  <a:gd name="connsiteX91" fmla="*/ 120882 w 12828018"/>
                  <a:gd name="connsiteY91" fmla="*/ 3481136 h 3773269"/>
                  <a:gd name="connsiteX92" fmla="*/ 345472 w 12828018"/>
                  <a:gd name="connsiteY92" fmla="*/ 3601452 h 3773269"/>
                  <a:gd name="connsiteX93" fmla="*/ 706419 w 12828018"/>
                  <a:gd name="connsiteY93" fmla="*/ 3673642 h 3773269"/>
                  <a:gd name="connsiteX94" fmla="*/ 1051324 w 12828018"/>
                  <a:gd name="connsiteY94" fmla="*/ 3697705 h 3773269"/>
                  <a:gd name="connsiteX95" fmla="*/ 1251850 w 12828018"/>
                  <a:gd name="connsiteY95" fmla="*/ 3729789 h 3773269"/>
                  <a:gd name="connsiteX96" fmla="*/ 1275914 w 12828018"/>
                  <a:gd name="connsiteY96" fmla="*/ 3697705 h 3773269"/>
                  <a:gd name="connsiteX97" fmla="*/ 1259872 w 12828018"/>
                  <a:gd name="connsiteY97" fmla="*/ 3489157 h 377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28018" h="3773269">
                    <a:moveTo>
                      <a:pt x="1259872" y="3489157"/>
                    </a:moveTo>
                    <a:cubicBezTo>
                      <a:pt x="1259872" y="3424989"/>
                      <a:pt x="1267893" y="3382210"/>
                      <a:pt x="1275914" y="3312694"/>
                    </a:cubicBezTo>
                    <a:cubicBezTo>
                      <a:pt x="1283935" y="3243178"/>
                      <a:pt x="1290619" y="3146926"/>
                      <a:pt x="1307998" y="3072063"/>
                    </a:cubicBezTo>
                    <a:cubicBezTo>
                      <a:pt x="1325377" y="2997200"/>
                      <a:pt x="1352113" y="2927683"/>
                      <a:pt x="1380187" y="2863515"/>
                    </a:cubicBezTo>
                    <a:cubicBezTo>
                      <a:pt x="1408261" y="2799346"/>
                      <a:pt x="1428314" y="2749884"/>
                      <a:pt x="1476440" y="2687052"/>
                    </a:cubicBezTo>
                    <a:cubicBezTo>
                      <a:pt x="1524566" y="2624220"/>
                      <a:pt x="1600766" y="2542673"/>
                      <a:pt x="1668945" y="2486526"/>
                    </a:cubicBezTo>
                    <a:cubicBezTo>
                      <a:pt x="1737124" y="2430379"/>
                      <a:pt x="1809314" y="2387600"/>
                      <a:pt x="1885514" y="2350168"/>
                    </a:cubicBezTo>
                    <a:cubicBezTo>
                      <a:pt x="1961714" y="2312736"/>
                      <a:pt x="2028556" y="2283325"/>
                      <a:pt x="2126145" y="2261936"/>
                    </a:cubicBezTo>
                    <a:cubicBezTo>
                      <a:pt x="2223734" y="2240547"/>
                      <a:pt x="2362766" y="2219157"/>
                      <a:pt x="2471050" y="2221831"/>
                    </a:cubicBezTo>
                    <a:cubicBezTo>
                      <a:pt x="2579334" y="2224505"/>
                      <a:pt x="2668903" y="2239210"/>
                      <a:pt x="2775850" y="2277978"/>
                    </a:cubicBezTo>
                    <a:cubicBezTo>
                      <a:pt x="2882797" y="2316746"/>
                      <a:pt x="3016482" y="2375568"/>
                      <a:pt x="3112735" y="2454442"/>
                    </a:cubicBezTo>
                    <a:cubicBezTo>
                      <a:pt x="3208988" y="2533316"/>
                      <a:pt x="3299892" y="2669674"/>
                      <a:pt x="3353366" y="2751221"/>
                    </a:cubicBezTo>
                    <a:cubicBezTo>
                      <a:pt x="3406840" y="2832768"/>
                      <a:pt x="3412188" y="2868863"/>
                      <a:pt x="3433577" y="2943726"/>
                    </a:cubicBezTo>
                    <a:cubicBezTo>
                      <a:pt x="3454966" y="3018589"/>
                      <a:pt x="3468335" y="3116179"/>
                      <a:pt x="3481703" y="3200400"/>
                    </a:cubicBezTo>
                    <a:cubicBezTo>
                      <a:pt x="3495071" y="3284621"/>
                      <a:pt x="3509777" y="3378200"/>
                      <a:pt x="3513787" y="3449052"/>
                    </a:cubicBezTo>
                    <a:cubicBezTo>
                      <a:pt x="3517797" y="3519904"/>
                      <a:pt x="3507103" y="3573378"/>
                      <a:pt x="3505766" y="3625515"/>
                    </a:cubicBezTo>
                    <a:cubicBezTo>
                      <a:pt x="3504429" y="3677652"/>
                      <a:pt x="3496408" y="3739147"/>
                      <a:pt x="3505766" y="3761873"/>
                    </a:cubicBezTo>
                    <a:cubicBezTo>
                      <a:pt x="3515124" y="3784599"/>
                      <a:pt x="3525819" y="3767220"/>
                      <a:pt x="3561914" y="3761873"/>
                    </a:cubicBezTo>
                    <a:cubicBezTo>
                      <a:pt x="3598009" y="3756526"/>
                      <a:pt x="3642125" y="3737810"/>
                      <a:pt x="3722335" y="3729789"/>
                    </a:cubicBezTo>
                    <a:cubicBezTo>
                      <a:pt x="3802546" y="3721768"/>
                      <a:pt x="4043177" y="3713747"/>
                      <a:pt x="4043177" y="3713747"/>
                    </a:cubicBezTo>
                    <a:lnTo>
                      <a:pt x="4596629" y="3721768"/>
                    </a:lnTo>
                    <a:lnTo>
                      <a:pt x="6040419" y="3713747"/>
                    </a:lnTo>
                    <a:lnTo>
                      <a:pt x="7572440" y="3729789"/>
                    </a:lnTo>
                    <a:lnTo>
                      <a:pt x="8623198" y="3721768"/>
                    </a:lnTo>
                    <a:cubicBezTo>
                      <a:pt x="8854472" y="3721768"/>
                      <a:pt x="8885219" y="3728452"/>
                      <a:pt x="8960082" y="3729789"/>
                    </a:cubicBezTo>
                    <a:cubicBezTo>
                      <a:pt x="9034945" y="3731126"/>
                      <a:pt x="9072377" y="3729789"/>
                      <a:pt x="9072377" y="3729789"/>
                    </a:cubicBezTo>
                    <a:cubicBezTo>
                      <a:pt x="9100451" y="3729789"/>
                      <a:pt x="9117829" y="3749842"/>
                      <a:pt x="9128524" y="3729789"/>
                    </a:cubicBezTo>
                    <a:cubicBezTo>
                      <a:pt x="9139219" y="3709736"/>
                      <a:pt x="9136545" y="3657599"/>
                      <a:pt x="9136545" y="3609473"/>
                    </a:cubicBezTo>
                    <a:cubicBezTo>
                      <a:pt x="9136545" y="3561347"/>
                      <a:pt x="9119166" y="3530599"/>
                      <a:pt x="9128524" y="3441031"/>
                    </a:cubicBezTo>
                    <a:cubicBezTo>
                      <a:pt x="9137882" y="3351463"/>
                      <a:pt x="9161946" y="3188368"/>
                      <a:pt x="9192693" y="3072063"/>
                    </a:cubicBezTo>
                    <a:cubicBezTo>
                      <a:pt x="9223440" y="2955758"/>
                      <a:pt x="9254187" y="2843463"/>
                      <a:pt x="9313008" y="2743200"/>
                    </a:cubicBezTo>
                    <a:cubicBezTo>
                      <a:pt x="9371829" y="2642937"/>
                      <a:pt x="9448030" y="2546684"/>
                      <a:pt x="9545619" y="2470484"/>
                    </a:cubicBezTo>
                    <a:cubicBezTo>
                      <a:pt x="9643209" y="2394284"/>
                      <a:pt x="9784914" y="2324768"/>
                      <a:pt x="9898545" y="2286000"/>
                    </a:cubicBezTo>
                    <a:cubicBezTo>
                      <a:pt x="10012176" y="2247232"/>
                      <a:pt x="10101745" y="2235199"/>
                      <a:pt x="10227408" y="2237873"/>
                    </a:cubicBezTo>
                    <a:cubicBezTo>
                      <a:pt x="10353071" y="2240547"/>
                      <a:pt x="10532208" y="2264610"/>
                      <a:pt x="10652524" y="2302042"/>
                    </a:cubicBezTo>
                    <a:cubicBezTo>
                      <a:pt x="10772840" y="2339474"/>
                      <a:pt x="10863745" y="2396958"/>
                      <a:pt x="10949303" y="2462463"/>
                    </a:cubicBezTo>
                    <a:cubicBezTo>
                      <a:pt x="11034861" y="2527968"/>
                      <a:pt x="11109725" y="2621547"/>
                      <a:pt x="11165872" y="2695073"/>
                    </a:cubicBezTo>
                    <a:cubicBezTo>
                      <a:pt x="11222019" y="2768599"/>
                      <a:pt x="11260787" y="2842126"/>
                      <a:pt x="11286187" y="2903621"/>
                    </a:cubicBezTo>
                    <a:cubicBezTo>
                      <a:pt x="11311587" y="2965116"/>
                      <a:pt x="11310251" y="2993189"/>
                      <a:pt x="11318272" y="3064042"/>
                    </a:cubicBezTo>
                    <a:cubicBezTo>
                      <a:pt x="11326293" y="3134894"/>
                      <a:pt x="11334314" y="3244515"/>
                      <a:pt x="11334314" y="3328736"/>
                    </a:cubicBezTo>
                    <a:cubicBezTo>
                      <a:pt x="11334314" y="3412957"/>
                      <a:pt x="11318272" y="3521242"/>
                      <a:pt x="11318272" y="3569368"/>
                    </a:cubicBezTo>
                    <a:cubicBezTo>
                      <a:pt x="11318272" y="3617494"/>
                      <a:pt x="11310251" y="3613484"/>
                      <a:pt x="11334314" y="3617494"/>
                    </a:cubicBezTo>
                    <a:cubicBezTo>
                      <a:pt x="11358377" y="3621505"/>
                      <a:pt x="11407840" y="3610810"/>
                      <a:pt x="11462650" y="3593431"/>
                    </a:cubicBezTo>
                    <a:cubicBezTo>
                      <a:pt x="11517461" y="3576052"/>
                      <a:pt x="11581629" y="3538621"/>
                      <a:pt x="11663177" y="3513221"/>
                    </a:cubicBezTo>
                    <a:cubicBezTo>
                      <a:pt x="11744725" y="3487821"/>
                      <a:pt x="11846325" y="3461084"/>
                      <a:pt x="11951935" y="3441031"/>
                    </a:cubicBezTo>
                    <a:cubicBezTo>
                      <a:pt x="12057546" y="3420978"/>
                      <a:pt x="12188556" y="3411621"/>
                      <a:pt x="12296840" y="3392905"/>
                    </a:cubicBezTo>
                    <a:cubicBezTo>
                      <a:pt x="12405124" y="3374189"/>
                      <a:pt x="12537472" y="3354136"/>
                      <a:pt x="12601640" y="3328736"/>
                    </a:cubicBezTo>
                    <a:cubicBezTo>
                      <a:pt x="12665808" y="3303336"/>
                      <a:pt x="12661797" y="3261894"/>
                      <a:pt x="12681850" y="3240505"/>
                    </a:cubicBezTo>
                    <a:cubicBezTo>
                      <a:pt x="12701903" y="3219116"/>
                      <a:pt x="12712598" y="3224463"/>
                      <a:pt x="12721956" y="3200400"/>
                    </a:cubicBezTo>
                    <a:cubicBezTo>
                      <a:pt x="12731314" y="3176337"/>
                      <a:pt x="12723293" y="3138905"/>
                      <a:pt x="12737998" y="3096126"/>
                    </a:cubicBezTo>
                    <a:cubicBezTo>
                      <a:pt x="12752703" y="3053347"/>
                      <a:pt x="12796819" y="3001210"/>
                      <a:pt x="12810187" y="2943726"/>
                    </a:cubicBezTo>
                    <a:cubicBezTo>
                      <a:pt x="12823555" y="2886242"/>
                      <a:pt x="12816871" y="2859505"/>
                      <a:pt x="12818208" y="2751221"/>
                    </a:cubicBezTo>
                    <a:cubicBezTo>
                      <a:pt x="12819545" y="2642937"/>
                      <a:pt x="12839597" y="2408989"/>
                      <a:pt x="12818208" y="2294021"/>
                    </a:cubicBezTo>
                    <a:cubicBezTo>
                      <a:pt x="12796819" y="2179053"/>
                      <a:pt x="12727304" y="2121568"/>
                      <a:pt x="12689872" y="2061410"/>
                    </a:cubicBezTo>
                    <a:cubicBezTo>
                      <a:pt x="12652440" y="2001252"/>
                      <a:pt x="12620356" y="1997241"/>
                      <a:pt x="12593619" y="1933073"/>
                    </a:cubicBezTo>
                    <a:cubicBezTo>
                      <a:pt x="12566882" y="1868905"/>
                      <a:pt x="12558860" y="1771316"/>
                      <a:pt x="12529450" y="1676400"/>
                    </a:cubicBezTo>
                    <a:cubicBezTo>
                      <a:pt x="12500040" y="1581484"/>
                      <a:pt x="12458598" y="1449136"/>
                      <a:pt x="12417156" y="1363578"/>
                    </a:cubicBezTo>
                    <a:cubicBezTo>
                      <a:pt x="12375714" y="1278020"/>
                      <a:pt x="12308872" y="1204494"/>
                      <a:pt x="12280798" y="1163052"/>
                    </a:cubicBezTo>
                    <a:cubicBezTo>
                      <a:pt x="12252724" y="1121610"/>
                      <a:pt x="12271440" y="1125621"/>
                      <a:pt x="12248714" y="1114926"/>
                    </a:cubicBezTo>
                    <a:cubicBezTo>
                      <a:pt x="12225988" y="1104231"/>
                      <a:pt x="12236682" y="1108242"/>
                      <a:pt x="12144440" y="1098884"/>
                    </a:cubicBezTo>
                    <a:cubicBezTo>
                      <a:pt x="12052198" y="1089526"/>
                      <a:pt x="11807556" y="1072147"/>
                      <a:pt x="11695261" y="1058778"/>
                    </a:cubicBezTo>
                    <a:cubicBezTo>
                      <a:pt x="11582966" y="1045409"/>
                      <a:pt x="11572272" y="1049420"/>
                      <a:pt x="11470672" y="1018673"/>
                    </a:cubicBezTo>
                    <a:cubicBezTo>
                      <a:pt x="11369072" y="987926"/>
                      <a:pt x="11228703" y="933115"/>
                      <a:pt x="11085661" y="874294"/>
                    </a:cubicBezTo>
                    <a:cubicBezTo>
                      <a:pt x="10942619" y="815473"/>
                      <a:pt x="10787545" y="739273"/>
                      <a:pt x="10612419" y="665747"/>
                    </a:cubicBezTo>
                    <a:cubicBezTo>
                      <a:pt x="10437293" y="592221"/>
                      <a:pt x="10200671" y="498641"/>
                      <a:pt x="10034903" y="433136"/>
                    </a:cubicBezTo>
                    <a:cubicBezTo>
                      <a:pt x="9869135" y="367631"/>
                      <a:pt x="9763524" y="319504"/>
                      <a:pt x="9617808" y="272715"/>
                    </a:cubicBezTo>
                    <a:cubicBezTo>
                      <a:pt x="9472092" y="225926"/>
                      <a:pt x="9325040" y="187158"/>
                      <a:pt x="9160608" y="152400"/>
                    </a:cubicBezTo>
                    <a:cubicBezTo>
                      <a:pt x="8996177" y="117642"/>
                      <a:pt x="8830408" y="86894"/>
                      <a:pt x="8631219" y="64168"/>
                    </a:cubicBezTo>
                    <a:cubicBezTo>
                      <a:pt x="8432030" y="41442"/>
                      <a:pt x="8170009" y="26737"/>
                      <a:pt x="7965472" y="16042"/>
                    </a:cubicBezTo>
                    <a:cubicBezTo>
                      <a:pt x="7760935" y="5347"/>
                      <a:pt x="7403998" y="0"/>
                      <a:pt x="7403998" y="0"/>
                    </a:cubicBezTo>
                    <a:lnTo>
                      <a:pt x="6754293" y="8021"/>
                    </a:lnTo>
                    <a:cubicBezTo>
                      <a:pt x="6555104" y="17379"/>
                      <a:pt x="6397356" y="26736"/>
                      <a:pt x="6208861" y="56147"/>
                    </a:cubicBezTo>
                    <a:cubicBezTo>
                      <a:pt x="6020366" y="85558"/>
                      <a:pt x="5782408" y="137695"/>
                      <a:pt x="5623324" y="184484"/>
                    </a:cubicBezTo>
                    <a:cubicBezTo>
                      <a:pt x="5464240" y="231273"/>
                      <a:pt x="5446861" y="240631"/>
                      <a:pt x="5254356" y="336884"/>
                    </a:cubicBezTo>
                    <a:cubicBezTo>
                      <a:pt x="5061851" y="433137"/>
                      <a:pt x="4704914" y="628316"/>
                      <a:pt x="4468293" y="762000"/>
                    </a:cubicBezTo>
                    <a:cubicBezTo>
                      <a:pt x="4231672" y="895684"/>
                      <a:pt x="3834629" y="1138989"/>
                      <a:pt x="3834629" y="1138989"/>
                    </a:cubicBezTo>
                    <a:cubicBezTo>
                      <a:pt x="3696934" y="1220536"/>
                      <a:pt x="3704956" y="1228558"/>
                      <a:pt x="3642124" y="1251284"/>
                    </a:cubicBezTo>
                    <a:cubicBezTo>
                      <a:pt x="3579293" y="1274010"/>
                      <a:pt x="3457640" y="1275347"/>
                      <a:pt x="3457640" y="1275347"/>
                    </a:cubicBezTo>
                    <a:lnTo>
                      <a:pt x="2815956" y="1331494"/>
                    </a:lnTo>
                    <a:cubicBezTo>
                      <a:pt x="2599388" y="1354220"/>
                      <a:pt x="2364103" y="1383631"/>
                      <a:pt x="2158229" y="1411705"/>
                    </a:cubicBezTo>
                    <a:cubicBezTo>
                      <a:pt x="1952355" y="1439779"/>
                      <a:pt x="1761188" y="1469189"/>
                      <a:pt x="1580714" y="1499936"/>
                    </a:cubicBezTo>
                    <a:cubicBezTo>
                      <a:pt x="1400240" y="1530683"/>
                      <a:pt x="1230461" y="1554747"/>
                      <a:pt x="1075387" y="1596189"/>
                    </a:cubicBezTo>
                    <a:cubicBezTo>
                      <a:pt x="920313" y="1637631"/>
                      <a:pt x="753209" y="1703136"/>
                      <a:pt x="650272" y="1748589"/>
                    </a:cubicBezTo>
                    <a:cubicBezTo>
                      <a:pt x="547335" y="1794042"/>
                      <a:pt x="520597" y="1810084"/>
                      <a:pt x="457766" y="1868905"/>
                    </a:cubicBezTo>
                    <a:cubicBezTo>
                      <a:pt x="394935" y="1927726"/>
                      <a:pt x="321408" y="2025315"/>
                      <a:pt x="273282" y="2101515"/>
                    </a:cubicBezTo>
                    <a:cubicBezTo>
                      <a:pt x="225156" y="2177715"/>
                      <a:pt x="199755" y="2267284"/>
                      <a:pt x="169008" y="2326105"/>
                    </a:cubicBezTo>
                    <a:cubicBezTo>
                      <a:pt x="138261" y="2384926"/>
                      <a:pt x="115535" y="2366211"/>
                      <a:pt x="88798" y="2454442"/>
                    </a:cubicBezTo>
                    <a:cubicBezTo>
                      <a:pt x="62061" y="2542673"/>
                      <a:pt x="21956" y="2751220"/>
                      <a:pt x="8587" y="2855494"/>
                    </a:cubicBezTo>
                    <a:cubicBezTo>
                      <a:pt x="-4782" y="2959768"/>
                      <a:pt x="-771" y="3017253"/>
                      <a:pt x="8587" y="3080084"/>
                    </a:cubicBezTo>
                    <a:cubicBezTo>
                      <a:pt x="17945" y="3142915"/>
                      <a:pt x="55377" y="3173663"/>
                      <a:pt x="64735" y="3232484"/>
                    </a:cubicBezTo>
                    <a:cubicBezTo>
                      <a:pt x="74093" y="3291305"/>
                      <a:pt x="55377" y="3391568"/>
                      <a:pt x="64735" y="3433010"/>
                    </a:cubicBezTo>
                    <a:cubicBezTo>
                      <a:pt x="74093" y="3474452"/>
                      <a:pt x="74092" y="3453062"/>
                      <a:pt x="120882" y="3481136"/>
                    </a:cubicBezTo>
                    <a:cubicBezTo>
                      <a:pt x="167671" y="3509210"/>
                      <a:pt x="247883" y="3569368"/>
                      <a:pt x="345472" y="3601452"/>
                    </a:cubicBezTo>
                    <a:cubicBezTo>
                      <a:pt x="443061" y="3633536"/>
                      <a:pt x="588777" y="3657600"/>
                      <a:pt x="706419" y="3673642"/>
                    </a:cubicBezTo>
                    <a:cubicBezTo>
                      <a:pt x="824061" y="3689684"/>
                      <a:pt x="960419" y="3688347"/>
                      <a:pt x="1051324" y="3697705"/>
                    </a:cubicBezTo>
                    <a:cubicBezTo>
                      <a:pt x="1142229" y="3707063"/>
                      <a:pt x="1214418" y="3729789"/>
                      <a:pt x="1251850" y="3729789"/>
                    </a:cubicBezTo>
                    <a:cubicBezTo>
                      <a:pt x="1289282" y="3729789"/>
                      <a:pt x="1273240" y="3739147"/>
                      <a:pt x="1275914" y="3697705"/>
                    </a:cubicBezTo>
                    <a:cubicBezTo>
                      <a:pt x="1278588" y="3656263"/>
                      <a:pt x="1259872" y="3553325"/>
                      <a:pt x="1259872" y="348915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75" name="Oval 2174"/>
              <p:cNvSpPr/>
              <p:nvPr/>
            </p:nvSpPr>
            <p:spPr bwMode="auto">
              <a:xfrm>
                <a:off x="1367928"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76" name="Oval 2175"/>
              <p:cNvSpPr/>
              <p:nvPr/>
            </p:nvSpPr>
            <p:spPr bwMode="auto">
              <a:xfrm>
                <a:off x="9163831" y="3698039"/>
                <a:ext cx="1898047" cy="189804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77" name="Oval 2176"/>
              <p:cNvSpPr/>
              <p:nvPr/>
            </p:nvSpPr>
            <p:spPr bwMode="auto">
              <a:xfrm>
                <a:off x="1677434"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78" name="Oval 2177"/>
              <p:cNvSpPr/>
              <p:nvPr/>
            </p:nvSpPr>
            <p:spPr bwMode="auto">
              <a:xfrm>
                <a:off x="9493068" y="4063642"/>
                <a:ext cx="1246950" cy="124695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79" name="Freeform 2178"/>
              <p:cNvSpPr/>
              <p:nvPr/>
            </p:nvSpPr>
            <p:spPr bwMode="auto">
              <a:xfrm>
                <a:off x="6023811" y="3064042"/>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0" name="Freeform 2179"/>
              <p:cNvSpPr/>
              <p:nvPr/>
            </p:nvSpPr>
            <p:spPr bwMode="auto">
              <a:xfrm>
                <a:off x="8857759" y="2942649"/>
                <a:ext cx="713873" cy="120316"/>
              </a:xfrm>
              <a:custGeom>
                <a:avLst/>
                <a:gdLst>
                  <a:gd name="connsiteX0" fmla="*/ 0 w 713873"/>
                  <a:gd name="connsiteY0" fmla="*/ 120316 h 120316"/>
                  <a:gd name="connsiteX1" fmla="*/ 32084 w 713873"/>
                  <a:gd name="connsiteY1" fmla="*/ 16042 h 120316"/>
                  <a:gd name="connsiteX2" fmla="*/ 697831 w 713873"/>
                  <a:gd name="connsiteY2" fmla="*/ 0 h 120316"/>
                  <a:gd name="connsiteX3" fmla="*/ 713873 w 713873"/>
                  <a:gd name="connsiteY3" fmla="*/ 112295 h 120316"/>
                  <a:gd name="connsiteX4" fmla="*/ 0 w 713873"/>
                  <a:gd name="connsiteY4" fmla="*/ 120316 h 120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873" h="120316">
                    <a:moveTo>
                      <a:pt x="0" y="120316"/>
                    </a:moveTo>
                    <a:lnTo>
                      <a:pt x="32084" y="16042"/>
                    </a:lnTo>
                    <a:lnTo>
                      <a:pt x="697831" y="0"/>
                    </a:lnTo>
                    <a:lnTo>
                      <a:pt x="713873" y="112295"/>
                    </a:lnTo>
                    <a:lnTo>
                      <a:pt x="0" y="120316"/>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1" name="Freeform 2180"/>
              <p:cNvSpPr/>
              <p:nvPr/>
            </p:nvSpPr>
            <p:spPr bwMode="auto">
              <a:xfrm>
                <a:off x="3745051" y="1498174"/>
                <a:ext cx="6253764" cy="1405533"/>
              </a:xfrm>
              <a:custGeom>
                <a:avLst/>
                <a:gdLst>
                  <a:gd name="connsiteX0" fmla="*/ 193076 w 6255901"/>
                  <a:gd name="connsiteY0" fmla="*/ 1164815 h 1405533"/>
                  <a:gd name="connsiteX1" fmla="*/ 393602 w 6255901"/>
                  <a:gd name="connsiteY1" fmla="*/ 1004394 h 1405533"/>
                  <a:gd name="connsiteX2" fmla="*/ 690381 w 6255901"/>
                  <a:gd name="connsiteY2" fmla="*/ 827931 h 1405533"/>
                  <a:gd name="connsiteX3" fmla="*/ 1059350 w 6255901"/>
                  <a:gd name="connsiteY3" fmla="*/ 611363 h 1405533"/>
                  <a:gd name="connsiteX4" fmla="*/ 1468423 w 6255901"/>
                  <a:gd name="connsiteY4" fmla="*/ 378752 h 1405533"/>
                  <a:gd name="connsiteX5" fmla="*/ 1749160 w 6255901"/>
                  <a:gd name="connsiteY5" fmla="*/ 250415 h 1405533"/>
                  <a:gd name="connsiteX6" fmla="*/ 2158234 w 6255901"/>
                  <a:gd name="connsiteY6" fmla="*/ 138121 h 1405533"/>
                  <a:gd name="connsiteX7" fmla="*/ 2799918 w 6255901"/>
                  <a:gd name="connsiteY7" fmla="*/ 33847 h 1405533"/>
                  <a:gd name="connsiteX8" fmla="*/ 3305244 w 6255901"/>
                  <a:gd name="connsiteY8" fmla="*/ 9784 h 1405533"/>
                  <a:gd name="connsiteX9" fmla="*/ 3834634 w 6255901"/>
                  <a:gd name="connsiteY9" fmla="*/ 1763 h 1405533"/>
                  <a:gd name="connsiteX10" fmla="*/ 4508402 w 6255901"/>
                  <a:gd name="connsiteY10" fmla="*/ 41868 h 1405533"/>
                  <a:gd name="connsiteX11" fmla="*/ 5206234 w 6255901"/>
                  <a:gd name="connsiteY11" fmla="*/ 146142 h 1405533"/>
                  <a:gd name="connsiteX12" fmla="*/ 5687497 w 6255901"/>
                  <a:gd name="connsiteY12" fmla="*/ 298542 h 1405533"/>
                  <a:gd name="connsiteX13" fmla="*/ 6088550 w 6255901"/>
                  <a:gd name="connsiteY13" fmla="*/ 475005 h 1405533"/>
                  <a:gd name="connsiteX14" fmla="*/ 6224907 w 6255901"/>
                  <a:gd name="connsiteY14" fmla="*/ 563237 h 1405533"/>
                  <a:gd name="connsiteX15" fmla="*/ 6248971 w 6255901"/>
                  <a:gd name="connsiteY15" fmla="*/ 707615 h 1405533"/>
                  <a:gd name="connsiteX16" fmla="*/ 6128655 w 6255901"/>
                  <a:gd name="connsiteY16" fmla="*/ 1044500 h 1405533"/>
                  <a:gd name="connsiteX17" fmla="*/ 6120634 w 6255901"/>
                  <a:gd name="connsiteY17" fmla="*/ 1100647 h 1405533"/>
                  <a:gd name="connsiteX18" fmla="*/ 6032402 w 6255901"/>
                  <a:gd name="connsiteY18" fmla="*/ 1108668 h 1405533"/>
                  <a:gd name="connsiteX19" fmla="*/ 5326550 w 6255901"/>
                  <a:gd name="connsiteY19" fmla="*/ 1148773 h 1405533"/>
                  <a:gd name="connsiteX20" fmla="*/ 3979013 w 6255901"/>
                  <a:gd name="connsiteY20" fmla="*/ 1196900 h 1405533"/>
                  <a:gd name="connsiteX21" fmla="*/ 3192950 w 6255901"/>
                  <a:gd name="connsiteY21" fmla="*/ 1237005 h 1405533"/>
                  <a:gd name="connsiteX22" fmla="*/ 2053960 w 6255901"/>
                  <a:gd name="connsiteY22" fmla="*/ 1285131 h 1405533"/>
                  <a:gd name="connsiteX23" fmla="*/ 1059350 w 6255901"/>
                  <a:gd name="connsiteY23" fmla="*/ 1341279 h 1405533"/>
                  <a:gd name="connsiteX24" fmla="*/ 489855 w 6255901"/>
                  <a:gd name="connsiteY24" fmla="*/ 1373363 h 1405533"/>
                  <a:gd name="connsiteX25" fmla="*/ 120886 w 6255901"/>
                  <a:gd name="connsiteY25" fmla="*/ 1397426 h 1405533"/>
                  <a:gd name="connsiteX26" fmla="*/ 571 w 6255901"/>
                  <a:gd name="connsiteY26" fmla="*/ 1397426 h 1405533"/>
                  <a:gd name="connsiteX27" fmla="*/ 80781 w 6255901"/>
                  <a:gd name="connsiteY27" fmla="*/ 1301173 h 1405533"/>
                  <a:gd name="connsiteX28" fmla="*/ 193076 w 6255901"/>
                  <a:gd name="connsiteY28" fmla="*/ 1164815 h 1405533"/>
                  <a:gd name="connsiteX0" fmla="*/ 193286 w 6256111"/>
                  <a:gd name="connsiteY0" fmla="*/ 1164815 h 1405533"/>
                  <a:gd name="connsiteX1" fmla="*/ 393812 w 6256111"/>
                  <a:gd name="connsiteY1" fmla="*/ 1004394 h 1405533"/>
                  <a:gd name="connsiteX2" fmla="*/ 690591 w 6256111"/>
                  <a:gd name="connsiteY2" fmla="*/ 827931 h 1405533"/>
                  <a:gd name="connsiteX3" fmla="*/ 1059560 w 6256111"/>
                  <a:gd name="connsiteY3" fmla="*/ 611363 h 1405533"/>
                  <a:gd name="connsiteX4" fmla="*/ 1468633 w 6256111"/>
                  <a:gd name="connsiteY4" fmla="*/ 378752 h 1405533"/>
                  <a:gd name="connsiteX5" fmla="*/ 1749370 w 6256111"/>
                  <a:gd name="connsiteY5" fmla="*/ 250415 h 1405533"/>
                  <a:gd name="connsiteX6" fmla="*/ 2158444 w 6256111"/>
                  <a:gd name="connsiteY6" fmla="*/ 138121 h 1405533"/>
                  <a:gd name="connsiteX7" fmla="*/ 2800128 w 6256111"/>
                  <a:gd name="connsiteY7" fmla="*/ 33847 h 1405533"/>
                  <a:gd name="connsiteX8" fmla="*/ 3305454 w 6256111"/>
                  <a:gd name="connsiteY8" fmla="*/ 9784 h 1405533"/>
                  <a:gd name="connsiteX9" fmla="*/ 3834844 w 6256111"/>
                  <a:gd name="connsiteY9" fmla="*/ 1763 h 1405533"/>
                  <a:gd name="connsiteX10" fmla="*/ 4508612 w 6256111"/>
                  <a:gd name="connsiteY10" fmla="*/ 41868 h 1405533"/>
                  <a:gd name="connsiteX11" fmla="*/ 5206444 w 6256111"/>
                  <a:gd name="connsiteY11" fmla="*/ 146142 h 1405533"/>
                  <a:gd name="connsiteX12" fmla="*/ 5687707 w 6256111"/>
                  <a:gd name="connsiteY12" fmla="*/ 298542 h 1405533"/>
                  <a:gd name="connsiteX13" fmla="*/ 6088760 w 6256111"/>
                  <a:gd name="connsiteY13" fmla="*/ 475005 h 1405533"/>
                  <a:gd name="connsiteX14" fmla="*/ 6225117 w 6256111"/>
                  <a:gd name="connsiteY14" fmla="*/ 563237 h 1405533"/>
                  <a:gd name="connsiteX15" fmla="*/ 6249181 w 6256111"/>
                  <a:gd name="connsiteY15" fmla="*/ 707615 h 1405533"/>
                  <a:gd name="connsiteX16" fmla="*/ 6128865 w 6256111"/>
                  <a:gd name="connsiteY16" fmla="*/ 1044500 h 1405533"/>
                  <a:gd name="connsiteX17" fmla="*/ 6120844 w 6256111"/>
                  <a:gd name="connsiteY17" fmla="*/ 1100647 h 1405533"/>
                  <a:gd name="connsiteX18" fmla="*/ 6032612 w 6256111"/>
                  <a:gd name="connsiteY18" fmla="*/ 1108668 h 1405533"/>
                  <a:gd name="connsiteX19" fmla="*/ 5326760 w 6256111"/>
                  <a:gd name="connsiteY19" fmla="*/ 1148773 h 1405533"/>
                  <a:gd name="connsiteX20" fmla="*/ 3979223 w 6256111"/>
                  <a:gd name="connsiteY20" fmla="*/ 1196900 h 1405533"/>
                  <a:gd name="connsiteX21" fmla="*/ 3193160 w 6256111"/>
                  <a:gd name="connsiteY21" fmla="*/ 1237005 h 1405533"/>
                  <a:gd name="connsiteX22" fmla="*/ 2054170 w 6256111"/>
                  <a:gd name="connsiteY22" fmla="*/ 1285131 h 1405533"/>
                  <a:gd name="connsiteX23" fmla="*/ 1059560 w 6256111"/>
                  <a:gd name="connsiteY23" fmla="*/ 1341279 h 1405533"/>
                  <a:gd name="connsiteX24" fmla="*/ 490065 w 6256111"/>
                  <a:gd name="connsiteY24" fmla="*/ 1373363 h 1405533"/>
                  <a:gd name="connsiteX25" fmla="*/ 121096 w 6256111"/>
                  <a:gd name="connsiteY25" fmla="*/ 1397426 h 1405533"/>
                  <a:gd name="connsiteX26" fmla="*/ 781 w 6256111"/>
                  <a:gd name="connsiteY26" fmla="*/ 1397426 h 1405533"/>
                  <a:gd name="connsiteX27" fmla="*/ 64949 w 6256111"/>
                  <a:gd name="connsiteY27" fmla="*/ 1277110 h 1405533"/>
                  <a:gd name="connsiteX28" fmla="*/ 193286 w 6256111"/>
                  <a:gd name="connsiteY28" fmla="*/ 1164815 h 1405533"/>
                  <a:gd name="connsiteX0" fmla="*/ 193286 w 6253764"/>
                  <a:gd name="connsiteY0" fmla="*/ 1164815 h 1405533"/>
                  <a:gd name="connsiteX1" fmla="*/ 393812 w 6253764"/>
                  <a:gd name="connsiteY1" fmla="*/ 1004394 h 1405533"/>
                  <a:gd name="connsiteX2" fmla="*/ 690591 w 6253764"/>
                  <a:gd name="connsiteY2" fmla="*/ 827931 h 1405533"/>
                  <a:gd name="connsiteX3" fmla="*/ 1059560 w 6253764"/>
                  <a:gd name="connsiteY3" fmla="*/ 611363 h 1405533"/>
                  <a:gd name="connsiteX4" fmla="*/ 1468633 w 6253764"/>
                  <a:gd name="connsiteY4" fmla="*/ 378752 h 1405533"/>
                  <a:gd name="connsiteX5" fmla="*/ 1749370 w 6253764"/>
                  <a:gd name="connsiteY5" fmla="*/ 250415 h 1405533"/>
                  <a:gd name="connsiteX6" fmla="*/ 2158444 w 6253764"/>
                  <a:gd name="connsiteY6" fmla="*/ 138121 h 1405533"/>
                  <a:gd name="connsiteX7" fmla="*/ 2800128 w 6253764"/>
                  <a:gd name="connsiteY7" fmla="*/ 33847 h 1405533"/>
                  <a:gd name="connsiteX8" fmla="*/ 3305454 w 6253764"/>
                  <a:gd name="connsiteY8" fmla="*/ 9784 h 1405533"/>
                  <a:gd name="connsiteX9" fmla="*/ 3834844 w 6253764"/>
                  <a:gd name="connsiteY9" fmla="*/ 1763 h 1405533"/>
                  <a:gd name="connsiteX10" fmla="*/ 4508612 w 6253764"/>
                  <a:gd name="connsiteY10" fmla="*/ 41868 h 1405533"/>
                  <a:gd name="connsiteX11" fmla="*/ 5206444 w 6253764"/>
                  <a:gd name="connsiteY11" fmla="*/ 146142 h 1405533"/>
                  <a:gd name="connsiteX12" fmla="*/ 5687707 w 6253764"/>
                  <a:gd name="connsiteY12" fmla="*/ 298542 h 1405533"/>
                  <a:gd name="connsiteX13" fmla="*/ 6088760 w 6253764"/>
                  <a:gd name="connsiteY13" fmla="*/ 475005 h 1405533"/>
                  <a:gd name="connsiteX14" fmla="*/ 6225117 w 6253764"/>
                  <a:gd name="connsiteY14" fmla="*/ 563237 h 1405533"/>
                  <a:gd name="connsiteX15" fmla="*/ 6249181 w 6253764"/>
                  <a:gd name="connsiteY15" fmla="*/ 707615 h 1405533"/>
                  <a:gd name="connsiteX16" fmla="*/ 6160949 w 6253764"/>
                  <a:gd name="connsiteY16" fmla="*/ 1020437 h 1405533"/>
                  <a:gd name="connsiteX17" fmla="*/ 6120844 w 6253764"/>
                  <a:gd name="connsiteY17" fmla="*/ 1100647 h 1405533"/>
                  <a:gd name="connsiteX18" fmla="*/ 6032612 w 6253764"/>
                  <a:gd name="connsiteY18" fmla="*/ 1108668 h 1405533"/>
                  <a:gd name="connsiteX19" fmla="*/ 5326760 w 6253764"/>
                  <a:gd name="connsiteY19" fmla="*/ 1148773 h 1405533"/>
                  <a:gd name="connsiteX20" fmla="*/ 3979223 w 6253764"/>
                  <a:gd name="connsiteY20" fmla="*/ 1196900 h 1405533"/>
                  <a:gd name="connsiteX21" fmla="*/ 3193160 w 6253764"/>
                  <a:gd name="connsiteY21" fmla="*/ 1237005 h 1405533"/>
                  <a:gd name="connsiteX22" fmla="*/ 2054170 w 6253764"/>
                  <a:gd name="connsiteY22" fmla="*/ 1285131 h 1405533"/>
                  <a:gd name="connsiteX23" fmla="*/ 1059560 w 6253764"/>
                  <a:gd name="connsiteY23" fmla="*/ 1341279 h 1405533"/>
                  <a:gd name="connsiteX24" fmla="*/ 490065 w 6253764"/>
                  <a:gd name="connsiteY24" fmla="*/ 1373363 h 1405533"/>
                  <a:gd name="connsiteX25" fmla="*/ 121096 w 6253764"/>
                  <a:gd name="connsiteY25" fmla="*/ 1397426 h 1405533"/>
                  <a:gd name="connsiteX26" fmla="*/ 781 w 6253764"/>
                  <a:gd name="connsiteY26" fmla="*/ 1397426 h 1405533"/>
                  <a:gd name="connsiteX27" fmla="*/ 64949 w 6253764"/>
                  <a:gd name="connsiteY27" fmla="*/ 1277110 h 1405533"/>
                  <a:gd name="connsiteX28" fmla="*/ 193286 w 6253764"/>
                  <a:gd name="connsiteY28" fmla="*/ 1164815 h 140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53764" h="1405533">
                    <a:moveTo>
                      <a:pt x="193286" y="1164815"/>
                    </a:moveTo>
                    <a:cubicBezTo>
                      <a:pt x="248096" y="1119362"/>
                      <a:pt x="310928" y="1060541"/>
                      <a:pt x="393812" y="1004394"/>
                    </a:cubicBezTo>
                    <a:cubicBezTo>
                      <a:pt x="476696" y="948247"/>
                      <a:pt x="690591" y="827931"/>
                      <a:pt x="690591" y="827931"/>
                    </a:cubicBezTo>
                    <a:lnTo>
                      <a:pt x="1059560" y="611363"/>
                    </a:lnTo>
                    <a:cubicBezTo>
                      <a:pt x="1189234" y="536500"/>
                      <a:pt x="1353665" y="438910"/>
                      <a:pt x="1468633" y="378752"/>
                    </a:cubicBezTo>
                    <a:cubicBezTo>
                      <a:pt x="1583601" y="318594"/>
                      <a:pt x="1634402" y="290520"/>
                      <a:pt x="1749370" y="250415"/>
                    </a:cubicBezTo>
                    <a:cubicBezTo>
                      <a:pt x="1864339" y="210310"/>
                      <a:pt x="1983318" y="174216"/>
                      <a:pt x="2158444" y="138121"/>
                    </a:cubicBezTo>
                    <a:cubicBezTo>
                      <a:pt x="2333570" y="102026"/>
                      <a:pt x="2608960" y="55236"/>
                      <a:pt x="2800128" y="33847"/>
                    </a:cubicBezTo>
                    <a:cubicBezTo>
                      <a:pt x="2991296" y="12457"/>
                      <a:pt x="3133001" y="15131"/>
                      <a:pt x="3305454" y="9784"/>
                    </a:cubicBezTo>
                    <a:cubicBezTo>
                      <a:pt x="3477907" y="4437"/>
                      <a:pt x="3634318" y="-3584"/>
                      <a:pt x="3834844" y="1763"/>
                    </a:cubicBezTo>
                    <a:cubicBezTo>
                      <a:pt x="4035370" y="7110"/>
                      <a:pt x="4280012" y="17805"/>
                      <a:pt x="4508612" y="41868"/>
                    </a:cubicBezTo>
                    <a:cubicBezTo>
                      <a:pt x="4737212" y="65931"/>
                      <a:pt x="5009928" y="103363"/>
                      <a:pt x="5206444" y="146142"/>
                    </a:cubicBezTo>
                    <a:cubicBezTo>
                      <a:pt x="5402960" y="188921"/>
                      <a:pt x="5540654" y="243731"/>
                      <a:pt x="5687707" y="298542"/>
                    </a:cubicBezTo>
                    <a:cubicBezTo>
                      <a:pt x="5834760" y="353352"/>
                      <a:pt x="5999192" y="430889"/>
                      <a:pt x="6088760" y="475005"/>
                    </a:cubicBezTo>
                    <a:cubicBezTo>
                      <a:pt x="6178328" y="519121"/>
                      <a:pt x="6198380" y="524469"/>
                      <a:pt x="6225117" y="563237"/>
                    </a:cubicBezTo>
                    <a:cubicBezTo>
                      <a:pt x="6251854" y="602005"/>
                      <a:pt x="6259876" y="631415"/>
                      <a:pt x="6249181" y="707615"/>
                    </a:cubicBezTo>
                    <a:cubicBezTo>
                      <a:pt x="6238486" y="783815"/>
                      <a:pt x="6182338" y="954932"/>
                      <a:pt x="6160949" y="1020437"/>
                    </a:cubicBezTo>
                    <a:cubicBezTo>
                      <a:pt x="6139560" y="1085942"/>
                      <a:pt x="6142234" y="1085942"/>
                      <a:pt x="6120844" y="1100647"/>
                    </a:cubicBezTo>
                    <a:cubicBezTo>
                      <a:pt x="6099455" y="1115352"/>
                      <a:pt x="6032612" y="1108668"/>
                      <a:pt x="6032612" y="1108668"/>
                    </a:cubicBezTo>
                    <a:lnTo>
                      <a:pt x="5326760" y="1148773"/>
                    </a:lnTo>
                    <a:lnTo>
                      <a:pt x="3979223" y="1196900"/>
                    </a:lnTo>
                    <a:lnTo>
                      <a:pt x="3193160" y="1237005"/>
                    </a:lnTo>
                    <a:lnTo>
                      <a:pt x="2054170" y="1285131"/>
                    </a:lnTo>
                    <a:lnTo>
                      <a:pt x="1059560" y="1341279"/>
                    </a:lnTo>
                    <a:lnTo>
                      <a:pt x="490065" y="1373363"/>
                    </a:lnTo>
                    <a:lnTo>
                      <a:pt x="121096" y="1397426"/>
                    </a:lnTo>
                    <a:cubicBezTo>
                      <a:pt x="39549" y="1401437"/>
                      <a:pt x="7465" y="1413468"/>
                      <a:pt x="781" y="1397426"/>
                    </a:cubicBezTo>
                    <a:cubicBezTo>
                      <a:pt x="-5903" y="1381384"/>
                      <a:pt x="31528" y="1313205"/>
                      <a:pt x="64949" y="1277110"/>
                    </a:cubicBezTo>
                    <a:cubicBezTo>
                      <a:pt x="98370" y="1241015"/>
                      <a:pt x="138476" y="1210268"/>
                      <a:pt x="193286" y="1164815"/>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2" name="Freeform 2181"/>
              <p:cNvSpPr/>
              <p:nvPr/>
            </p:nvSpPr>
            <p:spPr bwMode="auto">
              <a:xfrm>
                <a:off x="6637401" y="1501234"/>
                <a:ext cx="601973" cy="1247984"/>
              </a:xfrm>
              <a:custGeom>
                <a:avLst/>
                <a:gdLst>
                  <a:gd name="connsiteX0" fmla="*/ 0 w 572756"/>
                  <a:gd name="connsiteY0" fmla="*/ 1175657 h 1175657"/>
                  <a:gd name="connsiteX1" fmla="*/ 502417 w 572756"/>
                  <a:gd name="connsiteY1" fmla="*/ 1145512 h 1175657"/>
                  <a:gd name="connsiteX2" fmla="*/ 572756 w 572756"/>
                  <a:gd name="connsiteY2" fmla="*/ 0 h 1175657"/>
                  <a:gd name="connsiteX3" fmla="*/ 291402 w 572756"/>
                  <a:gd name="connsiteY3" fmla="*/ 0 h 1175657"/>
                  <a:gd name="connsiteX4" fmla="*/ 0 w 572756"/>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56" h="1175657">
                    <a:moveTo>
                      <a:pt x="0" y="1175657"/>
                    </a:moveTo>
                    <a:lnTo>
                      <a:pt x="502417" y="1145512"/>
                    </a:lnTo>
                    <a:lnTo>
                      <a:pt x="572756" y="0"/>
                    </a:lnTo>
                    <a:lnTo>
                      <a:pt x="291402" y="0"/>
                    </a:lnTo>
                    <a:lnTo>
                      <a:pt x="0" y="1175657"/>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3" name="Freeform 2182"/>
              <p:cNvSpPr/>
              <p:nvPr/>
            </p:nvSpPr>
            <p:spPr bwMode="auto">
              <a:xfrm>
                <a:off x="11132993" y="3577312"/>
                <a:ext cx="1588934" cy="1341534"/>
              </a:xfrm>
              <a:custGeom>
                <a:avLst/>
                <a:gdLst>
                  <a:gd name="connsiteX0" fmla="*/ 64396 w 1588934"/>
                  <a:gd name="connsiteY0" fmla="*/ 1339593 h 1341534"/>
                  <a:gd name="connsiteX1" fmla="*/ 208775 w 1588934"/>
                  <a:gd name="connsiteY1" fmla="*/ 1307509 h 1341534"/>
                  <a:gd name="connsiteX2" fmla="*/ 329091 w 1588934"/>
                  <a:gd name="connsiteY2" fmla="*/ 1251362 h 1341534"/>
                  <a:gd name="connsiteX3" fmla="*/ 561702 w 1588934"/>
                  <a:gd name="connsiteY3" fmla="*/ 1179172 h 1341534"/>
                  <a:gd name="connsiteX4" fmla="*/ 890565 w 1588934"/>
                  <a:gd name="connsiteY4" fmla="*/ 1131046 h 1341534"/>
                  <a:gd name="connsiteX5" fmla="*/ 1123175 w 1588934"/>
                  <a:gd name="connsiteY5" fmla="*/ 1098962 h 1341534"/>
                  <a:gd name="connsiteX6" fmla="*/ 1355786 w 1588934"/>
                  <a:gd name="connsiteY6" fmla="*/ 1058856 h 1341534"/>
                  <a:gd name="connsiteX7" fmla="*/ 1419954 w 1588934"/>
                  <a:gd name="connsiteY7" fmla="*/ 1010730 h 1341534"/>
                  <a:gd name="connsiteX8" fmla="*/ 1444018 w 1588934"/>
                  <a:gd name="connsiteY8" fmla="*/ 946562 h 1341534"/>
                  <a:gd name="connsiteX9" fmla="*/ 1484123 w 1588934"/>
                  <a:gd name="connsiteY9" fmla="*/ 930520 h 1341534"/>
                  <a:gd name="connsiteX10" fmla="*/ 1508186 w 1588934"/>
                  <a:gd name="connsiteY10" fmla="*/ 818225 h 1341534"/>
                  <a:gd name="connsiteX11" fmla="*/ 1564333 w 1588934"/>
                  <a:gd name="connsiteY11" fmla="*/ 697909 h 1341534"/>
                  <a:gd name="connsiteX12" fmla="*/ 1588396 w 1588934"/>
                  <a:gd name="connsiteY12" fmla="*/ 401130 h 1341534"/>
                  <a:gd name="connsiteX13" fmla="*/ 1580375 w 1588934"/>
                  <a:gd name="connsiteY13" fmla="*/ 56225 h 1341534"/>
                  <a:gd name="connsiteX14" fmla="*/ 1572354 w 1588934"/>
                  <a:gd name="connsiteY14" fmla="*/ 77 h 1341534"/>
                  <a:gd name="connsiteX15" fmla="*/ 1532249 w 1588934"/>
                  <a:gd name="connsiteY15" fmla="*/ 48204 h 1341534"/>
                  <a:gd name="connsiteX16" fmla="*/ 1395891 w 1588934"/>
                  <a:gd name="connsiteY16" fmla="*/ 72267 h 1341534"/>
                  <a:gd name="connsiteX17" fmla="*/ 1099112 w 1588934"/>
                  <a:gd name="connsiteY17" fmla="*/ 96330 h 1341534"/>
                  <a:gd name="connsiteX18" fmla="*/ 770249 w 1588934"/>
                  <a:gd name="connsiteY18" fmla="*/ 104351 h 1341534"/>
                  <a:gd name="connsiteX19" fmla="*/ 553681 w 1588934"/>
                  <a:gd name="connsiteY19" fmla="*/ 120393 h 1341534"/>
                  <a:gd name="connsiteX20" fmla="*/ 409302 w 1588934"/>
                  <a:gd name="connsiteY20" fmla="*/ 144456 h 1341534"/>
                  <a:gd name="connsiteX21" fmla="*/ 369196 w 1588934"/>
                  <a:gd name="connsiteY21" fmla="*/ 224667 h 1341534"/>
                  <a:gd name="connsiteX22" fmla="*/ 353154 w 1588934"/>
                  <a:gd name="connsiteY22" fmla="*/ 296856 h 1341534"/>
                  <a:gd name="connsiteX23" fmla="*/ 345133 w 1588934"/>
                  <a:gd name="connsiteY23" fmla="*/ 361025 h 1341534"/>
                  <a:gd name="connsiteX24" fmla="*/ 224818 w 1588934"/>
                  <a:gd name="connsiteY24" fmla="*/ 401130 h 1341534"/>
                  <a:gd name="connsiteX25" fmla="*/ 136586 w 1588934"/>
                  <a:gd name="connsiteY25" fmla="*/ 409151 h 1341534"/>
                  <a:gd name="connsiteX26" fmla="*/ 48354 w 1588934"/>
                  <a:gd name="connsiteY26" fmla="*/ 457277 h 1341534"/>
                  <a:gd name="connsiteX27" fmla="*/ 228 w 1588934"/>
                  <a:gd name="connsiteY27" fmla="*/ 529467 h 1341534"/>
                  <a:gd name="connsiteX28" fmla="*/ 32312 w 1588934"/>
                  <a:gd name="connsiteY28" fmla="*/ 569572 h 1341534"/>
                  <a:gd name="connsiteX29" fmla="*/ 80439 w 1588934"/>
                  <a:gd name="connsiteY29" fmla="*/ 786141 h 1341534"/>
                  <a:gd name="connsiteX30" fmla="*/ 96481 w 1588934"/>
                  <a:gd name="connsiteY30" fmla="*/ 1090941 h 1341534"/>
                  <a:gd name="connsiteX31" fmla="*/ 80439 w 1588934"/>
                  <a:gd name="connsiteY31" fmla="*/ 1251362 h 1341534"/>
                  <a:gd name="connsiteX32" fmla="*/ 64396 w 1588934"/>
                  <a:gd name="connsiteY32" fmla="*/ 1339593 h 134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8934" h="1341534">
                    <a:moveTo>
                      <a:pt x="64396" y="1339593"/>
                    </a:moveTo>
                    <a:cubicBezTo>
                      <a:pt x="85785" y="1348951"/>
                      <a:pt x="164659" y="1322214"/>
                      <a:pt x="208775" y="1307509"/>
                    </a:cubicBezTo>
                    <a:cubicBezTo>
                      <a:pt x="252891" y="1292804"/>
                      <a:pt x="270270" y="1272751"/>
                      <a:pt x="329091" y="1251362"/>
                    </a:cubicBezTo>
                    <a:cubicBezTo>
                      <a:pt x="387912" y="1229973"/>
                      <a:pt x="468123" y="1199225"/>
                      <a:pt x="561702" y="1179172"/>
                    </a:cubicBezTo>
                    <a:cubicBezTo>
                      <a:pt x="655281" y="1159119"/>
                      <a:pt x="890565" y="1131046"/>
                      <a:pt x="890565" y="1131046"/>
                    </a:cubicBezTo>
                    <a:lnTo>
                      <a:pt x="1123175" y="1098962"/>
                    </a:lnTo>
                    <a:cubicBezTo>
                      <a:pt x="1200712" y="1086930"/>
                      <a:pt x="1306323" y="1073561"/>
                      <a:pt x="1355786" y="1058856"/>
                    </a:cubicBezTo>
                    <a:cubicBezTo>
                      <a:pt x="1405249" y="1044151"/>
                      <a:pt x="1405249" y="1029446"/>
                      <a:pt x="1419954" y="1010730"/>
                    </a:cubicBezTo>
                    <a:cubicBezTo>
                      <a:pt x="1434659" y="992014"/>
                      <a:pt x="1433323" y="959930"/>
                      <a:pt x="1444018" y="946562"/>
                    </a:cubicBezTo>
                    <a:cubicBezTo>
                      <a:pt x="1454713" y="933194"/>
                      <a:pt x="1473428" y="951909"/>
                      <a:pt x="1484123" y="930520"/>
                    </a:cubicBezTo>
                    <a:cubicBezTo>
                      <a:pt x="1494818" y="909131"/>
                      <a:pt x="1494818" y="856993"/>
                      <a:pt x="1508186" y="818225"/>
                    </a:cubicBezTo>
                    <a:cubicBezTo>
                      <a:pt x="1521554" y="779457"/>
                      <a:pt x="1550965" y="767425"/>
                      <a:pt x="1564333" y="697909"/>
                    </a:cubicBezTo>
                    <a:cubicBezTo>
                      <a:pt x="1577701" y="628393"/>
                      <a:pt x="1585722" y="508077"/>
                      <a:pt x="1588396" y="401130"/>
                    </a:cubicBezTo>
                    <a:cubicBezTo>
                      <a:pt x="1591070" y="294183"/>
                      <a:pt x="1583049" y="123067"/>
                      <a:pt x="1580375" y="56225"/>
                    </a:cubicBezTo>
                    <a:cubicBezTo>
                      <a:pt x="1577701" y="-10617"/>
                      <a:pt x="1580375" y="1414"/>
                      <a:pt x="1572354" y="77"/>
                    </a:cubicBezTo>
                    <a:cubicBezTo>
                      <a:pt x="1564333" y="-1260"/>
                      <a:pt x="1561660" y="36172"/>
                      <a:pt x="1532249" y="48204"/>
                    </a:cubicBezTo>
                    <a:cubicBezTo>
                      <a:pt x="1502839" y="60236"/>
                      <a:pt x="1468080" y="64246"/>
                      <a:pt x="1395891" y="72267"/>
                    </a:cubicBezTo>
                    <a:cubicBezTo>
                      <a:pt x="1323702" y="80288"/>
                      <a:pt x="1203386" y="90983"/>
                      <a:pt x="1099112" y="96330"/>
                    </a:cubicBezTo>
                    <a:cubicBezTo>
                      <a:pt x="994838" y="101677"/>
                      <a:pt x="861154" y="100340"/>
                      <a:pt x="770249" y="104351"/>
                    </a:cubicBezTo>
                    <a:cubicBezTo>
                      <a:pt x="679344" y="108361"/>
                      <a:pt x="613839" y="113709"/>
                      <a:pt x="553681" y="120393"/>
                    </a:cubicBezTo>
                    <a:cubicBezTo>
                      <a:pt x="493523" y="127077"/>
                      <a:pt x="440050" y="127077"/>
                      <a:pt x="409302" y="144456"/>
                    </a:cubicBezTo>
                    <a:cubicBezTo>
                      <a:pt x="378555" y="161835"/>
                      <a:pt x="378554" y="199267"/>
                      <a:pt x="369196" y="224667"/>
                    </a:cubicBezTo>
                    <a:cubicBezTo>
                      <a:pt x="359838" y="250067"/>
                      <a:pt x="357164" y="274130"/>
                      <a:pt x="353154" y="296856"/>
                    </a:cubicBezTo>
                    <a:cubicBezTo>
                      <a:pt x="349144" y="319582"/>
                      <a:pt x="366522" y="343646"/>
                      <a:pt x="345133" y="361025"/>
                    </a:cubicBezTo>
                    <a:cubicBezTo>
                      <a:pt x="323744" y="378404"/>
                      <a:pt x="259576" y="393109"/>
                      <a:pt x="224818" y="401130"/>
                    </a:cubicBezTo>
                    <a:cubicBezTo>
                      <a:pt x="190060" y="409151"/>
                      <a:pt x="165997" y="399793"/>
                      <a:pt x="136586" y="409151"/>
                    </a:cubicBezTo>
                    <a:cubicBezTo>
                      <a:pt x="107175" y="418509"/>
                      <a:pt x="71080" y="437224"/>
                      <a:pt x="48354" y="457277"/>
                    </a:cubicBezTo>
                    <a:cubicBezTo>
                      <a:pt x="25628" y="477330"/>
                      <a:pt x="2902" y="510751"/>
                      <a:pt x="228" y="529467"/>
                    </a:cubicBezTo>
                    <a:cubicBezTo>
                      <a:pt x="-2446" y="548183"/>
                      <a:pt x="18944" y="526793"/>
                      <a:pt x="32312" y="569572"/>
                    </a:cubicBezTo>
                    <a:cubicBezTo>
                      <a:pt x="45680" y="612351"/>
                      <a:pt x="69744" y="699246"/>
                      <a:pt x="80439" y="786141"/>
                    </a:cubicBezTo>
                    <a:cubicBezTo>
                      <a:pt x="91134" y="873036"/>
                      <a:pt x="96481" y="1013404"/>
                      <a:pt x="96481" y="1090941"/>
                    </a:cubicBezTo>
                    <a:cubicBezTo>
                      <a:pt x="96481" y="1168478"/>
                      <a:pt x="83113" y="1211257"/>
                      <a:pt x="80439" y="1251362"/>
                    </a:cubicBezTo>
                    <a:cubicBezTo>
                      <a:pt x="77765" y="1291467"/>
                      <a:pt x="43007" y="1330235"/>
                      <a:pt x="64396" y="1339593"/>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4" name="Freeform 2183"/>
              <p:cNvSpPr/>
              <p:nvPr/>
            </p:nvSpPr>
            <p:spPr bwMode="auto">
              <a:xfrm>
                <a:off x="3304674" y="3416969"/>
                <a:ext cx="6023811" cy="1668380"/>
              </a:xfrm>
              <a:custGeom>
                <a:avLst/>
                <a:gdLst>
                  <a:gd name="connsiteX0" fmla="*/ 914400 w 6023810"/>
                  <a:gd name="connsiteY0" fmla="*/ 1588169 h 1668379"/>
                  <a:gd name="connsiteX1" fmla="*/ 3248526 w 6023810"/>
                  <a:gd name="connsiteY1" fmla="*/ 1604211 h 1668379"/>
                  <a:gd name="connsiteX2" fmla="*/ 5069305 w 6023810"/>
                  <a:gd name="connsiteY2" fmla="*/ 1612232 h 1668379"/>
                  <a:gd name="connsiteX3" fmla="*/ 5670884 w 6023810"/>
                  <a:gd name="connsiteY3" fmla="*/ 1620253 h 1668379"/>
                  <a:gd name="connsiteX4" fmla="*/ 5719010 w 6023810"/>
                  <a:gd name="connsiteY4" fmla="*/ 1620253 h 1668379"/>
                  <a:gd name="connsiteX5" fmla="*/ 5719010 w 6023810"/>
                  <a:gd name="connsiteY5" fmla="*/ 1499937 h 1668379"/>
                  <a:gd name="connsiteX6" fmla="*/ 5719010 w 6023810"/>
                  <a:gd name="connsiteY6" fmla="*/ 1307432 h 1668379"/>
                  <a:gd name="connsiteX7" fmla="*/ 5759115 w 6023810"/>
                  <a:gd name="connsiteY7" fmla="*/ 1034716 h 1668379"/>
                  <a:gd name="connsiteX8" fmla="*/ 5839326 w 6023810"/>
                  <a:gd name="connsiteY8" fmla="*/ 770021 h 1668379"/>
                  <a:gd name="connsiteX9" fmla="*/ 5919537 w 6023810"/>
                  <a:gd name="connsiteY9" fmla="*/ 609600 h 1668379"/>
                  <a:gd name="connsiteX10" fmla="*/ 6023810 w 6023810"/>
                  <a:gd name="connsiteY10" fmla="*/ 473243 h 1668379"/>
                  <a:gd name="connsiteX11" fmla="*/ 5895473 w 6023810"/>
                  <a:gd name="connsiteY11" fmla="*/ 481264 h 1668379"/>
                  <a:gd name="connsiteX12" fmla="*/ 5791200 w 6023810"/>
                  <a:gd name="connsiteY12" fmla="*/ 473243 h 1668379"/>
                  <a:gd name="connsiteX13" fmla="*/ 5686926 w 6023810"/>
                  <a:gd name="connsiteY13" fmla="*/ 425116 h 1668379"/>
                  <a:gd name="connsiteX14" fmla="*/ 5614737 w 6023810"/>
                  <a:gd name="connsiteY14" fmla="*/ 409074 h 1668379"/>
                  <a:gd name="connsiteX15" fmla="*/ 5566610 w 6023810"/>
                  <a:gd name="connsiteY15" fmla="*/ 457200 h 1668379"/>
                  <a:gd name="connsiteX16" fmla="*/ 5542547 w 6023810"/>
                  <a:gd name="connsiteY16" fmla="*/ 425116 h 1668379"/>
                  <a:gd name="connsiteX17" fmla="*/ 5542547 w 6023810"/>
                  <a:gd name="connsiteY17" fmla="*/ 144379 h 1668379"/>
                  <a:gd name="connsiteX18" fmla="*/ 5534526 w 6023810"/>
                  <a:gd name="connsiteY18" fmla="*/ 16043 h 1668379"/>
                  <a:gd name="connsiteX19" fmla="*/ 5430252 w 6023810"/>
                  <a:gd name="connsiteY19" fmla="*/ 0 h 1668379"/>
                  <a:gd name="connsiteX20" fmla="*/ 4267200 w 6023810"/>
                  <a:gd name="connsiteY20" fmla="*/ 40106 h 1668379"/>
                  <a:gd name="connsiteX21" fmla="*/ 2069431 w 6023810"/>
                  <a:gd name="connsiteY21" fmla="*/ 112295 h 1668379"/>
                  <a:gd name="connsiteX22" fmla="*/ 497305 w 6023810"/>
                  <a:gd name="connsiteY22" fmla="*/ 168443 h 1668379"/>
                  <a:gd name="connsiteX23" fmla="*/ 328863 w 6023810"/>
                  <a:gd name="connsiteY23" fmla="*/ 168443 h 1668379"/>
                  <a:gd name="connsiteX24" fmla="*/ 328863 w 6023810"/>
                  <a:gd name="connsiteY24" fmla="*/ 168443 h 1668379"/>
                  <a:gd name="connsiteX25" fmla="*/ 304800 w 6023810"/>
                  <a:gd name="connsiteY25" fmla="*/ 280737 h 1668379"/>
                  <a:gd name="connsiteX26" fmla="*/ 320842 w 6023810"/>
                  <a:gd name="connsiteY26" fmla="*/ 425116 h 1668379"/>
                  <a:gd name="connsiteX27" fmla="*/ 256673 w 6023810"/>
                  <a:gd name="connsiteY27" fmla="*/ 553453 h 1668379"/>
                  <a:gd name="connsiteX28" fmla="*/ 104273 w 6023810"/>
                  <a:gd name="connsiteY28" fmla="*/ 665748 h 1668379"/>
                  <a:gd name="connsiteX29" fmla="*/ 0 w 6023810"/>
                  <a:gd name="connsiteY29" fmla="*/ 729916 h 1668379"/>
                  <a:gd name="connsiteX30" fmla="*/ 24063 w 6023810"/>
                  <a:gd name="connsiteY30" fmla="*/ 802106 h 1668379"/>
                  <a:gd name="connsiteX31" fmla="*/ 72189 w 6023810"/>
                  <a:gd name="connsiteY31" fmla="*/ 1147011 h 1668379"/>
                  <a:gd name="connsiteX32" fmla="*/ 88231 w 6023810"/>
                  <a:gd name="connsiteY32" fmla="*/ 1347537 h 1668379"/>
                  <a:gd name="connsiteX33" fmla="*/ 80210 w 6023810"/>
                  <a:gd name="connsiteY33" fmla="*/ 1499937 h 1668379"/>
                  <a:gd name="connsiteX34" fmla="*/ 80210 w 6023810"/>
                  <a:gd name="connsiteY34" fmla="*/ 1628274 h 1668379"/>
                  <a:gd name="connsiteX35" fmla="*/ 80210 w 6023810"/>
                  <a:gd name="connsiteY35" fmla="*/ 1668379 h 1668379"/>
                  <a:gd name="connsiteX36" fmla="*/ 248652 w 6023810"/>
                  <a:gd name="connsiteY36" fmla="*/ 1620253 h 1668379"/>
                  <a:gd name="connsiteX37" fmla="*/ 441158 w 6023810"/>
                  <a:gd name="connsiteY37" fmla="*/ 1604211 h 1668379"/>
                  <a:gd name="connsiteX38" fmla="*/ 673768 w 6023810"/>
                  <a:gd name="connsiteY38" fmla="*/ 1588169 h 1668379"/>
                  <a:gd name="connsiteX39" fmla="*/ 914400 w 6023810"/>
                  <a:gd name="connsiteY39" fmla="*/ 1588169 h 166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23810" h="1668379">
                    <a:moveTo>
                      <a:pt x="914400" y="1588169"/>
                    </a:moveTo>
                    <a:lnTo>
                      <a:pt x="3248526" y="1604211"/>
                    </a:lnTo>
                    <a:lnTo>
                      <a:pt x="5069305" y="1612232"/>
                    </a:lnTo>
                    <a:lnTo>
                      <a:pt x="5670884" y="1620253"/>
                    </a:lnTo>
                    <a:lnTo>
                      <a:pt x="5719010" y="1620253"/>
                    </a:lnTo>
                    <a:lnTo>
                      <a:pt x="5719010" y="1499937"/>
                    </a:lnTo>
                    <a:lnTo>
                      <a:pt x="5719010" y="1307432"/>
                    </a:lnTo>
                    <a:lnTo>
                      <a:pt x="5759115" y="1034716"/>
                    </a:lnTo>
                    <a:lnTo>
                      <a:pt x="5839326" y="770021"/>
                    </a:lnTo>
                    <a:lnTo>
                      <a:pt x="5919537" y="609600"/>
                    </a:lnTo>
                    <a:lnTo>
                      <a:pt x="6023810" y="473243"/>
                    </a:lnTo>
                    <a:lnTo>
                      <a:pt x="5895473" y="481264"/>
                    </a:lnTo>
                    <a:lnTo>
                      <a:pt x="5791200" y="473243"/>
                    </a:lnTo>
                    <a:lnTo>
                      <a:pt x="5686926" y="425116"/>
                    </a:lnTo>
                    <a:lnTo>
                      <a:pt x="5614737" y="409074"/>
                    </a:lnTo>
                    <a:lnTo>
                      <a:pt x="5566610" y="457200"/>
                    </a:lnTo>
                    <a:lnTo>
                      <a:pt x="5542547" y="425116"/>
                    </a:lnTo>
                    <a:lnTo>
                      <a:pt x="5542547" y="144379"/>
                    </a:lnTo>
                    <a:lnTo>
                      <a:pt x="5534526" y="16043"/>
                    </a:lnTo>
                    <a:lnTo>
                      <a:pt x="5430252" y="0"/>
                    </a:lnTo>
                    <a:lnTo>
                      <a:pt x="4267200" y="40106"/>
                    </a:lnTo>
                    <a:lnTo>
                      <a:pt x="2069431" y="112295"/>
                    </a:lnTo>
                    <a:lnTo>
                      <a:pt x="497305" y="168443"/>
                    </a:lnTo>
                    <a:lnTo>
                      <a:pt x="328863" y="168443"/>
                    </a:lnTo>
                    <a:lnTo>
                      <a:pt x="328863" y="168443"/>
                    </a:lnTo>
                    <a:lnTo>
                      <a:pt x="304800" y="280737"/>
                    </a:lnTo>
                    <a:lnTo>
                      <a:pt x="320842" y="425116"/>
                    </a:lnTo>
                    <a:lnTo>
                      <a:pt x="256673" y="553453"/>
                    </a:lnTo>
                    <a:lnTo>
                      <a:pt x="104273" y="665748"/>
                    </a:lnTo>
                    <a:lnTo>
                      <a:pt x="0" y="729916"/>
                    </a:lnTo>
                    <a:lnTo>
                      <a:pt x="24063" y="802106"/>
                    </a:lnTo>
                    <a:lnTo>
                      <a:pt x="72189" y="1147011"/>
                    </a:lnTo>
                    <a:lnTo>
                      <a:pt x="88231" y="1347537"/>
                    </a:lnTo>
                    <a:lnTo>
                      <a:pt x="80210" y="1499937"/>
                    </a:lnTo>
                    <a:lnTo>
                      <a:pt x="80210" y="1628274"/>
                    </a:lnTo>
                    <a:lnTo>
                      <a:pt x="80210" y="1668379"/>
                    </a:lnTo>
                    <a:lnTo>
                      <a:pt x="248652" y="1620253"/>
                    </a:lnTo>
                    <a:lnTo>
                      <a:pt x="441158" y="1604211"/>
                    </a:lnTo>
                    <a:lnTo>
                      <a:pt x="673768" y="1588169"/>
                    </a:lnTo>
                    <a:lnTo>
                      <a:pt x="914400" y="1588169"/>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5" name="Freeform 2184"/>
              <p:cNvSpPr/>
              <p:nvPr/>
            </p:nvSpPr>
            <p:spPr bwMode="auto">
              <a:xfrm>
                <a:off x="11565391" y="2662073"/>
                <a:ext cx="935571" cy="603883"/>
              </a:xfrm>
              <a:custGeom>
                <a:avLst/>
                <a:gdLst>
                  <a:gd name="connsiteX0" fmla="*/ 714841 w 935571"/>
                  <a:gd name="connsiteY0" fmla="*/ 586453 h 603883"/>
                  <a:gd name="connsiteX1" fmla="*/ 923388 w 935571"/>
                  <a:gd name="connsiteY1" fmla="*/ 578432 h 603883"/>
                  <a:gd name="connsiteX2" fmla="*/ 899325 w 935571"/>
                  <a:gd name="connsiteY2" fmla="*/ 498222 h 603883"/>
                  <a:gd name="connsiteX3" fmla="*/ 803072 w 935571"/>
                  <a:gd name="connsiteY3" fmla="*/ 137274 h 603883"/>
                  <a:gd name="connsiteX4" fmla="*/ 746925 w 935571"/>
                  <a:gd name="connsiteY4" fmla="*/ 16959 h 603883"/>
                  <a:gd name="connsiteX5" fmla="*/ 690777 w 935571"/>
                  <a:gd name="connsiteY5" fmla="*/ 916 h 603883"/>
                  <a:gd name="connsiteX6" fmla="*/ 313788 w 935571"/>
                  <a:gd name="connsiteY6" fmla="*/ 8938 h 603883"/>
                  <a:gd name="connsiteX7" fmla="*/ 73156 w 935571"/>
                  <a:gd name="connsiteY7" fmla="*/ 24980 h 603883"/>
                  <a:gd name="connsiteX8" fmla="*/ 49093 w 935571"/>
                  <a:gd name="connsiteY8" fmla="*/ 81127 h 603883"/>
                  <a:gd name="connsiteX9" fmla="*/ 967 w 935571"/>
                  <a:gd name="connsiteY9" fmla="*/ 217485 h 603883"/>
                  <a:gd name="connsiteX10" fmla="*/ 97220 w 935571"/>
                  <a:gd name="connsiteY10" fmla="*/ 281653 h 603883"/>
                  <a:gd name="connsiteX11" fmla="*/ 658693 w 935571"/>
                  <a:gd name="connsiteY11" fmla="*/ 578432 h 603883"/>
                  <a:gd name="connsiteX12" fmla="*/ 714841 w 935571"/>
                  <a:gd name="connsiteY12" fmla="*/ 586453 h 603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571" h="603883">
                    <a:moveTo>
                      <a:pt x="714841" y="586453"/>
                    </a:moveTo>
                    <a:cubicBezTo>
                      <a:pt x="758957" y="586453"/>
                      <a:pt x="892641" y="593137"/>
                      <a:pt x="923388" y="578432"/>
                    </a:cubicBezTo>
                    <a:cubicBezTo>
                      <a:pt x="954135" y="563727"/>
                      <a:pt x="919378" y="571748"/>
                      <a:pt x="899325" y="498222"/>
                    </a:cubicBezTo>
                    <a:cubicBezTo>
                      <a:pt x="879272" y="424696"/>
                      <a:pt x="828472" y="217484"/>
                      <a:pt x="803072" y="137274"/>
                    </a:cubicBezTo>
                    <a:cubicBezTo>
                      <a:pt x="777672" y="57063"/>
                      <a:pt x="765641" y="39685"/>
                      <a:pt x="746925" y="16959"/>
                    </a:cubicBezTo>
                    <a:cubicBezTo>
                      <a:pt x="728209" y="-5767"/>
                      <a:pt x="690777" y="916"/>
                      <a:pt x="690777" y="916"/>
                    </a:cubicBezTo>
                    <a:lnTo>
                      <a:pt x="313788" y="8938"/>
                    </a:lnTo>
                    <a:cubicBezTo>
                      <a:pt x="210851" y="12949"/>
                      <a:pt x="117272" y="12949"/>
                      <a:pt x="73156" y="24980"/>
                    </a:cubicBezTo>
                    <a:cubicBezTo>
                      <a:pt x="29040" y="37011"/>
                      <a:pt x="61124" y="49043"/>
                      <a:pt x="49093" y="81127"/>
                    </a:cubicBezTo>
                    <a:cubicBezTo>
                      <a:pt x="37062" y="113211"/>
                      <a:pt x="-7054" y="184064"/>
                      <a:pt x="967" y="217485"/>
                    </a:cubicBezTo>
                    <a:cubicBezTo>
                      <a:pt x="8988" y="250906"/>
                      <a:pt x="-12401" y="221495"/>
                      <a:pt x="97220" y="281653"/>
                    </a:cubicBezTo>
                    <a:cubicBezTo>
                      <a:pt x="206841" y="341811"/>
                      <a:pt x="549072" y="526295"/>
                      <a:pt x="658693" y="578432"/>
                    </a:cubicBezTo>
                    <a:cubicBezTo>
                      <a:pt x="768314" y="630569"/>
                      <a:pt x="670725" y="586453"/>
                      <a:pt x="714841" y="586453"/>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6" name="Freeform 2185"/>
              <p:cNvSpPr/>
              <p:nvPr/>
            </p:nvSpPr>
            <p:spPr bwMode="auto">
              <a:xfrm>
                <a:off x="-120316" y="3777916"/>
                <a:ext cx="1483895" cy="1275347"/>
              </a:xfrm>
              <a:custGeom>
                <a:avLst/>
                <a:gdLst>
                  <a:gd name="connsiteX0" fmla="*/ 1267327 w 1483895"/>
                  <a:gd name="connsiteY0" fmla="*/ 1147010 h 1275347"/>
                  <a:gd name="connsiteX1" fmla="*/ 1275348 w 1483895"/>
                  <a:gd name="connsiteY1" fmla="*/ 850231 h 1275347"/>
                  <a:gd name="connsiteX2" fmla="*/ 1323474 w 1483895"/>
                  <a:gd name="connsiteY2" fmla="*/ 585537 h 1275347"/>
                  <a:gd name="connsiteX3" fmla="*/ 1387642 w 1483895"/>
                  <a:gd name="connsiteY3" fmla="*/ 409073 h 1275347"/>
                  <a:gd name="connsiteX4" fmla="*/ 1443790 w 1483895"/>
                  <a:gd name="connsiteY4" fmla="*/ 264695 h 1275347"/>
                  <a:gd name="connsiteX5" fmla="*/ 1483895 w 1483895"/>
                  <a:gd name="connsiteY5" fmla="*/ 200526 h 1275347"/>
                  <a:gd name="connsiteX6" fmla="*/ 1411705 w 1483895"/>
                  <a:gd name="connsiteY6" fmla="*/ 192505 h 1275347"/>
                  <a:gd name="connsiteX7" fmla="*/ 1323474 w 1483895"/>
                  <a:gd name="connsiteY7" fmla="*/ 192505 h 1275347"/>
                  <a:gd name="connsiteX8" fmla="*/ 1299411 w 1483895"/>
                  <a:gd name="connsiteY8" fmla="*/ 272716 h 1275347"/>
                  <a:gd name="connsiteX9" fmla="*/ 1259305 w 1483895"/>
                  <a:gd name="connsiteY9" fmla="*/ 240631 h 1275347"/>
                  <a:gd name="connsiteX10" fmla="*/ 1179095 w 1483895"/>
                  <a:gd name="connsiteY10" fmla="*/ 192505 h 1275347"/>
                  <a:gd name="connsiteX11" fmla="*/ 1098884 w 1483895"/>
                  <a:gd name="connsiteY11" fmla="*/ 208547 h 1275347"/>
                  <a:gd name="connsiteX12" fmla="*/ 954505 w 1483895"/>
                  <a:gd name="connsiteY12" fmla="*/ 136358 h 1275347"/>
                  <a:gd name="connsiteX13" fmla="*/ 786063 w 1483895"/>
                  <a:gd name="connsiteY13" fmla="*/ 152400 h 1275347"/>
                  <a:gd name="connsiteX14" fmla="*/ 505327 w 1483895"/>
                  <a:gd name="connsiteY14" fmla="*/ 224589 h 1275347"/>
                  <a:gd name="connsiteX15" fmla="*/ 352927 w 1483895"/>
                  <a:gd name="connsiteY15" fmla="*/ 184484 h 1275347"/>
                  <a:gd name="connsiteX16" fmla="*/ 200527 w 1483895"/>
                  <a:gd name="connsiteY16" fmla="*/ 120316 h 1275347"/>
                  <a:gd name="connsiteX17" fmla="*/ 88232 w 1483895"/>
                  <a:gd name="connsiteY17" fmla="*/ 0 h 1275347"/>
                  <a:gd name="connsiteX18" fmla="*/ 80211 w 1483895"/>
                  <a:gd name="connsiteY18" fmla="*/ 72189 h 1275347"/>
                  <a:gd name="connsiteX19" fmla="*/ 0 w 1483895"/>
                  <a:gd name="connsiteY19" fmla="*/ 393031 h 1275347"/>
                  <a:gd name="connsiteX20" fmla="*/ 0 w 1483895"/>
                  <a:gd name="connsiteY20" fmla="*/ 521368 h 1275347"/>
                  <a:gd name="connsiteX21" fmla="*/ 8021 w 1483895"/>
                  <a:gd name="connsiteY21" fmla="*/ 617621 h 1275347"/>
                  <a:gd name="connsiteX22" fmla="*/ 80211 w 1483895"/>
                  <a:gd name="connsiteY22" fmla="*/ 737937 h 1275347"/>
                  <a:gd name="connsiteX23" fmla="*/ 64169 w 1483895"/>
                  <a:gd name="connsiteY23" fmla="*/ 914400 h 1275347"/>
                  <a:gd name="connsiteX24" fmla="*/ 112295 w 1483895"/>
                  <a:gd name="connsiteY24" fmla="*/ 994610 h 1275347"/>
                  <a:gd name="connsiteX25" fmla="*/ 328863 w 1483895"/>
                  <a:gd name="connsiteY25" fmla="*/ 1122947 h 1275347"/>
                  <a:gd name="connsiteX26" fmla="*/ 585537 w 1483895"/>
                  <a:gd name="connsiteY26" fmla="*/ 1187116 h 1275347"/>
                  <a:gd name="connsiteX27" fmla="*/ 978569 w 1483895"/>
                  <a:gd name="connsiteY27" fmla="*/ 1219200 h 1275347"/>
                  <a:gd name="connsiteX28" fmla="*/ 1147011 w 1483895"/>
                  <a:gd name="connsiteY28" fmla="*/ 1235242 h 1275347"/>
                  <a:gd name="connsiteX29" fmla="*/ 1291390 w 1483895"/>
                  <a:gd name="connsiteY29" fmla="*/ 1275347 h 1275347"/>
                  <a:gd name="connsiteX30" fmla="*/ 1267327 w 1483895"/>
                  <a:gd name="connsiteY30" fmla="*/ 1147010 h 12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83895" h="1275347">
                    <a:moveTo>
                      <a:pt x="1267327" y="1147010"/>
                    </a:moveTo>
                    <a:lnTo>
                      <a:pt x="1275348" y="850231"/>
                    </a:lnTo>
                    <a:lnTo>
                      <a:pt x="1323474" y="585537"/>
                    </a:lnTo>
                    <a:lnTo>
                      <a:pt x="1387642" y="409073"/>
                    </a:lnTo>
                    <a:lnTo>
                      <a:pt x="1443790" y="264695"/>
                    </a:lnTo>
                    <a:lnTo>
                      <a:pt x="1483895" y="200526"/>
                    </a:lnTo>
                    <a:lnTo>
                      <a:pt x="1411705" y="192505"/>
                    </a:lnTo>
                    <a:lnTo>
                      <a:pt x="1323474" y="192505"/>
                    </a:lnTo>
                    <a:lnTo>
                      <a:pt x="1299411" y="272716"/>
                    </a:lnTo>
                    <a:lnTo>
                      <a:pt x="1259305" y="240631"/>
                    </a:lnTo>
                    <a:lnTo>
                      <a:pt x="1179095" y="192505"/>
                    </a:lnTo>
                    <a:lnTo>
                      <a:pt x="1098884" y="208547"/>
                    </a:lnTo>
                    <a:lnTo>
                      <a:pt x="954505" y="136358"/>
                    </a:lnTo>
                    <a:lnTo>
                      <a:pt x="786063" y="152400"/>
                    </a:lnTo>
                    <a:lnTo>
                      <a:pt x="505327" y="224589"/>
                    </a:lnTo>
                    <a:lnTo>
                      <a:pt x="352927" y="184484"/>
                    </a:lnTo>
                    <a:lnTo>
                      <a:pt x="200527" y="120316"/>
                    </a:lnTo>
                    <a:lnTo>
                      <a:pt x="88232" y="0"/>
                    </a:lnTo>
                    <a:lnTo>
                      <a:pt x="80211" y="72189"/>
                    </a:lnTo>
                    <a:lnTo>
                      <a:pt x="0" y="393031"/>
                    </a:lnTo>
                    <a:lnTo>
                      <a:pt x="0" y="521368"/>
                    </a:lnTo>
                    <a:lnTo>
                      <a:pt x="8021" y="617621"/>
                    </a:lnTo>
                    <a:lnTo>
                      <a:pt x="80211" y="737937"/>
                    </a:lnTo>
                    <a:lnTo>
                      <a:pt x="64169" y="914400"/>
                    </a:lnTo>
                    <a:lnTo>
                      <a:pt x="112295" y="994610"/>
                    </a:lnTo>
                    <a:lnTo>
                      <a:pt x="328863" y="1122947"/>
                    </a:lnTo>
                    <a:lnTo>
                      <a:pt x="585537" y="1187116"/>
                    </a:lnTo>
                    <a:lnTo>
                      <a:pt x="978569" y="1219200"/>
                    </a:lnTo>
                    <a:lnTo>
                      <a:pt x="1147011" y="1235242"/>
                    </a:lnTo>
                    <a:lnTo>
                      <a:pt x="1291390" y="1275347"/>
                    </a:lnTo>
                    <a:lnTo>
                      <a:pt x="1267327" y="114701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87" name="Freeform 2186"/>
              <p:cNvSpPr/>
              <p:nvPr/>
            </p:nvSpPr>
            <p:spPr bwMode="auto">
              <a:xfrm>
                <a:off x="10953" y="2973210"/>
                <a:ext cx="1397980" cy="734980"/>
              </a:xfrm>
              <a:custGeom>
                <a:avLst/>
                <a:gdLst>
                  <a:gd name="connsiteX0" fmla="*/ 3426 w 1396318"/>
                  <a:gd name="connsiteY0" fmla="*/ 684390 h 734979"/>
                  <a:gd name="connsiteX1" fmla="*/ 260100 w 1396318"/>
                  <a:gd name="connsiteY1" fmla="*/ 724495 h 734979"/>
                  <a:gd name="connsiteX2" fmla="*/ 813552 w 1396318"/>
                  <a:gd name="connsiteY2" fmla="*/ 515948 h 734979"/>
                  <a:gd name="connsiteX3" fmla="*/ 1350963 w 1396318"/>
                  <a:gd name="connsiteY3" fmla="*/ 58748 h 734979"/>
                  <a:gd name="connsiteX4" fmla="*/ 1350963 w 1396318"/>
                  <a:gd name="connsiteY4" fmla="*/ 2601 h 734979"/>
                  <a:gd name="connsiteX5" fmla="*/ 1214605 w 1396318"/>
                  <a:gd name="connsiteY5" fmla="*/ 26664 h 734979"/>
                  <a:gd name="connsiteX6" fmla="*/ 709279 w 1396318"/>
                  <a:gd name="connsiteY6" fmla="*/ 171043 h 734979"/>
                  <a:gd name="connsiteX7" fmla="*/ 276142 w 1396318"/>
                  <a:gd name="connsiteY7" fmla="*/ 427716 h 734979"/>
                  <a:gd name="connsiteX8" fmla="*/ 163847 w 1396318"/>
                  <a:gd name="connsiteY8" fmla="*/ 427716 h 734979"/>
                  <a:gd name="connsiteX9" fmla="*/ 115721 w 1396318"/>
                  <a:gd name="connsiteY9" fmla="*/ 515948 h 734979"/>
                  <a:gd name="connsiteX10" fmla="*/ 3426 w 1396318"/>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77804 w 1397980"/>
                  <a:gd name="connsiteY7" fmla="*/ 427716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710941 w 1397980"/>
                  <a:gd name="connsiteY6" fmla="*/ 17104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427716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70338 h 734979"/>
                  <a:gd name="connsiteX8" fmla="*/ 165509 w 1397980"/>
                  <a:gd name="connsiteY8" fmla="*/ 396241 h 734979"/>
                  <a:gd name="connsiteX9" fmla="*/ 96399 w 1397980"/>
                  <a:gd name="connsiteY9" fmla="*/ 515948 h 734979"/>
                  <a:gd name="connsiteX10" fmla="*/ 5088 w 1397980"/>
                  <a:gd name="connsiteY10" fmla="*/ 684390 h 734979"/>
                  <a:gd name="connsiteX0" fmla="*/ 5088 w 1397980"/>
                  <a:gd name="connsiteY0" fmla="*/ 684390 h 734979"/>
                  <a:gd name="connsiteX1" fmla="*/ 261762 w 1397980"/>
                  <a:gd name="connsiteY1" fmla="*/ 724495 h 734979"/>
                  <a:gd name="connsiteX2" fmla="*/ 815214 w 1397980"/>
                  <a:gd name="connsiteY2" fmla="*/ 515948 h 734979"/>
                  <a:gd name="connsiteX3" fmla="*/ 1352625 w 1397980"/>
                  <a:gd name="connsiteY3" fmla="*/ 58748 h 734979"/>
                  <a:gd name="connsiteX4" fmla="*/ 1352625 w 1397980"/>
                  <a:gd name="connsiteY4" fmla="*/ 2601 h 734979"/>
                  <a:gd name="connsiteX5" fmla="*/ 1216267 w 1397980"/>
                  <a:gd name="connsiteY5" fmla="*/ 26664 h 734979"/>
                  <a:gd name="connsiteX6" fmla="*/ 668973 w 1397980"/>
                  <a:gd name="connsiteY6" fmla="*/ 118583 h 734979"/>
                  <a:gd name="connsiteX7" fmla="*/ 288296 w 1397980"/>
                  <a:gd name="connsiteY7" fmla="*/ 238862 h 734979"/>
                  <a:gd name="connsiteX8" fmla="*/ 165509 w 1397980"/>
                  <a:gd name="connsiteY8" fmla="*/ 396241 h 734979"/>
                  <a:gd name="connsiteX9" fmla="*/ 96399 w 1397980"/>
                  <a:gd name="connsiteY9" fmla="*/ 515948 h 734979"/>
                  <a:gd name="connsiteX10" fmla="*/ 5088 w 1397980"/>
                  <a:gd name="connsiteY10" fmla="*/ 684390 h 73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7980" h="734979">
                    <a:moveTo>
                      <a:pt x="5088" y="684390"/>
                    </a:moveTo>
                    <a:cubicBezTo>
                      <a:pt x="32649" y="719148"/>
                      <a:pt x="126741" y="752569"/>
                      <a:pt x="261762" y="724495"/>
                    </a:cubicBezTo>
                    <a:cubicBezTo>
                      <a:pt x="396783" y="696421"/>
                      <a:pt x="633404" y="626906"/>
                      <a:pt x="815214" y="515948"/>
                    </a:cubicBezTo>
                    <a:cubicBezTo>
                      <a:pt x="997024" y="404990"/>
                      <a:pt x="1263057" y="144306"/>
                      <a:pt x="1352625" y="58748"/>
                    </a:cubicBezTo>
                    <a:cubicBezTo>
                      <a:pt x="1442193" y="-26810"/>
                      <a:pt x="1375351" y="7948"/>
                      <a:pt x="1352625" y="2601"/>
                    </a:cubicBezTo>
                    <a:cubicBezTo>
                      <a:pt x="1329899" y="-2746"/>
                      <a:pt x="1330209" y="7334"/>
                      <a:pt x="1216267" y="26664"/>
                    </a:cubicBezTo>
                    <a:cubicBezTo>
                      <a:pt x="1102325" y="45994"/>
                      <a:pt x="823635" y="83217"/>
                      <a:pt x="668973" y="118583"/>
                    </a:cubicBezTo>
                    <a:cubicBezTo>
                      <a:pt x="514311" y="153949"/>
                      <a:pt x="372207" y="192586"/>
                      <a:pt x="288296" y="238862"/>
                    </a:cubicBezTo>
                    <a:cubicBezTo>
                      <a:pt x="204385" y="285138"/>
                      <a:pt x="192246" y="381536"/>
                      <a:pt x="165509" y="396241"/>
                    </a:cubicBezTo>
                    <a:cubicBezTo>
                      <a:pt x="138772" y="410946"/>
                      <a:pt x="123136" y="467923"/>
                      <a:pt x="96399" y="515948"/>
                    </a:cubicBezTo>
                    <a:cubicBezTo>
                      <a:pt x="69662" y="563973"/>
                      <a:pt x="-22473" y="649632"/>
                      <a:pt x="5088" y="684390"/>
                    </a:cubicBez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2173" name="Freeform 2172"/>
            <p:cNvSpPr/>
            <p:nvPr/>
          </p:nvSpPr>
          <p:spPr bwMode="auto">
            <a:xfrm rot="271620">
              <a:off x="3993004" y="3376093"/>
              <a:ext cx="521758" cy="457462"/>
            </a:xfrm>
            <a:custGeom>
              <a:avLst/>
              <a:gdLst>
                <a:gd name="connsiteX0" fmla="*/ 49366 w 521758"/>
                <a:gd name="connsiteY0" fmla="*/ 361980 h 459200"/>
                <a:gd name="connsiteX1" fmla="*/ 169682 w 521758"/>
                <a:gd name="connsiteY1" fmla="*/ 442191 h 459200"/>
                <a:gd name="connsiteX2" fmla="*/ 410314 w 521758"/>
                <a:gd name="connsiteY2" fmla="*/ 458233 h 459200"/>
                <a:gd name="connsiteX3" fmla="*/ 498545 w 521758"/>
                <a:gd name="connsiteY3" fmla="*/ 434170 h 459200"/>
                <a:gd name="connsiteX4" fmla="*/ 514587 w 521758"/>
                <a:gd name="connsiteY4" fmla="*/ 249686 h 459200"/>
                <a:gd name="connsiteX5" fmla="*/ 514587 w 521758"/>
                <a:gd name="connsiteY5" fmla="*/ 105307 h 459200"/>
                <a:gd name="connsiteX6" fmla="*/ 426356 w 521758"/>
                <a:gd name="connsiteY6" fmla="*/ 41138 h 459200"/>
                <a:gd name="connsiteX7" fmla="*/ 265935 w 521758"/>
                <a:gd name="connsiteY7" fmla="*/ 9054 h 459200"/>
                <a:gd name="connsiteX8" fmla="*/ 217808 w 521758"/>
                <a:gd name="connsiteY8" fmla="*/ 9054 h 459200"/>
                <a:gd name="connsiteX9" fmla="*/ 105514 w 521758"/>
                <a:gd name="connsiteY9" fmla="*/ 113328 h 459200"/>
                <a:gd name="connsiteX10" fmla="*/ 9261 w 521758"/>
                <a:gd name="connsiteY10" fmla="*/ 185517 h 459200"/>
                <a:gd name="connsiteX11" fmla="*/ 9261 w 521758"/>
                <a:gd name="connsiteY11" fmla="*/ 257707 h 459200"/>
                <a:gd name="connsiteX12" fmla="*/ 49366 w 521758"/>
                <a:gd name="connsiteY12" fmla="*/ 361980 h 459200"/>
                <a:gd name="connsiteX0" fmla="*/ 49366 w 521758"/>
                <a:gd name="connsiteY0" fmla="*/ 360242 h 457462"/>
                <a:gd name="connsiteX1" fmla="*/ 169682 w 521758"/>
                <a:gd name="connsiteY1" fmla="*/ 440453 h 457462"/>
                <a:gd name="connsiteX2" fmla="*/ 410314 w 521758"/>
                <a:gd name="connsiteY2" fmla="*/ 456495 h 457462"/>
                <a:gd name="connsiteX3" fmla="*/ 498545 w 521758"/>
                <a:gd name="connsiteY3" fmla="*/ 432432 h 457462"/>
                <a:gd name="connsiteX4" fmla="*/ 514587 w 521758"/>
                <a:gd name="connsiteY4" fmla="*/ 247948 h 457462"/>
                <a:gd name="connsiteX5" fmla="*/ 514587 w 521758"/>
                <a:gd name="connsiteY5" fmla="*/ 103569 h 457462"/>
                <a:gd name="connsiteX6" fmla="*/ 426356 w 521758"/>
                <a:gd name="connsiteY6" fmla="*/ 39400 h 457462"/>
                <a:gd name="connsiteX7" fmla="*/ 265935 w 521758"/>
                <a:gd name="connsiteY7" fmla="*/ 7316 h 457462"/>
                <a:gd name="connsiteX8" fmla="*/ 217808 w 521758"/>
                <a:gd name="connsiteY8" fmla="*/ 7316 h 457462"/>
                <a:gd name="connsiteX9" fmla="*/ 105514 w 521758"/>
                <a:gd name="connsiteY9" fmla="*/ 87527 h 457462"/>
                <a:gd name="connsiteX10" fmla="*/ 9261 w 521758"/>
                <a:gd name="connsiteY10" fmla="*/ 183779 h 457462"/>
                <a:gd name="connsiteX11" fmla="*/ 9261 w 521758"/>
                <a:gd name="connsiteY11" fmla="*/ 255969 h 457462"/>
                <a:gd name="connsiteX12" fmla="*/ 49366 w 521758"/>
                <a:gd name="connsiteY12" fmla="*/ 360242 h 45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1758" h="457462">
                  <a:moveTo>
                    <a:pt x="49366" y="360242"/>
                  </a:moveTo>
                  <a:cubicBezTo>
                    <a:pt x="76103" y="390989"/>
                    <a:pt x="109524" y="424411"/>
                    <a:pt x="169682" y="440453"/>
                  </a:cubicBezTo>
                  <a:cubicBezTo>
                    <a:pt x="229840" y="456495"/>
                    <a:pt x="355504" y="457832"/>
                    <a:pt x="410314" y="456495"/>
                  </a:cubicBezTo>
                  <a:cubicBezTo>
                    <a:pt x="465125" y="455158"/>
                    <a:pt x="481166" y="467190"/>
                    <a:pt x="498545" y="432432"/>
                  </a:cubicBezTo>
                  <a:cubicBezTo>
                    <a:pt x="515924" y="397674"/>
                    <a:pt x="511913" y="302758"/>
                    <a:pt x="514587" y="247948"/>
                  </a:cubicBezTo>
                  <a:cubicBezTo>
                    <a:pt x="517261" y="193138"/>
                    <a:pt x="529292" y="138327"/>
                    <a:pt x="514587" y="103569"/>
                  </a:cubicBezTo>
                  <a:cubicBezTo>
                    <a:pt x="499882" y="68811"/>
                    <a:pt x="467798" y="55442"/>
                    <a:pt x="426356" y="39400"/>
                  </a:cubicBezTo>
                  <a:cubicBezTo>
                    <a:pt x="384914" y="23358"/>
                    <a:pt x="300693" y="12663"/>
                    <a:pt x="265935" y="7316"/>
                  </a:cubicBezTo>
                  <a:cubicBezTo>
                    <a:pt x="231177" y="1969"/>
                    <a:pt x="244545" y="-6052"/>
                    <a:pt x="217808" y="7316"/>
                  </a:cubicBezTo>
                  <a:cubicBezTo>
                    <a:pt x="191071" y="20684"/>
                    <a:pt x="140272" y="58117"/>
                    <a:pt x="105514" y="87527"/>
                  </a:cubicBezTo>
                  <a:cubicBezTo>
                    <a:pt x="70756" y="116937"/>
                    <a:pt x="25303" y="159716"/>
                    <a:pt x="9261" y="183779"/>
                  </a:cubicBezTo>
                  <a:cubicBezTo>
                    <a:pt x="-6781" y="207842"/>
                    <a:pt x="1240" y="225222"/>
                    <a:pt x="9261" y="255969"/>
                  </a:cubicBezTo>
                  <a:cubicBezTo>
                    <a:pt x="17282" y="286716"/>
                    <a:pt x="22629" y="329495"/>
                    <a:pt x="49366" y="360242"/>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188" name="Group 2187"/>
          <p:cNvGrpSpPr>
            <a:grpSpLocks noChangeAspect="1"/>
          </p:cNvGrpSpPr>
          <p:nvPr/>
        </p:nvGrpSpPr>
        <p:grpSpPr>
          <a:xfrm>
            <a:off x="3338443" y="4092701"/>
            <a:ext cx="605116" cy="237585"/>
            <a:chOff x="1666793" y="1822148"/>
            <a:chExt cx="8612041" cy="3073935"/>
          </a:xfrm>
        </p:grpSpPr>
        <p:grpSp>
          <p:nvGrpSpPr>
            <p:cNvPr id="2189" name="Group 2188"/>
            <p:cNvGrpSpPr/>
            <p:nvPr/>
          </p:nvGrpSpPr>
          <p:grpSpPr>
            <a:xfrm>
              <a:off x="1666793" y="1822148"/>
              <a:ext cx="8612041" cy="3073935"/>
              <a:chOff x="1666793" y="1822148"/>
              <a:chExt cx="8612041" cy="3073935"/>
            </a:xfrm>
          </p:grpSpPr>
          <p:sp>
            <p:nvSpPr>
              <p:cNvPr id="2191" name="Freeform 2190"/>
              <p:cNvSpPr/>
              <p:nvPr/>
            </p:nvSpPr>
            <p:spPr bwMode="auto">
              <a:xfrm>
                <a:off x="1676932" y="1822148"/>
                <a:ext cx="8601902" cy="2717800"/>
              </a:xfrm>
              <a:custGeom>
                <a:avLst/>
                <a:gdLst>
                  <a:gd name="connsiteX0" fmla="*/ 286034 w 8601902"/>
                  <a:gd name="connsiteY0" fmla="*/ 2657323 h 2717800"/>
                  <a:gd name="connsiteX1" fmla="*/ 378563 w 8601902"/>
                  <a:gd name="connsiteY1" fmla="*/ 2679095 h 2717800"/>
                  <a:gd name="connsiteX2" fmla="*/ 563620 w 8601902"/>
                  <a:gd name="connsiteY2" fmla="*/ 2700866 h 2717800"/>
                  <a:gd name="connsiteX3" fmla="*/ 634377 w 8601902"/>
                  <a:gd name="connsiteY3" fmla="*/ 2717195 h 2717800"/>
                  <a:gd name="connsiteX4" fmla="*/ 634377 w 8601902"/>
                  <a:gd name="connsiteY4" fmla="*/ 2679095 h 2717800"/>
                  <a:gd name="connsiteX5" fmla="*/ 618049 w 8601902"/>
                  <a:gd name="connsiteY5" fmla="*/ 2504923 h 2717800"/>
                  <a:gd name="connsiteX6" fmla="*/ 628934 w 8601902"/>
                  <a:gd name="connsiteY6" fmla="*/ 2336195 h 2717800"/>
                  <a:gd name="connsiteX7" fmla="*/ 667034 w 8601902"/>
                  <a:gd name="connsiteY7" fmla="*/ 2162023 h 2717800"/>
                  <a:gd name="connsiteX8" fmla="*/ 748677 w 8601902"/>
                  <a:gd name="connsiteY8" fmla="*/ 2004181 h 2717800"/>
                  <a:gd name="connsiteX9" fmla="*/ 857534 w 8601902"/>
                  <a:gd name="connsiteY9" fmla="*/ 1878995 h 2717800"/>
                  <a:gd name="connsiteX10" fmla="*/ 1042592 w 8601902"/>
                  <a:gd name="connsiteY10" fmla="*/ 1753809 h 2717800"/>
                  <a:gd name="connsiteX11" fmla="*/ 1243977 w 8601902"/>
                  <a:gd name="connsiteY11" fmla="*/ 1693938 h 2717800"/>
                  <a:gd name="connsiteX12" fmla="*/ 1450806 w 8601902"/>
                  <a:gd name="connsiteY12" fmla="*/ 1693938 h 2717800"/>
                  <a:gd name="connsiteX13" fmla="*/ 1635863 w 8601902"/>
                  <a:gd name="connsiteY13" fmla="*/ 1710266 h 2717800"/>
                  <a:gd name="connsiteX14" fmla="*/ 1739277 w 8601902"/>
                  <a:gd name="connsiteY14" fmla="*/ 1753809 h 2717800"/>
                  <a:gd name="connsiteX15" fmla="*/ 1929777 w 8601902"/>
                  <a:gd name="connsiteY15" fmla="*/ 1862666 h 2717800"/>
                  <a:gd name="connsiteX16" fmla="*/ 2049520 w 8601902"/>
                  <a:gd name="connsiteY16" fmla="*/ 2015066 h 2717800"/>
                  <a:gd name="connsiteX17" fmla="*/ 2152934 w 8601902"/>
                  <a:gd name="connsiteY17" fmla="*/ 2243666 h 2717800"/>
                  <a:gd name="connsiteX18" fmla="*/ 2185592 w 8601902"/>
                  <a:gd name="connsiteY18" fmla="*/ 2406952 h 2717800"/>
                  <a:gd name="connsiteX19" fmla="*/ 2212806 w 8601902"/>
                  <a:gd name="connsiteY19" fmla="*/ 2575681 h 2717800"/>
                  <a:gd name="connsiteX20" fmla="*/ 2218249 w 8601902"/>
                  <a:gd name="connsiteY20" fmla="*/ 2668209 h 2717800"/>
                  <a:gd name="connsiteX21" fmla="*/ 2240020 w 8601902"/>
                  <a:gd name="connsiteY21" fmla="*/ 2668209 h 2717800"/>
                  <a:gd name="connsiteX22" fmla="*/ 2523049 w 8601902"/>
                  <a:gd name="connsiteY22" fmla="*/ 2662766 h 2717800"/>
                  <a:gd name="connsiteX23" fmla="*/ 3274163 w 8601902"/>
                  <a:gd name="connsiteY23" fmla="*/ 2651881 h 2717800"/>
                  <a:gd name="connsiteX24" fmla="*/ 3949077 w 8601902"/>
                  <a:gd name="connsiteY24" fmla="*/ 2646438 h 2717800"/>
                  <a:gd name="connsiteX25" fmla="*/ 5113849 w 8601902"/>
                  <a:gd name="connsiteY25" fmla="*/ 2630109 h 2717800"/>
                  <a:gd name="connsiteX26" fmla="*/ 5799649 w 8601902"/>
                  <a:gd name="connsiteY26" fmla="*/ 2613781 h 2717800"/>
                  <a:gd name="connsiteX27" fmla="*/ 5930277 w 8601902"/>
                  <a:gd name="connsiteY27" fmla="*/ 2613781 h 2717800"/>
                  <a:gd name="connsiteX28" fmla="*/ 5930277 w 8601902"/>
                  <a:gd name="connsiteY28" fmla="*/ 2586566 h 2717800"/>
                  <a:gd name="connsiteX29" fmla="*/ 5941163 w 8601902"/>
                  <a:gd name="connsiteY29" fmla="*/ 2450495 h 2717800"/>
                  <a:gd name="connsiteX30" fmla="*/ 5973820 w 8601902"/>
                  <a:gd name="connsiteY30" fmla="*/ 2243666 h 2717800"/>
                  <a:gd name="connsiteX31" fmla="*/ 6055463 w 8601902"/>
                  <a:gd name="connsiteY31" fmla="*/ 2015066 h 2717800"/>
                  <a:gd name="connsiteX32" fmla="*/ 6202420 w 8601902"/>
                  <a:gd name="connsiteY32" fmla="*/ 1835452 h 2717800"/>
                  <a:gd name="connsiteX33" fmla="*/ 6360263 w 8601902"/>
                  <a:gd name="connsiteY33" fmla="*/ 1742923 h 2717800"/>
                  <a:gd name="connsiteX34" fmla="*/ 6534434 w 8601902"/>
                  <a:gd name="connsiteY34" fmla="*/ 1672166 h 2717800"/>
                  <a:gd name="connsiteX35" fmla="*/ 6801134 w 8601902"/>
                  <a:gd name="connsiteY35" fmla="*/ 1650395 h 2717800"/>
                  <a:gd name="connsiteX36" fmla="*/ 7029734 w 8601902"/>
                  <a:gd name="connsiteY36" fmla="*/ 1704823 h 2717800"/>
                  <a:gd name="connsiteX37" fmla="*/ 7193020 w 8601902"/>
                  <a:gd name="connsiteY37" fmla="*/ 1781023 h 2717800"/>
                  <a:gd name="connsiteX38" fmla="*/ 7296434 w 8601902"/>
                  <a:gd name="connsiteY38" fmla="*/ 1878995 h 2717800"/>
                  <a:gd name="connsiteX39" fmla="*/ 7334534 w 8601902"/>
                  <a:gd name="connsiteY39" fmla="*/ 1927981 h 2717800"/>
                  <a:gd name="connsiteX40" fmla="*/ 7410734 w 8601902"/>
                  <a:gd name="connsiteY40" fmla="*/ 2025952 h 2717800"/>
                  <a:gd name="connsiteX41" fmla="*/ 7454277 w 8601902"/>
                  <a:gd name="connsiteY41" fmla="*/ 2134809 h 2717800"/>
                  <a:gd name="connsiteX42" fmla="*/ 7492377 w 8601902"/>
                  <a:gd name="connsiteY42" fmla="*/ 2243666 h 2717800"/>
                  <a:gd name="connsiteX43" fmla="*/ 7503263 w 8601902"/>
                  <a:gd name="connsiteY43" fmla="*/ 2347081 h 2717800"/>
                  <a:gd name="connsiteX44" fmla="*/ 7492377 w 8601902"/>
                  <a:gd name="connsiteY44" fmla="*/ 2445052 h 2717800"/>
                  <a:gd name="connsiteX45" fmla="*/ 7481492 w 8601902"/>
                  <a:gd name="connsiteY45" fmla="*/ 2504923 h 2717800"/>
                  <a:gd name="connsiteX46" fmla="*/ 7508706 w 8601902"/>
                  <a:gd name="connsiteY46" fmla="*/ 2510366 h 2717800"/>
                  <a:gd name="connsiteX47" fmla="*/ 7742749 w 8601902"/>
                  <a:gd name="connsiteY47" fmla="*/ 2466823 h 2717800"/>
                  <a:gd name="connsiteX48" fmla="*/ 7960463 w 8601902"/>
                  <a:gd name="connsiteY48" fmla="*/ 2439609 h 2717800"/>
                  <a:gd name="connsiteX49" fmla="*/ 8297920 w 8601902"/>
                  <a:gd name="connsiteY49" fmla="*/ 2379738 h 2717800"/>
                  <a:gd name="connsiteX50" fmla="*/ 8504749 w 8601902"/>
                  <a:gd name="connsiteY50" fmla="*/ 2303538 h 2717800"/>
                  <a:gd name="connsiteX51" fmla="*/ 8580949 w 8601902"/>
                  <a:gd name="connsiteY51" fmla="*/ 2134809 h 2717800"/>
                  <a:gd name="connsiteX52" fmla="*/ 8597277 w 8601902"/>
                  <a:gd name="connsiteY52" fmla="*/ 1922538 h 2717800"/>
                  <a:gd name="connsiteX53" fmla="*/ 8510192 w 8601902"/>
                  <a:gd name="connsiteY53" fmla="*/ 1672166 h 2717800"/>
                  <a:gd name="connsiteX54" fmla="*/ 8417663 w 8601902"/>
                  <a:gd name="connsiteY54" fmla="*/ 1449009 h 2717800"/>
                  <a:gd name="connsiteX55" fmla="*/ 8461206 w 8601902"/>
                  <a:gd name="connsiteY55" fmla="*/ 1372809 h 2717800"/>
                  <a:gd name="connsiteX56" fmla="*/ 8450320 w 8601902"/>
                  <a:gd name="connsiteY56" fmla="*/ 1078895 h 2717800"/>
                  <a:gd name="connsiteX57" fmla="*/ 8276149 w 8601902"/>
                  <a:gd name="connsiteY57" fmla="*/ 790423 h 2717800"/>
                  <a:gd name="connsiteX58" fmla="*/ 8080206 w 8601902"/>
                  <a:gd name="connsiteY58" fmla="*/ 534609 h 2717800"/>
                  <a:gd name="connsiteX59" fmla="*/ 7938692 w 8601902"/>
                  <a:gd name="connsiteY59" fmla="*/ 365881 h 2717800"/>
                  <a:gd name="connsiteX60" fmla="*/ 7900592 w 8601902"/>
                  <a:gd name="connsiteY60" fmla="*/ 284238 h 2717800"/>
                  <a:gd name="connsiteX61" fmla="*/ 7889706 w 8601902"/>
                  <a:gd name="connsiteY61" fmla="*/ 120952 h 2717800"/>
                  <a:gd name="connsiteX62" fmla="*/ 7857049 w 8601902"/>
                  <a:gd name="connsiteY62" fmla="*/ 99181 h 2717800"/>
                  <a:gd name="connsiteX63" fmla="*/ 7818949 w 8601902"/>
                  <a:gd name="connsiteY63" fmla="*/ 93738 h 2717800"/>
                  <a:gd name="connsiteX64" fmla="*/ 7394406 w 8601902"/>
                  <a:gd name="connsiteY64" fmla="*/ 33866 h 2717800"/>
                  <a:gd name="connsiteX65" fmla="*/ 6964420 w 8601902"/>
                  <a:gd name="connsiteY65" fmla="*/ 17538 h 2717800"/>
                  <a:gd name="connsiteX66" fmla="*/ 6567092 w 8601902"/>
                  <a:gd name="connsiteY66" fmla="*/ 1209 h 2717800"/>
                  <a:gd name="connsiteX67" fmla="*/ 6147992 w 8601902"/>
                  <a:gd name="connsiteY67" fmla="*/ 1209 h 2717800"/>
                  <a:gd name="connsiteX68" fmla="*/ 5571049 w 8601902"/>
                  <a:gd name="connsiteY68" fmla="*/ 1209 h 2717800"/>
                  <a:gd name="connsiteX69" fmla="*/ 5026763 w 8601902"/>
                  <a:gd name="connsiteY69" fmla="*/ 17538 h 2717800"/>
                  <a:gd name="connsiteX70" fmla="*/ 4487920 w 8601902"/>
                  <a:gd name="connsiteY70" fmla="*/ 39309 h 2717800"/>
                  <a:gd name="connsiteX71" fmla="*/ 4123249 w 8601902"/>
                  <a:gd name="connsiteY71" fmla="*/ 61081 h 2717800"/>
                  <a:gd name="connsiteX72" fmla="*/ 3731363 w 8601902"/>
                  <a:gd name="connsiteY72" fmla="*/ 110066 h 2717800"/>
                  <a:gd name="connsiteX73" fmla="*/ 3497320 w 8601902"/>
                  <a:gd name="connsiteY73" fmla="*/ 148166 h 2717800"/>
                  <a:gd name="connsiteX74" fmla="*/ 3263277 w 8601902"/>
                  <a:gd name="connsiteY74" fmla="*/ 208038 h 2717800"/>
                  <a:gd name="connsiteX75" fmla="*/ 2980249 w 8601902"/>
                  <a:gd name="connsiteY75" fmla="*/ 306009 h 2717800"/>
                  <a:gd name="connsiteX76" fmla="*/ 2566592 w 8601902"/>
                  <a:gd name="connsiteY76" fmla="*/ 512838 h 2717800"/>
                  <a:gd name="connsiteX77" fmla="*/ 2185592 w 8601902"/>
                  <a:gd name="connsiteY77" fmla="*/ 730552 h 2717800"/>
                  <a:gd name="connsiteX78" fmla="*/ 1815477 w 8601902"/>
                  <a:gd name="connsiteY78" fmla="*/ 942823 h 2717800"/>
                  <a:gd name="connsiteX79" fmla="*/ 1673963 w 8601902"/>
                  <a:gd name="connsiteY79" fmla="*/ 964595 h 2717800"/>
                  <a:gd name="connsiteX80" fmla="*/ 1309292 w 8601902"/>
                  <a:gd name="connsiteY80" fmla="*/ 1068009 h 2717800"/>
                  <a:gd name="connsiteX81" fmla="*/ 999049 w 8601902"/>
                  <a:gd name="connsiteY81" fmla="*/ 1155095 h 2717800"/>
                  <a:gd name="connsiteX82" fmla="*/ 656149 w 8601902"/>
                  <a:gd name="connsiteY82" fmla="*/ 1274838 h 2717800"/>
                  <a:gd name="connsiteX83" fmla="*/ 460206 w 8601902"/>
                  <a:gd name="connsiteY83" fmla="*/ 1351038 h 2717800"/>
                  <a:gd name="connsiteX84" fmla="*/ 329577 w 8601902"/>
                  <a:gd name="connsiteY84" fmla="*/ 1405466 h 2717800"/>
                  <a:gd name="connsiteX85" fmla="*/ 220720 w 8601902"/>
                  <a:gd name="connsiteY85" fmla="*/ 1497995 h 2717800"/>
                  <a:gd name="connsiteX86" fmla="*/ 122749 w 8601902"/>
                  <a:gd name="connsiteY86" fmla="*/ 1693938 h 2717800"/>
                  <a:gd name="connsiteX87" fmla="*/ 84649 w 8601902"/>
                  <a:gd name="connsiteY87" fmla="*/ 1846338 h 2717800"/>
                  <a:gd name="connsiteX88" fmla="*/ 3006 w 8601902"/>
                  <a:gd name="connsiteY88" fmla="*/ 2004181 h 2717800"/>
                  <a:gd name="connsiteX89" fmla="*/ 19334 w 8601902"/>
                  <a:gd name="connsiteY89" fmla="*/ 2113038 h 2717800"/>
                  <a:gd name="connsiteX90" fmla="*/ 35663 w 8601902"/>
                  <a:gd name="connsiteY90" fmla="*/ 2254552 h 2717800"/>
                  <a:gd name="connsiteX91" fmla="*/ 79206 w 8601902"/>
                  <a:gd name="connsiteY91" fmla="*/ 2292652 h 2717800"/>
                  <a:gd name="connsiteX92" fmla="*/ 106420 w 8601902"/>
                  <a:gd name="connsiteY92" fmla="*/ 2423281 h 2717800"/>
                  <a:gd name="connsiteX93" fmla="*/ 84649 w 8601902"/>
                  <a:gd name="connsiteY93" fmla="*/ 2494038 h 2717800"/>
                  <a:gd name="connsiteX94" fmla="*/ 139077 w 8601902"/>
                  <a:gd name="connsiteY94" fmla="*/ 2597452 h 2717800"/>
                  <a:gd name="connsiteX95" fmla="*/ 286034 w 8601902"/>
                  <a:gd name="connsiteY95" fmla="*/ 2657323 h 271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601902" h="2717800">
                    <a:moveTo>
                      <a:pt x="286034" y="2657323"/>
                    </a:moveTo>
                    <a:cubicBezTo>
                      <a:pt x="325948" y="2670930"/>
                      <a:pt x="332299" y="2671838"/>
                      <a:pt x="378563" y="2679095"/>
                    </a:cubicBezTo>
                    <a:cubicBezTo>
                      <a:pt x="424827" y="2686352"/>
                      <a:pt x="520984" y="2694516"/>
                      <a:pt x="563620" y="2700866"/>
                    </a:cubicBezTo>
                    <a:cubicBezTo>
                      <a:pt x="606256" y="2707216"/>
                      <a:pt x="622584" y="2720823"/>
                      <a:pt x="634377" y="2717195"/>
                    </a:cubicBezTo>
                    <a:cubicBezTo>
                      <a:pt x="646170" y="2713567"/>
                      <a:pt x="637098" y="2714474"/>
                      <a:pt x="634377" y="2679095"/>
                    </a:cubicBezTo>
                    <a:cubicBezTo>
                      <a:pt x="631656" y="2643716"/>
                      <a:pt x="618956" y="2562073"/>
                      <a:pt x="618049" y="2504923"/>
                    </a:cubicBezTo>
                    <a:cubicBezTo>
                      <a:pt x="617142" y="2447773"/>
                      <a:pt x="620770" y="2393345"/>
                      <a:pt x="628934" y="2336195"/>
                    </a:cubicBezTo>
                    <a:cubicBezTo>
                      <a:pt x="637098" y="2279045"/>
                      <a:pt x="647077" y="2217359"/>
                      <a:pt x="667034" y="2162023"/>
                    </a:cubicBezTo>
                    <a:cubicBezTo>
                      <a:pt x="686991" y="2106687"/>
                      <a:pt x="716927" y="2051352"/>
                      <a:pt x="748677" y="2004181"/>
                    </a:cubicBezTo>
                    <a:cubicBezTo>
                      <a:pt x="780427" y="1957010"/>
                      <a:pt x="808548" y="1920724"/>
                      <a:pt x="857534" y="1878995"/>
                    </a:cubicBezTo>
                    <a:cubicBezTo>
                      <a:pt x="906520" y="1837266"/>
                      <a:pt x="978185" y="1784652"/>
                      <a:pt x="1042592" y="1753809"/>
                    </a:cubicBezTo>
                    <a:cubicBezTo>
                      <a:pt x="1106999" y="1722966"/>
                      <a:pt x="1175941" y="1703917"/>
                      <a:pt x="1243977" y="1693938"/>
                    </a:cubicBezTo>
                    <a:cubicBezTo>
                      <a:pt x="1312013" y="1683959"/>
                      <a:pt x="1385492" y="1691217"/>
                      <a:pt x="1450806" y="1693938"/>
                    </a:cubicBezTo>
                    <a:cubicBezTo>
                      <a:pt x="1516120" y="1696659"/>
                      <a:pt x="1587785" y="1700288"/>
                      <a:pt x="1635863" y="1710266"/>
                    </a:cubicBezTo>
                    <a:cubicBezTo>
                      <a:pt x="1683941" y="1720244"/>
                      <a:pt x="1690291" y="1728409"/>
                      <a:pt x="1739277" y="1753809"/>
                    </a:cubicBezTo>
                    <a:cubicBezTo>
                      <a:pt x="1788263" y="1779209"/>
                      <a:pt x="1878070" y="1819123"/>
                      <a:pt x="1929777" y="1862666"/>
                    </a:cubicBezTo>
                    <a:cubicBezTo>
                      <a:pt x="1981484" y="1906209"/>
                      <a:pt x="2012327" y="1951566"/>
                      <a:pt x="2049520" y="2015066"/>
                    </a:cubicBezTo>
                    <a:cubicBezTo>
                      <a:pt x="2086713" y="2078566"/>
                      <a:pt x="2130255" y="2178352"/>
                      <a:pt x="2152934" y="2243666"/>
                    </a:cubicBezTo>
                    <a:cubicBezTo>
                      <a:pt x="2175613" y="2308980"/>
                      <a:pt x="2175613" y="2351616"/>
                      <a:pt x="2185592" y="2406952"/>
                    </a:cubicBezTo>
                    <a:cubicBezTo>
                      <a:pt x="2195571" y="2462288"/>
                      <a:pt x="2207363" y="2532138"/>
                      <a:pt x="2212806" y="2575681"/>
                    </a:cubicBezTo>
                    <a:cubicBezTo>
                      <a:pt x="2218249" y="2619224"/>
                      <a:pt x="2213713" y="2652788"/>
                      <a:pt x="2218249" y="2668209"/>
                    </a:cubicBezTo>
                    <a:cubicBezTo>
                      <a:pt x="2222785" y="2683630"/>
                      <a:pt x="2240020" y="2668209"/>
                      <a:pt x="2240020" y="2668209"/>
                    </a:cubicBezTo>
                    <a:lnTo>
                      <a:pt x="2523049" y="2662766"/>
                    </a:lnTo>
                    <a:lnTo>
                      <a:pt x="3274163" y="2651881"/>
                    </a:lnTo>
                    <a:lnTo>
                      <a:pt x="3949077" y="2646438"/>
                    </a:lnTo>
                    <a:lnTo>
                      <a:pt x="5113849" y="2630109"/>
                    </a:lnTo>
                    <a:lnTo>
                      <a:pt x="5799649" y="2613781"/>
                    </a:lnTo>
                    <a:cubicBezTo>
                      <a:pt x="5935720" y="2611060"/>
                      <a:pt x="5908506" y="2618317"/>
                      <a:pt x="5930277" y="2613781"/>
                    </a:cubicBezTo>
                    <a:cubicBezTo>
                      <a:pt x="5952048" y="2609245"/>
                      <a:pt x="5928463" y="2613780"/>
                      <a:pt x="5930277" y="2586566"/>
                    </a:cubicBezTo>
                    <a:cubicBezTo>
                      <a:pt x="5932091" y="2559352"/>
                      <a:pt x="5933906" y="2507645"/>
                      <a:pt x="5941163" y="2450495"/>
                    </a:cubicBezTo>
                    <a:cubicBezTo>
                      <a:pt x="5948420" y="2393345"/>
                      <a:pt x="5954770" y="2316238"/>
                      <a:pt x="5973820" y="2243666"/>
                    </a:cubicBezTo>
                    <a:cubicBezTo>
                      <a:pt x="5992870" y="2171094"/>
                      <a:pt x="6017363" y="2083102"/>
                      <a:pt x="6055463" y="2015066"/>
                    </a:cubicBezTo>
                    <a:cubicBezTo>
                      <a:pt x="6093563" y="1947030"/>
                      <a:pt x="6151620" y="1880809"/>
                      <a:pt x="6202420" y="1835452"/>
                    </a:cubicBezTo>
                    <a:cubicBezTo>
                      <a:pt x="6253220" y="1790095"/>
                      <a:pt x="6304927" y="1770137"/>
                      <a:pt x="6360263" y="1742923"/>
                    </a:cubicBezTo>
                    <a:cubicBezTo>
                      <a:pt x="6415599" y="1715709"/>
                      <a:pt x="6460956" y="1687587"/>
                      <a:pt x="6534434" y="1672166"/>
                    </a:cubicBezTo>
                    <a:cubicBezTo>
                      <a:pt x="6607912" y="1656745"/>
                      <a:pt x="6718584" y="1644952"/>
                      <a:pt x="6801134" y="1650395"/>
                    </a:cubicBezTo>
                    <a:cubicBezTo>
                      <a:pt x="6883684" y="1655838"/>
                      <a:pt x="6964420" y="1683052"/>
                      <a:pt x="7029734" y="1704823"/>
                    </a:cubicBezTo>
                    <a:cubicBezTo>
                      <a:pt x="7095048" y="1726594"/>
                      <a:pt x="7148570" y="1751994"/>
                      <a:pt x="7193020" y="1781023"/>
                    </a:cubicBezTo>
                    <a:cubicBezTo>
                      <a:pt x="7237470" y="1810052"/>
                      <a:pt x="7272848" y="1854502"/>
                      <a:pt x="7296434" y="1878995"/>
                    </a:cubicBezTo>
                    <a:cubicBezTo>
                      <a:pt x="7320020" y="1903488"/>
                      <a:pt x="7334534" y="1927981"/>
                      <a:pt x="7334534" y="1927981"/>
                    </a:cubicBezTo>
                    <a:cubicBezTo>
                      <a:pt x="7353584" y="1952474"/>
                      <a:pt x="7390777" y="1991481"/>
                      <a:pt x="7410734" y="2025952"/>
                    </a:cubicBezTo>
                    <a:cubicBezTo>
                      <a:pt x="7430691" y="2060423"/>
                      <a:pt x="7440670" y="2098523"/>
                      <a:pt x="7454277" y="2134809"/>
                    </a:cubicBezTo>
                    <a:cubicBezTo>
                      <a:pt x="7467884" y="2171095"/>
                      <a:pt x="7484213" y="2208287"/>
                      <a:pt x="7492377" y="2243666"/>
                    </a:cubicBezTo>
                    <a:cubicBezTo>
                      <a:pt x="7500541" y="2279045"/>
                      <a:pt x="7503263" y="2313517"/>
                      <a:pt x="7503263" y="2347081"/>
                    </a:cubicBezTo>
                    <a:cubicBezTo>
                      <a:pt x="7503263" y="2380645"/>
                      <a:pt x="7496005" y="2418745"/>
                      <a:pt x="7492377" y="2445052"/>
                    </a:cubicBezTo>
                    <a:cubicBezTo>
                      <a:pt x="7488749" y="2471359"/>
                      <a:pt x="7478771" y="2494037"/>
                      <a:pt x="7481492" y="2504923"/>
                    </a:cubicBezTo>
                    <a:cubicBezTo>
                      <a:pt x="7484213" y="2515809"/>
                      <a:pt x="7465163" y="2516716"/>
                      <a:pt x="7508706" y="2510366"/>
                    </a:cubicBezTo>
                    <a:cubicBezTo>
                      <a:pt x="7552249" y="2504016"/>
                      <a:pt x="7667456" y="2478616"/>
                      <a:pt x="7742749" y="2466823"/>
                    </a:cubicBezTo>
                    <a:cubicBezTo>
                      <a:pt x="7818042" y="2455030"/>
                      <a:pt x="7867935" y="2454123"/>
                      <a:pt x="7960463" y="2439609"/>
                    </a:cubicBezTo>
                    <a:cubicBezTo>
                      <a:pt x="8052991" y="2425095"/>
                      <a:pt x="8207206" y="2402416"/>
                      <a:pt x="8297920" y="2379738"/>
                    </a:cubicBezTo>
                    <a:cubicBezTo>
                      <a:pt x="8388634" y="2357060"/>
                      <a:pt x="8457578" y="2344359"/>
                      <a:pt x="8504749" y="2303538"/>
                    </a:cubicBezTo>
                    <a:cubicBezTo>
                      <a:pt x="8551920" y="2262717"/>
                      <a:pt x="8565528" y="2198309"/>
                      <a:pt x="8580949" y="2134809"/>
                    </a:cubicBezTo>
                    <a:cubicBezTo>
                      <a:pt x="8596370" y="2071309"/>
                      <a:pt x="8609070" y="1999645"/>
                      <a:pt x="8597277" y="1922538"/>
                    </a:cubicBezTo>
                    <a:cubicBezTo>
                      <a:pt x="8585484" y="1845431"/>
                      <a:pt x="8540128" y="1751087"/>
                      <a:pt x="8510192" y="1672166"/>
                    </a:cubicBezTo>
                    <a:cubicBezTo>
                      <a:pt x="8480256" y="1593244"/>
                      <a:pt x="8425827" y="1498902"/>
                      <a:pt x="8417663" y="1449009"/>
                    </a:cubicBezTo>
                    <a:cubicBezTo>
                      <a:pt x="8409499" y="1399116"/>
                      <a:pt x="8455763" y="1434495"/>
                      <a:pt x="8461206" y="1372809"/>
                    </a:cubicBezTo>
                    <a:cubicBezTo>
                      <a:pt x="8466649" y="1311123"/>
                      <a:pt x="8481163" y="1175959"/>
                      <a:pt x="8450320" y="1078895"/>
                    </a:cubicBezTo>
                    <a:cubicBezTo>
                      <a:pt x="8419477" y="981831"/>
                      <a:pt x="8337835" y="881137"/>
                      <a:pt x="8276149" y="790423"/>
                    </a:cubicBezTo>
                    <a:cubicBezTo>
                      <a:pt x="8214463" y="699709"/>
                      <a:pt x="8136449" y="605366"/>
                      <a:pt x="8080206" y="534609"/>
                    </a:cubicBezTo>
                    <a:cubicBezTo>
                      <a:pt x="8023963" y="463852"/>
                      <a:pt x="7968628" y="407609"/>
                      <a:pt x="7938692" y="365881"/>
                    </a:cubicBezTo>
                    <a:cubicBezTo>
                      <a:pt x="7908756" y="324153"/>
                      <a:pt x="7908756" y="325059"/>
                      <a:pt x="7900592" y="284238"/>
                    </a:cubicBezTo>
                    <a:cubicBezTo>
                      <a:pt x="7892428" y="243416"/>
                      <a:pt x="7896963" y="151795"/>
                      <a:pt x="7889706" y="120952"/>
                    </a:cubicBezTo>
                    <a:cubicBezTo>
                      <a:pt x="7882449" y="90109"/>
                      <a:pt x="7868842" y="103717"/>
                      <a:pt x="7857049" y="99181"/>
                    </a:cubicBezTo>
                    <a:cubicBezTo>
                      <a:pt x="7845256" y="94645"/>
                      <a:pt x="7818949" y="93738"/>
                      <a:pt x="7818949" y="93738"/>
                    </a:cubicBezTo>
                    <a:cubicBezTo>
                      <a:pt x="7741842" y="82852"/>
                      <a:pt x="7536827" y="46566"/>
                      <a:pt x="7394406" y="33866"/>
                    </a:cubicBezTo>
                    <a:cubicBezTo>
                      <a:pt x="7251985" y="21166"/>
                      <a:pt x="6964420" y="17538"/>
                      <a:pt x="6964420" y="17538"/>
                    </a:cubicBezTo>
                    <a:cubicBezTo>
                      <a:pt x="6826534" y="12095"/>
                      <a:pt x="6703163" y="3930"/>
                      <a:pt x="6567092" y="1209"/>
                    </a:cubicBezTo>
                    <a:cubicBezTo>
                      <a:pt x="6431021" y="-1512"/>
                      <a:pt x="6147992" y="1209"/>
                      <a:pt x="6147992" y="1209"/>
                    </a:cubicBezTo>
                    <a:lnTo>
                      <a:pt x="5571049" y="1209"/>
                    </a:lnTo>
                    <a:cubicBezTo>
                      <a:pt x="5384178" y="3930"/>
                      <a:pt x="5026763" y="17538"/>
                      <a:pt x="5026763" y="17538"/>
                    </a:cubicBezTo>
                    <a:lnTo>
                      <a:pt x="4487920" y="39309"/>
                    </a:lnTo>
                    <a:cubicBezTo>
                      <a:pt x="4337334" y="46566"/>
                      <a:pt x="4249342" y="49288"/>
                      <a:pt x="4123249" y="61081"/>
                    </a:cubicBezTo>
                    <a:cubicBezTo>
                      <a:pt x="3997156" y="72874"/>
                      <a:pt x="3835685" y="95552"/>
                      <a:pt x="3731363" y="110066"/>
                    </a:cubicBezTo>
                    <a:cubicBezTo>
                      <a:pt x="3627042" y="124580"/>
                      <a:pt x="3575334" y="131837"/>
                      <a:pt x="3497320" y="148166"/>
                    </a:cubicBezTo>
                    <a:cubicBezTo>
                      <a:pt x="3419306" y="164495"/>
                      <a:pt x="3349456" y="181731"/>
                      <a:pt x="3263277" y="208038"/>
                    </a:cubicBezTo>
                    <a:cubicBezTo>
                      <a:pt x="3177099" y="234345"/>
                      <a:pt x="3096363" y="255209"/>
                      <a:pt x="2980249" y="306009"/>
                    </a:cubicBezTo>
                    <a:cubicBezTo>
                      <a:pt x="2864135" y="356809"/>
                      <a:pt x="2699035" y="442081"/>
                      <a:pt x="2566592" y="512838"/>
                    </a:cubicBezTo>
                    <a:cubicBezTo>
                      <a:pt x="2434149" y="583595"/>
                      <a:pt x="2185592" y="730552"/>
                      <a:pt x="2185592" y="730552"/>
                    </a:cubicBezTo>
                    <a:cubicBezTo>
                      <a:pt x="2060406" y="802216"/>
                      <a:pt x="1900748" y="903816"/>
                      <a:pt x="1815477" y="942823"/>
                    </a:cubicBezTo>
                    <a:cubicBezTo>
                      <a:pt x="1730206" y="981830"/>
                      <a:pt x="1758327" y="943731"/>
                      <a:pt x="1673963" y="964595"/>
                    </a:cubicBezTo>
                    <a:cubicBezTo>
                      <a:pt x="1589599" y="985459"/>
                      <a:pt x="1309292" y="1068009"/>
                      <a:pt x="1309292" y="1068009"/>
                    </a:cubicBezTo>
                    <a:cubicBezTo>
                      <a:pt x="1196806" y="1099759"/>
                      <a:pt x="1107906" y="1120624"/>
                      <a:pt x="999049" y="1155095"/>
                    </a:cubicBezTo>
                    <a:cubicBezTo>
                      <a:pt x="890192" y="1189566"/>
                      <a:pt x="745956" y="1242181"/>
                      <a:pt x="656149" y="1274838"/>
                    </a:cubicBezTo>
                    <a:cubicBezTo>
                      <a:pt x="566342" y="1307495"/>
                      <a:pt x="514635" y="1329267"/>
                      <a:pt x="460206" y="1351038"/>
                    </a:cubicBezTo>
                    <a:cubicBezTo>
                      <a:pt x="405777" y="1372809"/>
                      <a:pt x="369491" y="1380973"/>
                      <a:pt x="329577" y="1405466"/>
                    </a:cubicBezTo>
                    <a:cubicBezTo>
                      <a:pt x="289663" y="1429959"/>
                      <a:pt x="255191" y="1449916"/>
                      <a:pt x="220720" y="1497995"/>
                    </a:cubicBezTo>
                    <a:cubicBezTo>
                      <a:pt x="186249" y="1546074"/>
                      <a:pt x="145427" y="1635881"/>
                      <a:pt x="122749" y="1693938"/>
                    </a:cubicBezTo>
                    <a:cubicBezTo>
                      <a:pt x="100071" y="1751995"/>
                      <a:pt x="104606" y="1794631"/>
                      <a:pt x="84649" y="1846338"/>
                    </a:cubicBezTo>
                    <a:cubicBezTo>
                      <a:pt x="64692" y="1898045"/>
                      <a:pt x="13892" y="1959731"/>
                      <a:pt x="3006" y="2004181"/>
                    </a:cubicBezTo>
                    <a:cubicBezTo>
                      <a:pt x="-7880" y="2048631"/>
                      <a:pt x="13891" y="2071309"/>
                      <a:pt x="19334" y="2113038"/>
                    </a:cubicBezTo>
                    <a:cubicBezTo>
                      <a:pt x="24777" y="2154767"/>
                      <a:pt x="25684" y="2224616"/>
                      <a:pt x="35663" y="2254552"/>
                    </a:cubicBezTo>
                    <a:cubicBezTo>
                      <a:pt x="45642" y="2284488"/>
                      <a:pt x="67413" y="2264531"/>
                      <a:pt x="79206" y="2292652"/>
                    </a:cubicBezTo>
                    <a:cubicBezTo>
                      <a:pt x="90999" y="2320773"/>
                      <a:pt x="105513" y="2389717"/>
                      <a:pt x="106420" y="2423281"/>
                    </a:cubicBezTo>
                    <a:cubicBezTo>
                      <a:pt x="107327" y="2456845"/>
                      <a:pt x="79206" y="2465010"/>
                      <a:pt x="84649" y="2494038"/>
                    </a:cubicBezTo>
                    <a:cubicBezTo>
                      <a:pt x="90092" y="2523066"/>
                      <a:pt x="108234" y="2568423"/>
                      <a:pt x="139077" y="2597452"/>
                    </a:cubicBezTo>
                    <a:cubicBezTo>
                      <a:pt x="169920" y="2626480"/>
                      <a:pt x="246120" y="2643716"/>
                      <a:pt x="286034" y="2657323"/>
                    </a:cubicBezTo>
                    <a:close/>
                  </a:path>
                </a:pathLst>
              </a:cu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92" name="Oval 2191"/>
              <p:cNvSpPr/>
              <p:nvPr/>
            </p:nvSpPr>
            <p:spPr bwMode="auto">
              <a:xfrm>
                <a:off x="2451619" y="3600216"/>
                <a:ext cx="1295867" cy="129586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93" name="Oval 2192"/>
              <p:cNvSpPr/>
              <p:nvPr/>
            </p:nvSpPr>
            <p:spPr bwMode="auto">
              <a:xfrm>
                <a:off x="7785773" y="3600216"/>
                <a:ext cx="1295867" cy="1295867"/>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94" name="Oval 2193"/>
              <p:cNvSpPr/>
              <p:nvPr/>
            </p:nvSpPr>
            <p:spPr bwMode="auto">
              <a:xfrm>
                <a:off x="8052710" y="3871653"/>
                <a:ext cx="761995" cy="761997"/>
              </a:xfrm>
              <a:prstGeom prst="ellipse">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95" name="Oval 2194"/>
              <p:cNvSpPr/>
              <p:nvPr/>
            </p:nvSpPr>
            <p:spPr bwMode="auto">
              <a:xfrm>
                <a:off x="2718552" y="3871653"/>
                <a:ext cx="761995" cy="761997"/>
              </a:xfrm>
              <a:prstGeom prst="ellipse">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96" name="Freeform 2195"/>
              <p:cNvSpPr/>
              <p:nvPr/>
            </p:nvSpPr>
            <p:spPr bwMode="auto">
              <a:xfrm>
                <a:off x="3488871" y="2008414"/>
                <a:ext cx="6166758" cy="1099457"/>
              </a:xfrm>
              <a:custGeom>
                <a:avLst/>
                <a:gdLst>
                  <a:gd name="connsiteX0" fmla="*/ 511629 w 6166758"/>
                  <a:gd name="connsiteY0" fmla="*/ 1034143 h 1099457"/>
                  <a:gd name="connsiteX1" fmla="*/ 1273629 w 6166758"/>
                  <a:gd name="connsiteY1" fmla="*/ 968829 h 1099457"/>
                  <a:gd name="connsiteX2" fmla="*/ 1959429 w 6166758"/>
                  <a:gd name="connsiteY2" fmla="*/ 908957 h 1099457"/>
                  <a:gd name="connsiteX3" fmla="*/ 2416629 w 6166758"/>
                  <a:gd name="connsiteY3" fmla="*/ 881743 h 1099457"/>
                  <a:gd name="connsiteX4" fmla="*/ 3238500 w 6166758"/>
                  <a:gd name="connsiteY4" fmla="*/ 821872 h 1099457"/>
                  <a:gd name="connsiteX5" fmla="*/ 3891643 w 6166758"/>
                  <a:gd name="connsiteY5" fmla="*/ 778329 h 1099457"/>
                  <a:gd name="connsiteX6" fmla="*/ 4049486 w 6166758"/>
                  <a:gd name="connsiteY6" fmla="*/ 772886 h 1099457"/>
                  <a:gd name="connsiteX7" fmla="*/ 4158343 w 6166758"/>
                  <a:gd name="connsiteY7" fmla="*/ 783772 h 1099457"/>
                  <a:gd name="connsiteX8" fmla="*/ 4365172 w 6166758"/>
                  <a:gd name="connsiteY8" fmla="*/ 843643 h 1099457"/>
                  <a:gd name="connsiteX9" fmla="*/ 4435929 w 6166758"/>
                  <a:gd name="connsiteY9" fmla="*/ 849086 h 1099457"/>
                  <a:gd name="connsiteX10" fmla="*/ 5502729 w 6166758"/>
                  <a:gd name="connsiteY10" fmla="*/ 751115 h 1099457"/>
                  <a:gd name="connsiteX11" fmla="*/ 6112329 w 6166758"/>
                  <a:gd name="connsiteY11" fmla="*/ 696686 h 1099457"/>
                  <a:gd name="connsiteX12" fmla="*/ 6166758 w 6166758"/>
                  <a:gd name="connsiteY12" fmla="*/ 691243 h 1099457"/>
                  <a:gd name="connsiteX13" fmla="*/ 6134100 w 6166758"/>
                  <a:gd name="connsiteY13" fmla="*/ 647700 h 1099457"/>
                  <a:gd name="connsiteX14" fmla="*/ 5715000 w 6166758"/>
                  <a:gd name="connsiteY14" fmla="*/ 332015 h 1099457"/>
                  <a:gd name="connsiteX15" fmla="*/ 5453743 w 6166758"/>
                  <a:gd name="connsiteY15" fmla="*/ 163286 h 1099457"/>
                  <a:gd name="connsiteX16" fmla="*/ 5334000 w 6166758"/>
                  <a:gd name="connsiteY16" fmla="*/ 108857 h 1099457"/>
                  <a:gd name="connsiteX17" fmla="*/ 5219700 w 6166758"/>
                  <a:gd name="connsiteY17" fmla="*/ 81643 h 1099457"/>
                  <a:gd name="connsiteX18" fmla="*/ 4876800 w 6166758"/>
                  <a:gd name="connsiteY18" fmla="*/ 48986 h 1099457"/>
                  <a:gd name="connsiteX19" fmla="*/ 4419600 w 6166758"/>
                  <a:gd name="connsiteY19" fmla="*/ 27215 h 1099457"/>
                  <a:gd name="connsiteX20" fmla="*/ 4142015 w 6166758"/>
                  <a:gd name="connsiteY20" fmla="*/ 16329 h 1099457"/>
                  <a:gd name="connsiteX21" fmla="*/ 3690258 w 6166758"/>
                  <a:gd name="connsiteY21" fmla="*/ 0 h 1099457"/>
                  <a:gd name="connsiteX22" fmla="*/ 3075215 w 6166758"/>
                  <a:gd name="connsiteY22" fmla="*/ 0 h 1099457"/>
                  <a:gd name="connsiteX23" fmla="*/ 2574472 w 6166758"/>
                  <a:gd name="connsiteY23" fmla="*/ 10886 h 1099457"/>
                  <a:gd name="connsiteX24" fmla="*/ 2204358 w 6166758"/>
                  <a:gd name="connsiteY24" fmla="*/ 43543 h 1099457"/>
                  <a:gd name="connsiteX25" fmla="*/ 1845129 w 6166758"/>
                  <a:gd name="connsiteY25" fmla="*/ 92529 h 1099457"/>
                  <a:gd name="connsiteX26" fmla="*/ 1589315 w 6166758"/>
                  <a:gd name="connsiteY26" fmla="*/ 146957 h 1099457"/>
                  <a:gd name="connsiteX27" fmla="*/ 1366158 w 6166758"/>
                  <a:gd name="connsiteY27" fmla="*/ 223157 h 1099457"/>
                  <a:gd name="connsiteX28" fmla="*/ 1094015 w 6166758"/>
                  <a:gd name="connsiteY28" fmla="*/ 342900 h 1099457"/>
                  <a:gd name="connsiteX29" fmla="*/ 778329 w 6166758"/>
                  <a:gd name="connsiteY29" fmla="*/ 527957 h 1099457"/>
                  <a:gd name="connsiteX30" fmla="*/ 408215 w 6166758"/>
                  <a:gd name="connsiteY30" fmla="*/ 745672 h 1099457"/>
                  <a:gd name="connsiteX31" fmla="*/ 87086 w 6166758"/>
                  <a:gd name="connsiteY31" fmla="*/ 952500 h 1099457"/>
                  <a:gd name="connsiteX32" fmla="*/ 5443 w 6166758"/>
                  <a:gd name="connsiteY32" fmla="*/ 1028700 h 1099457"/>
                  <a:gd name="connsiteX33" fmla="*/ 0 w 6166758"/>
                  <a:gd name="connsiteY33" fmla="*/ 1077686 h 1099457"/>
                  <a:gd name="connsiteX34" fmla="*/ 54429 w 6166758"/>
                  <a:gd name="connsiteY34" fmla="*/ 1099457 h 1099457"/>
                  <a:gd name="connsiteX35" fmla="*/ 206829 w 6166758"/>
                  <a:gd name="connsiteY35" fmla="*/ 1083129 h 1099457"/>
                  <a:gd name="connsiteX36" fmla="*/ 402772 w 6166758"/>
                  <a:gd name="connsiteY36" fmla="*/ 1055915 h 1099457"/>
                  <a:gd name="connsiteX37" fmla="*/ 511629 w 6166758"/>
                  <a:gd name="connsiteY37" fmla="*/ 1034143 h 109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66758" h="1099457">
                    <a:moveTo>
                      <a:pt x="511629" y="1034143"/>
                    </a:moveTo>
                    <a:lnTo>
                      <a:pt x="1273629" y="968829"/>
                    </a:lnTo>
                    <a:lnTo>
                      <a:pt x="1959429" y="908957"/>
                    </a:lnTo>
                    <a:lnTo>
                      <a:pt x="2416629" y="881743"/>
                    </a:lnTo>
                    <a:lnTo>
                      <a:pt x="3238500" y="821872"/>
                    </a:lnTo>
                    <a:lnTo>
                      <a:pt x="3891643" y="778329"/>
                    </a:lnTo>
                    <a:lnTo>
                      <a:pt x="4049486" y="772886"/>
                    </a:lnTo>
                    <a:lnTo>
                      <a:pt x="4158343" y="783772"/>
                    </a:lnTo>
                    <a:lnTo>
                      <a:pt x="4365172" y="843643"/>
                    </a:lnTo>
                    <a:lnTo>
                      <a:pt x="4435929" y="849086"/>
                    </a:lnTo>
                    <a:lnTo>
                      <a:pt x="5502729" y="751115"/>
                    </a:lnTo>
                    <a:lnTo>
                      <a:pt x="6112329" y="696686"/>
                    </a:lnTo>
                    <a:lnTo>
                      <a:pt x="6166758" y="691243"/>
                    </a:lnTo>
                    <a:lnTo>
                      <a:pt x="6134100" y="647700"/>
                    </a:lnTo>
                    <a:lnTo>
                      <a:pt x="5715000" y="332015"/>
                    </a:lnTo>
                    <a:lnTo>
                      <a:pt x="5453743" y="163286"/>
                    </a:lnTo>
                    <a:lnTo>
                      <a:pt x="5334000" y="108857"/>
                    </a:lnTo>
                    <a:lnTo>
                      <a:pt x="5219700" y="81643"/>
                    </a:lnTo>
                    <a:lnTo>
                      <a:pt x="4876800" y="48986"/>
                    </a:lnTo>
                    <a:lnTo>
                      <a:pt x="4419600" y="27215"/>
                    </a:lnTo>
                    <a:lnTo>
                      <a:pt x="4142015" y="16329"/>
                    </a:lnTo>
                    <a:lnTo>
                      <a:pt x="3690258" y="0"/>
                    </a:lnTo>
                    <a:lnTo>
                      <a:pt x="3075215" y="0"/>
                    </a:lnTo>
                    <a:lnTo>
                      <a:pt x="2574472" y="10886"/>
                    </a:lnTo>
                    <a:lnTo>
                      <a:pt x="2204358" y="43543"/>
                    </a:lnTo>
                    <a:lnTo>
                      <a:pt x="1845129" y="92529"/>
                    </a:lnTo>
                    <a:lnTo>
                      <a:pt x="1589315" y="146957"/>
                    </a:lnTo>
                    <a:lnTo>
                      <a:pt x="1366158" y="223157"/>
                    </a:lnTo>
                    <a:lnTo>
                      <a:pt x="1094015" y="342900"/>
                    </a:lnTo>
                    <a:lnTo>
                      <a:pt x="778329" y="527957"/>
                    </a:lnTo>
                    <a:lnTo>
                      <a:pt x="408215" y="745672"/>
                    </a:lnTo>
                    <a:lnTo>
                      <a:pt x="87086" y="952500"/>
                    </a:lnTo>
                    <a:lnTo>
                      <a:pt x="5443" y="1028700"/>
                    </a:lnTo>
                    <a:lnTo>
                      <a:pt x="0" y="1077686"/>
                    </a:lnTo>
                    <a:lnTo>
                      <a:pt x="54429" y="1099457"/>
                    </a:lnTo>
                    <a:lnTo>
                      <a:pt x="206829" y="1083129"/>
                    </a:lnTo>
                    <a:lnTo>
                      <a:pt x="402772" y="1055915"/>
                    </a:lnTo>
                    <a:lnTo>
                      <a:pt x="511629" y="1034143"/>
                    </a:ln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97" name="Freeform 2196"/>
              <p:cNvSpPr/>
              <p:nvPr/>
            </p:nvSpPr>
            <p:spPr bwMode="auto">
              <a:xfrm>
                <a:off x="4012890" y="2456141"/>
                <a:ext cx="399763" cy="598963"/>
              </a:xfrm>
              <a:custGeom>
                <a:avLst/>
                <a:gdLst>
                  <a:gd name="connsiteX0" fmla="*/ 119742 w 391885"/>
                  <a:gd name="connsiteY0" fmla="*/ 141514 h 500743"/>
                  <a:gd name="connsiteX1" fmla="*/ 0 w 391885"/>
                  <a:gd name="connsiteY1" fmla="*/ 500743 h 500743"/>
                  <a:gd name="connsiteX2" fmla="*/ 321128 w 391885"/>
                  <a:gd name="connsiteY2" fmla="*/ 473529 h 500743"/>
                  <a:gd name="connsiteX3" fmla="*/ 391885 w 391885"/>
                  <a:gd name="connsiteY3" fmla="*/ 0 h 500743"/>
                  <a:gd name="connsiteX4" fmla="*/ 119742 w 391885"/>
                  <a:gd name="connsiteY4" fmla="*/ 141514 h 50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885" h="500743">
                    <a:moveTo>
                      <a:pt x="119742" y="141514"/>
                    </a:moveTo>
                    <a:lnTo>
                      <a:pt x="0" y="500743"/>
                    </a:lnTo>
                    <a:lnTo>
                      <a:pt x="321128" y="473529"/>
                    </a:lnTo>
                    <a:lnTo>
                      <a:pt x="391885" y="0"/>
                    </a:lnTo>
                    <a:lnTo>
                      <a:pt x="119742" y="141514"/>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98" name="Freeform 2197"/>
              <p:cNvSpPr/>
              <p:nvPr/>
            </p:nvSpPr>
            <p:spPr bwMode="auto">
              <a:xfrm>
                <a:off x="5687784" y="2017711"/>
                <a:ext cx="457203" cy="901843"/>
              </a:xfrm>
              <a:custGeom>
                <a:avLst/>
                <a:gdLst>
                  <a:gd name="connsiteX0" fmla="*/ 103414 w 457200"/>
                  <a:gd name="connsiteY0" fmla="*/ 16328 h 816428"/>
                  <a:gd name="connsiteX1" fmla="*/ 0 w 457200"/>
                  <a:gd name="connsiteY1" fmla="*/ 816428 h 816428"/>
                  <a:gd name="connsiteX2" fmla="*/ 386443 w 457200"/>
                  <a:gd name="connsiteY2" fmla="*/ 783771 h 816428"/>
                  <a:gd name="connsiteX3" fmla="*/ 457200 w 457200"/>
                  <a:gd name="connsiteY3" fmla="*/ 0 h 816428"/>
                  <a:gd name="connsiteX4" fmla="*/ 103414 w 457200"/>
                  <a:gd name="connsiteY4" fmla="*/ 16328 h 816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816428">
                    <a:moveTo>
                      <a:pt x="103414" y="16328"/>
                    </a:moveTo>
                    <a:lnTo>
                      <a:pt x="0" y="816428"/>
                    </a:lnTo>
                    <a:lnTo>
                      <a:pt x="386443" y="783771"/>
                    </a:lnTo>
                    <a:lnTo>
                      <a:pt x="457200" y="0"/>
                    </a:lnTo>
                    <a:lnTo>
                      <a:pt x="103414" y="16328"/>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199" name="Freeform 2198"/>
              <p:cNvSpPr/>
              <p:nvPr/>
            </p:nvSpPr>
            <p:spPr bwMode="auto">
              <a:xfrm>
                <a:off x="7527472" y="2025426"/>
                <a:ext cx="353784" cy="831986"/>
              </a:xfrm>
              <a:custGeom>
                <a:avLst/>
                <a:gdLst>
                  <a:gd name="connsiteX0" fmla="*/ 43543 w 353786"/>
                  <a:gd name="connsiteY0" fmla="*/ 0 h 783772"/>
                  <a:gd name="connsiteX1" fmla="*/ 0 w 353786"/>
                  <a:gd name="connsiteY1" fmla="*/ 713014 h 783772"/>
                  <a:gd name="connsiteX2" fmla="*/ 353786 w 353786"/>
                  <a:gd name="connsiteY2" fmla="*/ 783772 h 783772"/>
                  <a:gd name="connsiteX3" fmla="*/ 342900 w 353786"/>
                  <a:gd name="connsiteY3" fmla="*/ 10886 h 783772"/>
                  <a:gd name="connsiteX4" fmla="*/ 43543 w 353786"/>
                  <a:gd name="connsiteY4" fmla="*/ 0 h 783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6" h="783772">
                    <a:moveTo>
                      <a:pt x="43543" y="0"/>
                    </a:moveTo>
                    <a:lnTo>
                      <a:pt x="0" y="713014"/>
                    </a:lnTo>
                    <a:lnTo>
                      <a:pt x="353786" y="783772"/>
                    </a:lnTo>
                    <a:lnTo>
                      <a:pt x="342900" y="10886"/>
                    </a:lnTo>
                    <a:lnTo>
                      <a:pt x="43543" y="0"/>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0" name="Freeform 2199"/>
              <p:cNvSpPr/>
              <p:nvPr/>
            </p:nvSpPr>
            <p:spPr bwMode="auto">
              <a:xfrm>
                <a:off x="3645856" y="3603750"/>
                <a:ext cx="4229101" cy="947053"/>
              </a:xfrm>
              <a:custGeom>
                <a:avLst/>
                <a:gdLst>
                  <a:gd name="connsiteX0" fmla="*/ 0 w 4229100"/>
                  <a:gd name="connsiteY0" fmla="*/ 179614 h 947057"/>
                  <a:gd name="connsiteX1" fmla="*/ 157843 w 4229100"/>
                  <a:gd name="connsiteY1" fmla="*/ 212271 h 947057"/>
                  <a:gd name="connsiteX2" fmla="*/ 283029 w 4229100"/>
                  <a:gd name="connsiteY2" fmla="*/ 212271 h 947057"/>
                  <a:gd name="connsiteX3" fmla="*/ 397329 w 4229100"/>
                  <a:gd name="connsiteY3" fmla="*/ 168728 h 947057"/>
                  <a:gd name="connsiteX4" fmla="*/ 495300 w 4229100"/>
                  <a:gd name="connsiteY4" fmla="*/ 103414 h 947057"/>
                  <a:gd name="connsiteX5" fmla="*/ 718457 w 4229100"/>
                  <a:gd name="connsiteY5" fmla="*/ 87086 h 947057"/>
                  <a:gd name="connsiteX6" fmla="*/ 1148443 w 4229100"/>
                  <a:gd name="connsiteY6" fmla="*/ 70757 h 947057"/>
                  <a:gd name="connsiteX7" fmla="*/ 1850572 w 4229100"/>
                  <a:gd name="connsiteY7" fmla="*/ 48986 h 947057"/>
                  <a:gd name="connsiteX8" fmla="*/ 2389414 w 4229100"/>
                  <a:gd name="connsiteY8" fmla="*/ 32657 h 947057"/>
                  <a:gd name="connsiteX9" fmla="*/ 2922814 w 4229100"/>
                  <a:gd name="connsiteY9" fmla="*/ 16328 h 947057"/>
                  <a:gd name="connsiteX10" fmla="*/ 3390900 w 4229100"/>
                  <a:gd name="connsiteY10" fmla="*/ 5443 h 947057"/>
                  <a:gd name="connsiteX11" fmla="*/ 3624943 w 4229100"/>
                  <a:gd name="connsiteY11" fmla="*/ 0 h 947057"/>
                  <a:gd name="connsiteX12" fmla="*/ 3897086 w 4229100"/>
                  <a:gd name="connsiteY12" fmla="*/ 92528 h 947057"/>
                  <a:gd name="connsiteX13" fmla="*/ 3978729 w 4229100"/>
                  <a:gd name="connsiteY13" fmla="*/ 125186 h 947057"/>
                  <a:gd name="connsiteX14" fmla="*/ 4229100 w 4229100"/>
                  <a:gd name="connsiteY14" fmla="*/ 114300 h 947057"/>
                  <a:gd name="connsiteX15" fmla="*/ 4169229 w 4229100"/>
                  <a:gd name="connsiteY15" fmla="*/ 174171 h 947057"/>
                  <a:gd name="connsiteX16" fmla="*/ 4103914 w 4229100"/>
                  <a:gd name="connsiteY16" fmla="*/ 266700 h 947057"/>
                  <a:gd name="connsiteX17" fmla="*/ 4038600 w 4229100"/>
                  <a:gd name="connsiteY17" fmla="*/ 386443 h 947057"/>
                  <a:gd name="connsiteX18" fmla="*/ 3995057 w 4229100"/>
                  <a:gd name="connsiteY18" fmla="*/ 538843 h 947057"/>
                  <a:gd name="connsiteX19" fmla="*/ 3967843 w 4229100"/>
                  <a:gd name="connsiteY19" fmla="*/ 691243 h 947057"/>
                  <a:gd name="connsiteX20" fmla="*/ 3962400 w 4229100"/>
                  <a:gd name="connsiteY20" fmla="*/ 805543 h 947057"/>
                  <a:gd name="connsiteX21" fmla="*/ 3973286 w 4229100"/>
                  <a:gd name="connsiteY21" fmla="*/ 887186 h 947057"/>
                  <a:gd name="connsiteX22" fmla="*/ 3973286 w 4229100"/>
                  <a:gd name="connsiteY22" fmla="*/ 887186 h 947057"/>
                  <a:gd name="connsiteX23" fmla="*/ 3619500 w 4229100"/>
                  <a:gd name="connsiteY23" fmla="*/ 898071 h 947057"/>
                  <a:gd name="connsiteX24" fmla="*/ 2852057 w 4229100"/>
                  <a:gd name="connsiteY24" fmla="*/ 914400 h 947057"/>
                  <a:gd name="connsiteX25" fmla="*/ 2095500 w 4229100"/>
                  <a:gd name="connsiteY25" fmla="*/ 925286 h 947057"/>
                  <a:gd name="connsiteX26" fmla="*/ 1164772 w 4229100"/>
                  <a:gd name="connsiteY26" fmla="*/ 936171 h 947057"/>
                  <a:gd name="connsiteX27" fmla="*/ 598714 w 4229100"/>
                  <a:gd name="connsiteY27" fmla="*/ 947057 h 947057"/>
                  <a:gd name="connsiteX28" fmla="*/ 277586 w 4229100"/>
                  <a:gd name="connsiteY28" fmla="*/ 947057 h 947057"/>
                  <a:gd name="connsiteX29" fmla="*/ 239486 w 4229100"/>
                  <a:gd name="connsiteY29" fmla="*/ 947057 h 947057"/>
                  <a:gd name="connsiteX30" fmla="*/ 239486 w 4229100"/>
                  <a:gd name="connsiteY30" fmla="*/ 887186 h 947057"/>
                  <a:gd name="connsiteX31" fmla="*/ 217714 w 4229100"/>
                  <a:gd name="connsiteY31" fmla="*/ 707571 h 947057"/>
                  <a:gd name="connsiteX32" fmla="*/ 185057 w 4229100"/>
                  <a:gd name="connsiteY32" fmla="*/ 560614 h 947057"/>
                  <a:gd name="connsiteX33" fmla="*/ 130629 w 4229100"/>
                  <a:gd name="connsiteY33" fmla="*/ 402771 h 947057"/>
                  <a:gd name="connsiteX34" fmla="*/ 65314 w 4229100"/>
                  <a:gd name="connsiteY34" fmla="*/ 277586 h 947057"/>
                  <a:gd name="connsiteX35" fmla="*/ 0 w 4229100"/>
                  <a:gd name="connsiteY35" fmla="*/ 179614 h 94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229100" h="947057">
                    <a:moveTo>
                      <a:pt x="0" y="179614"/>
                    </a:moveTo>
                    <a:lnTo>
                      <a:pt x="157843" y="212271"/>
                    </a:lnTo>
                    <a:lnTo>
                      <a:pt x="283029" y="212271"/>
                    </a:lnTo>
                    <a:lnTo>
                      <a:pt x="397329" y="168728"/>
                    </a:lnTo>
                    <a:lnTo>
                      <a:pt x="495300" y="103414"/>
                    </a:lnTo>
                    <a:lnTo>
                      <a:pt x="718457" y="87086"/>
                    </a:lnTo>
                    <a:lnTo>
                      <a:pt x="1148443" y="70757"/>
                    </a:lnTo>
                    <a:lnTo>
                      <a:pt x="1850572" y="48986"/>
                    </a:lnTo>
                    <a:lnTo>
                      <a:pt x="2389414" y="32657"/>
                    </a:lnTo>
                    <a:lnTo>
                      <a:pt x="2922814" y="16328"/>
                    </a:lnTo>
                    <a:lnTo>
                      <a:pt x="3390900" y="5443"/>
                    </a:lnTo>
                    <a:lnTo>
                      <a:pt x="3624943" y="0"/>
                    </a:lnTo>
                    <a:lnTo>
                      <a:pt x="3897086" y="92528"/>
                    </a:lnTo>
                    <a:lnTo>
                      <a:pt x="3978729" y="125186"/>
                    </a:lnTo>
                    <a:lnTo>
                      <a:pt x="4229100" y="114300"/>
                    </a:lnTo>
                    <a:lnTo>
                      <a:pt x="4169229" y="174171"/>
                    </a:lnTo>
                    <a:lnTo>
                      <a:pt x="4103914" y="266700"/>
                    </a:lnTo>
                    <a:lnTo>
                      <a:pt x="4038600" y="386443"/>
                    </a:lnTo>
                    <a:lnTo>
                      <a:pt x="3995057" y="538843"/>
                    </a:lnTo>
                    <a:lnTo>
                      <a:pt x="3967843" y="691243"/>
                    </a:lnTo>
                    <a:lnTo>
                      <a:pt x="3962400" y="805543"/>
                    </a:lnTo>
                    <a:lnTo>
                      <a:pt x="3973286" y="887186"/>
                    </a:lnTo>
                    <a:lnTo>
                      <a:pt x="3973286" y="887186"/>
                    </a:lnTo>
                    <a:lnTo>
                      <a:pt x="3619500" y="898071"/>
                    </a:lnTo>
                    <a:lnTo>
                      <a:pt x="2852057" y="914400"/>
                    </a:lnTo>
                    <a:lnTo>
                      <a:pt x="2095500" y="925286"/>
                    </a:lnTo>
                    <a:lnTo>
                      <a:pt x="1164772" y="936171"/>
                    </a:lnTo>
                    <a:lnTo>
                      <a:pt x="598714" y="947057"/>
                    </a:lnTo>
                    <a:lnTo>
                      <a:pt x="277586" y="947057"/>
                    </a:lnTo>
                    <a:lnTo>
                      <a:pt x="239486" y="947057"/>
                    </a:lnTo>
                    <a:lnTo>
                      <a:pt x="239486" y="887186"/>
                    </a:lnTo>
                    <a:lnTo>
                      <a:pt x="217714" y="707571"/>
                    </a:lnTo>
                    <a:lnTo>
                      <a:pt x="185057" y="560614"/>
                    </a:lnTo>
                    <a:lnTo>
                      <a:pt x="130629" y="402771"/>
                    </a:lnTo>
                    <a:lnTo>
                      <a:pt x="65314" y="277586"/>
                    </a:lnTo>
                    <a:lnTo>
                      <a:pt x="0" y="179614"/>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1" name="Freeform 2200"/>
              <p:cNvSpPr/>
              <p:nvPr/>
            </p:nvSpPr>
            <p:spPr bwMode="auto">
              <a:xfrm>
                <a:off x="1701888" y="3319772"/>
                <a:ext cx="642258" cy="424543"/>
              </a:xfrm>
              <a:custGeom>
                <a:avLst/>
                <a:gdLst>
                  <a:gd name="connsiteX0" fmla="*/ 0 w 642258"/>
                  <a:gd name="connsiteY0" fmla="*/ 424543 h 424543"/>
                  <a:gd name="connsiteX1" fmla="*/ 141515 w 642258"/>
                  <a:gd name="connsiteY1" fmla="*/ 348343 h 424543"/>
                  <a:gd name="connsiteX2" fmla="*/ 288472 w 642258"/>
                  <a:gd name="connsiteY2" fmla="*/ 277586 h 424543"/>
                  <a:gd name="connsiteX3" fmla="*/ 419100 w 642258"/>
                  <a:gd name="connsiteY3" fmla="*/ 239486 h 424543"/>
                  <a:gd name="connsiteX4" fmla="*/ 555172 w 642258"/>
                  <a:gd name="connsiteY4" fmla="*/ 119743 h 424543"/>
                  <a:gd name="connsiteX5" fmla="*/ 625929 w 642258"/>
                  <a:gd name="connsiteY5" fmla="*/ 43543 h 424543"/>
                  <a:gd name="connsiteX6" fmla="*/ 642258 w 642258"/>
                  <a:gd name="connsiteY6" fmla="*/ 0 h 424543"/>
                  <a:gd name="connsiteX7" fmla="*/ 566058 w 642258"/>
                  <a:gd name="connsiteY7" fmla="*/ 10886 h 424543"/>
                  <a:gd name="connsiteX8" fmla="*/ 321129 w 642258"/>
                  <a:gd name="connsiteY8" fmla="*/ 59871 h 424543"/>
                  <a:gd name="connsiteX9" fmla="*/ 195943 w 642258"/>
                  <a:gd name="connsiteY9" fmla="*/ 87086 h 424543"/>
                  <a:gd name="connsiteX10" fmla="*/ 157843 w 642258"/>
                  <a:gd name="connsiteY10" fmla="*/ 81643 h 424543"/>
                  <a:gd name="connsiteX11" fmla="*/ 152400 w 642258"/>
                  <a:gd name="connsiteY11" fmla="*/ 59871 h 424543"/>
                  <a:gd name="connsiteX12" fmla="*/ 87086 w 642258"/>
                  <a:gd name="connsiteY12" fmla="*/ 141514 h 424543"/>
                  <a:gd name="connsiteX13" fmla="*/ 54429 w 642258"/>
                  <a:gd name="connsiteY13" fmla="*/ 244929 h 424543"/>
                  <a:gd name="connsiteX14" fmla="*/ 38100 w 642258"/>
                  <a:gd name="connsiteY14" fmla="*/ 332014 h 424543"/>
                  <a:gd name="connsiteX15" fmla="*/ 0 w 642258"/>
                  <a:gd name="connsiteY15" fmla="*/ 424543 h 42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2258" h="424543">
                    <a:moveTo>
                      <a:pt x="0" y="424543"/>
                    </a:moveTo>
                    <a:lnTo>
                      <a:pt x="141515" y="348343"/>
                    </a:lnTo>
                    <a:lnTo>
                      <a:pt x="288472" y="277586"/>
                    </a:lnTo>
                    <a:lnTo>
                      <a:pt x="419100" y="239486"/>
                    </a:lnTo>
                    <a:lnTo>
                      <a:pt x="555172" y="119743"/>
                    </a:lnTo>
                    <a:lnTo>
                      <a:pt x="625929" y="43543"/>
                    </a:lnTo>
                    <a:lnTo>
                      <a:pt x="642258" y="0"/>
                    </a:lnTo>
                    <a:lnTo>
                      <a:pt x="566058" y="10886"/>
                    </a:lnTo>
                    <a:lnTo>
                      <a:pt x="321129" y="59871"/>
                    </a:lnTo>
                    <a:lnTo>
                      <a:pt x="195943" y="87086"/>
                    </a:lnTo>
                    <a:lnTo>
                      <a:pt x="157843" y="81643"/>
                    </a:lnTo>
                    <a:lnTo>
                      <a:pt x="152400" y="59871"/>
                    </a:lnTo>
                    <a:lnTo>
                      <a:pt x="87086" y="141514"/>
                    </a:lnTo>
                    <a:lnTo>
                      <a:pt x="54429" y="244929"/>
                    </a:lnTo>
                    <a:lnTo>
                      <a:pt x="38100" y="332014"/>
                    </a:lnTo>
                    <a:lnTo>
                      <a:pt x="0" y="424543"/>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2" name="Freeform 2201"/>
              <p:cNvSpPr/>
              <p:nvPr/>
            </p:nvSpPr>
            <p:spPr bwMode="auto">
              <a:xfrm>
                <a:off x="9720943" y="2917371"/>
                <a:ext cx="468086" cy="359229"/>
              </a:xfrm>
              <a:custGeom>
                <a:avLst/>
                <a:gdLst>
                  <a:gd name="connsiteX0" fmla="*/ 0 w 468086"/>
                  <a:gd name="connsiteY0" fmla="*/ 27215 h 359229"/>
                  <a:gd name="connsiteX1" fmla="*/ 81643 w 468086"/>
                  <a:gd name="connsiteY1" fmla="*/ 97972 h 359229"/>
                  <a:gd name="connsiteX2" fmla="*/ 195943 w 468086"/>
                  <a:gd name="connsiteY2" fmla="*/ 239486 h 359229"/>
                  <a:gd name="connsiteX3" fmla="*/ 261257 w 468086"/>
                  <a:gd name="connsiteY3" fmla="*/ 321129 h 359229"/>
                  <a:gd name="connsiteX4" fmla="*/ 342900 w 468086"/>
                  <a:gd name="connsiteY4" fmla="*/ 359229 h 359229"/>
                  <a:gd name="connsiteX5" fmla="*/ 413657 w 468086"/>
                  <a:gd name="connsiteY5" fmla="*/ 342900 h 359229"/>
                  <a:gd name="connsiteX6" fmla="*/ 457200 w 468086"/>
                  <a:gd name="connsiteY6" fmla="*/ 293915 h 359229"/>
                  <a:gd name="connsiteX7" fmla="*/ 468086 w 468086"/>
                  <a:gd name="connsiteY7" fmla="*/ 146958 h 359229"/>
                  <a:gd name="connsiteX8" fmla="*/ 468086 w 468086"/>
                  <a:gd name="connsiteY8" fmla="*/ 65315 h 359229"/>
                  <a:gd name="connsiteX9" fmla="*/ 446314 w 468086"/>
                  <a:gd name="connsiteY9" fmla="*/ 0 h 359229"/>
                  <a:gd name="connsiteX10" fmla="*/ 353786 w 468086"/>
                  <a:gd name="connsiteY10" fmla="*/ 5443 h 359229"/>
                  <a:gd name="connsiteX11" fmla="*/ 157843 w 468086"/>
                  <a:gd name="connsiteY11" fmla="*/ 21772 h 359229"/>
                  <a:gd name="connsiteX12" fmla="*/ 0 w 468086"/>
                  <a:gd name="connsiteY12" fmla="*/ 27215 h 35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8086" h="359229">
                    <a:moveTo>
                      <a:pt x="0" y="27215"/>
                    </a:moveTo>
                    <a:lnTo>
                      <a:pt x="81643" y="97972"/>
                    </a:lnTo>
                    <a:lnTo>
                      <a:pt x="195943" y="239486"/>
                    </a:lnTo>
                    <a:lnTo>
                      <a:pt x="261257" y="321129"/>
                    </a:lnTo>
                    <a:lnTo>
                      <a:pt x="342900" y="359229"/>
                    </a:lnTo>
                    <a:lnTo>
                      <a:pt x="413657" y="342900"/>
                    </a:lnTo>
                    <a:lnTo>
                      <a:pt x="457200" y="293915"/>
                    </a:lnTo>
                    <a:lnTo>
                      <a:pt x="468086" y="146958"/>
                    </a:lnTo>
                    <a:lnTo>
                      <a:pt x="468086" y="65315"/>
                    </a:lnTo>
                    <a:lnTo>
                      <a:pt x="446314" y="0"/>
                    </a:lnTo>
                    <a:lnTo>
                      <a:pt x="353786" y="5443"/>
                    </a:lnTo>
                    <a:lnTo>
                      <a:pt x="157843" y="21772"/>
                    </a:lnTo>
                    <a:lnTo>
                      <a:pt x="0" y="27215"/>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3" name="Freeform 2202"/>
              <p:cNvSpPr/>
              <p:nvPr/>
            </p:nvSpPr>
            <p:spPr bwMode="auto">
              <a:xfrm>
                <a:off x="5459186" y="3227614"/>
                <a:ext cx="353785" cy="70757"/>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4" name="Freeform 2203"/>
              <p:cNvSpPr/>
              <p:nvPr/>
            </p:nvSpPr>
            <p:spPr bwMode="auto">
              <a:xfrm rot="21132279" flipH="1">
                <a:off x="5868422" y="3202563"/>
                <a:ext cx="358826" cy="64325"/>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5" name="Freeform 2204"/>
              <p:cNvSpPr/>
              <p:nvPr/>
            </p:nvSpPr>
            <p:spPr bwMode="auto">
              <a:xfrm>
                <a:off x="9095418" y="3603653"/>
                <a:ext cx="1182152" cy="825456"/>
              </a:xfrm>
              <a:custGeom>
                <a:avLst/>
                <a:gdLst>
                  <a:gd name="connsiteX0" fmla="*/ 998341 w 1182156"/>
                  <a:gd name="connsiteY0" fmla="*/ 617676 h 825455"/>
                  <a:gd name="connsiteX1" fmla="*/ 1086264 w 1182156"/>
                  <a:gd name="connsiteY1" fmla="*/ 570783 h 825455"/>
                  <a:gd name="connsiteX2" fmla="*/ 1139018 w 1182156"/>
                  <a:gd name="connsiteY2" fmla="*/ 512168 h 825455"/>
                  <a:gd name="connsiteX3" fmla="*/ 1180049 w 1182156"/>
                  <a:gd name="connsiteY3" fmla="*/ 324599 h 825455"/>
                  <a:gd name="connsiteX4" fmla="*/ 1174187 w 1182156"/>
                  <a:gd name="connsiteY4" fmla="*/ 189783 h 825455"/>
                  <a:gd name="connsiteX5" fmla="*/ 1156603 w 1182156"/>
                  <a:gd name="connsiteY5" fmla="*/ 107722 h 825455"/>
                  <a:gd name="connsiteX6" fmla="*/ 1103849 w 1182156"/>
                  <a:gd name="connsiteY6" fmla="*/ 8076 h 825455"/>
                  <a:gd name="connsiteX7" fmla="*/ 1062818 w 1182156"/>
                  <a:gd name="connsiteY7" fmla="*/ 8076 h 825455"/>
                  <a:gd name="connsiteX8" fmla="*/ 910418 w 1182156"/>
                  <a:gd name="connsiteY8" fmla="*/ 25660 h 825455"/>
                  <a:gd name="connsiteX9" fmla="*/ 681818 w 1182156"/>
                  <a:gd name="connsiteY9" fmla="*/ 49107 h 825455"/>
                  <a:gd name="connsiteX10" fmla="*/ 453218 w 1182156"/>
                  <a:gd name="connsiteY10" fmla="*/ 72553 h 825455"/>
                  <a:gd name="connsiteX11" fmla="*/ 294957 w 1182156"/>
                  <a:gd name="connsiteY11" fmla="*/ 101860 h 825455"/>
                  <a:gd name="connsiteX12" fmla="*/ 160141 w 1182156"/>
                  <a:gd name="connsiteY12" fmla="*/ 154614 h 825455"/>
                  <a:gd name="connsiteX13" fmla="*/ 89803 w 1182156"/>
                  <a:gd name="connsiteY13" fmla="*/ 224953 h 825455"/>
                  <a:gd name="connsiteX14" fmla="*/ 42911 w 1182156"/>
                  <a:gd name="connsiteY14" fmla="*/ 283568 h 825455"/>
                  <a:gd name="connsiteX15" fmla="*/ 1880 w 1182156"/>
                  <a:gd name="connsiteY15" fmla="*/ 348045 h 825455"/>
                  <a:gd name="connsiteX16" fmla="*/ 13603 w 1182156"/>
                  <a:gd name="connsiteY16" fmla="*/ 383214 h 825455"/>
                  <a:gd name="connsiteX17" fmla="*/ 72218 w 1182156"/>
                  <a:gd name="connsiteY17" fmla="*/ 529753 h 825455"/>
                  <a:gd name="connsiteX18" fmla="*/ 83941 w 1182156"/>
                  <a:gd name="connsiteY18" fmla="*/ 670430 h 825455"/>
                  <a:gd name="connsiteX19" fmla="*/ 72218 w 1182156"/>
                  <a:gd name="connsiteY19" fmla="*/ 758353 h 825455"/>
                  <a:gd name="connsiteX20" fmla="*/ 48772 w 1182156"/>
                  <a:gd name="connsiteY20" fmla="*/ 822830 h 825455"/>
                  <a:gd name="connsiteX21" fmla="*/ 107387 w 1182156"/>
                  <a:gd name="connsiteY21" fmla="*/ 805245 h 825455"/>
                  <a:gd name="connsiteX22" fmla="*/ 476664 w 1182156"/>
                  <a:gd name="connsiteY22" fmla="*/ 734907 h 825455"/>
                  <a:gd name="connsiteX23" fmla="*/ 857664 w 1182156"/>
                  <a:gd name="connsiteY23" fmla="*/ 670430 h 825455"/>
                  <a:gd name="connsiteX24" fmla="*/ 998341 w 1182156"/>
                  <a:gd name="connsiteY24" fmla="*/ 617676 h 82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2156" h="825455">
                    <a:moveTo>
                      <a:pt x="998341" y="617676"/>
                    </a:moveTo>
                    <a:cubicBezTo>
                      <a:pt x="1036441" y="601068"/>
                      <a:pt x="1062818" y="588368"/>
                      <a:pt x="1086264" y="570783"/>
                    </a:cubicBezTo>
                    <a:cubicBezTo>
                      <a:pt x="1109710" y="553198"/>
                      <a:pt x="1123387" y="553199"/>
                      <a:pt x="1139018" y="512168"/>
                    </a:cubicBezTo>
                    <a:cubicBezTo>
                      <a:pt x="1154649" y="471137"/>
                      <a:pt x="1174188" y="378330"/>
                      <a:pt x="1180049" y="324599"/>
                    </a:cubicBezTo>
                    <a:cubicBezTo>
                      <a:pt x="1185910" y="270868"/>
                      <a:pt x="1178095" y="225929"/>
                      <a:pt x="1174187" y="189783"/>
                    </a:cubicBezTo>
                    <a:cubicBezTo>
                      <a:pt x="1170279" y="153637"/>
                      <a:pt x="1168326" y="138006"/>
                      <a:pt x="1156603" y="107722"/>
                    </a:cubicBezTo>
                    <a:cubicBezTo>
                      <a:pt x="1144880" y="77437"/>
                      <a:pt x="1119480" y="24684"/>
                      <a:pt x="1103849" y="8076"/>
                    </a:cubicBezTo>
                    <a:cubicBezTo>
                      <a:pt x="1088218" y="-8532"/>
                      <a:pt x="1095056" y="5145"/>
                      <a:pt x="1062818" y="8076"/>
                    </a:cubicBezTo>
                    <a:cubicBezTo>
                      <a:pt x="1030580" y="11007"/>
                      <a:pt x="910418" y="25660"/>
                      <a:pt x="910418" y="25660"/>
                    </a:cubicBezTo>
                    <a:lnTo>
                      <a:pt x="681818" y="49107"/>
                    </a:lnTo>
                    <a:cubicBezTo>
                      <a:pt x="605618" y="56922"/>
                      <a:pt x="517695" y="63761"/>
                      <a:pt x="453218" y="72553"/>
                    </a:cubicBezTo>
                    <a:cubicBezTo>
                      <a:pt x="388741" y="81345"/>
                      <a:pt x="343803" y="88183"/>
                      <a:pt x="294957" y="101860"/>
                    </a:cubicBezTo>
                    <a:cubicBezTo>
                      <a:pt x="246111" y="115537"/>
                      <a:pt x="194333" y="134099"/>
                      <a:pt x="160141" y="154614"/>
                    </a:cubicBezTo>
                    <a:cubicBezTo>
                      <a:pt x="125949" y="175129"/>
                      <a:pt x="109341" y="203461"/>
                      <a:pt x="89803" y="224953"/>
                    </a:cubicBezTo>
                    <a:cubicBezTo>
                      <a:pt x="70265" y="246445"/>
                      <a:pt x="57565" y="263053"/>
                      <a:pt x="42911" y="283568"/>
                    </a:cubicBezTo>
                    <a:cubicBezTo>
                      <a:pt x="28257" y="304083"/>
                      <a:pt x="6765" y="331437"/>
                      <a:pt x="1880" y="348045"/>
                    </a:cubicBezTo>
                    <a:cubicBezTo>
                      <a:pt x="-3005" y="364653"/>
                      <a:pt x="1880" y="352929"/>
                      <a:pt x="13603" y="383214"/>
                    </a:cubicBezTo>
                    <a:cubicBezTo>
                      <a:pt x="25326" y="413499"/>
                      <a:pt x="60495" y="481884"/>
                      <a:pt x="72218" y="529753"/>
                    </a:cubicBezTo>
                    <a:cubicBezTo>
                      <a:pt x="83941" y="577622"/>
                      <a:pt x="83941" y="632330"/>
                      <a:pt x="83941" y="670430"/>
                    </a:cubicBezTo>
                    <a:cubicBezTo>
                      <a:pt x="83941" y="708530"/>
                      <a:pt x="78079" y="732953"/>
                      <a:pt x="72218" y="758353"/>
                    </a:cubicBezTo>
                    <a:cubicBezTo>
                      <a:pt x="66357" y="783753"/>
                      <a:pt x="42910" y="815015"/>
                      <a:pt x="48772" y="822830"/>
                    </a:cubicBezTo>
                    <a:cubicBezTo>
                      <a:pt x="54633" y="830645"/>
                      <a:pt x="36072" y="819899"/>
                      <a:pt x="107387" y="805245"/>
                    </a:cubicBezTo>
                    <a:cubicBezTo>
                      <a:pt x="178702" y="790591"/>
                      <a:pt x="351618" y="757376"/>
                      <a:pt x="476664" y="734907"/>
                    </a:cubicBezTo>
                    <a:cubicBezTo>
                      <a:pt x="601710" y="712438"/>
                      <a:pt x="768764" y="690945"/>
                      <a:pt x="857664" y="670430"/>
                    </a:cubicBezTo>
                    <a:cubicBezTo>
                      <a:pt x="946564" y="649915"/>
                      <a:pt x="960241" y="634284"/>
                      <a:pt x="998341" y="617676"/>
                    </a:cubicBez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6" name="Freeform 2205"/>
              <p:cNvSpPr/>
              <p:nvPr/>
            </p:nvSpPr>
            <p:spPr bwMode="auto">
              <a:xfrm>
                <a:off x="1666793" y="3729775"/>
                <a:ext cx="767302" cy="878239"/>
              </a:xfrm>
              <a:custGeom>
                <a:avLst/>
                <a:gdLst>
                  <a:gd name="connsiteX0" fmla="*/ 615960 w 737366"/>
                  <a:gd name="connsiteY0" fmla="*/ 769799 h 869548"/>
                  <a:gd name="connsiteX1" fmla="*/ 610099 w 737366"/>
                  <a:gd name="connsiteY1" fmla="*/ 576368 h 869548"/>
                  <a:gd name="connsiteX2" fmla="*/ 633545 w 737366"/>
                  <a:gd name="connsiteY2" fmla="*/ 388799 h 869548"/>
                  <a:gd name="connsiteX3" fmla="*/ 674575 w 737366"/>
                  <a:gd name="connsiteY3" fmla="*/ 277429 h 869548"/>
                  <a:gd name="connsiteX4" fmla="*/ 733191 w 737366"/>
                  <a:gd name="connsiteY4" fmla="*/ 183645 h 869548"/>
                  <a:gd name="connsiteX5" fmla="*/ 709745 w 737366"/>
                  <a:gd name="connsiteY5" fmla="*/ 171922 h 869548"/>
                  <a:gd name="connsiteX6" fmla="*/ 528037 w 737366"/>
                  <a:gd name="connsiteY6" fmla="*/ 171922 h 869548"/>
                  <a:gd name="connsiteX7" fmla="*/ 234960 w 737366"/>
                  <a:gd name="connsiteY7" fmla="*/ 171922 h 869548"/>
                  <a:gd name="connsiteX8" fmla="*/ 147037 w 737366"/>
                  <a:gd name="connsiteY8" fmla="*/ 148476 h 869548"/>
                  <a:gd name="connsiteX9" fmla="*/ 147037 w 737366"/>
                  <a:gd name="connsiteY9" fmla="*/ 83999 h 869548"/>
                  <a:gd name="connsiteX10" fmla="*/ 152899 w 737366"/>
                  <a:gd name="connsiteY10" fmla="*/ 7799 h 869548"/>
                  <a:gd name="connsiteX11" fmla="*/ 123591 w 737366"/>
                  <a:gd name="connsiteY11" fmla="*/ 7799 h 869548"/>
                  <a:gd name="connsiteX12" fmla="*/ 59114 w 737366"/>
                  <a:gd name="connsiteY12" fmla="*/ 54691 h 869548"/>
                  <a:gd name="connsiteX13" fmla="*/ 29806 w 737366"/>
                  <a:gd name="connsiteY13" fmla="*/ 66414 h 869548"/>
                  <a:gd name="connsiteX14" fmla="*/ 499 w 737366"/>
                  <a:gd name="connsiteY14" fmla="*/ 142614 h 869548"/>
                  <a:gd name="connsiteX15" fmla="*/ 12222 w 737366"/>
                  <a:gd name="connsiteY15" fmla="*/ 201229 h 869548"/>
                  <a:gd name="connsiteX16" fmla="*/ 23945 w 737366"/>
                  <a:gd name="connsiteY16" fmla="*/ 388799 h 869548"/>
                  <a:gd name="connsiteX17" fmla="*/ 47391 w 737366"/>
                  <a:gd name="connsiteY17" fmla="*/ 418106 h 869548"/>
                  <a:gd name="connsiteX18" fmla="*/ 82560 w 737366"/>
                  <a:gd name="connsiteY18" fmla="*/ 447414 h 869548"/>
                  <a:gd name="connsiteX19" fmla="*/ 100145 w 737366"/>
                  <a:gd name="connsiteY19" fmla="*/ 570506 h 869548"/>
                  <a:gd name="connsiteX20" fmla="*/ 64975 w 737366"/>
                  <a:gd name="connsiteY20" fmla="*/ 623260 h 869548"/>
                  <a:gd name="connsiteX21" fmla="*/ 141175 w 737366"/>
                  <a:gd name="connsiteY21" fmla="*/ 752214 h 869548"/>
                  <a:gd name="connsiteX22" fmla="*/ 229099 w 737366"/>
                  <a:gd name="connsiteY22" fmla="*/ 787383 h 869548"/>
                  <a:gd name="connsiteX23" fmla="*/ 317022 w 737366"/>
                  <a:gd name="connsiteY23" fmla="*/ 828414 h 869548"/>
                  <a:gd name="connsiteX24" fmla="*/ 469422 w 737366"/>
                  <a:gd name="connsiteY24" fmla="*/ 840137 h 869548"/>
                  <a:gd name="connsiteX25" fmla="*/ 563206 w 737366"/>
                  <a:gd name="connsiteY25" fmla="*/ 840137 h 869548"/>
                  <a:gd name="connsiteX26" fmla="*/ 651129 w 737366"/>
                  <a:gd name="connsiteY26" fmla="*/ 869445 h 869548"/>
                  <a:gd name="connsiteX27" fmla="*/ 645268 w 737366"/>
                  <a:gd name="connsiteY27" fmla="*/ 828414 h 869548"/>
                  <a:gd name="connsiteX28" fmla="*/ 615960 w 737366"/>
                  <a:gd name="connsiteY28" fmla="*/ 769799 h 86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366" h="869548">
                    <a:moveTo>
                      <a:pt x="615960" y="769799"/>
                    </a:moveTo>
                    <a:cubicBezTo>
                      <a:pt x="610099" y="727791"/>
                      <a:pt x="607168" y="639868"/>
                      <a:pt x="610099" y="576368"/>
                    </a:cubicBezTo>
                    <a:cubicBezTo>
                      <a:pt x="613030" y="512868"/>
                      <a:pt x="622799" y="438622"/>
                      <a:pt x="633545" y="388799"/>
                    </a:cubicBezTo>
                    <a:cubicBezTo>
                      <a:pt x="644291" y="338976"/>
                      <a:pt x="657967" y="311621"/>
                      <a:pt x="674575" y="277429"/>
                    </a:cubicBezTo>
                    <a:cubicBezTo>
                      <a:pt x="691183" y="243237"/>
                      <a:pt x="727329" y="201229"/>
                      <a:pt x="733191" y="183645"/>
                    </a:cubicBezTo>
                    <a:cubicBezTo>
                      <a:pt x="739053" y="166060"/>
                      <a:pt x="743937" y="173876"/>
                      <a:pt x="709745" y="171922"/>
                    </a:cubicBezTo>
                    <a:cubicBezTo>
                      <a:pt x="675553" y="169968"/>
                      <a:pt x="528037" y="171922"/>
                      <a:pt x="528037" y="171922"/>
                    </a:cubicBezTo>
                    <a:cubicBezTo>
                      <a:pt x="448906" y="171922"/>
                      <a:pt x="298460" y="175830"/>
                      <a:pt x="234960" y="171922"/>
                    </a:cubicBezTo>
                    <a:cubicBezTo>
                      <a:pt x="171460" y="168014"/>
                      <a:pt x="161691" y="163130"/>
                      <a:pt x="147037" y="148476"/>
                    </a:cubicBezTo>
                    <a:cubicBezTo>
                      <a:pt x="132383" y="133822"/>
                      <a:pt x="146060" y="107445"/>
                      <a:pt x="147037" y="83999"/>
                    </a:cubicBezTo>
                    <a:cubicBezTo>
                      <a:pt x="148014" y="60553"/>
                      <a:pt x="156807" y="20499"/>
                      <a:pt x="152899" y="7799"/>
                    </a:cubicBezTo>
                    <a:cubicBezTo>
                      <a:pt x="148991" y="-4901"/>
                      <a:pt x="139222" y="-16"/>
                      <a:pt x="123591" y="7799"/>
                    </a:cubicBezTo>
                    <a:cubicBezTo>
                      <a:pt x="107960" y="15614"/>
                      <a:pt x="74745" y="44922"/>
                      <a:pt x="59114" y="54691"/>
                    </a:cubicBezTo>
                    <a:cubicBezTo>
                      <a:pt x="43483" y="64460"/>
                      <a:pt x="39575" y="51760"/>
                      <a:pt x="29806" y="66414"/>
                    </a:cubicBezTo>
                    <a:cubicBezTo>
                      <a:pt x="20037" y="81068"/>
                      <a:pt x="3430" y="120145"/>
                      <a:pt x="499" y="142614"/>
                    </a:cubicBezTo>
                    <a:cubicBezTo>
                      <a:pt x="-2432" y="165083"/>
                      <a:pt x="8314" y="160198"/>
                      <a:pt x="12222" y="201229"/>
                    </a:cubicBezTo>
                    <a:cubicBezTo>
                      <a:pt x="16130" y="242260"/>
                      <a:pt x="18084" y="352653"/>
                      <a:pt x="23945" y="388799"/>
                    </a:cubicBezTo>
                    <a:cubicBezTo>
                      <a:pt x="29806" y="424945"/>
                      <a:pt x="37622" y="408337"/>
                      <a:pt x="47391" y="418106"/>
                    </a:cubicBezTo>
                    <a:cubicBezTo>
                      <a:pt x="57160" y="427875"/>
                      <a:pt x="73768" y="422014"/>
                      <a:pt x="82560" y="447414"/>
                    </a:cubicBezTo>
                    <a:cubicBezTo>
                      <a:pt x="91352" y="472814"/>
                      <a:pt x="103076" y="541198"/>
                      <a:pt x="100145" y="570506"/>
                    </a:cubicBezTo>
                    <a:cubicBezTo>
                      <a:pt x="97214" y="599814"/>
                      <a:pt x="58137" y="592975"/>
                      <a:pt x="64975" y="623260"/>
                    </a:cubicBezTo>
                    <a:cubicBezTo>
                      <a:pt x="71813" y="653545"/>
                      <a:pt x="113821" y="724860"/>
                      <a:pt x="141175" y="752214"/>
                    </a:cubicBezTo>
                    <a:cubicBezTo>
                      <a:pt x="168529" y="779568"/>
                      <a:pt x="199791" y="774683"/>
                      <a:pt x="229099" y="787383"/>
                    </a:cubicBezTo>
                    <a:cubicBezTo>
                      <a:pt x="258407" y="800083"/>
                      <a:pt x="276968" y="819622"/>
                      <a:pt x="317022" y="828414"/>
                    </a:cubicBezTo>
                    <a:cubicBezTo>
                      <a:pt x="357076" y="837206"/>
                      <a:pt x="428391" y="838183"/>
                      <a:pt x="469422" y="840137"/>
                    </a:cubicBezTo>
                    <a:cubicBezTo>
                      <a:pt x="510453" y="842091"/>
                      <a:pt x="532922" y="835252"/>
                      <a:pt x="563206" y="840137"/>
                    </a:cubicBezTo>
                    <a:cubicBezTo>
                      <a:pt x="593490" y="845022"/>
                      <a:pt x="637452" y="871399"/>
                      <a:pt x="651129" y="869445"/>
                    </a:cubicBezTo>
                    <a:cubicBezTo>
                      <a:pt x="664806" y="867491"/>
                      <a:pt x="649176" y="845022"/>
                      <a:pt x="645268" y="828414"/>
                    </a:cubicBezTo>
                    <a:cubicBezTo>
                      <a:pt x="641360" y="811806"/>
                      <a:pt x="621821" y="811807"/>
                      <a:pt x="615960" y="769799"/>
                    </a:cubicBez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2190" name="Freeform 2189"/>
            <p:cNvSpPr/>
            <p:nvPr/>
          </p:nvSpPr>
          <p:spPr bwMode="auto">
            <a:xfrm>
              <a:off x="4071427" y="2729263"/>
              <a:ext cx="346361" cy="307598"/>
            </a:xfrm>
            <a:custGeom>
              <a:avLst/>
              <a:gdLst>
                <a:gd name="connsiteX0" fmla="*/ 176028 w 346361"/>
                <a:gd name="connsiteY0" fmla="*/ 306019 h 307598"/>
                <a:gd name="connsiteX1" fmla="*/ 103292 w 346361"/>
                <a:gd name="connsiteY1" fmla="*/ 288701 h 307598"/>
                <a:gd name="connsiteX2" fmla="*/ 51338 w 346361"/>
                <a:gd name="connsiteY2" fmla="*/ 226356 h 307598"/>
                <a:gd name="connsiteX3" fmla="*/ 2847 w 346361"/>
                <a:gd name="connsiteY3" fmla="*/ 184792 h 307598"/>
                <a:gd name="connsiteX4" fmla="*/ 13238 w 346361"/>
                <a:gd name="connsiteY4" fmla="*/ 136301 h 307598"/>
                <a:gd name="connsiteX5" fmla="*/ 75583 w 346361"/>
                <a:gd name="connsiteY5" fmla="*/ 67029 h 307598"/>
                <a:gd name="connsiteX6" fmla="*/ 193347 w 346361"/>
                <a:gd name="connsiteY6" fmla="*/ 8147 h 307598"/>
                <a:gd name="connsiteX7" fmla="*/ 293792 w 346361"/>
                <a:gd name="connsiteY7" fmla="*/ 1219 h 307598"/>
                <a:gd name="connsiteX8" fmla="*/ 318038 w 346361"/>
                <a:gd name="connsiteY8" fmla="*/ 15074 h 307598"/>
                <a:gd name="connsiteX9" fmla="*/ 338819 w 346361"/>
                <a:gd name="connsiteY9" fmla="*/ 91274 h 307598"/>
                <a:gd name="connsiteX10" fmla="*/ 345747 w 346361"/>
                <a:gd name="connsiteY10" fmla="*/ 150156 h 307598"/>
                <a:gd name="connsiteX11" fmla="*/ 324965 w 346361"/>
                <a:gd name="connsiteY11" fmla="*/ 271383 h 307598"/>
                <a:gd name="connsiteX12" fmla="*/ 314574 w 346361"/>
                <a:gd name="connsiteY12" fmla="*/ 295629 h 307598"/>
                <a:gd name="connsiteX13" fmla="*/ 248765 w 346361"/>
                <a:gd name="connsiteY13" fmla="*/ 306019 h 307598"/>
                <a:gd name="connsiteX14" fmla="*/ 176028 w 346361"/>
                <a:gd name="connsiteY14" fmla="*/ 306019 h 307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6361" h="307598">
                  <a:moveTo>
                    <a:pt x="176028" y="306019"/>
                  </a:moveTo>
                  <a:cubicBezTo>
                    <a:pt x="151783" y="303133"/>
                    <a:pt x="124074" y="301978"/>
                    <a:pt x="103292" y="288701"/>
                  </a:cubicBezTo>
                  <a:cubicBezTo>
                    <a:pt x="82510" y="275424"/>
                    <a:pt x="68079" y="243674"/>
                    <a:pt x="51338" y="226356"/>
                  </a:cubicBezTo>
                  <a:cubicBezTo>
                    <a:pt x="34597" y="209038"/>
                    <a:pt x="9197" y="199801"/>
                    <a:pt x="2847" y="184792"/>
                  </a:cubicBezTo>
                  <a:cubicBezTo>
                    <a:pt x="-3503" y="169783"/>
                    <a:pt x="1115" y="155928"/>
                    <a:pt x="13238" y="136301"/>
                  </a:cubicBezTo>
                  <a:cubicBezTo>
                    <a:pt x="25361" y="116674"/>
                    <a:pt x="45565" y="88388"/>
                    <a:pt x="75583" y="67029"/>
                  </a:cubicBezTo>
                  <a:cubicBezTo>
                    <a:pt x="105601" y="45670"/>
                    <a:pt x="156979" y="19115"/>
                    <a:pt x="193347" y="8147"/>
                  </a:cubicBezTo>
                  <a:cubicBezTo>
                    <a:pt x="229715" y="-2821"/>
                    <a:pt x="273010" y="65"/>
                    <a:pt x="293792" y="1219"/>
                  </a:cubicBezTo>
                  <a:cubicBezTo>
                    <a:pt x="314574" y="2373"/>
                    <a:pt x="310534" y="65"/>
                    <a:pt x="318038" y="15074"/>
                  </a:cubicBezTo>
                  <a:cubicBezTo>
                    <a:pt x="325543" y="30083"/>
                    <a:pt x="334201" y="68760"/>
                    <a:pt x="338819" y="91274"/>
                  </a:cubicBezTo>
                  <a:cubicBezTo>
                    <a:pt x="343437" y="113788"/>
                    <a:pt x="348056" y="120138"/>
                    <a:pt x="345747" y="150156"/>
                  </a:cubicBezTo>
                  <a:cubicBezTo>
                    <a:pt x="343438" y="180174"/>
                    <a:pt x="330160" y="247138"/>
                    <a:pt x="324965" y="271383"/>
                  </a:cubicBezTo>
                  <a:cubicBezTo>
                    <a:pt x="319770" y="295628"/>
                    <a:pt x="327274" y="289856"/>
                    <a:pt x="314574" y="295629"/>
                  </a:cubicBezTo>
                  <a:cubicBezTo>
                    <a:pt x="301874" y="301402"/>
                    <a:pt x="271856" y="304865"/>
                    <a:pt x="248765" y="306019"/>
                  </a:cubicBezTo>
                  <a:cubicBezTo>
                    <a:pt x="225674" y="307173"/>
                    <a:pt x="200273" y="308905"/>
                    <a:pt x="176028" y="306019"/>
                  </a:cubicBez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428" name="Rectangle 1427"/>
          <p:cNvSpPr/>
          <p:nvPr/>
        </p:nvSpPr>
        <p:spPr bwMode="auto">
          <a:xfrm>
            <a:off x="3779917" y="3683525"/>
            <a:ext cx="1327388" cy="398141"/>
          </a:xfrm>
          <a:prstGeom prst="rect">
            <a:avLst/>
          </a:prstGeom>
          <a:solidFill>
            <a:schemeClr val="tx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w="3175">
                  <a:noFill/>
                </a:ln>
                <a:solidFill>
                  <a:srgbClr val="00BCF2"/>
                </a:solidFill>
                <a:effectLst/>
                <a:uLnTx/>
                <a:uFillTx/>
                <a:cs typeface="Arial" charset="0"/>
              </a:rPr>
              <a:t>DISCOUNTED EXTENDED WARRANTIES AVAILABLE</a:t>
            </a:r>
            <a:endParaRPr kumimoji="0" lang="en-US" sz="600" b="0" i="0" u="none" strike="noStrike" kern="0" cap="none" spc="0" normalizeH="0" baseline="0" noProof="0" dirty="0">
              <a:ln w="3175">
                <a:noFill/>
              </a:ln>
              <a:solidFill>
                <a:srgbClr val="00BCF2"/>
              </a:solidFill>
              <a:effectLst/>
              <a:uLnTx/>
              <a:uFillTx/>
              <a:cs typeface="Arial" charset="0"/>
            </a:endParaRPr>
          </a:p>
        </p:txBody>
      </p:sp>
      <p:grpSp>
        <p:nvGrpSpPr>
          <p:cNvPr id="2207" name="Group 2206"/>
          <p:cNvGrpSpPr/>
          <p:nvPr/>
        </p:nvGrpSpPr>
        <p:grpSpPr>
          <a:xfrm rot="19202978">
            <a:off x="4917963" y="4218919"/>
            <a:ext cx="131559" cy="194595"/>
            <a:chOff x="2658904" y="3122439"/>
            <a:chExt cx="81472" cy="132564"/>
          </a:xfrm>
          <a:solidFill>
            <a:schemeClr val="accent1"/>
          </a:solidFill>
        </p:grpSpPr>
        <p:sp>
          <p:nvSpPr>
            <p:cNvPr id="2208"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9"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10"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cxnSp>
        <p:nvCxnSpPr>
          <p:cNvPr id="2211" name="Elbow Connector 2210"/>
          <p:cNvCxnSpPr>
            <a:stCxn id="1360" idx="7"/>
            <a:endCxn id="1356" idx="3"/>
          </p:cNvCxnSpPr>
          <p:nvPr/>
        </p:nvCxnSpPr>
        <p:spPr>
          <a:xfrm rot="10800000">
            <a:off x="7228517" y="5160845"/>
            <a:ext cx="367662" cy="536799"/>
          </a:xfrm>
          <a:prstGeom prst="bentConnector3">
            <a:avLst>
              <a:gd name="adj1" fmla="val 38695"/>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212" name="Elbow Connector 2211"/>
          <p:cNvCxnSpPr>
            <a:stCxn id="1428" idx="2"/>
            <a:endCxn id="2174" idx="74"/>
          </p:cNvCxnSpPr>
          <p:nvPr/>
        </p:nvCxnSpPr>
        <p:spPr>
          <a:xfrm rot="16200000" flipH="1">
            <a:off x="4447975" y="4077302"/>
            <a:ext cx="213425" cy="222151"/>
          </a:xfrm>
          <a:prstGeom prst="bentConnector4">
            <a:avLst>
              <a:gd name="adj1" fmla="val 38763"/>
              <a:gd name="adj2" fmla="val 102772"/>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1091" name="Group 1090"/>
          <p:cNvGrpSpPr/>
          <p:nvPr/>
        </p:nvGrpSpPr>
        <p:grpSpPr>
          <a:xfrm>
            <a:off x="212868" y="179809"/>
            <a:ext cx="528555" cy="752153"/>
            <a:chOff x="212868" y="179809"/>
            <a:chExt cx="528555" cy="752153"/>
          </a:xfrm>
        </p:grpSpPr>
        <p:sp>
          <p:nvSpPr>
            <p:cNvPr id="1092"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093" name="Group 1092"/>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094"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95"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96"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97"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99"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100"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102"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103"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8851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511629" y="666867"/>
            <a:ext cx="3302507" cy="538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smtClean="0">
                <a:ln>
                  <a:noFill/>
                </a:ln>
                <a:solidFill>
                  <a:schemeClr val="bg1"/>
                </a:solidFill>
                <a:effectLst/>
                <a:uLnTx/>
                <a:uFillTx/>
                <a:latin typeface="Segoe UI" panose="020B0502040204020203" pitchFamily="34" charset="0"/>
                <a:ea typeface="Calibri" panose="020F0502020204030204" pitchFamily="34" charset="0"/>
                <a:cs typeface="Segoe UI" panose="020B0502040204020203" pitchFamily="34" charset="0"/>
              </a:rPr>
              <a:t>4. Review the Azure Pass offer and click “Activate.”</a:t>
            </a:r>
            <a:br>
              <a:rPr kumimoji="0" lang="en-US" altLang="en-US" sz="1100" b="0" i="0" u="none" strike="noStrike" kern="0" cap="none" spc="0" normalizeH="0" baseline="0" noProof="0" dirty="0" smtClean="0">
                <a:ln>
                  <a:noFill/>
                </a:ln>
                <a:solidFill>
                  <a:schemeClr val="bg1"/>
                </a:solidFill>
                <a:effectLst/>
                <a:uLnTx/>
                <a:uFillTx/>
                <a:latin typeface="Segoe UI" panose="020B0502040204020203" pitchFamily="34" charset="0"/>
                <a:ea typeface="Calibri" panose="020F0502020204030204" pitchFamily="34" charset="0"/>
                <a:cs typeface="Segoe UI" panose="020B0502040204020203" pitchFamily="34" charset="0"/>
              </a:rPr>
            </a:br>
            <a:endParaRPr kumimoji="0" lang="en-US" altLang="en-US" sz="1800" b="0" i="0" u="none" strike="noStrike" kern="0" cap="none" spc="0" normalizeH="0" baseline="0" noProof="0" dirty="0" smtClean="0">
              <a:ln>
                <a:noFill/>
              </a:ln>
              <a:solidFill>
                <a:schemeClr val="bg1"/>
              </a:solidFill>
              <a:effectLst/>
              <a:uLnTx/>
              <a:uFillTx/>
              <a:latin typeface="Arial" panose="020B0604020202020204" pitchFamily="34" charset="0"/>
            </a:endParaRPr>
          </a:p>
        </p:txBody>
      </p:sp>
      <p:pic>
        <p:nvPicPr>
          <p:cNvPr id="3073" name="Picture 5" descr="cid:image009.png@01CFE973.7201DFB0"/>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2517300" y="1639822"/>
            <a:ext cx="6825343" cy="4922122"/>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a:spLocks noGrp="1"/>
          </p:cNvSpPr>
          <p:nvPr>
            <p:ph type="title"/>
          </p:nvPr>
        </p:nvSpPr>
        <p:spPr>
          <a:xfrm>
            <a:off x="114719" y="104753"/>
            <a:ext cx="10515600" cy="1325563"/>
          </a:xfrm>
        </p:spPr>
        <p:txBody>
          <a:bodyPr>
            <a:normAutofit/>
          </a:bodyPr>
          <a:lstStyle/>
          <a:p>
            <a:r>
              <a:rPr lang="en-GB" sz="5400" dirty="0" smtClean="0">
                <a:solidFill>
                  <a:schemeClr val="bg1"/>
                </a:solidFill>
                <a:latin typeface="Segoe UI Light" panose="020B0502040204020203" pitchFamily="34" charset="0"/>
                <a:cs typeface="Segoe UI Light" panose="020B0502040204020203" pitchFamily="34" charset="0"/>
              </a:rPr>
              <a:t>Redeem Azure Credit</a:t>
            </a:r>
            <a:endParaRPr lang="en-GB" sz="5400" dirty="0">
              <a:solidFill>
                <a:schemeClr val="bg1"/>
              </a:solidFill>
              <a:latin typeface="Segoe UI Light" panose="020B0502040204020203" pitchFamily="34" charset="0"/>
              <a:cs typeface="Segoe UI Light" panose="020B0502040204020203" pitchFamily="34" charset="0"/>
            </a:endParaRPr>
          </a:p>
        </p:txBody>
      </p:sp>
      <p:grpSp>
        <p:nvGrpSpPr>
          <p:cNvPr id="8" name="Group 7"/>
          <p:cNvGrpSpPr/>
          <p:nvPr/>
        </p:nvGrpSpPr>
        <p:grpSpPr>
          <a:xfrm>
            <a:off x="1588" y="-52466"/>
            <a:ext cx="12195175" cy="945292"/>
            <a:chOff x="1588" y="0"/>
            <a:chExt cx="12195175" cy="945292"/>
          </a:xfrm>
        </p:grpSpPr>
        <p:sp>
          <p:nvSpPr>
            <p:cNvPr id="9"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Redeem</a:t>
              </a:r>
              <a:r>
                <a:rPr kumimoji="0" lang="en-GB" sz="3400" b="0" i="0" u="none" strike="noStrike" kern="1200" cap="none" spc="-100" normalizeH="0" noProof="0" dirty="0" smtClean="0">
                  <a:ln w="3175">
                    <a:noFill/>
                  </a:ln>
                  <a:solidFill>
                    <a:srgbClr val="FFFFFF"/>
                  </a:solidFill>
                  <a:effectLst/>
                  <a:uLnTx/>
                  <a:uFillTx/>
                  <a:latin typeface="Segoe UI Light" pitchFamily="34" charset="0"/>
                  <a:ea typeface="+mn-ea"/>
                  <a:cs typeface="Arial" charset="0"/>
                </a:rPr>
                <a:t> Azure Credit</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10" name="Rectangle 9"/>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 name="Group 11"/>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5"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6"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9"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0"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18943850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370114" y="617200"/>
            <a:ext cx="11179628" cy="538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smtClean="0">
                <a:ln>
                  <a:noFill/>
                </a:ln>
                <a:solidFill>
                  <a:schemeClr val="bg1"/>
                </a:solidFill>
                <a:effectLst/>
                <a:uLnTx/>
                <a:uFillTx/>
                <a:latin typeface="Segoe UI" panose="020B0502040204020203" pitchFamily="34" charset="0"/>
                <a:ea typeface="Calibri" panose="020F0502020204030204" pitchFamily="34" charset="0"/>
                <a:cs typeface="Segoe UI" panose="020B0502040204020203" pitchFamily="34" charset="0"/>
              </a:rPr>
              <a:t>5. Fill out the rest of the required information and click “Sign up.”</a:t>
            </a:r>
            <a:br>
              <a:rPr kumimoji="0" lang="en-US" altLang="en-US" sz="1100" b="0" i="0" u="none" strike="noStrike" kern="0" cap="none" spc="0" normalizeH="0" baseline="0" noProof="0" dirty="0" smtClean="0">
                <a:ln>
                  <a:noFill/>
                </a:ln>
                <a:solidFill>
                  <a:schemeClr val="bg1"/>
                </a:solidFill>
                <a:effectLst/>
                <a:uLnTx/>
                <a:uFillTx/>
                <a:latin typeface="Segoe UI" panose="020B0502040204020203" pitchFamily="34" charset="0"/>
                <a:ea typeface="Calibri" panose="020F0502020204030204" pitchFamily="34" charset="0"/>
                <a:cs typeface="Segoe UI" panose="020B0502040204020203" pitchFamily="34" charset="0"/>
              </a:rPr>
            </a:br>
            <a:endParaRPr kumimoji="0" lang="en-US" altLang="en-US" sz="1800" b="0" i="0" u="none" strike="noStrike" kern="0" cap="none" spc="0" normalizeH="0" baseline="0" noProof="0" dirty="0" smtClean="0">
              <a:ln>
                <a:noFill/>
              </a:ln>
              <a:solidFill>
                <a:schemeClr val="bg1"/>
              </a:solidFill>
              <a:effectLst/>
              <a:uLnTx/>
              <a:uFillTx/>
              <a:latin typeface="Arial" panose="020B0604020202020204" pitchFamily="34" charset="0"/>
            </a:endParaRPr>
          </a:p>
        </p:txBody>
      </p:sp>
      <p:pic>
        <p:nvPicPr>
          <p:cNvPr id="4097" name="Picture 6" descr="cid:image010.png@01CFE973.7201DFB0"/>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2574470" y="1906147"/>
            <a:ext cx="6770915" cy="4067747"/>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a:spLocks noGrp="1"/>
          </p:cNvSpPr>
          <p:nvPr>
            <p:ph type="title"/>
          </p:nvPr>
        </p:nvSpPr>
        <p:spPr>
          <a:xfrm>
            <a:off x="114719" y="104753"/>
            <a:ext cx="10515600" cy="1325563"/>
          </a:xfrm>
        </p:spPr>
        <p:txBody>
          <a:bodyPr>
            <a:normAutofit/>
          </a:bodyPr>
          <a:lstStyle/>
          <a:p>
            <a:r>
              <a:rPr lang="en-GB" sz="5400" dirty="0" smtClean="0">
                <a:solidFill>
                  <a:schemeClr val="bg1"/>
                </a:solidFill>
                <a:latin typeface="Segoe UI Light" panose="020B0502040204020203" pitchFamily="34" charset="0"/>
                <a:cs typeface="Segoe UI Light" panose="020B0502040204020203" pitchFamily="34" charset="0"/>
              </a:rPr>
              <a:t>Redeem Azure Credit</a:t>
            </a:r>
            <a:endParaRPr lang="en-GB" sz="5400" dirty="0">
              <a:solidFill>
                <a:schemeClr val="bg1"/>
              </a:solidFill>
              <a:latin typeface="Segoe UI Light" panose="020B0502040204020203" pitchFamily="34" charset="0"/>
              <a:cs typeface="Segoe UI Light" panose="020B0502040204020203" pitchFamily="34" charset="0"/>
            </a:endParaRPr>
          </a:p>
        </p:txBody>
      </p:sp>
      <p:grpSp>
        <p:nvGrpSpPr>
          <p:cNvPr id="8" name="Group 7"/>
          <p:cNvGrpSpPr/>
          <p:nvPr/>
        </p:nvGrpSpPr>
        <p:grpSpPr>
          <a:xfrm>
            <a:off x="1588" y="-52466"/>
            <a:ext cx="12195175" cy="945292"/>
            <a:chOff x="1588" y="0"/>
            <a:chExt cx="12195175" cy="945292"/>
          </a:xfrm>
        </p:grpSpPr>
        <p:sp>
          <p:nvSpPr>
            <p:cNvPr id="9"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Redeem</a:t>
              </a:r>
              <a:r>
                <a:rPr kumimoji="0" lang="en-GB" sz="3400" b="0" i="0" u="none" strike="noStrike" kern="1200" cap="none" spc="-100" normalizeH="0" noProof="0" dirty="0" smtClean="0">
                  <a:ln w="3175">
                    <a:noFill/>
                  </a:ln>
                  <a:solidFill>
                    <a:srgbClr val="FFFFFF"/>
                  </a:solidFill>
                  <a:effectLst/>
                  <a:uLnTx/>
                  <a:uFillTx/>
                  <a:latin typeface="Segoe UI Light" pitchFamily="34" charset="0"/>
                  <a:ea typeface="+mn-ea"/>
                  <a:cs typeface="Arial" charset="0"/>
                </a:rPr>
                <a:t> Azure Credit</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10" name="Rectangle 9"/>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 name="Group 11"/>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5"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6"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9"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0"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370495649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533400" y="579782"/>
            <a:ext cx="3475631" cy="538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smtClean="0">
                <a:ln>
                  <a:noFill/>
                </a:ln>
                <a:solidFill>
                  <a:schemeClr val="bg1"/>
                </a:solidFill>
                <a:effectLst/>
                <a:uLnTx/>
                <a:uFillTx/>
                <a:latin typeface="Segoe UI" panose="020B0502040204020203" pitchFamily="34" charset="0"/>
                <a:ea typeface="Calibri" panose="020F0502020204030204" pitchFamily="34" charset="0"/>
                <a:cs typeface="Segoe UI" panose="020B0502040204020203" pitchFamily="34" charset="0"/>
              </a:rPr>
              <a:t>6. The subscription will take 3-10 minutes to activate.</a:t>
            </a:r>
            <a:br>
              <a:rPr kumimoji="0" lang="en-US" altLang="en-US" sz="1100" b="0" i="0" u="none" strike="noStrike" kern="0" cap="none" spc="0" normalizeH="0" baseline="0" noProof="0" dirty="0" smtClean="0">
                <a:ln>
                  <a:noFill/>
                </a:ln>
                <a:solidFill>
                  <a:schemeClr val="bg1"/>
                </a:solidFill>
                <a:effectLst/>
                <a:uLnTx/>
                <a:uFillTx/>
                <a:latin typeface="Segoe UI" panose="020B0502040204020203" pitchFamily="34" charset="0"/>
                <a:ea typeface="Calibri" panose="020F0502020204030204" pitchFamily="34" charset="0"/>
                <a:cs typeface="Segoe UI" panose="020B0502040204020203" pitchFamily="34" charset="0"/>
              </a:rPr>
            </a:br>
            <a:endParaRPr kumimoji="0" lang="en-US" altLang="en-US" sz="1800" b="0" i="0" u="none" strike="noStrike" kern="0" cap="none" spc="0" normalizeH="0" baseline="0" noProof="0" dirty="0" smtClean="0">
              <a:ln>
                <a:noFill/>
              </a:ln>
              <a:solidFill>
                <a:schemeClr val="bg1"/>
              </a:solidFill>
              <a:effectLst/>
              <a:uLnTx/>
              <a:uFillTx/>
              <a:latin typeface="Arial" panose="020B0604020202020204" pitchFamily="34" charset="0"/>
            </a:endParaRPr>
          </a:p>
        </p:txBody>
      </p:sp>
      <p:pic>
        <p:nvPicPr>
          <p:cNvPr id="5121" name="Picture 7" descr="cid:image017.png@01CFE973.7201DFB0"/>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1569922" y="1905345"/>
            <a:ext cx="8725567" cy="3439887"/>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a:spLocks noGrp="1"/>
          </p:cNvSpPr>
          <p:nvPr>
            <p:ph type="title"/>
          </p:nvPr>
        </p:nvSpPr>
        <p:spPr>
          <a:xfrm>
            <a:off x="114719" y="104753"/>
            <a:ext cx="10515600" cy="1325563"/>
          </a:xfrm>
        </p:spPr>
        <p:txBody>
          <a:bodyPr>
            <a:normAutofit/>
          </a:bodyPr>
          <a:lstStyle/>
          <a:p>
            <a:r>
              <a:rPr lang="en-GB" sz="5400" dirty="0" smtClean="0">
                <a:solidFill>
                  <a:schemeClr val="bg1"/>
                </a:solidFill>
                <a:latin typeface="Segoe UI Light" panose="020B0502040204020203" pitchFamily="34" charset="0"/>
                <a:cs typeface="Segoe UI Light" panose="020B0502040204020203" pitchFamily="34" charset="0"/>
              </a:rPr>
              <a:t>Redeem Azure Credit</a:t>
            </a:r>
            <a:endParaRPr lang="en-GB" sz="5400" dirty="0">
              <a:solidFill>
                <a:schemeClr val="bg1"/>
              </a:solidFill>
              <a:latin typeface="Segoe UI Light" panose="020B0502040204020203" pitchFamily="34" charset="0"/>
              <a:cs typeface="Segoe UI Light" panose="020B0502040204020203" pitchFamily="34" charset="0"/>
            </a:endParaRPr>
          </a:p>
        </p:txBody>
      </p:sp>
      <p:grpSp>
        <p:nvGrpSpPr>
          <p:cNvPr id="8" name="Group 7"/>
          <p:cNvGrpSpPr/>
          <p:nvPr/>
        </p:nvGrpSpPr>
        <p:grpSpPr>
          <a:xfrm>
            <a:off x="1588" y="-52466"/>
            <a:ext cx="12195175" cy="945292"/>
            <a:chOff x="1588" y="0"/>
            <a:chExt cx="12195175" cy="945292"/>
          </a:xfrm>
        </p:grpSpPr>
        <p:sp>
          <p:nvSpPr>
            <p:cNvPr id="9"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Redeem</a:t>
              </a:r>
              <a:r>
                <a:rPr kumimoji="0" lang="en-GB" sz="3400" b="0" i="0" u="none" strike="noStrike" kern="1200" cap="none" spc="-100" normalizeH="0" noProof="0" dirty="0" smtClean="0">
                  <a:ln w="3175">
                    <a:noFill/>
                  </a:ln>
                  <a:solidFill>
                    <a:srgbClr val="FFFFFF"/>
                  </a:solidFill>
                  <a:effectLst/>
                  <a:uLnTx/>
                  <a:uFillTx/>
                  <a:latin typeface="Segoe UI Light" pitchFamily="34" charset="0"/>
                  <a:ea typeface="+mn-ea"/>
                  <a:cs typeface="Arial" charset="0"/>
                </a:rPr>
                <a:t> Azure Credit</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10" name="Rectangle 9"/>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 name="Group 11"/>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5"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6"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9"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0"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11527628"/>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nvSpPr>
        <p:spPr bwMode="auto">
          <a:xfrm>
            <a:off x="674914" y="688639"/>
            <a:ext cx="4004622" cy="538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smtClean="0">
                <a:ln>
                  <a:noFill/>
                </a:ln>
                <a:solidFill>
                  <a:schemeClr val="bg1"/>
                </a:solidFill>
                <a:effectLst/>
                <a:uLnTx/>
                <a:uFillTx/>
                <a:latin typeface="Segoe UI" panose="020B0502040204020203" pitchFamily="34" charset="0"/>
                <a:ea typeface="Calibri" panose="020F0502020204030204" pitchFamily="34" charset="0"/>
                <a:cs typeface="Segoe UI" panose="020B0502040204020203" pitchFamily="34" charset="0"/>
              </a:rPr>
              <a:t>7. Once activated, you will be redirected to the summary page</a:t>
            </a:r>
            <a:br>
              <a:rPr kumimoji="0" lang="en-US" altLang="en-US" sz="1100" b="0" i="0" u="none" strike="noStrike" kern="0" cap="none" spc="0" normalizeH="0" baseline="0" noProof="0" dirty="0" smtClean="0">
                <a:ln>
                  <a:noFill/>
                </a:ln>
                <a:solidFill>
                  <a:schemeClr val="bg1"/>
                </a:solidFill>
                <a:effectLst/>
                <a:uLnTx/>
                <a:uFillTx/>
                <a:latin typeface="Segoe UI" panose="020B0502040204020203" pitchFamily="34" charset="0"/>
                <a:ea typeface="Calibri" panose="020F0502020204030204" pitchFamily="34" charset="0"/>
                <a:cs typeface="Segoe UI" panose="020B0502040204020203" pitchFamily="34" charset="0"/>
              </a:rPr>
            </a:br>
            <a:endParaRPr kumimoji="0" lang="en-US" altLang="en-US" sz="1800" b="0" i="0" u="none" strike="noStrike" kern="0" cap="none" spc="0" normalizeH="0" baseline="0" noProof="0" dirty="0" smtClean="0">
              <a:ln>
                <a:noFill/>
              </a:ln>
              <a:solidFill>
                <a:schemeClr val="bg1"/>
              </a:solidFill>
              <a:effectLst/>
              <a:uLnTx/>
              <a:uFillTx/>
              <a:latin typeface="Arial" panose="020B0604020202020204" pitchFamily="34" charset="0"/>
            </a:endParaRPr>
          </a:p>
        </p:txBody>
      </p:sp>
      <p:pic>
        <p:nvPicPr>
          <p:cNvPr id="8193" name="Picture 8" descr="cid:image019.png@01CFE973.7201DFB0"/>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2524474" y="1811134"/>
            <a:ext cx="6564086" cy="4241409"/>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a:spLocks noGrp="1"/>
          </p:cNvSpPr>
          <p:nvPr>
            <p:ph type="title"/>
          </p:nvPr>
        </p:nvSpPr>
        <p:spPr>
          <a:xfrm>
            <a:off x="114719" y="104753"/>
            <a:ext cx="10515600" cy="1325563"/>
          </a:xfrm>
        </p:spPr>
        <p:txBody>
          <a:bodyPr>
            <a:normAutofit/>
          </a:bodyPr>
          <a:lstStyle/>
          <a:p>
            <a:r>
              <a:rPr lang="en-GB" sz="5400" dirty="0" smtClean="0">
                <a:solidFill>
                  <a:schemeClr val="bg1"/>
                </a:solidFill>
                <a:latin typeface="Segoe UI Light" panose="020B0502040204020203" pitchFamily="34" charset="0"/>
                <a:cs typeface="Segoe UI Light" panose="020B0502040204020203" pitchFamily="34" charset="0"/>
              </a:rPr>
              <a:t>Redeem Azure Credit</a:t>
            </a:r>
            <a:endParaRPr lang="en-GB" sz="5400" dirty="0">
              <a:solidFill>
                <a:schemeClr val="bg1"/>
              </a:solidFill>
              <a:latin typeface="Segoe UI Light" panose="020B0502040204020203" pitchFamily="34" charset="0"/>
              <a:cs typeface="Segoe UI Light" panose="020B0502040204020203" pitchFamily="34" charset="0"/>
            </a:endParaRPr>
          </a:p>
        </p:txBody>
      </p:sp>
      <p:grpSp>
        <p:nvGrpSpPr>
          <p:cNvPr id="8" name="Group 7"/>
          <p:cNvGrpSpPr/>
          <p:nvPr/>
        </p:nvGrpSpPr>
        <p:grpSpPr>
          <a:xfrm>
            <a:off x="1588" y="-52466"/>
            <a:ext cx="12195175" cy="945292"/>
            <a:chOff x="1588" y="0"/>
            <a:chExt cx="12195175" cy="945292"/>
          </a:xfrm>
        </p:grpSpPr>
        <p:sp>
          <p:nvSpPr>
            <p:cNvPr id="9"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Redeem</a:t>
              </a:r>
              <a:r>
                <a:rPr kumimoji="0" lang="en-GB" sz="3400" b="0" i="0" u="none" strike="noStrike" kern="1200" cap="none" spc="-100" normalizeH="0" noProof="0" dirty="0" smtClean="0">
                  <a:ln w="3175">
                    <a:noFill/>
                  </a:ln>
                  <a:solidFill>
                    <a:srgbClr val="FFFFFF"/>
                  </a:solidFill>
                  <a:effectLst/>
                  <a:uLnTx/>
                  <a:uFillTx/>
                  <a:latin typeface="Segoe UI Light" pitchFamily="34" charset="0"/>
                  <a:ea typeface="+mn-ea"/>
                  <a:cs typeface="Arial" charset="0"/>
                </a:rPr>
                <a:t> Azure Credit</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10" name="Rectangle 9"/>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 name="Group 11"/>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5"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6"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7"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8"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9"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20"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378897108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11" name="Rectangle 7"/>
          <p:cNvSpPr/>
          <p:nvPr/>
        </p:nvSpPr>
        <p:spPr bwMode="auto">
          <a:xfrm rot="10800000" flipH="1">
            <a:off x="223844" y="2090115"/>
            <a:ext cx="9649731" cy="511672"/>
          </a:xfrm>
          <a:prstGeom prst="rect">
            <a:avLst/>
          </a:prstGeom>
          <a:gradFill>
            <a:gsLst>
              <a:gs pos="0">
                <a:schemeClr val="accent1">
                  <a:lumMod val="50000"/>
                </a:schemeClr>
              </a:gs>
              <a:gs pos="100000">
                <a:srgbClr val="005F70">
                  <a:alpha val="0"/>
                </a:srgbClr>
              </a:gs>
            </a:gsLst>
            <a:lin ang="16200000" scaled="0"/>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60" name="Rounded Rectangle 1239"/>
          <p:cNvSpPr/>
          <p:nvPr/>
        </p:nvSpPr>
        <p:spPr bwMode="auto">
          <a:xfrm flipH="1">
            <a:off x="3497696" y="2123793"/>
            <a:ext cx="3388340" cy="2311320"/>
          </a:xfrm>
          <a:custGeom>
            <a:avLst/>
            <a:gdLst>
              <a:gd name="connsiteX0" fmla="*/ 840255 w 3391243"/>
              <a:gd name="connsiteY0" fmla="*/ 0 h 2052887"/>
              <a:gd name="connsiteX1" fmla="*/ 261965 w 3391243"/>
              <a:gd name="connsiteY1" fmla="*/ 0 h 2052887"/>
              <a:gd name="connsiteX2" fmla="*/ 0 w 3391243"/>
              <a:gd name="connsiteY2" fmla="*/ 1953211 h 2052887"/>
              <a:gd name="connsiteX3" fmla="*/ 1090345 w 3391243"/>
              <a:gd name="connsiteY3" fmla="*/ 2052887 h 2052887"/>
              <a:gd name="connsiteX4" fmla="*/ 1074294 w 3391243"/>
              <a:gd name="connsiteY4" fmla="*/ 1744991 h 2052887"/>
              <a:gd name="connsiteX5" fmla="*/ 1181473 w 3391243"/>
              <a:gd name="connsiteY5" fmla="*/ 681937 h 2052887"/>
              <a:gd name="connsiteX6" fmla="*/ 1537734 w 3391243"/>
              <a:gd name="connsiteY6" fmla="*/ 414009 h 2052887"/>
              <a:gd name="connsiteX7" fmla="*/ 3391243 w 3391243"/>
              <a:gd name="connsiteY7" fmla="*/ 414009 h 2052887"/>
              <a:gd name="connsiteX8" fmla="*/ 3391243 w 3391243"/>
              <a:gd name="connsiteY8" fmla="*/ 198901 h 2052887"/>
              <a:gd name="connsiteX9" fmla="*/ 1427626 w 3391243"/>
              <a:gd name="connsiteY9" fmla="*/ 198901 h 2052887"/>
              <a:gd name="connsiteX10" fmla="*/ 898722 w 3391243"/>
              <a:gd name="connsiteY10" fmla="*/ 435929 h 2052887"/>
              <a:gd name="connsiteX11" fmla="*/ 840255 w 3391243"/>
              <a:gd name="connsiteY11" fmla="*/ 0 h 2052887"/>
              <a:gd name="connsiteX0" fmla="*/ 840255 w 3391243"/>
              <a:gd name="connsiteY0" fmla="*/ 0 h 2052887"/>
              <a:gd name="connsiteX1" fmla="*/ 261965 w 3391243"/>
              <a:gd name="connsiteY1" fmla="*/ 0 h 2052887"/>
              <a:gd name="connsiteX2" fmla="*/ 0 w 3391243"/>
              <a:gd name="connsiteY2" fmla="*/ 2047642 h 2052887"/>
              <a:gd name="connsiteX3" fmla="*/ 1090345 w 3391243"/>
              <a:gd name="connsiteY3" fmla="*/ 2052887 h 2052887"/>
              <a:gd name="connsiteX4" fmla="*/ 1074294 w 3391243"/>
              <a:gd name="connsiteY4" fmla="*/ 1744991 h 2052887"/>
              <a:gd name="connsiteX5" fmla="*/ 1181473 w 3391243"/>
              <a:gd name="connsiteY5" fmla="*/ 681937 h 2052887"/>
              <a:gd name="connsiteX6" fmla="*/ 1537734 w 3391243"/>
              <a:gd name="connsiteY6" fmla="*/ 414009 h 2052887"/>
              <a:gd name="connsiteX7" fmla="*/ 3391243 w 3391243"/>
              <a:gd name="connsiteY7" fmla="*/ 414009 h 2052887"/>
              <a:gd name="connsiteX8" fmla="*/ 3391243 w 3391243"/>
              <a:gd name="connsiteY8" fmla="*/ 198901 h 2052887"/>
              <a:gd name="connsiteX9" fmla="*/ 1427626 w 3391243"/>
              <a:gd name="connsiteY9" fmla="*/ 198901 h 2052887"/>
              <a:gd name="connsiteX10" fmla="*/ 898722 w 3391243"/>
              <a:gd name="connsiteY10" fmla="*/ 435929 h 2052887"/>
              <a:gd name="connsiteX11" fmla="*/ 840255 w 3391243"/>
              <a:gd name="connsiteY11" fmla="*/ 0 h 2052887"/>
              <a:gd name="connsiteX0" fmla="*/ 837352 w 3388340"/>
              <a:gd name="connsiteY0" fmla="*/ 0 h 2055387"/>
              <a:gd name="connsiteX1" fmla="*/ 259062 w 3388340"/>
              <a:gd name="connsiteY1" fmla="*/ 0 h 2055387"/>
              <a:gd name="connsiteX2" fmla="*/ 0 w 3388340"/>
              <a:gd name="connsiteY2" fmla="*/ 2055387 h 2055387"/>
              <a:gd name="connsiteX3" fmla="*/ 1087442 w 3388340"/>
              <a:gd name="connsiteY3" fmla="*/ 2052887 h 2055387"/>
              <a:gd name="connsiteX4" fmla="*/ 1071391 w 3388340"/>
              <a:gd name="connsiteY4" fmla="*/ 1744991 h 2055387"/>
              <a:gd name="connsiteX5" fmla="*/ 1178570 w 3388340"/>
              <a:gd name="connsiteY5" fmla="*/ 681937 h 2055387"/>
              <a:gd name="connsiteX6" fmla="*/ 1534831 w 3388340"/>
              <a:gd name="connsiteY6" fmla="*/ 414009 h 2055387"/>
              <a:gd name="connsiteX7" fmla="*/ 3388340 w 3388340"/>
              <a:gd name="connsiteY7" fmla="*/ 414009 h 2055387"/>
              <a:gd name="connsiteX8" fmla="*/ 3388340 w 3388340"/>
              <a:gd name="connsiteY8" fmla="*/ 198901 h 2055387"/>
              <a:gd name="connsiteX9" fmla="*/ 1424723 w 3388340"/>
              <a:gd name="connsiteY9" fmla="*/ 198901 h 2055387"/>
              <a:gd name="connsiteX10" fmla="*/ 895819 w 3388340"/>
              <a:gd name="connsiteY10" fmla="*/ 435929 h 2055387"/>
              <a:gd name="connsiteX11" fmla="*/ 837352 w 3388340"/>
              <a:gd name="connsiteY11" fmla="*/ 0 h 205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88340" h="2055387">
                <a:moveTo>
                  <a:pt x="837352" y="0"/>
                </a:moveTo>
                <a:lnTo>
                  <a:pt x="259062" y="0"/>
                </a:lnTo>
                <a:lnTo>
                  <a:pt x="0" y="2055387"/>
                </a:lnTo>
                <a:lnTo>
                  <a:pt x="1087442" y="2052887"/>
                </a:lnTo>
                <a:cubicBezTo>
                  <a:pt x="1078133" y="1983480"/>
                  <a:pt x="1080700" y="1814398"/>
                  <a:pt x="1071391" y="1744991"/>
                </a:cubicBezTo>
                <a:cubicBezTo>
                  <a:pt x="1100628" y="651987"/>
                  <a:pt x="1163538" y="790637"/>
                  <a:pt x="1178570" y="681937"/>
                </a:cubicBezTo>
                <a:cubicBezTo>
                  <a:pt x="1203854" y="588744"/>
                  <a:pt x="1338074" y="414009"/>
                  <a:pt x="1534831" y="414009"/>
                </a:cubicBezTo>
                <a:lnTo>
                  <a:pt x="3388340" y="414009"/>
                </a:lnTo>
                <a:lnTo>
                  <a:pt x="3388340" y="198901"/>
                </a:lnTo>
                <a:lnTo>
                  <a:pt x="1424723" y="198901"/>
                </a:lnTo>
                <a:cubicBezTo>
                  <a:pt x="1138364" y="219818"/>
                  <a:pt x="978912" y="312897"/>
                  <a:pt x="895819" y="435929"/>
                </a:cubicBezTo>
                <a:lnTo>
                  <a:pt x="837352" y="0"/>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99" name="Rectangle 143"/>
          <p:cNvSpPr>
            <a:spLocks noChangeArrowheads="1"/>
          </p:cNvSpPr>
          <p:nvPr/>
        </p:nvSpPr>
        <p:spPr bwMode="auto">
          <a:xfrm rot="16200000">
            <a:off x="6206701" y="3724979"/>
            <a:ext cx="169575" cy="42168"/>
          </a:xfrm>
          <a:prstGeom prst="rect">
            <a:avLst/>
          </a:prstGeom>
          <a:solidFill>
            <a:schemeClr val="tx1">
              <a:lumMod val="50000"/>
              <a:lumOff val="50000"/>
            </a:schemeClr>
          </a:solid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5" name="Rectangle 144"/>
          <p:cNvSpPr>
            <a:spLocks noChangeArrowheads="1"/>
          </p:cNvSpPr>
          <p:nvPr/>
        </p:nvSpPr>
        <p:spPr bwMode="auto">
          <a:xfrm rot="16200000">
            <a:off x="6206381" y="3438691"/>
            <a:ext cx="170214" cy="42168"/>
          </a:xfrm>
          <a:prstGeom prst="rect">
            <a:avLst/>
          </a:prstGeom>
          <a:solidFill>
            <a:schemeClr val="tx1">
              <a:lumMod val="50000"/>
              <a:lumOff val="50000"/>
            </a:schemeClr>
          </a:solid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6" name="Rectangle 145"/>
          <p:cNvSpPr>
            <a:spLocks noChangeArrowheads="1"/>
          </p:cNvSpPr>
          <p:nvPr/>
        </p:nvSpPr>
        <p:spPr bwMode="auto">
          <a:xfrm rot="16200000">
            <a:off x="6206381" y="3152084"/>
            <a:ext cx="170214" cy="42168"/>
          </a:xfrm>
          <a:prstGeom prst="rect">
            <a:avLst/>
          </a:prstGeom>
          <a:solidFill>
            <a:schemeClr val="tx1">
              <a:lumMod val="50000"/>
              <a:lumOff val="50000"/>
            </a:schemeClr>
          </a:solid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7" name="Rectangle 146"/>
          <p:cNvSpPr>
            <a:spLocks noChangeArrowheads="1"/>
          </p:cNvSpPr>
          <p:nvPr/>
        </p:nvSpPr>
        <p:spPr bwMode="auto">
          <a:xfrm rot="16200000">
            <a:off x="6206701" y="2865797"/>
            <a:ext cx="169575" cy="42168"/>
          </a:xfrm>
          <a:prstGeom prst="rect">
            <a:avLst/>
          </a:prstGeom>
          <a:solidFill>
            <a:schemeClr val="tx1">
              <a:lumMod val="50000"/>
              <a:lumOff val="50000"/>
            </a:schemeClr>
          </a:solid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8" name="Rectangle 147"/>
          <p:cNvSpPr>
            <a:spLocks noChangeArrowheads="1"/>
          </p:cNvSpPr>
          <p:nvPr/>
        </p:nvSpPr>
        <p:spPr bwMode="auto">
          <a:xfrm rot="16200000">
            <a:off x="6206381" y="2579509"/>
            <a:ext cx="170214" cy="42168"/>
          </a:xfrm>
          <a:prstGeom prst="rect">
            <a:avLst/>
          </a:prstGeom>
          <a:solidFill>
            <a:schemeClr val="tx1">
              <a:lumMod val="50000"/>
              <a:lumOff val="50000"/>
            </a:schemeClr>
          </a:solid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9" name="Rectangle 148"/>
          <p:cNvSpPr>
            <a:spLocks noChangeArrowheads="1"/>
          </p:cNvSpPr>
          <p:nvPr/>
        </p:nvSpPr>
        <p:spPr bwMode="auto">
          <a:xfrm rot="16200000">
            <a:off x="6222218" y="2319816"/>
            <a:ext cx="138540" cy="42168"/>
          </a:xfrm>
          <a:prstGeom prst="rect">
            <a:avLst/>
          </a:prstGeom>
          <a:solidFill>
            <a:schemeClr val="tx1">
              <a:lumMod val="50000"/>
              <a:lumOff val="50000"/>
            </a:schemeClr>
          </a:solid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20" name="Rectangle 143"/>
          <p:cNvSpPr>
            <a:spLocks noChangeArrowheads="1"/>
          </p:cNvSpPr>
          <p:nvPr/>
        </p:nvSpPr>
        <p:spPr bwMode="auto">
          <a:xfrm rot="16200000">
            <a:off x="6206267" y="4296915"/>
            <a:ext cx="169575" cy="42168"/>
          </a:xfrm>
          <a:prstGeom prst="rect">
            <a:avLst/>
          </a:prstGeom>
          <a:solidFill>
            <a:schemeClr val="tx1">
              <a:lumMod val="50000"/>
              <a:lumOff val="50000"/>
            </a:schemeClr>
          </a:solid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21" name="Rectangle 143"/>
          <p:cNvSpPr>
            <a:spLocks noChangeArrowheads="1"/>
          </p:cNvSpPr>
          <p:nvPr/>
        </p:nvSpPr>
        <p:spPr bwMode="auto">
          <a:xfrm rot="16200000">
            <a:off x="6203902" y="4010947"/>
            <a:ext cx="169575" cy="42168"/>
          </a:xfrm>
          <a:prstGeom prst="rect">
            <a:avLst/>
          </a:prstGeom>
          <a:solidFill>
            <a:schemeClr val="tx1">
              <a:lumMod val="50000"/>
              <a:lumOff val="50000"/>
            </a:schemeClr>
          </a:solid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04" name="Rectangle 503"/>
          <p:cNvSpPr/>
          <p:nvPr/>
        </p:nvSpPr>
        <p:spPr bwMode="auto">
          <a:xfrm>
            <a:off x="235943" y="2590647"/>
            <a:ext cx="4899013" cy="1209161"/>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61" name="Arc 1244"/>
          <p:cNvSpPr/>
          <p:nvPr/>
        </p:nvSpPr>
        <p:spPr>
          <a:xfrm>
            <a:off x="3494071" y="2491496"/>
            <a:ext cx="2431394" cy="835309"/>
          </a:xfrm>
          <a:custGeom>
            <a:avLst/>
            <a:gdLst>
              <a:gd name="connsiteX0" fmla="*/ 574565 w 1149130"/>
              <a:gd name="connsiteY0" fmla="*/ 0 h 1308237"/>
              <a:gd name="connsiteX1" fmla="*/ 1149130 w 1149130"/>
              <a:gd name="connsiteY1" fmla="*/ 654119 h 1308237"/>
              <a:gd name="connsiteX2" fmla="*/ 574565 w 1149130"/>
              <a:gd name="connsiteY2" fmla="*/ 654119 h 1308237"/>
              <a:gd name="connsiteX3" fmla="*/ 574565 w 1149130"/>
              <a:gd name="connsiteY3" fmla="*/ 0 h 1308237"/>
              <a:gd name="connsiteX0" fmla="*/ 574565 w 1149130"/>
              <a:gd name="connsiteY0" fmla="*/ 0 h 1308237"/>
              <a:gd name="connsiteX1" fmla="*/ 1149130 w 1149130"/>
              <a:gd name="connsiteY1" fmla="*/ 654119 h 1308237"/>
              <a:gd name="connsiteX0" fmla="*/ 1982419 w 2556984"/>
              <a:gd name="connsiteY0" fmla="*/ 0 h 654119"/>
              <a:gd name="connsiteX1" fmla="*/ 2556984 w 2556984"/>
              <a:gd name="connsiteY1" fmla="*/ 654119 h 654119"/>
              <a:gd name="connsiteX2" fmla="*/ 1982419 w 2556984"/>
              <a:gd name="connsiteY2" fmla="*/ 654119 h 654119"/>
              <a:gd name="connsiteX3" fmla="*/ 1982419 w 2556984"/>
              <a:gd name="connsiteY3" fmla="*/ 0 h 654119"/>
              <a:gd name="connsiteX0" fmla="*/ 0 w 2556984"/>
              <a:gd name="connsiteY0" fmla="*/ 21945 h 654119"/>
              <a:gd name="connsiteX1" fmla="*/ 2556984 w 2556984"/>
              <a:gd name="connsiteY1" fmla="*/ 654119 h 654119"/>
              <a:gd name="connsiteX0" fmla="*/ 1982419 w 2590955"/>
              <a:gd name="connsiteY0" fmla="*/ 0 h 654119"/>
              <a:gd name="connsiteX1" fmla="*/ 2556984 w 2590955"/>
              <a:gd name="connsiteY1" fmla="*/ 654119 h 654119"/>
              <a:gd name="connsiteX2" fmla="*/ 1982419 w 2590955"/>
              <a:gd name="connsiteY2" fmla="*/ 654119 h 654119"/>
              <a:gd name="connsiteX3" fmla="*/ 1982419 w 2590955"/>
              <a:gd name="connsiteY3" fmla="*/ 0 h 654119"/>
              <a:gd name="connsiteX0" fmla="*/ 0 w 2590955"/>
              <a:gd name="connsiteY0" fmla="*/ 21945 h 654119"/>
              <a:gd name="connsiteX1" fmla="*/ 2556984 w 2590955"/>
              <a:gd name="connsiteY1" fmla="*/ 654119 h 654119"/>
              <a:gd name="connsiteX0" fmla="*/ 1953159 w 2590955"/>
              <a:gd name="connsiteY0" fmla="*/ 117678 h 647439"/>
              <a:gd name="connsiteX1" fmla="*/ 2556984 w 2590955"/>
              <a:gd name="connsiteY1" fmla="*/ 647439 h 647439"/>
              <a:gd name="connsiteX2" fmla="*/ 1982419 w 2590955"/>
              <a:gd name="connsiteY2" fmla="*/ 647439 h 647439"/>
              <a:gd name="connsiteX3" fmla="*/ 1953159 w 2590955"/>
              <a:gd name="connsiteY3" fmla="*/ 117678 h 647439"/>
              <a:gd name="connsiteX0" fmla="*/ 0 w 2590955"/>
              <a:gd name="connsiteY0" fmla="*/ 15265 h 647439"/>
              <a:gd name="connsiteX1" fmla="*/ 2556984 w 2590955"/>
              <a:gd name="connsiteY1" fmla="*/ 647439 h 647439"/>
              <a:gd name="connsiteX0" fmla="*/ 2121408 w 2590955"/>
              <a:gd name="connsiteY0" fmla="*/ 1105230 h 1105230"/>
              <a:gd name="connsiteX1" fmla="*/ 2556984 w 2590955"/>
              <a:gd name="connsiteY1" fmla="*/ 647439 h 1105230"/>
              <a:gd name="connsiteX2" fmla="*/ 1982419 w 2590955"/>
              <a:gd name="connsiteY2" fmla="*/ 647439 h 1105230"/>
              <a:gd name="connsiteX3" fmla="*/ 2121408 w 2590955"/>
              <a:gd name="connsiteY3" fmla="*/ 1105230 h 1105230"/>
              <a:gd name="connsiteX0" fmla="*/ 0 w 2590955"/>
              <a:gd name="connsiteY0" fmla="*/ 15265 h 1105230"/>
              <a:gd name="connsiteX1" fmla="*/ 2556984 w 2590955"/>
              <a:gd name="connsiteY1" fmla="*/ 647439 h 1105230"/>
              <a:gd name="connsiteX0" fmla="*/ 2121408 w 2692112"/>
              <a:gd name="connsiteY0" fmla="*/ 1089965 h 1089965"/>
              <a:gd name="connsiteX1" fmla="*/ 2556984 w 2692112"/>
              <a:gd name="connsiteY1" fmla="*/ 632174 h 1089965"/>
              <a:gd name="connsiteX2" fmla="*/ 1982419 w 2692112"/>
              <a:gd name="connsiteY2" fmla="*/ 632174 h 1089965"/>
              <a:gd name="connsiteX3" fmla="*/ 2121408 w 2692112"/>
              <a:gd name="connsiteY3" fmla="*/ 1089965 h 1089965"/>
              <a:gd name="connsiteX0" fmla="*/ 0 w 2692112"/>
              <a:gd name="connsiteY0" fmla="*/ 0 h 1089965"/>
              <a:gd name="connsiteX1" fmla="*/ 2060927 w 2692112"/>
              <a:gd name="connsiteY1" fmla="*/ 36692 h 1089965"/>
              <a:gd name="connsiteX2" fmla="*/ 2556984 w 2692112"/>
              <a:gd name="connsiteY2" fmla="*/ 632174 h 1089965"/>
              <a:gd name="connsiteX0" fmla="*/ 2121408 w 2593271"/>
              <a:gd name="connsiteY0" fmla="*/ 1136357 h 1136357"/>
              <a:gd name="connsiteX1" fmla="*/ 2556984 w 2593271"/>
              <a:gd name="connsiteY1" fmla="*/ 678566 h 1136357"/>
              <a:gd name="connsiteX2" fmla="*/ 1982419 w 2593271"/>
              <a:gd name="connsiteY2" fmla="*/ 678566 h 1136357"/>
              <a:gd name="connsiteX3" fmla="*/ 2121408 w 2593271"/>
              <a:gd name="connsiteY3" fmla="*/ 1136357 h 1136357"/>
              <a:gd name="connsiteX0" fmla="*/ 0 w 2593271"/>
              <a:gd name="connsiteY0" fmla="*/ 46392 h 1136357"/>
              <a:gd name="connsiteX1" fmla="*/ 1819526 w 2593271"/>
              <a:gd name="connsiteY1" fmla="*/ 24562 h 1136357"/>
              <a:gd name="connsiteX2" fmla="*/ 2556984 w 2593271"/>
              <a:gd name="connsiteY2" fmla="*/ 678566 h 1136357"/>
              <a:gd name="connsiteX0" fmla="*/ 2121408 w 2556984"/>
              <a:gd name="connsiteY0" fmla="*/ 1111796 h 1111796"/>
              <a:gd name="connsiteX1" fmla="*/ 2556984 w 2556984"/>
              <a:gd name="connsiteY1" fmla="*/ 654005 h 1111796"/>
              <a:gd name="connsiteX2" fmla="*/ 1982419 w 2556984"/>
              <a:gd name="connsiteY2" fmla="*/ 654005 h 1111796"/>
              <a:gd name="connsiteX3" fmla="*/ 2121408 w 2556984"/>
              <a:gd name="connsiteY3" fmla="*/ 1111796 h 1111796"/>
              <a:gd name="connsiteX0" fmla="*/ 0 w 2556984"/>
              <a:gd name="connsiteY0" fmla="*/ 21831 h 1111796"/>
              <a:gd name="connsiteX1" fmla="*/ 1819526 w 2556984"/>
              <a:gd name="connsiteY1" fmla="*/ 1 h 1111796"/>
              <a:gd name="connsiteX2" fmla="*/ 2556984 w 2556984"/>
              <a:gd name="connsiteY2" fmla="*/ 654005 h 1111796"/>
              <a:gd name="connsiteX0" fmla="*/ 2121408 w 2556984"/>
              <a:gd name="connsiteY0" fmla="*/ 1111796 h 1111796"/>
              <a:gd name="connsiteX1" fmla="*/ 2556984 w 2556984"/>
              <a:gd name="connsiteY1" fmla="*/ 654005 h 1111796"/>
              <a:gd name="connsiteX2" fmla="*/ 1982419 w 2556984"/>
              <a:gd name="connsiteY2" fmla="*/ 654005 h 1111796"/>
              <a:gd name="connsiteX3" fmla="*/ 2121408 w 2556984"/>
              <a:gd name="connsiteY3" fmla="*/ 1111796 h 1111796"/>
              <a:gd name="connsiteX0" fmla="*/ 0 w 2556984"/>
              <a:gd name="connsiteY0" fmla="*/ 21831 h 1111796"/>
              <a:gd name="connsiteX1" fmla="*/ 2002406 w 2556984"/>
              <a:gd name="connsiteY1" fmla="*/ 1 h 1111796"/>
              <a:gd name="connsiteX2" fmla="*/ 2556984 w 2556984"/>
              <a:gd name="connsiteY2" fmla="*/ 654005 h 1111796"/>
              <a:gd name="connsiteX0" fmla="*/ 2150669 w 2586245"/>
              <a:gd name="connsiteY0" fmla="*/ 1111796 h 1111796"/>
              <a:gd name="connsiteX1" fmla="*/ 2586245 w 2586245"/>
              <a:gd name="connsiteY1" fmla="*/ 654005 h 1111796"/>
              <a:gd name="connsiteX2" fmla="*/ 2011680 w 2586245"/>
              <a:gd name="connsiteY2" fmla="*/ 654005 h 1111796"/>
              <a:gd name="connsiteX3" fmla="*/ 2150669 w 2586245"/>
              <a:gd name="connsiteY3" fmla="*/ 1111796 h 1111796"/>
              <a:gd name="connsiteX0" fmla="*/ 0 w 2586245"/>
              <a:gd name="connsiteY0" fmla="*/ 14516 h 1111796"/>
              <a:gd name="connsiteX1" fmla="*/ 2031667 w 2586245"/>
              <a:gd name="connsiteY1" fmla="*/ 1 h 1111796"/>
              <a:gd name="connsiteX2" fmla="*/ 2586245 w 2586245"/>
              <a:gd name="connsiteY2" fmla="*/ 654005 h 1111796"/>
            </a:gdLst>
            <a:ahLst/>
            <a:cxnLst>
              <a:cxn ang="0">
                <a:pos x="connsiteX0" y="connsiteY0"/>
              </a:cxn>
              <a:cxn ang="0">
                <a:pos x="connsiteX1" y="connsiteY1"/>
              </a:cxn>
              <a:cxn ang="0">
                <a:pos x="connsiteX2" y="connsiteY2"/>
              </a:cxn>
            </a:cxnLst>
            <a:rect l="l" t="t" r="r" b="b"/>
            <a:pathLst>
              <a:path w="2586245" h="1111796" stroke="0" extrusionOk="0">
                <a:moveTo>
                  <a:pt x="2150669" y="1111796"/>
                </a:moveTo>
                <a:cubicBezTo>
                  <a:pt x="2467992" y="1111796"/>
                  <a:pt x="2586245" y="292745"/>
                  <a:pt x="2586245" y="654005"/>
                </a:cubicBezTo>
                <a:lnTo>
                  <a:pt x="2011680" y="654005"/>
                </a:lnTo>
                <a:lnTo>
                  <a:pt x="2150669" y="1111796"/>
                </a:lnTo>
                <a:close/>
              </a:path>
              <a:path w="2586245" h="1111796" fill="none">
                <a:moveTo>
                  <a:pt x="0" y="14516"/>
                </a:moveTo>
                <a:lnTo>
                  <a:pt x="2031667" y="1"/>
                </a:lnTo>
                <a:cubicBezTo>
                  <a:pt x="2365579" y="-114"/>
                  <a:pt x="2586245" y="292745"/>
                  <a:pt x="2586245" y="654005"/>
                </a:cubicBezTo>
              </a:path>
            </a:pathLst>
          </a:custGeom>
          <a:ln w="381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60" name="Freeform 163"/>
          <p:cNvSpPr>
            <a:spLocks/>
          </p:cNvSpPr>
          <p:nvPr/>
        </p:nvSpPr>
        <p:spPr bwMode="auto">
          <a:xfrm>
            <a:off x="3025600" y="1580800"/>
            <a:ext cx="2772853" cy="579825"/>
          </a:xfrm>
          <a:custGeom>
            <a:avLst/>
            <a:gdLst>
              <a:gd name="T0" fmla="*/ 4948 w 4948"/>
              <a:gd name="T1" fmla="*/ 1367 h 1417"/>
              <a:gd name="T2" fmla="*/ 4019 w 4948"/>
              <a:gd name="T3" fmla="*/ 603 h 1417"/>
              <a:gd name="T4" fmla="*/ 3950 w 4948"/>
              <a:gd name="T5" fmla="*/ 542 h 1417"/>
              <a:gd name="T6" fmla="*/ 3886 w 4948"/>
              <a:gd name="T7" fmla="*/ 477 h 1417"/>
              <a:gd name="T8" fmla="*/ 3765 w 4948"/>
              <a:gd name="T9" fmla="*/ 348 h 1417"/>
              <a:gd name="T10" fmla="*/ 3704 w 4948"/>
              <a:gd name="T11" fmla="*/ 285 h 1417"/>
              <a:gd name="T12" fmla="*/ 3637 w 4948"/>
              <a:gd name="T13" fmla="*/ 225 h 1417"/>
              <a:gd name="T14" fmla="*/ 3562 w 4948"/>
              <a:gd name="T15" fmla="*/ 171 h 1417"/>
              <a:gd name="T16" fmla="*/ 3501 w 4948"/>
              <a:gd name="T17" fmla="*/ 135 h 1417"/>
              <a:gd name="T18" fmla="*/ 3478 w 4948"/>
              <a:gd name="T19" fmla="*/ 123 h 1417"/>
              <a:gd name="T20" fmla="*/ 3406 w 4948"/>
              <a:gd name="T21" fmla="*/ 95 h 1417"/>
              <a:gd name="T22" fmla="*/ 3330 w 4948"/>
              <a:gd name="T23" fmla="*/ 74 h 1417"/>
              <a:gd name="T24" fmla="*/ 3249 w 4948"/>
              <a:gd name="T25" fmla="*/ 59 h 1417"/>
              <a:gd name="T26" fmla="*/ 3168 w 4948"/>
              <a:gd name="T27" fmla="*/ 48 h 1417"/>
              <a:gd name="T28" fmla="*/ 3003 w 4948"/>
              <a:gd name="T29" fmla="*/ 36 h 1417"/>
              <a:gd name="T30" fmla="*/ 2883 w 4948"/>
              <a:gd name="T31" fmla="*/ 27 h 1417"/>
              <a:gd name="T32" fmla="*/ 2844 w 4948"/>
              <a:gd name="T33" fmla="*/ 23 h 1417"/>
              <a:gd name="T34" fmla="*/ 2712 w 4948"/>
              <a:gd name="T35" fmla="*/ 8 h 1417"/>
              <a:gd name="T36" fmla="*/ 2624 w 4948"/>
              <a:gd name="T37" fmla="*/ 2 h 1417"/>
              <a:gd name="T38" fmla="*/ 2537 w 4948"/>
              <a:gd name="T39" fmla="*/ 0 h 1417"/>
              <a:gd name="T40" fmla="*/ 2450 w 4948"/>
              <a:gd name="T41" fmla="*/ 7 h 1417"/>
              <a:gd name="T42" fmla="*/ 2365 w 4948"/>
              <a:gd name="T43" fmla="*/ 22 h 1417"/>
              <a:gd name="T44" fmla="*/ 2302 w 4948"/>
              <a:gd name="T45" fmla="*/ 40 h 1417"/>
              <a:gd name="T46" fmla="*/ 2262 w 4948"/>
              <a:gd name="T47" fmla="*/ 56 h 1417"/>
              <a:gd name="T48" fmla="*/ 2222 w 4948"/>
              <a:gd name="T49" fmla="*/ 75 h 1417"/>
              <a:gd name="T50" fmla="*/ 2183 w 4948"/>
              <a:gd name="T51" fmla="*/ 98 h 1417"/>
              <a:gd name="T52" fmla="*/ 2163 w 4948"/>
              <a:gd name="T53" fmla="*/ 111 h 1417"/>
              <a:gd name="T54" fmla="*/ 2026 w 4948"/>
              <a:gd name="T55" fmla="*/ 203 h 1417"/>
              <a:gd name="T56" fmla="*/ 1886 w 4948"/>
              <a:gd name="T57" fmla="*/ 288 h 1417"/>
              <a:gd name="T58" fmla="*/ 1743 w 4948"/>
              <a:gd name="T59" fmla="*/ 364 h 1417"/>
              <a:gd name="T60" fmla="*/ 1597 w 4948"/>
              <a:gd name="T61" fmla="*/ 435 h 1417"/>
              <a:gd name="T62" fmla="*/ 1449 w 4948"/>
              <a:gd name="T63" fmla="*/ 500 h 1417"/>
              <a:gd name="T64" fmla="*/ 1298 w 4948"/>
              <a:gd name="T65" fmla="*/ 560 h 1417"/>
              <a:gd name="T66" fmla="*/ 1146 w 4948"/>
              <a:gd name="T67" fmla="*/ 618 h 1417"/>
              <a:gd name="T68" fmla="*/ 989 w 4948"/>
              <a:gd name="T69" fmla="*/ 673 h 1417"/>
              <a:gd name="T70" fmla="*/ 901 w 4948"/>
              <a:gd name="T71" fmla="*/ 701 h 1417"/>
              <a:gd name="T72" fmla="*/ 719 w 4948"/>
              <a:gd name="T73" fmla="*/ 753 h 1417"/>
              <a:gd name="T74" fmla="*/ 536 w 4948"/>
              <a:gd name="T75" fmla="*/ 809 h 1417"/>
              <a:gd name="T76" fmla="*/ 447 w 4948"/>
              <a:gd name="T77" fmla="*/ 840 h 1417"/>
              <a:gd name="T78" fmla="*/ 360 w 4948"/>
              <a:gd name="T79" fmla="*/ 877 h 1417"/>
              <a:gd name="T80" fmla="*/ 278 w 4948"/>
              <a:gd name="T81" fmla="*/ 918 h 1417"/>
              <a:gd name="T82" fmla="*/ 254 w 4948"/>
              <a:gd name="T83" fmla="*/ 932 h 1417"/>
              <a:gd name="T84" fmla="*/ 206 w 4948"/>
              <a:gd name="T85" fmla="*/ 965 h 1417"/>
              <a:gd name="T86" fmla="*/ 136 w 4948"/>
              <a:gd name="T87" fmla="*/ 1020 h 1417"/>
              <a:gd name="T88" fmla="*/ 56 w 4948"/>
              <a:gd name="T89" fmla="*/ 1090 h 1417"/>
              <a:gd name="T90" fmla="*/ 0 w 4948"/>
              <a:gd name="T91" fmla="*/ 1142 h 1417"/>
              <a:gd name="T92" fmla="*/ 0 w 4948"/>
              <a:gd name="T93" fmla="*/ 1265 h 1417"/>
              <a:gd name="T94" fmla="*/ 2144 w 4948"/>
              <a:gd name="T95" fmla="*/ 1330 h 1417"/>
              <a:gd name="T96" fmla="*/ 2602 w 4948"/>
              <a:gd name="T97" fmla="*/ 1342 h 1417"/>
              <a:gd name="T98" fmla="*/ 2713 w 4948"/>
              <a:gd name="T99" fmla="*/ 1345 h 1417"/>
              <a:gd name="T100" fmla="*/ 3525 w 4948"/>
              <a:gd name="T101" fmla="*/ 1380 h 1417"/>
              <a:gd name="T102" fmla="*/ 4948 w 4948"/>
              <a:gd name="T103" fmla="*/ 1367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48" h="1417">
                <a:moveTo>
                  <a:pt x="4948" y="1367"/>
                </a:moveTo>
                <a:lnTo>
                  <a:pt x="4948" y="1367"/>
                </a:lnTo>
                <a:lnTo>
                  <a:pt x="4019" y="603"/>
                </a:lnTo>
                <a:lnTo>
                  <a:pt x="4019" y="603"/>
                </a:lnTo>
                <a:lnTo>
                  <a:pt x="3983" y="572"/>
                </a:lnTo>
                <a:lnTo>
                  <a:pt x="3950" y="542"/>
                </a:lnTo>
                <a:lnTo>
                  <a:pt x="3918" y="509"/>
                </a:lnTo>
                <a:lnTo>
                  <a:pt x="3886" y="477"/>
                </a:lnTo>
                <a:lnTo>
                  <a:pt x="3825" y="413"/>
                </a:lnTo>
                <a:lnTo>
                  <a:pt x="3765" y="348"/>
                </a:lnTo>
                <a:lnTo>
                  <a:pt x="3735" y="316"/>
                </a:lnTo>
                <a:lnTo>
                  <a:pt x="3704" y="285"/>
                </a:lnTo>
                <a:lnTo>
                  <a:pt x="3670" y="254"/>
                </a:lnTo>
                <a:lnTo>
                  <a:pt x="3637" y="225"/>
                </a:lnTo>
                <a:lnTo>
                  <a:pt x="3601" y="198"/>
                </a:lnTo>
                <a:lnTo>
                  <a:pt x="3562" y="171"/>
                </a:lnTo>
                <a:lnTo>
                  <a:pt x="3522" y="147"/>
                </a:lnTo>
                <a:lnTo>
                  <a:pt x="3501" y="135"/>
                </a:lnTo>
                <a:lnTo>
                  <a:pt x="3478" y="123"/>
                </a:lnTo>
                <a:lnTo>
                  <a:pt x="3478" y="123"/>
                </a:lnTo>
                <a:lnTo>
                  <a:pt x="3442" y="109"/>
                </a:lnTo>
                <a:lnTo>
                  <a:pt x="3406" y="95"/>
                </a:lnTo>
                <a:lnTo>
                  <a:pt x="3368" y="83"/>
                </a:lnTo>
                <a:lnTo>
                  <a:pt x="3330" y="74"/>
                </a:lnTo>
                <a:lnTo>
                  <a:pt x="3290" y="66"/>
                </a:lnTo>
                <a:lnTo>
                  <a:pt x="3249" y="59"/>
                </a:lnTo>
                <a:lnTo>
                  <a:pt x="3209" y="54"/>
                </a:lnTo>
                <a:lnTo>
                  <a:pt x="3168" y="48"/>
                </a:lnTo>
                <a:lnTo>
                  <a:pt x="3085" y="42"/>
                </a:lnTo>
                <a:lnTo>
                  <a:pt x="3003" y="36"/>
                </a:lnTo>
                <a:lnTo>
                  <a:pt x="2923" y="31"/>
                </a:lnTo>
                <a:lnTo>
                  <a:pt x="2883" y="27"/>
                </a:lnTo>
                <a:lnTo>
                  <a:pt x="2844" y="23"/>
                </a:lnTo>
                <a:lnTo>
                  <a:pt x="2844" y="23"/>
                </a:lnTo>
                <a:lnTo>
                  <a:pt x="2756" y="12"/>
                </a:lnTo>
                <a:lnTo>
                  <a:pt x="2712" y="8"/>
                </a:lnTo>
                <a:lnTo>
                  <a:pt x="2668" y="4"/>
                </a:lnTo>
                <a:lnTo>
                  <a:pt x="2624" y="2"/>
                </a:lnTo>
                <a:lnTo>
                  <a:pt x="2580" y="0"/>
                </a:lnTo>
                <a:lnTo>
                  <a:pt x="2537" y="0"/>
                </a:lnTo>
                <a:lnTo>
                  <a:pt x="2493" y="3"/>
                </a:lnTo>
                <a:lnTo>
                  <a:pt x="2450" y="7"/>
                </a:lnTo>
                <a:lnTo>
                  <a:pt x="2407" y="12"/>
                </a:lnTo>
                <a:lnTo>
                  <a:pt x="2365" y="22"/>
                </a:lnTo>
                <a:lnTo>
                  <a:pt x="2323" y="32"/>
                </a:lnTo>
                <a:lnTo>
                  <a:pt x="2302" y="40"/>
                </a:lnTo>
                <a:lnTo>
                  <a:pt x="2282" y="47"/>
                </a:lnTo>
                <a:lnTo>
                  <a:pt x="2262" y="56"/>
                </a:lnTo>
                <a:lnTo>
                  <a:pt x="2242" y="66"/>
                </a:lnTo>
                <a:lnTo>
                  <a:pt x="2222" y="75"/>
                </a:lnTo>
                <a:lnTo>
                  <a:pt x="2202" y="86"/>
                </a:lnTo>
                <a:lnTo>
                  <a:pt x="2183" y="98"/>
                </a:lnTo>
                <a:lnTo>
                  <a:pt x="2163" y="111"/>
                </a:lnTo>
                <a:lnTo>
                  <a:pt x="2163" y="111"/>
                </a:lnTo>
                <a:lnTo>
                  <a:pt x="2095" y="158"/>
                </a:lnTo>
                <a:lnTo>
                  <a:pt x="2026" y="203"/>
                </a:lnTo>
                <a:lnTo>
                  <a:pt x="1956" y="246"/>
                </a:lnTo>
                <a:lnTo>
                  <a:pt x="1886" y="288"/>
                </a:lnTo>
                <a:lnTo>
                  <a:pt x="1814" y="326"/>
                </a:lnTo>
                <a:lnTo>
                  <a:pt x="1743" y="364"/>
                </a:lnTo>
                <a:lnTo>
                  <a:pt x="1670" y="400"/>
                </a:lnTo>
                <a:lnTo>
                  <a:pt x="1597" y="435"/>
                </a:lnTo>
                <a:lnTo>
                  <a:pt x="1524" y="468"/>
                </a:lnTo>
                <a:lnTo>
                  <a:pt x="1449" y="500"/>
                </a:lnTo>
                <a:lnTo>
                  <a:pt x="1374" y="531"/>
                </a:lnTo>
                <a:lnTo>
                  <a:pt x="1298" y="560"/>
                </a:lnTo>
                <a:lnTo>
                  <a:pt x="1222" y="590"/>
                </a:lnTo>
                <a:lnTo>
                  <a:pt x="1146" y="618"/>
                </a:lnTo>
                <a:lnTo>
                  <a:pt x="989" y="673"/>
                </a:lnTo>
                <a:lnTo>
                  <a:pt x="989" y="673"/>
                </a:lnTo>
                <a:lnTo>
                  <a:pt x="945" y="687"/>
                </a:lnTo>
                <a:lnTo>
                  <a:pt x="901" y="701"/>
                </a:lnTo>
                <a:lnTo>
                  <a:pt x="811" y="727"/>
                </a:lnTo>
                <a:lnTo>
                  <a:pt x="719" y="753"/>
                </a:lnTo>
                <a:lnTo>
                  <a:pt x="627" y="779"/>
                </a:lnTo>
                <a:lnTo>
                  <a:pt x="536" y="809"/>
                </a:lnTo>
                <a:lnTo>
                  <a:pt x="491" y="824"/>
                </a:lnTo>
                <a:lnTo>
                  <a:pt x="447" y="840"/>
                </a:lnTo>
                <a:lnTo>
                  <a:pt x="402" y="858"/>
                </a:lnTo>
                <a:lnTo>
                  <a:pt x="360" y="877"/>
                </a:lnTo>
                <a:lnTo>
                  <a:pt x="318" y="897"/>
                </a:lnTo>
                <a:lnTo>
                  <a:pt x="278" y="918"/>
                </a:lnTo>
                <a:lnTo>
                  <a:pt x="278" y="918"/>
                </a:lnTo>
                <a:lnTo>
                  <a:pt x="254" y="932"/>
                </a:lnTo>
                <a:lnTo>
                  <a:pt x="230" y="948"/>
                </a:lnTo>
                <a:lnTo>
                  <a:pt x="206" y="965"/>
                </a:lnTo>
                <a:lnTo>
                  <a:pt x="182" y="983"/>
                </a:lnTo>
                <a:lnTo>
                  <a:pt x="136" y="1020"/>
                </a:lnTo>
                <a:lnTo>
                  <a:pt x="92" y="1056"/>
                </a:lnTo>
                <a:lnTo>
                  <a:pt x="56" y="1090"/>
                </a:lnTo>
                <a:lnTo>
                  <a:pt x="27" y="1116"/>
                </a:lnTo>
                <a:lnTo>
                  <a:pt x="0" y="1142"/>
                </a:lnTo>
                <a:lnTo>
                  <a:pt x="0" y="1265"/>
                </a:lnTo>
                <a:lnTo>
                  <a:pt x="0" y="1265"/>
                </a:lnTo>
                <a:lnTo>
                  <a:pt x="1255" y="1303"/>
                </a:lnTo>
                <a:lnTo>
                  <a:pt x="2144" y="1330"/>
                </a:lnTo>
                <a:lnTo>
                  <a:pt x="2455" y="1338"/>
                </a:lnTo>
                <a:lnTo>
                  <a:pt x="2602" y="1342"/>
                </a:lnTo>
                <a:lnTo>
                  <a:pt x="2602" y="1342"/>
                </a:lnTo>
                <a:lnTo>
                  <a:pt x="2713" y="1345"/>
                </a:lnTo>
                <a:lnTo>
                  <a:pt x="2927" y="1354"/>
                </a:lnTo>
                <a:lnTo>
                  <a:pt x="3525" y="1380"/>
                </a:lnTo>
                <a:lnTo>
                  <a:pt x="4353" y="1417"/>
                </a:lnTo>
                <a:lnTo>
                  <a:pt x="4948" y="1367"/>
                </a:lnTo>
                <a:close/>
              </a:path>
            </a:pathLst>
          </a:custGeom>
          <a:solidFill>
            <a:srgbClr val="00556C"/>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56" name="Rectangle 855"/>
          <p:cNvSpPr/>
          <p:nvPr/>
        </p:nvSpPr>
        <p:spPr bwMode="auto">
          <a:xfrm>
            <a:off x="195113" y="1148861"/>
            <a:ext cx="4973859" cy="2661954"/>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150" name="Group 1149"/>
          <p:cNvGrpSpPr>
            <a:grpSpLocks noChangeAspect="1"/>
          </p:cNvGrpSpPr>
          <p:nvPr/>
        </p:nvGrpSpPr>
        <p:grpSpPr>
          <a:xfrm>
            <a:off x="1932250" y="3294395"/>
            <a:ext cx="1643345" cy="469932"/>
            <a:chOff x="13252451" y="4821238"/>
            <a:chExt cx="11974513" cy="3424237"/>
          </a:xfrm>
          <a:solidFill>
            <a:schemeClr val="tx1">
              <a:lumMod val="50000"/>
              <a:lumOff val="50000"/>
            </a:schemeClr>
          </a:solidFill>
        </p:grpSpPr>
        <p:sp>
          <p:nvSpPr>
            <p:cNvPr id="1151" name="Freeform 6"/>
            <p:cNvSpPr>
              <a:spLocks noEditPoints="1"/>
            </p:cNvSpPr>
            <p:nvPr/>
          </p:nvSpPr>
          <p:spPr bwMode="auto">
            <a:xfrm>
              <a:off x="13252451" y="4968875"/>
              <a:ext cx="11760200" cy="3276600"/>
            </a:xfrm>
            <a:custGeom>
              <a:avLst/>
              <a:gdLst>
                <a:gd name="T0" fmla="*/ 1060 w 14818"/>
                <a:gd name="T1" fmla="*/ 3942 h 4128"/>
                <a:gd name="T2" fmla="*/ 8919 w 14818"/>
                <a:gd name="T3" fmla="*/ 4128 h 4128"/>
                <a:gd name="T4" fmla="*/ 14637 w 14818"/>
                <a:gd name="T5" fmla="*/ 2223 h 4128"/>
                <a:gd name="T6" fmla="*/ 12624 w 14818"/>
                <a:gd name="T7" fmla="*/ 0 h 4128"/>
                <a:gd name="T8" fmla="*/ 9659 w 14818"/>
                <a:gd name="T9" fmla="*/ 0 h 4128"/>
                <a:gd name="T10" fmla="*/ 6696 w 14818"/>
                <a:gd name="T11" fmla="*/ 0 h 4128"/>
                <a:gd name="T12" fmla="*/ 3731 w 14818"/>
                <a:gd name="T13" fmla="*/ 0 h 4128"/>
                <a:gd name="T14" fmla="*/ 766 w 14818"/>
                <a:gd name="T15" fmla="*/ 0 h 4128"/>
                <a:gd name="T16" fmla="*/ 12282 w 14818"/>
                <a:gd name="T17" fmla="*/ 2408 h 4128"/>
                <a:gd name="T18" fmla="*/ 9953 w 14818"/>
                <a:gd name="T19" fmla="*/ 1823 h 4128"/>
                <a:gd name="T20" fmla="*/ 7624 w 14818"/>
                <a:gd name="T21" fmla="*/ 2035 h 4128"/>
                <a:gd name="T22" fmla="*/ 5294 w 14818"/>
                <a:gd name="T23" fmla="*/ 2196 h 4128"/>
                <a:gd name="T24" fmla="*/ 2753 w 14818"/>
                <a:gd name="T25" fmla="*/ 2196 h 4128"/>
                <a:gd name="T26" fmla="*/ 1060 w 14818"/>
                <a:gd name="T27" fmla="*/ 2247 h 4128"/>
                <a:gd name="T28" fmla="*/ 3389 w 14818"/>
                <a:gd name="T29" fmla="*/ 2832 h 4128"/>
                <a:gd name="T30" fmla="*/ 5718 w 14818"/>
                <a:gd name="T31" fmla="*/ 2620 h 4128"/>
                <a:gd name="T32" fmla="*/ 8047 w 14818"/>
                <a:gd name="T33" fmla="*/ 2459 h 4128"/>
                <a:gd name="T34" fmla="*/ 10589 w 14818"/>
                <a:gd name="T35" fmla="*/ 2459 h 4128"/>
                <a:gd name="T36" fmla="*/ 12918 w 14818"/>
                <a:gd name="T37" fmla="*/ 2247 h 4128"/>
                <a:gd name="T38" fmla="*/ 12942 w 14818"/>
                <a:gd name="T39" fmla="*/ 1798 h 4128"/>
                <a:gd name="T40" fmla="*/ 10986 w 14818"/>
                <a:gd name="T41" fmla="*/ 1586 h 4128"/>
                <a:gd name="T42" fmla="*/ 8656 w 14818"/>
                <a:gd name="T43" fmla="*/ 1798 h 4128"/>
                <a:gd name="T44" fmla="*/ 6115 w 14818"/>
                <a:gd name="T45" fmla="*/ 1798 h 4128"/>
                <a:gd name="T46" fmla="*/ 3414 w 14818"/>
                <a:gd name="T47" fmla="*/ 1586 h 4128"/>
                <a:gd name="T48" fmla="*/ 1085 w 14818"/>
                <a:gd name="T49" fmla="*/ 1798 h 4128"/>
                <a:gd name="T50" fmla="*/ 1509 w 14818"/>
                <a:gd name="T51" fmla="*/ 3069 h 4128"/>
                <a:gd name="T52" fmla="*/ 3838 w 14818"/>
                <a:gd name="T53" fmla="*/ 2857 h 4128"/>
                <a:gd name="T54" fmla="*/ 6378 w 14818"/>
                <a:gd name="T55" fmla="*/ 2857 h 4128"/>
                <a:gd name="T56" fmla="*/ 9080 w 14818"/>
                <a:gd name="T57" fmla="*/ 3069 h 4128"/>
                <a:gd name="T58" fmla="*/ 11409 w 14818"/>
                <a:gd name="T59" fmla="*/ 2857 h 4128"/>
                <a:gd name="T60" fmla="*/ 13366 w 14818"/>
                <a:gd name="T61" fmla="*/ 3069 h 4128"/>
                <a:gd name="T62" fmla="*/ 13340 w 14818"/>
                <a:gd name="T63" fmla="*/ 1350 h 4128"/>
                <a:gd name="T64" fmla="*/ 10799 w 14818"/>
                <a:gd name="T65" fmla="*/ 1350 h 4128"/>
                <a:gd name="T66" fmla="*/ 8470 w 14818"/>
                <a:gd name="T67" fmla="*/ 1562 h 4128"/>
                <a:gd name="T68" fmla="*/ 6142 w 14818"/>
                <a:gd name="T69" fmla="*/ 976 h 4128"/>
                <a:gd name="T70" fmla="*/ 3813 w 14818"/>
                <a:gd name="T71" fmla="*/ 1189 h 4128"/>
                <a:gd name="T72" fmla="*/ 1483 w 14818"/>
                <a:gd name="T73" fmla="*/ 1350 h 4128"/>
                <a:gd name="T74" fmla="*/ 848 w 14818"/>
                <a:gd name="T75" fmla="*/ 3306 h 4128"/>
                <a:gd name="T76" fmla="*/ 3177 w 14818"/>
                <a:gd name="T77" fmla="*/ 3094 h 4128"/>
                <a:gd name="T78" fmla="*/ 5506 w 14818"/>
                <a:gd name="T79" fmla="*/ 3679 h 4128"/>
                <a:gd name="T80" fmla="*/ 7836 w 14818"/>
                <a:gd name="T81" fmla="*/ 3467 h 4128"/>
                <a:gd name="T82" fmla="*/ 10165 w 14818"/>
                <a:gd name="T83" fmla="*/ 3306 h 4128"/>
                <a:gd name="T84" fmla="*/ 12706 w 14818"/>
                <a:gd name="T85" fmla="*/ 3306 h 4128"/>
                <a:gd name="T86" fmla="*/ 14400 w 14818"/>
                <a:gd name="T87" fmla="*/ 2035 h 4128"/>
                <a:gd name="T88" fmla="*/ 12520 w 14818"/>
                <a:gd name="T89" fmla="*/ 952 h 4128"/>
                <a:gd name="T90" fmla="*/ 10563 w 14818"/>
                <a:gd name="T91" fmla="*/ 740 h 4128"/>
                <a:gd name="T92" fmla="*/ 8234 w 14818"/>
                <a:gd name="T93" fmla="*/ 952 h 4128"/>
                <a:gd name="T94" fmla="*/ 5693 w 14818"/>
                <a:gd name="T95" fmla="*/ 952 h 4128"/>
                <a:gd name="T96" fmla="*/ 2991 w 14818"/>
                <a:gd name="T97" fmla="*/ 740 h 4128"/>
                <a:gd name="T98" fmla="*/ 663 w 14818"/>
                <a:gd name="T99" fmla="*/ 952 h 4128"/>
                <a:gd name="T100" fmla="*/ 636 w 14818"/>
                <a:gd name="T101" fmla="*/ 3891 h 4128"/>
                <a:gd name="T102" fmla="*/ 2965 w 14818"/>
                <a:gd name="T103" fmla="*/ 4103 h 4128"/>
                <a:gd name="T104" fmla="*/ 5506 w 14818"/>
                <a:gd name="T105" fmla="*/ 4103 h 4128"/>
                <a:gd name="T106" fmla="*/ 7836 w 14818"/>
                <a:gd name="T107" fmla="*/ 3518 h 4128"/>
                <a:gd name="T108" fmla="*/ 10165 w 14818"/>
                <a:gd name="T109" fmla="*/ 3730 h 4128"/>
                <a:gd name="T110" fmla="*/ 12494 w 14818"/>
                <a:gd name="T111" fmla="*/ 3891 h 4128"/>
                <a:gd name="T112" fmla="*/ 14798 w 14818"/>
                <a:gd name="T113" fmla="*/ 3281 h 4128"/>
                <a:gd name="T114" fmla="*/ 13739 w 14818"/>
                <a:gd name="T115" fmla="*/ 528 h 4128"/>
                <a:gd name="T116" fmla="*/ 11409 w 14818"/>
                <a:gd name="T117" fmla="*/ 316 h 4128"/>
                <a:gd name="T118" fmla="*/ 8707 w 14818"/>
                <a:gd name="T119" fmla="*/ 528 h 4128"/>
                <a:gd name="T120" fmla="*/ 6378 w 14818"/>
                <a:gd name="T121" fmla="*/ 316 h 4128"/>
                <a:gd name="T122" fmla="*/ 4423 w 14818"/>
                <a:gd name="T123" fmla="*/ 528 h 4128"/>
                <a:gd name="T124" fmla="*/ 1882 w 14818"/>
                <a:gd name="T125" fmla="*/ 528 h 4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18" h="4128">
                  <a:moveTo>
                    <a:pt x="0" y="289"/>
                  </a:moveTo>
                  <a:lnTo>
                    <a:pt x="0" y="289"/>
                  </a:lnTo>
                  <a:lnTo>
                    <a:pt x="0" y="342"/>
                  </a:lnTo>
                  <a:lnTo>
                    <a:pt x="0" y="342"/>
                  </a:lnTo>
                  <a:lnTo>
                    <a:pt x="187" y="528"/>
                  </a:lnTo>
                  <a:lnTo>
                    <a:pt x="0" y="713"/>
                  </a:lnTo>
                  <a:lnTo>
                    <a:pt x="0" y="713"/>
                  </a:lnTo>
                  <a:lnTo>
                    <a:pt x="0" y="766"/>
                  </a:lnTo>
                  <a:lnTo>
                    <a:pt x="0" y="764"/>
                  </a:lnTo>
                  <a:lnTo>
                    <a:pt x="187" y="952"/>
                  </a:lnTo>
                  <a:lnTo>
                    <a:pt x="0" y="1137"/>
                  </a:lnTo>
                  <a:lnTo>
                    <a:pt x="0" y="1137"/>
                  </a:lnTo>
                  <a:lnTo>
                    <a:pt x="0" y="1189"/>
                  </a:lnTo>
                  <a:lnTo>
                    <a:pt x="0" y="1189"/>
                  </a:lnTo>
                  <a:lnTo>
                    <a:pt x="187" y="1374"/>
                  </a:lnTo>
                  <a:lnTo>
                    <a:pt x="0" y="1562"/>
                  </a:lnTo>
                  <a:lnTo>
                    <a:pt x="0" y="1560"/>
                  </a:lnTo>
                  <a:lnTo>
                    <a:pt x="0" y="1613"/>
                  </a:lnTo>
                  <a:lnTo>
                    <a:pt x="0" y="1613"/>
                  </a:lnTo>
                  <a:lnTo>
                    <a:pt x="187" y="1798"/>
                  </a:lnTo>
                  <a:lnTo>
                    <a:pt x="0" y="1984"/>
                  </a:lnTo>
                  <a:lnTo>
                    <a:pt x="0" y="1984"/>
                  </a:lnTo>
                  <a:lnTo>
                    <a:pt x="0" y="2037"/>
                  </a:lnTo>
                  <a:lnTo>
                    <a:pt x="0" y="2035"/>
                  </a:lnTo>
                  <a:lnTo>
                    <a:pt x="187" y="2223"/>
                  </a:lnTo>
                  <a:lnTo>
                    <a:pt x="0" y="2408"/>
                  </a:lnTo>
                  <a:lnTo>
                    <a:pt x="0" y="2408"/>
                  </a:lnTo>
                  <a:lnTo>
                    <a:pt x="0" y="2459"/>
                  </a:lnTo>
                  <a:lnTo>
                    <a:pt x="0" y="2459"/>
                  </a:lnTo>
                  <a:lnTo>
                    <a:pt x="187" y="2645"/>
                  </a:lnTo>
                  <a:lnTo>
                    <a:pt x="0" y="2832"/>
                  </a:lnTo>
                  <a:lnTo>
                    <a:pt x="0" y="2831"/>
                  </a:lnTo>
                  <a:lnTo>
                    <a:pt x="0" y="2883"/>
                  </a:lnTo>
                  <a:lnTo>
                    <a:pt x="0" y="2883"/>
                  </a:lnTo>
                  <a:lnTo>
                    <a:pt x="187" y="3069"/>
                  </a:lnTo>
                  <a:lnTo>
                    <a:pt x="0" y="3255"/>
                  </a:lnTo>
                  <a:lnTo>
                    <a:pt x="0" y="3255"/>
                  </a:lnTo>
                  <a:lnTo>
                    <a:pt x="0" y="3308"/>
                  </a:lnTo>
                  <a:lnTo>
                    <a:pt x="0" y="3306"/>
                  </a:lnTo>
                  <a:lnTo>
                    <a:pt x="187" y="3493"/>
                  </a:lnTo>
                  <a:lnTo>
                    <a:pt x="0" y="3679"/>
                  </a:lnTo>
                  <a:lnTo>
                    <a:pt x="0" y="3679"/>
                  </a:lnTo>
                  <a:lnTo>
                    <a:pt x="0" y="3730"/>
                  </a:lnTo>
                  <a:lnTo>
                    <a:pt x="0" y="3730"/>
                  </a:lnTo>
                  <a:lnTo>
                    <a:pt x="187" y="3916"/>
                  </a:lnTo>
                  <a:lnTo>
                    <a:pt x="0" y="4103"/>
                  </a:lnTo>
                  <a:lnTo>
                    <a:pt x="0" y="4102"/>
                  </a:lnTo>
                  <a:lnTo>
                    <a:pt x="0" y="4128"/>
                  </a:lnTo>
                  <a:lnTo>
                    <a:pt x="27" y="4128"/>
                  </a:lnTo>
                  <a:lnTo>
                    <a:pt x="212" y="3942"/>
                  </a:lnTo>
                  <a:lnTo>
                    <a:pt x="399" y="4128"/>
                  </a:lnTo>
                  <a:lnTo>
                    <a:pt x="451" y="4128"/>
                  </a:lnTo>
                  <a:lnTo>
                    <a:pt x="636" y="3942"/>
                  </a:lnTo>
                  <a:lnTo>
                    <a:pt x="822" y="4128"/>
                  </a:lnTo>
                  <a:lnTo>
                    <a:pt x="873" y="4128"/>
                  </a:lnTo>
                  <a:lnTo>
                    <a:pt x="1060" y="3942"/>
                  </a:lnTo>
                  <a:lnTo>
                    <a:pt x="1246" y="4128"/>
                  </a:lnTo>
                  <a:lnTo>
                    <a:pt x="1297" y="4128"/>
                  </a:lnTo>
                  <a:lnTo>
                    <a:pt x="1483" y="3942"/>
                  </a:lnTo>
                  <a:lnTo>
                    <a:pt x="1670" y="4128"/>
                  </a:lnTo>
                  <a:lnTo>
                    <a:pt x="1721" y="4128"/>
                  </a:lnTo>
                  <a:lnTo>
                    <a:pt x="1907" y="3942"/>
                  </a:lnTo>
                  <a:lnTo>
                    <a:pt x="2092" y="4128"/>
                  </a:lnTo>
                  <a:lnTo>
                    <a:pt x="2143" y="4128"/>
                  </a:lnTo>
                  <a:lnTo>
                    <a:pt x="2331" y="3942"/>
                  </a:lnTo>
                  <a:lnTo>
                    <a:pt x="2516" y="4128"/>
                  </a:lnTo>
                  <a:lnTo>
                    <a:pt x="2567" y="4128"/>
                  </a:lnTo>
                  <a:lnTo>
                    <a:pt x="2753" y="3942"/>
                  </a:lnTo>
                  <a:lnTo>
                    <a:pt x="2940" y="4128"/>
                  </a:lnTo>
                  <a:lnTo>
                    <a:pt x="2991" y="4128"/>
                  </a:lnTo>
                  <a:lnTo>
                    <a:pt x="3177" y="3942"/>
                  </a:lnTo>
                  <a:lnTo>
                    <a:pt x="3363" y="4128"/>
                  </a:lnTo>
                  <a:lnTo>
                    <a:pt x="3414" y="4128"/>
                  </a:lnTo>
                  <a:lnTo>
                    <a:pt x="3601" y="3942"/>
                  </a:lnTo>
                  <a:lnTo>
                    <a:pt x="3787" y="4128"/>
                  </a:lnTo>
                  <a:lnTo>
                    <a:pt x="3838" y="4128"/>
                  </a:lnTo>
                  <a:lnTo>
                    <a:pt x="4023" y="3942"/>
                  </a:lnTo>
                  <a:lnTo>
                    <a:pt x="4211" y="4128"/>
                  </a:lnTo>
                  <a:lnTo>
                    <a:pt x="4262" y="4128"/>
                  </a:lnTo>
                  <a:lnTo>
                    <a:pt x="4447" y="3942"/>
                  </a:lnTo>
                  <a:lnTo>
                    <a:pt x="4633" y="4128"/>
                  </a:lnTo>
                  <a:lnTo>
                    <a:pt x="4684" y="4128"/>
                  </a:lnTo>
                  <a:lnTo>
                    <a:pt x="4871" y="3942"/>
                  </a:lnTo>
                  <a:lnTo>
                    <a:pt x="5057" y="4128"/>
                  </a:lnTo>
                  <a:lnTo>
                    <a:pt x="5108" y="4128"/>
                  </a:lnTo>
                  <a:lnTo>
                    <a:pt x="5294" y="3942"/>
                  </a:lnTo>
                  <a:lnTo>
                    <a:pt x="5481" y="4128"/>
                  </a:lnTo>
                  <a:lnTo>
                    <a:pt x="5532" y="4128"/>
                  </a:lnTo>
                  <a:lnTo>
                    <a:pt x="5718" y="3942"/>
                  </a:lnTo>
                  <a:lnTo>
                    <a:pt x="5903" y="4128"/>
                  </a:lnTo>
                  <a:lnTo>
                    <a:pt x="5956" y="4128"/>
                  </a:lnTo>
                  <a:lnTo>
                    <a:pt x="6142" y="3942"/>
                  </a:lnTo>
                  <a:lnTo>
                    <a:pt x="6327" y="4128"/>
                  </a:lnTo>
                  <a:lnTo>
                    <a:pt x="6378" y="4128"/>
                  </a:lnTo>
                  <a:lnTo>
                    <a:pt x="6566" y="3942"/>
                  </a:lnTo>
                  <a:lnTo>
                    <a:pt x="6751" y="4128"/>
                  </a:lnTo>
                  <a:lnTo>
                    <a:pt x="6802" y="4128"/>
                  </a:lnTo>
                  <a:lnTo>
                    <a:pt x="6988" y="3942"/>
                  </a:lnTo>
                  <a:lnTo>
                    <a:pt x="7175" y="4128"/>
                  </a:lnTo>
                  <a:lnTo>
                    <a:pt x="7226" y="4128"/>
                  </a:lnTo>
                  <a:lnTo>
                    <a:pt x="7412" y="3942"/>
                  </a:lnTo>
                  <a:lnTo>
                    <a:pt x="7598" y="4128"/>
                  </a:lnTo>
                  <a:lnTo>
                    <a:pt x="7649" y="4128"/>
                  </a:lnTo>
                  <a:lnTo>
                    <a:pt x="7836" y="3942"/>
                  </a:lnTo>
                  <a:lnTo>
                    <a:pt x="8022" y="4128"/>
                  </a:lnTo>
                  <a:lnTo>
                    <a:pt x="8073" y="4128"/>
                  </a:lnTo>
                  <a:lnTo>
                    <a:pt x="8259" y="3942"/>
                  </a:lnTo>
                  <a:lnTo>
                    <a:pt x="8446" y="4128"/>
                  </a:lnTo>
                  <a:lnTo>
                    <a:pt x="8497" y="4128"/>
                  </a:lnTo>
                  <a:lnTo>
                    <a:pt x="8682" y="3942"/>
                  </a:lnTo>
                  <a:lnTo>
                    <a:pt x="8868" y="4128"/>
                  </a:lnTo>
                  <a:lnTo>
                    <a:pt x="8919" y="4128"/>
                  </a:lnTo>
                  <a:lnTo>
                    <a:pt x="9106" y="3942"/>
                  </a:lnTo>
                  <a:lnTo>
                    <a:pt x="9292" y="4128"/>
                  </a:lnTo>
                  <a:lnTo>
                    <a:pt x="9343" y="4128"/>
                  </a:lnTo>
                  <a:lnTo>
                    <a:pt x="9529" y="3942"/>
                  </a:lnTo>
                  <a:lnTo>
                    <a:pt x="9716" y="4128"/>
                  </a:lnTo>
                  <a:lnTo>
                    <a:pt x="9767" y="4128"/>
                  </a:lnTo>
                  <a:lnTo>
                    <a:pt x="9953" y="3942"/>
                  </a:lnTo>
                  <a:lnTo>
                    <a:pt x="10139" y="4128"/>
                  </a:lnTo>
                  <a:lnTo>
                    <a:pt x="10190" y="4128"/>
                  </a:lnTo>
                  <a:lnTo>
                    <a:pt x="10377" y="3942"/>
                  </a:lnTo>
                  <a:lnTo>
                    <a:pt x="10563" y="4128"/>
                  </a:lnTo>
                  <a:lnTo>
                    <a:pt x="10614" y="4128"/>
                  </a:lnTo>
                  <a:lnTo>
                    <a:pt x="10799" y="3942"/>
                  </a:lnTo>
                  <a:lnTo>
                    <a:pt x="10986" y="4128"/>
                  </a:lnTo>
                  <a:lnTo>
                    <a:pt x="11038" y="4128"/>
                  </a:lnTo>
                  <a:lnTo>
                    <a:pt x="11223" y="3942"/>
                  </a:lnTo>
                  <a:lnTo>
                    <a:pt x="11409" y="4128"/>
                  </a:lnTo>
                  <a:lnTo>
                    <a:pt x="11460" y="4128"/>
                  </a:lnTo>
                  <a:lnTo>
                    <a:pt x="11647" y="3942"/>
                  </a:lnTo>
                  <a:lnTo>
                    <a:pt x="11833" y="4128"/>
                  </a:lnTo>
                  <a:lnTo>
                    <a:pt x="11884" y="4128"/>
                  </a:lnTo>
                  <a:lnTo>
                    <a:pt x="12070" y="3942"/>
                  </a:lnTo>
                  <a:lnTo>
                    <a:pt x="12257" y="4128"/>
                  </a:lnTo>
                  <a:lnTo>
                    <a:pt x="12308" y="4128"/>
                  </a:lnTo>
                  <a:lnTo>
                    <a:pt x="12494" y="3942"/>
                  </a:lnTo>
                  <a:lnTo>
                    <a:pt x="12679" y="4128"/>
                  </a:lnTo>
                  <a:lnTo>
                    <a:pt x="12730" y="4128"/>
                  </a:lnTo>
                  <a:lnTo>
                    <a:pt x="12918" y="3942"/>
                  </a:lnTo>
                  <a:lnTo>
                    <a:pt x="13103" y="4128"/>
                  </a:lnTo>
                  <a:lnTo>
                    <a:pt x="13154" y="4128"/>
                  </a:lnTo>
                  <a:lnTo>
                    <a:pt x="13340" y="3942"/>
                  </a:lnTo>
                  <a:lnTo>
                    <a:pt x="13527" y="4128"/>
                  </a:lnTo>
                  <a:lnTo>
                    <a:pt x="13578" y="4128"/>
                  </a:lnTo>
                  <a:lnTo>
                    <a:pt x="13764" y="3942"/>
                  </a:lnTo>
                  <a:lnTo>
                    <a:pt x="13950" y="4128"/>
                  </a:lnTo>
                  <a:lnTo>
                    <a:pt x="14002" y="4128"/>
                  </a:lnTo>
                  <a:lnTo>
                    <a:pt x="14188" y="3942"/>
                  </a:lnTo>
                  <a:lnTo>
                    <a:pt x="14374" y="4128"/>
                  </a:lnTo>
                  <a:lnTo>
                    <a:pt x="14425" y="4128"/>
                  </a:lnTo>
                  <a:lnTo>
                    <a:pt x="14612" y="3942"/>
                  </a:lnTo>
                  <a:lnTo>
                    <a:pt x="14798" y="4128"/>
                  </a:lnTo>
                  <a:lnTo>
                    <a:pt x="14818" y="4128"/>
                  </a:lnTo>
                  <a:lnTo>
                    <a:pt x="14818" y="4099"/>
                  </a:lnTo>
                  <a:lnTo>
                    <a:pt x="14637" y="3916"/>
                  </a:lnTo>
                  <a:lnTo>
                    <a:pt x="14818" y="3735"/>
                  </a:lnTo>
                  <a:lnTo>
                    <a:pt x="14818" y="3674"/>
                  </a:lnTo>
                  <a:lnTo>
                    <a:pt x="14637" y="3493"/>
                  </a:lnTo>
                  <a:lnTo>
                    <a:pt x="14818" y="3311"/>
                  </a:lnTo>
                  <a:lnTo>
                    <a:pt x="14818" y="3250"/>
                  </a:lnTo>
                  <a:lnTo>
                    <a:pt x="14637" y="3069"/>
                  </a:lnTo>
                  <a:lnTo>
                    <a:pt x="14818" y="2888"/>
                  </a:lnTo>
                  <a:lnTo>
                    <a:pt x="14818" y="2828"/>
                  </a:lnTo>
                  <a:lnTo>
                    <a:pt x="14637" y="2645"/>
                  </a:lnTo>
                  <a:lnTo>
                    <a:pt x="14818" y="2464"/>
                  </a:lnTo>
                  <a:lnTo>
                    <a:pt x="14818" y="2404"/>
                  </a:lnTo>
                  <a:lnTo>
                    <a:pt x="14637" y="2223"/>
                  </a:lnTo>
                  <a:lnTo>
                    <a:pt x="14818" y="2040"/>
                  </a:lnTo>
                  <a:lnTo>
                    <a:pt x="14818" y="1980"/>
                  </a:lnTo>
                  <a:lnTo>
                    <a:pt x="14637" y="1798"/>
                  </a:lnTo>
                  <a:lnTo>
                    <a:pt x="14818" y="1616"/>
                  </a:lnTo>
                  <a:lnTo>
                    <a:pt x="14818" y="1557"/>
                  </a:lnTo>
                  <a:lnTo>
                    <a:pt x="14637" y="1374"/>
                  </a:lnTo>
                  <a:lnTo>
                    <a:pt x="14818" y="1193"/>
                  </a:lnTo>
                  <a:lnTo>
                    <a:pt x="14818" y="1133"/>
                  </a:lnTo>
                  <a:lnTo>
                    <a:pt x="14637" y="952"/>
                  </a:lnTo>
                  <a:lnTo>
                    <a:pt x="14818" y="769"/>
                  </a:lnTo>
                  <a:lnTo>
                    <a:pt x="14818" y="709"/>
                  </a:lnTo>
                  <a:lnTo>
                    <a:pt x="14637" y="528"/>
                  </a:lnTo>
                  <a:lnTo>
                    <a:pt x="14818" y="345"/>
                  </a:lnTo>
                  <a:lnTo>
                    <a:pt x="14818" y="286"/>
                  </a:lnTo>
                  <a:lnTo>
                    <a:pt x="14637" y="103"/>
                  </a:lnTo>
                  <a:lnTo>
                    <a:pt x="14742" y="0"/>
                  </a:lnTo>
                  <a:lnTo>
                    <a:pt x="14691" y="0"/>
                  </a:lnTo>
                  <a:lnTo>
                    <a:pt x="14612" y="79"/>
                  </a:lnTo>
                  <a:lnTo>
                    <a:pt x="14533" y="0"/>
                  </a:lnTo>
                  <a:lnTo>
                    <a:pt x="14480" y="0"/>
                  </a:lnTo>
                  <a:lnTo>
                    <a:pt x="14586" y="103"/>
                  </a:lnTo>
                  <a:lnTo>
                    <a:pt x="14400" y="289"/>
                  </a:lnTo>
                  <a:lnTo>
                    <a:pt x="14213" y="103"/>
                  </a:lnTo>
                  <a:lnTo>
                    <a:pt x="14318" y="0"/>
                  </a:lnTo>
                  <a:lnTo>
                    <a:pt x="14267" y="0"/>
                  </a:lnTo>
                  <a:lnTo>
                    <a:pt x="14188" y="79"/>
                  </a:lnTo>
                  <a:lnTo>
                    <a:pt x="14109" y="0"/>
                  </a:lnTo>
                  <a:lnTo>
                    <a:pt x="14058" y="0"/>
                  </a:lnTo>
                  <a:lnTo>
                    <a:pt x="14162" y="103"/>
                  </a:lnTo>
                  <a:lnTo>
                    <a:pt x="13976" y="289"/>
                  </a:lnTo>
                  <a:lnTo>
                    <a:pt x="13790" y="103"/>
                  </a:lnTo>
                  <a:lnTo>
                    <a:pt x="13894" y="0"/>
                  </a:lnTo>
                  <a:lnTo>
                    <a:pt x="13843" y="0"/>
                  </a:lnTo>
                  <a:lnTo>
                    <a:pt x="13764" y="79"/>
                  </a:lnTo>
                  <a:lnTo>
                    <a:pt x="13685" y="0"/>
                  </a:lnTo>
                  <a:lnTo>
                    <a:pt x="13634" y="0"/>
                  </a:lnTo>
                  <a:lnTo>
                    <a:pt x="13739" y="103"/>
                  </a:lnTo>
                  <a:lnTo>
                    <a:pt x="13552" y="289"/>
                  </a:lnTo>
                  <a:lnTo>
                    <a:pt x="13366" y="103"/>
                  </a:lnTo>
                  <a:lnTo>
                    <a:pt x="13472" y="0"/>
                  </a:lnTo>
                  <a:lnTo>
                    <a:pt x="13419" y="0"/>
                  </a:lnTo>
                  <a:lnTo>
                    <a:pt x="13340" y="79"/>
                  </a:lnTo>
                  <a:lnTo>
                    <a:pt x="13261" y="0"/>
                  </a:lnTo>
                  <a:lnTo>
                    <a:pt x="13210" y="0"/>
                  </a:lnTo>
                  <a:lnTo>
                    <a:pt x="13315" y="103"/>
                  </a:lnTo>
                  <a:lnTo>
                    <a:pt x="13130" y="289"/>
                  </a:lnTo>
                  <a:lnTo>
                    <a:pt x="12942" y="103"/>
                  </a:lnTo>
                  <a:lnTo>
                    <a:pt x="13048" y="0"/>
                  </a:lnTo>
                  <a:lnTo>
                    <a:pt x="12997" y="0"/>
                  </a:lnTo>
                  <a:lnTo>
                    <a:pt x="12918" y="79"/>
                  </a:lnTo>
                  <a:lnTo>
                    <a:pt x="12839" y="0"/>
                  </a:lnTo>
                  <a:lnTo>
                    <a:pt x="12788" y="0"/>
                  </a:lnTo>
                  <a:lnTo>
                    <a:pt x="12891" y="103"/>
                  </a:lnTo>
                  <a:lnTo>
                    <a:pt x="12706" y="289"/>
                  </a:lnTo>
                  <a:lnTo>
                    <a:pt x="12520" y="103"/>
                  </a:lnTo>
                  <a:lnTo>
                    <a:pt x="12624" y="0"/>
                  </a:lnTo>
                  <a:lnTo>
                    <a:pt x="12573" y="0"/>
                  </a:lnTo>
                  <a:lnTo>
                    <a:pt x="12494" y="79"/>
                  </a:lnTo>
                  <a:lnTo>
                    <a:pt x="12415" y="0"/>
                  </a:lnTo>
                  <a:lnTo>
                    <a:pt x="12364" y="0"/>
                  </a:lnTo>
                  <a:lnTo>
                    <a:pt x="12469" y="103"/>
                  </a:lnTo>
                  <a:lnTo>
                    <a:pt x="12282" y="289"/>
                  </a:lnTo>
                  <a:lnTo>
                    <a:pt x="12096" y="103"/>
                  </a:lnTo>
                  <a:lnTo>
                    <a:pt x="12200" y="0"/>
                  </a:lnTo>
                  <a:lnTo>
                    <a:pt x="12149" y="0"/>
                  </a:lnTo>
                  <a:lnTo>
                    <a:pt x="12070" y="79"/>
                  </a:lnTo>
                  <a:lnTo>
                    <a:pt x="11991" y="0"/>
                  </a:lnTo>
                  <a:lnTo>
                    <a:pt x="11940" y="0"/>
                  </a:lnTo>
                  <a:lnTo>
                    <a:pt x="12045" y="103"/>
                  </a:lnTo>
                  <a:lnTo>
                    <a:pt x="11859" y="289"/>
                  </a:lnTo>
                  <a:lnTo>
                    <a:pt x="11672" y="103"/>
                  </a:lnTo>
                  <a:lnTo>
                    <a:pt x="11777" y="0"/>
                  </a:lnTo>
                  <a:lnTo>
                    <a:pt x="11726" y="0"/>
                  </a:lnTo>
                  <a:lnTo>
                    <a:pt x="11647" y="79"/>
                  </a:lnTo>
                  <a:lnTo>
                    <a:pt x="11568" y="0"/>
                  </a:lnTo>
                  <a:lnTo>
                    <a:pt x="11517" y="0"/>
                  </a:lnTo>
                  <a:lnTo>
                    <a:pt x="11621" y="103"/>
                  </a:lnTo>
                  <a:lnTo>
                    <a:pt x="11435" y="289"/>
                  </a:lnTo>
                  <a:lnTo>
                    <a:pt x="11250" y="103"/>
                  </a:lnTo>
                  <a:lnTo>
                    <a:pt x="11353" y="0"/>
                  </a:lnTo>
                  <a:lnTo>
                    <a:pt x="11302" y="0"/>
                  </a:lnTo>
                  <a:lnTo>
                    <a:pt x="11223" y="79"/>
                  </a:lnTo>
                  <a:lnTo>
                    <a:pt x="11144" y="0"/>
                  </a:lnTo>
                  <a:lnTo>
                    <a:pt x="11093" y="0"/>
                  </a:lnTo>
                  <a:lnTo>
                    <a:pt x="11198" y="103"/>
                  </a:lnTo>
                  <a:lnTo>
                    <a:pt x="11011" y="289"/>
                  </a:lnTo>
                  <a:lnTo>
                    <a:pt x="10826" y="103"/>
                  </a:lnTo>
                  <a:lnTo>
                    <a:pt x="10929" y="0"/>
                  </a:lnTo>
                  <a:lnTo>
                    <a:pt x="10878" y="0"/>
                  </a:lnTo>
                  <a:lnTo>
                    <a:pt x="10799" y="79"/>
                  </a:lnTo>
                  <a:lnTo>
                    <a:pt x="10720" y="0"/>
                  </a:lnTo>
                  <a:lnTo>
                    <a:pt x="10669" y="0"/>
                  </a:lnTo>
                  <a:lnTo>
                    <a:pt x="10775" y="103"/>
                  </a:lnTo>
                  <a:lnTo>
                    <a:pt x="10589" y="289"/>
                  </a:lnTo>
                  <a:lnTo>
                    <a:pt x="10402" y="103"/>
                  </a:lnTo>
                  <a:lnTo>
                    <a:pt x="10507" y="0"/>
                  </a:lnTo>
                  <a:lnTo>
                    <a:pt x="10456" y="0"/>
                  </a:lnTo>
                  <a:lnTo>
                    <a:pt x="10377" y="79"/>
                  </a:lnTo>
                  <a:lnTo>
                    <a:pt x="10298" y="0"/>
                  </a:lnTo>
                  <a:lnTo>
                    <a:pt x="10247" y="0"/>
                  </a:lnTo>
                  <a:lnTo>
                    <a:pt x="10351" y="103"/>
                  </a:lnTo>
                  <a:lnTo>
                    <a:pt x="10165" y="289"/>
                  </a:lnTo>
                  <a:lnTo>
                    <a:pt x="9979" y="103"/>
                  </a:lnTo>
                  <a:lnTo>
                    <a:pt x="10083" y="0"/>
                  </a:lnTo>
                  <a:lnTo>
                    <a:pt x="10032" y="0"/>
                  </a:lnTo>
                  <a:lnTo>
                    <a:pt x="9953" y="79"/>
                  </a:lnTo>
                  <a:lnTo>
                    <a:pt x="9874" y="0"/>
                  </a:lnTo>
                  <a:lnTo>
                    <a:pt x="9823" y="0"/>
                  </a:lnTo>
                  <a:lnTo>
                    <a:pt x="9927" y="103"/>
                  </a:lnTo>
                  <a:lnTo>
                    <a:pt x="9741" y="289"/>
                  </a:lnTo>
                  <a:lnTo>
                    <a:pt x="9555" y="103"/>
                  </a:lnTo>
                  <a:lnTo>
                    <a:pt x="9659" y="0"/>
                  </a:lnTo>
                  <a:lnTo>
                    <a:pt x="9608" y="0"/>
                  </a:lnTo>
                  <a:lnTo>
                    <a:pt x="9529" y="79"/>
                  </a:lnTo>
                  <a:lnTo>
                    <a:pt x="9450" y="0"/>
                  </a:lnTo>
                  <a:lnTo>
                    <a:pt x="9399" y="0"/>
                  </a:lnTo>
                  <a:lnTo>
                    <a:pt x="9504" y="103"/>
                  </a:lnTo>
                  <a:lnTo>
                    <a:pt x="9317" y="289"/>
                  </a:lnTo>
                  <a:lnTo>
                    <a:pt x="9131" y="103"/>
                  </a:lnTo>
                  <a:lnTo>
                    <a:pt x="9236" y="0"/>
                  </a:lnTo>
                  <a:lnTo>
                    <a:pt x="9185" y="0"/>
                  </a:lnTo>
                  <a:lnTo>
                    <a:pt x="9106" y="79"/>
                  </a:lnTo>
                  <a:lnTo>
                    <a:pt x="9028" y="0"/>
                  </a:lnTo>
                  <a:lnTo>
                    <a:pt x="8976" y="0"/>
                  </a:lnTo>
                  <a:lnTo>
                    <a:pt x="9080" y="103"/>
                  </a:lnTo>
                  <a:lnTo>
                    <a:pt x="8894" y="289"/>
                  </a:lnTo>
                  <a:lnTo>
                    <a:pt x="8707" y="103"/>
                  </a:lnTo>
                  <a:lnTo>
                    <a:pt x="8812" y="0"/>
                  </a:lnTo>
                  <a:lnTo>
                    <a:pt x="8761" y="0"/>
                  </a:lnTo>
                  <a:lnTo>
                    <a:pt x="8682" y="79"/>
                  </a:lnTo>
                  <a:lnTo>
                    <a:pt x="8604" y="0"/>
                  </a:lnTo>
                  <a:lnTo>
                    <a:pt x="8552" y="0"/>
                  </a:lnTo>
                  <a:lnTo>
                    <a:pt x="8656" y="103"/>
                  </a:lnTo>
                  <a:lnTo>
                    <a:pt x="8470" y="289"/>
                  </a:lnTo>
                  <a:lnTo>
                    <a:pt x="8285" y="103"/>
                  </a:lnTo>
                  <a:lnTo>
                    <a:pt x="8388" y="0"/>
                  </a:lnTo>
                  <a:lnTo>
                    <a:pt x="8337" y="0"/>
                  </a:lnTo>
                  <a:lnTo>
                    <a:pt x="8259" y="79"/>
                  </a:lnTo>
                  <a:lnTo>
                    <a:pt x="8180" y="0"/>
                  </a:lnTo>
                  <a:lnTo>
                    <a:pt x="8129" y="0"/>
                  </a:lnTo>
                  <a:lnTo>
                    <a:pt x="8234" y="103"/>
                  </a:lnTo>
                  <a:lnTo>
                    <a:pt x="8047" y="289"/>
                  </a:lnTo>
                  <a:lnTo>
                    <a:pt x="7861" y="103"/>
                  </a:lnTo>
                  <a:lnTo>
                    <a:pt x="7966" y="0"/>
                  </a:lnTo>
                  <a:lnTo>
                    <a:pt x="7915" y="0"/>
                  </a:lnTo>
                  <a:lnTo>
                    <a:pt x="7836" y="79"/>
                  </a:lnTo>
                  <a:lnTo>
                    <a:pt x="7757" y="0"/>
                  </a:lnTo>
                  <a:lnTo>
                    <a:pt x="7706" y="0"/>
                  </a:lnTo>
                  <a:lnTo>
                    <a:pt x="7810" y="103"/>
                  </a:lnTo>
                  <a:lnTo>
                    <a:pt x="7624" y="289"/>
                  </a:lnTo>
                  <a:lnTo>
                    <a:pt x="7437" y="103"/>
                  </a:lnTo>
                  <a:lnTo>
                    <a:pt x="7542" y="0"/>
                  </a:lnTo>
                  <a:lnTo>
                    <a:pt x="7491" y="0"/>
                  </a:lnTo>
                  <a:lnTo>
                    <a:pt x="7412" y="79"/>
                  </a:lnTo>
                  <a:lnTo>
                    <a:pt x="7333" y="0"/>
                  </a:lnTo>
                  <a:lnTo>
                    <a:pt x="7282" y="0"/>
                  </a:lnTo>
                  <a:lnTo>
                    <a:pt x="7386" y="103"/>
                  </a:lnTo>
                  <a:lnTo>
                    <a:pt x="7200" y="289"/>
                  </a:lnTo>
                  <a:lnTo>
                    <a:pt x="7014" y="103"/>
                  </a:lnTo>
                  <a:lnTo>
                    <a:pt x="7118" y="0"/>
                  </a:lnTo>
                  <a:lnTo>
                    <a:pt x="7067" y="0"/>
                  </a:lnTo>
                  <a:lnTo>
                    <a:pt x="6988" y="79"/>
                  </a:lnTo>
                  <a:lnTo>
                    <a:pt x="6909" y="0"/>
                  </a:lnTo>
                  <a:lnTo>
                    <a:pt x="6858" y="0"/>
                  </a:lnTo>
                  <a:lnTo>
                    <a:pt x="6963" y="103"/>
                  </a:lnTo>
                  <a:lnTo>
                    <a:pt x="6776" y="289"/>
                  </a:lnTo>
                  <a:lnTo>
                    <a:pt x="6590" y="103"/>
                  </a:lnTo>
                  <a:lnTo>
                    <a:pt x="6696" y="0"/>
                  </a:lnTo>
                  <a:lnTo>
                    <a:pt x="6645" y="0"/>
                  </a:lnTo>
                  <a:lnTo>
                    <a:pt x="6566" y="79"/>
                  </a:lnTo>
                  <a:lnTo>
                    <a:pt x="6487" y="0"/>
                  </a:lnTo>
                  <a:lnTo>
                    <a:pt x="6434" y="0"/>
                  </a:lnTo>
                  <a:lnTo>
                    <a:pt x="6539" y="103"/>
                  </a:lnTo>
                  <a:lnTo>
                    <a:pt x="6354" y="289"/>
                  </a:lnTo>
                  <a:lnTo>
                    <a:pt x="6166" y="103"/>
                  </a:lnTo>
                  <a:lnTo>
                    <a:pt x="6272" y="0"/>
                  </a:lnTo>
                  <a:lnTo>
                    <a:pt x="6221" y="0"/>
                  </a:lnTo>
                  <a:lnTo>
                    <a:pt x="6142" y="79"/>
                  </a:lnTo>
                  <a:lnTo>
                    <a:pt x="6063" y="0"/>
                  </a:lnTo>
                  <a:lnTo>
                    <a:pt x="6012" y="0"/>
                  </a:lnTo>
                  <a:lnTo>
                    <a:pt x="6115" y="103"/>
                  </a:lnTo>
                  <a:lnTo>
                    <a:pt x="5930" y="289"/>
                  </a:lnTo>
                  <a:lnTo>
                    <a:pt x="5744" y="103"/>
                  </a:lnTo>
                  <a:lnTo>
                    <a:pt x="5848" y="0"/>
                  </a:lnTo>
                  <a:lnTo>
                    <a:pt x="5797" y="0"/>
                  </a:lnTo>
                  <a:lnTo>
                    <a:pt x="5718" y="79"/>
                  </a:lnTo>
                  <a:lnTo>
                    <a:pt x="5639" y="0"/>
                  </a:lnTo>
                  <a:lnTo>
                    <a:pt x="5588" y="0"/>
                  </a:lnTo>
                  <a:lnTo>
                    <a:pt x="5693" y="103"/>
                  </a:lnTo>
                  <a:lnTo>
                    <a:pt x="5506" y="289"/>
                  </a:lnTo>
                  <a:lnTo>
                    <a:pt x="5320" y="103"/>
                  </a:lnTo>
                  <a:lnTo>
                    <a:pt x="5425" y="0"/>
                  </a:lnTo>
                  <a:lnTo>
                    <a:pt x="5374" y="0"/>
                  </a:lnTo>
                  <a:lnTo>
                    <a:pt x="5294" y="79"/>
                  </a:lnTo>
                  <a:lnTo>
                    <a:pt x="5215" y="0"/>
                  </a:lnTo>
                  <a:lnTo>
                    <a:pt x="5164" y="0"/>
                  </a:lnTo>
                  <a:lnTo>
                    <a:pt x="5269" y="103"/>
                  </a:lnTo>
                  <a:lnTo>
                    <a:pt x="5083" y="289"/>
                  </a:lnTo>
                  <a:lnTo>
                    <a:pt x="4896" y="103"/>
                  </a:lnTo>
                  <a:lnTo>
                    <a:pt x="5001" y="0"/>
                  </a:lnTo>
                  <a:lnTo>
                    <a:pt x="4950" y="0"/>
                  </a:lnTo>
                  <a:lnTo>
                    <a:pt x="4871" y="79"/>
                  </a:lnTo>
                  <a:lnTo>
                    <a:pt x="4792" y="0"/>
                  </a:lnTo>
                  <a:lnTo>
                    <a:pt x="4741" y="0"/>
                  </a:lnTo>
                  <a:lnTo>
                    <a:pt x="4845" y="103"/>
                  </a:lnTo>
                  <a:lnTo>
                    <a:pt x="4659" y="289"/>
                  </a:lnTo>
                  <a:lnTo>
                    <a:pt x="4474" y="103"/>
                  </a:lnTo>
                  <a:lnTo>
                    <a:pt x="4577" y="0"/>
                  </a:lnTo>
                  <a:lnTo>
                    <a:pt x="4526" y="0"/>
                  </a:lnTo>
                  <a:lnTo>
                    <a:pt x="4447" y="79"/>
                  </a:lnTo>
                  <a:lnTo>
                    <a:pt x="4368" y="0"/>
                  </a:lnTo>
                  <a:lnTo>
                    <a:pt x="4317" y="0"/>
                  </a:lnTo>
                  <a:lnTo>
                    <a:pt x="4423" y="103"/>
                  </a:lnTo>
                  <a:lnTo>
                    <a:pt x="4235" y="289"/>
                  </a:lnTo>
                  <a:lnTo>
                    <a:pt x="4050" y="103"/>
                  </a:lnTo>
                  <a:lnTo>
                    <a:pt x="4155" y="0"/>
                  </a:lnTo>
                  <a:lnTo>
                    <a:pt x="4102" y="0"/>
                  </a:lnTo>
                  <a:lnTo>
                    <a:pt x="4023" y="79"/>
                  </a:lnTo>
                  <a:lnTo>
                    <a:pt x="3944" y="0"/>
                  </a:lnTo>
                  <a:lnTo>
                    <a:pt x="3893" y="0"/>
                  </a:lnTo>
                  <a:lnTo>
                    <a:pt x="3999" y="103"/>
                  </a:lnTo>
                  <a:lnTo>
                    <a:pt x="3813" y="289"/>
                  </a:lnTo>
                  <a:lnTo>
                    <a:pt x="3626" y="103"/>
                  </a:lnTo>
                  <a:lnTo>
                    <a:pt x="3731" y="0"/>
                  </a:lnTo>
                  <a:lnTo>
                    <a:pt x="3680" y="0"/>
                  </a:lnTo>
                  <a:lnTo>
                    <a:pt x="3601" y="79"/>
                  </a:lnTo>
                  <a:lnTo>
                    <a:pt x="3522" y="0"/>
                  </a:lnTo>
                  <a:lnTo>
                    <a:pt x="3471" y="0"/>
                  </a:lnTo>
                  <a:lnTo>
                    <a:pt x="3575" y="103"/>
                  </a:lnTo>
                  <a:lnTo>
                    <a:pt x="3389" y="289"/>
                  </a:lnTo>
                  <a:lnTo>
                    <a:pt x="3203" y="103"/>
                  </a:lnTo>
                  <a:lnTo>
                    <a:pt x="3307" y="0"/>
                  </a:lnTo>
                  <a:lnTo>
                    <a:pt x="3256" y="0"/>
                  </a:lnTo>
                  <a:lnTo>
                    <a:pt x="3177" y="79"/>
                  </a:lnTo>
                  <a:lnTo>
                    <a:pt x="3098" y="0"/>
                  </a:lnTo>
                  <a:lnTo>
                    <a:pt x="3047" y="0"/>
                  </a:lnTo>
                  <a:lnTo>
                    <a:pt x="3152" y="103"/>
                  </a:lnTo>
                  <a:lnTo>
                    <a:pt x="2965" y="289"/>
                  </a:lnTo>
                  <a:lnTo>
                    <a:pt x="2779" y="103"/>
                  </a:lnTo>
                  <a:lnTo>
                    <a:pt x="2883" y="0"/>
                  </a:lnTo>
                  <a:lnTo>
                    <a:pt x="2832" y="0"/>
                  </a:lnTo>
                  <a:lnTo>
                    <a:pt x="2753" y="79"/>
                  </a:lnTo>
                  <a:lnTo>
                    <a:pt x="2674" y="0"/>
                  </a:lnTo>
                  <a:lnTo>
                    <a:pt x="2623" y="0"/>
                  </a:lnTo>
                  <a:lnTo>
                    <a:pt x="2728" y="103"/>
                  </a:lnTo>
                  <a:lnTo>
                    <a:pt x="2543" y="289"/>
                  </a:lnTo>
                  <a:lnTo>
                    <a:pt x="2355" y="103"/>
                  </a:lnTo>
                  <a:lnTo>
                    <a:pt x="2461" y="0"/>
                  </a:lnTo>
                  <a:lnTo>
                    <a:pt x="2409" y="0"/>
                  </a:lnTo>
                  <a:lnTo>
                    <a:pt x="2331" y="79"/>
                  </a:lnTo>
                  <a:lnTo>
                    <a:pt x="2252" y="0"/>
                  </a:lnTo>
                  <a:lnTo>
                    <a:pt x="2201" y="0"/>
                  </a:lnTo>
                  <a:lnTo>
                    <a:pt x="2304" y="103"/>
                  </a:lnTo>
                  <a:lnTo>
                    <a:pt x="2119" y="289"/>
                  </a:lnTo>
                  <a:lnTo>
                    <a:pt x="1933" y="103"/>
                  </a:lnTo>
                  <a:lnTo>
                    <a:pt x="2037" y="0"/>
                  </a:lnTo>
                  <a:lnTo>
                    <a:pt x="1986" y="0"/>
                  </a:lnTo>
                  <a:lnTo>
                    <a:pt x="1907" y="79"/>
                  </a:lnTo>
                  <a:lnTo>
                    <a:pt x="1828" y="0"/>
                  </a:lnTo>
                  <a:lnTo>
                    <a:pt x="1777" y="0"/>
                  </a:lnTo>
                  <a:lnTo>
                    <a:pt x="1882" y="103"/>
                  </a:lnTo>
                  <a:lnTo>
                    <a:pt x="1695" y="289"/>
                  </a:lnTo>
                  <a:lnTo>
                    <a:pt x="1509" y="103"/>
                  </a:lnTo>
                  <a:lnTo>
                    <a:pt x="1613" y="0"/>
                  </a:lnTo>
                  <a:lnTo>
                    <a:pt x="1562" y="0"/>
                  </a:lnTo>
                  <a:lnTo>
                    <a:pt x="1483" y="79"/>
                  </a:lnTo>
                  <a:lnTo>
                    <a:pt x="1404" y="0"/>
                  </a:lnTo>
                  <a:lnTo>
                    <a:pt x="1353" y="0"/>
                  </a:lnTo>
                  <a:lnTo>
                    <a:pt x="1458" y="103"/>
                  </a:lnTo>
                  <a:lnTo>
                    <a:pt x="1272" y="289"/>
                  </a:lnTo>
                  <a:lnTo>
                    <a:pt x="1085" y="103"/>
                  </a:lnTo>
                  <a:lnTo>
                    <a:pt x="1190" y="0"/>
                  </a:lnTo>
                  <a:lnTo>
                    <a:pt x="1139" y="0"/>
                  </a:lnTo>
                  <a:lnTo>
                    <a:pt x="1060" y="79"/>
                  </a:lnTo>
                  <a:lnTo>
                    <a:pt x="981" y="0"/>
                  </a:lnTo>
                  <a:lnTo>
                    <a:pt x="930" y="0"/>
                  </a:lnTo>
                  <a:lnTo>
                    <a:pt x="1034" y="103"/>
                  </a:lnTo>
                  <a:lnTo>
                    <a:pt x="848" y="289"/>
                  </a:lnTo>
                  <a:lnTo>
                    <a:pt x="663" y="103"/>
                  </a:lnTo>
                  <a:lnTo>
                    <a:pt x="766" y="0"/>
                  </a:lnTo>
                  <a:lnTo>
                    <a:pt x="715" y="0"/>
                  </a:lnTo>
                  <a:lnTo>
                    <a:pt x="636" y="79"/>
                  </a:lnTo>
                  <a:lnTo>
                    <a:pt x="557" y="0"/>
                  </a:lnTo>
                  <a:lnTo>
                    <a:pt x="506" y="0"/>
                  </a:lnTo>
                  <a:lnTo>
                    <a:pt x="610" y="103"/>
                  </a:lnTo>
                  <a:lnTo>
                    <a:pt x="424" y="289"/>
                  </a:lnTo>
                  <a:lnTo>
                    <a:pt x="239" y="103"/>
                  </a:lnTo>
                  <a:lnTo>
                    <a:pt x="342" y="0"/>
                  </a:lnTo>
                  <a:lnTo>
                    <a:pt x="291" y="0"/>
                  </a:lnTo>
                  <a:lnTo>
                    <a:pt x="212" y="79"/>
                  </a:lnTo>
                  <a:lnTo>
                    <a:pt x="133" y="0"/>
                  </a:lnTo>
                  <a:lnTo>
                    <a:pt x="82" y="0"/>
                  </a:lnTo>
                  <a:lnTo>
                    <a:pt x="187" y="103"/>
                  </a:lnTo>
                  <a:lnTo>
                    <a:pt x="0" y="289"/>
                  </a:lnTo>
                  <a:close/>
                  <a:moveTo>
                    <a:pt x="27" y="740"/>
                  </a:moveTo>
                  <a:lnTo>
                    <a:pt x="212" y="552"/>
                  </a:lnTo>
                  <a:lnTo>
                    <a:pt x="399" y="740"/>
                  </a:lnTo>
                  <a:lnTo>
                    <a:pt x="212" y="925"/>
                  </a:lnTo>
                  <a:lnTo>
                    <a:pt x="27" y="740"/>
                  </a:lnTo>
                  <a:close/>
                  <a:moveTo>
                    <a:pt x="13739" y="2223"/>
                  </a:moveTo>
                  <a:lnTo>
                    <a:pt x="13552" y="2408"/>
                  </a:lnTo>
                  <a:lnTo>
                    <a:pt x="13366" y="2223"/>
                  </a:lnTo>
                  <a:lnTo>
                    <a:pt x="13552" y="2035"/>
                  </a:lnTo>
                  <a:lnTo>
                    <a:pt x="13739" y="2223"/>
                  </a:lnTo>
                  <a:close/>
                  <a:moveTo>
                    <a:pt x="13578" y="2010"/>
                  </a:moveTo>
                  <a:lnTo>
                    <a:pt x="13764" y="1823"/>
                  </a:lnTo>
                  <a:lnTo>
                    <a:pt x="13950" y="2010"/>
                  </a:lnTo>
                  <a:lnTo>
                    <a:pt x="13764" y="2196"/>
                  </a:lnTo>
                  <a:lnTo>
                    <a:pt x="13578" y="2010"/>
                  </a:lnTo>
                  <a:close/>
                  <a:moveTo>
                    <a:pt x="13340" y="2196"/>
                  </a:moveTo>
                  <a:lnTo>
                    <a:pt x="13154" y="2010"/>
                  </a:lnTo>
                  <a:lnTo>
                    <a:pt x="13340" y="1823"/>
                  </a:lnTo>
                  <a:lnTo>
                    <a:pt x="13527" y="2010"/>
                  </a:lnTo>
                  <a:lnTo>
                    <a:pt x="13340" y="2196"/>
                  </a:lnTo>
                  <a:close/>
                  <a:moveTo>
                    <a:pt x="13315" y="2223"/>
                  </a:moveTo>
                  <a:lnTo>
                    <a:pt x="13130" y="2408"/>
                  </a:lnTo>
                  <a:lnTo>
                    <a:pt x="12942" y="2223"/>
                  </a:lnTo>
                  <a:lnTo>
                    <a:pt x="13130" y="2035"/>
                  </a:lnTo>
                  <a:lnTo>
                    <a:pt x="13315" y="2223"/>
                  </a:lnTo>
                  <a:close/>
                  <a:moveTo>
                    <a:pt x="12918" y="2196"/>
                  </a:moveTo>
                  <a:lnTo>
                    <a:pt x="12730" y="2010"/>
                  </a:lnTo>
                  <a:lnTo>
                    <a:pt x="12918" y="1823"/>
                  </a:lnTo>
                  <a:lnTo>
                    <a:pt x="13103" y="2010"/>
                  </a:lnTo>
                  <a:lnTo>
                    <a:pt x="12918" y="2196"/>
                  </a:lnTo>
                  <a:close/>
                  <a:moveTo>
                    <a:pt x="12891" y="2223"/>
                  </a:moveTo>
                  <a:lnTo>
                    <a:pt x="12706" y="2408"/>
                  </a:lnTo>
                  <a:lnTo>
                    <a:pt x="12520" y="2223"/>
                  </a:lnTo>
                  <a:lnTo>
                    <a:pt x="12706" y="2035"/>
                  </a:lnTo>
                  <a:lnTo>
                    <a:pt x="12891" y="2223"/>
                  </a:lnTo>
                  <a:close/>
                  <a:moveTo>
                    <a:pt x="12494" y="2196"/>
                  </a:moveTo>
                  <a:lnTo>
                    <a:pt x="12308" y="2010"/>
                  </a:lnTo>
                  <a:lnTo>
                    <a:pt x="12494" y="1823"/>
                  </a:lnTo>
                  <a:lnTo>
                    <a:pt x="12679" y="2010"/>
                  </a:lnTo>
                  <a:lnTo>
                    <a:pt x="12494" y="2196"/>
                  </a:lnTo>
                  <a:close/>
                  <a:moveTo>
                    <a:pt x="12469" y="2223"/>
                  </a:moveTo>
                  <a:lnTo>
                    <a:pt x="12282" y="2408"/>
                  </a:lnTo>
                  <a:lnTo>
                    <a:pt x="12096" y="2223"/>
                  </a:lnTo>
                  <a:lnTo>
                    <a:pt x="12282" y="2035"/>
                  </a:lnTo>
                  <a:lnTo>
                    <a:pt x="12469" y="2223"/>
                  </a:lnTo>
                  <a:close/>
                  <a:moveTo>
                    <a:pt x="12070" y="2196"/>
                  </a:moveTo>
                  <a:lnTo>
                    <a:pt x="11884" y="2010"/>
                  </a:lnTo>
                  <a:lnTo>
                    <a:pt x="12070" y="1823"/>
                  </a:lnTo>
                  <a:lnTo>
                    <a:pt x="12257" y="2010"/>
                  </a:lnTo>
                  <a:lnTo>
                    <a:pt x="12070" y="2196"/>
                  </a:lnTo>
                  <a:close/>
                  <a:moveTo>
                    <a:pt x="12045" y="2223"/>
                  </a:moveTo>
                  <a:lnTo>
                    <a:pt x="11859" y="2408"/>
                  </a:lnTo>
                  <a:lnTo>
                    <a:pt x="11672" y="2223"/>
                  </a:lnTo>
                  <a:lnTo>
                    <a:pt x="11859" y="2035"/>
                  </a:lnTo>
                  <a:lnTo>
                    <a:pt x="12045" y="2223"/>
                  </a:lnTo>
                  <a:close/>
                  <a:moveTo>
                    <a:pt x="11647" y="2196"/>
                  </a:moveTo>
                  <a:lnTo>
                    <a:pt x="11460" y="2010"/>
                  </a:lnTo>
                  <a:lnTo>
                    <a:pt x="11647" y="1823"/>
                  </a:lnTo>
                  <a:lnTo>
                    <a:pt x="11833" y="2010"/>
                  </a:lnTo>
                  <a:lnTo>
                    <a:pt x="11647" y="2196"/>
                  </a:lnTo>
                  <a:close/>
                  <a:moveTo>
                    <a:pt x="11621" y="2223"/>
                  </a:moveTo>
                  <a:lnTo>
                    <a:pt x="11435" y="2408"/>
                  </a:lnTo>
                  <a:lnTo>
                    <a:pt x="11250" y="2223"/>
                  </a:lnTo>
                  <a:lnTo>
                    <a:pt x="11435" y="2035"/>
                  </a:lnTo>
                  <a:lnTo>
                    <a:pt x="11621" y="2223"/>
                  </a:lnTo>
                  <a:close/>
                  <a:moveTo>
                    <a:pt x="11223" y="2196"/>
                  </a:moveTo>
                  <a:lnTo>
                    <a:pt x="11038" y="2010"/>
                  </a:lnTo>
                  <a:lnTo>
                    <a:pt x="11223" y="1823"/>
                  </a:lnTo>
                  <a:lnTo>
                    <a:pt x="11409" y="2010"/>
                  </a:lnTo>
                  <a:lnTo>
                    <a:pt x="11223" y="2196"/>
                  </a:lnTo>
                  <a:close/>
                  <a:moveTo>
                    <a:pt x="11198" y="2223"/>
                  </a:moveTo>
                  <a:lnTo>
                    <a:pt x="11011" y="2408"/>
                  </a:lnTo>
                  <a:lnTo>
                    <a:pt x="10826" y="2223"/>
                  </a:lnTo>
                  <a:lnTo>
                    <a:pt x="11011" y="2035"/>
                  </a:lnTo>
                  <a:lnTo>
                    <a:pt x="11198" y="2223"/>
                  </a:lnTo>
                  <a:close/>
                  <a:moveTo>
                    <a:pt x="10799" y="2196"/>
                  </a:moveTo>
                  <a:lnTo>
                    <a:pt x="10614" y="2010"/>
                  </a:lnTo>
                  <a:lnTo>
                    <a:pt x="10799" y="1823"/>
                  </a:lnTo>
                  <a:lnTo>
                    <a:pt x="10986" y="2010"/>
                  </a:lnTo>
                  <a:lnTo>
                    <a:pt x="10799" y="2196"/>
                  </a:lnTo>
                  <a:close/>
                  <a:moveTo>
                    <a:pt x="10775" y="2223"/>
                  </a:moveTo>
                  <a:lnTo>
                    <a:pt x="10589" y="2408"/>
                  </a:lnTo>
                  <a:lnTo>
                    <a:pt x="10402" y="2223"/>
                  </a:lnTo>
                  <a:lnTo>
                    <a:pt x="10589" y="2035"/>
                  </a:lnTo>
                  <a:lnTo>
                    <a:pt x="10775" y="2223"/>
                  </a:lnTo>
                  <a:close/>
                  <a:moveTo>
                    <a:pt x="10377" y="2196"/>
                  </a:moveTo>
                  <a:lnTo>
                    <a:pt x="10190" y="2010"/>
                  </a:lnTo>
                  <a:lnTo>
                    <a:pt x="10377" y="1823"/>
                  </a:lnTo>
                  <a:lnTo>
                    <a:pt x="10563" y="2010"/>
                  </a:lnTo>
                  <a:lnTo>
                    <a:pt x="10377" y="2196"/>
                  </a:lnTo>
                  <a:close/>
                  <a:moveTo>
                    <a:pt x="10351" y="2223"/>
                  </a:moveTo>
                  <a:lnTo>
                    <a:pt x="10165" y="2408"/>
                  </a:lnTo>
                  <a:lnTo>
                    <a:pt x="9979" y="2223"/>
                  </a:lnTo>
                  <a:lnTo>
                    <a:pt x="10165" y="2035"/>
                  </a:lnTo>
                  <a:lnTo>
                    <a:pt x="10351" y="2223"/>
                  </a:lnTo>
                  <a:close/>
                  <a:moveTo>
                    <a:pt x="9953" y="2196"/>
                  </a:moveTo>
                  <a:lnTo>
                    <a:pt x="9767" y="2010"/>
                  </a:lnTo>
                  <a:lnTo>
                    <a:pt x="9953" y="1823"/>
                  </a:lnTo>
                  <a:lnTo>
                    <a:pt x="10139" y="2010"/>
                  </a:lnTo>
                  <a:lnTo>
                    <a:pt x="9953" y="2196"/>
                  </a:lnTo>
                  <a:close/>
                  <a:moveTo>
                    <a:pt x="9927" y="2223"/>
                  </a:moveTo>
                  <a:lnTo>
                    <a:pt x="9741" y="2408"/>
                  </a:lnTo>
                  <a:lnTo>
                    <a:pt x="9555" y="2223"/>
                  </a:lnTo>
                  <a:lnTo>
                    <a:pt x="9741" y="2035"/>
                  </a:lnTo>
                  <a:lnTo>
                    <a:pt x="9927" y="2223"/>
                  </a:lnTo>
                  <a:close/>
                  <a:moveTo>
                    <a:pt x="9529" y="2196"/>
                  </a:moveTo>
                  <a:lnTo>
                    <a:pt x="9343" y="2010"/>
                  </a:lnTo>
                  <a:lnTo>
                    <a:pt x="9529" y="1823"/>
                  </a:lnTo>
                  <a:lnTo>
                    <a:pt x="9716" y="2010"/>
                  </a:lnTo>
                  <a:lnTo>
                    <a:pt x="9529" y="2196"/>
                  </a:lnTo>
                  <a:close/>
                  <a:moveTo>
                    <a:pt x="9504" y="2223"/>
                  </a:moveTo>
                  <a:lnTo>
                    <a:pt x="9317" y="2408"/>
                  </a:lnTo>
                  <a:lnTo>
                    <a:pt x="9131" y="2223"/>
                  </a:lnTo>
                  <a:lnTo>
                    <a:pt x="9317" y="2035"/>
                  </a:lnTo>
                  <a:lnTo>
                    <a:pt x="9504" y="2223"/>
                  </a:lnTo>
                  <a:close/>
                  <a:moveTo>
                    <a:pt x="9106" y="2196"/>
                  </a:moveTo>
                  <a:lnTo>
                    <a:pt x="8919" y="2010"/>
                  </a:lnTo>
                  <a:lnTo>
                    <a:pt x="9106" y="1823"/>
                  </a:lnTo>
                  <a:lnTo>
                    <a:pt x="9292" y="2010"/>
                  </a:lnTo>
                  <a:lnTo>
                    <a:pt x="9106" y="2196"/>
                  </a:lnTo>
                  <a:close/>
                  <a:moveTo>
                    <a:pt x="9080" y="2223"/>
                  </a:moveTo>
                  <a:lnTo>
                    <a:pt x="8894" y="2408"/>
                  </a:lnTo>
                  <a:lnTo>
                    <a:pt x="8707" y="2223"/>
                  </a:lnTo>
                  <a:lnTo>
                    <a:pt x="8894" y="2035"/>
                  </a:lnTo>
                  <a:lnTo>
                    <a:pt x="9080" y="2223"/>
                  </a:lnTo>
                  <a:close/>
                  <a:moveTo>
                    <a:pt x="8682" y="2196"/>
                  </a:moveTo>
                  <a:lnTo>
                    <a:pt x="8497" y="2010"/>
                  </a:lnTo>
                  <a:lnTo>
                    <a:pt x="8682" y="1823"/>
                  </a:lnTo>
                  <a:lnTo>
                    <a:pt x="8868" y="2010"/>
                  </a:lnTo>
                  <a:lnTo>
                    <a:pt x="8682" y="2196"/>
                  </a:lnTo>
                  <a:close/>
                  <a:moveTo>
                    <a:pt x="8656" y="2223"/>
                  </a:moveTo>
                  <a:lnTo>
                    <a:pt x="8470" y="2408"/>
                  </a:lnTo>
                  <a:lnTo>
                    <a:pt x="8285" y="2223"/>
                  </a:lnTo>
                  <a:lnTo>
                    <a:pt x="8470" y="2035"/>
                  </a:lnTo>
                  <a:lnTo>
                    <a:pt x="8656" y="2223"/>
                  </a:lnTo>
                  <a:close/>
                  <a:moveTo>
                    <a:pt x="8259" y="2196"/>
                  </a:moveTo>
                  <a:lnTo>
                    <a:pt x="8073" y="2010"/>
                  </a:lnTo>
                  <a:lnTo>
                    <a:pt x="8259" y="1823"/>
                  </a:lnTo>
                  <a:lnTo>
                    <a:pt x="8446" y="2010"/>
                  </a:lnTo>
                  <a:lnTo>
                    <a:pt x="8259" y="2196"/>
                  </a:lnTo>
                  <a:close/>
                  <a:moveTo>
                    <a:pt x="8234" y="2223"/>
                  </a:moveTo>
                  <a:lnTo>
                    <a:pt x="8047" y="2408"/>
                  </a:lnTo>
                  <a:lnTo>
                    <a:pt x="7861" y="2223"/>
                  </a:lnTo>
                  <a:lnTo>
                    <a:pt x="8047" y="2035"/>
                  </a:lnTo>
                  <a:lnTo>
                    <a:pt x="8234" y="2223"/>
                  </a:lnTo>
                  <a:close/>
                  <a:moveTo>
                    <a:pt x="7836" y="2196"/>
                  </a:moveTo>
                  <a:lnTo>
                    <a:pt x="7649" y="2010"/>
                  </a:lnTo>
                  <a:lnTo>
                    <a:pt x="7836" y="1823"/>
                  </a:lnTo>
                  <a:lnTo>
                    <a:pt x="8022" y="2010"/>
                  </a:lnTo>
                  <a:lnTo>
                    <a:pt x="7836" y="2196"/>
                  </a:lnTo>
                  <a:close/>
                  <a:moveTo>
                    <a:pt x="7810" y="2223"/>
                  </a:moveTo>
                  <a:lnTo>
                    <a:pt x="7624" y="2408"/>
                  </a:lnTo>
                  <a:lnTo>
                    <a:pt x="7437" y="2223"/>
                  </a:lnTo>
                  <a:lnTo>
                    <a:pt x="7624" y="2035"/>
                  </a:lnTo>
                  <a:lnTo>
                    <a:pt x="7810" y="2223"/>
                  </a:lnTo>
                  <a:close/>
                  <a:moveTo>
                    <a:pt x="7412" y="2196"/>
                  </a:moveTo>
                  <a:lnTo>
                    <a:pt x="7226" y="2010"/>
                  </a:lnTo>
                  <a:lnTo>
                    <a:pt x="7412" y="1823"/>
                  </a:lnTo>
                  <a:lnTo>
                    <a:pt x="7598" y="2010"/>
                  </a:lnTo>
                  <a:lnTo>
                    <a:pt x="7412" y="2196"/>
                  </a:lnTo>
                  <a:close/>
                  <a:moveTo>
                    <a:pt x="7386" y="2223"/>
                  </a:moveTo>
                  <a:lnTo>
                    <a:pt x="7200" y="2408"/>
                  </a:lnTo>
                  <a:lnTo>
                    <a:pt x="7014" y="2223"/>
                  </a:lnTo>
                  <a:lnTo>
                    <a:pt x="7200" y="2035"/>
                  </a:lnTo>
                  <a:lnTo>
                    <a:pt x="7386" y="2223"/>
                  </a:lnTo>
                  <a:close/>
                  <a:moveTo>
                    <a:pt x="6988" y="2196"/>
                  </a:moveTo>
                  <a:lnTo>
                    <a:pt x="6802" y="2010"/>
                  </a:lnTo>
                  <a:lnTo>
                    <a:pt x="6988" y="1823"/>
                  </a:lnTo>
                  <a:lnTo>
                    <a:pt x="7175" y="2010"/>
                  </a:lnTo>
                  <a:lnTo>
                    <a:pt x="6988" y="2196"/>
                  </a:lnTo>
                  <a:close/>
                  <a:moveTo>
                    <a:pt x="6963" y="2223"/>
                  </a:moveTo>
                  <a:lnTo>
                    <a:pt x="6776" y="2408"/>
                  </a:lnTo>
                  <a:lnTo>
                    <a:pt x="6590" y="2223"/>
                  </a:lnTo>
                  <a:lnTo>
                    <a:pt x="6776" y="2035"/>
                  </a:lnTo>
                  <a:lnTo>
                    <a:pt x="6963" y="2223"/>
                  </a:lnTo>
                  <a:close/>
                  <a:moveTo>
                    <a:pt x="6566" y="2196"/>
                  </a:moveTo>
                  <a:lnTo>
                    <a:pt x="6378" y="2010"/>
                  </a:lnTo>
                  <a:lnTo>
                    <a:pt x="6566" y="1823"/>
                  </a:lnTo>
                  <a:lnTo>
                    <a:pt x="6751" y="2010"/>
                  </a:lnTo>
                  <a:lnTo>
                    <a:pt x="6566" y="2196"/>
                  </a:lnTo>
                  <a:close/>
                  <a:moveTo>
                    <a:pt x="6539" y="2223"/>
                  </a:moveTo>
                  <a:lnTo>
                    <a:pt x="6354" y="2408"/>
                  </a:lnTo>
                  <a:lnTo>
                    <a:pt x="6166" y="2223"/>
                  </a:lnTo>
                  <a:lnTo>
                    <a:pt x="6354" y="2035"/>
                  </a:lnTo>
                  <a:lnTo>
                    <a:pt x="6539" y="2223"/>
                  </a:lnTo>
                  <a:close/>
                  <a:moveTo>
                    <a:pt x="6142" y="2196"/>
                  </a:moveTo>
                  <a:lnTo>
                    <a:pt x="5956" y="2010"/>
                  </a:lnTo>
                  <a:lnTo>
                    <a:pt x="6142" y="1823"/>
                  </a:lnTo>
                  <a:lnTo>
                    <a:pt x="6327" y="2010"/>
                  </a:lnTo>
                  <a:lnTo>
                    <a:pt x="6142" y="2196"/>
                  </a:lnTo>
                  <a:close/>
                  <a:moveTo>
                    <a:pt x="6115" y="2223"/>
                  </a:moveTo>
                  <a:lnTo>
                    <a:pt x="5930" y="2408"/>
                  </a:lnTo>
                  <a:lnTo>
                    <a:pt x="5744" y="2223"/>
                  </a:lnTo>
                  <a:lnTo>
                    <a:pt x="5930" y="2035"/>
                  </a:lnTo>
                  <a:lnTo>
                    <a:pt x="6115" y="2223"/>
                  </a:lnTo>
                  <a:close/>
                  <a:moveTo>
                    <a:pt x="5718" y="2196"/>
                  </a:moveTo>
                  <a:lnTo>
                    <a:pt x="5532" y="2010"/>
                  </a:lnTo>
                  <a:lnTo>
                    <a:pt x="5718" y="1823"/>
                  </a:lnTo>
                  <a:lnTo>
                    <a:pt x="5903" y="2010"/>
                  </a:lnTo>
                  <a:lnTo>
                    <a:pt x="5718" y="2196"/>
                  </a:lnTo>
                  <a:close/>
                  <a:moveTo>
                    <a:pt x="5693" y="2223"/>
                  </a:moveTo>
                  <a:lnTo>
                    <a:pt x="5506" y="2408"/>
                  </a:lnTo>
                  <a:lnTo>
                    <a:pt x="5320" y="2223"/>
                  </a:lnTo>
                  <a:lnTo>
                    <a:pt x="5506" y="2035"/>
                  </a:lnTo>
                  <a:lnTo>
                    <a:pt x="5693" y="2223"/>
                  </a:lnTo>
                  <a:close/>
                  <a:moveTo>
                    <a:pt x="5294" y="2196"/>
                  </a:moveTo>
                  <a:lnTo>
                    <a:pt x="5108" y="2010"/>
                  </a:lnTo>
                  <a:lnTo>
                    <a:pt x="5294" y="1823"/>
                  </a:lnTo>
                  <a:lnTo>
                    <a:pt x="5481" y="2010"/>
                  </a:lnTo>
                  <a:lnTo>
                    <a:pt x="5294" y="2196"/>
                  </a:lnTo>
                  <a:close/>
                  <a:moveTo>
                    <a:pt x="5269" y="2223"/>
                  </a:moveTo>
                  <a:lnTo>
                    <a:pt x="5083" y="2408"/>
                  </a:lnTo>
                  <a:lnTo>
                    <a:pt x="4896" y="2223"/>
                  </a:lnTo>
                  <a:lnTo>
                    <a:pt x="5083" y="2035"/>
                  </a:lnTo>
                  <a:lnTo>
                    <a:pt x="5269" y="2223"/>
                  </a:lnTo>
                  <a:close/>
                  <a:moveTo>
                    <a:pt x="4871" y="2196"/>
                  </a:moveTo>
                  <a:lnTo>
                    <a:pt x="4684" y="2010"/>
                  </a:lnTo>
                  <a:lnTo>
                    <a:pt x="4871" y="1823"/>
                  </a:lnTo>
                  <a:lnTo>
                    <a:pt x="5057" y="2010"/>
                  </a:lnTo>
                  <a:lnTo>
                    <a:pt x="4871" y="2196"/>
                  </a:lnTo>
                  <a:close/>
                  <a:moveTo>
                    <a:pt x="4845" y="2223"/>
                  </a:moveTo>
                  <a:lnTo>
                    <a:pt x="4659" y="2408"/>
                  </a:lnTo>
                  <a:lnTo>
                    <a:pt x="4474" y="2223"/>
                  </a:lnTo>
                  <a:lnTo>
                    <a:pt x="4659" y="2035"/>
                  </a:lnTo>
                  <a:lnTo>
                    <a:pt x="4845" y="2223"/>
                  </a:lnTo>
                  <a:close/>
                  <a:moveTo>
                    <a:pt x="4447" y="2196"/>
                  </a:moveTo>
                  <a:lnTo>
                    <a:pt x="4262" y="2010"/>
                  </a:lnTo>
                  <a:lnTo>
                    <a:pt x="4447" y="1823"/>
                  </a:lnTo>
                  <a:lnTo>
                    <a:pt x="4633" y="2010"/>
                  </a:lnTo>
                  <a:lnTo>
                    <a:pt x="4447" y="2196"/>
                  </a:lnTo>
                  <a:close/>
                  <a:moveTo>
                    <a:pt x="4423" y="2223"/>
                  </a:moveTo>
                  <a:lnTo>
                    <a:pt x="4235" y="2408"/>
                  </a:lnTo>
                  <a:lnTo>
                    <a:pt x="4050" y="2223"/>
                  </a:lnTo>
                  <a:lnTo>
                    <a:pt x="4235" y="2035"/>
                  </a:lnTo>
                  <a:lnTo>
                    <a:pt x="4423" y="2223"/>
                  </a:lnTo>
                  <a:close/>
                  <a:moveTo>
                    <a:pt x="4023" y="2196"/>
                  </a:moveTo>
                  <a:lnTo>
                    <a:pt x="3838" y="2010"/>
                  </a:lnTo>
                  <a:lnTo>
                    <a:pt x="4023" y="1823"/>
                  </a:lnTo>
                  <a:lnTo>
                    <a:pt x="4211" y="2010"/>
                  </a:lnTo>
                  <a:lnTo>
                    <a:pt x="4023" y="2196"/>
                  </a:lnTo>
                  <a:close/>
                  <a:moveTo>
                    <a:pt x="3999" y="2223"/>
                  </a:moveTo>
                  <a:lnTo>
                    <a:pt x="3813" y="2408"/>
                  </a:lnTo>
                  <a:lnTo>
                    <a:pt x="3626" y="2223"/>
                  </a:lnTo>
                  <a:lnTo>
                    <a:pt x="3813" y="2035"/>
                  </a:lnTo>
                  <a:lnTo>
                    <a:pt x="3999" y="2223"/>
                  </a:lnTo>
                  <a:close/>
                  <a:moveTo>
                    <a:pt x="3601" y="2196"/>
                  </a:moveTo>
                  <a:lnTo>
                    <a:pt x="3414" y="2010"/>
                  </a:lnTo>
                  <a:lnTo>
                    <a:pt x="3601" y="1823"/>
                  </a:lnTo>
                  <a:lnTo>
                    <a:pt x="3787" y="2010"/>
                  </a:lnTo>
                  <a:lnTo>
                    <a:pt x="3601" y="2196"/>
                  </a:lnTo>
                  <a:close/>
                  <a:moveTo>
                    <a:pt x="3575" y="2223"/>
                  </a:moveTo>
                  <a:lnTo>
                    <a:pt x="3389" y="2408"/>
                  </a:lnTo>
                  <a:lnTo>
                    <a:pt x="3203" y="2223"/>
                  </a:lnTo>
                  <a:lnTo>
                    <a:pt x="3389" y="2035"/>
                  </a:lnTo>
                  <a:lnTo>
                    <a:pt x="3575" y="2223"/>
                  </a:lnTo>
                  <a:close/>
                  <a:moveTo>
                    <a:pt x="3177" y="2196"/>
                  </a:moveTo>
                  <a:lnTo>
                    <a:pt x="2991" y="2010"/>
                  </a:lnTo>
                  <a:lnTo>
                    <a:pt x="3177" y="1823"/>
                  </a:lnTo>
                  <a:lnTo>
                    <a:pt x="3363" y="2010"/>
                  </a:lnTo>
                  <a:lnTo>
                    <a:pt x="3177" y="2196"/>
                  </a:lnTo>
                  <a:close/>
                  <a:moveTo>
                    <a:pt x="3152" y="2223"/>
                  </a:moveTo>
                  <a:lnTo>
                    <a:pt x="2965" y="2408"/>
                  </a:lnTo>
                  <a:lnTo>
                    <a:pt x="2779" y="2223"/>
                  </a:lnTo>
                  <a:lnTo>
                    <a:pt x="2965" y="2035"/>
                  </a:lnTo>
                  <a:lnTo>
                    <a:pt x="3152" y="2223"/>
                  </a:lnTo>
                  <a:close/>
                  <a:moveTo>
                    <a:pt x="2753" y="2196"/>
                  </a:moveTo>
                  <a:lnTo>
                    <a:pt x="2567" y="2010"/>
                  </a:lnTo>
                  <a:lnTo>
                    <a:pt x="2753" y="1823"/>
                  </a:lnTo>
                  <a:lnTo>
                    <a:pt x="2940" y="2010"/>
                  </a:lnTo>
                  <a:lnTo>
                    <a:pt x="2753" y="2196"/>
                  </a:lnTo>
                  <a:close/>
                  <a:moveTo>
                    <a:pt x="2728" y="2223"/>
                  </a:moveTo>
                  <a:lnTo>
                    <a:pt x="2543" y="2408"/>
                  </a:lnTo>
                  <a:lnTo>
                    <a:pt x="2355" y="2223"/>
                  </a:lnTo>
                  <a:lnTo>
                    <a:pt x="2543" y="2035"/>
                  </a:lnTo>
                  <a:lnTo>
                    <a:pt x="2728" y="2223"/>
                  </a:lnTo>
                  <a:close/>
                  <a:moveTo>
                    <a:pt x="2331" y="2196"/>
                  </a:moveTo>
                  <a:lnTo>
                    <a:pt x="2143" y="2010"/>
                  </a:lnTo>
                  <a:lnTo>
                    <a:pt x="2331" y="1823"/>
                  </a:lnTo>
                  <a:lnTo>
                    <a:pt x="2516" y="2010"/>
                  </a:lnTo>
                  <a:lnTo>
                    <a:pt x="2331" y="2196"/>
                  </a:lnTo>
                  <a:close/>
                  <a:moveTo>
                    <a:pt x="2304" y="2223"/>
                  </a:moveTo>
                  <a:lnTo>
                    <a:pt x="2119" y="2408"/>
                  </a:lnTo>
                  <a:lnTo>
                    <a:pt x="1933" y="2223"/>
                  </a:lnTo>
                  <a:lnTo>
                    <a:pt x="2119" y="2035"/>
                  </a:lnTo>
                  <a:lnTo>
                    <a:pt x="2304" y="2223"/>
                  </a:lnTo>
                  <a:close/>
                  <a:moveTo>
                    <a:pt x="1907" y="2196"/>
                  </a:moveTo>
                  <a:lnTo>
                    <a:pt x="1721" y="2010"/>
                  </a:lnTo>
                  <a:lnTo>
                    <a:pt x="1907" y="1823"/>
                  </a:lnTo>
                  <a:lnTo>
                    <a:pt x="2092" y="2010"/>
                  </a:lnTo>
                  <a:lnTo>
                    <a:pt x="1907" y="2196"/>
                  </a:lnTo>
                  <a:close/>
                  <a:moveTo>
                    <a:pt x="1882" y="2223"/>
                  </a:moveTo>
                  <a:lnTo>
                    <a:pt x="1695" y="2408"/>
                  </a:lnTo>
                  <a:lnTo>
                    <a:pt x="1509" y="2223"/>
                  </a:lnTo>
                  <a:lnTo>
                    <a:pt x="1695" y="2035"/>
                  </a:lnTo>
                  <a:lnTo>
                    <a:pt x="1882" y="2223"/>
                  </a:lnTo>
                  <a:close/>
                  <a:moveTo>
                    <a:pt x="1483" y="2196"/>
                  </a:moveTo>
                  <a:lnTo>
                    <a:pt x="1297" y="2010"/>
                  </a:lnTo>
                  <a:lnTo>
                    <a:pt x="1483" y="1823"/>
                  </a:lnTo>
                  <a:lnTo>
                    <a:pt x="1670" y="2010"/>
                  </a:lnTo>
                  <a:lnTo>
                    <a:pt x="1483" y="2196"/>
                  </a:lnTo>
                  <a:close/>
                  <a:moveTo>
                    <a:pt x="1458" y="2223"/>
                  </a:moveTo>
                  <a:lnTo>
                    <a:pt x="1272" y="2408"/>
                  </a:lnTo>
                  <a:lnTo>
                    <a:pt x="1085" y="2223"/>
                  </a:lnTo>
                  <a:lnTo>
                    <a:pt x="1272" y="2035"/>
                  </a:lnTo>
                  <a:lnTo>
                    <a:pt x="1458" y="2223"/>
                  </a:lnTo>
                  <a:close/>
                  <a:moveTo>
                    <a:pt x="1060" y="2196"/>
                  </a:moveTo>
                  <a:lnTo>
                    <a:pt x="873" y="2010"/>
                  </a:lnTo>
                  <a:lnTo>
                    <a:pt x="1060" y="1823"/>
                  </a:lnTo>
                  <a:lnTo>
                    <a:pt x="1246" y="2010"/>
                  </a:lnTo>
                  <a:lnTo>
                    <a:pt x="1060" y="2196"/>
                  </a:lnTo>
                  <a:close/>
                  <a:moveTo>
                    <a:pt x="1034" y="2223"/>
                  </a:moveTo>
                  <a:lnTo>
                    <a:pt x="848" y="2408"/>
                  </a:lnTo>
                  <a:lnTo>
                    <a:pt x="663" y="2223"/>
                  </a:lnTo>
                  <a:lnTo>
                    <a:pt x="848" y="2035"/>
                  </a:lnTo>
                  <a:lnTo>
                    <a:pt x="1034" y="2223"/>
                  </a:lnTo>
                  <a:close/>
                  <a:moveTo>
                    <a:pt x="1034" y="2645"/>
                  </a:moveTo>
                  <a:lnTo>
                    <a:pt x="848" y="2832"/>
                  </a:lnTo>
                  <a:lnTo>
                    <a:pt x="663" y="2645"/>
                  </a:lnTo>
                  <a:lnTo>
                    <a:pt x="848" y="2459"/>
                  </a:lnTo>
                  <a:lnTo>
                    <a:pt x="1034" y="2645"/>
                  </a:lnTo>
                  <a:close/>
                  <a:moveTo>
                    <a:pt x="873" y="2433"/>
                  </a:moveTo>
                  <a:lnTo>
                    <a:pt x="1060" y="2247"/>
                  </a:lnTo>
                  <a:lnTo>
                    <a:pt x="1246" y="2433"/>
                  </a:lnTo>
                  <a:lnTo>
                    <a:pt x="1060" y="2620"/>
                  </a:lnTo>
                  <a:lnTo>
                    <a:pt x="873" y="2433"/>
                  </a:lnTo>
                  <a:close/>
                  <a:moveTo>
                    <a:pt x="1272" y="2459"/>
                  </a:moveTo>
                  <a:lnTo>
                    <a:pt x="1458" y="2645"/>
                  </a:lnTo>
                  <a:lnTo>
                    <a:pt x="1272" y="2832"/>
                  </a:lnTo>
                  <a:lnTo>
                    <a:pt x="1085" y="2645"/>
                  </a:lnTo>
                  <a:lnTo>
                    <a:pt x="1272" y="2459"/>
                  </a:lnTo>
                  <a:close/>
                  <a:moveTo>
                    <a:pt x="1297" y="2433"/>
                  </a:moveTo>
                  <a:lnTo>
                    <a:pt x="1483" y="2247"/>
                  </a:lnTo>
                  <a:lnTo>
                    <a:pt x="1670" y="2433"/>
                  </a:lnTo>
                  <a:lnTo>
                    <a:pt x="1483" y="2620"/>
                  </a:lnTo>
                  <a:lnTo>
                    <a:pt x="1297" y="2433"/>
                  </a:lnTo>
                  <a:close/>
                  <a:moveTo>
                    <a:pt x="1695" y="2459"/>
                  </a:moveTo>
                  <a:lnTo>
                    <a:pt x="1882" y="2645"/>
                  </a:lnTo>
                  <a:lnTo>
                    <a:pt x="1695" y="2832"/>
                  </a:lnTo>
                  <a:lnTo>
                    <a:pt x="1509" y="2645"/>
                  </a:lnTo>
                  <a:lnTo>
                    <a:pt x="1695" y="2459"/>
                  </a:lnTo>
                  <a:close/>
                  <a:moveTo>
                    <a:pt x="1721" y="2433"/>
                  </a:moveTo>
                  <a:lnTo>
                    <a:pt x="1907" y="2247"/>
                  </a:lnTo>
                  <a:lnTo>
                    <a:pt x="2092" y="2433"/>
                  </a:lnTo>
                  <a:lnTo>
                    <a:pt x="1907" y="2620"/>
                  </a:lnTo>
                  <a:lnTo>
                    <a:pt x="1721" y="2433"/>
                  </a:lnTo>
                  <a:close/>
                  <a:moveTo>
                    <a:pt x="2119" y="2459"/>
                  </a:moveTo>
                  <a:lnTo>
                    <a:pt x="2304" y="2645"/>
                  </a:lnTo>
                  <a:lnTo>
                    <a:pt x="2119" y="2832"/>
                  </a:lnTo>
                  <a:lnTo>
                    <a:pt x="1933" y="2645"/>
                  </a:lnTo>
                  <a:lnTo>
                    <a:pt x="2119" y="2459"/>
                  </a:lnTo>
                  <a:close/>
                  <a:moveTo>
                    <a:pt x="2143" y="2433"/>
                  </a:moveTo>
                  <a:lnTo>
                    <a:pt x="2331" y="2247"/>
                  </a:lnTo>
                  <a:lnTo>
                    <a:pt x="2516" y="2433"/>
                  </a:lnTo>
                  <a:lnTo>
                    <a:pt x="2331" y="2620"/>
                  </a:lnTo>
                  <a:lnTo>
                    <a:pt x="2143" y="2433"/>
                  </a:lnTo>
                  <a:close/>
                  <a:moveTo>
                    <a:pt x="2543" y="2459"/>
                  </a:moveTo>
                  <a:lnTo>
                    <a:pt x="2728" y="2645"/>
                  </a:lnTo>
                  <a:lnTo>
                    <a:pt x="2543" y="2832"/>
                  </a:lnTo>
                  <a:lnTo>
                    <a:pt x="2355" y="2645"/>
                  </a:lnTo>
                  <a:lnTo>
                    <a:pt x="2543" y="2459"/>
                  </a:lnTo>
                  <a:close/>
                  <a:moveTo>
                    <a:pt x="2567" y="2433"/>
                  </a:moveTo>
                  <a:lnTo>
                    <a:pt x="2753" y="2247"/>
                  </a:lnTo>
                  <a:lnTo>
                    <a:pt x="2940" y="2433"/>
                  </a:lnTo>
                  <a:lnTo>
                    <a:pt x="2753" y="2620"/>
                  </a:lnTo>
                  <a:lnTo>
                    <a:pt x="2567" y="2433"/>
                  </a:lnTo>
                  <a:close/>
                  <a:moveTo>
                    <a:pt x="2965" y="2459"/>
                  </a:moveTo>
                  <a:lnTo>
                    <a:pt x="3152" y="2645"/>
                  </a:lnTo>
                  <a:lnTo>
                    <a:pt x="2965" y="2832"/>
                  </a:lnTo>
                  <a:lnTo>
                    <a:pt x="2779" y="2645"/>
                  </a:lnTo>
                  <a:lnTo>
                    <a:pt x="2965" y="2459"/>
                  </a:lnTo>
                  <a:close/>
                  <a:moveTo>
                    <a:pt x="2991" y="2433"/>
                  </a:moveTo>
                  <a:lnTo>
                    <a:pt x="3177" y="2247"/>
                  </a:lnTo>
                  <a:lnTo>
                    <a:pt x="3363" y="2433"/>
                  </a:lnTo>
                  <a:lnTo>
                    <a:pt x="3177" y="2620"/>
                  </a:lnTo>
                  <a:lnTo>
                    <a:pt x="2991" y="2433"/>
                  </a:lnTo>
                  <a:close/>
                  <a:moveTo>
                    <a:pt x="3389" y="2459"/>
                  </a:moveTo>
                  <a:lnTo>
                    <a:pt x="3575" y="2645"/>
                  </a:lnTo>
                  <a:lnTo>
                    <a:pt x="3389" y="2832"/>
                  </a:lnTo>
                  <a:lnTo>
                    <a:pt x="3203" y="2645"/>
                  </a:lnTo>
                  <a:lnTo>
                    <a:pt x="3389" y="2459"/>
                  </a:lnTo>
                  <a:close/>
                  <a:moveTo>
                    <a:pt x="3414" y="2433"/>
                  </a:moveTo>
                  <a:lnTo>
                    <a:pt x="3601" y="2247"/>
                  </a:lnTo>
                  <a:lnTo>
                    <a:pt x="3787" y="2433"/>
                  </a:lnTo>
                  <a:lnTo>
                    <a:pt x="3601" y="2620"/>
                  </a:lnTo>
                  <a:lnTo>
                    <a:pt x="3414" y="2433"/>
                  </a:lnTo>
                  <a:close/>
                  <a:moveTo>
                    <a:pt x="3813" y="2459"/>
                  </a:moveTo>
                  <a:lnTo>
                    <a:pt x="3999" y="2645"/>
                  </a:lnTo>
                  <a:lnTo>
                    <a:pt x="3813" y="2832"/>
                  </a:lnTo>
                  <a:lnTo>
                    <a:pt x="3626" y="2645"/>
                  </a:lnTo>
                  <a:lnTo>
                    <a:pt x="3813" y="2459"/>
                  </a:lnTo>
                  <a:close/>
                  <a:moveTo>
                    <a:pt x="3838" y="2433"/>
                  </a:moveTo>
                  <a:lnTo>
                    <a:pt x="4023" y="2247"/>
                  </a:lnTo>
                  <a:lnTo>
                    <a:pt x="4211" y="2433"/>
                  </a:lnTo>
                  <a:lnTo>
                    <a:pt x="4023" y="2620"/>
                  </a:lnTo>
                  <a:lnTo>
                    <a:pt x="3838" y="2433"/>
                  </a:lnTo>
                  <a:close/>
                  <a:moveTo>
                    <a:pt x="4235" y="2459"/>
                  </a:moveTo>
                  <a:lnTo>
                    <a:pt x="4423" y="2645"/>
                  </a:lnTo>
                  <a:lnTo>
                    <a:pt x="4235" y="2832"/>
                  </a:lnTo>
                  <a:lnTo>
                    <a:pt x="4050" y="2645"/>
                  </a:lnTo>
                  <a:lnTo>
                    <a:pt x="4235" y="2459"/>
                  </a:lnTo>
                  <a:close/>
                  <a:moveTo>
                    <a:pt x="4262" y="2433"/>
                  </a:moveTo>
                  <a:lnTo>
                    <a:pt x="4447" y="2247"/>
                  </a:lnTo>
                  <a:lnTo>
                    <a:pt x="4633" y="2433"/>
                  </a:lnTo>
                  <a:lnTo>
                    <a:pt x="4447" y="2620"/>
                  </a:lnTo>
                  <a:lnTo>
                    <a:pt x="4262" y="2433"/>
                  </a:lnTo>
                  <a:close/>
                  <a:moveTo>
                    <a:pt x="4659" y="2459"/>
                  </a:moveTo>
                  <a:lnTo>
                    <a:pt x="4845" y="2645"/>
                  </a:lnTo>
                  <a:lnTo>
                    <a:pt x="4659" y="2832"/>
                  </a:lnTo>
                  <a:lnTo>
                    <a:pt x="4474" y="2645"/>
                  </a:lnTo>
                  <a:lnTo>
                    <a:pt x="4659" y="2459"/>
                  </a:lnTo>
                  <a:close/>
                  <a:moveTo>
                    <a:pt x="4684" y="2433"/>
                  </a:moveTo>
                  <a:lnTo>
                    <a:pt x="4871" y="2247"/>
                  </a:lnTo>
                  <a:lnTo>
                    <a:pt x="5057" y="2433"/>
                  </a:lnTo>
                  <a:lnTo>
                    <a:pt x="4871" y="2620"/>
                  </a:lnTo>
                  <a:lnTo>
                    <a:pt x="4684" y="2433"/>
                  </a:lnTo>
                  <a:close/>
                  <a:moveTo>
                    <a:pt x="5083" y="2459"/>
                  </a:moveTo>
                  <a:lnTo>
                    <a:pt x="5269" y="2645"/>
                  </a:lnTo>
                  <a:lnTo>
                    <a:pt x="5083" y="2832"/>
                  </a:lnTo>
                  <a:lnTo>
                    <a:pt x="4896" y="2645"/>
                  </a:lnTo>
                  <a:lnTo>
                    <a:pt x="5083" y="2459"/>
                  </a:lnTo>
                  <a:close/>
                  <a:moveTo>
                    <a:pt x="5108" y="2433"/>
                  </a:moveTo>
                  <a:lnTo>
                    <a:pt x="5294" y="2247"/>
                  </a:lnTo>
                  <a:lnTo>
                    <a:pt x="5481" y="2433"/>
                  </a:lnTo>
                  <a:lnTo>
                    <a:pt x="5294" y="2620"/>
                  </a:lnTo>
                  <a:lnTo>
                    <a:pt x="5108" y="2433"/>
                  </a:lnTo>
                  <a:close/>
                  <a:moveTo>
                    <a:pt x="5506" y="2459"/>
                  </a:moveTo>
                  <a:lnTo>
                    <a:pt x="5693" y="2645"/>
                  </a:lnTo>
                  <a:lnTo>
                    <a:pt x="5506" y="2832"/>
                  </a:lnTo>
                  <a:lnTo>
                    <a:pt x="5320" y="2645"/>
                  </a:lnTo>
                  <a:lnTo>
                    <a:pt x="5506" y="2459"/>
                  </a:lnTo>
                  <a:close/>
                  <a:moveTo>
                    <a:pt x="5532" y="2433"/>
                  </a:moveTo>
                  <a:lnTo>
                    <a:pt x="5718" y="2247"/>
                  </a:lnTo>
                  <a:lnTo>
                    <a:pt x="5903" y="2433"/>
                  </a:lnTo>
                  <a:lnTo>
                    <a:pt x="5718" y="2620"/>
                  </a:lnTo>
                  <a:lnTo>
                    <a:pt x="5532" y="2433"/>
                  </a:lnTo>
                  <a:close/>
                  <a:moveTo>
                    <a:pt x="5930" y="2459"/>
                  </a:moveTo>
                  <a:lnTo>
                    <a:pt x="6115" y="2645"/>
                  </a:lnTo>
                  <a:lnTo>
                    <a:pt x="5930" y="2832"/>
                  </a:lnTo>
                  <a:lnTo>
                    <a:pt x="5744" y="2645"/>
                  </a:lnTo>
                  <a:lnTo>
                    <a:pt x="5930" y="2459"/>
                  </a:lnTo>
                  <a:close/>
                  <a:moveTo>
                    <a:pt x="5956" y="2433"/>
                  </a:moveTo>
                  <a:lnTo>
                    <a:pt x="6142" y="2247"/>
                  </a:lnTo>
                  <a:lnTo>
                    <a:pt x="6327" y="2433"/>
                  </a:lnTo>
                  <a:lnTo>
                    <a:pt x="6142" y="2620"/>
                  </a:lnTo>
                  <a:lnTo>
                    <a:pt x="5956" y="2433"/>
                  </a:lnTo>
                  <a:close/>
                  <a:moveTo>
                    <a:pt x="6354" y="2459"/>
                  </a:moveTo>
                  <a:lnTo>
                    <a:pt x="6539" y="2645"/>
                  </a:lnTo>
                  <a:lnTo>
                    <a:pt x="6354" y="2832"/>
                  </a:lnTo>
                  <a:lnTo>
                    <a:pt x="6166" y="2645"/>
                  </a:lnTo>
                  <a:lnTo>
                    <a:pt x="6354" y="2459"/>
                  </a:lnTo>
                  <a:close/>
                  <a:moveTo>
                    <a:pt x="6378" y="2433"/>
                  </a:moveTo>
                  <a:lnTo>
                    <a:pt x="6566" y="2247"/>
                  </a:lnTo>
                  <a:lnTo>
                    <a:pt x="6751" y="2433"/>
                  </a:lnTo>
                  <a:lnTo>
                    <a:pt x="6566" y="2620"/>
                  </a:lnTo>
                  <a:lnTo>
                    <a:pt x="6378" y="2433"/>
                  </a:lnTo>
                  <a:close/>
                  <a:moveTo>
                    <a:pt x="6776" y="2459"/>
                  </a:moveTo>
                  <a:lnTo>
                    <a:pt x="6963" y="2645"/>
                  </a:lnTo>
                  <a:lnTo>
                    <a:pt x="6776" y="2832"/>
                  </a:lnTo>
                  <a:lnTo>
                    <a:pt x="6590" y="2645"/>
                  </a:lnTo>
                  <a:lnTo>
                    <a:pt x="6776" y="2459"/>
                  </a:lnTo>
                  <a:close/>
                  <a:moveTo>
                    <a:pt x="6802" y="2433"/>
                  </a:moveTo>
                  <a:lnTo>
                    <a:pt x="6988" y="2247"/>
                  </a:lnTo>
                  <a:lnTo>
                    <a:pt x="7175" y="2433"/>
                  </a:lnTo>
                  <a:lnTo>
                    <a:pt x="6988" y="2620"/>
                  </a:lnTo>
                  <a:lnTo>
                    <a:pt x="6802" y="2433"/>
                  </a:lnTo>
                  <a:close/>
                  <a:moveTo>
                    <a:pt x="7200" y="2459"/>
                  </a:moveTo>
                  <a:lnTo>
                    <a:pt x="7386" y="2645"/>
                  </a:lnTo>
                  <a:lnTo>
                    <a:pt x="7200" y="2832"/>
                  </a:lnTo>
                  <a:lnTo>
                    <a:pt x="7014" y="2645"/>
                  </a:lnTo>
                  <a:lnTo>
                    <a:pt x="7200" y="2459"/>
                  </a:lnTo>
                  <a:close/>
                  <a:moveTo>
                    <a:pt x="7226" y="2433"/>
                  </a:moveTo>
                  <a:lnTo>
                    <a:pt x="7412" y="2247"/>
                  </a:lnTo>
                  <a:lnTo>
                    <a:pt x="7598" y="2433"/>
                  </a:lnTo>
                  <a:lnTo>
                    <a:pt x="7412" y="2620"/>
                  </a:lnTo>
                  <a:lnTo>
                    <a:pt x="7226" y="2433"/>
                  </a:lnTo>
                  <a:close/>
                  <a:moveTo>
                    <a:pt x="7624" y="2459"/>
                  </a:moveTo>
                  <a:lnTo>
                    <a:pt x="7810" y="2645"/>
                  </a:lnTo>
                  <a:lnTo>
                    <a:pt x="7624" y="2832"/>
                  </a:lnTo>
                  <a:lnTo>
                    <a:pt x="7437" y="2645"/>
                  </a:lnTo>
                  <a:lnTo>
                    <a:pt x="7624" y="2459"/>
                  </a:lnTo>
                  <a:close/>
                  <a:moveTo>
                    <a:pt x="7649" y="2433"/>
                  </a:moveTo>
                  <a:lnTo>
                    <a:pt x="7836" y="2247"/>
                  </a:lnTo>
                  <a:lnTo>
                    <a:pt x="8022" y="2433"/>
                  </a:lnTo>
                  <a:lnTo>
                    <a:pt x="7836" y="2620"/>
                  </a:lnTo>
                  <a:lnTo>
                    <a:pt x="7649" y="2433"/>
                  </a:lnTo>
                  <a:close/>
                  <a:moveTo>
                    <a:pt x="8047" y="2459"/>
                  </a:moveTo>
                  <a:lnTo>
                    <a:pt x="8234" y="2645"/>
                  </a:lnTo>
                  <a:lnTo>
                    <a:pt x="8047" y="2832"/>
                  </a:lnTo>
                  <a:lnTo>
                    <a:pt x="7861" y="2645"/>
                  </a:lnTo>
                  <a:lnTo>
                    <a:pt x="8047" y="2459"/>
                  </a:lnTo>
                  <a:close/>
                  <a:moveTo>
                    <a:pt x="8073" y="2433"/>
                  </a:moveTo>
                  <a:lnTo>
                    <a:pt x="8259" y="2247"/>
                  </a:lnTo>
                  <a:lnTo>
                    <a:pt x="8446" y="2433"/>
                  </a:lnTo>
                  <a:lnTo>
                    <a:pt x="8259" y="2620"/>
                  </a:lnTo>
                  <a:lnTo>
                    <a:pt x="8073" y="2433"/>
                  </a:lnTo>
                  <a:close/>
                  <a:moveTo>
                    <a:pt x="8470" y="2459"/>
                  </a:moveTo>
                  <a:lnTo>
                    <a:pt x="8656" y="2645"/>
                  </a:lnTo>
                  <a:lnTo>
                    <a:pt x="8470" y="2832"/>
                  </a:lnTo>
                  <a:lnTo>
                    <a:pt x="8285" y="2645"/>
                  </a:lnTo>
                  <a:lnTo>
                    <a:pt x="8470" y="2459"/>
                  </a:lnTo>
                  <a:close/>
                  <a:moveTo>
                    <a:pt x="8497" y="2433"/>
                  </a:moveTo>
                  <a:lnTo>
                    <a:pt x="8682" y="2247"/>
                  </a:lnTo>
                  <a:lnTo>
                    <a:pt x="8868" y="2433"/>
                  </a:lnTo>
                  <a:lnTo>
                    <a:pt x="8682" y="2620"/>
                  </a:lnTo>
                  <a:lnTo>
                    <a:pt x="8497" y="2433"/>
                  </a:lnTo>
                  <a:close/>
                  <a:moveTo>
                    <a:pt x="8894" y="2459"/>
                  </a:moveTo>
                  <a:lnTo>
                    <a:pt x="9080" y="2645"/>
                  </a:lnTo>
                  <a:lnTo>
                    <a:pt x="8894" y="2832"/>
                  </a:lnTo>
                  <a:lnTo>
                    <a:pt x="8707" y="2645"/>
                  </a:lnTo>
                  <a:lnTo>
                    <a:pt x="8894" y="2459"/>
                  </a:lnTo>
                  <a:close/>
                  <a:moveTo>
                    <a:pt x="8919" y="2433"/>
                  </a:moveTo>
                  <a:lnTo>
                    <a:pt x="9106" y="2247"/>
                  </a:lnTo>
                  <a:lnTo>
                    <a:pt x="9292" y="2433"/>
                  </a:lnTo>
                  <a:lnTo>
                    <a:pt x="9106" y="2620"/>
                  </a:lnTo>
                  <a:lnTo>
                    <a:pt x="8919" y="2433"/>
                  </a:lnTo>
                  <a:close/>
                  <a:moveTo>
                    <a:pt x="9317" y="2459"/>
                  </a:moveTo>
                  <a:lnTo>
                    <a:pt x="9504" y="2645"/>
                  </a:lnTo>
                  <a:lnTo>
                    <a:pt x="9317" y="2832"/>
                  </a:lnTo>
                  <a:lnTo>
                    <a:pt x="9131" y="2645"/>
                  </a:lnTo>
                  <a:lnTo>
                    <a:pt x="9317" y="2459"/>
                  </a:lnTo>
                  <a:close/>
                  <a:moveTo>
                    <a:pt x="9343" y="2433"/>
                  </a:moveTo>
                  <a:lnTo>
                    <a:pt x="9529" y="2247"/>
                  </a:lnTo>
                  <a:lnTo>
                    <a:pt x="9716" y="2433"/>
                  </a:lnTo>
                  <a:lnTo>
                    <a:pt x="9529" y="2620"/>
                  </a:lnTo>
                  <a:lnTo>
                    <a:pt x="9343" y="2433"/>
                  </a:lnTo>
                  <a:close/>
                  <a:moveTo>
                    <a:pt x="9741" y="2459"/>
                  </a:moveTo>
                  <a:lnTo>
                    <a:pt x="9927" y="2645"/>
                  </a:lnTo>
                  <a:lnTo>
                    <a:pt x="9741" y="2832"/>
                  </a:lnTo>
                  <a:lnTo>
                    <a:pt x="9555" y="2645"/>
                  </a:lnTo>
                  <a:lnTo>
                    <a:pt x="9741" y="2459"/>
                  </a:lnTo>
                  <a:close/>
                  <a:moveTo>
                    <a:pt x="9767" y="2433"/>
                  </a:moveTo>
                  <a:lnTo>
                    <a:pt x="9953" y="2247"/>
                  </a:lnTo>
                  <a:lnTo>
                    <a:pt x="10139" y="2433"/>
                  </a:lnTo>
                  <a:lnTo>
                    <a:pt x="9953" y="2620"/>
                  </a:lnTo>
                  <a:lnTo>
                    <a:pt x="9767" y="2433"/>
                  </a:lnTo>
                  <a:close/>
                  <a:moveTo>
                    <a:pt x="10165" y="2459"/>
                  </a:moveTo>
                  <a:lnTo>
                    <a:pt x="10351" y="2645"/>
                  </a:lnTo>
                  <a:lnTo>
                    <a:pt x="10165" y="2832"/>
                  </a:lnTo>
                  <a:lnTo>
                    <a:pt x="9979" y="2645"/>
                  </a:lnTo>
                  <a:lnTo>
                    <a:pt x="10165" y="2459"/>
                  </a:lnTo>
                  <a:close/>
                  <a:moveTo>
                    <a:pt x="10190" y="2433"/>
                  </a:moveTo>
                  <a:lnTo>
                    <a:pt x="10377" y="2247"/>
                  </a:lnTo>
                  <a:lnTo>
                    <a:pt x="10563" y="2433"/>
                  </a:lnTo>
                  <a:lnTo>
                    <a:pt x="10377" y="2620"/>
                  </a:lnTo>
                  <a:lnTo>
                    <a:pt x="10190" y="2433"/>
                  </a:lnTo>
                  <a:close/>
                  <a:moveTo>
                    <a:pt x="10589" y="2459"/>
                  </a:moveTo>
                  <a:lnTo>
                    <a:pt x="10775" y="2645"/>
                  </a:lnTo>
                  <a:lnTo>
                    <a:pt x="10589" y="2832"/>
                  </a:lnTo>
                  <a:lnTo>
                    <a:pt x="10402" y="2645"/>
                  </a:lnTo>
                  <a:lnTo>
                    <a:pt x="10589" y="2459"/>
                  </a:lnTo>
                  <a:close/>
                  <a:moveTo>
                    <a:pt x="10614" y="2433"/>
                  </a:moveTo>
                  <a:lnTo>
                    <a:pt x="10799" y="2247"/>
                  </a:lnTo>
                  <a:lnTo>
                    <a:pt x="10986" y="2433"/>
                  </a:lnTo>
                  <a:lnTo>
                    <a:pt x="10799" y="2620"/>
                  </a:lnTo>
                  <a:lnTo>
                    <a:pt x="10614" y="2433"/>
                  </a:lnTo>
                  <a:close/>
                  <a:moveTo>
                    <a:pt x="11011" y="2459"/>
                  </a:moveTo>
                  <a:lnTo>
                    <a:pt x="11198" y="2645"/>
                  </a:lnTo>
                  <a:lnTo>
                    <a:pt x="11011" y="2832"/>
                  </a:lnTo>
                  <a:lnTo>
                    <a:pt x="10826" y="2645"/>
                  </a:lnTo>
                  <a:lnTo>
                    <a:pt x="11011" y="2459"/>
                  </a:lnTo>
                  <a:close/>
                  <a:moveTo>
                    <a:pt x="11038" y="2433"/>
                  </a:moveTo>
                  <a:lnTo>
                    <a:pt x="11223" y="2247"/>
                  </a:lnTo>
                  <a:lnTo>
                    <a:pt x="11409" y="2433"/>
                  </a:lnTo>
                  <a:lnTo>
                    <a:pt x="11223" y="2620"/>
                  </a:lnTo>
                  <a:lnTo>
                    <a:pt x="11038" y="2433"/>
                  </a:lnTo>
                  <a:close/>
                  <a:moveTo>
                    <a:pt x="11435" y="2459"/>
                  </a:moveTo>
                  <a:lnTo>
                    <a:pt x="11621" y="2645"/>
                  </a:lnTo>
                  <a:lnTo>
                    <a:pt x="11435" y="2832"/>
                  </a:lnTo>
                  <a:lnTo>
                    <a:pt x="11250" y="2645"/>
                  </a:lnTo>
                  <a:lnTo>
                    <a:pt x="11435" y="2459"/>
                  </a:lnTo>
                  <a:close/>
                  <a:moveTo>
                    <a:pt x="11460" y="2433"/>
                  </a:moveTo>
                  <a:lnTo>
                    <a:pt x="11647" y="2247"/>
                  </a:lnTo>
                  <a:lnTo>
                    <a:pt x="11833" y="2433"/>
                  </a:lnTo>
                  <a:lnTo>
                    <a:pt x="11647" y="2620"/>
                  </a:lnTo>
                  <a:lnTo>
                    <a:pt x="11460" y="2433"/>
                  </a:lnTo>
                  <a:close/>
                  <a:moveTo>
                    <a:pt x="11859" y="2459"/>
                  </a:moveTo>
                  <a:lnTo>
                    <a:pt x="12045" y="2645"/>
                  </a:lnTo>
                  <a:lnTo>
                    <a:pt x="11859" y="2832"/>
                  </a:lnTo>
                  <a:lnTo>
                    <a:pt x="11672" y="2645"/>
                  </a:lnTo>
                  <a:lnTo>
                    <a:pt x="11859" y="2459"/>
                  </a:lnTo>
                  <a:close/>
                  <a:moveTo>
                    <a:pt x="11884" y="2433"/>
                  </a:moveTo>
                  <a:lnTo>
                    <a:pt x="12070" y="2247"/>
                  </a:lnTo>
                  <a:lnTo>
                    <a:pt x="12257" y="2433"/>
                  </a:lnTo>
                  <a:lnTo>
                    <a:pt x="12070" y="2620"/>
                  </a:lnTo>
                  <a:lnTo>
                    <a:pt x="11884" y="2433"/>
                  </a:lnTo>
                  <a:close/>
                  <a:moveTo>
                    <a:pt x="12282" y="2459"/>
                  </a:moveTo>
                  <a:lnTo>
                    <a:pt x="12469" y="2645"/>
                  </a:lnTo>
                  <a:lnTo>
                    <a:pt x="12282" y="2832"/>
                  </a:lnTo>
                  <a:lnTo>
                    <a:pt x="12096" y="2645"/>
                  </a:lnTo>
                  <a:lnTo>
                    <a:pt x="12282" y="2459"/>
                  </a:lnTo>
                  <a:close/>
                  <a:moveTo>
                    <a:pt x="12308" y="2433"/>
                  </a:moveTo>
                  <a:lnTo>
                    <a:pt x="12494" y="2247"/>
                  </a:lnTo>
                  <a:lnTo>
                    <a:pt x="12679" y="2433"/>
                  </a:lnTo>
                  <a:lnTo>
                    <a:pt x="12494" y="2620"/>
                  </a:lnTo>
                  <a:lnTo>
                    <a:pt x="12308" y="2433"/>
                  </a:lnTo>
                  <a:close/>
                  <a:moveTo>
                    <a:pt x="12706" y="2459"/>
                  </a:moveTo>
                  <a:lnTo>
                    <a:pt x="12891" y="2645"/>
                  </a:lnTo>
                  <a:lnTo>
                    <a:pt x="12706" y="2832"/>
                  </a:lnTo>
                  <a:lnTo>
                    <a:pt x="12520" y="2645"/>
                  </a:lnTo>
                  <a:lnTo>
                    <a:pt x="12706" y="2459"/>
                  </a:lnTo>
                  <a:close/>
                  <a:moveTo>
                    <a:pt x="12730" y="2433"/>
                  </a:moveTo>
                  <a:lnTo>
                    <a:pt x="12918" y="2247"/>
                  </a:lnTo>
                  <a:lnTo>
                    <a:pt x="13103" y="2433"/>
                  </a:lnTo>
                  <a:lnTo>
                    <a:pt x="12918" y="2620"/>
                  </a:lnTo>
                  <a:lnTo>
                    <a:pt x="12730" y="2433"/>
                  </a:lnTo>
                  <a:close/>
                  <a:moveTo>
                    <a:pt x="13130" y="2459"/>
                  </a:moveTo>
                  <a:lnTo>
                    <a:pt x="13315" y="2645"/>
                  </a:lnTo>
                  <a:lnTo>
                    <a:pt x="13130" y="2832"/>
                  </a:lnTo>
                  <a:lnTo>
                    <a:pt x="12942" y="2645"/>
                  </a:lnTo>
                  <a:lnTo>
                    <a:pt x="13130" y="2459"/>
                  </a:lnTo>
                  <a:close/>
                  <a:moveTo>
                    <a:pt x="13154" y="2433"/>
                  </a:moveTo>
                  <a:lnTo>
                    <a:pt x="13340" y="2247"/>
                  </a:lnTo>
                  <a:lnTo>
                    <a:pt x="13527" y="2433"/>
                  </a:lnTo>
                  <a:lnTo>
                    <a:pt x="13340" y="2620"/>
                  </a:lnTo>
                  <a:lnTo>
                    <a:pt x="13154" y="2433"/>
                  </a:lnTo>
                  <a:close/>
                  <a:moveTo>
                    <a:pt x="13552" y="2459"/>
                  </a:moveTo>
                  <a:lnTo>
                    <a:pt x="13739" y="2645"/>
                  </a:lnTo>
                  <a:lnTo>
                    <a:pt x="13552" y="2832"/>
                  </a:lnTo>
                  <a:lnTo>
                    <a:pt x="13366" y="2645"/>
                  </a:lnTo>
                  <a:lnTo>
                    <a:pt x="13552" y="2459"/>
                  </a:lnTo>
                  <a:close/>
                  <a:moveTo>
                    <a:pt x="13578" y="2433"/>
                  </a:moveTo>
                  <a:lnTo>
                    <a:pt x="13764" y="2247"/>
                  </a:lnTo>
                  <a:lnTo>
                    <a:pt x="13950" y="2433"/>
                  </a:lnTo>
                  <a:lnTo>
                    <a:pt x="13764" y="2620"/>
                  </a:lnTo>
                  <a:lnTo>
                    <a:pt x="13578" y="2433"/>
                  </a:lnTo>
                  <a:close/>
                  <a:moveTo>
                    <a:pt x="13976" y="2459"/>
                  </a:moveTo>
                  <a:lnTo>
                    <a:pt x="14162" y="2645"/>
                  </a:lnTo>
                  <a:lnTo>
                    <a:pt x="13976" y="2832"/>
                  </a:lnTo>
                  <a:lnTo>
                    <a:pt x="13790" y="2645"/>
                  </a:lnTo>
                  <a:lnTo>
                    <a:pt x="13976" y="2459"/>
                  </a:lnTo>
                  <a:close/>
                  <a:moveTo>
                    <a:pt x="13790" y="2223"/>
                  </a:moveTo>
                  <a:lnTo>
                    <a:pt x="13976" y="2035"/>
                  </a:lnTo>
                  <a:lnTo>
                    <a:pt x="14162" y="2223"/>
                  </a:lnTo>
                  <a:lnTo>
                    <a:pt x="13976" y="2408"/>
                  </a:lnTo>
                  <a:lnTo>
                    <a:pt x="13790" y="2223"/>
                  </a:lnTo>
                  <a:close/>
                  <a:moveTo>
                    <a:pt x="13790" y="1798"/>
                  </a:moveTo>
                  <a:lnTo>
                    <a:pt x="13976" y="1613"/>
                  </a:lnTo>
                  <a:lnTo>
                    <a:pt x="14162" y="1798"/>
                  </a:lnTo>
                  <a:lnTo>
                    <a:pt x="13976" y="1984"/>
                  </a:lnTo>
                  <a:lnTo>
                    <a:pt x="13790" y="1798"/>
                  </a:lnTo>
                  <a:close/>
                  <a:moveTo>
                    <a:pt x="13764" y="1772"/>
                  </a:moveTo>
                  <a:lnTo>
                    <a:pt x="13578" y="1586"/>
                  </a:lnTo>
                  <a:lnTo>
                    <a:pt x="13764" y="1401"/>
                  </a:lnTo>
                  <a:lnTo>
                    <a:pt x="13950" y="1586"/>
                  </a:lnTo>
                  <a:lnTo>
                    <a:pt x="13764" y="1772"/>
                  </a:lnTo>
                  <a:close/>
                  <a:moveTo>
                    <a:pt x="13739" y="1798"/>
                  </a:moveTo>
                  <a:lnTo>
                    <a:pt x="13552" y="1984"/>
                  </a:lnTo>
                  <a:lnTo>
                    <a:pt x="13366" y="1798"/>
                  </a:lnTo>
                  <a:lnTo>
                    <a:pt x="13552" y="1613"/>
                  </a:lnTo>
                  <a:lnTo>
                    <a:pt x="13739" y="1798"/>
                  </a:lnTo>
                  <a:close/>
                  <a:moveTo>
                    <a:pt x="13340" y="1772"/>
                  </a:moveTo>
                  <a:lnTo>
                    <a:pt x="13154" y="1586"/>
                  </a:lnTo>
                  <a:lnTo>
                    <a:pt x="13340" y="1401"/>
                  </a:lnTo>
                  <a:lnTo>
                    <a:pt x="13527" y="1586"/>
                  </a:lnTo>
                  <a:lnTo>
                    <a:pt x="13340" y="1772"/>
                  </a:lnTo>
                  <a:close/>
                  <a:moveTo>
                    <a:pt x="13315" y="1798"/>
                  </a:moveTo>
                  <a:lnTo>
                    <a:pt x="13130" y="1984"/>
                  </a:lnTo>
                  <a:lnTo>
                    <a:pt x="12942" y="1798"/>
                  </a:lnTo>
                  <a:lnTo>
                    <a:pt x="13130" y="1613"/>
                  </a:lnTo>
                  <a:lnTo>
                    <a:pt x="13315" y="1798"/>
                  </a:lnTo>
                  <a:close/>
                  <a:moveTo>
                    <a:pt x="12918" y="1772"/>
                  </a:moveTo>
                  <a:lnTo>
                    <a:pt x="12730" y="1586"/>
                  </a:lnTo>
                  <a:lnTo>
                    <a:pt x="12918" y="1401"/>
                  </a:lnTo>
                  <a:lnTo>
                    <a:pt x="13103" y="1586"/>
                  </a:lnTo>
                  <a:lnTo>
                    <a:pt x="12918" y="1772"/>
                  </a:lnTo>
                  <a:close/>
                  <a:moveTo>
                    <a:pt x="12891" y="1798"/>
                  </a:moveTo>
                  <a:lnTo>
                    <a:pt x="12706" y="1984"/>
                  </a:lnTo>
                  <a:lnTo>
                    <a:pt x="12520" y="1798"/>
                  </a:lnTo>
                  <a:lnTo>
                    <a:pt x="12706" y="1613"/>
                  </a:lnTo>
                  <a:lnTo>
                    <a:pt x="12891" y="1798"/>
                  </a:lnTo>
                  <a:close/>
                  <a:moveTo>
                    <a:pt x="12494" y="1772"/>
                  </a:moveTo>
                  <a:lnTo>
                    <a:pt x="12308" y="1586"/>
                  </a:lnTo>
                  <a:lnTo>
                    <a:pt x="12494" y="1401"/>
                  </a:lnTo>
                  <a:lnTo>
                    <a:pt x="12679" y="1586"/>
                  </a:lnTo>
                  <a:lnTo>
                    <a:pt x="12494" y="1772"/>
                  </a:lnTo>
                  <a:close/>
                  <a:moveTo>
                    <a:pt x="12469" y="1798"/>
                  </a:moveTo>
                  <a:lnTo>
                    <a:pt x="12282" y="1984"/>
                  </a:lnTo>
                  <a:lnTo>
                    <a:pt x="12096" y="1798"/>
                  </a:lnTo>
                  <a:lnTo>
                    <a:pt x="12282" y="1613"/>
                  </a:lnTo>
                  <a:lnTo>
                    <a:pt x="12469" y="1798"/>
                  </a:lnTo>
                  <a:close/>
                  <a:moveTo>
                    <a:pt x="12070" y="1772"/>
                  </a:moveTo>
                  <a:lnTo>
                    <a:pt x="11884" y="1586"/>
                  </a:lnTo>
                  <a:lnTo>
                    <a:pt x="12070" y="1401"/>
                  </a:lnTo>
                  <a:lnTo>
                    <a:pt x="12257" y="1586"/>
                  </a:lnTo>
                  <a:lnTo>
                    <a:pt x="12070" y="1772"/>
                  </a:lnTo>
                  <a:close/>
                  <a:moveTo>
                    <a:pt x="12045" y="1798"/>
                  </a:moveTo>
                  <a:lnTo>
                    <a:pt x="11859" y="1984"/>
                  </a:lnTo>
                  <a:lnTo>
                    <a:pt x="11672" y="1798"/>
                  </a:lnTo>
                  <a:lnTo>
                    <a:pt x="11859" y="1613"/>
                  </a:lnTo>
                  <a:lnTo>
                    <a:pt x="12045" y="1798"/>
                  </a:lnTo>
                  <a:close/>
                  <a:moveTo>
                    <a:pt x="11647" y="1772"/>
                  </a:moveTo>
                  <a:lnTo>
                    <a:pt x="11460" y="1586"/>
                  </a:lnTo>
                  <a:lnTo>
                    <a:pt x="11647" y="1401"/>
                  </a:lnTo>
                  <a:lnTo>
                    <a:pt x="11833" y="1586"/>
                  </a:lnTo>
                  <a:lnTo>
                    <a:pt x="11647" y="1772"/>
                  </a:lnTo>
                  <a:close/>
                  <a:moveTo>
                    <a:pt x="11621" y="1798"/>
                  </a:moveTo>
                  <a:lnTo>
                    <a:pt x="11435" y="1984"/>
                  </a:lnTo>
                  <a:lnTo>
                    <a:pt x="11250" y="1798"/>
                  </a:lnTo>
                  <a:lnTo>
                    <a:pt x="11435" y="1613"/>
                  </a:lnTo>
                  <a:lnTo>
                    <a:pt x="11621" y="1798"/>
                  </a:lnTo>
                  <a:close/>
                  <a:moveTo>
                    <a:pt x="11223" y="1772"/>
                  </a:moveTo>
                  <a:lnTo>
                    <a:pt x="11038" y="1586"/>
                  </a:lnTo>
                  <a:lnTo>
                    <a:pt x="11223" y="1401"/>
                  </a:lnTo>
                  <a:lnTo>
                    <a:pt x="11409" y="1586"/>
                  </a:lnTo>
                  <a:lnTo>
                    <a:pt x="11223" y="1772"/>
                  </a:lnTo>
                  <a:close/>
                  <a:moveTo>
                    <a:pt x="11198" y="1798"/>
                  </a:moveTo>
                  <a:lnTo>
                    <a:pt x="11011" y="1984"/>
                  </a:lnTo>
                  <a:lnTo>
                    <a:pt x="10826" y="1798"/>
                  </a:lnTo>
                  <a:lnTo>
                    <a:pt x="11011" y="1613"/>
                  </a:lnTo>
                  <a:lnTo>
                    <a:pt x="11198" y="1798"/>
                  </a:lnTo>
                  <a:close/>
                  <a:moveTo>
                    <a:pt x="10799" y="1772"/>
                  </a:moveTo>
                  <a:lnTo>
                    <a:pt x="10614" y="1586"/>
                  </a:lnTo>
                  <a:lnTo>
                    <a:pt x="10799" y="1401"/>
                  </a:lnTo>
                  <a:lnTo>
                    <a:pt x="10986" y="1586"/>
                  </a:lnTo>
                  <a:lnTo>
                    <a:pt x="10799" y="1772"/>
                  </a:lnTo>
                  <a:close/>
                  <a:moveTo>
                    <a:pt x="10775" y="1798"/>
                  </a:moveTo>
                  <a:lnTo>
                    <a:pt x="10589" y="1984"/>
                  </a:lnTo>
                  <a:lnTo>
                    <a:pt x="10402" y="1798"/>
                  </a:lnTo>
                  <a:lnTo>
                    <a:pt x="10589" y="1613"/>
                  </a:lnTo>
                  <a:lnTo>
                    <a:pt x="10775" y="1798"/>
                  </a:lnTo>
                  <a:close/>
                  <a:moveTo>
                    <a:pt x="10377" y="1772"/>
                  </a:moveTo>
                  <a:lnTo>
                    <a:pt x="10190" y="1586"/>
                  </a:lnTo>
                  <a:lnTo>
                    <a:pt x="10377" y="1401"/>
                  </a:lnTo>
                  <a:lnTo>
                    <a:pt x="10563" y="1586"/>
                  </a:lnTo>
                  <a:lnTo>
                    <a:pt x="10377" y="1772"/>
                  </a:lnTo>
                  <a:close/>
                  <a:moveTo>
                    <a:pt x="10351" y="1798"/>
                  </a:moveTo>
                  <a:lnTo>
                    <a:pt x="10165" y="1984"/>
                  </a:lnTo>
                  <a:lnTo>
                    <a:pt x="9979" y="1798"/>
                  </a:lnTo>
                  <a:lnTo>
                    <a:pt x="10165" y="1613"/>
                  </a:lnTo>
                  <a:lnTo>
                    <a:pt x="10351" y="1798"/>
                  </a:lnTo>
                  <a:close/>
                  <a:moveTo>
                    <a:pt x="9953" y="1772"/>
                  </a:moveTo>
                  <a:lnTo>
                    <a:pt x="9767" y="1586"/>
                  </a:lnTo>
                  <a:lnTo>
                    <a:pt x="9953" y="1401"/>
                  </a:lnTo>
                  <a:lnTo>
                    <a:pt x="10139" y="1586"/>
                  </a:lnTo>
                  <a:lnTo>
                    <a:pt x="9953" y="1772"/>
                  </a:lnTo>
                  <a:close/>
                  <a:moveTo>
                    <a:pt x="9927" y="1798"/>
                  </a:moveTo>
                  <a:lnTo>
                    <a:pt x="9741" y="1984"/>
                  </a:lnTo>
                  <a:lnTo>
                    <a:pt x="9555" y="1798"/>
                  </a:lnTo>
                  <a:lnTo>
                    <a:pt x="9741" y="1613"/>
                  </a:lnTo>
                  <a:lnTo>
                    <a:pt x="9927" y="1798"/>
                  </a:lnTo>
                  <a:close/>
                  <a:moveTo>
                    <a:pt x="9529" y="1772"/>
                  </a:moveTo>
                  <a:lnTo>
                    <a:pt x="9343" y="1586"/>
                  </a:lnTo>
                  <a:lnTo>
                    <a:pt x="9529" y="1401"/>
                  </a:lnTo>
                  <a:lnTo>
                    <a:pt x="9716" y="1586"/>
                  </a:lnTo>
                  <a:lnTo>
                    <a:pt x="9529" y="1772"/>
                  </a:lnTo>
                  <a:close/>
                  <a:moveTo>
                    <a:pt x="9504" y="1798"/>
                  </a:moveTo>
                  <a:lnTo>
                    <a:pt x="9317" y="1984"/>
                  </a:lnTo>
                  <a:lnTo>
                    <a:pt x="9131" y="1798"/>
                  </a:lnTo>
                  <a:lnTo>
                    <a:pt x="9317" y="1613"/>
                  </a:lnTo>
                  <a:lnTo>
                    <a:pt x="9504" y="1798"/>
                  </a:lnTo>
                  <a:close/>
                  <a:moveTo>
                    <a:pt x="9106" y="1772"/>
                  </a:moveTo>
                  <a:lnTo>
                    <a:pt x="8919" y="1586"/>
                  </a:lnTo>
                  <a:lnTo>
                    <a:pt x="9106" y="1401"/>
                  </a:lnTo>
                  <a:lnTo>
                    <a:pt x="9292" y="1586"/>
                  </a:lnTo>
                  <a:lnTo>
                    <a:pt x="9106" y="1772"/>
                  </a:lnTo>
                  <a:close/>
                  <a:moveTo>
                    <a:pt x="9080" y="1798"/>
                  </a:moveTo>
                  <a:lnTo>
                    <a:pt x="8894" y="1984"/>
                  </a:lnTo>
                  <a:lnTo>
                    <a:pt x="8707" y="1798"/>
                  </a:lnTo>
                  <a:lnTo>
                    <a:pt x="8894" y="1613"/>
                  </a:lnTo>
                  <a:lnTo>
                    <a:pt x="9080" y="1798"/>
                  </a:lnTo>
                  <a:close/>
                  <a:moveTo>
                    <a:pt x="8682" y="1772"/>
                  </a:moveTo>
                  <a:lnTo>
                    <a:pt x="8497" y="1586"/>
                  </a:lnTo>
                  <a:lnTo>
                    <a:pt x="8682" y="1401"/>
                  </a:lnTo>
                  <a:lnTo>
                    <a:pt x="8868" y="1586"/>
                  </a:lnTo>
                  <a:lnTo>
                    <a:pt x="8682" y="1772"/>
                  </a:lnTo>
                  <a:close/>
                  <a:moveTo>
                    <a:pt x="8656" y="1798"/>
                  </a:moveTo>
                  <a:lnTo>
                    <a:pt x="8470" y="1984"/>
                  </a:lnTo>
                  <a:lnTo>
                    <a:pt x="8285" y="1798"/>
                  </a:lnTo>
                  <a:lnTo>
                    <a:pt x="8470" y="1613"/>
                  </a:lnTo>
                  <a:lnTo>
                    <a:pt x="8656" y="1798"/>
                  </a:lnTo>
                  <a:close/>
                  <a:moveTo>
                    <a:pt x="8259" y="1772"/>
                  </a:moveTo>
                  <a:lnTo>
                    <a:pt x="8073" y="1586"/>
                  </a:lnTo>
                  <a:lnTo>
                    <a:pt x="8259" y="1401"/>
                  </a:lnTo>
                  <a:lnTo>
                    <a:pt x="8446" y="1586"/>
                  </a:lnTo>
                  <a:lnTo>
                    <a:pt x="8259" y="1772"/>
                  </a:lnTo>
                  <a:close/>
                  <a:moveTo>
                    <a:pt x="8234" y="1798"/>
                  </a:moveTo>
                  <a:lnTo>
                    <a:pt x="8047" y="1984"/>
                  </a:lnTo>
                  <a:lnTo>
                    <a:pt x="7861" y="1798"/>
                  </a:lnTo>
                  <a:lnTo>
                    <a:pt x="8047" y="1613"/>
                  </a:lnTo>
                  <a:lnTo>
                    <a:pt x="8234" y="1798"/>
                  </a:lnTo>
                  <a:close/>
                  <a:moveTo>
                    <a:pt x="7836" y="1772"/>
                  </a:moveTo>
                  <a:lnTo>
                    <a:pt x="7649" y="1586"/>
                  </a:lnTo>
                  <a:lnTo>
                    <a:pt x="7836" y="1401"/>
                  </a:lnTo>
                  <a:lnTo>
                    <a:pt x="8022" y="1586"/>
                  </a:lnTo>
                  <a:lnTo>
                    <a:pt x="7836" y="1772"/>
                  </a:lnTo>
                  <a:close/>
                  <a:moveTo>
                    <a:pt x="7810" y="1798"/>
                  </a:moveTo>
                  <a:lnTo>
                    <a:pt x="7624" y="1984"/>
                  </a:lnTo>
                  <a:lnTo>
                    <a:pt x="7437" y="1798"/>
                  </a:lnTo>
                  <a:lnTo>
                    <a:pt x="7624" y="1613"/>
                  </a:lnTo>
                  <a:lnTo>
                    <a:pt x="7810" y="1798"/>
                  </a:lnTo>
                  <a:close/>
                  <a:moveTo>
                    <a:pt x="7412" y="1772"/>
                  </a:moveTo>
                  <a:lnTo>
                    <a:pt x="7226" y="1586"/>
                  </a:lnTo>
                  <a:lnTo>
                    <a:pt x="7412" y="1401"/>
                  </a:lnTo>
                  <a:lnTo>
                    <a:pt x="7598" y="1586"/>
                  </a:lnTo>
                  <a:lnTo>
                    <a:pt x="7412" y="1772"/>
                  </a:lnTo>
                  <a:close/>
                  <a:moveTo>
                    <a:pt x="7386" y="1798"/>
                  </a:moveTo>
                  <a:lnTo>
                    <a:pt x="7200" y="1984"/>
                  </a:lnTo>
                  <a:lnTo>
                    <a:pt x="7014" y="1798"/>
                  </a:lnTo>
                  <a:lnTo>
                    <a:pt x="7200" y="1613"/>
                  </a:lnTo>
                  <a:lnTo>
                    <a:pt x="7386" y="1798"/>
                  </a:lnTo>
                  <a:close/>
                  <a:moveTo>
                    <a:pt x="6988" y="1772"/>
                  </a:moveTo>
                  <a:lnTo>
                    <a:pt x="6802" y="1586"/>
                  </a:lnTo>
                  <a:lnTo>
                    <a:pt x="6988" y="1401"/>
                  </a:lnTo>
                  <a:lnTo>
                    <a:pt x="7175" y="1586"/>
                  </a:lnTo>
                  <a:lnTo>
                    <a:pt x="6988" y="1772"/>
                  </a:lnTo>
                  <a:close/>
                  <a:moveTo>
                    <a:pt x="6963" y="1798"/>
                  </a:moveTo>
                  <a:lnTo>
                    <a:pt x="6776" y="1984"/>
                  </a:lnTo>
                  <a:lnTo>
                    <a:pt x="6590" y="1798"/>
                  </a:lnTo>
                  <a:lnTo>
                    <a:pt x="6776" y="1613"/>
                  </a:lnTo>
                  <a:lnTo>
                    <a:pt x="6963" y="1798"/>
                  </a:lnTo>
                  <a:close/>
                  <a:moveTo>
                    <a:pt x="6566" y="1772"/>
                  </a:moveTo>
                  <a:lnTo>
                    <a:pt x="6378" y="1586"/>
                  </a:lnTo>
                  <a:lnTo>
                    <a:pt x="6566" y="1401"/>
                  </a:lnTo>
                  <a:lnTo>
                    <a:pt x="6751" y="1586"/>
                  </a:lnTo>
                  <a:lnTo>
                    <a:pt x="6566" y="1772"/>
                  </a:lnTo>
                  <a:close/>
                  <a:moveTo>
                    <a:pt x="6539" y="1798"/>
                  </a:moveTo>
                  <a:lnTo>
                    <a:pt x="6354" y="1984"/>
                  </a:lnTo>
                  <a:lnTo>
                    <a:pt x="6166" y="1798"/>
                  </a:lnTo>
                  <a:lnTo>
                    <a:pt x="6354" y="1613"/>
                  </a:lnTo>
                  <a:lnTo>
                    <a:pt x="6539" y="1798"/>
                  </a:lnTo>
                  <a:close/>
                  <a:moveTo>
                    <a:pt x="6142" y="1772"/>
                  </a:moveTo>
                  <a:lnTo>
                    <a:pt x="5956" y="1586"/>
                  </a:lnTo>
                  <a:lnTo>
                    <a:pt x="6142" y="1401"/>
                  </a:lnTo>
                  <a:lnTo>
                    <a:pt x="6327" y="1586"/>
                  </a:lnTo>
                  <a:lnTo>
                    <a:pt x="6142" y="1772"/>
                  </a:lnTo>
                  <a:close/>
                  <a:moveTo>
                    <a:pt x="6115" y="1798"/>
                  </a:moveTo>
                  <a:lnTo>
                    <a:pt x="5930" y="1984"/>
                  </a:lnTo>
                  <a:lnTo>
                    <a:pt x="5744" y="1798"/>
                  </a:lnTo>
                  <a:lnTo>
                    <a:pt x="5930" y="1613"/>
                  </a:lnTo>
                  <a:lnTo>
                    <a:pt x="6115" y="1798"/>
                  </a:lnTo>
                  <a:close/>
                  <a:moveTo>
                    <a:pt x="5718" y="1772"/>
                  </a:moveTo>
                  <a:lnTo>
                    <a:pt x="5532" y="1586"/>
                  </a:lnTo>
                  <a:lnTo>
                    <a:pt x="5718" y="1401"/>
                  </a:lnTo>
                  <a:lnTo>
                    <a:pt x="5903" y="1586"/>
                  </a:lnTo>
                  <a:lnTo>
                    <a:pt x="5718" y="1772"/>
                  </a:lnTo>
                  <a:close/>
                  <a:moveTo>
                    <a:pt x="5693" y="1798"/>
                  </a:moveTo>
                  <a:lnTo>
                    <a:pt x="5506" y="1984"/>
                  </a:lnTo>
                  <a:lnTo>
                    <a:pt x="5320" y="1798"/>
                  </a:lnTo>
                  <a:lnTo>
                    <a:pt x="5506" y="1613"/>
                  </a:lnTo>
                  <a:lnTo>
                    <a:pt x="5693" y="1798"/>
                  </a:lnTo>
                  <a:close/>
                  <a:moveTo>
                    <a:pt x="5294" y="1772"/>
                  </a:moveTo>
                  <a:lnTo>
                    <a:pt x="5108" y="1586"/>
                  </a:lnTo>
                  <a:lnTo>
                    <a:pt x="5294" y="1401"/>
                  </a:lnTo>
                  <a:lnTo>
                    <a:pt x="5481" y="1586"/>
                  </a:lnTo>
                  <a:lnTo>
                    <a:pt x="5294" y="1772"/>
                  </a:lnTo>
                  <a:close/>
                  <a:moveTo>
                    <a:pt x="5269" y="1798"/>
                  </a:moveTo>
                  <a:lnTo>
                    <a:pt x="5083" y="1984"/>
                  </a:lnTo>
                  <a:lnTo>
                    <a:pt x="4896" y="1798"/>
                  </a:lnTo>
                  <a:lnTo>
                    <a:pt x="5083" y="1613"/>
                  </a:lnTo>
                  <a:lnTo>
                    <a:pt x="5269" y="1798"/>
                  </a:lnTo>
                  <a:close/>
                  <a:moveTo>
                    <a:pt x="4871" y="1772"/>
                  </a:moveTo>
                  <a:lnTo>
                    <a:pt x="4684" y="1586"/>
                  </a:lnTo>
                  <a:lnTo>
                    <a:pt x="4871" y="1401"/>
                  </a:lnTo>
                  <a:lnTo>
                    <a:pt x="5057" y="1586"/>
                  </a:lnTo>
                  <a:lnTo>
                    <a:pt x="4871" y="1772"/>
                  </a:lnTo>
                  <a:close/>
                  <a:moveTo>
                    <a:pt x="4845" y="1798"/>
                  </a:moveTo>
                  <a:lnTo>
                    <a:pt x="4659" y="1984"/>
                  </a:lnTo>
                  <a:lnTo>
                    <a:pt x="4474" y="1798"/>
                  </a:lnTo>
                  <a:lnTo>
                    <a:pt x="4659" y="1613"/>
                  </a:lnTo>
                  <a:lnTo>
                    <a:pt x="4845" y="1798"/>
                  </a:lnTo>
                  <a:close/>
                  <a:moveTo>
                    <a:pt x="4447" y="1772"/>
                  </a:moveTo>
                  <a:lnTo>
                    <a:pt x="4262" y="1586"/>
                  </a:lnTo>
                  <a:lnTo>
                    <a:pt x="4447" y="1401"/>
                  </a:lnTo>
                  <a:lnTo>
                    <a:pt x="4633" y="1586"/>
                  </a:lnTo>
                  <a:lnTo>
                    <a:pt x="4447" y="1772"/>
                  </a:lnTo>
                  <a:close/>
                  <a:moveTo>
                    <a:pt x="4423" y="1798"/>
                  </a:moveTo>
                  <a:lnTo>
                    <a:pt x="4235" y="1984"/>
                  </a:lnTo>
                  <a:lnTo>
                    <a:pt x="4050" y="1798"/>
                  </a:lnTo>
                  <a:lnTo>
                    <a:pt x="4235" y="1613"/>
                  </a:lnTo>
                  <a:lnTo>
                    <a:pt x="4423" y="1798"/>
                  </a:lnTo>
                  <a:close/>
                  <a:moveTo>
                    <a:pt x="4023" y="1772"/>
                  </a:moveTo>
                  <a:lnTo>
                    <a:pt x="3838" y="1586"/>
                  </a:lnTo>
                  <a:lnTo>
                    <a:pt x="4023" y="1401"/>
                  </a:lnTo>
                  <a:lnTo>
                    <a:pt x="4211" y="1586"/>
                  </a:lnTo>
                  <a:lnTo>
                    <a:pt x="4023" y="1772"/>
                  </a:lnTo>
                  <a:close/>
                  <a:moveTo>
                    <a:pt x="3999" y="1798"/>
                  </a:moveTo>
                  <a:lnTo>
                    <a:pt x="3813" y="1984"/>
                  </a:lnTo>
                  <a:lnTo>
                    <a:pt x="3626" y="1798"/>
                  </a:lnTo>
                  <a:lnTo>
                    <a:pt x="3813" y="1613"/>
                  </a:lnTo>
                  <a:lnTo>
                    <a:pt x="3999" y="1798"/>
                  </a:lnTo>
                  <a:close/>
                  <a:moveTo>
                    <a:pt x="3601" y="1772"/>
                  </a:moveTo>
                  <a:lnTo>
                    <a:pt x="3414" y="1586"/>
                  </a:lnTo>
                  <a:lnTo>
                    <a:pt x="3601" y="1401"/>
                  </a:lnTo>
                  <a:lnTo>
                    <a:pt x="3787" y="1586"/>
                  </a:lnTo>
                  <a:lnTo>
                    <a:pt x="3601" y="1772"/>
                  </a:lnTo>
                  <a:close/>
                  <a:moveTo>
                    <a:pt x="3575" y="1798"/>
                  </a:moveTo>
                  <a:lnTo>
                    <a:pt x="3389" y="1984"/>
                  </a:lnTo>
                  <a:lnTo>
                    <a:pt x="3203" y="1798"/>
                  </a:lnTo>
                  <a:lnTo>
                    <a:pt x="3389" y="1613"/>
                  </a:lnTo>
                  <a:lnTo>
                    <a:pt x="3575" y="1798"/>
                  </a:lnTo>
                  <a:close/>
                  <a:moveTo>
                    <a:pt x="3177" y="1772"/>
                  </a:moveTo>
                  <a:lnTo>
                    <a:pt x="2991" y="1586"/>
                  </a:lnTo>
                  <a:lnTo>
                    <a:pt x="3177" y="1401"/>
                  </a:lnTo>
                  <a:lnTo>
                    <a:pt x="3363" y="1586"/>
                  </a:lnTo>
                  <a:lnTo>
                    <a:pt x="3177" y="1772"/>
                  </a:lnTo>
                  <a:close/>
                  <a:moveTo>
                    <a:pt x="3152" y="1798"/>
                  </a:moveTo>
                  <a:lnTo>
                    <a:pt x="2965" y="1984"/>
                  </a:lnTo>
                  <a:lnTo>
                    <a:pt x="2779" y="1798"/>
                  </a:lnTo>
                  <a:lnTo>
                    <a:pt x="2965" y="1613"/>
                  </a:lnTo>
                  <a:lnTo>
                    <a:pt x="3152" y="1798"/>
                  </a:lnTo>
                  <a:close/>
                  <a:moveTo>
                    <a:pt x="2753" y="1772"/>
                  </a:moveTo>
                  <a:lnTo>
                    <a:pt x="2567" y="1586"/>
                  </a:lnTo>
                  <a:lnTo>
                    <a:pt x="2753" y="1401"/>
                  </a:lnTo>
                  <a:lnTo>
                    <a:pt x="2940" y="1586"/>
                  </a:lnTo>
                  <a:lnTo>
                    <a:pt x="2753" y="1772"/>
                  </a:lnTo>
                  <a:close/>
                  <a:moveTo>
                    <a:pt x="2728" y="1798"/>
                  </a:moveTo>
                  <a:lnTo>
                    <a:pt x="2543" y="1984"/>
                  </a:lnTo>
                  <a:lnTo>
                    <a:pt x="2355" y="1798"/>
                  </a:lnTo>
                  <a:lnTo>
                    <a:pt x="2543" y="1613"/>
                  </a:lnTo>
                  <a:lnTo>
                    <a:pt x="2728" y="1798"/>
                  </a:lnTo>
                  <a:close/>
                  <a:moveTo>
                    <a:pt x="2331" y="1772"/>
                  </a:moveTo>
                  <a:lnTo>
                    <a:pt x="2143" y="1586"/>
                  </a:lnTo>
                  <a:lnTo>
                    <a:pt x="2331" y="1401"/>
                  </a:lnTo>
                  <a:lnTo>
                    <a:pt x="2516" y="1586"/>
                  </a:lnTo>
                  <a:lnTo>
                    <a:pt x="2331" y="1772"/>
                  </a:lnTo>
                  <a:close/>
                  <a:moveTo>
                    <a:pt x="2304" y="1798"/>
                  </a:moveTo>
                  <a:lnTo>
                    <a:pt x="2119" y="1984"/>
                  </a:lnTo>
                  <a:lnTo>
                    <a:pt x="1933" y="1798"/>
                  </a:lnTo>
                  <a:lnTo>
                    <a:pt x="2119" y="1613"/>
                  </a:lnTo>
                  <a:lnTo>
                    <a:pt x="2304" y="1798"/>
                  </a:lnTo>
                  <a:close/>
                  <a:moveTo>
                    <a:pt x="1907" y="1772"/>
                  </a:moveTo>
                  <a:lnTo>
                    <a:pt x="1721" y="1586"/>
                  </a:lnTo>
                  <a:lnTo>
                    <a:pt x="1907" y="1401"/>
                  </a:lnTo>
                  <a:lnTo>
                    <a:pt x="2092" y="1586"/>
                  </a:lnTo>
                  <a:lnTo>
                    <a:pt x="1907" y="1772"/>
                  </a:lnTo>
                  <a:close/>
                  <a:moveTo>
                    <a:pt x="1882" y="1798"/>
                  </a:moveTo>
                  <a:lnTo>
                    <a:pt x="1695" y="1984"/>
                  </a:lnTo>
                  <a:lnTo>
                    <a:pt x="1509" y="1798"/>
                  </a:lnTo>
                  <a:lnTo>
                    <a:pt x="1695" y="1613"/>
                  </a:lnTo>
                  <a:lnTo>
                    <a:pt x="1882" y="1798"/>
                  </a:lnTo>
                  <a:close/>
                  <a:moveTo>
                    <a:pt x="1483" y="1772"/>
                  </a:moveTo>
                  <a:lnTo>
                    <a:pt x="1297" y="1586"/>
                  </a:lnTo>
                  <a:lnTo>
                    <a:pt x="1483" y="1401"/>
                  </a:lnTo>
                  <a:lnTo>
                    <a:pt x="1670" y="1586"/>
                  </a:lnTo>
                  <a:lnTo>
                    <a:pt x="1483" y="1772"/>
                  </a:lnTo>
                  <a:close/>
                  <a:moveTo>
                    <a:pt x="1458" y="1798"/>
                  </a:moveTo>
                  <a:lnTo>
                    <a:pt x="1272" y="1984"/>
                  </a:lnTo>
                  <a:lnTo>
                    <a:pt x="1085" y="1798"/>
                  </a:lnTo>
                  <a:lnTo>
                    <a:pt x="1272" y="1613"/>
                  </a:lnTo>
                  <a:lnTo>
                    <a:pt x="1458" y="1798"/>
                  </a:lnTo>
                  <a:close/>
                  <a:moveTo>
                    <a:pt x="1060" y="1772"/>
                  </a:moveTo>
                  <a:lnTo>
                    <a:pt x="873" y="1586"/>
                  </a:lnTo>
                  <a:lnTo>
                    <a:pt x="1060" y="1401"/>
                  </a:lnTo>
                  <a:lnTo>
                    <a:pt x="1246" y="1586"/>
                  </a:lnTo>
                  <a:lnTo>
                    <a:pt x="1060" y="1772"/>
                  </a:lnTo>
                  <a:close/>
                  <a:moveTo>
                    <a:pt x="1034" y="1798"/>
                  </a:moveTo>
                  <a:lnTo>
                    <a:pt x="848" y="1984"/>
                  </a:lnTo>
                  <a:lnTo>
                    <a:pt x="663" y="1798"/>
                  </a:lnTo>
                  <a:lnTo>
                    <a:pt x="848" y="1613"/>
                  </a:lnTo>
                  <a:lnTo>
                    <a:pt x="1034" y="1798"/>
                  </a:lnTo>
                  <a:close/>
                  <a:moveTo>
                    <a:pt x="636" y="1772"/>
                  </a:moveTo>
                  <a:lnTo>
                    <a:pt x="451" y="1586"/>
                  </a:lnTo>
                  <a:lnTo>
                    <a:pt x="636" y="1401"/>
                  </a:lnTo>
                  <a:lnTo>
                    <a:pt x="822" y="1586"/>
                  </a:lnTo>
                  <a:lnTo>
                    <a:pt x="636" y="1772"/>
                  </a:lnTo>
                  <a:close/>
                  <a:moveTo>
                    <a:pt x="822" y="2010"/>
                  </a:moveTo>
                  <a:lnTo>
                    <a:pt x="636" y="2196"/>
                  </a:lnTo>
                  <a:lnTo>
                    <a:pt x="451" y="2010"/>
                  </a:lnTo>
                  <a:lnTo>
                    <a:pt x="636" y="1823"/>
                  </a:lnTo>
                  <a:lnTo>
                    <a:pt x="822" y="2010"/>
                  </a:lnTo>
                  <a:close/>
                  <a:moveTo>
                    <a:pt x="822" y="2433"/>
                  </a:moveTo>
                  <a:lnTo>
                    <a:pt x="636" y="2620"/>
                  </a:lnTo>
                  <a:lnTo>
                    <a:pt x="451" y="2433"/>
                  </a:lnTo>
                  <a:lnTo>
                    <a:pt x="636" y="2247"/>
                  </a:lnTo>
                  <a:lnTo>
                    <a:pt x="822" y="2433"/>
                  </a:lnTo>
                  <a:close/>
                  <a:moveTo>
                    <a:pt x="822" y="2857"/>
                  </a:moveTo>
                  <a:lnTo>
                    <a:pt x="636" y="3043"/>
                  </a:lnTo>
                  <a:lnTo>
                    <a:pt x="451" y="2857"/>
                  </a:lnTo>
                  <a:lnTo>
                    <a:pt x="636" y="2671"/>
                  </a:lnTo>
                  <a:lnTo>
                    <a:pt x="822" y="2857"/>
                  </a:lnTo>
                  <a:close/>
                  <a:moveTo>
                    <a:pt x="848" y="2883"/>
                  </a:moveTo>
                  <a:lnTo>
                    <a:pt x="1034" y="3069"/>
                  </a:lnTo>
                  <a:lnTo>
                    <a:pt x="848" y="3255"/>
                  </a:lnTo>
                  <a:lnTo>
                    <a:pt x="663" y="3069"/>
                  </a:lnTo>
                  <a:lnTo>
                    <a:pt x="848" y="2883"/>
                  </a:lnTo>
                  <a:close/>
                  <a:moveTo>
                    <a:pt x="873" y="2857"/>
                  </a:moveTo>
                  <a:lnTo>
                    <a:pt x="1060" y="2671"/>
                  </a:lnTo>
                  <a:lnTo>
                    <a:pt x="1246" y="2857"/>
                  </a:lnTo>
                  <a:lnTo>
                    <a:pt x="1060" y="3043"/>
                  </a:lnTo>
                  <a:lnTo>
                    <a:pt x="873" y="2857"/>
                  </a:lnTo>
                  <a:close/>
                  <a:moveTo>
                    <a:pt x="1272" y="2883"/>
                  </a:moveTo>
                  <a:lnTo>
                    <a:pt x="1458" y="3069"/>
                  </a:lnTo>
                  <a:lnTo>
                    <a:pt x="1272" y="3255"/>
                  </a:lnTo>
                  <a:lnTo>
                    <a:pt x="1085" y="3069"/>
                  </a:lnTo>
                  <a:lnTo>
                    <a:pt x="1272" y="2883"/>
                  </a:lnTo>
                  <a:close/>
                  <a:moveTo>
                    <a:pt x="1297" y="2857"/>
                  </a:moveTo>
                  <a:lnTo>
                    <a:pt x="1483" y="2671"/>
                  </a:lnTo>
                  <a:lnTo>
                    <a:pt x="1670" y="2857"/>
                  </a:lnTo>
                  <a:lnTo>
                    <a:pt x="1483" y="3043"/>
                  </a:lnTo>
                  <a:lnTo>
                    <a:pt x="1297" y="2857"/>
                  </a:lnTo>
                  <a:close/>
                  <a:moveTo>
                    <a:pt x="1695" y="2883"/>
                  </a:moveTo>
                  <a:lnTo>
                    <a:pt x="1882" y="3069"/>
                  </a:lnTo>
                  <a:lnTo>
                    <a:pt x="1695" y="3255"/>
                  </a:lnTo>
                  <a:lnTo>
                    <a:pt x="1509" y="3069"/>
                  </a:lnTo>
                  <a:lnTo>
                    <a:pt x="1695" y="2883"/>
                  </a:lnTo>
                  <a:close/>
                  <a:moveTo>
                    <a:pt x="1721" y="2857"/>
                  </a:moveTo>
                  <a:lnTo>
                    <a:pt x="1907" y="2671"/>
                  </a:lnTo>
                  <a:lnTo>
                    <a:pt x="2092" y="2857"/>
                  </a:lnTo>
                  <a:lnTo>
                    <a:pt x="1907" y="3043"/>
                  </a:lnTo>
                  <a:lnTo>
                    <a:pt x="1721" y="2857"/>
                  </a:lnTo>
                  <a:close/>
                  <a:moveTo>
                    <a:pt x="2119" y="2883"/>
                  </a:moveTo>
                  <a:lnTo>
                    <a:pt x="2304" y="3069"/>
                  </a:lnTo>
                  <a:lnTo>
                    <a:pt x="2119" y="3255"/>
                  </a:lnTo>
                  <a:lnTo>
                    <a:pt x="1933" y="3069"/>
                  </a:lnTo>
                  <a:lnTo>
                    <a:pt x="2119" y="2883"/>
                  </a:lnTo>
                  <a:close/>
                  <a:moveTo>
                    <a:pt x="2143" y="2857"/>
                  </a:moveTo>
                  <a:lnTo>
                    <a:pt x="2331" y="2671"/>
                  </a:lnTo>
                  <a:lnTo>
                    <a:pt x="2516" y="2857"/>
                  </a:lnTo>
                  <a:lnTo>
                    <a:pt x="2331" y="3043"/>
                  </a:lnTo>
                  <a:lnTo>
                    <a:pt x="2143" y="2857"/>
                  </a:lnTo>
                  <a:close/>
                  <a:moveTo>
                    <a:pt x="2543" y="2883"/>
                  </a:moveTo>
                  <a:lnTo>
                    <a:pt x="2728" y="3069"/>
                  </a:lnTo>
                  <a:lnTo>
                    <a:pt x="2543" y="3255"/>
                  </a:lnTo>
                  <a:lnTo>
                    <a:pt x="2355" y="3069"/>
                  </a:lnTo>
                  <a:lnTo>
                    <a:pt x="2543" y="2883"/>
                  </a:lnTo>
                  <a:close/>
                  <a:moveTo>
                    <a:pt x="2567" y="2857"/>
                  </a:moveTo>
                  <a:lnTo>
                    <a:pt x="2753" y="2671"/>
                  </a:lnTo>
                  <a:lnTo>
                    <a:pt x="2940" y="2857"/>
                  </a:lnTo>
                  <a:lnTo>
                    <a:pt x="2753" y="3043"/>
                  </a:lnTo>
                  <a:lnTo>
                    <a:pt x="2567" y="2857"/>
                  </a:lnTo>
                  <a:close/>
                  <a:moveTo>
                    <a:pt x="2965" y="2883"/>
                  </a:moveTo>
                  <a:lnTo>
                    <a:pt x="3152" y="3069"/>
                  </a:lnTo>
                  <a:lnTo>
                    <a:pt x="2965" y="3255"/>
                  </a:lnTo>
                  <a:lnTo>
                    <a:pt x="2779" y="3069"/>
                  </a:lnTo>
                  <a:lnTo>
                    <a:pt x="2965" y="2883"/>
                  </a:lnTo>
                  <a:close/>
                  <a:moveTo>
                    <a:pt x="2991" y="2857"/>
                  </a:moveTo>
                  <a:lnTo>
                    <a:pt x="3177" y="2671"/>
                  </a:lnTo>
                  <a:lnTo>
                    <a:pt x="3363" y="2857"/>
                  </a:lnTo>
                  <a:lnTo>
                    <a:pt x="3177" y="3043"/>
                  </a:lnTo>
                  <a:lnTo>
                    <a:pt x="2991" y="2857"/>
                  </a:lnTo>
                  <a:close/>
                  <a:moveTo>
                    <a:pt x="3389" y="2883"/>
                  </a:moveTo>
                  <a:lnTo>
                    <a:pt x="3575" y="3069"/>
                  </a:lnTo>
                  <a:lnTo>
                    <a:pt x="3389" y="3255"/>
                  </a:lnTo>
                  <a:lnTo>
                    <a:pt x="3203" y="3069"/>
                  </a:lnTo>
                  <a:lnTo>
                    <a:pt x="3389" y="2883"/>
                  </a:lnTo>
                  <a:close/>
                  <a:moveTo>
                    <a:pt x="3414" y="2857"/>
                  </a:moveTo>
                  <a:lnTo>
                    <a:pt x="3601" y="2671"/>
                  </a:lnTo>
                  <a:lnTo>
                    <a:pt x="3787" y="2857"/>
                  </a:lnTo>
                  <a:lnTo>
                    <a:pt x="3601" y="3043"/>
                  </a:lnTo>
                  <a:lnTo>
                    <a:pt x="3414" y="2857"/>
                  </a:lnTo>
                  <a:close/>
                  <a:moveTo>
                    <a:pt x="3813" y="2883"/>
                  </a:moveTo>
                  <a:lnTo>
                    <a:pt x="3999" y="3069"/>
                  </a:lnTo>
                  <a:lnTo>
                    <a:pt x="3813" y="3255"/>
                  </a:lnTo>
                  <a:lnTo>
                    <a:pt x="3626" y="3069"/>
                  </a:lnTo>
                  <a:lnTo>
                    <a:pt x="3813" y="2883"/>
                  </a:lnTo>
                  <a:close/>
                  <a:moveTo>
                    <a:pt x="3838" y="2857"/>
                  </a:moveTo>
                  <a:lnTo>
                    <a:pt x="4023" y="2671"/>
                  </a:lnTo>
                  <a:lnTo>
                    <a:pt x="4211" y="2857"/>
                  </a:lnTo>
                  <a:lnTo>
                    <a:pt x="4023" y="3043"/>
                  </a:lnTo>
                  <a:lnTo>
                    <a:pt x="3838" y="2857"/>
                  </a:lnTo>
                  <a:close/>
                  <a:moveTo>
                    <a:pt x="4235" y="2883"/>
                  </a:moveTo>
                  <a:lnTo>
                    <a:pt x="4423" y="3069"/>
                  </a:lnTo>
                  <a:lnTo>
                    <a:pt x="4235" y="3255"/>
                  </a:lnTo>
                  <a:lnTo>
                    <a:pt x="4050" y="3069"/>
                  </a:lnTo>
                  <a:lnTo>
                    <a:pt x="4235" y="2883"/>
                  </a:lnTo>
                  <a:close/>
                  <a:moveTo>
                    <a:pt x="4262" y="2857"/>
                  </a:moveTo>
                  <a:lnTo>
                    <a:pt x="4447" y="2671"/>
                  </a:lnTo>
                  <a:lnTo>
                    <a:pt x="4633" y="2857"/>
                  </a:lnTo>
                  <a:lnTo>
                    <a:pt x="4447" y="3043"/>
                  </a:lnTo>
                  <a:lnTo>
                    <a:pt x="4262" y="2857"/>
                  </a:lnTo>
                  <a:close/>
                  <a:moveTo>
                    <a:pt x="4659" y="2883"/>
                  </a:moveTo>
                  <a:lnTo>
                    <a:pt x="4845" y="3069"/>
                  </a:lnTo>
                  <a:lnTo>
                    <a:pt x="4659" y="3255"/>
                  </a:lnTo>
                  <a:lnTo>
                    <a:pt x="4474" y="3069"/>
                  </a:lnTo>
                  <a:lnTo>
                    <a:pt x="4659" y="2883"/>
                  </a:lnTo>
                  <a:close/>
                  <a:moveTo>
                    <a:pt x="4684" y="2857"/>
                  </a:moveTo>
                  <a:lnTo>
                    <a:pt x="4871" y="2671"/>
                  </a:lnTo>
                  <a:lnTo>
                    <a:pt x="5057" y="2857"/>
                  </a:lnTo>
                  <a:lnTo>
                    <a:pt x="4871" y="3043"/>
                  </a:lnTo>
                  <a:lnTo>
                    <a:pt x="4684" y="2857"/>
                  </a:lnTo>
                  <a:close/>
                  <a:moveTo>
                    <a:pt x="5083" y="2883"/>
                  </a:moveTo>
                  <a:lnTo>
                    <a:pt x="5269" y="3069"/>
                  </a:lnTo>
                  <a:lnTo>
                    <a:pt x="5083" y="3255"/>
                  </a:lnTo>
                  <a:lnTo>
                    <a:pt x="4896" y="3069"/>
                  </a:lnTo>
                  <a:lnTo>
                    <a:pt x="5083" y="2883"/>
                  </a:lnTo>
                  <a:close/>
                  <a:moveTo>
                    <a:pt x="5108" y="2857"/>
                  </a:moveTo>
                  <a:lnTo>
                    <a:pt x="5294" y="2671"/>
                  </a:lnTo>
                  <a:lnTo>
                    <a:pt x="5481" y="2857"/>
                  </a:lnTo>
                  <a:lnTo>
                    <a:pt x="5294" y="3043"/>
                  </a:lnTo>
                  <a:lnTo>
                    <a:pt x="5108" y="2857"/>
                  </a:lnTo>
                  <a:close/>
                  <a:moveTo>
                    <a:pt x="5506" y="2883"/>
                  </a:moveTo>
                  <a:lnTo>
                    <a:pt x="5693" y="3069"/>
                  </a:lnTo>
                  <a:lnTo>
                    <a:pt x="5506" y="3255"/>
                  </a:lnTo>
                  <a:lnTo>
                    <a:pt x="5320" y="3069"/>
                  </a:lnTo>
                  <a:lnTo>
                    <a:pt x="5506" y="2883"/>
                  </a:lnTo>
                  <a:close/>
                  <a:moveTo>
                    <a:pt x="5532" y="2857"/>
                  </a:moveTo>
                  <a:lnTo>
                    <a:pt x="5718" y="2671"/>
                  </a:lnTo>
                  <a:lnTo>
                    <a:pt x="5903" y="2857"/>
                  </a:lnTo>
                  <a:lnTo>
                    <a:pt x="5718" y="3043"/>
                  </a:lnTo>
                  <a:lnTo>
                    <a:pt x="5532" y="2857"/>
                  </a:lnTo>
                  <a:close/>
                  <a:moveTo>
                    <a:pt x="5930" y="2883"/>
                  </a:moveTo>
                  <a:lnTo>
                    <a:pt x="6115" y="3069"/>
                  </a:lnTo>
                  <a:lnTo>
                    <a:pt x="5930" y="3255"/>
                  </a:lnTo>
                  <a:lnTo>
                    <a:pt x="5744" y="3069"/>
                  </a:lnTo>
                  <a:lnTo>
                    <a:pt x="5930" y="2883"/>
                  </a:lnTo>
                  <a:close/>
                  <a:moveTo>
                    <a:pt x="5956" y="2857"/>
                  </a:moveTo>
                  <a:lnTo>
                    <a:pt x="6142" y="2671"/>
                  </a:lnTo>
                  <a:lnTo>
                    <a:pt x="6327" y="2857"/>
                  </a:lnTo>
                  <a:lnTo>
                    <a:pt x="6142" y="3043"/>
                  </a:lnTo>
                  <a:lnTo>
                    <a:pt x="5956" y="2857"/>
                  </a:lnTo>
                  <a:close/>
                  <a:moveTo>
                    <a:pt x="6354" y="2883"/>
                  </a:moveTo>
                  <a:lnTo>
                    <a:pt x="6539" y="3069"/>
                  </a:lnTo>
                  <a:lnTo>
                    <a:pt x="6354" y="3255"/>
                  </a:lnTo>
                  <a:lnTo>
                    <a:pt x="6166" y="3069"/>
                  </a:lnTo>
                  <a:lnTo>
                    <a:pt x="6354" y="2883"/>
                  </a:lnTo>
                  <a:close/>
                  <a:moveTo>
                    <a:pt x="6378" y="2857"/>
                  </a:moveTo>
                  <a:lnTo>
                    <a:pt x="6566" y="2671"/>
                  </a:lnTo>
                  <a:lnTo>
                    <a:pt x="6751" y="2857"/>
                  </a:lnTo>
                  <a:lnTo>
                    <a:pt x="6566" y="3043"/>
                  </a:lnTo>
                  <a:lnTo>
                    <a:pt x="6378" y="2857"/>
                  </a:lnTo>
                  <a:close/>
                  <a:moveTo>
                    <a:pt x="6776" y="2883"/>
                  </a:moveTo>
                  <a:lnTo>
                    <a:pt x="6963" y="3069"/>
                  </a:lnTo>
                  <a:lnTo>
                    <a:pt x="6776" y="3255"/>
                  </a:lnTo>
                  <a:lnTo>
                    <a:pt x="6590" y="3069"/>
                  </a:lnTo>
                  <a:lnTo>
                    <a:pt x="6776" y="2883"/>
                  </a:lnTo>
                  <a:close/>
                  <a:moveTo>
                    <a:pt x="6802" y="2857"/>
                  </a:moveTo>
                  <a:lnTo>
                    <a:pt x="6988" y="2671"/>
                  </a:lnTo>
                  <a:lnTo>
                    <a:pt x="7175" y="2857"/>
                  </a:lnTo>
                  <a:lnTo>
                    <a:pt x="6988" y="3043"/>
                  </a:lnTo>
                  <a:lnTo>
                    <a:pt x="6802" y="2857"/>
                  </a:lnTo>
                  <a:close/>
                  <a:moveTo>
                    <a:pt x="7200" y="2883"/>
                  </a:moveTo>
                  <a:lnTo>
                    <a:pt x="7386" y="3069"/>
                  </a:lnTo>
                  <a:lnTo>
                    <a:pt x="7200" y="3255"/>
                  </a:lnTo>
                  <a:lnTo>
                    <a:pt x="7014" y="3069"/>
                  </a:lnTo>
                  <a:lnTo>
                    <a:pt x="7200" y="2883"/>
                  </a:lnTo>
                  <a:close/>
                  <a:moveTo>
                    <a:pt x="7226" y="2857"/>
                  </a:moveTo>
                  <a:lnTo>
                    <a:pt x="7412" y="2671"/>
                  </a:lnTo>
                  <a:lnTo>
                    <a:pt x="7598" y="2857"/>
                  </a:lnTo>
                  <a:lnTo>
                    <a:pt x="7412" y="3043"/>
                  </a:lnTo>
                  <a:lnTo>
                    <a:pt x="7226" y="2857"/>
                  </a:lnTo>
                  <a:close/>
                  <a:moveTo>
                    <a:pt x="7624" y="2883"/>
                  </a:moveTo>
                  <a:lnTo>
                    <a:pt x="7810" y="3069"/>
                  </a:lnTo>
                  <a:lnTo>
                    <a:pt x="7624" y="3255"/>
                  </a:lnTo>
                  <a:lnTo>
                    <a:pt x="7437" y="3069"/>
                  </a:lnTo>
                  <a:lnTo>
                    <a:pt x="7624" y="2883"/>
                  </a:lnTo>
                  <a:close/>
                  <a:moveTo>
                    <a:pt x="7649" y="2857"/>
                  </a:moveTo>
                  <a:lnTo>
                    <a:pt x="7836" y="2671"/>
                  </a:lnTo>
                  <a:lnTo>
                    <a:pt x="8022" y="2857"/>
                  </a:lnTo>
                  <a:lnTo>
                    <a:pt x="7836" y="3043"/>
                  </a:lnTo>
                  <a:lnTo>
                    <a:pt x="7649" y="2857"/>
                  </a:lnTo>
                  <a:close/>
                  <a:moveTo>
                    <a:pt x="8047" y="2883"/>
                  </a:moveTo>
                  <a:lnTo>
                    <a:pt x="8234" y="3069"/>
                  </a:lnTo>
                  <a:lnTo>
                    <a:pt x="8047" y="3255"/>
                  </a:lnTo>
                  <a:lnTo>
                    <a:pt x="7861" y="3069"/>
                  </a:lnTo>
                  <a:lnTo>
                    <a:pt x="8047" y="2883"/>
                  </a:lnTo>
                  <a:close/>
                  <a:moveTo>
                    <a:pt x="8073" y="2857"/>
                  </a:moveTo>
                  <a:lnTo>
                    <a:pt x="8259" y="2671"/>
                  </a:lnTo>
                  <a:lnTo>
                    <a:pt x="8446" y="2857"/>
                  </a:lnTo>
                  <a:lnTo>
                    <a:pt x="8259" y="3043"/>
                  </a:lnTo>
                  <a:lnTo>
                    <a:pt x="8073" y="2857"/>
                  </a:lnTo>
                  <a:close/>
                  <a:moveTo>
                    <a:pt x="8470" y="2883"/>
                  </a:moveTo>
                  <a:lnTo>
                    <a:pt x="8656" y="3069"/>
                  </a:lnTo>
                  <a:lnTo>
                    <a:pt x="8470" y="3255"/>
                  </a:lnTo>
                  <a:lnTo>
                    <a:pt x="8285" y="3069"/>
                  </a:lnTo>
                  <a:lnTo>
                    <a:pt x="8470" y="2883"/>
                  </a:lnTo>
                  <a:close/>
                  <a:moveTo>
                    <a:pt x="8497" y="2857"/>
                  </a:moveTo>
                  <a:lnTo>
                    <a:pt x="8682" y="2671"/>
                  </a:lnTo>
                  <a:lnTo>
                    <a:pt x="8868" y="2857"/>
                  </a:lnTo>
                  <a:lnTo>
                    <a:pt x="8682" y="3043"/>
                  </a:lnTo>
                  <a:lnTo>
                    <a:pt x="8497" y="2857"/>
                  </a:lnTo>
                  <a:close/>
                  <a:moveTo>
                    <a:pt x="8894" y="2883"/>
                  </a:moveTo>
                  <a:lnTo>
                    <a:pt x="9080" y="3069"/>
                  </a:lnTo>
                  <a:lnTo>
                    <a:pt x="8894" y="3255"/>
                  </a:lnTo>
                  <a:lnTo>
                    <a:pt x="8707" y="3069"/>
                  </a:lnTo>
                  <a:lnTo>
                    <a:pt x="8894" y="2883"/>
                  </a:lnTo>
                  <a:close/>
                  <a:moveTo>
                    <a:pt x="8919" y="2857"/>
                  </a:moveTo>
                  <a:lnTo>
                    <a:pt x="9106" y="2671"/>
                  </a:lnTo>
                  <a:lnTo>
                    <a:pt x="9292" y="2857"/>
                  </a:lnTo>
                  <a:lnTo>
                    <a:pt x="9106" y="3043"/>
                  </a:lnTo>
                  <a:lnTo>
                    <a:pt x="8919" y="2857"/>
                  </a:lnTo>
                  <a:close/>
                  <a:moveTo>
                    <a:pt x="9317" y="2883"/>
                  </a:moveTo>
                  <a:lnTo>
                    <a:pt x="9504" y="3069"/>
                  </a:lnTo>
                  <a:lnTo>
                    <a:pt x="9317" y="3255"/>
                  </a:lnTo>
                  <a:lnTo>
                    <a:pt x="9131" y="3069"/>
                  </a:lnTo>
                  <a:lnTo>
                    <a:pt x="9317" y="2883"/>
                  </a:lnTo>
                  <a:close/>
                  <a:moveTo>
                    <a:pt x="9343" y="2857"/>
                  </a:moveTo>
                  <a:lnTo>
                    <a:pt x="9529" y="2671"/>
                  </a:lnTo>
                  <a:lnTo>
                    <a:pt x="9716" y="2857"/>
                  </a:lnTo>
                  <a:lnTo>
                    <a:pt x="9529" y="3043"/>
                  </a:lnTo>
                  <a:lnTo>
                    <a:pt x="9343" y="2857"/>
                  </a:lnTo>
                  <a:close/>
                  <a:moveTo>
                    <a:pt x="9741" y="2883"/>
                  </a:moveTo>
                  <a:lnTo>
                    <a:pt x="9927" y="3069"/>
                  </a:lnTo>
                  <a:lnTo>
                    <a:pt x="9741" y="3255"/>
                  </a:lnTo>
                  <a:lnTo>
                    <a:pt x="9555" y="3069"/>
                  </a:lnTo>
                  <a:lnTo>
                    <a:pt x="9741" y="2883"/>
                  </a:lnTo>
                  <a:close/>
                  <a:moveTo>
                    <a:pt x="9767" y="2857"/>
                  </a:moveTo>
                  <a:lnTo>
                    <a:pt x="9953" y="2671"/>
                  </a:lnTo>
                  <a:lnTo>
                    <a:pt x="10139" y="2857"/>
                  </a:lnTo>
                  <a:lnTo>
                    <a:pt x="9953" y="3043"/>
                  </a:lnTo>
                  <a:lnTo>
                    <a:pt x="9767" y="2857"/>
                  </a:lnTo>
                  <a:close/>
                  <a:moveTo>
                    <a:pt x="10165" y="2883"/>
                  </a:moveTo>
                  <a:lnTo>
                    <a:pt x="10351" y="3069"/>
                  </a:lnTo>
                  <a:lnTo>
                    <a:pt x="10165" y="3255"/>
                  </a:lnTo>
                  <a:lnTo>
                    <a:pt x="9979" y="3069"/>
                  </a:lnTo>
                  <a:lnTo>
                    <a:pt x="10165" y="2883"/>
                  </a:lnTo>
                  <a:close/>
                  <a:moveTo>
                    <a:pt x="10190" y="2857"/>
                  </a:moveTo>
                  <a:lnTo>
                    <a:pt x="10377" y="2671"/>
                  </a:lnTo>
                  <a:lnTo>
                    <a:pt x="10563" y="2857"/>
                  </a:lnTo>
                  <a:lnTo>
                    <a:pt x="10377" y="3043"/>
                  </a:lnTo>
                  <a:lnTo>
                    <a:pt x="10190" y="2857"/>
                  </a:lnTo>
                  <a:close/>
                  <a:moveTo>
                    <a:pt x="10589" y="2883"/>
                  </a:moveTo>
                  <a:lnTo>
                    <a:pt x="10775" y="3069"/>
                  </a:lnTo>
                  <a:lnTo>
                    <a:pt x="10589" y="3255"/>
                  </a:lnTo>
                  <a:lnTo>
                    <a:pt x="10402" y="3069"/>
                  </a:lnTo>
                  <a:lnTo>
                    <a:pt x="10589" y="2883"/>
                  </a:lnTo>
                  <a:close/>
                  <a:moveTo>
                    <a:pt x="10614" y="2857"/>
                  </a:moveTo>
                  <a:lnTo>
                    <a:pt x="10799" y="2671"/>
                  </a:lnTo>
                  <a:lnTo>
                    <a:pt x="10986" y="2857"/>
                  </a:lnTo>
                  <a:lnTo>
                    <a:pt x="10799" y="3043"/>
                  </a:lnTo>
                  <a:lnTo>
                    <a:pt x="10614" y="2857"/>
                  </a:lnTo>
                  <a:close/>
                  <a:moveTo>
                    <a:pt x="11011" y="2883"/>
                  </a:moveTo>
                  <a:lnTo>
                    <a:pt x="11198" y="3069"/>
                  </a:lnTo>
                  <a:lnTo>
                    <a:pt x="11011" y="3255"/>
                  </a:lnTo>
                  <a:lnTo>
                    <a:pt x="10826" y="3069"/>
                  </a:lnTo>
                  <a:lnTo>
                    <a:pt x="11011" y="2883"/>
                  </a:lnTo>
                  <a:close/>
                  <a:moveTo>
                    <a:pt x="11038" y="2857"/>
                  </a:moveTo>
                  <a:lnTo>
                    <a:pt x="11223" y="2671"/>
                  </a:lnTo>
                  <a:lnTo>
                    <a:pt x="11409" y="2857"/>
                  </a:lnTo>
                  <a:lnTo>
                    <a:pt x="11223" y="3043"/>
                  </a:lnTo>
                  <a:lnTo>
                    <a:pt x="11038" y="2857"/>
                  </a:lnTo>
                  <a:close/>
                  <a:moveTo>
                    <a:pt x="11435" y="2883"/>
                  </a:moveTo>
                  <a:lnTo>
                    <a:pt x="11621" y="3069"/>
                  </a:lnTo>
                  <a:lnTo>
                    <a:pt x="11435" y="3255"/>
                  </a:lnTo>
                  <a:lnTo>
                    <a:pt x="11250" y="3069"/>
                  </a:lnTo>
                  <a:lnTo>
                    <a:pt x="11435" y="2883"/>
                  </a:lnTo>
                  <a:close/>
                  <a:moveTo>
                    <a:pt x="11460" y="2857"/>
                  </a:moveTo>
                  <a:lnTo>
                    <a:pt x="11647" y="2671"/>
                  </a:lnTo>
                  <a:lnTo>
                    <a:pt x="11833" y="2857"/>
                  </a:lnTo>
                  <a:lnTo>
                    <a:pt x="11647" y="3043"/>
                  </a:lnTo>
                  <a:lnTo>
                    <a:pt x="11460" y="2857"/>
                  </a:lnTo>
                  <a:close/>
                  <a:moveTo>
                    <a:pt x="11859" y="2883"/>
                  </a:moveTo>
                  <a:lnTo>
                    <a:pt x="12045" y="3069"/>
                  </a:lnTo>
                  <a:lnTo>
                    <a:pt x="11859" y="3255"/>
                  </a:lnTo>
                  <a:lnTo>
                    <a:pt x="11672" y="3069"/>
                  </a:lnTo>
                  <a:lnTo>
                    <a:pt x="11859" y="2883"/>
                  </a:lnTo>
                  <a:close/>
                  <a:moveTo>
                    <a:pt x="11884" y="2857"/>
                  </a:moveTo>
                  <a:lnTo>
                    <a:pt x="12070" y="2671"/>
                  </a:lnTo>
                  <a:lnTo>
                    <a:pt x="12257" y="2857"/>
                  </a:lnTo>
                  <a:lnTo>
                    <a:pt x="12070" y="3043"/>
                  </a:lnTo>
                  <a:lnTo>
                    <a:pt x="11884" y="2857"/>
                  </a:lnTo>
                  <a:close/>
                  <a:moveTo>
                    <a:pt x="12282" y="2883"/>
                  </a:moveTo>
                  <a:lnTo>
                    <a:pt x="12469" y="3069"/>
                  </a:lnTo>
                  <a:lnTo>
                    <a:pt x="12282" y="3255"/>
                  </a:lnTo>
                  <a:lnTo>
                    <a:pt x="12096" y="3069"/>
                  </a:lnTo>
                  <a:lnTo>
                    <a:pt x="12282" y="2883"/>
                  </a:lnTo>
                  <a:close/>
                  <a:moveTo>
                    <a:pt x="12308" y="2857"/>
                  </a:moveTo>
                  <a:lnTo>
                    <a:pt x="12494" y="2671"/>
                  </a:lnTo>
                  <a:lnTo>
                    <a:pt x="12679" y="2857"/>
                  </a:lnTo>
                  <a:lnTo>
                    <a:pt x="12494" y="3043"/>
                  </a:lnTo>
                  <a:lnTo>
                    <a:pt x="12308" y="2857"/>
                  </a:lnTo>
                  <a:close/>
                  <a:moveTo>
                    <a:pt x="12706" y="2883"/>
                  </a:moveTo>
                  <a:lnTo>
                    <a:pt x="12891" y="3069"/>
                  </a:lnTo>
                  <a:lnTo>
                    <a:pt x="12706" y="3255"/>
                  </a:lnTo>
                  <a:lnTo>
                    <a:pt x="12520" y="3069"/>
                  </a:lnTo>
                  <a:lnTo>
                    <a:pt x="12706" y="2883"/>
                  </a:lnTo>
                  <a:close/>
                  <a:moveTo>
                    <a:pt x="12730" y="2857"/>
                  </a:moveTo>
                  <a:lnTo>
                    <a:pt x="12918" y="2671"/>
                  </a:lnTo>
                  <a:lnTo>
                    <a:pt x="13103" y="2857"/>
                  </a:lnTo>
                  <a:lnTo>
                    <a:pt x="12918" y="3043"/>
                  </a:lnTo>
                  <a:lnTo>
                    <a:pt x="12730" y="2857"/>
                  </a:lnTo>
                  <a:close/>
                  <a:moveTo>
                    <a:pt x="13130" y="2883"/>
                  </a:moveTo>
                  <a:lnTo>
                    <a:pt x="13315" y="3069"/>
                  </a:lnTo>
                  <a:lnTo>
                    <a:pt x="13130" y="3255"/>
                  </a:lnTo>
                  <a:lnTo>
                    <a:pt x="12942" y="3069"/>
                  </a:lnTo>
                  <a:lnTo>
                    <a:pt x="13130" y="2883"/>
                  </a:lnTo>
                  <a:close/>
                  <a:moveTo>
                    <a:pt x="13154" y="2857"/>
                  </a:moveTo>
                  <a:lnTo>
                    <a:pt x="13340" y="2671"/>
                  </a:lnTo>
                  <a:lnTo>
                    <a:pt x="13527" y="2857"/>
                  </a:lnTo>
                  <a:lnTo>
                    <a:pt x="13340" y="3043"/>
                  </a:lnTo>
                  <a:lnTo>
                    <a:pt x="13154" y="2857"/>
                  </a:lnTo>
                  <a:close/>
                  <a:moveTo>
                    <a:pt x="13552" y="2883"/>
                  </a:moveTo>
                  <a:lnTo>
                    <a:pt x="13739" y="3069"/>
                  </a:lnTo>
                  <a:lnTo>
                    <a:pt x="13552" y="3255"/>
                  </a:lnTo>
                  <a:lnTo>
                    <a:pt x="13366" y="3069"/>
                  </a:lnTo>
                  <a:lnTo>
                    <a:pt x="13552" y="2883"/>
                  </a:lnTo>
                  <a:close/>
                  <a:moveTo>
                    <a:pt x="13578" y="2857"/>
                  </a:moveTo>
                  <a:lnTo>
                    <a:pt x="13764" y="2671"/>
                  </a:lnTo>
                  <a:lnTo>
                    <a:pt x="13950" y="2857"/>
                  </a:lnTo>
                  <a:lnTo>
                    <a:pt x="13764" y="3043"/>
                  </a:lnTo>
                  <a:lnTo>
                    <a:pt x="13578" y="2857"/>
                  </a:lnTo>
                  <a:close/>
                  <a:moveTo>
                    <a:pt x="13976" y="2883"/>
                  </a:moveTo>
                  <a:lnTo>
                    <a:pt x="14162" y="3069"/>
                  </a:lnTo>
                  <a:lnTo>
                    <a:pt x="13976" y="3255"/>
                  </a:lnTo>
                  <a:lnTo>
                    <a:pt x="13790" y="3069"/>
                  </a:lnTo>
                  <a:lnTo>
                    <a:pt x="13976" y="2883"/>
                  </a:lnTo>
                  <a:close/>
                  <a:moveTo>
                    <a:pt x="14002" y="2857"/>
                  </a:moveTo>
                  <a:lnTo>
                    <a:pt x="14188" y="2671"/>
                  </a:lnTo>
                  <a:lnTo>
                    <a:pt x="14374" y="2857"/>
                  </a:lnTo>
                  <a:lnTo>
                    <a:pt x="14188" y="3043"/>
                  </a:lnTo>
                  <a:lnTo>
                    <a:pt x="14002" y="2857"/>
                  </a:lnTo>
                  <a:close/>
                  <a:moveTo>
                    <a:pt x="14002" y="2433"/>
                  </a:moveTo>
                  <a:lnTo>
                    <a:pt x="14188" y="2247"/>
                  </a:lnTo>
                  <a:lnTo>
                    <a:pt x="14374" y="2433"/>
                  </a:lnTo>
                  <a:lnTo>
                    <a:pt x="14188" y="2620"/>
                  </a:lnTo>
                  <a:lnTo>
                    <a:pt x="14002" y="2433"/>
                  </a:lnTo>
                  <a:close/>
                  <a:moveTo>
                    <a:pt x="14002" y="2010"/>
                  </a:moveTo>
                  <a:lnTo>
                    <a:pt x="14188" y="1823"/>
                  </a:lnTo>
                  <a:lnTo>
                    <a:pt x="14374" y="2010"/>
                  </a:lnTo>
                  <a:lnTo>
                    <a:pt x="14188" y="2196"/>
                  </a:lnTo>
                  <a:lnTo>
                    <a:pt x="14002" y="2010"/>
                  </a:lnTo>
                  <a:close/>
                  <a:moveTo>
                    <a:pt x="14002" y="1586"/>
                  </a:moveTo>
                  <a:lnTo>
                    <a:pt x="14188" y="1401"/>
                  </a:lnTo>
                  <a:lnTo>
                    <a:pt x="14374" y="1586"/>
                  </a:lnTo>
                  <a:lnTo>
                    <a:pt x="14188" y="1772"/>
                  </a:lnTo>
                  <a:lnTo>
                    <a:pt x="14002" y="1586"/>
                  </a:lnTo>
                  <a:close/>
                  <a:moveTo>
                    <a:pt x="14002" y="1162"/>
                  </a:moveTo>
                  <a:lnTo>
                    <a:pt x="14188" y="976"/>
                  </a:lnTo>
                  <a:lnTo>
                    <a:pt x="14374" y="1162"/>
                  </a:lnTo>
                  <a:lnTo>
                    <a:pt x="14188" y="1350"/>
                  </a:lnTo>
                  <a:lnTo>
                    <a:pt x="14002" y="1162"/>
                  </a:lnTo>
                  <a:close/>
                  <a:moveTo>
                    <a:pt x="14162" y="1374"/>
                  </a:moveTo>
                  <a:lnTo>
                    <a:pt x="13976" y="1562"/>
                  </a:lnTo>
                  <a:lnTo>
                    <a:pt x="13790" y="1374"/>
                  </a:lnTo>
                  <a:lnTo>
                    <a:pt x="13976" y="1189"/>
                  </a:lnTo>
                  <a:lnTo>
                    <a:pt x="14162" y="1374"/>
                  </a:lnTo>
                  <a:close/>
                  <a:moveTo>
                    <a:pt x="13764" y="1350"/>
                  </a:moveTo>
                  <a:lnTo>
                    <a:pt x="13578" y="1162"/>
                  </a:lnTo>
                  <a:lnTo>
                    <a:pt x="13764" y="976"/>
                  </a:lnTo>
                  <a:lnTo>
                    <a:pt x="13950" y="1162"/>
                  </a:lnTo>
                  <a:lnTo>
                    <a:pt x="13764" y="1350"/>
                  </a:lnTo>
                  <a:close/>
                  <a:moveTo>
                    <a:pt x="13739" y="1374"/>
                  </a:moveTo>
                  <a:lnTo>
                    <a:pt x="13552" y="1562"/>
                  </a:lnTo>
                  <a:lnTo>
                    <a:pt x="13366" y="1374"/>
                  </a:lnTo>
                  <a:lnTo>
                    <a:pt x="13552" y="1189"/>
                  </a:lnTo>
                  <a:lnTo>
                    <a:pt x="13739" y="1374"/>
                  </a:lnTo>
                  <a:close/>
                  <a:moveTo>
                    <a:pt x="13340" y="1350"/>
                  </a:moveTo>
                  <a:lnTo>
                    <a:pt x="13154" y="1162"/>
                  </a:lnTo>
                  <a:lnTo>
                    <a:pt x="13340" y="976"/>
                  </a:lnTo>
                  <a:lnTo>
                    <a:pt x="13527" y="1162"/>
                  </a:lnTo>
                  <a:lnTo>
                    <a:pt x="13340" y="1350"/>
                  </a:lnTo>
                  <a:close/>
                  <a:moveTo>
                    <a:pt x="13315" y="1374"/>
                  </a:moveTo>
                  <a:lnTo>
                    <a:pt x="13130" y="1562"/>
                  </a:lnTo>
                  <a:lnTo>
                    <a:pt x="12942" y="1374"/>
                  </a:lnTo>
                  <a:lnTo>
                    <a:pt x="13130" y="1189"/>
                  </a:lnTo>
                  <a:lnTo>
                    <a:pt x="13315" y="1374"/>
                  </a:lnTo>
                  <a:close/>
                  <a:moveTo>
                    <a:pt x="12918" y="1350"/>
                  </a:moveTo>
                  <a:lnTo>
                    <a:pt x="12730" y="1162"/>
                  </a:lnTo>
                  <a:lnTo>
                    <a:pt x="12918" y="976"/>
                  </a:lnTo>
                  <a:lnTo>
                    <a:pt x="13103" y="1162"/>
                  </a:lnTo>
                  <a:lnTo>
                    <a:pt x="12918" y="1350"/>
                  </a:lnTo>
                  <a:close/>
                  <a:moveTo>
                    <a:pt x="12891" y="1374"/>
                  </a:moveTo>
                  <a:lnTo>
                    <a:pt x="12706" y="1562"/>
                  </a:lnTo>
                  <a:lnTo>
                    <a:pt x="12520" y="1374"/>
                  </a:lnTo>
                  <a:lnTo>
                    <a:pt x="12706" y="1189"/>
                  </a:lnTo>
                  <a:lnTo>
                    <a:pt x="12891" y="1374"/>
                  </a:lnTo>
                  <a:close/>
                  <a:moveTo>
                    <a:pt x="12494" y="1350"/>
                  </a:moveTo>
                  <a:lnTo>
                    <a:pt x="12308" y="1162"/>
                  </a:lnTo>
                  <a:lnTo>
                    <a:pt x="12494" y="976"/>
                  </a:lnTo>
                  <a:lnTo>
                    <a:pt x="12679" y="1162"/>
                  </a:lnTo>
                  <a:lnTo>
                    <a:pt x="12494" y="1350"/>
                  </a:lnTo>
                  <a:close/>
                  <a:moveTo>
                    <a:pt x="12469" y="1374"/>
                  </a:moveTo>
                  <a:lnTo>
                    <a:pt x="12282" y="1562"/>
                  </a:lnTo>
                  <a:lnTo>
                    <a:pt x="12096" y="1374"/>
                  </a:lnTo>
                  <a:lnTo>
                    <a:pt x="12282" y="1189"/>
                  </a:lnTo>
                  <a:lnTo>
                    <a:pt x="12469" y="1374"/>
                  </a:lnTo>
                  <a:close/>
                  <a:moveTo>
                    <a:pt x="12070" y="1350"/>
                  </a:moveTo>
                  <a:lnTo>
                    <a:pt x="11884" y="1162"/>
                  </a:lnTo>
                  <a:lnTo>
                    <a:pt x="12070" y="976"/>
                  </a:lnTo>
                  <a:lnTo>
                    <a:pt x="12257" y="1162"/>
                  </a:lnTo>
                  <a:lnTo>
                    <a:pt x="12070" y="1350"/>
                  </a:lnTo>
                  <a:close/>
                  <a:moveTo>
                    <a:pt x="12045" y="1374"/>
                  </a:moveTo>
                  <a:lnTo>
                    <a:pt x="11859" y="1562"/>
                  </a:lnTo>
                  <a:lnTo>
                    <a:pt x="11672" y="1374"/>
                  </a:lnTo>
                  <a:lnTo>
                    <a:pt x="11859" y="1189"/>
                  </a:lnTo>
                  <a:lnTo>
                    <a:pt x="12045" y="1374"/>
                  </a:lnTo>
                  <a:close/>
                  <a:moveTo>
                    <a:pt x="11647" y="1350"/>
                  </a:moveTo>
                  <a:lnTo>
                    <a:pt x="11460" y="1162"/>
                  </a:lnTo>
                  <a:lnTo>
                    <a:pt x="11647" y="976"/>
                  </a:lnTo>
                  <a:lnTo>
                    <a:pt x="11833" y="1162"/>
                  </a:lnTo>
                  <a:lnTo>
                    <a:pt x="11647" y="1350"/>
                  </a:lnTo>
                  <a:close/>
                  <a:moveTo>
                    <a:pt x="11621" y="1374"/>
                  </a:moveTo>
                  <a:lnTo>
                    <a:pt x="11435" y="1562"/>
                  </a:lnTo>
                  <a:lnTo>
                    <a:pt x="11250" y="1374"/>
                  </a:lnTo>
                  <a:lnTo>
                    <a:pt x="11435" y="1189"/>
                  </a:lnTo>
                  <a:lnTo>
                    <a:pt x="11621" y="1374"/>
                  </a:lnTo>
                  <a:close/>
                  <a:moveTo>
                    <a:pt x="11223" y="1350"/>
                  </a:moveTo>
                  <a:lnTo>
                    <a:pt x="11038" y="1162"/>
                  </a:lnTo>
                  <a:lnTo>
                    <a:pt x="11223" y="976"/>
                  </a:lnTo>
                  <a:lnTo>
                    <a:pt x="11409" y="1162"/>
                  </a:lnTo>
                  <a:lnTo>
                    <a:pt x="11223" y="1350"/>
                  </a:lnTo>
                  <a:close/>
                  <a:moveTo>
                    <a:pt x="11198" y="1374"/>
                  </a:moveTo>
                  <a:lnTo>
                    <a:pt x="11011" y="1562"/>
                  </a:lnTo>
                  <a:lnTo>
                    <a:pt x="10826" y="1374"/>
                  </a:lnTo>
                  <a:lnTo>
                    <a:pt x="11011" y="1189"/>
                  </a:lnTo>
                  <a:lnTo>
                    <a:pt x="11198" y="1374"/>
                  </a:lnTo>
                  <a:close/>
                  <a:moveTo>
                    <a:pt x="10799" y="1350"/>
                  </a:moveTo>
                  <a:lnTo>
                    <a:pt x="10614" y="1162"/>
                  </a:lnTo>
                  <a:lnTo>
                    <a:pt x="10799" y="976"/>
                  </a:lnTo>
                  <a:lnTo>
                    <a:pt x="10986" y="1162"/>
                  </a:lnTo>
                  <a:lnTo>
                    <a:pt x="10799" y="1350"/>
                  </a:lnTo>
                  <a:close/>
                  <a:moveTo>
                    <a:pt x="10775" y="1374"/>
                  </a:moveTo>
                  <a:lnTo>
                    <a:pt x="10589" y="1562"/>
                  </a:lnTo>
                  <a:lnTo>
                    <a:pt x="10402" y="1374"/>
                  </a:lnTo>
                  <a:lnTo>
                    <a:pt x="10589" y="1189"/>
                  </a:lnTo>
                  <a:lnTo>
                    <a:pt x="10775" y="1374"/>
                  </a:lnTo>
                  <a:close/>
                  <a:moveTo>
                    <a:pt x="10377" y="1350"/>
                  </a:moveTo>
                  <a:lnTo>
                    <a:pt x="10190" y="1162"/>
                  </a:lnTo>
                  <a:lnTo>
                    <a:pt x="10377" y="976"/>
                  </a:lnTo>
                  <a:lnTo>
                    <a:pt x="10563" y="1162"/>
                  </a:lnTo>
                  <a:lnTo>
                    <a:pt x="10377" y="1350"/>
                  </a:lnTo>
                  <a:close/>
                  <a:moveTo>
                    <a:pt x="10351" y="1374"/>
                  </a:moveTo>
                  <a:lnTo>
                    <a:pt x="10165" y="1562"/>
                  </a:lnTo>
                  <a:lnTo>
                    <a:pt x="9979" y="1374"/>
                  </a:lnTo>
                  <a:lnTo>
                    <a:pt x="10165" y="1189"/>
                  </a:lnTo>
                  <a:lnTo>
                    <a:pt x="10351" y="1374"/>
                  </a:lnTo>
                  <a:close/>
                  <a:moveTo>
                    <a:pt x="9953" y="1350"/>
                  </a:moveTo>
                  <a:lnTo>
                    <a:pt x="9767" y="1162"/>
                  </a:lnTo>
                  <a:lnTo>
                    <a:pt x="9953" y="976"/>
                  </a:lnTo>
                  <a:lnTo>
                    <a:pt x="10139" y="1162"/>
                  </a:lnTo>
                  <a:lnTo>
                    <a:pt x="9953" y="1350"/>
                  </a:lnTo>
                  <a:close/>
                  <a:moveTo>
                    <a:pt x="9927" y="1374"/>
                  </a:moveTo>
                  <a:lnTo>
                    <a:pt x="9741" y="1562"/>
                  </a:lnTo>
                  <a:lnTo>
                    <a:pt x="9555" y="1374"/>
                  </a:lnTo>
                  <a:lnTo>
                    <a:pt x="9741" y="1189"/>
                  </a:lnTo>
                  <a:lnTo>
                    <a:pt x="9927" y="1374"/>
                  </a:lnTo>
                  <a:close/>
                  <a:moveTo>
                    <a:pt x="9529" y="1350"/>
                  </a:moveTo>
                  <a:lnTo>
                    <a:pt x="9343" y="1162"/>
                  </a:lnTo>
                  <a:lnTo>
                    <a:pt x="9529" y="976"/>
                  </a:lnTo>
                  <a:lnTo>
                    <a:pt x="9716" y="1162"/>
                  </a:lnTo>
                  <a:lnTo>
                    <a:pt x="9529" y="1350"/>
                  </a:lnTo>
                  <a:close/>
                  <a:moveTo>
                    <a:pt x="9504" y="1374"/>
                  </a:moveTo>
                  <a:lnTo>
                    <a:pt x="9317" y="1562"/>
                  </a:lnTo>
                  <a:lnTo>
                    <a:pt x="9131" y="1374"/>
                  </a:lnTo>
                  <a:lnTo>
                    <a:pt x="9317" y="1189"/>
                  </a:lnTo>
                  <a:lnTo>
                    <a:pt x="9504" y="1374"/>
                  </a:lnTo>
                  <a:close/>
                  <a:moveTo>
                    <a:pt x="9106" y="1350"/>
                  </a:moveTo>
                  <a:lnTo>
                    <a:pt x="8919" y="1162"/>
                  </a:lnTo>
                  <a:lnTo>
                    <a:pt x="9106" y="976"/>
                  </a:lnTo>
                  <a:lnTo>
                    <a:pt x="9292" y="1162"/>
                  </a:lnTo>
                  <a:lnTo>
                    <a:pt x="9106" y="1350"/>
                  </a:lnTo>
                  <a:close/>
                  <a:moveTo>
                    <a:pt x="9080" y="1374"/>
                  </a:moveTo>
                  <a:lnTo>
                    <a:pt x="8894" y="1562"/>
                  </a:lnTo>
                  <a:lnTo>
                    <a:pt x="8707" y="1374"/>
                  </a:lnTo>
                  <a:lnTo>
                    <a:pt x="8894" y="1189"/>
                  </a:lnTo>
                  <a:lnTo>
                    <a:pt x="9080" y="1374"/>
                  </a:lnTo>
                  <a:close/>
                  <a:moveTo>
                    <a:pt x="8682" y="1350"/>
                  </a:moveTo>
                  <a:lnTo>
                    <a:pt x="8497" y="1162"/>
                  </a:lnTo>
                  <a:lnTo>
                    <a:pt x="8682" y="976"/>
                  </a:lnTo>
                  <a:lnTo>
                    <a:pt x="8868" y="1162"/>
                  </a:lnTo>
                  <a:lnTo>
                    <a:pt x="8682" y="1350"/>
                  </a:lnTo>
                  <a:close/>
                  <a:moveTo>
                    <a:pt x="8656" y="1374"/>
                  </a:moveTo>
                  <a:lnTo>
                    <a:pt x="8470" y="1562"/>
                  </a:lnTo>
                  <a:lnTo>
                    <a:pt x="8285" y="1374"/>
                  </a:lnTo>
                  <a:lnTo>
                    <a:pt x="8470" y="1189"/>
                  </a:lnTo>
                  <a:lnTo>
                    <a:pt x="8656" y="1374"/>
                  </a:lnTo>
                  <a:close/>
                  <a:moveTo>
                    <a:pt x="8259" y="1350"/>
                  </a:moveTo>
                  <a:lnTo>
                    <a:pt x="8073" y="1162"/>
                  </a:lnTo>
                  <a:lnTo>
                    <a:pt x="8259" y="976"/>
                  </a:lnTo>
                  <a:lnTo>
                    <a:pt x="8446" y="1162"/>
                  </a:lnTo>
                  <a:lnTo>
                    <a:pt x="8259" y="1350"/>
                  </a:lnTo>
                  <a:close/>
                  <a:moveTo>
                    <a:pt x="8234" y="1374"/>
                  </a:moveTo>
                  <a:lnTo>
                    <a:pt x="8047" y="1562"/>
                  </a:lnTo>
                  <a:lnTo>
                    <a:pt x="7861" y="1374"/>
                  </a:lnTo>
                  <a:lnTo>
                    <a:pt x="8047" y="1189"/>
                  </a:lnTo>
                  <a:lnTo>
                    <a:pt x="8234" y="1374"/>
                  </a:lnTo>
                  <a:close/>
                  <a:moveTo>
                    <a:pt x="7836" y="1350"/>
                  </a:moveTo>
                  <a:lnTo>
                    <a:pt x="7649" y="1162"/>
                  </a:lnTo>
                  <a:lnTo>
                    <a:pt x="7836" y="976"/>
                  </a:lnTo>
                  <a:lnTo>
                    <a:pt x="8022" y="1162"/>
                  </a:lnTo>
                  <a:lnTo>
                    <a:pt x="7836" y="1350"/>
                  </a:lnTo>
                  <a:close/>
                  <a:moveTo>
                    <a:pt x="7810" y="1374"/>
                  </a:moveTo>
                  <a:lnTo>
                    <a:pt x="7624" y="1562"/>
                  </a:lnTo>
                  <a:lnTo>
                    <a:pt x="7437" y="1374"/>
                  </a:lnTo>
                  <a:lnTo>
                    <a:pt x="7624" y="1189"/>
                  </a:lnTo>
                  <a:lnTo>
                    <a:pt x="7810" y="1374"/>
                  </a:lnTo>
                  <a:close/>
                  <a:moveTo>
                    <a:pt x="7412" y="1350"/>
                  </a:moveTo>
                  <a:lnTo>
                    <a:pt x="7226" y="1162"/>
                  </a:lnTo>
                  <a:lnTo>
                    <a:pt x="7412" y="976"/>
                  </a:lnTo>
                  <a:lnTo>
                    <a:pt x="7598" y="1162"/>
                  </a:lnTo>
                  <a:lnTo>
                    <a:pt x="7412" y="1350"/>
                  </a:lnTo>
                  <a:close/>
                  <a:moveTo>
                    <a:pt x="7386" y="1374"/>
                  </a:moveTo>
                  <a:lnTo>
                    <a:pt x="7200" y="1562"/>
                  </a:lnTo>
                  <a:lnTo>
                    <a:pt x="7014" y="1374"/>
                  </a:lnTo>
                  <a:lnTo>
                    <a:pt x="7200" y="1189"/>
                  </a:lnTo>
                  <a:lnTo>
                    <a:pt x="7386" y="1374"/>
                  </a:lnTo>
                  <a:close/>
                  <a:moveTo>
                    <a:pt x="6988" y="1350"/>
                  </a:moveTo>
                  <a:lnTo>
                    <a:pt x="6802" y="1162"/>
                  </a:lnTo>
                  <a:lnTo>
                    <a:pt x="6988" y="976"/>
                  </a:lnTo>
                  <a:lnTo>
                    <a:pt x="7175" y="1162"/>
                  </a:lnTo>
                  <a:lnTo>
                    <a:pt x="6988" y="1350"/>
                  </a:lnTo>
                  <a:close/>
                  <a:moveTo>
                    <a:pt x="6963" y="1374"/>
                  </a:moveTo>
                  <a:lnTo>
                    <a:pt x="6776" y="1562"/>
                  </a:lnTo>
                  <a:lnTo>
                    <a:pt x="6590" y="1374"/>
                  </a:lnTo>
                  <a:lnTo>
                    <a:pt x="6776" y="1189"/>
                  </a:lnTo>
                  <a:lnTo>
                    <a:pt x="6963" y="1374"/>
                  </a:lnTo>
                  <a:close/>
                  <a:moveTo>
                    <a:pt x="6566" y="1350"/>
                  </a:moveTo>
                  <a:lnTo>
                    <a:pt x="6378" y="1162"/>
                  </a:lnTo>
                  <a:lnTo>
                    <a:pt x="6566" y="976"/>
                  </a:lnTo>
                  <a:lnTo>
                    <a:pt x="6751" y="1162"/>
                  </a:lnTo>
                  <a:lnTo>
                    <a:pt x="6566" y="1350"/>
                  </a:lnTo>
                  <a:close/>
                  <a:moveTo>
                    <a:pt x="6539" y="1374"/>
                  </a:moveTo>
                  <a:lnTo>
                    <a:pt x="6354" y="1562"/>
                  </a:lnTo>
                  <a:lnTo>
                    <a:pt x="6166" y="1374"/>
                  </a:lnTo>
                  <a:lnTo>
                    <a:pt x="6354" y="1189"/>
                  </a:lnTo>
                  <a:lnTo>
                    <a:pt x="6539" y="1374"/>
                  </a:lnTo>
                  <a:close/>
                  <a:moveTo>
                    <a:pt x="6142" y="1350"/>
                  </a:moveTo>
                  <a:lnTo>
                    <a:pt x="5956" y="1162"/>
                  </a:lnTo>
                  <a:lnTo>
                    <a:pt x="6142" y="976"/>
                  </a:lnTo>
                  <a:lnTo>
                    <a:pt x="6327" y="1162"/>
                  </a:lnTo>
                  <a:lnTo>
                    <a:pt x="6142" y="1350"/>
                  </a:lnTo>
                  <a:close/>
                  <a:moveTo>
                    <a:pt x="6115" y="1374"/>
                  </a:moveTo>
                  <a:lnTo>
                    <a:pt x="5930" y="1562"/>
                  </a:lnTo>
                  <a:lnTo>
                    <a:pt x="5744" y="1374"/>
                  </a:lnTo>
                  <a:lnTo>
                    <a:pt x="5930" y="1189"/>
                  </a:lnTo>
                  <a:lnTo>
                    <a:pt x="6115" y="1374"/>
                  </a:lnTo>
                  <a:close/>
                  <a:moveTo>
                    <a:pt x="5718" y="1350"/>
                  </a:moveTo>
                  <a:lnTo>
                    <a:pt x="5532" y="1162"/>
                  </a:lnTo>
                  <a:lnTo>
                    <a:pt x="5718" y="976"/>
                  </a:lnTo>
                  <a:lnTo>
                    <a:pt x="5903" y="1162"/>
                  </a:lnTo>
                  <a:lnTo>
                    <a:pt x="5718" y="1350"/>
                  </a:lnTo>
                  <a:close/>
                  <a:moveTo>
                    <a:pt x="5693" y="1374"/>
                  </a:moveTo>
                  <a:lnTo>
                    <a:pt x="5506" y="1562"/>
                  </a:lnTo>
                  <a:lnTo>
                    <a:pt x="5320" y="1374"/>
                  </a:lnTo>
                  <a:lnTo>
                    <a:pt x="5506" y="1189"/>
                  </a:lnTo>
                  <a:lnTo>
                    <a:pt x="5693" y="1374"/>
                  </a:lnTo>
                  <a:close/>
                  <a:moveTo>
                    <a:pt x="5294" y="1350"/>
                  </a:moveTo>
                  <a:lnTo>
                    <a:pt x="5108" y="1162"/>
                  </a:lnTo>
                  <a:lnTo>
                    <a:pt x="5294" y="976"/>
                  </a:lnTo>
                  <a:lnTo>
                    <a:pt x="5481" y="1162"/>
                  </a:lnTo>
                  <a:lnTo>
                    <a:pt x="5294" y="1350"/>
                  </a:lnTo>
                  <a:close/>
                  <a:moveTo>
                    <a:pt x="5269" y="1374"/>
                  </a:moveTo>
                  <a:lnTo>
                    <a:pt x="5083" y="1562"/>
                  </a:lnTo>
                  <a:lnTo>
                    <a:pt x="4896" y="1374"/>
                  </a:lnTo>
                  <a:lnTo>
                    <a:pt x="5083" y="1189"/>
                  </a:lnTo>
                  <a:lnTo>
                    <a:pt x="5269" y="1374"/>
                  </a:lnTo>
                  <a:close/>
                  <a:moveTo>
                    <a:pt x="4871" y="1350"/>
                  </a:moveTo>
                  <a:lnTo>
                    <a:pt x="4684" y="1162"/>
                  </a:lnTo>
                  <a:lnTo>
                    <a:pt x="4871" y="976"/>
                  </a:lnTo>
                  <a:lnTo>
                    <a:pt x="5057" y="1162"/>
                  </a:lnTo>
                  <a:lnTo>
                    <a:pt x="4871" y="1350"/>
                  </a:lnTo>
                  <a:close/>
                  <a:moveTo>
                    <a:pt x="4845" y="1374"/>
                  </a:moveTo>
                  <a:lnTo>
                    <a:pt x="4659" y="1562"/>
                  </a:lnTo>
                  <a:lnTo>
                    <a:pt x="4474" y="1374"/>
                  </a:lnTo>
                  <a:lnTo>
                    <a:pt x="4659" y="1189"/>
                  </a:lnTo>
                  <a:lnTo>
                    <a:pt x="4845" y="1374"/>
                  </a:lnTo>
                  <a:close/>
                  <a:moveTo>
                    <a:pt x="4447" y="1350"/>
                  </a:moveTo>
                  <a:lnTo>
                    <a:pt x="4262" y="1162"/>
                  </a:lnTo>
                  <a:lnTo>
                    <a:pt x="4447" y="976"/>
                  </a:lnTo>
                  <a:lnTo>
                    <a:pt x="4633" y="1162"/>
                  </a:lnTo>
                  <a:lnTo>
                    <a:pt x="4447" y="1350"/>
                  </a:lnTo>
                  <a:close/>
                  <a:moveTo>
                    <a:pt x="4423" y="1374"/>
                  </a:moveTo>
                  <a:lnTo>
                    <a:pt x="4235" y="1562"/>
                  </a:lnTo>
                  <a:lnTo>
                    <a:pt x="4050" y="1374"/>
                  </a:lnTo>
                  <a:lnTo>
                    <a:pt x="4235" y="1189"/>
                  </a:lnTo>
                  <a:lnTo>
                    <a:pt x="4423" y="1374"/>
                  </a:lnTo>
                  <a:close/>
                  <a:moveTo>
                    <a:pt x="4023" y="1350"/>
                  </a:moveTo>
                  <a:lnTo>
                    <a:pt x="3838" y="1162"/>
                  </a:lnTo>
                  <a:lnTo>
                    <a:pt x="4023" y="976"/>
                  </a:lnTo>
                  <a:lnTo>
                    <a:pt x="4211" y="1162"/>
                  </a:lnTo>
                  <a:lnTo>
                    <a:pt x="4023" y="1350"/>
                  </a:lnTo>
                  <a:close/>
                  <a:moveTo>
                    <a:pt x="3999" y="1374"/>
                  </a:moveTo>
                  <a:lnTo>
                    <a:pt x="3813" y="1562"/>
                  </a:lnTo>
                  <a:lnTo>
                    <a:pt x="3626" y="1374"/>
                  </a:lnTo>
                  <a:lnTo>
                    <a:pt x="3813" y="1189"/>
                  </a:lnTo>
                  <a:lnTo>
                    <a:pt x="3999" y="1374"/>
                  </a:lnTo>
                  <a:close/>
                  <a:moveTo>
                    <a:pt x="3601" y="1350"/>
                  </a:moveTo>
                  <a:lnTo>
                    <a:pt x="3414" y="1162"/>
                  </a:lnTo>
                  <a:lnTo>
                    <a:pt x="3601" y="976"/>
                  </a:lnTo>
                  <a:lnTo>
                    <a:pt x="3787" y="1162"/>
                  </a:lnTo>
                  <a:lnTo>
                    <a:pt x="3601" y="1350"/>
                  </a:lnTo>
                  <a:close/>
                  <a:moveTo>
                    <a:pt x="3575" y="1374"/>
                  </a:moveTo>
                  <a:lnTo>
                    <a:pt x="3389" y="1562"/>
                  </a:lnTo>
                  <a:lnTo>
                    <a:pt x="3203" y="1374"/>
                  </a:lnTo>
                  <a:lnTo>
                    <a:pt x="3389" y="1189"/>
                  </a:lnTo>
                  <a:lnTo>
                    <a:pt x="3575" y="1374"/>
                  </a:lnTo>
                  <a:close/>
                  <a:moveTo>
                    <a:pt x="3177" y="1350"/>
                  </a:moveTo>
                  <a:lnTo>
                    <a:pt x="2991" y="1162"/>
                  </a:lnTo>
                  <a:lnTo>
                    <a:pt x="3177" y="976"/>
                  </a:lnTo>
                  <a:lnTo>
                    <a:pt x="3363" y="1162"/>
                  </a:lnTo>
                  <a:lnTo>
                    <a:pt x="3177" y="1350"/>
                  </a:lnTo>
                  <a:close/>
                  <a:moveTo>
                    <a:pt x="3152" y="1374"/>
                  </a:moveTo>
                  <a:lnTo>
                    <a:pt x="2965" y="1562"/>
                  </a:lnTo>
                  <a:lnTo>
                    <a:pt x="2779" y="1374"/>
                  </a:lnTo>
                  <a:lnTo>
                    <a:pt x="2965" y="1189"/>
                  </a:lnTo>
                  <a:lnTo>
                    <a:pt x="3152" y="1374"/>
                  </a:lnTo>
                  <a:close/>
                  <a:moveTo>
                    <a:pt x="2753" y="1350"/>
                  </a:moveTo>
                  <a:lnTo>
                    <a:pt x="2567" y="1162"/>
                  </a:lnTo>
                  <a:lnTo>
                    <a:pt x="2753" y="976"/>
                  </a:lnTo>
                  <a:lnTo>
                    <a:pt x="2940" y="1162"/>
                  </a:lnTo>
                  <a:lnTo>
                    <a:pt x="2753" y="1350"/>
                  </a:lnTo>
                  <a:close/>
                  <a:moveTo>
                    <a:pt x="2728" y="1374"/>
                  </a:moveTo>
                  <a:lnTo>
                    <a:pt x="2543" y="1562"/>
                  </a:lnTo>
                  <a:lnTo>
                    <a:pt x="2355" y="1374"/>
                  </a:lnTo>
                  <a:lnTo>
                    <a:pt x="2543" y="1189"/>
                  </a:lnTo>
                  <a:lnTo>
                    <a:pt x="2728" y="1374"/>
                  </a:lnTo>
                  <a:close/>
                  <a:moveTo>
                    <a:pt x="2331" y="1350"/>
                  </a:moveTo>
                  <a:lnTo>
                    <a:pt x="2143" y="1162"/>
                  </a:lnTo>
                  <a:lnTo>
                    <a:pt x="2331" y="976"/>
                  </a:lnTo>
                  <a:lnTo>
                    <a:pt x="2516" y="1162"/>
                  </a:lnTo>
                  <a:lnTo>
                    <a:pt x="2331" y="1350"/>
                  </a:lnTo>
                  <a:close/>
                  <a:moveTo>
                    <a:pt x="2304" y="1374"/>
                  </a:moveTo>
                  <a:lnTo>
                    <a:pt x="2119" y="1562"/>
                  </a:lnTo>
                  <a:lnTo>
                    <a:pt x="1933" y="1374"/>
                  </a:lnTo>
                  <a:lnTo>
                    <a:pt x="2119" y="1189"/>
                  </a:lnTo>
                  <a:lnTo>
                    <a:pt x="2304" y="1374"/>
                  </a:lnTo>
                  <a:close/>
                  <a:moveTo>
                    <a:pt x="1907" y="1350"/>
                  </a:moveTo>
                  <a:lnTo>
                    <a:pt x="1721" y="1162"/>
                  </a:lnTo>
                  <a:lnTo>
                    <a:pt x="1907" y="976"/>
                  </a:lnTo>
                  <a:lnTo>
                    <a:pt x="2092" y="1162"/>
                  </a:lnTo>
                  <a:lnTo>
                    <a:pt x="1907" y="1350"/>
                  </a:lnTo>
                  <a:close/>
                  <a:moveTo>
                    <a:pt x="1882" y="1374"/>
                  </a:moveTo>
                  <a:lnTo>
                    <a:pt x="1695" y="1562"/>
                  </a:lnTo>
                  <a:lnTo>
                    <a:pt x="1509" y="1374"/>
                  </a:lnTo>
                  <a:lnTo>
                    <a:pt x="1695" y="1189"/>
                  </a:lnTo>
                  <a:lnTo>
                    <a:pt x="1882" y="1374"/>
                  </a:lnTo>
                  <a:close/>
                  <a:moveTo>
                    <a:pt x="1483" y="1350"/>
                  </a:moveTo>
                  <a:lnTo>
                    <a:pt x="1297" y="1162"/>
                  </a:lnTo>
                  <a:lnTo>
                    <a:pt x="1483" y="976"/>
                  </a:lnTo>
                  <a:lnTo>
                    <a:pt x="1670" y="1162"/>
                  </a:lnTo>
                  <a:lnTo>
                    <a:pt x="1483" y="1350"/>
                  </a:lnTo>
                  <a:close/>
                  <a:moveTo>
                    <a:pt x="1458" y="1374"/>
                  </a:moveTo>
                  <a:lnTo>
                    <a:pt x="1272" y="1562"/>
                  </a:lnTo>
                  <a:lnTo>
                    <a:pt x="1085" y="1374"/>
                  </a:lnTo>
                  <a:lnTo>
                    <a:pt x="1272" y="1189"/>
                  </a:lnTo>
                  <a:lnTo>
                    <a:pt x="1458" y="1374"/>
                  </a:lnTo>
                  <a:close/>
                  <a:moveTo>
                    <a:pt x="1060" y="1350"/>
                  </a:moveTo>
                  <a:lnTo>
                    <a:pt x="873" y="1162"/>
                  </a:lnTo>
                  <a:lnTo>
                    <a:pt x="1060" y="976"/>
                  </a:lnTo>
                  <a:lnTo>
                    <a:pt x="1246" y="1162"/>
                  </a:lnTo>
                  <a:lnTo>
                    <a:pt x="1060" y="1350"/>
                  </a:lnTo>
                  <a:close/>
                  <a:moveTo>
                    <a:pt x="1034" y="1374"/>
                  </a:moveTo>
                  <a:lnTo>
                    <a:pt x="848" y="1562"/>
                  </a:lnTo>
                  <a:lnTo>
                    <a:pt x="663" y="1374"/>
                  </a:lnTo>
                  <a:lnTo>
                    <a:pt x="848" y="1189"/>
                  </a:lnTo>
                  <a:lnTo>
                    <a:pt x="1034" y="1374"/>
                  </a:lnTo>
                  <a:close/>
                  <a:moveTo>
                    <a:pt x="636" y="1350"/>
                  </a:moveTo>
                  <a:lnTo>
                    <a:pt x="451" y="1162"/>
                  </a:lnTo>
                  <a:lnTo>
                    <a:pt x="636" y="976"/>
                  </a:lnTo>
                  <a:lnTo>
                    <a:pt x="822" y="1162"/>
                  </a:lnTo>
                  <a:lnTo>
                    <a:pt x="636" y="1350"/>
                  </a:lnTo>
                  <a:close/>
                  <a:moveTo>
                    <a:pt x="610" y="1374"/>
                  </a:moveTo>
                  <a:lnTo>
                    <a:pt x="424" y="1562"/>
                  </a:lnTo>
                  <a:lnTo>
                    <a:pt x="239" y="1374"/>
                  </a:lnTo>
                  <a:lnTo>
                    <a:pt x="424" y="1189"/>
                  </a:lnTo>
                  <a:lnTo>
                    <a:pt x="610" y="1374"/>
                  </a:lnTo>
                  <a:close/>
                  <a:moveTo>
                    <a:pt x="610" y="1798"/>
                  </a:moveTo>
                  <a:lnTo>
                    <a:pt x="424" y="1984"/>
                  </a:lnTo>
                  <a:lnTo>
                    <a:pt x="239" y="1798"/>
                  </a:lnTo>
                  <a:lnTo>
                    <a:pt x="424" y="1613"/>
                  </a:lnTo>
                  <a:lnTo>
                    <a:pt x="610" y="1798"/>
                  </a:lnTo>
                  <a:close/>
                  <a:moveTo>
                    <a:pt x="610" y="2223"/>
                  </a:moveTo>
                  <a:lnTo>
                    <a:pt x="424" y="2408"/>
                  </a:lnTo>
                  <a:lnTo>
                    <a:pt x="239" y="2223"/>
                  </a:lnTo>
                  <a:lnTo>
                    <a:pt x="424" y="2035"/>
                  </a:lnTo>
                  <a:lnTo>
                    <a:pt x="610" y="2223"/>
                  </a:lnTo>
                  <a:close/>
                  <a:moveTo>
                    <a:pt x="610" y="2645"/>
                  </a:moveTo>
                  <a:lnTo>
                    <a:pt x="424" y="2832"/>
                  </a:lnTo>
                  <a:lnTo>
                    <a:pt x="239" y="2645"/>
                  </a:lnTo>
                  <a:lnTo>
                    <a:pt x="424" y="2459"/>
                  </a:lnTo>
                  <a:lnTo>
                    <a:pt x="610" y="2645"/>
                  </a:lnTo>
                  <a:close/>
                  <a:moveTo>
                    <a:pt x="610" y="3069"/>
                  </a:moveTo>
                  <a:lnTo>
                    <a:pt x="424" y="3255"/>
                  </a:lnTo>
                  <a:lnTo>
                    <a:pt x="239" y="3069"/>
                  </a:lnTo>
                  <a:lnTo>
                    <a:pt x="424" y="2883"/>
                  </a:lnTo>
                  <a:lnTo>
                    <a:pt x="610" y="3069"/>
                  </a:lnTo>
                  <a:close/>
                  <a:moveTo>
                    <a:pt x="610" y="3493"/>
                  </a:moveTo>
                  <a:lnTo>
                    <a:pt x="424" y="3679"/>
                  </a:lnTo>
                  <a:lnTo>
                    <a:pt x="239" y="3493"/>
                  </a:lnTo>
                  <a:lnTo>
                    <a:pt x="424" y="3306"/>
                  </a:lnTo>
                  <a:lnTo>
                    <a:pt x="610" y="3493"/>
                  </a:lnTo>
                  <a:close/>
                  <a:moveTo>
                    <a:pt x="451" y="3281"/>
                  </a:moveTo>
                  <a:lnTo>
                    <a:pt x="636" y="3094"/>
                  </a:lnTo>
                  <a:lnTo>
                    <a:pt x="822" y="3281"/>
                  </a:lnTo>
                  <a:lnTo>
                    <a:pt x="636" y="3467"/>
                  </a:lnTo>
                  <a:lnTo>
                    <a:pt x="451" y="3281"/>
                  </a:lnTo>
                  <a:close/>
                  <a:moveTo>
                    <a:pt x="848" y="3306"/>
                  </a:moveTo>
                  <a:lnTo>
                    <a:pt x="1034" y="3493"/>
                  </a:lnTo>
                  <a:lnTo>
                    <a:pt x="848" y="3679"/>
                  </a:lnTo>
                  <a:lnTo>
                    <a:pt x="663" y="3493"/>
                  </a:lnTo>
                  <a:lnTo>
                    <a:pt x="848" y="3306"/>
                  </a:lnTo>
                  <a:close/>
                  <a:moveTo>
                    <a:pt x="873" y="3281"/>
                  </a:moveTo>
                  <a:lnTo>
                    <a:pt x="1060" y="3094"/>
                  </a:lnTo>
                  <a:lnTo>
                    <a:pt x="1246" y="3281"/>
                  </a:lnTo>
                  <a:lnTo>
                    <a:pt x="1060" y="3467"/>
                  </a:lnTo>
                  <a:lnTo>
                    <a:pt x="873" y="3281"/>
                  </a:lnTo>
                  <a:close/>
                  <a:moveTo>
                    <a:pt x="1272" y="3306"/>
                  </a:moveTo>
                  <a:lnTo>
                    <a:pt x="1458" y="3493"/>
                  </a:lnTo>
                  <a:lnTo>
                    <a:pt x="1272" y="3679"/>
                  </a:lnTo>
                  <a:lnTo>
                    <a:pt x="1085" y="3493"/>
                  </a:lnTo>
                  <a:lnTo>
                    <a:pt x="1272" y="3306"/>
                  </a:lnTo>
                  <a:close/>
                  <a:moveTo>
                    <a:pt x="1297" y="3281"/>
                  </a:moveTo>
                  <a:lnTo>
                    <a:pt x="1483" y="3094"/>
                  </a:lnTo>
                  <a:lnTo>
                    <a:pt x="1670" y="3281"/>
                  </a:lnTo>
                  <a:lnTo>
                    <a:pt x="1483" y="3467"/>
                  </a:lnTo>
                  <a:lnTo>
                    <a:pt x="1297" y="3281"/>
                  </a:lnTo>
                  <a:close/>
                  <a:moveTo>
                    <a:pt x="1695" y="3306"/>
                  </a:moveTo>
                  <a:lnTo>
                    <a:pt x="1882" y="3493"/>
                  </a:lnTo>
                  <a:lnTo>
                    <a:pt x="1695" y="3679"/>
                  </a:lnTo>
                  <a:lnTo>
                    <a:pt x="1509" y="3493"/>
                  </a:lnTo>
                  <a:lnTo>
                    <a:pt x="1695" y="3306"/>
                  </a:lnTo>
                  <a:close/>
                  <a:moveTo>
                    <a:pt x="1721" y="3281"/>
                  </a:moveTo>
                  <a:lnTo>
                    <a:pt x="1907" y="3094"/>
                  </a:lnTo>
                  <a:lnTo>
                    <a:pt x="2092" y="3281"/>
                  </a:lnTo>
                  <a:lnTo>
                    <a:pt x="1907" y="3467"/>
                  </a:lnTo>
                  <a:lnTo>
                    <a:pt x="1721" y="3281"/>
                  </a:lnTo>
                  <a:close/>
                  <a:moveTo>
                    <a:pt x="2119" y="3306"/>
                  </a:moveTo>
                  <a:lnTo>
                    <a:pt x="2304" y="3493"/>
                  </a:lnTo>
                  <a:lnTo>
                    <a:pt x="2119" y="3679"/>
                  </a:lnTo>
                  <a:lnTo>
                    <a:pt x="1933" y="3493"/>
                  </a:lnTo>
                  <a:lnTo>
                    <a:pt x="2119" y="3306"/>
                  </a:lnTo>
                  <a:close/>
                  <a:moveTo>
                    <a:pt x="2143" y="3281"/>
                  </a:moveTo>
                  <a:lnTo>
                    <a:pt x="2331" y="3094"/>
                  </a:lnTo>
                  <a:lnTo>
                    <a:pt x="2516" y="3281"/>
                  </a:lnTo>
                  <a:lnTo>
                    <a:pt x="2331" y="3467"/>
                  </a:lnTo>
                  <a:lnTo>
                    <a:pt x="2143" y="3281"/>
                  </a:lnTo>
                  <a:close/>
                  <a:moveTo>
                    <a:pt x="2543" y="3306"/>
                  </a:moveTo>
                  <a:lnTo>
                    <a:pt x="2728" y="3493"/>
                  </a:lnTo>
                  <a:lnTo>
                    <a:pt x="2543" y="3679"/>
                  </a:lnTo>
                  <a:lnTo>
                    <a:pt x="2355" y="3493"/>
                  </a:lnTo>
                  <a:lnTo>
                    <a:pt x="2543" y="3306"/>
                  </a:lnTo>
                  <a:close/>
                  <a:moveTo>
                    <a:pt x="2567" y="3281"/>
                  </a:moveTo>
                  <a:lnTo>
                    <a:pt x="2753" y="3094"/>
                  </a:lnTo>
                  <a:lnTo>
                    <a:pt x="2940" y="3281"/>
                  </a:lnTo>
                  <a:lnTo>
                    <a:pt x="2753" y="3467"/>
                  </a:lnTo>
                  <a:lnTo>
                    <a:pt x="2567" y="3281"/>
                  </a:lnTo>
                  <a:close/>
                  <a:moveTo>
                    <a:pt x="2965" y="3306"/>
                  </a:moveTo>
                  <a:lnTo>
                    <a:pt x="3152" y="3493"/>
                  </a:lnTo>
                  <a:lnTo>
                    <a:pt x="2965" y="3679"/>
                  </a:lnTo>
                  <a:lnTo>
                    <a:pt x="2779" y="3493"/>
                  </a:lnTo>
                  <a:lnTo>
                    <a:pt x="2965" y="3306"/>
                  </a:lnTo>
                  <a:close/>
                  <a:moveTo>
                    <a:pt x="2991" y="3281"/>
                  </a:moveTo>
                  <a:lnTo>
                    <a:pt x="3177" y="3094"/>
                  </a:lnTo>
                  <a:lnTo>
                    <a:pt x="3363" y="3281"/>
                  </a:lnTo>
                  <a:lnTo>
                    <a:pt x="3177" y="3467"/>
                  </a:lnTo>
                  <a:lnTo>
                    <a:pt x="2991" y="3281"/>
                  </a:lnTo>
                  <a:close/>
                  <a:moveTo>
                    <a:pt x="3389" y="3306"/>
                  </a:moveTo>
                  <a:lnTo>
                    <a:pt x="3575" y="3493"/>
                  </a:lnTo>
                  <a:lnTo>
                    <a:pt x="3389" y="3679"/>
                  </a:lnTo>
                  <a:lnTo>
                    <a:pt x="3203" y="3493"/>
                  </a:lnTo>
                  <a:lnTo>
                    <a:pt x="3389" y="3306"/>
                  </a:lnTo>
                  <a:close/>
                  <a:moveTo>
                    <a:pt x="3414" y="3281"/>
                  </a:moveTo>
                  <a:lnTo>
                    <a:pt x="3601" y="3094"/>
                  </a:lnTo>
                  <a:lnTo>
                    <a:pt x="3787" y="3281"/>
                  </a:lnTo>
                  <a:lnTo>
                    <a:pt x="3601" y="3467"/>
                  </a:lnTo>
                  <a:lnTo>
                    <a:pt x="3414" y="3281"/>
                  </a:lnTo>
                  <a:close/>
                  <a:moveTo>
                    <a:pt x="3813" y="3306"/>
                  </a:moveTo>
                  <a:lnTo>
                    <a:pt x="3999" y="3493"/>
                  </a:lnTo>
                  <a:lnTo>
                    <a:pt x="3813" y="3679"/>
                  </a:lnTo>
                  <a:lnTo>
                    <a:pt x="3626" y="3493"/>
                  </a:lnTo>
                  <a:lnTo>
                    <a:pt x="3813" y="3306"/>
                  </a:lnTo>
                  <a:close/>
                  <a:moveTo>
                    <a:pt x="3838" y="3281"/>
                  </a:moveTo>
                  <a:lnTo>
                    <a:pt x="4023" y="3094"/>
                  </a:lnTo>
                  <a:lnTo>
                    <a:pt x="4211" y="3281"/>
                  </a:lnTo>
                  <a:lnTo>
                    <a:pt x="4023" y="3467"/>
                  </a:lnTo>
                  <a:lnTo>
                    <a:pt x="3838" y="3281"/>
                  </a:lnTo>
                  <a:close/>
                  <a:moveTo>
                    <a:pt x="4235" y="3306"/>
                  </a:moveTo>
                  <a:lnTo>
                    <a:pt x="4423" y="3493"/>
                  </a:lnTo>
                  <a:lnTo>
                    <a:pt x="4235" y="3679"/>
                  </a:lnTo>
                  <a:lnTo>
                    <a:pt x="4050" y="3493"/>
                  </a:lnTo>
                  <a:lnTo>
                    <a:pt x="4235" y="3306"/>
                  </a:lnTo>
                  <a:close/>
                  <a:moveTo>
                    <a:pt x="4262" y="3281"/>
                  </a:moveTo>
                  <a:lnTo>
                    <a:pt x="4447" y="3094"/>
                  </a:lnTo>
                  <a:lnTo>
                    <a:pt x="4633" y="3281"/>
                  </a:lnTo>
                  <a:lnTo>
                    <a:pt x="4447" y="3467"/>
                  </a:lnTo>
                  <a:lnTo>
                    <a:pt x="4262" y="3281"/>
                  </a:lnTo>
                  <a:close/>
                  <a:moveTo>
                    <a:pt x="4659" y="3306"/>
                  </a:moveTo>
                  <a:lnTo>
                    <a:pt x="4845" y="3493"/>
                  </a:lnTo>
                  <a:lnTo>
                    <a:pt x="4659" y="3679"/>
                  </a:lnTo>
                  <a:lnTo>
                    <a:pt x="4474" y="3493"/>
                  </a:lnTo>
                  <a:lnTo>
                    <a:pt x="4659" y="3306"/>
                  </a:lnTo>
                  <a:close/>
                  <a:moveTo>
                    <a:pt x="4684" y="3281"/>
                  </a:moveTo>
                  <a:lnTo>
                    <a:pt x="4871" y="3094"/>
                  </a:lnTo>
                  <a:lnTo>
                    <a:pt x="5057" y="3281"/>
                  </a:lnTo>
                  <a:lnTo>
                    <a:pt x="4871" y="3467"/>
                  </a:lnTo>
                  <a:lnTo>
                    <a:pt x="4684" y="3281"/>
                  </a:lnTo>
                  <a:close/>
                  <a:moveTo>
                    <a:pt x="5083" y="3306"/>
                  </a:moveTo>
                  <a:lnTo>
                    <a:pt x="5269" y="3493"/>
                  </a:lnTo>
                  <a:lnTo>
                    <a:pt x="5083" y="3679"/>
                  </a:lnTo>
                  <a:lnTo>
                    <a:pt x="4896" y="3493"/>
                  </a:lnTo>
                  <a:lnTo>
                    <a:pt x="5083" y="3306"/>
                  </a:lnTo>
                  <a:close/>
                  <a:moveTo>
                    <a:pt x="5108" y="3281"/>
                  </a:moveTo>
                  <a:lnTo>
                    <a:pt x="5294" y="3094"/>
                  </a:lnTo>
                  <a:lnTo>
                    <a:pt x="5481" y="3281"/>
                  </a:lnTo>
                  <a:lnTo>
                    <a:pt x="5294" y="3467"/>
                  </a:lnTo>
                  <a:lnTo>
                    <a:pt x="5108" y="3281"/>
                  </a:lnTo>
                  <a:close/>
                  <a:moveTo>
                    <a:pt x="5506" y="3306"/>
                  </a:moveTo>
                  <a:lnTo>
                    <a:pt x="5693" y="3493"/>
                  </a:lnTo>
                  <a:lnTo>
                    <a:pt x="5506" y="3679"/>
                  </a:lnTo>
                  <a:lnTo>
                    <a:pt x="5320" y="3493"/>
                  </a:lnTo>
                  <a:lnTo>
                    <a:pt x="5506" y="3306"/>
                  </a:lnTo>
                  <a:close/>
                  <a:moveTo>
                    <a:pt x="5532" y="3281"/>
                  </a:moveTo>
                  <a:lnTo>
                    <a:pt x="5718" y="3094"/>
                  </a:lnTo>
                  <a:lnTo>
                    <a:pt x="5903" y="3281"/>
                  </a:lnTo>
                  <a:lnTo>
                    <a:pt x="5718" y="3467"/>
                  </a:lnTo>
                  <a:lnTo>
                    <a:pt x="5532" y="3281"/>
                  </a:lnTo>
                  <a:close/>
                  <a:moveTo>
                    <a:pt x="5930" y="3306"/>
                  </a:moveTo>
                  <a:lnTo>
                    <a:pt x="6115" y="3493"/>
                  </a:lnTo>
                  <a:lnTo>
                    <a:pt x="5930" y="3679"/>
                  </a:lnTo>
                  <a:lnTo>
                    <a:pt x="5744" y="3493"/>
                  </a:lnTo>
                  <a:lnTo>
                    <a:pt x="5930" y="3306"/>
                  </a:lnTo>
                  <a:close/>
                  <a:moveTo>
                    <a:pt x="5956" y="3281"/>
                  </a:moveTo>
                  <a:lnTo>
                    <a:pt x="6142" y="3094"/>
                  </a:lnTo>
                  <a:lnTo>
                    <a:pt x="6327" y="3281"/>
                  </a:lnTo>
                  <a:lnTo>
                    <a:pt x="6142" y="3467"/>
                  </a:lnTo>
                  <a:lnTo>
                    <a:pt x="5956" y="3281"/>
                  </a:lnTo>
                  <a:close/>
                  <a:moveTo>
                    <a:pt x="6354" y="3306"/>
                  </a:moveTo>
                  <a:lnTo>
                    <a:pt x="6539" y="3493"/>
                  </a:lnTo>
                  <a:lnTo>
                    <a:pt x="6354" y="3679"/>
                  </a:lnTo>
                  <a:lnTo>
                    <a:pt x="6166" y="3493"/>
                  </a:lnTo>
                  <a:lnTo>
                    <a:pt x="6354" y="3306"/>
                  </a:lnTo>
                  <a:close/>
                  <a:moveTo>
                    <a:pt x="6378" y="3281"/>
                  </a:moveTo>
                  <a:lnTo>
                    <a:pt x="6566" y="3094"/>
                  </a:lnTo>
                  <a:lnTo>
                    <a:pt x="6751" y="3281"/>
                  </a:lnTo>
                  <a:lnTo>
                    <a:pt x="6566" y="3467"/>
                  </a:lnTo>
                  <a:lnTo>
                    <a:pt x="6378" y="3281"/>
                  </a:lnTo>
                  <a:close/>
                  <a:moveTo>
                    <a:pt x="6776" y="3306"/>
                  </a:moveTo>
                  <a:lnTo>
                    <a:pt x="6963" y="3493"/>
                  </a:lnTo>
                  <a:lnTo>
                    <a:pt x="6776" y="3679"/>
                  </a:lnTo>
                  <a:lnTo>
                    <a:pt x="6590" y="3493"/>
                  </a:lnTo>
                  <a:lnTo>
                    <a:pt x="6776" y="3306"/>
                  </a:lnTo>
                  <a:close/>
                  <a:moveTo>
                    <a:pt x="6802" y="3281"/>
                  </a:moveTo>
                  <a:lnTo>
                    <a:pt x="6988" y="3094"/>
                  </a:lnTo>
                  <a:lnTo>
                    <a:pt x="7175" y="3281"/>
                  </a:lnTo>
                  <a:lnTo>
                    <a:pt x="6988" y="3467"/>
                  </a:lnTo>
                  <a:lnTo>
                    <a:pt x="6802" y="3281"/>
                  </a:lnTo>
                  <a:close/>
                  <a:moveTo>
                    <a:pt x="7200" y="3306"/>
                  </a:moveTo>
                  <a:lnTo>
                    <a:pt x="7386" y="3493"/>
                  </a:lnTo>
                  <a:lnTo>
                    <a:pt x="7200" y="3679"/>
                  </a:lnTo>
                  <a:lnTo>
                    <a:pt x="7014" y="3493"/>
                  </a:lnTo>
                  <a:lnTo>
                    <a:pt x="7200" y="3306"/>
                  </a:lnTo>
                  <a:close/>
                  <a:moveTo>
                    <a:pt x="7226" y="3281"/>
                  </a:moveTo>
                  <a:lnTo>
                    <a:pt x="7412" y="3094"/>
                  </a:lnTo>
                  <a:lnTo>
                    <a:pt x="7598" y="3281"/>
                  </a:lnTo>
                  <a:lnTo>
                    <a:pt x="7412" y="3467"/>
                  </a:lnTo>
                  <a:lnTo>
                    <a:pt x="7226" y="3281"/>
                  </a:lnTo>
                  <a:close/>
                  <a:moveTo>
                    <a:pt x="7624" y="3306"/>
                  </a:moveTo>
                  <a:lnTo>
                    <a:pt x="7810" y="3493"/>
                  </a:lnTo>
                  <a:lnTo>
                    <a:pt x="7624" y="3679"/>
                  </a:lnTo>
                  <a:lnTo>
                    <a:pt x="7437" y="3493"/>
                  </a:lnTo>
                  <a:lnTo>
                    <a:pt x="7624" y="3306"/>
                  </a:lnTo>
                  <a:close/>
                  <a:moveTo>
                    <a:pt x="7649" y="3281"/>
                  </a:moveTo>
                  <a:lnTo>
                    <a:pt x="7836" y="3094"/>
                  </a:lnTo>
                  <a:lnTo>
                    <a:pt x="8022" y="3281"/>
                  </a:lnTo>
                  <a:lnTo>
                    <a:pt x="7836" y="3467"/>
                  </a:lnTo>
                  <a:lnTo>
                    <a:pt x="7649" y="3281"/>
                  </a:lnTo>
                  <a:close/>
                  <a:moveTo>
                    <a:pt x="8047" y="3306"/>
                  </a:moveTo>
                  <a:lnTo>
                    <a:pt x="8234" y="3493"/>
                  </a:lnTo>
                  <a:lnTo>
                    <a:pt x="8047" y="3679"/>
                  </a:lnTo>
                  <a:lnTo>
                    <a:pt x="7861" y="3493"/>
                  </a:lnTo>
                  <a:lnTo>
                    <a:pt x="8047" y="3306"/>
                  </a:lnTo>
                  <a:close/>
                  <a:moveTo>
                    <a:pt x="8073" y="3281"/>
                  </a:moveTo>
                  <a:lnTo>
                    <a:pt x="8259" y="3094"/>
                  </a:lnTo>
                  <a:lnTo>
                    <a:pt x="8446" y="3281"/>
                  </a:lnTo>
                  <a:lnTo>
                    <a:pt x="8259" y="3467"/>
                  </a:lnTo>
                  <a:lnTo>
                    <a:pt x="8073" y="3281"/>
                  </a:lnTo>
                  <a:close/>
                  <a:moveTo>
                    <a:pt x="8470" y="3306"/>
                  </a:moveTo>
                  <a:lnTo>
                    <a:pt x="8656" y="3493"/>
                  </a:lnTo>
                  <a:lnTo>
                    <a:pt x="8470" y="3679"/>
                  </a:lnTo>
                  <a:lnTo>
                    <a:pt x="8285" y="3493"/>
                  </a:lnTo>
                  <a:lnTo>
                    <a:pt x="8470" y="3306"/>
                  </a:lnTo>
                  <a:close/>
                  <a:moveTo>
                    <a:pt x="8497" y="3281"/>
                  </a:moveTo>
                  <a:lnTo>
                    <a:pt x="8682" y="3094"/>
                  </a:lnTo>
                  <a:lnTo>
                    <a:pt x="8868" y="3281"/>
                  </a:lnTo>
                  <a:lnTo>
                    <a:pt x="8682" y="3467"/>
                  </a:lnTo>
                  <a:lnTo>
                    <a:pt x="8497" y="3281"/>
                  </a:lnTo>
                  <a:close/>
                  <a:moveTo>
                    <a:pt x="8894" y="3306"/>
                  </a:moveTo>
                  <a:lnTo>
                    <a:pt x="9080" y="3493"/>
                  </a:lnTo>
                  <a:lnTo>
                    <a:pt x="8894" y="3679"/>
                  </a:lnTo>
                  <a:lnTo>
                    <a:pt x="8707" y="3493"/>
                  </a:lnTo>
                  <a:lnTo>
                    <a:pt x="8894" y="3306"/>
                  </a:lnTo>
                  <a:close/>
                  <a:moveTo>
                    <a:pt x="8919" y="3281"/>
                  </a:moveTo>
                  <a:lnTo>
                    <a:pt x="9106" y="3094"/>
                  </a:lnTo>
                  <a:lnTo>
                    <a:pt x="9292" y="3281"/>
                  </a:lnTo>
                  <a:lnTo>
                    <a:pt x="9106" y="3467"/>
                  </a:lnTo>
                  <a:lnTo>
                    <a:pt x="8919" y="3281"/>
                  </a:lnTo>
                  <a:close/>
                  <a:moveTo>
                    <a:pt x="9317" y="3306"/>
                  </a:moveTo>
                  <a:lnTo>
                    <a:pt x="9504" y="3493"/>
                  </a:lnTo>
                  <a:lnTo>
                    <a:pt x="9317" y="3679"/>
                  </a:lnTo>
                  <a:lnTo>
                    <a:pt x="9131" y="3493"/>
                  </a:lnTo>
                  <a:lnTo>
                    <a:pt x="9317" y="3306"/>
                  </a:lnTo>
                  <a:close/>
                  <a:moveTo>
                    <a:pt x="9343" y="3281"/>
                  </a:moveTo>
                  <a:lnTo>
                    <a:pt x="9529" y="3094"/>
                  </a:lnTo>
                  <a:lnTo>
                    <a:pt x="9716" y="3281"/>
                  </a:lnTo>
                  <a:lnTo>
                    <a:pt x="9529" y="3467"/>
                  </a:lnTo>
                  <a:lnTo>
                    <a:pt x="9343" y="3281"/>
                  </a:lnTo>
                  <a:close/>
                  <a:moveTo>
                    <a:pt x="9741" y="3306"/>
                  </a:moveTo>
                  <a:lnTo>
                    <a:pt x="9927" y="3493"/>
                  </a:lnTo>
                  <a:lnTo>
                    <a:pt x="9741" y="3679"/>
                  </a:lnTo>
                  <a:lnTo>
                    <a:pt x="9555" y="3493"/>
                  </a:lnTo>
                  <a:lnTo>
                    <a:pt x="9741" y="3306"/>
                  </a:lnTo>
                  <a:close/>
                  <a:moveTo>
                    <a:pt x="9767" y="3281"/>
                  </a:moveTo>
                  <a:lnTo>
                    <a:pt x="9953" y="3094"/>
                  </a:lnTo>
                  <a:lnTo>
                    <a:pt x="10139" y="3281"/>
                  </a:lnTo>
                  <a:lnTo>
                    <a:pt x="9953" y="3467"/>
                  </a:lnTo>
                  <a:lnTo>
                    <a:pt x="9767" y="3281"/>
                  </a:lnTo>
                  <a:close/>
                  <a:moveTo>
                    <a:pt x="10165" y="3306"/>
                  </a:moveTo>
                  <a:lnTo>
                    <a:pt x="10351" y="3493"/>
                  </a:lnTo>
                  <a:lnTo>
                    <a:pt x="10165" y="3679"/>
                  </a:lnTo>
                  <a:lnTo>
                    <a:pt x="9979" y="3493"/>
                  </a:lnTo>
                  <a:lnTo>
                    <a:pt x="10165" y="3306"/>
                  </a:lnTo>
                  <a:close/>
                  <a:moveTo>
                    <a:pt x="10190" y="3281"/>
                  </a:moveTo>
                  <a:lnTo>
                    <a:pt x="10377" y="3094"/>
                  </a:lnTo>
                  <a:lnTo>
                    <a:pt x="10563" y="3281"/>
                  </a:lnTo>
                  <a:lnTo>
                    <a:pt x="10377" y="3467"/>
                  </a:lnTo>
                  <a:lnTo>
                    <a:pt x="10190" y="3281"/>
                  </a:lnTo>
                  <a:close/>
                  <a:moveTo>
                    <a:pt x="10589" y="3306"/>
                  </a:moveTo>
                  <a:lnTo>
                    <a:pt x="10775" y="3493"/>
                  </a:lnTo>
                  <a:lnTo>
                    <a:pt x="10589" y="3679"/>
                  </a:lnTo>
                  <a:lnTo>
                    <a:pt x="10402" y="3493"/>
                  </a:lnTo>
                  <a:lnTo>
                    <a:pt x="10589" y="3306"/>
                  </a:lnTo>
                  <a:close/>
                  <a:moveTo>
                    <a:pt x="10614" y="3281"/>
                  </a:moveTo>
                  <a:lnTo>
                    <a:pt x="10799" y="3094"/>
                  </a:lnTo>
                  <a:lnTo>
                    <a:pt x="10986" y="3281"/>
                  </a:lnTo>
                  <a:lnTo>
                    <a:pt x="10799" y="3467"/>
                  </a:lnTo>
                  <a:lnTo>
                    <a:pt x="10614" y="3281"/>
                  </a:lnTo>
                  <a:close/>
                  <a:moveTo>
                    <a:pt x="11011" y="3306"/>
                  </a:moveTo>
                  <a:lnTo>
                    <a:pt x="11198" y="3493"/>
                  </a:lnTo>
                  <a:lnTo>
                    <a:pt x="11011" y="3679"/>
                  </a:lnTo>
                  <a:lnTo>
                    <a:pt x="10826" y="3493"/>
                  </a:lnTo>
                  <a:lnTo>
                    <a:pt x="11011" y="3306"/>
                  </a:lnTo>
                  <a:close/>
                  <a:moveTo>
                    <a:pt x="11038" y="3281"/>
                  </a:moveTo>
                  <a:lnTo>
                    <a:pt x="11223" y="3094"/>
                  </a:lnTo>
                  <a:lnTo>
                    <a:pt x="11409" y="3281"/>
                  </a:lnTo>
                  <a:lnTo>
                    <a:pt x="11223" y="3467"/>
                  </a:lnTo>
                  <a:lnTo>
                    <a:pt x="11038" y="3281"/>
                  </a:lnTo>
                  <a:close/>
                  <a:moveTo>
                    <a:pt x="11435" y="3306"/>
                  </a:moveTo>
                  <a:lnTo>
                    <a:pt x="11621" y="3493"/>
                  </a:lnTo>
                  <a:lnTo>
                    <a:pt x="11435" y="3679"/>
                  </a:lnTo>
                  <a:lnTo>
                    <a:pt x="11250" y="3493"/>
                  </a:lnTo>
                  <a:lnTo>
                    <a:pt x="11435" y="3306"/>
                  </a:lnTo>
                  <a:close/>
                  <a:moveTo>
                    <a:pt x="11460" y="3281"/>
                  </a:moveTo>
                  <a:lnTo>
                    <a:pt x="11647" y="3094"/>
                  </a:lnTo>
                  <a:lnTo>
                    <a:pt x="11833" y="3281"/>
                  </a:lnTo>
                  <a:lnTo>
                    <a:pt x="11647" y="3467"/>
                  </a:lnTo>
                  <a:lnTo>
                    <a:pt x="11460" y="3281"/>
                  </a:lnTo>
                  <a:close/>
                  <a:moveTo>
                    <a:pt x="11859" y="3306"/>
                  </a:moveTo>
                  <a:lnTo>
                    <a:pt x="12045" y="3493"/>
                  </a:lnTo>
                  <a:lnTo>
                    <a:pt x="11859" y="3679"/>
                  </a:lnTo>
                  <a:lnTo>
                    <a:pt x="11672" y="3493"/>
                  </a:lnTo>
                  <a:lnTo>
                    <a:pt x="11859" y="3306"/>
                  </a:lnTo>
                  <a:close/>
                  <a:moveTo>
                    <a:pt x="11884" y="3281"/>
                  </a:moveTo>
                  <a:lnTo>
                    <a:pt x="12070" y="3094"/>
                  </a:lnTo>
                  <a:lnTo>
                    <a:pt x="12257" y="3281"/>
                  </a:lnTo>
                  <a:lnTo>
                    <a:pt x="12070" y="3467"/>
                  </a:lnTo>
                  <a:lnTo>
                    <a:pt x="11884" y="3281"/>
                  </a:lnTo>
                  <a:close/>
                  <a:moveTo>
                    <a:pt x="12282" y="3306"/>
                  </a:moveTo>
                  <a:lnTo>
                    <a:pt x="12469" y="3493"/>
                  </a:lnTo>
                  <a:lnTo>
                    <a:pt x="12282" y="3679"/>
                  </a:lnTo>
                  <a:lnTo>
                    <a:pt x="12096" y="3493"/>
                  </a:lnTo>
                  <a:lnTo>
                    <a:pt x="12282" y="3306"/>
                  </a:lnTo>
                  <a:close/>
                  <a:moveTo>
                    <a:pt x="12308" y="3281"/>
                  </a:moveTo>
                  <a:lnTo>
                    <a:pt x="12494" y="3094"/>
                  </a:lnTo>
                  <a:lnTo>
                    <a:pt x="12679" y="3281"/>
                  </a:lnTo>
                  <a:lnTo>
                    <a:pt x="12494" y="3467"/>
                  </a:lnTo>
                  <a:lnTo>
                    <a:pt x="12308" y="3281"/>
                  </a:lnTo>
                  <a:close/>
                  <a:moveTo>
                    <a:pt x="12706" y="3306"/>
                  </a:moveTo>
                  <a:lnTo>
                    <a:pt x="12891" y="3493"/>
                  </a:lnTo>
                  <a:lnTo>
                    <a:pt x="12706" y="3679"/>
                  </a:lnTo>
                  <a:lnTo>
                    <a:pt x="12520" y="3493"/>
                  </a:lnTo>
                  <a:lnTo>
                    <a:pt x="12706" y="3306"/>
                  </a:lnTo>
                  <a:close/>
                  <a:moveTo>
                    <a:pt x="12730" y="3281"/>
                  </a:moveTo>
                  <a:lnTo>
                    <a:pt x="12918" y="3094"/>
                  </a:lnTo>
                  <a:lnTo>
                    <a:pt x="13103" y="3281"/>
                  </a:lnTo>
                  <a:lnTo>
                    <a:pt x="12918" y="3467"/>
                  </a:lnTo>
                  <a:lnTo>
                    <a:pt x="12730" y="3281"/>
                  </a:lnTo>
                  <a:close/>
                  <a:moveTo>
                    <a:pt x="13130" y="3306"/>
                  </a:moveTo>
                  <a:lnTo>
                    <a:pt x="13315" y="3493"/>
                  </a:lnTo>
                  <a:lnTo>
                    <a:pt x="13130" y="3679"/>
                  </a:lnTo>
                  <a:lnTo>
                    <a:pt x="12942" y="3493"/>
                  </a:lnTo>
                  <a:lnTo>
                    <a:pt x="13130" y="3306"/>
                  </a:lnTo>
                  <a:close/>
                  <a:moveTo>
                    <a:pt x="13154" y="3281"/>
                  </a:moveTo>
                  <a:lnTo>
                    <a:pt x="13340" y="3094"/>
                  </a:lnTo>
                  <a:lnTo>
                    <a:pt x="13527" y="3281"/>
                  </a:lnTo>
                  <a:lnTo>
                    <a:pt x="13340" y="3467"/>
                  </a:lnTo>
                  <a:lnTo>
                    <a:pt x="13154" y="3281"/>
                  </a:lnTo>
                  <a:close/>
                  <a:moveTo>
                    <a:pt x="13552" y="3306"/>
                  </a:moveTo>
                  <a:lnTo>
                    <a:pt x="13739" y="3493"/>
                  </a:lnTo>
                  <a:lnTo>
                    <a:pt x="13552" y="3679"/>
                  </a:lnTo>
                  <a:lnTo>
                    <a:pt x="13366" y="3493"/>
                  </a:lnTo>
                  <a:lnTo>
                    <a:pt x="13552" y="3306"/>
                  </a:lnTo>
                  <a:close/>
                  <a:moveTo>
                    <a:pt x="13578" y="3281"/>
                  </a:moveTo>
                  <a:lnTo>
                    <a:pt x="13764" y="3094"/>
                  </a:lnTo>
                  <a:lnTo>
                    <a:pt x="13950" y="3281"/>
                  </a:lnTo>
                  <a:lnTo>
                    <a:pt x="13764" y="3467"/>
                  </a:lnTo>
                  <a:lnTo>
                    <a:pt x="13578" y="3281"/>
                  </a:lnTo>
                  <a:close/>
                  <a:moveTo>
                    <a:pt x="13976" y="3306"/>
                  </a:moveTo>
                  <a:lnTo>
                    <a:pt x="14162" y="3493"/>
                  </a:lnTo>
                  <a:lnTo>
                    <a:pt x="13976" y="3679"/>
                  </a:lnTo>
                  <a:lnTo>
                    <a:pt x="13790" y="3493"/>
                  </a:lnTo>
                  <a:lnTo>
                    <a:pt x="13976" y="3306"/>
                  </a:lnTo>
                  <a:close/>
                  <a:moveTo>
                    <a:pt x="14002" y="3281"/>
                  </a:moveTo>
                  <a:lnTo>
                    <a:pt x="14188" y="3094"/>
                  </a:lnTo>
                  <a:lnTo>
                    <a:pt x="14374" y="3281"/>
                  </a:lnTo>
                  <a:lnTo>
                    <a:pt x="14188" y="3467"/>
                  </a:lnTo>
                  <a:lnTo>
                    <a:pt x="14002" y="3281"/>
                  </a:lnTo>
                  <a:close/>
                  <a:moveTo>
                    <a:pt x="14400" y="3306"/>
                  </a:moveTo>
                  <a:lnTo>
                    <a:pt x="14586" y="3493"/>
                  </a:lnTo>
                  <a:lnTo>
                    <a:pt x="14400" y="3679"/>
                  </a:lnTo>
                  <a:lnTo>
                    <a:pt x="14213" y="3493"/>
                  </a:lnTo>
                  <a:lnTo>
                    <a:pt x="14400" y="3306"/>
                  </a:lnTo>
                  <a:close/>
                  <a:moveTo>
                    <a:pt x="14213" y="3069"/>
                  </a:moveTo>
                  <a:lnTo>
                    <a:pt x="14400" y="2883"/>
                  </a:lnTo>
                  <a:lnTo>
                    <a:pt x="14586" y="3069"/>
                  </a:lnTo>
                  <a:lnTo>
                    <a:pt x="14400" y="3255"/>
                  </a:lnTo>
                  <a:lnTo>
                    <a:pt x="14213" y="3069"/>
                  </a:lnTo>
                  <a:close/>
                  <a:moveTo>
                    <a:pt x="14213" y="2645"/>
                  </a:moveTo>
                  <a:lnTo>
                    <a:pt x="14400" y="2459"/>
                  </a:lnTo>
                  <a:lnTo>
                    <a:pt x="14586" y="2645"/>
                  </a:lnTo>
                  <a:lnTo>
                    <a:pt x="14400" y="2832"/>
                  </a:lnTo>
                  <a:lnTo>
                    <a:pt x="14213" y="2645"/>
                  </a:lnTo>
                  <a:close/>
                  <a:moveTo>
                    <a:pt x="14213" y="2223"/>
                  </a:moveTo>
                  <a:lnTo>
                    <a:pt x="14400" y="2035"/>
                  </a:lnTo>
                  <a:lnTo>
                    <a:pt x="14586" y="2223"/>
                  </a:lnTo>
                  <a:lnTo>
                    <a:pt x="14400" y="2408"/>
                  </a:lnTo>
                  <a:lnTo>
                    <a:pt x="14213" y="2223"/>
                  </a:lnTo>
                  <a:close/>
                  <a:moveTo>
                    <a:pt x="14213" y="1798"/>
                  </a:moveTo>
                  <a:lnTo>
                    <a:pt x="14400" y="1613"/>
                  </a:lnTo>
                  <a:lnTo>
                    <a:pt x="14586" y="1798"/>
                  </a:lnTo>
                  <a:lnTo>
                    <a:pt x="14400" y="1984"/>
                  </a:lnTo>
                  <a:lnTo>
                    <a:pt x="14213" y="1798"/>
                  </a:lnTo>
                  <a:close/>
                  <a:moveTo>
                    <a:pt x="14213" y="1374"/>
                  </a:moveTo>
                  <a:lnTo>
                    <a:pt x="14400" y="1189"/>
                  </a:lnTo>
                  <a:lnTo>
                    <a:pt x="14586" y="1374"/>
                  </a:lnTo>
                  <a:lnTo>
                    <a:pt x="14400" y="1562"/>
                  </a:lnTo>
                  <a:lnTo>
                    <a:pt x="14213" y="1374"/>
                  </a:lnTo>
                  <a:close/>
                  <a:moveTo>
                    <a:pt x="14213" y="952"/>
                  </a:moveTo>
                  <a:lnTo>
                    <a:pt x="14400" y="764"/>
                  </a:lnTo>
                  <a:lnTo>
                    <a:pt x="14586" y="952"/>
                  </a:lnTo>
                  <a:lnTo>
                    <a:pt x="14400" y="1137"/>
                  </a:lnTo>
                  <a:lnTo>
                    <a:pt x="14213" y="952"/>
                  </a:lnTo>
                  <a:close/>
                  <a:moveTo>
                    <a:pt x="14188" y="925"/>
                  </a:moveTo>
                  <a:lnTo>
                    <a:pt x="14002" y="740"/>
                  </a:lnTo>
                  <a:lnTo>
                    <a:pt x="14188" y="552"/>
                  </a:lnTo>
                  <a:lnTo>
                    <a:pt x="14374" y="740"/>
                  </a:lnTo>
                  <a:lnTo>
                    <a:pt x="14188" y="925"/>
                  </a:lnTo>
                  <a:close/>
                  <a:moveTo>
                    <a:pt x="14162" y="952"/>
                  </a:moveTo>
                  <a:lnTo>
                    <a:pt x="13976" y="1137"/>
                  </a:lnTo>
                  <a:lnTo>
                    <a:pt x="13790" y="952"/>
                  </a:lnTo>
                  <a:lnTo>
                    <a:pt x="13976" y="764"/>
                  </a:lnTo>
                  <a:lnTo>
                    <a:pt x="14162" y="952"/>
                  </a:lnTo>
                  <a:close/>
                  <a:moveTo>
                    <a:pt x="13764" y="925"/>
                  </a:moveTo>
                  <a:lnTo>
                    <a:pt x="13578" y="740"/>
                  </a:lnTo>
                  <a:lnTo>
                    <a:pt x="13764" y="552"/>
                  </a:lnTo>
                  <a:lnTo>
                    <a:pt x="13950" y="740"/>
                  </a:lnTo>
                  <a:lnTo>
                    <a:pt x="13764" y="925"/>
                  </a:lnTo>
                  <a:close/>
                  <a:moveTo>
                    <a:pt x="13739" y="952"/>
                  </a:moveTo>
                  <a:lnTo>
                    <a:pt x="13552" y="1137"/>
                  </a:lnTo>
                  <a:lnTo>
                    <a:pt x="13366" y="952"/>
                  </a:lnTo>
                  <a:lnTo>
                    <a:pt x="13552" y="764"/>
                  </a:lnTo>
                  <a:lnTo>
                    <a:pt x="13739" y="952"/>
                  </a:lnTo>
                  <a:close/>
                  <a:moveTo>
                    <a:pt x="13340" y="925"/>
                  </a:moveTo>
                  <a:lnTo>
                    <a:pt x="13154" y="740"/>
                  </a:lnTo>
                  <a:lnTo>
                    <a:pt x="13340" y="552"/>
                  </a:lnTo>
                  <a:lnTo>
                    <a:pt x="13527" y="740"/>
                  </a:lnTo>
                  <a:lnTo>
                    <a:pt x="13340" y="925"/>
                  </a:lnTo>
                  <a:close/>
                  <a:moveTo>
                    <a:pt x="13315" y="952"/>
                  </a:moveTo>
                  <a:lnTo>
                    <a:pt x="13130" y="1137"/>
                  </a:lnTo>
                  <a:lnTo>
                    <a:pt x="12942" y="952"/>
                  </a:lnTo>
                  <a:lnTo>
                    <a:pt x="13130" y="764"/>
                  </a:lnTo>
                  <a:lnTo>
                    <a:pt x="13315" y="952"/>
                  </a:lnTo>
                  <a:close/>
                  <a:moveTo>
                    <a:pt x="12918" y="925"/>
                  </a:moveTo>
                  <a:lnTo>
                    <a:pt x="12730" y="740"/>
                  </a:lnTo>
                  <a:lnTo>
                    <a:pt x="12918" y="552"/>
                  </a:lnTo>
                  <a:lnTo>
                    <a:pt x="13103" y="740"/>
                  </a:lnTo>
                  <a:lnTo>
                    <a:pt x="12918" y="925"/>
                  </a:lnTo>
                  <a:close/>
                  <a:moveTo>
                    <a:pt x="12891" y="952"/>
                  </a:moveTo>
                  <a:lnTo>
                    <a:pt x="12706" y="1137"/>
                  </a:lnTo>
                  <a:lnTo>
                    <a:pt x="12520" y="952"/>
                  </a:lnTo>
                  <a:lnTo>
                    <a:pt x="12706" y="764"/>
                  </a:lnTo>
                  <a:lnTo>
                    <a:pt x="12891" y="952"/>
                  </a:lnTo>
                  <a:close/>
                  <a:moveTo>
                    <a:pt x="12494" y="925"/>
                  </a:moveTo>
                  <a:lnTo>
                    <a:pt x="12308" y="740"/>
                  </a:lnTo>
                  <a:lnTo>
                    <a:pt x="12494" y="552"/>
                  </a:lnTo>
                  <a:lnTo>
                    <a:pt x="12679" y="740"/>
                  </a:lnTo>
                  <a:lnTo>
                    <a:pt x="12494" y="925"/>
                  </a:lnTo>
                  <a:close/>
                  <a:moveTo>
                    <a:pt x="12469" y="952"/>
                  </a:moveTo>
                  <a:lnTo>
                    <a:pt x="12282" y="1137"/>
                  </a:lnTo>
                  <a:lnTo>
                    <a:pt x="12096" y="952"/>
                  </a:lnTo>
                  <a:lnTo>
                    <a:pt x="12282" y="764"/>
                  </a:lnTo>
                  <a:lnTo>
                    <a:pt x="12469" y="952"/>
                  </a:lnTo>
                  <a:close/>
                  <a:moveTo>
                    <a:pt x="12070" y="925"/>
                  </a:moveTo>
                  <a:lnTo>
                    <a:pt x="11884" y="740"/>
                  </a:lnTo>
                  <a:lnTo>
                    <a:pt x="12070" y="552"/>
                  </a:lnTo>
                  <a:lnTo>
                    <a:pt x="12257" y="740"/>
                  </a:lnTo>
                  <a:lnTo>
                    <a:pt x="12070" y="925"/>
                  </a:lnTo>
                  <a:close/>
                  <a:moveTo>
                    <a:pt x="12045" y="952"/>
                  </a:moveTo>
                  <a:lnTo>
                    <a:pt x="11859" y="1137"/>
                  </a:lnTo>
                  <a:lnTo>
                    <a:pt x="11672" y="952"/>
                  </a:lnTo>
                  <a:lnTo>
                    <a:pt x="11859" y="764"/>
                  </a:lnTo>
                  <a:lnTo>
                    <a:pt x="12045" y="952"/>
                  </a:lnTo>
                  <a:close/>
                  <a:moveTo>
                    <a:pt x="11647" y="925"/>
                  </a:moveTo>
                  <a:lnTo>
                    <a:pt x="11460" y="740"/>
                  </a:lnTo>
                  <a:lnTo>
                    <a:pt x="11647" y="552"/>
                  </a:lnTo>
                  <a:lnTo>
                    <a:pt x="11833" y="740"/>
                  </a:lnTo>
                  <a:lnTo>
                    <a:pt x="11647" y="925"/>
                  </a:lnTo>
                  <a:close/>
                  <a:moveTo>
                    <a:pt x="11621" y="952"/>
                  </a:moveTo>
                  <a:lnTo>
                    <a:pt x="11435" y="1137"/>
                  </a:lnTo>
                  <a:lnTo>
                    <a:pt x="11250" y="952"/>
                  </a:lnTo>
                  <a:lnTo>
                    <a:pt x="11435" y="764"/>
                  </a:lnTo>
                  <a:lnTo>
                    <a:pt x="11621" y="952"/>
                  </a:lnTo>
                  <a:close/>
                  <a:moveTo>
                    <a:pt x="11223" y="925"/>
                  </a:moveTo>
                  <a:lnTo>
                    <a:pt x="11038" y="740"/>
                  </a:lnTo>
                  <a:lnTo>
                    <a:pt x="11223" y="552"/>
                  </a:lnTo>
                  <a:lnTo>
                    <a:pt x="11409" y="740"/>
                  </a:lnTo>
                  <a:lnTo>
                    <a:pt x="11223" y="925"/>
                  </a:lnTo>
                  <a:close/>
                  <a:moveTo>
                    <a:pt x="11198" y="952"/>
                  </a:moveTo>
                  <a:lnTo>
                    <a:pt x="11011" y="1137"/>
                  </a:lnTo>
                  <a:lnTo>
                    <a:pt x="10826" y="952"/>
                  </a:lnTo>
                  <a:lnTo>
                    <a:pt x="11011" y="764"/>
                  </a:lnTo>
                  <a:lnTo>
                    <a:pt x="11198" y="952"/>
                  </a:lnTo>
                  <a:close/>
                  <a:moveTo>
                    <a:pt x="10799" y="925"/>
                  </a:moveTo>
                  <a:lnTo>
                    <a:pt x="10614" y="740"/>
                  </a:lnTo>
                  <a:lnTo>
                    <a:pt x="10799" y="552"/>
                  </a:lnTo>
                  <a:lnTo>
                    <a:pt x="10986" y="740"/>
                  </a:lnTo>
                  <a:lnTo>
                    <a:pt x="10799" y="925"/>
                  </a:lnTo>
                  <a:close/>
                  <a:moveTo>
                    <a:pt x="10775" y="952"/>
                  </a:moveTo>
                  <a:lnTo>
                    <a:pt x="10589" y="1137"/>
                  </a:lnTo>
                  <a:lnTo>
                    <a:pt x="10402" y="952"/>
                  </a:lnTo>
                  <a:lnTo>
                    <a:pt x="10589" y="764"/>
                  </a:lnTo>
                  <a:lnTo>
                    <a:pt x="10775" y="952"/>
                  </a:lnTo>
                  <a:close/>
                  <a:moveTo>
                    <a:pt x="10377" y="925"/>
                  </a:moveTo>
                  <a:lnTo>
                    <a:pt x="10190" y="740"/>
                  </a:lnTo>
                  <a:lnTo>
                    <a:pt x="10377" y="552"/>
                  </a:lnTo>
                  <a:lnTo>
                    <a:pt x="10563" y="740"/>
                  </a:lnTo>
                  <a:lnTo>
                    <a:pt x="10377" y="925"/>
                  </a:lnTo>
                  <a:close/>
                  <a:moveTo>
                    <a:pt x="10351" y="952"/>
                  </a:moveTo>
                  <a:lnTo>
                    <a:pt x="10165" y="1137"/>
                  </a:lnTo>
                  <a:lnTo>
                    <a:pt x="9979" y="952"/>
                  </a:lnTo>
                  <a:lnTo>
                    <a:pt x="10165" y="764"/>
                  </a:lnTo>
                  <a:lnTo>
                    <a:pt x="10351" y="952"/>
                  </a:lnTo>
                  <a:close/>
                  <a:moveTo>
                    <a:pt x="9953" y="925"/>
                  </a:moveTo>
                  <a:lnTo>
                    <a:pt x="9767" y="740"/>
                  </a:lnTo>
                  <a:lnTo>
                    <a:pt x="9953" y="552"/>
                  </a:lnTo>
                  <a:lnTo>
                    <a:pt x="10139" y="740"/>
                  </a:lnTo>
                  <a:lnTo>
                    <a:pt x="9953" y="925"/>
                  </a:lnTo>
                  <a:close/>
                  <a:moveTo>
                    <a:pt x="9927" y="952"/>
                  </a:moveTo>
                  <a:lnTo>
                    <a:pt x="9741" y="1137"/>
                  </a:lnTo>
                  <a:lnTo>
                    <a:pt x="9555" y="952"/>
                  </a:lnTo>
                  <a:lnTo>
                    <a:pt x="9741" y="764"/>
                  </a:lnTo>
                  <a:lnTo>
                    <a:pt x="9927" y="952"/>
                  </a:lnTo>
                  <a:close/>
                  <a:moveTo>
                    <a:pt x="9529" y="925"/>
                  </a:moveTo>
                  <a:lnTo>
                    <a:pt x="9343" y="740"/>
                  </a:lnTo>
                  <a:lnTo>
                    <a:pt x="9529" y="552"/>
                  </a:lnTo>
                  <a:lnTo>
                    <a:pt x="9716" y="740"/>
                  </a:lnTo>
                  <a:lnTo>
                    <a:pt x="9529" y="925"/>
                  </a:lnTo>
                  <a:close/>
                  <a:moveTo>
                    <a:pt x="9504" y="952"/>
                  </a:moveTo>
                  <a:lnTo>
                    <a:pt x="9317" y="1137"/>
                  </a:lnTo>
                  <a:lnTo>
                    <a:pt x="9131" y="952"/>
                  </a:lnTo>
                  <a:lnTo>
                    <a:pt x="9317" y="764"/>
                  </a:lnTo>
                  <a:lnTo>
                    <a:pt x="9504" y="952"/>
                  </a:lnTo>
                  <a:close/>
                  <a:moveTo>
                    <a:pt x="9106" y="925"/>
                  </a:moveTo>
                  <a:lnTo>
                    <a:pt x="8919" y="740"/>
                  </a:lnTo>
                  <a:lnTo>
                    <a:pt x="9106" y="552"/>
                  </a:lnTo>
                  <a:lnTo>
                    <a:pt x="9292" y="740"/>
                  </a:lnTo>
                  <a:lnTo>
                    <a:pt x="9106" y="925"/>
                  </a:lnTo>
                  <a:close/>
                  <a:moveTo>
                    <a:pt x="9080" y="952"/>
                  </a:moveTo>
                  <a:lnTo>
                    <a:pt x="8894" y="1137"/>
                  </a:lnTo>
                  <a:lnTo>
                    <a:pt x="8707" y="952"/>
                  </a:lnTo>
                  <a:lnTo>
                    <a:pt x="8894" y="764"/>
                  </a:lnTo>
                  <a:lnTo>
                    <a:pt x="9080" y="952"/>
                  </a:lnTo>
                  <a:close/>
                  <a:moveTo>
                    <a:pt x="8682" y="925"/>
                  </a:moveTo>
                  <a:lnTo>
                    <a:pt x="8497" y="740"/>
                  </a:lnTo>
                  <a:lnTo>
                    <a:pt x="8682" y="552"/>
                  </a:lnTo>
                  <a:lnTo>
                    <a:pt x="8868" y="740"/>
                  </a:lnTo>
                  <a:lnTo>
                    <a:pt x="8682" y="925"/>
                  </a:lnTo>
                  <a:close/>
                  <a:moveTo>
                    <a:pt x="8656" y="952"/>
                  </a:moveTo>
                  <a:lnTo>
                    <a:pt x="8470" y="1137"/>
                  </a:lnTo>
                  <a:lnTo>
                    <a:pt x="8285" y="952"/>
                  </a:lnTo>
                  <a:lnTo>
                    <a:pt x="8470" y="764"/>
                  </a:lnTo>
                  <a:lnTo>
                    <a:pt x="8656" y="952"/>
                  </a:lnTo>
                  <a:close/>
                  <a:moveTo>
                    <a:pt x="8259" y="925"/>
                  </a:moveTo>
                  <a:lnTo>
                    <a:pt x="8073" y="740"/>
                  </a:lnTo>
                  <a:lnTo>
                    <a:pt x="8259" y="552"/>
                  </a:lnTo>
                  <a:lnTo>
                    <a:pt x="8446" y="740"/>
                  </a:lnTo>
                  <a:lnTo>
                    <a:pt x="8259" y="925"/>
                  </a:lnTo>
                  <a:close/>
                  <a:moveTo>
                    <a:pt x="8234" y="952"/>
                  </a:moveTo>
                  <a:lnTo>
                    <a:pt x="8047" y="1137"/>
                  </a:lnTo>
                  <a:lnTo>
                    <a:pt x="7861" y="952"/>
                  </a:lnTo>
                  <a:lnTo>
                    <a:pt x="8047" y="764"/>
                  </a:lnTo>
                  <a:lnTo>
                    <a:pt x="8234" y="952"/>
                  </a:lnTo>
                  <a:close/>
                  <a:moveTo>
                    <a:pt x="7836" y="925"/>
                  </a:moveTo>
                  <a:lnTo>
                    <a:pt x="7649" y="740"/>
                  </a:lnTo>
                  <a:lnTo>
                    <a:pt x="7836" y="552"/>
                  </a:lnTo>
                  <a:lnTo>
                    <a:pt x="8022" y="740"/>
                  </a:lnTo>
                  <a:lnTo>
                    <a:pt x="7836" y="925"/>
                  </a:lnTo>
                  <a:close/>
                  <a:moveTo>
                    <a:pt x="7810" y="952"/>
                  </a:moveTo>
                  <a:lnTo>
                    <a:pt x="7624" y="1137"/>
                  </a:lnTo>
                  <a:lnTo>
                    <a:pt x="7437" y="952"/>
                  </a:lnTo>
                  <a:lnTo>
                    <a:pt x="7624" y="764"/>
                  </a:lnTo>
                  <a:lnTo>
                    <a:pt x="7810" y="952"/>
                  </a:lnTo>
                  <a:close/>
                  <a:moveTo>
                    <a:pt x="7412" y="925"/>
                  </a:moveTo>
                  <a:lnTo>
                    <a:pt x="7226" y="740"/>
                  </a:lnTo>
                  <a:lnTo>
                    <a:pt x="7412" y="552"/>
                  </a:lnTo>
                  <a:lnTo>
                    <a:pt x="7598" y="740"/>
                  </a:lnTo>
                  <a:lnTo>
                    <a:pt x="7412" y="925"/>
                  </a:lnTo>
                  <a:close/>
                  <a:moveTo>
                    <a:pt x="7386" y="952"/>
                  </a:moveTo>
                  <a:lnTo>
                    <a:pt x="7200" y="1137"/>
                  </a:lnTo>
                  <a:lnTo>
                    <a:pt x="7014" y="952"/>
                  </a:lnTo>
                  <a:lnTo>
                    <a:pt x="7200" y="764"/>
                  </a:lnTo>
                  <a:lnTo>
                    <a:pt x="7386" y="952"/>
                  </a:lnTo>
                  <a:close/>
                  <a:moveTo>
                    <a:pt x="6988" y="925"/>
                  </a:moveTo>
                  <a:lnTo>
                    <a:pt x="6802" y="740"/>
                  </a:lnTo>
                  <a:lnTo>
                    <a:pt x="6988" y="552"/>
                  </a:lnTo>
                  <a:lnTo>
                    <a:pt x="7175" y="740"/>
                  </a:lnTo>
                  <a:lnTo>
                    <a:pt x="6988" y="925"/>
                  </a:lnTo>
                  <a:close/>
                  <a:moveTo>
                    <a:pt x="6963" y="952"/>
                  </a:moveTo>
                  <a:lnTo>
                    <a:pt x="6776" y="1137"/>
                  </a:lnTo>
                  <a:lnTo>
                    <a:pt x="6590" y="952"/>
                  </a:lnTo>
                  <a:lnTo>
                    <a:pt x="6776" y="764"/>
                  </a:lnTo>
                  <a:lnTo>
                    <a:pt x="6963" y="952"/>
                  </a:lnTo>
                  <a:close/>
                  <a:moveTo>
                    <a:pt x="6566" y="925"/>
                  </a:moveTo>
                  <a:lnTo>
                    <a:pt x="6378" y="740"/>
                  </a:lnTo>
                  <a:lnTo>
                    <a:pt x="6566" y="552"/>
                  </a:lnTo>
                  <a:lnTo>
                    <a:pt x="6751" y="740"/>
                  </a:lnTo>
                  <a:lnTo>
                    <a:pt x="6566" y="925"/>
                  </a:lnTo>
                  <a:close/>
                  <a:moveTo>
                    <a:pt x="6539" y="952"/>
                  </a:moveTo>
                  <a:lnTo>
                    <a:pt x="6354" y="1137"/>
                  </a:lnTo>
                  <a:lnTo>
                    <a:pt x="6166" y="952"/>
                  </a:lnTo>
                  <a:lnTo>
                    <a:pt x="6354" y="764"/>
                  </a:lnTo>
                  <a:lnTo>
                    <a:pt x="6539" y="952"/>
                  </a:lnTo>
                  <a:close/>
                  <a:moveTo>
                    <a:pt x="6142" y="925"/>
                  </a:moveTo>
                  <a:lnTo>
                    <a:pt x="5956" y="740"/>
                  </a:lnTo>
                  <a:lnTo>
                    <a:pt x="6142" y="552"/>
                  </a:lnTo>
                  <a:lnTo>
                    <a:pt x="6327" y="740"/>
                  </a:lnTo>
                  <a:lnTo>
                    <a:pt x="6142" y="925"/>
                  </a:lnTo>
                  <a:close/>
                  <a:moveTo>
                    <a:pt x="6115" y="952"/>
                  </a:moveTo>
                  <a:lnTo>
                    <a:pt x="5930" y="1137"/>
                  </a:lnTo>
                  <a:lnTo>
                    <a:pt x="5744" y="952"/>
                  </a:lnTo>
                  <a:lnTo>
                    <a:pt x="5930" y="764"/>
                  </a:lnTo>
                  <a:lnTo>
                    <a:pt x="6115" y="952"/>
                  </a:lnTo>
                  <a:close/>
                  <a:moveTo>
                    <a:pt x="5718" y="925"/>
                  </a:moveTo>
                  <a:lnTo>
                    <a:pt x="5532" y="740"/>
                  </a:lnTo>
                  <a:lnTo>
                    <a:pt x="5718" y="552"/>
                  </a:lnTo>
                  <a:lnTo>
                    <a:pt x="5903" y="740"/>
                  </a:lnTo>
                  <a:lnTo>
                    <a:pt x="5718" y="925"/>
                  </a:lnTo>
                  <a:close/>
                  <a:moveTo>
                    <a:pt x="5693" y="952"/>
                  </a:moveTo>
                  <a:lnTo>
                    <a:pt x="5506" y="1137"/>
                  </a:lnTo>
                  <a:lnTo>
                    <a:pt x="5320" y="952"/>
                  </a:lnTo>
                  <a:lnTo>
                    <a:pt x="5506" y="764"/>
                  </a:lnTo>
                  <a:lnTo>
                    <a:pt x="5693" y="952"/>
                  </a:lnTo>
                  <a:close/>
                  <a:moveTo>
                    <a:pt x="5294" y="925"/>
                  </a:moveTo>
                  <a:lnTo>
                    <a:pt x="5108" y="740"/>
                  </a:lnTo>
                  <a:lnTo>
                    <a:pt x="5294" y="552"/>
                  </a:lnTo>
                  <a:lnTo>
                    <a:pt x="5481" y="740"/>
                  </a:lnTo>
                  <a:lnTo>
                    <a:pt x="5294" y="925"/>
                  </a:lnTo>
                  <a:close/>
                  <a:moveTo>
                    <a:pt x="5269" y="952"/>
                  </a:moveTo>
                  <a:lnTo>
                    <a:pt x="5083" y="1137"/>
                  </a:lnTo>
                  <a:lnTo>
                    <a:pt x="4896" y="952"/>
                  </a:lnTo>
                  <a:lnTo>
                    <a:pt x="5083" y="764"/>
                  </a:lnTo>
                  <a:lnTo>
                    <a:pt x="5269" y="952"/>
                  </a:lnTo>
                  <a:close/>
                  <a:moveTo>
                    <a:pt x="4871" y="925"/>
                  </a:moveTo>
                  <a:lnTo>
                    <a:pt x="4684" y="740"/>
                  </a:lnTo>
                  <a:lnTo>
                    <a:pt x="4871" y="552"/>
                  </a:lnTo>
                  <a:lnTo>
                    <a:pt x="5057" y="740"/>
                  </a:lnTo>
                  <a:lnTo>
                    <a:pt x="4871" y="925"/>
                  </a:lnTo>
                  <a:close/>
                  <a:moveTo>
                    <a:pt x="4845" y="952"/>
                  </a:moveTo>
                  <a:lnTo>
                    <a:pt x="4659" y="1137"/>
                  </a:lnTo>
                  <a:lnTo>
                    <a:pt x="4474" y="952"/>
                  </a:lnTo>
                  <a:lnTo>
                    <a:pt x="4659" y="764"/>
                  </a:lnTo>
                  <a:lnTo>
                    <a:pt x="4845" y="952"/>
                  </a:lnTo>
                  <a:close/>
                  <a:moveTo>
                    <a:pt x="4447" y="925"/>
                  </a:moveTo>
                  <a:lnTo>
                    <a:pt x="4262" y="740"/>
                  </a:lnTo>
                  <a:lnTo>
                    <a:pt x="4447" y="552"/>
                  </a:lnTo>
                  <a:lnTo>
                    <a:pt x="4633" y="740"/>
                  </a:lnTo>
                  <a:lnTo>
                    <a:pt x="4447" y="925"/>
                  </a:lnTo>
                  <a:close/>
                  <a:moveTo>
                    <a:pt x="4423" y="952"/>
                  </a:moveTo>
                  <a:lnTo>
                    <a:pt x="4235" y="1137"/>
                  </a:lnTo>
                  <a:lnTo>
                    <a:pt x="4050" y="952"/>
                  </a:lnTo>
                  <a:lnTo>
                    <a:pt x="4235" y="764"/>
                  </a:lnTo>
                  <a:lnTo>
                    <a:pt x="4423" y="952"/>
                  </a:lnTo>
                  <a:close/>
                  <a:moveTo>
                    <a:pt x="4023" y="925"/>
                  </a:moveTo>
                  <a:lnTo>
                    <a:pt x="3838" y="740"/>
                  </a:lnTo>
                  <a:lnTo>
                    <a:pt x="4023" y="552"/>
                  </a:lnTo>
                  <a:lnTo>
                    <a:pt x="4211" y="740"/>
                  </a:lnTo>
                  <a:lnTo>
                    <a:pt x="4023" y="925"/>
                  </a:lnTo>
                  <a:close/>
                  <a:moveTo>
                    <a:pt x="3999" y="952"/>
                  </a:moveTo>
                  <a:lnTo>
                    <a:pt x="3813" y="1137"/>
                  </a:lnTo>
                  <a:lnTo>
                    <a:pt x="3626" y="952"/>
                  </a:lnTo>
                  <a:lnTo>
                    <a:pt x="3813" y="764"/>
                  </a:lnTo>
                  <a:lnTo>
                    <a:pt x="3999" y="952"/>
                  </a:lnTo>
                  <a:close/>
                  <a:moveTo>
                    <a:pt x="3601" y="925"/>
                  </a:moveTo>
                  <a:lnTo>
                    <a:pt x="3414" y="740"/>
                  </a:lnTo>
                  <a:lnTo>
                    <a:pt x="3601" y="552"/>
                  </a:lnTo>
                  <a:lnTo>
                    <a:pt x="3787" y="740"/>
                  </a:lnTo>
                  <a:lnTo>
                    <a:pt x="3601" y="925"/>
                  </a:lnTo>
                  <a:close/>
                  <a:moveTo>
                    <a:pt x="3575" y="952"/>
                  </a:moveTo>
                  <a:lnTo>
                    <a:pt x="3389" y="1137"/>
                  </a:lnTo>
                  <a:lnTo>
                    <a:pt x="3203" y="952"/>
                  </a:lnTo>
                  <a:lnTo>
                    <a:pt x="3389" y="764"/>
                  </a:lnTo>
                  <a:lnTo>
                    <a:pt x="3575" y="952"/>
                  </a:lnTo>
                  <a:close/>
                  <a:moveTo>
                    <a:pt x="3177" y="925"/>
                  </a:moveTo>
                  <a:lnTo>
                    <a:pt x="2991" y="740"/>
                  </a:lnTo>
                  <a:lnTo>
                    <a:pt x="3177" y="552"/>
                  </a:lnTo>
                  <a:lnTo>
                    <a:pt x="3363" y="740"/>
                  </a:lnTo>
                  <a:lnTo>
                    <a:pt x="3177" y="925"/>
                  </a:lnTo>
                  <a:close/>
                  <a:moveTo>
                    <a:pt x="3152" y="952"/>
                  </a:moveTo>
                  <a:lnTo>
                    <a:pt x="2965" y="1137"/>
                  </a:lnTo>
                  <a:lnTo>
                    <a:pt x="2779" y="952"/>
                  </a:lnTo>
                  <a:lnTo>
                    <a:pt x="2965" y="764"/>
                  </a:lnTo>
                  <a:lnTo>
                    <a:pt x="3152" y="952"/>
                  </a:lnTo>
                  <a:close/>
                  <a:moveTo>
                    <a:pt x="2753" y="925"/>
                  </a:moveTo>
                  <a:lnTo>
                    <a:pt x="2567" y="740"/>
                  </a:lnTo>
                  <a:lnTo>
                    <a:pt x="2753" y="552"/>
                  </a:lnTo>
                  <a:lnTo>
                    <a:pt x="2940" y="740"/>
                  </a:lnTo>
                  <a:lnTo>
                    <a:pt x="2753" y="925"/>
                  </a:lnTo>
                  <a:close/>
                  <a:moveTo>
                    <a:pt x="2728" y="952"/>
                  </a:moveTo>
                  <a:lnTo>
                    <a:pt x="2543" y="1137"/>
                  </a:lnTo>
                  <a:lnTo>
                    <a:pt x="2355" y="952"/>
                  </a:lnTo>
                  <a:lnTo>
                    <a:pt x="2543" y="764"/>
                  </a:lnTo>
                  <a:lnTo>
                    <a:pt x="2728" y="952"/>
                  </a:lnTo>
                  <a:close/>
                  <a:moveTo>
                    <a:pt x="2331" y="925"/>
                  </a:moveTo>
                  <a:lnTo>
                    <a:pt x="2143" y="740"/>
                  </a:lnTo>
                  <a:lnTo>
                    <a:pt x="2331" y="552"/>
                  </a:lnTo>
                  <a:lnTo>
                    <a:pt x="2516" y="740"/>
                  </a:lnTo>
                  <a:lnTo>
                    <a:pt x="2331" y="925"/>
                  </a:lnTo>
                  <a:close/>
                  <a:moveTo>
                    <a:pt x="2304" y="952"/>
                  </a:moveTo>
                  <a:lnTo>
                    <a:pt x="2119" y="1137"/>
                  </a:lnTo>
                  <a:lnTo>
                    <a:pt x="1933" y="952"/>
                  </a:lnTo>
                  <a:lnTo>
                    <a:pt x="2119" y="764"/>
                  </a:lnTo>
                  <a:lnTo>
                    <a:pt x="2304" y="952"/>
                  </a:lnTo>
                  <a:close/>
                  <a:moveTo>
                    <a:pt x="1907" y="925"/>
                  </a:moveTo>
                  <a:lnTo>
                    <a:pt x="1721" y="740"/>
                  </a:lnTo>
                  <a:lnTo>
                    <a:pt x="1907" y="552"/>
                  </a:lnTo>
                  <a:lnTo>
                    <a:pt x="2092" y="740"/>
                  </a:lnTo>
                  <a:lnTo>
                    <a:pt x="1907" y="925"/>
                  </a:lnTo>
                  <a:close/>
                  <a:moveTo>
                    <a:pt x="1882" y="952"/>
                  </a:moveTo>
                  <a:lnTo>
                    <a:pt x="1695" y="1137"/>
                  </a:lnTo>
                  <a:lnTo>
                    <a:pt x="1509" y="952"/>
                  </a:lnTo>
                  <a:lnTo>
                    <a:pt x="1695" y="764"/>
                  </a:lnTo>
                  <a:lnTo>
                    <a:pt x="1882" y="952"/>
                  </a:lnTo>
                  <a:close/>
                  <a:moveTo>
                    <a:pt x="1483" y="925"/>
                  </a:moveTo>
                  <a:lnTo>
                    <a:pt x="1297" y="740"/>
                  </a:lnTo>
                  <a:lnTo>
                    <a:pt x="1483" y="552"/>
                  </a:lnTo>
                  <a:lnTo>
                    <a:pt x="1670" y="740"/>
                  </a:lnTo>
                  <a:lnTo>
                    <a:pt x="1483" y="925"/>
                  </a:lnTo>
                  <a:close/>
                  <a:moveTo>
                    <a:pt x="1458" y="952"/>
                  </a:moveTo>
                  <a:lnTo>
                    <a:pt x="1272" y="1137"/>
                  </a:lnTo>
                  <a:lnTo>
                    <a:pt x="1085" y="952"/>
                  </a:lnTo>
                  <a:lnTo>
                    <a:pt x="1272" y="764"/>
                  </a:lnTo>
                  <a:lnTo>
                    <a:pt x="1458" y="952"/>
                  </a:lnTo>
                  <a:close/>
                  <a:moveTo>
                    <a:pt x="1060" y="925"/>
                  </a:moveTo>
                  <a:lnTo>
                    <a:pt x="873" y="740"/>
                  </a:lnTo>
                  <a:lnTo>
                    <a:pt x="1060" y="552"/>
                  </a:lnTo>
                  <a:lnTo>
                    <a:pt x="1246" y="740"/>
                  </a:lnTo>
                  <a:lnTo>
                    <a:pt x="1060" y="925"/>
                  </a:lnTo>
                  <a:close/>
                  <a:moveTo>
                    <a:pt x="1034" y="952"/>
                  </a:moveTo>
                  <a:lnTo>
                    <a:pt x="848" y="1137"/>
                  </a:lnTo>
                  <a:lnTo>
                    <a:pt x="663" y="952"/>
                  </a:lnTo>
                  <a:lnTo>
                    <a:pt x="848" y="764"/>
                  </a:lnTo>
                  <a:lnTo>
                    <a:pt x="1034" y="952"/>
                  </a:lnTo>
                  <a:close/>
                  <a:moveTo>
                    <a:pt x="636" y="925"/>
                  </a:moveTo>
                  <a:lnTo>
                    <a:pt x="451" y="740"/>
                  </a:lnTo>
                  <a:lnTo>
                    <a:pt x="636" y="552"/>
                  </a:lnTo>
                  <a:lnTo>
                    <a:pt x="822" y="740"/>
                  </a:lnTo>
                  <a:lnTo>
                    <a:pt x="636" y="925"/>
                  </a:lnTo>
                  <a:close/>
                  <a:moveTo>
                    <a:pt x="610" y="952"/>
                  </a:moveTo>
                  <a:lnTo>
                    <a:pt x="424" y="1137"/>
                  </a:lnTo>
                  <a:lnTo>
                    <a:pt x="239" y="952"/>
                  </a:lnTo>
                  <a:lnTo>
                    <a:pt x="424" y="764"/>
                  </a:lnTo>
                  <a:lnTo>
                    <a:pt x="610" y="952"/>
                  </a:lnTo>
                  <a:close/>
                  <a:moveTo>
                    <a:pt x="27" y="1162"/>
                  </a:moveTo>
                  <a:lnTo>
                    <a:pt x="212" y="976"/>
                  </a:lnTo>
                  <a:lnTo>
                    <a:pt x="399" y="1162"/>
                  </a:lnTo>
                  <a:lnTo>
                    <a:pt x="212" y="1350"/>
                  </a:lnTo>
                  <a:lnTo>
                    <a:pt x="27" y="1162"/>
                  </a:lnTo>
                  <a:close/>
                  <a:moveTo>
                    <a:pt x="27" y="1586"/>
                  </a:moveTo>
                  <a:lnTo>
                    <a:pt x="212" y="1401"/>
                  </a:lnTo>
                  <a:lnTo>
                    <a:pt x="399" y="1586"/>
                  </a:lnTo>
                  <a:lnTo>
                    <a:pt x="212" y="1772"/>
                  </a:lnTo>
                  <a:lnTo>
                    <a:pt x="27" y="1586"/>
                  </a:lnTo>
                  <a:close/>
                  <a:moveTo>
                    <a:pt x="27" y="2010"/>
                  </a:moveTo>
                  <a:lnTo>
                    <a:pt x="212" y="1823"/>
                  </a:lnTo>
                  <a:lnTo>
                    <a:pt x="399" y="2010"/>
                  </a:lnTo>
                  <a:lnTo>
                    <a:pt x="212" y="2196"/>
                  </a:lnTo>
                  <a:lnTo>
                    <a:pt x="27" y="2010"/>
                  </a:lnTo>
                  <a:close/>
                  <a:moveTo>
                    <a:pt x="27" y="2433"/>
                  </a:moveTo>
                  <a:lnTo>
                    <a:pt x="212" y="2247"/>
                  </a:lnTo>
                  <a:lnTo>
                    <a:pt x="399" y="2433"/>
                  </a:lnTo>
                  <a:lnTo>
                    <a:pt x="212" y="2620"/>
                  </a:lnTo>
                  <a:lnTo>
                    <a:pt x="27" y="2433"/>
                  </a:lnTo>
                  <a:close/>
                  <a:moveTo>
                    <a:pt x="27" y="2857"/>
                  </a:moveTo>
                  <a:lnTo>
                    <a:pt x="212" y="2671"/>
                  </a:lnTo>
                  <a:lnTo>
                    <a:pt x="399" y="2857"/>
                  </a:lnTo>
                  <a:lnTo>
                    <a:pt x="212" y="3043"/>
                  </a:lnTo>
                  <a:lnTo>
                    <a:pt x="27" y="2857"/>
                  </a:lnTo>
                  <a:close/>
                  <a:moveTo>
                    <a:pt x="27" y="3281"/>
                  </a:moveTo>
                  <a:lnTo>
                    <a:pt x="212" y="3094"/>
                  </a:lnTo>
                  <a:lnTo>
                    <a:pt x="399" y="3281"/>
                  </a:lnTo>
                  <a:lnTo>
                    <a:pt x="212" y="3467"/>
                  </a:lnTo>
                  <a:lnTo>
                    <a:pt x="27" y="3281"/>
                  </a:lnTo>
                  <a:close/>
                  <a:moveTo>
                    <a:pt x="27" y="3704"/>
                  </a:moveTo>
                  <a:lnTo>
                    <a:pt x="212" y="3518"/>
                  </a:lnTo>
                  <a:lnTo>
                    <a:pt x="399" y="3704"/>
                  </a:lnTo>
                  <a:lnTo>
                    <a:pt x="212" y="3891"/>
                  </a:lnTo>
                  <a:lnTo>
                    <a:pt x="27" y="3704"/>
                  </a:lnTo>
                  <a:close/>
                  <a:moveTo>
                    <a:pt x="424" y="4103"/>
                  </a:moveTo>
                  <a:lnTo>
                    <a:pt x="239" y="3916"/>
                  </a:lnTo>
                  <a:lnTo>
                    <a:pt x="424" y="3730"/>
                  </a:lnTo>
                  <a:lnTo>
                    <a:pt x="610" y="3916"/>
                  </a:lnTo>
                  <a:lnTo>
                    <a:pt x="424" y="4103"/>
                  </a:lnTo>
                  <a:close/>
                  <a:moveTo>
                    <a:pt x="451" y="3704"/>
                  </a:moveTo>
                  <a:lnTo>
                    <a:pt x="636" y="3518"/>
                  </a:lnTo>
                  <a:lnTo>
                    <a:pt x="822" y="3704"/>
                  </a:lnTo>
                  <a:lnTo>
                    <a:pt x="636" y="3891"/>
                  </a:lnTo>
                  <a:lnTo>
                    <a:pt x="451" y="3704"/>
                  </a:lnTo>
                  <a:close/>
                  <a:moveTo>
                    <a:pt x="848" y="4103"/>
                  </a:moveTo>
                  <a:lnTo>
                    <a:pt x="663" y="3916"/>
                  </a:lnTo>
                  <a:lnTo>
                    <a:pt x="848" y="3730"/>
                  </a:lnTo>
                  <a:lnTo>
                    <a:pt x="1034" y="3916"/>
                  </a:lnTo>
                  <a:lnTo>
                    <a:pt x="848" y="4103"/>
                  </a:lnTo>
                  <a:close/>
                  <a:moveTo>
                    <a:pt x="873" y="3704"/>
                  </a:moveTo>
                  <a:lnTo>
                    <a:pt x="1060" y="3518"/>
                  </a:lnTo>
                  <a:lnTo>
                    <a:pt x="1246" y="3704"/>
                  </a:lnTo>
                  <a:lnTo>
                    <a:pt x="1060" y="3891"/>
                  </a:lnTo>
                  <a:lnTo>
                    <a:pt x="873" y="3704"/>
                  </a:lnTo>
                  <a:close/>
                  <a:moveTo>
                    <a:pt x="1272" y="4103"/>
                  </a:moveTo>
                  <a:lnTo>
                    <a:pt x="1085" y="3916"/>
                  </a:lnTo>
                  <a:lnTo>
                    <a:pt x="1272" y="3730"/>
                  </a:lnTo>
                  <a:lnTo>
                    <a:pt x="1458" y="3916"/>
                  </a:lnTo>
                  <a:lnTo>
                    <a:pt x="1272" y="4103"/>
                  </a:lnTo>
                  <a:close/>
                  <a:moveTo>
                    <a:pt x="1297" y="3704"/>
                  </a:moveTo>
                  <a:lnTo>
                    <a:pt x="1483" y="3518"/>
                  </a:lnTo>
                  <a:lnTo>
                    <a:pt x="1670" y="3704"/>
                  </a:lnTo>
                  <a:lnTo>
                    <a:pt x="1483" y="3891"/>
                  </a:lnTo>
                  <a:lnTo>
                    <a:pt x="1297" y="3704"/>
                  </a:lnTo>
                  <a:close/>
                  <a:moveTo>
                    <a:pt x="1695" y="4103"/>
                  </a:moveTo>
                  <a:lnTo>
                    <a:pt x="1509" y="3916"/>
                  </a:lnTo>
                  <a:lnTo>
                    <a:pt x="1695" y="3730"/>
                  </a:lnTo>
                  <a:lnTo>
                    <a:pt x="1882" y="3916"/>
                  </a:lnTo>
                  <a:lnTo>
                    <a:pt x="1695" y="4103"/>
                  </a:lnTo>
                  <a:close/>
                  <a:moveTo>
                    <a:pt x="1721" y="3704"/>
                  </a:moveTo>
                  <a:lnTo>
                    <a:pt x="1907" y="3518"/>
                  </a:lnTo>
                  <a:lnTo>
                    <a:pt x="2092" y="3704"/>
                  </a:lnTo>
                  <a:lnTo>
                    <a:pt x="1907" y="3891"/>
                  </a:lnTo>
                  <a:lnTo>
                    <a:pt x="1721" y="3704"/>
                  </a:lnTo>
                  <a:close/>
                  <a:moveTo>
                    <a:pt x="2119" y="4103"/>
                  </a:moveTo>
                  <a:lnTo>
                    <a:pt x="1933" y="3916"/>
                  </a:lnTo>
                  <a:lnTo>
                    <a:pt x="2119" y="3730"/>
                  </a:lnTo>
                  <a:lnTo>
                    <a:pt x="2304" y="3916"/>
                  </a:lnTo>
                  <a:lnTo>
                    <a:pt x="2119" y="4103"/>
                  </a:lnTo>
                  <a:close/>
                  <a:moveTo>
                    <a:pt x="2143" y="3704"/>
                  </a:moveTo>
                  <a:lnTo>
                    <a:pt x="2331" y="3518"/>
                  </a:lnTo>
                  <a:lnTo>
                    <a:pt x="2516" y="3704"/>
                  </a:lnTo>
                  <a:lnTo>
                    <a:pt x="2331" y="3891"/>
                  </a:lnTo>
                  <a:lnTo>
                    <a:pt x="2143" y="3704"/>
                  </a:lnTo>
                  <a:close/>
                  <a:moveTo>
                    <a:pt x="2543" y="4103"/>
                  </a:moveTo>
                  <a:lnTo>
                    <a:pt x="2355" y="3916"/>
                  </a:lnTo>
                  <a:lnTo>
                    <a:pt x="2543" y="3730"/>
                  </a:lnTo>
                  <a:lnTo>
                    <a:pt x="2728" y="3916"/>
                  </a:lnTo>
                  <a:lnTo>
                    <a:pt x="2543" y="4103"/>
                  </a:lnTo>
                  <a:close/>
                  <a:moveTo>
                    <a:pt x="2567" y="3704"/>
                  </a:moveTo>
                  <a:lnTo>
                    <a:pt x="2753" y="3518"/>
                  </a:lnTo>
                  <a:lnTo>
                    <a:pt x="2940" y="3704"/>
                  </a:lnTo>
                  <a:lnTo>
                    <a:pt x="2753" y="3891"/>
                  </a:lnTo>
                  <a:lnTo>
                    <a:pt x="2567" y="3704"/>
                  </a:lnTo>
                  <a:close/>
                  <a:moveTo>
                    <a:pt x="2965" y="4103"/>
                  </a:moveTo>
                  <a:lnTo>
                    <a:pt x="2779" y="3916"/>
                  </a:lnTo>
                  <a:lnTo>
                    <a:pt x="2965" y="3730"/>
                  </a:lnTo>
                  <a:lnTo>
                    <a:pt x="3152" y="3916"/>
                  </a:lnTo>
                  <a:lnTo>
                    <a:pt x="2965" y="4103"/>
                  </a:lnTo>
                  <a:close/>
                  <a:moveTo>
                    <a:pt x="2991" y="3704"/>
                  </a:moveTo>
                  <a:lnTo>
                    <a:pt x="3177" y="3518"/>
                  </a:lnTo>
                  <a:lnTo>
                    <a:pt x="3363" y="3704"/>
                  </a:lnTo>
                  <a:lnTo>
                    <a:pt x="3177" y="3891"/>
                  </a:lnTo>
                  <a:lnTo>
                    <a:pt x="2991" y="3704"/>
                  </a:lnTo>
                  <a:close/>
                  <a:moveTo>
                    <a:pt x="3389" y="4103"/>
                  </a:moveTo>
                  <a:lnTo>
                    <a:pt x="3203" y="3916"/>
                  </a:lnTo>
                  <a:lnTo>
                    <a:pt x="3389" y="3730"/>
                  </a:lnTo>
                  <a:lnTo>
                    <a:pt x="3575" y="3916"/>
                  </a:lnTo>
                  <a:lnTo>
                    <a:pt x="3389" y="4103"/>
                  </a:lnTo>
                  <a:close/>
                  <a:moveTo>
                    <a:pt x="3414" y="3704"/>
                  </a:moveTo>
                  <a:lnTo>
                    <a:pt x="3601" y="3518"/>
                  </a:lnTo>
                  <a:lnTo>
                    <a:pt x="3787" y="3704"/>
                  </a:lnTo>
                  <a:lnTo>
                    <a:pt x="3601" y="3891"/>
                  </a:lnTo>
                  <a:lnTo>
                    <a:pt x="3414" y="3704"/>
                  </a:lnTo>
                  <a:close/>
                  <a:moveTo>
                    <a:pt x="3813" y="4103"/>
                  </a:moveTo>
                  <a:lnTo>
                    <a:pt x="3626" y="3916"/>
                  </a:lnTo>
                  <a:lnTo>
                    <a:pt x="3813" y="3730"/>
                  </a:lnTo>
                  <a:lnTo>
                    <a:pt x="3999" y="3916"/>
                  </a:lnTo>
                  <a:lnTo>
                    <a:pt x="3813" y="4103"/>
                  </a:lnTo>
                  <a:close/>
                  <a:moveTo>
                    <a:pt x="3838" y="3704"/>
                  </a:moveTo>
                  <a:lnTo>
                    <a:pt x="4023" y="3518"/>
                  </a:lnTo>
                  <a:lnTo>
                    <a:pt x="4211" y="3704"/>
                  </a:lnTo>
                  <a:lnTo>
                    <a:pt x="4023" y="3891"/>
                  </a:lnTo>
                  <a:lnTo>
                    <a:pt x="3838" y="3704"/>
                  </a:lnTo>
                  <a:close/>
                  <a:moveTo>
                    <a:pt x="4235" y="4103"/>
                  </a:moveTo>
                  <a:lnTo>
                    <a:pt x="4050" y="3916"/>
                  </a:lnTo>
                  <a:lnTo>
                    <a:pt x="4235" y="3730"/>
                  </a:lnTo>
                  <a:lnTo>
                    <a:pt x="4423" y="3916"/>
                  </a:lnTo>
                  <a:lnTo>
                    <a:pt x="4235" y="4103"/>
                  </a:lnTo>
                  <a:close/>
                  <a:moveTo>
                    <a:pt x="4262" y="3704"/>
                  </a:moveTo>
                  <a:lnTo>
                    <a:pt x="4447" y="3518"/>
                  </a:lnTo>
                  <a:lnTo>
                    <a:pt x="4633" y="3704"/>
                  </a:lnTo>
                  <a:lnTo>
                    <a:pt x="4447" y="3891"/>
                  </a:lnTo>
                  <a:lnTo>
                    <a:pt x="4262" y="3704"/>
                  </a:lnTo>
                  <a:close/>
                  <a:moveTo>
                    <a:pt x="4659" y="4103"/>
                  </a:moveTo>
                  <a:lnTo>
                    <a:pt x="4474" y="3916"/>
                  </a:lnTo>
                  <a:lnTo>
                    <a:pt x="4659" y="3730"/>
                  </a:lnTo>
                  <a:lnTo>
                    <a:pt x="4845" y="3916"/>
                  </a:lnTo>
                  <a:lnTo>
                    <a:pt x="4659" y="4103"/>
                  </a:lnTo>
                  <a:close/>
                  <a:moveTo>
                    <a:pt x="4684" y="3704"/>
                  </a:moveTo>
                  <a:lnTo>
                    <a:pt x="4871" y="3518"/>
                  </a:lnTo>
                  <a:lnTo>
                    <a:pt x="5057" y="3704"/>
                  </a:lnTo>
                  <a:lnTo>
                    <a:pt x="4871" y="3891"/>
                  </a:lnTo>
                  <a:lnTo>
                    <a:pt x="4684" y="3704"/>
                  </a:lnTo>
                  <a:close/>
                  <a:moveTo>
                    <a:pt x="5083" y="4103"/>
                  </a:moveTo>
                  <a:lnTo>
                    <a:pt x="4896" y="3916"/>
                  </a:lnTo>
                  <a:lnTo>
                    <a:pt x="5083" y="3730"/>
                  </a:lnTo>
                  <a:lnTo>
                    <a:pt x="5269" y="3916"/>
                  </a:lnTo>
                  <a:lnTo>
                    <a:pt x="5083" y="4103"/>
                  </a:lnTo>
                  <a:close/>
                  <a:moveTo>
                    <a:pt x="5108" y="3704"/>
                  </a:moveTo>
                  <a:lnTo>
                    <a:pt x="5294" y="3518"/>
                  </a:lnTo>
                  <a:lnTo>
                    <a:pt x="5481" y="3704"/>
                  </a:lnTo>
                  <a:lnTo>
                    <a:pt x="5294" y="3891"/>
                  </a:lnTo>
                  <a:lnTo>
                    <a:pt x="5108" y="3704"/>
                  </a:lnTo>
                  <a:close/>
                  <a:moveTo>
                    <a:pt x="5506" y="4103"/>
                  </a:moveTo>
                  <a:lnTo>
                    <a:pt x="5320" y="3916"/>
                  </a:lnTo>
                  <a:lnTo>
                    <a:pt x="5506" y="3730"/>
                  </a:lnTo>
                  <a:lnTo>
                    <a:pt x="5693" y="3916"/>
                  </a:lnTo>
                  <a:lnTo>
                    <a:pt x="5506" y="4103"/>
                  </a:lnTo>
                  <a:close/>
                  <a:moveTo>
                    <a:pt x="5532" y="3704"/>
                  </a:moveTo>
                  <a:lnTo>
                    <a:pt x="5718" y="3518"/>
                  </a:lnTo>
                  <a:lnTo>
                    <a:pt x="5903" y="3704"/>
                  </a:lnTo>
                  <a:lnTo>
                    <a:pt x="5718" y="3891"/>
                  </a:lnTo>
                  <a:lnTo>
                    <a:pt x="5532" y="3704"/>
                  </a:lnTo>
                  <a:close/>
                  <a:moveTo>
                    <a:pt x="5930" y="4103"/>
                  </a:moveTo>
                  <a:lnTo>
                    <a:pt x="5744" y="3916"/>
                  </a:lnTo>
                  <a:lnTo>
                    <a:pt x="5930" y="3730"/>
                  </a:lnTo>
                  <a:lnTo>
                    <a:pt x="6115" y="3916"/>
                  </a:lnTo>
                  <a:lnTo>
                    <a:pt x="5930" y="4103"/>
                  </a:lnTo>
                  <a:close/>
                  <a:moveTo>
                    <a:pt x="5956" y="3704"/>
                  </a:moveTo>
                  <a:lnTo>
                    <a:pt x="6142" y="3518"/>
                  </a:lnTo>
                  <a:lnTo>
                    <a:pt x="6327" y="3704"/>
                  </a:lnTo>
                  <a:lnTo>
                    <a:pt x="6142" y="3891"/>
                  </a:lnTo>
                  <a:lnTo>
                    <a:pt x="5956" y="3704"/>
                  </a:lnTo>
                  <a:close/>
                  <a:moveTo>
                    <a:pt x="6354" y="4103"/>
                  </a:moveTo>
                  <a:lnTo>
                    <a:pt x="6166" y="3916"/>
                  </a:lnTo>
                  <a:lnTo>
                    <a:pt x="6354" y="3730"/>
                  </a:lnTo>
                  <a:lnTo>
                    <a:pt x="6539" y="3916"/>
                  </a:lnTo>
                  <a:lnTo>
                    <a:pt x="6354" y="4103"/>
                  </a:lnTo>
                  <a:close/>
                  <a:moveTo>
                    <a:pt x="6378" y="3704"/>
                  </a:moveTo>
                  <a:lnTo>
                    <a:pt x="6566" y="3518"/>
                  </a:lnTo>
                  <a:lnTo>
                    <a:pt x="6751" y="3704"/>
                  </a:lnTo>
                  <a:lnTo>
                    <a:pt x="6566" y="3891"/>
                  </a:lnTo>
                  <a:lnTo>
                    <a:pt x="6378" y="3704"/>
                  </a:lnTo>
                  <a:close/>
                  <a:moveTo>
                    <a:pt x="6776" y="4103"/>
                  </a:moveTo>
                  <a:lnTo>
                    <a:pt x="6590" y="3916"/>
                  </a:lnTo>
                  <a:lnTo>
                    <a:pt x="6776" y="3730"/>
                  </a:lnTo>
                  <a:lnTo>
                    <a:pt x="6963" y="3916"/>
                  </a:lnTo>
                  <a:lnTo>
                    <a:pt x="6776" y="4103"/>
                  </a:lnTo>
                  <a:close/>
                  <a:moveTo>
                    <a:pt x="6802" y="3704"/>
                  </a:moveTo>
                  <a:lnTo>
                    <a:pt x="6988" y="3518"/>
                  </a:lnTo>
                  <a:lnTo>
                    <a:pt x="7175" y="3704"/>
                  </a:lnTo>
                  <a:lnTo>
                    <a:pt x="6988" y="3891"/>
                  </a:lnTo>
                  <a:lnTo>
                    <a:pt x="6802" y="3704"/>
                  </a:lnTo>
                  <a:close/>
                  <a:moveTo>
                    <a:pt x="7200" y="4103"/>
                  </a:moveTo>
                  <a:lnTo>
                    <a:pt x="7014" y="3916"/>
                  </a:lnTo>
                  <a:lnTo>
                    <a:pt x="7200" y="3730"/>
                  </a:lnTo>
                  <a:lnTo>
                    <a:pt x="7386" y="3916"/>
                  </a:lnTo>
                  <a:lnTo>
                    <a:pt x="7200" y="4103"/>
                  </a:lnTo>
                  <a:close/>
                  <a:moveTo>
                    <a:pt x="7226" y="3704"/>
                  </a:moveTo>
                  <a:lnTo>
                    <a:pt x="7412" y="3518"/>
                  </a:lnTo>
                  <a:lnTo>
                    <a:pt x="7598" y="3704"/>
                  </a:lnTo>
                  <a:lnTo>
                    <a:pt x="7412" y="3891"/>
                  </a:lnTo>
                  <a:lnTo>
                    <a:pt x="7226" y="3704"/>
                  </a:lnTo>
                  <a:close/>
                  <a:moveTo>
                    <a:pt x="7624" y="4103"/>
                  </a:moveTo>
                  <a:lnTo>
                    <a:pt x="7437" y="3916"/>
                  </a:lnTo>
                  <a:lnTo>
                    <a:pt x="7624" y="3730"/>
                  </a:lnTo>
                  <a:lnTo>
                    <a:pt x="7810" y="3916"/>
                  </a:lnTo>
                  <a:lnTo>
                    <a:pt x="7624" y="4103"/>
                  </a:lnTo>
                  <a:close/>
                  <a:moveTo>
                    <a:pt x="7649" y="3704"/>
                  </a:moveTo>
                  <a:lnTo>
                    <a:pt x="7836" y="3518"/>
                  </a:lnTo>
                  <a:lnTo>
                    <a:pt x="8022" y="3704"/>
                  </a:lnTo>
                  <a:lnTo>
                    <a:pt x="7836" y="3891"/>
                  </a:lnTo>
                  <a:lnTo>
                    <a:pt x="7649" y="3704"/>
                  </a:lnTo>
                  <a:close/>
                  <a:moveTo>
                    <a:pt x="8047" y="4103"/>
                  </a:moveTo>
                  <a:lnTo>
                    <a:pt x="7861" y="3916"/>
                  </a:lnTo>
                  <a:lnTo>
                    <a:pt x="8047" y="3730"/>
                  </a:lnTo>
                  <a:lnTo>
                    <a:pt x="8234" y="3916"/>
                  </a:lnTo>
                  <a:lnTo>
                    <a:pt x="8047" y="4103"/>
                  </a:lnTo>
                  <a:close/>
                  <a:moveTo>
                    <a:pt x="8073" y="3704"/>
                  </a:moveTo>
                  <a:lnTo>
                    <a:pt x="8259" y="3518"/>
                  </a:lnTo>
                  <a:lnTo>
                    <a:pt x="8446" y="3704"/>
                  </a:lnTo>
                  <a:lnTo>
                    <a:pt x="8259" y="3891"/>
                  </a:lnTo>
                  <a:lnTo>
                    <a:pt x="8073" y="3704"/>
                  </a:lnTo>
                  <a:close/>
                  <a:moveTo>
                    <a:pt x="8470" y="4103"/>
                  </a:moveTo>
                  <a:lnTo>
                    <a:pt x="8285" y="3916"/>
                  </a:lnTo>
                  <a:lnTo>
                    <a:pt x="8470" y="3730"/>
                  </a:lnTo>
                  <a:lnTo>
                    <a:pt x="8656" y="3916"/>
                  </a:lnTo>
                  <a:lnTo>
                    <a:pt x="8470" y="4103"/>
                  </a:lnTo>
                  <a:close/>
                  <a:moveTo>
                    <a:pt x="8497" y="3704"/>
                  </a:moveTo>
                  <a:lnTo>
                    <a:pt x="8682" y="3518"/>
                  </a:lnTo>
                  <a:lnTo>
                    <a:pt x="8868" y="3704"/>
                  </a:lnTo>
                  <a:lnTo>
                    <a:pt x="8682" y="3891"/>
                  </a:lnTo>
                  <a:lnTo>
                    <a:pt x="8497" y="3704"/>
                  </a:lnTo>
                  <a:close/>
                  <a:moveTo>
                    <a:pt x="8894" y="4103"/>
                  </a:moveTo>
                  <a:lnTo>
                    <a:pt x="8707" y="3916"/>
                  </a:lnTo>
                  <a:lnTo>
                    <a:pt x="8894" y="3730"/>
                  </a:lnTo>
                  <a:lnTo>
                    <a:pt x="9080" y="3916"/>
                  </a:lnTo>
                  <a:lnTo>
                    <a:pt x="8894" y="4103"/>
                  </a:lnTo>
                  <a:close/>
                  <a:moveTo>
                    <a:pt x="8919" y="3704"/>
                  </a:moveTo>
                  <a:lnTo>
                    <a:pt x="9106" y="3518"/>
                  </a:lnTo>
                  <a:lnTo>
                    <a:pt x="9292" y="3704"/>
                  </a:lnTo>
                  <a:lnTo>
                    <a:pt x="9106" y="3891"/>
                  </a:lnTo>
                  <a:lnTo>
                    <a:pt x="8919" y="3704"/>
                  </a:lnTo>
                  <a:close/>
                  <a:moveTo>
                    <a:pt x="9317" y="4103"/>
                  </a:moveTo>
                  <a:lnTo>
                    <a:pt x="9131" y="3916"/>
                  </a:lnTo>
                  <a:lnTo>
                    <a:pt x="9317" y="3730"/>
                  </a:lnTo>
                  <a:lnTo>
                    <a:pt x="9504" y="3916"/>
                  </a:lnTo>
                  <a:lnTo>
                    <a:pt x="9317" y="4103"/>
                  </a:lnTo>
                  <a:close/>
                  <a:moveTo>
                    <a:pt x="9343" y="3704"/>
                  </a:moveTo>
                  <a:lnTo>
                    <a:pt x="9529" y="3518"/>
                  </a:lnTo>
                  <a:lnTo>
                    <a:pt x="9716" y="3704"/>
                  </a:lnTo>
                  <a:lnTo>
                    <a:pt x="9529" y="3891"/>
                  </a:lnTo>
                  <a:lnTo>
                    <a:pt x="9343" y="3704"/>
                  </a:lnTo>
                  <a:close/>
                  <a:moveTo>
                    <a:pt x="9741" y="4103"/>
                  </a:moveTo>
                  <a:lnTo>
                    <a:pt x="9555" y="3916"/>
                  </a:lnTo>
                  <a:lnTo>
                    <a:pt x="9741" y="3730"/>
                  </a:lnTo>
                  <a:lnTo>
                    <a:pt x="9927" y="3916"/>
                  </a:lnTo>
                  <a:lnTo>
                    <a:pt x="9741" y="4103"/>
                  </a:lnTo>
                  <a:close/>
                  <a:moveTo>
                    <a:pt x="9767" y="3704"/>
                  </a:moveTo>
                  <a:lnTo>
                    <a:pt x="9953" y="3518"/>
                  </a:lnTo>
                  <a:lnTo>
                    <a:pt x="10139" y="3704"/>
                  </a:lnTo>
                  <a:lnTo>
                    <a:pt x="9953" y="3891"/>
                  </a:lnTo>
                  <a:lnTo>
                    <a:pt x="9767" y="3704"/>
                  </a:lnTo>
                  <a:close/>
                  <a:moveTo>
                    <a:pt x="10165" y="4103"/>
                  </a:moveTo>
                  <a:lnTo>
                    <a:pt x="9979" y="3916"/>
                  </a:lnTo>
                  <a:lnTo>
                    <a:pt x="10165" y="3730"/>
                  </a:lnTo>
                  <a:lnTo>
                    <a:pt x="10351" y="3916"/>
                  </a:lnTo>
                  <a:lnTo>
                    <a:pt x="10165" y="4103"/>
                  </a:lnTo>
                  <a:close/>
                  <a:moveTo>
                    <a:pt x="10190" y="3704"/>
                  </a:moveTo>
                  <a:lnTo>
                    <a:pt x="10377" y="3518"/>
                  </a:lnTo>
                  <a:lnTo>
                    <a:pt x="10563" y="3704"/>
                  </a:lnTo>
                  <a:lnTo>
                    <a:pt x="10377" y="3891"/>
                  </a:lnTo>
                  <a:lnTo>
                    <a:pt x="10190" y="3704"/>
                  </a:lnTo>
                  <a:close/>
                  <a:moveTo>
                    <a:pt x="10589" y="4103"/>
                  </a:moveTo>
                  <a:lnTo>
                    <a:pt x="10402" y="3916"/>
                  </a:lnTo>
                  <a:lnTo>
                    <a:pt x="10589" y="3730"/>
                  </a:lnTo>
                  <a:lnTo>
                    <a:pt x="10775" y="3916"/>
                  </a:lnTo>
                  <a:lnTo>
                    <a:pt x="10589" y="4103"/>
                  </a:lnTo>
                  <a:close/>
                  <a:moveTo>
                    <a:pt x="10614" y="3704"/>
                  </a:moveTo>
                  <a:lnTo>
                    <a:pt x="10799" y="3518"/>
                  </a:lnTo>
                  <a:lnTo>
                    <a:pt x="10986" y="3704"/>
                  </a:lnTo>
                  <a:lnTo>
                    <a:pt x="10799" y="3891"/>
                  </a:lnTo>
                  <a:lnTo>
                    <a:pt x="10614" y="3704"/>
                  </a:lnTo>
                  <a:close/>
                  <a:moveTo>
                    <a:pt x="11011" y="4103"/>
                  </a:moveTo>
                  <a:lnTo>
                    <a:pt x="10826" y="3916"/>
                  </a:lnTo>
                  <a:lnTo>
                    <a:pt x="11011" y="3730"/>
                  </a:lnTo>
                  <a:lnTo>
                    <a:pt x="11198" y="3916"/>
                  </a:lnTo>
                  <a:lnTo>
                    <a:pt x="11011" y="4103"/>
                  </a:lnTo>
                  <a:close/>
                  <a:moveTo>
                    <a:pt x="11038" y="3704"/>
                  </a:moveTo>
                  <a:lnTo>
                    <a:pt x="11223" y="3518"/>
                  </a:lnTo>
                  <a:lnTo>
                    <a:pt x="11409" y="3704"/>
                  </a:lnTo>
                  <a:lnTo>
                    <a:pt x="11223" y="3891"/>
                  </a:lnTo>
                  <a:lnTo>
                    <a:pt x="11038" y="3704"/>
                  </a:lnTo>
                  <a:close/>
                  <a:moveTo>
                    <a:pt x="11435" y="4103"/>
                  </a:moveTo>
                  <a:lnTo>
                    <a:pt x="11250" y="3916"/>
                  </a:lnTo>
                  <a:lnTo>
                    <a:pt x="11435" y="3730"/>
                  </a:lnTo>
                  <a:lnTo>
                    <a:pt x="11621" y="3916"/>
                  </a:lnTo>
                  <a:lnTo>
                    <a:pt x="11435" y="4103"/>
                  </a:lnTo>
                  <a:close/>
                  <a:moveTo>
                    <a:pt x="11460" y="3704"/>
                  </a:moveTo>
                  <a:lnTo>
                    <a:pt x="11647" y="3518"/>
                  </a:lnTo>
                  <a:lnTo>
                    <a:pt x="11833" y="3704"/>
                  </a:lnTo>
                  <a:lnTo>
                    <a:pt x="11647" y="3891"/>
                  </a:lnTo>
                  <a:lnTo>
                    <a:pt x="11460" y="3704"/>
                  </a:lnTo>
                  <a:close/>
                  <a:moveTo>
                    <a:pt x="11859" y="4103"/>
                  </a:moveTo>
                  <a:lnTo>
                    <a:pt x="11672" y="3916"/>
                  </a:lnTo>
                  <a:lnTo>
                    <a:pt x="11859" y="3730"/>
                  </a:lnTo>
                  <a:lnTo>
                    <a:pt x="12045" y="3916"/>
                  </a:lnTo>
                  <a:lnTo>
                    <a:pt x="11859" y="4103"/>
                  </a:lnTo>
                  <a:close/>
                  <a:moveTo>
                    <a:pt x="11884" y="3704"/>
                  </a:moveTo>
                  <a:lnTo>
                    <a:pt x="12070" y="3518"/>
                  </a:lnTo>
                  <a:lnTo>
                    <a:pt x="12257" y="3704"/>
                  </a:lnTo>
                  <a:lnTo>
                    <a:pt x="12070" y="3891"/>
                  </a:lnTo>
                  <a:lnTo>
                    <a:pt x="11884" y="3704"/>
                  </a:lnTo>
                  <a:close/>
                  <a:moveTo>
                    <a:pt x="12282" y="4103"/>
                  </a:moveTo>
                  <a:lnTo>
                    <a:pt x="12096" y="3916"/>
                  </a:lnTo>
                  <a:lnTo>
                    <a:pt x="12282" y="3730"/>
                  </a:lnTo>
                  <a:lnTo>
                    <a:pt x="12469" y="3916"/>
                  </a:lnTo>
                  <a:lnTo>
                    <a:pt x="12282" y="4103"/>
                  </a:lnTo>
                  <a:close/>
                  <a:moveTo>
                    <a:pt x="12308" y="3704"/>
                  </a:moveTo>
                  <a:lnTo>
                    <a:pt x="12494" y="3518"/>
                  </a:lnTo>
                  <a:lnTo>
                    <a:pt x="12679" y="3704"/>
                  </a:lnTo>
                  <a:lnTo>
                    <a:pt x="12494" y="3891"/>
                  </a:lnTo>
                  <a:lnTo>
                    <a:pt x="12308" y="3704"/>
                  </a:lnTo>
                  <a:close/>
                  <a:moveTo>
                    <a:pt x="12706" y="4103"/>
                  </a:moveTo>
                  <a:lnTo>
                    <a:pt x="12520" y="3916"/>
                  </a:lnTo>
                  <a:lnTo>
                    <a:pt x="12706" y="3730"/>
                  </a:lnTo>
                  <a:lnTo>
                    <a:pt x="12891" y="3916"/>
                  </a:lnTo>
                  <a:lnTo>
                    <a:pt x="12706" y="4103"/>
                  </a:lnTo>
                  <a:close/>
                  <a:moveTo>
                    <a:pt x="12730" y="3704"/>
                  </a:moveTo>
                  <a:lnTo>
                    <a:pt x="12918" y="3518"/>
                  </a:lnTo>
                  <a:lnTo>
                    <a:pt x="13103" y="3704"/>
                  </a:lnTo>
                  <a:lnTo>
                    <a:pt x="12918" y="3891"/>
                  </a:lnTo>
                  <a:lnTo>
                    <a:pt x="12730" y="3704"/>
                  </a:lnTo>
                  <a:close/>
                  <a:moveTo>
                    <a:pt x="13130" y="4103"/>
                  </a:moveTo>
                  <a:lnTo>
                    <a:pt x="12942" y="3916"/>
                  </a:lnTo>
                  <a:lnTo>
                    <a:pt x="13130" y="3730"/>
                  </a:lnTo>
                  <a:lnTo>
                    <a:pt x="13315" y="3916"/>
                  </a:lnTo>
                  <a:lnTo>
                    <a:pt x="13130" y="4103"/>
                  </a:lnTo>
                  <a:close/>
                  <a:moveTo>
                    <a:pt x="13154" y="3704"/>
                  </a:moveTo>
                  <a:lnTo>
                    <a:pt x="13340" y="3518"/>
                  </a:lnTo>
                  <a:lnTo>
                    <a:pt x="13527" y="3704"/>
                  </a:lnTo>
                  <a:lnTo>
                    <a:pt x="13340" y="3891"/>
                  </a:lnTo>
                  <a:lnTo>
                    <a:pt x="13154" y="3704"/>
                  </a:lnTo>
                  <a:close/>
                  <a:moveTo>
                    <a:pt x="13552" y="4103"/>
                  </a:moveTo>
                  <a:lnTo>
                    <a:pt x="13366" y="3916"/>
                  </a:lnTo>
                  <a:lnTo>
                    <a:pt x="13552" y="3730"/>
                  </a:lnTo>
                  <a:lnTo>
                    <a:pt x="13739" y="3916"/>
                  </a:lnTo>
                  <a:lnTo>
                    <a:pt x="13552" y="4103"/>
                  </a:lnTo>
                  <a:close/>
                  <a:moveTo>
                    <a:pt x="13578" y="3704"/>
                  </a:moveTo>
                  <a:lnTo>
                    <a:pt x="13764" y="3518"/>
                  </a:lnTo>
                  <a:lnTo>
                    <a:pt x="13950" y="3704"/>
                  </a:lnTo>
                  <a:lnTo>
                    <a:pt x="13764" y="3891"/>
                  </a:lnTo>
                  <a:lnTo>
                    <a:pt x="13578" y="3704"/>
                  </a:lnTo>
                  <a:close/>
                  <a:moveTo>
                    <a:pt x="13976" y="4103"/>
                  </a:moveTo>
                  <a:lnTo>
                    <a:pt x="13790" y="3916"/>
                  </a:lnTo>
                  <a:lnTo>
                    <a:pt x="13976" y="3730"/>
                  </a:lnTo>
                  <a:lnTo>
                    <a:pt x="14162" y="3916"/>
                  </a:lnTo>
                  <a:lnTo>
                    <a:pt x="13976" y="4103"/>
                  </a:lnTo>
                  <a:close/>
                  <a:moveTo>
                    <a:pt x="14002" y="3704"/>
                  </a:moveTo>
                  <a:lnTo>
                    <a:pt x="14188" y="3518"/>
                  </a:lnTo>
                  <a:lnTo>
                    <a:pt x="14374" y="3704"/>
                  </a:lnTo>
                  <a:lnTo>
                    <a:pt x="14188" y="3891"/>
                  </a:lnTo>
                  <a:lnTo>
                    <a:pt x="14002" y="3704"/>
                  </a:lnTo>
                  <a:close/>
                  <a:moveTo>
                    <a:pt x="14400" y="4103"/>
                  </a:moveTo>
                  <a:lnTo>
                    <a:pt x="14213" y="3916"/>
                  </a:lnTo>
                  <a:lnTo>
                    <a:pt x="14400" y="3730"/>
                  </a:lnTo>
                  <a:lnTo>
                    <a:pt x="14586" y="3916"/>
                  </a:lnTo>
                  <a:lnTo>
                    <a:pt x="14400" y="4103"/>
                  </a:lnTo>
                  <a:close/>
                  <a:moveTo>
                    <a:pt x="14798" y="3704"/>
                  </a:moveTo>
                  <a:lnTo>
                    <a:pt x="14612" y="3891"/>
                  </a:lnTo>
                  <a:lnTo>
                    <a:pt x="14425" y="3704"/>
                  </a:lnTo>
                  <a:lnTo>
                    <a:pt x="14612" y="3518"/>
                  </a:lnTo>
                  <a:lnTo>
                    <a:pt x="14798" y="3704"/>
                  </a:lnTo>
                  <a:close/>
                  <a:moveTo>
                    <a:pt x="14798" y="3281"/>
                  </a:moveTo>
                  <a:lnTo>
                    <a:pt x="14612" y="3467"/>
                  </a:lnTo>
                  <a:lnTo>
                    <a:pt x="14425" y="3281"/>
                  </a:lnTo>
                  <a:lnTo>
                    <a:pt x="14612" y="3094"/>
                  </a:lnTo>
                  <a:lnTo>
                    <a:pt x="14798" y="3281"/>
                  </a:lnTo>
                  <a:close/>
                  <a:moveTo>
                    <a:pt x="14798" y="2857"/>
                  </a:moveTo>
                  <a:lnTo>
                    <a:pt x="14612" y="3043"/>
                  </a:lnTo>
                  <a:lnTo>
                    <a:pt x="14425" y="2857"/>
                  </a:lnTo>
                  <a:lnTo>
                    <a:pt x="14612" y="2671"/>
                  </a:lnTo>
                  <a:lnTo>
                    <a:pt x="14798" y="2857"/>
                  </a:lnTo>
                  <a:close/>
                  <a:moveTo>
                    <a:pt x="14798" y="2433"/>
                  </a:moveTo>
                  <a:lnTo>
                    <a:pt x="14612" y="2620"/>
                  </a:lnTo>
                  <a:lnTo>
                    <a:pt x="14425" y="2433"/>
                  </a:lnTo>
                  <a:lnTo>
                    <a:pt x="14612" y="2247"/>
                  </a:lnTo>
                  <a:lnTo>
                    <a:pt x="14798" y="2433"/>
                  </a:lnTo>
                  <a:close/>
                  <a:moveTo>
                    <a:pt x="14798" y="2010"/>
                  </a:moveTo>
                  <a:lnTo>
                    <a:pt x="14612" y="2196"/>
                  </a:lnTo>
                  <a:lnTo>
                    <a:pt x="14425" y="2010"/>
                  </a:lnTo>
                  <a:lnTo>
                    <a:pt x="14612" y="1823"/>
                  </a:lnTo>
                  <a:lnTo>
                    <a:pt x="14798" y="2010"/>
                  </a:lnTo>
                  <a:close/>
                  <a:moveTo>
                    <a:pt x="14798" y="1586"/>
                  </a:moveTo>
                  <a:lnTo>
                    <a:pt x="14612" y="1772"/>
                  </a:lnTo>
                  <a:lnTo>
                    <a:pt x="14425" y="1586"/>
                  </a:lnTo>
                  <a:lnTo>
                    <a:pt x="14612" y="1401"/>
                  </a:lnTo>
                  <a:lnTo>
                    <a:pt x="14798" y="1586"/>
                  </a:lnTo>
                  <a:close/>
                  <a:moveTo>
                    <a:pt x="14798" y="1162"/>
                  </a:moveTo>
                  <a:lnTo>
                    <a:pt x="14612" y="1350"/>
                  </a:lnTo>
                  <a:lnTo>
                    <a:pt x="14425" y="1162"/>
                  </a:lnTo>
                  <a:lnTo>
                    <a:pt x="14612" y="976"/>
                  </a:lnTo>
                  <a:lnTo>
                    <a:pt x="14798" y="1162"/>
                  </a:lnTo>
                  <a:close/>
                  <a:moveTo>
                    <a:pt x="14798" y="740"/>
                  </a:moveTo>
                  <a:lnTo>
                    <a:pt x="14612" y="925"/>
                  </a:lnTo>
                  <a:lnTo>
                    <a:pt x="14425" y="740"/>
                  </a:lnTo>
                  <a:lnTo>
                    <a:pt x="14612" y="552"/>
                  </a:lnTo>
                  <a:lnTo>
                    <a:pt x="14798" y="740"/>
                  </a:lnTo>
                  <a:close/>
                  <a:moveTo>
                    <a:pt x="14612" y="130"/>
                  </a:moveTo>
                  <a:lnTo>
                    <a:pt x="14798" y="316"/>
                  </a:lnTo>
                  <a:lnTo>
                    <a:pt x="14612" y="501"/>
                  </a:lnTo>
                  <a:lnTo>
                    <a:pt x="14425" y="316"/>
                  </a:lnTo>
                  <a:lnTo>
                    <a:pt x="14612" y="130"/>
                  </a:lnTo>
                  <a:close/>
                  <a:moveTo>
                    <a:pt x="14586" y="528"/>
                  </a:moveTo>
                  <a:lnTo>
                    <a:pt x="14400" y="713"/>
                  </a:lnTo>
                  <a:lnTo>
                    <a:pt x="14213" y="528"/>
                  </a:lnTo>
                  <a:lnTo>
                    <a:pt x="14400" y="342"/>
                  </a:lnTo>
                  <a:lnTo>
                    <a:pt x="14586" y="528"/>
                  </a:lnTo>
                  <a:close/>
                  <a:moveTo>
                    <a:pt x="14188" y="130"/>
                  </a:moveTo>
                  <a:lnTo>
                    <a:pt x="14374" y="316"/>
                  </a:lnTo>
                  <a:lnTo>
                    <a:pt x="14188" y="501"/>
                  </a:lnTo>
                  <a:lnTo>
                    <a:pt x="14002" y="316"/>
                  </a:lnTo>
                  <a:lnTo>
                    <a:pt x="14188" y="130"/>
                  </a:lnTo>
                  <a:close/>
                  <a:moveTo>
                    <a:pt x="14162" y="528"/>
                  </a:moveTo>
                  <a:lnTo>
                    <a:pt x="13976" y="713"/>
                  </a:lnTo>
                  <a:lnTo>
                    <a:pt x="13790" y="528"/>
                  </a:lnTo>
                  <a:lnTo>
                    <a:pt x="13976" y="342"/>
                  </a:lnTo>
                  <a:lnTo>
                    <a:pt x="14162" y="528"/>
                  </a:lnTo>
                  <a:close/>
                  <a:moveTo>
                    <a:pt x="13764" y="130"/>
                  </a:moveTo>
                  <a:lnTo>
                    <a:pt x="13950" y="316"/>
                  </a:lnTo>
                  <a:lnTo>
                    <a:pt x="13764" y="501"/>
                  </a:lnTo>
                  <a:lnTo>
                    <a:pt x="13578" y="316"/>
                  </a:lnTo>
                  <a:lnTo>
                    <a:pt x="13764" y="130"/>
                  </a:lnTo>
                  <a:close/>
                  <a:moveTo>
                    <a:pt x="13739" y="528"/>
                  </a:moveTo>
                  <a:lnTo>
                    <a:pt x="13552" y="713"/>
                  </a:lnTo>
                  <a:lnTo>
                    <a:pt x="13366" y="528"/>
                  </a:lnTo>
                  <a:lnTo>
                    <a:pt x="13552" y="342"/>
                  </a:lnTo>
                  <a:lnTo>
                    <a:pt x="13739" y="528"/>
                  </a:lnTo>
                  <a:close/>
                  <a:moveTo>
                    <a:pt x="13340" y="130"/>
                  </a:moveTo>
                  <a:lnTo>
                    <a:pt x="13527" y="316"/>
                  </a:lnTo>
                  <a:lnTo>
                    <a:pt x="13340" y="501"/>
                  </a:lnTo>
                  <a:lnTo>
                    <a:pt x="13154" y="316"/>
                  </a:lnTo>
                  <a:lnTo>
                    <a:pt x="13340" y="130"/>
                  </a:lnTo>
                  <a:close/>
                  <a:moveTo>
                    <a:pt x="13315" y="528"/>
                  </a:moveTo>
                  <a:lnTo>
                    <a:pt x="13130" y="713"/>
                  </a:lnTo>
                  <a:lnTo>
                    <a:pt x="12942" y="528"/>
                  </a:lnTo>
                  <a:lnTo>
                    <a:pt x="13130" y="342"/>
                  </a:lnTo>
                  <a:lnTo>
                    <a:pt x="13315" y="528"/>
                  </a:lnTo>
                  <a:close/>
                  <a:moveTo>
                    <a:pt x="12918" y="130"/>
                  </a:moveTo>
                  <a:lnTo>
                    <a:pt x="13103" y="316"/>
                  </a:lnTo>
                  <a:lnTo>
                    <a:pt x="12918" y="501"/>
                  </a:lnTo>
                  <a:lnTo>
                    <a:pt x="12730" y="316"/>
                  </a:lnTo>
                  <a:lnTo>
                    <a:pt x="12918" y="130"/>
                  </a:lnTo>
                  <a:close/>
                  <a:moveTo>
                    <a:pt x="12891" y="528"/>
                  </a:moveTo>
                  <a:lnTo>
                    <a:pt x="12706" y="713"/>
                  </a:lnTo>
                  <a:lnTo>
                    <a:pt x="12520" y="528"/>
                  </a:lnTo>
                  <a:lnTo>
                    <a:pt x="12706" y="342"/>
                  </a:lnTo>
                  <a:lnTo>
                    <a:pt x="12891" y="528"/>
                  </a:lnTo>
                  <a:close/>
                  <a:moveTo>
                    <a:pt x="12494" y="130"/>
                  </a:moveTo>
                  <a:lnTo>
                    <a:pt x="12679" y="316"/>
                  </a:lnTo>
                  <a:lnTo>
                    <a:pt x="12494" y="501"/>
                  </a:lnTo>
                  <a:lnTo>
                    <a:pt x="12308" y="316"/>
                  </a:lnTo>
                  <a:lnTo>
                    <a:pt x="12494" y="130"/>
                  </a:lnTo>
                  <a:close/>
                  <a:moveTo>
                    <a:pt x="12469" y="528"/>
                  </a:moveTo>
                  <a:lnTo>
                    <a:pt x="12282" y="713"/>
                  </a:lnTo>
                  <a:lnTo>
                    <a:pt x="12096" y="528"/>
                  </a:lnTo>
                  <a:lnTo>
                    <a:pt x="12282" y="342"/>
                  </a:lnTo>
                  <a:lnTo>
                    <a:pt x="12469" y="528"/>
                  </a:lnTo>
                  <a:close/>
                  <a:moveTo>
                    <a:pt x="12070" y="130"/>
                  </a:moveTo>
                  <a:lnTo>
                    <a:pt x="12257" y="316"/>
                  </a:lnTo>
                  <a:lnTo>
                    <a:pt x="12070" y="501"/>
                  </a:lnTo>
                  <a:lnTo>
                    <a:pt x="11884" y="316"/>
                  </a:lnTo>
                  <a:lnTo>
                    <a:pt x="12070" y="130"/>
                  </a:lnTo>
                  <a:close/>
                  <a:moveTo>
                    <a:pt x="12045" y="528"/>
                  </a:moveTo>
                  <a:lnTo>
                    <a:pt x="11859" y="713"/>
                  </a:lnTo>
                  <a:lnTo>
                    <a:pt x="11672" y="528"/>
                  </a:lnTo>
                  <a:lnTo>
                    <a:pt x="11859" y="342"/>
                  </a:lnTo>
                  <a:lnTo>
                    <a:pt x="12045" y="528"/>
                  </a:lnTo>
                  <a:close/>
                  <a:moveTo>
                    <a:pt x="11647" y="130"/>
                  </a:moveTo>
                  <a:lnTo>
                    <a:pt x="11833" y="316"/>
                  </a:lnTo>
                  <a:lnTo>
                    <a:pt x="11647" y="501"/>
                  </a:lnTo>
                  <a:lnTo>
                    <a:pt x="11460" y="316"/>
                  </a:lnTo>
                  <a:lnTo>
                    <a:pt x="11647" y="130"/>
                  </a:lnTo>
                  <a:close/>
                  <a:moveTo>
                    <a:pt x="11621" y="528"/>
                  </a:moveTo>
                  <a:lnTo>
                    <a:pt x="11435" y="713"/>
                  </a:lnTo>
                  <a:lnTo>
                    <a:pt x="11250" y="528"/>
                  </a:lnTo>
                  <a:lnTo>
                    <a:pt x="11435" y="342"/>
                  </a:lnTo>
                  <a:lnTo>
                    <a:pt x="11621" y="528"/>
                  </a:lnTo>
                  <a:close/>
                  <a:moveTo>
                    <a:pt x="11223" y="130"/>
                  </a:moveTo>
                  <a:lnTo>
                    <a:pt x="11409" y="316"/>
                  </a:lnTo>
                  <a:lnTo>
                    <a:pt x="11223" y="501"/>
                  </a:lnTo>
                  <a:lnTo>
                    <a:pt x="11038" y="316"/>
                  </a:lnTo>
                  <a:lnTo>
                    <a:pt x="11223" y="130"/>
                  </a:lnTo>
                  <a:close/>
                  <a:moveTo>
                    <a:pt x="11198" y="528"/>
                  </a:moveTo>
                  <a:lnTo>
                    <a:pt x="11011" y="713"/>
                  </a:lnTo>
                  <a:lnTo>
                    <a:pt x="10826" y="528"/>
                  </a:lnTo>
                  <a:lnTo>
                    <a:pt x="11011" y="342"/>
                  </a:lnTo>
                  <a:lnTo>
                    <a:pt x="11198" y="528"/>
                  </a:lnTo>
                  <a:close/>
                  <a:moveTo>
                    <a:pt x="10799" y="130"/>
                  </a:moveTo>
                  <a:lnTo>
                    <a:pt x="10986" y="316"/>
                  </a:lnTo>
                  <a:lnTo>
                    <a:pt x="10799" y="501"/>
                  </a:lnTo>
                  <a:lnTo>
                    <a:pt x="10614" y="316"/>
                  </a:lnTo>
                  <a:lnTo>
                    <a:pt x="10799" y="130"/>
                  </a:lnTo>
                  <a:close/>
                  <a:moveTo>
                    <a:pt x="10775" y="528"/>
                  </a:moveTo>
                  <a:lnTo>
                    <a:pt x="10589" y="713"/>
                  </a:lnTo>
                  <a:lnTo>
                    <a:pt x="10402" y="528"/>
                  </a:lnTo>
                  <a:lnTo>
                    <a:pt x="10589" y="342"/>
                  </a:lnTo>
                  <a:lnTo>
                    <a:pt x="10775" y="528"/>
                  </a:lnTo>
                  <a:close/>
                  <a:moveTo>
                    <a:pt x="10377" y="130"/>
                  </a:moveTo>
                  <a:lnTo>
                    <a:pt x="10563" y="316"/>
                  </a:lnTo>
                  <a:lnTo>
                    <a:pt x="10377" y="501"/>
                  </a:lnTo>
                  <a:lnTo>
                    <a:pt x="10190" y="316"/>
                  </a:lnTo>
                  <a:lnTo>
                    <a:pt x="10377" y="130"/>
                  </a:lnTo>
                  <a:close/>
                  <a:moveTo>
                    <a:pt x="10351" y="528"/>
                  </a:moveTo>
                  <a:lnTo>
                    <a:pt x="10165" y="713"/>
                  </a:lnTo>
                  <a:lnTo>
                    <a:pt x="9979" y="528"/>
                  </a:lnTo>
                  <a:lnTo>
                    <a:pt x="10165" y="342"/>
                  </a:lnTo>
                  <a:lnTo>
                    <a:pt x="10351" y="528"/>
                  </a:lnTo>
                  <a:close/>
                  <a:moveTo>
                    <a:pt x="9953" y="130"/>
                  </a:moveTo>
                  <a:lnTo>
                    <a:pt x="10139" y="316"/>
                  </a:lnTo>
                  <a:lnTo>
                    <a:pt x="9953" y="501"/>
                  </a:lnTo>
                  <a:lnTo>
                    <a:pt x="9767" y="316"/>
                  </a:lnTo>
                  <a:lnTo>
                    <a:pt x="9953" y="130"/>
                  </a:lnTo>
                  <a:close/>
                  <a:moveTo>
                    <a:pt x="9927" y="528"/>
                  </a:moveTo>
                  <a:lnTo>
                    <a:pt x="9741" y="713"/>
                  </a:lnTo>
                  <a:lnTo>
                    <a:pt x="9555" y="528"/>
                  </a:lnTo>
                  <a:lnTo>
                    <a:pt x="9741" y="342"/>
                  </a:lnTo>
                  <a:lnTo>
                    <a:pt x="9927" y="528"/>
                  </a:lnTo>
                  <a:close/>
                  <a:moveTo>
                    <a:pt x="9529" y="130"/>
                  </a:moveTo>
                  <a:lnTo>
                    <a:pt x="9716" y="316"/>
                  </a:lnTo>
                  <a:lnTo>
                    <a:pt x="9529" y="501"/>
                  </a:lnTo>
                  <a:lnTo>
                    <a:pt x="9343" y="316"/>
                  </a:lnTo>
                  <a:lnTo>
                    <a:pt x="9529" y="130"/>
                  </a:lnTo>
                  <a:close/>
                  <a:moveTo>
                    <a:pt x="9504" y="528"/>
                  </a:moveTo>
                  <a:lnTo>
                    <a:pt x="9317" y="713"/>
                  </a:lnTo>
                  <a:lnTo>
                    <a:pt x="9131" y="528"/>
                  </a:lnTo>
                  <a:lnTo>
                    <a:pt x="9317" y="342"/>
                  </a:lnTo>
                  <a:lnTo>
                    <a:pt x="9504" y="528"/>
                  </a:lnTo>
                  <a:close/>
                  <a:moveTo>
                    <a:pt x="9106" y="130"/>
                  </a:moveTo>
                  <a:lnTo>
                    <a:pt x="9292" y="316"/>
                  </a:lnTo>
                  <a:lnTo>
                    <a:pt x="9106" y="501"/>
                  </a:lnTo>
                  <a:lnTo>
                    <a:pt x="8919" y="316"/>
                  </a:lnTo>
                  <a:lnTo>
                    <a:pt x="9106" y="130"/>
                  </a:lnTo>
                  <a:close/>
                  <a:moveTo>
                    <a:pt x="9080" y="528"/>
                  </a:moveTo>
                  <a:lnTo>
                    <a:pt x="8894" y="713"/>
                  </a:lnTo>
                  <a:lnTo>
                    <a:pt x="8707" y="528"/>
                  </a:lnTo>
                  <a:lnTo>
                    <a:pt x="8894" y="342"/>
                  </a:lnTo>
                  <a:lnTo>
                    <a:pt x="9080" y="528"/>
                  </a:lnTo>
                  <a:close/>
                  <a:moveTo>
                    <a:pt x="8682" y="130"/>
                  </a:moveTo>
                  <a:lnTo>
                    <a:pt x="8868" y="316"/>
                  </a:lnTo>
                  <a:lnTo>
                    <a:pt x="8682" y="501"/>
                  </a:lnTo>
                  <a:lnTo>
                    <a:pt x="8497" y="316"/>
                  </a:lnTo>
                  <a:lnTo>
                    <a:pt x="8682" y="130"/>
                  </a:lnTo>
                  <a:close/>
                  <a:moveTo>
                    <a:pt x="8656" y="528"/>
                  </a:moveTo>
                  <a:lnTo>
                    <a:pt x="8470" y="713"/>
                  </a:lnTo>
                  <a:lnTo>
                    <a:pt x="8285" y="528"/>
                  </a:lnTo>
                  <a:lnTo>
                    <a:pt x="8470" y="342"/>
                  </a:lnTo>
                  <a:lnTo>
                    <a:pt x="8656" y="528"/>
                  </a:lnTo>
                  <a:close/>
                  <a:moveTo>
                    <a:pt x="8259" y="130"/>
                  </a:moveTo>
                  <a:lnTo>
                    <a:pt x="8446" y="316"/>
                  </a:lnTo>
                  <a:lnTo>
                    <a:pt x="8259" y="501"/>
                  </a:lnTo>
                  <a:lnTo>
                    <a:pt x="8073" y="316"/>
                  </a:lnTo>
                  <a:lnTo>
                    <a:pt x="8259" y="130"/>
                  </a:lnTo>
                  <a:close/>
                  <a:moveTo>
                    <a:pt x="8234" y="528"/>
                  </a:moveTo>
                  <a:lnTo>
                    <a:pt x="8047" y="713"/>
                  </a:lnTo>
                  <a:lnTo>
                    <a:pt x="7861" y="528"/>
                  </a:lnTo>
                  <a:lnTo>
                    <a:pt x="8047" y="342"/>
                  </a:lnTo>
                  <a:lnTo>
                    <a:pt x="8234" y="528"/>
                  </a:lnTo>
                  <a:close/>
                  <a:moveTo>
                    <a:pt x="7836" y="130"/>
                  </a:moveTo>
                  <a:lnTo>
                    <a:pt x="8022" y="316"/>
                  </a:lnTo>
                  <a:lnTo>
                    <a:pt x="7836" y="501"/>
                  </a:lnTo>
                  <a:lnTo>
                    <a:pt x="7649" y="316"/>
                  </a:lnTo>
                  <a:lnTo>
                    <a:pt x="7836" y="130"/>
                  </a:lnTo>
                  <a:close/>
                  <a:moveTo>
                    <a:pt x="7810" y="528"/>
                  </a:moveTo>
                  <a:lnTo>
                    <a:pt x="7624" y="713"/>
                  </a:lnTo>
                  <a:lnTo>
                    <a:pt x="7437" y="528"/>
                  </a:lnTo>
                  <a:lnTo>
                    <a:pt x="7624" y="342"/>
                  </a:lnTo>
                  <a:lnTo>
                    <a:pt x="7810" y="528"/>
                  </a:lnTo>
                  <a:close/>
                  <a:moveTo>
                    <a:pt x="7412" y="130"/>
                  </a:moveTo>
                  <a:lnTo>
                    <a:pt x="7598" y="316"/>
                  </a:lnTo>
                  <a:lnTo>
                    <a:pt x="7412" y="501"/>
                  </a:lnTo>
                  <a:lnTo>
                    <a:pt x="7226" y="316"/>
                  </a:lnTo>
                  <a:lnTo>
                    <a:pt x="7412" y="130"/>
                  </a:lnTo>
                  <a:close/>
                  <a:moveTo>
                    <a:pt x="7386" y="528"/>
                  </a:moveTo>
                  <a:lnTo>
                    <a:pt x="7200" y="713"/>
                  </a:lnTo>
                  <a:lnTo>
                    <a:pt x="7014" y="528"/>
                  </a:lnTo>
                  <a:lnTo>
                    <a:pt x="7200" y="342"/>
                  </a:lnTo>
                  <a:lnTo>
                    <a:pt x="7386" y="528"/>
                  </a:lnTo>
                  <a:close/>
                  <a:moveTo>
                    <a:pt x="6988" y="130"/>
                  </a:moveTo>
                  <a:lnTo>
                    <a:pt x="7175" y="316"/>
                  </a:lnTo>
                  <a:lnTo>
                    <a:pt x="6988" y="501"/>
                  </a:lnTo>
                  <a:lnTo>
                    <a:pt x="6802" y="316"/>
                  </a:lnTo>
                  <a:lnTo>
                    <a:pt x="6988" y="130"/>
                  </a:lnTo>
                  <a:close/>
                  <a:moveTo>
                    <a:pt x="6963" y="528"/>
                  </a:moveTo>
                  <a:lnTo>
                    <a:pt x="6776" y="713"/>
                  </a:lnTo>
                  <a:lnTo>
                    <a:pt x="6590" y="528"/>
                  </a:lnTo>
                  <a:lnTo>
                    <a:pt x="6776" y="342"/>
                  </a:lnTo>
                  <a:lnTo>
                    <a:pt x="6963" y="528"/>
                  </a:lnTo>
                  <a:close/>
                  <a:moveTo>
                    <a:pt x="6566" y="130"/>
                  </a:moveTo>
                  <a:lnTo>
                    <a:pt x="6751" y="316"/>
                  </a:lnTo>
                  <a:lnTo>
                    <a:pt x="6566" y="501"/>
                  </a:lnTo>
                  <a:lnTo>
                    <a:pt x="6378" y="316"/>
                  </a:lnTo>
                  <a:lnTo>
                    <a:pt x="6566" y="130"/>
                  </a:lnTo>
                  <a:close/>
                  <a:moveTo>
                    <a:pt x="6539" y="528"/>
                  </a:moveTo>
                  <a:lnTo>
                    <a:pt x="6354" y="713"/>
                  </a:lnTo>
                  <a:lnTo>
                    <a:pt x="6166" y="528"/>
                  </a:lnTo>
                  <a:lnTo>
                    <a:pt x="6354" y="342"/>
                  </a:lnTo>
                  <a:lnTo>
                    <a:pt x="6539" y="528"/>
                  </a:lnTo>
                  <a:close/>
                  <a:moveTo>
                    <a:pt x="6142" y="130"/>
                  </a:moveTo>
                  <a:lnTo>
                    <a:pt x="6327" y="316"/>
                  </a:lnTo>
                  <a:lnTo>
                    <a:pt x="6142" y="501"/>
                  </a:lnTo>
                  <a:lnTo>
                    <a:pt x="5956" y="316"/>
                  </a:lnTo>
                  <a:lnTo>
                    <a:pt x="6142" y="130"/>
                  </a:lnTo>
                  <a:close/>
                  <a:moveTo>
                    <a:pt x="6115" y="528"/>
                  </a:moveTo>
                  <a:lnTo>
                    <a:pt x="5930" y="713"/>
                  </a:lnTo>
                  <a:lnTo>
                    <a:pt x="5744" y="528"/>
                  </a:lnTo>
                  <a:lnTo>
                    <a:pt x="5930" y="342"/>
                  </a:lnTo>
                  <a:lnTo>
                    <a:pt x="6115" y="528"/>
                  </a:lnTo>
                  <a:close/>
                  <a:moveTo>
                    <a:pt x="5718" y="130"/>
                  </a:moveTo>
                  <a:lnTo>
                    <a:pt x="5903" y="316"/>
                  </a:lnTo>
                  <a:lnTo>
                    <a:pt x="5718" y="501"/>
                  </a:lnTo>
                  <a:lnTo>
                    <a:pt x="5532" y="316"/>
                  </a:lnTo>
                  <a:lnTo>
                    <a:pt x="5718" y="130"/>
                  </a:lnTo>
                  <a:close/>
                  <a:moveTo>
                    <a:pt x="5693" y="528"/>
                  </a:moveTo>
                  <a:lnTo>
                    <a:pt x="5506" y="713"/>
                  </a:lnTo>
                  <a:lnTo>
                    <a:pt x="5320" y="528"/>
                  </a:lnTo>
                  <a:lnTo>
                    <a:pt x="5506" y="342"/>
                  </a:lnTo>
                  <a:lnTo>
                    <a:pt x="5693" y="528"/>
                  </a:lnTo>
                  <a:close/>
                  <a:moveTo>
                    <a:pt x="5294" y="130"/>
                  </a:moveTo>
                  <a:lnTo>
                    <a:pt x="5481" y="316"/>
                  </a:lnTo>
                  <a:lnTo>
                    <a:pt x="5294" y="501"/>
                  </a:lnTo>
                  <a:lnTo>
                    <a:pt x="5108" y="316"/>
                  </a:lnTo>
                  <a:lnTo>
                    <a:pt x="5294" y="130"/>
                  </a:lnTo>
                  <a:close/>
                  <a:moveTo>
                    <a:pt x="5269" y="528"/>
                  </a:moveTo>
                  <a:lnTo>
                    <a:pt x="5083" y="713"/>
                  </a:lnTo>
                  <a:lnTo>
                    <a:pt x="4896" y="528"/>
                  </a:lnTo>
                  <a:lnTo>
                    <a:pt x="5083" y="342"/>
                  </a:lnTo>
                  <a:lnTo>
                    <a:pt x="5269" y="528"/>
                  </a:lnTo>
                  <a:close/>
                  <a:moveTo>
                    <a:pt x="4871" y="130"/>
                  </a:moveTo>
                  <a:lnTo>
                    <a:pt x="5057" y="316"/>
                  </a:lnTo>
                  <a:lnTo>
                    <a:pt x="4871" y="501"/>
                  </a:lnTo>
                  <a:lnTo>
                    <a:pt x="4684" y="316"/>
                  </a:lnTo>
                  <a:lnTo>
                    <a:pt x="4871" y="130"/>
                  </a:lnTo>
                  <a:close/>
                  <a:moveTo>
                    <a:pt x="4845" y="528"/>
                  </a:moveTo>
                  <a:lnTo>
                    <a:pt x="4659" y="713"/>
                  </a:lnTo>
                  <a:lnTo>
                    <a:pt x="4474" y="528"/>
                  </a:lnTo>
                  <a:lnTo>
                    <a:pt x="4659" y="342"/>
                  </a:lnTo>
                  <a:lnTo>
                    <a:pt x="4845" y="528"/>
                  </a:lnTo>
                  <a:close/>
                  <a:moveTo>
                    <a:pt x="4447" y="130"/>
                  </a:moveTo>
                  <a:lnTo>
                    <a:pt x="4633" y="316"/>
                  </a:lnTo>
                  <a:lnTo>
                    <a:pt x="4447" y="501"/>
                  </a:lnTo>
                  <a:lnTo>
                    <a:pt x="4262" y="316"/>
                  </a:lnTo>
                  <a:lnTo>
                    <a:pt x="4447" y="130"/>
                  </a:lnTo>
                  <a:close/>
                  <a:moveTo>
                    <a:pt x="4423" y="528"/>
                  </a:moveTo>
                  <a:lnTo>
                    <a:pt x="4235" y="713"/>
                  </a:lnTo>
                  <a:lnTo>
                    <a:pt x="4050" y="528"/>
                  </a:lnTo>
                  <a:lnTo>
                    <a:pt x="4235" y="342"/>
                  </a:lnTo>
                  <a:lnTo>
                    <a:pt x="4423" y="528"/>
                  </a:lnTo>
                  <a:close/>
                  <a:moveTo>
                    <a:pt x="4023" y="130"/>
                  </a:moveTo>
                  <a:lnTo>
                    <a:pt x="4211" y="316"/>
                  </a:lnTo>
                  <a:lnTo>
                    <a:pt x="4023" y="501"/>
                  </a:lnTo>
                  <a:lnTo>
                    <a:pt x="3838" y="316"/>
                  </a:lnTo>
                  <a:lnTo>
                    <a:pt x="4023" y="130"/>
                  </a:lnTo>
                  <a:close/>
                  <a:moveTo>
                    <a:pt x="3999" y="528"/>
                  </a:moveTo>
                  <a:lnTo>
                    <a:pt x="3813" y="713"/>
                  </a:lnTo>
                  <a:lnTo>
                    <a:pt x="3626" y="528"/>
                  </a:lnTo>
                  <a:lnTo>
                    <a:pt x="3813" y="342"/>
                  </a:lnTo>
                  <a:lnTo>
                    <a:pt x="3999" y="528"/>
                  </a:lnTo>
                  <a:close/>
                  <a:moveTo>
                    <a:pt x="3601" y="130"/>
                  </a:moveTo>
                  <a:lnTo>
                    <a:pt x="3787" y="316"/>
                  </a:lnTo>
                  <a:lnTo>
                    <a:pt x="3601" y="501"/>
                  </a:lnTo>
                  <a:lnTo>
                    <a:pt x="3414" y="316"/>
                  </a:lnTo>
                  <a:lnTo>
                    <a:pt x="3601" y="130"/>
                  </a:lnTo>
                  <a:close/>
                  <a:moveTo>
                    <a:pt x="3575" y="528"/>
                  </a:moveTo>
                  <a:lnTo>
                    <a:pt x="3389" y="713"/>
                  </a:lnTo>
                  <a:lnTo>
                    <a:pt x="3203" y="528"/>
                  </a:lnTo>
                  <a:lnTo>
                    <a:pt x="3389" y="342"/>
                  </a:lnTo>
                  <a:lnTo>
                    <a:pt x="3575" y="528"/>
                  </a:lnTo>
                  <a:close/>
                  <a:moveTo>
                    <a:pt x="3177" y="130"/>
                  </a:moveTo>
                  <a:lnTo>
                    <a:pt x="3363" y="316"/>
                  </a:lnTo>
                  <a:lnTo>
                    <a:pt x="3177" y="501"/>
                  </a:lnTo>
                  <a:lnTo>
                    <a:pt x="2991" y="316"/>
                  </a:lnTo>
                  <a:lnTo>
                    <a:pt x="3177" y="130"/>
                  </a:lnTo>
                  <a:close/>
                  <a:moveTo>
                    <a:pt x="3152" y="528"/>
                  </a:moveTo>
                  <a:lnTo>
                    <a:pt x="2965" y="713"/>
                  </a:lnTo>
                  <a:lnTo>
                    <a:pt x="2779" y="528"/>
                  </a:lnTo>
                  <a:lnTo>
                    <a:pt x="2965" y="342"/>
                  </a:lnTo>
                  <a:lnTo>
                    <a:pt x="3152" y="528"/>
                  </a:lnTo>
                  <a:close/>
                  <a:moveTo>
                    <a:pt x="2753" y="130"/>
                  </a:moveTo>
                  <a:lnTo>
                    <a:pt x="2940" y="316"/>
                  </a:lnTo>
                  <a:lnTo>
                    <a:pt x="2753" y="501"/>
                  </a:lnTo>
                  <a:lnTo>
                    <a:pt x="2567" y="316"/>
                  </a:lnTo>
                  <a:lnTo>
                    <a:pt x="2753" y="130"/>
                  </a:lnTo>
                  <a:close/>
                  <a:moveTo>
                    <a:pt x="2728" y="528"/>
                  </a:moveTo>
                  <a:lnTo>
                    <a:pt x="2543" y="713"/>
                  </a:lnTo>
                  <a:lnTo>
                    <a:pt x="2355" y="528"/>
                  </a:lnTo>
                  <a:lnTo>
                    <a:pt x="2543" y="342"/>
                  </a:lnTo>
                  <a:lnTo>
                    <a:pt x="2728" y="528"/>
                  </a:lnTo>
                  <a:close/>
                  <a:moveTo>
                    <a:pt x="2331" y="130"/>
                  </a:moveTo>
                  <a:lnTo>
                    <a:pt x="2516" y="316"/>
                  </a:lnTo>
                  <a:lnTo>
                    <a:pt x="2331" y="501"/>
                  </a:lnTo>
                  <a:lnTo>
                    <a:pt x="2143" y="316"/>
                  </a:lnTo>
                  <a:lnTo>
                    <a:pt x="2331" y="130"/>
                  </a:lnTo>
                  <a:close/>
                  <a:moveTo>
                    <a:pt x="2304" y="528"/>
                  </a:moveTo>
                  <a:lnTo>
                    <a:pt x="2119" y="713"/>
                  </a:lnTo>
                  <a:lnTo>
                    <a:pt x="1933" y="528"/>
                  </a:lnTo>
                  <a:lnTo>
                    <a:pt x="2119" y="342"/>
                  </a:lnTo>
                  <a:lnTo>
                    <a:pt x="2304" y="528"/>
                  </a:lnTo>
                  <a:close/>
                  <a:moveTo>
                    <a:pt x="1907" y="130"/>
                  </a:moveTo>
                  <a:lnTo>
                    <a:pt x="2092" y="316"/>
                  </a:lnTo>
                  <a:lnTo>
                    <a:pt x="1907" y="501"/>
                  </a:lnTo>
                  <a:lnTo>
                    <a:pt x="1721" y="316"/>
                  </a:lnTo>
                  <a:lnTo>
                    <a:pt x="1907" y="130"/>
                  </a:lnTo>
                  <a:close/>
                  <a:moveTo>
                    <a:pt x="1882" y="528"/>
                  </a:moveTo>
                  <a:lnTo>
                    <a:pt x="1695" y="713"/>
                  </a:lnTo>
                  <a:lnTo>
                    <a:pt x="1509" y="528"/>
                  </a:lnTo>
                  <a:lnTo>
                    <a:pt x="1695" y="342"/>
                  </a:lnTo>
                  <a:lnTo>
                    <a:pt x="1882" y="528"/>
                  </a:lnTo>
                  <a:close/>
                  <a:moveTo>
                    <a:pt x="1483" y="130"/>
                  </a:moveTo>
                  <a:lnTo>
                    <a:pt x="1670" y="316"/>
                  </a:lnTo>
                  <a:lnTo>
                    <a:pt x="1483" y="501"/>
                  </a:lnTo>
                  <a:lnTo>
                    <a:pt x="1297" y="316"/>
                  </a:lnTo>
                  <a:lnTo>
                    <a:pt x="1483" y="130"/>
                  </a:lnTo>
                  <a:close/>
                  <a:moveTo>
                    <a:pt x="1458" y="528"/>
                  </a:moveTo>
                  <a:lnTo>
                    <a:pt x="1272" y="713"/>
                  </a:lnTo>
                  <a:lnTo>
                    <a:pt x="1085" y="528"/>
                  </a:lnTo>
                  <a:lnTo>
                    <a:pt x="1272" y="342"/>
                  </a:lnTo>
                  <a:lnTo>
                    <a:pt x="1458" y="528"/>
                  </a:lnTo>
                  <a:close/>
                  <a:moveTo>
                    <a:pt x="1060" y="130"/>
                  </a:moveTo>
                  <a:lnTo>
                    <a:pt x="1246" y="316"/>
                  </a:lnTo>
                  <a:lnTo>
                    <a:pt x="1060" y="501"/>
                  </a:lnTo>
                  <a:lnTo>
                    <a:pt x="873" y="316"/>
                  </a:lnTo>
                  <a:lnTo>
                    <a:pt x="1060" y="130"/>
                  </a:lnTo>
                  <a:close/>
                  <a:moveTo>
                    <a:pt x="1034" y="528"/>
                  </a:moveTo>
                  <a:lnTo>
                    <a:pt x="848" y="713"/>
                  </a:lnTo>
                  <a:lnTo>
                    <a:pt x="663" y="528"/>
                  </a:lnTo>
                  <a:lnTo>
                    <a:pt x="848" y="342"/>
                  </a:lnTo>
                  <a:lnTo>
                    <a:pt x="1034" y="528"/>
                  </a:lnTo>
                  <a:close/>
                  <a:moveTo>
                    <a:pt x="636" y="130"/>
                  </a:moveTo>
                  <a:lnTo>
                    <a:pt x="822" y="316"/>
                  </a:lnTo>
                  <a:lnTo>
                    <a:pt x="636" y="501"/>
                  </a:lnTo>
                  <a:lnTo>
                    <a:pt x="451" y="316"/>
                  </a:lnTo>
                  <a:lnTo>
                    <a:pt x="636" y="130"/>
                  </a:lnTo>
                  <a:close/>
                  <a:moveTo>
                    <a:pt x="610" y="528"/>
                  </a:moveTo>
                  <a:lnTo>
                    <a:pt x="424" y="713"/>
                  </a:lnTo>
                  <a:lnTo>
                    <a:pt x="239" y="528"/>
                  </a:lnTo>
                  <a:lnTo>
                    <a:pt x="424" y="342"/>
                  </a:lnTo>
                  <a:lnTo>
                    <a:pt x="610" y="528"/>
                  </a:lnTo>
                  <a:close/>
                  <a:moveTo>
                    <a:pt x="399" y="316"/>
                  </a:moveTo>
                  <a:lnTo>
                    <a:pt x="212" y="501"/>
                  </a:lnTo>
                  <a:lnTo>
                    <a:pt x="27" y="316"/>
                  </a:lnTo>
                  <a:lnTo>
                    <a:pt x="212" y="130"/>
                  </a:lnTo>
                  <a:lnTo>
                    <a:pt x="399" y="3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53" name="Rectangle 8"/>
            <p:cNvSpPr>
              <a:spLocks noChangeArrowheads="1"/>
            </p:cNvSpPr>
            <p:nvPr/>
          </p:nvSpPr>
          <p:spPr bwMode="auto">
            <a:xfrm>
              <a:off x="25012651" y="4821238"/>
              <a:ext cx="214313" cy="34242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154" name="Group 1153"/>
          <p:cNvGrpSpPr>
            <a:grpSpLocks noChangeAspect="1"/>
          </p:cNvGrpSpPr>
          <p:nvPr/>
        </p:nvGrpSpPr>
        <p:grpSpPr>
          <a:xfrm>
            <a:off x="3587853" y="3290900"/>
            <a:ext cx="1519761" cy="469932"/>
            <a:chOff x="13252451" y="4821238"/>
            <a:chExt cx="11974513" cy="3424237"/>
          </a:xfrm>
          <a:solidFill>
            <a:schemeClr val="tx1">
              <a:lumMod val="50000"/>
              <a:lumOff val="50000"/>
            </a:schemeClr>
          </a:solidFill>
        </p:grpSpPr>
        <p:sp>
          <p:nvSpPr>
            <p:cNvPr id="1155" name="Freeform 6"/>
            <p:cNvSpPr>
              <a:spLocks noEditPoints="1"/>
            </p:cNvSpPr>
            <p:nvPr/>
          </p:nvSpPr>
          <p:spPr bwMode="auto">
            <a:xfrm>
              <a:off x="13252451" y="4968875"/>
              <a:ext cx="11760200" cy="3276600"/>
            </a:xfrm>
            <a:custGeom>
              <a:avLst/>
              <a:gdLst>
                <a:gd name="T0" fmla="*/ 1060 w 14818"/>
                <a:gd name="T1" fmla="*/ 3942 h 4128"/>
                <a:gd name="T2" fmla="*/ 8919 w 14818"/>
                <a:gd name="T3" fmla="*/ 4128 h 4128"/>
                <a:gd name="T4" fmla="*/ 14637 w 14818"/>
                <a:gd name="T5" fmla="*/ 2223 h 4128"/>
                <a:gd name="T6" fmla="*/ 12624 w 14818"/>
                <a:gd name="T7" fmla="*/ 0 h 4128"/>
                <a:gd name="T8" fmla="*/ 9659 w 14818"/>
                <a:gd name="T9" fmla="*/ 0 h 4128"/>
                <a:gd name="T10" fmla="*/ 6696 w 14818"/>
                <a:gd name="T11" fmla="*/ 0 h 4128"/>
                <a:gd name="T12" fmla="*/ 3731 w 14818"/>
                <a:gd name="T13" fmla="*/ 0 h 4128"/>
                <a:gd name="T14" fmla="*/ 766 w 14818"/>
                <a:gd name="T15" fmla="*/ 0 h 4128"/>
                <a:gd name="T16" fmla="*/ 12282 w 14818"/>
                <a:gd name="T17" fmla="*/ 2408 h 4128"/>
                <a:gd name="T18" fmla="*/ 9953 w 14818"/>
                <a:gd name="T19" fmla="*/ 1823 h 4128"/>
                <a:gd name="T20" fmla="*/ 7624 w 14818"/>
                <a:gd name="T21" fmla="*/ 2035 h 4128"/>
                <a:gd name="T22" fmla="*/ 5294 w 14818"/>
                <a:gd name="T23" fmla="*/ 2196 h 4128"/>
                <a:gd name="T24" fmla="*/ 2753 w 14818"/>
                <a:gd name="T25" fmla="*/ 2196 h 4128"/>
                <a:gd name="T26" fmla="*/ 1060 w 14818"/>
                <a:gd name="T27" fmla="*/ 2247 h 4128"/>
                <a:gd name="T28" fmla="*/ 3389 w 14818"/>
                <a:gd name="T29" fmla="*/ 2832 h 4128"/>
                <a:gd name="T30" fmla="*/ 5718 w 14818"/>
                <a:gd name="T31" fmla="*/ 2620 h 4128"/>
                <a:gd name="T32" fmla="*/ 8047 w 14818"/>
                <a:gd name="T33" fmla="*/ 2459 h 4128"/>
                <a:gd name="T34" fmla="*/ 10589 w 14818"/>
                <a:gd name="T35" fmla="*/ 2459 h 4128"/>
                <a:gd name="T36" fmla="*/ 12918 w 14818"/>
                <a:gd name="T37" fmla="*/ 2247 h 4128"/>
                <a:gd name="T38" fmla="*/ 12942 w 14818"/>
                <a:gd name="T39" fmla="*/ 1798 h 4128"/>
                <a:gd name="T40" fmla="*/ 10986 w 14818"/>
                <a:gd name="T41" fmla="*/ 1586 h 4128"/>
                <a:gd name="T42" fmla="*/ 8656 w 14818"/>
                <a:gd name="T43" fmla="*/ 1798 h 4128"/>
                <a:gd name="T44" fmla="*/ 6115 w 14818"/>
                <a:gd name="T45" fmla="*/ 1798 h 4128"/>
                <a:gd name="T46" fmla="*/ 3414 w 14818"/>
                <a:gd name="T47" fmla="*/ 1586 h 4128"/>
                <a:gd name="T48" fmla="*/ 1085 w 14818"/>
                <a:gd name="T49" fmla="*/ 1798 h 4128"/>
                <a:gd name="T50" fmla="*/ 1509 w 14818"/>
                <a:gd name="T51" fmla="*/ 3069 h 4128"/>
                <a:gd name="T52" fmla="*/ 3838 w 14818"/>
                <a:gd name="T53" fmla="*/ 2857 h 4128"/>
                <a:gd name="T54" fmla="*/ 6378 w 14818"/>
                <a:gd name="T55" fmla="*/ 2857 h 4128"/>
                <a:gd name="T56" fmla="*/ 9080 w 14818"/>
                <a:gd name="T57" fmla="*/ 3069 h 4128"/>
                <a:gd name="T58" fmla="*/ 11409 w 14818"/>
                <a:gd name="T59" fmla="*/ 2857 h 4128"/>
                <a:gd name="T60" fmla="*/ 13366 w 14818"/>
                <a:gd name="T61" fmla="*/ 3069 h 4128"/>
                <a:gd name="T62" fmla="*/ 13340 w 14818"/>
                <a:gd name="T63" fmla="*/ 1350 h 4128"/>
                <a:gd name="T64" fmla="*/ 10799 w 14818"/>
                <a:gd name="T65" fmla="*/ 1350 h 4128"/>
                <a:gd name="T66" fmla="*/ 8470 w 14818"/>
                <a:gd name="T67" fmla="*/ 1562 h 4128"/>
                <a:gd name="T68" fmla="*/ 6142 w 14818"/>
                <a:gd name="T69" fmla="*/ 976 h 4128"/>
                <a:gd name="T70" fmla="*/ 3813 w 14818"/>
                <a:gd name="T71" fmla="*/ 1189 h 4128"/>
                <a:gd name="T72" fmla="*/ 1483 w 14818"/>
                <a:gd name="T73" fmla="*/ 1350 h 4128"/>
                <a:gd name="T74" fmla="*/ 848 w 14818"/>
                <a:gd name="T75" fmla="*/ 3306 h 4128"/>
                <a:gd name="T76" fmla="*/ 3177 w 14818"/>
                <a:gd name="T77" fmla="*/ 3094 h 4128"/>
                <a:gd name="T78" fmla="*/ 5506 w 14818"/>
                <a:gd name="T79" fmla="*/ 3679 h 4128"/>
                <a:gd name="T80" fmla="*/ 7836 w 14818"/>
                <a:gd name="T81" fmla="*/ 3467 h 4128"/>
                <a:gd name="T82" fmla="*/ 10165 w 14818"/>
                <a:gd name="T83" fmla="*/ 3306 h 4128"/>
                <a:gd name="T84" fmla="*/ 12706 w 14818"/>
                <a:gd name="T85" fmla="*/ 3306 h 4128"/>
                <a:gd name="T86" fmla="*/ 14400 w 14818"/>
                <a:gd name="T87" fmla="*/ 2035 h 4128"/>
                <a:gd name="T88" fmla="*/ 12520 w 14818"/>
                <a:gd name="T89" fmla="*/ 952 h 4128"/>
                <a:gd name="T90" fmla="*/ 10563 w 14818"/>
                <a:gd name="T91" fmla="*/ 740 h 4128"/>
                <a:gd name="T92" fmla="*/ 8234 w 14818"/>
                <a:gd name="T93" fmla="*/ 952 h 4128"/>
                <a:gd name="T94" fmla="*/ 5693 w 14818"/>
                <a:gd name="T95" fmla="*/ 952 h 4128"/>
                <a:gd name="T96" fmla="*/ 2991 w 14818"/>
                <a:gd name="T97" fmla="*/ 740 h 4128"/>
                <a:gd name="T98" fmla="*/ 663 w 14818"/>
                <a:gd name="T99" fmla="*/ 952 h 4128"/>
                <a:gd name="T100" fmla="*/ 636 w 14818"/>
                <a:gd name="T101" fmla="*/ 3891 h 4128"/>
                <a:gd name="T102" fmla="*/ 2965 w 14818"/>
                <a:gd name="T103" fmla="*/ 4103 h 4128"/>
                <a:gd name="T104" fmla="*/ 5506 w 14818"/>
                <a:gd name="T105" fmla="*/ 4103 h 4128"/>
                <a:gd name="T106" fmla="*/ 7836 w 14818"/>
                <a:gd name="T107" fmla="*/ 3518 h 4128"/>
                <a:gd name="T108" fmla="*/ 10165 w 14818"/>
                <a:gd name="T109" fmla="*/ 3730 h 4128"/>
                <a:gd name="T110" fmla="*/ 12494 w 14818"/>
                <a:gd name="T111" fmla="*/ 3891 h 4128"/>
                <a:gd name="T112" fmla="*/ 14798 w 14818"/>
                <a:gd name="T113" fmla="*/ 3281 h 4128"/>
                <a:gd name="T114" fmla="*/ 13739 w 14818"/>
                <a:gd name="T115" fmla="*/ 528 h 4128"/>
                <a:gd name="T116" fmla="*/ 11409 w 14818"/>
                <a:gd name="T117" fmla="*/ 316 h 4128"/>
                <a:gd name="T118" fmla="*/ 8707 w 14818"/>
                <a:gd name="T119" fmla="*/ 528 h 4128"/>
                <a:gd name="T120" fmla="*/ 6378 w 14818"/>
                <a:gd name="T121" fmla="*/ 316 h 4128"/>
                <a:gd name="T122" fmla="*/ 4423 w 14818"/>
                <a:gd name="T123" fmla="*/ 528 h 4128"/>
                <a:gd name="T124" fmla="*/ 1882 w 14818"/>
                <a:gd name="T125" fmla="*/ 528 h 4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18" h="4128">
                  <a:moveTo>
                    <a:pt x="0" y="289"/>
                  </a:moveTo>
                  <a:lnTo>
                    <a:pt x="0" y="289"/>
                  </a:lnTo>
                  <a:lnTo>
                    <a:pt x="0" y="342"/>
                  </a:lnTo>
                  <a:lnTo>
                    <a:pt x="0" y="342"/>
                  </a:lnTo>
                  <a:lnTo>
                    <a:pt x="187" y="528"/>
                  </a:lnTo>
                  <a:lnTo>
                    <a:pt x="0" y="713"/>
                  </a:lnTo>
                  <a:lnTo>
                    <a:pt x="0" y="713"/>
                  </a:lnTo>
                  <a:lnTo>
                    <a:pt x="0" y="766"/>
                  </a:lnTo>
                  <a:lnTo>
                    <a:pt x="0" y="764"/>
                  </a:lnTo>
                  <a:lnTo>
                    <a:pt x="187" y="952"/>
                  </a:lnTo>
                  <a:lnTo>
                    <a:pt x="0" y="1137"/>
                  </a:lnTo>
                  <a:lnTo>
                    <a:pt x="0" y="1137"/>
                  </a:lnTo>
                  <a:lnTo>
                    <a:pt x="0" y="1189"/>
                  </a:lnTo>
                  <a:lnTo>
                    <a:pt x="0" y="1189"/>
                  </a:lnTo>
                  <a:lnTo>
                    <a:pt x="187" y="1374"/>
                  </a:lnTo>
                  <a:lnTo>
                    <a:pt x="0" y="1562"/>
                  </a:lnTo>
                  <a:lnTo>
                    <a:pt x="0" y="1560"/>
                  </a:lnTo>
                  <a:lnTo>
                    <a:pt x="0" y="1613"/>
                  </a:lnTo>
                  <a:lnTo>
                    <a:pt x="0" y="1613"/>
                  </a:lnTo>
                  <a:lnTo>
                    <a:pt x="187" y="1798"/>
                  </a:lnTo>
                  <a:lnTo>
                    <a:pt x="0" y="1984"/>
                  </a:lnTo>
                  <a:lnTo>
                    <a:pt x="0" y="1984"/>
                  </a:lnTo>
                  <a:lnTo>
                    <a:pt x="0" y="2037"/>
                  </a:lnTo>
                  <a:lnTo>
                    <a:pt x="0" y="2035"/>
                  </a:lnTo>
                  <a:lnTo>
                    <a:pt x="187" y="2223"/>
                  </a:lnTo>
                  <a:lnTo>
                    <a:pt x="0" y="2408"/>
                  </a:lnTo>
                  <a:lnTo>
                    <a:pt x="0" y="2408"/>
                  </a:lnTo>
                  <a:lnTo>
                    <a:pt x="0" y="2459"/>
                  </a:lnTo>
                  <a:lnTo>
                    <a:pt x="0" y="2459"/>
                  </a:lnTo>
                  <a:lnTo>
                    <a:pt x="187" y="2645"/>
                  </a:lnTo>
                  <a:lnTo>
                    <a:pt x="0" y="2832"/>
                  </a:lnTo>
                  <a:lnTo>
                    <a:pt x="0" y="2831"/>
                  </a:lnTo>
                  <a:lnTo>
                    <a:pt x="0" y="2883"/>
                  </a:lnTo>
                  <a:lnTo>
                    <a:pt x="0" y="2883"/>
                  </a:lnTo>
                  <a:lnTo>
                    <a:pt x="187" y="3069"/>
                  </a:lnTo>
                  <a:lnTo>
                    <a:pt x="0" y="3255"/>
                  </a:lnTo>
                  <a:lnTo>
                    <a:pt x="0" y="3255"/>
                  </a:lnTo>
                  <a:lnTo>
                    <a:pt x="0" y="3308"/>
                  </a:lnTo>
                  <a:lnTo>
                    <a:pt x="0" y="3306"/>
                  </a:lnTo>
                  <a:lnTo>
                    <a:pt x="187" y="3493"/>
                  </a:lnTo>
                  <a:lnTo>
                    <a:pt x="0" y="3679"/>
                  </a:lnTo>
                  <a:lnTo>
                    <a:pt x="0" y="3679"/>
                  </a:lnTo>
                  <a:lnTo>
                    <a:pt x="0" y="3730"/>
                  </a:lnTo>
                  <a:lnTo>
                    <a:pt x="0" y="3730"/>
                  </a:lnTo>
                  <a:lnTo>
                    <a:pt x="187" y="3916"/>
                  </a:lnTo>
                  <a:lnTo>
                    <a:pt x="0" y="4103"/>
                  </a:lnTo>
                  <a:lnTo>
                    <a:pt x="0" y="4102"/>
                  </a:lnTo>
                  <a:lnTo>
                    <a:pt x="0" y="4128"/>
                  </a:lnTo>
                  <a:lnTo>
                    <a:pt x="27" y="4128"/>
                  </a:lnTo>
                  <a:lnTo>
                    <a:pt x="212" y="3942"/>
                  </a:lnTo>
                  <a:lnTo>
                    <a:pt x="399" y="4128"/>
                  </a:lnTo>
                  <a:lnTo>
                    <a:pt x="451" y="4128"/>
                  </a:lnTo>
                  <a:lnTo>
                    <a:pt x="636" y="3942"/>
                  </a:lnTo>
                  <a:lnTo>
                    <a:pt x="822" y="4128"/>
                  </a:lnTo>
                  <a:lnTo>
                    <a:pt x="873" y="4128"/>
                  </a:lnTo>
                  <a:lnTo>
                    <a:pt x="1060" y="3942"/>
                  </a:lnTo>
                  <a:lnTo>
                    <a:pt x="1246" y="4128"/>
                  </a:lnTo>
                  <a:lnTo>
                    <a:pt x="1297" y="4128"/>
                  </a:lnTo>
                  <a:lnTo>
                    <a:pt x="1483" y="3942"/>
                  </a:lnTo>
                  <a:lnTo>
                    <a:pt x="1670" y="4128"/>
                  </a:lnTo>
                  <a:lnTo>
                    <a:pt x="1721" y="4128"/>
                  </a:lnTo>
                  <a:lnTo>
                    <a:pt x="1907" y="3942"/>
                  </a:lnTo>
                  <a:lnTo>
                    <a:pt x="2092" y="4128"/>
                  </a:lnTo>
                  <a:lnTo>
                    <a:pt x="2143" y="4128"/>
                  </a:lnTo>
                  <a:lnTo>
                    <a:pt x="2331" y="3942"/>
                  </a:lnTo>
                  <a:lnTo>
                    <a:pt x="2516" y="4128"/>
                  </a:lnTo>
                  <a:lnTo>
                    <a:pt x="2567" y="4128"/>
                  </a:lnTo>
                  <a:lnTo>
                    <a:pt x="2753" y="3942"/>
                  </a:lnTo>
                  <a:lnTo>
                    <a:pt x="2940" y="4128"/>
                  </a:lnTo>
                  <a:lnTo>
                    <a:pt x="2991" y="4128"/>
                  </a:lnTo>
                  <a:lnTo>
                    <a:pt x="3177" y="3942"/>
                  </a:lnTo>
                  <a:lnTo>
                    <a:pt x="3363" y="4128"/>
                  </a:lnTo>
                  <a:lnTo>
                    <a:pt x="3414" y="4128"/>
                  </a:lnTo>
                  <a:lnTo>
                    <a:pt x="3601" y="3942"/>
                  </a:lnTo>
                  <a:lnTo>
                    <a:pt x="3787" y="4128"/>
                  </a:lnTo>
                  <a:lnTo>
                    <a:pt x="3838" y="4128"/>
                  </a:lnTo>
                  <a:lnTo>
                    <a:pt x="4023" y="3942"/>
                  </a:lnTo>
                  <a:lnTo>
                    <a:pt x="4211" y="4128"/>
                  </a:lnTo>
                  <a:lnTo>
                    <a:pt x="4262" y="4128"/>
                  </a:lnTo>
                  <a:lnTo>
                    <a:pt x="4447" y="3942"/>
                  </a:lnTo>
                  <a:lnTo>
                    <a:pt x="4633" y="4128"/>
                  </a:lnTo>
                  <a:lnTo>
                    <a:pt x="4684" y="4128"/>
                  </a:lnTo>
                  <a:lnTo>
                    <a:pt x="4871" y="3942"/>
                  </a:lnTo>
                  <a:lnTo>
                    <a:pt x="5057" y="4128"/>
                  </a:lnTo>
                  <a:lnTo>
                    <a:pt x="5108" y="4128"/>
                  </a:lnTo>
                  <a:lnTo>
                    <a:pt x="5294" y="3942"/>
                  </a:lnTo>
                  <a:lnTo>
                    <a:pt x="5481" y="4128"/>
                  </a:lnTo>
                  <a:lnTo>
                    <a:pt x="5532" y="4128"/>
                  </a:lnTo>
                  <a:lnTo>
                    <a:pt x="5718" y="3942"/>
                  </a:lnTo>
                  <a:lnTo>
                    <a:pt x="5903" y="4128"/>
                  </a:lnTo>
                  <a:lnTo>
                    <a:pt x="5956" y="4128"/>
                  </a:lnTo>
                  <a:lnTo>
                    <a:pt x="6142" y="3942"/>
                  </a:lnTo>
                  <a:lnTo>
                    <a:pt x="6327" y="4128"/>
                  </a:lnTo>
                  <a:lnTo>
                    <a:pt x="6378" y="4128"/>
                  </a:lnTo>
                  <a:lnTo>
                    <a:pt x="6566" y="3942"/>
                  </a:lnTo>
                  <a:lnTo>
                    <a:pt x="6751" y="4128"/>
                  </a:lnTo>
                  <a:lnTo>
                    <a:pt x="6802" y="4128"/>
                  </a:lnTo>
                  <a:lnTo>
                    <a:pt x="6988" y="3942"/>
                  </a:lnTo>
                  <a:lnTo>
                    <a:pt x="7175" y="4128"/>
                  </a:lnTo>
                  <a:lnTo>
                    <a:pt x="7226" y="4128"/>
                  </a:lnTo>
                  <a:lnTo>
                    <a:pt x="7412" y="3942"/>
                  </a:lnTo>
                  <a:lnTo>
                    <a:pt x="7598" y="4128"/>
                  </a:lnTo>
                  <a:lnTo>
                    <a:pt x="7649" y="4128"/>
                  </a:lnTo>
                  <a:lnTo>
                    <a:pt x="7836" y="3942"/>
                  </a:lnTo>
                  <a:lnTo>
                    <a:pt x="8022" y="4128"/>
                  </a:lnTo>
                  <a:lnTo>
                    <a:pt x="8073" y="4128"/>
                  </a:lnTo>
                  <a:lnTo>
                    <a:pt x="8259" y="3942"/>
                  </a:lnTo>
                  <a:lnTo>
                    <a:pt x="8446" y="4128"/>
                  </a:lnTo>
                  <a:lnTo>
                    <a:pt x="8497" y="4128"/>
                  </a:lnTo>
                  <a:lnTo>
                    <a:pt x="8682" y="3942"/>
                  </a:lnTo>
                  <a:lnTo>
                    <a:pt x="8868" y="4128"/>
                  </a:lnTo>
                  <a:lnTo>
                    <a:pt x="8919" y="4128"/>
                  </a:lnTo>
                  <a:lnTo>
                    <a:pt x="9106" y="3942"/>
                  </a:lnTo>
                  <a:lnTo>
                    <a:pt x="9292" y="4128"/>
                  </a:lnTo>
                  <a:lnTo>
                    <a:pt x="9343" y="4128"/>
                  </a:lnTo>
                  <a:lnTo>
                    <a:pt x="9529" y="3942"/>
                  </a:lnTo>
                  <a:lnTo>
                    <a:pt x="9716" y="4128"/>
                  </a:lnTo>
                  <a:lnTo>
                    <a:pt x="9767" y="4128"/>
                  </a:lnTo>
                  <a:lnTo>
                    <a:pt x="9953" y="3942"/>
                  </a:lnTo>
                  <a:lnTo>
                    <a:pt x="10139" y="4128"/>
                  </a:lnTo>
                  <a:lnTo>
                    <a:pt x="10190" y="4128"/>
                  </a:lnTo>
                  <a:lnTo>
                    <a:pt x="10377" y="3942"/>
                  </a:lnTo>
                  <a:lnTo>
                    <a:pt x="10563" y="4128"/>
                  </a:lnTo>
                  <a:lnTo>
                    <a:pt x="10614" y="4128"/>
                  </a:lnTo>
                  <a:lnTo>
                    <a:pt x="10799" y="3942"/>
                  </a:lnTo>
                  <a:lnTo>
                    <a:pt x="10986" y="4128"/>
                  </a:lnTo>
                  <a:lnTo>
                    <a:pt x="11038" y="4128"/>
                  </a:lnTo>
                  <a:lnTo>
                    <a:pt x="11223" y="3942"/>
                  </a:lnTo>
                  <a:lnTo>
                    <a:pt x="11409" y="4128"/>
                  </a:lnTo>
                  <a:lnTo>
                    <a:pt x="11460" y="4128"/>
                  </a:lnTo>
                  <a:lnTo>
                    <a:pt x="11647" y="3942"/>
                  </a:lnTo>
                  <a:lnTo>
                    <a:pt x="11833" y="4128"/>
                  </a:lnTo>
                  <a:lnTo>
                    <a:pt x="11884" y="4128"/>
                  </a:lnTo>
                  <a:lnTo>
                    <a:pt x="12070" y="3942"/>
                  </a:lnTo>
                  <a:lnTo>
                    <a:pt x="12257" y="4128"/>
                  </a:lnTo>
                  <a:lnTo>
                    <a:pt x="12308" y="4128"/>
                  </a:lnTo>
                  <a:lnTo>
                    <a:pt x="12494" y="3942"/>
                  </a:lnTo>
                  <a:lnTo>
                    <a:pt x="12679" y="4128"/>
                  </a:lnTo>
                  <a:lnTo>
                    <a:pt x="12730" y="4128"/>
                  </a:lnTo>
                  <a:lnTo>
                    <a:pt x="12918" y="3942"/>
                  </a:lnTo>
                  <a:lnTo>
                    <a:pt x="13103" y="4128"/>
                  </a:lnTo>
                  <a:lnTo>
                    <a:pt x="13154" y="4128"/>
                  </a:lnTo>
                  <a:lnTo>
                    <a:pt x="13340" y="3942"/>
                  </a:lnTo>
                  <a:lnTo>
                    <a:pt x="13527" y="4128"/>
                  </a:lnTo>
                  <a:lnTo>
                    <a:pt x="13578" y="4128"/>
                  </a:lnTo>
                  <a:lnTo>
                    <a:pt x="13764" y="3942"/>
                  </a:lnTo>
                  <a:lnTo>
                    <a:pt x="13950" y="4128"/>
                  </a:lnTo>
                  <a:lnTo>
                    <a:pt x="14002" y="4128"/>
                  </a:lnTo>
                  <a:lnTo>
                    <a:pt x="14188" y="3942"/>
                  </a:lnTo>
                  <a:lnTo>
                    <a:pt x="14374" y="4128"/>
                  </a:lnTo>
                  <a:lnTo>
                    <a:pt x="14425" y="4128"/>
                  </a:lnTo>
                  <a:lnTo>
                    <a:pt x="14612" y="3942"/>
                  </a:lnTo>
                  <a:lnTo>
                    <a:pt x="14798" y="4128"/>
                  </a:lnTo>
                  <a:lnTo>
                    <a:pt x="14818" y="4128"/>
                  </a:lnTo>
                  <a:lnTo>
                    <a:pt x="14818" y="4099"/>
                  </a:lnTo>
                  <a:lnTo>
                    <a:pt x="14637" y="3916"/>
                  </a:lnTo>
                  <a:lnTo>
                    <a:pt x="14818" y="3735"/>
                  </a:lnTo>
                  <a:lnTo>
                    <a:pt x="14818" y="3674"/>
                  </a:lnTo>
                  <a:lnTo>
                    <a:pt x="14637" y="3493"/>
                  </a:lnTo>
                  <a:lnTo>
                    <a:pt x="14818" y="3311"/>
                  </a:lnTo>
                  <a:lnTo>
                    <a:pt x="14818" y="3250"/>
                  </a:lnTo>
                  <a:lnTo>
                    <a:pt x="14637" y="3069"/>
                  </a:lnTo>
                  <a:lnTo>
                    <a:pt x="14818" y="2888"/>
                  </a:lnTo>
                  <a:lnTo>
                    <a:pt x="14818" y="2828"/>
                  </a:lnTo>
                  <a:lnTo>
                    <a:pt x="14637" y="2645"/>
                  </a:lnTo>
                  <a:lnTo>
                    <a:pt x="14818" y="2464"/>
                  </a:lnTo>
                  <a:lnTo>
                    <a:pt x="14818" y="2404"/>
                  </a:lnTo>
                  <a:lnTo>
                    <a:pt x="14637" y="2223"/>
                  </a:lnTo>
                  <a:lnTo>
                    <a:pt x="14818" y="2040"/>
                  </a:lnTo>
                  <a:lnTo>
                    <a:pt x="14818" y="1980"/>
                  </a:lnTo>
                  <a:lnTo>
                    <a:pt x="14637" y="1798"/>
                  </a:lnTo>
                  <a:lnTo>
                    <a:pt x="14818" y="1616"/>
                  </a:lnTo>
                  <a:lnTo>
                    <a:pt x="14818" y="1557"/>
                  </a:lnTo>
                  <a:lnTo>
                    <a:pt x="14637" y="1374"/>
                  </a:lnTo>
                  <a:lnTo>
                    <a:pt x="14818" y="1193"/>
                  </a:lnTo>
                  <a:lnTo>
                    <a:pt x="14818" y="1133"/>
                  </a:lnTo>
                  <a:lnTo>
                    <a:pt x="14637" y="952"/>
                  </a:lnTo>
                  <a:lnTo>
                    <a:pt x="14818" y="769"/>
                  </a:lnTo>
                  <a:lnTo>
                    <a:pt x="14818" y="709"/>
                  </a:lnTo>
                  <a:lnTo>
                    <a:pt x="14637" y="528"/>
                  </a:lnTo>
                  <a:lnTo>
                    <a:pt x="14818" y="345"/>
                  </a:lnTo>
                  <a:lnTo>
                    <a:pt x="14818" y="286"/>
                  </a:lnTo>
                  <a:lnTo>
                    <a:pt x="14637" y="103"/>
                  </a:lnTo>
                  <a:lnTo>
                    <a:pt x="14742" y="0"/>
                  </a:lnTo>
                  <a:lnTo>
                    <a:pt x="14691" y="0"/>
                  </a:lnTo>
                  <a:lnTo>
                    <a:pt x="14612" y="79"/>
                  </a:lnTo>
                  <a:lnTo>
                    <a:pt x="14533" y="0"/>
                  </a:lnTo>
                  <a:lnTo>
                    <a:pt x="14480" y="0"/>
                  </a:lnTo>
                  <a:lnTo>
                    <a:pt x="14586" y="103"/>
                  </a:lnTo>
                  <a:lnTo>
                    <a:pt x="14400" y="289"/>
                  </a:lnTo>
                  <a:lnTo>
                    <a:pt x="14213" y="103"/>
                  </a:lnTo>
                  <a:lnTo>
                    <a:pt x="14318" y="0"/>
                  </a:lnTo>
                  <a:lnTo>
                    <a:pt x="14267" y="0"/>
                  </a:lnTo>
                  <a:lnTo>
                    <a:pt x="14188" y="79"/>
                  </a:lnTo>
                  <a:lnTo>
                    <a:pt x="14109" y="0"/>
                  </a:lnTo>
                  <a:lnTo>
                    <a:pt x="14058" y="0"/>
                  </a:lnTo>
                  <a:lnTo>
                    <a:pt x="14162" y="103"/>
                  </a:lnTo>
                  <a:lnTo>
                    <a:pt x="13976" y="289"/>
                  </a:lnTo>
                  <a:lnTo>
                    <a:pt x="13790" y="103"/>
                  </a:lnTo>
                  <a:lnTo>
                    <a:pt x="13894" y="0"/>
                  </a:lnTo>
                  <a:lnTo>
                    <a:pt x="13843" y="0"/>
                  </a:lnTo>
                  <a:lnTo>
                    <a:pt x="13764" y="79"/>
                  </a:lnTo>
                  <a:lnTo>
                    <a:pt x="13685" y="0"/>
                  </a:lnTo>
                  <a:lnTo>
                    <a:pt x="13634" y="0"/>
                  </a:lnTo>
                  <a:lnTo>
                    <a:pt x="13739" y="103"/>
                  </a:lnTo>
                  <a:lnTo>
                    <a:pt x="13552" y="289"/>
                  </a:lnTo>
                  <a:lnTo>
                    <a:pt x="13366" y="103"/>
                  </a:lnTo>
                  <a:lnTo>
                    <a:pt x="13472" y="0"/>
                  </a:lnTo>
                  <a:lnTo>
                    <a:pt x="13419" y="0"/>
                  </a:lnTo>
                  <a:lnTo>
                    <a:pt x="13340" y="79"/>
                  </a:lnTo>
                  <a:lnTo>
                    <a:pt x="13261" y="0"/>
                  </a:lnTo>
                  <a:lnTo>
                    <a:pt x="13210" y="0"/>
                  </a:lnTo>
                  <a:lnTo>
                    <a:pt x="13315" y="103"/>
                  </a:lnTo>
                  <a:lnTo>
                    <a:pt x="13130" y="289"/>
                  </a:lnTo>
                  <a:lnTo>
                    <a:pt x="12942" y="103"/>
                  </a:lnTo>
                  <a:lnTo>
                    <a:pt x="13048" y="0"/>
                  </a:lnTo>
                  <a:lnTo>
                    <a:pt x="12997" y="0"/>
                  </a:lnTo>
                  <a:lnTo>
                    <a:pt x="12918" y="79"/>
                  </a:lnTo>
                  <a:lnTo>
                    <a:pt x="12839" y="0"/>
                  </a:lnTo>
                  <a:lnTo>
                    <a:pt x="12788" y="0"/>
                  </a:lnTo>
                  <a:lnTo>
                    <a:pt x="12891" y="103"/>
                  </a:lnTo>
                  <a:lnTo>
                    <a:pt x="12706" y="289"/>
                  </a:lnTo>
                  <a:lnTo>
                    <a:pt x="12520" y="103"/>
                  </a:lnTo>
                  <a:lnTo>
                    <a:pt x="12624" y="0"/>
                  </a:lnTo>
                  <a:lnTo>
                    <a:pt x="12573" y="0"/>
                  </a:lnTo>
                  <a:lnTo>
                    <a:pt x="12494" y="79"/>
                  </a:lnTo>
                  <a:lnTo>
                    <a:pt x="12415" y="0"/>
                  </a:lnTo>
                  <a:lnTo>
                    <a:pt x="12364" y="0"/>
                  </a:lnTo>
                  <a:lnTo>
                    <a:pt x="12469" y="103"/>
                  </a:lnTo>
                  <a:lnTo>
                    <a:pt x="12282" y="289"/>
                  </a:lnTo>
                  <a:lnTo>
                    <a:pt x="12096" y="103"/>
                  </a:lnTo>
                  <a:lnTo>
                    <a:pt x="12200" y="0"/>
                  </a:lnTo>
                  <a:lnTo>
                    <a:pt x="12149" y="0"/>
                  </a:lnTo>
                  <a:lnTo>
                    <a:pt x="12070" y="79"/>
                  </a:lnTo>
                  <a:lnTo>
                    <a:pt x="11991" y="0"/>
                  </a:lnTo>
                  <a:lnTo>
                    <a:pt x="11940" y="0"/>
                  </a:lnTo>
                  <a:lnTo>
                    <a:pt x="12045" y="103"/>
                  </a:lnTo>
                  <a:lnTo>
                    <a:pt x="11859" y="289"/>
                  </a:lnTo>
                  <a:lnTo>
                    <a:pt x="11672" y="103"/>
                  </a:lnTo>
                  <a:lnTo>
                    <a:pt x="11777" y="0"/>
                  </a:lnTo>
                  <a:lnTo>
                    <a:pt x="11726" y="0"/>
                  </a:lnTo>
                  <a:lnTo>
                    <a:pt x="11647" y="79"/>
                  </a:lnTo>
                  <a:lnTo>
                    <a:pt x="11568" y="0"/>
                  </a:lnTo>
                  <a:lnTo>
                    <a:pt x="11517" y="0"/>
                  </a:lnTo>
                  <a:lnTo>
                    <a:pt x="11621" y="103"/>
                  </a:lnTo>
                  <a:lnTo>
                    <a:pt x="11435" y="289"/>
                  </a:lnTo>
                  <a:lnTo>
                    <a:pt x="11250" y="103"/>
                  </a:lnTo>
                  <a:lnTo>
                    <a:pt x="11353" y="0"/>
                  </a:lnTo>
                  <a:lnTo>
                    <a:pt x="11302" y="0"/>
                  </a:lnTo>
                  <a:lnTo>
                    <a:pt x="11223" y="79"/>
                  </a:lnTo>
                  <a:lnTo>
                    <a:pt x="11144" y="0"/>
                  </a:lnTo>
                  <a:lnTo>
                    <a:pt x="11093" y="0"/>
                  </a:lnTo>
                  <a:lnTo>
                    <a:pt x="11198" y="103"/>
                  </a:lnTo>
                  <a:lnTo>
                    <a:pt x="11011" y="289"/>
                  </a:lnTo>
                  <a:lnTo>
                    <a:pt x="10826" y="103"/>
                  </a:lnTo>
                  <a:lnTo>
                    <a:pt x="10929" y="0"/>
                  </a:lnTo>
                  <a:lnTo>
                    <a:pt x="10878" y="0"/>
                  </a:lnTo>
                  <a:lnTo>
                    <a:pt x="10799" y="79"/>
                  </a:lnTo>
                  <a:lnTo>
                    <a:pt x="10720" y="0"/>
                  </a:lnTo>
                  <a:lnTo>
                    <a:pt x="10669" y="0"/>
                  </a:lnTo>
                  <a:lnTo>
                    <a:pt x="10775" y="103"/>
                  </a:lnTo>
                  <a:lnTo>
                    <a:pt x="10589" y="289"/>
                  </a:lnTo>
                  <a:lnTo>
                    <a:pt x="10402" y="103"/>
                  </a:lnTo>
                  <a:lnTo>
                    <a:pt x="10507" y="0"/>
                  </a:lnTo>
                  <a:lnTo>
                    <a:pt x="10456" y="0"/>
                  </a:lnTo>
                  <a:lnTo>
                    <a:pt x="10377" y="79"/>
                  </a:lnTo>
                  <a:lnTo>
                    <a:pt x="10298" y="0"/>
                  </a:lnTo>
                  <a:lnTo>
                    <a:pt x="10247" y="0"/>
                  </a:lnTo>
                  <a:lnTo>
                    <a:pt x="10351" y="103"/>
                  </a:lnTo>
                  <a:lnTo>
                    <a:pt x="10165" y="289"/>
                  </a:lnTo>
                  <a:lnTo>
                    <a:pt x="9979" y="103"/>
                  </a:lnTo>
                  <a:lnTo>
                    <a:pt x="10083" y="0"/>
                  </a:lnTo>
                  <a:lnTo>
                    <a:pt x="10032" y="0"/>
                  </a:lnTo>
                  <a:lnTo>
                    <a:pt x="9953" y="79"/>
                  </a:lnTo>
                  <a:lnTo>
                    <a:pt x="9874" y="0"/>
                  </a:lnTo>
                  <a:lnTo>
                    <a:pt x="9823" y="0"/>
                  </a:lnTo>
                  <a:lnTo>
                    <a:pt x="9927" y="103"/>
                  </a:lnTo>
                  <a:lnTo>
                    <a:pt x="9741" y="289"/>
                  </a:lnTo>
                  <a:lnTo>
                    <a:pt x="9555" y="103"/>
                  </a:lnTo>
                  <a:lnTo>
                    <a:pt x="9659" y="0"/>
                  </a:lnTo>
                  <a:lnTo>
                    <a:pt x="9608" y="0"/>
                  </a:lnTo>
                  <a:lnTo>
                    <a:pt x="9529" y="79"/>
                  </a:lnTo>
                  <a:lnTo>
                    <a:pt x="9450" y="0"/>
                  </a:lnTo>
                  <a:lnTo>
                    <a:pt x="9399" y="0"/>
                  </a:lnTo>
                  <a:lnTo>
                    <a:pt x="9504" y="103"/>
                  </a:lnTo>
                  <a:lnTo>
                    <a:pt x="9317" y="289"/>
                  </a:lnTo>
                  <a:lnTo>
                    <a:pt x="9131" y="103"/>
                  </a:lnTo>
                  <a:lnTo>
                    <a:pt x="9236" y="0"/>
                  </a:lnTo>
                  <a:lnTo>
                    <a:pt x="9185" y="0"/>
                  </a:lnTo>
                  <a:lnTo>
                    <a:pt x="9106" y="79"/>
                  </a:lnTo>
                  <a:lnTo>
                    <a:pt x="9028" y="0"/>
                  </a:lnTo>
                  <a:lnTo>
                    <a:pt x="8976" y="0"/>
                  </a:lnTo>
                  <a:lnTo>
                    <a:pt x="9080" y="103"/>
                  </a:lnTo>
                  <a:lnTo>
                    <a:pt x="8894" y="289"/>
                  </a:lnTo>
                  <a:lnTo>
                    <a:pt x="8707" y="103"/>
                  </a:lnTo>
                  <a:lnTo>
                    <a:pt x="8812" y="0"/>
                  </a:lnTo>
                  <a:lnTo>
                    <a:pt x="8761" y="0"/>
                  </a:lnTo>
                  <a:lnTo>
                    <a:pt x="8682" y="79"/>
                  </a:lnTo>
                  <a:lnTo>
                    <a:pt x="8604" y="0"/>
                  </a:lnTo>
                  <a:lnTo>
                    <a:pt x="8552" y="0"/>
                  </a:lnTo>
                  <a:lnTo>
                    <a:pt x="8656" y="103"/>
                  </a:lnTo>
                  <a:lnTo>
                    <a:pt x="8470" y="289"/>
                  </a:lnTo>
                  <a:lnTo>
                    <a:pt x="8285" y="103"/>
                  </a:lnTo>
                  <a:lnTo>
                    <a:pt x="8388" y="0"/>
                  </a:lnTo>
                  <a:lnTo>
                    <a:pt x="8337" y="0"/>
                  </a:lnTo>
                  <a:lnTo>
                    <a:pt x="8259" y="79"/>
                  </a:lnTo>
                  <a:lnTo>
                    <a:pt x="8180" y="0"/>
                  </a:lnTo>
                  <a:lnTo>
                    <a:pt x="8129" y="0"/>
                  </a:lnTo>
                  <a:lnTo>
                    <a:pt x="8234" y="103"/>
                  </a:lnTo>
                  <a:lnTo>
                    <a:pt x="8047" y="289"/>
                  </a:lnTo>
                  <a:lnTo>
                    <a:pt x="7861" y="103"/>
                  </a:lnTo>
                  <a:lnTo>
                    <a:pt x="7966" y="0"/>
                  </a:lnTo>
                  <a:lnTo>
                    <a:pt x="7915" y="0"/>
                  </a:lnTo>
                  <a:lnTo>
                    <a:pt x="7836" y="79"/>
                  </a:lnTo>
                  <a:lnTo>
                    <a:pt x="7757" y="0"/>
                  </a:lnTo>
                  <a:lnTo>
                    <a:pt x="7706" y="0"/>
                  </a:lnTo>
                  <a:lnTo>
                    <a:pt x="7810" y="103"/>
                  </a:lnTo>
                  <a:lnTo>
                    <a:pt x="7624" y="289"/>
                  </a:lnTo>
                  <a:lnTo>
                    <a:pt x="7437" y="103"/>
                  </a:lnTo>
                  <a:lnTo>
                    <a:pt x="7542" y="0"/>
                  </a:lnTo>
                  <a:lnTo>
                    <a:pt x="7491" y="0"/>
                  </a:lnTo>
                  <a:lnTo>
                    <a:pt x="7412" y="79"/>
                  </a:lnTo>
                  <a:lnTo>
                    <a:pt x="7333" y="0"/>
                  </a:lnTo>
                  <a:lnTo>
                    <a:pt x="7282" y="0"/>
                  </a:lnTo>
                  <a:lnTo>
                    <a:pt x="7386" y="103"/>
                  </a:lnTo>
                  <a:lnTo>
                    <a:pt x="7200" y="289"/>
                  </a:lnTo>
                  <a:lnTo>
                    <a:pt x="7014" y="103"/>
                  </a:lnTo>
                  <a:lnTo>
                    <a:pt x="7118" y="0"/>
                  </a:lnTo>
                  <a:lnTo>
                    <a:pt x="7067" y="0"/>
                  </a:lnTo>
                  <a:lnTo>
                    <a:pt x="6988" y="79"/>
                  </a:lnTo>
                  <a:lnTo>
                    <a:pt x="6909" y="0"/>
                  </a:lnTo>
                  <a:lnTo>
                    <a:pt x="6858" y="0"/>
                  </a:lnTo>
                  <a:lnTo>
                    <a:pt x="6963" y="103"/>
                  </a:lnTo>
                  <a:lnTo>
                    <a:pt x="6776" y="289"/>
                  </a:lnTo>
                  <a:lnTo>
                    <a:pt x="6590" y="103"/>
                  </a:lnTo>
                  <a:lnTo>
                    <a:pt x="6696" y="0"/>
                  </a:lnTo>
                  <a:lnTo>
                    <a:pt x="6645" y="0"/>
                  </a:lnTo>
                  <a:lnTo>
                    <a:pt x="6566" y="79"/>
                  </a:lnTo>
                  <a:lnTo>
                    <a:pt x="6487" y="0"/>
                  </a:lnTo>
                  <a:lnTo>
                    <a:pt x="6434" y="0"/>
                  </a:lnTo>
                  <a:lnTo>
                    <a:pt x="6539" y="103"/>
                  </a:lnTo>
                  <a:lnTo>
                    <a:pt x="6354" y="289"/>
                  </a:lnTo>
                  <a:lnTo>
                    <a:pt x="6166" y="103"/>
                  </a:lnTo>
                  <a:lnTo>
                    <a:pt x="6272" y="0"/>
                  </a:lnTo>
                  <a:lnTo>
                    <a:pt x="6221" y="0"/>
                  </a:lnTo>
                  <a:lnTo>
                    <a:pt x="6142" y="79"/>
                  </a:lnTo>
                  <a:lnTo>
                    <a:pt x="6063" y="0"/>
                  </a:lnTo>
                  <a:lnTo>
                    <a:pt x="6012" y="0"/>
                  </a:lnTo>
                  <a:lnTo>
                    <a:pt x="6115" y="103"/>
                  </a:lnTo>
                  <a:lnTo>
                    <a:pt x="5930" y="289"/>
                  </a:lnTo>
                  <a:lnTo>
                    <a:pt x="5744" y="103"/>
                  </a:lnTo>
                  <a:lnTo>
                    <a:pt x="5848" y="0"/>
                  </a:lnTo>
                  <a:lnTo>
                    <a:pt x="5797" y="0"/>
                  </a:lnTo>
                  <a:lnTo>
                    <a:pt x="5718" y="79"/>
                  </a:lnTo>
                  <a:lnTo>
                    <a:pt x="5639" y="0"/>
                  </a:lnTo>
                  <a:lnTo>
                    <a:pt x="5588" y="0"/>
                  </a:lnTo>
                  <a:lnTo>
                    <a:pt x="5693" y="103"/>
                  </a:lnTo>
                  <a:lnTo>
                    <a:pt x="5506" y="289"/>
                  </a:lnTo>
                  <a:lnTo>
                    <a:pt x="5320" y="103"/>
                  </a:lnTo>
                  <a:lnTo>
                    <a:pt x="5425" y="0"/>
                  </a:lnTo>
                  <a:lnTo>
                    <a:pt x="5374" y="0"/>
                  </a:lnTo>
                  <a:lnTo>
                    <a:pt x="5294" y="79"/>
                  </a:lnTo>
                  <a:lnTo>
                    <a:pt x="5215" y="0"/>
                  </a:lnTo>
                  <a:lnTo>
                    <a:pt x="5164" y="0"/>
                  </a:lnTo>
                  <a:lnTo>
                    <a:pt x="5269" y="103"/>
                  </a:lnTo>
                  <a:lnTo>
                    <a:pt x="5083" y="289"/>
                  </a:lnTo>
                  <a:lnTo>
                    <a:pt x="4896" y="103"/>
                  </a:lnTo>
                  <a:lnTo>
                    <a:pt x="5001" y="0"/>
                  </a:lnTo>
                  <a:lnTo>
                    <a:pt x="4950" y="0"/>
                  </a:lnTo>
                  <a:lnTo>
                    <a:pt x="4871" y="79"/>
                  </a:lnTo>
                  <a:lnTo>
                    <a:pt x="4792" y="0"/>
                  </a:lnTo>
                  <a:lnTo>
                    <a:pt x="4741" y="0"/>
                  </a:lnTo>
                  <a:lnTo>
                    <a:pt x="4845" y="103"/>
                  </a:lnTo>
                  <a:lnTo>
                    <a:pt x="4659" y="289"/>
                  </a:lnTo>
                  <a:lnTo>
                    <a:pt x="4474" y="103"/>
                  </a:lnTo>
                  <a:lnTo>
                    <a:pt x="4577" y="0"/>
                  </a:lnTo>
                  <a:lnTo>
                    <a:pt x="4526" y="0"/>
                  </a:lnTo>
                  <a:lnTo>
                    <a:pt x="4447" y="79"/>
                  </a:lnTo>
                  <a:lnTo>
                    <a:pt x="4368" y="0"/>
                  </a:lnTo>
                  <a:lnTo>
                    <a:pt x="4317" y="0"/>
                  </a:lnTo>
                  <a:lnTo>
                    <a:pt x="4423" y="103"/>
                  </a:lnTo>
                  <a:lnTo>
                    <a:pt x="4235" y="289"/>
                  </a:lnTo>
                  <a:lnTo>
                    <a:pt x="4050" y="103"/>
                  </a:lnTo>
                  <a:lnTo>
                    <a:pt x="4155" y="0"/>
                  </a:lnTo>
                  <a:lnTo>
                    <a:pt x="4102" y="0"/>
                  </a:lnTo>
                  <a:lnTo>
                    <a:pt x="4023" y="79"/>
                  </a:lnTo>
                  <a:lnTo>
                    <a:pt x="3944" y="0"/>
                  </a:lnTo>
                  <a:lnTo>
                    <a:pt x="3893" y="0"/>
                  </a:lnTo>
                  <a:lnTo>
                    <a:pt x="3999" y="103"/>
                  </a:lnTo>
                  <a:lnTo>
                    <a:pt x="3813" y="289"/>
                  </a:lnTo>
                  <a:lnTo>
                    <a:pt x="3626" y="103"/>
                  </a:lnTo>
                  <a:lnTo>
                    <a:pt x="3731" y="0"/>
                  </a:lnTo>
                  <a:lnTo>
                    <a:pt x="3680" y="0"/>
                  </a:lnTo>
                  <a:lnTo>
                    <a:pt x="3601" y="79"/>
                  </a:lnTo>
                  <a:lnTo>
                    <a:pt x="3522" y="0"/>
                  </a:lnTo>
                  <a:lnTo>
                    <a:pt x="3471" y="0"/>
                  </a:lnTo>
                  <a:lnTo>
                    <a:pt x="3575" y="103"/>
                  </a:lnTo>
                  <a:lnTo>
                    <a:pt x="3389" y="289"/>
                  </a:lnTo>
                  <a:lnTo>
                    <a:pt x="3203" y="103"/>
                  </a:lnTo>
                  <a:lnTo>
                    <a:pt x="3307" y="0"/>
                  </a:lnTo>
                  <a:lnTo>
                    <a:pt x="3256" y="0"/>
                  </a:lnTo>
                  <a:lnTo>
                    <a:pt x="3177" y="79"/>
                  </a:lnTo>
                  <a:lnTo>
                    <a:pt x="3098" y="0"/>
                  </a:lnTo>
                  <a:lnTo>
                    <a:pt x="3047" y="0"/>
                  </a:lnTo>
                  <a:lnTo>
                    <a:pt x="3152" y="103"/>
                  </a:lnTo>
                  <a:lnTo>
                    <a:pt x="2965" y="289"/>
                  </a:lnTo>
                  <a:lnTo>
                    <a:pt x="2779" y="103"/>
                  </a:lnTo>
                  <a:lnTo>
                    <a:pt x="2883" y="0"/>
                  </a:lnTo>
                  <a:lnTo>
                    <a:pt x="2832" y="0"/>
                  </a:lnTo>
                  <a:lnTo>
                    <a:pt x="2753" y="79"/>
                  </a:lnTo>
                  <a:lnTo>
                    <a:pt x="2674" y="0"/>
                  </a:lnTo>
                  <a:lnTo>
                    <a:pt x="2623" y="0"/>
                  </a:lnTo>
                  <a:lnTo>
                    <a:pt x="2728" y="103"/>
                  </a:lnTo>
                  <a:lnTo>
                    <a:pt x="2543" y="289"/>
                  </a:lnTo>
                  <a:lnTo>
                    <a:pt x="2355" y="103"/>
                  </a:lnTo>
                  <a:lnTo>
                    <a:pt x="2461" y="0"/>
                  </a:lnTo>
                  <a:lnTo>
                    <a:pt x="2409" y="0"/>
                  </a:lnTo>
                  <a:lnTo>
                    <a:pt x="2331" y="79"/>
                  </a:lnTo>
                  <a:lnTo>
                    <a:pt x="2252" y="0"/>
                  </a:lnTo>
                  <a:lnTo>
                    <a:pt x="2201" y="0"/>
                  </a:lnTo>
                  <a:lnTo>
                    <a:pt x="2304" y="103"/>
                  </a:lnTo>
                  <a:lnTo>
                    <a:pt x="2119" y="289"/>
                  </a:lnTo>
                  <a:lnTo>
                    <a:pt x="1933" y="103"/>
                  </a:lnTo>
                  <a:lnTo>
                    <a:pt x="2037" y="0"/>
                  </a:lnTo>
                  <a:lnTo>
                    <a:pt x="1986" y="0"/>
                  </a:lnTo>
                  <a:lnTo>
                    <a:pt x="1907" y="79"/>
                  </a:lnTo>
                  <a:lnTo>
                    <a:pt x="1828" y="0"/>
                  </a:lnTo>
                  <a:lnTo>
                    <a:pt x="1777" y="0"/>
                  </a:lnTo>
                  <a:lnTo>
                    <a:pt x="1882" y="103"/>
                  </a:lnTo>
                  <a:lnTo>
                    <a:pt x="1695" y="289"/>
                  </a:lnTo>
                  <a:lnTo>
                    <a:pt x="1509" y="103"/>
                  </a:lnTo>
                  <a:lnTo>
                    <a:pt x="1613" y="0"/>
                  </a:lnTo>
                  <a:lnTo>
                    <a:pt x="1562" y="0"/>
                  </a:lnTo>
                  <a:lnTo>
                    <a:pt x="1483" y="79"/>
                  </a:lnTo>
                  <a:lnTo>
                    <a:pt x="1404" y="0"/>
                  </a:lnTo>
                  <a:lnTo>
                    <a:pt x="1353" y="0"/>
                  </a:lnTo>
                  <a:lnTo>
                    <a:pt x="1458" y="103"/>
                  </a:lnTo>
                  <a:lnTo>
                    <a:pt x="1272" y="289"/>
                  </a:lnTo>
                  <a:lnTo>
                    <a:pt x="1085" y="103"/>
                  </a:lnTo>
                  <a:lnTo>
                    <a:pt x="1190" y="0"/>
                  </a:lnTo>
                  <a:lnTo>
                    <a:pt x="1139" y="0"/>
                  </a:lnTo>
                  <a:lnTo>
                    <a:pt x="1060" y="79"/>
                  </a:lnTo>
                  <a:lnTo>
                    <a:pt x="981" y="0"/>
                  </a:lnTo>
                  <a:lnTo>
                    <a:pt x="930" y="0"/>
                  </a:lnTo>
                  <a:lnTo>
                    <a:pt x="1034" y="103"/>
                  </a:lnTo>
                  <a:lnTo>
                    <a:pt x="848" y="289"/>
                  </a:lnTo>
                  <a:lnTo>
                    <a:pt x="663" y="103"/>
                  </a:lnTo>
                  <a:lnTo>
                    <a:pt x="766" y="0"/>
                  </a:lnTo>
                  <a:lnTo>
                    <a:pt x="715" y="0"/>
                  </a:lnTo>
                  <a:lnTo>
                    <a:pt x="636" y="79"/>
                  </a:lnTo>
                  <a:lnTo>
                    <a:pt x="557" y="0"/>
                  </a:lnTo>
                  <a:lnTo>
                    <a:pt x="506" y="0"/>
                  </a:lnTo>
                  <a:lnTo>
                    <a:pt x="610" y="103"/>
                  </a:lnTo>
                  <a:lnTo>
                    <a:pt x="424" y="289"/>
                  </a:lnTo>
                  <a:lnTo>
                    <a:pt x="239" y="103"/>
                  </a:lnTo>
                  <a:lnTo>
                    <a:pt x="342" y="0"/>
                  </a:lnTo>
                  <a:lnTo>
                    <a:pt x="291" y="0"/>
                  </a:lnTo>
                  <a:lnTo>
                    <a:pt x="212" y="79"/>
                  </a:lnTo>
                  <a:lnTo>
                    <a:pt x="133" y="0"/>
                  </a:lnTo>
                  <a:lnTo>
                    <a:pt x="82" y="0"/>
                  </a:lnTo>
                  <a:lnTo>
                    <a:pt x="187" y="103"/>
                  </a:lnTo>
                  <a:lnTo>
                    <a:pt x="0" y="289"/>
                  </a:lnTo>
                  <a:close/>
                  <a:moveTo>
                    <a:pt x="27" y="740"/>
                  </a:moveTo>
                  <a:lnTo>
                    <a:pt x="212" y="552"/>
                  </a:lnTo>
                  <a:lnTo>
                    <a:pt x="399" y="740"/>
                  </a:lnTo>
                  <a:lnTo>
                    <a:pt x="212" y="925"/>
                  </a:lnTo>
                  <a:lnTo>
                    <a:pt x="27" y="740"/>
                  </a:lnTo>
                  <a:close/>
                  <a:moveTo>
                    <a:pt x="13739" y="2223"/>
                  </a:moveTo>
                  <a:lnTo>
                    <a:pt x="13552" y="2408"/>
                  </a:lnTo>
                  <a:lnTo>
                    <a:pt x="13366" y="2223"/>
                  </a:lnTo>
                  <a:lnTo>
                    <a:pt x="13552" y="2035"/>
                  </a:lnTo>
                  <a:lnTo>
                    <a:pt x="13739" y="2223"/>
                  </a:lnTo>
                  <a:close/>
                  <a:moveTo>
                    <a:pt x="13578" y="2010"/>
                  </a:moveTo>
                  <a:lnTo>
                    <a:pt x="13764" y="1823"/>
                  </a:lnTo>
                  <a:lnTo>
                    <a:pt x="13950" y="2010"/>
                  </a:lnTo>
                  <a:lnTo>
                    <a:pt x="13764" y="2196"/>
                  </a:lnTo>
                  <a:lnTo>
                    <a:pt x="13578" y="2010"/>
                  </a:lnTo>
                  <a:close/>
                  <a:moveTo>
                    <a:pt x="13340" y="2196"/>
                  </a:moveTo>
                  <a:lnTo>
                    <a:pt x="13154" y="2010"/>
                  </a:lnTo>
                  <a:lnTo>
                    <a:pt x="13340" y="1823"/>
                  </a:lnTo>
                  <a:lnTo>
                    <a:pt x="13527" y="2010"/>
                  </a:lnTo>
                  <a:lnTo>
                    <a:pt x="13340" y="2196"/>
                  </a:lnTo>
                  <a:close/>
                  <a:moveTo>
                    <a:pt x="13315" y="2223"/>
                  </a:moveTo>
                  <a:lnTo>
                    <a:pt x="13130" y="2408"/>
                  </a:lnTo>
                  <a:lnTo>
                    <a:pt x="12942" y="2223"/>
                  </a:lnTo>
                  <a:lnTo>
                    <a:pt x="13130" y="2035"/>
                  </a:lnTo>
                  <a:lnTo>
                    <a:pt x="13315" y="2223"/>
                  </a:lnTo>
                  <a:close/>
                  <a:moveTo>
                    <a:pt x="12918" y="2196"/>
                  </a:moveTo>
                  <a:lnTo>
                    <a:pt x="12730" y="2010"/>
                  </a:lnTo>
                  <a:lnTo>
                    <a:pt x="12918" y="1823"/>
                  </a:lnTo>
                  <a:lnTo>
                    <a:pt x="13103" y="2010"/>
                  </a:lnTo>
                  <a:lnTo>
                    <a:pt x="12918" y="2196"/>
                  </a:lnTo>
                  <a:close/>
                  <a:moveTo>
                    <a:pt x="12891" y="2223"/>
                  </a:moveTo>
                  <a:lnTo>
                    <a:pt x="12706" y="2408"/>
                  </a:lnTo>
                  <a:lnTo>
                    <a:pt x="12520" y="2223"/>
                  </a:lnTo>
                  <a:lnTo>
                    <a:pt x="12706" y="2035"/>
                  </a:lnTo>
                  <a:lnTo>
                    <a:pt x="12891" y="2223"/>
                  </a:lnTo>
                  <a:close/>
                  <a:moveTo>
                    <a:pt x="12494" y="2196"/>
                  </a:moveTo>
                  <a:lnTo>
                    <a:pt x="12308" y="2010"/>
                  </a:lnTo>
                  <a:lnTo>
                    <a:pt x="12494" y="1823"/>
                  </a:lnTo>
                  <a:lnTo>
                    <a:pt x="12679" y="2010"/>
                  </a:lnTo>
                  <a:lnTo>
                    <a:pt x="12494" y="2196"/>
                  </a:lnTo>
                  <a:close/>
                  <a:moveTo>
                    <a:pt x="12469" y="2223"/>
                  </a:moveTo>
                  <a:lnTo>
                    <a:pt x="12282" y="2408"/>
                  </a:lnTo>
                  <a:lnTo>
                    <a:pt x="12096" y="2223"/>
                  </a:lnTo>
                  <a:lnTo>
                    <a:pt x="12282" y="2035"/>
                  </a:lnTo>
                  <a:lnTo>
                    <a:pt x="12469" y="2223"/>
                  </a:lnTo>
                  <a:close/>
                  <a:moveTo>
                    <a:pt x="12070" y="2196"/>
                  </a:moveTo>
                  <a:lnTo>
                    <a:pt x="11884" y="2010"/>
                  </a:lnTo>
                  <a:lnTo>
                    <a:pt x="12070" y="1823"/>
                  </a:lnTo>
                  <a:lnTo>
                    <a:pt x="12257" y="2010"/>
                  </a:lnTo>
                  <a:lnTo>
                    <a:pt x="12070" y="2196"/>
                  </a:lnTo>
                  <a:close/>
                  <a:moveTo>
                    <a:pt x="12045" y="2223"/>
                  </a:moveTo>
                  <a:lnTo>
                    <a:pt x="11859" y="2408"/>
                  </a:lnTo>
                  <a:lnTo>
                    <a:pt x="11672" y="2223"/>
                  </a:lnTo>
                  <a:lnTo>
                    <a:pt x="11859" y="2035"/>
                  </a:lnTo>
                  <a:lnTo>
                    <a:pt x="12045" y="2223"/>
                  </a:lnTo>
                  <a:close/>
                  <a:moveTo>
                    <a:pt x="11647" y="2196"/>
                  </a:moveTo>
                  <a:lnTo>
                    <a:pt x="11460" y="2010"/>
                  </a:lnTo>
                  <a:lnTo>
                    <a:pt x="11647" y="1823"/>
                  </a:lnTo>
                  <a:lnTo>
                    <a:pt x="11833" y="2010"/>
                  </a:lnTo>
                  <a:lnTo>
                    <a:pt x="11647" y="2196"/>
                  </a:lnTo>
                  <a:close/>
                  <a:moveTo>
                    <a:pt x="11621" y="2223"/>
                  </a:moveTo>
                  <a:lnTo>
                    <a:pt x="11435" y="2408"/>
                  </a:lnTo>
                  <a:lnTo>
                    <a:pt x="11250" y="2223"/>
                  </a:lnTo>
                  <a:lnTo>
                    <a:pt x="11435" y="2035"/>
                  </a:lnTo>
                  <a:lnTo>
                    <a:pt x="11621" y="2223"/>
                  </a:lnTo>
                  <a:close/>
                  <a:moveTo>
                    <a:pt x="11223" y="2196"/>
                  </a:moveTo>
                  <a:lnTo>
                    <a:pt x="11038" y="2010"/>
                  </a:lnTo>
                  <a:lnTo>
                    <a:pt x="11223" y="1823"/>
                  </a:lnTo>
                  <a:lnTo>
                    <a:pt x="11409" y="2010"/>
                  </a:lnTo>
                  <a:lnTo>
                    <a:pt x="11223" y="2196"/>
                  </a:lnTo>
                  <a:close/>
                  <a:moveTo>
                    <a:pt x="11198" y="2223"/>
                  </a:moveTo>
                  <a:lnTo>
                    <a:pt x="11011" y="2408"/>
                  </a:lnTo>
                  <a:lnTo>
                    <a:pt x="10826" y="2223"/>
                  </a:lnTo>
                  <a:lnTo>
                    <a:pt x="11011" y="2035"/>
                  </a:lnTo>
                  <a:lnTo>
                    <a:pt x="11198" y="2223"/>
                  </a:lnTo>
                  <a:close/>
                  <a:moveTo>
                    <a:pt x="10799" y="2196"/>
                  </a:moveTo>
                  <a:lnTo>
                    <a:pt x="10614" y="2010"/>
                  </a:lnTo>
                  <a:lnTo>
                    <a:pt x="10799" y="1823"/>
                  </a:lnTo>
                  <a:lnTo>
                    <a:pt x="10986" y="2010"/>
                  </a:lnTo>
                  <a:lnTo>
                    <a:pt x="10799" y="2196"/>
                  </a:lnTo>
                  <a:close/>
                  <a:moveTo>
                    <a:pt x="10775" y="2223"/>
                  </a:moveTo>
                  <a:lnTo>
                    <a:pt x="10589" y="2408"/>
                  </a:lnTo>
                  <a:lnTo>
                    <a:pt x="10402" y="2223"/>
                  </a:lnTo>
                  <a:lnTo>
                    <a:pt x="10589" y="2035"/>
                  </a:lnTo>
                  <a:lnTo>
                    <a:pt x="10775" y="2223"/>
                  </a:lnTo>
                  <a:close/>
                  <a:moveTo>
                    <a:pt x="10377" y="2196"/>
                  </a:moveTo>
                  <a:lnTo>
                    <a:pt x="10190" y="2010"/>
                  </a:lnTo>
                  <a:lnTo>
                    <a:pt x="10377" y="1823"/>
                  </a:lnTo>
                  <a:lnTo>
                    <a:pt x="10563" y="2010"/>
                  </a:lnTo>
                  <a:lnTo>
                    <a:pt x="10377" y="2196"/>
                  </a:lnTo>
                  <a:close/>
                  <a:moveTo>
                    <a:pt x="10351" y="2223"/>
                  </a:moveTo>
                  <a:lnTo>
                    <a:pt x="10165" y="2408"/>
                  </a:lnTo>
                  <a:lnTo>
                    <a:pt x="9979" y="2223"/>
                  </a:lnTo>
                  <a:lnTo>
                    <a:pt x="10165" y="2035"/>
                  </a:lnTo>
                  <a:lnTo>
                    <a:pt x="10351" y="2223"/>
                  </a:lnTo>
                  <a:close/>
                  <a:moveTo>
                    <a:pt x="9953" y="2196"/>
                  </a:moveTo>
                  <a:lnTo>
                    <a:pt x="9767" y="2010"/>
                  </a:lnTo>
                  <a:lnTo>
                    <a:pt x="9953" y="1823"/>
                  </a:lnTo>
                  <a:lnTo>
                    <a:pt x="10139" y="2010"/>
                  </a:lnTo>
                  <a:lnTo>
                    <a:pt x="9953" y="2196"/>
                  </a:lnTo>
                  <a:close/>
                  <a:moveTo>
                    <a:pt x="9927" y="2223"/>
                  </a:moveTo>
                  <a:lnTo>
                    <a:pt x="9741" y="2408"/>
                  </a:lnTo>
                  <a:lnTo>
                    <a:pt x="9555" y="2223"/>
                  </a:lnTo>
                  <a:lnTo>
                    <a:pt x="9741" y="2035"/>
                  </a:lnTo>
                  <a:lnTo>
                    <a:pt x="9927" y="2223"/>
                  </a:lnTo>
                  <a:close/>
                  <a:moveTo>
                    <a:pt x="9529" y="2196"/>
                  </a:moveTo>
                  <a:lnTo>
                    <a:pt x="9343" y="2010"/>
                  </a:lnTo>
                  <a:lnTo>
                    <a:pt x="9529" y="1823"/>
                  </a:lnTo>
                  <a:lnTo>
                    <a:pt x="9716" y="2010"/>
                  </a:lnTo>
                  <a:lnTo>
                    <a:pt x="9529" y="2196"/>
                  </a:lnTo>
                  <a:close/>
                  <a:moveTo>
                    <a:pt x="9504" y="2223"/>
                  </a:moveTo>
                  <a:lnTo>
                    <a:pt x="9317" y="2408"/>
                  </a:lnTo>
                  <a:lnTo>
                    <a:pt x="9131" y="2223"/>
                  </a:lnTo>
                  <a:lnTo>
                    <a:pt x="9317" y="2035"/>
                  </a:lnTo>
                  <a:lnTo>
                    <a:pt x="9504" y="2223"/>
                  </a:lnTo>
                  <a:close/>
                  <a:moveTo>
                    <a:pt x="9106" y="2196"/>
                  </a:moveTo>
                  <a:lnTo>
                    <a:pt x="8919" y="2010"/>
                  </a:lnTo>
                  <a:lnTo>
                    <a:pt x="9106" y="1823"/>
                  </a:lnTo>
                  <a:lnTo>
                    <a:pt x="9292" y="2010"/>
                  </a:lnTo>
                  <a:lnTo>
                    <a:pt x="9106" y="2196"/>
                  </a:lnTo>
                  <a:close/>
                  <a:moveTo>
                    <a:pt x="9080" y="2223"/>
                  </a:moveTo>
                  <a:lnTo>
                    <a:pt x="8894" y="2408"/>
                  </a:lnTo>
                  <a:lnTo>
                    <a:pt x="8707" y="2223"/>
                  </a:lnTo>
                  <a:lnTo>
                    <a:pt x="8894" y="2035"/>
                  </a:lnTo>
                  <a:lnTo>
                    <a:pt x="9080" y="2223"/>
                  </a:lnTo>
                  <a:close/>
                  <a:moveTo>
                    <a:pt x="8682" y="2196"/>
                  </a:moveTo>
                  <a:lnTo>
                    <a:pt x="8497" y="2010"/>
                  </a:lnTo>
                  <a:lnTo>
                    <a:pt x="8682" y="1823"/>
                  </a:lnTo>
                  <a:lnTo>
                    <a:pt x="8868" y="2010"/>
                  </a:lnTo>
                  <a:lnTo>
                    <a:pt x="8682" y="2196"/>
                  </a:lnTo>
                  <a:close/>
                  <a:moveTo>
                    <a:pt x="8656" y="2223"/>
                  </a:moveTo>
                  <a:lnTo>
                    <a:pt x="8470" y="2408"/>
                  </a:lnTo>
                  <a:lnTo>
                    <a:pt x="8285" y="2223"/>
                  </a:lnTo>
                  <a:lnTo>
                    <a:pt x="8470" y="2035"/>
                  </a:lnTo>
                  <a:lnTo>
                    <a:pt x="8656" y="2223"/>
                  </a:lnTo>
                  <a:close/>
                  <a:moveTo>
                    <a:pt x="8259" y="2196"/>
                  </a:moveTo>
                  <a:lnTo>
                    <a:pt x="8073" y="2010"/>
                  </a:lnTo>
                  <a:lnTo>
                    <a:pt x="8259" y="1823"/>
                  </a:lnTo>
                  <a:lnTo>
                    <a:pt x="8446" y="2010"/>
                  </a:lnTo>
                  <a:lnTo>
                    <a:pt x="8259" y="2196"/>
                  </a:lnTo>
                  <a:close/>
                  <a:moveTo>
                    <a:pt x="8234" y="2223"/>
                  </a:moveTo>
                  <a:lnTo>
                    <a:pt x="8047" y="2408"/>
                  </a:lnTo>
                  <a:lnTo>
                    <a:pt x="7861" y="2223"/>
                  </a:lnTo>
                  <a:lnTo>
                    <a:pt x="8047" y="2035"/>
                  </a:lnTo>
                  <a:lnTo>
                    <a:pt x="8234" y="2223"/>
                  </a:lnTo>
                  <a:close/>
                  <a:moveTo>
                    <a:pt x="7836" y="2196"/>
                  </a:moveTo>
                  <a:lnTo>
                    <a:pt x="7649" y="2010"/>
                  </a:lnTo>
                  <a:lnTo>
                    <a:pt x="7836" y="1823"/>
                  </a:lnTo>
                  <a:lnTo>
                    <a:pt x="8022" y="2010"/>
                  </a:lnTo>
                  <a:lnTo>
                    <a:pt x="7836" y="2196"/>
                  </a:lnTo>
                  <a:close/>
                  <a:moveTo>
                    <a:pt x="7810" y="2223"/>
                  </a:moveTo>
                  <a:lnTo>
                    <a:pt x="7624" y="2408"/>
                  </a:lnTo>
                  <a:lnTo>
                    <a:pt x="7437" y="2223"/>
                  </a:lnTo>
                  <a:lnTo>
                    <a:pt x="7624" y="2035"/>
                  </a:lnTo>
                  <a:lnTo>
                    <a:pt x="7810" y="2223"/>
                  </a:lnTo>
                  <a:close/>
                  <a:moveTo>
                    <a:pt x="7412" y="2196"/>
                  </a:moveTo>
                  <a:lnTo>
                    <a:pt x="7226" y="2010"/>
                  </a:lnTo>
                  <a:lnTo>
                    <a:pt x="7412" y="1823"/>
                  </a:lnTo>
                  <a:lnTo>
                    <a:pt x="7598" y="2010"/>
                  </a:lnTo>
                  <a:lnTo>
                    <a:pt x="7412" y="2196"/>
                  </a:lnTo>
                  <a:close/>
                  <a:moveTo>
                    <a:pt x="7386" y="2223"/>
                  </a:moveTo>
                  <a:lnTo>
                    <a:pt x="7200" y="2408"/>
                  </a:lnTo>
                  <a:lnTo>
                    <a:pt x="7014" y="2223"/>
                  </a:lnTo>
                  <a:lnTo>
                    <a:pt x="7200" y="2035"/>
                  </a:lnTo>
                  <a:lnTo>
                    <a:pt x="7386" y="2223"/>
                  </a:lnTo>
                  <a:close/>
                  <a:moveTo>
                    <a:pt x="6988" y="2196"/>
                  </a:moveTo>
                  <a:lnTo>
                    <a:pt x="6802" y="2010"/>
                  </a:lnTo>
                  <a:lnTo>
                    <a:pt x="6988" y="1823"/>
                  </a:lnTo>
                  <a:lnTo>
                    <a:pt x="7175" y="2010"/>
                  </a:lnTo>
                  <a:lnTo>
                    <a:pt x="6988" y="2196"/>
                  </a:lnTo>
                  <a:close/>
                  <a:moveTo>
                    <a:pt x="6963" y="2223"/>
                  </a:moveTo>
                  <a:lnTo>
                    <a:pt x="6776" y="2408"/>
                  </a:lnTo>
                  <a:lnTo>
                    <a:pt x="6590" y="2223"/>
                  </a:lnTo>
                  <a:lnTo>
                    <a:pt x="6776" y="2035"/>
                  </a:lnTo>
                  <a:lnTo>
                    <a:pt x="6963" y="2223"/>
                  </a:lnTo>
                  <a:close/>
                  <a:moveTo>
                    <a:pt x="6566" y="2196"/>
                  </a:moveTo>
                  <a:lnTo>
                    <a:pt x="6378" y="2010"/>
                  </a:lnTo>
                  <a:lnTo>
                    <a:pt x="6566" y="1823"/>
                  </a:lnTo>
                  <a:lnTo>
                    <a:pt x="6751" y="2010"/>
                  </a:lnTo>
                  <a:lnTo>
                    <a:pt x="6566" y="2196"/>
                  </a:lnTo>
                  <a:close/>
                  <a:moveTo>
                    <a:pt x="6539" y="2223"/>
                  </a:moveTo>
                  <a:lnTo>
                    <a:pt x="6354" y="2408"/>
                  </a:lnTo>
                  <a:lnTo>
                    <a:pt x="6166" y="2223"/>
                  </a:lnTo>
                  <a:lnTo>
                    <a:pt x="6354" y="2035"/>
                  </a:lnTo>
                  <a:lnTo>
                    <a:pt x="6539" y="2223"/>
                  </a:lnTo>
                  <a:close/>
                  <a:moveTo>
                    <a:pt x="6142" y="2196"/>
                  </a:moveTo>
                  <a:lnTo>
                    <a:pt x="5956" y="2010"/>
                  </a:lnTo>
                  <a:lnTo>
                    <a:pt x="6142" y="1823"/>
                  </a:lnTo>
                  <a:lnTo>
                    <a:pt x="6327" y="2010"/>
                  </a:lnTo>
                  <a:lnTo>
                    <a:pt x="6142" y="2196"/>
                  </a:lnTo>
                  <a:close/>
                  <a:moveTo>
                    <a:pt x="6115" y="2223"/>
                  </a:moveTo>
                  <a:lnTo>
                    <a:pt x="5930" y="2408"/>
                  </a:lnTo>
                  <a:lnTo>
                    <a:pt x="5744" y="2223"/>
                  </a:lnTo>
                  <a:lnTo>
                    <a:pt x="5930" y="2035"/>
                  </a:lnTo>
                  <a:lnTo>
                    <a:pt x="6115" y="2223"/>
                  </a:lnTo>
                  <a:close/>
                  <a:moveTo>
                    <a:pt x="5718" y="2196"/>
                  </a:moveTo>
                  <a:lnTo>
                    <a:pt x="5532" y="2010"/>
                  </a:lnTo>
                  <a:lnTo>
                    <a:pt x="5718" y="1823"/>
                  </a:lnTo>
                  <a:lnTo>
                    <a:pt x="5903" y="2010"/>
                  </a:lnTo>
                  <a:lnTo>
                    <a:pt x="5718" y="2196"/>
                  </a:lnTo>
                  <a:close/>
                  <a:moveTo>
                    <a:pt x="5693" y="2223"/>
                  </a:moveTo>
                  <a:lnTo>
                    <a:pt x="5506" y="2408"/>
                  </a:lnTo>
                  <a:lnTo>
                    <a:pt x="5320" y="2223"/>
                  </a:lnTo>
                  <a:lnTo>
                    <a:pt x="5506" y="2035"/>
                  </a:lnTo>
                  <a:lnTo>
                    <a:pt x="5693" y="2223"/>
                  </a:lnTo>
                  <a:close/>
                  <a:moveTo>
                    <a:pt x="5294" y="2196"/>
                  </a:moveTo>
                  <a:lnTo>
                    <a:pt x="5108" y="2010"/>
                  </a:lnTo>
                  <a:lnTo>
                    <a:pt x="5294" y="1823"/>
                  </a:lnTo>
                  <a:lnTo>
                    <a:pt x="5481" y="2010"/>
                  </a:lnTo>
                  <a:lnTo>
                    <a:pt x="5294" y="2196"/>
                  </a:lnTo>
                  <a:close/>
                  <a:moveTo>
                    <a:pt x="5269" y="2223"/>
                  </a:moveTo>
                  <a:lnTo>
                    <a:pt x="5083" y="2408"/>
                  </a:lnTo>
                  <a:lnTo>
                    <a:pt x="4896" y="2223"/>
                  </a:lnTo>
                  <a:lnTo>
                    <a:pt x="5083" y="2035"/>
                  </a:lnTo>
                  <a:lnTo>
                    <a:pt x="5269" y="2223"/>
                  </a:lnTo>
                  <a:close/>
                  <a:moveTo>
                    <a:pt x="4871" y="2196"/>
                  </a:moveTo>
                  <a:lnTo>
                    <a:pt x="4684" y="2010"/>
                  </a:lnTo>
                  <a:lnTo>
                    <a:pt x="4871" y="1823"/>
                  </a:lnTo>
                  <a:lnTo>
                    <a:pt x="5057" y="2010"/>
                  </a:lnTo>
                  <a:lnTo>
                    <a:pt x="4871" y="2196"/>
                  </a:lnTo>
                  <a:close/>
                  <a:moveTo>
                    <a:pt x="4845" y="2223"/>
                  </a:moveTo>
                  <a:lnTo>
                    <a:pt x="4659" y="2408"/>
                  </a:lnTo>
                  <a:lnTo>
                    <a:pt x="4474" y="2223"/>
                  </a:lnTo>
                  <a:lnTo>
                    <a:pt x="4659" y="2035"/>
                  </a:lnTo>
                  <a:lnTo>
                    <a:pt x="4845" y="2223"/>
                  </a:lnTo>
                  <a:close/>
                  <a:moveTo>
                    <a:pt x="4447" y="2196"/>
                  </a:moveTo>
                  <a:lnTo>
                    <a:pt x="4262" y="2010"/>
                  </a:lnTo>
                  <a:lnTo>
                    <a:pt x="4447" y="1823"/>
                  </a:lnTo>
                  <a:lnTo>
                    <a:pt x="4633" y="2010"/>
                  </a:lnTo>
                  <a:lnTo>
                    <a:pt x="4447" y="2196"/>
                  </a:lnTo>
                  <a:close/>
                  <a:moveTo>
                    <a:pt x="4423" y="2223"/>
                  </a:moveTo>
                  <a:lnTo>
                    <a:pt x="4235" y="2408"/>
                  </a:lnTo>
                  <a:lnTo>
                    <a:pt x="4050" y="2223"/>
                  </a:lnTo>
                  <a:lnTo>
                    <a:pt x="4235" y="2035"/>
                  </a:lnTo>
                  <a:lnTo>
                    <a:pt x="4423" y="2223"/>
                  </a:lnTo>
                  <a:close/>
                  <a:moveTo>
                    <a:pt x="4023" y="2196"/>
                  </a:moveTo>
                  <a:lnTo>
                    <a:pt x="3838" y="2010"/>
                  </a:lnTo>
                  <a:lnTo>
                    <a:pt x="4023" y="1823"/>
                  </a:lnTo>
                  <a:lnTo>
                    <a:pt x="4211" y="2010"/>
                  </a:lnTo>
                  <a:lnTo>
                    <a:pt x="4023" y="2196"/>
                  </a:lnTo>
                  <a:close/>
                  <a:moveTo>
                    <a:pt x="3999" y="2223"/>
                  </a:moveTo>
                  <a:lnTo>
                    <a:pt x="3813" y="2408"/>
                  </a:lnTo>
                  <a:lnTo>
                    <a:pt x="3626" y="2223"/>
                  </a:lnTo>
                  <a:lnTo>
                    <a:pt x="3813" y="2035"/>
                  </a:lnTo>
                  <a:lnTo>
                    <a:pt x="3999" y="2223"/>
                  </a:lnTo>
                  <a:close/>
                  <a:moveTo>
                    <a:pt x="3601" y="2196"/>
                  </a:moveTo>
                  <a:lnTo>
                    <a:pt x="3414" y="2010"/>
                  </a:lnTo>
                  <a:lnTo>
                    <a:pt x="3601" y="1823"/>
                  </a:lnTo>
                  <a:lnTo>
                    <a:pt x="3787" y="2010"/>
                  </a:lnTo>
                  <a:lnTo>
                    <a:pt x="3601" y="2196"/>
                  </a:lnTo>
                  <a:close/>
                  <a:moveTo>
                    <a:pt x="3575" y="2223"/>
                  </a:moveTo>
                  <a:lnTo>
                    <a:pt x="3389" y="2408"/>
                  </a:lnTo>
                  <a:lnTo>
                    <a:pt x="3203" y="2223"/>
                  </a:lnTo>
                  <a:lnTo>
                    <a:pt x="3389" y="2035"/>
                  </a:lnTo>
                  <a:lnTo>
                    <a:pt x="3575" y="2223"/>
                  </a:lnTo>
                  <a:close/>
                  <a:moveTo>
                    <a:pt x="3177" y="2196"/>
                  </a:moveTo>
                  <a:lnTo>
                    <a:pt x="2991" y="2010"/>
                  </a:lnTo>
                  <a:lnTo>
                    <a:pt x="3177" y="1823"/>
                  </a:lnTo>
                  <a:lnTo>
                    <a:pt x="3363" y="2010"/>
                  </a:lnTo>
                  <a:lnTo>
                    <a:pt x="3177" y="2196"/>
                  </a:lnTo>
                  <a:close/>
                  <a:moveTo>
                    <a:pt x="3152" y="2223"/>
                  </a:moveTo>
                  <a:lnTo>
                    <a:pt x="2965" y="2408"/>
                  </a:lnTo>
                  <a:lnTo>
                    <a:pt x="2779" y="2223"/>
                  </a:lnTo>
                  <a:lnTo>
                    <a:pt x="2965" y="2035"/>
                  </a:lnTo>
                  <a:lnTo>
                    <a:pt x="3152" y="2223"/>
                  </a:lnTo>
                  <a:close/>
                  <a:moveTo>
                    <a:pt x="2753" y="2196"/>
                  </a:moveTo>
                  <a:lnTo>
                    <a:pt x="2567" y="2010"/>
                  </a:lnTo>
                  <a:lnTo>
                    <a:pt x="2753" y="1823"/>
                  </a:lnTo>
                  <a:lnTo>
                    <a:pt x="2940" y="2010"/>
                  </a:lnTo>
                  <a:lnTo>
                    <a:pt x="2753" y="2196"/>
                  </a:lnTo>
                  <a:close/>
                  <a:moveTo>
                    <a:pt x="2728" y="2223"/>
                  </a:moveTo>
                  <a:lnTo>
                    <a:pt x="2543" y="2408"/>
                  </a:lnTo>
                  <a:lnTo>
                    <a:pt x="2355" y="2223"/>
                  </a:lnTo>
                  <a:lnTo>
                    <a:pt x="2543" y="2035"/>
                  </a:lnTo>
                  <a:lnTo>
                    <a:pt x="2728" y="2223"/>
                  </a:lnTo>
                  <a:close/>
                  <a:moveTo>
                    <a:pt x="2331" y="2196"/>
                  </a:moveTo>
                  <a:lnTo>
                    <a:pt x="2143" y="2010"/>
                  </a:lnTo>
                  <a:lnTo>
                    <a:pt x="2331" y="1823"/>
                  </a:lnTo>
                  <a:lnTo>
                    <a:pt x="2516" y="2010"/>
                  </a:lnTo>
                  <a:lnTo>
                    <a:pt x="2331" y="2196"/>
                  </a:lnTo>
                  <a:close/>
                  <a:moveTo>
                    <a:pt x="2304" y="2223"/>
                  </a:moveTo>
                  <a:lnTo>
                    <a:pt x="2119" y="2408"/>
                  </a:lnTo>
                  <a:lnTo>
                    <a:pt x="1933" y="2223"/>
                  </a:lnTo>
                  <a:lnTo>
                    <a:pt x="2119" y="2035"/>
                  </a:lnTo>
                  <a:lnTo>
                    <a:pt x="2304" y="2223"/>
                  </a:lnTo>
                  <a:close/>
                  <a:moveTo>
                    <a:pt x="1907" y="2196"/>
                  </a:moveTo>
                  <a:lnTo>
                    <a:pt x="1721" y="2010"/>
                  </a:lnTo>
                  <a:lnTo>
                    <a:pt x="1907" y="1823"/>
                  </a:lnTo>
                  <a:lnTo>
                    <a:pt x="2092" y="2010"/>
                  </a:lnTo>
                  <a:lnTo>
                    <a:pt x="1907" y="2196"/>
                  </a:lnTo>
                  <a:close/>
                  <a:moveTo>
                    <a:pt x="1882" y="2223"/>
                  </a:moveTo>
                  <a:lnTo>
                    <a:pt x="1695" y="2408"/>
                  </a:lnTo>
                  <a:lnTo>
                    <a:pt x="1509" y="2223"/>
                  </a:lnTo>
                  <a:lnTo>
                    <a:pt x="1695" y="2035"/>
                  </a:lnTo>
                  <a:lnTo>
                    <a:pt x="1882" y="2223"/>
                  </a:lnTo>
                  <a:close/>
                  <a:moveTo>
                    <a:pt x="1483" y="2196"/>
                  </a:moveTo>
                  <a:lnTo>
                    <a:pt x="1297" y="2010"/>
                  </a:lnTo>
                  <a:lnTo>
                    <a:pt x="1483" y="1823"/>
                  </a:lnTo>
                  <a:lnTo>
                    <a:pt x="1670" y="2010"/>
                  </a:lnTo>
                  <a:lnTo>
                    <a:pt x="1483" y="2196"/>
                  </a:lnTo>
                  <a:close/>
                  <a:moveTo>
                    <a:pt x="1458" y="2223"/>
                  </a:moveTo>
                  <a:lnTo>
                    <a:pt x="1272" y="2408"/>
                  </a:lnTo>
                  <a:lnTo>
                    <a:pt x="1085" y="2223"/>
                  </a:lnTo>
                  <a:lnTo>
                    <a:pt x="1272" y="2035"/>
                  </a:lnTo>
                  <a:lnTo>
                    <a:pt x="1458" y="2223"/>
                  </a:lnTo>
                  <a:close/>
                  <a:moveTo>
                    <a:pt x="1060" y="2196"/>
                  </a:moveTo>
                  <a:lnTo>
                    <a:pt x="873" y="2010"/>
                  </a:lnTo>
                  <a:lnTo>
                    <a:pt x="1060" y="1823"/>
                  </a:lnTo>
                  <a:lnTo>
                    <a:pt x="1246" y="2010"/>
                  </a:lnTo>
                  <a:lnTo>
                    <a:pt x="1060" y="2196"/>
                  </a:lnTo>
                  <a:close/>
                  <a:moveTo>
                    <a:pt x="1034" y="2223"/>
                  </a:moveTo>
                  <a:lnTo>
                    <a:pt x="848" y="2408"/>
                  </a:lnTo>
                  <a:lnTo>
                    <a:pt x="663" y="2223"/>
                  </a:lnTo>
                  <a:lnTo>
                    <a:pt x="848" y="2035"/>
                  </a:lnTo>
                  <a:lnTo>
                    <a:pt x="1034" y="2223"/>
                  </a:lnTo>
                  <a:close/>
                  <a:moveTo>
                    <a:pt x="1034" y="2645"/>
                  </a:moveTo>
                  <a:lnTo>
                    <a:pt x="848" y="2832"/>
                  </a:lnTo>
                  <a:lnTo>
                    <a:pt x="663" y="2645"/>
                  </a:lnTo>
                  <a:lnTo>
                    <a:pt x="848" y="2459"/>
                  </a:lnTo>
                  <a:lnTo>
                    <a:pt x="1034" y="2645"/>
                  </a:lnTo>
                  <a:close/>
                  <a:moveTo>
                    <a:pt x="873" y="2433"/>
                  </a:moveTo>
                  <a:lnTo>
                    <a:pt x="1060" y="2247"/>
                  </a:lnTo>
                  <a:lnTo>
                    <a:pt x="1246" y="2433"/>
                  </a:lnTo>
                  <a:lnTo>
                    <a:pt x="1060" y="2620"/>
                  </a:lnTo>
                  <a:lnTo>
                    <a:pt x="873" y="2433"/>
                  </a:lnTo>
                  <a:close/>
                  <a:moveTo>
                    <a:pt x="1272" y="2459"/>
                  </a:moveTo>
                  <a:lnTo>
                    <a:pt x="1458" y="2645"/>
                  </a:lnTo>
                  <a:lnTo>
                    <a:pt x="1272" y="2832"/>
                  </a:lnTo>
                  <a:lnTo>
                    <a:pt x="1085" y="2645"/>
                  </a:lnTo>
                  <a:lnTo>
                    <a:pt x="1272" y="2459"/>
                  </a:lnTo>
                  <a:close/>
                  <a:moveTo>
                    <a:pt x="1297" y="2433"/>
                  </a:moveTo>
                  <a:lnTo>
                    <a:pt x="1483" y="2247"/>
                  </a:lnTo>
                  <a:lnTo>
                    <a:pt x="1670" y="2433"/>
                  </a:lnTo>
                  <a:lnTo>
                    <a:pt x="1483" y="2620"/>
                  </a:lnTo>
                  <a:lnTo>
                    <a:pt x="1297" y="2433"/>
                  </a:lnTo>
                  <a:close/>
                  <a:moveTo>
                    <a:pt x="1695" y="2459"/>
                  </a:moveTo>
                  <a:lnTo>
                    <a:pt x="1882" y="2645"/>
                  </a:lnTo>
                  <a:lnTo>
                    <a:pt x="1695" y="2832"/>
                  </a:lnTo>
                  <a:lnTo>
                    <a:pt x="1509" y="2645"/>
                  </a:lnTo>
                  <a:lnTo>
                    <a:pt x="1695" y="2459"/>
                  </a:lnTo>
                  <a:close/>
                  <a:moveTo>
                    <a:pt x="1721" y="2433"/>
                  </a:moveTo>
                  <a:lnTo>
                    <a:pt x="1907" y="2247"/>
                  </a:lnTo>
                  <a:lnTo>
                    <a:pt x="2092" y="2433"/>
                  </a:lnTo>
                  <a:lnTo>
                    <a:pt x="1907" y="2620"/>
                  </a:lnTo>
                  <a:lnTo>
                    <a:pt x="1721" y="2433"/>
                  </a:lnTo>
                  <a:close/>
                  <a:moveTo>
                    <a:pt x="2119" y="2459"/>
                  </a:moveTo>
                  <a:lnTo>
                    <a:pt x="2304" y="2645"/>
                  </a:lnTo>
                  <a:lnTo>
                    <a:pt x="2119" y="2832"/>
                  </a:lnTo>
                  <a:lnTo>
                    <a:pt x="1933" y="2645"/>
                  </a:lnTo>
                  <a:lnTo>
                    <a:pt x="2119" y="2459"/>
                  </a:lnTo>
                  <a:close/>
                  <a:moveTo>
                    <a:pt x="2143" y="2433"/>
                  </a:moveTo>
                  <a:lnTo>
                    <a:pt x="2331" y="2247"/>
                  </a:lnTo>
                  <a:lnTo>
                    <a:pt x="2516" y="2433"/>
                  </a:lnTo>
                  <a:lnTo>
                    <a:pt x="2331" y="2620"/>
                  </a:lnTo>
                  <a:lnTo>
                    <a:pt x="2143" y="2433"/>
                  </a:lnTo>
                  <a:close/>
                  <a:moveTo>
                    <a:pt x="2543" y="2459"/>
                  </a:moveTo>
                  <a:lnTo>
                    <a:pt x="2728" y="2645"/>
                  </a:lnTo>
                  <a:lnTo>
                    <a:pt x="2543" y="2832"/>
                  </a:lnTo>
                  <a:lnTo>
                    <a:pt x="2355" y="2645"/>
                  </a:lnTo>
                  <a:lnTo>
                    <a:pt x="2543" y="2459"/>
                  </a:lnTo>
                  <a:close/>
                  <a:moveTo>
                    <a:pt x="2567" y="2433"/>
                  </a:moveTo>
                  <a:lnTo>
                    <a:pt x="2753" y="2247"/>
                  </a:lnTo>
                  <a:lnTo>
                    <a:pt x="2940" y="2433"/>
                  </a:lnTo>
                  <a:lnTo>
                    <a:pt x="2753" y="2620"/>
                  </a:lnTo>
                  <a:lnTo>
                    <a:pt x="2567" y="2433"/>
                  </a:lnTo>
                  <a:close/>
                  <a:moveTo>
                    <a:pt x="2965" y="2459"/>
                  </a:moveTo>
                  <a:lnTo>
                    <a:pt x="3152" y="2645"/>
                  </a:lnTo>
                  <a:lnTo>
                    <a:pt x="2965" y="2832"/>
                  </a:lnTo>
                  <a:lnTo>
                    <a:pt x="2779" y="2645"/>
                  </a:lnTo>
                  <a:lnTo>
                    <a:pt x="2965" y="2459"/>
                  </a:lnTo>
                  <a:close/>
                  <a:moveTo>
                    <a:pt x="2991" y="2433"/>
                  </a:moveTo>
                  <a:lnTo>
                    <a:pt x="3177" y="2247"/>
                  </a:lnTo>
                  <a:lnTo>
                    <a:pt x="3363" y="2433"/>
                  </a:lnTo>
                  <a:lnTo>
                    <a:pt x="3177" y="2620"/>
                  </a:lnTo>
                  <a:lnTo>
                    <a:pt x="2991" y="2433"/>
                  </a:lnTo>
                  <a:close/>
                  <a:moveTo>
                    <a:pt x="3389" y="2459"/>
                  </a:moveTo>
                  <a:lnTo>
                    <a:pt x="3575" y="2645"/>
                  </a:lnTo>
                  <a:lnTo>
                    <a:pt x="3389" y="2832"/>
                  </a:lnTo>
                  <a:lnTo>
                    <a:pt x="3203" y="2645"/>
                  </a:lnTo>
                  <a:lnTo>
                    <a:pt x="3389" y="2459"/>
                  </a:lnTo>
                  <a:close/>
                  <a:moveTo>
                    <a:pt x="3414" y="2433"/>
                  </a:moveTo>
                  <a:lnTo>
                    <a:pt x="3601" y="2247"/>
                  </a:lnTo>
                  <a:lnTo>
                    <a:pt x="3787" y="2433"/>
                  </a:lnTo>
                  <a:lnTo>
                    <a:pt x="3601" y="2620"/>
                  </a:lnTo>
                  <a:lnTo>
                    <a:pt x="3414" y="2433"/>
                  </a:lnTo>
                  <a:close/>
                  <a:moveTo>
                    <a:pt x="3813" y="2459"/>
                  </a:moveTo>
                  <a:lnTo>
                    <a:pt x="3999" y="2645"/>
                  </a:lnTo>
                  <a:lnTo>
                    <a:pt x="3813" y="2832"/>
                  </a:lnTo>
                  <a:lnTo>
                    <a:pt x="3626" y="2645"/>
                  </a:lnTo>
                  <a:lnTo>
                    <a:pt x="3813" y="2459"/>
                  </a:lnTo>
                  <a:close/>
                  <a:moveTo>
                    <a:pt x="3838" y="2433"/>
                  </a:moveTo>
                  <a:lnTo>
                    <a:pt x="4023" y="2247"/>
                  </a:lnTo>
                  <a:lnTo>
                    <a:pt x="4211" y="2433"/>
                  </a:lnTo>
                  <a:lnTo>
                    <a:pt x="4023" y="2620"/>
                  </a:lnTo>
                  <a:lnTo>
                    <a:pt x="3838" y="2433"/>
                  </a:lnTo>
                  <a:close/>
                  <a:moveTo>
                    <a:pt x="4235" y="2459"/>
                  </a:moveTo>
                  <a:lnTo>
                    <a:pt x="4423" y="2645"/>
                  </a:lnTo>
                  <a:lnTo>
                    <a:pt x="4235" y="2832"/>
                  </a:lnTo>
                  <a:lnTo>
                    <a:pt x="4050" y="2645"/>
                  </a:lnTo>
                  <a:lnTo>
                    <a:pt x="4235" y="2459"/>
                  </a:lnTo>
                  <a:close/>
                  <a:moveTo>
                    <a:pt x="4262" y="2433"/>
                  </a:moveTo>
                  <a:lnTo>
                    <a:pt x="4447" y="2247"/>
                  </a:lnTo>
                  <a:lnTo>
                    <a:pt x="4633" y="2433"/>
                  </a:lnTo>
                  <a:lnTo>
                    <a:pt x="4447" y="2620"/>
                  </a:lnTo>
                  <a:lnTo>
                    <a:pt x="4262" y="2433"/>
                  </a:lnTo>
                  <a:close/>
                  <a:moveTo>
                    <a:pt x="4659" y="2459"/>
                  </a:moveTo>
                  <a:lnTo>
                    <a:pt x="4845" y="2645"/>
                  </a:lnTo>
                  <a:lnTo>
                    <a:pt x="4659" y="2832"/>
                  </a:lnTo>
                  <a:lnTo>
                    <a:pt x="4474" y="2645"/>
                  </a:lnTo>
                  <a:lnTo>
                    <a:pt x="4659" y="2459"/>
                  </a:lnTo>
                  <a:close/>
                  <a:moveTo>
                    <a:pt x="4684" y="2433"/>
                  </a:moveTo>
                  <a:lnTo>
                    <a:pt x="4871" y="2247"/>
                  </a:lnTo>
                  <a:lnTo>
                    <a:pt x="5057" y="2433"/>
                  </a:lnTo>
                  <a:lnTo>
                    <a:pt x="4871" y="2620"/>
                  </a:lnTo>
                  <a:lnTo>
                    <a:pt x="4684" y="2433"/>
                  </a:lnTo>
                  <a:close/>
                  <a:moveTo>
                    <a:pt x="5083" y="2459"/>
                  </a:moveTo>
                  <a:lnTo>
                    <a:pt x="5269" y="2645"/>
                  </a:lnTo>
                  <a:lnTo>
                    <a:pt x="5083" y="2832"/>
                  </a:lnTo>
                  <a:lnTo>
                    <a:pt x="4896" y="2645"/>
                  </a:lnTo>
                  <a:lnTo>
                    <a:pt x="5083" y="2459"/>
                  </a:lnTo>
                  <a:close/>
                  <a:moveTo>
                    <a:pt x="5108" y="2433"/>
                  </a:moveTo>
                  <a:lnTo>
                    <a:pt x="5294" y="2247"/>
                  </a:lnTo>
                  <a:lnTo>
                    <a:pt x="5481" y="2433"/>
                  </a:lnTo>
                  <a:lnTo>
                    <a:pt x="5294" y="2620"/>
                  </a:lnTo>
                  <a:lnTo>
                    <a:pt x="5108" y="2433"/>
                  </a:lnTo>
                  <a:close/>
                  <a:moveTo>
                    <a:pt x="5506" y="2459"/>
                  </a:moveTo>
                  <a:lnTo>
                    <a:pt x="5693" y="2645"/>
                  </a:lnTo>
                  <a:lnTo>
                    <a:pt x="5506" y="2832"/>
                  </a:lnTo>
                  <a:lnTo>
                    <a:pt x="5320" y="2645"/>
                  </a:lnTo>
                  <a:lnTo>
                    <a:pt x="5506" y="2459"/>
                  </a:lnTo>
                  <a:close/>
                  <a:moveTo>
                    <a:pt x="5532" y="2433"/>
                  </a:moveTo>
                  <a:lnTo>
                    <a:pt x="5718" y="2247"/>
                  </a:lnTo>
                  <a:lnTo>
                    <a:pt x="5903" y="2433"/>
                  </a:lnTo>
                  <a:lnTo>
                    <a:pt x="5718" y="2620"/>
                  </a:lnTo>
                  <a:lnTo>
                    <a:pt x="5532" y="2433"/>
                  </a:lnTo>
                  <a:close/>
                  <a:moveTo>
                    <a:pt x="5930" y="2459"/>
                  </a:moveTo>
                  <a:lnTo>
                    <a:pt x="6115" y="2645"/>
                  </a:lnTo>
                  <a:lnTo>
                    <a:pt x="5930" y="2832"/>
                  </a:lnTo>
                  <a:lnTo>
                    <a:pt x="5744" y="2645"/>
                  </a:lnTo>
                  <a:lnTo>
                    <a:pt x="5930" y="2459"/>
                  </a:lnTo>
                  <a:close/>
                  <a:moveTo>
                    <a:pt x="5956" y="2433"/>
                  </a:moveTo>
                  <a:lnTo>
                    <a:pt x="6142" y="2247"/>
                  </a:lnTo>
                  <a:lnTo>
                    <a:pt x="6327" y="2433"/>
                  </a:lnTo>
                  <a:lnTo>
                    <a:pt x="6142" y="2620"/>
                  </a:lnTo>
                  <a:lnTo>
                    <a:pt x="5956" y="2433"/>
                  </a:lnTo>
                  <a:close/>
                  <a:moveTo>
                    <a:pt x="6354" y="2459"/>
                  </a:moveTo>
                  <a:lnTo>
                    <a:pt x="6539" y="2645"/>
                  </a:lnTo>
                  <a:lnTo>
                    <a:pt x="6354" y="2832"/>
                  </a:lnTo>
                  <a:lnTo>
                    <a:pt x="6166" y="2645"/>
                  </a:lnTo>
                  <a:lnTo>
                    <a:pt x="6354" y="2459"/>
                  </a:lnTo>
                  <a:close/>
                  <a:moveTo>
                    <a:pt x="6378" y="2433"/>
                  </a:moveTo>
                  <a:lnTo>
                    <a:pt x="6566" y="2247"/>
                  </a:lnTo>
                  <a:lnTo>
                    <a:pt x="6751" y="2433"/>
                  </a:lnTo>
                  <a:lnTo>
                    <a:pt x="6566" y="2620"/>
                  </a:lnTo>
                  <a:lnTo>
                    <a:pt x="6378" y="2433"/>
                  </a:lnTo>
                  <a:close/>
                  <a:moveTo>
                    <a:pt x="6776" y="2459"/>
                  </a:moveTo>
                  <a:lnTo>
                    <a:pt x="6963" y="2645"/>
                  </a:lnTo>
                  <a:lnTo>
                    <a:pt x="6776" y="2832"/>
                  </a:lnTo>
                  <a:lnTo>
                    <a:pt x="6590" y="2645"/>
                  </a:lnTo>
                  <a:lnTo>
                    <a:pt x="6776" y="2459"/>
                  </a:lnTo>
                  <a:close/>
                  <a:moveTo>
                    <a:pt x="6802" y="2433"/>
                  </a:moveTo>
                  <a:lnTo>
                    <a:pt x="6988" y="2247"/>
                  </a:lnTo>
                  <a:lnTo>
                    <a:pt x="7175" y="2433"/>
                  </a:lnTo>
                  <a:lnTo>
                    <a:pt x="6988" y="2620"/>
                  </a:lnTo>
                  <a:lnTo>
                    <a:pt x="6802" y="2433"/>
                  </a:lnTo>
                  <a:close/>
                  <a:moveTo>
                    <a:pt x="7200" y="2459"/>
                  </a:moveTo>
                  <a:lnTo>
                    <a:pt x="7386" y="2645"/>
                  </a:lnTo>
                  <a:lnTo>
                    <a:pt x="7200" y="2832"/>
                  </a:lnTo>
                  <a:lnTo>
                    <a:pt x="7014" y="2645"/>
                  </a:lnTo>
                  <a:lnTo>
                    <a:pt x="7200" y="2459"/>
                  </a:lnTo>
                  <a:close/>
                  <a:moveTo>
                    <a:pt x="7226" y="2433"/>
                  </a:moveTo>
                  <a:lnTo>
                    <a:pt x="7412" y="2247"/>
                  </a:lnTo>
                  <a:lnTo>
                    <a:pt x="7598" y="2433"/>
                  </a:lnTo>
                  <a:lnTo>
                    <a:pt x="7412" y="2620"/>
                  </a:lnTo>
                  <a:lnTo>
                    <a:pt x="7226" y="2433"/>
                  </a:lnTo>
                  <a:close/>
                  <a:moveTo>
                    <a:pt x="7624" y="2459"/>
                  </a:moveTo>
                  <a:lnTo>
                    <a:pt x="7810" y="2645"/>
                  </a:lnTo>
                  <a:lnTo>
                    <a:pt x="7624" y="2832"/>
                  </a:lnTo>
                  <a:lnTo>
                    <a:pt x="7437" y="2645"/>
                  </a:lnTo>
                  <a:lnTo>
                    <a:pt x="7624" y="2459"/>
                  </a:lnTo>
                  <a:close/>
                  <a:moveTo>
                    <a:pt x="7649" y="2433"/>
                  </a:moveTo>
                  <a:lnTo>
                    <a:pt x="7836" y="2247"/>
                  </a:lnTo>
                  <a:lnTo>
                    <a:pt x="8022" y="2433"/>
                  </a:lnTo>
                  <a:lnTo>
                    <a:pt x="7836" y="2620"/>
                  </a:lnTo>
                  <a:lnTo>
                    <a:pt x="7649" y="2433"/>
                  </a:lnTo>
                  <a:close/>
                  <a:moveTo>
                    <a:pt x="8047" y="2459"/>
                  </a:moveTo>
                  <a:lnTo>
                    <a:pt x="8234" y="2645"/>
                  </a:lnTo>
                  <a:lnTo>
                    <a:pt x="8047" y="2832"/>
                  </a:lnTo>
                  <a:lnTo>
                    <a:pt x="7861" y="2645"/>
                  </a:lnTo>
                  <a:lnTo>
                    <a:pt x="8047" y="2459"/>
                  </a:lnTo>
                  <a:close/>
                  <a:moveTo>
                    <a:pt x="8073" y="2433"/>
                  </a:moveTo>
                  <a:lnTo>
                    <a:pt x="8259" y="2247"/>
                  </a:lnTo>
                  <a:lnTo>
                    <a:pt x="8446" y="2433"/>
                  </a:lnTo>
                  <a:lnTo>
                    <a:pt x="8259" y="2620"/>
                  </a:lnTo>
                  <a:lnTo>
                    <a:pt x="8073" y="2433"/>
                  </a:lnTo>
                  <a:close/>
                  <a:moveTo>
                    <a:pt x="8470" y="2459"/>
                  </a:moveTo>
                  <a:lnTo>
                    <a:pt x="8656" y="2645"/>
                  </a:lnTo>
                  <a:lnTo>
                    <a:pt x="8470" y="2832"/>
                  </a:lnTo>
                  <a:lnTo>
                    <a:pt x="8285" y="2645"/>
                  </a:lnTo>
                  <a:lnTo>
                    <a:pt x="8470" y="2459"/>
                  </a:lnTo>
                  <a:close/>
                  <a:moveTo>
                    <a:pt x="8497" y="2433"/>
                  </a:moveTo>
                  <a:lnTo>
                    <a:pt x="8682" y="2247"/>
                  </a:lnTo>
                  <a:lnTo>
                    <a:pt x="8868" y="2433"/>
                  </a:lnTo>
                  <a:lnTo>
                    <a:pt x="8682" y="2620"/>
                  </a:lnTo>
                  <a:lnTo>
                    <a:pt x="8497" y="2433"/>
                  </a:lnTo>
                  <a:close/>
                  <a:moveTo>
                    <a:pt x="8894" y="2459"/>
                  </a:moveTo>
                  <a:lnTo>
                    <a:pt x="9080" y="2645"/>
                  </a:lnTo>
                  <a:lnTo>
                    <a:pt x="8894" y="2832"/>
                  </a:lnTo>
                  <a:lnTo>
                    <a:pt x="8707" y="2645"/>
                  </a:lnTo>
                  <a:lnTo>
                    <a:pt x="8894" y="2459"/>
                  </a:lnTo>
                  <a:close/>
                  <a:moveTo>
                    <a:pt x="8919" y="2433"/>
                  </a:moveTo>
                  <a:lnTo>
                    <a:pt x="9106" y="2247"/>
                  </a:lnTo>
                  <a:lnTo>
                    <a:pt x="9292" y="2433"/>
                  </a:lnTo>
                  <a:lnTo>
                    <a:pt x="9106" y="2620"/>
                  </a:lnTo>
                  <a:lnTo>
                    <a:pt x="8919" y="2433"/>
                  </a:lnTo>
                  <a:close/>
                  <a:moveTo>
                    <a:pt x="9317" y="2459"/>
                  </a:moveTo>
                  <a:lnTo>
                    <a:pt x="9504" y="2645"/>
                  </a:lnTo>
                  <a:lnTo>
                    <a:pt x="9317" y="2832"/>
                  </a:lnTo>
                  <a:lnTo>
                    <a:pt x="9131" y="2645"/>
                  </a:lnTo>
                  <a:lnTo>
                    <a:pt x="9317" y="2459"/>
                  </a:lnTo>
                  <a:close/>
                  <a:moveTo>
                    <a:pt x="9343" y="2433"/>
                  </a:moveTo>
                  <a:lnTo>
                    <a:pt x="9529" y="2247"/>
                  </a:lnTo>
                  <a:lnTo>
                    <a:pt x="9716" y="2433"/>
                  </a:lnTo>
                  <a:lnTo>
                    <a:pt x="9529" y="2620"/>
                  </a:lnTo>
                  <a:lnTo>
                    <a:pt x="9343" y="2433"/>
                  </a:lnTo>
                  <a:close/>
                  <a:moveTo>
                    <a:pt x="9741" y="2459"/>
                  </a:moveTo>
                  <a:lnTo>
                    <a:pt x="9927" y="2645"/>
                  </a:lnTo>
                  <a:lnTo>
                    <a:pt x="9741" y="2832"/>
                  </a:lnTo>
                  <a:lnTo>
                    <a:pt x="9555" y="2645"/>
                  </a:lnTo>
                  <a:lnTo>
                    <a:pt x="9741" y="2459"/>
                  </a:lnTo>
                  <a:close/>
                  <a:moveTo>
                    <a:pt x="9767" y="2433"/>
                  </a:moveTo>
                  <a:lnTo>
                    <a:pt x="9953" y="2247"/>
                  </a:lnTo>
                  <a:lnTo>
                    <a:pt x="10139" y="2433"/>
                  </a:lnTo>
                  <a:lnTo>
                    <a:pt x="9953" y="2620"/>
                  </a:lnTo>
                  <a:lnTo>
                    <a:pt x="9767" y="2433"/>
                  </a:lnTo>
                  <a:close/>
                  <a:moveTo>
                    <a:pt x="10165" y="2459"/>
                  </a:moveTo>
                  <a:lnTo>
                    <a:pt x="10351" y="2645"/>
                  </a:lnTo>
                  <a:lnTo>
                    <a:pt x="10165" y="2832"/>
                  </a:lnTo>
                  <a:lnTo>
                    <a:pt x="9979" y="2645"/>
                  </a:lnTo>
                  <a:lnTo>
                    <a:pt x="10165" y="2459"/>
                  </a:lnTo>
                  <a:close/>
                  <a:moveTo>
                    <a:pt x="10190" y="2433"/>
                  </a:moveTo>
                  <a:lnTo>
                    <a:pt x="10377" y="2247"/>
                  </a:lnTo>
                  <a:lnTo>
                    <a:pt x="10563" y="2433"/>
                  </a:lnTo>
                  <a:lnTo>
                    <a:pt x="10377" y="2620"/>
                  </a:lnTo>
                  <a:lnTo>
                    <a:pt x="10190" y="2433"/>
                  </a:lnTo>
                  <a:close/>
                  <a:moveTo>
                    <a:pt x="10589" y="2459"/>
                  </a:moveTo>
                  <a:lnTo>
                    <a:pt x="10775" y="2645"/>
                  </a:lnTo>
                  <a:lnTo>
                    <a:pt x="10589" y="2832"/>
                  </a:lnTo>
                  <a:lnTo>
                    <a:pt x="10402" y="2645"/>
                  </a:lnTo>
                  <a:lnTo>
                    <a:pt x="10589" y="2459"/>
                  </a:lnTo>
                  <a:close/>
                  <a:moveTo>
                    <a:pt x="10614" y="2433"/>
                  </a:moveTo>
                  <a:lnTo>
                    <a:pt x="10799" y="2247"/>
                  </a:lnTo>
                  <a:lnTo>
                    <a:pt x="10986" y="2433"/>
                  </a:lnTo>
                  <a:lnTo>
                    <a:pt x="10799" y="2620"/>
                  </a:lnTo>
                  <a:lnTo>
                    <a:pt x="10614" y="2433"/>
                  </a:lnTo>
                  <a:close/>
                  <a:moveTo>
                    <a:pt x="11011" y="2459"/>
                  </a:moveTo>
                  <a:lnTo>
                    <a:pt x="11198" y="2645"/>
                  </a:lnTo>
                  <a:lnTo>
                    <a:pt x="11011" y="2832"/>
                  </a:lnTo>
                  <a:lnTo>
                    <a:pt x="10826" y="2645"/>
                  </a:lnTo>
                  <a:lnTo>
                    <a:pt x="11011" y="2459"/>
                  </a:lnTo>
                  <a:close/>
                  <a:moveTo>
                    <a:pt x="11038" y="2433"/>
                  </a:moveTo>
                  <a:lnTo>
                    <a:pt x="11223" y="2247"/>
                  </a:lnTo>
                  <a:lnTo>
                    <a:pt x="11409" y="2433"/>
                  </a:lnTo>
                  <a:lnTo>
                    <a:pt x="11223" y="2620"/>
                  </a:lnTo>
                  <a:lnTo>
                    <a:pt x="11038" y="2433"/>
                  </a:lnTo>
                  <a:close/>
                  <a:moveTo>
                    <a:pt x="11435" y="2459"/>
                  </a:moveTo>
                  <a:lnTo>
                    <a:pt x="11621" y="2645"/>
                  </a:lnTo>
                  <a:lnTo>
                    <a:pt x="11435" y="2832"/>
                  </a:lnTo>
                  <a:lnTo>
                    <a:pt x="11250" y="2645"/>
                  </a:lnTo>
                  <a:lnTo>
                    <a:pt x="11435" y="2459"/>
                  </a:lnTo>
                  <a:close/>
                  <a:moveTo>
                    <a:pt x="11460" y="2433"/>
                  </a:moveTo>
                  <a:lnTo>
                    <a:pt x="11647" y="2247"/>
                  </a:lnTo>
                  <a:lnTo>
                    <a:pt x="11833" y="2433"/>
                  </a:lnTo>
                  <a:lnTo>
                    <a:pt x="11647" y="2620"/>
                  </a:lnTo>
                  <a:lnTo>
                    <a:pt x="11460" y="2433"/>
                  </a:lnTo>
                  <a:close/>
                  <a:moveTo>
                    <a:pt x="11859" y="2459"/>
                  </a:moveTo>
                  <a:lnTo>
                    <a:pt x="12045" y="2645"/>
                  </a:lnTo>
                  <a:lnTo>
                    <a:pt x="11859" y="2832"/>
                  </a:lnTo>
                  <a:lnTo>
                    <a:pt x="11672" y="2645"/>
                  </a:lnTo>
                  <a:lnTo>
                    <a:pt x="11859" y="2459"/>
                  </a:lnTo>
                  <a:close/>
                  <a:moveTo>
                    <a:pt x="11884" y="2433"/>
                  </a:moveTo>
                  <a:lnTo>
                    <a:pt x="12070" y="2247"/>
                  </a:lnTo>
                  <a:lnTo>
                    <a:pt x="12257" y="2433"/>
                  </a:lnTo>
                  <a:lnTo>
                    <a:pt x="12070" y="2620"/>
                  </a:lnTo>
                  <a:lnTo>
                    <a:pt x="11884" y="2433"/>
                  </a:lnTo>
                  <a:close/>
                  <a:moveTo>
                    <a:pt x="12282" y="2459"/>
                  </a:moveTo>
                  <a:lnTo>
                    <a:pt x="12469" y="2645"/>
                  </a:lnTo>
                  <a:lnTo>
                    <a:pt x="12282" y="2832"/>
                  </a:lnTo>
                  <a:lnTo>
                    <a:pt x="12096" y="2645"/>
                  </a:lnTo>
                  <a:lnTo>
                    <a:pt x="12282" y="2459"/>
                  </a:lnTo>
                  <a:close/>
                  <a:moveTo>
                    <a:pt x="12308" y="2433"/>
                  </a:moveTo>
                  <a:lnTo>
                    <a:pt x="12494" y="2247"/>
                  </a:lnTo>
                  <a:lnTo>
                    <a:pt x="12679" y="2433"/>
                  </a:lnTo>
                  <a:lnTo>
                    <a:pt x="12494" y="2620"/>
                  </a:lnTo>
                  <a:lnTo>
                    <a:pt x="12308" y="2433"/>
                  </a:lnTo>
                  <a:close/>
                  <a:moveTo>
                    <a:pt x="12706" y="2459"/>
                  </a:moveTo>
                  <a:lnTo>
                    <a:pt x="12891" y="2645"/>
                  </a:lnTo>
                  <a:lnTo>
                    <a:pt x="12706" y="2832"/>
                  </a:lnTo>
                  <a:lnTo>
                    <a:pt x="12520" y="2645"/>
                  </a:lnTo>
                  <a:lnTo>
                    <a:pt x="12706" y="2459"/>
                  </a:lnTo>
                  <a:close/>
                  <a:moveTo>
                    <a:pt x="12730" y="2433"/>
                  </a:moveTo>
                  <a:lnTo>
                    <a:pt x="12918" y="2247"/>
                  </a:lnTo>
                  <a:lnTo>
                    <a:pt x="13103" y="2433"/>
                  </a:lnTo>
                  <a:lnTo>
                    <a:pt x="12918" y="2620"/>
                  </a:lnTo>
                  <a:lnTo>
                    <a:pt x="12730" y="2433"/>
                  </a:lnTo>
                  <a:close/>
                  <a:moveTo>
                    <a:pt x="13130" y="2459"/>
                  </a:moveTo>
                  <a:lnTo>
                    <a:pt x="13315" y="2645"/>
                  </a:lnTo>
                  <a:lnTo>
                    <a:pt x="13130" y="2832"/>
                  </a:lnTo>
                  <a:lnTo>
                    <a:pt x="12942" y="2645"/>
                  </a:lnTo>
                  <a:lnTo>
                    <a:pt x="13130" y="2459"/>
                  </a:lnTo>
                  <a:close/>
                  <a:moveTo>
                    <a:pt x="13154" y="2433"/>
                  </a:moveTo>
                  <a:lnTo>
                    <a:pt x="13340" y="2247"/>
                  </a:lnTo>
                  <a:lnTo>
                    <a:pt x="13527" y="2433"/>
                  </a:lnTo>
                  <a:lnTo>
                    <a:pt x="13340" y="2620"/>
                  </a:lnTo>
                  <a:lnTo>
                    <a:pt x="13154" y="2433"/>
                  </a:lnTo>
                  <a:close/>
                  <a:moveTo>
                    <a:pt x="13552" y="2459"/>
                  </a:moveTo>
                  <a:lnTo>
                    <a:pt x="13739" y="2645"/>
                  </a:lnTo>
                  <a:lnTo>
                    <a:pt x="13552" y="2832"/>
                  </a:lnTo>
                  <a:lnTo>
                    <a:pt x="13366" y="2645"/>
                  </a:lnTo>
                  <a:lnTo>
                    <a:pt x="13552" y="2459"/>
                  </a:lnTo>
                  <a:close/>
                  <a:moveTo>
                    <a:pt x="13578" y="2433"/>
                  </a:moveTo>
                  <a:lnTo>
                    <a:pt x="13764" y="2247"/>
                  </a:lnTo>
                  <a:lnTo>
                    <a:pt x="13950" y="2433"/>
                  </a:lnTo>
                  <a:lnTo>
                    <a:pt x="13764" y="2620"/>
                  </a:lnTo>
                  <a:lnTo>
                    <a:pt x="13578" y="2433"/>
                  </a:lnTo>
                  <a:close/>
                  <a:moveTo>
                    <a:pt x="13976" y="2459"/>
                  </a:moveTo>
                  <a:lnTo>
                    <a:pt x="14162" y="2645"/>
                  </a:lnTo>
                  <a:lnTo>
                    <a:pt x="13976" y="2832"/>
                  </a:lnTo>
                  <a:lnTo>
                    <a:pt x="13790" y="2645"/>
                  </a:lnTo>
                  <a:lnTo>
                    <a:pt x="13976" y="2459"/>
                  </a:lnTo>
                  <a:close/>
                  <a:moveTo>
                    <a:pt x="13790" y="2223"/>
                  </a:moveTo>
                  <a:lnTo>
                    <a:pt x="13976" y="2035"/>
                  </a:lnTo>
                  <a:lnTo>
                    <a:pt x="14162" y="2223"/>
                  </a:lnTo>
                  <a:lnTo>
                    <a:pt x="13976" y="2408"/>
                  </a:lnTo>
                  <a:lnTo>
                    <a:pt x="13790" y="2223"/>
                  </a:lnTo>
                  <a:close/>
                  <a:moveTo>
                    <a:pt x="13790" y="1798"/>
                  </a:moveTo>
                  <a:lnTo>
                    <a:pt x="13976" y="1613"/>
                  </a:lnTo>
                  <a:lnTo>
                    <a:pt x="14162" y="1798"/>
                  </a:lnTo>
                  <a:lnTo>
                    <a:pt x="13976" y="1984"/>
                  </a:lnTo>
                  <a:lnTo>
                    <a:pt x="13790" y="1798"/>
                  </a:lnTo>
                  <a:close/>
                  <a:moveTo>
                    <a:pt x="13764" y="1772"/>
                  </a:moveTo>
                  <a:lnTo>
                    <a:pt x="13578" y="1586"/>
                  </a:lnTo>
                  <a:lnTo>
                    <a:pt x="13764" y="1401"/>
                  </a:lnTo>
                  <a:lnTo>
                    <a:pt x="13950" y="1586"/>
                  </a:lnTo>
                  <a:lnTo>
                    <a:pt x="13764" y="1772"/>
                  </a:lnTo>
                  <a:close/>
                  <a:moveTo>
                    <a:pt x="13739" y="1798"/>
                  </a:moveTo>
                  <a:lnTo>
                    <a:pt x="13552" y="1984"/>
                  </a:lnTo>
                  <a:lnTo>
                    <a:pt x="13366" y="1798"/>
                  </a:lnTo>
                  <a:lnTo>
                    <a:pt x="13552" y="1613"/>
                  </a:lnTo>
                  <a:lnTo>
                    <a:pt x="13739" y="1798"/>
                  </a:lnTo>
                  <a:close/>
                  <a:moveTo>
                    <a:pt x="13340" y="1772"/>
                  </a:moveTo>
                  <a:lnTo>
                    <a:pt x="13154" y="1586"/>
                  </a:lnTo>
                  <a:lnTo>
                    <a:pt x="13340" y="1401"/>
                  </a:lnTo>
                  <a:lnTo>
                    <a:pt x="13527" y="1586"/>
                  </a:lnTo>
                  <a:lnTo>
                    <a:pt x="13340" y="1772"/>
                  </a:lnTo>
                  <a:close/>
                  <a:moveTo>
                    <a:pt x="13315" y="1798"/>
                  </a:moveTo>
                  <a:lnTo>
                    <a:pt x="13130" y="1984"/>
                  </a:lnTo>
                  <a:lnTo>
                    <a:pt x="12942" y="1798"/>
                  </a:lnTo>
                  <a:lnTo>
                    <a:pt x="13130" y="1613"/>
                  </a:lnTo>
                  <a:lnTo>
                    <a:pt x="13315" y="1798"/>
                  </a:lnTo>
                  <a:close/>
                  <a:moveTo>
                    <a:pt x="12918" y="1772"/>
                  </a:moveTo>
                  <a:lnTo>
                    <a:pt x="12730" y="1586"/>
                  </a:lnTo>
                  <a:lnTo>
                    <a:pt x="12918" y="1401"/>
                  </a:lnTo>
                  <a:lnTo>
                    <a:pt x="13103" y="1586"/>
                  </a:lnTo>
                  <a:lnTo>
                    <a:pt x="12918" y="1772"/>
                  </a:lnTo>
                  <a:close/>
                  <a:moveTo>
                    <a:pt x="12891" y="1798"/>
                  </a:moveTo>
                  <a:lnTo>
                    <a:pt x="12706" y="1984"/>
                  </a:lnTo>
                  <a:lnTo>
                    <a:pt x="12520" y="1798"/>
                  </a:lnTo>
                  <a:lnTo>
                    <a:pt x="12706" y="1613"/>
                  </a:lnTo>
                  <a:lnTo>
                    <a:pt x="12891" y="1798"/>
                  </a:lnTo>
                  <a:close/>
                  <a:moveTo>
                    <a:pt x="12494" y="1772"/>
                  </a:moveTo>
                  <a:lnTo>
                    <a:pt x="12308" y="1586"/>
                  </a:lnTo>
                  <a:lnTo>
                    <a:pt x="12494" y="1401"/>
                  </a:lnTo>
                  <a:lnTo>
                    <a:pt x="12679" y="1586"/>
                  </a:lnTo>
                  <a:lnTo>
                    <a:pt x="12494" y="1772"/>
                  </a:lnTo>
                  <a:close/>
                  <a:moveTo>
                    <a:pt x="12469" y="1798"/>
                  </a:moveTo>
                  <a:lnTo>
                    <a:pt x="12282" y="1984"/>
                  </a:lnTo>
                  <a:lnTo>
                    <a:pt x="12096" y="1798"/>
                  </a:lnTo>
                  <a:lnTo>
                    <a:pt x="12282" y="1613"/>
                  </a:lnTo>
                  <a:lnTo>
                    <a:pt x="12469" y="1798"/>
                  </a:lnTo>
                  <a:close/>
                  <a:moveTo>
                    <a:pt x="12070" y="1772"/>
                  </a:moveTo>
                  <a:lnTo>
                    <a:pt x="11884" y="1586"/>
                  </a:lnTo>
                  <a:lnTo>
                    <a:pt x="12070" y="1401"/>
                  </a:lnTo>
                  <a:lnTo>
                    <a:pt x="12257" y="1586"/>
                  </a:lnTo>
                  <a:lnTo>
                    <a:pt x="12070" y="1772"/>
                  </a:lnTo>
                  <a:close/>
                  <a:moveTo>
                    <a:pt x="12045" y="1798"/>
                  </a:moveTo>
                  <a:lnTo>
                    <a:pt x="11859" y="1984"/>
                  </a:lnTo>
                  <a:lnTo>
                    <a:pt x="11672" y="1798"/>
                  </a:lnTo>
                  <a:lnTo>
                    <a:pt x="11859" y="1613"/>
                  </a:lnTo>
                  <a:lnTo>
                    <a:pt x="12045" y="1798"/>
                  </a:lnTo>
                  <a:close/>
                  <a:moveTo>
                    <a:pt x="11647" y="1772"/>
                  </a:moveTo>
                  <a:lnTo>
                    <a:pt x="11460" y="1586"/>
                  </a:lnTo>
                  <a:lnTo>
                    <a:pt x="11647" y="1401"/>
                  </a:lnTo>
                  <a:lnTo>
                    <a:pt x="11833" y="1586"/>
                  </a:lnTo>
                  <a:lnTo>
                    <a:pt x="11647" y="1772"/>
                  </a:lnTo>
                  <a:close/>
                  <a:moveTo>
                    <a:pt x="11621" y="1798"/>
                  </a:moveTo>
                  <a:lnTo>
                    <a:pt x="11435" y="1984"/>
                  </a:lnTo>
                  <a:lnTo>
                    <a:pt x="11250" y="1798"/>
                  </a:lnTo>
                  <a:lnTo>
                    <a:pt x="11435" y="1613"/>
                  </a:lnTo>
                  <a:lnTo>
                    <a:pt x="11621" y="1798"/>
                  </a:lnTo>
                  <a:close/>
                  <a:moveTo>
                    <a:pt x="11223" y="1772"/>
                  </a:moveTo>
                  <a:lnTo>
                    <a:pt x="11038" y="1586"/>
                  </a:lnTo>
                  <a:lnTo>
                    <a:pt x="11223" y="1401"/>
                  </a:lnTo>
                  <a:lnTo>
                    <a:pt x="11409" y="1586"/>
                  </a:lnTo>
                  <a:lnTo>
                    <a:pt x="11223" y="1772"/>
                  </a:lnTo>
                  <a:close/>
                  <a:moveTo>
                    <a:pt x="11198" y="1798"/>
                  </a:moveTo>
                  <a:lnTo>
                    <a:pt x="11011" y="1984"/>
                  </a:lnTo>
                  <a:lnTo>
                    <a:pt x="10826" y="1798"/>
                  </a:lnTo>
                  <a:lnTo>
                    <a:pt x="11011" y="1613"/>
                  </a:lnTo>
                  <a:lnTo>
                    <a:pt x="11198" y="1798"/>
                  </a:lnTo>
                  <a:close/>
                  <a:moveTo>
                    <a:pt x="10799" y="1772"/>
                  </a:moveTo>
                  <a:lnTo>
                    <a:pt x="10614" y="1586"/>
                  </a:lnTo>
                  <a:lnTo>
                    <a:pt x="10799" y="1401"/>
                  </a:lnTo>
                  <a:lnTo>
                    <a:pt x="10986" y="1586"/>
                  </a:lnTo>
                  <a:lnTo>
                    <a:pt x="10799" y="1772"/>
                  </a:lnTo>
                  <a:close/>
                  <a:moveTo>
                    <a:pt x="10775" y="1798"/>
                  </a:moveTo>
                  <a:lnTo>
                    <a:pt x="10589" y="1984"/>
                  </a:lnTo>
                  <a:lnTo>
                    <a:pt x="10402" y="1798"/>
                  </a:lnTo>
                  <a:lnTo>
                    <a:pt x="10589" y="1613"/>
                  </a:lnTo>
                  <a:lnTo>
                    <a:pt x="10775" y="1798"/>
                  </a:lnTo>
                  <a:close/>
                  <a:moveTo>
                    <a:pt x="10377" y="1772"/>
                  </a:moveTo>
                  <a:lnTo>
                    <a:pt x="10190" y="1586"/>
                  </a:lnTo>
                  <a:lnTo>
                    <a:pt x="10377" y="1401"/>
                  </a:lnTo>
                  <a:lnTo>
                    <a:pt x="10563" y="1586"/>
                  </a:lnTo>
                  <a:lnTo>
                    <a:pt x="10377" y="1772"/>
                  </a:lnTo>
                  <a:close/>
                  <a:moveTo>
                    <a:pt x="10351" y="1798"/>
                  </a:moveTo>
                  <a:lnTo>
                    <a:pt x="10165" y="1984"/>
                  </a:lnTo>
                  <a:lnTo>
                    <a:pt x="9979" y="1798"/>
                  </a:lnTo>
                  <a:lnTo>
                    <a:pt x="10165" y="1613"/>
                  </a:lnTo>
                  <a:lnTo>
                    <a:pt x="10351" y="1798"/>
                  </a:lnTo>
                  <a:close/>
                  <a:moveTo>
                    <a:pt x="9953" y="1772"/>
                  </a:moveTo>
                  <a:lnTo>
                    <a:pt x="9767" y="1586"/>
                  </a:lnTo>
                  <a:lnTo>
                    <a:pt x="9953" y="1401"/>
                  </a:lnTo>
                  <a:lnTo>
                    <a:pt x="10139" y="1586"/>
                  </a:lnTo>
                  <a:lnTo>
                    <a:pt x="9953" y="1772"/>
                  </a:lnTo>
                  <a:close/>
                  <a:moveTo>
                    <a:pt x="9927" y="1798"/>
                  </a:moveTo>
                  <a:lnTo>
                    <a:pt x="9741" y="1984"/>
                  </a:lnTo>
                  <a:lnTo>
                    <a:pt x="9555" y="1798"/>
                  </a:lnTo>
                  <a:lnTo>
                    <a:pt x="9741" y="1613"/>
                  </a:lnTo>
                  <a:lnTo>
                    <a:pt x="9927" y="1798"/>
                  </a:lnTo>
                  <a:close/>
                  <a:moveTo>
                    <a:pt x="9529" y="1772"/>
                  </a:moveTo>
                  <a:lnTo>
                    <a:pt x="9343" y="1586"/>
                  </a:lnTo>
                  <a:lnTo>
                    <a:pt x="9529" y="1401"/>
                  </a:lnTo>
                  <a:lnTo>
                    <a:pt x="9716" y="1586"/>
                  </a:lnTo>
                  <a:lnTo>
                    <a:pt x="9529" y="1772"/>
                  </a:lnTo>
                  <a:close/>
                  <a:moveTo>
                    <a:pt x="9504" y="1798"/>
                  </a:moveTo>
                  <a:lnTo>
                    <a:pt x="9317" y="1984"/>
                  </a:lnTo>
                  <a:lnTo>
                    <a:pt x="9131" y="1798"/>
                  </a:lnTo>
                  <a:lnTo>
                    <a:pt x="9317" y="1613"/>
                  </a:lnTo>
                  <a:lnTo>
                    <a:pt x="9504" y="1798"/>
                  </a:lnTo>
                  <a:close/>
                  <a:moveTo>
                    <a:pt x="9106" y="1772"/>
                  </a:moveTo>
                  <a:lnTo>
                    <a:pt x="8919" y="1586"/>
                  </a:lnTo>
                  <a:lnTo>
                    <a:pt x="9106" y="1401"/>
                  </a:lnTo>
                  <a:lnTo>
                    <a:pt x="9292" y="1586"/>
                  </a:lnTo>
                  <a:lnTo>
                    <a:pt x="9106" y="1772"/>
                  </a:lnTo>
                  <a:close/>
                  <a:moveTo>
                    <a:pt x="9080" y="1798"/>
                  </a:moveTo>
                  <a:lnTo>
                    <a:pt x="8894" y="1984"/>
                  </a:lnTo>
                  <a:lnTo>
                    <a:pt x="8707" y="1798"/>
                  </a:lnTo>
                  <a:lnTo>
                    <a:pt x="8894" y="1613"/>
                  </a:lnTo>
                  <a:lnTo>
                    <a:pt x="9080" y="1798"/>
                  </a:lnTo>
                  <a:close/>
                  <a:moveTo>
                    <a:pt x="8682" y="1772"/>
                  </a:moveTo>
                  <a:lnTo>
                    <a:pt x="8497" y="1586"/>
                  </a:lnTo>
                  <a:lnTo>
                    <a:pt x="8682" y="1401"/>
                  </a:lnTo>
                  <a:lnTo>
                    <a:pt x="8868" y="1586"/>
                  </a:lnTo>
                  <a:lnTo>
                    <a:pt x="8682" y="1772"/>
                  </a:lnTo>
                  <a:close/>
                  <a:moveTo>
                    <a:pt x="8656" y="1798"/>
                  </a:moveTo>
                  <a:lnTo>
                    <a:pt x="8470" y="1984"/>
                  </a:lnTo>
                  <a:lnTo>
                    <a:pt x="8285" y="1798"/>
                  </a:lnTo>
                  <a:lnTo>
                    <a:pt x="8470" y="1613"/>
                  </a:lnTo>
                  <a:lnTo>
                    <a:pt x="8656" y="1798"/>
                  </a:lnTo>
                  <a:close/>
                  <a:moveTo>
                    <a:pt x="8259" y="1772"/>
                  </a:moveTo>
                  <a:lnTo>
                    <a:pt x="8073" y="1586"/>
                  </a:lnTo>
                  <a:lnTo>
                    <a:pt x="8259" y="1401"/>
                  </a:lnTo>
                  <a:lnTo>
                    <a:pt x="8446" y="1586"/>
                  </a:lnTo>
                  <a:lnTo>
                    <a:pt x="8259" y="1772"/>
                  </a:lnTo>
                  <a:close/>
                  <a:moveTo>
                    <a:pt x="8234" y="1798"/>
                  </a:moveTo>
                  <a:lnTo>
                    <a:pt x="8047" y="1984"/>
                  </a:lnTo>
                  <a:lnTo>
                    <a:pt x="7861" y="1798"/>
                  </a:lnTo>
                  <a:lnTo>
                    <a:pt x="8047" y="1613"/>
                  </a:lnTo>
                  <a:lnTo>
                    <a:pt x="8234" y="1798"/>
                  </a:lnTo>
                  <a:close/>
                  <a:moveTo>
                    <a:pt x="7836" y="1772"/>
                  </a:moveTo>
                  <a:lnTo>
                    <a:pt x="7649" y="1586"/>
                  </a:lnTo>
                  <a:lnTo>
                    <a:pt x="7836" y="1401"/>
                  </a:lnTo>
                  <a:lnTo>
                    <a:pt x="8022" y="1586"/>
                  </a:lnTo>
                  <a:lnTo>
                    <a:pt x="7836" y="1772"/>
                  </a:lnTo>
                  <a:close/>
                  <a:moveTo>
                    <a:pt x="7810" y="1798"/>
                  </a:moveTo>
                  <a:lnTo>
                    <a:pt x="7624" y="1984"/>
                  </a:lnTo>
                  <a:lnTo>
                    <a:pt x="7437" y="1798"/>
                  </a:lnTo>
                  <a:lnTo>
                    <a:pt x="7624" y="1613"/>
                  </a:lnTo>
                  <a:lnTo>
                    <a:pt x="7810" y="1798"/>
                  </a:lnTo>
                  <a:close/>
                  <a:moveTo>
                    <a:pt x="7412" y="1772"/>
                  </a:moveTo>
                  <a:lnTo>
                    <a:pt x="7226" y="1586"/>
                  </a:lnTo>
                  <a:lnTo>
                    <a:pt x="7412" y="1401"/>
                  </a:lnTo>
                  <a:lnTo>
                    <a:pt x="7598" y="1586"/>
                  </a:lnTo>
                  <a:lnTo>
                    <a:pt x="7412" y="1772"/>
                  </a:lnTo>
                  <a:close/>
                  <a:moveTo>
                    <a:pt x="7386" y="1798"/>
                  </a:moveTo>
                  <a:lnTo>
                    <a:pt x="7200" y="1984"/>
                  </a:lnTo>
                  <a:lnTo>
                    <a:pt x="7014" y="1798"/>
                  </a:lnTo>
                  <a:lnTo>
                    <a:pt x="7200" y="1613"/>
                  </a:lnTo>
                  <a:lnTo>
                    <a:pt x="7386" y="1798"/>
                  </a:lnTo>
                  <a:close/>
                  <a:moveTo>
                    <a:pt x="6988" y="1772"/>
                  </a:moveTo>
                  <a:lnTo>
                    <a:pt x="6802" y="1586"/>
                  </a:lnTo>
                  <a:lnTo>
                    <a:pt x="6988" y="1401"/>
                  </a:lnTo>
                  <a:lnTo>
                    <a:pt x="7175" y="1586"/>
                  </a:lnTo>
                  <a:lnTo>
                    <a:pt x="6988" y="1772"/>
                  </a:lnTo>
                  <a:close/>
                  <a:moveTo>
                    <a:pt x="6963" y="1798"/>
                  </a:moveTo>
                  <a:lnTo>
                    <a:pt x="6776" y="1984"/>
                  </a:lnTo>
                  <a:lnTo>
                    <a:pt x="6590" y="1798"/>
                  </a:lnTo>
                  <a:lnTo>
                    <a:pt x="6776" y="1613"/>
                  </a:lnTo>
                  <a:lnTo>
                    <a:pt x="6963" y="1798"/>
                  </a:lnTo>
                  <a:close/>
                  <a:moveTo>
                    <a:pt x="6566" y="1772"/>
                  </a:moveTo>
                  <a:lnTo>
                    <a:pt x="6378" y="1586"/>
                  </a:lnTo>
                  <a:lnTo>
                    <a:pt x="6566" y="1401"/>
                  </a:lnTo>
                  <a:lnTo>
                    <a:pt x="6751" y="1586"/>
                  </a:lnTo>
                  <a:lnTo>
                    <a:pt x="6566" y="1772"/>
                  </a:lnTo>
                  <a:close/>
                  <a:moveTo>
                    <a:pt x="6539" y="1798"/>
                  </a:moveTo>
                  <a:lnTo>
                    <a:pt x="6354" y="1984"/>
                  </a:lnTo>
                  <a:lnTo>
                    <a:pt x="6166" y="1798"/>
                  </a:lnTo>
                  <a:lnTo>
                    <a:pt x="6354" y="1613"/>
                  </a:lnTo>
                  <a:lnTo>
                    <a:pt x="6539" y="1798"/>
                  </a:lnTo>
                  <a:close/>
                  <a:moveTo>
                    <a:pt x="6142" y="1772"/>
                  </a:moveTo>
                  <a:lnTo>
                    <a:pt x="5956" y="1586"/>
                  </a:lnTo>
                  <a:lnTo>
                    <a:pt x="6142" y="1401"/>
                  </a:lnTo>
                  <a:lnTo>
                    <a:pt x="6327" y="1586"/>
                  </a:lnTo>
                  <a:lnTo>
                    <a:pt x="6142" y="1772"/>
                  </a:lnTo>
                  <a:close/>
                  <a:moveTo>
                    <a:pt x="6115" y="1798"/>
                  </a:moveTo>
                  <a:lnTo>
                    <a:pt x="5930" y="1984"/>
                  </a:lnTo>
                  <a:lnTo>
                    <a:pt x="5744" y="1798"/>
                  </a:lnTo>
                  <a:lnTo>
                    <a:pt x="5930" y="1613"/>
                  </a:lnTo>
                  <a:lnTo>
                    <a:pt x="6115" y="1798"/>
                  </a:lnTo>
                  <a:close/>
                  <a:moveTo>
                    <a:pt x="5718" y="1772"/>
                  </a:moveTo>
                  <a:lnTo>
                    <a:pt x="5532" y="1586"/>
                  </a:lnTo>
                  <a:lnTo>
                    <a:pt x="5718" y="1401"/>
                  </a:lnTo>
                  <a:lnTo>
                    <a:pt x="5903" y="1586"/>
                  </a:lnTo>
                  <a:lnTo>
                    <a:pt x="5718" y="1772"/>
                  </a:lnTo>
                  <a:close/>
                  <a:moveTo>
                    <a:pt x="5693" y="1798"/>
                  </a:moveTo>
                  <a:lnTo>
                    <a:pt x="5506" y="1984"/>
                  </a:lnTo>
                  <a:lnTo>
                    <a:pt x="5320" y="1798"/>
                  </a:lnTo>
                  <a:lnTo>
                    <a:pt x="5506" y="1613"/>
                  </a:lnTo>
                  <a:lnTo>
                    <a:pt x="5693" y="1798"/>
                  </a:lnTo>
                  <a:close/>
                  <a:moveTo>
                    <a:pt x="5294" y="1772"/>
                  </a:moveTo>
                  <a:lnTo>
                    <a:pt x="5108" y="1586"/>
                  </a:lnTo>
                  <a:lnTo>
                    <a:pt x="5294" y="1401"/>
                  </a:lnTo>
                  <a:lnTo>
                    <a:pt x="5481" y="1586"/>
                  </a:lnTo>
                  <a:lnTo>
                    <a:pt x="5294" y="1772"/>
                  </a:lnTo>
                  <a:close/>
                  <a:moveTo>
                    <a:pt x="5269" y="1798"/>
                  </a:moveTo>
                  <a:lnTo>
                    <a:pt x="5083" y="1984"/>
                  </a:lnTo>
                  <a:lnTo>
                    <a:pt x="4896" y="1798"/>
                  </a:lnTo>
                  <a:lnTo>
                    <a:pt x="5083" y="1613"/>
                  </a:lnTo>
                  <a:lnTo>
                    <a:pt x="5269" y="1798"/>
                  </a:lnTo>
                  <a:close/>
                  <a:moveTo>
                    <a:pt x="4871" y="1772"/>
                  </a:moveTo>
                  <a:lnTo>
                    <a:pt x="4684" y="1586"/>
                  </a:lnTo>
                  <a:lnTo>
                    <a:pt x="4871" y="1401"/>
                  </a:lnTo>
                  <a:lnTo>
                    <a:pt x="5057" y="1586"/>
                  </a:lnTo>
                  <a:lnTo>
                    <a:pt x="4871" y="1772"/>
                  </a:lnTo>
                  <a:close/>
                  <a:moveTo>
                    <a:pt x="4845" y="1798"/>
                  </a:moveTo>
                  <a:lnTo>
                    <a:pt x="4659" y="1984"/>
                  </a:lnTo>
                  <a:lnTo>
                    <a:pt x="4474" y="1798"/>
                  </a:lnTo>
                  <a:lnTo>
                    <a:pt x="4659" y="1613"/>
                  </a:lnTo>
                  <a:lnTo>
                    <a:pt x="4845" y="1798"/>
                  </a:lnTo>
                  <a:close/>
                  <a:moveTo>
                    <a:pt x="4447" y="1772"/>
                  </a:moveTo>
                  <a:lnTo>
                    <a:pt x="4262" y="1586"/>
                  </a:lnTo>
                  <a:lnTo>
                    <a:pt x="4447" y="1401"/>
                  </a:lnTo>
                  <a:lnTo>
                    <a:pt x="4633" y="1586"/>
                  </a:lnTo>
                  <a:lnTo>
                    <a:pt x="4447" y="1772"/>
                  </a:lnTo>
                  <a:close/>
                  <a:moveTo>
                    <a:pt x="4423" y="1798"/>
                  </a:moveTo>
                  <a:lnTo>
                    <a:pt x="4235" y="1984"/>
                  </a:lnTo>
                  <a:lnTo>
                    <a:pt x="4050" y="1798"/>
                  </a:lnTo>
                  <a:lnTo>
                    <a:pt x="4235" y="1613"/>
                  </a:lnTo>
                  <a:lnTo>
                    <a:pt x="4423" y="1798"/>
                  </a:lnTo>
                  <a:close/>
                  <a:moveTo>
                    <a:pt x="4023" y="1772"/>
                  </a:moveTo>
                  <a:lnTo>
                    <a:pt x="3838" y="1586"/>
                  </a:lnTo>
                  <a:lnTo>
                    <a:pt x="4023" y="1401"/>
                  </a:lnTo>
                  <a:lnTo>
                    <a:pt x="4211" y="1586"/>
                  </a:lnTo>
                  <a:lnTo>
                    <a:pt x="4023" y="1772"/>
                  </a:lnTo>
                  <a:close/>
                  <a:moveTo>
                    <a:pt x="3999" y="1798"/>
                  </a:moveTo>
                  <a:lnTo>
                    <a:pt x="3813" y="1984"/>
                  </a:lnTo>
                  <a:lnTo>
                    <a:pt x="3626" y="1798"/>
                  </a:lnTo>
                  <a:lnTo>
                    <a:pt x="3813" y="1613"/>
                  </a:lnTo>
                  <a:lnTo>
                    <a:pt x="3999" y="1798"/>
                  </a:lnTo>
                  <a:close/>
                  <a:moveTo>
                    <a:pt x="3601" y="1772"/>
                  </a:moveTo>
                  <a:lnTo>
                    <a:pt x="3414" y="1586"/>
                  </a:lnTo>
                  <a:lnTo>
                    <a:pt x="3601" y="1401"/>
                  </a:lnTo>
                  <a:lnTo>
                    <a:pt x="3787" y="1586"/>
                  </a:lnTo>
                  <a:lnTo>
                    <a:pt x="3601" y="1772"/>
                  </a:lnTo>
                  <a:close/>
                  <a:moveTo>
                    <a:pt x="3575" y="1798"/>
                  </a:moveTo>
                  <a:lnTo>
                    <a:pt x="3389" y="1984"/>
                  </a:lnTo>
                  <a:lnTo>
                    <a:pt x="3203" y="1798"/>
                  </a:lnTo>
                  <a:lnTo>
                    <a:pt x="3389" y="1613"/>
                  </a:lnTo>
                  <a:lnTo>
                    <a:pt x="3575" y="1798"/>
                  </a:lnTo>
                  <a:close/>
                  <a:moveTo>
                    <a:pt x="3177" y="1772"/>
                  </a:moveTo>
                  <a:lnTo>
                    <a:pt x="2991" y="1586"/>
                  </a:lnTo>
                  <a:lnTo>
                    <a:pt x="3177" y="1401"/>
                  </a:lnTo>
                  <a:lnTo>
                    <a:pt x="3363" y="1586"/>
                  </a:lnTo>
                  <a:lnTo>
                    <a:pt x="3177" y="1772"/>
                  </a:lnTo>
                  <a:close/>
                  <a:moveTo>
                    <a:pt x="3152" y="1798"/>
                  </a:moveTo>
                  <a:lnTo>
                    <a:pt x="2965" y="1984"/>
                  </a:lnTo>
                  <a:lnTo>
                    <a:pt x="2779" y="1798"/>
                  </a:lnTo>
                  <a:lnTo>
                    <a:pt x="2965" y="1613"/>
                  </a:lnTo>
                  <a:lnTo>
                    <a:pt x="3152" y="1798"/>
                  </a:lnTo>
                  <a:close/>
                  <a:moveTo>
                    <a:pt x="2753" y="1772"/>
                  </a:moveTo>
                  <a:lnTo>
                    <a:pt x="2567" y="1586"/>
                  </a:lnTo>
                  <a:lnTo>
                    <a:pt x="2753" y="1401"/>
                  </a:lnTo>
                  <a:lnTo>
                    <a:pt x="2940" y="1586"/>
                  </a:lnTo>
                  <a:lnTo>
                    <a:pt x="2753" y="1772"/>
                  </a:lnTo>
                  <a:close/>
                  <a:moveTo>
                    <a:pt x="2728" y="1798"/>
                  </a:moveTo>
                  <a:lnTo>
                    <a:pt x="2543" y="1984"/>
                  </a:lnTo>
                  <a:lnTo>
                    <a:pt x="2355" y="1798"/>
                  </a:lnTo>
                  <a:lnTo>
                    <a:pt x="2543" y="1613"/>
                  </a:lnTo>
                  <a:lnTo>
                    <a:pt x="2728" y="1798"/>
                  </a:lnTo>
                  <a:close/>
                  <a:moveTo>
                    <a:pt x="2331" y="1772"/>
                  </a:moveTo>
                  <a:lnTo>
                    <a:pt x="2143" y="1586"/>
                  </a:lnTo>
                  <a:lnTo>
                    <a:pt x="2331" y="1401"/>
                  </a:lnTo>
                  <a:lnTo>
                    <a:pt x="2516" y="1586"/>
                  </a:lnTo>
                  <a:lnTo>
                    <a:pt x="2331" y="1772"/>
                  </a:lnTo>
                  <a:close/>
                  <a:moveTo>
                    <a:pt x="2304" y="1798"/>
                  </a:moveTo>
                  <a:lnTo>
                    <a:pt x="2119" y="1984"/>
                  </a:lnTo>
                  <a:lnTo>
                    <a:pt x="1933" y="1798"/>
                  </a:lnTo>
                  <a:lnTo>
                    <a:pt x="2119" y="1613"/>
                  </a:lnTo>
                  <a:lnTo>
                    <a:pt x="2304" y="1798"/>
                  </a:lnTo>
                  <a:close/>
                  <a:moveTo>
                    <a:pt x="1907" y="1772"/>
                  </a:moveTo>
                  <a:lnTo>
                    <a:pt x="1721" y="1586"/>
                  </a:lnTo>
                  <a:lnTo>
                    <a:pt x="1907" y="1401"/>
                  </a:lnTo>
                  <a:lnTo>
                    <a:pt x="2092" y="1586"/>
                  </a:lnTo>
                  <a:lnTo>
                    <a:pt x="1907" y="1772"/>
                  </a:lnTo>
                  <a:close/>
                  <a:moveTo>
                    <a:pt x="1882" y="1798"/>
                  </a:moveTo>
                  <a:lnTo>
                    <a:pt x="1695" y="1984"/>
                  </a:lnTo>
                  <a:lnTo>
                    <a:pt x="1509" y="1798"/>
                  </a:lnTo>
                  <a:lnTo>
                    <a:pt x="1695" y="1613"/>
                  </a:lnTo>
                  <a:lnTo>
                    <a:pt x="1882" y="1798"/>
                  </a:lnTo>
                  <a:close/>
                  <a:moveTo>
                    <a:pt x="1483" y="1772"/>
                  </a:moveTo>
                  <a:lnTo>
                    <a:pt x="1297" y="1586"/>
                  </a:lnTo>
                  <a:lnTo>
                    <a:pt x="1483" y="1401"/>
                  </a:lnTo>
                  <a:lnTo>
                    <a:pt x="1670" y="1586"/>
                  </a:lnTo>
                  <a:lnTo>
                    <a:pt x="1483" y="1772"/>
                  </a:lnTo>
                  <a:close/>
                  <a:moveTo>
                    <a:pt x="1458" y="1798"/>
                  </a:moveTo>
                  <a:lnTo>
                    <a:pt x="1272" y="1984"/>
                  </a:lnTo>
                  <a:lnTo>
                    <a:pt x="1085" y="1798"/>
                  </a:lnTo>
                  <a:lnTo>
                    <a:pt x="1272" y="1613"/>
                  </a:lnTo>
                  <a:lnTo>
                    <a:pt x="1458" y="1798"/>
                  </a:lnTo>
                  <a:close/>
                  <a:moveTo>
                    <a:pt x="1060" y="1772"/>
                  </a:moveTo>
                  <a:lnTo>
                    <a:pt x="873" y="1586"/>
                  </a:lnTo>
                  <a:lnTo>
                    <a:pt x="1060" y="1401"/>
                  </a:lnTo>
                  <a:lnTo>
                    <a:pt x="1246" y="1586"/>
                  </a:lnTo>
                  <a:lnTo>
                    <a:pt x="1060" y="1772"/>
                  </a:lnTo>
                  <a:close/>
                  <a:moveTo>
                    <a:pt x="1034" y="1798"/>
                  </a:moveTo>
                  <a:lnTo>
                    <a:pt x="848" y="1984"/>
                  </a:lnTo>
                  <a:lnTo>
                    <a:pt x="663" y="1798"/>
                  </a:lnTo>
                  <a:lnTo>
                    <a:pt x="848" y="1613"/>
                  </a:lnTo>
                  <a:lnTo>
                    <a:pt x="1034" y="1798"/>
                  </a:lnTo>
                  <a:close/>
                  <a:moveTo>
                    <a:pt x="636" y="1772"/>
                  </a:moveTo>
                  <a:lnTo>
                    <a:pt x="451" y="1586"/>
                  </a:lnTo>
                  <a:lnTo>
                    <a:pt x="636" y="1401"/>
                  </a:lnTo>
                  <a:lnTo>
                    <a:pt x="822" y="1586"/>
                  </a:lnTo>
                  <a:lnTo>
                    <a:pt x="636" y="1772"/>
                  </a:lnTo>
                  <a:close/>
                  <a:moveTo>
                    <a:pt x="822" y="2010"/>
                  </a:moveTo>
                  <a:lnTo>
                    <a:pt x="636" y="2196"/>
                  </a:lnTo>
                  <a:lnTo>
                    <a:pt x="451" y="2010"/>
                  </a:lnTo>
                  <a:lnTo>
                    <a:pt x="636" y="1823"/>
                  </a:lnTo>
                  <a:lnTo>
                    <a:pt x="822" y="2010"/>
                  </a:lnTo>
                  <a:close/>
                  <a:moveTo>
                    <a:pt x="822" y="2433"/>
                  </a:moveTo>
                  <a:lnTo>
                    <a:pt x="636" y="2620"/>
                  </a:lnTo>
                  <a:lnTo>
                    <a:pt x="451" y="2433"/>
                  </a:lnTo>
                  <a:lnTo>
                    <a:pt x="636" y="2247"/>
                  </a:lnTo>
                  <a:lnTo>
                    <a:pt x="822" y="2433"/>
                  </a:lnTo>
                  <a:close/>
                  <a:moveTo>
                    <a:pt x="822" y="2857"/>
                  </a:moveTo>
                  <a:lnTo>
                    <a:pt x="636" y="3043"/>
                  </a:lnTo>
                  <a:lnTo>
                    <a:pt x="451" y="2857"/>
                  </a:lnTo>
                  <a:lnTo>
                    <a:pt x="636" y="2671"/>
                  </a:lnTo>
                  <a:lnTo>
                    <a:pt x="822" y="2857"/>
                  </a:lnTo>
                  <a:close/>
                  <a:moveTo>
                    <a:pt x="848" y="2883"/>
                  </a:moveTo>
                  <a:lnTo>
                    <a:pt x="1034" y="3069"/>
                  </a:lnTo>
                  <a:lnTo>
                    <a:pt x="848" y="3255"/>
                  </a:lnTo>
                  <a:lnTo>
                    <a:pt x="663" y="3069"/>
                  </a:lnTo>
                  <a:lnTo>
                    <a:pt x="848" y="2883"/>
                  </a:lnTo>
                  <a:close/>
                  <a:moveTo>
                    <a:pt x="873" y="2857"/>
                  </a:moveTo>
                  <a:lnTo>
                    <a:pt x="1060" y="2671"/>
                  </a:lnTo>
                  <a:lnTo>
                    <a:pt x="1246" y="2857"/>
                  </a:lnTo>
                  <a:lnTo>
                    <a:pt x="1060" y="3043"/>
                  </a:lnTo>
                  <a:lnTo>
                    <a:pt x="873" y="2857"/>
                  </a:lnTo>
                  <a:close/>
                  <a:moveTo>
                    <a:pt x="1272" y="2883"/>
                  </a:moveTo>
                  <a:lnTo>
                    <a:pt x="1458" y="3069"/>
                  </a:lnTo>
                  <a:lnTo>
                    <a:pt x="1272" y="3255"/>
                  </a:lnTo>
                  <a:lnTo>
                    <a:pt x="1085" y="3069"/>
                  </a:lnTo>
                  <a:lnTo>
                    <a:pt x="1272" y="2883"/>
                  </a:lnTo>
                  <a:close/>
                  <a:moveTo>
                    <a:pt x="1297" y="2857"/>
                  </a:moveTo>
                  <a:lnTo>
                    <a:pt x="1483" y="2671"/>
                  </a:lnTo>
                  <a:lnTo>
                    <a:pt x="1670" y="2857"/>
                  </a:lnTo>
                  <a:lnTo>
                    <a:pt x="1483" y="3043"/>
                  </a:lnTo>
                  <a:lnTo>
                    <a:pt x="1297" y="2857"/>
                  </a:lnTo>
                  <a:close/>
                  <a:moveTo>
                    <a:pt x="1695" y="2883"/>
                  </a:moveTo>
                  <a:lnTo>
                    <a:pt x="1882" y="3069"/>
                  </a:lnTo>
                  <a:lnTo>
                    <a:pt x="1695" y="3255"/>
                  </a:lnTo>
                  <a:lnTo>
                    <a:pt x="1509" y="3069"/>
                  </a:lnTo>
                  <a:lnTo>
                    <a:pt x="1695" y="2883"/>
                  </a:lnTo>
                  <a:close/>
                  <a:moveTo>
                    <a:pt x="1721" y="2857"/>
                  </a:moveTo>
                  <a:lnTo>
                    <a:pt x="1907" y="2671"/>
                  </a:lnTo>
                  <a:lnTo>
                    <a:pt x="2092" y="2857"/>
                  </a:lnTo>
                  <a:lnTo>
                    <a:pt x="1907" y="3043"/>
                  </a:lnTo>
                  <a:lnTo>
                    <a:pt x="1721" y="2857"/>
                  </a:lnTo>
                  <a:close/>
                  <a:moveTo>
                    <a:pt x="2119" y="2883"/>
                  </a:moveTo>
                  <a:lnTo>
                    <a:pt x="2304" y="3069"/>
                  </a:lnTo>
                  <a:lnTo>
                    <a:pt x="2119" y="3255"/>
                  </a:lnTo>
                  <a:lnTo>
                    <a:pt x="1933" y="3069"/>
                  </a:lnTo>
                  <a:lnTo>
                    <a:pt x="2119" y="2883"/>
                  </a:lnTo>
                  <a:close/>
                  <a:moveTo>
                    <a:pt x="2143" y="2857"/>
                  </a:moveTo>
                  <a:lnTo>
                    <a:pt x="2331" y="2671"/>
                  </a:lnTo>
                  <a:lnTo>
                    <a:pt x="2516" y="2857"/>
                  </a:lnTo>
                  <a:lnTo>
                    <a:pt x="2331" y="3043"/>
                  </a:lnTo>
                  <a:lnTo>
                    <a:pt x="2143" y="2857"/>
                  </a:lnTo>
                  <a:close/>
                  <a:moveTo>
                    <a:pt x="2543" y="2883"/>
                  </a:moveTo>
                  <a:lnTo>
                    <a:pt x="2728" y="3069"/>
                  </a:lnTo>
                  <a:lnTo>
                    <a:pt x="2543" y="3255"/>
                  </a:lnTo>
                  <a:lnTo>
                    <a:pt x="2355" y="3069"/>
                  </a:lnTo>
                  <a:lnTo>
                    <a:pt x="2543" y="2883"/>
                  </a:lnTo>
                  <a:close/>
                  <a:moveTo>
                    <a:pt x="2567" y="2857"/>
                  </a:moveTo>
                  <a:lnTo>
                    <a:pt x="2753" y="2671"/>
                  </a:lnTo>
                  <a:lnTo>
                    <a:pt x="2940" y="2857"/>
                  </a:lnTo>
                  <a:lnTo>
                    <a:pt x="2753" y="3043"/>
                  </a:lnTo>
                  <a:lnTo>
                    <a:pt x="2567" y="2857"/>
                  </a:lnTo>
                  <a:close/>
                  <a:moveTo>
                    <a:pt x="2965" y="2883"/>
                  </a:moveTo>
                  <a:lnTo>
                    <a:pt x="3152" y="3069"/>
                  </a:lnTo>
                  <a:lnTo>
                    <a:pt x="2965" y="3255"/>
                  </a:lnTo>
                  <a:lnTo>
                    <a:pt x="2779" y="3069"/>
                  </a:lnTo>
                  <a:lnTo>
                    <a:pt x="2965" y="2883"/>
                  </a:lnTo>
                  <a:close/>
                  <a:moveTo>
                    <a:pt x="2991" y="2857"/>
                  </a:moveTo>
                  <a:lnTo>
                    <a:pt x="3177" y="2671"/>
                  </a:lnTo>
                  <a:lnTo>
                    <a:pt x="3363" y="2857"/>
                  </a:lnTo>
                  <a:lnTo>
                    <a:pt x="3177" y="3043"/>
                  </a:lnTo>
                  <a:lnTo>
                    <a:pt x="2991" y="2857"/>
                  </a:lnTo>
                  <a:close/>
                  <a:moveTo>
                    <a:pt x="3389" y="2883"/>
                  </a:moveTo>
                  <a:lnTo>
                    <a:pt x="3575" y="3069"/>
                  </a:lnTo>
                  <a:lnTo>
                    <a:pt x="3389" y="3255"/>
                  </a:lnTo>
                  <a:lnTo>
                    <a:pt x="3203" y="3069"/>
                  </a:lnTo>
                  <a:lnTo>
                    <a:pt x="3389" y="2883"/>
                  </a:lnTo>
                  <a:close/>
                  <a:moveTo>
                    <a:pt x="3414" y="2857"/>
                  </a:moveTo>
                  <a:lnTo>
                    <a:pt x="3601" y="2671"/>
                  </a:lnTo>
                  <a:lnTo>
                    <a:pt x="3787" y="2857"/>
                  </a:lnTo>
                  <a:lnTo>
                    <a:pt x="3601" y="3043"/>
                  </a:lnTo>
                  <a:lnTo>
                    <a:pt x="3414" y="2857"/>
                  </a:lnTo>
                  <a:close/>
                  <a:moveTo>
                    <a:pt x="3813" y="2883"/>
                  </a:moveTo>
                  <a:lnTo>
                    <a:pt x="3999" y="3069"/>
                  </a:lnTo>
                  <a:lnTo>
                    <a:pt x="3813" y="3255"/>
                  </a:lnTo>
                  <a:lnTo>
                    <a:pt x="3626" y="3069"/>
                  </a:lnTo>
                  <a:lnTo>
                    <a:pt x="3813" y="2883"/>
                  </a:lnTo>
                  <a:close/>
                  <a:moveTo>
                    <a:pt x="3838" y="2857"/>
                  </a:moveTo>
                  <a:lnTo>
                    <a:pt x="4023" y="2671"/>
                  </a:lnTo>
                  <a:lnTo>
                    <a:pt x="4211" y="2857"/>
                  </a:lnTo>
                  <a:lnTo>
                    <a:pt x="4023" y="3043"/>
                  </a:lnTo>
                  <a:lnTo>
                    <a:pt x="3838" y="2857"/>
                  </a:lnTo>
                  <a:close/>
                  <a:moveTo>
                    <a:pt x="4235" y="2883"/>
                  </a:moveTo>
                  <a:lnTo>
                    <a:pt x="4423" y="3069"/>
                  </a:lnTo>
                  <a:lnTo>
                    <a:pt x="4235" y="3255"/>
                  </a:lnTo>
                  <a:lnTo>
                    <a:pt x="4050" y="3069"/>
                  </a:lnTo>
                  <a:lnTo>
                    <a:pt x="4235" y="2883"/>
                  </a:lnTo>
                  <a:close/>
                  <a:moveTo>
                    <a:pt x="4262" y="2857"/>
                  </a:moveTo>
                  <a:lnTo>
                    <a:pt x="4447" y="2671"/>
                  </a:lnTo>
                  <a:lnTo>
                    <a:pt x="4633" y="2857"/>
                  </a:lnTo>
                  <a:lnTo>
                    <a:pt x="4447" y="3043"/>
                  </a:lnTo>
                  <a:lnTo>
                    <a:pt x="4262" y="2857"/>
                  </a:lnTo>
                  <a:close/>
                  <a:moveTo>
                    <a:pt x="4659" y="2883"/>
                  </a:moveTo>
                  <a:lnTo>
                    <a:pt x="4845" y="3069"/>
                  </a:lnTo>
                  <a:lnTo>
                    <a:pt x="4659" y="3255"/>
                  </a:lnTo>
                  <a:lnTo>
                    <a:pt x="4474" y="3069"/>
                  </a:lnTo>
                  <a:lnTo>
                    <a:pt x="4659" y="2883"/>
                  </a:lnTo>
                  <a:close/>
                  <a:moveTo>
                    <a:pt x="4684" y="2857"/>
                  </a:moveTo>
                  <a:lnTo>
                    <a:pt x="4871" y="2671"/>
                  </a:lnTo>
                  <a:lnTo>
                    <a:pt x="5057" y="2857"/>
                  </a:lnTo>
                  <a:lnTo>
                    <a:pt x="4871" y="3043"/>
                  </a:lnTo>
                  <a:lnTo>
                    <a:pt x="4684" y="2857"/>
                  </a:lnTo>
                  <a:close/>
                  <a:moveTo>
                    <a:pt x="5083" y="2883"/>
                  </a:moveTo>
                  <a:lnTo>
                    <a:pt x="5269" y="3069"/>
                  </a:lnTo>
                  <a:lnTo>
                    <a:pt x="5083" y="3255"/>
                  </a:lnTo>
                  <a:lnTo>
                    <a:pt x="4896" y="3069"/>
                  </a:lnTo>
                  <a:lnTo>
                    <a:pt x="5083" y="2883"/>
                  </a:lnTo>
                  <a:close/>
                  <a:moveTo>
                    <a:pt x="5108" y="2857"/>
                  </a:moveTo>
                  <a:lnTo>
                    <a:pt x="5294" y="2671"/>
                  </a:lnTo>
                  <a:lnTo>
                    <a:pt x="5481" y="2857"/>
                  </a:lnTo>
                  <a:lnTo>
                    <a:pt x="5294" y="3043"/>
                  </a:lnTo>
                  <a:lnTo>
                    <a:pt x="5108" y="2857"/>
                  </a:lnTo>
                  <a:close/>
                  <a:moveTo>
                    <a:pt x="5506" y="2883"/>
                  </a:moveTo>
                  <a:lnTo>
                    <a:pt x="5693" y="3069"/>
                  </a:lnTo>
                  <a:lnTo>
                    <a:pt x="5506" y="3255"/>
                  </a:lnTo>
                  <a:lnTo>
                    <a:pt x="5320" y="3069"/>
                  </a:lnTo>
                  <a:lnTo>
                    <a:pt x="5506" y="2883"/>
                  </a:lnTo>
                  <a:close/>
                  <a:moveTo>
                    <a:pt x="5532" y="2857"/>
                  </a:moveTo>
                  <a:lnTo>
                    <a:pt x="5718" y="2671"/>
                  </a:lnTo>
                  <a:lnTo>
                    <a:pt x="5903" y="2857"/>
                  </a:lnTo>
                  <a:lnTo>
                    <a:pt x="5718" y="3043"/>
                  </a:lnTo>
                  <a:lnTo>
                    <a:pt x="5532" y="2857"/>
                  </a:lnTo>
                  <a:close/>
                  <a:moveTo>
                    <a:pt x="5930" y="2883"/>
                  </a:moveTo>
                  <a:lnTo>
                    <a:pt x="6115" y="3069"/>
                  </a:lnTo>
                  <a:lnTo>
                    <a:pt x="5930" y="3255"/>
                  </a:lnTo>
                  <a:lnTo>
                    <a:pt x="5744" y="3069"/>
                  </a:lnTo>
                  <a:lnTo>
                    <a:pt x="5930" y="2883"/>
                  </a:lnTo>
                  <a:close/>
                  <a:moveTo>
                    <a:pt x="5956" y="2857"/>
                  </a:moveTo>
                  <a:lnTo>
                    <a:pt x="6142" y="2671"/>
                  </a:lnTo>
                  <a:lnTo>
                    <a:pt x="6327" y="2857"/>
                  </a:lnTo>
                  <a:lnTo>
                    <a:pt x="6142" y="3043"/>
                  </a:lnTo>
                  <a:lnTo>
                    <a:pt x="5956" y="2857"/>
                  </a:lnTo>
                  <a:close/>
                  <a:moveTo>
                    <a:pt x="6354" y="2883"/>
                  </a:moveTo>
                  <a:lnTo>
                    <a:pt x="6539" y="3069"/>
                  </a:lnTo>
                  <a:lnTo>
                    <a:pt x="6354" y="3255"/>
                  </a:lnTo>
                  <a:lnTo>
                    <a:pt x="6166" y="3069"/>
                  </a:lnTo>
                  <a:lnTo>
                    <a:pt x="6354" y="2883"/>
                  </a:lnTo>
                  <a:close/>
                  <a:moveTo>
                    <a:pt x="6378" y="2857"/>
                  </a:moveTo>
                  <a:lnTo>
                    <a:pt x="6566" y="2671"/>
                  </a:lnTo>
                  <a:lnTo>
                    <a:pt x="6751" y="2857"/>
                  </a:lnTo>
                  <a:lnTo>
                    <a:pt x="6566" y="3043"/>
                  </a:lnTo>
                  <a:lnTo>
                    <a:pt x="6378" y="2857"/>
                  </a:lnTo>
                  <a:close/>
                  <a:moveTo>
                    <a:pt x="6776" y="2883"/>
                  </a:moveTo>
                  <a:lnTo>
                    <a:pt x="6963" y="3069"/>
                  </a:lnTo>
                  <a:lnTo>
                    <a:pt x="6776" y="3255"/>
                  </a:lnTo>
                  <a:lnTo>
                    <a:pt x="6590" y="3069"/>
                  </a:lnTo>
                  <a:lnTo>
                    <a:pt x="6776" y="2883"/>
                  </a:lnTo>
                  <a:close/>
                  <a:moveTo>
                    <a:pt x="6802" y="2857"/>
                  </a:moveTo>
                  <a:lnTo>
                    <a:pt x="6988" y="2671"/>
                  </a:lnTo>
                  <a:lnTo>
                    <a:pt x="7175" y="2857"/>
                  </a:lnTo>
                  <a:lnTo>
                    <a:pt x="6988" y="3043"/>
                  </a:lnTo>
                  <a:lnTo>
                    <a:pt x="6802" y="2857"/>
                  </a:lnTo>
                  <a:close/>
                  <a:moveTo>
                    <a:pt x="7200" y="2883"/>
                  </a:moveTo>
                  <a:lnTo>
                    <a:pt x="7386" y="3069"/>
                  </a:lnTo>
                  <a:lnTo>
                    <a:pt x="7200" y="3255"/>
                  </a:lnTo>
                  <a:lnTo>
                    <a:pt x="7014" y="3069"/>
                  </a:lnTo>
                  <a:lnTo>
                    <a:pt x="7200" y="2883"/>
                  </a:lnTo>
                  <a:close/>
                  <a:moveTo>
                    <a:pt x="7226" y="2857"/>
                  </a:moveTo>
                  <a:lnTo>
                    <a:pt x="7412" y="2671"/>
                  </a:lnTo>
                  <a:lnTo>
                    <a:pt x="7598" y="2857"/>
                  </a:lnTo>
                  <a:lnTo>
                    <a:pt x="7412" y="3043"/>
                  </a:lnTo>
                  <a:lnTo>
                    <a:pt x="7226" y="2857"/>
                  </a:lnTo>
                  <a:close/>
                  <a:moveTo>
                    <a:pt x="7624" y="2883"/>
                  </a:moveTo>
                  <a:lnTo>
                    <a:pt x="7810" y="3069"/>
                  </a:lnTo>
                  <a:lnTo>
                    <a:pt x="7624" y="3255"/>
                  </a:lnTo>
                  <a:lnTo>
                    <a:pt x="7437" y="3069"/>
                  </a:lnTo>
                  <a:lnTo>
                    <a:pt x="7624" y="2883"/>
                  </a:lnTo>
                  <a:close/>
                  <a:moveTo>
                    <a:pt x="7649" y="2857"/>
                  </a:moveTo>
                  <a:lnTo>
                    <a:pt x="7836" y="2671"/>
                  </a:lnTo>
                  <a:lnTo>
                    <a:pt x="8022" y="2857"/>
                  </a:lnTo>
                  <a:lnTo>
                    <a:pt x="7836" y="3043"/>
                  </a:lnTo>
                  <a:lnTo>
                    <a:pt x="7649" y="2857"/>
                  </a:lnTo>
                  <a:close/>
                  <a:moveTo>
                    <a:pt x="8047" y="2883"/>
                  </a:moveTo>
                  <a:lnTo>
                    <a:pt x="8234" y="3069"/>
                  </a:lnTo>
                  <a:lnTo>
                    <a:pt x="8047" y="3255"/>
                  </a:lnTo>
                  <a:lnTo>
                    <a:pt x="7861" y="3069"/>
                  </a:lnTo>
                  <a:lnTo>
                    <a:pt x="8047" y="2883"/>
                  </a:lnTo>
                  <a:close/>
                  <a:moveTo>
                    <a:pt x="8073" y="2857"/>
                  </a:moveTo>
                  <a:lnTo>
                    <a:pt x="8259" y="2671"/>
                  </a:lnTo>
                  <a:lnTo>
                    <a:pt x="8446" y="2857"/>
                  </a:lnTo>
                  <a:lnTo>
                    <a:pt x="8259" y="3043"/>
                  </a:lnTo>
                  <a:lnTo>
                    <a:pt x="8073" y="2857"/>
                  </a:lnTo>
                  <a:close/>
                  <a:moveTo>
                    <a:pt x="8470" y="2883"/>
                  </a:moveTo>
                  <a:lnTo>
                    <a:pt x="8656" y="3069"/>
                  </a:lnTo>
                  <a:lnTo>
                    <a:pt x="8470" y="3255"/>
                  </a:lnTo>
                  <a:lnTo>
                    <a:pt x="8285" y="3069"/>
                  </a:lnTo>
                  <a:lnTo>
                    <a:pt x="8470" y="2883"/>
                  </a:lnTo>
                  <a:close/>
                  <a:moveTo>
                    <a:pt x="8497" y="2857"/>
                  </a:moveTo>
                  <a:lnTo>
                    <a:pt x="8682" y="2671"/>
                  </a:lnTo>
                  <a:lnTo>
                    <a:pt x="8868" y="2857"/>
                  </a:lnTo>
                  <a:lnTo>
                    <a:pt x="8682" y="3043"/>
                  </a:lnTo>
                  <a:lnTo>
                    <a:pt x="8497" y="2857"/>
                  </a:lnTo>
                  <a:close/>
                  <a:moveTo>
                    <a:pt x="8894" y="2883"/>
                  </a:moveTo>
                  <a:lnTo>
                    <a:pt x="9080" y="3069"/>
                  </a:lnTo>
                  <a:lnTo>
                    <a:pt x="8894" y="3255"/>
                  </a:lnTo>
                  <a:lnTo>
                    <a:pt x="8707" y="3069"/>
                  </a:lnTo>
                  <a:lnTo>
                    <a:pt x="8894" y="2883"/>
                  </a:lnTo>
                  <a:close/>
                  <a:moveTo>
                    <a:pt x="8919" y="2857"/>
                  </a:moveTo>
                  <a:lnTo>
                    <a:pt x="9106" y="2671"/>
                  </a:lnTo>
                  <a:lnTo>
                    <a:pt x="9292" y="2857"/>
                  </a:lnTo>
                  <a:lnTo>
                    <a:pt x="9106" y="3043"/>
                  </a:lnTo>
                  <a:lnTo>
                    <a:pt x="8919" y="2857"/>
                  </a:lnTo>
                  <a:close/>
                  <a:moveTo>
                    <a:pt x="9317" y="2883"/>
                  </a:moveTo>
                  <a:lnTo>
                    <a:pt x="9504" y="3069"/>
                  </a:lnTo>
                  <a:lnTo>
                    <a:pt x="9317" y="3255"/>
                  </a:lnTo>
                  <a:lnTo>
                    <a:pt x="9131" y="3069"/>
                  </a:lnTo>
                  <a:lnTo>
                    <a:pt x="9317" y="2883"/>
                  </a:lnTo>
                  <a:close/>
                  <a:moveTo>
                    <a:pt x="9343" y="2857"/>
                  </a:moveTo>
                  <a:lnTo>
                    <a:pt x="9529" y="2671"/>
                  </a:lnTo>
                  <a:lnTo>
                    <a:pt x="9716" y="2857"/>
                  </a:lnTo>
                  <a:lnTo>
                    <a:pt x="9529" y="3043"/>
                  </a:lnTo>
                  <a:lnTo>
                    <a:pt x="9343" y="2857"/>
                  </a:lnTo>
                  <a:close/>
                  <a:moveTo>
                    <a:pt x="9741" y="2883"/>
                  </a:moveTo>
                  <a:lnTo>
                    <a:pt x="9927" y="3069"/>
                  </a:lnTo>
                  <a:lnTo>
                    <a:pt x="9741" y="3255"/>
                  </a:lnTo>
                  <a:lnTo>
                    <a:pt x="9555" y="3069"/>
                  </a:lnTo>
                  <a:lnTo>
                    <a:pt x="9741" y="2883"/>
                  </a:lnTo>
                  <a:close/>
                  <a:moveTo>
                    <a:pt x="9767" y="2857"/>
                  </a:moveTo>
                  <a:lnTo>
                    <a:pt x="9953" y="2671"/>
                  </a:lnTo>
                  <a:lnTo>
                    <a:pt x="10139" y="2857"/>
                  </a:lnTo>
                  <a:lnTo>
                    <a:pt x="9953" y="3043"/>
                  </a:lnTo>
                  <a:lnTo>
                    <a:pt x="9767" y="2857"/>
                  </a:lnTo>
                  <a:close/>
                  <a:moveTo>
                    <a:pt x="10165" y="2883"/>
                  </a:moveTo>
                  <a:lnTo>
                    <a:pt x="10351" y="3069"/>
                  </a:lnTo>
                  <a:lnTo>
                    <a:pt x="10165" y="3255"/>
                  </a:lnTo>
                  <a:lnTo>
                    <a:pt x="9979" y="3069"/>
                  </a:lnTo>
                  <a:lnTo>
                    <a:pt x="10165" y="2883"/>
                  </a:lnTo>
                  <a:close/>
                  <a:moveTo>
                    <a:pt x="10190" y="2857"/>
                  </a:moveTo>
                  <a:lnTo>
                    <a:pt x="10377" y="2671"/>
                  </a:lnTo>
                  <a:lnTo>
                    <a:pt x="10563" y="2857"/>
                  </a:lnTo>
                  <a:lnTo>
                    <a:pt x="10377" y="3043"/>
                  </a:lnTo>
                  <a:lnTo>
                    <a:pt x="10190" y="2857"/>
                  </a:lnTo>
                  <a:close/>
                  <a:moveTo>
                    <a:pt x="10589" y="2883"/>
                  </a:moveTo>
                  <a:lnTo>
                    <a:pt x="10775" y="3069"/>
                  </a:lnTo>
                  <a:lnTo>
                    <a:pt x="10589" y="3255"/>
                  </a:lnTo>
                  <a:lnTo>
                    <a:pt x="10402" y="3069"/>
                  </a:lnTo>
                  <a:lnTo>
                    <a:pt x="10589" y="2883"/>
                  </a:lnTo>
                  <a:close/>
                  <a:moveTo>
                    <a:pt x="10614" y="2857"/>
                  </a:moveTo>
                  <a:lnTo>
                    <a:pt x="10799" y="2671"/>
                  </a:lnTo>
                  <a:lnTo>
                    <a:pt x="10986" y="2857"/>
                  </a:lnTo>
                  <a:lnTo>
                    <a:pt x="10799" y="3043"/>
                  </a:lnTo>
                  <a:lnTo>
                    <a:pt x="10614" y="2857"/>
                  </a:lnTo>
                  <a:close/>
                  <a:moveTo>
                    <a:pt x="11011" y="2883"/>
                  </a:moveTo>
                  <a:lnTo>
                    <a:pt x="11198" y="3069"/>
                  </a:lnTo>
                  <a:lnTo>
                    <a:pt x="11011" y="3255"/>
                  </a:lnTo>
                  <a:lnTo>
                    <a:pt x="10826" y="3069"/>
                  </a:lnTo>
                  <a:lnTo>
                    <a:pt x="11011" y="2883"/>
                  </a:lnTo>
                  <a:close/>
                  <a:moveTo>
                    <a:pt x="11038" y="2857"/>
                  </a:moveTo>
                  <a:lnTo>
                    <a:pt x="11223" y="2671"/>
                  </a:lnTo>
                  <a:lnTo>
                    <a:pt x="11409" y="2857"/>
                  </a:lnTo>
                  <a:lnTo>
                    <a:pt x="11223" y="3043"/>
                  </a:lnTo>
                  <a:lnTo>
                    <a:pt x="11038" y="2857"/>
                  </a:lnTo>
                  <a:close/>
                  <a:moveTo>
                    <a:pt x="11435" y="2883"/>
                  </a:moveTo>
                  <a:lnTo>
                    <a:pt x="11621" y="3069"/>
                  </a:lnTo>
                  <a:lnTo>
                    <a:pt x="11435" y="3255"/>
                  </a:lnTo>
                  <a:lnTo>
                    <a:pt x="11250" y="3069"/>
                  </a:lnTo>
                  <a:lnTo>
                    <a:pt x="11435" y="2883"/>
                  </a:lnTo>
                  <a:close/>
                  <a:moveTo>
                    <a:pt x="11460" y="2857"/>
                  </a:moveTo>
                  <a:lnTo>
                    <a:pt x="11647" y="2671"/>
                  </a:lnTo>
                  <a:lnTo>
                    <a:pt x="11833" y="2857"/>
                  </a:lnTo>
                  <a:lnTo>
                    <a:pt x="11647" y="3043"/>
                  </a:lnTo>
                  <a:lnTo>
                    <a:pt x="11460" y="2857"/>
                  </a:lnTo>
                  <a:close/>
                  <a:moveTo>
                    <a:pt x="11859" y="2883"/>
                  </a:moveTo>
                  <a:lnTo>
                    <a:pt x="12045" y="3069"/>
                  </a:lnTo>
                  <a:lnTo>
                    <a:pt x="11859" y="3255"/>
                  </a:lnTo>
                  <a:lnTo>
                    <a:pt x="11672" y="3069"/>
                  </a:lnTo>
                  <a:lnTo>
                    <a:pt x="11859" y="2883"/>
                  </a:lnTo>
                  <a:close/>
                  <a:moveTo>
                    <a:pt x="11884" y="2857"/>
                  </a:moveTo>
                  <a:lnTo>
                    <a:pt x="12070" y="2671"/>
                  </a:lnTo>
                  <a:lnTo>
                    <a:pt x="12257" y="2857"/>
                  </a:lnTo>
                  <a:lnTo>
                    <a:pt x="12070" y="3043"/>
                  </a:lnTo>
                  <a:lnTo>
                    <a:pt x="11884" y="2857"/>
                  </a:lnTo>
                  <a:close/>
                  <a:moveTo>
                    <a:pt x="12282" y="2883"/>
                  </a:moveTo>
                  <a:lnTo>
                    <a:pt x="12469" y="3069"/>
                  </a:lnTo>
                  <a:lnTo>
                    <a:pt x="12282" y="3255"/>
                  </a:lnTo>
                  <a:lnTo>
                    <a:pt x="12096" y="3069"/>
                  </a:lnTo>
                  <a:lnTo>
                    <a:pt x="12282" y="2883"/>
                  </a:lnTo>
                  <a:close/>
                  <a:moveTo>
                    <a:pt x="12308" y="2857"/>
                  </a:moveTo>
                  <a:lnTo>
                    <a:pt x="12494" y="2671"/>
                  </a:lnTo>
                  <a:lnTo>
                    <a:pt x="12679" y="2857"/>
                  </a:lnTo>
                  <a:lnTo>
                    <a:pt x="12494" y="3043"/>
                  </a:lnTo>
                  <a:lnTo>
                    <a:pt x="12308" y="2857"/>
                  </a:lnTo>
                  <a:close/>
                  <a:moveTo>
                    <a:pt x="12706" y="2883"/>
                  </a:moveTo>
                  <a:lnTo>
                    <a:pt x="12891" y="3069"/>
                  </a:lnTo>
                  <a:lnTo>
                    <a:pt x="12706" y="3255"/>
                  </a:lnTo>
                  <a:lnTo>
                    <a:pt x="12520" y="3069"/>
                  </a:lnTo>
                  <a:lnTo>
                    <a:pt x="12706" y="2883"/>
                  </a:lnTo>
                  <a:close/>
                  <a:moveTo>
                    <a:pt x="12730" y="2857"/>
                  </a:moveTo>
                  <a:lnTo>
                    <a:pt x="12918" y="2671"/>
                  </a:lnTo>
                  <a:lnTo>
                    <a:pt x="13103" y="2857"/>
                  </a:lnTo>
                  <a:lnTo>
                    <a:pt x="12918" y="3043"/>
                  </a:lnTo>
                  <a:lnTo>
                    <a:pt x="12730" y="2857"/>
                  </a:lnTo>
                  <a:close/>
                  <a:moveTo>
                    <a:pt x="13130" y="2883"/>
                  </a:moveTo>
                  <a:lnTo>
                    <a:pt x="13315" y="3069"/>
                  </a:lnTo>
                  <a:lnTo>
                    <a:pt x="13130" y="3255"/>
                  </a:lnTo>
                  <a:lnTo>
                    <a:pt x="12942" y="3069"/>
                  </a:lnTo>
                  <a:lnTo>
                    <a:pt x="13130" y="2883"/>
                  </a:lnTo>
                  <a:close/>
                  <a:moveTo>
                    <a:pt x="13154" y="2857"/>
                  </a:moveTo>
                  <a:lnTo>
                    <a:pt x="13340" y="2671"/>
                  </a:lnTo>
                  <a:lnTo>
                    <a:pt x="13527" y="2857"/>
                  </a:lnTo>
                  <a:lnTo>
                    <a:pt x="13340" y="3043"/>
                  </a:lnTo>
                  <a:lnTo>
                    <a:pt x="13154" y="2857"/>
                  </a:lnTo>
                  <a:close/>
                  <a:moveTo>
                    <a:pt x="13552" y="2883"/>
                  </a:moveTo>
                  <a:lnTo>
                    <a:pt x="13739" y="3069"/>
                  </a:lnTo>
                  <a:lnTo>
                    <a:pt x="13552" y="3255"/>
                  </a:lnTo>
                  <a:lnTo>
                    <a:pt x="13366" y="3069"/>
                  </a:lnTo>
                  <a:lnTo>
                    <a:pt x="13552" y="2883"/>
                  </a:lnTo>
                  <a:close/>
                  <a:moveTo>
                    <a:pt x="13578" y="2857"/>
                  </a:moveTo>
                  <a:lnTo>
                    <a:pt x="13764" y="2671"/>
                  </a:lnTo>
                  <a:lnTo>
                    <a:pt x="13950" y="2857"/>
                  </a:lnTo>
                  <a:lnTo>
                    <a:pt x="13764" y="3043"/>
                  </a:lnTo>
                  <a:lnTo>
                    <a:pt x="13578" y="2857"/>
                  </a:lnTo>
                  <a:close/>
                  <a:moveTo>
                    <a:pt x="13976" y="2883"/>
                  </a:moveTo>
                  <a:lnTo>
                    <a:pt x="14162" y="3069"/>
                  </a:lnTo>
                  <a:lnTo>
                    <a:pt x="13976" y="3255"/>
                  </a:lnTo>
                  <a:lnTo>
                    <a:pt x="13790" y="3069"/>
                  </a:lnTo>
                  <a:lnTo>
                    <a:pt x="13976" y="2883"/>
                  </a:lnTo>
                  <a:close/>
                  <a:moveTo>
                    <a:pt x="14002" y="2857"/>
                  </a:moveTo>
                  <a:lnTo>
                    <a:pt x="14188" y="2671"/>
                  </a:lnTo>
                  <a:lnTo>
                    <a:pt x="14374" y="2857"/>
                  </a:lnTo>
                  <a:lnTo>
                    <a:pt x="14188" y="3043"/>
                  </a:lnTo>
                  <a:lnTo>
                    <a:pt x="14002" y="2857"/>
                  </a:lnTo>
                  <a:close/>
                  <a:moveTo>
                    <a:pt x="14002" y="2433"/>
                  </a:moveTo>
                  <a:lnTo>
                    <a:pt x="14188" y="2247"/>
                  </a:lnTo>
                  <a:lnTo>
                    <a:pt x="14374" y="2433"/>
                  </a:lnTo>
                  <a:lnTo>
                    <a:pt x="14188" y="2620"/>
                  </a:lnTo>
                  <a:lnTo>
                    <a:pt x="14002" y="2433"/>
                  </a:lnTo>
                  <a:close/>
                  <a:moveTo>
                    <a:pt x="14002" y="2010"/>
                  </a:moveTo>
                  <a:lnTo>
                    <a:pt x="14188" y="1823"/>
                  </a:lnTo>
                  <a:lnTo>
                    <a:pt x="14374" y="2010"/>
                  </a:lnTo>
                  <a:lnTo>
                    <a:pt x="14188" y="2196"/>
                  </a:lnTo>
                  <a:lnTo>
                    <a:pt x="14002" y="2010"/>
                  </a:lnTo>
                  <a:close/>
                  <a:moveTo>
                    <a:pt x="14002" y="1586"/>
                  </a:moveTo>
                  <a:lnTo>
                    <a:pt x="14188" y="1401"/>
                  </a:lnTo>
                  <a:lnTo>
                    <a:pt x="14374" y="1586"/>
                  </a:lnTo>
                  <a:lnTo>
                    <a:pt x="14188" y="1772"/>
                  </a:lnTo>
                  <a:lnTo>
                    <a:pt x="14002" y="1586"/>
                  </a:lnTo>
                  <a:close/>
                  <a:moveTo>
                    <a:pt x="14002" y="1162"/>
                  </a:moveTo>
                  <a:lnTo>
                    <a:pt x="14188" y="976"/>
                  </a:lnTo>
                  <a:lnTo>
                    <a:pt x="14374" y="1162"/>
                  </a:lnTo>
                  <a:lnTo>
                    <a:pt x="14188" y="1350"/>
                  </a:lnTo>
                  <a:lnTo>
                    <a:pt x="14002" y="1162"/>
                  </a:lnTo>
                  <a:close/>
                  <a:moveTo>
                    <a:pt x="14162" y="1374"/>
                  </a:moveTo>
                  <a:lnTo>
                    <a:pt x="13976" y="1562"/>
                  </a:lnTo>
                  <a:lnTo>
                    <a:pt x="13790" y="1374"/>
                  </a:lnTo>
                  <a:lnTo>
                    <a:pt x="13976" y="1189"/>
                  </a:lnTo>
                  <a:lnTo>
                    <a:pt x="14162" y="1374"/>
                  </a:lnTo>
                  <a:close/>
                  <a:moveTo>
                    <a:pt x="13764" y="1350"/>
                  </a:moveTo>
                  <a:lnTo>
                    <a:pt x="13578" y="1162"/>
                  </a:lnTo>
                  <a:lnTo>
                    <a:pt x="13764" y="976"/>
                  </a:lnTo>
                  <a:lnTo>
                    <a:pt x="13950" y="1162"/>
                  </a:lnTo>
                  <a:lnTo>
                    <a:pt x="13764" y="1350"/>
                  </a:lnTo>
                  <a:close/>
                  <a:moveTo>
                    <a:pt x="13739" y="1374"/>
                  </a:moveTo>
                  <a:lnTo>
                    <a:pt x="13552" y="1562"/>
                  </a:lnTo>
                  <a:lnTo>
                    <a:pt x="13366" y="1374"/>
                  </a:lnTo>
                  <a:lnTo>
                    <a:pt x="13552" y="1189"/>
                  </a:lnTo>
                  <a:lnTo>
                    <a:pt x="13739" y="1374"/>
                  </a:lnTo>
                  <a:close/>
                  <a:moveTo>
                    <a:pt x="13340" y="1350"/>
                  </a:moveTo>
                  <a:lnTo>
                    <a:pt x="13154" y="1162"/>
                  </a:lnTo>
                  <a:lnTo>
                    <a:pt x="13340" y="976"/>
                  </a:lnTo>
                  <a:lnTo>
                    <a:pt x="13527" y="1162"/>
                  </a:lnTo>
                  <a:lnTo>
                    <a:pt x="13340" y="1350"/>
                  </a:lnTo>
                  <a:close/>
                  <a:moveTo>
                    <a:pt x="13315" y="1374"/>
                  </a:moveTo>
                  <a:lnTo>
                    <a:pt x="13130" y="1562"/>
                  </a:lnTo>
                  <a:lnTo>
                    <a:pt x="12942" y="1374"/>
                  </a:lnTo>
                  <a:lnTo>
                    <a:pt x="13130" y="1189"/>
                  </a:lnTo>
                  <a:lnTo>
                    <a:pt x="13315" y="1374"/>
                  </a:lnTo>
                  <a:close/>
                  <a:moveTo>
                    <a:pt x="12918" y="1350"/>
                  </a:moveTo>
                  <a:lnTo>
                    <a:pt x="12730" y="1162"/>
                  </a:lnTo>
                  <a:lnTo>
                    <a:pt x="12918" y="976"/>
                  </a:lnTo>
                  <a:lnTo>
                    <a:pt x="13103" y="1162"/>
                  </a:lnTo>
                  <a:lnTo>
                    <a:pt x="12918" y="1350"/>
                  </a:lnTo>
                  <a:close/>
                  <a:moveTo>
                    <a:pt x="12891" y="1374"/>
                  </a:moveTo>
                  <a:lnTo>
                    <a:pt x="12706" y="1562"/>
                  </a:lnTo>
                  <a:lnTo>
                    <a:pt x="12520" y="1374"/>
                  </a:lnTo>
                  <a:lnTo>
                    <a:pt x="12706" y="1189"/>
                  </a:lnTo>
                  <a:lnTo>
                    <a:pt x="12891" y="1374"/>
                  </a:lnTo>
                  <a:close/>
                  <a:moveTo>
                    <a:pt x="12494" y="1350"/>
                  </a:moveTo>
                  <a:lnTo>
                    <a:pt x="12308" y="1162"/>
                  </a:lnTo>
                  <a:lnTo>
                    <a:pt x="12494" y="976"/>
                  </a:lnTo>
                  <a:lnTo>
                    <a:pt x="12679" y="1162"/>
                  </a:lnTo>
                  <a:lnTo>
                    <a:pt x="12494" y="1350"/>
                  </a:lnTo>
                  <a:close/>
                  <a:moveTo>
                    <a:pt x="12469" y="1374"/>
                  </a:moveTo>
                  <a:lnTo>
                    <a:pt x="12282" y="1562"/>
                  </a:lnTo>
                  <a:lnTo>
                    <a:pt x="12096" y="1374"/>
                  </a:lnTo>
                  <a:lnTo>
                    <a:pt x="12282" y="1189"/>
                  </a:lnTo>
                  <a:lnTo>
                    <a:pt x="12469" y="1374"/>
                  </a:lnTo>
                  <a:close/>
                  <a:moveTo>
                    <a:pt x="12070" y="1350"/>
                  </a:moveTo>
                  <a:lnTo>
                    <a:pt x="11884" y="1162"/>
                  </a:lnTo>
                  <a:lnTo>
                    <a:pt x="12070" y="976"/>
                  </a:lnTo>
                  <a:lnTo>
                    <a:pt x="12257" y="1162"/>
                  </a:lnTo>
                  <a:lnTo>
                    <a:pt x="12070" y="1350"/>
                  </a:lnTo>
                  <a:close/>
                  <a:moveTo>
                    <a:pt x="12045" y="1374"/>
                  </a:moveTo>
                  <a:lnTo>
                    <a:pt x="11859" y="1562"/>
                  </a:lnTo>
                  <a:lnTo>
                    <a:pt x="11672" y="1374"/>
                  </a:lnTo>
                  <a:lnTo>
                    <a:pt x="11859" y="1189"/>
                  </a:lnTo>
                  <a:lnTo>
                    <a:pt x="12045" y="1374"/>
                  </a:lnTo>
                  <a:close/>
                  <a:moveTo>
                    <a:pt x="11647" y="1350"/>
                  </a:moveTo>
                  <a:lnTo>
                    <a:pt x="11460" y="1162"/>
                  </a:lnTo>
                  <a:lnTo>
                    <a:pt x="11647" y="976"/>
                  </a:lnTo>
                  <a:lnTo>
                    <a:pt x="11833" y="1162"/>
                  </a:lnTo>
                  <a:lnTo>
                    <a:pt x="11647" y="1350"/>
                  </a:lnTo>
                  <a:close/>
                  <a:moveTo>
                    <a:pt x="11621" y="1374"/>
                  </a:moveTo>
                  <a:lnTo>
                    <a:pt x="11435" y="1562"/>
                  </a:lnTo>
                  <a:lnTo>
                    <a:pt x="11250" y="1374"/>
                  </a:lnTo>
                  <a:lnTo>
                    <a:pt x="11435" y="1189"/>
                  </a:lnTo>
                  <a:lnTo>
                    <a:pt x="11621" y="1374"/>
                  </a:lnTo>
                  <a:close/>
                  <a:moveTo>
                    <a:pt x="11223" y="1350"/>
                  </a:moveTo>
                  <a:lnTo>
                    <a:pt x="11038" y="1162"/>
                  </a:lnTo>
                  <a:lnTo>
                    <a:pt x="11223" y="976"/>
                  </a:lnTo>
                  <a:lnTo>
                    <a:pt x="11409" y="1162"/>
                  </a:lnTo>
                  <a:lnTo>
                    <a:pt x="11223" y="1350"/>
                  </a:lnTo>
                  <a:close/>
                  <a:moveTo>
                    <a:pt x="11198" y="1374"/>
                  </a:moveTo>
                  <a:lnTo>
                    <a:pt x="11011" y="1562"/>
                  </a:lnTo>
                  <a:lnTo>
                    <a:pt x="10826" y="1374"/>
                  </a:lnTo>
                  <a:lnTo>
                    <a:pt x="11011" y="1189"/>
                  </a:lnTo>
                  <a:lnTo>
                    <a:pt x="11198" y="1374"/>
                  </a:lnTo>
                  <a:close/>
                  <a:moveTo>
                    <a:pt x="10799" y="1350"/>
                  </a:moveTo>
                  <a:lnTo>
                    <a:pt x="10614" y="1162"/>
                  </a:lnTo>
                  <a:lnTo>
                    <a:pt x="10799" y="976"/>
                  </a:lnTo>
                  <a:lnTo>
                    <a:pt x="10986" y="1162"/>
                  </a:lnTo>
                  <a:lnTo>
                    <a:pt x="10799" y="1350"/>
                  </a:lnTo>
                  <a:close/>
                  <a:moveTo>
                    <a:pt x="10775" y="1374"/>
                  </a:moveTo>
                  <a:lnTo>
                    <a:pt x="10589" y="1562"/>
                  </a:lnTo>
                  <a:lnTo>
                    <a:pt x="10402" y="1374"/>
                  </a:lnTo>
                  <a:lnTo>
                    <a:pt x="10589" y="1189"/>
                  </a:lnTo>
                  <a:lnTo>
                    <a:pt x="10775" y="1374"/>
                  </a:lnTo>
                  <a:close/>
                  <a:moveTo>
                    <a:pt x="10377" y="1350"/>
                  </a:moveTo>
                  <a:lnTo>
                    <a:pt x="10190" y="1162"/>
                  </a:lnTo>
                  <a:lnTo>
                    <a:pt x="10377" y="976"/>
                  </a:lnTo>
                  <a:lnTo>
                    <a:pt x="10563" y="1162"/>
                  </a:lnTo>
                  <a:lnTo>
                    <a:pt x="10377" y="1350"/>
                  </a:lnTo>
                  <a:close/>
                  <a:moveTo>
                    <a:pt x="10351" y="1374"/>
                  </a:moveTo>
                  <a:lnTo>
                    <a:pt x="10165" y="1562"/>
                  </a:lnTo>
                  <a:lnTo>
                    <a:pt x="9979" y="1374"/>
                  </a:lnTo>
                  <a:lnTo>
                    <a:pt x="10165" y="1189"/>
                  </a:lnTo>
                  <a:lnTo>
                    <a:pt x="10351" y="1374"/>
                  </a:lnTo>
                  <a:close/>
                  <a:moveTo>
                    <a:pt x="9953" y="1350"/>
                  </a:moveTo>
                  <a:lnTo>
                    <a:pt x="9767" y="1162"/>
                  </a:lnTo>
                  <a:lnTo>
                    <a:pt x="9953" y="976"/>
                  </a:lnTo>
                  <a:lnTo>
                    <a:pt x="10139" y="1162"/>
                  </a:lnTo>
                  <a:lnTo>
                    <a:pt x="9953" y="1350"/>
                  </a:lnTo>
                  <a:close/>
                  <a:moveTo>
                    <a:pt x="9927" y="1374"/>
                  </a:moveTo>
                  <a:lnTo>
                    <a:pt x="9741" y="1562"/>
                  </a:lnTo>
                  <a:lnTo>
                    <a:pt x="9555" y="1374"/>
                  </a:lnTo>
                  <a:lnTo>
                    <a:pt x="9741" y="1189"/>
                  </a:lnTo>
                  <a:lnTo>
                    <a:pt x="9927" y="1374"/>
                  </a:lnTo>
                  <a:close/>
                  <a:moveTo>
                    <a:pt x="9529" y="1350"/>
                  </a:moveTo>
                  <a:lnTo>
                    <a:pt x="9343" y="1162"/>
                  </a:lnTo>
                  <a:lnTo>
                    <a:pt x="9529" y="976"/>
                  </a:lnTo>
                  <a:lnTo>
                    <a:pt x="9716" y="1162"/>
                  </a:lnTo>
                  <a:lnTo>
                    <a:pt x="9529" y="1350"/>
                  </a:lnTo>
                  <a:close/>
                  <a:moveTo>
                    <a:pt x="9504" y="1374"/>
                  </a:moveTo>
                  <a:lnTo>
                    <a:pt x="9317" y="1562"/>
                  </a:lnTo>
                  <a:lnTo>
                    <a:pt x="9131" y="1374"/>
                  </a:lnTo>
                  <a:lnTo>
                    <a:pt x="9317" y="1189"/>
                  </a:lnTo>
                  <a:lnTo>
                    <a:pt x="9504" y="1374"/>
                  </a:lnTo>
                  <a:close/>
                  <a:moveTo>
                    <a:pt x="9106" y="1350"/>
                  </a:moveTo>
                  <a:lnTo>
                    <a:pt x="8919" y="1162"/>
                  </a:lnTo>
                  <a:lnTo>
                    <a:pt x="9106" y="976"/>
                  </a:lnTo>
                  <a:lnTo>
                    <a:pt x="9292" y="1162"/>
                  </a:lnTo>
                  <a:lnTo>
                    <a:pt x="9106" y="1350"/>
                  </a:lnTo>
                  <a:close/>
                  <a:moveTo>
                    <a:pt x="9080" y="1374"/>
                  </a:moveTo>
                  <a:lnTo>
                    <a:pt x="8894" y="1562"/>
                  </a:lnTo>
                  <a:lnTo>
                    <a:pt x="8707" y="1374"/>
                  </a:lnTo>
                  <a:lnTo>
                    <a:pt x="8894" y="1189"/>
                  </a:lnTo>
                  <a:lnTo>
                    <a:pt x="9080" y="1374"/>
                  </a:lnTo>
                  <a:close/>
                  <a:moveTo>
                    <a:pt x="8682" y="1350"/>
                  </a:moveTo>
                  <a:lnTo>
                    <a:pt x="8497" y="1162"/>
                  </a:lnTo>
                  <a:lnTo>
                    <a:pt x="8682" y="976"/>
                  </a:lnTo>
                  <a:lnTo>
                    <a:pt x="8868" y="1162"/>
                  </a:lnTo>
                  <a:lnTo>
                    <a:pt x="8682" y="1350"/>
                  </a:lnTo>
                  <a:close/>
                  <a:moveTo>
                    <a:pt x="8656" y="1374"/>
                  </a:moveTo>
                  <a:lnTo>
                    <a:pt x="8470" y="1562"/>
                  </a:lnTo>
                  <a:lnTo>
                    <a:pt x="8285" y="1374"/>
                  </a:lnTo>
                  <a:lnTo>
                    <a:pt x="8470" y="1189"/>
                  </a:lnTo>
                  <a:lnTo>
                    <a:pt x="8656" y="1374"/>
                  </a:lnTo>
                  <a:close/>
                  <a:moveTo>
                    <a:pt x="8259" y="1350"/>
                  </a:moveTo>
                  <a:lnTo>
                    <a:pt x="8073" y="1162"/>
                  </a:lnTo>
                  <a:lnTo>
                    <a:pt x="8259" y="976"/>
                  </a:lnTo>
                  <a:lnTo>
                    <a:pt x="8446" y="1162"/>
                  </a:lnTo>
                  <a:lnTo>
                    <a:pt x="8259" y="1350"/>
                  </a:lnTo>
                  <a:close/>
                  <a:moveTo>
                    <a:pt x="8234" y="1374"/>
                  </a:moveTo>
                  <a:lnTo>
                    <a:pt x="8047" y="1562"/>
                  </a:lnTo>
                  <a:lnTo>
                    <a:pt x="7861" y="1374"/>
                  </a:lnTo>
                  <a:lnTo>
                    <a:pt x="8047" y="1189"/>
                  </a:lnTo>
                  <a:lnTo>
                    <a:pt x="8234" y="1374"/>
                  </a:lnTo>
                  <a:close/>
                  <a:moveTo>
                    <a:pt x="7836" y="1350"/>
                  </a:moveTo>
                  <a:lnTo>
                    <a:pt x="7649" y="1162"/>
                  </a:lnTo>
                  <a:lnTo>
                    <a:pt x="7836" y="976"/>
                  </a:lnTo>
                  <a:lnTo>
                    <a:pt x="8022" y="1162"/>
                  </a:lnTo>
                  <a:lnTo>
                    <a:pt x="7836" y="1350"/>
                  </a:lnTo>
                  <a:close/>
                  <a:moveTo>
                    <a:pt x="7810" y="1374"/>
                  </a:moveTo>
                  <a:lnTo>
                    <a:pt x="7624" y="1562"/>
                  </a:lnTo>
                  <a:lnTo>
                    <a:pt x="7437" y="1374"/>
                  </a:lnTo>
                  <a:lnTo>
                    <a:pt x="7624" y="1189"/>
                  </a:lnTo>
                  <a:lnTo>
                    <a:pt x="7810" y="1374"/>
                  </a:lnTo>
                  <a:close/>
                  <a:moveTo>
                    <a:pt x="7412" y="1350"/>
                  </a:moveTo>
                  <a:lnTo>
                    <a:pt x="7226" y="1162"/>
                  </a:lnTo>
                  <a:lnTo>
                    <a:pt x="7412" y="976"/>
                  </a:lnTo>
                  <a:lnTo>
                    <a:pt x="7598" y="1162"/>
                  </a:lnTo>
                  <a:lnTo>
                    <a:pt x="7412" y="1350"/>
                  </a:lnTo>
                  <a:close/>
                  <a:moveTo>
                    <a:pt x="7386" y="1374"/>
                  </a:moveTo>
                  <a:lnTo>
                    <a:pt x="7200" y="1562"/>
                  </a:lnTo>
                  <a:lnTo>
                    <a:pt x="7014" y="1374"/>
                  </a:lnTo>
                  <a:lnTo>
                    <a:pt x="7200" y="1189"/>
                  </a:lnTo>
                  <a:lnTo>
                    <a:pt x="7386" y="1374"/>
                  </a:lnTo>
                  <a:close/>
                  <a:moveTo>
                    <a:pt x="6988" y="1350"/>
                  </a:moveTo>
                  <a:lnTo>
                    <a:pt x="6802" y="1162"/>
                  </a:lnTo>
                  <a:lnTo>
                    <a:pt x="6988" y="976"/>
                  </a:lnTo>
                  <a:lnTo>
                    <a:pt x="7175" y="1162"/>
                  </a:lnTo>
                  <a:lnTo>
                    <a:pt x="6988" y="1350"/>
                  </a:lnTo>
                  <a:close/>
                  <a:moveTo>
                    <a:pt x="6963" y="1374"/>
                  </a:moveTo>
                  <a:lnTo>
                    <a:pt x="6776" y="1562"/>
                  </a:lnTo>
                  <a:lnTo>
                    <a:pt x="6590" y="1374"/>
                  </a:lnTo>
                  <a:lnTo>
                    <a:pt x="6776" y="1189"/>
                  </a:lnTo>
                  <a:lnTo>
                    <a:pt x="6963" y="1374"/>
                  </a:lnTo>
                  <a:close/>
                  <a:moveTo>
                    <a:pt x="6566" y="1350"/>
                  </a:moveTo>
                  <a:lnTo>
                    <a:pt x="6378" y="1162"/>
                  </a:lnTo>
                  <a:lnTo>
                    <a:pt x="6566" y="976"/>
                  </a:lnTo>
                  <a:lnTo>
                    <a:pt x="6751" y="1162"/>
                  </a:lnTo>
                  <a:lnTo>
                    <a:pt x="6566" y="1350"/>
                  </a:lnTo>
                  <a:close/>
                  <a:moveTo>
                    <a:pt x="6539" y="1374"/>
                  </a:moveTo>
                  <a:lnTo>
                    <a:pt x="6354" y="1562"/>
                  </a:lnTo>
                  <a:lnTo>
                    <a:pt x="6166" y="1374"/>
                  </a:lnTo>
                  <a:lnTo>
                    <a:pt x="6354" y="1189"/>
                  </a:lnTo>
                  <a:lnTo>
                    <a:pt x="6539" y="1374"/>
                  </a:lnTo>
                  <a:close/>
                  <a:moveTo>
                    <a:pt x="6142" y="1350"/>
                  </a:moveTo>
                  <a:lnTo>
                    <a:pt x="5956" y="1162"/>
                  </a:lnTo>
                  <a:lnTo>
                    <a:pt x="6142" y="976"/>
                  </a:lnTo>
                  <a:lnTo>
                    <a:pt x="6327" y="1162"/>
                  </a:lnTo>
                  <a:lnTo>
                    <a:pt x="6142" y="1350"/>
                  </a:lnTo>
                  <a:close/>
                  <a:moveTo>
                    <a:pt x="6115" y="1374"/>
                  </a:moveTo>
                  <a:lnTo>
                    <a:pt x="5930" y="1562"/>
                  </a:lnTo>
                  <a:lnTo>
                    <a:pt x="5744" y="1374"/>
                  </a:lnTo>
                  <a:lnTo>
                    <a:pt x="5930" y="1189"/>
                  </a:lnTo>
                  <a:lnTo>
                    <a:pt x="6115" y="1374"/>
                  </a:lnTo>
                  <a:close/>
                  <a:moveTo>
                    <a:pt x="5718" y="1350"/>
                  </a:moveTo>
                  <a:lnTo>
                    <a:pt x="5532" y="1162"/>
                  </a:lnTo>
                  <a:lnTo>
                    <a:pt x="5718" y="976"/>
                  </a:lnTo>
                  <a:lnTo>
                    <a:pt x="5903" y="1162"/>
                  </a:lnTo>
                  <a:lnTo>
                    <a:pt x="5718" y="1350"/>
                  </a:lnTo>
                  <a:close/>
                  <a:moveTo>
                    <a:pt x="5693" y="1374"/>
                  </a:moveTo>
                  <a:lnTo>
                    <a:pt x="5506" y="1562"/>
                  </a:lnTo>
                  <a:lnTo>
                    <a:pt x="5320" y="1374"/>
                  </a:lnTo>
                  <a:lnTo>
                    <a:pt x="5506" y="1189"/>
                  </a:lnTo>
                  <a:lnTo>
                    <a:pt x="5693" y="1374"/>
                  </a:lnTo>
                  <a:close/>
                  <a:moveTo>
                    <a:pt x="5294" y="1350"/>
                  </a:moveTo>
                  <a:lnTo>
                    <a:pt x="5108" y="1162"/>
                  </a:lnTo>
                  <a:lnTo>
                    <a:pt x="5294" y="976"/>
                  </a:lnTo>
                  <a:lnTo>
                    <a:pt x="5481" y="1162"/>
                  </a:lnTo>
                  <a:lnTo>
                    <a:pt x="5294" y="1350"/>
                  </a:lnTo>
                  <a:close/>
                  <a:moveTo>
                    <a:pt x="5269" y="1374"/>
                  </a:moveTo>
                  <a:lnTo>
                    <a:pt x="5083" y="1562"/>
                  </a:lnTo>
                  <a:lnTo>
                    <a:pt x="4896" y="1374"/>
                  </a:lnTo>
                  <a:lnTo>
                    <a:pt x="5083" y="1189"/>
                  </a:lnTo>
                  <a:lnTo>
                    <a:pt x="5269" y="1374"/>
                  </a:lnTo>
                  <a:close/>
                  <a:moveTo>
                    <a:pt x="4871" y="1350"/>
                  </a:moveTo>
                  <a:lnTo>
                    <a:pt x="4684" y="1162"/>
                  </a:lnTo>
                  <a:lnTo>
                    <a:pt x="4871" y="976"/>
                  </a:lnTo>
                  <a:lnTo>
                    <a:pt x="5057" y="1162"/>
                  </a:lnTo>
                  <a:lnTo>
                    <a:pt x="4871" y="1350"/>
                  </a:lnTo>
                  <a:close/>
                  <a:moveTo>
                    <a:pt x="4845" y="1374"/>
                  </a:moveTo>
                  <a:lnTo>
                    <a:pt x="4659" y="1562"/>
                  </a:lnTo>
                  <a:lnTo>
                    <a:pt x="4474" y="1374"/>
                  </a:lnTo>
                  <a:lnTo>
                    <a:pt x="4659" y="1189"/>
                  </a:lnTo>
                  <a:lnTo>
                    <a:pt x="4845" y="1374"/>
                  </a:lnTo>
                  <a:close/>
                  <a:moveTo>
                    <a:pt x="4447" y="1350"/>
                  </a:moveTo>
                  <a:lnTo>
                    <a:pt x="4262" y="1162"/>
                  </a:lnTo>
                  <a:lnTo>
                    <a:pt x="4447" y="976"/>
                  </a:lnTo>
                  <a:lnTo>
                    <a:pt x="4633" y="1162"/>
                  </a:lnTo>
                  <a:lnTo>
                    <a:pt x="4447" y="1350"/>
                  </a:lnTo>
                  <a:close/>
                  <a:moveTo>
                    <a:pt x="4423" y="1374"/>
                  </a:moveTo>
                  <a:lnTo>
                    <a:pt x="4235" y="1562"/>
                  </a:lnTo>
                  <a:lnTo>
                    <a:pt x="4050" y="1374"/>
                  </a:lnTo>
                  <a:lnTo>
                    <a:pt x="4235" y="1189"/>
                  </a:lnTo>
                  <a:lnTo>
                    <a:pt x="4423" y="1374"/>
                  </a:lnTo>
                  <a:close/>
                  <a:moveTo>
                    <a:pt x="4023" y="1350"/>
                  </a:moveTo>
                  <a:lnTo>
                    <a:pt x="3838" y="1162"/>
                  </a:lnTo>
                  <a:lnTo>
                    <a:pt x="4023" y="976"/>
                  </a:lnTo>
                  <a:lnTo>
                    <a:pt x="4211" y="1162"/>
                  </a:lnTo>
                  <a:lnTo>
                    <a:pt x="4023" y="1350"/>
                  </a:lnTo>
                  <a:close/>
                  <a:moveTo>
                    <a:pt x="3999" y="1374"/>
                  </a:moveTo>
                  <a:lnTo>
                    <a:pt x="3813" y="1562"/>
                  </a:lnTo>
                  <a:lnTo>
                    <a:pt x="3626" y="1374"/>
                  </a:lnTo>
                  <a:lnTo>
                    <a:pt x="3813" y="1189"/>
                  </a:lnTo>
                  <a:lnTo>
                    <a:pt x="3999" y="1374"/>
                  </a:lnTo>
                  <a:close/>
                  <a:moveTo>
                    <a:pt x="3601" y="1350"/>
                  </a:moveTo>
                  <a:lnTo>
                    <a:pt x="3414" y="1162"/>
                  </a:lnTo>
                  <a:lnTo>
                    <a:pt x="3601" y="976"/>
                  </a:lnTo>
                  <a:lnTo>
                    <a:pt x="3787" y="1162"/>
                  </a:lnTo>
                  <a:lnTo>
                    <a:pt x="3601" y="1350"/>
                  </a:lnTo>
                  <a:close/>
                  <a:moveTo>
                    <a:pt x="3575" y="1374"/>
                  </a:moveTo>
                  <a:lnTo>
                    <a:pt x="3389" y="1562"/>
                  </a:lnTo>
                  <a:lnTo>
                    <a:pt x="3203" y="1374"/>
                  </a:lnTo>
                  <a:lnTo>
                    <a:pt x="3389" y="1189"/>
                  </a:lnTo>
                  <a:lnTo>
                    <a:pt x="3575" y="1374"/>
                  </a:lnTo>
                  <a:close/>
                  <a:moveTo>
                    <a:pt x="3177" y="1350"/>
                  </a:moveTo>
                  <a:lnTo>
                    <a:pt x="2991" y="1162"/>
                  </a:lnTo>
                  <a:lnTo>
                    <a:pt x="3177" y="976"/>
                  </a:lnTo>
                  <a:lnTo>
                    <a:pt x="3363" y="1162"/>
                  </a:lnTo>
                  <a:lnTo>
                    <a:pt x="3177" y="1350"/>
                  </a:lnTo>
                  <a:close/>
                  <a:moveTo>
                    <a:pt x="3152" y="1374"/>
                  </a:moveTo>
                  <a:lnTo>
                    <a:pt x="2965" y="1562"/>
                  </a:lnTo>
                  <a:lnTo>
                    <a:pt x="2779" y="1374"/>
                  </a:lnTo>
                  <a:lnTo>
                    <a:pt x="2965" y="1189"/>
                  </a:lnTo>
                  <a:lnTo>
                    <a:pt x="3152" y="1374"/>
                  </a:lnTo>
                  <a:close/>
                  <a:moveTo>
                    <a:pt x="2753" y="1350"/>
                  </a:moveTo>
                  <a:lnTo>
                    <a:pt x="2567" y="1162"/>
                  </a:lnTo>
                  <a:lnTo>
                    <a:pt x="2753" y="976"/>
                  </a:lnTo>
                  <a:lnTo>
                    <a:pt x="2940" y="1162"/>
                  </a:lnTo>
                  <a:lnTo>
                    <a:pt x="2753" y="1350"/>
                  </a:lnTo>
                  <a:close/>
                  <a:moveTo>
                    <a:pt x="2728" y="1374"/>
                  </a:moveTo>
                  <a:lnTo>
                    <a:pt x="2543" y="1562"/>
                  </a:lnTo>
                  <a:lnTo>
                    <a:pt x="2355" y="1374"/>
                  </a:lnTo>
                  <a:lnTo>
                    <a:pt x="2543" y="1189"/>
                  </a:lnTo>
                  <a:lnTo>
                    <a:pt x="2728" y="1374"/>
                  </a:lnTo>
                  <a:close/>
                  <a:moveTo>
                    <a:pt x="2331" y="1350"/>
                  </a:moveTo>
                  <a:lnTo>
                    <a:pt x="2143" y="1162"/>
                  </a:lnTo>
                  <a:lnTo>
                    <a:pt x="2331" y="976"/>
                  </a:lnTo>
                  <a:lnTo>
                    <a:pt x="2516" y="1162"/>
                  </a:lnTo>
                  <a:lnTo>
                    <a:pt x="2331" y="1350"/>
                  </a:lnTo>
                  <a:close/>
                  <a:moveTo>
                    <a:pt x="2304" y="1374"/>
                  </a:moveTo>
                  <a:lnTo>
                    <a:pt x="2119" y="1562"/>
                  </a:lnTo>
                  <a:lnTo>
                    <a:pt x="1933" y="1374"/>
                  </a:lnTo>
                  <a:lnTo>
                    <a:pt x="2119" y="1189"/>
                  </a:lnTo>
                  <a:lnTo>
                    <a:pt x="2304" y="1374"/>
                  </a:lnTo>
                  <a:close/>
                  <a:moveTo>
                    <a:pt x="1907" y="1350"/>
                  </a:moveTo>
                  <a:lnTo>
                    <a:pt x="1721" y="1162"/>
                  </a:lnTo>
                  <a:lnTo>
                    <a:pt x="1907" y="976"/>
                  </a:lnTo>
                  <a:lnTo>
                    <a:pt x="2092" y="1162"/>
                  </a:lnTo>
                  <a:lnTo>
                    <a:pt x="1907" y="1350"/>
                  </a:lnTo>
                  <a:close/>
                  <a:moveTo>
                    <a:pt x="1882" y="1374"/>
                  </a:moveTo>
                  <a:lnTo>
                    <a:pt x="1695" y="1562"/>
                  </a:lnTo>
                  <a:lnTo>
                    <a:pt x="1509" y="1374"/>
                  </a:lnTo>
                  <a:lnTo>
                    <a:pt x="1695" y="1189"/>
                  </a:lnTo>
                  <a:lnTo>
                    <a:pt x="1882" y="1374"/>
                  </a:lnTo>
                  <a:close/>
                  <a:moveTo>
                    <a:pt x="1483" y="1350"/>
                  </a:moveTo>
                  <a:lnTo>
                    <a:pt x="1297" y="1162"/>
                  </a:lnTo>
                  <a:lnTo>
                    <a:pt x="1483" y="976"/>
                  </a:lnTo>
                  <a:lnTo>
                    <a:pt x="1670" y="1162"/>
                  </a:lnTo>
                  <a:lnTo>
                    <a:pt x="1483" y="1350"/>
                  </a:lnTo>
                  <a:close/>
                  <a:moveTo>
                    <a:pt x="1458" y="1374"/>
                  </a:moveTo>
                  <a:lnTo>
                    <a:pt x="1272" y="1562"/>
                  </a:lnTo>
                  <a:lnTo>
                    <a:pt x="1085" y="1374"/>
                  </a:lnTo>
                  <a:lnTo>
                    <a:pt x="1272" y="1189"/>
                  </a:lnTo>
                  <a:lnTo>
                    <a:pt x="1458" y="1374"/>
                  </a:lnTo>
                  <a:close/>
                  <a:moveTo>
                    <a:pt x="1060" y="1350"/>
                  </a:moveTo>
                  <a:lnTo>
                    <a:pt x="873" y="1162"/>
                  </a:lnTo>
                  <a:lnTo>
                    <a:pt x="1060" y="976"/>
                  </a:lnTo>
                  <a:lnTo>
                    <a:pt x="1246" y="1162"/>
                  </a:lnTo>
                  <a:lnTo>
                    <a:pt x="1060" y="1350"/>
                  </a:lnTo>
                  <a:close/>
                  <a:moveTo>
                    <a:pt x="1034" y="1374"/>
                  </a:moveTo>
                  <a:lnTo>
                    <a:pt x="848" y="1562"/>
                  </a:lnTo>
                  <a:lnTo>
                    <a:pt x="663" y="1374"/>
                  </a:lnTo>
                  <a:lnTo>
                    <a:pt x="848" y="1189"/>
                  </a:lnTo>
                  <a:lnTo>
                    <a:pt x="1034" y="1374"/>
                  </a:lnTo>
                  <a:close/>
                  <a:moveTo>
                    <a:pt x="636" y="1350"/>
                  </a:moveTo>
                  <a:lnTo>
                    <a:pt x="451" y="1162"/>
                  </a:lnTo>
                  <a:lnTo>
                    <a:pt x="636" y="976"/>
                  </a:lnTo>
                  <a:lnTo>
                    <a:pt x="822" y="1162"/>
                  </a:lnTo>
                  <a:lnTo>
                    <a:pt x="636" y="1350"/>
                  </a:lnTo>
                  <a:close/>
                  <a:moveTo>
                    <a:pt x="610" y="1374"/>
                  </a:moveTo>
                  <a:lnTo>
                    <a:pt x="424" y="1562"/>
                  </a:lnTo>
                  <a:lnTo>
                    <a:pt x="239" y="1374"/>
                  </a:lnTo>
                  <a:lnTo>
                    <a:pt x="424" y="1189"/>
                  </a:lnTo>
                  <a:lnTo>
                    <a:pt x="610" y="1374"/>
                  </a:lnTo>
                  <a:close/>
                  <a:moveTo>
                    <a:pt x="610" y="1798"/>
                  </a:moveTo>
                  <a:lnTo>
                    <a:pt x="424" y="1984"/>
                  </a:lnTo>
                  <a:lnTo>
                    <a:pt x="239" y="1798"/>
                  </a:lnTo>
                  <a:lnTo>
                    <a:pt x="424" y="1613"/>
                  </a:lnTo>
                  <a:lnTo>
                    <a:pt x="610" y="1798"/>
                  </a:lnTo>
                  <a:close/>
                  <a:moveTo>
                    <a:pt x="610" y="2223"/>
                  </a:moveTo>
                  <a:lnTo>
                    <a:pt x="424" y="2408"/>
                  </a:lnTo>
                  <a:lnTo>
                    <a:pt x="239" y="2223"/>
                  </a:lnTo>
                  <a:lnTo>
                    <a:pt x="424" y="2035"/>
                  </a:lnTo>
                  <a:lnTo>
                    <a:pt x="610" y="2223"/>
                  </a:lnTo>
                  <a:close/>
                  <a:moveTo>
                    <a:pt x="610" y="2645"/>
                  </a:moveTo>
                  <a:lnTo>
                    <a:pt x="424" y="2832"/>
                  </a:lnTo>
                  <a:lnTo>
                    <a:pt x="239" y="2645"/>
                  </a:lnTo>
                  <a:lnTo>
                    <a:pt x="424" y="2459"/>
                  </a:lnTo>
                  <a:lnTo>
                    <a:pt x="610" y="2645"/>
                  </a:lnTo>
                  <a:close/>
                  <a:moveTo>
                    <a:pt x="610" y="3069"/>
                  </a:moveTo>
                  <a:lnTo>
                    <a:pt x="424" y="3255"/>
                  </a:lnTo>
                  <a:lnTo>
                    <a:pt x="239" y="3069"/>
                  </a:lnTo>
                  <a:lnTo>
                    <a:pt x="424" y="2883"/>
                  </a:lnTo>
                  <a:lnTo>
                    <a:pt x="610" y="3069"/>
                  </a:lnTo>
                  <a:close/>
                  <a:moveTo>
                    <a:pt x="610" y="3493"/>
                  </a:moveTo>
                  <a:lnTo>
                    <a:pt x="424" y="3679"/>
                  </a:lnTo>
                  <a:lnTo>
                    <a:pt x="239" y="3493"/>
                  </a:lnTo>
                  <a:lnTo>
                    <a:pt x="424" y="3306"/>
                  </a:lnTo>
                  <a:lnTo>
                    <a:pt x="610" y="3493"/>
                  </a:lnTo>
                  <a:close/>
                  <a:moveTo>
                    <a:pt x="451" y="3281"/>
                  </a:moveTo>
                  <a:lnTo>
                    <a:pt x="636" y="3094"/>
                  </a:lnTo>
                  <a:lnTo>
                    <a:pt x="822" y="3281"/>
                  </a:lnTo>
                  <a:lnTo>
                    <a:pt x="636" y="3467"/>
                  </a:lnTo>
                  <a:lnTo>
                    <a:pt x="451" y="3281"/>
                  </a:lnTo>
                  <a:close/>
                  <a:moveTo>
                    <a:pt x="848" y="3306"/>
                  </a:moveTo>
                  <a:lnTo>
                    <a:pt x="1034" y="3493"/>
                  </a:lnTo>
                  <a:lnTo>
                    <a:pt x="848" y="3679"/>
                  </a:lnTo>
                  <a:lnTo>
                    <a:pt x="663" y="3493"/>
                  </a:lnTo>
                  <a:lnTo>
                    <a:pt x="848" y="3306"/>
                  </a:lnTo>
                  <a:close/>
                  <a:moveTo>
                    <a:pt x="873" y="3281"/>
                  </a:moveTo>
                  <a:lnTo>
                    <a:pt x="1060" y="3094"/>
                  </a:lnTo>
                  <a:lnTo>
                    <a:pt x="1246" y="3281"/>
                  </a:lnTo>
                  <a:lnTo>
                    <a:pt x="1060" y="3467"/>
                  </a:lnTo>
                  <a:lnTo>
                    <a:pt x="873" y="3281"/>
                  </a:lnTo>
                  <a:close/>
                  <a:moveTo>
                    <a:pt x="1272" y="3306"/>
                  </a:moveTo>
                  <a:lnTo>
                    <a:pt x="1458" y="3493"/>
                  </a:lnTo>
                  <a:lnTo>
                    <a:pt x="1272" y="3679"/>
                  </a:lnTo>
                  <a:lnTo>
                    <a:pt x="1085" y="3493"/>
                  </a:lnTo>
                  <a:lnTo>
                    <a:pt x="1272" y="3306"/>
                  </a:lnTo>
                  <a:close/>
                  <a:moveTo>
                    <a:pt x="1297" y="3281"/>
                  </a:moveTo>
                  <a:lnTo>
                    <a:pt x="1483" y="3094"/>
                  </a:lnTo>
                  <a:lnTo>
                    <a:pt x="1670" y="3281"/>
                  </a:lnTo>
                  <a:lnTo>
                    <a:pt x="1483" y="3467"/>
                  </a:lnTo>
                  <a:lnTo>
                    <a:pt x="1297" y="3281"/>
                  </a:lnTo>
                  <a:close/>
                  <a:moveTo>
                    <a:pt x="1695" y="3306"/>
                  </a:moveTo>
                  <a:lnTo>
                    <a:pt x="1882" y="3493"/>
                  </a:lnTo>
                  <a:lnTo>
                    <a:pt x="1695" y="3679"/>
                  </a:lnTo>
                  <a:lnTo>
                    <a:pt x="1509" y="3493"/>
                  </a:lnTo>
                  <a:lnTo>
                    <a:pt x="1695" y="3306"/>
                  </a:lnTo>
                  <a:close/>
                  <a:moveTo>
                    <a:pt x="1721" y="3281"/>
                  </a:moveTo>
                  <a:lnTo>
                    <a:pt x="1907" y="3094"/>
                  </a:lnTo>
                  <a:lnTo>
                    <a:pt x="2092" y="3281"/>
                  </a:lnTo>
                  <a:lnTo>
                    <a:pt x="1907" y="3467"/>
                  </a:lnTo>
                  <a:lnTo>
                    <a:pt x="1721" y="3281"/>
                  </a:lnTo>
                  <a:close/>
                  <a:moveTo>
                    <a:pt x="2119" y="3306"/>
                  </a:moveTo>
                  <a:lnTo>
                    <a:pt x="2304" y="3493"/>
                  </a:lnTo>
                  <a:lnTo>
                    <a:pt x="2119" y="3679"/>
                  </a:lnTo>
                  <a:lnTo>
                    <a:pt x="1933" y="3493"/>
                  </a:lnTo>
                  <a:lnTo>
                    <a:pt x="2119" y="3306"/>
                  </a:lnTo>
                  <a:close/>
                  <a:moveTo>
                    <a:pt x="2143" y="3281"/>
                  </a:moveTo>
                  <a:lnTo>
                    <a:pt x="2331" y="3094"/>
                  </a:lnTo>
                  <a:lnTo>
                    <a:pt x="2516" y="3281"/>
                  </a:lnTo>
                  <a:lnTo>
                    <a:pt x="2331" y="3467"/>
                  </a:lnTo>
                  <a:lnTo>
                    <a:pt x="2143" y="3281"/>
                  </a:lnTo>
                  <a:close/>
                  <a:moveTo>
                    <a:pt x="2543" y="3306"/>
                  </a:moveTo>
                  <a:lnTo>
                    <a:pt x="2728" y="3493"/>
                  </a:lnTo>
                  <a:lnTo>
                    <a:pt x="2543" y="3679"/>
                  </a:lnTo>
                  <a:lnTo>
                    <a:pt x="2355" y="3493"/>
                  </a:lnTo>
                  <a:lnTo>
                    <a:pt x="2543" y="3306"/>
                  </a:lnTo>
                  <a:close/>
                  <a:moveTo>
                    <a:pt x="2567" y="3281"/>
                  </a:moveTo>
                  <a:lnTo>
                    <a:pt x="2753" y="3094"/>
                  </a:lnTo>
                  <a:lnTo>
                    <a:pt x="2940" y="3281"/>
                  </a:lnTo>
                  <a:lnTo>
                    <a:pt x="2753" y="3467"/>
                  </a:lnTo>
                  <a:lnTo>
                    <a:pt x="2567" y="3281"/>
                  </a:lnTo>
                  <a:close/>
                  <a:moveTo>
                    <a:pt x="2965" y="3306"/>
                  </a:moveTo>
                  <a:lnTo>
                    <a:pt x="3152" y="3493"/>
                  </a:lnTo>
                  <a:lnTo>
                    <a:pt x="2965" y="3679"/>
                  </a:lnTo>
                  <a:lnTo>
                    <a:pt x="2779" y="3493"/>
                  </a:lnTo>
                  <a:lnTo>
                    <a:pt x="2965" y="3306"/>
                  </a:lnTo>
                  <a:close/>
                  <a:moveTo>
                    <a:pt x="2991" y="3281"/>
                  </a:moveTo>
                  <a:lnTo>
                    <a:pt x="3177" y="3094"/>
                  </a:lnTo>
                  <a:lnTo>
                    <a:pt x="3363" y="3281"/>
                  </a:lnTo>
                  <a:lnTo>
                    <a:pt x="3177" y="3467"/>
                  </a:lnTo>
                  <a:lnTo>
                    <a:pt x="2991" y="3281"/>
                  </a:lnTo>
                  <a:close/>
                  <a:moveTo>
                    <a:pt x="3389" y="3306"/>
                  </a:moveTo>
                  <a:lnTo>
                    <a:pt x="3575" y="3493"/>
                  </a:lnTo>
                  <a:lnTo>
                    <a:pt x="3389" y="3679"/>
                  </a:lnTo>
                  <a:lnTo>
                    <a:pt x="3203" y="3493"/>
                  </a:lnTo>
                  <a:lnTo>
                    <a:pt x="3389" y="3306"/>
                  </a:lnTo>
                  <a:close/>
                  <a:moveTo>
                    <a:pt x="3414" y="3281"/>
                  </a:moveTo>
                  <a:lnTo>
                    <a:pt x="3601" y="3094"/>
                  </a:lnTo>
                  <a:lnTo>
                    <a:pt x="3787" y="3281"/>
                  </a:lnTo>
                  <a:lnTo>
                    <a:pt x="3601" y="3467"/>
                  </a:lnTo>
                  <a:lnTo>
                    <a:pt x="3414" y="3281"/>
                  </a:lnTo>
                  <a:close/>
                  <a:moveTo>
                    <a:pt x="3813" y="3306"/>
                  </a:moveTo>
                  <a:lnTo>
                    <a:pt x="3999" y="3493"/>
                  </a:lnTo>
                  <a:lnTo>
                    <a:pt x="3813" y="3679"/>
                  </a:lnTo>
                  <a:lnTo>
                    <a:pt x="3626" y="3493"/>
                  </a:lnTo>
                  <a:lnTo>
                    <a:pt x="3813" y="3306"/>
                  </a:lnTo>
                  <a:close/>
                  <a:moveTo>
                    <a:pt x="3838" y="3281"/>
                  </a:moveTo>
                  <a:lnTo>
                    <a:pt x="4023" y="3094"/>
                  </a:lnTo>
                  <a:lnTo>
                    <a:pt x="4211" y="3281"/>
                  </a:lnTo>
                  <a:lnTo>
                    <a:pt x="4023" y="3467"/>
                  </a:lnTo>
                  <a:lnTo>
                    <a:pt x="3838" y="3281"/>
                  </a:lnTo>
                  <a:close/>
                  <a:moveTo>
                    <a:pt x="4235" y="3306"/>
                  </a:moveTo>
                  <a:lnTo>
                    <a:pt x="4423" y="3493"/>
                  </a:lnTo>
                  <a:lnTo>
                    <a:pt x="4235" y="3679"/>
                  </a:lnTo>
                  <a:lnTo>
                    <a:pt x="4050" y="3493"/>
                  </a:lnTo>
                  <a:lnTo>
                    <a:pt x="4235" y="3306"/>
                  </a:lnTo>
                  <a:close/>
                  <a:moveTo>
                    <a:pt x="4262" y="3281"/>
                  </a:moveTo>
                  <a:lnTo>
                    <a:pt x="4447" y="3094"/>
                  </a:lnTo>
                  <a:lnTo>
                    <a:pt x="4633" y="3281"/>
                  </a:lnTo>
                  <a:lnTo>
                    <a:pt x="4447" y="3467"/>
                  </a:lnTo>
                  <a:lnTo>
                    <a:pt x="4262" y="3281"/>
                  </a:lnTo>
                  <a:close/>
                  <a:moveTo>
                    <a:pt x="4659" y="3306"/>
                  </a:moveTo>
                  <a:lnTo>
                    <a:pt x="4845" y="3493"/>
                  </a:lnTo>
                  <a:lnTo>
                    <a:pt x="4659" y="3679"/>
                  </a:lnTo>
                  <a:lnTo>
                    <a:pt x="4474" y="3493"/>
                  </a:lnTo>
                  <a:lnTo>
                    <a:pt x="4659" y="3306"/>
                  </a:lnTo>
                  <a:close/>
                  <a:moveTo>
                    <a:pt x="4684" y="3281"/>
                  </a:moveTo>
                  <a:lnTo>
                    <a:pt x="4871" y="3094"/>
                  </a:lnTo>
                  <a:lnTo>
                    <a:pt x="5057" y="3281"/>
                  </a:lnTo>
                  <a:lnTo>
                    <a:pt x="4871" y="3467"/>
                  </a:lnTo>
                  <a:lnTo>
                    <a:pt x="4684" y="3281"/>
                  </a:lnTo>
                  <a:close/>
                  <a:moveTo>
                    <a:pt x="5083" y="3306"/>
                  </a:moveTo>
                  <a:lnTo>
                    <a:pt x="5269" y="3493"/>
                  </a:lnTo>
                  <a:lnTo>
                    <a:pt x="5083" y="3679"/>
                  </a:lnTo>
                  <a:lnTo>
                    <a:pt x="4896" y="3493"/>
                  </a:lnTo>
                  <a:lnTo>
                    <a:pt x="5083" y="3306"/>
                  </a:lnTo>
                  <a:close/>
                  <a:moveTo>
                    <a:pt x="5108" y="3281"/>
                  </a:moveTo>
                  <a:lnTo>
                    <a:pt x="5294" y="3094"/>
                  </a:lnTo>
                  <a:lnTo>
                    <a:pt x="5481" y="3281"/>
                  </a:lnTo>
                  <a:lnTo>
                    <a:pt x="5294" y="3467"/>
                  </a:lnTo>
                  <a:lnTo>
                    <a:pt x="5108" y="3281"/>
                  </a:lnTo>
                  <a:close/>
                  <a:moveTo>
                    <a:pt x="5506" y="3306"/>
                  </a:moveTo>
                  <a:lnTo>
                    <a:pt x="5693" y="3493"/>
                  </a:lnTo>
                  <a:lnTo>
                    <a:pt x="5506" y="3679"/>
                  </a:lnTo>
                  <a:lnTo>
                    <a:pt x="5320" y="3493"/>
                  </a:lnTo>
                  <a:lnTo>
                    <a:pt x="5506" y="3306"/>
                  </a:lnTo>
                  <a:close/>
                  <a:moveTo>
                    <a:pt x="5532" y="3281"/>
                  </a:moveTo>
                  <a:lnTo>
                    <a:pt x="5718" y="3094"/>
                  </a:lnTo>
                  <a:lnTo>
                    <a:pt x="5903" y="3281"/>
                  </a:lnTo>
                  <a:lnTo>
                    <a:pt x="5718" y="3467"/>
                  </a:lnTo>
                  <a:lnTo>
                    <a:pt x="5532" y="3281"/>
                  </a:lnTo>
                  <a:close/>
                  <a:moveTo>
                    <a:pt x="5930" y="3306"/>
                  </a:moveTo>
                  <a:lnTo>
                    <a:pt x="6115" y="3493"/>
                  </a:lnTo>
                  <a:lnTo>
                    <a:pt x="5930" y="3679"/>
                  </a:lnTo>
                  <a:lnTo>
                    <a:pt x="5744" y="3493"/>
                  </a:lnTo>
                  <a:lnTo>
                    <a:pt x="5930" y="3306"/>
                  </a:lnTo>
                  <a:close/>
                  <a:moveTo>
                    <a:pt x="5956" y="3281"/>
                  </a:moveTo>
                  <a:lnTo>
                    <a:pt x="6142" y="3094"/>
                  </a:lnTo>
                  <a:lnTo>
                    <a:pt x="6327" y="3281"/>
                  </a:lnTo>
                  <a:lnTo>
                    <a:pt x="6142" y="3467"/>
                  </a:lnTo>
                  <a:lnTo>
                    <a:pt x="5956" y="3281"/>
                  </a:lnTo>
                  <a:close/>
                  <a:moveTo>
                    <a:pt x="6354" y="3306"/>
                  </a:moveTo>
                  <a:lnTo>
                    <a:pt x="6539" y="3493"/>
                  </a:lnTo>
                  <a:lnTo>
                    <a:pt x="6354" y="3679"/>
                  </a:lnTo>
                  <a:lnTo>
                    <a:pt x="6166" y="3493"/>
                  </a:lnTo>
                  <a:lnTo>
                    <a:pt x="6354" y="3306"/>
                  </a:lnTo>
                  <a:close/>
                  <a:moveTo>
                    <a:pt x="6378" y="3281"/>
                  </a:moveTo>
                  <a:lnTo>
                    <a:pt x="6566" y="3094"/>
                  </a:lnTo>
                  <a:lnTo>
                    <a:pt x="6751" y="3281"/>
                  </a:lnTo>
                  <a:lnTo>
                    <a:pt x="6566" y="3467"/>
                  </a:lnTo>
                  <a:lnTo>
                    <a:pt x="6378" y="3281"/>
                  </a:lnTo>
                  <a:close/>
                  <a:moveTo>
                    <a:pt x="6776" y="3306"/>
                  </a:moveTo>
                  <a:lnTo>
                    <a:pt x="6963" y="3493"/>
                  </a:lnTo>
                  <a:lnTo>
                    <a:pt x="6776" y="3679"/>
                  </a:lnTo>
                  <a:lnTo>
                    <a:pt x="6590" y="3493"/>
                  </a:lnTo>
                  <a:lnTo>
                    <a:pt x="6776" y="3306"/>
                  </a:lnTo>
                  <a:close/>
                  <a:moveTo>
                    <a:pt x="6802" y="3281"/>
                  </a:moveTo>
                  <a:lnTo>
                    <a:pt x="6988" y="3094"/>
                  </a:lnTo>
                  <a:lnTo>
                    <a:pt x="7175" y="3281"/>
                  </a:lnTo>
                  <a:lnTo>
                    <a:pt x="6988" y="3467"/>
                  </a:lnTo>
                  <a:lnTo>
                    <a:pt x="6802" y="3281"/>
                  </a:lnTo>
                  <a:close/>
                  <a:moveTo>
                    <a:pt x="7200" y="3306"/>
                  </a:moveTo>
                  <a:lnTo>
                    <a:pt x="7386" y="3493"/>
                  </a:lnTo>
                  <a:lnTo>
                    <a:pt x="7200" y="3679"/>
                  </a:lnTo>
                  <a:lnTo>
                    <a:pt x="7014" y="3493"/>
                  </a:lnTo>
                  <a:lnTo>
                    <a:pt x="7200" y="3306"/>
                  </a:lnTo>
                  <a:close/>
                  <a:moveTo>
                    <a:pt x="7226" y="3281"/>
                  </a:moveTo>
                  <a:lnTo>
                    <a:pt x="7412" y="3094"/>
                  </a:lnTo>
                  <a:lnTo>
                    <a:pt x="7598" y="3281"/>
                  </a:lnTo>
                  <a:lnTo>
                    <a:pt x="7412" y="3467"/>
                  </a:lnTo>
                  <a:lnTo>
                    <a:pt x="7226" y="3281"/>
                  </a:lnTo>
                  <a:close/>
                  <a:moveTo>
                    <a:pt x="7624" y="3306"/>
                  </a:moveTo>
                  <a:lnTo>
                    <a:pt x="7810" y="3493"/>
                  </a:lnTo>
                  <a:lnTo>
                    <a:pt x="7624" y="3679"/>
                  </a:lnTo>
                  <a:lnTo>
                    <a:pt x="7437" y="3493"/>
                  </a:lnTo>
                  <a:lnTo>
                    <a:pt x="7624" y="3306"/>
                  </a:lnTo>
                  <a:close/>
                  <a:moveTo>
                    <a:pt x="7649" y="3281"/>
                  </a:moveTo>
                  <a:lnTo>
                    <a:pt x="7836" y="3094"/>
                  </a:lnTo>
                  <a:lnTo>
                    <a:pt x="8022" y="3281"/>
                  </a:lnTo>
                  <a:lnTo>
                    <a:pt x="7836" y="3467"/>
                  </a:lnTo>
                  <a:lnTo>
                    <a:pt x="7649" y="3281"/>
                  </a:lnTo>
                  <a:close/>
                  <a:moveTo>
                    <a:pt x="8047" y="3306"/>
                  </a:moveTo>
                  <a:lnTo>
                    <a:pt x="8234" y="3493"/>
                  </a:lnTo>
                  <a:lnTo>
                    <a:pt x="8047" y="3679"/>
                  </a:lnTo>
                  <a:lnTo>
                    <a:pt x="7861" y="3493"/>
                  </a:lnTo>
                  <a:lnTo>
                    <a:pt x="8047" y="3306"/>
                  </a:lnTo>
                  <a:close/>
                  <a:moveTo>
                    <a:pt x="8073" y="3281"/>
                  </a:moveTo>
                  <a:lnTo>
                    <a:pt x="8259" y="3094"/>
                  </a:lnTo>
                  <a:lnTo>
                    <a:pt x="8446" y="3281"/>
                  </a:lnTo>
                  <a:lnTo>
                    <a:pt x="8259" y="3467"/>
                  </a:lnTo>
                  <a:lnTo>
                    <a:pt x="8073" y="3281"/>
                  </a:lnTo>
                  <a:close/>
                  <a:moveTo>
                    <a:pt x="8470" y="3306"/>
                  </a:moveTo>
                  <a:lnTo>
                    <a:pt x="8656" y="3493"/>
                  </a:lnTo>
                  <a:lnTo>
                    <a:pt x="8470" y="3679"/>
                  </a:lnTo>
                  <a:lnTo>
                    <a:pt x="8285" y="3493"/>
                  </a:lnTo>
                  <a:lnTo>
                    <a:pt x="8470" y="3306"/>
                  </a:lnTo>
                  <a:close/>
                  <a:moveTo>
                    <a:pt x="8497" y="3281"/>
                  </a:moveTo>
                  <a:lnTo>
                    <a:pt x="8682" y="3094"/>
                  </a:lnTo>
                  <a:lnTo>
                    <a:pt x="8868" y="3281"/>
                  </a:lnTo>
                  <a:lnTo>
                    <a:pt x="8682" y="3467"/>
                  </a:lnTo>
                  <a:lnTo>
                    <a:pt x="8497" y="3281"/>
                  </a:lnTo>
                  <a:close/>
                  <a:moveTo>
                    <a:pt x="8894" y="3306"/>
                  </a:moveTo>
                  <a:lnTo>
                    <a:pt x="9080" y="3493"/>
                  </a:lnTo>
                  <a:lnTo>
                    <a:pt x="8894" y="3679"/>
                  </a:lnTo>
                  <a:lnTo>
                    <a:pt x="8707" y="3493"/>
                  </a:lnTo>
                  <a:lnTo>
                    <a:pt x="8894" y="3306"/>
                  </a:lnTo>
                  <a:close/>
                  <a:moveTo>
                    <a:pt x="8919" y="3281"/>
                  </a:moveTo>
                  <a:lnTo>
                    <a:pt x="9106" y="3094"/>
                  </a:lnTo>
                  <a:lnTo>
                    <a:pt x="9292" y="3281"/>
                  </a:lnTo>
                  <a:lnTo>
                    <a:pt x="9106" y="3467"/>
                  </a:lnTo>
                  <a:lnTo>
                    <a:pt x="8919" y="3281"/>
                  </a:lnTo>
                  <a:close/>
                  <a:moveTo>
                    <a:pt x="9317" y="3306"/>
                  </a:moveTo>
                  <a:lnTo>
                    <a:pt x="9504" y="3493"/>
                  </a:lnTo>
                  <a:lnTo>
                    <a:pt x="9317" y="3679"/>
                  </a:lnTo>
                  <a:lnTo>
                    <a:pt x="9131" y="3493"/>
                  </a:lnTo>
                  <a:lnTo>
                    <a:pt x="9317" y="3306"/>
                  </a:lnTo>
                  <a:close/>
                  <a:moveTo>
                    <a:pt x="9343" y="3281"/>
                  </a:moveTo>
                  <a:lnTo>
                    <a:pt x="9529" y="3094"/>
                  </a:lnTo>
                  <a:lnTo>
                    <a:pt x="9716" y="3281"/>
                  </a:lnTo>
                  <a:lnTo>
                    <a:pt x="9529" y="3467"/>
                  </a:lnTo>
                  <a:lnTo>
                    <a:pt x="9343" y="3281"/>
                  </a:lnTo>
                  <a:close/>
                  <a:moveTo>
                    <a:pt x="9741" y="3306"/>
                  </a:moveTo>
                  <a:lnTo>
                    <a:pt x="9927" y="3493"/>
                  </a:lnTo>
                  <a:lnTo>
                    <a:pt x="9741" y="3679"/>
                  </a:lnTo>
                  <a:lnTo>
                    <a:pt x="9555" y="3493"/>
                  </a:lnTo>
                  <a:lnTo>
                    <a:pt x="9741" y="3306"/>
                  </a:lnTo>
                  <a:close/>
                  <a:moveTo>
                    <a:pt x="9767" y="3281"/>
                  </a:moveTo>
                  <a:lnTo>
                    <a:pt x="9953" y="3094"/>
                  </a:lnTo>
                  <a:lnTo>
                    <a:pt x="10139" y="3281"/>
                  </a:lnTo>
                  <a:lnTo>
                    <a:pt x="9953" y="3467"/>
                  </a:lnTo>
                  <a:lnTo>
                    <a:pt x="9767" y="3281"/>
                  </a:lnTo>
                  <a:close/>
                  <a:moveTo>
                    <a:pt x="10165" y="3306"/>
                  </a:moveTo>
                  <a:lnTo>
                    <a:pt x="10351" y="3493"/>
                  </a:lnTo>
                  <a:lnTo>
                    <a:pt x="10165" y="3679"/>
                  </a:lnTo>
                  <a:lnTo>
                    <a:pt x="9979" y="3493"/>
                  </a:lnTo>
                  <a:lnTo>
                    <a:pt x="10165" y="3306"/>
                  </a:lnTo>
                  <a:close/>
                  <a:moveTo>
                    <a:pt x="10190" y="3281"/>
                  </a:moveTo>
                  <a:lnTo>
                    <a:pt x="10377" y="3094"/>
                  </a:lnTo>
                  <a:lnTo>
                    <a:pt x="10563" y="3281"/>
                  </a:lnTo>
                  <a:lnTo>
                    <a:pt x="10377" y="3467"/>
                  </a:lnTo>
                  <a:lnTo>
                    <a:pt x="10190" y="3281"/>
                  </a:lnTo>
                  <a:close/>
                  <a:moveTo>
                    <a:pt x="10589" y="3306"/>
                  </a:moveTo>
                  <a:lnTo>
                    <a:pt x="10775" y="3493"/>
                  </a:lnTo>
                  <a:lnTo>
                    <a:pt x="10589" y="3679"/>
                  </a:lnTo>
                  <a:lnTo>
                    <a:pt x="10402" y="3493"/>
                  </a:lnTo>
                  <a:lnTo>
                    <a:pt x="10589" y="3306"/>
                  </a:lnTo>
                  <a:close/>
                  <a:moveTo>
                    <a:pt x="10614" y="3281"/>
                  </a:moveTo>
                  <a:lnTo>
                    <a:pt x="10799" y="3094"/>
                  </a:lnTo>
                  <a:lnTo>
                    <a:pt x="10986" y="3281"/>
                  </a:lnTo>
                  <a:lnTo>
                    <a:pt x="10799" y="3467"/>
                  </a:lnTo>
                  <a:lnTo>
                    <a:pt x="10614" y="3281"/>
                  </a:lnTo>
                  <a:close/>
                  <a:moveTo>
                    <a:pt x="11011" y="3306"/>
                  </a:moveTo>
                  <a:lnTo>
                    <a:pt x="11198" y="3493"/>
                  </a:lnTo>
                  <a:lnTo>
                    <a:pt x="11011" y="3679"/>
                  </a:lnTo>
                  <a:lnTo>
                    <a:pt x="10826" y="3493"/>
                  </a:lnTo>
                  <a:lnTo>
                    <a:pt x="11011" y="3306"/>
                  </a:lnTo>
                  <a:close/>
                  <a:moveTo>
                    <a:pt x="11038" y="3281"/>
                  </a:moveTo>
                  <a:lnTo>
                    <a:pt x="11223" y="3094"/>
                  </a:lnTo>
                  <a:lnTo>
                    <a:pt x="11409" y="3281"/>
                  </a:lnTo>
                  <a:lnTo>
                    <a:pt x="11223" y="3467"/>
                  </a:lnTo>
                  <a:lnTo>
                    <a:pt x="11038" y="3281"/>
                  </a:lnTo>
                  <a:close/>
                  <a:moveTo>
                    <a:pt x="11435" y="3306"/>
                  </a:moveTo>
                  <a:lnTo>
                    <a:pt x="11621" y="3493"/>
                  </a:lnTo>
                  <a:lnTo>
                    <a:pt x="11435" y="3679"/>
                  </a:lnTo>
                  <a:lnTo>
                    <a:pt x="11250" y="3493"/>
                  </a:lnTo>
                  <a:lnTo>
                    <a:pt x="11435" y="3306"/>
                  </a:lnTo>
                  <a:close/>
                  <a:moveTo>
                    <a:pt x="11460" y="3281"/>
                  </a:moveTo>
                  <a:lnTo>
                    <a:pt x="11647" y="3094"/>
                  </a:lnTo>
                  <a:lnTo>
                    <a:pt x="11833" y="3281"/>
                  </a:lnTo>
                  <a:lnTo>
                    <a:pt x="11647" y="3467"/>
                  </a:lnTo>
                  <a:lnTo>
                    <a:pt x="11460" y="3281"/>
                  </a:lnTo>
                  <a:close/>
                  <a:moveTo>
                    <a:pt x="11859" y="3306"/>
                  </a:moveTo>
                  <a:lnTo>
                    <a:pt x="12045" y="3493"/>
                  </a:lnTo>
                  <a:lnTo>
                    <a:pt x="11859" y="3679"/>
                  </a:lnTo>
                  <a:lnTo>
                    <a:pt x="11672" y="3493"/>
                  </a:lnTo>
                  <a:lnTo>
                    <a:pt x="11859" y="3306"/>
                  </a:lnTo>
                  <a:close/>
                  <a:moveTo>
                    <a:pt x="11884" y="3281"/>
                  </a:moveTo>
                  <a:lnTo>
                    <a:pt x="12070" y="3094"/>
                  </a:lnTo>
                  <a:lnTo>
                    <a:pt x="12257" y="3281"/>
                  </a:lnTo>
                  <a:lnTo>
                    <a:pt x="12070" y="3467"/>
                  </a:lnTo>
                  <a:lnTo>
                    <a:pt x="11884" y="3281"/>
                  </a:lnTo>
                  <a:close/>
                  <a:moveTo>
                    <a:pt x="12282" y="3306"/>
                  </a:moveTo>
                  <a:lnTo>
                    <a:pt x="12469" y="3493"/>
                  </a:lnTo>
                  <a:lnTo>
                    <a:pt x="12282" y="3679"/>
                  </a:lnTo>
                  <a:lnTo>
                    <a:pt x="12096" y="3493"/>
                  </a:lnTo>
                  <a:lnTo>
                    <a:pt x="12282" y="3306"/>
                  </a:lnTo>
                  <a:close/>
                  <a:moveTo>
                    <a:pt x="12308" y="3281"/>
                  </a:moveTo>
                  <a:lnTo>
                    <a:pt x="12494" y="3094"/>
                  </a:lnTo>
                  <a:lnTo>
                    <a:pt x="12679" y="3281"/>
                  </a:lnTo>
                  <a:lnTo>
                    <a:pt x="12494" y="3467"/>
                  </a:lnTo>
                  <a:lnTo>
                    <a:pt x="12308" y="3281"/>
                  </a:lnTo>
                  <a:close/>
                  <a:moveTo>
                    <a:pt x="12706" y="3306"/>
                  </a:moveTo>
                  <a:lnTo>
                    <a:pt x="12891" y="3493"/>
                  </a:lnTo>
                  <a:lnTo>
                    <a:pt x="12706" y="3679"/>
                  </a:lnTo>
                  <a:lnTo>
                    <a:pt x="12520" y="3493"/>
                  </a:lnTo>
                  <a:lnTo>
                    <a:pt x="12706" y="3306"/>
                  </a:lnTo>
                  <a:close/>
                  <a:moveTo>
                    <a:pt x="12730" y="3281"/>
                  </a:moveTo>
                  <a:lnTo>
                    <a:pt x="12918" y="3094"/>
                  </a:lnTo>
                  <a:lnTo>
                    <a:pt x="13103" y="3281"/>
                  </a:lnTo>
                  <a:lnTo>
                    <a:pt x="12918" y="3467"/>
                  </a:lnTo>
                  <a:lnTo>
                    <a:pt x="12730" y="3281"/>
                  </a:lnTo>
                  <a:close/>
                  <a:moveTo>
                    <a:pt x="13130" y="3306"/>
                  </a:moveTo>
                  <a:lnTo>
                    <a:pt x="13315" y="3493"/>
                  </a:lnTo>
                  <a:lnTo>
                    <a:pt x="13130" y="3679"/>
                  </a:lnTo>
                  <a:lnTo>
                    <a:pt x="12942" y="3493"/>
                  </a:lnTo>
                  <a:lnTo>
                    <a:pt x="13130" y="3306"/>
                  </a:lnTo>
                  <a:close/>
                  <a:moveTo>
                    <a:pt x="13154" y="3281"/>
                  </a:moveTo>
                  <a:lnTo>
                    <a:pt x="13340" y="3094"/>
                  </a:lnTo>
                  <a:lnTo>
                    <a:pt x="13527" y="3281"/>
                  </a:lnTo>
                  <a:lnTo>
                    <a:pt x="13340" y="3467"/>
                  </a:lnTo>
                  <a:lnTo>
                    <a:pt x="13154" y="3281"/>
                  </a:lnTo>
                  <a:close/>
                  <a:moveTo>
                    <a:pt x="13552" y="3306"/>
                  </a:moveTo>
                  <a:lnTo>
                    <a:pt x="13739" y="3493"/>
                  </a:lnTo>
                  <a:lnTo>
                    <a:pt x="13552" y="3679"/>
                  </a:lnTo>
                  <a:lnTo>
                    <a:pt x="13366" y="3493"/>
                  </a:lnTo>
                  <a:lnTo>
                    <a:pt x="13552" y="3306"/>
                  </a:lnTo>
                  <a:close/>
                  <a:moveTo>
                    <a:pt x="13578" y="3281"/>
                  </a:moveTo>
                  <a:lnTo>
                    <a:pt x="13764" y="3094"/>
                  </a:lnTo>
                  <a:lnTo>
                    <a:pt x="13950" y="3281"/>
                  </a:lnTo>
                  <a:lnTo>
                    <a:pt x="13764" y="3467"/>
                  </a:lnTo>
                  <a:lnTo>
                    <a:pt x="13578" y="3281"/>
                  </a:lnTo>
                  <a:close/>
                  <a:moveTo>
                    <a:pt x="13976" y="3306"/>
                  </a:moveTo>
                  <a:lnTo>
                    <a:pt x="14162" y="3493"/>
                  </a:lnTo>
                  <a:lnTo>
                    <a:pt x="13976" y="3679"/>
                  </a:lnTo>
                  <a:lnTo>
                    <a:pt x="13790" y="3493"/>
                  </a:lnTo>
                  <a:lnTo>
                    <a:pt x="13976" y="3306"/>
                  </a:lnTo>
                  <a:close/>
                  <a:moveTo>
                    <a:pt x="14002" y="3281"/>
                  </a:moveTo>
                  <a:lnTo>
                    <a:pt x="14188" y="3094"/>
                  </a:lnTo>
                  <a:lnTo>
                    <a:pt x="14374" y="3281"/>
                  </a:lnTo>
                  <a:lnTo>
                    <a:pt x="14188" y="3467"/>
                  </a:lnTo>
                  <a:lnTo>
                    <a:pt x="14002" y="3281"/>
                  </a:lnTo>
                  <a:close/>
                  <a:moveTo>
                    <a:pt x="14400" y="3306"/>
                  </a:moveTo>
                  <a:lnTo>
                    <a:pt x="14586" y="3493"/>
                  </a:lnTo>
                  <a:lnTo>
                    <a:pt x="14400" y="3679"/>
                  </a:lnTo>
                  <a:lnTo>
                    <a:pt x="14213" y="3493"/>
                  </a:lnTo>
                  <a:lnTo>
                    <a:pt x="14400" y="3306"/>
                  </a:lnTo>
                  <a:close/>
                  <a:moveTo>
                    <a:pt x="14213" y="3069"/>
                  </a:moveTo>
                  <a:lnTo>
                    <a:pt x="14400" y="2883"/>
                  </a:lnTo>
                  <a:lnTo>
                    <a:pt x="14586" y="3069"/>
                  </a:lnTo>
                  <a:lnTo>
                    <a:pt x="14400" y="3255"/>
                  </a:lnTo>
                  <a:lnTo>
                    <a:pt x="14213" y="3069"/>
                  </a:lnTo>
                  <a:close/>
                  <a:moveTo>
                    <a:pt x="14213" y="2645"/>
                  </a:moveTo>
                  <a:lnTo>
                    <a:pt x="14400" y="2459"/>
                  </a:lnTo>
                  <a:lnTo>
                    <a:pt x="14586" y="2645"/>
                  </a:lnTo>
                  <a:lnTo>
                    <a:pt x="14400" y="2832"/>
                  </a:lnTo>
                  <a:lnTo>
                    <a:pt x="14213" y="2645"/>
                  </a:lnTo>
                  <a:close/>
                  <a:moveTo>
                    <a:pt x="14213" y="2223"/>
                  </a:moveTo>
                  <a:lnTo>
                    <a:pt x="14400" y="2035"/>
                  </a:lnTo>
                  <a:lnTo>
                    <a:pt x="14586" y="2223"/>
                  </a:lnTo>
                  <a:lnTo>
                    <a:pt x="14400" y="2408"/>
                  </a:lnTo>
                  <a:lnTo>
                    <a:pt x="14213" y="2223"/>
                  </a:lnTo>
                  <a:close/>
                  <a:moveTo>
                    <a:pt x="14213" y="1798"/>
                  </a:moveTo>
                  <a:lnTo>
                    <a:pt x="14400" y="1613"/>
                  </a:lnTo>
                  <a:lnTo>
                    <a:pt x="14586" y="1798"/>
                  </a:lnTo>
                  <a:lnTo>
                    <a:pt x="14400" y="1984"/>
                  </a:lnTo>
                  <a:lnTo>
                    <a:pt x="14213" y="1798"/>
                  </a:lnTo>
                  <a:close/>
                  <a:moveTo>
                    <a:pt x="14213" y="1374"/>
                  </a:moveTo>
                  <a:lnTo>
                    <a:pt x="14400" y="1189"/>
                  </a:lnTo>
                  <a:lnTo>
                    <a:pt x="14586" y="1374"/>
                  </a:lnTo>
                  <a:lnTo>
                    <a:pt x="14400" y="1562"/>
                  </a:lnTo>
                  <a:lnTo>
                    <a:pt x="14213" y="1374"/>
                  </a:lnTo>
                  <a:close/>
                  <a:moveTo>
                    <a:pt x="14213" y="952"/>
                  </a:moveTo>
                  <a:lnTo>
                    <a:pt x="14400" y="764"/>
                  </a:lnTo>
                  <a:lnTo>
                    <a:pt x="14586" y="952"/>
                  </a:lnTo>
                  <a:lnTo>
                    <a:pt x="14400" y="1137"/>
                  </a:lnTo>
                  <a:lnTo>
                    <a:pt x="14213" y="952"/>
                  </a:lnTo>
                  <a:close/>
                  <a:moveTo>
                    <a:pt x="14188" y="925"/>
                  </a:moveTo>
                  <a:lnTo>
                    <a:pt x="14002" y="740"/>
                  </a:lnTo>
                  <a:lnTo>
                    <a:pt x="14188" y="552"/>
                  </a:lnTo>
                  <a:lnTo>
                    <a:pt x="14374" y="740"/>
                  </a:lnTo>
                  <a:lnTo>
                    <a:pt x="14188" y="925"/>
                  </a:lnTo>
                  <a:close/>
                  <a:moveTo>
                    <a:pt x="14162" y="952"/>
                  </a:moveTo>
                  <a:lnTo>
                    <a:pt x="13976" y="1137"/>
                  </a:lnTo>
                  <a:lnTo>
                    <a:pt x="13790" y="952"/>
                  </a:lnTo>
                  <a:lnTo>
                    <a:pt x="13976" y="764"/>
                  </a:lnTo>
                  <a:lnTo>
                    <a:pt x="14162" y="952"/>
                  </a:lnTo>
                  <a:close/>
                  <a:moveTo>
                    <a:pt x="13764" y="925"/>
                  </a:moveTo>
                  <a:lnTo>
                    <a:pt x="13578" y="740"/>
                  </a:lnTo>
                  <a:lnTo>
                    <a:pt x="13764" y="552"/>
                  </a:lnTo>
                  <a:lnTo>
                    <a:pt x="13950" y="740"/>
                  </a:lnTo>
                  <a:lnTo>
                    <a:pt x="13764" y="925"/>
                  </a:lnTo>
                  <a:close/>
                  <a:moveTo>
                    <a:pt x="13739" y="952"/>
                  </a:moveTo>
                  <a:lnTo>
                    <a:pt x="13552" y="1137"/>
                  </a:lnTo>
                  <a:lnTo>
                    <a:pt x="13366" y="952"/>
                  </a:lnTo>
                  <a:lnTo>
                    <a:pt x="13552" y="764"/>
                  </a:lnTo>
                  <a:lnTo>
                    <a:pt x="13739" y="952"/>
                  </a:lnTo>
                  <a:close/>
                  <a:moveTo>
                    <a:pt x="13340" y="925"/>
                  </a:moveTo>
                  <a:lnTo>
                    <a:pt x="13154" y="740"/>
                  </a:lnTo>
                  <a:lnTo>
                    <a:pt x="13340" y="552"/>
                  </a:lnTo>
                  <a:lnTo>
                    <a:pt x="13527" y="740"/>
                  </a:lnTo>
                  <a:lnTo>
                    <a:pt x="13340" y="925"/>
                  </a:lnTo>
                  <a:close/>
                  <a:moveTo>
                    <a:pt x="13315" y="952"/>
                  </a:moveTo>
                  <a:lnTo>
                    <a:pt x="13130" y="1137"/>
                  </a:lnTo>
                  <a:lnTo>
                    <a:pt x="12942" y="952"/>
                  </a:lnTo>
                  <a:lnTo>
                    <a:pt x="13130" y="764"/>
                  </a:lnTo>
                  <a:lnTo>
                    <a:pt x="13315" y="952"/>
                  </a:lnTo>
                  <a:close/>
                  <a:moveTo>
                    <a:pt x="12918" y="925"/>
                  </a:moveTo>
                  <a:lnTo>
                    <a:pt x="12730" y="740"/>
                  </a:lnTo>
                  <a:lnTo>
                    <a:pt x="12918" y="552"/>
                  </a:lnTo>
                  <a:lnTo>
                    <a:pt x="13103" y="740"/>
                  </a:lnTo>
                  <a:lnTo>
                    <a:pt x="12918" y="925"/>
                  </a:lnTo>
                  <a:close/>
                  <a:moveTo>
                    <a:pt x="12891" y="952"/>
                  </a:moveTo>
                  <a:lnTo>
                    <a:pt x="12706" y="1137"/>
                  </a:lnTo>
                  <a:lnTo>
                    <a:pt x="12520" y="952"/>
                  </a:lnTo>
                  <a:lnTo>
                    <a:pt x="12706" y="764"/>
                  </a:lnTo>
                  <a:lnTo>
                    <a:pt x="12891" y="952"/>
                  </a:lnTo>
                  <a:close/>
                  <a:moveTo>
                    <a:pt x="12494" y="925"/>
                  </a:moveTo>
                  <a:lnTo>
                    <a:pt x="12308" y="740"/>
                  </a:lnTo>
                  <a:lnTo>
                    <a:pt x="12494" y="552"/>
                  </a:lnTo>
                  <a:lnTo>
                    <a:pt x="12679" y="740"/>
                  </a:lnTo>
                  <a:lnTo>
                    <a:pt x="12494" y="925"/>
                  </a:lnTo>
                  <a:close/>
                  <a:moveTo>
                    <a:pt x="12469" y="952"/>
                  </a:moveTo>
                  <a:lnTo>
                    <a:pt x="12282" y="1137"/>
                  </a:lnTo>
                  <a:lnTo>
                    <a:pt x="12096" y="952"/>
                  </a:lnTo>
                  <a:lnTo>
                    <a:pt x="12282" y="764"/>
                  </a:lnTo>
                  <a:lnTo>
                    <a:pt x="12469" y="952"/>
                  </a:lnTo>
                  <a:close/>
                  <a:moveTo>
                    <a:pt x="12070" y="925"/>
                  </a:moveTo>
                  <a:lnTo>
                    <a:pt x="11884" y="740"/>
                  </a:lnTo>
                  <a:lnTo>
                    <a:pt x="12070" y="552"/>
                  </a:lnTo>
                  <a:lnTo>
                    <a:pt x="12257" y="740"/>
                  </a:lnTo>
                  <a:lnTo>
                    <a:pt x="12070" y="925"/>
                  </a:lnTo>
                  <a:close/>
                  <a:moveTo>
                    <a:pt x="12045" y="952"/>
                  </a:moveTo>
                  <a:lnTo>
                    <a:pt x="11859" y="1137"/>
                  </a:lnTo>
                  <a:lnTo>
                    <a:pt x="11672" y="952"/>
                  </a:lnTo>
                  <a:lnTo>
                    <a:pt x="11859" y="764"/>
                  </a:lnTo>
                  <a:lnTo>
                    <a:pt x="12045" y="952"/>
                  </a:lnTo>
                  <a:close/>
                  <a:moveTo>
                    <a:pt x="11647" y="925"/>
                  </a:moveTo>
                  <a:lnTo>
                    <a:pt x="11460" y="740"/>
                  </a:lnTo>
                  <a:lnTo>
                    <a:pt x="11647" y="552"/>
                  </a:lnTo>
                  <a:lnTo>
                    <a:pt x="11833" y="740"/>
                  </a:lnTo>
                  <a:lnTo>
                    <a:pt x="11647" y="925"/>
                  </a:lnTo>
                  <a:close/>
                  <a:moveTo>
                    <a:pt x="11621" y="952"/>
                  </a:moveTo>
                  <a:lnTo>
                    <a:pt x="11435" y="1137"/>
                  </a:lnTo>
                  <a:lnTo>
                    <a:pt x="11250" y="952"/>
                  </a:lnTo>
                  <a:lnTo>
                    <a:pt x="11435" y="764"/>
                  </a:lnTo>
                  <a:lnTo>
                    <a:pt x="11621" y="952"/>
                  </a:lnTo>
                  <a:close/>
                  <a:moveTo>
                    <a:pt x="11223" y="925"/>
                  </a:moveTo>
                  <a:lnTo>
                    <a:pt x="11038" y="740"/>
                  </a:lnTo>
                  <a:lnTo>
                    <a:pt x="11223" y="552"/>
                  </a:lnTo>
                  <a:lnTo>
                    <a:pt x="11409" y="740"/>
                  </a:lnTo>
                  <a:lnTo>
                    <a:pt x="11223" y="925"/>
                  </a:lnTo>
                  <a:close/>
                  <a:moveTo>
                    <a:pt x="11198" y="952"/>
                  </a:moveTo>
                  <a:lnTo>
                    <a:pt x="11011" y="1137"/>
                  </a:lnTo>
                  <a:lnTo>
                    <a:pt x="10826" y="952"/>
                  </a:lnTo>
                  <a:lnTo>
                    <a:pt x="11011" y="764"/>
                  </a:lnTo>
                  <a:lnTo>
                    <a:pt x="11198" y="952"/>
                  </a:lnTo>
                  <a:close/>
                  <a:moveTo>
                    <a:pt x="10799" y="925"/>
                  </a:moveTo>
                  <a:lnTo>
                    <a:pt x="10614" y="740"/>
                  </a:lnTo>
                  <a:lnTo>
                    <a:pt x="10799" y="552"/>
                  </a:lnTo>
                  <a:lnTo>
                    <a:pt x="10986" y="740"/>
                  </a:lnTo>
                  <a:lnTo>
                    <a:pt x="10799" y="925"/>
                  </a:lnTo>
                  <a:close/>
                  <a:moveTo>
                    <a:pt x="10775" y="952"/>
                  </a:moveTo>
                  <a:lnTo>
                    <a:pt x="10589" y="1137"/>
                  </a:lnTo>
                  <a:lnTo>
                    <a:pt x="10402" y="952"/>
                  </a:lnTo>
                  <a:lnTo>
                    <a:pt x="10589" y="764"/>
                  </a:lnTo>
                  <a:lnTo>
                    <a:pt x="10775" y="952"/>
                  </a:lnTo>
                  <a:close/>
                  <a:moveTo>
                    <a:pt x="10377" y="925"/>
                  </a:moveTo>
                  <a:lnTo>
                    <a:pt x="10190" y="740"/>
                  </a:lnTo>
                  <a:lnTo>
                    <a:pt x="10377" y="552"/>
                  </a:lnTo>
                  <a:lnTo>
                    <a:pt x="10563" y="740"/>
                  </a:lnTo>
                  <a:lnTo>
                    <a:pt x="10377" y="925"/>
                  </a:lnTo>
                  <a:close/>
                  <a:moveTo>
                    <a:pt x="10351" y="952"/>
                  </a:moveTo>
                  <a:lnTo>
                    <a:pt x="10165" y="1137"/>
                  </a:lnTo>
                  <a:lnTo>
                    <a:pt x="9979" y="952"/>
                  </a:lnTo>
                  <a:lnTo>
                    <a:pt x="10165" y="764"/>
                  </a:lnTo>
                  <a:lnTo>
                    <a:pt x="10351" y="952"/>
                  </a:lnTo>
                  <a:close/>
                  <a:moveTo>
                    <a:pt x="9953" y="925"/>
                  </a:moveTo>
                  <a:lnTo>
                    <a:pt x="9767" y="740"/>
                  </a:lnTo>
                  <a:lnTo>
                    <a:pt x="9953" y="552"/>
                  </a:lnTo>
                  <a:lnTo>
                    <a:pt x="10139" y="740"/>
                  </a:lnTo>
                  <a:lnTo>
                    <a:pt x="9953" y="925"/>
                  </a:lnTo>
                  <a:close/>
                  <a:moveTo>
                    <a:pt x="9927" y="952"/>
                  </a:moveTo>
                  <a:lnTo>
                    <a:pt x="9741" y="1137"/>
                  </a:lnTo>
                  <a:lnTo>
                    <a:pt x="9555" y="952"/>
                  </a:lnTo>
                  <a:lnTo>
                    <a:pt x="9741" y="764"/>
                  </a:lnTo>
                  <a:lnTo>
                    <a:pt x="9927" y="952"/>
                  </a:lnTo>
                  <a:close/>
                  <a:moveTo>
                    <a:pt x="9529" y="925"/>
                  </a:moveTo>
                  <a:lnTo>
                    <a:pt x="9343" y="740"/>
                  </a:lnTo>
                  <a:lnTo>
                    <a:pt x="9529" y="552"/>
                  </a:lnTo>
                  <a:lnTo>
                    <a:pt x="9716" y="740"/>
                  </a:lnTo>
                  <a:lnTo>
                    <a:pt x="9529" y="925"/>
                  </a:lnTo>
                  <a:close/>
                  <a:moveTo>
                    <a:pt x="9504" y="952"/>
                  </a:moveTo>
                  <a:lnTo>
                    <a:pt x="9317" y="1137"/>
                  </a:lnTo>
                  <a:lnTo>
                    <a:pt x="9131" y="952"/>
                  </a:lnTo>
                  <a:lnTo>
                    <a:pt x="9317" y="764"/>
                  </a:lnTo>
                  <a:lnTo>
                    <a:pt x="9504" y="952"/>
                  </a:lnTo>
                  <a:close/>
                  <a:moveTo>
                    <a:pt x="9106" y="925"/>
                  </a:moveTo>
                  <a:lnTo>
                    <a:pt x="8919" y="740"/>
                  </a:lnTo>
                  <a:lnTo>
                    <a:pt x="9106" y="552"/>
                  </a:lnTo>
                  <a:lnTo>
                    <a:pt x="9292" y="740"/>
                  </a:lnTo>
                  <a:lnTo>
                    <a:pt x="9106" y="925"/>
                  </a:lnTo>
                  <a:close/>
                  <a:moveTo>
                    <a:pt x="9080" y="952"/>
                  </a:moveTo>
                  <a:lnTo>
                    <a:pt x="8894" y="1137"/>
                  </a:lnTo>
                  <a:lnTo>
                    <a:pt x="8707" y="952"/>
                  </a:lnTo>
                  <a:lnTo>
                    <a:pt x="8894" y="764"/>
                  </a:lnTo>
                  <a:lnTo>
                    <a:pt x="9080" y="952"/>
                  </a:lnTo>
                  <a:close/>
                  <a:moveTo>
                    <a:pt x="8682" y="925"/>
                  </a:moveTo>
                  <a:lnTo>
                    <a:pt x="8497" y="740"/>
                  </a:lnTo>
                  <a:lnTo>
                    <a:pt x="8682" y="552"/>
                  </a:lnTo>
                  <a:lnTo>
                    <a:pt x="8868" y="740"/>
                  </a:lnTo>
                  <a:lnTo>
                    <a:pt x="8682" y="925"/>
                  </a:lnTo>
                  <a:close/>
                  <a:moveTo>
                    <a:pt x="8656" y="952"/>
                  </a:moveTo>
                  <a:lnTo>
                    <a:pt x="8470" y="1137"/>
                  </a:lnTo>
                  <a:lnTo>
                    <a:pt x="8285" y="952"/>
                  </a:lnTo>
                  <a:lnTo>
                    <a:pt x="8470" y="764"/>
                  </a:lnTo>
                  <a:lnTo>
                    <a:pt x="8656" y="952"/>
                  </a:lnTo>
                  <a:close/>
                  <a:moveTo>
                    <a:pt x="8259" y="925"/>
                  </a:moveTo>
                  <a:lnTo>
                    <a:pt x="8073" y="740"/>
                  </a:lnTo>
                  <a:lnTo>
                    <a:pt x="8259" y="552"/>
                  </a:lnTo>
                  <a:lnTo>
                    <a:pt x="8446" y="740"/>
                  </a:lnTo>
                  <a:lnTo>
                    <a:pt x="8259" y="925"/>
                  </a:lnTo>
                  <a:close/>
                  <a:moveTo>
                    <a:pt x="8234" y="952"/>
                  </a:moveTo>
                  <a:lnTo>
                    <a:pt x="8047" y="1137"/>
                  </a:lnTo>
                  <a:lnTo>
                    <a:pt x="7861" y="952"/>
                  </a:lnTo>
                  <a:lnTo>
                    <a:pt x="8047" y="764"/>
                  </a:lnTo>
                  <a:lnTo>
                    <a:pt x="8234" y="952"/>
                  </a:lnTo>
                  <a:close/>
                  <a:moveTo>
                    <a:pt x="7836" y="925"/>
                  </a:moveTo>
                  <a:lnTo>
                    <a:pt x="7649" y="740"/>
                  </a:lnTo>
                  <a:lnTo>
                    <a:pt x="7836" y="552"/>
                  </a:lnTo>
                  <a:lnTo>
                    <a:pt x="8022" y="740"/>
                  </a:lnTo>
                  <a:lnTo>
                    <a:pt x="7836" y="925"/>
                  </a:lnTo>
                  <a:close/>
                  <a:moveTo>
                    <a:pt x="7810" y="952"/>
                  </a:moveTo>
                  <a:lnTo>
                    <a:pt x="7624" y="1137"/>
                  </a:lnTo>
                  <a:lnTo>
                    <a:pt x="7437" y="952"/>
                  </a:lnTo>
                  <a:lnTo>
                    <a:pt x="7624" y="764"/>
                  </a:lnTo>
                  <a:lnTo>
                    <a:pt x="7810" y="952"/>
                  </a:lnTo>
                  <a:close/>
                  <a:moveTo>
                    <a:pt x="7412" y="925"/>
                  </a:moveTo>
                  <a:lnTo>
                    <a:pt x="7226" y="740"/>
                  </a:lnTo>
                  <a:lnTo>
                    <a:pt x="7412" y="552"/>
                  </a:lnTo>
                  <a:lnTo>
                    <a:pt x="7598" y="740"/>
                  </a:lnTo>
                  <a:lnTo>
                    <a:pt x="7412" y="925"/>
                  </a:lnTo>
                  <a:close/>
                  <a:moveTo>
                    <a:pt x="7386" y="952"/>
                  </a:moveTo>
                  <a:lnTo>
                    <a:pt x="7200" y="1137"/>
                  </a:lnTo>
                  <a:lnTo>
                    <a:pt x="7014" y="952"/>
                  </a:lnTo>
                  <a:lnTo>
                    <a:pt x="7200" y="764"/>
                  </a:lnTo>
                  <a:lnTo>
                    <a:pt x="7386" y="952"/>
                  </a:lnTo>
                  <a:close/>
                  <a:moveTo>
                    <a:pt x="6988" y="925"/>
                  </a:moveTo>
                  <a:lnTo>
                    <a:pt x="6802" y="740"/>
                  </a:lnTo>
                  <a:lnTo>
                    <a:pt x="6988" y="552"/>
                  </a:lnTo>
                  <a:lnTo>
                    <a:pt x="7175" y="740"/>
                  </a:lnTo>
                  <a:lnTo>
                    <a:pt x="6988" y="925"/>
                  </a:lnTo>
                  <a:close/>
                  <a:moveTo>
                    <a:pt x="6963" y="952"/>
                  </a:moveTo>
                  <a:lnTo>
                    <a:pt x="6776" y="1137"/>
                  </a:lnTo>
                  <a:lnTo>
                    <a:pt x="6590" y="952"/>
                  </a:lnTo>
                  <a:lnTo>
                    <a:pt x="6776" y="764"/>
                  </a:lnTo>
                  <a:lnTo>
                    <a:pt x="6963" y="952"/>
                  </a:lnTo>
                  <a:close/>
                  <a:moveTo>
                    <a:pt x="6566" y="925"/>
                  </a:moveTo>
                  <a:lnTo>
                    <a:pt x="6378" y="740"/>
                  </a:lnTo>
                  <a:lnTo>
                    <a:pt x="6566" y="552"/>
                  </a:lnTo>
                  <a:lnTo>
                    <a:pt x="6751" y="740"/>
                  </a:lnTo>
                  <a:lnTo>
                    <a:pt x="6566" y="925"/>
                  </a:lnTo>
                  <a:close/>
                  <a:moveTo>
                    <a:pt x="6539" y="952"/>
                  </a:moveTo>
                  <a:lnTo>
                    <a:pt x="6354" y="1137"/>
                  </a:lnTo>
                  <a:lnTo>
                    <a:pt x="6166" y="952"/>
                  </a:lnTo>
                  <a:lnTo>
                    <a:pt x="6354" y="764"/>
                  </a:lnTo>
                  <a:lnTo>
                    <a:pt x="6539" y="952"/>
                  </a:lnTo>
                  <a:close/>
                  <a:moveTo>
                    <a:pt x="6142" y="925"/>
                  </a:moveTo>
                  <a:lnTo>
                    <a:pt x="5956" y="740"/>
                  </a:lnTo>
                  <a:lnTo>
                    <a:pt x="6142" y="552"/>
                  </a:lnTo>
                  <a:lnTo>
                    <a:pt x="6327" y="740"/>
                  </a:lnTo>
                  <a:lnTo>
                    <a:pt x="6142" y="925"/>
                  </a:lnTo>
                  <a:close/>
                  <a:moveTo>
                    <a:pt x="6115" y="952"/>
                  </a:moveTo>
                  <a:lnTo>
                    <a:pt x="5930" y="1137"/>
                  </a:lnTo>
                  <a:lnTo>
                    <a:pt x="5744" y="952"/>
                  </a:lnTo>
                  <a:lnTo>
                    <a:pt x="5930" y="764"/>
                  </a:lnTo>
                  <a:lnTo>
                    <a:pt x="6115" y="952"/>
                  </a:lnTo>
                  <a:close/>
                  <a:moveTo>
                    <a:pt x="5718" y="925"/>
                  </a:moveTo>
                  <a:lnTo>
                    <a:pt x="5532" y="740"/>
                  </a:lnTo>
                  <a:lnTo>
                    <a:pt x="5718" y="552"/>
                  </a:lnTo>
                  <a:lnTo>
                    <a:pt x="5903" y="740"/>
                  </a:lnTo>
                  <a:lnTo>
                    <a:pt x="5718" y="925"/>
                  </a:lnTo>
                  <a:close/>
                  <a:moveTo>
                    <a:pt x="5693" y="952"/>
                  </a:moveTo>
                  <a:lnTo>
                    <a:pt x="5506" y="1137"/>
                  </a:lnTo>
                  <a:lnTo>
                    <a:pt x="5320" y="952"/>
                  </a:lnTo>
                  <a:lnTo>
                    <a:pt x="5506" y="764"/>
                  </a:lnTo>
                  <a:lnTo>
                    <a:pt x="5693" y="952"/>
                  </a:lnTo>
                  <a:close/>
                  <a:moveTo>
                    <a:pt x="5294" y="925"/>
                  </a:moveTo>
                  <a:lnTo>
                    <a:pt x="5108" y="740"/>
                  </a:lnTo>
                  <a:lnTo>
                    <a:pt x="5294" y="552"/>
                  </a:lnTo>
                  <a:lnTo>
                    <a:pt x="5481" y="740"/>
                  </a:lnTo>
                  <a:lnTo>
                    <a:pt x="5294" y="925"/>
                  </a:lnTo>
                  <a:close/>
                  <a:moveTo>
                    <a:pt x="5269" y="952"/>
                  </a:moveTo>
                  <a:lnTo>
                    <a:pt x="5083" y="1137"/>
                  </a:lnTo>
                  <a:lnTo>
                    <a:pt x="4896" y="952"/>
                  </a:lnTo>
                  <a:lnTo>
                    <a:pt x="5083" y="764"/>
                  </a:lnTo>
                  <a:lnTo>
                    <a:pt x="5269" y="952"/>
                  </a:lnTo>
                  <a:close/>
                  <a:moveTo>
                    <a:pt x="4871" y="925"/>
                  </a:moveTo>
                  <a:lnTo>
                    <a:pt x="4684" y="740"/>
                  </a:lnTo>
                  <a:lnTo>
                    <a:pt x="4871" y="552"/>
                  </a:lnTo>
                  <a:lnTo>
                    <a:pt x="5057" y="740"/>
                  </a:lnTo>
                  <a:lnTo>
                    <a:pt x="4871" y="925"/>
                  </a:lnTo>
                  <a:close/>
                  <a:moveTo>
                    <a:pt x="4845" y="952"/>
                  </a:moveTo>
                  <a:lnTo>
                    <a:pt x="4659" y="1137"/>
                  </a:lnTo>
                  <a:lnTo>
                    <a:pt x="4474" y="952"/>
                  </a:lnTo>
                  <a:lnTo>
                    <a:pt x="4659" y="764"/>
                  </a:lnTo>
                  <a:lnTo>
                    <a:pt x="4845" y="952"/>
                  </a:lnTo>
                  <a:close/>
                  <a:moveTo>
                    <a:pt x="4447" y="925"/>
                  </a:moveTo>
                  <a:lnTo>
                    <a:pt x="4262" y="740"/>
                  </a:lnTo>
                  <a:lnTo>
                    <a:pt x="4447" y="552"/>
                  </a:lnTo>
                  <a:lnTo>
                    <a:pt x="4633" y="740"/>
                  </a:lnTo>
                  <a:lnTo>
                    <a:pt x="4447" y="925"/>
                  </a:lnTo>
                  <a:close/>
                  <a:moveTo>
                    <a:pt x="4423" y="952"/>
                  </a:moveTo>
                  <a:lnTo>
                    <a:pt x="4235" y="1137"/>
                  </a:lnTo>
                  <a:lnTo>
                    <a:pt x="4050" y="952"/>
                  </a:lnTo>
                  <a:lnTo>
                    <a:pt x="4235" y="764"/>
                  </a:lnTo>
                  <a:lnTo>
                    <a:pt x="4423" y="952"/>
                  </a:lnTo>
                  <a:close/>
                  <a:moveTo>
                    <a:pt x="4023" y="925"/>
                  </a:moveTo>
                  <a:lnTo>
                    <a:pt x="3838" y="740"/>
                  </a:lnTo>
                  <a:lnTo>
                    <a:pt x="4023" y="552"/>
                  </a:lnTo>
                  <a:lnTo>
                    <a:pt x="4211" y="740"/>
                  </a:lnTo>
                  <a:lnTo>
                    <a:pt x="4023" y="925"/>
                  </a:lnTo>
                  <a:close/>
                  <a:moveTo>
                    <a:pt x="3999" y="952"/>
                  </a:moveTo>
                  <a:lnTo>
                    <a:pt x="3813" y="1137"/>
                  </a:lnTo>
                  <a:lnTo>
                    <a:pt x="3626" y="952"/>
                  </a:lnTo>
                  <a:lnTo>
                    <a:pt x="3813" y="764"/>
                  </a:lnTo>
                  <a:lnTo>
                    <a:pt x="3999" y="952"/>
                  </a:lnTo>
                  <a:close/>
                  <a:moveTo>
                    <a:pt x="3601" y="925"/>
                  </a:moveTo>
                  <a:lnTo>
                    <a:pt x="3414" y="740"/>
                  </a:lnTo>
                  <a:lnTo>
                    <a:pt x="3601" y="552"/>
                  </a:lnTo>
                  <a:lnTo>
                    <a:pt x="3787" y="740"/>
                  </a:lnTo>
                  <a:lnTo>
                    <a:pt x="3601" y="925"/>
                  </a:lnTo>
                  <a:close/>
                  <a:moveTo>
                    <a:pt x="3575" y="952"/>
                  </a:moveTo>
                  <a:lnTo>
                    <a:pt x="3389" y="1137"/>
                  </a:lnTo>
                  <a:lnTo>
                    <a:pt x="3203" y="952"/>
                  </a:lnTo>
                  <a:lnTo>
                    <a:pt x="3389" y="764"/>
                  </a:lnTo>
                  <a:lnTo>
                    <a:pt x="3575" y="952"/>
                  </a:lnTo>
                  <a:close/>
                  <a:moveTo>
                    <a:pt x="3177" y="925"/>
                  </a:moveTo>
                  <a:lnTo>
                    <a:pt x="2991" y="740"/>
                  </a:lnTo>
                  <a:lnTo>
                    <a:pt x="3177" y="552"/>
                  </a:lnTo>
                  <a:lnTo>
                    <a:pt x="3363" y="740"/>
                  </a:lnTo>
                  <a:lnTo>
                    <a:pt x="3177" y="925"/>
                  </a:lnTo>
                  <a:close/>
                  <a:moveTo>
                    <a:pt x="3152" y="952"/>
                  </a:moveTo>
                  <a:lnTo>
                    <a:pt x="2965" y="1137"/>
                  </a:lnTo>
                  <a:lnTo>
                    <a:pt x="2779" y="952"/>
                  </a:lnTo>
                  <a:lnTo>
                    <a:pt x="2965" y="764"/>
                  </a:lnTo>
                  <a:lnTo>
                    <a:pt x="3152" y="952"/>
                  </a:lnTo>
                  <a:close/>
                  <a:moveTo>
                    <a:pt x="2753" y="925"/>
                  </a:moveTo>
                  <a:lnTo>
                    <a:pt x="2567" y="740"/>
                  </a:lnTo>
                  <a:lnTo>
                    <a:pt x="2753" y="552"/>
                  </a:lnTo>
                  <a:lnTo>
                    <a:pt x="2940" y="740"/>
                  </a:lnTo>
                  <a:lnTo>
                    <a:pt x="2753" y="925"/>
                  </a:lnTo>
                  <a:close/>
                  <a:moveTo>
                    <a:pt x="2728" y="952"/>
                  </a:moveTo>
                  <a:lnTo>
                    <a:pt x="2543" y="1137"/>
                  </a:lnTo>
                  <a:lnTo>
                    <a:pt x="2355" y="952"/>
                  </a:lnTo>
                  <a:lnTo>
                    <a:pt x="2543" y="764"/>
                  </a:lnTo>
                  <a:lnTo>
                    <a:pt x="2728" y="952"/>
                  </a:lnTo>
                  <a:close/>
                  <a:moveTo>
                    <a:pt x="2331" y="925"/>
                  </a:moveTo>
                  <a:lnTo>
                    <a:pt x="2143" y="740"/>
                  </a:lnTo>
                  <a:lnTo>
                    <a:pt x="2331" y="552"/>
                  </a:lnTo>
                  <a:lnTo>
                    <a:pt x="2516" y="740"/>
                  </a:lnTo>
                  <a:lnTo>
                    <a:pt x="2331" y="925"/>
                  </a:lnTo>
                  <a:close/>
                  <a:moveTo>
                    <a:pt x="2304" y="952"/>
                  </a:moveTo>
                  <a:lnTo>
                    <a:pt x="2119" y="1137"/>
                  </a:lnTo>
                  <a:lnTo>
                    <a:pt x="1933" y="952"/>
                  </a:lnTo>
                  <a:lnTo>
                    <a:pt x="2119" y="764"/>
                  </a:lnTo>
                  <a:lnTo>
                    <a:pt x="2304" y="952"/>
                  </a:lnTo>
                  <a:close/>
                  <a:moveTo>
                    <a:pt x="1907" y="925"/>
                  </a:moveTo>
                  <a:lnTo>
                    <a:pt x="1721" y="740"/>
                  </a:lnTo>
                  <a:lnTo>
                    <a:pt x="1907" y="552"/>
                  </a:lnTo>
                  <a:lnTo>
                    <a:pt x="2092" y="740"/>
                  </a:lnTo>
                  <a:lnTo>
                    <a:pt x="1907" y="925"/>
                  </a:lnTo>
                  <a:close/>
                  <a:moveTo>
                    <a:pt x="1882" y="952"/>
                  </a:moveTo>
                  <a:lnTo>
                    <a:pt x="1695" y="1137"/>
                  </a:lnTo>
                  <a:lnTo>
                    <a:pt x="1509" y="952"/>
                  </a:lnTo>
                  <a:lnTo>
                    <a:pt x="1695" y="764"/>
                  </a:lnTo>
                  <a:lnTo>
                    <a:pt x="1882" y="952"/>
                  </a:lnTo>
                  <a:close/>
                  <a:moveTo>
                    <a:pt x="1483" y="925"/>
                  </a:moveTo>
                  <a:lnTo>
                    <a:pt x="1297" y="740"/>
                  </a:lnTo>
                  <a:lnTo>
                    <a:pt x="1483" y="552"/>
                  </a:lnTo>
                  <a:lnTo>
                    <a:pt x="1670" y="740"/>
                  </a:lnTo>
                  <a:lnTo>
                    <a:pt x="1483" y="925"/>
                  </a:lnTo>
                  <a:close/>
                  <a:moveTo>
                    <a:pt x="1458" y="952"/>
                  </a:moveTo>
                  <a:lnTo>
                    <a:pt x="1272" y="1137"/>
                  </a:lnTo>
                  <a:lnTo>
                    <a:pt x="1085" y="952"/>
                  </a:lnTo>
                  <a:lnTo>
                    <a:pt x="1272" y="764"/>
                  </a:lnTo>
                  <a:lnTo>
                    <a:pt x="1458" y="952"/>
                  </a:lnTo>
                  <a:close/>
                  <a:moveTo>
                    <a:pt x="1060" y="925"/>
                  </a:moveTo>
                  <a:lnTo>
                    <a:pt x="873" y="740"/>
                  </a:lnTo>
                  <a:lnTo>
                    <a:pt x="1060" y="552"/>
                  </a:lnTo>
                  <a:lnTo>
                    <a:pt x="1246" y="740"/>
                  </a:lnTo>
                  <a:lnTo>
                    <a:pt x="1060" y="925"/>
                  </a:lnTo>
                  <a:close/>
                  <a:moveTo>
                    <a:pt x="1034" y="952"/>
                  </a:moveTo>
                  <a:lnTo>
                    <a:pt x="848" y="1137"/>
                  </a:lnTo>
                  <a:lnTo>
                    <a:pt x="663" y="952"/>
                  </a:lnTo>
                  <a:lnTo>
                    <a:pt x="848" y="764"/>
                  </a:lnTo>
                  <a:lnTo>
                    <a:pt x="1034" y="952"/>
                  </a:lnTo>
                  <a:close/>
                  <a:moveTo>
                    <a:pt x="636" y="925"/>
                  </a:moveTo>
                  <a:lnTo>
                    <a:pt x="451" y="740"/>
                  </a:lnTo>
                  <a:lnTo>
                    <a:pt x="636" y="552"/>
                  </a:lnTo>
                  <a:lnTo>
                    <a:pt x="822" y="740"/>
                  </a:lnTo>
                  <a:lnTo>
                    <a:pt x="636" y="925"/>
                  </a:lnTo>
                  <a:close/>
                  <a:moveTo>
                    <a:pt x="610" y="952"/>
                  </a:moveTo>
                  <a:lnTo>
                    <a:pt x="424" y="1137"/>
                  </a:lnTo>
                  <a:lnTo>
                    <a:pt x="239" y="952"/>
                  </a:lnTo>
                  <a:lnTo>
                    <a:pt x="424" y="764"/>
                  </a:lnTo>
                  <a:lnTo>
                    <a:pt x="610" y="952"/>
                  </a:lnTo>
                  <a:close/>
                  <a:moveTo>
                    <a:pt x="27" y="1162"/>
                  </a:moveTo>
                  <a:lnTo>
                    <a:pt x="212" y="976"/>
                  </a:lnTo>
                  <a:lnTo>
                    <a:pt x="399" y="1162"/>
                  </a:lnTo>
                  <a:lnTo>
                    <a:pt x="212" y="1350"/>
                  </a:lnTo>
                  <a:lnTo>
                    <a:pt x="27" y="1162"/>
                  </a:lnTo>
                  <a:close/>
                  <a:moveTo>
                    <a:pt x="27" y="1586"/>
                  </a:moveTo>
                  <a:lnTo>
                    <a:pt x="212" y="1401"/>
                  </a:lnTo>
                  <a:lnTo>
                    <a:pt x="399" y="1586"/>
                  </a:lnTo>
                  <a:lnTo>
                    <a:pt x="212" y="1772"/>
                  </a:lnTo>
                  <a:lnTo>
                    <a:pt x="27" y="1586"/>
                  </a:lnTo>
                  <a:close/>
                  <a:moveTo>
                    <a:pt x="27" y="2010"/>
                  </a:moveTo>
                  <a:lnTo>
                    <a:pt x="212" y="1823"/>
                  </a:lnTo>
                  <a:lnTo>
                    <a:pt x="399" y="2010"/>
                  </a:lnTo>
                  <a:lnTo>
                    <a:pt x="212" y="2196"/>
                  </a:lnTo>
                  <a:lnTo>
                    <a:pt x="27" y="2010"/>
                  </a:lnTo>
                  <a:close/>
                  <a:moveTo>
                    <a:pt x="27" y="2433"/>
                  </a:moveTo>
                  <a:lnTo>
                    <a:pt x="212" y="2247"/>
                  </a:lnTo>
                  <a:lnTo>
                    <a:pt x="399" y="2433"/>
                  </a:lnTo>
                  <a:lnTo>
                    <a:pt x="212" y="2620"/>
                  </a:lnTo>
                  <a:lnTo>
                    <a:pt x="27" y="2433"/>
                  </a:lnTo>
                  <a:close/>
                  <a:moveTo>
                    <a:pt x="27" y="2857"/>
                  </a:moveTo>
                  <a:lnTo>
                    <a:pt x="212" y="2671"/>
                  </a:lnTo>
                  <a:lnTo>
                    <a:pt x="399" y="2857"/>
                  </a:lnTo>
                  <a:lnTo>
                    <a:pt x="212" y="3043"/>
                  </a:lnTo>
                  <a:lnTo>
                    <a:pt x="27" y="2857"/>
                  </a:lnTo>
                  <a:close/>
                  <a:moveTo>
                    <a:pt x="27" y="3281"/>
                  </a:moveTo>
                  <a:lnTo>
                    <a:pt x="212" y="3094"/>
                  </a:lnTo>
                  <a:lnTo>
                    <a:pt x="399" y="3281"/>
                  </a:lnTo>
                  <a:lnTo>
                    <a:pt x="212" y="3467"/>
                  </a:lnTo>
                  <a:lnTo>
                    <a:pt x="27" y="3281"/>
                  </a:lnTo>
                  <a:close/>
                  <a:moveTo>
                    <a:pt x="27" y="3704"/>
                  </a:moveTo>
                  <a:lnTo>
                    <a:pt x="212" y="3518"/>
                  </a:lnTo>
                  <a:lnTo>
                    <a:pt x="399" y="3704"/>
                  </a:lnTo>
                  <a:lnTo>
                    <a:pt x="212" y="3891"/>
                  </a:lnTo>
                  <a:lnTo>
                    <a:pt x="27" y="3704"/>
                  </a:lnTo>
                  <a:close/>
                  <a:moveTo>
                    <a:pt x="424" y="4103"/>
                  </a:moveTo>
                  <a:lnTo>
                    <a:pt x="239" y="3916"/>
                  </a:lnTo>
                  <a:lnTo>
                    <a:pt x="424" y="3730"/>
                  </a:lnTo>
                  <a:lnTo>
                    <a:pt x="610" y="3916"/>
                  </a:lnTo>
                  <a:lnTo>
                    <a:pt x="424" y="4103"/>
                  </a:lnTo>
                  <a:close/>
                  <a:moveTo>
                    <a:pt x="451" y="3704"/>
                  </a:moveTo>
                  <a:lnTo>
                    <a:pt x="636" y="3518"/>
                  </a:lnTo>
                  <a:lnTo>
                    <a:pt x="822" y="3704"/>
                  </a:lnTo>
                  <a:lnTo>
                    <a:pt x="636" y="3891"/>
                  </a:lnTo>
                  <a:lnTo>
                    <a:pt x="451" y="3704"/>
                  </a:lnTo>
                  <a:close/>
                  <a:moveTo>
                    <a:pt x="848" y="4103"/>
                  </a:moveTo>
                  <a:lnTo>
                    <a:pt x="663" y="3916"/>
                  </a:lnTo>
                  <a:lnTo>
                    <a:pt x="848" y="3730"/>
                  </a:lnTo>
                  <a:lnTo>
                    <a:pt x="1034" y="3916"/>
                  </a:lnTo>
                  <a:lnTo>
                    <a:pt x="848" y="4103"/>
                  </a:lnTo>
                  <a:close/>
                  <a:moveTo>
                    <a:pt x="873" y="3704"/>
                  </a:moveTo>
                  <a:lnTo>
                    <a:pt x="1060" y="3518"/>
                  </a:lnTo>
                  <a:lnTo>
                    <a:pt x="1246" y="3704"/>
                  </a:lnTo>
                  <a:lnTo>
                    <a:pt x="1060" y="3891"/>
                  </a:lnTo>
                  <a:lnTo>
                    <a:pt x="873" y="3704"/>
                  </a:lnTo>
                  <a:close/>
                  <a:moveTo>
                    <a:pt x="1272" y="4103"/>
                  </a:moveTo>
                  <a:lnTo>
                    <a:pt x="1085" y="3916"/>
                  </a:lnTo>
                  <a:lnTo>
                    <a:pt x="1272" y="3730"/>
                  </a:lnTo>
                  <a:lnTo>
                    <a:pt x="1458" y="3916"/>
                  </a:lnTo>
                  <a:lnTo>
                    <a:pt x="1272" y="4103"/>
                  </a:lnTo>
                  <a:close/>
                  <a:moveTo>
                    <a:pt x="1297" y="3704"/>
                  </a:moveTo>
                  <a:lnTo>
                    <a:pt x="1483" y="3518"/>
                  </a:lnTo>
                  <a:lnTo>
                    <a:pt x="1670" y="3704"/>
                  </a:lnTo>
                  <a:lnTo>
                    <a:pt x="1483" y="3891"/>
                  </a:lnTo>
                  <a:lnTo>
                    <a:pt x="1297" y="3704"/>
                  </a:lnTo>
                  <a:close/>
                  <a:moveTo>
                    <a:pt x="1695" y="4103"/>
                  </a:moveTo>
                  <a:lnTo>
                    <a:pt x="1509" y="3916"/>
                  </a:lnTo>
                  <a:lnTo>
                    <a:pt x="1695" y="3730"/>
                  </a:lnTo>
                  <a:lnTo>
                    <a:pt x="1882" y="3916"/>
                  </a:lnTo>
                  <a:lnTo>
                    <a:pt x="1695" y="4103"/>
                  </a:lnTo>
                  <a:close/>
                  <a:moveTo>
                    <a:pt x="1721" y="3704"/>
                  </a:moveTo>
                  <a:lnTo>
                    <a:pt x="1907" y="3518"/>
                  </a:lnTo>
                  <a:lnTo>
                    <a:pt x="2092" y="3704"/>
                  </a:lnTo>
                  <a:lnTo>
                    <a:pt x="1907" y="3891"/>
                  </a:lnTo>
                  <a:lnTo>
                    <a:pt x="1721" y="3704"/>
                  </a:lnTo>
                  <a:close/>
                  <a:moveTo>
                    <a:pt x="2119" y="4103"/>
                  </a:moveTo>
                  <a:lnTo>
                    <a:pt x="1933" y="3916"/>
                  </a:lnTo>
                  <a:lnTo>
                    <a:pt x="2119" y="3730"/>
                  </a:lnTo>
                  <a:lnTo>
                    <a:pt x="2304" y="3916"/>
                  </a:lnTo>
                  <a:lnTo>
                    <a:pt x="2119" y="4103"/>
                  </a:lnTo>
                  <a:close/>
                  <a:moveTo>
                    <a:pt x="2143" y="3704"/>
                  </a:moveTo>
                  <a:lnTo>
                    <a:pt x="2331" y="3518"/>
                  </a:lnTo>
                  <a:lnTo>
                    <a:pt x="2516" y="3704"/>
                  </a:lnTo>
                  <a:lnTo>
                    <a:pt x="2331" y="3891"/>
                  </a:lnTo>
                  <a:lnTo>
                    <a:pt x="2143" y="3704"/>
                  </a:lnTo>
                  <a:close/>
                  <a:moveTo>
                    <a:pt x="2543" y="4103"/>
                  </a:moveTo>
                  <a:lnTo>
                    <a:pt x="2355" y="3916"/>
                  </a:lnTo>
                  <a:lnTo>
                    <a:pt x="2543" y="3730"/>
                  </a:lnTo>
                  <a:lnTo>
                    <a:pt x="2728" y="3916"/>
                  </a:lnTo>
                  <a:lnTo>
                    <a:pt x="2543" y="4103"/>
                  </a:lnTo>
                  <a:close/>
                  <a:moveTo>
                    <a:pt x="2567" y="3704"/>
                  </a:moveTo>
                  <a:lnTo>
                    <a:pt x="2753" y="3518"/>
                  </a:lnTo>
                  <a:lnTo>
                    <a:pt x="2940" y="3704"/>
                  </a:lnTo>
                  <a:lnTo>
                    <a:pt x="2753" y="3891"/>
                  </a:lnTo>
                  <a:lnTo>
                    <a:pt x="2567" y="3704"/>
                  </a:lnTo>
                  <a:close/>
                  <a:moveTo>
                    <a:pt x="2965" y="4103"/>
                  </a:moveTo>
                  <a:lnTo>
                    <a:pt x="2779" y="3916"/>
                  </a:lnTo>
                  <a:lnTo>
                    <a:pt x="2965" y="3730"/>
                  </a:lnTo>
                  <a:lnTo>
                    <a:pt x="3152" y="3916"/>
                  </a:lnTo>
                  <a:lnTo>
                    <a:pt x="2965" y="4103"/>
                  </a:lnTo>
                  <a:close/>
                  <a:moveTo>
                    <a:pt x="2991" y="3704"/>
                  </a:moveTo>
                  <a:lnTo>
                    <a:pt x="3177" y="3518"/>
                  </a:lnTo>
                  <a:lnTo>
                    <a:pt x="3363" y="3704"/>
                  </a:lnTo>
                  <a:lnTo>
                    <a:pt x="3177" y="3891"/>
                  </a:lnTo>
                  <a:lnTo>
                    <a:pt x="2991" y="3704"/>
                  </a:lnTo>
                  <a:close/>
                  <a:moveTo>
                    <a:pt x="3389" y="4103"/>
                  </a:moveTo>
                  <a:lnTo>
                    <a:pt x="3203" y="3916"/>
                  </a:lnTo>
                  <a:lnTo>
                    <a:pt x="3389" y="3730"/>
                  </a:lnTo>
                  <a:lnTo>
                    <a:pt x="3575" y="3916"/>
                  </a:lnTo>
                  <a:lnTo>
                    <a:pt x="3389" y="4103"/>
                  </a:lnTo>
                  <a:close/>
                  <a:moveTo>
                    <a:pt x="3414" y="3704"/>
                  </a:moveTo>
                  <a:lnTo>
                    <a:pt x="3601" y="3518"/>
                  </a:lnTo>
                  <a:lnTo>
                    <a:pt x="3787" y="3704"/>
                  </a:lnTo>
                  <a:lnTo>
                    <a:pt x="3601" y="3891"/>
                  </a:lnTo>
                  <a:lnTo>
                    <a:pt x="3414" y="3704"/>
                  </a:lnTo>
                  <a:close/>
                  <a:moveTo>
                    <a:pt x="3813" y="4103"/>
                  </a:moveTo>
                  <a:lnTo>
                    <a:pt x="3626" y="3916"/>
                  </a:lnTo>
                  <a:lnTo>
                    <a:pt x="3813" y="3730"/>
                  </a:lnTo>
                  <a:lnTo>
                    <a:pt x="3999" y="3916"/>
                  </a:lnTo>
                  <a:lnTo>
                    <a:pt x="3813" y="4103"/>
                  </a:lnTo>
                  <a:close/>
                  <a:moveTo>
                    <a:pt x="3838" y="3704"/>
                  </a:moveTo>
                  <a:lnTo>
                    <a:pt x="4023" y="3518"/>
                  </a:lnTo>
                  <a:lnTo>
                    <a:pt x="4211" y="3704"/>
                  </a:lnTo>
                  <a:lnTo>
                    <a:pt x="4023" y="3891"/>
                  </a:lnTo>
                  <a:lnTo>
                    <a:pt x="3838" y="3704"/>
                  </a:lnTo>
                  <a:close/>
                  <a:moveTo>
                    <a:pt x="4235" y="4103"/>
                  </a:moveTo>
                  <a:lnTo>
                    <a:pt x="4050" y="3916"/>
                  </a:lnTo>
                  <a:lnTo>
                    <a:pt x="4235" y="3730"/>
                  </a:lnTo>
                  <a:lnTo>
                    <a:pt x="4423" y="3916"/>
                  </a:lnTo>
                  <a:lnTo>
                    <a:pt x="4235" y="4103"/>
                  </a:lnTo>
                  <a:close/>
                  <a:moveTo>
                    <a:pt x="4262" y="3704"/>
                  </a:moveTo>
                  <a:lnTo>
                    <a:pt x="4447" y="3518"/>
                  </a:lnTo>
                  <a:lnTo>
                    <a:pt x="4633" y="3704"/>
                  </a:lnTo>
                  <a:lnTo>
                    <a:pt x="4447" y="3891"/>
                  </a:lnTo>
                  <a:lnTo>
                    <a:pt x="4262" y="3704"/>
                  </a:lnTo>
                  <a:close/>
                  <a:moveTo>
                    <a:pt x="4659" y="4103"/>
                  </a:moveTo>
                  <a:lnTo>
                    <a:pt x="4474" y="3916"/>
                  </a:lnTo>
                  <a:lnTo>
                    <a:pt x="4659" y="3730"/>
                  </a:lnTo>
                  <a:lnTo>
                    <a:pt x="4845" y="3916"/>
                  </a:lnTo>
                  <a:lnTo>
                    <a:pt x="4659" y="4103"/>
                  </a:lnTo>
                  <a:close/>
                  <a:moveTo>
                    <a:pt x="4684" y="3704"/>
                  </a:moveTo>
                  <a:lnTo>
                    <a:pt x="4871" y="3518"/>
                  </a:lnTo>
                  <a:lnTo>
                    <a:pt x="5057" y="3704"/>
                  </a:lnTo>
                  <a:lnTo>
                    <a:pt x="4871" y="3891"/>
                  </a:lnTo>
                  <a:lnTo>
                    <a:pt x="4684" y="3704"/>
                  </a:lnTo>
                  <a:close/>
                  <a:moveTo>
                    <a:pt x="5083" y="4103"/>
                  </a:moveTo>
                  <a:lnTo>
                    <a:pt x="4896" y="3916"/>
                  </a:lnTo>
                  <a:lnTo>
                    <a:pt x="5083" y="3730"/>
                  </a:lnTo>
                  <a:lnTo>
                    <a:pt x="5269" y="3916"/>
                  </a:lnTo>
                  <a:lnTo>
                    <a:pt x="5083" y="4103"/>
                  </a:lnTo>
                  <a:close/>
                  <a:moveTo>
                    <a:pt x="5108" y="3704"/>
                  </a:moveTo>
                  <a:lnTo>
                    <a:pt x="5294" y="3518"/>
                  </a:lnTo>
                  <a:lnTo>
                    <a:pt x="5481" y="3704"/>
                  </a:lnTo>
                  <a:lnTo>
                    <a:pt x="5294" y="3891"/>
                  </a:lnTo>
                  <a:lnTo>
                    <a:pt x="5108" y="3704"/>
                  </a:lnTo>
                  <a:close/>
                  <a:moveTo>
                    <a:pt x="5506" y="4103"/>
                  </a:moveTo>
                  <a:lnTo>
                    <a:pt x="5320" y="3916"/>
                  </a:lnTo>
                  <a:lnTo>
                    <a:pt x="5506" y="3730"/>
                  </a:lnTo>
                  <a:lnTo>
                    <a:pt x="5693" y="3916"/>
                  </a:lnTo>
                  <a:lnTo>
                    <a:pt x="5506" y="4103"/>
                  </a:lnTo>
                  <a:close/>
                  <a:moveTo>
                    <a:pt x="5532" y="3704"/>
                  </a:moveTo>
                  <a:lnTo>
                    <a:pt x="5718" y="3518"/>
                  </a:lnTo>
                  <a:lnTo>
                    <a:pt x="5903" y="3704"/>
                  </a:lnTo>
                  <a:lnTo>
                    <a:pt x="5718" y="3891"/>
                  </a:lnTo>
                  <a:lnTo>
                    <a:pt x="5532" y="3704"/>
                  </a:lnTo>
                  <a:close/>
                  <a:moveTo>
                    <a:pt x="5930" y="4103"/>
                  </a:moveTo>
                  <a:lnTo>
                    <a:pt x="5744" y="3916"/>
                  </a:lnTo>
                  <a:lnTo>
                    <a:pt x="5930" y="3730"/>
                  </a:lnTo>
                  <a:lnTo>
                    <a:pt x="6115" y="3916"/>
                  </a:lnTo>
                  <a:lnTo>
                    <a:pt x="5930" y="4103"/>
                  </a:lnTo>
                  <a:close/>
                  <a:moveTo>
                    <a:pt x="5956" y="3704"/>
                  </a:moveTo>
                  <a:lnTo>
                    <a:pt x="6142" y="3518"/>
                  </a:lnTo>
                  <a:lnTo>
                    <a:pt x="6327" y="3704"/>
                  </a:lnTo>
                  <a:lnTo>
                    <a:pt x="6142" y="3891"/>
                  </a:lnTo>
                  <a:lnTo>
                    <a:pt x="5956" y="3704"/>
                  </a:lnTo>
                  <a:close/>
                  <a:moveTo>
                    <a:pt x="6354" y="4103"/>
                  </a:moveTo>
                  <a:lnTo>
                    <a:pt x="6166" y="3916"/>
                  </a:lnTo>
                  <a:lnTo>
                    <a:pt x="6354" y="3730"/>
                  </a:lnTo>
                  <a:lnTo>
                    <a:pt x="6539" y="3916"/>
                  </a:lnTo>
                  <a:lnTo>
                    <a:pt x="6354" y="4103"/>
                  </a:lnTo>
                  <a:close/>
                  <a:moveTo>
                    <a:pt x="6378" y="3704"/>
                  </a:moveTo>
                  <a:lnTo>
                    <a:pt x="6566" y="3518"/>
                  </a:lnTo>
                  <a:lnTo>
                    <a:pt x="6751" y="3704"/>
                  </a:lnTo>
                  <a:lnTo>
                    <a:pt x="6566" y="3891"/>
                  </a:lnTo>
                  <a:lnTo>
                    <a:pt x="6378" y="3704"/>
                  </a:lnTo>
                  <a:close/>
                  <a:moveTo>
                    <a:pt x="6776" y="4103"/>
                  </a:moveTo>
                  <a:lnTo>
                    <a:pt x="6590" y="3916"/>
                  </a:lnTo>
                  <a:lnTo>
                    <a:pt x="6776" y="3730"/>
                  </a:lnTo>
                  <a:lnTo>
                    <a:pt x="6963" y="3916"/>
                  </a:lnTo>
                  <a:lnTo>
                    <a:pt x="6776" y="4103"/>
                  </a:lnTo>
                  <a:close/>
                  <a:moveTo>
                    <a:pt x="6802" y="3704"/>
                  </a:moveTo>
                  <a:lnTo>
                    <a:pt x="6988" y="3518"/>
                  </a:lnTo>
                  <a:lnTo>
                    <a:pt x="7175" y="3704"/>
                  </a:lnTo>
                  <a:lnTo>
                    <a:pt x="6988" y="3891"/>
                  </a:lnTo>
                  <a:lnTo>
                    <a:pt x="6802" y="3704"/>
                  </a:lnTo>
                  <a:close/>
                  <a:moveTo>
                    <a:pt x="7200" y="4103"/>
                  </a:moveTo>
                  <a:lnTo>
                    <a:pt x="7014" y="3916"/>
                  </a:lnTo>
                  <a:lnTo>
                    <a:pt x="7200" y="3730"/>
                  </a:lnTo>
                  <a:lnTo>
                    <a:pt x="7386" y="3916"/>
                  </a:lnTo>
                  <a:lnTo>
                    <a:pt x="7200" y="4103"/>
                  </a:lnTo>
                  <a:close/>
                  <a:moveTo>
                    <a:pt x="7226" y="3704"/>
                  </a:moveTo>
                  <a:lnTo>
                    <a:pt x="7412" y="3518"/>
                  </a:lnTo>
                  <a:lnTo>
                    <a:pt x="7598" y="3704"/>
                  </a:lnTo>
                  <a:lnTo>
                    <a:pt x="7412" y="3891"/>
                  </a:lnTo>
                  <a:lnTo>
                    <a:pt x="7226" y="3704"/>
                  </a:lnTo>
                  <a:close/>
                  <a:moveTo>
                    <a:pt x="7624" y="4103"/>
                  </a:moveTo>
                  <a:lnTo>
                    <a:pt x="7437" y="3916"/>
                  </a:lnTo>
                  <a:lnTo>
                    <a:pt x="7624" y="3730"/>
                  </a:lnTo>
                  <a:lnTo>
                    <a:pt x="7810" y="3916"/>
                  </a:lnTo>
                  <a:lnTo>
                    <a:pt x="7624" y="4103"/>
                  </a:lnTo>
                  <a:close/>
                  <a:moveTo>
                    <a:pt x="7649" y="3704"/>
                  </a:moveTo>
                  <a:lnTo>
                    <a:pt x="7836" y="3518"/>
                  </a:lnTo>
                  <a:lnTo>
                    <a:pt x="8022" y="3704"/>
                  </a:lnTo>
                  <a:lnTo>
                    <a:pt x="7836" y="3891"/>
                  </a:lnTo>
                  <a:lnTo>
                    <a:pt x="7649" y="3704"/>
                  </a:lnTo>
                  <a:close/>
                  <a:moveTo>
                    <a:pt x="8047" y="4103"/>
                  </a:moveTo>
                  <a:lnTo>
                    <a:pt x="7861" y="3916"/>
                  </a:lnTo>
                  <a:lnTo>
                    <a:pt x="8047" y="3730"/>
                  </a:lnTo>
                  <a:lnTo>
                    <a:pt x="8234" y="3916"/>
                  </a:lnTo>
                  <a:lnTo>
                    <a:pt x="8047" y="4103"/>
                  </a:lnTo>
                  <a:close/>
                  <a:moveTo>
                    <a:pt x="8073" y="3704"/>
                  </a:moveTo>
                  <a:lnTo>
                    <a:pt x="8259" y="3518"/>
                  </a:lnTo>
                  <a:lnTo>
                    <a:pt x="8446" y="3704"/>
                  </a:lnTo>
                  <a:lnTo>
                    <a:pt x="8259" y="3891"/>
                  </a:lnTo>
                  <a:lnTo>
                    <a:pt x="8073" y="3704"/>
                  </a:lnTo>
                  <a:close/>
                  <a:moveTo>
                    <a:pt x="8470" y="4103"/>
                  </a:moveTo>
                  <a:lnTo>
                    <a:pt x="8285" y="3916"/>
                  </a:lnTo>
                  <a:lnTo>
                    <a:pt x="8470" y="3730"/>
                  </a:lnTo>
                  <a:lnTo>
                    <a:pt x="8656" y="3916"/>
                  </a:lnTo>
                  <a:lnTo>
                    <a:pt x="8470" y="4103"/>
                  </a:lnTo>
                  <a:close/>
                  <a:moveTo>
                    <a:pt x="8497" y="3704"/>
                  </a:moveTo>
                  <a:lnTo>
                    <a:pt x="8682" y="3518"/>
                  </a:lnTo>
                  <a:lnTo>
                    <a:pt x="8868" y="3704"/>
                  </a:lnTo>
                  <a:lnTo>
                    <a:pt x="8682" y="3891"/>
                  </a:lnTo>
                  <a:lnTo>
                    <a:pt x="8497" y="3704"/>
                  </a:lnTo>
                  <a:close/>
                  <a:moveTo>
                    <a:pt x="8894" y="4103"/>
                  </a:moveTo>
                  <a:lnTo>
                    <a:pt x="8707" y="3916"/>
                  </a:lnTo>
                  <a:lnTo>
                    <a:pt x="8894" y="3730"/>
                  </a:lnTo>
                  <a:lnTo>
                    <a:pt x="9080" y="3916"/>
                  </a:lnTo>
                  <a:lnTo>
                    <a:pt x="8894" y="4103"/>
                  </a:lnTo>
                  <a:close/>
                  <a:moveTo>
                    <a:pt x="8919" y="3704"/>
                  </a:moveTo>
                  <a:lnTo>
                    <a:pt x="9106" y="3518"/>
                  </a:lnTo>
                  <a:lnTo>
                    <a:pt x="9292" y="3704"/>
                  </a:lnTo>
                  <a:lnTo>
                    <a:pt x="9106" y="3891"/>
                  </a:lnTo>
                  <a:lnTo>
                    <a:pt x="8919" y="3704"/>
                  </a:lnTo>
                  <a:close/>
                  <a:moveTo>
                    <a:pt x="9317" y="4103"/>
                  </a:moveTo>
                  <a:lnTo>
                    <a:pt x="9131" y="3916"/>
                  </a:lnTo>
                  <a:lnTo>
                    <a:pt x="9317" y="3730"/>
                  </a:lnTo>
                  <a:lnTo>
                    <a:pt x="9504" y="3916"/>
                  </a:lnTo>
                  <a:lnTo>
                    <a:pt x="9317" y="4103"/>
                  </a:lnTo>
                  <a:close/>
                  <a:moveTo>
                    <a:pt x="9343" y="3704"/>
                  </a:moveTo>
                  <a:lnTo>
                    <a:pt x="9529" y="3518"/>
                  </a:lnTo>
                  <a:lnTo>
                    <a:pt x="9716" y="3704"/>
                  </a:lnTo>
                  <a:lnTo>
                    <a:pt x="9529" y="3891"/>
                  </a:lnTo>
                  <a:lnTo>
                    <a:pt x="9343" y="3704"/>
                  </a:lnTo>
                  <a:close/>
                  <a:moveTo>
                    <a:pt x="9741" y="4103"/>
                  </a:moveTo>
                  <a:lnTo>
                    <a:pt x="9555" y="3916"/>
                  </a:lnTo>
                  <a:lnTo>
                    <a:pt x="9741" y="3730"/>
                  </a:lnTo>
                  <a:lnTo>
                    <a:pt x="9927" y="3916"/>
                  </a:lnTo>
                  <a:lnTo>
                    <a:pt x="9741" y="4103"/>
                  </a:lnTo>
                  <a:close/>
                  <a:moveTo>
                    <a:pt x="9767" y="3704"/>
                  </a:moveTo>
                  <a:lnTo>
                    <a:pt x="9953" y="3518"/>
                  </a:lnTo>
                  <a:lnTo>
                    <a:pt x="10139" y="3704"/>
                  </a:lnTo>
                  <a:lnTo>
                    <a:pt x="9953" y="3891"/>
                  </a:lnTo>
                  <a:lnTo>
                    <a:pt x="9767" y="3704"/>
                  </a:lnTo>
                  <a:close/>
                  <a:moveTo>
                    <a:pt x="10165" y="4103"/>
                  </a:moveTo>
                  <a:lnTo>
                    <a:pt x="9979" y="3916"/>
                  </a:lnTo>
                  <a:lnTo>
                    <a:pt x="10165" y="3730"/>
                  </a:lnTo>
                  <a:lnTo>
                    <a:pt x="10351" y="3916"/>
                  </a:lnTo>
                  <a:lnTo>
                    <a:pt x="10165" y="4103"/>
                  </a:lnTo>
                  <a:close/>
                  <a:moveTo>
                    <a:pt x="10190" y="3704"/>
                  </a:moveTo>
                  <a:lnTo>
                    <a:pt x="10377" y="3518"/>
                  </a:lnTo>
                  <a:lnTo>
                    <a:pt x="10563" y="3704"/>
                  </a:lnTo>
                  <a:lnTo>
                    <a:pt x="10377" y="3891"/>
                  </a:lnTo>
                  <a:lnTo>
                    <a:pt x="10190" y="3704"/>
                  </a:lnTo>
                  <a:close/>
                  <a:moveTo>
                    <a:pt x="10589" y="4103"/>
                  </a:moveTo>
                  <a:lnTo>
                    <a:pt x="10402" y="3916"/>
                  </a:lnTo>
                  <a:lnTo>
                    <a:pt x="10589" y="3730"/>
                  </a:lnTo>
                  <a:lnTo>
                    <a:pt x="10775" y="3916"/>
                  </a:lnTo>
                  <a:lnTo>
                    <a:pt x="10589" y="4103"/>
                  </a:lnTo>
                  <a:close/>
                  <a:moveTo>
                    <a:pt x="10614" y="3704"/>
                  </a:moveTo>
                  <a:lnTo>
                    <a:pt x="10799" y="3518"/>
                  </a:lnTo>
                  <a:lnTo>
                    <a:pt x="10986" y="3704"/>
                  </a:lnTo>
                  <a:lnTo>
                    <a:pt x="10799" y="3891"/>
                  </a:lnTo>
                  <a:lnTo>
                    <a:pt x="10614" y="3704"/>
                  </a:lnTo>
                  <a:close/>
                  <a:moveTo>
                    <a:pt x="11011" y="4103"/>
                  </a:moveTo>
                  <a:lnTo>
                    <a:pt x="10826" y="3916"/>
                  </a:lnTo>
                  <a:lnTo>
                    <a:pt x="11011" y="3730"/>
                  </a:lnTo>
                  <a:lnTo>
                    <a:pt x="11198" y="3916"/>
                  </a:lnTo>
                  <a:lnTo>
                    <a:pt x="11011" y="4103"/>
                  </a:lnTo>
                  <a:close/>
                  <a:moveTo>
                    <a:pt x="11038" y="3704"/>
                  </a:moveTo>
                  <a:lnTo>
                    <a:pt x="11223" y="3518"/>
                  </a:lnTo>
                  <a:lnTo>
                    <a:pt x="11409" y="3704"/>
                  </a:lnTo>
                  <a:lnTo>
                    <a:pt x="11223" y="3891"/>
                  </a:lnTo>
                  <a:lnTo>
                    <a:pt x="11038" y="3704"/>
                  </a:lnTo>
                  <a:close/>
                  <a:moveTo>
                    <a:pt x="11435" y="4103"/>
                  </a:moveTo>
                  <a:lnTo>
                    <a:pt x="11250" y="3916"/>
                  </a:lnTo>
                  <a:lnTo>
                    <a:pt x="11435" y="3730"/>
                  </a:lnTo>
                  <a:lnTo>
                    <a:pt x="11621" y="3916"/>
                  </a:lnTo>
                  <a:lnTo>
                    <a:pt x="11435" y="4103"/>
                  </a:lnTo>
                  <a:close/>
                  <a:moveTo>
                    <a:pt x="11460" y="3704"/>
                  </a:moveTo>
                  <a:lnTo>
                    <a:pt x="11647" y="3518"/>
                  </a:lnTo>
                  <a:lnTo>
                    <a:pt x="11833" y="3704"/>
                  </a:lnTo>
                  <a:lnTo>
                    <a:pt x="11647" y="3891"/>
                  </a:lnTo>
                  <a:lnTo>
                    <a:pt x="11460" y="3704"/>
                  </a:lnTo>
                  <a:close/>
                  <a:moveTo>
                    <a:pt x="11859" y="4103"/>
                  </a:moveTo>
                  <a:lnTo>
                    <a:pt x="11672" y="3916"/>
                  </a:lnTo>
                  <a:lnTo>
                    <a:pt x="11859" y="3730"/>
                  </a:lnTo>
                  <a:lnTo>
                    <a:pt x="12045" y="3916"/>
                  </a:lnTo>
                  <a:lnTo>
                    <a:pt x="11859" y="4103"/>
                  </a:lnTo>
                  <a:close/>
                  <a:moveTo>
                    <a:pt x="11884" y="3704"/>
                  </a:moveTo>
                  <a:lnTo>
                    <a:pt x="12070" y="3518"/>
                  </a:lnTo>
                  <a:lnTo>
                    <a:pt x="12257" y="3704"/>
                  </a:lnTo>
                  <a:lnTo>
                    <a:pt x="12070" y="3891"/>
                  </a:lnTo>
                  <a:lnTo>
                    <a:pt x="11884" y="3704"/>
                  </a:lnTo>
                  <a:close/>
                  <a:moveTo>
                    <a:pt x="12282" y="4103"/>
                  </a:moveTo>
                  <a:lnTo>
                    <a:pt x="12096" y="3916"/>
                  </a:lnTo>
                  <a:lnTo>
                    <a:pt x="12282" y="3730"/>
                  </a:lnTo>
                  <a:lnTo>
                    <a:pt x="12469" y="3916"/>
                  </a:lnTo>
                  <a:lnTo>
                    <a:pt x="12282" y="4103"/>
                  </a:lnTo>
                  <a:close/>
                  <a:moveTo>
                    <a:pt x="12308" y="3704"/>
                  </a:moveTo>
                  <a:lnTo>
                    <a:pt x="12494" y="3518"/>
                  </a:lnTo>
                  <a:lnTo>
                    <a:pt x="12679" y="3704"/>
                  </a:lnTo>
                  <a:lnTo>
                    <a:pt x="12494" y="3891"/>
                  </a:lnTo>
                  <a:lnTo>
                    <a:pt x="12308" y="3704"/>
                  </a:lnTo>
                  <a:close/>
                  <a:moveTo>
                    <a:pt x="12706" y="4103"/>
                  </a:moveTo>
                  <a:lnTo>
                    <a:pt x="12520" y="3916"/>
                  </a:lnTo>
                  <a:lnTo>
                    <a:pt x="12706" y="3730"/>
                  </a:lnTo>
                  <a:lnTo>
                    <a:pt x="12891" y="3916"/>
                  </a:lnTo>
                  <a:lnTo>
                    <a:pt x="12706" y="4103"/>
                  </a:lnTo>
                  <a:close/>
                  <a:moveTo>
                    <a:pt x="12730" y="3704"/>
                  </a:moveTo>
                  <a:lnTo>
                    <a:pt x="12918" y="3518"/>
                  </a:lnTo>
                  <a:lnTo>
                    <a:pt x="13103" y="3704"/>
                  </a:lnTo>
                  <a:lnTo>
                    <a:pt x="12918" y="3891"/>
                  </a:lnTo>
                  <a:lnTo>
                    <a:pt x="12730" y="3704"/>
                  </a:lnTo>
                  <a:close/>
                  <a:moveTo>
                    <a:pt x="13130" y="4103"/>
                  </a:moveTo>
                  <a:lnTo>
                    <a:pt x="12942" y="3916"/>
                  </a:lnTo>
                  <a:lnTo>
                    <a:pt x="13130" y="3730"/>
                  </a:lnTo>
                  <a:lnTo>
                    <a:pt x="13315" y="3916"/>
                  </a:lnTo>
                  <a:lnTo>
                    <a:pt x="13130" y="4103"/>
                  </a:lnTo>
                  <a:close/>
                  <a:moveTo>
                    <a:pt x="13154" y="3704"/>
                  </a:moveTo>
                  <a:lnTo>
                    <a:pt x="13340" y="3518"/>
                  </a:lnTo>
                  <a:lnTo>
                    <a:pt x="13527" y="3704"/>
                  </a:lnTo>
                  <a:lnTo>
                    <a:pt x="13340" y="3891"/>
                  </a:lnTo>
                  <a:lnTo>
                    <a:pt x="13154" y="3704"/>
                  </a:lnTo>
                  <a:close/>
                  <a:moveTo>
                    <a:pt x="13552" y="4103"/>
                  </a:moveTo>
                  <a:lnTo>
                    <a:pt x="13366" y="3916"/>
                  </a:lnTo>
                  <a:lnTo>
                    <a:pt x="13552" y="3730"/>
                  </a:lnTo>
                  <a:lnTo>
                    <a:pt x="13739" y="3916"/>
                  </a:lnTo>
                  <a:lnTo>
                    <a:pt x="13552" y="4103"/>
                  </a:lnTo>
                  <a:close/>
                  <a:moveTo>
                    <a:pt x="13578" y="3704"/>
                  </a:moveTo>
                  <a:lnTo>
                    <a:pt x="13764" y="3518"/>
                  </a:lnTo>
                  <a:lnTo>
                    <a:pt x="13950" y="3704"/>
                  </a:lnTo>
                  <a:lnTo>
                    <a:pt x="13764" y="3891"/>
                  </a:lnTo>
                  <a:lnTo>
                    <a:pt x="13578" y="3704"/>
                  </a:lnTo>
                  <a:close/>
                  <a:moveTo>
                    <a:pt x="13976" y="4103"/>
                  </a:moveTo>
                  <a:lnTo>
                    <a:pt x="13790" y="3916"/>
                  </a:lnTo>
                  <a:lnTo>
                    <a:pt x="13976" y="3730"/>
                  </a:lnTo>
                  <a:lnTo>
                    <a:pt x="14162" y="3916"/>
                  </a:lnTo>
                  <a:lnTo>
                    <a:pt x="13976" y="4103"/>
                  </a:lnTo>
                  <a:close/>
                  <a:moveTo>
                    <a:pt x="14002" y="3704"/>
                  </a:moveTo>
                  <a:lnTo>
                    <a:pt x="14188" y="3518"/>
                  </a:lnTo>
                  <a:lnTo>
                    <a:pt x="14374" y="3704"/>
                  </a:lnTo>
                  <a:lnTo>
                    <a:pt x="14188" y="3891"/>
                  </a:lnTo>
                  <a:lnTo>
                    <a:pt x="14002" y="3704"/>
                  </a:lnTo>
                  <a:close/>
                  <a:moveTo>
                    <a:pt x="14400" y="4103"/>
                  </a:moveTo>
                  <a:lnTo>
                    <a:pt x="14213" y="3916"/>
                  </a:lnTo>
                  <a:lnTo>
                    <a:pt x="14400" y="3730"/>
                  </a:lnTo>
                  <a:lnTo>
                    <a:pt x="14586" y="3916"/>
                  </a:lnTo>
                  <a:lnTo>
                    <a:pt x="14400" y="4103"/>
                  </a:lnTo>
                  <a:close/>
                  <a:moveTo>
                    <a:pt x="14798" y="3704"/>
                  </a:moveTo>
                  <a:lnTo>
                    <a:pt x="14612" y="3891"/>
                  </a:lnTo>
                  <a:lnTo>
                    <a:pt x="14425" y="3704"/>
                  </a:lnTo>
                  <a:lnTo>
                    <a:pt x="14612" y="3518"/>
                  </a:lnTo>
                  <a:lnTo>
                    <a:pt x="14798" y="3704"/>
                  </a:lnTo>
                  <a:close/>
                  <a:moveTo>
                    <a:pt x="14798" y="3281"/>
                  </a:moveTo>
                  <a:lnTo>
                    <a:pt x="14612" y="3467"/>
                  </a:lnTo>
                  <a:lnTo>
                    <a:pt x="14425" y="3281"/>
                  </a:lnTo>
                  <a:lnTo>
                    <a:pt x="14612" y="3094"/>
                  </a:lnTo>
                  <a:lnTo>
                    <a:pt x="14798" y="3281"/>
                  </a:lnTo>
                  <a:close/>
                  <a:moveTo>
                    <a:pt x="14798" y="2857"/>
                  </a:moveTo>
                  <a:lnTo>
                    <a:pt x="14612" y="3043"/>
                  </a:lnTo>
                  <a:lnTo>
                    <a:pt x="14425" y="2857"/>
                  </a:lnTo>
                  <a:lnTo>
                    <a:pt x="14612" y="2671"/>
                  </a:lnTo>
                  <a:lnTo>
                    <a:pt x="14798" y="2857"/>
                  </a:lnTo>
                  <a:close/>
                  <a:moveTo>
                    <a:pt x="14798" y="2433"/>
                  </a:moveTo>
                  <a:lnTo>
                    <a:pt x="14612" y="2620"/>
                  </a:lnTo>
                  <a:lnTo>
                    <a:pt x="14425" y="2433"/>
                  </a:lnTo>
                  <a:lnTo>
                    <a:pt x="14612" y="2247"/>
                  </a:lnTo>
                  <a:lnTo>
                    <a:pt x="14798" y="2433"/>
                  </a:lnTo>
                  <a:close/>
                  <a:moveTo>
                    <a:pt x="14798" y="2010"/>
                  </a:moveTo>
                  <a:lnTo>
                    <a:pt x="14612" y="2196"/>
                  </a:lnTo>
                  <a:lnTo>
                    <a:pt x="14425" y="2010"/>
                  </a:lnTo>
                  <a:lnTo>
                    <a:pt x="14612" y="1823"/>
                  </a:lnTo>
                  <a:lnTo>
                    <a:pt x="14798" y="2010"/>
                  </a:lnTo>
                  <a:close/>
                  <a:moveTo>
                    <a:pt x="14798" y="1586"/>
                  </a:moveTo>
                  <a:lnTo>
                    <a:pt x="14612" y="1772"/>
                  </a:lnTo>
                  <a:lnTo>
                    <a:pt x="14425" y="1586"/>
                  </a:lnTo>
                  <a:lnTo>
                    <a:pt x="14612" y="1401"/>
                  </a:lnTo>
                  <a:lnTo>
                    <a:pt x="14798" y="1586"/>
                  </a:lnTo>
                  <a:close/>
                  <a:moveTo>
                    <a:pt x="14798" y="1162"/>
                  </a:moveTo>
                  <a:lnTo>
                    <a:pt x="14612" y="1350"/>
                  </a:lnTo>
                  <a:lnTo>
                    <a:pt x="14425" y="1162"/>
                  </a:lnTo>
                  <a:lnTo>
                    <a:pt x="14612" y="976"/>
                  </a:lnTo>
                  <a:lnTo>
                    <a:pt x="14798" y="1162"/>
                  </a:lnTo>
                  <a:close/>
                  <a:moveTo>
                    <a:pt x="14798" y="740"/>
                  </a:moveTo>
                  <a:lnTo>
                    <a:pt x="14612" y="925"/>
                  </a:lnTo>
                  <a:lnTo>
                    <a:pt x="14425" y="740"/>
                  </a:lnTo>
                  <a:lnTo>
                    <a:pt x="14612" y="552"/>
                  </a:lnTo>
                  <a:lnTo>
                    <a:pt x="14798" y="740"/>
                  </a:lnTo>
                  <a:close/>
                  <a:moveTo>
                    <a:pt x="14612" y="130"/>
                  </a:moveTo>
                  <a:lnTo>
                    <a:pt x="14798" y="316"/>
                  </a:lnTo>
                  <a:lnTo>
                    <a:pt x="14612" y="501"/>
                  </a:lnTo>
                  <a:lnTo>
                    <a:pt x="14425" y="316"/>
                  </a:lnTo>
                  <a:lnTo>
                    <a:pt x="14612" y="130"/>
                  </a:lnTo>
                  <a:close/>
                  <a:moveTo>
                    <a:pt x="14586" y="528"/>
                  </a:moveTo>
                  <a:lnTo>
                    <a:pt x="14400" y="713"/>
                  </a:lnTo>
                  <a:lnTo>
                    <a:pt x="14213" y="528"/>
                  </a:lnTo>
                  <a:lnTo>
                    <a:pt x="14400" y="342"/>
                  </a:lnTo>
                  <a:lnTo>
                    <a:pt x="14586" y="528"/>
                  </a:lnTo>
                  <a:close/>
                  <a:moveTo>
                    <a:pt x="14188" y="130"/>
                  </a:moveTo>
                  <a:lnTo>
                    <a:pt x="14374" y="316"/>
                  </a:lnTo>
                  <a:lnTo>
                    <a:pt x="14188" y="501"/>
                  </a:lnTo>
                  <a:lnTo>
                    <a:pt x="14002" y="316"/>
                  </a:lnTo>
                  <a:lnTo>
                    <a:pt x="14188" y="130"/>
                  </a:lnTo>
                  <a:close/>
                  <a:moveTo>
                    <a:pt x="14162" y="528"/>
                  </a:moveTo>
                  <a:lnTo>
                    <a:pt x="13976" y="713"/>
                  </a:lnTo>
                  <a:lnTo>
                    <a:pt x="13790" y="528"/>
                  </a:lnTo>
                  <a:lnTo>
                    <a:pt x="13976" y="342"/>
                  </a:lnTo>
                  <a:lnTo>
                    <a:pt x="14162" y="528"/>
                  </a:lnTo>
                  <a:close/>
                  <a:moveTo>
                    <a:pt x="13764" y="130"/>
                  </a:moveTo>
                  <a:lnTo>
                    <a:pt x="13950" y="316"/>
                  </a:lnTo>
                  <a:lnTo>
                    <a:pt x="13764" y="501"/>
                  </a:lnTo>
                  <a:lnTo>
                    <a:pt x="13578" y="316"/>
                  </a:lnTo>
                  <a:lnTo>
                    <a:pt x="13764" y="130"/>
                  </a:lnTo>
                  <a:close/>
                  <a:moveTo>
                    <a:pt x="13739" y="528"/>
                  </a:moveTo>
                  <a:lnTo>
                    <a:pt x="13552" y="713"/>
                  </a:lnTo>
                  <a:lnTo>
                    <a:pt x="13366" y="528"/>
                  </a:lnTo>
                  <a:lnTo>
                    <a:pt x="13552" y="342"/>
                  </a:lnTo>
                  <a:lnTo>
                    <a:pt x="13739" y="528"/>
                  </a:lnTo>
                  <a:close/>
                  <a:moveTo>
                    <a:pt x="13340" y="130"/>
                  </a:moveTo>
                  <a:lnTo>
                    <a:pt x="13527" y="316"/>
                  </a:lnTo>
                  <a:lnTo>
                    <a:pt x="13340" y="501"/>
                  </a:lnTo>
                  <a:lnTo>
                    <a:pt x="13154" y="316"/>
                  </a:lnTo>
                  <a:lnTo>
                    <a:pt x="13340" y="130"/>
                  </a:lnTo>
                  <a:close/>
                  <a:moveTo>
                    <a:pt x="13315" y="528"/>
                  </a:moveTo>
                  <a:lnTo>
                    <a:pt x="13130" y="713"/>
                  </a:lnTo>
                  <a:lnTo>
                    <a:pt x="12942" y="528"/>
                  </a:lnTo>
                  <a:lnTo>
                    <a:pt x="13130" y="342"/>
                  </a:lnTo>
                  <a:lnTo>
                    <a:pt x="13315" y="528"/>
                  </a:lnTo>
                  <a:close/>
                  <a:moveTo>
                    <a:pt x="12918" y="130"/>
                  </a:moveTo>
                  <a:lnTo>
                    <a:pt x="13103" y="316"/>
                  </a:lnTo>
                  <a:lnTo>
                    <a:pt x="12918" y="501"/>
                  </a:lnTo>
                  <a:lnTo>
                    <a:pt x="12730" y="316"/>
                  </a:lnTo>
                  <a:lnTo>
                    <a:pt x="12918" y="130"/>
                  </a:lnTo>
                  <a:close/>
                  <a:moveTo>
                    <a:pt x="12891" y="528"/>
                  </a:moveTo>
                  <a:lnTo>
                    <a:pt x="12706" y="713"/>
                  </a:lnTo>
                  <a:lnTo>
                    <a:pt x="12520" y="528"/>
                  </a:lnTo>
                  <a:lnTo>
                    <a:pt x="12706" y="342"/>
                  </a:lnTo>
                  <a:lnTo>
                    <a:pt x="12891" y="528"/>
                  </a:lnTo>
                  <a:close/>
                  <a:moveTo>
                    <a:pt x="12494" y="130"/>
                  </a:moveTo>
                  <a:lnTo>
                    <a:pt x="12679" y="316"/>
                  </a:lnTo>
                  <a:lnTo>
                    <a:pt x="12494" y="501"/>
                  </a:lnTo>
                  <a:lnTo>
                    <a:pt x="12308" y="316"/>
                  </a:lnTo>
                  <a:lnTo>
                    <a:pt x="12494" y="130"/>
                  </a:lnTo>
                  <a:close/>
                  <a:moveTo>
                    <a:pt x="12469" y="528"/>
                  </a:moveTo>
                  <a:lnTo>
                    <a:pt x="12282" y="713"/>
                  </a:lnTo>
                  <a:lnTo>
                    <a:pt x="12096" y="528"/>
                  </a:lnTo>
                  <a:lnTo>
                    <a:pt x="12282" y="342"/>
                  </a:lnTo>
                  <a:lnTo>
                    <a:pt x="12469" y="528"/>
                  </a:lnTo>
                  <a:close/>
                  <a:moveTo>
                    <a:pt x="12070" y="130"/>
                  </a:moveTo>
                  <a:lnTo>
                    <a:pt x="12257" y="316"/>
                  </a:lnTo>
                  <a:lnTo>
                    <a:pt x="12070" y="501"/>
                  </a:lnTo>
                  <a:lnTo>
                    <a:pt x="11884" y="316"/>
                  </a:lnTo>
                  <a:lnTo>
                    <a:pt x="12070" y="130"/>
                  </a:lnTo>
                  <a:close/>
                  <a:moveTo>
                    <a:pt x="12045" y="528"/>
                  </a:moveTo>
                  <a:lnTo>
                    <a:pt x="11859" y="713"/>
                  </a:lnTo>
                  <a:lnTo>
                    <a:pt x="11672" y="528"/>
                  </a:lnTo>
                  <a:lnTo>
                    <a:pt x="11859" y="342"/>
                  </a:lnTo>
                  <a:lnTo>
                    <a:pt x="12045" y="528"/>
                  </a:lnTo>
                  <a:close/>
                  <a:moveTo>
                    <a:pt x="11647" y="130"/>
                  </a:moveTo>
                  <a:lnTo>
                    <a:pt x="11833" y="316"/>
                  </a:lnTo>
                  <a:lnTo>
                    <a:pt x="11647" y="501"/>
                  </a:lnTo>
                  <a:lnTo>
                    <a:pt x="11460" y="316"/>
                  </a:lnTo>
                  <a:lnTo>
                    <a:pt x="11647" y="130"/>
                  </a:lnTo>
                  <a:close/>
                  <a:moveTo>
                    <a:pt x="11621" y="528"/>
                  </a:moveTo>
                  <a:lnTo>
                    <a:pt x="11435" y="713"/>
                  </a:lnTo>
                  <a:lnTo>
                    <a:pt x="11250" y="528"/>
                  </a:lnTo>
                  <a:lnTo>
                    <a:pt x="11435" y="342"/>
                  </a:lnTo>
                  <a:lnTo>
                    <a:pt x="11621" y="528"/>
                  </a:lnTo>
                  <a:close/>
                  <a:moveTo>
                    <a:pt x="11223" y="130"/>
                  </a:moveTo>
                  <a:lnTo>
                    <a:pt x="11409" y="316"/>
                  </a:lnTo>
                  <a:lnTo>
                    <a:pt x="11223" y="501"/>
                  </a:lnTo>
                  <a:lnTo>
                    <a:pt x="11038" y="316"/>
                  </a:lnTo>
                  <a:lnTo>
                    <a:pt x="11223" y="130"/>
                  </a:lnTo>
                  <a:close/>
                  <a:moveTo>
                    <a:pt x="11198" y="528"/>
                  </a:moveTo>
                  <a:lnTo>
                    <a:pt x="11011" y="713"/>
                  </a:lnTo>
                  <a:lnTo>
                    <a:pt x="10826" y="528"/>
                  </a:lnTo>
                  <a:lnTo>
                    <a:pt x="11011" y="342"/>
                  </a:lnTo>
                  <a:lnTo>
                    <a:pt x="11198" y="528"/>
                  </a:lnTo>
                  <a:close/>
                  <a:moveTo>
                    <a:pt x="10799" y="130"/>
                  </a:moveTo>
                  <a:lnTo>
                    <a:pt x="10986" y="316"/>
                  </a:lnTo>
                  <a:lnTo>
                    <a:pt x="10799" y="501"/>
                  </a:lnTo>
                  <a:lnTo>
                    <a:pt x="10614" y="316"/>
                  </a:lnTo>
                  <a:lnTo>
                    <a:pt x="10799" y="130"/>
                  </a:lnTo>
                  <a:close/>
                  <a:moveTo>
                    <a:pt x="10775" y="528"/>
                  </a:moveTo>
                  <a:lnTo>
                    <a:pt x="10589" y="713"/>
                  </a:lnTo>
                  <a:lnTo>
                    <a:pt x="10402" y="528"/>
                  </a:lnTo>
                  <a:lnTo>
                    <a:pt x="10589" y="342"/>
                  </a:lnTo>
                  <a:lnTo>
                    <a:pt x="10775" y="528"/>
                  </a:lnTo>
                  <a:close/>
                  <a:moveTo>
                    <a:pt x="10377" y="130"/>
                  </a:moveTo>
                  <a:lnTo>
                    <a:pt x="10563" y="316"/>
                  </a:lnTo>
                  <a:lnTo>
                    <a:pt x="10377" y="501"/>
                  </a:lnTo>
                  <a:lnTo>
                    <a:pt x="10190" y="316"/>
                  </a:lnTo>
                  <a:lnTo>
                    <a:pt x="10377" y="130"/>
                  </a:lnTo>
                  <a:close/>
                  <a:moveTo>
                    <a:pt x="10351" y="528"/>
                  </a:moveTo>
                  <a:lnTo>
                    <a:pt x="10165" y="713"/>
                  </a:lnTo>
                  <a:lnTo>
                    <a:pt x="9979" y="528"/>
                  </a:lnTo>
                  <a:lnTo>
                    <a:pt x="10165" y="342"/>
                  </a:lnTo>
                  <a:lnTo>
                    <a:pt x="10351" y="528"/>
                  </a:lnTo>
                  <a:close/>
                  <a:moveTo>
                    <a:pt x="9953" y="130"/>
                  </a:moveTo>
                  <a:lnTo>
                    <a:pt x="10139" y="316"/>
                  </a:lnTo>
                  <a:lnTo>
                    <a:pt x="9953" y="501"/>
                  </a:lnTo>
                  <a:lnTo>
                    <a:pt x="9767" y="316"/>
                  </a:lnTo>
                  <a:lnTo>
                    <a:pt x="9953" y="130"/>
                  </a:lnTo>
                  <a:close/>
                  <a:moveTo>
                    <a:pt x="9927" y="528"/>
                  </a:moveTo>
                  <a:lnTo>
                    <a:pt x="9741" y="713"/>
                  </a:lnTo>
                  <a:lnTo>
                    <a:pt x="9555" y="528"/>
                  </a:lnTo>
                  <a:lnTo>
                    <a:pt x="9741" y="342"/>
                  </a:lnTo>
                  <a:lnTo>
                    <a:pt x="9927" y="528"/>
                  </a:lnTo>
                  <a:close/>
                  <a:moveTo>
                    <a:pt x="9529" y="130"/>
                  </a:moveTo>
                  <a:lnTo>
                    <a:pt x="9716" y="316"/>
                  </a:lnTo>
                  <a:lnTo>
                    <a:pt x="9529" y="501"/>
                  </a:lnTo>
                  <a:lnTo>
                    <a:pt x="9343" y="316"/>
                  </a:lnTo>
                  <a:lnTo>
                    <a:pt x="9529" y="130"/>
                  </a:lnTo>
                  <a:close/>
                  <a:moveTo>
                    <a:pt x="9504" y="528"/>
                  </a:moveTo>
                  <a:lnTo>
                    <a:pt x="9317" y="713"/>
                  </a:lnTo>
                  <a:lnTo>
                    <a:pt x="9131" y="528"/>
                  </a:lnTo>
                  <a:lnTo>
                    <a:pt x="9317" y="342"/>
                  </a:lnTo>
                  <a:lnTo>
                    <a:pt x="9504" y="528"/>
                  </a:lnTo>
                  <a:close/>
                  <a:moveTo>
                    <a:pt x="9106" y="130"/>
                  </a:moveTo>
                  <a:lnTo>
                    <a:pt x="9292" y="316"/>
                  </a:lnTo>
                  <a:lnTo>
                    <a:pt x="9106" y="501"/>
                  </a:lnTo>
                  <a:lnTo>
                    <a:pt x="8919" y="316"/>
                  </a:lnTo>
                  <a:lnTo>
                    <a:pt x="9106" y="130"/>
                  </a:lnTo>
                  <a:close/>
                  <a:moveTo>
                    <a:pt x="9080" y="528"/>
                  </a:moveTo>
                  <a:lnTo>
                    <a:pt x="8894" y="713"/>
                  </a:lnTo>
                  <a:lnTo>
                    <a:pt x="8707" y="528"/>
                  </a:lnTo>
                  <a:lnTo>
                    <a:pt x="8894" y="342"/>
                  </a:lnTo>
                  <a:lnTo>
                    <a:pt x="9080" y="528"/>
                  </a:lnTo>
                  <a:close/>
                  <a:moveTo>
                    <a:pt x="8682" y="130"/>
                  </a:moveTo>
                  <a:lnTo>
                    <a:pt x="8868" y="316"/>
                  </a:lnTo>
                  <a:lnTo>
                    <a:pt x="8682" y="501"/>
                  </a:lnTo>
                  <a:lnTo>
                    <a:pt x="8497" y="316"/>
                  </a:lnTo>
                  <a:lnTo>
                    <a:pt x="8682" y="130"/>
                  </a:lnTo>
                  <a:close/>
                  <a:moveTo>
                    <a:pt x="8656" y="528"/>
                  </a:moveTo>
                  <a:lnTo>
                    <a:pt x="8470" y="713"/>
                  </a:lnTo>
                  <a:lnTo>
                    <a:pt x="8285" y="528"/>
                  </a:lnTo>
                  <a:lnTo>
                    <a:pt x="8470" y="342"/>
                  </a:lnTo>
                  <a:lnTo>
                    <a:pt x="8656" y="528"/>
                  </a:lnTo>
                  <a:close/>
                  <a:moveTo>
                    <a:pt x="8259" y="130"/>
                  </a:moveTo>
                  <a:lnTo>
                    <a:pt x="8446" y="316"/>
                  </a:lnTo>
                  <a:lnTo>
                    <a:pt x="8259" y="501"/>
                  </a:lnTo>
                  <a:lnTo>
                    <a:pt x="8073" y="316"/>
                  </a:lnTo>
                  <a:lnTo>
                    <a:pt x="8259" y="130"/>
                  </a:lnTo>
                  <a:close/>
                  <a:moveTo>
                    <a:pt x="8234" y="528"/>
                  </a:moveTo>
                  <a:lnTo>
                    <a:pt x="8047" y="713"/>
                  </a:lnTo>
                  <a:lnTo>
                    <a:pt x="7861" y="528"/>
                  </a:lnTo>
                  <a:lnTo>
                    <a:pt x="8047" y="342"/>
                  </a:lnTo>
                  <a:lnTo>
                    <a:pt x="8234" y="528"/>
                  </a:lnTo>
                  <a:close/>
                  <a:moveTo>
                    <a:pt x="7836" y="130"/>
                  </a:moveTo>
                  <a:lnTo>
                    <a:pt x="8022" y="316"/>
                  </a:lnTo>
                  <a:lnTo>
                    <a:pt x="7836" y="501"/>
                  </a:lnTo>
                  <a:lnTo>
                    <a:pt x="7649" y="316"/>
                  </a:lnTo>
                  <a:lnTo>
                    <a:pt x="7836" y="130"/>
                  </a:lnTo>
                  <a:close/>
                  <a:moveTo>
                    <a:pt x="7810" y="528"/>
                  </a:moveTo>
                  <a:lnTo>
                    <a:pt x="7624" y="713"/>
                  </a:lnTo>
                  <a:lnTo>
                    <a:pt x="7437" y="528"/>
                  </a:lnTo>
                  <a:lnTo>
                    <a:pt x="7624" y="342"/>
                  </a:lnTo>
                  <a:lnTo>
                    <a:pt x="7810" y="528"/>
                  </a:lnTo>
                  <a:close/>
                  <a:moveTo>
                    <a:pt x="7412" y="130"/>
                  </a:moveTo>
                  <a:lnTo>
                    <a:pt x="7598" y="316"/>
                  </a:lnTo>
                  <a:lnTo>
                    <a:pt x="7412" y="501"/>
                  </a:lnTo>
                  <a:lnTo>
                    <a:pt x="7226" y="316"/>
                  </a:lnTo>
                  <a:lnTo>
                    <a:pt x="7412" y="130"/>
                  </a:lnTo>
                  <a:close/>
                  <a:moveTo>
                    <a:pt x="7386" y="528"/>
                  </a:moveTo>
                  <a:lnTo>
                    <a:pt x="7200" y="713"/>
                  </a:lnTo>
                  <a:lnTo>
                    <a:pt x="7014" y="528"/>
                  </a:lnTo>
                  <a:lnTo>
                    <a:pt x="7200" y="342"/>
                  </a:lnTo>
                  <a:lnTo>
                    <a:pt x="7386" y="528"/>
                  </a:lnTo>
                  <a:close/>
                  <a:moveTo>
                    <a:pt x="6988" y="130"/>
                  </a:moveTo>
                  <a:lnTo>
                    <a:pt x="7175" y="316"/>
                  </a:lnTo>
                  <a:lnTo>
                    <a:pt x="6988" y="501"/>
                  </a:lnTo>
                  <a:lnTo>
                    <a:pt x="6802" y="316"/>
                  </a:lnTo>
                  <a:lnTo>
                    <a:pt x="6988" y="130"/>
                  </a:lnTo>
                  <a:close/>
                  <a:moveTo>
                    <a:pt x="6963" y="528"/>
                  </a:moveTo>
                  <a:lnTo>
                    <a:pt x="6776" y="713"/>
                  </a:lnTo>
                  <a:lnTo>
                    <a:pt x="6590" y="528"/>
                  </a:lnTo>
                  <a:lnTo>
                    <a:pt x="6776" y="342"/>
                  </a:lnTo>
                  <a:lnTo>
                    <a:pt x="6963" y="528"/>
                  </a:lnTo>
                  <a:close/>
                  <a:moveTo>
                    <a:pt x="6566" y="130"/>
                  </a:moveTo>
                  <a:lnTo>
                    <a:pt x="6751" y="316"/>
                  </a:lnTo>
                  <a:lnTo>
                    <a:pt x="6566" y="501"/>
                  </a:lnTo>
                  <a:lnTo>
                    <a:pt x="6378" y="316"/>
                  </a:lnTo>
                  <a:lnTo>
                    <a:pt x="6566" y="130"/>
                  </a:lnTo>
                  <a:close/>
                  <a:moveTo>
                    <a:pt x="6539" y="528"/>
                  </a:moveTo>
                  <a:lnTo>
                    <a:pt x="6354" y="713"/>
                  </a:lnTo>
                  <a:lnTo>
                    <a:pt x="6166" y="528"/>
                  </a:lnTo>
                  <a:lnTo>
                    <a:pt x="6354" y="342"/>
                  </a:lnTo>
                  <a:lnTo>
                    <a:pt x="6539" y="528"/>
                  </a:lnTo>
                  <a:close/>
                  <a:moveTo>
                    <a:pt x="6142" y="130"/>
                  </a:moveTo>
                  <a:lnTo>
                    <a:pt x="6327" y="316"/>
                  </a:lnTo>
                  <a:lnTo>
                    <a:pt x="6142" y="501"/>
                  </a:lnTo>
                  <a:lnTo>
                    <a:pt x="5956" y="316"/>
                  </a:lnTo>
                  <a:lnTo>
                    <a:pt x="6142" y="130"/>
                  </a:lnTo>
                  <a:close/>
                  <a:moveTo>
                    <a:pt x="6115" y="528"/>
                  </a:moveTo>
                  <a:lnTo>
                    <a:pt x="5930" y="713"/>
                  </a:lnTo>
                  <a:lnTo>
                    <a:pt x="5744" y="528"/>
                  </a:lnTo>
                  <a:lnTo>
                    <a:pt x="5930" y="342"/>
                  </a:lnTo>
                  <a:lnTo>
                    <a:pt x="6115" y="528"/>
                  </a:lnTo>
                  <a:close/>
                  <a:moveTo>
                    <a:pt x="5718" y="130"/>
                  </a:moveTo>
                  <a:lnTo>
                    <a:pt x="5903" y="316"/>
                  </a:lnTo>
                  <a:lnTo>
                    <a:pt x="5718" y="501"/>
                  </a:lnTo>
                  <a:lnTo>
                    <a:pt x="5532" y="316"/>
                  </a:lnTo>
                  <a:lnTo>
                    <a:pt x="5718" y="130"/>
                  </a:lnTo>
                  <a:close/>
                  <a:moveTo>
                    <a:pt x="5693" y="528"/>
                  </a:moveTo>
                  <a:lnTo>
                    <a:pt x="5506" y="713"/>
                  </a:lnTo>
                  <a:lnTo>
                    <a:pt x="5320" y="528"/>
                  </a:lnTo>
                  <a:lnTo>
                    <a:pt x="5506" y="342"/>
                  </a:lnTo>
                  <a:lnTo>
                    <a:pt x="5693" y="528"/>
                  </a:lnTo>
                  <a:close/>
                  <a:moveTo>
                    <a:pt x="5294" y="130"/>
                  </a:moveTo>
                  <a:lnTo>
                    <a:pt x="5481" y="316"/>
                  </a:lnTo>
                  <a:lnTo>
                    <a:pt x="5294" y="501"/>
                  </a:lnTo>
                  <a:lnTo>
                    <a:pt x="5108" y="316"/>
                  </a:lnTo>
                  <a:lnTo>
                    <a:pt x="5294" y="130"/>
                  </a:lnTo>
                  <a:close/>
                  <a:moveTo>
                    <a:pt x="5269" y="528"/>
                  </a:moveTo>
                  <a:lnTo>
                    <a:pt x="5083" y="713"/>
                  </a:lnTo>
                  <a:lnTo>
                    <a:pt x="4896" y="528"/>
                  </a:lnTo>
                  <a:lnTo>
                    <a:pt x="5083" y="342"/>
                  </a:lnTo>
                  <a:lnTo>
                    <a:pt x="5269" y="528"/>
                  </a:lnTo>
                  <a:close/>
                  <a:moveTo>
                    <a:pt x="4871" y="130"/>
                  </a:moveTo>
                  <a:lnTo>
                    <a:pt x="5057" y="316"/>
                  </a:lnTo>
                  <a:lnTo>
                    <a:pt x="4871" y="501"/>
                  </a:lnTo>
                  <a:lnTo>
                    <a:pt x="4684" y="316"/>
                  </a:lnTo>
                  <a:lnTo>
                    <a:pt x="4871" y="130"/>
                  </a:lnTo>
                  <a:close/>
                  <a:moveTo>
                    <a:pt x="4845" y="528"/>
                  </a:moveTo>
                  <a:lnTo>
                    <a:pt x="4659" y="713"/>
                  </a:lnTo>
                  <a:lnTo>
                    <a:pt x="4474" y="528"/>
                  </a:lnTo>
                  <a:lnTo>
                    <a:pt x="4659" y="342"/>
                  </a:lnTo>
                  <a:lnTo>
                    <a:pt x="4845" y="528"/>
                  </a:lnTo>
                  <a:close/>
                  <a:moveTo>
                    <a:pt x="4447" y="130"/>
                  </a:moveTo>
                  <a:lnTo>
                    <a:pt x="4633" y="316"/>
                  </a:lnTo>
                  <a:lnTo>
                    <a:pt x="4447" y="501"/>
                  </a:lnTo>
                  <a:lnTo>
                    <a:pt x="4262" y="316"/>
                  </a:lnTo>
                  <a:lnTo>
                    <a:pt x="4447" y="130"/>
                  </a:lnTo>
                  <a:close/>
                  <a:moveTo>
                    <a:pt x="4423" y="528"/>
                  </a:moveTo>
                  <a:lnTo>
                    <a:pt x="4235" y="713"/>
                  </a:lnTo>
                  <a:lnTo>
                    <a:pt x="4050" y="528"/>
                  </a:lnTo>
                  <a:lnTo>
                    <a:pt x="4235" y="342"/>
                  </a:lnTo>
                  <a:lnTo>
                    <a:pt x="4423" y="528"/>
                  </a:lnTo>
                  <a:close/>
                  <a:moveTo>
                    <a:pt x="4023" y="130"/>
                  </a:moveTo>
                  <a:lnTo>
                    <a:pt x="4211" y="316"/>
                  </a:lnTo>
                  <a:lnTo>
                    <a:pt x="4023" y="501"/>
                  </a:lnTo>
                  <a:lnTo>
                    <a:pt x="3838" y="316"/>
                  </a:lnTo>
                  <a:lnTo>
                    <a:pt x="4023" y="130"/>
                  </a:lnTo>
                  <a:close/>
                  <a:moveTo>
                    <a:pt x="3999" y="528"/>
                  </a:moveTo>
                  <a:lnTo>
                    <a:pt x="3813" y="713"/>
                  </a:lnTo>
                  <a:lnTo>
                    <a:pt x="3626" y="528"/>
                  </a:lnTo>
                  <a:lnTo>
                    <a:pt x="3813" y="342"/>
                  </a:lnTo>
                  <a:lnTo>
                    <a:pt x="3999" y="528"/>
                  </a:lnTo>
                  <a:close/>
                  <a:moveTo>
                    <a:pt x="3601" y="130"/>
                  </a:moveTo>
                  <a:lnTo>
                    <a:pt x="3787" y="316"/>
                  </a:lnTo>
                  <a:lnTo>
                    <a:pt x="3601" y="501"/>
                  </a:lnTo>
                  <a:lnTo>
                    <a:pt x="3414" y="316"/>
                  </a:lnTo>
                  <a:lnTo>
                    <a:pt x="3601" y="130"/>
                  </a:lnTo>
                  <a:close/>
                  <a:moveTo>
                    <a:pt x="3575" y="528"/>
                  </a:moveTo>
                  <a:lnTo>
                    <a:pt x="3389" y="713"/>
                  </a:lnTo>
                  <a:lnTo>
                    <a:pt x="3203" y="528"/>
                  </a:lnTo>
                  <a:lnTo>
                    <a:pt x="3389" y="342"/>
                  </a:lnTo>
                  <a:lnTo>
                    <a:pt x="3575" y="528"/>
                  </a:lnTo>
                  <a:close/>
                  <a:moveTo>
                    <a:pt x="3177" y="130"/>
                  </a:moveTo>
                  <a:lnTo>
                    <a:pt x="3363" y="316"/>
                  </a:lnTo>
                  <a:lnTo>
                    <a:pt x="3177" y="501"/>
                  </a:lnTo>
                  <a:lnTo>
                    <a:pt x="2991" y="316"/>
                  </a:lnTo>
                  <a:lnTo>
                    <a:pt x="3177" y="130"/>
                  </a:lnTo>
                  <a:close/>
                  <a:moveTo>
                    <a:pt x="3152" y="528"/>
                  </a:moveTo>
                  <a:lnTo>
                    <a:pt x="2965" y="713"/>
                  </a:lnTo>
                  <a:lnTo>
                    <a:pt x="2779" y="528"/>
                  </a:lnTo>
                  <a:lnTo>
                    <a:pt x="2965" y="342"/>
                  </a:lnTo>
                  <a:lnTo>
                    <a:pt x="3152" y="528"/>
                  </a:lnTo>
                  <a:close/>
                  <a:moveTo>
                    <a:pt x="2753" y="130"/>
                  </a:moveTo>
                  <a:lnTo>
                    <a:pt x="2940" y="316"/>
                  </a:lnTo>
                  <a:lnTo>
                    <a:pt x="2753" y="501"/>
                  </a:lnTo>
                  <a:lnTo>
                    <a:pt x="2567" y="316"/>
                  </a:lnTo>
                  <a:lnTo>
                    <a:pt x="2753" y="130"/>
                  </a:lnTo>
                  <a:close/>
                  <a:moveTo>
                    <a:pt x="2728" y="528"/>
                  </a:moveTo>
                  <a:lnTo>
                    <a:pt x="2543" y="713"/>
                  </a:lnTo>
                  <a:lnTo>
                    <a:pt x="2355" y="528"/>
                  </a:lnTo>
                  <a:lnTo>
                    <a:pt x="2543" y="342"/>
                  </a:lnTo>
                  <a:lnTo>
                    <a:pt x="2728" y="528"/>
                  </a:lnTo>
                  <a:close/>
                  <a:moveTo>
                    <a:pt x="2331" y="130"/>
                  </a:moveTo>
                  <a:lnTo>
                    <a:pt x="2516" y="316"/>
                  </a:lnTo>
                  <a:lnTo>
                    <a:pt x="2331" y="501"/>
                  </a:lnTo>
                  <a:lnTo>
                    <a:pt x="2143" y="316"/>
                  </a:lnTo>
                  <a:lnTo>
                    <a:pt x="2331" y="130"/>
                  </a:lnTo>
                  <a:close/>
                  <a:moveTo>
                    <a:pt x="2304" y="528"/>
                  </a:moveTo>
                  <a:lnTo>
                    <a:pt x="2119" y="713"/>
                  </a:lnTo>
                  <a:lnTo>
                    <a:pt x="1933" y="528"/>
                  </a:lnTo>
                  <a:lnTo>
                    <a:pt x="2119" y="342"/>
                  </a:lnTo>
                  <a:lnTo>
                    <a:pt x="2304" y="528"/>
                  </a:lnTo>
                  <a:close/>
                  <a:moveTo>
                    <a:pt x="1907" y="130"/>
                  </a:moveTo>
                  <a:lnTo>
                    <a:pt x="2092" y="316"/>
                  </a:lnTo>
                  <a:lnTo>
                    <a:pt x="1907" y="501"/>
                  </a:lnTo>
                  <a:lnTo>
                    <a:pt x="1721" y="316"/>
                  </a:lnTo>
                  <a:lnTo>
                    <a:pt x="1907" y="130"/>
                  </a:lnTo>
                  <a:close/>
                  <a:moveTo>
                    <a:pt x="1882" y="528"/>
                  </a:moveTo>
                  <a:lnTo>
                    <a:pt x="1695" y="713"/>
                  </a:lnTo>
                  <a:lnTo>
                    <a:pt x="1509" y="528"/>
                  </a:lnTo>
                  <a:lnTo>
                    <a:pt x="1695" y="342"/>
                  </a:lnTo>
                  <a:lnTo>
                    <a:pt x="1882" y="528"/>
                  </a:lnTo>
                  <a:close/>
                  <a:moveTo>
                    <a:pt x="1483" y="130"/>
                  </a:moveTo>
                  <a:lnTo>
                    <a:pt x="1670" y="316"/>
                  </a:lnTo>
                  <a:lnTo>
                    <a:pt x="1483" y="501"/>
                  </a:lnTo>
                  <a:lnTo>
                    <a:pt x="1297" y="316"/>
                  </a:lnTo>
                  <a:lnTo>
                    <a:pt x="1483" y="130"/>
                  </a:lnTo>
                  <a:close/>
                  <a:moveTo>
                    <a:pt x="1458" y="528"/>
                  </a:moveTo>
                  <a:lnTo>
                    <a:pt x="1272" y="713"/>
                  </a:lnTo>
                  <a:lnTo>
                    <a:pt x="1085" y="528"/>
                  </a:lnTo>
                  <a:lnTo>
                    <a:pt x="1272" y="342"/>
                  </a:lnTo>
                  <a:lnTo>
                    <a:pt x="1458" y="528"/>
                  </a:lnTo>
                  <a:close/>
                  <a:moveTo>
                    <a:pt x="1060" y="130"/>
                  </a:moveTo>
                  <a:lnTo>
                    <a:pt x="1246" y="316"/>
                  </a:lnTo>
                  <a:lnTo>
                    <a:pt x="1060" y="501"/>
                  </a:lnTo>
                  <a:lnTo>
                    <a:pt x="873" y="316"/>
                  </a:lnTo>
                  <a:lnTo>
                    <a:pt x="1060" y="130"/>
                  </a:lnTo>
                  <a:close/>
                  <a:moveTo>
                    <a:pt x="1034" y="528"/>
                  </a:moveTo>
                  <a:lnTo>
                    <a:pt x="848" y="713"/>
                  </a:lnTo>
                  <a:lnTo>
                    <a:pt x="663" y="528"/>
                  </a:lnTo>
                  <a:lnTo>
                    <a:pt x="848" y="342"/>
                  </a:lnTo>
                  <a:lnTo>
                    <a:pt x="1034" y="528"/>
                  </a:lnTo>
                  <a:close/>
                  <a:moveTo>
                    <a:pt x="636" y="130"/>
                  </a:moveTo>
                  <a:lnTo>
                    <a:pt x="822" y="316"/>
                  </a:lnTo>
                  <a:lnTo>
                    <a:pt x="636" y="501"/>
                  </a:lnTo>
                  <a:lnTo>
                    <a:pt x="451" y="316"/>
                  </a:lnTo>
                  <a:lnTo>
                    <a:pt x="636" y="130"/>
                  </a:lnTo>
                  <a:close/>
                  <a:moveTo>
                    <a:pt x="610" y="528"/>
                  </a:moveTo>
                  <a:lnTo>
                    <a:pt x="424" y="713"/>
                  </a:lnTo>
                  <a:lnTo>
                    <a:pt x="239" y="528"/>
                  </a:lnTo>
                  <a:lnTo>
                    <a:pt x="424" y="342"/>
                  </a:lnTo>
                  <a:lnTo>
                    <a:pt x="610" y="528"/>
                  </a:lnTo>
                  <a:close/>
                  <a:moveTo>
                    <a:pt x="399" y="316"/>
                  </a:moveTo>
                  <a:lnTo>
                    <a:pt x="212" y="501"/>
                  </a:lnTo>
                  <a:lnTo>
                    <a:pt x="27" y="316"/>
                  </a:lnTo>
                  <a:lnTo>
                    <a:pt x="212" y="130"/>
                  </a:lnTo>
                  <a:lnTo>
                    <a:pt x="399" y="3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66" name="Rectangle 8"/>
            <p:cNvSpPr>
              <a:spLocks noChangeArrowheads="1"/>
            </p:cNvSpPr>
            <p:nvPr/>
          </p:nvSpPr>
          <p:spPr bwMode="auto">
            <a:xfrm>
              <a:off x="25012651" y="4821238"/>
              <a:ext cx="214313" cy="34242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748" name="Rectangle 169"/>
          <p:cNvSpPr/>
          <p:nvPr/>
        </p:nvSpPr>
        <p:spPr bwMode="auto">
          <a:xfrm>
            <a:off x="5529330" y="2191560"/>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74" name="Rectangle 169"/>
          <p:cNvSpPr/>
          <p:nvPr/>
        </p:nvSpPr>
        <p:spPr bwMode="auto">
          <a:xfrm>
            <a:off x="5490607" y="2830081"/>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6" name="Rectangle 169"/>
          <p:cNvSpPr/>
          <p:nvPr/>
        </p:nvSpPr>
        <p:spPr bwMode="auto">
          <a:xfrm>
            <a:off x="4879662" y="2055171"/>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7" name="Rectangle 169"/>
          <p:cNvSpPr/>
          <p:nvPr/>
        </p:nvSpPr>
        <p:spPr bwMode="auto">
          <a:xfrm>
            <a:off x="4654014" y="2020506"/>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9" name="Rectangle 169"/>
          <p:cNvSpPr/>
          <p:nvPr/>
        </p:nvSpPr>
        <p:spPr bwMode="auto">
          <a:xfrm>
            <a:off x="4731096" y="2151846"/>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0" name="Rectangle 169"/>
          <p:cNvSpPr/>
          <p:nvPr/>
        </p:nvSpPr>
        <p:spPr bwMode="auto">
          <a:xfrm>
            <a:off x="4992225" y="2141261"/>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3" name="Rectangle 169"/>
          <p:cNvSpPr/>
          <p:nvPr/>
        </p:nvSpPr>
        <p:spPr bwMode="auto">
          <a:xfrm>
            <a:off x="5551889" y="2678991"/>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5" name="Rectangle 169"/>
          <p:cNvSpPr/>
          <p:nvPr/>
        </p:nvSpPr>
        <p:spPr bwMode="auto">
          <a:xfrm>
            <a:off x="5402945" y="2119190"/>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98" name="Rectangle 169"/>
          <p:cNvSpPr/>
          <p:nvPr/>
        </p:nvSpPr>
        <p:spPr bwMode="auto">
          <a:xfrm>
            <a:off x="4059495" y="1607962"/>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99" name="Rectangle 169"/>
          <p:cNvSpPr/>
          <p:nvPr/>
        </p:nvSpPr>
        <p:spPr bwMode="auto">
          <a:xfrm>
            <a:off x="4132353" y="1649077"/>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0" name="Rectangle 169"/>
          <p:cNvSpPr/>
          <p:nvPr/>
        </p:nvSpPr>
        <p:spPr bwMode="auto">
          <a:xfrm>
            <a:off x="3864471" y="1698120"/>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1" name="Rectangle 169"/>
          <p:cNvSpPr/>
          <p:nvPr/>
        </p:nvSpPr>
        <p:spPr bwMode="auto">
          <a:xfrm>
            <a:off x="4015057" y="1697500"/>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2" name="Rectangle 169"/>
          <p:cNvSpPr/>
          <p:nvPr/>
        </p:nvSpPr>
        <p:spPr bwMode="auto">
          <a:xfrm>
            <a:off x="4259520" y="1710325"/>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3" name="Rectangle 169"/>
          <p:cNvSpPr/>
          <p:nvPr/>
        </p:nvSpPr>
        <p:spPr bwMode="auto">
          <a:xfrm>
            <a:off x="4267933" y="1591717"/>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4" name="Rectangle 169"/>
          <p:cNvSpPr/>
          <p:nvPr/>
        </p:nvSpPr>
        <p:spPr bwMode="auto">
          <a:xfrm>
            <a:off x="4422301" y="1669421"/>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6" name="Rectangle 169"/>
          <p:cNvSpPr/>
          <p:nvPr/>
        </p:nvSpPr>
        <p:spPr bwMode="auto">
          <a:xfrm>
            <a:off x="4672599" y="1669421"/>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7" name="Rectangle 169"/>
          <p:cNvSpPr/>
          <p:nvPr/>
        </p:nvSpPr>
        <p:spPr bwMode="auto">
          <a:xfrm>
            <a:off x="4509343" y="1782258"/>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8" name="Rectangle 169"/>
          <p:cNvSpPr/>
          <p:nvPr/>
        </p:nvSpPr>
        <p:spPr bwMode="auto">
          <a:xfrm>
            <a:off x="4373849" y="1805364"/>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9" name="Rectangle 169"/>
          <p:cNvSpPr/>
          <p:nvPr/>
        </p:nvSpPr>
        <p:spPr bwMode="auto">
          <a:xfrm>
            <a:off x="4561823" y="1953487"/>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10" name="Rectangle 169"/>
          <p:cNvSpPr/>
          <p:nvPr/>
        </p:nvSpPr>
        <p:spPr bwMode="auto">
          <a:xfrm>
            <a:off x="4655781" y="1818133"/>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11" name="Rectangle 169"/>
          <p:cNvSpPr/>
          <p:nvPr/>
        </p:nvSpPr>
        <p:spPr bwMode="auto">
          <a:xfrm>
            <a:off x="4810173" y="1895632"/>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12" name="Rectangle 169"/>
          <p:cNvSpPr/>
          <p:nvPr/>
        </p:nvSpPr>
        <p:spPr bwMode="auto">
          <a:xfrm>
            <a:off x="4845812" y="1756822"/>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13" name="Rectangle 169"/>
          <p:cNvSpPr/>
          <p:nvPr/>
        </p:nvSpPr>
        <p:spPr bwMode="auto">
          <a:xfrm>
            <a:off x="5007453" y="1845883"/>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14" name="Rectangle 169"/>
          <p:cNvSpPr/>
          <p:nvPr/>
        </p:nvSpPr>
        <p:spPr bwMode="auto">
          <a:xfrm>
            <a:off x="5199154" y="1902173"/>
            <a:ext cx="106596" cy="152691"/>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42" name="Rectangle 169"/>
          <p:cNvSpPr/>
          <p:nvPr/>
        </p:nvSpPr>
        <p:spPr bwMode="auto">
          <a:xfrm>
            <a:off x="4051933" y="1838769"/>
            <a:ext cx="80086" cy="114719"/>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43" name="Rectangle 169"/>
          <p:cNvSpPr/>
          <p:nvPr/>
        </p:nvSpPr>
        <p:spPr bwMode="auto">
          <a:xfrm>
            <a:off x="4202659" y="1858835"/>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44" name="Rectangle 169"/>
          <p:cNvSpPr/>
          <p:nvPr/>
        </p:nvSpPr>
        <p:spPr bwMode="auto">
          <a:xfrm>
            <a:off x="4365440" y="1994859"/>
            <a:ext cx="96905" cy="13881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45" name="Rectangle 169"/>
          <p:cNvSpPr/>
          <p:nvPr/>
        </p:nvSpPr>
        <p:spPr bwMode="auto">
          <a:xfrm>
            <a:off x="3994200" y="1978668"/>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07" name="Group 106"/>
          <p:cNvGrpSpPr/>
          <p:nvPr/>
        </p:nvGrpSpPr>
        <p:grpSpPr>
          <a:xfrm>
            <a:off x="4446241" y="1387494"/>
            <a:ext cx="243622" cy="329158"/>
            <a:chOff x="4353969" y="1310369"/>
            <a:chExt cx="349263" cy="471889"/>
          </a:xfrm>
        </p:grpSpPr>
        <p:sp>
          <p:nvSpPr>
            <p:cNvPr id="951" name="Rectangle 53"/>
            <p:cNvSpPr/>
            <p:nvPr/>
          </p:nvSpPr>
          <p:spPr bwMode="auto">
            <a:xfrm>
              <a:off x="4513568" y="1401887"/>
              <a:ext cx="30574" cy="380371"/>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52" name="Rectangle 951"/>
            <p:cNvSpPr/>
            <p:nvPr/>
          </p:nvSpPr>
          <p:spPr bwMode="auto">
            <a:xfrm>
              <a:off x="4528983" y="1486814"/>
              <a:ext cx="87970" cy="19715"/>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3" name="Rectangle 952"/>
            <p:cNvSpPr/>
            <p:nvPr/>
          </p:nvSpPr>
          <p:spPr bwMode="auto">
            <a:xfrm>
              <a:off x="4570636" y="1328806"/>
              <a:ext cx="87970" cy="19715"/>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4" name="Rectangle 953"/>
            <p:cNvSpPr/>
            <p:nvPr/>
          </p:nvSpPr>
          <p:spPr bwMode="auto">
            <a:xfrm rot="5400000">
              <a:off x="4591366" y="1351958"/>
              <a:ext cx="54623" cy="17923"/>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5" name="Rectangle 954"/>
            <p:cNvSpPr/>
            <p:nvPr/>
          </p:nvSpPr>
          <p:spPr bwMode="auto">
            <a:xfrm>
              <a:off x="4426185" y="1382413"/>
              <a:ext cx="201357" cy="19667"/>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6" name="Oval 955"/>
            <p:cNvSpPr/>
            <p:nvPr/>
          </p:nvSpPr>
          <p:spPr bwMode="auto">
            <a:xfrm>
              <a:off x="4537980" y="1311510"/>
              <a:ext cx="51993" cy="51993"/>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7" name="Oval 956"/>
            <p:cNvSpPr/>
            <p:nvPr/>
          </p:nvSpPr>
          <p:spPr bwMode="auto">
            <a:xfrm>
              <a:off x="4651239" y="1310369"/>
              <a:ext cx="51993" cy="51993"/>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8" name="Rectangle 957"/>
            <p:cNvSpPr/>
            <p:nvPr/>
          </p:nvSpPr>
          <p:spPr bwMode="auto">
            <a:xfrm>
              <a:off x="4386626" y="1329064"/>
              <a:ext cx="87970" cy="19715"/>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9" name="Rectangle 958"/>
            <p:cNvSpPr/>
            <p:nvPr/>
          </p:nvSpPr>
          <p:spPr bwMode="auto">
            <a:xfrm rot="5400000">
              <a:off x="4407355" y="1352216"/>
              <a:ext cx="54623" cy="17923"/>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60" name="Oval 959"/>
            <p:cNvSpPr/>
            <p:nvPr/>
          </p:nvSpPr>
          <p:spPr bwMode="auto">
            <a:xfrm>
              <a:off x="4353969" y="1311768"/>
              <a:ext cx="51993" cy="51993"/>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61" name="Oval 960"/>
            <p:cNvSpPr/>
            <p:nvPr/>
          </p:nvSpPr>
          <p:spPr bwMode="auto">
            <a:xfrm>
              <a:off x="4467228" y="1310627"/>
              <a:ext cx="51993" cy="51993"/>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62" name="Rounded Rectangle 961"/>
            <p:cNvSpPr/>
            <p:nvPr/>
          </p:nvSpPr>
          <p:spPr bwMode="auto">
            <a:xfrm>
              <a:off x="4601833" y="1469975"/>
              <a:ext cx="33406" cy="60352"/>
            </a:xfrm>
            <a:prstGeom prst="round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113" name="Rectangle 116"/>
          <p:cNvSpPr>
            <a:spLocks noChangeArrowheads="1"/>
          </p:cNvSpPr>
          <p:nvPr/>
        </p:nvSpPr>
        <p:spPr bwMode="auto">
          <a:xfrm>
            <a:off x="223844" y="4433959"/>
            <a:ext cx="9675101" cy="264960"/>
          </a:xfrm>
          <a:prstGeom prst="rect">
            <a:avLst/>
          </a:prstGeom>
          <a:solidFill>
            <a:schemeClr val="tx1">
              <a:lumMod val="75000"/>
              <a:lumOff val="2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64" name="Rectangle 663"/>
          <p:cNvSpPr/>
          <p:nvPr/>
        </p:nvSpPr>
        <p:spPr bwMode="auto">
          <a:xfrm>
            <a:off x="223843" y="6159654"/>
            <a:ext cx="9641266" cy="61184"/>
          </a:xfrm>
          <a:prstGeom prst="rect">
            <a:avLst/>
          </a:prstGeom>
          <a:gradFill>
            <a:gsLst>
              <a:gs pos="0">
                <a:schemeClr val="accent1">
                  <a:lumMod val="50000"/>
                </a:schemeClr>
              </a:gs>
              <a:gs pos="100000">
                <a:srgbClr val="005F70">
                  <a:alpha val="0"/>
                </a:srgbClr>
              </a:gs>
            </a:gsLst>
            <a:lin ang="16200000" scaled="0"/>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08" name="Rectangle 507"/>
          <p:cNvSpPr/>
          <p:nvPr/>
        </p:nvSpPr>
        <p:spPr bwMode="auto">
          <a:xfrm>
            <a:off x="223843" y="5562001"/>
            <a:ext cx="9649605" cy="579542"/>
          </a:xfrm>
          <a:prstGeom prst="rect">
            <a:avLst/>
          </a:prstGeom>
          <a:gradFill>
            <a:gsLst>
              <a:gs pos="0">
                <a:schemeClr val="accent1">
                  <a:lumMod val="50000"/>
                </a:schemeClr>
              </a:gs>
              <a:gs pos="100000">
                <a:srgbClr val="005F70">
                  <a:alpha val="0"/>
                </a:srgbClr>
              </a:gs>
            </a:gsLst>
            <a:lin ang="16200000" scaled="0"/>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46" name="Rectangle 116"/>
          <p:cNvSpPr>
            <a:spLocks noChangeArrowheads="1"/>
          </p:cNvSpPr>
          <p:nvPr/>
        </p:nvSpPr>
        <p:spPr bwMode="auto">
          <a:xfrm>
            <a:off x="212868" y="5103014"/>
            <a:ext cx="9686077" cy="356660"/>
          </a:xfrm>
          <a:prstGeom prst="rect">
            <a:avLst/>
          </a:prstGeom>
          <a:solidFill>
            <a:schemeClr val="tx1">
              <a:lumMod val="75000"/>
              <a:lumOff val="2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 name="Title 3"/>
          <p:cNvSpPr>
            <a:spLocks noGrp="1"/>
          </p:cNvSpPr>
          <p:nvPr>
            <p:ph type="title"/>
          </p:nvPr>
        </p:nvSpPr>
        <p:spPr>
          <a:xfrm>
            <a:off x="1588" y="0"/>
            <a:ext cx="12188825" cy="945292"/>
          </a:xfrm>
          <a:solidFill>
            <a:srgbClr val="4E195C"/>
          </a:solidFill>
        </p:spPr>
        <p:txBody>
          <a:bodyPr vert="horz" wrap="square" lIns="1188720" tIns="0" rIns="0" bIns="0" rtlCol="0" anchor="ctr" anchorCtr="0">
            <a:noAutofit/>
          </a:bodyPr>
          <a:lstStyle/>
          <a:p>
            <a:r>
              <a:rPr lang="en-US" sz="3000" dirty="0"/>
              <a:t>The Internet of Things – Public Sector Transportation</a:t>
            </a:r>
          </a:p>
        </p:txBody>
      </p:sp>
      <p:sp>
        <p:nvSpPr>
          <p:cNvPr id="521" name="Rectangle 520"/>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3" name="Group 12"/>
          <p:cNvGrpSpPr/>
          <p:nvPr/>
        </p:nvGrpSpPr>
        <p:grpSpPr>
          <a:xfrm>
            <a:off x="10071361" y="4918312"/>
            <a:ext cx="1895516" cy="1596687"/>
            <a:chOff x="195241" y="1940338"/>
            <a:chExt cx="1696081" cy="1596687"/>
          </a:xfrm>
        </p:grpSpPr>
        <p:sp>
          <p:nvSpPr>
            <p:cNvPr id="14" name="Trapezoid 13"/>
            <p:cNvSpPr/>
            <p:nvPr/>
          </p:nvSpPr>
          <p:spPr bwMode="auto">
            <a:xfrm>
              <a:off x="195241" y="3250919"/>
              <a:ext cx="1682885" cy="262428"/>
            </a:xfrm>
            <a:prstGeom prst="trapezoid">
              <a:avLst>
                <a:gd name="adj" fmla="val 98125"/>
              </a:avLst>
            </a:prstGeom>
            <a:solidFill>
              <a:srgbClr val="004B6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5" name="Group 14"/>
            <p:cNvGrpSpPr/>
            <p:nvPr/>
          </p:nvGrpSpPr>
          <p:grpSpPr>
            <a:xfrm>
              <a:off x="199443" y="1940338"/>
              <a:ext cx="1691879" cy="1596687"/>
              <a:chOff x="114793" y="600842"/>
              <a:chExt cx="3534423" cy="3568598"/>
            </a:xfrm>
          </p:grpSpPr>
          <p:sp>
            <p:nvSpPr>
              <p:cNvPr id="16" name="Rectangle 15"/>
              <p:cNvSpPr/>
              <p:nvPr/>
            </p:nvSpPr>
            <p:spPr bwMode="auto">
              <a:xfrm>
                <a:off x="607549" y="600842"/>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7" name="Trapezoid 302"/>
              <p:cNvSpPr/>
              <p:nvPr/>
            </p:nvSpPr>
            <p:spPr bwMode="auto">
              <a:xfrm rot="16200000">
                <a:off x="2288511" y="2808734"/>
                <a:ext cx="2234394" cy="487017"/>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8" name="Trapezoid 302"/>
              <p:cNvSpPr/>
              <p:nvPr/>
            </p:nvSpPr>
            <p:spPr bwMode="auto">
              <a:xfrm rot="5400000" flipH="1">
                <a:off x="-758896" y="2766596"/>
                <a:ext cx="2234395" cy="487017"/>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19" name="Rectangle 18"/>
          <p:cNvSpPr/>
          <p:nvPr/>
        </p:nvSpPr>
        <p:spPr bwMode="auto">
          <a:xfrm>
            <a:off x="10038016" y="1156961"/>
            <a:ext cx="1928863" cy="5354377"/>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0" name="Group 19"/>
          <p:cNvGrpSpPr/>
          <p:nvPr/>
        </p:nvGrpSpPr>
        <p:grpSpPr>
          <a:xfrm>
            <a:off x="10053315" y="1367700"/>
            <a:ext cx="1933625" cy="1626721"/>
            <a:chOff x="161401" y="1932654"/>
            <a:chExt cx="1761072" cy="1626721"/>
          </a:xfrm>
        </p:grpSpPr>
        <p:grpSp>
          <p:nvGrpSpPr>
            <p:cNvPr id="21" name="Group 20"/>
            <p:cNvGrpSpPr/>
            <p:nvPr/>
          </p:nvGrpSpPr>
          <p:grpSpPr>
            <a:xfrm>
              <a:off x="161401" y="3250919"/>
              <a:ext cx="1761072" cy="308456"/>
              <a:chOff x="3900492" y="3987329"/>
              <a:chExt cx="4849648" cy="308456"/>
            </a:xfrm>
          </p:grpSpPr>
          <p:sp>
            <p:nvSpPr>
              <p:cNvPr id="26" name="Rectangle 25"/>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7" name="Trapezoid 26"/>
              <p:cNvSpPr/>
              <p:nvPr/>
            </p:nvSpPr>
            <p:spPr bwMode="auto">
              <a:xfrm>
                <a:off x="3995583" y="3987329"/>
                <a:ext cx="4634336" cy="262428"/>
              </a:xfrm>
              <a:prstGeom prst="trapezoid">
                <a:avLst>
                  <a:gd name="adj" fmla="val 100094"/>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2" name="Group 21"/>
            <p:cNvGrpSpPr/>
            <p:nvPr/>
          </p:nvGrpSpPr>
          <p:grpSpPr>
            <a:xfrm>
              <a:off x="199444" y="1932654"/>
              <a:ext cx="1691879" cy="1585516"/>
              <a:chOff x="114794" y="583668"/>
              <a:chExt cx="3534424" cy="3543633"/>
            </a:xfrm>
          </p:grpSpPr>
          <p:sp>
            <p:nvSpPr>
              <p:cNvPr id="23" name="Rectangle 22"/>
              <p:cNvSpPr/>
              <p:nvPr/>
            </p:nvSpPr>
            <p:spPr bwMode="auto">
              <a:xfrm>
                <a:off x="607548"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4"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5"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28" name="Group 27"/>
          <p:cNvGrpSpPr/>
          <p:nvPr/>
        </p:nvGrpSpPr>
        <p:grpSpPr>
          <a:xfrm>
            <a:off x="10038015" y="4436476"/>
            <a:ext cx="1923541" cy="308456"/>
            <a:chOff x="3900492" y="3987329"/>
            <a:chExt cx="4849648" cy="308456"/>
          </a:xfrm>
        </p:grpSpPr>
        <p:sp>
          <p:nvSpPr>
            <p:cNvPr id="29" name="Rectangle 28"/>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0" name="Trapezoid 29"/>
            <p:cNvSpPr/>
            <p:nvPr/>
          </p:nvSpPr>
          <p:spPr bwMode="auto">
            <a:xfrm>
              <a:off x="3993141" y="3987329"/>
              <a:ext cx="4634337" cy="262428"/>
            </a:xfrm>
            <a:prstGeom prst="trapezoid">
              <a:avLst>
                <a:gd name="adj" fmla="val 96157"/>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1" name="Group 30"/>
          <p:cNvGrpSpPr/>
          <p:nvPr/>
        </p:nvGrpSpPr>
        <p:grpSpPr>
          <a:xfrm>
            <a:off x="10079568" y="3118038"/>
            <a:ext cx="1847965" cy="1585516"/>
            <a:chOff x="114794" y="583668"/>
            <a:chExt cx="3534424" cy="3543633"/>
          </a:xfrm>
        </p:grpSpPr>
        <p:sp>
          <p:nvSpPr>
            <p:cNvPr id="32" name="Rectangle 31"/>
            <p:cNvSpPr/>
            <p:nvPr/>
          </p:nvSpPr>
          <p:spPr bwMode="auto">
            <a:xfrm>
              <a:off x="607549"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3"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5" name="Group 34"/>
          <p:cNvGrpSpPr/>
          <p:nvPr/>
        </p:nvGrpSpPr>
        <p:grpSpPr>
          <a:xfrm>
            <a:off x="10660780" y="3121945"/>
            <a:ext cx="1120615" cy="1449897"/>
            <a:chOff x="831806" y="3541921"/>
            <a:chExt cx="1002800" cy="1261872"/>
          </a:xfrm>
        </p:grpSpPr>
        <p:sp>
          <p:nvSpPr>
            <p:cNvPr id="36" name="Rectangle 35"/>
            <p:cNvSpPr/>
            <p:nvPr/>
          </p:nvSpPr>
          <p:spPr bwMode="auto">
            <a:xfrm>
              <a:off x="831806" y="3541921"/>
              <a:ext cx="1002800"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Centrally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monitor fleets, and improve performance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and decrease maintenance costs by analyzing data across the system</a:t>
              </a:r>
            </a:p>
          </p:txBody>
        </p:sp>
        <p:cxnSp>
          <p:nvCxnSpPr>
            <p:cNvPr id="37" name="Straight Connector 36"/>
            <p:cNvCxnSpPr/>
            <p:nvPr/>
          </p:nvCxnSpPr>
          <p:spPr>
            <a:xfrm flipV="1">
              <a:off x="831806" y="3541921"/>
              <a:ext cx="0" cy="1261872"/>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38" name="TextBox 37"/>
          <p:cNvSpPr txBox="1"/>
          <p:nvPr/>
        </p:nvSpPr>
        <p:spPr>
          <a:xfrm>
            <a:off x="10048973" y="3548184"/>
            <a:ext cx="663525" cy="276999"/>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38" normalizeH="0" baseline="0" noProof="0" dirty="0">
                <a:ln>
                  <a:noFill/>
                </a:ln>
                <a:solidFill>
                  <a:srgbClr val="00BCF2"/>
                </a:solidFill>
                <a:effectLst/>
                <a:uLnTx/>
                <a:uFillTx/>
                <a:ea typeface="Segoe UI" pitchFamily="34" charset="0"/>
                <a:cs typeface="Segoe UI" pitchFamily="34" charset="0"/>
              </a:rPr>
              <a:t>Fleet Manager</a:t>
            </a:r>
          </a:p>
        </p:txBody>
      </p:sp>
      <p:grpSp>
        <p:nvGrpSpPr>
          <p:cNvPr id="43" name="Group 42"/>
          <p:cNvGrpSpPr/>
          <p:nvPr/>
        </p:nvGrpSpPr>
        <p:grpSpPr>
          <a:xfrm>
            <a:off x="10254150" y="2192113"/>
            <a:ext cx="283223" cy="643065"/>
            <a:chOff x="309086" y="5345226"/>
            <a:chExt cx="311545" cy="707372"/>
          </a:xfrm>
        </p:grpSpPr>
        <p:sp>
          <p:nvSpPr>
            <p:cNvPr id="51" name="Freeform 6"/>
            <p:cNvSpPr>
              <a:spLocks/>
            </p:cNvSpPr>
            <p:nvPr/>
          </p:nvSpPr>
          <p:spPr bwMode="auto">
            <a:xfrm>
              <a:off x="309086" y="5489141"/>
              <a:ext cx="255618" cy="563457"/>
            </a:xfrm>
            <a:custGeom>
              <a:avLst/>
              <a:gdLst>
                <a:gd name="T0" fmla="*/ 1366 w 1586"/>
                <a:gd name="T1" fmla="*/ 120 h 3496"/>
                <a:gd name="T2" fmla="*/ 1247 w 1586"/>
                <a:gd name="T3" fmla="*/ 64 h 3496"/>
                <a:gd name="T4" fmla="*/ 1023 w 1586"/>
                <a:gd name="T5" fmla="*/ 0 h 3496"/>
                <a:gd name="T6" fmla="*/ 489 w 1586"/>
                <a:gd name="T7" fmla="*/ 30 h 3496"/>
                <a:gd name="T8" fmla="*/ 249 w 1586"/>
                <a:gd name="T9" fmla="*/ 136 h 3496"/>
                <a:gd name="T10" fmla="*/ 126 w 1586"/>
                <a:gd name="T11" fmla="*/ 222 h 3496"/>
                <a:gd name="T12" fmla="*/ 106 w 1586"/>
                <a:gd name="T13" fmla="*/ 261 h 3496"/>
                <a:gd name="T14" fmla="*/ 62 w 1586"/>
                <a:gd name="T15" fmla="*/ 441 h 3496"/>
                <a:gd name="T16" fmla="*/ 54 w 1586"/>
                <a:gd name="T17" fmla="*/ 605 h 3496"/>
                <a:gd name="T18" fmla="*/ 18 w 1586"/>
                <a:gd name="T19" fmla="*/ 1139 h 3496"/>
                <a:gd name="T20" fmla="*/ 2 w 1586"/>
                <a:gd name="T21" fmla="*/ 1549 h 3496"/>
                <a:gd name="T22" fmla="*/ 4 w 1586"/>
                <a:gd name="T23" fmla="*/ 1632 h 3496"/>
                <a:gd name="T24" fmla="*/ 32 w 1586"/>
                <a:gd name="T25" fmla="*/ 1698 h 3496"/>
                <a:gd name="T26" fmla="*/ 78 w 1586"/>
                <a:gd name="T27" fmla="*/ 1732 h 3496"/>
                <a:gd name="T28" fmla="*/ 124 w 1586"/>
                <a:gd name="T29" fmla="*/ 1738 h 3496"/>
                <a:gd name="T30" fmla="*/ 178 w 1586"/>
                <a:gd name="T31" fmla="*/ 1724 h 3496"/>
                <a:gd name="T32" fmla="*/ 217 w 1586"/>
                <a:gd name="T33" fmla="*/ 1690 h 3496"/>
                <a:gd name="T34" fmla="*/ 239 w 1586"/>
                <a:gd name="T35" fmla="*/ 1634 h 3496"/>
                <a:gd name="T36" fmla="*/ 245 w 1586"/>
                <a:gd name="T37" fmla="*/ 1473 h 3496"/>
                <a:gd name="T38" fmla="*/ 291 w 1586"/>
                <a:gd name="T39" fmla="*/ 856 h 3496"/>
                <a:gd name="T40" fmla="*/ 323 w 1586"/>
                <a:gd name="T41" fmla="*/ 635 h 3496"/>
                <a:gd name="T42" fmla="*/ 331 w 1586"/>
                <a:gd name="T43" fmla="*/ 1193 h 3496"/>
                <a:gd name="T44" fmla="*/ 321 w 1586"/>
                <a:gd name="T45" fmla="*/ 1355 h 3496"/>
                <a:gd name="T46" fmla="*/ 297 w 1586"/>
                <a:gd name="T47" fmla="*/ 1616 h 3496"/>
                <a:gd name="T48" fmla="*/ 311 w 1586"/>
                <a:gd name="T49" fmla="*/ 1808 h 3496"/>
                <a:gd name="T50" fmla="*/ 343 w 1586"/>
                <a:gd name="T51" fmla="*/ 2039 h 3496"/>
                <a:gd name="T52" fmla="*/ 359 w 1586"/>
                <a:gd name="T53" fmla="*/ 2399 h 3496"/>
                <a:gd name="T54" fmla="*/ 341 w 1586"/>
                <a:gd name="T55" fmla="*/ 2953 h 3496"/>
                <a:gd name="T56" fmla="*/ 333 w 1586"/>
                <a:gd name="T57" fmla="*/ 3312 h 3496"/>
                <a:gd name="T58" fmla="*/ 341 w 1586"/>
                <a:gd name="T59" fmla="*/ 3374 h 3496"/>
                <a:gd name="T60" fmla="*/ 367 w 1586"/>
                <a:gd name="T61" fmla="*/ 3424 h 3496"/>
                <a:gd name="T62" fmla="*/ 457 w 1586"/>
                <a:gd name="T63" fmla="*/ 3484 h 3496"/>
                <a:gd name="T64" fmla="*/ 573 w 1586"/>
                <a:gd name="T65" fmla="*/ 3492 h 3496"/>
                <a:gd name="T66" fmla="*/ 678 w 1586"/>
                <a:gd name="T67" fmla="*/ 3444 h 3496"/>
                <a:gd name="T68" fmla="*/ 710 w 1586"/>
                <a:gd name="T69" fmla="*/ 3334 h 3496"/>
                <a:gd name="T70" fmla="*/ 726 w 1586"/>
                <a:gd name="T71" fmla="*/ 3143 h 3496"/>
                <a:gd name="T72" fmla="*/ 724 w 1586"/>
                <a:gd name="T73" fmla="*/ 1736 h 3496"/>
                <a:gd name="T74" fmla="*/ 812 w 1586"/>
                <a:gd name="T75" fmla="*/ 2542 h 3496"/>
                <a:gd name="T76" fmla="*/ 816 w 1586"/>
                <a:gd name="T77" fmla="*/ 3350 h 3496"/>
                <a:gd name="T78" fmla="*/ 838 w 1586"/>
                <a:gd name="T79" fmla="*/ 3420 h 3496"/>
                <a:gd name="T80" fmla="*/ 884 w 1586"/>
                <a:gd name="T81" fmla="*/ 3466 h 3496"/>
                <a:gd name="T82" fmla="*/ 948 w 1586"/>
                <a:gd name="T83" fmla="*/ 3490 h 3496"/>
                <a:gd name="T84" fmla="*/ 1017 w 1586"/>
                <a:gd name="T85" fmla="*/ 3492 h 3496"/>
                <a:gd name="T86" fmla="*/ 1083 w 1586"/>
                <a:gd name="T87" fmla="*/ 3474 h 3496"/>
                <a:gd name="T88" fmla="*/ 1141 w 1586"/>
                <a:gd name="T89" fmla="*/ 3436 h 3496"/>
                <a:gd name="T90" fmla="*/ 1179 w 1586"/>
                <a:gd name="T91" fmla="*/ 3380 h 3496"/>
                <a:gd name="T92" fmla="*/ 1187 w 1586"/>
                <a:gd name="T93" fmla="*/ 3308 h 3496"/>
                <a:gd name="T94" fmla="*/ 1179 w 1586"/>
                <a:gd name="T95" fmla="*/ 2935 h 3496"/>
                <a:gd name="T96" fmla="*/ 1163 w 1586"/>
                <a:gd name="T97" fmla="*/ 2369 h 3496"/>
                <a:gd name="T98" fmla="*/ 1185 w 1586"/>
                <a:gd name="T99" fmla="*/ 1997 h 3496"/>
                <a:gd name="T100" fmla="*/ 1225 w 1586"/>
                <a:gd name="T101" fmla="*/ 1764 h 3496"/>
                <a:gd name="T102" fmla="*/ 1235 w 1586"/>
                <a:gd name="T103" fmla="*/ 1584 h 3496"/>
                <a:gd name="T104" fmla="*/ 1201 w 1586"/>
                <a:gd name="T105" fmla="*/ 1327 h 3496"/>
                <a:gd name="T106" fmla="*/ 1189 w 1586"/>
                <a:gd name="T107" fmla="*/ 1173 h 3496"/>
                <a:gd name="T108" fmla="*/ 1189 w 1586"/>
                <a:gd name="T109" fmla="*/ 623 h 3496"/>
                <a:gd name="T110" fmla="*/ 1299 w 1586"/>
                <a:gd name="T111" fmla="*/ 1042 h 3496"/>
                <a:gd name="T112" fmla="*/ 1351 w 1586"/>
                <a:gd name="T113" fmla="*/ 1004 h 3496"/>
                <a:gd name="T114" fmla="*/ 1476 w 1586"/>
                <a:gd name="T115" fmla="*/ 844 h 3496"/>
                <a:gd name="T116" fmla="*/ 1550 w 1586"/>
                <a:gd name="T117" fmla="*/ 772 h 3496"/>
                <a:gd name="T118" fmla="*/ 1586 w 1586"/>
                <a:gd name="T119" fmla="*/ 760 h 3496"/>
                <a:gd name="T120" fmla="*/ 1438 w 1586"/>
                <a:gd name="T121" fmla="*/ 557 h 3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86" h="3496">
                  <a:moveTo>
                    <a:pt x="1438" y="557"/>
                  </a:moveTo>
                  <a:lnTo>
                    <a:pt x="1378" y="132"/>
                  </a:lnTo>
                  <a:lnTo>
                    <a:pt x="1378" y="132"/>
                  </a:lnTo>
                  <a:lnTo>
                    <a:pt x="1366" y="120"/>
                  </a:lnTo>
                  <a:lnTo>
                    <a:pt x="1351" y="110"/>
                  </a:lnTo>
                  <a:lnTo>
                    <a:pt x="1329" y="98"/>
                  </a:lnTo>
                  <a:lnTo>
                    <a:pt x="1305" y="86"/>
                  </a:lnTo>
                  <a:lnTo>
                    <a:pt x="1247" y="64"/>
                  </a:lnTo>
                  <a:lnTo>
                    <a:pt x="1185" y="44"/>
                  </a:lnTo>
                  <a:lnTo>
                    <a:pt x="1125" y="26"/>
                  </a:lnTo>
                  <a:lnTo>
                    <a:pt x="1073" y="12"/>
                  </a:lnTo>
                  <a:lnTo>
                    <a:pt x="1023" y="0"/>
                  </a:lnTo>
                  <a:lnTo>
                    <a:pt x="782" y="1046"/>
                  </a:lnTo>
                  <a:lnTo>
                    <a:pt x="561" y="4"/>
                  </a:lnTo>
                  <a:lnTo>
                    <a:pt x="561" y="4"/>
                  </a:lnTo>
                  <a:lnTo>
                    <a:pt x="489" y="30"/>
                  </a:lnTo>
                  <a:lnTo>
                    <a:pt x="417" y="60"/>
                  </a:lnTo>
                  <a:lnTo>
                    <a:pt x="333" y="96"/>
                  </a:lnTo>
                  <a:lnTo>
                    <a:pt x="291" y="116"/>
                  </a:lnTo>
                  <a:lnTo>
                    <a:pt x="249" y="136"/>
                  </a:lnTo>
                  <a:lnTo>
                    <a:pt x="211" y="158"/>
                  </a:lnTo>
                  <a:lnTo>
                    <a:pt x="178" y="180"/>
                  </a:lnTo>
                  <a:lnTo>
                    <a:pt x="148" y="202"/>
                  </a:lnTo>
                  <a:lnTo>
                    <a:pt x="126" y="222"/>
                  </a:lnTo>
                  <a:lnTo>
                    <a:pt x="118" y="232"/>
                  </a:lnTo>
                  <a:lnTo>
                    <a:pt x="112" y="242"/>
                  </a:lnTo>
                  <a:lnTo>
                    <a:pt x="108" y="252"/>
                  </a:lnTo>
                  <a:lnTo>
                    <a:pt x="106" y="261"/>
                  </a:lnTo>
                  <a:lnTo>
                    <a:pt x="80" y="333"/>
                  </a:lnTo>
                  <a:lnTo>
                    <a:pt x="80" y="333"/>
                  </a:lnTo>
                  <a:lnTo>
                    <a:pt x="68" y="399"/>
                  </a:lnTo>
                  <a:lnTo>
                    <a:pt x="62" y="441"/>
                  </a:lnTo>
                  <a:lnTo>
                    <a:pt x="58" y="467"/>
                  </a:lnTo>
                  <a:lnTo>
                    <a:pt x="58" y="467"/>
                  </a:lnTo>
                  <a:lnTo>
                    <a:pt x="58" y="537"/>
                  </a:lnTo>
                  <a:lnTo>
                    <a:pt x="54" y="605"/>
                  </a:lnTo>
                  <a:lnTo>
                    <a:pt x="48" y="742"/>
                  </a:lnTo>
                  <a:lnTo>
                    <a:pt x="38" y="876"/>
                  </a:lnTo>
                  <a:lnTo>
                    <a:pt x="28" y="1008"/>
                  </a:lnTo>
                  <a:lnTo>
                    <a:pt x="18" y="1139"/>
                  </a:lnTo>
                  <a:lnTo>
                    <a:pt x="8" y="1273"/>
                  </a:lnTo>
                  <a:lnTo>
                    <a:pt x="2" y="1409"/>
                  </a:lnTo>
                  <a:lnTo>
                    <a:pt x="2" y="1479"/>
                  </a:lnTo>
                  <a:lnTo>
                    <a:pt x="2" y="1549"/>
                  </a:lnTo>
                  <a:lnTo>
                    <a:pt x="2" y="1549"/>
                  </a:lnTo>
                  <a:lnTo>
                    <a:pt x="0" y="1574"/>
                  </a:lnTo>
                  <a:lnTo>
                    <a:pt x="0" y="1602"/>
                  </a:lnTo>
                  <a:lnTo>
                    <a:pt x="4" y="1632"/>
                  </a:lnTo>
                  <a:lnTo>
                    <a:pt x="12" y="1660"/>
                  </a:lnTo>
                  <a:lnTo>
                    <a:pt x="18" y="1674"/>
                  </a:lnTo>
                  <a:lnTo>
                    <a:pt x="24" y="1686"/>
                  </a:lnTo>
                  <a:lnTo>
                    <a:pt x="32" y="1698"/>
                  </a:lnTo>
                  <a:lnTo>
                    <a:pt x="42" y="1710"/>
                  </a:lnTo>
                  <a:lnTo>
                    <a:pt x="52" y="1718"/>
                  </a:lnTo>
                  <a:lnTo>
                    <a:pt x="64" y="1726"/>
                  </a:lnTo>
                  <a:lnTo>
                    <a:pt x="78" y="1732"/>
                  </a:lnTo>
                  <a:lnTo>
                    <a:pt x="94" y="1736"/>
                  </a:lnTo>
                  <a:lnTo>
                    <a:pt x="94" y="1736"/>
                  </a:lnTo>
                  <a:lnTo>
                    <a:pt x="110" y="1738"/>
                  </a:lnTo>
                  <a:lnTo>
                    <a:pt x="124" y="1738"/>
                  </a:lnTo>
                  <a:lnTo>
                    <a:pt x="138" y="1736"/>
                  </a:lnTo>
                  <a:lnTo>
                    <a:pt x="152" y="1734"/>
                  </a:lnTo>
                  <a:lnTo>
                    <a:pt x="166" y="1730"/>
                  </a:lnTo>
                  <a:lnTo>
                    <a:pt x="178" y="1724"/>
                  </a:lnTo>
                  <a:lnTo>
                    <a:pt x="190" y="1718"/>
                  </a:lnTo>
                  <a:lnTo>
                    <a:pt x="199" y="1710"/>
                  </a:lnTo>
                  <a:lnTo>
                    <a:pt x="207" y="1700"/>
                  </a:lnTo>
                  <a:lnTo>
                    <a:pt x="217" y="1690"/>
                  </a:lnTo>
                  <a:lnTo>
                    <a:pt x="223" y="1678"/>
                  </a:lnTo>
                  <a:lnTo>
                    <a:pt x="229" y="1664"/>
                  </a:lnTo>
                  <a:lnTo>
                    <a:pt x="235" y="1650"/>
                  </a:lnTo>
                  <a:lnTo>
                    <a:pt x="239" y="1634"/>
                  </a:lnTo>
                  <a:lnTo>
                    <a:pt x="241" y="1618"/>
                  </a:lnTo>
                  <a:lnTo>
                    <a:pt x="241" y="1600"/>
                  </a:lnTo>
                  <a:lnTo>
                    <a:pt x="241" y="1600"/>
                  </a:lnTo>
                  <a:lnTo>
                    <a:pt x="245" y="1473"/>
                  </a:lnTo>
                  <a:lnTo>
                    <a:pt x="253" y="1323"/>
                  </a:lnTo>
                  <a:lnTo>
                    <a:pt x="265" y="1161"/>
                  </a:lnTo>
                  <a:lnTo>
                    <a:pt x="277" y="1002"/>
                  </a:lnTo>
                  <a:lnTo>
                    <a:pt x="291" y="856"/>
                  </a:lnTo>
                  <a:lnTo>
                    <a:pt x="305" y="738"/>
                  </a:lnTo>
                  <a:lnTo>
                    <a:pt x="313" y="692"/>
                  </a:lnTo>
                  <a:lnTo>
                    <a:pt x="319" y="657"/>
                  </a:lnTo>
                  <a:lnTo>
                    <a:pt x="323" y="635"/>
                  </a:lnTo>
                  <a:lnTo>
                    <a:pt x="327" y="629"/>
                  </a:lnTo>
                  <a:lnTo>
                    <a:pt x="329" y="627"/>
                  </a:lnTo>
                  <a:lnTo>
                    <a:pt x="329" y="627"/>
                  </a:lnTo>
                  <a:lnTo>
                    <a:pt x="331" y="1193"/>
                  </a:lnTo>
                  <a:lnTo>
                    <a:pt x="331" y="1193"/>
                  </a:lnTo>
                  <a:lnTo>
                    <a:pt x="329" y="1237"/>
                  </a:lnTo>
                  <a:lnTo>
                    <a:pt x="327" y="1277"/>
                  </a:lnTo>
                  <a:lnTo>
                    <a:pt x="321" y="1355"/>
                  </a:lnTo>
                  <a:lnTo>
                    <a:pt x="311" y="1427"/>
                  </a:lnTo>
                  <a:lnTo>
                    <a:pt x="303" y="1499"/>
                  </a:lnTo>
                  <a:lnTo>
                    <a:pt x="297" y="1574"/>
                  </a:lnTo>
                  <a:lnTo>
                    <a:pt x="297" y="1616"/>
                  </a:lnTo>
                  <a:lnTo>
                    <a:pt x="297" y="1658"/>
                  </a:lnTo>
                  <a:lnTo>
                    <a:pt x="299" y="1704"/>
                  </a:lnTo>
                  <a:lnTo>
                    <a:pt x="303" y="1754"/>
                  </a:lnTo>
                  <a:lnTo>
                    <a:pt x="311" y="1808"/>
                  </a:lnTo>
                  <a:lnTo>
                    <a:pt x="319" y="1866"/>
                  </a:lnTo>
                  <a:lnTo>
                    <a:pt x="319" y="1866"/>
                  </a:lnTo>
                  <a:lnTo>
                    <a:pt x="333" y="1952"/>
                  </a:lnTo>
                  <a:lnTo>
                    <a:pt x="343" y="2039"/>
                  </a:lnTo>
                  <a:lnTo>
                    <a:pt x="351" y="2127"/>
                  </a:lnTo>
                  <a:lnTo>
                    <a:pt x="355" y="2217"/>
                  </a:lnTo>
                  <a:lnTo>
                    <a:pt x="357" y="2307"/>
                  </a:lnTo>
                  <a:lnTo>
                    <a:pt x="359" y="2399"/>
                  </a:lnTo>
                  <a:lnTo>
                    <a:pt x="357" y="2490"/>
                  </a:lnTo>
                  <a:lnTo>
                    <a:pt x="355" y="2584"/>
                  </a:lnTo>
                  <a:lnTo>
                    <a:pt x="349" y="2768"/>
                  </a:lnTo>
                  <a:lnTo>
                    <a:pt x="341" y="2953"/>
                  </a:lnTo>
                  <a:lnTo>
                    <a:pt x="335" y="3135"/>
                  </a:lnTo>
                  <a:lnTo>
                    <a:pt x="333" y="3225"/>
                  </a:lnTo>
                  <a:lnTo>
                    <a:pt x="333" y="3312"/>
                  </a:lnTo>
                  <a:lnTo>
                    <a:pt x="333" y="3312"/>
                  </a:lnTo>
                  <a:lnTo>
                    <a:pt x="333" y="3328"/>
                  </a:lnTo>
                  <a:lnTo>
                    <a:pt x="333" y="3344"/>
                  </a:lnTo>
                  <a:lnTo>
                    <a:pt x="337" y="3360"/>
                  </a:lnTo>
                  <a:lnTo>
                    <a:pt x="341" y="3374"/>
                  </a:lnTo>
                  <a:lnTo>
                    <a:pt x="345" y="3388"/>
                  </a:lnTo>
                  <a:lnTo>
                    <a:pt x="351" y="3400"/>
                  </a:lnTo>
                  <a:lnTo>
                    <a:pt x="359" y="3412"/>
                  </a:lnTo>
                  <a:lnTo>
                    <a:pt x="367" y="3424"/>
                  </a:lnTo>
                  <a:lnTo>
                    <a:pt x="385" y="3444"/>
                  </a:lnTo>
                  <a:lnTo>
                    <a:pt x="407" y="3460"/>
                  </a:lnTo>
                  <a:lnTo>
                    <a:pt x="431" y="3474"/>
                  </a:lnTo>
                  <a:lnTo>
                    <a:pt x="457" y="3484"/>
                  </a:lnTo>
                  <a:lnTo>
                    <a:pt x="485" y="3492"/>
                  </a:lnTo>
                  <a:lnTo>
                    <a:pt x="515" y="3494"/>
                  </a:lnTo>
                  <a:lnTo>
                    <a:pt x="543" y="3496"/>
                  </a:lnTo>
                  <a:lnTo>
                    <a:pt x="573" y="3492"/>
                  </a:lnTo>
                  <a:lnTo>
                    <a:pt x="600" y="3486"/>
                  </a:lnTo>
                  <a:lnTo>
                    <a:pt x="628" y="3476"/>
                  </a:lnTo>
                  <a:lnTo>
                    <a:pt x="654" y="3462"/>
                  </a:lnTo>
                  <a:lnTo>
                    <a:pt x="678" y="3444"/>
                  </a:lnTo>
                  <a:lnTo>
                    <a:pt x="678" y="3444"/>
                  </a:lnTo>
                  <a:lnTo>
                    <a:pt x="692" y="3408"/>
                  </a:lnTo>
                  <a:lnTo>
                    <a:pt x="702" y="3372"/>
                  </a:lnTo>
                  <a:lnTo>
                    <a:pt x="710" y="3334"/>
                  </a:lnTo>
                  <a:lnTo>
                    <a:pt x="716" y="3296"/>
                  </a:lnTo>
                  <a:lnTo>
                    <a:pt x="722" y="3259"/>
                  </a:lnTo>
                  <a:lnTo>
                    <a:pt x="724" y="3219"/>
                  </a:lnTo>
                  <a:lnTo>
                    <a:pt x="726" y="3143"/>
                  </a:lnTo>
                  <a:lnTo>
                    <a:pt x="726" y="3143"/>
                  </a:lnTo>
                  <a:lnTo>
                    <a:pt x="724" y="2440"/>
                  </a:lnTo>
                  <a:lnTo>
                    <a:pt x="724" y="1736"/>
                  </a:lnTo>
                  <a:lnTo>
                    <a:pt x="724" y="1736"/>
                  </a:lnTo>
                  <a:lnTo>
                    <a:pt x="812" y="1736"/>
                  </a:lnTo>
                  <a:lnTo>
                    <a:pt x="812" y="1736"/>
                  </a:lnTo>
                  <a:lnTo>
                    <a:pt x="814" y="2139"/>
                  </a:lnTo>
                  <a:lnTo>
                    <a:pt x="812" y="2542"/>
                  </a:lnTo>
                  <a:lnTo>
                    <a:pt x="812" y="2947"/>
                  </a:lnTo>
                  <a:lnTo>
                    <a:pt x="814" y="3149"/>
                  </a:lnTo>
                  <a:lnTo>
                    <a:pt x="816" y="3350"/>
                  </a:lnTo>
                  <a:lnTo>
                    <a:pt x="816" y="3350"/>
                  </a:lnTo>
                  <a:lnTo>
                    <a:pt x="818" y="3370"/>
                  </a:lnTo>
                  <a:lnTo>
                    <a:pt x="824" y="3388"/>
                  </a:lnTo>
                  <a:lnTo>
                    <a:pt x="830" y="3404"/>
                  </a:lnTo>
                  <a:lnTo>
                    <a:pt x="838" y="3420"/>
                  </a:lnTo>
                  <a:lnTo>
                    <a:pt x="848" y="3434"/>
                  </a:lnTo>
                  <a:lnTo>
                    <a:pt x="858" y="3446"/>
                  </a:lnTo>
                  <a:lnTo>
                    <a:pt x="872" y="3458"/>
                  </a:lnTo>
                  <a:lnTo>
                    <a:pt x="884" y="3466"/>
                  </a:lnTo>
                  <a:lnTo>
                    <a:pt x="900" y="3474"/>
                  </a:lnTo>
                  <a:lnTo>
                    <a:pt x="914" y="3482"/>
                  </a:lnTo>
                  <a:lnTo>
                    <a:pt x="930" y="3486"/>
                  </a:lnTo>
                  <a:lnTo>
                    <a:pt x="948" y="3490"/>
                  </a:lnTo>
                  <a:lnTo>
                    <a:pt x="964" y="3492"/>
                  </a:lnTo>
                  <a:lnTo>
                    <a:pt x="981" y="3494"/>
                  </a:lnTo>
                  <a:lnTo>
                    <a:pt x="999" y="3494"/>
                  </a:lnTo>
                  <a:lnTo>
                    <a:pt x="1017" y="3492"/>
                  </a:lnTo>
                  <a:lnTo>
                    <a:pt x="1033" y="3490"/>
                  </a:lnTo>
                  <a:lnTo>
                    <a:pt x="1051" y="3486"/>
                  </a:lnTo>
                  <a:lnTo>
                    <a:pt x="1067" y="3480"/>
                  </a:lnTo>
                  <a:lnTo>
                    <a:pt x="1083" y="3474"/>
                  </a:lnTo>
                  <a:lnTo>
                    <a:pt x="1099" y="3466"/>
                  </a:lnTo>
                  <a:lnTo>
                    <a:pt x="1115" y="3456"/>
                  </a:lnTo>
                  <a:lnTo>
                    <a:pt x="1129" y="3446"/>
                  </a:lnTo>
                  <a:lnTo>
                    <a:pt x="1141" y="3436"/>
                  </a:lnTo>
                  <a:lnTo>
                    <a:pt x="1153" y="3424"/>
                  </a:lnTo>
                  <a:lnTo>
                    <a:pt x="1163" y="3410"/>
                  </a:lnTo>
                  <a:lnTo>
                    <a:pt x="1171" y="3396"/>
                  </a:lnTo>
                  <a:lnTo>
                    <a:pt x="1179" y="3380"/>
                  </a:lnTo>
                  <a:lnTo>
                    <a:pt x="1183" y="3364"/>
                  </a:lnTo>
                  <a:lnTo>
                    <a:pt x="1187" y="3346"/>
                  </a:lnTo>
                  <a:lnTo>
                    <a:pt x="1187" y="3326"/>
                  </a:lnTo>
                  <a:lnTo>
                    <a:pt x="1187" y="3308"/>
                  </a:lnTo>
                  <a:lnTo>
                    <a:pt x="1187" y="3308"/>
                  </a:lnTo>
                  <a:lnTo>
                    <a:pt x="1187" y="3215"/>
                  </a:lnTo>
                  <a:lnTo>
                    <a:pt x="1185" y="3123"/>
                  </a:lnTo>
                  <a:lnTo>
                    <a:pt x="1179" y="2935"/>
                  </a:lnTo>
                  <a:lnTo>
                    <a:pt x="1171" y="2746"/>
                  </a:lnTo>
                  <a:lnTo>
                    <a:pt x="1165" y="2558"/>
                  </a:lnTo>
                  <a:lnTo>
                    <a:pt x="1163" y="2464"/>
                  </a:lnTo>
                  <a:lnTo>
                    <a:pt x="1163" y="2369"/>
                  </a:lnTo>
                  <a:lnTo>
                    <a:pt x="1165" y="2275"/>
                  </a:lnTo>
                  <a:lnTo>
                    <a:pt x="1169" y="2183"/>
                  </a:lnTo>
                  <a:lnTo>
                    <a:pt x="1177" y="2089"/>
                  </a:lnTo>
                  <a:lnTo>
                    <a:pt x="1185" y="1997"/>
                  </a:lnTo>
                  <a:lnTo>
                    <a:pt x="1199" y="1906"/>
                  </a:lnTo>
                  <a:lnTo>
                    <a:pt x="1215" y="1816"/>
                  </a:lnTo>
                  <a:lnTo>
                    <a:pt x="1215" y="1816"/>
                  </a:lnTo>
                  <a:lnTo>
                    <a:pt x="1225" y="1764"/>
                  </a:lnTo>
                  <a:lnTo>
                    <a:pt x="1231" y="1716"/>
                  </a:lnTo>
                  <a:lnTo>
                    <a:pt x="1235" y="1670"/>
                  </a:lnTo>
                  <a:lnTo>
                    <a:pt x="1235" y="1626"/>
                  </a:lnTo>
                  <a:lnTo>
                    <a:pt x="1235" y="1584"/>
                  </a:lnTo>
                  <a:lnTo>
                    <a:pt x="1233" y="1547"/>
                  </a:lnTo>
                  <a:lnTo>
                    <a:pt x="1229" y="1509"/>
                  </a:lnTo>
                  <a:lnTo>
                    <a:pt x="1223" y="1471"/>
                  </a:lnTo>
                  <a:lnTo>
                    <a:pt x="1201" y="1327"/>
                  </a:lnTo>
                  <a:lnTo>
                    <a:pt x="1197" y="1291"/>
                  </a:lnTo>
                  <a:lnTo>
                    <a:pt x="1193" y="1253"/>
                  </a:lnTo>
                  <a:lnTo>
                    <a:pt x="1189" y="1213"/>
                  </a:lnTo>
                  <a:lnTo>
                    <a:pt x="1189" y="1173"/>
                  </a:lnTo>
                  <a:lnTo>
                    <a:pt x="1189" y="1173"/>
                  </a:lnTo>
                  <a:lnTo>
                    <a:pt x="1191" y="623"/>
                  </a:lnTo>
                  <a:lnTo>
                    <a:pt x="1191" y="623"/>
                  </a:lnTo>
                  <a:lnTo>
                    <a:pt x="1189" y="623"/>
                  </a:lnTo>
                  <a:lnTo>
                    <a:pt x="1189" y="625"/>
                  </a:lnTo>
                  <a:lnTo>
                    <a:pt x="1191" y="639"/>
                  </a:lnTo>
                  <a:lnTo>
                    <a:pt x="1207" y="708"/>
                  </a:lnTo>
                  <a:lnTo>
                    <a:pt x="1299" y="1042"/>
                  </a:lnTo>
                  <a:lnTo>
                    <a:pt x="1299" y="1042"/>
                  </a:lnTo>
                  <a:lnTo>
                    <a:pt x="1317" y="1034"/>
                  </a:lnTo>
                  <a:lnTo>
                    <a:pt x="1333" y="1020"/>
                  </a:lnTo>
                  <a:lnTo>
                    <a:pt x="1351" y="1004"/>
                  </a:lnTo>
                  <a:lnTo>
                    <a:pt x="1368" y="984"/>
                  </a:lnTo>
                  <a:lnTo>
                    <a:pt x="1404" y="940"/>
                  </a:lnTo>
                  <a:lnTo>
                    <a:pt x="1440" y="892"/>
                  </a:lnTo>
                  <a:lnTo>
                    <a:pt x="1476" y="844"/>
                  </a:lnTo>
                  <a:lnTo>
                    <a:pt x="1494" y="822"/>
                  </a:lnTo>
                  <a:lnTo>
                    <a:pt x="1512" y="802"/>
                  </a:lnTo>
                  <a:lnTo>
                    <a:pt x="1532" y="786"/>
                  </a:lnTo>
                  <a:lnTo>
                    <a:pt x="1550" y="772"/>
                  </a:lnTo>
                  <a:lnTo>
                    <a:pt x="1568" y="764"/>
                  </a:lnTo>
                  <a:lnTo>
                    <a:pt x="1576" y="762"/>
                  </a:lnTo>
                  <a:lnTo>
                    <a:pt x="1586" y="760"/>
                  </a:lnTo>
                  <a:lnTo>
                    <a:pt x="1586" y="760"/>
                  </a:lnTo>
                  <a:lnTo>
                    <a:pt x="1586" y="756"/>
                  </a:lnTo>
                  <a:lnTo>
                    <a:pt x="1586" y="750"/>
                  </a:lnTo>
                  <a:lnTo>
                    <a:pt x="1422" y="718"/>
                  </a:lnTo>
                  <a:lnTo>
                    <a:pt x="1438" y="55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2" name="Freeform 7"/>
            <p:cNvSpPr>
              <a:spLocks/>
            </p:cNvSpPr>
            <p:nvPr/>
          </p:nvSpPr>
          <p:spPr bwMode="auto">
            <a:xfrm>
              <a:off x="559225" y="5493976"/>
              <a:ext cx="61406" cy="60117"/>
            </a:xfrm>
            <a:custGeom>
              <a:avLst/>
              <a:gdLst>
                <a:gd name="T0" fmla="*/ 16 w 381"/>
                <a:gd name="T1" fmla="*/ 357 h 373"/>
                <a:gd name="T2" fmla="*/ 16 w 381"/>
                <a:gd name="T3" fmla="*/ 357 h 373"/>
                <a:gd name="T4" fmla="*/ 34 w 381"/>
                <a:gd name="T5" fmla="*/ 333 h 373"/>
                <a:gd name="T6" fmla="*/ 56 w 381"/>
                <a:gd name="T7" fmla="*/ 303 h 373"/>
                <a:gd name="T8" fmla="*/ 56 w 381"/>
                <a:gd name="T9" fmla="*/ 303 h 373"/>
                <a:gd name="T10" fmla="*/ 66 w 381"/>
                <a:gd name="T11" fmla="*/ 295 h 373"/>
                <a:gd name="T12" fmla="*/ 76 w 381"/>
                <a:gd name="T13" fmla="*/ 285 h 373"/>
                <a:gd name="T14" fmla="*/ 92 w 381"/>
                <a:gd name="T15" fmla="*/ 273 h 373"/>
                <a:gd name="T16" fmla="*/ 110 w 381"/>
                <a:gd name="T17" fmla="*/ 261 h 373"/>
                <a:gd name="T18" fmla="*/ 130 w 381"/>
                <a:gd name="T19" fmla="*/ 251 h 373"/>
                <a:gd name="T20" fmla="*/ 154 w 381"/>
                <a:gd name="T21" fmla="*/ 245 h 373"/>
                <a:gd name="T22" fmla="*/ 168 w 381"/>
                <a:gd name="T23" fmla="*/ 243 h 373"/>
                <a:gd name="T24" fmla="*/ 182 w 381"/>
                <a:gd name="T25" fmla="*/ 243 h 373"/>
                <a:gd name="T26" fmla="*/ 182 w 381"/>
                <a:gd name="T27" fmla="*/ 243 h 373"/>
                <a:gd name="T28" fmla="*/ 201 w 381"/>
                <a:gd name="T29" fmla="*/ 243 h 373"/>
                <a:gd name="T30" fmla="*/ 219 w 381"/>
                <a:gd name="T31" fmla="*/ 247 h 373"/>
                <a:gd name="T32" fmla="*/ 235 w 381"/>
                <a:gd name="T33" fmla="*/ 253 h 373"/>
                <a:gd name="T34" fmla="*/ 235 w 381"/>
                <a:gd name="T35" fmla="*/ 253 h 373"/>
                <a:gd name="T36" fmla="*/ 289 w 381"/>
                <a:gd name="T37" fmla="*/ 279 h 373"/>
                <a:gd name="T38" fmla="*/ 289 w 381"/>
                <a:gd name="T39" fmla="*/ 279 h 373"/>
                <a:gd name="T40" fmla="*/ 299 w 381"/>
                <a:gd name="T41" fmla="*/ 281 h 373"/>
                <a:gd name="T42" fmla="*/ 313 w 381"/>
                <a:gd name="T43" fmla="*/ 279 h 373"/>
                <a:gd name="T44" fmla="*/ 319 w 381"/>
                <a:gd name="T45" fmla="*/ 277 h 373"/>
                <a:gd name="T46" fmla="*/ 325 w 381"/>
                <a:gd name="T47" fmla="*/ 273 h 373"/>
                <a:gd name="T48" fmla="*/ 329 w 381"/>
                <a:gd name="T49" fmla="*/ 267 h 373"/>
                <a:gd name="T50" fmla="*/ 333 w 381"/>
                <a:gd name="T51" fmla="*/ 259 h 373"/>
                <a:gd name="T52" fmla="*/ 379 w 381"/>
                <a:gd name="T53" fmla="*/ 114 h 373"/>
                <a:gd name="T54" fmla="*/ 379 w 381"/>
                <a:gd name="T55" fmla="*/ 114 h 373"/>
                <a:gd name="T56" fmla="*/ 381 w 381"/>
                <a:gd name="T57" fmla="*/ 106 h 373"/>
                <a:gd name="T58" fmla="*/ 381 w 381"/>
                <a:gd name="T59" fmla="*/ 96 h 373"/>
                <a:gd name="T60" fmla="*/ 379 w 381"/>
                <a:gd name="T61" fmla="*/ 90 h 373"/>
                <a:gd name="T62" fmla="*/ 377 w 381"/>
                <a:gd name="T63" fmla="*/ 82 h 373"/>
                <a:gd name="T64" fmla="*/ 373 w 381"/>
                <a:gd name="T65" fmla="*/ 76 h 373"/>
                <a:gd name="T66" fmla="*/ 367 w 381"/>
                <a:gd name="T67" fmla="*/ 70 h 373"/>
                <a:gd name="T68" fmla="*/ 359 w 381"/>
                <a:gd name="T69" fmla="*/ 66 h 373"/>
                <a:gd name="T70" fmla="*/ 353 w 381"/>
                <a:gd name="T71" fmla="*/ 62 h 373"/>
                <a:gd name="T72" fmla="*/ 158 w 381"/>
                <a:gd name="T73" fmla="*/ 0 h 373"/>
                <a:gd name="T74" fmla="*/ 158 w 381"/>
                <a:gd name="T75" fmla="*/ 0 h 373"/>
                <a:gd name="T76" fmla="*/ 150 w 381"/>
                <a:gd name="T77" fmla="*/ 0 h 373"/>
                <a:gd name="T78" fmla="*/ 142 w 381"/>
                <a:gd name="T79" fmla="*/ 0 h 373"/>
                <a:gd name="T80" fmla="*/ 134 w 381"/>
                <a:gd name="T81" fmla="*/ 0 h 373"/>
                <a:gd name="T82" fmla="*/ 126 w 381"/>
                <a:gd name="T83" fmla="*/ 4 h 373"/>
                <a:gd name="T84" fmla="*/ 120 w 381"/>
                <a:gd name="T85" fmla="*/ 8 h 373"/>
                <a:gd name="T86" fmla="*/ 114 w 381"/>
                <a:gd name="T87" fmla="*/ 14 h 373"/>
                <a:gd name="T88" fmla="*/ 110 w 381"/>
                <a:gd name="T89" fmla="*/ 20 h 373"/>
                <a:gd name="T90" fmla="*/ 106 w 381"/>
                <a:gd name="T91" fmla="*/ 28 h 373"/>
                <a:gd name="T92" fmla="*/ 2 w 381"/>
                <a:gd name="T93" fmla="*/ 361 h 373"/>
                <a:gd name="T94" fmla="*/ 2 w 381"/>
                <a:gd name="T95" fmla="*/ 361 h 373"/>
                <a:gd name="T96" fmla="*/ 0 w 381"/>
                <a:gd name="T97" fmla="*/ 367 h 373"/>
                <a:gd name="T98" fmla="*/ 0 w 381"/>
                <a:gd name="T99" fmla="*/ 371 h 373"/>
                <a:gd name="T100" fmla="*/ 2 w 381"/>
                <a:gd name="T101" fmla="*/ 373 h 373"/>
                <a:gd name="T102" fmla="*/ 4 w 381"/>
                <a:gd name="T103" fmla="*/ 371 h 373"/>
                <a:gd name="T104" fmla="*/ 10 w 381"/>
                <a:gd name="T105" fmla="*/ 365 h 373"/>
                <a:gd name="T106" fmla="*/ 16 w 381"/>
                <a:gd name="T107" fmla="*/ 357 h 373"/>
                <a:gd name="T108" fmla="*/ 16 w 381"/>
                <a:gd name="T109" fmla="*/ 3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1" h="373">
                  <a:moveTo>
                    <a:pt x="16" y="357"/>
                  </a:moveTo>
                  <a:lnTo>
                    <a:pt x="16" y="357"/>
                  </a:lnTo>
                  <a:lnTo>
                    <a:pt x="34" y="333"/>
                  </a:lnTo>
                  <a:lnTo>
                    <a:pt x="56" y="303"/>
                  </a:lnTo>
                  <a:lnTo>
                    <a:pt x="56" y="303"/>
                  </a:lnTo>
                  <a:lnTo>
                    <a:pt x="66" y="295"/>
                  </a:lnTo>
                  <a:lnTo>
                    <a:pt x="76" y="285"/>
                  </a:lnTo>
                  <a:lnTo>
                    <a:pt x="92" y="273"/>
                  </a:lnTo>
                  <a:lnTo>
                    <a:pt x="110" y="261"/>
                  </a:lnTo>
                  <a:lnTo>
                    <a:pt x="130" y="251"/>
                  </a:lnTo>
                  <a:lnTo>
                    <a:pt x="154" y="245"/>
                  </a:lnTo>
                  <a:lnTo>
                    <a:pt x="168" y="243"/>
                  </a:lnTo>
                  <a:lnTo>
                    <a:pt x="182" y="243"/>
                  </a:lnTo>
                  <a:lnTo>
                    <a:pt x="182" y="243"/>
                  </a:lnTo>
                  <a:lnTo>
                    <a:pt x="201" y="243"/>
                  </a:lnTo>
                  <a:lnTo>
                    <a:pt x="219" y="247"/>
                  </a:lnTo>
                  <a:lnTo>
                    <a:pt x="235" y="253"/>
                  </a:lnTo>
                  <a:lnTo>
                    <a:pt x="235" y="253"/>
                  </a:lnTo>
                  <a:lnTo>
                    <a:pt x="289" y="279"/>
                  </a:lnTo>
                  <a:lnTo>
                    <a:pt x="289" y="279"/>
                  </a:lnTo>
                  <a:lnTo>
                    <a:pt x="299" y="281"/>
                  </a:lnTo>
                  <a:lnTo>
                    <a:pt x="313" y="279"/>
                  </a:lnTo>
                  <a:lnTo>
                    <a:pt x="319" y="277"/>
                  </a:lnTo>
                  <a:lnTo>
                    <a:pt x="325" y="273"/>
                  </a:lnTo>
                  <a:lnTo>
                    <a:pt x="329" y="267"/>
                  </a:lnTo>
                  <a:lnTo>
                    <a:pt x="333" y="259"/>
                  </a:lnTo>
                  <a:lnTo>
                    <a:pt x="379" y="114"/>
                  </a:lnTo>
                  <a:lnTo>
                    <a:pt x="379" y="114"/>
                  </a:lnTo>
                  <a:lnTo>
                    <a:pt x="381" y="106"/>
                  </a:lnTo>
                  <a:lnTo>
                    <a:pt x="381" y="96"/>
                  </a:lnTo>
                  <a:lnTo>
                    <a:pt x="379" y="90"/>
                  </a:lnTo>
                  <a:lnTo>
                    <a:pt x="377" y="82"/>
                  </a:lnTo>
                  <a:lnTo>
                    <a:pt x="373" y="76"/>
                  </a:lnTo>
                  <a:lnTo>
                    <a:pt x="367" y="70"/>
                  </a:lnTo>
                  <a:lnTo>
                    <a:pt x="359" y="66"/>
                  </a:lnTo>
                  <a:lnTo>
                    <a:pt x="353" y="62"/>
                  </a:lnTo>
                  <a:lnTo>
                    <a:pt x="158" y="0"/>
                  </a:lnTo>
                  <a:lnTo>
                    <a:pt x="158" y="0"/>
                  </a:lnTo>
                  <a:lnTo>
                    <a:pt x="150" y="0"/>
                  </a:lnTo>
                  <a:lnTo>
                    <a:pt x="142" y="0"/>
                  </a:lnTo>
                  <a:lnTo>
                    <a:pt x="134" y="0"/>
                  </a:lnTo>
                  <a:lnTo>
                    <a:pt x="126" y="4"/>
                  </a:lnTo>
                  <a:lnTo>
                    <a:pt x="120" y="8"/>
                  </a:lnTo>
                  <a:lnTo>
                    <a:pt x="114" y="14"/>
                  </a:lnTo>
                  <a:lnTo>
                    <a:pt x="110" y="20"/>
                  </a:lnTo>
                  <a:lnTo>
                    <a:pt x="106" y="28"/>
                  </a:lnTo>
                  <a:lnTo>
                    <a:pt x="2" y="361"/>
                  </a:lnTo>
                  <a:lnTo>
                    <a:pt x="2" y="361"/>
                  </a:lnTo>
                  <a:lnTo>
                    <a:pt x="0" y="367"/>
                  </a:lnTo>
                  <a:lnTo>
                    <a:pt x="0" y="371"/>
                  </a:lnTo>
                  <a:lnTo>
                    <a:pt x="2" y="373"/>
                  </a:lnTo>
                  <a:lnTo>
                    <a:pt x="4" y="371"/>
                  </a:lnTo>
                  <a:lnTo>
                    <a:pt x="10" y="365"/>
                  </a:lnTo>
                  <a:lnTo>
                    <a:pt x="16" y="357"/>
                  </a:lnTo>
                  <a:lnTo>
                    <a:pt x="16" y="35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 name="Freeform 8"/>
            <p:cNvSpPr>
              <a:spLocks/>
            </p:cNvSpPr>
            <p:nvPr/>
          </p:nvSpPr>
          <p:spPr bwMode="auto">
            <a:xfrm>
              <a:off x="527313" y="5542812"/>
              <a:ext cx="81392" cy="118139"/>
            </a:xfrm>
            <a:custGeom>
              <a:avLst/>
              <a:gdLst>
                <a:gd name="T0" fmla="*/ 208 w 505"/>
                <a:gd name="T1" fmla="*/ 733 h 733"/>
                <a:gd name="T2" fmla="*/ 208 w 505"/>
                <a:gd name="T3" fmla="*/ 733 h 733"/>
                <a:gd name="T4" fmla="*/ 242 w 505"/>
                <a:gd name="T5" fmla="*/ 675 h 733"/>
                <a:gd name="T6" fmla="*/ 274 w 505"/>
                <a:gd name="T7" fmla="*/ 615 h 733"/>
                <a:gd name="T8" fmla="*/ 340 w 505"/>
                <a:gd name="T9" fmla="*/ 489 h 733"/>
                <a:gd name="T10" fmla="*/ 403 w 505"/>
                <a:gd name="T11" fmla="*/ 361 h 733"/>
                <a:gd name="T12" fmla="*/ 435 w 505"/>
                <a:gd name="T13" fmla="*/ 302 h 733"/>
                <a:gd name="T14" fmla="*/ 469 w 505"/>
                <a:gd name="T15" fmla="*/ 244 h 733"/>
                <a:gd name="T16" fmla="*/ 469 w 505"/>
                <a:gd name="T17" fmla="*/ 244 h 733"/>
                <a:gd name="T18" fmla="*/ 481 w 505"/>
                <a:gd name="T19" fmla="*/ 222 h 733"/>
                <a:gd name="T20" fmla="*/ 493 w 505"/>
                <a:gd name="T21" fmla="*/ 194 h 733"/>
                <a:gd name="T22" fmla="*/ 501 w 505"/>
                <a:gd name="T23" fmla="*/ 162 h 733"/>
                <a:gd name="T24" fmla="*/ 505 w 505"/>
                <a:gd name="T25" fmla="*/ 146 h 733"/>
                <a:gd name="T26" fmla="*/ 505 w 505"/>
                <a:gd name="T27" fmla="*/ 128 h 733"/>
                <a:gd name="T28" fmla="*/ 505 w 505"/>
                <a:gd name="T29" fmla="*/ 112 h 733"/>
                <a:gd name="T30" fmla="*/ 503 w 505"/>
                <a:gd name="T31" fmla="*/ 96 h 733"/>
                <a:gd name="T32" fmla="*/ 499 w 505"/>
                <a:gd name="T33" fmla="*/ 80 h 733"/>
                <a:gd name="T34" fmla="*/ 493 w 505"/>
                <a:gd name="T35" fmla="*/ 66 h 733"/>
                <a:gd name="T36" fmla="*/ 485 w 505"/>
                <a:gd name="T37" fmla="*/ 52 h 733"/>
                <a:gd name="T38" fmla="*/ 473 w 505"/>
                <a:gd name="T39" fmla="*/ 40 h 733"/>
                <a:gd name="T40" fmla="*/ 459 w 505"/>
                <a:gd name="T41" fmla="*/ 28 h 733"/>
                <a:gd name="T42" fmla="*/ 441 w 505"/>
                <a:gd name="T43" fmla="*/ 20 h 733"/>
                <a:gd name="T44" fmla="*/ 441 w 505"/>
                <a:gd name="T45" fmla="*/ 20 h 733"/>
                <a:gd name="T46" fmla="*/ 427 w 505"/>
                <a:gd name="T47" fmla="*/ 12 h 733"/>
                <a:gd name="T48" fmla="*/ 415 w 505"/>
                <a:gd name="T49" fmla="*/ 6 h 733"/>
                <a:gd name="T50" fmla="*/ 401 w 505"/>
                <a:gd name="T51" fmla="*/ 2 h 733"/>
                <a:gd name="T52" fmla="*/ 387 w 505"/>
                <a:gd name="T53" fmla="*/ 0 h 733"/>
                <a:gd name="T54" fmla="*/ 376 w 505"/>
                <a:gd name="T55" fmla="*/ 0 h 733"/>
                <a:gd name="T56" fmla="*/ 364 w 505"/>
                <a:gd name="T57" fmla="*/ 0 h 733"/>
                <a:gd name="T58" fmla="*/ 352 w 505"/>
                <a:gd name="T59" fmla="*/ 4 h 733"/>
                <a:gd name="T60" fmla="*/ 342 w 505"/>
                <a:gd name="T61" fmla="*/ 8 h 733"/>
                <a:gd name="T62" fmla="*/ 322 w 505"/>
                <a:gd name="T63" fmla="*/ 18 h 733"/>
                <a:gd name="T64" fmla="*/ 306 w 505"/>
                <a:gd name="T65" fmla="*/ 32 h 733"/>
                <a:gd name="T66" fmla="*/ 292 w 505"/>
                <a:gd name="T67" fmla="*/ 46 h 733"/>
                <a:gd name="T68" fmla="*/ 280 w 505"/>
                <a:gd name="T69" fmla="*/ 62 h 733"/>
                <a:gd name="T70" fmla="*/ 280 w 505"/>
                <a:gd name="T71" fmla="*/ 62 h 733"/>
                <a:gd name="T72" fmla="*/ 210 w 505"/>
                <a:gd name="T73" fmla="*/ 176 h 733"/>
                <a:gd name="T74" fmla="*/ 140 w 505"/>
                <a:gd name="T75" fmla="*/ 290 h 733"/>
                <a:gd name="T76" fmla="*/ 2 w 505"/>
                <a:gd name="T77" fmla="*/ 517 h 733"/>
                <a:gd name="T78" fmla="*/ 2 w 505"/>
                <a:gd name="T79" fmla="*/ 517 h 733"/>
                <a:gd name="T80" fmla="*/ 0 w 505"/>
                <a:gd name="T81" fmla="*/ 517 h 733"/>
                <a:gd name="T82" fmla="*/ 0 w 505"/>
                <a:gd name="T83" fmla="*/ 517 h 733"/>
                <a:gd name="T84" fmla="*/ 16 w 505"/>
                <a:gd name="T85" fmla="*/ 527 h 733"/>
                <a:gd name="T86" fmla="*/ 30 w 505"/>
                <a:gd name="T87" fmla="*/ 539 h 733"/>
                <a:gd name="T88" fmla="*/ 42 w 505"/>
                <a:gd name="T89" fmla="*/ 551 h 733"/>
                <a:gd name="T90" fmla="*/ 56 w 505"/>
                <a:gd name="T91" fmla="*/ 567 h 733"/>
                <a:gd name="T92" fmla="*/ 80 w 505"/>
                <a:gd name="T93" fmla="*/ 599 h 733"/>
                <a:gd name="T94" fmla="*/ 102 w 505"/>
                <a:gd name="T95" fmla="*/ 631 h 733"/>
                <a:gd name="T96" fmla="*/ 126 w 505"/>
                <a:gd name="T97" fmla="*/ 665 h 733"/>
                <a:gd name="T98" fmla="*/ 138 w 505"/>
                <a:gd name="T99" fmla="*/ 679 h 733"/>
                <a:gd name="T100" fmla="*/ 150 w 505"/>
                <a:gd name="T101" fmla="*/ 693 h 733"/>
                <a:gd name="T102" fmla="*/ 164 w 505"/>
                <a:gd name="T103" fmla="*/ 707 h 733"/>
                <a:gd name="T104" fmla="*/ 178 w 505"/>
                <a:gd name="T105" fmla="*/ 717 h 733"/>
                <a:gd name="T106" fmla="*/ 192 w 505"/>
                <a:gd name="T107" fmla="*/ 727 h 733"/>
                <a:gd name="T108" fmla="*/ 208 w 505"/>
                <a:gd name="T109" fmla="*/ 733 h 733"/>
                <a:gd name="T110" fmla="*/ 208 w 505"/>
                <a:gd name="T111" fmla="*/ 733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5" h="733">
                  <a:moveTo>
                    <a:pt x="208" y="733"/>
                  </a:moveTo>
                  <a:lnTo>
                    <a:pt x="208" y="733"/>
                  </a:lnTo>
                  <a:lnTo>
                    <a:pt x="242" y="675"/>
                  </a:lnTo>
                  <a:lnTo>
                    <a:pt x="274" y="615"/>
                  </a:lnTo>
                  <a:lnTo>
                    <a:pt x="340" y="489"/>
                  </a:lnTo>
                  <a:lnTo>
                    <a:pt x="403" y="361"/>
                  </a:lnTo>
                  <a:lnTo>
                    <a:pt x="435" y="302"/>
                  </a:lnTo>
                  <a:lnTo>
                    <a:pt x="469" y="244"/>
                  </a:lnTo>
                  <a:lnTo>
                    <a:pt x="469" y="244"/>
                  </a:lnTo>
                  <a:lnTo>
                    <a:pt x="481" y="222"/>
                  </a:lnTo>
                  <a:lnTo>
                    <a:pt x="493" y="194"/>
                  </a:lnTo>
                  <a:lnTo>
                    <a:pt x="501" y="162"/>
                  </a:lnTo>
                  <a:lnTo>
                    <a:pt x="505" y="146"/>
                  </a:lnTo>
                  <a:lnTo>
                    <a:pt x="505" y="128"/>
                  </a:lnTo>
                  <a:lnTo>
                    <a:pt x="505" y="112"/>
                  </a:lnTo>
                  <a:lnTo>
                    <a:pt x="503" y="96"/>
                  </a:lnTo>
                  <a:lnTo>
                    <a:pt x="499" y="80"/>
                  </a:lnTo>
                  <a:lnTo>
                    <a:pt x="493" y="66"/>
                  </a:lnTo>
                  <a:lnTo>
                    <a:pt x="485" y="52"/>
                  </a:lnTo>
                  <a:lnTo>
                    <a:pt x="473" y="40"/>
                  </a:lnTo>
                  <a:lnTo>
                    <a:pt x="459" y="28"/>
                  </a:lnTo>
                  <a:lnTo>
                    <a:pt x="441" y="20"/>
                  </a:lnTo>
                  <a:lnTo>
                    <a:pt x="441" y="20"/>
                  </a:lnTo>
                  <a:lnTo>
                    <a:pt x="427" y="12"/>
                  </a:lnTo>
                  <a:lnTo>
                    <a:pt x="415" y="6"/>
                  </a:lnTo>
                  <a:lnTo>
                    <a:pt x="401" y="2"/>
                  </a:lnTo>
                  <a:lnTo>
                    <a:pt x="387" y="0"/>
                  </a:lnTo>
                  <a:lnTo>
                    <a:pt x="376" y="0"/>
                  </a:lnTo>
                  <a:lnTo>
                    <a:pt x="364" y="0"/>
                  </a:lnTo>
                  <a:lnTo>
                    <a:pt x="352" y="4"/>
                  </a:lnTo>
                  <a:lnTo>
                    <a:pt x="342" y="8"/>
                  </a:lnTo>
                  <a:lnTo>
                    <a:pt x="322" y="18"/>
                  </a:lnTo>
                  <a:lnTo>
                    <a:pt x="306" y="32"/>
                  </a:lnTo>
                  <a:lnTo>
                    <a:pt x="292" y="46"/>
                  </a:lnTo>
                  <a:lnTo>
                    <a:pt x="280" y="62"/>
                  </a:lnTo>
                  <a:lnTo>
                    <a:pt x="280" y="62"/>
                  </a:lnTo>
                  <a:lnTo>
                    <a:pt x="210" y="176"/>
                  </a:lnTo>
                  <a:lnTo>
                    <a:pt x="140" y="290"/>
                  </a:lnTo>
                  <a:lnTo>
                    <a:pt x="2" y="517"/>
                  </a:lnTo>
                  <a:lnTo>
                    <a:pt x="2" y="517"/>
                  </a:lnTo>
                  <a:lnTo>
                    <a:pt x="0" y="517"/>
                  </a:lnTo>
                  <a:lnTo>
                    <a:pt x="0" y="517"/>
                  </a:lnTo>
                  <a:lnTo>
                    <a:pt x="16" y="527"/>
                  </a:lnTo>
                  <a:lnTo>
                    <a:pt x="30" y="539"/>
                  </a:lnTo>
                  <a:lnTo>
                    <a:pt x="42" y="551"/>
                  </a:lnTo>
                  <a:lnTo>
                    <a:pt x="56" y="567"/>
                  </a:lnTo>
                  <a:lnTo>
                    <a:pt x="80" y="599"/>
                  </a:lnTo>
                  <a:lnTo>
                    <a:pt x="102" y="631"/>
                  </a:lnTo>
                  <a:lnTo>
                    <a:pt x="126" y="665"/>
                  </a:lnTo>
                  <a:lnTo>
                    <a:pt x="138" y="679"/>
                  </a:lnTo>
                  <a:lnTo>
                    <a:pt x="150" y="693"/>
                  </a:lnTo>
                  <a:lnTo>
                    <a:pt x="164" y="707"/>
                  </a:lnTo>
                  <a:lnTo>
                    <a:pt x="178" y="717"/>
                  </a:lnTo>
                  <a:lnTo>
                    <a:pt x="192" y="727"/>
                  </a:lnTo>
                  <a:lnTo>
                    <a:pt x="208" y="733"/>
                  </a:lnTo>
                  <a:lnTo>
                    <a:pt x="208" y="7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4" name="Freeform 9"/>
            <p:cNvSpPr>
              <a:spLocks/>
            </p:cNvSpPr>
            <p:nvPr/>
          </p:nvSpPr>
          <p:spPr bwMode="auto">
            <a:xfrm>
              <a:off x="517159" y="5569244"/>
              <a:ext cx="77362" cy="105406"/>
            </a:xfrm>
            <a:custGeom>
              <a:avLst/>
              <a:gdLst>
                <a:gd name="T0" fmla="*/ 287 w 480"/>
                <a:gd name="T1" fmla="*/ 0 h 654"/>
                <a:gd name="T2" fmla="*/ 287 w 480"/>
                <a:gd name="T3" fmla="*/ 0 h 654"/>
                <a:gd name="T4" fmla="*/ 151 w 480"/>
                <a:gd name="T5" fmla="*/ 219 h 654"/>
                <a:gd name="T6" fmla="*/ 16 w 480"/>
                <a:gd name="T7" fmla="*/ 441 h 654"/>
                <a:gd name="T8" fmla="*/ 16 w 480"/>
                <a:gd name="T9" fmla="*/ 441 h 654"/>
                <a:gd name="T10" fmla="*/ 10 w 480"/>
                <a:gd name="T11" fmla="*/ 451 h 654"/>
                <a:gd name="T12" fmla="*/ 6 w 480"/>
                <a:gd name="T13" fmla="*/ 463 h 654"/>
                <a:gd name="T14" fmla="*/ 4 w 480"/>
                <a:gd name="T15" fmla="*/ 475 h 654"/>
                <a:gd name="T16" fmla="*/ 2 w 480"/>
                <a:gd name="T17" fmla="*/ 487 h 654"/>
                <a:gd name="T18" fmla="*/ 0 w 480"/>
                <a:gd name="T19" fmla="*/ 501 h 654"/>
                <a:gd name="T20" fmla="*/ 2 w 480"/>
                <a:gd name="T21" fmla="*/ 513 h 654"/>
                <a:gd name="T22" fmla="*/ 4 w 480"/>
                <a:gd name="T23" fmla="*/ 527 h 654"/>
                <a:gd name="T24" fmla="*/ 8 w 480"/>
                <a:gd name="T25" fmla="*/ 541 h 654"/>
                <a:gd name="T26" fmla="*/ 14 w 480"/>
                <a:gd name="T27" fmla="*/ 555 h 654"/>
                <a:gd name="T28" fmla="*/ 22 w 480"/>
                <a:gd name="T29" fmla="*/ 569 h 654"/>
                <a:gd name="T30" fmla="*/ 30 w 480"/>
                <a:gd name="T31" fmla="*/ 581 h 654"/>
                <a:gd name="T32" fmla="*/ 42 w 480"/>
                <a:gd name="T33" fmla="*/ 593 h 654"/>
                <a:gd name="T34" fmla="*/ 54 w 480"/>
                <a:gd name="T35" fmla="*/ 605 h 654"/>
                <a:gd name="T36" fmla="*/ 67 w 480"/>
                <a:gd name="T37" fmla="*/ 615 h 654"/>
                <a:gd name="T38" fmla="*/ 83 w 480"/>
                <a:gd name="T39" fmla="*/ 624 h 654"/>
                <a:gd name="T40" fmla="*/ 101 w 480"/>
                <a:gd name="T41" fmla="*/ 632 h 654"/>
                <a:gd name="T42" fmla="*/ 101 w 480"/>
                <a:gd name="T43" fmla="*/ 632 h 654"/>
                <a:gd name="T44" fmla="*/ 115 w 480"/>
                <a:gd name="T45" fmla="*/ 640 h 654"/>
                <a:gd name="T46" fmla="*/ 127 w 480"/>
                <a:gd name="T47" fmla="*/ 646 h 654"/>
                <a:gd name="T48" fmla="*/ 141 w 480"/>
                <a:gd name="T49" fmla="*/ 650 h 654"/>
                <a:gd name="T50" fmla="*/ 155 w 480"/>
                <a:gd name="T51" fmla="*/ 652 h 654"/>
                <a:gd name="T52" fmla="*/ 167 w 480"/>
                <a:gd name="T53" fmla="*/ 654 h 654"/>
                <a:gd name="T54" fmla="*/ 179 w 480"/>
                <a:gd name="T55" fmla="*/ 652 h 654"/>
                <a:gd name="T56" fmla="*/ 189 w 480"/>
                <a:gd name="T57" fmla="*/ 650 h 654"/>
                <a:gd name="T58" fmla="*/ 201 w 480"/>
                <a:gd name="T59" fmla="*/ 646 h 654"/>
                <a:gd name="T60" fmla="*/ 221 w 480"/>
                <a:gd name="T61" fmla="*/ 636 h 654"/>
                <a:gd name="T62" fmla="*/ 237 w 480"/>
                <a:gd name="T63" fmla="*/ 623 h 654"/>
                <a:gd name="T64" fmla="*/ 251 w 480"/>
                <a:gd name="T65" fmla="*/ 607 h 654"/>
                <a:gd name="T66" fmla="*/ 263 w 480"/>
                <a:gd name="T67" fmla="*/ 591 h 654"/>
                <a:gd name="T68" fmla="*/ 263 w 480"/>
                <a:gd name="T69" fmla="*/ 591 h 654"/>
                <a:gd name="T70" fmla="*/ 279 w 480"/>
                <a:gd name="T71" fmla="*/ 563 h 654"/>
                <a:gd name="T72" fmla="*/ 293 w 480"/>
                <a:gd name="T73" fmla="*/ 535 h 654"/>
                <a:gd name="T74" fmla="*/ 307 w 480"/>
                <a:gd name="T75" fmla="*/ 507 h 654"/>
                <a:gd name="T76" fmla="*/ 317 w 480"/>
                <a:gd name="T77" fmla="*/ 479 h 654"/>
                <a:gd name="T78" fmla="*/ 339 w 480"/>
                <a:gd name="T79" fmla="*/ 421 h 654"/>
                <a:gd name="T80" fmla="*/ 357 w 480"/>
                <a:gd name="T81" fmla="*/ 363 h 654"/>
                <a:gd name="T82" fmla="*/ 377 w 480"/>
                <a:gd name="T83" fmla="*/ 305 h 654"/>
                <a:gd name="T84" fmla="*/ 397 w 480"/>
                <a:gd name="T85" fmla="*/ 247 h 654"/>
                <a:gd name="T86" fmla="*/ 409 w 480"/>
                <a:gd name="T87" fmla="*/ 217 h 654"/>
                <a:gd name="T88" fmla="*/ 423 w 480"/>
                <a:gd name="T89" fmla="*/ 188 h 654"/>
                <a:gd name="T90" fmla="*/ 439 w 480"/>
                <a:gd name="T91" fmla="*/ 160 h 654"/>
                <a:gd name="T92" fmla="*/ 454 w 480"/>
                <a:gd name="T93" fmla="*/ 130 h 654"/>
                <a:gd name="T94" fmla="*/ 454 w 480"/>
                <a:gd name="T95" fmla="*/ 130 h 654"/>
                <a:gd name="T96" fmla="*/ 480 w 480"/>
                <a:gd name="T97" fmla="*/ 136 h 654"/>
                <a:gd name="T98" fmla="*/ 480 w 480"/>
                <a:gd name="T99" fmla="*/ 136 h 654"/>
                <a:gd name="T100" fmla="*/ 450 w 480"/>
                <a:gd name="T101" fmla="*/ 118 h 654"/>
                <a:gd name="T102" fmla="*/ 427 w 480"/>
                <a:gd name="T103" fmla="*/ 100 h 654"/>
                <a:gd name="T104" fmla="*/ 405 w 480"/>
                <a:gd name="T105" fmla="*/ 80 h 654"/>
                <a:gd name="T106" fmla="*/ 385 w 480"/>
                <a:gd name="T107" fmla="*/ 62 h 654"/>
                <a:gd name="T108" fmla="*/ 365 w 480"/>
                <a:gd name="T109" fmla="*/ 44 h 654"/>
                <a:gd name="T110" fmla="*/ 343 w 480"/>
                <a:gd name="T111" fmla="*/ 26 h 654"/>
                <a:gd name="T112" fmla="*/ 317 w 480"/>
                <a:gd name="T113" fmla="*/ 12 h 654"/>
                <a:gd name="T114" fmla="*/ 301 w 480"/>
                <a:gd name="T115" fmla="*/ 4 h 654"/>
                <a:gd name="T116" fmla="*/ 287 w 480"/>
                <a:gd name="T117" fmla="*/ 0 h 654"/>
                <a:gd name="T118" fmla="*/ 287 w 480"/>
                <a:gd name="T119" fmla="*/ 0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0" h="654">
                  <a:moveTo>
                    <a:pt x="287" y="0"/>
                  </a:moveTo>
                  <a:lnTo>
                    <a:pt x="287" y="0"/>
                  </a:lnTo>
                  <a:lnTo>
                    <a:pt x="151" y="219"/>
                  </a:lnTo>
                  <a:lnTo>
                    <a:pt x="16" y="441"/>
                  </a:lnTo>
                  <a:lnTo>
                    <a:pt x="16" y="441"/>
                  </a:lnTo>
                  <a:lnTo>
                    <a:pt x="10" y="451"/>
                  </a:lnTo>
                  <a:lnTo>
                    <a:pt x="6" y="463"/>
                  </a:lnTo>
                  <a:lnTo>
                    <a:pt x="4" y="475"/>
                  </a:lnTo>
                  <a:lnTo>
                    <a:pt x="2" y="487"/>
                  </a:lnTo>
                  <a:lnTo>
                    <a:pt x="0" y="501"/>
                  </a:lnTo>
                  <a:lnTo>
                    <a:pt x="2" y="513"/>
                  </a:lnTo>
                  <a:lnTo>
                    <a:pt x="4" y="527"/>
                  </a:lnTo>
                  <a:lnTo>
                    <a:pt x="8" y="541"/>
                  </a:lnTo>
                  <a:lnTo>
                    <a:pt x="14" y="555"/>
                  </a:lnTo>
                  <a:lnTo>
                    <a:pt x="22" y="569"/>
                  </a:lnTo>
                  <a:lnTo>
                    <a:pt x="30" y="581"/>
                  </a:lnTo>
                  <a:lnTo>
                    <a:pt x="42" y="593"/>
                  </a:lnTo>
                  <a:lnTo>
                    <a:pt x="54" y="605"/>
                  </a:lnTo>
                  <a:lnTo>
                    <a:pt x="67" y="615"/>
                  </a:lnTo>
                  <a:lnTo>
                    <a:pt x="83" y="624"/>
                  </a:lnTo>
                  <a:lnTo>
                    <a:pt x="101" y="632"/>
                  </a:lnTo>
                  <a:lnTo>
                    <a:pt x="101" y="632"/>
                  </a:lnTo>
                  <a:lnTo>
                    <a:pt x="115" y="640"/>
                  </a:lnTo>
                  <a:lnTo>
                    <a:pt x="127" y="646"/>
                  </a:lnTo>
                  <a:lnTo>
                    <a:pt x="141" y="650"/>
                  </a:lnTo>
                  <a:lnTo>
                    <a:pt x="155" y="652"/>
                  </a:lnTo>
                  <a:lnTo>
                    <a:pt x="167" y="654"/>
                  </a:lnTo>
                  <a:lnTo>
                    <a:pt x="179" y="652"/>
                  </a:lnTo>
                  <a:lnTo>
                    <a:pt x="189" y="650"/>
                  </a:lnTo>
                  <a:lnTo>
                    <a:pt x="201" y="646"/>
                  </a:lnTo>
                  <a:lnTo>
                    <a:pt x="221" y="636"/>
                  </a:lnTo>
                  <a:lnTo>
                    <a:pt x="237" y="623"/>
                  </a:lnTo>
                  <a:lnTo>
                    <a:pt x="251" y="607"/>
                  </a:lnTo>
                  <a:lnTo>
                    <a:pt x="263" y="591"/>
                  </a:lnTo>
                  <a:lnTo>
                    <a:pt x="263" y="591"/>
                  </a:lnTo>
                  <a:lnTo>
                    <a:pt x="279" y="563"/>
                  </a:lnTo>
                  <a:lnTo>
                    <a:pt x="293" y="535"/>
                  </a:lnTo>
                  <a:lnTo>
                    <a:pt x="307" y="507"/>
                  </a:lnTo>
                  <a:lnTo>
                    <a:pt x="317" y="479"/>
                  </a:lnTo>
                  <a:lnTo>
                    <a:pt x="339" y="421"/>
                  </a:lnTo>
                  <a:lnTo>
                    <a:pt x="357" y="363"/>
                  </a:lnTo>
                  <a:lnTo>
                    <a:pt x="377" y="305"/>
                  </a:lnTo>
                  <a:lnTo>
                    <a:pt x="397" y="247"/>
                  </a:lnTo>
                  <a:lnTo>
                    <a:pt x="409" y="217"/>
                  </a:lnTo>
                  <a:lnTo>
                    <a:pt x="423" y="188"/>
                  </a:lnTo>
                  <a:lnTo>
                    <a:pt x="439" y="160"/>
                  </a:lnTo>
                  <a:lnTo>
                    <a:pt x="454" y="130"/>
                  </a:lnTo>
                  <a:lnTo>
                    <a:pt x="454" y="130"/>
                  </a:lnTo>
                  <a:lnTo>
                    <a:pt x="480" y="136"/>
                  </a:lnTo>
                  <a:lnTo>
                    <a:pt x="480" y="136"/>
                  </a:lnTo>
                  <a:lnTo>
                    <a:pt x="450" y="118"/>
                  </a:lnTo>
                  <a:lnTo>
                    <a:pt x="427" y="100"/>
                  </a:lnTo>
                  <a:lnTo>
                    <a:pt x="405" y="80"/>
                  </a:lnTo>
                  <a:lnTo>
                    <a:pt x="385" y="62"/>
                  </a:lnTo>
                  <a:lnTo>
                    <a:pt x="365" y="44"/>
                  </a:lnTo>
                  <a:lnTo>
                    <a:pt x="343" y="26"/>
                  </a:lnTo>
                  <a:lnTo>
                    <a:pt x="317" y="12"/>
                  </a:lnTo>
                  <a:lnTo>
                    <a:pt x="301" y="4"/>
                  </a:lnTo>
                  <a:lnTo>
                    <a:pt x="287" y="0"/>
                  </a:lnTo>
                  <a:lnTo>
                    <a:pt x="287"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5" name="Freeform 10"/>
            <p:cNvSpPr>
              <a:spLocks/>
            </p:cNvSpPr>
            <p:nvPr/>
          </p:nvSpPr>
          <p:spPr bwMode="auto">
            <a:xfrm>
              <a:off x="517481" y="5512350"/>
              <a:ext cx="60117" cy="153436"/>
            </a:xfrm>
            <a:custGeom>
              <a:avLst/>
              <a:gdLst>
                <a:gd name="T0" fmla="*/ 209 w 373"/>
                <a:gd name="T1" fmla="*/ 491 h 952"/>
                <a:gd name="T2" fmla="*/ 85 w 373"/>
                <a:gd name="T3" fmla="*/ 0 h 952"/>
                <a:gd name="T4" fmla="*/ 75 w 373"/>
                <a:gd name="T5" fmla="*/ 4 h 952"/>
                <a:gd name="T6" fmla="*/ 65 w 373"/>
                <a:gd name="T7" fmla="*/ 12 h 952"/>
                <a:gd name="T8" fmla="*/ 54 w 373"/>
                <a:gd name="T9" fmla="*/ 46 h 952"/>
                <a:gd name="T10" fmla="*/ 46 w 373"/>
                <a:gd name="T11" fmla="*/ 96 h 952"/>
                <a:gd name="T12" fmla="*/ 36 w 373"/>
                <a:gd name="T13" fmla="*/ 207 h 952"/>
                <a:gd name="T14" fmla="*/ 28 w 373"/>
                <a:gd name="T15" fmla="*/ 257 h 952"/>
                <a:gd name="T16" fmla="*/ 18 w 373"/>
                <a:gd name="T17" fmla="*/ 293 h 952"/>
                <a:gd name="T18" fmla="*/ 4 w 373"/>
                <a:gd name="T19" fmla="*/ 309 h 952"/>
                <a:gd name="T20" fmla="*/ 0 w 373"/>
                <a:gd name="T21" fmla="*/ 311 h 952"/>
                <a:gd name="T22" fmla="*/ 0 w 373"/>
                <a:gd name="T23" fmla="*/ 828 h 952"/>
                <a:gd name="T24" fmla="*/ 0 w 373"/>
                <a:gd name="T25" fmla="*/ 840 h 952"/>
                <a:gd name="T26" fmla="*/ 6 w 373"/>
                <a:gd name="T27" fmla="*/ 864 h 952"/>
                <a:gd name="T28" fmla="*/ 16 w 373"/>
                <a:gd name="T29" fmla="*/ 888 h 952"/>
                <a:gd name="T30" fmla="*/ 34 w 373"/>
                <a:gd name="T31" fmla="*/ 910 h 952"/>
                <a:gd name="T32" fmla="*/ 58 w 373"/>
                <a:gd name="T33" fmla="*/ 928 h 952"/>
                <a:gd name="T34" fmla="*/ 83 w 373"/>
                <a:gd name="T35" fmla="*/ 942 h 952"/>
                <a:gd name="T36" fmla="*/ 115 w 373"/>
                <a:gd name="T37" fmla="*/ 950 h 952"/>
                <a:gd name="T38" fmla="*/ 151 w 373"/>
                <a:gd name="T39" fmla="*/ 952 h 952"/>
                <a:gd name="T40" fmla="*/ 171 w 373"/>
                <a:gd name="T41" fmla="*/ 950 h 952"/>
                <a:gd name="T42" fmla="*/ 203 w 373"/>
                <a:gd name="T43" fmla="*/ 946 h 952"/>
                <a:gd name="T44" fmla="*/ 227 w 373"/>
                <a:gd name="T45" fmla="*/ 938 h 952"/>
                <a:gd name="T46" fmla="*/ 249 w 373"/>
                <a:gd name="T47" fmla="*/ 926 h 952"/>
                <a:gd name="T48" fmla="*/ 265 w 373"/>
                <a:gd name="T49" fmla="*/ 908 h 952"/>
                <a:gd name="T50" fmla="*/ 283 w 373"/>
                <a:gd name="T51" fmla="*/ 868 h 952"/>
                <a:gd name="T52" fmla="*/ 287 w 373"/>
                <a:gd name="T53" fmla="*/ 828 h 952"/>
                <a:gd name="T54" fmla="*/ 289 w 373"/>
                <a:gd name="T55" fmla="*/ 804 h 952"/>
                <a:gd name="T56" fmla="*/ 301 w 373"/>
                <a:gd name="T57" fmla="*/ 700 h 952"/>
                <a:gd name="T58" fmla="*/ 331 w 373"/>
                <a:gd name="T59" fmla="*/ 531 h 952"/>
                <a:gd name="T60" fmla="*/ 359 w 373"/>
                <a:gd name="T61" fmla="*/ 359 h 952"/>
                <a:gd name="T62" fmla="*/ 373 w 373"/>
                <a:gd name="T63" fmla="*/ 257 h 952"/>
                <a:gd name="T64" fmla="*/ 373 w 373"/>
                <a:gd name="T65" fmla="*/ 231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3" h="952">
                  <a:moveTo>
                    <a:pt x="373" y="231"/>
                  </a:moveTo>
                  <a:lnTo>
                    <a:pt x="209" y="491"/>
                  </a:lnTo>
                  <a:lnTo>
                    <a:pt x="85" y="0"/>
                  </a:lnTo>
                  <a:lnTo>
                    <a:pt x="85" y="0"/>
                  </a:lnTo>
                  <a:lnTo>
                    <a:pt x="79" y="0"/>
                  </a:lnTo>
                  <a:lnTo>
                    <a:pt x="75" y="4"/>
                  </a:lnTo>
                  <a:lnTo>
                    <a:pt x="69" y="8"/>
                  </a:lnTo>
                  <a:lnTo>
                    <a:pt x="65" y="12"/>
                  </a:lnTo>
                  <a:lnTo>
                    <a:pt x="60" y="28"/>
                  </a:lnTo>
                  <a:lnTo>
                    <a:pt x="54" y="46"/>
                  </a:lnTo>
                  <a:lnTo>
                    <a:pt x="50" y="70"/>
                  </a:lnTo>
                  <a:lnTo>
                    <a:pt x="46" y="96"/>
                  </a:lnTo>
                  <a:lnTo>
                    <a:pt x="40" y="149"/>
                  </a:lnTo>
                  <a:lnTo>
                    <a:pt x="36" y="207"/>
                  </a:lnTo>
                  <a:lnTo>
                    <a:pt x="32" y="233"/>
                  </a:lnTo>
                  <a:lnTo>
                    <a:pt x="28" y="257"/>
                  </a:lnTo>
                  <a:lnTo>
                    <a:pt x="24" y="277"/>
                  </a:lnTo>
                  <a:lnTo>
                    <a:pt x="18" y="293"/>
                  </a:lnTo>
                  <a:lnTo>
                    <a:pt x="10" y="305"/>
                  </a:lnTo>
                  <a:lnTo>
                    <a:pt x="4" y="309"/>
                  </a:lnTo>
                  <a:lnTo>
                    <a:pt x="0" y="311"/>
                  </a:lnTo>
                  <a:lnTo>
                    <a:pt x="0" y="311"/>
                  </a:lnTo>
                  <a:lnTo>
                    <a:pt x="0" y="570"/>
                  </a:lnTo>
                  <a:lnTo>
                    <a:pt x="0" y="828"/>
                  </a:lnTo>
                  <a:lnTo>
                    <a:pt x="0" y="828"/>
                  </a:lnTo>
                  <a:lnTo>
                    <a:pt x="0" y="840"/>
                  </a:lnTo>
                  <a:lnTo>
                    <a:pt x="2" y="852"/>
                  </a:lnTo>
                  <a:lnTo>
                    <a:pt x="6" y="864"/>
                  </a:lnTo>
                  <a:lnTo>
                    <a:pt x="10" y="876"/>
                  </a:lnTo>
                  <a:lnTo>
                    <a:pt x="16" y="888"/>
                  </a:lnTo>
                  <a:lnTo>
                    <a:pt x="24" y="898"/>
                  </a:lnTo>
                  <a:lnTo>
                    <a:pt x="34" y="910"/>
                  </a:lnTo>
                  <a:lnTo>
                    <a:pt x="46" y="918"/>
                  </a:lnTo>
                  <a:lnTo>
                    <a:pt x="58" y="928"/>
                  </a:lnTo>
                  <a:lnTo>
                    <a:pt x="69" y="936"/>
                  </a:lnTo>
                  <a:lnTo>
                    <a:pt x="83" y="942"/>
                  </a:lnTo>
                  <a:lnTo>
                    <a:pt x="99" y="946"/>
                  </a:lnTo>
                  <a:lnTo>
                    <a:pt x="115" y="950"/>
                  </a:lnTo>
                  <a:lnTo>
                    <a:pt x="133" y="952"/>
                  </a:lnTo>
                  <a:lnTo>
                    <a:pt x="151" y="952"/>
                  </a:lnTo>
                  <a:lnTo>
                    <a:pt x="171" y="950"/>
                  </a:lnTo>
                  <a:lnTo>
                    <a:pt x="171" y="950"/>
                  </a:lnTo>
                  <a:lnTo>
                    <a:pt x="187" y="950"/>
                  </a:lnTo>
                  <a:lnTo>
                    <a:pt x="203" y="946"/>
                  </a:lnTo>
                  <a:lnTo>
                    <a:pt x="215" y="944"/>
                  </a:lnTo>
                  <a:lnTo>
                    <a:pt x="227" y="938"/>
                  </a:lnTo>
                  <a:lnTo>
                    <a:pt x="239" y="932"/>
                  </a:lnTo>
                  <a:lnTo>
                    <a:pt x="249" y="926"/>
                  </a:lnTo>
                  <a:lnTo>
                    <a:pt x="257" y="918"/>
                  </a:lnTo>
                  <a:lnTo>
                    <a:pt x="265" y="908"/>
                  </a:lnTo>
                  <a:lnTo>
                    <a:pt x="275" y="890"/>
                  </a:lnTo>
                  <a:lnTo>
                    <a:pt x="283" y="868"/>
                  </a:lnTo>
                  <a:lnTo>
                    <a:pt x="287" y="848"/>
                  </a:lnTo>
                  <a:lnTo>
                    <a:pt x="287" y="828"/>
                  </a:lnTo>
                  <a:lnTo>
                    <a:pt x="287" y="828"/>
                  </a:lnTo>
                  <a:lnTo>
                    <a:pt x="289" y="804"/>
                  </a:lnTo>
                  <a:lnTo>
                    <a:pt x="291" y="772"/>
                  </a:lnTo>
                  <a:lnTo>
                    <a:pt x="301" y="700"/>
                  </a:lnTo>
                  <a:lnTo>
                    <a:pt x="315" y="618"/>
                  </a:lnTo>
                  <a:lnTo>
                    <a:pt x="331" y="531"/>
                  </a:lnTo>
                  <a:lnTo>
                    <a:pt x="347" y="443"/>
                  </a:lnTo>
                  <a:lnTo>
                    <a:pt x="359" y="359"/>
                  </a:lnTo>
                  <a:lnTo>
                    <a:pt x="369" y="287"/>
                  </a:lnTo>
                  <a:lnTo>
                    <a:pt x="373" y="257"/>
                  </a:lnTo>
                  <a:lnTo>
                    <a:pt x="373" y="231"/>
                  </a:lnTo>
                  <a:lnTo>
                    <a:pt x="373" y="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 name="Freeform 13"/>
            <p:cNvSpPr>
              <a:spLocks/>
            </p:cNvSpPr>
            <p:nvPr/>
          </p:nvSpPr>
          <p:spPr bwMode="auto">
            <a:xfrm>
              <a:off x="341482" y="5345226"/>
              <a:ext cx="183413" cy="190344"/>
            </a:xfrm>
            <a:custGeom>
              <a:avLst/>
              <a:gdLst/>
              <a:ahLst/>
              <a:cxnLst/>
              <a:rect l="l" t="t" r="r" b="b"/>
              <a:pathLst>
                <a:path w="183413" h="190344">
                  <a:moveTo>
                    <a:pt x="89127" y="0"/>
                  </a:moveTo>
                  <a:lnTo>
                    <a:pt x="92673" y="0"/>
                  </a:lnTo>
                  <a:lnTo>
                    <a:pt x="96218" y="0"/>
                  </a:lnTo>
                  <a:lnTo>
                    <a:pt x="99764" y="323"/>
                  </a:lnTo>
                  <a:lnTo>
                    <a:pt x="102988" y="967"/>
                  </a:lnTo>
                  <a:lnTo>
                    <a:pt x="106533" y="1934"/>
                  </a:lnTo>
                  <a:lnTo>
                    <a:pt x="109757" y="3224"/>
                  </a:lnTo>
                  <a:lnTo>
                    <a:pt x="112980" y="4513"/>
                  </a:lnTo>
                  <a:lnTo>
                    <a:pt x="116204" y="5802"/>
                  </a:lnTo>
                  <a:lnTo>
                    <a:pt x="119105" y="7736"/>
                  </a:lnTo>
                  <a:lnTo>
                    <a:pt x="122328" y="9671"/>
                  </a:lnTo>
                  <a:lnTo>
                    <a:pt x="124746" y="11605"/>
                  </a:lnTo>
                  <a:lnTo>
                    <a:pt x="127647" y="13861"/>
                  </a:lnTo>
                  <a:lnTo>
                    <a:pt x="130226" y="16440"/>
                  </a:lnTo>
                  <a:lnTo>
                    <a:pt x="132804" y="18696"/>
                  </a:lnTo>
                  <a:lnTo>
                    <a:pt x="135061" y="21597"/>
                  </a:lnTo>
                  <a:lnTo>
                    <a:pt x="136995" y="24176"/>
                  </a:lnTo>
                  <a:lnTo>
                    <a:pt x="139251" y="27077"/>
                  </a:lnTo>
                  <a:lnTo>
                    <a:pt x="140863" y="30301"/>
                  </a:lnTo>
                  <a:lnTo>
                    <a:pt x="142475" y="33202"/>
                  </a:lnTo>
                  <a:lnTo>
                    <a:pt x="143764" y="36264"/>
                  </a:lnTo>
                  <a:lnTo>
                    <a:pt x="145053" y="39487"/>
                  </a:lnTo>
                  <a:lnTo>
                    <a:pt x="146020" y="42711"/>
                  </a:lnTo>
                  <a:lnTo>
                    <a:pt x="146665" y="46256"/>
                  </a:lnTo>
                  <a:lnTo>
                    <a:pt x="147310" y="49480"/>
                  </a:lnTo>
                  <a:lnTo>
                    <a:pt x="147632" y="53026"/>
                  </a:lnTo>
                  <a:lnTo>
                    <a:pt x="147618" y="53185"/>
                  </a:lnTo>
                  <a:lnTo>
                    <a:pt x="150212" y="61729"/>
                  </a:lnTo>
                  <a:lnTo>
                    <a:pt x="153757" y="72689"/>
                  </a:lnTo>
                  <a:lnTo>
                    <a:pt x="155369" y="76880"/>
                  </a:lnTo>
                  <a:lnTo>
                    <a:pt x="156336" y="79458"/>
                  </a:lnTo>
                  <a:lnTo>
                    <a:pt x="159560" y="84938"/>
                  </a:lnTo>
                  <a:lnTo>
                    <a:pt x="162783" y="90096"/>
                  </a:lnTo>
                  <a:lnTo>
                    <a:pt x="166329" y="95253"/>
                  </a:lnTo>
                  <a:lnTo>
                    <a:pt x="170519" y="100088"/>
                  </a:lnTo>
                  <a:lnTo>
                    <a:pt x="172776" y="102345"/>
                  </a:lnTo>
                  <a:lnTo>
                    <a:pt x="175032" y="104440"/>
                  </a:lnTo>
                  <a:lnTo>
                    <a:pt x="176321" y="106052"/>
                  </a:lnTo>
                  <a:lnTo>
                    <a:pt x="177933" y="107663"/>
                  </a:lnTo>
                  <a:lnTo>
                    <a:pt x="179545" y="108630"/>
                  </a:lnTo>
                  <a:lnTo>
                    <a:pt x="181157" y="109920"/>
                  </a:lnTo>
                  <a:lnTo>
                    <a:pt x="182124" y="110564"/>
                  </a:lnTo>
                  <a:lnTo>
                    <a:pt x="183091" y="111209"/>
                  </a:lnTo>
                  <a:lnTo>
                    <a:pt x="183413" y="111209"/>
                  </a:lnTo>
                  <a:lnTo>
                    <a:pt x="183413" y="111531"/>
                  </a:lnTo>
                  <a:lnTo>
                    <a:pt x="182124" y="112498"/>
                  </a:lnTo>
                  <a:lnTo>
                    <a:pt x="177288" y="114110"/>
                  </a:lnTo>
                  <a:lnTo>
                    <a:pt x="167941" y="116689"/>
                  </a:lnTo>
                  <a:lnTo>
                    <a:pt x="156014" y="121846"/>
                  </a:lnTo>
                  <a:lnTo>
                    <a:pt x="148922" y="124103"/>
                  </a:lnTo>
                  <a:lnTo>
                    <a:pt x="141831" y="126359"/>
                  </a:lnTo>
                  <a:lnTo>
                    <a:pt x="137963" y="127004"/>
                  </a:lnTo>
                  <a:lnTo>
                    <a:pt x="134417" y="127326"/>
                  </a:lnTo>
                  <a:lnTo>
                    <a:pt x="130871" y="127326"/>
                  </a:lnTo>
                  <a:lnTo>
                    <a:pt x="127648" y="127004"/>
                  </a:lnTo>
                  <a:lnTo>
                    <a:pt x="125504" y="126575"/>
                  </a:lnTo>
                  <a:lnTo>
                    <a:pt x="125391" y="126624"/>
                  </a:lnTo>
                  <a:lnTo>
                    <a:pt x="123296" y="127591"/>
                  </a:lnTo>
                  <a:lnTo>
                    <a:pt x="120395" y="128236"/>
                  </a:lnTo>
                  <a:lnTo>
                    <a:pt x="118977" y="128460"/>
                  </a:lnTo>
                  <a:lnTo>
                    <a:pt x="93318" y="190344"/>
                  </a:lnTo>
                  <a:lnTo>
                    <a:pt x="67392" y="129211"/>
                  </a:lnTo>
                  <a:lnTo>
                    <a:pt x="67208" y="129203"/>
                  </a:lnTo>
                  <a:lnTo>
                    <a:pt x="61083" y="128236"/>
                  </a:lnTo>
                  <a:lnTo>
                    <a:pt x="58343" y="127591"/>
                  </a:lnTo>
                  <a:lnTo>
                    <a:pt x="56590" y="126839"/>
                  </a:lnTo>
                  <a:lnTo>
                    <a:pt x="55766" y="127004"/>
                  </a:lnTo>
                  <a:lnTo>
                    <a:pt x="52542" y="127326"/>
                  </a:lnTo>
                  <a:lnTo>
                    <a:pt x="48996" y="127326"/>
                  </a:lnTo>
                  <a:lnTo>
                    <a:pt x="45451" y="127004"/>
                  </a:lnTo>
                  <a:lnTo>
                    <a:pt x="41582" y="126359"/>
                  </a:lnTo>
                  <a:lnTo>
                    <a:pt x="34491" y="124103"/>
                  </a:lnTo>
                  <a:lnTo>
                    <a:pt x="27399" y="121846"/>
                  </a:lnTo>
                  <a:lnTo>
                    <a:pt x="15150" y="116689"/>
                  </a:lnTo>
                  <a:lnTo>
                    <a:pt x="6125" y="114110"/>
                  </a:lnTo>
                  <a:lnTo>
                    <a:pt x="1289" y="112498"/>
                  </a:lnTo>
                  <a:lnTo>
                    <a:pt x="0" y="111531"/>
                  </a:lnTo>
                  <a:lnTo>
                    <a:pt x="0" y="111209"/>
                  </a:lnTo>
                  <a:lnTo>
                    <a:pt x="322" y="111209"/>
                  </a:lnTo>
                  <a:lnTo>
                    <a:pt x="1289" y="110564"/>
                  </a:lnTo>
                  <a:lnTo>
                    <a:pt x="1934" y="109920"/>
                  </a:lnTo>
                  <a:lnTo>
                    <a:pt x="3546" y="108630"/>
                  </a:lnTo>
                  <a:lnTo>
                    <a:pt x="5480" y="107663"/>
                  </a:lnTo>
                  <a:lnTo>
                    <a:pt x="7092" y="106052"/>
                  </a:lnTo>
                  <a:lnTo>
                    <a:pt x="8381" y="104440"/>
                  </a:lnTo>
                  <a:lnTo>
                    <a:pt x="10637" y="102345"/>
                  </a:lnTo>
                  <a:lnTo>
                    <a:pt x="12894" y="100088"/>
                  </a:lnTo>
                  <a:lnTo>
                    <a:pt x="17084" y="95253"/>
                  </a:lnTo>
                  <a:lnTo>
                    <a:pt x="20630" y="90096"/>
                  </a:lnTo>
                  <a:lnTo>
                    <a:pt x="23853" y="84938"/>
                  </a:lnTo>
                  <a:lnTo>
                    <a:pt x="27077" y="79458"/>
                  </a:lnTo>
                  <a:lnTo>
                    <a:pt x="28366" y="76235"/>
                  </a:lnTo>
                  <a:lnTo>
                    <a:pt x="30300" y="70755"/>
                  </a:lnTo>
                  <a:lnTo>
                    <a:pt x="35458" y="55927"/>
                  </a:lnTo>
                  <a:lnTo>
                    <a:pt x="39969" y="42395"/>
                  </a:lnTo>
                  <a:lnTo>
                    <a:pt x="39970" y="42388"/>
                  </a:lnTo>
                  <a:lnTo>
                    <a:pt x="41581" y="35942"/>
                  </a:lnTo>
                  <a:lnTo>
                    <a:pt x="44160" y="29978"/>
                  </a:lnTo>
                  <a:lnTo>
                    <a:pt x="47384" y="24498"/>
                  </a:lnTo>
                  <a:lnTo>
                    <a:pt x="49318" y="21597"/>
                  </a:lnTo>
                  <a:lnTo>
                    <a:pt x="51252" y="19018"/>
                  </a:lnTo>
                  <a:lnTo>
                    <a:pt x="53186" y="16440"/>
                  </a:lnTo>
                  <a:lnTo>
                    <a:pt x="55442" y="14183"/>
                  </a:lnTo>
                  <a:lnTo>
                    <a:pt x="58021" y="11927"/>
                  </a:lnTo>
                  <a:lnTo>
                    <a:pt x="60600" y="9993"/>
                  </a:lnTo>
                  <a:lnTo>
                    <a:pt x="63017" y="8059"/>
                  </a:lnTo>
                  <a:lnTo>
                    <a:pt x="65918" y="6447"/>
                  </a:lnTo>
                  <a:lnTo>
                    <a:pt x="69142" y="5158"/>
                  </a:lnTo>
                  <a:lnTo>
                    <a:pt x="72043" y="3868"/>
                  </a:lnTo>
                  <a:lnTo>
                    <a:pt x="75266" y="2579"/>
                  </a:lnTo>
                  <a:lnTo>
                    <a:pt x="78812" y="1934"/>
                  </a:lnTo>
                  <a:lnTo>
                    <a:pt x="82035" y="967"/>
                  </a:lnTo>
                  <a:lnTo>
                    <a:pt x="85581" y="32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44" name="Group 43"/>
          <p:cNvGrpSpPr/>
          <p:nvPr/>
        </p:nvGrpSpPr>
        <p:grpSpPr>
          <a:xfrm rot="6781402" flipH="1">
            <a:off x="10501381" y="2194765"/>
            <a:ext cx="89625" cy="132564"/>
            <a:chOff x="2687387" y="3149601"/>
            <a:chExt cx="81478" cy="132564"/>
          </a:xfrm>
          <a:solidFill>
            <a:schemeClr val="bg1"/>
          </a:solidFill>
        </p:grpSpPr>
        <p:sp>
          <p:nvSpPr>
            <p:cNvPr id="45" name="Freeform 75"/>
            <p:cNvSpPr>
              <a:spLocks/>
            </p:cNvSpPr>
            <p:nvPr/>
          </p:nvSpPr>
          <p:spPr bwMode="auto">
            <a:xfrm>
              <a:off x="2687418" y="3189592"/>
              <a:ext cx="19997"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6" name="Freeform 76"/>
            <p:cNvSpPr>
              <a:spLocks/>
            </p:cNvSpPr>
            <p:nvPr/>
          </p:nvSpPr>
          <p:spPr bwMode="auto">
            <a:xfrm>
              <a:off x="2687387"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7" name="Freeform 77"/>
            <p:cNvSpPr>
              <a:spLocks/>
            </p:cNvSpPr>
            <p:nvPr/>
          </p:nvSpPr>
          <p:spPr bwMode="auto">
            <a:xfrm>
              <a:off x="2705180" y="3170337"/>
              <a:ext cx="30365"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8" name="Freeform 78"/>
            <p:cNvSpPr>
              <a:spLocks/>
            </p:cNvSpPr>
            <p:nvPr/>
          </p:nvSpPr>
          <p:spPr bwMode="auto">
            <a:xfrm>
              <a:off x="2705162"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9" name="Freeform 79"/>
            <p:cNvSpPr>
              <a:spLocks/>
            </p:cNvSpPr>
            <p:nvPr/>
          </p:nvSpPr>
          <p:spPr bwMode="auto">
            <a:xfrm>
              <a:off x="2729614"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42" name="TextBox 41"/>
          <p:cNvSpPr txBox="1"/>
          <p:nvPr/>
        </p:nvSpPr>
        <p:spPr>
          <a:xfrm>
            <a:off x="10048973" y="1723591"/>
            <a:ext cx="663525" cy="276999"/>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38" normalizeH="0" baseline="0" noProof="0">
                <a:ln>
                  <a:noFill/>
                </a:ln>
                <a:solidFill>
                  <a:srgbClr val="00BCF2"/>
                </a:solidFill>
                <a:effectLst/>
                <a:uLnTx/>
                <a:uFillTx/>
                <a:ea typeface="Segoe UI" pitchFamily="34" charset="0"/>
                <a:cs typeface="Segoe UI" pitchFamily="34" charset="0"/>
              </a:rPr>
              <a:t>City </a:t>
            </a:r>
            <a:br>
              <a:rPr kumimoji="0" lang="en-US" sz="900" b="0" i="0" u="none" strike="noStrike" kern="0" cap="none" spc="-38" normalizeH="0" baseline="0" noProof="0">
                <a:ln>
                  <a:noFill/>
                </a:ln>
                <a:solidFill>
                  <a:srgbClr val="00BCF2"/>
                </a:solidFill>
                <a:effectLst/>
                <a:uLnTx/>
                <a:uFillTx/>
                <a:ea typeface="Segoe UI" pitchFamily="34" charset="0"/>
                <a:cs typeface="Segoe UI" pitchFamily="34" charset="0"/>
              </a:rPr>
            </a:br>
            <a:r>
              <a:rPr kumimoji="0" lang="en-US" sz="900" b="0" i="0" u="none" strike="noStrike" kern="0" cap="none" spc="-38" normalizeH="0" baseline="0" noProof="0">
                <a:ln>
                  <a:noFill/>
                </a:ln>
                <a:solidFill>
                  <a:srgbClr val="00BCF2"/>
                </a:solidFill>
                <a:effectLst/>
                <a:uLnTx/>
                <a:uFillTx/>
                <a:ea typeface="Segoe UI" pitchFamily="34" charset="0"/>
                <a:cs typeface="Segoe UI" pitchFamily="34" charset="0"/>
              </a:rPr>
              <a:t>Manager</a:t>
            </a:r>
            <a:endParaRPr kumimoji="0" lang="en-US" sz="900" b="0" i="0" u="none" strike="noStrike" kern="0" cap="none" spc="-38" normalizeH="0" baseline="0" noProof="0" dirty="0">
              <a:ln>
                <a:noFill/>
              </a:ln>
              <a:solidFill>
                <a:srgbClr val="00BCF2"/>
              </a:solidFill>
              <a:effectLst/>
              <a:uLnTx/>
              <a:uFillTx/>
              <a:ea typeface="Segoe UI" pitchFamily="34" charset="0"/>
              <a:cs typeface="Segoe UI" pitchFamily="34" charset="0"/>
            </a:endParaRPr>
          </a:p>
        </p:txBody>
      </p:sp>
      <p:sp>
        <p:nvSpPr>
          <p:cNvPr id="61" name="Freeform 41"/>
          <p:cNvSpPr>
            <a:spLocks/>
          </p:cNvSpPr>
          <p:nvPr/>
        </p:nvSpPr>
        <p:spPr bwMode="auto">
          <a:xfrm>
            <a:off x="10189874" y="4084326"/>
            <a:ext cx="376014" cy="520424"/>
          </a:xfrm>
          <a:custGeom>
            <a:avLst/>
            <a:gdLst>
              <a:gd name="T0" fmla="*/ 2329 w 2333"/>
              <a:gd name="T1" fmla="*/ 391 h 3229"/>
              <a:gd name="T2" fmla="*/ 2299 w 2333"/>
              <a:gd name="T3" fmla="*/ 254 h 3229"/>
              <a:gd name="T4" fmla="*/ 2239 w 2333"/>
              <a:gd name="T5" fmla="*/ 131 h 3229"/>
              <a:gd name="T6" fmla="*/ 2153 w 2333"/>
              <a:gd name="T7" fmla="*/ 54 h 3229"/>
              <a:gd name="T8" fmla="*/ 2087 w 2333"/>
              <a:gd name="T9" fmla="*/ 30 h 3229"/>
              <a:gd name="T10" fmla="*/ 1974 w 2333"/>
              <a:gd name="T11" fmla="*/ 11 h 3229"/>
              <a:gd name="T12" fmla="*/ 1685 w 2333"/>
              <a:gd name="T13" fmla="*/ 0 h 3229"/>
              <a:gd name="T14" fmla="*/ 1300 w 2333"/>
              <a:gd name="T15" fmla="*/ 4 h 3229"/>
              <a:gd name="T16" fmla="*/ 1193 w 2333"/>
              <a:gd name="T17" fmla="*/ 36 h 3229"/>
              <a:gd name="T18" fmla="*/ 1101 w 2333"/>
              <a:gd name="T19" fmla="*/ 88 h 3229"/>
              <a:gd name="T20" fmla="*/ 986 w 2333"/>
              <a:gd name="T21" fmla="*/ 201 h 3229"/>
              <a:gd name="T22" fmla="*/ 829 w 2333"/>
              <a:gd name="T23" fmla="*/ 430 h 3229"/>
              <a:gd name="T24" fmla="*/ 705 w 2333"/>
              <a:gd name="T25" fmla="*/ 609 h 3229"/>
              <a:gd name="T26" fmla="*/ 564 w 2333"/>
              <a:gd name="T27" fmla="*/ 624 h 3229"/>
              <a:gd name="T28" fmla="*/ 147 w 2333"/>
              <a:gd name="T29" fmla="*/ 637 h 3229"/>
              <a:gd name="T30" fmla="*/ 100 w 2333"/>
              <a:gd name="T31" fmla="*/ 639 h 3229"/>
              <a:gd name="T32" fmla="*/ 53 w 2333"/>
              <a:gd name="T33" fmla="*/ 665 h 3229"/>
              <a:gd name="T34" fmla="*/ 15 w 2333"/>
              <a:gd name="T35" fmla="*/ 716 h 3229"/>
              <a:gd name="T36" fmla="*/ 2 w 2333"/>
              <a:gd name="T37" fmla="*/ 778 h 3229"/>
              <a:gd name="T38" fmla="*/ 10 w 2333"/>
              <a:gd name="T39" fmla="*/ 847 h 3229"/>
              <a:gd name="T40" fmla="*/ 44 w 2333"/>
              <a:gd name="T41" fmla="*/ 896 h 3229"/>
              <a:gd name="T42" fmla="*/ 107 w 2333"/>
              <a:gd name="T43" fmla="*/ 924 h 3229"/>
              <a:gd name="T44" fmla="*/ 333 w 2333"/>
              <a:gd name="T45" fmla="*/ 928 h 3229"/>
              <a:gd name="T46" fmla="*/ 840 w 2333"/>
              <a:gd name="T47" fmla="*/ 911 h 3229"/>
              <a:gd name="T48" fmla="*/ 932 w 2333"/>
              <a:gd name="T49" fmla="*/ 821 h 3229"/>
              <a:gd name="T50" fmla="*/ 1039 w 2333"/>
              <a:gd name="T51" fmla="*/ 659 h 3229"/>
              <a:gd name="T52" fmla="*/ 1152 w 2333"/>
              <a:gd name="T53" fmla="*/ 501 h 3229"/>
              <a:gd name="T54" fmla="*/ 1152 w 2333"/>
              <a:gd name="T55" fmla="*/ 3018 h 3229"/>
              <a:gd name="T56" fmla="*/ 1152 w 2333"/>
              <a:gd name="T57" fmla="*/ 3075 h 3229"/>
              <a:gd name="T58" fmla="*/ 1172 w 2333"/>
              <a:gd name="T59" fmla="*/ 3146 h 3229"/>
              <a:gd name="T60" fmla="*/ 1216 w 2333"/>
              <a:gd name="T61" fmla="*/ 3202 h 3229"/>
              <a:gd name="T62" fmla="*/ 1283 w 2333"/>
              <a:gd name="T63" fmla="*/ 3227 h 3229"/>
              <a:gd name="T64" fmla="*/ 1343 w 2333"/>
              <a:gd name="T65" fmla="*/ 3229 h 3229"/>
              <a:gd name="T66" fmla="*/ 1415 w 2333"/>
              <a:gd name="T67" fmla="*/ 3208 h 3229"/>
              <a:gd name="T68" fmla="*/ 1471 w 2333"/>
              <a:gd name="T69" fmla="*/ 3161 h 3229"/>
              <a:gd name="T70" fmla="*/ 1503 w 2333"/>
              <a:gd name="T71" fmla="*/ 3095 h 3229"/>
              <a:gd name="T72" fmla="*/ 1507 w 2333"/>
              <a:gd name="T73" fmla="*/ 2314 h 3229"/>
              <a:gd name="T74" fmla="*/ 1604 w 2333"/>
              <a:gd name="T75" fmla="*/ 1572 h 3229"/>
              <a:gd name="T76" fmla="*/ 1606 w 2333"/>
              <a:gd name="T77" fmla="*/ 2712 h 3229"/>
              <a:gd name="T78" fmla="*/ 1610 w 2333"/>
              <a:gd name="T79" fmla="*/ 3110 h 3229"/>
              <a:gd name="T80" fmla="*/ 1631 w 2333"/>
              <a:gd name="T81" fmla="*/ 3170 h 3229"/>
              <a:gd name="T82" fmla="*/ 1678 w 2333"/>
              <a:gd name="T83" fmla="*/ 3210 h 3229"/>
              <a:gd name="T84" fmla="*/ 1741 w 2333"/>
              <a:gd name="T85" fmla="*/ 3227 h 3229"/>
              <a:gd name="T86" fmla="*/ 1790 w 2333"/>
              <a:gd name="T87" fmla="*/ 3227 h 3229"/>
              <a:gd name="T88" fmla="*/ 1862 w 2333"/>
              <a:gd name="T89" fmla="*/ 3208 h 3229"/>
              <a:gd name="T90" fmla="*/ 1916 w 2333"/>
              <a:gd name="T91" fmla="*/ 3159 h 3229"/>
              <a:gd name="T92" fmla="*/ 1948 w 2333"/>
              <a:gd name="T93" fmla="*/ 3093 h 3229"/>
              <a:gd name="T94" fmla="*/ 1961 w 2333"/>
              <a:gd name="T95" fmla="*/ 3022 h 3229"/>
              <a:gd name="T96" fmla="*/ 1961 w 2333"/>
              <a:gd name="T97" fmla="*/ 524 h 3229"/>
              <a:gd name="T98" fmla="*/ 2061 w 2333"/>
              <a:gd name="T99" fmla="*/ 982 h 3229"/>
              <a:gd name="T100" fmla="*/ 2063 w 2333"/>
              <a:gd name="T101" fmla="*/ 1439 h 3229"/>
              <a:gd name="T102" fmla="*/ 2083 w 2333"/>
              <a:gd name="T103" fmla="*/ 1521 h 3229"/>
              <a:gd name="T104" fmla="*/ 2113 w 2333"/>
              <a:gd name="T105" fmla="*/ 1553 h 3229"/>
              <a:gd name="T106" fmla="*/ 2158 w 2333"/>
              <a:gd name="T107" fmla="*/ 1572 h 3229"/>
              <a:gd name="T108" fmla="*/ 2207 w 2333"/>
              <a:gd name="T109" fmla="*/ 1578 h 3229"/>
              <a:gd name="T110" fmla="*/ 2267 w 2333"/>
              <a:gd name="T111" fmla="*/ 1555 h 3229"/>
              <a:gd name="T112" fmla="*/ 2309 w 2333"/>
              <a:gd name="T113" fmla="*/ 1503 h 3229"/>
              <a:gd name="T114" fmla="*/ 2329 w 2333"/>
              <a:gd name="T115" fmla="*/ 1437 h 3229"/>
              <a:gd name="T116" fmla="*/ 2333 w 2333"/>
              <a:gd name="T117" fmla="*/ 932 h 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3" h="3229">
                <a:moveTo>
                  <a:pt x="2333" y="456"/>
                </a:moveTo>
                <a:lnTo>
                  <a:pt x="2333" y="456"/>
                </a:lnTo>
                <a:lnTo>
                  <a:pt x="2331" y="424"/>
                </a:lnTo>
                <a:lnTo>
                  <a:pt x="2329" y="391"/>
                </a:lnTo>
                <a:lnTo>
                  <a:pt x="2324" y="355"/>
                </a:lnTo>
                <a:lnTo>
                  <a:pt x="2318" y="321"/>
                </a:lnTo>
                <a:lnTo>
                  <a:pt x="2310" y="287"/>
                </a:lnTo>
                <a:lnTo>
                  <a:pt x="2299" y="254"/>
                </a:lnTo>
                <a:lnTo>
                  <a:pt x="2288" y="222"/>
                </a:lnTo>
                <a:lnTo>
                  <a:pt x="2275" y="190"/>
                </a:lnTo>
                <a:lnTo>
                  <a:pt x="2258" y="160"/>
                </a:lnTo>
                <a:lnTo>
                  <a:pt x="2239" y="131"/>
                </a:lnTo>
                <a:lnTo>
                  <a:pt x="2218" y="107"/>
                </a:lnTo>
                <a:lnTo>
                  <a:pt x="2194" y="84"/>
                </a:lnTo>
                <a:lnTo>
                  <a:pt x="2168" y="64"/>
                </a:lnTo>
                <a:lnTo>
                  <a:pt x="2153" y="54"/>
                </a:lnTo>
                <a:lnTo>
                  <a:pt x="2138" y="47"/>
                </a:lnTo>
                <a:lnTo>
                  <a:pt x="2121" y="39"/>
                </a:lnTo>
                <a:lnTo>
                  <a:pt x="2104" y="34"/>
                </a:lnTo>
                <a:lnTo>
                  <a:pt x="2087" y="30"/>
                </a:lnTo>
                <a:lnTo>
                  <a:pt x="2068" y="24"/>
                </a:lnTo>
                <a:lnTo>
                  <a:pt x="2068" y="24"/>
                </a:lnTo>
                <a:lnTo>
                  <a:pt x="2021" y="17"/>
                </a:lnTo>
                <a:lnTo>
                  <a:pt x="1974" y="11"/>
                </a:lnTo>
                <a:lnTo>
                  <a:pt x="1925" y="6"/>
                </a:lnTo>
                <a:lnTo>
                  <a:pt x="1879" y="4"/>
                </a:lnTo>
                <a:lnTo>
                  <a:pt x="1783" y="0"/>
                </a:lnTo>
                <a:lnTo>
                  <a:pt x="1685" y="0"/>
                </a:lnTo>
                <a:lnTo>
                  <a:pt x="1493" y="4"/>
                </a:lnTo>
                <a:lnTo>
                  <a:pt x="1396" y="6"/>
                </a:lnTo>
                <a:lnTo>
                  <a:pt x="1300" y="4"/>
                </a:lnTo>
                <a:lnTo>
                  <a:pt x="1300" y="4"/>
                </a:lnTo>
                <a:lnTo>
                  <a:pt x="1272" y="9"/>
                </a:lnTo>
                <a:lnTo>
                  <a:pt x="1244" y="17"/>
                </a:lnTo>
                <a:lnTo>
                  <a:pt x="1217" y="24"/>
                </a:lnTo>
                <a:lnTo>
                  <a:pt x="1193" y="36"/>
                </a:lnTo>
                <a:lnTo>
                  <a:pt x="1169" y="47"/>
                </a:lnTo>
                <a:lnTo>
                  <a:pt x="1144" y="60"/>
                </a:lnTo>
                <a:lnTo>
                  <a:pt x="1122" y="73"/>
                </a:lnTo>
                <a:lnTo>
                  <a:pt x="1101" y="88"/>
                </a:lnTo>
                <a:lnTo>
                  <a:pt x="1080" y="105"/>
                </a:lnTo>
                <a:lnTo>
                  <a:pt x="1060" y="122"/>
                </a:lnTo>
                <a:lnTo>
                  <a:pt x="1022" y="160"/>
                </a:lnTo>
                <a:lnTo>
                  <a:pt x="986" y="201"/>
                </a:lnTo>
                <a:lnTo>
                  <a:pt x="953" y="242"/>
                </a:lnTo>
                <a:lnTo>
                  <a:pt x="919" y="289"/>
                </a:lnTo>
                <a:lnTo>
                  <a:pt x="889" y="334"/>
                </a:lnTo>
                <a:lnTo>
                  <a:pt x="829" y="430"/>
                </a:lnTo>
                <a:lnTo>
                  <a:pt x="799" y="475"/>
                </a:lnTo>
                <a:lnTo>
                  <a:pt x="769" y="522"/>
                </a:lnTo>
                <a:lnTo>
                  <a:pt x="737" y="565"/>
                </a:lnTo>
                <a:lnTo>
                  <a:pt x="705" y="609"/>
                </a:lnTo>
                <a:lnTo>
                  <a:pt x="705" y="609"/>
                </a:lnTo>
                <a:lnTo>
                  <a:pt x="658" y="616"/>
                </a:lnTo>
                <a:lnTo>
                  <a:pt x="611" y="622"/>
                </a:lnTo>
                <a:lnTo>
                  <a:pt x="564" y="624"/>
                </a:lnTo>
                <a:lnTo>
                  <a:pt x="515" y="624"/>
                </a:lnTo>
                <a:lnTo>
                  <a:pt x="566" y="764"/>
                </a:lnTo>
                <a:lnTo>
                  <a:pt x="250" y="883"/>
                </a:lnTo>
                <a:lnTo>
                  <a:pt x="147" y="637"/>
                </a:lnTo>
                <a:lnTo>
                  <a:pt x="147" y="637"/>
                </a:lnTo>
                <a:lnTo>
                  <a:pt x="134" y="635"/>
                </a:lnTo>
                <a:lnTo>
                  <a:pt x="119" y="635"/>
                </a:lnTo>
                <a:lnTo>
                  <a:pt x="100" y="639"/>
                </a:lnTo>
                <a:lnTo>
                  <a:pt x="81" y="644"/>
                </a:lnTo>
                <a:lnTo>
                  <a:pt x="72" y="650"/>
                </a:lnTo>
                <a:lnTo>
                  <a:pt x="62" y="655"/>
                </a:lnTo>
                <a:lnTo>
                  <a:pt x="53" y="665"/>
                </a:lnTo>
                <a:lnTo>
                  <a:pt x="42" y="674"/>
                </a:lnTo>
                <a:lnTo>
                  <a:pt x="32" y="686"/>
                </a:lnTo>
                <a:lnTo>
                  <a:pt x="23" y="701"/>
                </a:lnTo>
                <a:lnTo>
                  <a:pt x="15" y="716"/>
                </a:lnTo>
                <a:lnTo>
                  <a:pt x="6" y="734"/>
                </a:lnTo>
                <a:lnTo>
                  <a:pt x="6" y="734"/>
                </a:lnTo>
                <a:lnTo>
                  <a:pt x="2" y="757"/>
                </a:lnTo>
                <a:lnTo>
                  <a:pt x="2" y="778"/>
                </a:lnTo>
                <a:lnTo>
                  <a:pt x="0" y="798"/>
                </a:lnTo>
                <a:lnTo>
                  <a:pt x="2" y="815"/>
                </a:lnTo>
                <a:lnTo>
                  <a:pt x="6" y="832"/>
                </a:lnTo>
                <a:lnTo>
                  <a:pt x="10" y="847"/>
                </a:lnTo>
                <a:lnTo>
                  <a:pt x="15" y="862"/>
                </a:lnTo>
                <a:lnTo>
                  <a:pt x="23" y="875"/>
                </a:lnTo>
                <a:lnTo>
                  <a:pt x="32" y="887"/>
                </a:lnTo>
                <a:lnTo>
                  <a:pt x="44" y="896"/>
                </a:lnTo>
                <a:lnTo>
                  <a:pt x="57" y="905"/>
                </a:lnTo>
                <a:lnTo>
                  <a:pt x="72" y="913"/>
                </a:lnTo>
                <a:lnTo>
                  <a:pt x="89" y="918"/>
                </a:lnTo>
                <a:lnTo>
                  <a:pt x="107" y="924"/>
                </a:lnTo>
                <a:lnTo>
                  <a:pt x="128" y="928"/>
                </a:lnTo>
                <a:lnTo>
                  <a:pt x="153" y="930"/>
                </a:lnTo>
                <a:lnTo>
                  <a:pt x="153" y="930"/>
                </a:lnTo>
                <a:lnTo>
                  <a:pt x="333" y="928"/>
                </a:lnTo>
                <a:lnTo>
                  <a:pt x="500" y="924"/>
                </a:lnTo>
                <a:lnTo>
                  <a:pt x="665" y="918"/>
                </a:lnTo>
                <a:lnTo>
                  <a:pt x="840" y="911"/>
                </a:lnTo>
                <a:lnTo>
                  <a:pt x="840" y="911"/>
                </a:lnTo>
                <a:lnTo>
                  <a:pt x="864" y="890"/>
                </a:lnTo>
                <a:lnTo>
                  <a:pt x="889" y="868"/>
                </a:lnTo>
                <a:lnTo>
                  <a:pt x="909" y="845"/>
                </a:lnTo>
                <a:lnTo>
                  <a:pt x="932" y="821"/>
                </a:lnTo>
                <a:lnTo>
                  <a:pt x="951" y="794"/>
                </a:lnTo>
                <a:lnTo>
                  <a:pt x="970" y="768"/>
                </a:lnTo>
                <a:lnTo>
                  <a:pt x="1005" y="716"/>
                </a:lnTo>
                <a:lnTo>
                  <a:pt x="1039" y="659"/>
                </a:lnTo>
                <a:lnTo>
                  <a:pt x="1075" y="605"/>
                </a:lnTo>
                <a:lnTo>
                  <a:pt x="1112" y="550"/>
                </a:lnTo>
                <a:lnTo>
                  <a:pt x="1131" y="526"/>
                </a:lnTo>
                <a:lnTo>
                  <a:pt x="1152" y="501"/>
                </a:lnTo>
                <a:lnTo>
                  <a:pt x="1152" y="501"/>
                </a:lnTo>
                <a:lnTo>
                  <a:pt x="1152" y="1131"/>
                </a:lnTo>
                <a:lnTo>
                  <a:pt x="1152" y="1760"/>
                </a:lnTo>
                <a:lnTo>
                  <a:pt x="1152" y="3018"/>
                </a:lnTo>
                <a:lnTo>
                  <a:pt x="1152" y="3018"/>
                </a:lnTo>
                <a:lnTo>
                  <a:pt x="1150" y="3037"/>
                </a:lnTo>
                <a:lnTo>
                  <a:pt x="1150" y="3056"/>
                </a:lnTo>
                <a:lnTo>
                  <a:pt x="1152" y="3075"/>
                </a:lnTo>
                <a:lnTo>
                  <a:pt x="1155" y="3093"/>
                </a:lnTo>
                <a:lnTo>
                  <a:pt x="1159" y="3110"/>
                </a:lnTo>
                <a:lnTo>
                  <a:pt x="1165" y="3129"/>
                </a:lnTo>
                <a:lnTo>
                  <a:pt x="1172" y="3146"/>
                </a:lnTo>
                <a:lnTo>
                  <a:pt x="1182" y="3163"/>
                </a:lnTo>
                <a:lnTo>
                  <a:pt x="1191" y="3178"/>
                </a:lnTo>
                <a:lnTo>
                  <a:pt x="1202" y="3191"/>
                </a:lnTo>
                <a:lnTo>
                  <a:pt x="1216" y="3202"/>
                </a:lnTo>
                <a:lnTo>
                  <a:pt x="1231" y="3212"/>
                </a:lnTo>
                <a:lnTo>
                  <a:pt x="1247" y="3219"/>
                </a:lnTo>
                <a:lnTo>
                  <a:pt x="1264" y="3225"/>
                </a:lnTo>
                <a:lnTo>
                  <a:pt x="1283" y="3227"/>
                </a:lnTo>
                <a:lnTo>
                  <a:pt x="1304" y="3227"/>
                </a:lnTo>
                <a:lnTo>
                  <a:pt x="1304" y="3227"/>
                </a:lnTo>
                <a:lnTo>
                  <a:pt x="1323" y="3229"/>
                </a:lnTo>
                <a:lnTo>
                  <a:pt x="1343" y="3229"/>
                </a:lnTo>
                <a:lnTo>
                  <a:pt x="1362" y="3227"/>
                </a:lnTo>
                <a:lnTo>
                  <a:pt x="1379" y="3223"/>
                </a:lnTo>
                <a:lnTo>
                  <a:pt x="1398" y="3216"/>
                </a:lnTo>
                <a:lnTo>
                  <a:pt x="1415" y="3208"/>
                </a:lnTo>
                <a:lnTo>
                  <a:pt x="1430" y="3199"/>
                </a:lnTo>
                <a:lnTo>
                  <a:pt x="1445" y="3187"/>
                </a:lnTo>
                <a:lnTo>
                  <a:pt x="1458" y="3176"/>
                </a:lnTo>
                <a:lnTo>
                  <a:pt x="1471" y="3161"/>
                </a:lnTo>
                <a:lnTo>
                  <a:pt x="1480" y="3146"/>
                </a:lnTo>
                <a:lnTo>
                  <a:pt x="1490" y="3131"/>
                </a:lnTo>
                <a:lnTo>
                  <a:pt x="1497" y="3114"/>
                </a:lnTo>
                <a:lnTo>
                  <a:pt x="1503" y="3095"/>
                </a:lnTo>
                <a:lnTo>
                  <a:pt x="1505" y="3077"/>
                </a:lnTo>
                <a:lnTo>
                  <a:pt x="1507" y="3056"/>
                </a:lnTo>
                <a:lnTo>
                  <a:pt x="1507" y="3056"/>
                </a:lnTo>
                <a:lnTo>
                  <a:pt x="1507" y="2314"/>
                </a:lnTo>
                <a:lnTo>
                  <a:pt x="1507" y="1572"/>
                </a:lnTo>
                <a:lnTo>
                  <a:pt x="1507" y="1572"/>
                </a:lnTo>
                <a:lnTo>
                  <a:pt x="1604" y="1572"/>
                </a:lnTo>
                <a:lnTo>
                  <a:pt x="1604" y="1572"/>
                </a:lnTo>
                <a:lnTo>
                  <a:pt x="1606" y="1762"/>
                </a:lnTo>
                <a:lnTo>
                  <a:pt x="1606" y="1953"/>
                </a:lnTo>
                <a:lnTo>
                  <a:pt x="1606" y="2333"/>
                </a:lnTo>
                <a:lnTo>
                  <a:pt x="1606" y="2712"/>
                </a:lnTo>
                <a:lnTo>
                  <a:pt x="1606" y="2902"/>
                </a:lnTo>
                <a:lnTo>
                  <a:pt x="1610" y="3092"/>
                </a:lnTo>
                <a:lnTo>
                  <a:pt x="1610" y="3092"/>
                </a:lnTo>
                <a:lnTo>
                  <a:pt x="1610" y="3110"/>
                </a:lnTo>
                <a:lnTo>
                  <a:pt x="1612" y="3127"/>
                </a:lnTo>
                <a:lnTo>
                  <a:pt x="1616" y="3142"/>
                </a:lnTo>
                <a:lnTo>
                  <a:pt x="1621" y="3157"/>
                </a:lnTo>
                <a:lnTo>
                  <a:pt x="1631" y="3170"/>
                </a:lnTo>
                <a:lnTo>
                  <a:pt x="1640" y="3182"/>
                </a:lnTo>
                <a:lnTo>
                  <a:pt x="1651" y="3193"/>
                </a:lnTo>
                <a:lnTo>
                  <a:pt x="1664" y="3201"/>
                </a:lnTo>
                <a:lnTo>
                  <a:pt x="1678" y="3210"/>
                </a:lnTo>
                <a:lnTo>
                  <a:pt x="1693" y="3216"/>
                </a:lnTo>
                <a:lnTo>
                  <a:pt x="1708" y="3221"/>
                </a:lnTo>
                <a:lnTo>
                  <a:pt x="1724" y="3225"/>
                </a:lnTo>
                <a:lnTo>
                  <a:pt x="1741" y="3227"/>
                </a:lnTo>
                <a:lnTo>
                  <a:pt x="1758" y="3229"/>
                </a:lnTo>
                <a:lnTo>
                  <a:pt x="1775" y="3229"/>
                </a:lnTo>
                <a:lnTo>
                  <a:pt x="1790" y="3227"/>
                </a:lnTo>
                <a:lnTo>
                  <a:pt x="1790" y="3227"/>
                </a:lnTo>
                <a:lnTo>
                  <a:pt x="1811" y="3225"/>
                </a:lnTo>
                <a:lnTo>
                  <a:pt x="1828" y="3221"/>
                </a:lnTo>
                <a:lnTo>
                  <a:pt x="1847" y="3216"/>
                </a:lnTo>
                <a:lnTo>
                  <a:pt x="1862" y="3208"/>
                </a:lnTo>
                <a:lnTo>
                  <a:pt x="1877" y="3199"/>
                </a:lnTo>
                <a:lnTo>
                  <a:pt x="1892" y="3187"/>
                </a:lnTo>
                <a:lnTo>
                  <a:pt x="1903" y="3174"/>
                </a:lnTo>
                <a:lnTo>
                  <a:pt x="1916" y="3159"/>
                </a:lnTo>
                <a:lnTo>
                  <a:pt x="1925" y="3144"/>
                </a:lnTo>
                <a:lnTo>
                  <a:pt x="1935" y="3129"/>
                </a:lnTo>
                <a:lnTo>
                  <a:pt x="1942" y="3112"/>
                </a:lnTo>
                <a:lnTo>
                  <a:pt x="1948" y="3093"/>
                </a:lnTo>
                <a:lnTo>
                  <a:pt x="1954" y="3077"/>
                </a:lnTo>
                <a:lnTo>
                  <a:pt x="1957" y="3058"/>
                </a:lnTo>
                <a:lnTo>
                  <a:pt x="1959" y="3039"/>
                </a:lnTo>
                <a:lnTo>
                  <a:pt x="1961" y="3022"/>
                </a:lnTo>
                <a:lnTo>
                  <a:pt x="1961" y="3022"/>
                </a:lnTo>
                <a:lnTo>
                  <a:pt x="1961" y="1773"/>
                </a:lnTo>
                <a:lnTo>
                  <a:pt x="1961" y="524"/>
                </a:lnTo>
                <a:lnTo>
                  <a:pt x="1961" y="524"/>
                </a:lnTo>
                <a:lnTo>
                  <a:pt x="2059" y="526"/>
                </a:lnTo>
                <a:lnTo>
                  <a:pt x="2059" y="526"/>
                </a:lnTo>
                <a:lnTo>
                  <a:pt x="2061" y="755"/>
                </a:lnTo>
                <a:lnTo>
                  <a:pt x="2061" y="982"/>
                </a:lnTo>
                <a:lnTo>
                  <a:pt x="2061" y="1211"/>
                </a:lnTo>
                <a:lnTo>
                  <a:pt x="2061" y="1326"/>
                </a:lnTo>
                <a:lnTo>
                  <a:pt x="2063" y="1439"/>
                </a:lnTo>
                <a:lnTo>
                  <a:pt x="2063" y="1439"/>
                </a:lnTo>
                <a:lnTo>
                  <a:pt x="2064" y="1465"/>
                </a:lnTo>
                <a:lnTo>
                  <a:pt x="2068" y="1488"/>
                </a:lnTo>
                <a:lnTo>
                  <a:pt x="2078" y="1510"/>
                </a:lnTo>
                <a:lnTo>
                  <a:pt x="2083" y="1521"/>
                </a:lnTo>
                <a:lnTo>
                  <a:pt x="2089" y="1531"/>
                </a:lnTo>
                <a:lnTo>
                  <a:pt x="2096" y="1538"/>
                </a:lnTo>
                <a:lnTo>
                  <a:pt x="2104" y="1548"/>
                </a:lnTo>
                <a:lnTo>
                  <a:pt x="2113" y="1553"/>
                </a:lnTo>
                <a:lnTo>
                  <a:pt x="2125" y="1561"/>
                </a:lnTo>
                <a:lnTo>
                  <a:pt x="2134" y="1565"/>
                </a:lnTo>
                <a:lnTo>
                  <a:pt x="2147" y="1568"/>
                </a:lnTo>
                <a:lnTo>
                  <a:pt x="2158" y="1572"/>
                </a:lnTo>
                <a:lnTo>
                  <a:pt x="2171" y="1572"/>
                </a:lnTo>
                <a:lnTo>
                  <a:pt x="2171" y="1572"/>
                </a:lnTo>
                <a:lnTo>
                  <a:pt x="2190" y="1576"/>
                </a:lnTo>
                <a:lnTo>
                  <a:pt x="2207" y="1578"/>
                </a:lnTo>
                <a:lnTo>
                  <a:pt x="2224" y="1576"/>
                </a:lnTo>
                <a:lnTo>
                  <a:pt x="2239" y="1572"/>
                </a:lnTo>
                <a:lnTo>
                  <a:pt x="2254" y="1565"/>
                </a:lnTo>
                <a:lnTo>
                  <a:pt x="2267" y="1555"/>
                </a:lnTo>
                <a:lnTo>
                  <a:pt x="2279" y="1546"/>
                </a:lnTo>
                <a:lnTo>
                  <a:pt x="2290" y="1533"/>
                </a:lnTo>
                <a:lnTo>
                  <a:pt x="2299" y="1518"/>
                </a:lnTo>
                <a:lnTo>
                  <a:pt x="2309" y="1503"/>
                </a:lnTo>
                <a:lnTo>
                  <a:pt x="2316" y="1488"/>
                </a:lnTo>
                <a:lnTo>
                  <a:pt x="2322" y="1471"/>
                </a:lnTo>
                <a:lnTo>
                  <a:pt x="2325" y="1454"/>
                </a:lnTo>
                <a:lnTo>
                  <a:pt x="2329" y="1437"/>
                </a:lnTo>
                <a:lnTo>
                  <a:pt x="2331" y="1422"/>
                </a:lnTo>
                <a:lnTo>
                  <a:pt x="2331" y="1405"/>
                </a:lnTo>
                <a:lnTo>
                  <a:pt x="2331" y="1405"/>
                </a:lnTo>
                <a:lnTo>
                  <a:pt x="2333" y="932"/>
                </a:lnTo>
                <a:lnTo>
                  <a:pt x="2333" y="456"/>
                </a:lnTo>
                <a:lnTo>
                  <a:pt x="2333" y="4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0" name="Freeform 42"/>
          <p:cNvSpPr>
            <a:spLocks/>
          </p:cNvSpPr>
          <p:nvPr/>
        </p:nvSpPr>
        <p:spPr bwMode="auto">
          <a:xfrm>
            <a:off x="10200803" y="4132433"/>
            <a:ext cx="68982" cy="89612"/>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1" name="Freeform 43"/>
          <p:cNvSpPr>
            <a:spLocks/>
          </p:cNvSpPr>
          <p:nvPr/>
        </p:nvSpPr>
        <p:spPr bwMode="auto">
          <a:xfrm>
            <a:off x="10213213" y="4144844"/>
            <a:ext cx="44000" cy="64791"/>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rgbClr val="2550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72" name="Group 71"/>
          <p:cNvGrpSpPr/>
          <p:nvPr/>
        </p:nvGrpSpPr>
        <p:grpSpPr>
          <a:xfrm rot="14451024">
            <a:off x="10144864" y="4016172"/>
            <a:ext cx="89612" cy="132564"/>
            <a:chOff x="2687372" y="3149601"/>
            <a:chExt cx="81465" cy="132564"/>
          </a:xfrm>
          <a:solidFill>
            <a:schemeClr val="bg1"/>
          </a:solidFill>
        </p:grpSpPr>
        <p:sp>
          <p:nvSpPr>
            <p:cNvPr id="7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5"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81" name="TextBox 80"/>
          <p:cNvSpPr txBox="1"/>
          <p:nvPr/>
        </p:nvSpPr>
        <p:spPr>
          <a:xfrm>
            <a:off x="10048973" y="5458523"/>
            <a:ext cx="663525" cy="138499"/>
          </a:xfrm>
          <a:prstGeom prst="rect">
            <a:avLst/>
          </a:prstGeom>
          <a:noFill/>
          <a:ln>
            <a:noFill/>
            <a:headEnd type="none" w="med" len="med"/>
            <a:tailEnd type="none" w="med" len="med"/>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38" normalizeH="0" baseline="0" noProof="0" dirty="0">
                <a:ln>
                  <a:noFill/>
                </a:ln>
                <a:solidFill>
                  <a:srgbClr val="00BCF2"/>
                </a:solidFill>
                <a:effectLst/>
                <a:uLnTx/>
                <a:uFillTx/>
                <a:ea typeface="Segoe UI" pitchFamily="34" charset="0"/>
                <a:cs typeface="Segoe UI" pitchFamily="34" charset="0"/>
              </a:rPr>
              <a:t>Citizen</a:t>
            </a:r>
          </a:p>
        </p:txBody>
      </p:sp>
      <p:grpSp>
        <p:nvGrpSpPr>
          <p:cNvPr id="62" name="Group 61"/>
          <p:cNvGrpSpPr/>
          <p:nvPr/>
        </p:nvGrpSpPr>
        <p:grpSpPr>
          <a:xfrm rot="14373908">
            <a:off x="10145689" y="6009217"/>
            <a:ext cx="89612" cy="132564"/>
            <a:chOff x="2687372" y="3149601"/>
            <a:chExt cx="81465" cy="132564"/>
          </a:xfrm>
          <a:solidFill>
            <a:schemeClr val="bg1"/>
          </a:solidFill>
        </p:grpSpPr>
        <p:sp>
          <p:nvSpPr>
            <p:cNvPr id="6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5"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82" name="Oval 58"/>
          <p:cNvSpPr/>
          <p:nvPr/>
        </p:nvSpPr>
        <p:spPr bwMode="auto">
          <a:xfrm>
            <a:off x="10304894" y="5770526"/>
            <a:ext cx="254867" cy="612042"/>
          </a:xfrm>
          <a:custGeom>
            <a:avLst/>
            <a:gdLst/>
            <a:ahLst/>
            <a:cxnLst/>
            <a:rect l="l" t="t" r="r" b="b"/>
            <a:pathLst>
              <a:path w="746519" h="1860882">
                <a:moveTo>
                  <a:pt x="167038" y="361990"/>
                </a:moveTo>
                <a:lnTo>
                  <a:pt x="576950" y="361990"/>
                </a:lnTo>
                <a:cubicBezTo>
                  <a:pt x="667803" y="361990"/>
                  <a:pt x="741454" y="429907"/>
                  <a:pt x="741454" y="513688"/>
                </a:cubicBezTo>
                <a:lnTo>
                  <a:pt x="741454" y="578527"/>
                </a:lnTo>
                <a:lnTo>
                  <a:pt x="741454" y="822418"/>
                </a:lnTo>
                <a:lnTo>
                  <a:pt x="746519" y="1035341"/>
                </a:lnTo>
                <a:cubicBezTo>
                  <a:pt x="746519" y="1060166"/>
                  <a:pt x="712757" y="1069136"/>
                  <a:pt x="695242" y="1069994"/>
                </a:cubicBezTo>
                <a:cubicBezTo>
                  <a:pt x="677728" y="1070852"/>
                  <a:pt x="641431" y="1065315"/>
                  <a:pt x="641431" y="1040490"/>
                </a:cubicBezTo>
                <a:cubicBezTo>
                  <a:pt x="641335" y="933656"/>
                  <a:pt x="641239" y="826821"/>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lnTo>
                  <a:pt x="413651" y="1183095"/>
                </a:lnTo>
                <a:cubicBezTo>
                  <a:pt x="413651" y="1171546"/>
                  <a:pt x="403499" y="1162184"/>
                  <a:pt x="390975" y="1162184"/>
                </a:cubicBezTo>
                <a:lnTo>
                  <a:pt x="353012" y="1162184"/>
                </a:lnTo>
                <a:cubicBezTo>
                  <a:pt x="340488" y="1162184"/>
                  <a:pt x="330336" y="1171546"/>
                  <a:pt x="330336" y="1183095"/>
                </a:cubicBezTo>
                <a:lnTo>
                  <a:pt x="330336" y="1204005"/>
                </a:lnTo>
                <a:lnTo>
                  <a:pt x="333806" y="1788305"/>
                </a:lnTo>
                <a:cubicBezTo>
                  <a:pt x="333806" y="1828388"/>
                  <a:pt x="298569" y="1860882"/>
                  <a:pt x="255103" y="1860882"/>
                </a:cubicBezTo>
                <a:lnTo>
                  <a:pt x="255103" y="1860881"/>
                </a:lnTo>
                <a:cubicBezTo>
                  <a:pt x="211636" y="1860881"/>
                  <a:pt x="176400" y="1828388"/>
                  <a:pt x="176400" y="1788305"/>
                </a:cubicBezTo>
                <a:lnTo>
                  <a:pt x="176134" y="724482"/>
                </a:ln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lnTo>
                  <a:pt x="2533" y="822418"/>
                </a:ln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83" name="Group 82"/>
          <p:cNvGrpSpPr/>
          <p:nvPr/>
        </p:nvGrpSpPr>
        <p:grpSpPr>
          <a:xfrm rot="20232041">
            <a:off x="10212075" y="6121050"/>
            <a:ext cx="133287" cy="96519"/>
            <a:chOff x="10301554" y="2516102"/>
            <a:chExt cx="133287" cy="96519"/>
          </a:xfrm>
        </p:grpSpPr>
        <p:grpSp>
          <p:nvGrpSpPr>
            <p:cNvPr id="84" name="Group 83"/>
            <p:cNvGrpSpPr/>
            <p:nvPr/>
          </p:nvGrpSpPr>
          <p:grpSpPr>
            <a:xfrm>
              <a:off x="10301554" y="2516102"/>
              <a:ext cx="133287" cy="96519"/>
              <a:chOff x="10019300" y="2671101"/>
              <a:chExt cx="290838" cy="210607"/>
            </a:xfrm>
          </p:grpSpPr>
          <p:sp>
            <p:nvSpPr>
              <p:cNvPr id="91" name="Rectangle 90"/>
              <p:cNvSpPr/>
              <p:nvPr/>
            </p:nvSpPr>
            <p:spPr bwMode="auto">
              <a:xfrm>
                <a:off x="10036426" y="2677535"/>
                <a:ext cx="273712" cy="201215"/>
              </a:xfrm>
              <a:prstGeom prst="rect">
                <a:avLst/>
              </a:prstGeom>
              <a:solidFill>
                <a:srgbClr val="2550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92" name="Freeform 189"/>
              <p:cNvSpPr>
                <a:spLocks noEditPoints="1"/>
              </p:cNvSpPr>
              <p:nvPr/>
            </p:nvSpPr>
            <p:spPr bwMode="auto">
              <a:xfrm>
                <a:off x="10019300" y="2671101"/>
                <a:ext cx="290838" cy="210607"/>
              </a:xfrm>
              <a:custGeom>
                <a:avLst/>
                <a:gdLst>
                  <a:gd name="T0" fmla="*/ 619 w 697"/>
                  <a:gd name="T1" fmla="*/ 77 h 504"/>
                  <a:gd name="T2" fmla="*/ 66 w 697"/>
                  <a:gd name="T3" fmla="*/ 427 h 504"/>
                  <a:gd name="T4" fmla="*/ 321 w 697"/>
                  <a:gd name="T5" fmla="*/ 39 h 504"/>
                  <a:gd name="T6" fmla="*/ 322 w 697"/>
                  <a:gd name="T7" fmla="*/ 34 h 504"/>
                  <a:gd name="T8" fmla="*/ 326 w 697"/>
                  <a:gd name="T9" fmla="*/ 24 h 504"/>
                  <a:gd name="T10" fmla="*/ 333 w 697"/>
                  <a:gd name="T11" fmla="*/ 17 h 504"/>
                  <a:gd name="T12" fmla="*/ 343 w 697"/>
                  <a:gd name="T13" fmla="*/ 13 h 504"/>
                  <a:gd name="T14" fmla="*/ 349 w 697"/>
                  <a:gd name="T15" fmla="*/ 12 h 504"/>
                  <a:gd name="T16" fmla="*/ 359 w 697"/>
                  <a:gd name="T17" fmla="*/ 14 h 504"/>
                  <a:gd name="T18" fmla="*/ 368 w 697"/>
                  <a:gd name="T19" fmla="*/ 20 h 504"/>
                  <a:gd name="T20" fmla="*/ 374 w 697"/>
                  <a:gd name="T21" fmla="*/ 29 h 504"/>
                  <a:gd name="T22" fmla="*/ 376 w 697"/>
                  <a:gd name="T23" fmla="*/ 39 h 504"/>
                  <a:gd name="T24" fmla="*/ 375 w 697"/>
                  <a:gd name="T25" fmla="*/ 45 h 504"/>
                  <a:gd name="T26" fmla="*/ 371 w 697"/>
                  <a:gd name="T27" fmla="*/ 55 h 504"/>
                  <a:gd name="T28" fmla="*/ 364 w 697"/>
                  <a:gd name="T29" fmla="*/ 62 h 504"/>
                  <a:gd name="T30" fmla="*/ 354 w 697"/>
                  <a:gd name="T31" fmla="*/ 66 h 504"/>
                  <a:gd name="T32" fmla="*/ 349 w 697"/>
                  <a:gd name="T33" fmla="*/ 67 h 504"/>
                  <a:gd name="T34" fmla="*/ 338 w 697"/>
                  <a:gd name="T35" fmla="*/ 65 h 504"/>
                  <a:gd name="T36" fmla="*/ 329 w 697"/>
                  <a:gd name="T37" fmla="*/ 59 h 504"/>
                  <a:gd name="T38" fmla="*/ 323 w 697"/>
                  <a:gd name="T39" fmla="*/ 50 h 504"/>
                  <a:gd name="T40" fmla="*/ 321 w 697"/>
                  <a:gd name="T41" fmla="*/ 39 h 504"/>
                  <a:gd name="T42" fmla="*/ 697 w 697"/>
                  <a:gd name="T43" fmla="*/ 45 h 504"/>
                  <a:gd name="T44" fmla="*/ 696 w 697"/>
                  <a:gd name="T45" fmla="*/ 36 h 504"/>
                  <a:gd name="T46" fmla="*/ 689 w 697"/>
                  <a:gd name="T47" fmla="*/ 20 h 504"/>
                  <a:gd name="T48" fmla="*/ 677 w 697"/>
                  <a:gd name="T49" fmla="*/ 8 h 504"/>
                  <a:gd name="T50" fmla="*/ 660 w 697"/>
                  <a:gd name="T51" fmla="*/ 1 h 504"/>
                  <a:gd name="T52" fmla="*/ 45 w 697"/>
                  <a:gd name="T53" fmla="*/ 0 h 504"/>
                  <a:gd name="T54" fmla="*/ 36 w 697"/>
                  <a:gd name="T55" fmla="*/ 1 h 504"/>
                  <a:gd name="T56" fmla="*/ 20 w 697"/>
                  <a:gd name="T57" fmla="*/ 8 h 504"/>
                  <a:gd name="T58" fmla="*/ 8 w 697"/>
                  <a:gd name="T59" fmla="*/ 20 h 504"/>
                  <a:gd name="T60" fmla="*/ 1 w 697"/>
                  <a:gd name="T61" fmla="*/ 36 h 504"/>
                  <a:gd name="T62" fmla="*/ 0 w 697"/>
                  <a:gd name="T63" fmla="*/ 459 h 504"/>
                  <a:gd name="T64" fmla="*/ 1 w 697"/>
                  <a:gd name="T65" fmla="*/ 468 h 504"/>
                  <a:gd name="T66" fmla="*/ 8 w 697"/>
                  <a:gd name="T67" fmla="*/ 484 h 504"/>
                  <a:gd name="T68" fmla="*/ 20 w 697"/>
                  <a:gd name="T69" fmla="*/ 497 h 504"/>
                  <a:gd name="T70" fmla="*/ 36 w 697"/>
                  <a:gd name="T71" fmla="*/ 503 h 504"/>
                  <a:gd name="T72" fmla="*/ 651 w 697"/>
                  <a:gd name="T73" fmla="*/ 504 h 504"/>
                  <a:gd name="T74" fmla="*/ 660 w 697"/>
                  <a:gd name="T75" fmla="*/ 503 h 504"/>
                  <a:gd name="T76" fmla="*/ 677 w 697"/>
                  <a:gd name="T77" fmla="*/ 497 h 504"/>
                  <a:gd name="T78" fmla="*/ 689 w 697"/>
                  <a:gd name="T79" fmla="*/ 484 h 504"/>
                  <a:gd name="T80" fmla="*/ 696 w 697"/>
                  <a:gd name="T81" fmla="*/ 468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7" h="504">
                    <a:moveTo>
                      <a:pt x="66" y="77"/>
                    </a:moveTo>
                    <a:lnTo>
                      <a:pt x="619" y="77"/>
                    </a:lnTo>
                    <a:lnTo>
                      <a:pt x="619" y="427"/>
                    </a:lnTo>
                    <a:lnTo>
                      <a:pt x="66" y="427"/>
                    </a:lnTo>
                    <a:lnTo>
                      <a:pt x="66" y="77"/>
                    </a:lnTo>
                    <a:close/>
                    <a:moveTo>
                      <a:pt x="321" y="39"/>
                    </a:moveTo>
                    <a:lnTo>
                      <a:pt x="321" y="39"/>
                    </a:lnTo>
                    <a:lnTo>
                      <a:pt x="322" y="34"/>
                    </a:lnTo>
                    <a:lnTo>
                      <a:pt x="323" y="29"/>
                    </a:lnTo>
                    <a:lnTo>
                      <a:pt x="326" y="24"/>
                    </a:lnTo>
                    <a:lnTo>
                      <a:pt x="329" y="20"/>
                    </a:lnTo>
                    <a:lnTo>
                      <a:pt x="333" y="17"/>
                    </a:lnTo>
                    <a:lnTo>
                      <a:pt x="338" y="14"/>
                    </a:lnTo>
                    <a:lnTo>
                      <a:pt x="343" y="13"/>
                    </a:lnTo>
                    <a:lnTo>
                      <a:pt x="349" y="12"/>
                    </a:lnTo>
                    <a:lnTo>
                      <a:pt x="349" y="12"/>
                    </a:lnTo>
                    <a:lnTo>
                      <a:pt x="354" y="13"/>
                    </a:lnTo>
                    <a:lnTo>
                      <a:pt x="359" y="14"/>
                    </a:lnTo>
                    <a:lnTo>
                      <a:pt x="364" y="17"/>
                    </a:lnTo>
                    <a:lnTo>
                      <a:pt x="368" y="20"/>
                    </a:lnTo>
                    <a:lnTo>
                      <a:pt x="371" y="24"/>
                    </a:lnTo>
                    <a:lnTo>
                      <a:pt x="374" y="29"/>
                    </a:lnTo>
                    <a:lnTo>
                      <a:pt x="375" y="34"/>
                    </a:lnTo>
                    <a:lnTo>
                      <a:pt x="376" y="39"/>
                    </a:lnTo>
                    <a:lnTo>
                      <a:pt x="376" y="39"/>
                    </a:lnTo>
                    <a:lnTo>
                      <a:pt x="375" y="45"/>
                    </a:lnTo>
                    <a:lnTo>
                      <a:pt x="374" y="50"/>
                    </a:lnTo>
                    <a:lnTo>
                      <a:pt x="371" y="55"/>
                    </a:lnTo>
                    <a:lnTo>
                      <a:pt x="368" y="59"/>
                    </a:lnTo>
                    <a:lnTo>
                      <a:pt x="364" y="62"/>
                    </a:lnTo>
                    <a:lnTo>
                      <a:pt x="359" y="65"/>
                    </a:lnTo>
                    <a:lnTo>
                      <a:pt x="354" y="66"/>
                    </a:lnTo>
                    <a:lnTo>
                      <a:pt x="349" y="67"/>
                    </a:lnTo>
                    <a:lnTo>
                      <a:pt x="349" y="67"/>
                    </a:lnTo>
                    <a:lnTo>
                      <a:pt x="343" y="66"/>
                    </a:lnTo>
                    <a:lnTo>
                      <a:pt x="338" y="65"/>
                    </a:lnTo>
                    <a:lnTo>
                      <a:pt x="333" y="62"/>
                    </a:lnTo>
                    <a:lnTo>
                      <a:pt x="329" y="59"/>
                    </a:lnTo>
                    <a:lnTo>
                      <a:pt x="326" y="55"/>
                    </a:lnTo>
                    <a:lnTo>
                      <a:pt x="323" y="50"/>
                    </a:lnTo>
                    <a:lnTo>
                      <a:pt x="322" y="45"/>
                    </a:lnTo>
                    <a:lnTo>
                      <a:pt x="321" y="39"/>
                    </a:lnTo>
                    <a:close/>
                    <a:moveTo>
                      <a:pt x="697" y="459"/>
                    </a:moveTo>
                    <a:lnTo>
                      <a:pt x="697" y="45"/>
                    </a:lnTo>
                    <a:lnTo>
                      <a:pt x="697" y="45"/>
                    </a:lnTo>
                    <a:lnTo>
                      <a:pt x="696" y="36"/>
                    </a:lnTo>
                    <a:lnTo>
                      <a:pt x="694" y="28"/>
                    </a:lnTo>
                    <a:lnTo>
                      <a:pt x="689" y="20"/>
                    </a:lnTo>
                    <a:lnTo>
                      <a:pt x="684" y="13"/>
                    </a:lnTo>
                    <a:lnTo>
                      <a:pt x="677" y="8"/>
                    </a:lnTo>
                    <a:lnTo>
                      <a:pt x="669" y="4"/>
                    </a:lnTo>
                    <a:lnTo>
                      <a:pt x="660" y="1"/>
                    </a:lnTo>
                    <a:lnTo>
                      <a:pt x="651" y="0"/>
                    </a:lnTo>
                    <a:lnTo>
                      <a:pt x="45" y="0"/>
                    </a:lnTo>
                    <a:lnTo>
                      <a:pt x="45" y="0"/>
                    </a:lnTo>
                    <a:lnTo>
                      <a:pt x="36" y="1"/>
                    </a:lnTo>
                    <a:lnTo>
                      <a:pt x="28" y="4"/>
                    </a:lnTo>
                    <a:lnTo>
                      <a:pt x="20" y="8"/>
                    </a:lnTo>
                    <a:lnTo>
                      <a:pt x="13" y="13"/>
                    </a:lnTo>
                    <a:lnTo>
                      <a:pt x="8" y="20"/>
                    </a:lnTo>
                    <a:lnTo>
                      <a:pt x="4" y="28"/>
                    </a:lnTo>
                    <a:lnTo>
                      <a:pt x="1" y="36"/>
                    </a:lnTo>
                    <a:lnTo>
                      <a:pt x="0" y="45"/>
                    </a:lnTo>
                    <a:lnTo>
                      <a:pt x="0" y="459"/>
                    </a:lnTo>
                    <a:lnTo>
                      <a:pt x="0" y="459"/>
                    </a:lnTo>
                    <a:lnTo>
                      <a:pt x="1" y="468"/>
                    </a:lnTo>
                    <a:lnTo>
                      <a:pt x="4" y="477"/>
                    </a:lnTo>
                    <a:lnTo>
                      <a:pt x="8" y="484"/>
                    </a:lnTo>
                    <a:lnTo>
                      <a:pt x="13" y="491"/>
                    </a:lnTo>
                    <a:lnTo>
                      <a:pt x="20" y="497"/>
                    </a:lnTo>
                    <a:lnTo>
                      <a:pt x="28" y="501"/>
                    </a:lnTo>
                    <a:lnTo>
                      <a:pt x="36" y="503"/>
                    </a:lnTo>
                    <a:lnTo>
                      <a:pt x="45" y="504"/>
                    </a:lnTo>
                    <a:lnTo>
                      <a:pt x="651" y="504"/>
                    </a:lnTo>
                    <a:lnTo>
                      <a:pt x="651" y="504"/>
                    </a:lnTo>
                    <a:lnTo>
                      <a:pt x="660" y="503"/>
                    </a:lnTo>
                    <a:lnTo>
                      <a:pt x="669" y="501"/>
                    </a:lnTo>
                    <a:lnTo>
                      <a:pt x="677" y="497"/>
                    </a:lnTo>
                    <a:lnTo>
                      <a:pt x="684" y="491"/>
                    </a:lnTo>
                    <a:lnTo>
                      <a:pt x="689" y="484"/>
                    </a:lnTo>
                    <a:lnTo>
                      <a:pt x="694" y="477"/>
                    </a:lnTo>
                    <a:lnTo>
                      <a:pt x="696" y="468"/>
                    </a:lnTo>
                    <a:lnTo>
                      <a:pt x="697" y="45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5" name="Group 84"/>
            <p:cNvGrpSpPr>
              <a:grpSpLocks noChangeAspect="1"/>
            </p:cNvGrpSpPr>
            <p:nvPr/>
          </p:nvGrpSpPr>
          <p:grpSpPr>
            <a:xfrm>
              <a:off x="10334774" y="2540004"/>
              <a:ext cx="55981" cy="48670"/>
              <a:chOff x="10907717" y="6814344"/>
              <a:chExt cx="425450" cy="369888"/>
            </a:xfrm>
            <a:solidFill>
              <a:schemeClr val="accent1"/>
            </a:solidFill>
          </p:grpSpPr>
          <p:sp>
            <p:nvSpPr>
              <p:cNvPr id="86" name="Freeform 108"/>
              <p:cNvSpPr>
                <a:spLocks/>
              </p:cNvSpPr>
              <p:nvPr/>
            </p:nvSpPr>
            <p:spPr bwMode="auto">
              <a:xfrm>
                <a:off x="11133142" y="6814344"/>
                <a:ext cx="79375" cy="312738"/>
              </a:xfrm>
              <a:custGeom>
                <a:avLst/>
                <a:gdLst>
                  <a:gd name="T0" fmla="*/ 352 w 352"/>
                  <a:gd name="T1" fmla="*/ 45 h 1377"/>
                  <a:gd name="T2" fmla="*/ 352 w 352"/>
                  <a:gd name="T3" fmla="*/ 45 h 1377"/>
                  <a:gd name="T4" fmla="*/ 352 w 352"/>
                  <a:gd name="T5" fmla="*/ 36 h 1377"/>
                  <a:gd name="T6" fmla="*/ 349 w 352"/>
                  <a:gd name="T7" fmla="*/ 28 h 1377"/>
                  <a:gd name="T8" fmla="*/ 345 w 352"/>
                  <a:gd name="T9" fmla="*/ 19 h 1377"/>
                  <a:gd name="T10" fmla="*/ 340 w 352"/>
                  <a:gd name="T11" fmla="*/ 13 h 1377"/>
                  <a:gd name="T12" fmla="*/ 333 w 352"/>
                  <a:gd name="T13" fmla="*/ 8 h 1377"/>
                  <a:gd name="T14" fmla="*/ 326 w 352"/>
                  <a:gd name="T15" fmla="*/ 4 h 1377"/>
                  <a:gd name="T16" fmla="*/ 317 w 352"/>
                  <a:gd name="T17" fmla="*/ 1 h 1377"/>
                  <a:gd name="T18" fmla="*/ 308 w 352"/>
                  <a:gd name="T19" fmla="*/ 0 h 1377"/>
                  <a:gd name="T20" fmla="*/ 44 w 352"/>
                  <a:gd name="T21" fmla="*/ 0 h 1377"/>
                  <a:gd name="T22" fmla="*/ 44 w 352"/>
                  <a:gd name="T23" fmla="*/ 0 h 1377"/>
                  <a:gd name="T24" fmla="*/ 36 w 352"/>
                  <a:gd name="T25" fmla="*/ 1 h 1377"/>
                  <a:gd name="T26" fmla="*/ 27 w 352"/>
                  <a:gd name="T27" fmla="*/ 4 h 1377"/>
                  <a:gd name="T28" fmla="*/ 20 w 352"/>
                  <a:gd name="T29" fmla="*/ 8 h 1377"/>
                  <a:gd name="T30" fmla="*/ 14 w 352"/>
                  <a:gd name="T31" fmla="*/ 13 h 1377"/>
                  <a:gd name="T32" fmla="*/ 7 w 352"/>
                  <a:gd name="T33" fmla="*/ 19 h 1377"/>
                  <a:gd name="T34" fmla="*/ 3 w 352"/>
                  <a:gd name="T35" fmla="*/ 28 h 1377"/>
                  <a:gd name="T36" fmla="*/ 1 w 352"/>
                  <a:gd name="T37" fmla="*/ 36 h 1377"/>
                  <a:gd name="T38" fmla="*/ 0 w 352"/>
                  <a:gd name="T39" fmla="*/ 45 h 1377"/>
                  <a:gd name="T40" fmla="*/ 0 w 352"/>
                  <a:gd name="T41" fmla="*/ 1377 h 1377"/>
                  <a:gd name="T42" fmla="*/ 352 w 352"/>
                  <a:gd name="T43" fmla="*/ 1377 h 1377"/>
                  <a:gd name="T44" fmla="*/ 352 w 352"/>
                  <a:gd name="T45" fmla="*/ 45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2" h="1377">
                    <a:moveTo>
                      <a:pt x="352" y="45"/>
                    </a:moveTo>
                    <a:lnTo>
                      <a:pt x="352" y="45"/>
                    </a:lnTo>
                    <a:lnTo>
                      <a:pt x="352" y="36"/>
                    </a:lnTo>
                    <a:lnTo>
                      <a:pt x="349" y="28"/>
                    </a:lnTo>
                    <a:lnTo>
                      <a:pt x="345" y="19"/>
                    </a:lnTo>
                    <a:lnTo>
                      <a:pt x="340" y="13"/>
                    </a:lnTo>
                    <a:lnTo>
                      <a:pt x="333" y="8"/>
                    </a:lnTo>
                    <a:lnTo>
                      <a:pt x="326" y="4"/>
                    </a:lnTo>
                    <a:lnTo>
                      <a:pt x="317" y="1"/>
                    </a:lnTo>
                    <a:lnTo>
                      <a:pt x="308" y="0"/>
                    </a:lnTo>
                    <a:lnTo>
                      <a:pt x="44" y="0"/>
                    </a:lnTo>
                    <a:lnTo>
                      <a:pt x="44" y="0"/>
                    </a:lnTo>
                    <a:lnTo>
                      <a:pt x="36" y="1"/>
                    </a:lnTo>
                    <a:lnTo>
                      <a:pt x="27" y="4"/>
                    </a:lnTo>
                    <a:lnTo>
                      <a:pt x="20" y="8"/>
                    </a:lnTo>
                    <a:lnTo>
                      <a:pt x="14" y="13"/>
                    </a:lnTo>
                    <a:lnTo>
                      <a:pt x="7" y="19"/>
                    </a:lnTo>
                    <a:lnTo>
                      <a:pt x="3" y="28"/>
                    </a:lnTo>
                    <a:lnTo>
                      <a:pt x="1" y="36"/>
                    </a:lnTo>
                    <a:lnTo>
                      <a:pt x="0" y="45"/>
                    </a:lnTo>
                    <a:lnTo>
                      <a:pt x="0" y="1377"/>
                    </a:lnTo>
                    <a:lnTo>
                      <a:pt x="352" y="1377"/>
                    </a:lnTo>
                    <a:lnTo>
                      <a:pt x="352"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7" name="Freeform 109"/>
              <p:cNvSpPr>
                <a:spLocks/>
              </p:cNvSpPr>
              <p:nvPr/>
            </p:nvSpPr>
            <p:spPr bwMode="auto">
              <a:xfrm>
                <a:off x="11025192" y="6976269"/>
                <a:ext cx="79375" cy="150813"/>
              </a:xfrm>
              <a:custGeom>
                <a:avLst/>
                <a:gdLst>
                  <a:gd name="T0" fmla="*/ 352 w 352"/>
                  <a:gd name="T1" fmla="*/ 45 h 664"/>
                  <a:gd name="T2" fmla="*/ 352 w 352"/>
                  <a:gd name="T3" fmla="*/ 45 h 664"/>
                  <a:gd name="T4" fmla="*/ 352 w 352"/>
                  <a:gd name="T5" fmla="*/ 36 h 664"/>
                  <a:gd name="T6" fmla="*/ 349 w 352"/>
                  <a:gd name="T7" fmla="*/ 28 h 664"/>
                  <a:gd name="T8" fmla="*/ 345 w 352"/>
                  <a:gd name="T9" fmla="*/ 19 h 664"/>
                  <a:gd name="T10" fmla="*/ 340 w 352"/>
                  <a:gd name="T11" fmla="*/ 13 h 664"/>
                  <a:gd name="T12" fmla="*/ 333 w 352"/>
                  <a:gd name="T13" fmla="*/ 8 h 664"/>
                  <a:gd name="T14" fmla="*/ 325 w 352"/>
                  <a:gd name="T15" fmla="*/ 4 h 664"/>
                  <a:gd name="T16" fmla="*/ 317 w 352"/>
                  <a:gd name="T17" fmla="*/ 1 h 664"/>
                  <a:gd name="T18" fmla="*/ 308 w 352"/>
                  <a:gd name="T19" fmla="*/ 0 h 664"/>
                  <a:gd name="T20" fmla="*/ 44 w 352"/>
                  <a:gd name="T21" fmla="*/ 0 h 664"/>
                  <a:gd name="T22" fmla="*/ 44 w 352"/>
                  <a:gd name="T23" fmla="*/ 0 h 664"/>
                  <a:gd name="T24" fmla="*/ 35 w 352"/>
                  <a:gd name="T25" fmla="*/ 1 h 664"/>
                  <a:gd name="T26" fmla="*/ 27 w 352"/>
                  <a:gd name="T27" fmla="*/ 4 h 664"/>
                  <a:gd name="T28" fmla="*/ 20 w 352"/>
                  <a:gd name="T29" fmla="*/ 8 h 664"/>
                  <a:gd name="T30" fmla="*/ 13 w 352"/>
                  <a:gd name="T31" fmla="*/ 13 h 664"/>
                  <a:gd name="T32" fmla="*/ 7 w 352"/>
                  <a:gd name="T33" fmla="*/ 19 h 664"/>
                  <a:gd name="T34" fmla="*/ 3 w 352"/>
                  <a:gd name="T35" fmla="*/ 28 h 664"/>
                  <a:gd name="T36" fmla="*/ 1 w 352"/>
                  <a:gd name="T37" fmla="*/ 36 h 664"/>
                  <a:gd name="T38" fmla="*/ 0 w 352"/>
                  <a:gd name="T39" fmla="*/ 45 h 664"/>
                  <a:gd name="T40" fmla="*/ 0 w 352"/>
                  <a:gd name="T41" fmla="*/ 664 h 664"/>
                  <a:gd name="T42" fmla="*/ 352 w 352"/>
                  <a:gd name="T43" fmla="*/ 664 h 664"/>
                  <a:gd name="T44" fmla="*/ 352 w 352"/>
                  <a:gd name="T45" fmla="*/ 45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2" h="664">
                    <a:moveTo>
                      <a:pt x="352" y="45"/>
                    </a:moveTo>
                    <a:lnTo>
                      <a:pt x="352" y="45"/>
                    </a:lnTo>
                    <a:lnTo>
                      <a:pt x="352" y="36"/>
                    </a:lnTo>
                    <a:lnTo>
                      <a:pt x="349" y="28"/>
                    </a:lnTo>
                    <a:lnTo>
                      <a:pt x="345" y="19"/>
                    </a:lnTo>
                    <a:lnTo>
                      <a:pt x="340" y="13"/>
                    </a:lnTo>
                    <a:lnTo>
                      <a:pt x="333" y="8"/>
                    </a:lnTo>
                    <a:lnTo>
                      <a:pt x="325" y="4"/>
                    </a:lnTo>
                    <a:lnTo>
                      <a:pt x="317" y="1"/>
                    </a:lnTo>
                    <a:lnTo>
                      <a:pt x="308" y="0"/>
                    </a:lnTo>
                    <a:lnTo>
                      <a:pt x="44" y="0"/>
                    </a:lnTo>
                    <a:lnTo>
                      <a:pt x="44" y="0"/>
                    </a:lnTo>
                    <a:lnTo>
                      <a:pt x="35" y="1"/>
                    </a:lnTo>
                    <a:lnTo>
                      <a:pt x="27" y="4"/>
                    </a:lnTo>
                    <a:lnTo>
                      <a:pt x="20" y="8"/>
                    </a:lnTo>
                    <a:lnTo>
                      <a:pt x="13" y="13"/>
                    </a:lnTo>
                    <a:lnTo>
                      <a:pt x="7" y="19"/>
                    </a:lnTo>
                    <a:lnTo>
                      <a:pt x="3" y="28"/>
                    </a:lnTo>
                    <a:lnTo>
                      <a:pt x="1" y="36"/>
                    </a:lnTo>
                    <a:lnTo>
                      <a:pt x="0" y="45"/>
                    </a:lnTo>
                    <a:lnTo>
                      <a:pt x="0" y="664"/>
                    </a:lnTo>
                    <a:lnTo>
                      <a:pt x="352" y="664"/>
                    </a:lnTo>
                    <a:lnTo>
                      <a:pt x="352"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8" name="Freeform 110"/>
              <p:cNvSpPr>
                <a:spLocks/>
              </p:cNvSpPr>
              <p:nvPr/>
            </p:nvSpPr>
            <p:spPr bwMode="auto">
              <a:xfrm>
                <a:off x="11241092" y="6898482"/>
                <a:ext cx="79375" cy="228600"/>
              </a:xfrm>
              <a:custGeom>
                <a:avLst/>
                <a:gdLst>
                  <a:gd name="T0" fmla="*/ 352 w 352"/>
                  <a:gd name="T1" fmla="*/ 45 h 1004"/>
                  <a:gd name="T2" fmla="*/ 352 w 352"/>
                  <a:gd name="T3" fmla="*/ 45 h 1004"/>
                  <a:gd name="T4" fmla="*/ 351 w 352"/>
                  <a:gd name="T5" fmla="*/ 36 h 1004"/>
                  <a:gd name="T6" fmla="*/ 349 w 352"/>
                  <a:gd name="T7" fmla="*/ 28 h 1004"/>
                  <a:gd name="T8" fmla="*/ 345 w 352"/>
                  <a:gd name="T9" fmla="*/ 21 h 1004"/>
                  <a:gd name="T10" fmla="*/ 340 w 352"/>
                  <a:gd name="T11" fmla="*/ 14 h 1004"/>
                  <a:gd name="T12" fmla="*/ 333 w 352"/>
                  <a:gd name="T13" fmla="*/ 8 h 1004"/>
                  <a:gd name="T14" fmla="*/ 326 w 352"/>
                  <a:gd name="T15" fmla="*/ 4 h 1004"/>
                  <a:gd name="T16" fmla="*/ 317 w 352"/>
                  <a:gd name="T17" fmla="*/ 1 h 1004"/>
                  <a:gd name="T18" fmla="*/ 308 w 352"/>
                  <a:gd name="T19" fmla="*/ 0 h 1004"/>
                  <a:gd name="T20" fmla="*/ 44 w 352"/>
                  <a:gd name="T21" fmla="*/ 0 h 1004"/>
                  <a:gd name="T22" fmla="*/ 44 w 352"/>
                  <a:gd name="T23" fmla="*/ 0 h 1004"/>
                  <a:gd name="T24" fmla="*/ 35 w 352"/>
                  <a:gd name="T25" fmla="*/ 1 h 1004"/>
                  <a:gd name="T26" fmla="*/ 27 w 352"/>
                  <a:gd name="T27" fmla="*/ 4 h 1004"/>
                  <a:gd name="T28" fmla="*/ 20 w 352"/>
                  <a:gd name="T29" fmla="*/ 8 h 1004"/>
                  <a:gd name="T30" fmla="*/ 14 w 352"/>
                  <a:gd name="T31" fmla="*/ 14 h 1004"/>
                  <a:gd name="T32" fmla="*/ 8 w 352"/>
                  <a:gd name="T33" fmla="*/ 21 h 1004"/>
                  <a:gd name="T34" fmla="*/ 3 w 352"/>
                  <a:gd name="T35" fmla="*/ 28 h 1004"/>
                  <a:gd name="T36" fmla="*/ 1 w 352"/>
                  <a:gd name="T37" fmla="*/ 36 h 1004"/>
                  <a:gd name="T38" fmla="*/ 0 w 352"/>
                  <a:gd name="T39" fmla="*/ 45 h 1004"/>
                  <a:gd name="T40" fmla="*/ 0 w 352"/>
                  <a:gd name="T41" fmla="*/ 1004 h 1004"/>
                  <a:gd name="T42" fmla="*/ 352 w 352"/>
                  <a:gd name="T43" fmla="*/ 1004 h 1004"/>
                  <a:gd name="T44" fmla="*/ 352 w 352"/>
                  <a:gd name="T45" fmla="*/ 4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2" h="1004">
                    <a:moveTo>
                      <a:pt x="352" y="45"/>
                    </a:moveTo>
                    <a:lnTo>
                      <a:pt x="352" y="45"/>
                    </a:lnTo>
                    <a:lnTo>
                      <a:pt x="351" y="36"/>
                    </a:lnTo>
                    <a:lnTo>
                      <a:pt x="349" y="28"/>
                    </a:lnTo>
                    <a:lnTo>
                      <a:pt x="345" y="21"/>
                    </a:lnTo>
                    <a:lnTo>
                      <a:pt x="340" y="14"/>
                    </a:lnTo>
                    <a:lnTo>
                      <a:pt x="333" y="8"/>
                    </a:lnTo>
                    <a:lnTo>
                      <a:pt x="326" y="4"/>
                    </a:lnTo>
                    <a:lnTo>
                      <a:pt x="317" y="1"/>
                    </a:lnTo>
                    <a:lnTo>
                      <a:pt x="308" y="0"/>
                    </a:lnTo>
                    <a:lnTo>
                      <a:pt x="44" y="0"/>
                    </a:lnTo>
                    <a:lnTo>
                      <a:pt x="44" y="0"/>
                    </a:lnTo>
                    <a:lnTo>
                      <a:pt x="35" y="1"/>
                    </a:lnTo>
                    <a:lnTo>
                      <a:pt x="27" y="4"/>
                    </a:lnTo>
                    <a:lnTo>
                      <a:pt x="20" y="8"/>
                    </a:lnTo>
                    <a:lnTo>
                      <a:pt x="14" y="14"/>
                    </a:lnTo>
                    <a:lnTo>
                      <a:pt x="8" y="21"/>
                    </a:lnTo>
                    <a:lnTo>
                      <a:pt x="3" y="28"/>
                    </a:lnTo>
                    <a:lnTo>
                      <a:pt x="1" y="36"/>
                    </a:lnTo>
                    <a:lnTo>
                      <a:pt x="0" y="45"/>
                    </a:lnTo>
                    <a:lnTo>
                      <a:pt x="0" y="1004"/>
                    </a:lnTo>
                    <a:lnTo>
                      <a:pt x="352" y="1004"/>
                    </a:lnTo>
                    <a:lnTo>
                      <a:pt x="352"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 name="Freeform 111"/>
              <p:cNvSpPr>
                <a:spLocks/>
              </p:cNvSpPr>
              <p:nvPr/>
            </p:nvSpPr>
            <p:spPr bwMode="auto">
              <a:xfrm>
                <a:off x="10917242" y="7055644"/>
                <a:ext cx="79375" cy="71438"/>
              </a:xfrm>
              <a:custGeom>
                <a:avLst/>
                <a:gdLst>
                  <a:gd name="T0" fmla="*/ 353 w 353"/>
                  <a:gd name="T1" fmla="*/ 44 h 315"/>
                  <a:gd name="T2" fmla="*/ 353 w 353"/>
                  <a:gd name="T3" fmla="*/ 44 h 315"/>
                  <a:gd name="T4" fmla="*/ 352 w 353"/>
                  <a:gd name="T5" fmla="*/ 36 h 315"/>
                  <a:gd name="T6" fmla="*/ 349 w 353"/>
                  <a:gd name="T7" fmla="*/ 27 h 315"/>
                  <a:gd name="T8" fmla="*/ 345 w 353"/>
                  <a:gd name="T9" fmla="*/ 19 h 315"/>
                  <a:gd name="T10" fmla="*/ 340 w 353"/>
                  <a:gd name="T11" fmla="*/ 13 h 315"/>
                  <a:gd name="T12" fmla="*/ 333 w 353"/>
                  <a:gd name="T13" fmla="*/ 8 h 315"/>
                  <a:gd name="T14" fmla="*/ 325 w 353"/>
                  <a:gd name="T15" fmla="*/ 4 h 315"/>
                  <a:gd name="T16" fmla="*/ 317 w 353"/>
                  <a:gd name="T17" fmla="*/ 1 h 315"/>
                  <a:gd name="T18" fmla="*/ 308 w 353"/>
                  <a:gd name="T19" fmla="*/ 0 h 315"/>
                  <a:gd name="T20" fmla="*/ 44 w 353"/>
                  <a:gd name="T21" fmla="*/ 0 h 315"/>
                  <a:gd name="T22" fmla="*/ 44 w 353"/>
                  <a:gd name="T23" fmla="*/ 0 h 315"/>
                  <a:gd name="T24" fmla="*/ 36 w 353"/>
                  <a:gd name="T25" fmla="*/ 1 h 315"/>
                  <a:gd name="T26" fmla="*/ 27 w 353"/>
                  <a:gd name="T27" fmla="*/ 4 h 315"/>
                  <a:gd name="T28" fmla="*/ 20 w 353"/>
                  <a:gd name="T29" fmla="*/ 8 h 315"/>
                  <a:gd name="T30" fmla="*/ 13 w 353"/>
                  <a:gd name="T31" fmla="*/ 13 h 315"/>
                  <a:gd name="T32" fmla="*/ 7 w 353"/>
                  <a:gd name="T33" fmla="*/ 19 h 315"/>
                  <a:gd name="T34" fmla="*/ 3 w 353"/>
                  <a:gd name="T35" fmla="*/ 27 h 315"/>
                  <a:gd name="T36" fmla="*/ 1 w 353"/>
                  <a:gd name="T37" fmla="*/ 36 h 315"/>
                  <a:gd name="T38" fmla="*/ 0 w 353"/>
                  <a:gd name="T39" fmla="*/ 44 h 315"/>
                  <a:gd name="T40" fmla="*/ 0 w 353"/>
                  <a:gd name="T41" fmla="*/ 315 h 315"/>
                  <a:gd name="T42" fmla="*/ 353 w 353"/>
                  <a:gd name="T43" fmla="*/ 315 h 315"/>
                  <a:gd name="T44" fmla="*/ 353 w 353"/>
                  <a:gd name="T45" fmla="*/ 4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3" h="315">
                    <a:moveTo>
                      <a:pt x="353" y="44"/>
                    </a:moveTo>
                    <a:lnTo>
                      <a:pt x="353" y="44"/>
                    </a:lnTo>
                    <a:lnTo>
                      <a:pt x="352" y="36"/>
                    </a:lnTo>
                    <a:lnTo>
                      <a:pt x="349" y="27"/>
                    </a:lnTo>
                    <a:lnTo>
                      <a:pt x="345" y="19"/>
                    </a:lnTo>
                    <a:lnTo>
                      <a:pt x="340" y="13"/>
                    </a:lnTo>
                    <a:lnTo>
                      <a:pt x="333" y="8"/>
                    </a:lnTo>
                    <a:lnTo>
                      <a:pt x="325" y="4"/>
                    </a:lnTo>
                    <a:lnTo>
                      <a:pt x="317" y="1"/>
                    </a:lnTo>
                    <a:lnTo>
                      <a:pt x="308" y="0"/>
                    </a:lnTo>
                    <a:lnTo>
                      <a:pt x="44" y="0"/>
                    </a:lnTo>
                    <a:lnTo>
                      <a:pt x="44" y="0"/>
                    </a:lnTo>
                    <a:lnTo>
                      <a:pt x="36" y="1"/>
                    </a:lnTo>
                    <a:lnTo>
                      <a:pt x="27" y="4"/>
                    </a:lnTo>
                    <a:lnTo>
                      <a:pt x="20" y="8"/>
                    </a:lnTo>
                    <a:lnTo>
                      <a:pt x="13" y="13"/>
                    </a:lnTo>
                    <a:lnTo>
                      <a:pt x="7" y="19"/>
                    </a:lnTo>
                    <a:lnTo>
                      <a:pt x="3" y="27"/>
                    </a:lnTo>
                    <a:lnTo>
                      <a:pt x="1" y="36"/>
                    </a:lnTo>
                    <a:lnTo>
                      <a:pt x="0" y="44"/>
                    </a:lnTo>
                    <a:lnTo>
                      <a:pt x="0" y="315"/>
                    </a:lnTo>
                    <a:lnTo>
                      <a:pt x="353" y="315"/>
                    </a:lnTo>
                    <a:lnTo>
                      <a:pt x="353"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0" name="Freeform 112"/>
              <p:cNvSpPr>
                <a:spLocks/>
              </p:cNvSpPr>
              <p:nvPr/>
            </p:nvSpPr>
            <p:spPr bwMode="auto">
              <a:xfrm>
                <a:off x="10907717" y="7152482"/>
                <a:ext cx="425450" cy="31750"/>
              </a:xfrm>
              <a:custGeom>
                <a:avLst/>
                <a:gdLst>
                  <a:gd name="T0" fmla="*/ 1852 w 1876"/>
                  <a:gd name="T1" fmla="*/ 0 h 143"/>
                  <a:gd name="T2" fmla="*/ 23 w 1876"/>
                  <a:gd name="T3" fmla="*/ 0 h 143"/>
                  <a:gd name="T4" fmla="*/ 23 w 1876"/>
                  <a:gd name="T5" fmla="*/ 0 h 143"/>
                  <a:gd name="T6" fmla="*/ 18 w 1876"/>
                  <a:gd name="T7" fmla="*/ 0 h 143"/>
                  <a:gd name="T8" fmla="*/ 13 w 1876"/>
                  <a:gd name="T9" fmla="*/ 1 h 143"/>
                  <a:gd name="T10" fmla="*/ 10 w 1876"/>
                  <a:gd name="T11" fmla="*/ 3 h 143"/>
                  <a:gd name="T12" fmla="*/ 6 w 1876"/>
                  <a:gd name="T13" fmla="*/ 7 h 143"/>
                  <a:gd name="T14" fmla="*/ 3 w 1876"/>
                  <a:gd name="T15" fmla="*/ 10 h 143"/>
                  <a:gd name="T16" fmla="*/ 1 w 1876"/>
                  <a:gd name="T17" fmla="*/ 14 h 143"/>
                  <a:gd name="T18" fmla="*/ 0 w 1876"/>
                  <a:gd name="T19" fmla="*/ 18 h 143"/>
                  <a:gd name="T20" fmla="*/ 0 w 1876"/>
                  <a:gd name="T21" fmla="*/ 22 h 143"/>
                  <a:gd name="T22" fmla="*/ 0 w 1876"/>
                  <a:gd name="T23" fmla="*/ 120 h 143"/>
                  <a:gd name="T24" fmla="*/ 0 w 1876"/>
                  <a:gd name="T25" fmla="*/ 120 h 143"/>
                  <a:gd name="T26" fmla="*/ 0 w 1876"/>
                  <a:gd name="T27" fmla="*/ 125 h 143"/>
                  <a:gd name="T28" fmla="*/ 1 w 1876"/>
                  <a:gd name="T29" fmla="*/ 129 h 143"/>
                  <a:gd name="T30" fmla="*/ 3 w 1876"/>
                  <a:gd name="T31" fmla="*/ 133 h 143"/>
                  <a:gd name="T32" fmla="*/ 6 w 1876"/>
                  <a:gd name="T33" fmla="*/ 136 h 143"/>
                  <a:gd name="T34" fmla="*/ 10 w 1876"/>
                  <a:gd name="T35" fmla="*/ 139 h 143"/>
                  <a:gd name="T36" fmla="*/ 13 w 1876"/>
                  <a:gd name="T37" fmla="*/ 141 h 143"/>
                  <a:gd name="T38" fmla="*/ 18 w 1876"/>
                  <a:gd name="T39" fmla="*/ 142 h 143"/>
                  <a:gd name="T40" fmla="*/ 23 w 1876"/>
                  <a:gd name="T41" fmla="*/ 143 h 143"/>
                  <a:gd name="T42" fmla="*/ 1852 w 1876"/>
                  <a:gd name="T43" fmla="*/ 143 h 143"/>
                  <a:gd name="T44" fmla="*/ 1852 w 1876"/>
                  <a:gd name="T45" fmla="*/ 143 h 143"/>
                  <a:gd name="T46" fmla="*/ 1857 w 1876"/>
                  <a:gd name="T47" fmla="*/ 142 h 143"/>
                  <a:gd name="T48" fmla="*/ 1861 w 1876"/>
                  <a:gd name="T49" fmla="*/ 141 h 143"/>
                  <a:gd name="T50" fmla="*/ 1865 w 1876"/>
                  <a:gd name="T51" fmla="*/ 139 h 143"/>
                  <a:gd name="T52" fmla="*/ 1868 w 1876"/>
                  <a:gd name="T53" fmla="*/ 136 h 143"/>
                  <a:gd name="T54" fmla="*/ 1872 w 1876"/>
                  <a:gd name="T55" fmla="*/ 133 h 143"/>
                  <a:gd name="T56" fmla="*/ 1874 w 1876"/>
                  <a:gd name="T57" fmla="*/ 129 h 143"/>
                  <a:gd name="T58" fmla="*/ 1875 w 1876"/>
                  <a:gd name="T59" fmla="*/ 125 h 143"/>
                  <a:gd name="T60" fmla="*/ 1876 w 1876"/>
                  <a:gd name="T61" fmla="*/ 120 h 143"/>
                  <a:gd name="T62" fmla="*/ 1876 w 1876"/>
                  <a:gd name="T63" fmla="*/ 22 h 143"/>
                  <a:gd name="T64" fmla="*/ 1876 w 1876"/>
                  <a:gd name="T65" fmla="*/ 22 h 143"/>
                  <a:gd name="T66" fmla="*/ 1875 w 1876"/>
                  <a:gd name="T67" fmla="*/ 18 h 143"/>
                  <a:gd name="T68" fmla="*/ 1874 w 1876"/>
                  <a:gd name="T69" fmla="*/ 14 h 143"/>
                  <a:gd name="T70" fmla="*/ 1872 w 1876"/>
                  <a:gd name="T71" fmla="*/ 10 h 143"/>
                  <a:gd name="T72" fmla="*/ 1868 w 1876"/>
                  <a:gd name="T73" fmla="*/ 7 h 143"/>
                  <a:gd name="T74" fmla="*/ 1865 w 1876"/>
                  <a:gd name="T75" fmla="*/ 3 h 143"/>
                  <a:gd name="T76" fmla="*/ 1861 w 1876"/>
                  <a:gd name="T77" fmla="*/ 1 h 143"/>
                  <a:gd name="T78" fmla="*/ 1857 w 1876"/>
                  <a:gd name="T79" fmla="*/ 0 h 143"/>
                  <a:gd name="T80" fmla="*/ 1852 w 1876"/>
                  <a:gd name="T81" fmla="*/ 0 h 143"/>
                  <a:gd name="T82" fmla="*/ 1852 w 1876"/>
                  <a:gd name="T8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76" h="143">
                    <a:moveTo>
                      <a:pt x="1852" y="0"/>
                    </a:moveTo>
                    <a:lnTo>
                      <a:pt x="23" y="0"/>
                    </a:lnTo>
                    <a:lnTo>
                      <a:pt x="23" y="0"/>
                    </a:lnTo>
                    <a:lnTo>
                      <a:pt x="18" y="0"/>
                    </a:lnTo>
                    <a:lnTo>
                      <a:pt x="13" y="1"/>
                    </a:lnTo>
                    <a:lnTo>
                      <a:pt x="10" y="3"/>
                    </a:lnTo>
                    <a:lnTo>
                      <a:pt x="6" y="7"/>
                    </a:lnTo>
                    <a:lnTo>
                      <a:pt x="3" y="10"/>
                    </a:lnTo>
                    <a:lnTo>
                      <a:pt x="1" y="14"/>
                    </a:lnTo>
                    <a:lnTo>
                      <a:pt x="0" y="18"/>
                    </a:lnTo>
                    <a:lnTo>
                      <a:pt x="0" y="22"/>
                    </a:lnTo>
                    <a:lnTo>
                      <a:pt x="0" y="120"/>
                    </a:lnTo>
                    <a:lnTo>
                      <a:pt x="0" y="120"/>
                    </a:lnTo>
                    <a:lnTo>
                      <a:pt x="0" y="125"/>
                    </a:lnTo>
                    <a:lnTo>
                      <a:pt x="1" y="129"/>
                    </a:lnTo>
                    <a:lnTo>
                      <a:pt x="3" y="133"/>
                    </a:lnTo>
                    <a:lnTo>
                      <a:pt x="6" y="136"/>
                    </a:lnTo>
                    <a:lnTo>
                      <a:pt x="10" y="139"/>
                    </a:lnTo>
                    <a:lnTo>
                      <a:pt x="13" y="141"/>
                    </a:lnTo>
                    <a:lnTo>
                      <a:pt x="18" y="142"/>
                    </a:lnTo>
                    <a:lnTo>
                      <a:pt x="23" y="143"/>
                    </a:lnTo>
                    <a:lnTo>
                      <a:pt x="1852" y="143"/>
                    </a:lnTo>
                    <a:lnTo>
                      <a:pt x="1852" y="143"/>
                    </a:lnTo>
                    <a:lnTo>
                      <a:pt x="1857" y="142"/>
                    </a:lnTo>
                    <a:lnTo>
                      <a:pt x="1861" y="141"/>
                    </a:lnTo>
                    <a:lnTo>
                      <a:pt x="1865" y="139"/>
                    </a:lnTo>
                    <a:lnTo>
                      <a:pt x="1868" y="136"/>
                    </a:lnTo>
                    <a:lnTo>
                      <a:pt x="1872" y="133"/>
                    </a:lnTo>
                    <a:lnTo>
                      <a:pt x="1874" y="129"/>
                    </a:lnTo>
                    <a:lnTo>
                      <a:pt x="1875" y="125"/>
                    </a:lnTo>
                    <a:lnTo>
                      <a:pt x="1876" y="120"/>
                    </a:lnTo>
                    <a:lnTo>
                      <a:pt x="1876" y="22"/>
                    </a:lnTo>
                    <a:lnTo>
                      <a:pt x="1876" y="22"/>
                    </a:lnTo>
                    <a:lnTo>
                      <a:pt x="1875" y="18"/>
                    </a:lnTo>
                    <a:lnTo>
                      <a:pt x="1874" y="14"/>
                    </a:lnTo>
                    <a:lnTo>
                      <a:pt x="1872" y="10"/>
                    </a:lnTo>
                    <a:lnTo>
                      <a:pt x="1868" y="7"/>
                    </a:lnTo>
                    <a:lnTo>
                      <a:pt x="1865" y="3"/>
                    </a:lnTo>
                    <a:lnTo>
                      <a:pt x="1861" y="1"/>
                    </a:lnTo>
                    <a:lnTo>
                      <a:pt x="1857" y="0"/>
                    </a:lnTo>
                    <a:lnTo>
                      <a:pt x="1852" y="0"/>
                    </a:lnTo>
                    <a:lnTo>
                      <a:pt x="18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96" name="Group 95"/>
          <p:cNvGrpSpPr/>
          <p:nvPr/>
        </p:nvGrpSpPr>
        <p:grpSpPr>
          <a:xfrm>
            <a:off x="10660780" y="4875705"/>
            <a:ext cx="1120615" cy="1449897"/>
            <a:chOff x="831806" y="3541921"/>
            <a:chExt cx="1002800" cy="1261872"/>
          </a:xfrm>
        </p:grpSpPr>
        <p:sp>
          <p:nvSpPr>
            <p:cNvPr id="97" name="Rectangle 96"/>
            <p:cNvSpPr/>
            <p:nvPr/>
          </p:nvSpPr>
          <p:spPr bwMode="auto">
            <a:xfrm>
              <a:off x="831806" y="3541921"/>
              <a:ext cx="1002800"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Provide citizens with better transit experiences— from supplying information on digital signs to offering services on citizens’ mobile devices</a:t>
              </a:r>
            </a:p>
          </p:txBody>
        </p:sp>
        <p:cxnSp>
          <p:nvCxnSpPr>
            <p:cNvPr id="98" name="Straight Connector 97"/>
            <p:cNvCxnSpPr/>
            <p:nvPr/>
          </p:nvCxnSpPr>
          <p:spPr>
            <a:xfrm flipV="1">
              <a:off x="831806" y="3541921"/>
              <a:ext cx="0" cy="1261872"/>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99" name="Group 98"/>
          <p:cNvGrpSpPr/>
          <p:nvPr/>
        </p:nvGrpSpPr>
        <p:grpSpPr>
          <a:xfrm>
            <a:off x="10660780" y="1352467"/>
            <a:ext cx="1120615" cy="1449897"/>
            <a:chOff x="831806" y="3541921"/>
            <a:chExt cx="1002800" cy="1261872"/>
          </a:xfrm>
        </p:grpSpPr>
        <p:sp>
          <p:nvSpPr>
            <p:cNvPr id="100" name="Rectangle 99"/>
            <p:cNvSpPr/>
            <p:nvPr/>
          </p:nvSpPr>
          <p:spPr bwMode="auto">
            <a:xfrm>
              <a:off x="831806" y="3541921"/>
              <a:ext cx="1002800"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Ease congestion to save wasted hours and dollars, and increase environmental awareness for cleaner air and a smaller carbon footprint</a:t>
              </a:r>
            </a:p>
          </p:txBody>
        </p:sp>
        <p:cxnSp>
          <p:nvCxnSpPr>
            <p:cNvPr id="101" name="Straight Connector 100"/>
            <p:cNvCxnSpPr/>
            <p:nvPr/>
          </p:nvCxnSpPr>
          <p:spPr>
            <a:xfrm flipV="1">
              <a:off x="831806" y="3541921"/>
              <a:ext cx="0" cy="1261872"/>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495" name="Group 494"/>
          <p:cNvGrpSpPr/>
          <p:nvPr/>
        </p:nvGrpSpPr>
        <p:grpSpPr>
          <a:xfrm>
            <a:off x="258800" y="4550935"/>
            <a:ext cx="9606308" cy="31011"/>
            <a:chOff x="-2932012" y="9010561"/>
            <a:chExt cx="7096145" cy="17463"/>
          </a:xfrm>
          <a:solidFill>
            <a:schemeClr val="tx1">
              <a:lumMod val="50000"/>
              <a:lumOff val="50000"/>
            </a:schemeClr>
          </a:solidFill>
        </p:grpSpPr>
        <p:sp>
          <p:nvSpPr>
            <p:cNvPr id="1132" name="Rectangle 135"/>
            <p:cNvSpPr>
              <a:spLocks noChangeArrowheads="1"/>
            </p:cNvSpPr>
            <p:nvPr/>
          </p:nvSpPr>
          <p:spPr bwMode="auto">
            <a:xfrm>
              <a:off x="-2932012" y="9010561"/>
              <a:ext cx="231776"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3" name="Rectangle 136"/>
            <p:cNvSpPr>
              <a:spLocks noChangeArrowheads="1"/>
            </p:cNvSpPr>
            <p:nvPr/>
          </p:nvSpPr>
          <p:spPr bwMode="auto">
            <a:xfrm>
              <a:off x="-2573236" y="9010561"/>
              <a:ext cx="420689"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4" name="Rectangle 137"/>
            <p:cNvSpPr>
              <a:spLocks noChangeArrowheads="1"/>
            </p:cNvSpPr>
            <p:nvPr/>
          </p:nvSpPr>
          <p:spPr bwMode="auto">
            <a:xfrm>
              <a:off x="-2025547" y="9010561"/>
              <a:ext cx="422276"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5" name="Rectangle 138"/>
            <p:cNvSpPr>
              <a:spLocks noChangeArrowheads="1"/>
            </p:cNvSpPr>
            <p:nvPr/>
          </p:nvSpPr>
          <p:spPr bwMode="auto">
            <a:xfrm>
              <a:off x="-1477858" y="9010561"/>
              <a:ext cx="422276"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6" name="Rectangle 139"/>
            <p:cNvSpPr>
              <a:spLocks noChangeArrowheads="1"/>
            </p:cNvSpPr>
            <p:nvPr/>
          </p:nvSpPr>
          <p:spPr bwMode="auto">
            <a:xfrm>
              <a:off x="-928582" y="9010561"/>
              <a:ext cx="420689"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7" name="Rectangle 140"/>
            <p:cNvSpPr>
              <a:spLocks noChangeArrowheads="1"/>
            </p:cNvSpPr>
            <p:nvPr/>
          </p:nvSpPr>
          <p:spPr bwMode="auto">
            <a:xfrm>
              <a:off x="-380893" y="9010561"/>
              <a:ext cx="422276"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8" name="Rectangle 141"/>
            <p:cNvSpPr>
              <a:spLocks noChangeArrowheads="1"/>
            </p:cNvSpPr>
            <p:nvPr/>
          </p:nvSpPr>
          <p:spPr bwMode="auto">
            <a:xfrm>
              <a:off x="166797" y="9010561"/>
              <a:ext cx="422276"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9" name="Rectangle 142"/>
            <p:cNvSpPr>
              <a:spLocks noChangeArrowheads="1"/>
            </p:cNvSpPr>
            <p:nvPr/>
          </p:nvSpPr>
          <p:spPr bwMode="auto">
            <a:xfrm>
              <a:off x="716073" y="9010561"/>
              <a:ext cx="420689"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0" name="Rectangle 143"/>
            <p:cNvSpPr>
              <a:spLocks noChangeArrowheads="1"/>
            </p:cNvSpPr>
            <p:nvPr/>
          </p:nvSpPr>
          <p:spPr bwMode="auto">
            <a:xfrm>
              <a:off x="1263762" y="9010561"/>
              <a:ext cx="420689"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1" name="Rectangle 144"/>
            <p:cNvSpPr>
              <a:spLocks noChangeArrowheads="1"/>
            </p:cNvSpPr>
            <p:nvPr/>
          </p:nvSpPr>
          <p:spPr bwMode="auto">
            <a:xfrm>
              <a:off x="1811451" y="9010561"/>
              <a:ext cx="422276"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2" name="Rectangle 145"/>
            <p:cNvSpPr>
              <a:spLocks noChangeArrowheads="1"/>
            </p:cNvSpPr>
            <p:nvPr/>
          </p:nvSpPr>
          <p:spPr bwMode="auto">
            <a:xfrm>
              <a:off x="2359140" y="9010561"/>
              <a:ext cx="422276"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3" name="Rectangle 146"/>
            <p:cNvSpPr>
              <a:spLocks noChangeArrowheads="1"/>
            </p:cNvSpPr>
            <p:nvPr/>
          </p:nvSpPr>
          <p:spPr bwMode="auto">
            <a:xfrm>
              <a:off x="2908417" y="9010561"/>
              <a:ext cx="420689"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4" name="Rectangle 147"/>
            <p:cNvSpPr>
              <a:spLocks noChangeArrowheads="1"/>
            </p:cNvSpPr>
            <p:nvPr/>
          </p:nvSpPr>
          <p:spPr bwMode="auto">
            <a:xfrm>
              <a:off x="3456106" y="9010561"/>
              <a:ext cx="422276"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5" name="Rectangle 148"/>
            <p:cNvSpPr>
              <a:spLocks noChangeArrowheads="1"/>
            </p:cNvSpPr>
            <p:nvPr/>
          </p:nvSpPr>
          <p:spPr bwMode="auto">
            <a:xfrm>
              <a:off x="4003795" y="9010561"/>
              <a:ext cx="1603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14" name="Freeform 117"/>
          <p:cNvSpPr>
            <a:spLocks/>
          </p:cNvSpPr>
          <p:nvPr/>
        </p:nvSpPr>
        <p:spPr bwMode="auto">
          <a:xfrm>
            <a:off x="6028061" y="1481328"/>
            <a:ext cx="3845515" cy="741364"/>
          </a:xfrm>
          <a:custGeom>
            <a:avLst/>
            <a:gdLst>
              <a:gd name="T0" fmla="*/ 5419 w 5419"/>
              <a:gd name="T1" fmla="*/ 1399 h 1399"/>
              <a:gd name="T2" fmla="*/ 5398 w 5419"/>
              <a:gd name="T3" fmla="*/ 1395 h 1399"/>
              <a:gd name="T4" fmla="*/ 5368 w 5419"/>
              <a:gd name="T5" fmla="*/ 1380 h 1399"/>
              <a:gd name="T6" fmla="*/ 5331 w 5419"/>
              <a:gd name="T7" fmla="*/ 1356 h 1399"/>
              <a:gd name="T8" fmla="*/ 5239 w 5419"/>
              <a:gd name="T9" fmla="*/ 1283 h 1399"/>
              <a:gd name="T10" fmla="*/ 5130 w 5419"/>
              <a:gd name="T11" fmla="*/ 1189 h 1399"/>
              <a:gd name="T12" fmla="*/ 4963 w 5419"/>
              <a:gd name="T13" fmla="*/ 1034 h 1399"/>
              <a:gd name="T14" fmla="*/ 4785 w 5419"/>
              <a:gd name="T15" fmla="*/ 862 h 1399"/>
              <a:gd name="T16" fmla="*/ 4739 w 5419"/>
              <a:gd name="T17" fmla="*/ 818 h 1399"/>
              <a:gd name="T18" fmla="*/ 4487 w 5419"/>
              <a:gd name="T19" fmla="*/ 604 h 1399"/>
              <a:gd name="T20" fmla="*/ 4316 w 5419"/>
              <a:gd name="T21" fmla="*/ 465 h 1399"/>
              <a:gd name="T22" fmla="*/ 4139 w 5419"/>
              <a:gd name="T23" fmla="*/ 333 h 1399"/>
              <a:gd name="T24" fmla="*/ 4049 w 5419"/>
              <a:gd name="T25" fmla="*/ 270 h 1399"/>
              <a:gd name="T26" fmla="*/ 3951 w 5419"/>
              <a:gd name="T27" fmla="*/ 208 h 1399"/>
              <a:gd name="T28" fmla="*/ 3856 w 5419"/>
              <a:gd name="T29" fmla="*/ 155 h 1399"/>
              <a:gd name="T30" fmla="*/ 3763 w 5419"/>
              <a:gd name="T31" fmla="*/ 109 h 1399"/>
              <a:gd name="T32" fmla="*/ 3671 w 5419"/>
              <a:gd name="T33" fmla="*/ 72 h 1399"/>
              <a:gd name="T34" fmla="*/ 3580 w 5419"/>
              <a:gd name="T35" fmla="*/ 43 h 1399"/>
              <a:gd name="T36" fmla="*/ 3489 w 5419"/>
              <a:gd name="T37" fmla="*/ 21 h 1399"/>
              <a:gd name="T38" fmla="*/ 3399 w 5419"/>
              <a:gd name="T39" fmla="*/ 8 h 1399"/>
              <a:gd name="T40" fmla="*/ 3310 w 5419"/>
              <a:gd name="T41" fmla="*/ 1 h 1399"/>
              <a:gd name="T42" fmla="*/ 3219 w 5419"/>
              <a:gd name="T43" fmla="*/ 1 h 1399"/>
              <a:gd name="T44" fmla="*/ 3128 w 5419"/>
              <a:gd name="T45" fmla="*/ 9 h 1399"/>
              <a:gd name="T46" fmla="*/ 3037 w 5419"/>
              <a:gd name="T47" fmla="*/ 24 h 1399"/>
              <a:gd name="T48" fmla="*/ 2944 w 5419"/>
              <a:gd name="T49" fmla="*/ 45 h 1399"/>
              <a:gd name="T50" fmla="*/ 2847 w 5419"/>
              <a:gd name="T51" fmla="*/ 73 h 1399"/>
              <a:gd name="T52" fmla="*/ 2750 w 5419"/>
              <a:gd name="T53" fmla="*/ 109 h 1399"/>
              <a:gd name="T54" fmla="*/ 2651 w 5419"/>
              <a:gd name="T55" fmla="*/ 150 h 1399"/>
              <a:gd name="T56" fmla="*/ 2548 w 5419"/>
              <a:gd name="T57" fmla="*/ 198 h 1399"/>
              <a:gd name="T58" fmla="*/ 2412 w 5419"/>
              <a:gd name="T59" fmla="*/ 264 h 1399"/>
              <a:gd name="T60" fmla="*/ 2138 w 5419"/>
              <a:gd name="T61" fmla="*/ 402 h 1399"/>
              <a:gd name="T62" fmla="*/ 1861 w 5419"/>
              <a:gd name="T63" fmla="*/ 537 h 1399"/>
              <a:gd name="T64" fmla="*/ 1722 w 5419"/>
              <a:gd name="T65" fmla="*/ 600 h 1399"/>
              <a:gd name="T66" fmla="*/ 1580 w 5419"/>
              <a:gd name="T67" fmla="*/ 657 h 1399"/>
              <a:gd name="T68" fmla="*/ 1439 w 5419"/>
              <a:gd name="T69" fmla="*/ 710 h 1399"/>
              <a:gd name="T70" fmla="*/ 1394 w 5419"/>
              <a:gd name="T71" fmla="*/ 724 h 1399"/>
              <a:gd name="T72" fmla="*/ 1259 w 5419"/>
              <a:gd name="T73" fmla="*/ 764 h 1399"/>
              <a:gd name="T74" fmla="*/ 1076 w 5419"/>
              <a:gd name="T75" fmla="*/ 816 h 1399"/>
              <a:gd name="T76" fmla="*/ 940 w 5419"/>
              <a:gd name="T77" fmla="*/ 861 h 1399"/>
              <a:gd name="T78" fmla="*/ 852 w 5419"/>
              <a:gd name="T79" fmla="*/ 895 h 1399"/>
              <a:gd name="T80" fmla="*/ 768 w 5419"/>
              <a:gd name="T81" fmla="*/ 934 h 1399"/>
              <a:gd name="T82" fmla="*/ 726 w 5419"/>
              <a:gd name="T83" fmla="*/ 955 h 1399"/>
              <a:gd name="T84" fmla="*/ 659 w 5419"/>
              <a:gd name="T85" fmla="*/ 985 h 1399"/>
              <a:gd name="T86" fmla="*/ 560 w 5419"/>
              <a:gd name="T87" fmla="*/ 1021 h 1399"/>
              <a:gd name="T88" fmla="*/ 317 w 5419"/>
              <a:gd name="T89" fmla="*/ 1098 h 1399"/>
              <a:gd name="T90" fmla="*/ 97 w 5419"/>
              <a:gd name="T91" fmla="*/ 1164 h 1399"/>
              <a:gd name="T92" fmla="*/ 449 w 5419"/>
              <a:gd name="T93" fmla="*/ 1302 h 1399"/>
              <a:gd name="T94" fmla="*/ 1705 w 5419"/>
              <a:gd name="T95" fmla="*/ 1340 h 1399"/>
              <a:gd name="T96" fmla="*/ 2903 w 5419"/>
              <a:gd name="T97" fmla="*/ 1375 h 1399"/>
              <a:gd name="T98" fmla="*/ 3052 w 5419"/>
              <a:gd name="T99" fmla="*/ 1379 h 1399"/>
              <a:gd name="T100" fmla="*/ 4803 w 5419"/>
              <a:gd name="T101" fmla="*/ 1379 h 1399"/>
              <a:gd name="T102" fmla="*/ 5419 w 5419"/>
              <a:gd name="T103" fmla="*/ 1399 h 1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19" h="1399">
                <a:moveTo>
                  <a:pt x="5419" y="1399"/>
                </a:moveTo>
                <a:lnTo>
                  <a:pt x="5419" y="1399"/>
                </a:lnTo>
                <a:lnTo>
                  <a:pt x="5410" y="1399"/>
                </a:lnTo>
                <a:lnTo>
                  <a:pt x="5398" y="1395"/>
                </a:lnTo>
                <a:lnTo>
                  <a:pt x="5384" y="1390"/>
                </a:lnTo>
                <a:lnTo>
                  <a:pt x="5368" y="1380"/>
                </a:lnTo>
                <a:lnTo>
                  <a:pt x="5351" y="1370"/>
                </a:lnTo>
                <a:lnTo>
                  <a:pt x="5331" y="1356"/>
                </a:lnTo>
                <a:lnTo>
                  <a:pt x="5287" y="1323"/>
                </a:lnTo>
                <a:lnTo>
                  <a:pt x="5239" y="1283"/>
                </a:lnTo>
                <a:lnTo>
                  <a:pt x="5185" y="1239"/>
                </a:lnTo>
                <a:lnTo>
                  <a:pt x="5130" y="1189"/>
                </a:lnTo>
                <a:lnTo>
                  <a:pt x="5074" y="1139"/>
                </a:lnTo>
                <a:lnTo>
                  <a:pt x="4963" y="1034"/>
                </a:lnTo>
                <a:lnTo>
                  <a:pt x="4864" y="938"/>
                </a:lnTo>
                <a:lnTo>
                  <a:pt x="4785" y="862"/>
                </a:lnTo>
                <a:lnTo>
                  <a:pt x="4739" y="818"/>
                </a:lnTo>
                <a:lnTo>
                  <a:pt x="4739" y="818"/>
                </a:lnTo>
                <a:lnTo>
                  <a:pt x="4572" y="675"/>
                </a:lnTo>
                <a:lnTo>
                  <a:pt x="4487" y="604"/>
                </a:lnTo>
                <a:lnTo>
                  <a:pt x="4402" y="533"/>
                </a:lnTo>
                <a:lnTo>
                  <a:pt x="4316" y="465"/>
                </a:lnTo>
                <a:lnTo>
                  <a:pt x="4228" y="398"/>
                </a:lnTo>
                <a:lnTo>
                  <a:pt x="4139" y="333"/>
                </a:lnTo>
                <a:lnTo>
                  <a:pt x="4049" y="270"/>
                </a:lnTo>
                <a:lnTo>
                  <a:pt x="4049" y="270"/>
                </a:lnTo>
                <a:lnTo>
                  <a:pt x="3999" y="238"/>
                </a:lnTo>
                <a:lnTo>
                  <a:pt x="3951" y="208"/>
                </a:lnTo>
                <a:lnTo>
                  <a:pt x="3903" y="180"/>
                </a:lnTo>
                <a:lnTo>
                  <a:pt x="3856" y="155"/>
                </a:lnTo>
                <a:lnTo>
                  <a:pt x="3810" y="131"/>
                </a:lnTo>
                <a:lnTo>
                  <a:pt x="3763" y="109"/>
                </a:lnTo>
                <a:lnTo>
                  <a:pt x="3716" y="89"/>
                </a:lnTo>
                <a:lnTo>
                  <a:pt x="3671" y="72"/>
                </a:lnTo>
                <a:lnTo>
                  <a:pt x="3625" y="57"/>
                </a:lnTo>
                <a:lnTo>
                  <a:pt x="3580" y="43"/>
                </a:lnTo>
                <a:lnTo>
                  <a:pt x="3534" y="31"/>
                </a:lnTo>
                <a:lnTo>
                  <a:pt x="3489" y="21"/>
                </a:lnTo>
                <a:lnTo>
                  <a:pt x="3445" y="13"/>
                </a:lnTo>
                <a:lnTo>
                  <a:pt x="3399" y="8"/>
                </a:lnTo>
                <a:lnTo>
                  <a:pt x="3355" y="3"/>
                </a:lnTo>
                <a:lnTo>
                  <a:pt x="3310" y="1"/>
                </a:lnTo>
                <a:lnTo>
                  <a:pt x="3264" y="0"/>
                </a:lnTo>
                <a:lnTo>
                  <a:pt x="3219" y="1"/>
                </a:lnTo>
                <a:lnTo>
                  <a:pt x="3175" y="4"/>
                </a:lnTo>
                <a:lnTo>
                  <a:pt x="3128" y="9"/>
                </a:lnTo>
                <a:lnTo>
                  <a:pt x="3083" y="16"/>
                </a:lnTo>
                <a:lnTo>
                  <a:pt x="3037" y="24"/>
                </a:lnTo>
                <a:lnTo>
                  <a:pt x="2990" y="33"/>
                </a:lnTo>
                <a:lnTo>
                  <a:pt x="2944" y="45"/>
                </a:lnTo>
                <a:lnTo>
                  <a:pt x="2895" y="59"/>
                </a:lnTo>
                <a:lnTo>
                  <a:pt x="2847" y="73"/>
                </a:lnTo>
                <a:lnTo>
                  <a:pt x="2799" y="91"/>
                </a:lnTo>
                <a:lnTo>
                  <a:pt x="2750" y="109"/>
                </a:lnTo>
                <a:lnTo>
                  <a:pt x="2700" y="128"/>
                </a:lnTo>
                <a:lnTo>
                  <a:pt x="2651" y="150"/>
                </a:lnTo>
                <a:lnTo>
                  <a:pt x="2599" y="174"/>
                </a:lnTo>
                <a:lnTo>
                  <a:pt x="2548" y="198"/>
                </a:lnTo>
                <a:lnTo>
                  <a:pt x="2548" y="198"/>
                </a:lnTo>
                <a:lnTo>
                  <a:pt x="2412" y="264"/>
                </a:lnTo>
                <a:lnTo>
                  <a:pt x="2275" y="334"/>
                </a:lnTo>
                <a:lnTo>
                  <a:pt x="2138" y="402"/>
                </a:lnTo>
                <a:lnTo>
                  <a:pt x="2000" y="470"/>
                </a:lnTo>
                <a:lnTo>
                  <a:pt x="1861" y="537"/>
                </a:lnTo>
                <a:lnTo>
                  <a:pt x="1791" y="569"/>
                </a:lnTo>
                <a:lnTo>
                  <a:pt x="1722" y="600"/>
                </a:lnTo>
                <a:lnTo>
                  <a:pt x="1651" y="629"/>
                </a:lnTo>
                <a:lnTo>
                  <a:pt x="1580" y="657"/>
                </a:lnTo>
                <a:lnTo>
                  <a:pt x="1509" y="684"/>
                </a:lnTo>
                <a:lnTo>
                  <a:pt x="1439" y="710"/>
                </a:lnTo>
                <a:lnTo>
                  <a:pt x="1439" y="710"/>
                </a:lnTo>
                <a:lnTo>
                  <a:pt x="1394" y="724"/>
                </a:lnTo>
                <a:lnTo>
                  <a:pt x="1350" y="738"/>
                </a:lnTo>
                <a:lnTo>
                  <a:pt x="1259" y="764"/>
                </a:lnTo>
                <a:lnTo>
                  <a:pt x="1169" y="790"/>
                </a:lnTo>
                <a:lnTo>
                  <a:pt x="1076" y="816"/>
                </a:lnTo>
                <a:lnTo>
                  <a:pt x="984" y="846"/>
                </a:lnTo>
                <a:lnTo>
                  <a:pt x="940" y="861"/>
                </a:lnTo>
                <a:lnTo>
                  <a:pt x="895" y="877"/>
                </a:lnTo>
                <a:lnTo>
                  <a:pt x="852" y="895"/>
                </a:lnTo>
                <a:lnTo>
                  <a:pt x="809" y="914"/>
                </a:lnTo>
                <a:lnTo>
                  <a:pt x="768" y="934"/>
                </a:lnTo>
                <a:lnTo>
                  <a:pt x="726" y="955"/>
                </a:lnTo>
                <a:lnTo>
                  <a:pt x="726" y="955"/>
                </a:lnTo>
                <a:lnTo>
                  <a:pt x="698" y="969"/>
                </a:lnTo>
                <a:lnTo>
                  <a:pt x="659" y="985"/>
                </a:lnTo>
                <a:lnTo>
                  <a:pt x="614" y="1002"/>
                </a:lnTo>
                <a:lnTo>
                  <a:pt x="560" y="1021"/>
                </a:lnTo>
                <a:lnTo>
                  <a:pt x="443" y="1060"/>
                </a:lnTo>
                <a:lnTo>
                  <a:pt x="317" y="1098"/>
                </a:lnTo>
                <a:lnTo>
                  <a:pt x="197" y="1135"/>
                </a:lnTo>
                <a:lnTo>
                  <a:pt x="97" y="1164"/>
                </a:lnTo>
                <a:lnTo>
                  <a:pt x="0" y="1191"/>
                </a:lnTo>
                <a:lnTo>
                  <a:pt x="449" y="1302"/>
                </a:lnTo>
                <a:lnTo>
                  <a:pt x="449" y="1302"/>
                </a:lnTo>
                <a:lnTo>
                  <a:pt x="1705" y="1340"/>
                </a:lnTo>
                <a:lnTo>
                  <a:pt x="2592" y="1367"/>
                </a:lnTo>
                <a:lnTo>
                  <a:pt x="2903" y="1375"/>
                </a:lnTo>
                <a:lnTo>
                  <a:pt x="3052" y="1379"/>
                </a:lnTo>
                <a:lnTo>
                  <a:pt x="3052" y="1379"/>
                </a:lnTo>
                <a:lnTo>
                  <a:pt x="4803" y="1379"/>
                </a:lnTo>
                <a:lnTo>
                  <a:pt x="4803" y="1379"/>
                </a:lnTo>
                <a:lnTo>
                  <a:pt x="5419" y="1399"/>
                </a:lnTo>
                <a:lnTo>
                  <a:pt x="5419" y="1399"/>
                </a:lnTo>
                <a:close/>
              </a:path>
            </a:pathLst>
          </a:custGeom>
          <a:solidFill>
            <a:srgbClr val="00556C"/>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1" name="Trapezoid 1210"/>
          <p:cNvSpPr/>
          <p:nvPr/>
        </p:nvSpPr>
        <p:spPr bwMode="auto">
          <a:xfrm>
            <a:off x="7957629" y="2778816"/>
            <a:ext cx="1814744" cy="301982"/>
          </a:xfrm>
          <a:prstGeom prst="trapezoid">
            <a:avLst>
              <a:gd name="adj" fmla="val 63582"/>
            </a:avLst>
          </a:prstGeom>
          <a:solidFill>
            <a:srgbClr val="4E8893">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85" name="Group 384"/>
          <p:cNvGrpSpPr/>
          <p:nvPr/>
        </p:nvGrpSpPr>
        <p:grpSpPr>
          <a:xfrm>
            <a:off x="8322798" y="2532248"/>
            <a:ext cx="108735" cy="217853"/>
            <a:chOff x="7825291" y="2426667"/>
            <a:chExt cx="144726" cy="289961"/>
          </a:xfrm>
        </p:grpSpPr>
        <p:sp>
          <p:nvSpPr>
            <p:cNvPr id="470" name="Rectangle 469"/>
            <p:cNvSpPr/>
            <p:nvPr/>
          </p:nvSpPr>
          <p:spPr bwMode="auto">
            <a:xfrm rot="10800000" flipH="1">
              <a:off x="7888760" y="2473216"/>
              <a:ext cx="17789" cy="24341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15" name="Group 1214"/>
            <p:cNvGrpSpPr/>
            <p:nvPr/>
          </p:nvGrpSpPr>
          <p:grpSpPr>
            <a:xfrm>
              <a:off x="7825291" y="2426667"/>
              <a:ext cx="144726" cy="150994"/>
              <a:chOff x="7825291" y="2426667"/>
              <a:chExt cx="144726" cy="150994"/>
            </a:xfrm>
          </p:grpSpPr>
          <p:sp>
            <p:nvSpPr>
              <p:cNvPr id="1214" name="Rounded Rectangle 1213"/>
              <p:cNvSpPr/>
              <p:nvPr/>
            </p:nvSpPr>
            <p:spPr bwMode="auto">
              <a:xfrm>
                <a:off x="7825291" y="2426667"/>
                <a:ext cx="144726" cy="150994"/>
              </a:xfrm>
              <a:prstGeom prst="roundRect">
                <a:avLst/>
              </a:prstGeom>
              <a:solidFill>
                <a:srgbClr val="4E889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3" name="Oval 1212"/>
              <p:cNvSpPr/>
              <p:nvPr/>
            </p:nvSpPr>
            <p:spPr bwMode="auto">
              <a:xfrm>
                <a:off x="7849590" y="2454100"/>
                <a:ext cx="96129" cy="96129"/>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600" b="1" i="0" u="none" strike="noStrike" kern="0" cap="none" spc="-100" normalizeH="0" baseline="0" noProof="0" dirty="0">
                    <a:ln w="3175">
                      <a:noFill/>
                    </a:ln>
                    <a:solidFill>
                      <a:srgbClr val="FFFFFF"/>
                    </a:solidFill>
                    <a:effectLst/>
                    <a:uLnTx/>
                    <a:uFillTx/>
                    <a:cs typeface="Arial" charset="0"/>
                  </a:rPr>
                  <a:t>P</a:t>
                </a:r>
              </a:p>
            </p:txBody>
          </p:sp>
        </p:grpSp>
      </p:grpSp>
      <p:grpSp>
        <p:nvGrpSpPr>
          <p:cNvPr id="474" name="Group 473"/>
          <p:cNvGrpSpPr/>
          <p:nvPr/>
        </p:nvGrpSpPr>
        <p:grpSpPr>
          <a:xfrm>
            <a:off x="8796926" y="2532251"/>
            <a:ext cx="108735" cy="217564"/>
            <a:chOff x="7825291" y="2426667"/>
            <a:chExt cx="144726" cy="289577"/>
          </a:xfrm>
        </p:grpSpPr>
        <p:sp>
          <p:nvSpPr>
            <p:cNvPr id="475" name="Rectangle 474"/>
            <p:cNvSpPr/>
            <p:nvPr/>
          </p:nvSpPr>
          <p:spPr bwMode="auto">
            <a:xfrm rot="10800000" flipH="1">
              <a:off x="7888760" y="2442929"/>
              <a:ext cx="17789" cy="27331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476" name="Group 475"/>
            <p:cNvGrpSpPr/>
            <p:nvPr/>
          </p:nvGrpSpPr>
          <p:grpSpPr>
            <a:xfrm>
              <a:off x="7825291" y="2426667"/>
              <a:ext cx="144726" cy="150994"/>
              <a:chOff x="7825291" y="2426667"/>
              <a:chExt cx="144726" cy="150994"/>
            </a:xfrm>
          </p:grpSpPr>
          <p:sp>
            <p:nvSpPr>
              <p:cNvPr id="477" name="Rounded Rectangle 476"/>
              <p:cNvSpPr/>
              <p:nvPr/>
            </p:nvSpPr>
            <p:spPr bwMode="auto">
              <a:xfrm>
                <a:off x="7825291" y="2426667"/>
                <a:ext cx="144726" cy="150994"/>
              </a:xfrm>
              <a:prstGeom prst="roundRect">
                <a:avLst/>
              </a:prstGeom>
              <a:solidFill>
                <a:srgbClr val="4E889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78" name="Oval 477"/>
              <p:cNvSpPr/>
              <p:nvPr/>
            </p:nvSpPr>
            <p:spPr bwMode="auto">
              <a:xfrm>
                <a:off x="7849590" y="2454100"/>
                <a:ext cx="96129" cy="96129"/>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600" b="1" i="0" u="none" strike="noStrike" kern="0" cap="none" spc="-100" normalizeH="0" baseline="0" noProof="0" dirty="0">
                    <a:ln w="3175">
                      <a:noFill/>
                    </a:ln>
                    <a:solidFill>
                      <a:srgbClr val="FFFFFF"/>
                    </a:solidFill>
                    <a:effectLst/>
                    <a:uLnTx/>
                    <a:uFillTx/>
                    <a:cs typeface="Arial" charset="0"/>
                  </a:rPr>
                  <a:t>P</a:t>
                </a:r>
              </a:p>
            </p:txBody>
          </p:sp>
        </p:grpSp>
      </p:grpSp>
      <p:grpSp>
        <p:nvGrpSpPr>
          <p:cNvPr id="479" name="Group 478"/>
          <p:cNvGrpSpPr/>
          <p:nvPr/>
        </p:nvGrpSpPr>
        <p:grpSpPr>
          <a:xfrm>
            <a:off x="9312230" y="2532251"/>
            <a:ext cx="108735" cy="217564"/>
            <a:chOff x="7825291" y="2426667"/>
            <a:chExt cx="144726" cy="289577"/>
          </a:xfrm>
        </p:grpSpPr>
        <p:sp>
          <p:nvSpPr>
            <p:cNvPr id="480" name="Rectangle 479"/>
            <p:cNvSpPr/>
            <p:nvPr/>
          </p:nvSpPr>
          <p:spPr bwMode="auto">
            <a:xfrm rot="10800000" flipH="1">
              <a:off x="7888760" y="2442929"/>
              <a:ext cx="17789" cy="27331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481" name="Group 480"/>
            <p:cNvGrpSpPr/>
            <p:nvPr/>
          </p:nvGrpSpPr>
          <p:grpSpPr>
            <a:xfrm>
              <a:off x="7825291" y="2426667"/>
              <a:ext cx="144726" cy="150994"/>
              <a:chOff x="7825291" y="2426667"/>
              <a:chExt cx="144726" cy="150994"/>
            </a:xfrm>
          </p:grpSpPr>
          <p:sp>
            <p:nvSpPr>
              <p:cNvPr id="482" name="Rounded Rectangle 481"/>
              <p:cNvSpPr/>
              <p:nvPr/>
            </p:nvSpPr>
            <p:spPr bwMode="auto">
              <a:xfrm>
                <a:off x="7825291" y="2426667"/>
                <a:ext cx="144726" cy="150994"/>
              </a:xfrm>
              <a:prstGeom prst="roundRect">
                <a:avLst/>
              </a:prstGeom>
              <a:solidFill>
                <a:srgbClr val="4E889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83" name="Oval 482"/>
              <p:cNvSpPr/>
              <p:nvPr/>
            </p:nvSpPr>
            <p:spPr bwMode="auto">
              <a:xfrm>
                <a:off x="7849590" y="2454100"/>
                <a:ext cx="96129" cy="96129"/>
              </a:xfrm>
              <a:prstGeom prst="ellipse">
                <a:avLst/>
              </a:prstGeom>
              <a:no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600" b="1" i="0" u="none" strike="noStrike" kern="0" cap="none" spc="-100" normalizeH="0" baseline="0" noProof="0" dirty="0">
                    <a:ln w="3175">
                      <a:noFill/>
                    </a:ln>
                    <a:solidFill>
                      <a:srgbClr val="FFFFFF"/>
                    </a:solidFill>
                    <a:effectLst/>
                    <a:uLnTx/>
                    <a:uFillTx/>
                    <a:cs typeface="Arial" charset="0"/>
                  </a:rPr>
                  <a:t>P</a:t>
                </a:r>
              </a:p>
            </p:txBody>
          </p:sp>
        </p:grpSp>
      </p:grpSp>
      <p:grpSp>
        <p:nvGrpSpPr>
          <p:cNvPr id="547" name="Group 546"/>
          <p:cNvGrpSpPr/>
          <p:nvPr/>
        </p:nvGrpSpPr>
        <p:grpSpPr>
          <a:xfrm>
            <a:off x="260912" y="5236075"/>
            <a:ext cx="9604197" cy="29336"/>
            <a:chOff x="-2932012" y="9010561"/>
            <a:chExt cx="7096145" cy="17463"/>
          </a:xfrm>
          <a:solidFill>
            <a:schemeClr val="tx1">
              <a:lumMod val="50000"/>
              <a:lumOff val="50000"/>
            </a:schemeClr>
          </a:solidFill>
        </p:grpSpPr>
        <p:sp>
          <p:nvSpPr>
            <p:cNvPr id="548" name="Rectangle 135"/>
            <p:cNvSpPr>
              <a:spLocks noChangeArrowheads="1"/>
            </p:cNvSpPr>
            <p:nvPr/>
          </p:nvSpPr>
          <p:spPr bwMode="auto">
            <a:xfrm>
              <a:off x="-2932012" y="9010561"/>
              <a:ext cx="231776"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49" name="Rectangle 136"/>
            <p:cNvSpPr>
              <a:spLocks noChangeArrowheads="1"/>
            </p:cNvSpPr>
            <p:nvPr/>
          </p:nvSpPr>
          <p:spPr bwMode="auto">
            <a:xfrm>
              <a:off x="-2573236" y="9010561"/>
              <a:ext cx="420689"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0" name="Rectangle 137"/>
            <p:cNvSpPr>
              <a:spLocks noChangeArrowheads="1"/>
            </p:cNvSpPr>
            <p:nvPr/>
          </p:nvSpPr>
          <p:spPr bwMode="auto">
            <a:xfrm>
              <a:off x="-2025547" y="9010561"/>
              <a:ext cx="422276"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1" name="Rectangle 138"/>
            <p:cNvSpPr>
              <a:spLocks noChangeArrowheads="1"/>
            </p:cNvSpPr>
            <p:nvPr/>
          </p:nvSpPr>
          <p:spPr bwMode="auto">
            <a:xfrm>
              <a:off x="-1477858" y="9010561"/>
              <a:ext cx="422276"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2" name="Rectangle 139"/>
            <p:cNvSpPr>
              <a:spLocks noChangeArrowheads="1"/>
            </p:cNvSpPr>
            <p:nvPr/>
          </p:nvSpPr>
          <p:spPr bwMode="auto">
            <a:xfrm>
              <a:off x="-928582" y="9010561"/>
              <a:ext cx="420689"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3" name="Rectangle 140"/>
            <p:cNvSpPr>
              <a:spLocks noChangeArrowheads="1"/>
            </p:cNvSpPr>
            <p:nvPr/>
          </p:nvSpPr>
          <p:spPr bwMode="auto">
            <a:xfrm>
              <a:off x="-380893" y="9010561"/>
              <a:ext cx="422276"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4" name="Rectangle 141"/>
            <p:cNvSpPr>
              <a:spLocks noChangeArrowheads="1"/>
            </p:cNvSpPr>
            <p:nvPr/>
          </p:nvSpPr>
          <p:spPr bwMode="auto">
            <a:xfrm>
              <a:off x="166797" y="9010561"/>
              <a:ext cx="422276"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5" name="Rectangle 142"/>
            <p:cNvSpPr>
              <a:spLocks noChangeArrowheads="1"/>
            </p:cNvSpPr>
            <p:nvPr/>
          </p:nvSpPr>
          <p:spPr bwMode="auto">
            <a:xfrm>
              <a:off x="716073" y="9010561"/>
              <a:ext cx="420689"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6" name="Rectangle 143"/>
            <p:cNvSpPr>
              <a:spLocks noChangeArrowheads="1"/>
            </p:cNvSpPr>
            <p:nvPr/>
          </p:nvSpPr>
          <p:spPr bwMode="auto">
            <a:xfrm>
              <a:off x="1263762" y="9010561"/>
              <a:ext cx="420689"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7" name="Rectangle 144"/>
            <p:cNvSpPr>
              <a:spLocks noChangeArrowheads="1"/>
            </p:cNvSpPr>
            <p:nvPr/>
          </p:nvSpPr>
          <p:spPr bwMode="auto">
            <a:xfrm>
              <a:off x="1811451" y="9010561"/>
              <a:ext cx="422276"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8" name="Rectangle 145"/>
            <p:cNvSpPr>
              <a:spLocks noChangeArrowheads="1"/>
            </p:cNvSpPr>
            <p:nvPr/>
          </p:nvSpPr>
          <p:spPr bwMode="auto">
            <a:xfrm>
              <a:off x="2359140" y="9010561"/>
              <a:ext cx="422276"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59" name="Rectangle 146"/>
            <p:cNvSpPr>
              <a:spLocks noChangeArrowheads="1"/>
            </p:cNvSpPr>
            <p:nvPr/>
          </p:nvSpPr>
          <p:spPr bwMode="auto">
            <a:xfrm>
              <a:off x="2908417" y="9010561"/>
              <a:ext cx="420689"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60" name="Rectangle 147"/>
            <p:cNvSpPr>
              <a:spLocks noChangeArrowheads="1"/>
            </p:cNvSpPr>
            <p:nvPr/>
          </p:nvSpPr>
          <p:spPr bwMode="auto">
            <a:xfrm>
              <a:off x="3456106" y="9010561"/>
              <a:ext cx="422276"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61" name="Rectangle 148"/>
            <p:cNvSpPr>
              <a:spLocks noChangeArrowheads="1"/>
            </p:cNvSpPr>
            <p:nvPr/>
          </p:nvSpPr>
          <p:spPr bwMode="auto">
            <a:xfrm>
              <a:off x="4003795" y="9010561"/>
              <a:ext cx="160338" cy="17463"/>
            </a:xfrm>
            <a:prstGeom prst="rect">
              <a:avLst/>
            </a:prstGeom>
            <a:grp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655" name="Group 654"/>
          <p:cNvGrpSpPr>
            <a:grpSpLocks noChangeAspect="1"/>
          </p:cNvGrpSpPr>
          <p:nvPr/>
        </p:nvGrpSpPr>
        <p:grpSpPr>
          <a:xfrm>
            <a:off x="3294174" y="5567714"/>
            <a:ext cx="656886" cy="259130"/>
            <a:chOff x="2514238" y="5445919"/>
            <a:chExt cx="794832" cy="313547"/>
          </a:xfrm>
        </p:grpSpPr>
        <p:sp>
          <p:nvSpPr>
            <p:cNvPr id="535" name="Freeform 262"/>
            <p:cNvSpPr>
              <a:spLocks/>
            </p:cNvSpPr>
            <p:nvPr/>
          </p:nvSpPr>
          <p:spPr bwMode="auto">
            <a:xfrm>
              <a:off x="2514238" y="5507313"/>
              <a:ext cx="794832" cy="252153"/>
            </a:xfrm>
            <a:custGeom>
              <a:avLst/>
              <a:gdLst>
                <a:gd name="T0" fmla="*/ 2176 w 2176"/>
                <a:gd name="T1" fmla="*/ 48 h 691"/>
                <a:gd name="T2" fmla="*/ 2176 w 2176"/>
                <a:gd name="T3" fmla="*/ 48 h 691"/>
                <a:gd name="T4" fmla="*/ 2174 w 2176"/>
                <a:gd name="T5" fmla="*/ 39 h 691"/>
                <a:gd name="T6" fmla="*/ 2172 w 2176"/>
                <a:gd name="T7" fmla="*/ 29 h 691"/>
                <a:gd name="T8" fmla="*/ 2166 w 2176"/>
                <a:gd name="T9" fmla="*/ 21 h 691"/>
                <a:gd name="T10" fmla="*/ 2161 w 2176"/>
                <a:gd name="T11" fmla="*/ 13 h 691"/>
                <a:gd name="T12" fmla="*/ 2154 w 2176"/>
                <a:gd name="T13" fmla="*/ 8 h 691"/>
                <a:gd name="T14" fmla="*/ 2145 w 2176"/>
                <a:gd name="T15" fmla="*/ 4 h 691"/>
                <a:gd name="T16" fmla="*/ 2136 w 2176"/>
                <a:gd name="T17" fmla="*/ 0 h 691"/>
                <a:gd name="T18" fmla="*/ 2126 w 2176"/>
                <a:gd name="T19" fmla="*/ 0 h 691"/>
                <a:gd name="T20" fmla="*/ 48 w 2176"/>
                <a:gd name="T21" fmla="*/ 0 h 691"/>
                <a:gd name="T22" fmla="*/ 48 w 2176"/>
                <a:gd name="T23" fmla="*/ 0 h 691"/>
                <a:gd name="T24" fmla="*/ 38 w 2176"/>
                <a:gd name="T25" fmla="*/ 0 h 691"/>
                <a:gd name="T26" fmla="*/ 29 w 2176"/>
                <a:gd name="T27" fmla="*/ 4 h 691"/>
                <a:gd name="T28" fmla="*/ 21 w 2176"/>
                <a:gd name="T29" fmla="*/ 8 h 691"/>
                <a:gd name="T30" fmla="*/ 13 w 2176"/>
                <a:gd name="T31" fmla="*/ 13 h 691"/>
                <a:gd name="T32" fmla="*/ 8 w 2176"/>
                <a:gd name="T33" fmla="*/ 21 h 691"/>
                <a:gd name="T34" fmla="*/ 4 w 2176"/>
                <a:gd name="T35" fmla="*/ 29 h 691"/>
                <a:gd name="T36" fmla="*/ 0 w 2176"/>
                <a:gd name="T37" fmla="*/ 39 h 691"/>
                <a:gd name="T38" fmla="*/ 0 w 2176"/>
                <a:gd name="T39" fmla="*/ 48 h 691"/>
                <a:gd name="T40" fmla="*/ 0 w 2176"/>
                <a:gd name="T41" fmla="*/ 642 h 691"/>
                <a:gd name="T42" fmla="*/ 0 w 2176"/>
                <a:gd name="T43" fmla="*/ 642 h 691"/>
                <a:gd name="T44" fmla="*/ 0 w 2176"/>
                <a:gd name="T45" fmla="*/ 652 h 691"/>
                <a:gd name="T46" fmla="*/ 4 w 2176"/>
                <a:gd name="T47" fmla="*/ 662 h 691"/>
                <a:gd name="T48" fmla="*/ 8 w 2176"/>
                <a:gd name="T49" fmla="*/ 670 h 691"/>
                <a:gd name="T50" fmla="*/ 13 w 2176"/>
                <a:gd name="T51" fmla="*/ 676 h 691"/>
                <a:gd name="T52" fmla="*/ 21 w 2176"/>
                <a:gd name="T53" fmla="*/ 683 h 691"/>
                <a:gd name="T54" fmla="*/ 29 w 2176"/>
                <a:gd name="T55" fmla="*/ 687 h 691"/>
                <a:gd name="T56" fmla="*/ 38 w 2176"/>
                <a:gd name="T57" fmla="*/ 690 h 691"/>
                <a:gd name="T58" fmla="*/ 48 w 2176"/>
                <a:gd name="T59" fmla="*/ 691 h 691"/>
                <a:gd name="T60" fmla="*/ 2126 w 2176"/>
                <a:gd name="T61" fmla="*/ 691 h 691"/>
                <a:gd name="T62" fmla="*/ 2126 w 2176"/>
                <a:gd name="T63" fmla="*/ 691 h 691"/>
                <a:gd name="T64" fmla="*/ 2136 w 2176"/>
                <a:gd name="T65" fmla="*/ 690 h 691"/>
                <a:gd name="T66" fmla="*/ 2145 w 2176"/>
                <a:gd name="T67" fmla="*/ 687 h 691"/>
                <a:gd name="T68" fmla="*/ 2154 w 2176"/>
                <a:gd name="T69" fmla="*/ 683 h 691"/>
                <a:gd name="T70" fmla="*/ 2161 w 2176"/>
                <a:gd name="T71" fmla="*/ 676 h 691"/>
                <a:gd name="T72" fmla="*/ 2166 w 2176"/>
                <a:gd name="T73" fmla="*/ 670 h 691"/>
                <a:gd name="T74" fmla="*/ 2172 w 2176"/>
                <a:gd name="T75" fmla="*/ 662 h 691"/>
                <a:gd name="T76" fmla="*/ 2174 w 2176"/>
                <a:gd name="T77" fmla="*/ 652 h 691"/>
                <a:gd name="T78" fmla="*/ 2176 w 2176"/>
                <a:gd name="T79" fmla="*/ 642 h 691"/>
                <a:gd name="T80" fmla="*/ 2176 w 2176"/>
                <a:gd name="T81" fmla="*/ 48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6" h="691">
                  <a:moveTo>
                    <a:pt x="2176" y="48"/>
                  </a:moveTo>
                  <a:lnTo>
                    <a:pt x="2176" y="48"/>
                  </a:lnTo>
                  <a:lnTo>
                    <a:pt x="2174" y="39"/>
                  </a:lnTo>
                  <a:lnTo>
                    <a:pt x="2172" y="29"/>
                  </a:lnTo>
                  <a:lnTo>
                    <a:pt x="2166" y="21"/>
                  </a:lnTo>
                  <a:lnTo>
                    <a:pt x="2161" y="13"/>
                  </a:lnTo>
                  <a:lnTo>
                    <a:pt x="2154" y="8"/>
                  </a:lnTo>
                  <a:lnTo>
                    <a:pt x="2145" y="4"/>
                  </a:lnTo>
                  <a:lnTo>
                    <a:pt x="2136" y="0"/>
                  </a:lnTo>
                  <a:lnTo>
                    <a:pt x="2126" y="0"/>
                  </a:lnTo>
                  <a:lnTo>
                    <a:pt x="48" y="0"/>
                  </a:lnTo>
                  <a:lnTo>
                    <a:pt x="48" y="0"/>
                  </a:lnTo>
                  <a:lnTo>
                    <a:pt x="38" y="0"/>
                  </a:lnTo>
                  <a:lnTo>
                    <a:pt x="29" y="4"/>
                  </a:lnTo>
                  <a:lnTo>
                    <a:pt x="21" y="8"/>
                  </a:lnTo>
                  <a:lnTo>
                    <a:pt x="13" y="13"/>
                  </a:lnTo>
                  <a:lnTo>
                    <a:pt x="8" y="21"/>
                  </a:lnTo>
                  <a:lnTo>
                    <a:pt x="4" y="29"/>
                  </a:lnTo>
                  <a:lnTo>
                    <a:pt x="0" y="39"/>
                  </a:lnTo>
                  <a:lnTo>
                    <a:pt x="0" y="48"/>
                  </a:lnTo>
                  <a:lnTo>
                    <a:pt x="0" y="642"/>
                  </a:lnTo>
                  <a:lnTo>
                    <a:pt x="0" y="642"/>
                  </a:lnTo>
                  <a:lnTo>
                    <a:pt x="0" y="652"/>
                  </a:lnTo>
                  <a:lnTo>
                    <a:pt x="4" y="662"/>
                  </a:lnTo>
                  <a:lnTo>
                    <a:pt x="8" y="670"/>
                  </a:lnTo>
                  <a:lnTo>
                    <a:pt x="13" y="676"/>
                  </a:lnTo>
                  <a:lnTo>
                    <a:pt x="21" y="683"/>
                  </a:lnTo>
                  <a:lnTo>
                    <a:pt x="29" y="687"/>
                  </a:lnTo>
                  <a:lnTo>
                    <a:pt x="38" y="690"/>
                  </a:lnTo>
                  <a:lnTo>
                    <a:pt x="48" y="691"/>
                  </a:lnTo>
                  <a:lnTo>
                    <a:pt x="2126" y="691"/>
                  </a:lnTo>
                  <a:lnTo>
                    <a:pt x="2126" y="691"/>
                  </a:lnTo>
                  <a:lnTo>
                    <a:pt x="2136" y="690"/>
                  </a:lnTo>
                  <a:lnTo>
                    <a:pt x="2145" y="687"/>
                  </a:lnTo>
                  <a:lnTo>
                    <a:pt x="2154" y="683"/>
                  </a:lnTo>
                  <a:lnTo>
                    <a:pt x="2161" y="676"/>
                  </a:lnTo>
                  <a:lnTo>
                    <a:pt x="2166" y="670"/>
                  </a:lnTo>
                  <a:lnTo>
                    <a:pt x="2172" y="662"/>
                  </a:lnTo>
                  <a:lnTo>
                    <a:pt x="2174" y="652"/>
                  </a:lnTo>
                  <a:lnTo>
                    <a:pt x="2176" y="642"/>
                  </a:lnTo>
                  <a:lnTo>
                    <a:pt x="2176" y="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6" name="Rectangle 263"/>
            <p:cNvSpPr>
              <a:spLocks noChangeArrowheads="1"/>
            </p:cNvSpPr>
            <p:nvPr/>
          </p:nvSpPr>
          <p:spPr bwMode="auto">
            <a:xfrm>
              <a:off x="2540550" y="5533624"/>
              <a:ext cx="741112" cy="198434"/>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648" name="Group 647"/>
            <p:cNvGrpSpPr/>
            <p:nvPr/>
          </p:nvGrpSpPr>
          <p:grpSpPr>
            <a:xfrm>
              <a:off x="2570150" y="5540202"/>
              <a:ext cx="686296" cy="171027"/>
              <a:chOff x="2570150" y="5540202"/>
              <a:chExt cx="686296" cy="171027"/>
            </a:xfrm>
            <a:solidFill>
              <a:schemeClr val="bg2"/>
            </a:solidFill>
          </p:grpSpPr>
          <p:sp>
            <p:nvSpPr>
              <p:cNvPr id="537" name="Freeform 264"/>
              <p:cNvSpPr>
                <a:spLocks noEditPoints="1"/>
              </p:cNvSpPr>
              <p:nvPr/>
            </p:nvSpPr>
            <p:spPr bwMode="auto">
              <a:xfrm>
                <a:off x="3184089" y="5540202"/>
                <a:ext cx="72357" cy="73454"/>
              </a:xfrm>
              <a:custGeom>
                <a:avLst/>
                <a:gdLst>
                  <a:gd name="T0" fmla="*/ 98 w 199"/>
                  <a:gd name="T1" fmla="*/ 201 h 201"/>
                  <a:gd name="T2" fmla="*/ 78 w 199"/>
                  <a:gd name="T3" fmla="*/ 198 h 201"/>
                  <a:gd name="T4" fmla="*/ 60 w 199"/>
                  <a:gd name="T5" fmla="*/ 193 h 201"/>
                  <a:gd name="T6" fmla="*/ 42 w 199"/>
                  <a:gd name="T7" fmla="*/ 183 h 201"/>
                  <a:gd name="T8" fmla="*/ 28 w 199"/>
                  <a:gd name="T9" fmla="*/ 171 h 201"/>
                  <a:gd name="T10" fmla="*/ 16 w 199"/>
                  <a:gd name="T11" fmla="*/ 157 h 201"/>
                  <a:gd name="T12" fmla="*/ 6 w 199"/>
                  <a:gd name="T13" fmla="*/ 139 h 201"/>
                  <a:gd name="T14" fmla="*/ 1 w 199"/>
                  <a:gd name="T15" fmla="*/ 121 h 201"/>
                  <a:gd name="T16" fmla="*/ 0 w 199"/>
                  <a:gd name="T17" fmla="*/ 100 h 201"/>
                  <a:gd name="T18" fmla="*/ 0 w 199"/>
                  <a:gd name="T19" fmla="*/ 91 h 201"/>
                  <a:gd name="T20" fmla="*/ 4 w 199"/>
                  <a:gd name="T21" fmla="*/ 71 h 201"/>
                  <a:gd name="T22" fmla="*/ 12 w 199"/>
                  <a:gd name="T23" fmla="*/ 54 h 201"/>
                  <a:gd name="T24" fmla="*/ 22 w 199"/>
                  <a:gd name="T25" fmla="*/ 38 h 201"/>
                  <a:gd name="T26" fmla="*/ 36 w 199"/>
                  <a:gd name="T27" fmla="*/ 24 h 201"/>
                  <a:gd name="T28" fmla="*/ 52 w 199"/>
                  <a:gd name="T29" fmla="*/ 12 h 201"/>
                  <a:gd name="T30" fmla="*/ 69 w 199"/>
                  <a:gd name="T31" fmla="*/ 6 h 201"/>
                  <a:gd name="T32" fmla="*/ 89 w 199"/>
                  <a:gd name="T33" fmla="*/ 2 h 201"/>
                  <a:gd name="T34" fmla="*/ 98 w 199"/>
                  <a:gd name="T35" fmla="*/ 0 h 201"/>
                  <a:gd name="T36" fmla="*/ 118 w 199"/>
                  <a:gd name="T37" fmla="*/ 3 h 201"/>
                  <a:gd name="T38" fmla="*/ 137 w 199"/>
                  <a:gd name="T39" fmla="*/ 8 h 201"/>
                  <a:gd name="T40" fmla="*/ 155 w 199"/>
                  <a:gd name="T41" fmla="*/ 18 h 201"/>
                  <a:gd name="T42" fmla="*/ 169 w 199"/>
                  <a:gd name="T43" fmla="*/ 30 h 201"/>
                  <a:gd name="T44" fmla="*/ 181 w 199"/>
                  <a:gd name="T45" fmla="*/ 44 h 201"/>
                  <a:gd name="T46" fmla="*/ 191 w 199"/>
                  <a:gd name="T47" fmla="*/ 62 h 201"/>
                  <a:gd name="T48" fmla="*/ 196 w 199"/>
                  <a:gd name="T49" fmla="*/ 80 h 201"/>
                  <a:gd name="T50" fmla="*/ 199 w 199"/>
                  <a:gd name="T51" fmla="*/ 100 h 201"/>
                  <a:gd name="T52" fmla="*/ 197 w 199"/>
                  <a:gd name="T53" fmla="*/ 111 h 201"/>
                  <a:gd name="T54" fmla="*/ 193 w 199"/>
                  <a:gd name="T55" fmla="*/ 130 h 201"/>
                  <a:gd name="T56" fmla="*/ 187 w 199"/>
                  <a:gd name="T57" fmla="*/ 149 h 201"/>
                  <a:gd name="T58" fmla="*/ 176 w 199"/>
                  <a:gd name="T59" fmla="*/ 165 h 201"/>
                  <a:gd name="T60" fmla="*/ 163 w 199"/>
                  <a:gd name="T61" fmla="*/ 178 h 201"/>
                  <a:gd name="T62" fmla="*/ 147 w 199"/>
                  <a:gd name="T63" fmla="*/ 189 h 201"/>
                  <a:gd name="T64" fmla="*/ 128 w 199"/>
                  <a:gd name="T65" fmla="*/ 195 h 201"/>
                  <a:gd name="T66" fmla="*/ 109 w 199"/>
                  <a:gd name="T67" fmla="*/ 199 h 201"/>
                  <a:gd name="T68" fmla="*/ 98 w 199"/>
                  <a:gd name="T69" fmla="*/ 201 h 201"/>
                  <a:gd name="T70" fmla="*/ 98 w 199"/>
                  <a:gd name="T71" fmla="*/ 26 h 201"/>
                  <a:gd name="T72" fmla="*/ 69 w 199"/>
                  <a:gd name="T73" fmla="*/ 31 h 201"/>
                  <a:gd name="T74" fmla="*/ 45 w 199"/>
                  <a:gd name="T75" fmla="*/ 47 h 201"/>
                  <a:gd name="T76" fmla="*/ 29 w 199"/>
                  <a:gd name="T77" fmla="*/ 71 h 201"/>
                  <a:gd name="T78" fmla="*/ 24 w 199"/>
                  <a:gd name="T79" fmla="*/ 100 h 201"/>
                  <a:gd name="T80" fmla="*/ 25 w 199"/>
                  <a:gd name="T81" fmla="*/ 115 h 201"/>
                  <a:gd name="T82" fmla="*/ 36 w 199"/>
                  <a:gd name="T83" fmla="*/ 143 h 201"/>
                  <a:gd name="T84" fmla="*/ 57 w 199"/>
                  <a:gd name="T85" fmla="*/ 163 h 201"/>
                  <a:gd name="T86" fmla="*/ 84 w 199"/>
                  <a:gd name="T87" fmla="*/ 174 h 201"/>
                  <a:gd name="T88" fmla="*/ 98 w 199"/>
                  <a:gd name="T89" fmla="*/ 177 h 201"/>
                  <a:gd name="T90" fmla="*/ 128 w 199"/>
                  <a:gd name="T91" fmla="*/ 170 h 201"/>
                  <a:gd name="T92" fmla="*/ 152 w 199"/>
                  <a:gd name="T93" fmla="*/ 154 h 201"/>
                  <a:gd name="T94" fmla="*/ 168 w 199"/>
                  <a:gd name="T95" fmla="*/ 130 h 201"/>
                  <a:gd name="T96" fmla="*/ 175 w 199"/>
                  <a:gd name="T97" fmla="*/ 100 h 201"/>
                  <a:gd name="T98" fmla="*/ 172 w 199"/>
                  <a:gd name="T99" fmla="*/ 86 h 201"/>
                  <a:gd name="T100" fmla="*/ 161 w 199"/>
                  <a:gd name="T101" fmla="*/ 59 h 201"/>
                  <a:gd name="T102" fmla="*/ 141 w 199"/>
                  <a:gd name="T103" fmla="*/ 38 h 201"/>
                  <a:gd name="T104" fmla="*/ 114 w 199"/>
                  <a:gd name="T105" fmla="*/ 27 h 201"/>
                  <a:gd name="T106" fmla="*/ 98 w 199"/>
                  <a:gd name="T107" fmla="*/ 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9" h="201">
                    <a:moveTo>
                      <a:pt x="98" y="201"/>
                    </a:moveTo>
                    <a:lnTo>
                      <a:pt x="98" y="201"/>
                    </a:lnTo>
                    <a:lnTo>
                      <a:pt x="89" y="199"/>
                    </a:lnTo>
                    <a:lnTo>
                      <a:pt x="78" y="198"/>
                    </a:lnTo>
                    <a:lnTo>
                      <a:pt x="69" y="195"/>
                    </a:lnTo>
                    <a:lnTo>
                      <a:pt x="60" y="193"/>
                    </a:lnTo>
                    <a:lnTo>
                      <a:pt x="52" y="189"/>
                    </a:lnTo>
                    <a:lnTo>
                      <a:pt x="42" y="183"/>
                    </a:lnTo>
                    <a:lnTo>
                      <a:pt x="36" y="178"/>
                    </a:lnTo>
                    <a:lnTo>
                      <a:pt x="28" y="171"/>
                    </a:lnTo>
                    <a:lnTo>
                      <a:pt x="22" y="165"/>
                    </a:lnTo>
                    <a:lnTo>
                      <a:pt x="16" y="157"/>
                    </a:lnTo>
                    <a:lnTo>
                      <a:pt x="12" y="149"/>
                    </a:lnTo>
                    <a:lnTo>
                      <a:pt x="6" y="139"/>
                    </a:lnTo>
                    <a:lnTo>
                      <a:pt x="4" y="130"/>
                    </a:lnTo>
                    <a:lnTo>
                      <a:pt x="1" y="121"/>
                    </a:lnTo>
                    <a:lnTo>
                      <a:pt x="0" y="111"/>
                    </a:lnTo>
                    <a:lnTo>
                      <a:pt x="0" y="100"/>
                    </a:lnTo>
                    <a:lnTo>
                      <a:pt x="0" y="100"/>
                    </a:lnTo>
                    <a:lnTo>
                      <a:pt x="0" y="91"/>
                    </a:lnTo>
                    <a:lnTo>
                      <a:pt x="1" y="80"/>
                    </a:lnTo>
                    <a:lnTo>
                      <a:pt x="4" y="71"/>
                    </a:lnTo>
                    <a:lnTo>
                      <a:pt x="6" y="62"/>
                    </a:lnTo>
                    <a:lnTo>
                      <a:pt x="12" y="54"/>
                    </a:lnTo>
                    <a:lnTo>
                      <a:pt x="16" y="44"/>
                    </a:lnTo>
                    <a:lnTo>
                      <a:pt x="22" y="38"/>
                    </a:lnTo>
                    <a:lnTo>
                      <a:pt x="28" y="30"/>
                    </a:lnTo>
                    <a:lnTo>
                      <a:pt x="36" y="24"/>
                    </a:lnTo>
                    <a:lnTo>
                      <a:pt x="42" y="18"/>
                    </a:lnTo>
                    <a:lnTo>
                      <a:pt x="52" y="12"/>
                    </a:lnTo>
                    <a:lnTo>
                      <a:pt x="60" y="8"/>
                    </a:lnTo>
                    <a:lnTo>
                      <a:pt x="69" y="6"/>
                    </a:lnTo>
                    <a:lnTo>
                      <a:pt x="78" y="3"/>
                    </a:lnTo>
                    <a:lnTo>
                      <a:pt x="89" y="2"/>
                    </a:lnTo>
                    <a:lnTo>
                      <a:pt x="98" y="0"/>
                    </a:lnTo>
                    <a:lnTo>
                      <a:pt x="98" y="0"/>
                    </a:lnTo>
                    <a:lnTo>
                      <a:pt x="109" y="2"/>
                    </a:lnTo>
                    <a:lnTo>
                      <a:pt x="118" y="3"/>
                    </a:lnTo>
                    <a:lnTo>
                      <a:pt x="128" y="6"/>
                    </a:lnTo>
                    <a:lnTo>
                      <a:pt x="137" y="8"/>
                    </a:lnTo>
                    <a:lnTo>
                      <a:pt x="147" y="12"/>
                    </a:lnTo>
                    <a:lnTo>
                      <a:pt x="155" y="18"/>
                    </a:lnTo>
                    <a:lnTo>
                      <a:pt x="163" y="24"/>
                    </a:lnTo>
                    <a:lnTo>
                      <a:pt x="169" y="30"/>
                    </a:lnTo>
                    <a:lnTo>
                      <a:pt x="176" y="38"/>
                    </a:lnTo>
                    <a:lnTo>
                      <a:pt x="181" y="44"/>
                    </a:lnTo>
                    <a:lnTo>
                      <a:pt x="187" y="54"/>
                    </a:lnTo>
                    <a:lnTo>
                      <a:pt x="191" y="62"/>
                    </a:lnTo>
                    <a:lnTo>
                      <a:pt x="193" y="71"/>
                    </a:lnTo>
                    <a:lnTo>
                      <a:pt x="196" y="80"/>
                    </a:lnTo>
                    <a:lnTo>
                      <a:pt x="197" y="91"/>
                    </a:lnTo>
                    <a:lnTo>
                      <a:pt x="199" y="100"/>
                    </a:lnTo>
                    <a:lnTo>
                      <a:pt x="199" y="100"/>
                    </a:lnTo>
                    <a:lnTo>
                      <a:pt x="197" y="111"/>
                    </a:lnTo>
                    <a:lnTo>
                      <a:pt x="196" y="121"/>
                    </a:lnTo>
                    <a:lnTo>
                      <a:pt x="193" y="130"/>
                    </a:lnTo>
                    <a:lnTo>
                      <a:pt x="191" y="139"/>
                    </a:lnTo>
                    <a:lnTo>
                      <a:pt x="187" y="149"/>
                    </a:lnTo>
                    <a:lnTo>
                      <a:pt x="181" y="157"/>
                    </a:lnTo>
                    <a:lnTo>
                      <a:pt x="176" y="165"/>
                    </a:lnTo>
                    <a:lnTo>
                      <a:pt x="169" y="171"/>
                    </a:lnTo>
                    <a:lnTo>
                      <a:pt x="163" y="178"/>
                    </a:lnTo>
                    <a:lnTo>
                      <a:pt x="155" y="183"/>
                    </a:lnTo>
                    <a:lnTo>
                      <a:pt x="147" y="189"/>
                    </a:lnTo>
                    <a:lnTo>
                      <a:pt x="137" y="193"/>
                    </a:lnTo>
                    <a:lnTo>
                      <a:pt x="128" y="195"/>
                    </a:lnTo>
                    <a:lnTo>
                      <a:pt x="118" y="198"/>
                    </a:lnTo>
                    <a:lnTo>
                      <a:pt x="109" y="199"/>
                    </a:lnTo>
                    <a:lnTo>
                      <a:pt x="98" y="201"/>
                    </a:lnTo>
                    <a:lnTo>
                      <a:pt x="98" y="201"/>
                    </a:lnTo>
                    <a:close/>
                    <a:moveTo>
                      <a:pt x="98" y="26"/>
                    </a:moveTo>
                    <a:lnTo>
                      <a:pt x="98" y="26"/>
                    </a:lnTo>
                    <a:lnTo>
                      <a:pt x="84" y="27"/>
                    </a:lnTo>
                    <a:lnTo>
                      <a:pt x="69" y="31"/>
                    </a:lnTo>
                    <a:lnTo>
                      <a:pt x="57" y="38"/>
                    </a:lnTo>
                    <a:lnTo>
                      <a:pt x="45" y="47"/>
                    </a:lnTo>
                    <a:lnTo>
                      <a:pt x="36" y="59"/>
                    </a:lnTo>
                    <a:lnTo>
                      <a:pt x="29" y="71"/>
                    </a:lnTo>
                    <a:lnTo>
                      <a:pt x="25" y="86"/>
                    </a:lnTo>
                    <a:lnTo>
                      <a:pt x="24" y="100"/>
                    </a:lnTo>
                    <a:lnTo>
                      <a:pt x="24" y="100"/>
                    </a:lnTo>
                    <a:lnTo>
                      <a:pt x="25" y="115"/>
                    </a:lnTo>
                    <a:lnTo>
                      <a:pt x="29" y="130"/>
                    </a:lnTo>
                    <a:lnTo>
                      <a:pt x="36" y="143"/>
                    </a:lnTo>
                    <a:lnTo>
                      <a:pt x="45" y="154"/>
                    </a:lnTo>
                    <a:lnTo>
                      <a:pt x="57" y="163"/>
                    </a:lnTo>
                    <a:lnTo>
                      <a:pt x="69" y="170"/>
                    </a:lnTo>
                    <a:lnTo>
                      <a:pt x="84" y="174"/>
                    </a:lnTo>
                    <a:lnTo>
                      <a:pt x="98" y="177"/>
                    </a:lnTo>
                    <a:lnTo>
                      <a:pt x="98" y="177"/>
                    </a:lnTo>
                    <a:lnTo>
                      <a:pt x="114" y="174"/>
                    </a:lnTo>
                    <a:lnTo>
                      <a:pt x="128" y="170"/>
                    </a:lnTo>
                    <a:lnTo>
                      <a:pt x="141" y="163"/>
                    </a:lnTo>
                    <a:lnTo>
                      <a:pt x="152" y="154"/>
                    </a:lnTo>
                    <a:lnTo>
                      <a:pt x="161" y="143"/>
                    </a:lnTo>
                    <a:lnTo>
                      <a:pt x="168" y="130"/>
                    </a:lnTo>
                    <a:lnTo>
                      <a:pt x="172" y="115"/>
                    </a:lnTo>
                    <a:lnTo>
                      <a:pt x="175" y="100"/>
                    </a:lnTo>
                    <a:lnTo>
                      <a:pt x="175" y="100"/>
                    </a:lnTo>
                    <a:lnTo>
                      <a:pt x="172" y="86"/>
                    </a:lnTo>
                    <a:lnTo>
                      <a:pt x="168" y="71"/>
                    </a:lnTo>
                    <a:lnTo>
                      <a:pt x="161" y="59"/>
                    </a:lnTo>
                    <a:lnTo>
                      <a:pt x="152" y="47"/>
                    </a:lnTo>
                    <a:lnTo>
                      <a:pt x="141" y="38"/>
                    </a:lnTo>
                    <a:lnTo>
                      <a:pt x="128" y="31"/>
                    </a:lnTo>
                    <a:lnTo>
                      <a:pt x="114" y="27"/>
                    </a:lnTo>
                    <a:lnTo>
                      <a:pt x="98" y="26"/>
                    </a:lnTo>
                    <a:lnTo>
                      <a:pt x="98"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8" name="Freeform 265"/>
              <p:cNvSpPr>
                <a:spLocks noEditPoints="1"/>
              </p:cNvSpPr>
              <p:nvPr/>
            </p:nvSpPr>
            <p:spPr bwMode="auto">
              <a:xfrm>
                <a:off x="3209305" y="5557744"/>
                <a:ext cx="24119" cy="36179"/>
              </a:xfrm>
              <a:custGeom>
                <a:avLst/>
                <a:gdLst>
                  <a:gd name="T0" fmla="*/ 57 w 67"/>
                  <a:gd name="T1" fmla="*/ 83 h 98"/>
                  <a:gd name="T2" fmla="*/ 61 w 67"/>
                  <a:gd name="T3" fmla="*/ 83 h 98"/>
                  <a:gd name="T4" fmla="*/ 64 w 67"/>
                  <a:gd name="T5" fmla="*/ 84 h 98"/>
                  <a:gd name="T6" fmla="*/ 67 w 67"/>
                  <a:gd name="T7" fmla="*/ 90 h 98"/>
                  <a:gd name="T8" fmla="*/ 65 w 67"/>
                  <a:gd name="T9" fmla="*/ 94 h 98"/>
                  <a:gd name="T10" fmla="*/ 64 w 67"/>
                  <a:gd name="T11" fmla="*/ 96 h 98"/>
                  <a:gd name="T12" fmla="*/ 57 w 67"/>
                  <a:gd name="T13" fmla="*/ 98 h 98"/>
                  <a:gd name="T14" fmla="*/ 9 w 67"/>
                  <a:gd name="T15" fmla="*/ 98 h 98"/>
                  <a:gd name="T16" fmla="*/ 1 w 67"/>
                  <a:gd name="T17" fmla="*/ 96 h 98"/>
                  <a:gd name="T18" fmla="*/ 0 w 67"/>
                  <a:gd name="T19" fmla="*/ 94 h 98"/>
                  <a:gd name="T20" fmla="*/ 0 w 67"/>
                  <a:gd name="T21" fmla="*/ 90 h 98"/>
                  <a:gd name="T22" fmla="*/ 1 w 67"/>
                  <a:gd name="T23" fmla="*/ 84 h 98"/>
                  <a:gd name="T24" fmla="*/ 4 w 67"/>
                  <a:gd name="T25" fmla="*/ 83 h 98"/>
                  <a:gd name="T26" fmla="*/ 24 w 67"/>
                  <a:gd name="T27" fmla="*/ 83 h 98"/>
                  <a:gd name="T28" fmla="*/ 16 w 67"/>
                  <a:gd name="T29" fmla="*/ 48 h 98"/>
                  <a:gd name="T30" fmla="*/ 12 w 67"/>
                  <a:gd name="T31" fmla="*/ 47 h 98"/>
                  <a:gd name="T32" fmla="*/ 9 w 67"/>
                  <a:gd name="T33" fmla="*/ 45 h 98"/>
                  <a:gd name="T34" fmla="*/ 6 w 67"/>
                  <a:gd name="T35" fmla="*/ 40 h 98"/>
                  <a:gd name="T36" fmla="*/ 8 w 67"/>
                  <a:gd name="T37" fmla="*/ 36 h 98"/>
                  <a:gd name="T38" fmla="*/ 9 w 67"/>
                  <a:gd name="T39" fmla="*/ 33 h 98"/>
                  <a:gd name="T40" fmla="*/ 16 w 67"/>
                  <a:gd name="T41" fmla="*/ 32 h 98"/>
                  <a:gd name="T42" fmla="*/ 37 w 67"/>
                  <a:gd name="T43" fmla="*/ 32 h 98"/>
                  <a:gd name="T44" fmla="*/ 40 w 67"/>
                  <a:gd name="T45" fmla="*/ 32 h 98"/>
                  <a:gd name="T46" fmla="*/ 41 w 67"/>
                  <a:gd name="T47" fmla="*/ 83 h 98"/>
                  <a:gd name="T48" fmla="*/ 32 w 67"/>
                  <a:gd name="T49" fmla="*/ 0 h 98"/>
                  <a:gd name="T50" fmla="*/ 38 w 67"/>
                  <a:gd name="T51" fmla="*/ 1 h 98"/>
                  <a:gd name="T52" fmla="*/ 40 w 67"/>
                  <a:gd name="T53" fmla="*/ 5 h 98"/>
                  <a:gd name="T54" fmla="*/ 40 w 67"/>
                  <a:gd name="T55" fmla="*/ 11 h 98"/>
                  <a:gd name="T56" fmla="*/ 38 w 67"/>
                  <a:gd name="T57" fmla="*/ 20 h 98"/>
                  <a:gd name="T58" fmla="*/ 36 w 67"/>
                  <a:gd name="T59" fmla="*/ 21 h 98"/>
                  <a:gd name="T60" fmla="*/ 30 w 67"/>
                  <a:gd name="T61" fmla="*/ 21 h 98"/>
                  <a:gd name="T62" fmla="*/ 24 w 67"/>
                  <a:gd name="T63" fmla="*/ 20 h 98"/>
                  <a:gd name="T64" fmla="*/ 22 w 67"/>
                  <a:gd name="T65" fmla="*/ 17 h 98"/>
                  <a:gd name="T66" fmla="*/ 22 w 67"/>
                  <a:gd name="T67" fmla="*/ 13 h 98"/>
                  <a:gd name="T68" fmla="*/ 24 w 67"/>
                  <a:gd name="T69" fmla="*/ 3 h 98"/>
                  <a:gd name="T70" fmla="*/ 26 w 67"/>
                  <a:gd name="T71" fmla="*/ 0 h 98"/>
                  <a:gd name="T72" fmla="*/ 32 w 67"/>
                  <a:gd name="T7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98">
                    <a:moveTo>
                      <a:pt x="41" y="83"/>
                    </a:moveTo>
                    <a:lnTo>
                      <a:pt x="57" y="83"/>
                    </a:lnTo>
                    <a:lnTo>
                      <a:pt x="57" y="83"/>
                    </a:lnTo>
                    <a:lnTo>
                      <a:pt x="61" y="83"/>
                    </a:lnTo>
                    <a:lnTo>
                      <a:pt x="64" y="84"/>
                    </a:lnTo>
                    <a:lnTo>
                      <a:pt x="64" y="84"/>
                    </a:lnTo>
                    <a:lnTo>
                      <a:pt x="65" y="87"/>
                    </a:lnTo>
                    <a:lnTo>
                      <a:pt x="67" y="90"/>
                    </a:lnTo>
                    <a:lnTo>
                      <a:pt x="67" y="90"/>
                    </a:lnTo>
                    <a:lnTo>
                      <a:pt x="65" y="94"/>
                    </a:lnTo>
                    <a:lnTo>
                      <a:pt x="64" y="96"/>
                    </a:lnTo>
                    <a:lnTo>
                      <a:pt x="64" y="96"/>
                    </a:lnTo>
                    <a:lnTo>
                      <a:pt x="61" y="98"/>
                    </a:lnTo>
                    <a:lnTo>
                      <a:pt x="57" y="98"/>
                    </a:lnTo>
                    <a:lnTo>
                      <a:pt x="9" y="98"/>
                    </a:lnTo>
                    <a:lnTo>
                      <a:pt x="9" y="98"/>
                    </a:lnTo>
                    <a:lnTo>
                      <a:pt x="5" y="98"/>
                    </a:lnTo>
                    <a:lnTo>
                      <a:pt x="1" y="96"/>
                    </a:lnTo>
                    <a:lnTo>
                      <a:pt x="1" y="96"/>
                    </a:lnTo>
                    <a:lnTo>
                      <a:pt x="0" y="94"/>
                    </a:lnTo>
                    <a:lnTo>
                      <a:pt x="0" y="90"/>
                    </a:lnTo>
                    <a:lnTo>
                      <a:pt x="0" y="90"/>
                    </a:lnTo>
                    <a:lnTo>
                      <a:pt x="0" y="87"/>
                    </a:lnTo>
                    <a:lnTo>
                      <a:pt x="1" y="84"/>
                    </a:lnTo>
                    <a:lnTo>
                      <a:pt x="1" y="84"/>
                    </a:lnTo>
                    <a:lnTo>
                      <a:pt x="4" y="83"/>
                    </a:lnTo>
                    <a:lnTo>
                      <a:pt x="9" y="83"/>
                    </a:lnTo>
                    <a:lnTo>
                      <a:pt x="24" y="83"/>
                    </a:lnTo>
                    <a:lnTo>
                      <a:pt x="24" y="48"/>
                    </a:lnTo>
                    <a:lnTo>
                      <a:pt x="16" y="48"/>
                    </a:lnTo>
                    <a:lnTo>
                      <a:pt x="16" y="48"/>
                    </a:lnTo>
                    <a:lnTo>
                      <a:pt x="12" y="47"/>
                    </a:lnTo>
                    <a:lnTo>
                      <a:pt x="9" y="45"/>
                    </a:lnTo>
                    <a:lnTo>
                      <a:pt x="9" y="45"/>
                    </a:lnTo>
                    <a:lnTo>
                      <a:pt x="8" y="43"/>
                    </a:lnTo>
                    <a:lnTo>
                      <a:pt x="6" y="40"/>
                    </a:lnTo>
                    <a:lnTo>
                      <a:pt x="6" y="40"/>
                    </a:lnTo>
                    <a:lnTo>
                      <a:pt x="8" y="36"/>
                    </a:lnTo>
                    <a:lnTo>
                      <a:pt x="9" y="33"/>
                    </a:lnTo>
                    <a:lnTo>
                      <a:pt x="9" y="33"/>
                    </a:lnTo>
                    <a:lnTo>
                      <a:pt x="12" y="32"/>
                    </a:lnTo>
                    <a:lnTo>
                      <a:pt x="16" y="32"/>
                    </a:lnTo>
                    <a:lnTo>
                      <a:pt x="37" y="32"/>
                    </a:lnTo>
                    <a:lnTo>
                      <a:pt x="37" y="32"/>
                    </a:lnTo>
                    <a:lnTo>
                      <a:pt x="40" y="32"/>
                    </a:lnTo>
                    <a:lnTo>
                      <a:pt x="40" y="32"/>
                    </a:lnTo>
                    <a:lnTo>
                      <a:pt x="41" y="35"/>
                    </a:lnTo>
                    <a:lnTo>
                      <a:pt x="41" y="83"/>
                    </a:lnTo>
                    <a:close/>
                    <a:moveTo>
                      <a:pt x="32" y="0"/>
                    </a:moveTo>
                    <a:lnTo>
                      <a:pt x="32" y="0"/>
                    </a:lnTo>
                    <a:lnTo>
                      <a:pt x="36" y="0"/>
                    </a:lnTo>
                    <a:lnTo>
                      <a:pt x="38" y="1"/>
                    </a:lnTo>
                    <a:lnTo>
                      <a:pt x="38" y="1"/>
                    </a:lnTo>
                    <a:lnTo>
                      <a:pt x="40" y="5"/>
                    </a:lnTo>
                    <a:lnTo>
                      <a:pt x="40" y="11"/>
                    </a:lnTo>
                    <a:lnTo>
                      <a:pt x="40" y="11"/>
                    </a:lnTo>
                    <a:lnTo>
                      <a:pt x="40" y="17"/>
                    </a:lnTo>
                    <a:lnTo>
                      <a:pt x="38" y="20"/>
                    </a:lnTo>
                    <a:lnTo>
                      <a:pt x="38" y="20"/>
                    </a:lnTo>
                    <a:lnTo>
                      <a:pt x="36" y="21"/>
                    </a:lnTo>
                    <a:lnTo>
                      <a:pt x="30" y="21"/>
                    </a:lnTo>
                    <a:lnTo>
                      <a:pt x="30" y="21"/>
                    </a:lnTo>
                    <a:lnTo>
                      <a:pt x="26" y="21"/>
                    </a:lnTo>
                    <a:lnTo>
                      <a:pt x="24" y="20"/>
                    </a:lnTo>
                    <a:lnTo>
                      <a:pt x="24" y="20"/>
                    </a:lnTo>
                    <a:lnTo>
                      <a:pt x="22" y="17"/>
                    </a:lnTo>
                    <a:lnTo>
                      <a:pt x="22" y="13"/>
                    </a:lnTo>
                    <a:lnTo>
                      <a:pt x="22" y="13"/>
                    </a:lnTo>
                    <a:lnTo>
                      <a:pt x="22" y="7"/>
                    </a:lnTo>
                    <a:lnTo>
                      <a:pt x="24" y="3"/>
                    </a:lnTo>
                    <a:lnTo>
                      <a:pt x="24" y="3"/>
                    </a:lnTo>
                    <a:lnTo>
                      <a:pt x="26" y="0"/>
                    </a:lnTo>
                    <a:lnTo>
                      <a:pt x="32" y="0"/>
                    </a:ln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39" name="Freeform 266"/>
              <p:cNvSpPr>
                <a:spLocks/>
              </p:cNvSpPr>
              <p:nvPr/>
            </p:nvSpPr>
            <p:spPr bwMode="auto">
              <a:xfrm>
                <a:off x="2570150" y="5553358"/>
                <a:ext cx="33986" cy="41660"/>
              </a:xfrm>
              <a:custGeom>
                <a:avLst/>
                <a:gdLst>
                  <a:gd name="T0" fmla="*/ 60 w 93"/>
                  <a:gd name="T1" fmla="*/ 113 h 113"/>
                  <a:gd name="T2" fmla="*/ 28 w 93"/>
                  <a:gd name="T3" fmla="*/ 44 h 113"/>
                  <a:gd name="T4" fmla="*/ 26 w 93"/>
                  <a:gd name="T5" fmla="*/ 44 h 113"/>
                  <a:gd name="T6" fmla="*/ 28 w 93"/>
                  <a:gd name="T7" fmla="*/ 113 h 113"/>
                  <a:gd name="T8" fmla="*/ 0 w 93"/>
                  <a:gd name="T9" fmla="*/ 113 h 113"/>
                  <a:gd name="T10" fmla="*/ 0 w 93"/>
                  <a:gd name="T11" fmla="*/ 0 h 113"/>
                  <a:gd name="T12" fmla="*/ 34 w 93"/>
                  <a:gd name="T13" fmla="*/ 0 h 113"/>
                  <a:gd name="T14" fmla="*/ 67 w 93"/>
                  <a:gd name="T15" fmla="*/ 70 h 113"/>
                  <a:gd name="T16" fmla="*/ 67 w 93"/>
                  <a:gd name="T17" fmla="*/ 70 h 113"/>
                  <a:gd name="T18" fmla="*/ 67 w 93"/>
                  <a:gd name="T19" fmla="*/ 0 h 113"/>
                  <a:gd name="T20" fmla="*/ 93 w 93"/>
                  <a:gd name="T21" fmla="*/ 0 h 113"/>
                  <a:gd name="T22" fmla="*/ 93 w 93"/>
                  <a:gd name="T23" fmla="*/ 113 h 113"/>
                  <a:gd name="T24" fmla="*/ 60 w 93"/>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13">
                    <a:moveTo>
                      <a:pt x="60" y="113"/>
                    </a:moveTo>
                    <a:lnTo>
                      <a:pt x="28" y="44"/>
                    </a:lnTo>
                    <a:lnTo>
                      <a:pt x="26" y="44"/>
                    </a:lnTo>
                    <a:lnTo>
                      <a:pt x="28" y="113"/>
                    </a:lnTo>
                    <a:lnTo>
                      <a:pt x="0" y="113"/>
                    </a:lnTo>
                    <a:lnTo>
                      <a:pt x="0" y="0"/>
                    </a:lnTo>
                    <a:lnTo>
                      <a:pt x="34" y="0"/>
                    </a:lnTo>
                    <a:lnTo>
                      <a:pt x="67" y="70"/>
                    </a:lnTo>
                    <a:lnTo>
                      <a:pt x="67" y="70"/>
                    </a:lnTo>
                    <a:lnTo>
                      <a:pt x="67" y="0"/>
                    </a:lnTo>
                    <a:lnTo>
                      <a:pt x="93" y="0"/>
                    </a:lnTo>
                    <a:lnTo>
                      <a:pt x="93" y="113"/>
                    </a:lnTo>
                    <a:lnTo>
                      <a:pt x="6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40" name="Freeform 267"/>
              <p:cNvSpPr>
                <a:spLocks noEditPoints="1"/>
              </p:cNvSpPr>
              <p:nvPr/>
            </p:nvSpPr>
            <p:spPr bwMode="auto">
              <a:xfrm>
                <a:off x="2611810" y="5553358"/>
                <a:ext cx="39467" cy="42757"/>
              </a:xfrm>
              <a:custGeom>
                <a:avLst/>
                <a:gdLst>
                  <a:gd name="T0" fmla="*/ 108 w 108"/>
                  <a:gd name="T1" fmla="*/ 58 h 119"/>
                  <a:gd name="T2" fmla="*/ 104 w 108"/>
                  <a:gd name="T3" fmla="*/ 83 h 119"/>
                  <a:gd name="T4" fmla="*/ 99 w 108"/>
                  <a:gd name="T5" fmla="*/ 93 h 119"/>
                  <a:gd name="T6" fmla="*/ 94 w 108"/>
                  <a:gd name="T7" fmla="*/ 101 h 119"/>
                  <a:gd name="T8" fmla="*/ 76 w 108"/>
                  <a:gd name="T9" fmla="*/ 113 h 119"/>
                  <a:gd name="T10" fmla="*/ 66 w 108"/>
                  <a:gd name="T11" fmla="*/ 117 h 119"/>
                  <a:gd name="T12" fmla="*/ 53 w 108"/>
                  <a:gd name="T13" fmla="*/ 119 h 119"/>
                  <a:gd name="T14" fmla="*/ 32 w 108"/>
                  <a:gd name="T15" fmla="*/ 113 h 119"/>
                  <a:gd name="T16" fmla="*/ 23 w 108"/>
                  <a:gd name="T17" fmla="*/ 108 h 119"/>
                  <a:gd name="T18" fmla="*/ 15 w 108"/>
                  <a:gd name="T19" fmla="*/ 101 h 119"/>
                  <a:gd name="T20" fmla="*/ 4 w 108"/>
                  <a:gd name="T21" fmla="*/ 83 h 119"/>
                  <a:gd name="T22" fmla="*/ 1 w 108"/>
                  <a:gd name="T23" fmla="*/ 72 h 119"/>
                  <a:gd name="T24" fmla="*/ 0 w 108"/>
                  <a:gd name="T25" fmla="*/ 58 h 119"/>
                  <a:gd name="T26" fmla="*/ 4 w 108"/>
                  <a:gd name="T27" fmla="*/ 34 h 119"/>
                  <a:gd name="T28" fmla="*/ 8 w 108"/>
                  <a:gd name="T29" fmla="*/ 24 h 119"/>
                  <a:gd name="T30" fmla="*/ 15 w 108"/>
                  <a:gd name="T31" fmla="*/ 16 h 119"/>
                  <a:gd name="T32" fmla="*/ 32 w 108"/>
                  <a:gd name="T33" fmla="*/ 4 h 119"/>
                  <a:gd name="T34" fmla="*/ 43 w 108"/>
                  <a:gd name="T35" fmla="*/ 1 h 119"/>
                  <a:gd name="T36" fmla="*/ 53 w 108"/>
                  <a:gd name="T37" fmla="*/ 0 h 119"/>
                  <a:gd name="T38" fmla="*/ 76 w 108"/>
                  <a:gd name="T39" fmla="*/ 4 h 119"/>
                  <a:gd name="T40" fmla="*/ 86 w 108"/>
                  <a:gd name="T41" fmla="*/ 9 h 119"/>
                  <a:gd name="T42" fmla="*/ 94 w 108"/>
                  <a:gd name="T43" fmla="*/ 16 h 119"/>
                  <a:gd name="T44" fmla="*/ 104 w 108"/>
                  <a:gd name="T45" fmla="*/ 34 h 119"/>
                  <a:gd name="T46" fmla="*/ 107 w 108"/>
                  <a:gd name="T47" fmla="*/ 46 h 119"/>
                  <a:gd name="T48" fmla="*/ 108 w 108"/>
                  <a:gd name="T49" fmla="*/ 58 h 119"/>
                  <a:gd name="T50" fmla="*/ 75 w 108"/>
                  <a:gd name="T51" fmla="*/ 58 h 119"/>
                  <a:gd name="T52" fmla="*/ 74 w 108"/>
                  <a:gd name="T53" fmla="*/ 45 h 119"/>
                  <a:gd name="T54" fmla="*/ 70 w 108"/>
                  <a:gd name="T55" fmla="*/ 34 h 119"/>
                  <a:gd name="T56" fmla="*/ 67 w 108"/>
                  <a:gd name="T57" fmla="*/ 30 h 119"/>
                  <a:gd name="T58" fmla="*/ 63 w 108"/>
                  <a:gd name="T59" fmla="*/ 26 h 119"/>
                  <a:gd name="T60" fmla="*/ 53 w 108"/>
                  <a:gd name="T61" fmla="*/ 24 h 119"/>
                  <a:gd name="T62" fmla="*/ 49 w 108"/>
                  <a:gd name="T63" fmla="*/ 25 h 119"/>
                  <a:gd name="T64" fmla="*/ 45 w 108"/>
                  <a:gd name="T65" fmla="*/ 26 h 119"/>
                  <a:gd name="T66" fmla="*/ 37 w 108"/>
                  <a:gd name="T67" fmla="*/ 34 h 119"/>
                  <a:gd name="T68" fmla="*/ 36 w 108"/>
                  <a:gd name="T69" fmla="*/ 40 h 119"/>
                  <a:gd name="T70" fmla="*/ 35 w 108"/>
                  <a:gd name="T71" fmla="*/ 45 h 119"/>
                  <a:gd name="T72" fmla="*/ 33 w 108"/>
                  <a:gd name="T73" fmla="*/ 58 h 119"/>
                  <a:gd name="T74" fmla="*/ 35 w 108"/>
                  <a:gd name="T75" fmla="*/ 72 h 119"/>
                  <a:gd name="T76" fmla="*/ 37 w 108"/>
                  <a:gd name="T77" fmla="*/ 83 h 119"/>
                  <a:gd name="T78" fmla="*/ 41 w 108"/>
                  <a:gd name="T79" fmla="*/ 88 h 119"/>
                  <a:gd name="T80" fmla="*/ 45 w 108"/>
                  <a:gd name="T81" fmla="*/ 91 h 119"/>
                  <a:gd name="T82" fmla="*/ 53 w 108"/>
                  <a:gd name="T83" fmla="*/ 93 h 119"/>
                  <a:gd name="T84" fmla="*/ 59 w 108"/>
                  <a:gd name="T85" fmla="*/ 92 h 119"/>
                  <a:gd name="T86" fmla="*/ 63 w 108"/>
                  <a:gd name="T87" fmla="*/ 91 h 119"/>
                  <a:gd name="T88" fmla="*/ 70 w 108"/>
                  <a:gd name="T89" fmla="*/ 83 h 119"/>
                  <a:gd name="T90" fmla="*/ 72 w 108"/>
                  <a:gd name="T91" fmla="*/ 79 h 119"/>
                  <a:gd name="T92" fmla="*/ 74 w 108"/>
                  <a:gd name="T93" fmla="*/ 72 h 119"/>
                  <a:gd name="T94" fmla="*/ 75 w 108"/>
                  <a:gd name="T9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 h="119">
                    <a:moveTo>
                      <a:pt x="108" y="58"/>
                    </a:moveTo>
                    <a:lnTo>
                      <a:pt x="108" y="58"/>
                    </a:lnTo>
                    <a:lnTo>
                      <a:pt x="107" y="72"/>
                    </a:lnTo>
                    <a:lnTo>
                      <a:pt x="104" y="83"/>
                    </a:lnTo>
                    <a:lnTo>
                      <a:pt x="104" y="83"/>
                    </a:lnTo>
                    <a:lnTo>
                      <a:pt x="99" y="93"/>
                    </a:lnTo>
                    <a:lnTo>
                      <a:pt x="94" y="101"/>
                    </a:lnTo>
                    <a:lnTo>
                      <a:pt x="94" y="101"/>
                    </a:lnTo>
                    <a:lnTo>
                      <a:pt x="86" y="108"/>
                    </a:lnTo>
                    <a:lnTo>
                      <a:pt x="76" y="113"/>
                    </a:lnTo>
                    <a:lnTo>
                      <a:pt x="76" y="113"/>
                    </a:lnTo>
                    <a:lnTo>
                      <a:pt x="66" y="117"/>
                    </a:lnTo>
                    <a:lnTo>
                      <a:pt x="53" y="119"/>
                    </a:lnTo>
                    <a:lnTo>
                      <a:pt x="53" y="119"/>
                    </a:lnTo>
                    <a:lnTo>
                      <a:pt x="43" y="117"/>
                    </a:lnTo>
                    <a:lnTo>
                      <a:pt x="32" y="113"/>
                    </a:lnTo>
                    <a:lnTo>
                      <a:pt x="32" y="113"/>
                    </a:lnTo>
                    <a:lnTo>
                      <a:pt x="23" y="108"/>
                    </a:lnTo>
                    <a:lnTo>
                      <a:pt x="15" y="101"/>
                    </a:lnTo>
                    <a:lnTo>
                      <a:pt x="15" y="101"/>
                    </a:lnTo>
                    <a:lnTo>
                      <a:pt x="9" y="93"/>
                    </a:lnTo>
                    <a:lnTo>
                      <a:pt x="4" y="83"/>
                    </a:lnTo>
                    <a:lnTo>
                      <a:pt x="4" y="83"/>
                    </a:lnTo>
                    <a:lnTo>
                      <a:pt x="1" y="72"/>
                    </a:lnTo>
                    <a:lnTo>
                      <a:pt x="0" y="58"/>
                    </a:lnTo>
                    <a:lnTo>
                      <a:pt x="0" y="58"/>
                    </a:lnTo>
                    <a:lnTo>
                      <a:pt x="1" y="46"/>
                    </a:lnTo>
                    <a:lnTo>
                      <a:pt x="4" y="34"/>
                    </a:lnTo>
                    <a:lnTo>
                      <a:pt x="4" y="34"/>
                    </a:lnTo>
                    <a:lnTo>
                      <a:pt x="8" y="24"/>
                    </a:lnTo>
                    <a:lnTo>
                      <a:pt x="15" y="16"/>
                    </a:lnTo>
                    <a:lnTo>
                      <a:pt x="15" y="16"/>
                    </a:lnTo>
                    <a:lnTo>
                      <a:pt x="23" y="9"/>
                    </a:lnTo>
                    <a:lnTo>
                      <a:pt x="32" y="4"/>
                    </a:lnTo>
                    <a:lnTo>
                      <a:pt x="32" y="4"/>
                    </a:lnTo>
                    <a:lnTo>
                      <a:pt x="43" y="1"/>
                    </a:lnTo>
                    <a:lnTo>
                      <a:pt x="53" y="0"/>
                    </a:lnTo>
                    <a:lnTo>
                      <a:pt x="53" y="0"/>
                    </a:lnTo>
                    <a:lnTo>
                      <a:pt x="66" y="1"/>
                    </a:lnTo>
                    <a:lnTo>
                      <a:pt x="76" y="4"/>
                    </a:lnTo>
                    <a:lnTo>
                      <a:pt x="76" y="4"/>
                    </a:lnTo>
                    <a:lnTo>
                      <a:pt x="86" y="9"/>
                    </a:lnTo>
                    <a:lnTo>
                      <a:pt x="94" y="16"/>
                    </a:lnTo>
                    <a:lnTo>
                      <a:pt x="94" y="16"/>
                    </a:lnTo>
                    <a:lnTo>
                      <a:pt x="99" y="24"/>
                    </a:lnTo>
                    <a:lnTo>
                      <a:pt x="104" y="34"/>
                    </a:lnTo>
                    <a:lnTo>
                      <a:pt x="104" y="34"/>
                    </a:lnTo>
                    <a:lnTo>
                      <a:pt x="107" y="46"/>
                    </a:lnTo>
                    <a:lnTo>
                      <a:pt x="108" y="58"/>
                    </a:lnTo>
                    <a:lnTo>
                      <a:pt x="108" y="58"/>
                    </a:lnTo>
                    <a:close/>
                    <a:moveTo>
                      <a:pt x="75" y="58"/>
                    </a:moveTo>
                    <a:lnTo>
                      <a:pt x="75" y="58"/>
                    </a:lnTo>
                    <a:lnTo>
                      <a:pt x="74" y="45"/>
                    </a:lnTo>
                    <a:lnTo>
                      <a:pt x="74" y="45"/>
                    </a:lnTo>
                    <a:lnTo>
                      <a:pt x="72" y="40"/>
                    </a:lnTo>
                    <a:lnTo>
                      <a:pt x="70" y="34"/>
                    </a:lnTo>
                    <a:lnTo>
                      <a:pt x="70" y="34"/>
                    </a:lnTo>
                    <a:lnTo>
                      <a:pt x="67" y="30"/>
                    </a:lnTo>
                    <a:lnTo>
                      <a:pt x="63" y="26"/>
                    </a:lnTo>
                    <a:lnTo>
                      <a:pt x="63" y="26"/>
                    </a:lnTo>
                    <a:lnTo>
                      <a:pt x="59" y="25"/>
                    </a:lnTo>
                    <a:lnTo>
                      <a:pt x="53" y="24"/>
                    </a:lnTo>
                    <a:lnTo>
                      <a:pt x="53" y="24"/>
                    </a:lnTo>
                    <a:lnTo>
                      <a:pt x="49" y="25"/>
                    </a:lnTo>
                    <a:lnTo>
                      <a:pt x="45" y="26"/>
                    </a:lnTo>
                    <a:lnTo>
                      <a:pt x="45" y="26"/>
                    </a:lnTo>
                    <a:lnTo>
                      <a:pt x="41" y="30"/>
                    </a:lnTo>
                    <a:lnTo>
                      <a:pt x="37" y="34"/>
                    </a:lnTo>
                    <a:lnTo>
                      <a:pt x="37" y="34"/>
                    </a:lnTo>
                    <a:lnTo>
                      <a:pt x="36" y="40"/>
                    </a:lnTo>
                    <a:lnTo>
                      <a:pt x="35" y="45"/>
                    </a:lnTo>
                    <a:lnTo>
                      <a:pt x="35" y="45"/>
                    </a:lnTo>
                    <a:lnTo>
                      <a:pt x="33" y="58"/>
                    </a:lnTo>
                    <a:lnTo>
                      <a:pt x="33" y="58"/>
                    </a:lnTo>
                    <a:lnTo>
                      <a:pt x="35" y="72"/>
                    </a:lnTo>
                    <a:lnTo>
                      <a:pt x="35" y="72"/>
                    </a:lnTo>
                    <a:lnTo>
                      <a:pt x="36" y="79"/>
                    </a:lnTo>
                    <a:lnTo>
                      <a:pt x="37" y="83"/>
                    </a:lnTo>
                    <a:lnTo>
                      <a:pt x="37" y="83"/>
                    </a:lnTo>
                    <a:lnTo>
                      <a:pt x="41" y="88"/>
                    </a:lnTo>
                    <a:lnTo>
                      <a:pt x="45" y="91"/>
                    </a:lnTo>
                    <a:lnTo>
                      <a:pt x="45" y="91"/>
                    </a:lnTo>
                    <a:lnTo>
                      <a:pt x="49" y="92"/>
                    </a:lnTo>
                    <a:lnTo>
                      <a:pt x="53" y="93"/>
                    </a:lnTo>
                    <a:lnTo>
                      <a:pt x="53" y="93"/>
                    </a:lnTo>
                    <a:lnTo>
                      <a:pt x="59" y="92"/>
                    </a:lnTo>
                    <a:lnTo>
                      <a:pt x="63" y="91"/>
                    </a:lnTo>
                    <a:lnTo>
                      <a:pt x="63" y="91"/>
                    </a:lnTo>
                    <a:lnTo>
                      <a:pt x="67" y="88"/>
                    </a:lnTo>
                    <a:lnTo>
                      <a:pt x="70" y="83"/>
                    </a:lnTo>
                    <a:lnTo>
                      <a:pt x="70" y="83"/>
                    </a:lnTo>
                    <a:lnTo>
                      <a:pt x="72" y="79"/>
                    </a:lnTo>
                    <a:lnTo>
                      <a:pt x="74" y="72"/>
                    </a:lnTo>
                    <a:lnTo>
                      <a:pt x="74" y="72"/>
                    </a:lnTo>
                    <a:lnTo>
                      <a:pt x="75" y="58"/>
                    </a:lnTo>
                    <a:lnTo>
                      <a:pt x="75"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41" name="Freeform 268"/>
              <p:cNvSpPr>
                <a:spLocks/>
              </p:cNvSpPr>
              <p:nvPr/>
            </p:nvSpPr>
            <p:spPr bwMode="auto">
              <a:xfrm>
                <a:off x="2653470" y="5553358"/>
                <a:ext cx="57008" cy="41660"/>
              </a:xfrm>
              <a:custGeom>
                <a:avLst/>
                <a:gdLst>
                  <a:gd name="T0" fmla="*/ 127 w 154"/>
                  <a:gd name="T1" fmla="*/ 113 h 113"/>
                  <a:gd name="T2" fmla="*/ 94 w 154"/>
                  <a:gd name="T3" fmla="*/ 113 h 113"/>
                  <a:gd name="T4" fmla="*/ 76 w 154"/>
                  <a:gd name="T5" fmla="*/ 38 h 113"/>
                  <a:gd name="T6" fmla="*/ 76 w 154"/>
                  <a:gd name="T7" fmla="*/ 38 h 113"/>
                  <a:gd name="T8" fmla="*/ 60 w 154"/>
                  <a:gd name="T9" fmla="*/ 113 h 113"/>
                  <a:gd name="T10" fmla="*/ 26 w 154"/>
                  <a:gd name="T11" fmla="*/ 113 h 113"/>
                  <a:gd name="T12" fmla="*/ 0 w 154"/>
                  <a:gd name="T13" fmla="*/ 0 h 113"/>
                  <a:gd name="T14" fmla="*/ 32 w 154"/>
                  <a:gd name="T15" fmla="*/ 0 h 113"/>
                  <a:gd name="T16" fmla="*/ 47 w 154"/>
                  <a:gd name="T17" fmla="*/ 79 h 113"/>
                  <a:gd name="T18" fmla="*/ 47 w 154"/>
                  <a:gd name="T19" fmla="*/ 79 h 113"/>
                  <a:gd name="T20" fmla="*/ 63 w 154"/>
                  <a:gd name="T21" fmla="*/ 0 h 113"/>
                  <a:gd name="T22" fmla="*/ 93 w 154"/>
                  <a:gd name="T23" fmla="*/ 0 h 113"/>
                  <a:gd name="T24" fmla="*/ 109 w 154"/>
                  <a:gd name="T25" fmla="*/ 79 h 113"/>
                  <a:gd name="T26" fmla="*/ 110 w 154"/>
                  <a:gd name="T27" fmla="*/ 79 h 113"/>
                  <a:gd name="T28" fmla="*/ 123 w 154"/>
                  <a:gd name="T29" fmla="*/ 0 h 113"/>
                  <a:gd name="T30" fmla="*/ 154 w 154"/>
                  <a:gd name="T31" fmla="*/ 0 h 113"/>
                  <a:gd name="T32" fmla="*/ 127 w 154"/>
                  <a:gd name="T33"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13">
                    <a:moveTo>
                      <a:pt x="127" y="113"/>
                    </a:moveTo>
                    <a:lnTo>
                      <a:pt x="94" y="113"/>
                    </a:lnTo>
                    <a:lnTo>
                      <a:pt x="76" y="38"/>
                    </a:lnTo>
                    <a:lnTo>
                      <a:pt x="76" y="38"/>
                    </a:lnTo>
                    <a:lnTo>
                      <a:pt x="60" y="113"/>
                    </a:lnTo>
                    <a:lnTo>
                      <a:pt x="26" y="113"/>
                    </a:lnTo>
                    <a:lnTo>
                      <a:pt x="0" y="0"/>
                    </a:lnTo>
                    <a:lnTo>
                      <a:pt x="32" y="0"/>
                    </a:lnTo>
                    <a:lnTo>
                      <a:pt x="47" y="79"/>
                    </a:lnTo>
                    <a:lnTo>
                      <a:pt x="47" y="79"/>
                    </a:lnTo>
                    <a:lnTo>
                      <a:pt x="63" y="0"/>
                    </a:lnTo>
                    <a:lnTo>
                      <a:pt x="93" y="0"/>
                    </a:lnTo>
                    <a:lnTo>
                      <a:pt x="109" y="79"/>
                    </a:lnTo>
                    <a:lnTo>
                      <a:pt x="110" y="79"/>
                    </a:lnTo>
                    <a:lnTo>
                      <a:pt x="123" y="0"/>
                    </a:lnTo>
                    <a:lnTo>
                      <a:pt x="154" y="0"/>
                    </a:lnTo>
                    <a:lnTo>
                      <a:pt x="127"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42" name="Freeform 269"/>
              <p:cNvSpPr>
                <a:spLocks noEditPoints="1"/>
              </p:cNvSpPr>
              <p:nvPr/>
            </p:nvSpPr>
            <p:spPr bwMode="auto">
              <a:xfrm>
                <a:off x="2722539" y="5553358"/>
                <a:ext cx="39467" cy="41660"/>
              </a:xfrm>
              <a:custGeom>
                <a:avLst/>
                <a:gdLst>
                  <a:gd name="T0" fmla="*/ 75 w 107"/>
                  <a:gd name="T1" fmla="*/ 113 h 113"/>
                  <a:gd name="T2" fmla="*/ 69 w 107"/>
                  <a:gd name="T3" fmla="*/ 93 h 113"/>
                  <a:gd name="T4" fmla="*/ 37 w 107"/>
                  <a:gd name="T5" fmla="*/ 93 h 113"/>
                  <a:gd name="T6" fmla="*/ 32 w 107"/>
                  <a:gd name="T7" fmla="*/ 113 h 113"/>
                  <a:gd name="T8" fmla="*/ 0 w 107"/>
                  <a:gd name="T9" fmla="*/ 113 h 113"/>
                  <a:gd name="T10" fmla="*/ 35 w 107"/>
                  <a:gd name="T11" fmla="*/ 0 h 113"/>
                  <a:gd name="T12" fmla="*/ 73 w 107"/>
                  <a:gd name="T13" fmla="*/ 0 h 113"/>
                  <a:gd name="T14" fmla="*/ 107 w 107"/>
                  <a:gd name="T15" fmla="*/ 113 h 113"/>
                  <a:gd name="T16" fmla="*/ 75 w 107"/>
                  <a:gd name="T17" fmla="*/ 113 h 113"/>
                  <a:gd name="T18" fmla="*/ 53 w 107"/>
                  <a:gd name="T19" fmla="*/ 26 h 113"/>
                  <a:gd name="T20" fmla="*/ 53 w 107"/>
                  <a:gd name="T21" fmla="*/ 26 h 113"/>
                  <a:gd name="T22" fmla="*/ 41 w 107"/>
                  <a:gd name="T23" fmla="*/ 73 h 113"/>
                  <a:gd name="T24" fmla="*/ 65 w 107"/>
                  <a:gd name="T25" fmla="*/ 73 h 113"/>
                  <a:gd name="T26" fmla="*/ 53 w 107"/>
                  <a:gd name="T27" fmla="*/ 2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113">
                    <a:moveTo>
                      <a:pt x="75" y="113"/>
                    </a:moveTo>
                    <a:lnTo>
                      <a:pt x="69" y="93"/>
                    </a:lnTo>
                    <a:lnTo>
                      <a:pt x="37" y="93"/>
                    </a:lnTo>
                    <a:lnTo>
                      <a:pt x="32" y="113"/>
                    </a:lnTo>
                    <a:lnTo>
                      <a:pt x="0" y="113"/>
                    </a:lnTo>
                    <a:lnTo>
                      <a:pt x="35" y="0"/>
                    </a:lnTo>
                    <a:lnTo>
                      <a:pt x="73" y="0"/>
                    </a:lnTo>
                    <a:lnTo>
                      <a:pt x="107" y="113"/>
                    </a:lnTo>
                    <a:lnTo>
                      <a:pt x="75" y="113"/>
                    </a:lnTo>
                    <a:close/>
                    <a:moveTo>
                      <a:pt x="53" y="26"/>
                    </a:moveTo>
                    <a:lnTo>
                      <a:pt x="53" y="26"/>
                    </a:lnTo>
                    <a:lnTo>
                      <a:pt x="41" y="73"/>
                    </a:lnTo>
                    <a:lnTo>
                      <a:pt x="65" y="73"/>
                    </a:lnTo>
                    <a:lnTo>
                      <a:pt x="5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43" name="Freeform 270"/>
              <p:cNvSpPr>
                <a:spLocks noEditPoints="1"/>
              </p:cNvSpPr>
              <p:nvPr/>
            </p:nvSpPr>
            <p:spPr bwMode="auto">
              <a:xfrm>
                <a:off x="2766391" y="5553358"/>
                <a:ext cx="33986" cy="41660"/>
              </a:xfrm>
              <a:custGeom>
                <a:avLst/>
                <a:gdLst>
                  <a:gd name="T0" fmla="*/ 58 w 91"/>
                  <a:gd name="T1" fmla="*/ 113 h 113"/>
                  <a:gd name="T2" fmla="*/ 39 w 91"/>
                  <a:gd name="T3" fmla="*/ 68 h 113"/>
                  <a:gd name="T4" fmla="*/ 29 w 91"/>
                  <a:gd name="T5" fmla="*/ 68 h 113"/>
                  <a:gd name="T6" fmla="*/ 29 w 91"/>
                  <a:gd name="T7" fmla="*/ 113 h 113"/>
                  <a:gd name="T8" fmla="*/ 0 w 91"/>
                  <a:gd name="T9" fmla="*/ 113 h 113"/>
                  <a:gd name="T10" fmla="*/ 0 w 91"/>
                  <a:gd name="T11" fmla="*/ 0 h 113"/>
                  <a:gd name="T12" fmla="*/ 44 w 91"/>
                  <a:gd name="T13" fmla="*/ 0 h 113"/>
                  <a:gd name="T14" fmla="*/ 44 w 91"/>
                  <a:gd name="T15" fmla="*/ 0 h 113"/>
                  <a:gd name="T16" fmla="*/ 54 w 91"/>
                  <a:gd name="T17" fmla="*/ 2 h 113"/>
                  <a:gd name="T18" fmla="*/ 62 w 91"/>
                  <a:gd name="T19" fmla="*/ 3 h 113"/>
                  <a:gd name="T20" fmla="*/ 70 w 91"/>
                  <a:gd name="T21" fmla="*/ 6 h 113"/>
                  <a:gd name="T22" fmla="*/ 75 w 91"/>
                  <a:gd name="T23" fmla="*/ 10 h 113"/>
                  <a:gd name="T24" fmla="*/ 75 w 91"/>
                  <a:gd name="T25" fmla="*/ 10 h 113"/>
                  <a:gd name="T26" fmla="*/ 80 w 91"/>
                  <a:gd name="T27" fmla="*/ 14 h 113"/>
                  <a:gd name="T28" fmla="*/ 84 w 91"/>
                  <a:gd name="T29" fmla="*/ 20 h 113"/>
                  <a:gd name="T30" fmla="*/ 86 w 91"/>
                  <a:gd name="T31" fmla="*/ 27 h 113"/>
                  <a:gd name="T32" fmla="*/ 87 w 91"/>
                  <a:gd name="T33" fmla="*/ 35 h 113"/>
                  <a:gd name="T34" fmla="*/ 87 w 91"/>
                  <a:gd name="T35" fmla="*/ 35 h 113"/>
                  <a:gd name="T36" fmla="*/ 86 w 91"/>
                  <a:gd name="T37" fmla="*/ 40 h 113"/>
                  <a:gd name="T38" fmla="*/ 86 w 91"/>
                  <a:gd name="T39" fmla="*/ 46 h 113"/>
                  <a:gd name="T40" fmla="*/ 86 w 91"/>
                  <a:gd name="T41" fmla="*/ 46 h 113"/>
                  <a:gd name="T42" fmla="*/ 83 w 91"/>
                  <a:gd name="T43" fmla="*/ 50 h 113"/>
                  <a:gd name="T44" fmla="*/ 80 w 91"/>
                  <a:gd name="T45" fmla="*/ 54 h 113"/>
                  <a:gd name="T46" fmla="*/ 80 w 91"/>
                  <a:gd name="T47" fmla="*/ 54 h 113"/>
                  <a:gd name="T48" fmla="*/ 74 w 91"/>
                  <a:gd name="T49" fmla="*/ 59 h 113"/>
                  <a:gd name="T50" fmla="*/ 74 w 91"/>
                  <a:gd name="T51" fmla="*/ 59 h 113"/>
                  <a:gd name="T52" fmla="*/ 67 w 91"/>
                  <a:gd name="T53" fmla="*/ 63 h 113"/>
                  <a:gd name="T54" fmla="*/ 91 w 91"/>
                  <a:gd name="T55" fmla="*/ 113 h 113"/>
                  <a:gd name="T56" fmla="*/ 58 w 91"/>
                  <a:gd name="T57" fmla="*/ 113 h 113"/>
                  <a:gd name="T58" fmla="*/ 56 w 91"/>
                  <a:gd name="T59" fmla="*/ 36 h 113"/>
                  <a:gd name="T60" fmla="*/ 56 w 91"/>
                  <a:gd name="T61" fmla="*/ 36 h 113"/>
                  <a:gd name="T62" fmla="*/ 55 w 91"/>
                  <a:gd name="T63" fmla="*/ 32 h 113"/>
                  <a:gd name="T64" fmla="*/ 55 w 91"/>
                  <a:gd name="T65" fmla="*/ 28 h 113"/>
                  <a:gd name="T66" fmla="*/ 55 w 91"/>
                  <a:gd name="T67" fmla="*/ 28 h 113"/>
                  <a:gd name="T68" fmla="*/ 51 w 91"/>
                  <a:gd name="T69" fmla="*/ 24 h 113"/>
                  <a:gd name="T70" fmla="*/ 51 w 91"/>
                  <a:gd name="T71" fmla="*/ 24 h 113"/>
                  <a:gd name="T72" fmla="*/ 46 w 91"/>
                  <a:gd name="T73" fmla="*/ 23 h 113"/>
                  <a:gd name="T74" fmla="*/ 46 w 91"/>
                  <a:gd name="T75" fmla="*/ 23 h 113"/>
                  <a:gd name="T76" fmla="*/ 40 w 91"/>
                  <a:gd name="T77" fmla="*/ 22 h 113"/>
                  <a:gd name="T78" fmla="*/ 29 w 91"/>
                  <a:gd name="T79" fmla="*/ 22 h 113"/>
                  <a:gd name="T80" fmla="*/ 29 w 91"/>
                  <a:gd name="T81" fmla="*/ 50 h 113"/>
                  <a:gd name="T82" fmla="*/ 39 w 91"/>
                  <a:gd name="T83" fmla="*/ 50 h 113"/>
                  <a:gd name="T84" fmla="*/ 39 w 91"/>
                  <a:gd name="T85" fmla="*/ 50 h 113"/>
                  <a:gd name="T86" fmla="*/ 46 w 91"/>
                  <a:gd name="T87" fmla="*/ 50 h 113"/>
                  <a:gd name="T88" fmla="*/ 51 w 91"/>
                  <a:gd name="T89" fmla="*/ 47 h 113"/>
                  <a:gd name="T90" fmla="*/ 51 w 91"/>
                  <a:gd name="T91" fmla="*/ 47 h 113"/>
                  <a:gd name="T92" fmla="*/ 54 w 91"/>
                  <a:gd name="T93" fmla="*/ 44 h 113"/>
                  <a:gd name="T94" fmla="*/ 55 w 91"/>
                  <a:gd name="T95" fmla="*/ 43 h 113"/>
                  <a:gd name="T96" fmla="*/ 56 w 91"/>
                  <a:gd name="T97" fmla="*/ 36 h 113"/>
                  <a:gd name="T98" fmla="*/ 56 w 91"/>
                  <a:gd name="T99" fmla="*/ 3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 h="113">
                    <a:moveTo>
                      <a:pt x="58" y="113"/>
                    </a:moveTo>
                    <a:lnTo>
                      <a:pt x="39" y="68"/>
                    </a:lnTo>
                    <a:lnTo>
                      <a:pt x="29" y="68"/>
                    </a:lnTo>
                    <a:lnTo>
                      <a:pt x="29" y="113"/>
                    </a:lnTo>
                    <a:lnTo>
                      <a:pt x="0" y="113"/>
                    </a:lnTo>
                    <a:lnTo>
                      <a:pt x="0" y="0"/>
                    </a:lnTo>
                    <a:lnTo>
                      <a:pt x="44" y="0"/>
                    </a:lnTo>
                    <a:lnTo>
                      <a:pt x="44" y="0"/>
                    </a:lnTo>
                    <a:lnTo>
                      <a:pt x="54" y="2"/>
                    </a:lnTo>
                    <a:lnTo>
                      <a:pt x="62" y="3"/>
                    </a:lnTo>
                    <a:lnTo>
                      <a:pt x="70" y="6"/>
                    </a:lnTo>
                    <a:lnTo>
                      <a:pt x="75" y="10"/>
                    </a:lnTo>
                    <a:lnTo>
                      <a:pt x="75" y="10"/>
                    </a:lnTo>
                    <a:lnTo>
                      <a:pt x="80" y="14"/>
                    </a:lnTo>
                    <a:lnTo>
                      <a:pt x="84" y="20"/>
                    </a:lnTo>
                    <a:lnTo>
                      <a:pt x="86" y="27"/>
                    </a:lnTo>
                    <a:lnTo>
                      <a:pt x="87" y="35"/>
                    </a:lnTo>
                    <a:lnTo>
                      <a:pt x="87" y="35"/>
                    </a:lnTo>
                    <a:lnTo>
                      <a:pt x="86" y="40"/>
                    </a:lnTo>
                    <a:lnTo>
                      <a:pt x="86" y="46"/>
                    </a:lnTo>
                    <a:lnTo>
                      <a:pt x="86" y="46"/>
                    </a:lnTo>
                    <a:lnTo>
                      <a:pt x="83" y="50"/>
                    </a:lnTo>
                    <a:lnTo>
                      <a:pt x="80" y="54"/>
                    </a:lnTo>
                    <a:lnTo>
                      <a:pt x="80" y="54"/>
                    </a:lnTo>
                    <a:lnTo>
                      <a:pt x="74" y="59"/>
                    </a:lnTo>
                    <a:lnTo>
                      <a:pt x="74" y="59"/>
                    </a:lnTo>
                    <a:lnTo>
                      <a:pt x="67" y="63"/>
                    </a:lnTo>
                    <a:lnTo>
                      <a:pt x="91" y="113"/>
                    </a:lnTo>
                    <a:lnTo>
                      <a:pt x="58" y="113"/>
                    </a:lnTo>
                    <a:close/>
                    <a:moveTo>
                      <a:pt x="56" y="36"/>
                    </a:moveTo>
                    <a:lnTo>
                      <a:pt x="56" y="36"/>
                    </a:lnTo>
                    <a:lnTo>
                      <a:pt x="55" y="32"/>
                    </a:lnTo>
                    <a:lnTo>
                      <a:pt x="55" y="28"/>
                    </a:lnTo>
                    <a:lnTo>
                      <a:pt x="55" y="28"/>
                    </a:lnTo>
                    <a:lnTo>
                      <a:pt x="51" y="24"/>
                    </a:lnTo>
                    <a:lnTo>
                      <a:pt x="51" y="24"/>
                    </a:lnTo>
                    <a:lnTo>
                      <a:pt x="46" y="23"/>
                    </a:lnTo>
                    <a:lnTo>
                      <a:pt x="46" y="23"/>
                    </a:lnTo>
                    <a:lnTo>
                      <a:pt x="40" y="22"/>
                    </a:lnTo>
                    <a:lnTo>
                      <a:pt x="29" y="22"/>
                    </a:lnTo>
                    <a:lnTo>
                      <a:pt x="29" y="50"/>
                    </a:lnTo>
                    <a:lnTo>
                      <a:pt x="39" y="50"/>
                    </a:lnTo>
                    <a:lnTo>
                      <a:pt x="39" y="50"/>
                    </a:lnTo>
                    <a:lnTo>
                      <a:pt x="46" y="50"/>
                    </a:lnTo>
                    <a:lnTo>
                      <a:pt x="51" y="47"/>
                    </a:lnTo>
                    <a:lnTo>
                      <a:pt x="51" y="47"/>
                    </a:lnTo>
                    <a:lnTo>
                      <a:pt x="54" y="44"/>
                    </a:lnTo>
                    <a:lnTo>
                      <a:pt x="55" y="43"/>
                    </a:lnTo>
                    <a:lnTo>
                      <a:pt x="56" y="36"/>
                    </a:lnTo>
                    <a:lnTo>
                      <a:pt x="5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9" name="Freeform 271"/>
              <p:cNvSpPr>
                <a:spLocks noEditPoints="1"/>
              </p:cNvSpPr>
              <p:nvPr/>
            </p:nvSpPr>
            <p:spPr bwMode="auto">
              <a:xfrm>
                <a:off x="2805859" y="5553358"/>
                <a:ext cx="32890" cy="41660"/>
              </a:xfrm>
              <a:custGeom>
                <a:avLst/>
                <a:gdLst>
                  <a:gd name="T0" fmla="*/ 58 w 92"/>
                  <a:gd name="T1" fmla="*/ 113 h 113"/>
                  <a:gd name="T2" fmla="*/ 40 w 92"/>
                  <a:gd name="T3" fmla="*/ 68 h 113"/>
                  <a:gd name="T4" fmla="*/ 30 w 92"/>
                  <a:gd name="T5" fmla="*/ 68 h 113"/>
                  <a:gd name="T6" fmla="*/ 30 w 92"/>
                  <a:gd name="T7" fmla="*/ 113 h 113"/>
                  <a:gd name="T8" fmla="*/ 0 w 92"/>
                  <a:gd name="T9" fmla="*/ 113 h 113"/>
                  <a:gd name="T10" fmla="*/ 0 w 92"/>
                  <a:gd name="T11" fmla="*/ 0 h 113"/>
                  <a:gd name="T12" fmla="*/ 45 w 92"/>
                  <a:gd name="T13" fmla="*/ 0 h 113"/>
                  <a:gd name="T14" fmla="*/ 45 w 92"/>
                  <a:gd name="T15" fmla="*/ 0 h 113"/>
                  <a:gd name="T16" fmla="*/ 54 w 92"/>
                  <a:gd name="T17" fmla="*/ 2 h 113"/>
                  <a:gd name="T18" fmla="*/ 62 w 92"/>
                  <a:gd name="T19" fmla="*/ 3 h 113"/>
                  <a:gd name="T20" fmla="*/ 70 w 92"/>
                  <a:gd name="T21" fmla="*/ 6 h 113"/>
                  <a:gd name="T22" fmla="*/ 76 w 92"/>
                  <a:gd name="T23" fmla="*/ 10 h 113"/>
                  <a:gd name="T24" fmla="*/ 76 w 92"/>
                  <a:gd name="T25" fmla="*/ 10 h 113"/>
                  <a:gd name="T26" fmla="*/ 81 w 92"/>
                  <a:gd name="T27" fmla="*/ 14 h 113"/>
                  <a:gd name="T28" fmla="*/ 84 w 92"/>
                  <a:gd name="T29" fmla="*/ 20 h 113"/>
                  <a:gd name="T30" fmla="*/ 87 w 92"/>
                  <a:gd name="T31" fmla="*/ 27 h 113"/>
                  <a:gd name="T32" fmla="*/ 88 w 92"/>
                  <a:gd name="T33" fmla="*/ 35 h 113"/>
                  <a:gd name="T34" fmla="*/ 88 w 92"/>
                  <a:gd name="T35" fmla="*/ 35 h 113"/>
                  <a:gd name="T36" fmla="*/ 87 w 92"/>
                  <a:gd name="T37" fmla="*/ 40 h 113"/>
                  <a:gd name="T38" fmla="*/ 85 w 92"/>
                  <a:gd name="T39" fmla="*/ 46 h 113"/>
                  <a:gd name="T40" fmla="*/ 85 w 92"/>
                  <a:gd name="T41" fmla="*/ 46 h 113"/>
                  <a:gd name="T42" fmla="*/ 84 w 92"/>
                  <a:gd name="T43" fmla="*/ 50 h 113"/>
                  <a:gd name="T44" fmla="*/ 81 w 92"/>
                  <a:gd name="T45" fmla="*/ 54 h 113"/>
                  <a:gd name="T46" fmla="*/ 81 w 92"/>
                  <a:gd name="T47" fmla="*/ 54 h 113"/>
                  <a:gd name="T48" fmla="*/ 74 w 92"/>
                  <a:gd name="T49" fmla="*/ 59 h 113"/>
                  <a:gd name="T50" fmla="*/ 74 w 92"/>
                  <a:gd name="T51" fmla="*/ 59 h 113"/>
                  <a:gd name="T52" fmla="*/ 68 w 92"/>
                  <a:gd name="T53" fmla="*/ 63 h 113"/>
                  <a:gd name="T54" fmla="*/ 92 w 92"/>
                  <a:gd name="T55" fmla="*/ 113 h 113"/>
                  <a:gd name="T56" fmla="*/ 58 w 92"/>
                  <a:gd name="T57" fmla="*/ 113 h 113"/>
                  <a:gd name="T58" fmla="*/ 56 w 92"/>
                  <a:gd name="T59" fmla="*/ 36 h 113"/>
                  <a:gd name="T60" fmla="*/ 56 w 92"/>
                  <a:gd name="T61" fmla="*/ 36 h 113"/>
                  <a:gd name="T62" fmla="*/ 56 w 92"/>
                  <a:gd name="T63" fmla="*/ 32 h 113"/>
                  <a:gd name="T64" fmla="*/ 54 w 92"/>
                  <a:gd name="T65" fmla="*/ 28 h 113"/>
                  <a:gd name="T66" fmla="*/ 54 w 92"/>
                  <a:gd name="T67" fmla="*/ 28 h 113"/>
                  <a:gd name="T68" fmla="*/ 50 w 92"/>
                  <a:gd name="T69" fmla="*/ 24 h 113"/>
                  <a:gd name="T70" fmla="*/ 50 w 92"/>
                  <a:gd name="T71" fmla="*/ 24 h 113"/>
                  <a:gd name="T72" fmla="*/ 45 w 92"/>
                  <a:gd name="T73" fmla="*/ 23 h 113"/>
                  <a:gd name="T74" fmla="*/ 45 w 92"/>
                  <a:gd name="T75" fmla="*/ 23 h 113"/>
                  <a:gd name="T76" fmla="*/ 40 w 92"/>
                  <a:gd name="T77" fmla="*/ 22 h 113"/>
                  <a:gd name="T78" fmla="*/ 30 w 92"/>
                  <a:gd name="T79" fmla="*/ 22 h 113"/>
                  <a:gd name="T80" fmla="*/ 30 w 92"/>
                  <a:gd name="T81" fmla="*/ 50 h 113"/>
                  <a:gd name="T82" fmla="*/ 40 w 92"/>
                  <a:gd name="T83" fmla="*/ 50 h 113"/>
                  <a:gd name="T84" fmla="*/ 40 w 92"/>
                  <a:gd name="T85" fmla="*/ 50 h 113"/>
                  <a:gd name="T86" fmla="*/ 46 w 92"/>
                  <a:gd name="T87" fmla="*/ 50 h 113"/>
                  <a:gd name="T88" fmla="*/ 52 w 92"/>
                  <a:gd name="T89" fmla="*/ 47 h 113"/>
                  <a:gd name="T90" fmla="*/ 52 w 92"/>
                  <a:gd name="T91" fmla="*/ 47 h 113"/>
                  <a:gd name="T92" fmla="*/ 53 w 92"/>
                  <a:gd name="T93" fmla="*/ 44 h 113"/>
                  <a:gd name="T94" fmla="*/ 54 w 92"/>
                  <a:gd name="T95" fmla="*/ 43 h 113"/>
                  <a:gd name="T96" fmla="*/ 56 w 92"/>
                  <a:gd name="T97" fmla="*/ 36 h 113"/>
                  <a:gd name="T98" fmla="*/ 56 w 92"/>
                  <a:gd name="T99" fmla="*/ 3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113">
                    <a:moveTo>
                      <a:pt x="58" y="113"/>
                    </a:moveTo>
                    <a:lnTo>
                      <a:pt x="40" y="68"/>
                    </a:lnTo>
                    <a:lnTo>
                      <a:pt x="30" y="68"/>
                    </a:lnTo>
                    <a:lnTo>
                      <a:pt x="30" y="113"/>
                    </a:lnTo>
                    <a:lnTo>
                      <a:pt x="0" y="113"/>
                    </a:lnTo>
                    <a:lnTo>
                      <a:pt x="0" y="0"/>
                    </a:lnTo>
                    <a:lnTo>
                      <a:pt x="45" y="0"/>
                    </a:lnTo>
                    <a:lnTo>
                      <a:pt x="45" y="0"/>
                    </a:lnTo>
                    <a:lnTo>
                      <a:pt x="54" y="2"/>
                    </a:lnTo>
                    <a:lnTo>
                      <a:pt x="62" y="3"/>
                    </a:lnTo>
                    <a:lnTo>
                      <a:pt x="70" y="6"/>
                    </a:lnTo>
                    <a:lnTo>
                      <a:pt x="76" y="10"/>
                    </a:lnTo>
                    <a:lnTo>
                      <a:pt x="76" y="10"/>
                    </a:lnTo>
                    <a:lnTo>
                      <a:pt x="81" y="14"/>
                    </a:lnTo>
                    <a:lnTo>
                      <a:pt x="84" y="20"/>
                    </a:lnTo>
                    <a:lnTo>
                      <a:pt x="87" y="27"/>
                    </a:lnTo>
                    <a:lnTo>
                      <a:pt x="88" y="35"/>
                    </a:lnTo>
                    <a:lnTo>
                      <a:pt x="88" y="35"/>
                    </a:lnTo>
                    <a:lnTo>
                      <a:pt x="87" y="40"/>
                    </a:lnTo>
                    <a:lnTo>
                      <a:pt x="85" y="46"/>
                    </a:lnTo>
                    <a:lnTo>
                      <a:pt x="85" y="46"/>
                    </a:lnTo>
                    <a:lnTo>
                      <a:pt x="84" y="50"/>
                    </a:lnTo>
                    <a:lnTo>
                      <a:pt x="81" y="54"/>
                    </a:lnTo>
                    <a:lnTo>
                      <a:pt x="81" y="54"/>
                    </a:lnTo>
                    <a:lnTo>
                      <a:pt x="74" y="59"/>
                    </a:lnTo>
                    <a:lnTo>
                      <a:pt x="74" y="59"/>
                    </a:lnTo>
                    <a:lnTo>
                      <a:pt x="68" y="63"/>
                    </a:lnTo>
                    <a:lnTo>
                      <a:pt x="92" y="113"/>
                    </a:lnTo>
                    <a:lnTo>
                      <a:pt x="58" y="113"/>
                    </a:lnTo>
                    <a:close/>
                    <a:moveTo>
                      <a:pt x="56" y="36"/>
                    </a:moveTo>
                    <a:lnTo>
                      <a:pt x="56" y="36"/>
                    </a:lnTo>
                    <a:lnTo>
                      <a:pt x="56" y="32"/>
                    </a:lnTo>
                    <a:lnTo>
                      <a:pt x="54" y="28"/>
                    </a:lnTo>
                    <a:lnTo>
                      <a:pt x="54" y="28"/>
                    </a:lnTo>
                    <a:lnTo>
                      <a:pt x="50" y="24"/>
                    </a:lnTo>
                    <a:lnTo>
                      <a:pt x="50" y="24"/>
                    </a:lnTo>
                    <a:lnTo>
                      <a:pt x="45" y="23"/>
                    </a:lnTo>
                    <a:lnTo>
                      <a:pt x="45" y="23"/>
                    </a:lnTo>
                    <a:lnTo>
                      <a:pt x="40" y="22"/>
                    </a:lnTo>
                    <a:lnTo>
                      <a:pt x="30" y="22"/>
                    </a:lnTo>
                    <a:lnTo>
                      <a:pt x="30" y="50"/>
                    </a:lnTo>
                    <a:lnTo>
                      <a:pt x="40" y="50"/>
                    </a:lnTo>
                    <a:lnTo>
                      <a:pt x="40" y="50"/>
                    </a:lnTo>
                    <a:lnTo>
                      <a:pt x="46" y="50"/>
                    </a:lnTo>
                    <a:lnTo>
                      <a:pt x="52" y="47"/>
                    </a:lnTo>
                    <a:lnTo>
                      <a:pt x="52" y="47"/>
                    </a:lnTo>
                    <a:lnTo>
                      <a:pt x="53" y="44"/>
                    </a:lnTo>
                    <a:lnTo>
                      <a:pt x="54" y="43"/>
                    </a:lnTo>
                    <a:lnTo>
                      <a:pt x="56" y="36"/>
                    </a:lnTo>
                    <a:lnTo>
                      <a:pt x="5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0" name="Rectangle 272"/>
              <p:cNvSpPr>
                <a:spLocks noChangeArrowheads="1"/>
              </p:cNvSpPr>
              <p:nvPr/>
            </p:nvSpPr>
            <p:spPr bwMode="auto">
              <a:xfrm>
                <a:off x="2844230" y="5553358"/>
                <a:ext cx="12060" cy="416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 name="Freeform 273"/>
              <p:cNvSpPr>
                <a:spLocks/>
              </p:cNvSpPr>
              <p:nvPr/>
            </p:nvSpPr>
            <p:spPr bwMode="auto">
              <a:xfrm>
                <a:off x="2860675" y="5553358"/>
                <a:ext cx="39467" cy="41660"/>
              </a:xfrm>
              <a:custGeom>
                <a:avLst/>
                <a:gdLst>
                  <a:gd name="T0" fmla="*/ 73 w 108"/>
                  <a:gd name="T1" fmla="*/ 113 h 113"/>
                  <a:gd name="T2" fmla="*/ 33 w 108"/>
                  <a:gd name="T3" fmla="*/ 113 h 113"/>
                  <a:gd name="T4" fmla="*/ 0 w 108"/>
                  <a:gd name="T5" fmla="*/ 0 h 113"/>
                  <a:gd name="T6" fmla="*/ 34 w 108"/>
                  <a:gd name="T7" fmla="*/ 0 h 113"/>
                  <a:gd name="T8" fmla="*/ 54 w 108"/>
                  <a:gd name="T9" fmla="*/ 83 h 113"/>
                  <a:gd name="T10" fmla="*/ 54 w 108"/>
                  <a:gd name="T11" fmla="*/ 83 h 113"/>
                  <a:gd name="T12" fmla="*/ 73 w 108"/>
                  <a:gd name="T13" fmla="*/ 0 h 113"/>
                  <a:gd name="T14" fmla="*/ 108 w 108"/>
                  <a:gd name="T15" fmla="*/ 0 h 113"/>
                  <a:gd name="T16" fmla="*/ 73 w 108"/>
                  <a:gd name="T17"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13">
                    <a:moveTo>
                      <a:pt x="73" y="113"/>
                    </a:moveTo>
                    <a:lnTo>
                      <a:pt x="33" y="113"/>
                    </a:lnTo>
                    <a:lnTo>
                      <a:pt x="0" y="0"/>
                    </a:lnTo>
                    <a:lnTo>
                      <a:pt x="34" y="0"/>
                    </a:lnTo>
                    <a:lnTo>
                      <a:pt x="54" y="83"/>
                    </a:lnTo>
                    <a:lnTo>
                      <a:pt x="54" y="83"/>
                    </a:lnTo>
                    <a:lnTo>
                      <a:pt x="73" y="0"/>
                    </a:lnTo>
                    <a:lnTo>
                      <a:pt x="108" y="0"/>
                    </a:lnTo>
                    <a:lnTo>
                      <a:pt x="73"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 name="Rectangle 274"/>
              <p:cNvSpPr>
                <a:spLocks noChangeArrowheads="1"/>
              </p:cNvSpPr>
              <p:nvPr/>
            </p:nvSpPr>
            <p:spPr bwMode="auto">
              <a:xfrm>
                <a:off x="2904528" y="5553358"/>
                <a:ext cx="10963" cy="416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2" name="Freeform 275"/>
              <p:cNvSpPr>
                <a:spLocks/>
              </p:cNvSpPr>
              <p:nvPr/>
            </p:nvSpPr>
            <p:spPr bwMode="auto">
              <a:xfrm>
                <a:off x="2925357" y="5553358"/>
                <a:ext cx="33986" cy="41660"/>
              </a:xfrm>
              <a:custGeom>
                <a:avLst/>
                <a:gdLst>
                  <a:gd name="T0" fmla="*/ 60 w 94"/>
                  <a:gd name="T1" fmla="*/ 113 h 113"/>
                  <a:gd name="T2" fmla="*/ 28 w 94"/>
                  <a:gd name="T3" fmla="*/ 44 h 113"/>
                  <a:gd name="T4" fmla="*/ 27 w 94"/>
                  <a:gd name="T5" fmla="*/ 44 h 113"/>
                  <a:gd name="T6" fmla="*/ 28 w 94"/>
                  <a:gd name="T7" fmla="*/ 113 h 113"/>
                  <a:gd name="T8" fmla="*/ 0 w 94"/>
                  <a:gd name="T9" fmla="*/ 113 h 113"/>
                  <a:gd name="T10" fmla="*/ 0 w 94"/>
                  <a:gd name="T11" fmla="*/ 0 h 113"/>
                  <a:gd name="T12" fmla="*/ 35 w 94"/>
                  <a:gd name="T13" fmla="*/ 0 h 113"/>
                  <a:gd name="T14" fmla="*/ 67 w 94"/>
                  <a:gd name="T15" fmla="*/ 70 h 113"/>
                  <a:gd name="T16" fmla="*/ 67 w 94"/>
                  <a:gd name="T17" fmla="*/ 70 h 113"/>
                  <a:gd name="T18" fmla="*/ 67 w 94"/>
                  <a:gd name="T19" fmla="*/ 0 h 113"/>
                  <a:gd name="T20" fmla="*/ 94 w 94"/>
                  <a:gd name="T21" fmla="*/ 0 h 113"/>
                  <a:gd name="T22" fmla="*/ 94 w 94"/>
                  <a:gd name="T23" fmla="*/ 113 h 113"/>
                  <a:gd name="T24" fmla="*/ 60 w 94"/>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13">
                    <a:moveTo>
                      <a:pt x="60" y="113"/>
                    </a:moveTo>
                    <a:lnTo>
                      <a:pt x="28" y="44"/>
                    </a:lnTo>
                    <a:lnTo>
                      <a:pt x="27" y="44"/>
                    </a:lnTo>
                    <a:lnTo>
                      <a:pt x="28" y="113"/>
                    </a:lnTo>
                    <a:lnTo>
                      <a:pt x="0" y="113"/>
                    </a:lnTo>
                    <a:lnTo>
                      <a:pt x="0" y="0"/>
                    </a:lnTo>
                    <a:lnTo>
                      <a:pt x="35" y="0"/>
                    </a:lnTo>
                    <a:lnTo>
                      <a:pt x="67" y="70"/>
                    </a:lnTo>
                    <a:lnTo>
                      <a:pt x="67" y="70"/>
                    </a:lnTo>
                    <a:lnTo>
                      <a:pt x="67" y="0"/>
                    </a:lnTo>
                    <a:lnTo>
                      <a:pt x="94" y="0"/>
                    </a:lnTo>
                    <a:lnTo>
                      <a:pt x="94" y="113"/>
                    </a:lnTo>
                    <a:lnTo>
                      <a:pt x="6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0" name="Freeform 276"/>
              <p:cNvSpPr>
                <a:spLocks/>
              </p:cNvSpPr>
              <p:nvPr/>
            </p:nvSpPr>
            <p:spPr bwMode="auto">
              <a:xfrm>
                <a:off x="2965922" y="5553358"/>
                <a:ext cx="35082" cy="42757"/>
              </a:xfrm>
              <a:custGeom>
                <a:avLst/>
                <a:gdLst>
                  <a:gd name="T0" fmla="*/ 79 w 95"/>
                  <a:gd name="T1" fmla="*/ 115 h 117"/>
                  <a:gd name="T2" fmla="*/ 57 w 95"/>
                  <a:gd name="T3" fmla="*/ 117 h 117"/>
                  <a:gd name="T4" fmla="*/ 45 w 95"/>
                  <a:gd name="T5" fmla="*/ 116 h 117"/>
                  <a:gd name="T6" fmla="*/ 34 w 95"/>
                  <a:gd name="T7" fmla="*/ 113 h 117"/>
                  <a:gd name="T8" fmla="*/ 16 w 95"/>
                  <a:gd name="T9" fmla="*/ 101 h 117"/>
                  <a:gd name="T10" fmla="*/ 10 w 95"/>
                  <a:gd name="T11" fmla="*/ 93 h 117"/>
                  <a:gd name="T12" fmla="*/ 4 w 95"/>
                  <a:gd name="T13" fmla="*/ 83 h 117"/>
                  <a:gd name="T14" fmla="*/ 0 w 95"/>
                  <a:gd name="T15" fmla="*/ 58 h 117"/>
                  <a:gd name="T16" fmla="*/ 2 w 95"/>
                  <a:gd name="T17" fmla="*/ 46 h 117"/>
                  <a:gd name="T18" fmla="*/ 4 w 95"/>
                  <a:gd name="T19" fmla="*/ 34 h 117"/>
                  <a:gd name="T20" fmla="*/ 15 w 95"/>
                  <a:gd name="T21" fmla="*/ 16 h 117"/>
                  <a:gd name="T22" fmla="*/ 23 w 95"/>
                  <a:gd name="T23" fmla="*/ 9 h 117"/>
                  <a:gd name="T24" fmla="*/ 32 w 95"/>
                  <a:gd name="T25" fmla="*/ 4 h 117"/>
                  <a:gd name="T26" fmla="*/ 55 w 95"/>
                  <a:gd name="T27" fmla="*/ 0 h 117"/>
                  <a:gd name="T28" fmla="*/ 69 w 95"/>
                  <a:gd name="T29" fmla="*/ 1 h 117"/>
                  <a:gd name="T30" fmla="*/ 79 w 95"/>
                  <a:gd name="T31" fmla="*/ 4 h 117"/>
                  <a:gd name="T32" fmla="*/ 94 w 95"/>
                  <a:gd name="T33" fmla="*/ 13 h 117"/>
                  <a:gd name="T34" fmla="*/ 77 w 95"/>
                  <a:gd name="T35" fmla="*/ 32 h 117"/>
                  <a:gd name="T36" fmla="*/ 69 w 95"/>
                  <a:gd name="T37" fmla="*/ 26 h 117"/>
                  <a:gd name="T38" fmla="*/ 58 w 95"/>
                  <a:gd name="T39" fmla="*/ 24 h 117"/>
                  <a:gd name="T40" fmla="*/ 51 w 95"/>
                  <a:gd name="T41" fmla="*/ 25 h 117"/>
                  <a:gd name="T42" fmla="*/ 46 w 95"/>
                  <a:gd name="T43" fmla="*/ 26 h 117"/>
                  <a:gd name="T44" fmla="*/ 38 w 95"/>
                  <a:gd name="T45" fmla="*/ 34 h 117"/>
                  <a:gd name="T46" fmla="*/ 35 w 95"/>
                  <a:gd name="T47" fmla="*/ 40 h 117"/>
                  <a:gd name="T48" fmla="*/ 34 w 95"/>
                  <a:gd name="T49" fmla="*/ 45 h 117"/>
                  <a:gd name="T50" fmla="*/ 32 w 95"/>
                  <a:gd name="T51" fmla="*/ 58 h 117"/>
                  <a:gd name="T52" fmla="*/ 34 w 95"/>
                  <a:gd name="T53" fmla="*/ 72 h 117"/>
                  <a:gd name="T54" fmla="*/ 38 w 95"/>
                  <a:gd name="T55" fmla="*/ 84 h 117"/>
                  <a:gd name="T56" fmla="*/ 42 w 95"/>
                  <a:gd name="T57" fmla="*/ 88 h 117"/>
                  <a:gd name="T58" fmla="*/ 46 w 95"/>
                  <a:gd name="T59" fmla="*/ 91 h 117"/>
                  <a:gd name="T60" fmla="*/ 57 w 95"/>
                  <a:gd name="T61" fmla="*/ 95 h 117"/>
                  <a:gd name="T62" fmla="*/ 63 w 95"/>
                  <a:gd name="T63" fmla="*/ 93 h 117"/>
                  <a:gd name="T64" fmla="*/ 67 w 95"/>
                  <a:gd name="T65" fmla="*/ 70 h 117"/>
                  <a:gd name="T66" fmla="*/ 53 w 95"/>
                  <a:gd name="T67" fmla="*/ 49 h 117"/>
                  <a:gd name="T68" fmla="*/ 95 w 95"/>
                  <a:gd name="T69" fmla="*/ 108 h 117"/>
                  <a:gd name="T70" fmla="*/ 89 w 95"/>
                  <a:gd name="T71" fmla="*/ 112 h 117"/>
                  <a:gd name="T72" fmla="*/ 79 w 95"/>
                  <a:gd name="T73"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5" h="117">
                    <a:moveTo>
                      <a:pt x="79" y="115"/>
                    </a:moveTo>
                    <a:lnTo>
                      <a:pt x="79" y="115"/>
                    </a:lnTo>
                    <a:lnTo>
                      <a:pt x="69" y="117"/>
                    </a:lnTo>
                    <a:lnTo>
                      <a:pt x="57" y="117"/>
                    </a:lnTo>
                    <a:lnTo>
                      <a:pt x="57" y="117"/>
                    </a:lnTo>
                    <a:lnTo>
                      <a:pt x="45" y="116"/>
                    </a:lnTo>
                    <a:lnTo>
                      <a:pt x="34" y="113"/>
                    </a:lnTo>
                    <a:lnTo>
                      <a:pt x="34" y="113"/>
                    </a:lnTo>
                    <a:lnTo>
                      <a:pt x="24" y="108"/>
                    </a:lnTo>
                    <a:lnTo>
                      <a:pt x="16" y="101"/>
                    </a:lnTo>
                    <a:lnTo>
                      <a:pt x="16" y="101"/>
                    </a:lnTo>
                    <a:lnTo>
                      <a:pt x="10" y="93"/>
                    </a:lnTo>
                    <a:lnTo>
                      <a:pt x="4" y="83"/>
                    </a:lnTo>
                    <a:lnTo>
                      <a:pt x="4" y="83"/>
                    </a:lnTo>
                    <a:lnTo>
                      <a:pt x="2" y="72"/>
                    </a:lnTo>
                    <a:lnTo>
                      <a:pt x="0" y="58"/>
                    </a:lnTo>
                    <a:lnTo>
                      <a:pt x="0" y="58"/>
                    </a:lnTo>
                    <a:lnTo>
                      <a:pt x="2" y="46"/>
                    </a:lnTo>
                    <a:lnTo>
                      <a:pt x="4" y="34"/>
                    </a:lnTo>
                    <a:lnTo>
                      <a:pt x="4" y="34"/>
                    </a:lnTo>
                    <a:lnTo>
                      <a:pt x="10" y="25"/>
                    </a:lnTo>
                    <a:lnTo>
                      <a:pt x="15" y="16"/>
                    </a:lnTo>
                    <a:lnTo>
                      <a:pt x="15" y="16"/>
                    </a:lnTo>
                    <a:lnTo>
                      <a:pt x="23" y="9"/>
                    </a:lnTo>
                    <a:lnTo>
                      <a:pt x="32" y="4"/>
                    </a:lnTo>
                    <a:lnTo>
                      <a:pt x="32" y="4"/>
                    </a:lnTo>
                    <a:lnTo>
                      <a:pt x="43" y="1"/>
                    </a:lnTo>
                    <a:lnTo>
                      <a:pt x="55" y="0"/>
                    </a:lnTo>
                    <a:lnTo>
                      <a:pt x="55" y="0"/>
                    </a:lnTo>
                    <a:lnTo>
                      <a:pt x="69" y="1"/>
                    </a:lnTo>
                    <a:lnTo>
                      <a:pt x="79" y="4"/>
                    </a:lnTo>
                    <a:lnTo>
                      <a:pt x="79" y="4"/>
                    </a:lnTo>
                    <a:lnTo>
                      <a:pt x="87" y="8"/>
                    </a:lnTo>
                    <a:lnTo>
                      <a:pt x="94" y="13"/>
                    </a:lnTo>
                    <a:lnTo>
                      <a:pt x="77" y="32"/>
                    </a:lnTo>
                    <a:lnTo>
                      <a:pt x="77" y="32"/>
                    </a:lnTo>
                    <a:lnTo>
                      <a:pt x="73" y="29"/>
                    </a:lnTo>
                    <a:lnTo>
                      <a:pt x="69" y="26"/>
                    </a:lnTo>
                    <a:lnTo>
                      <a:pt x="63" y="25"/>
                    </a:lnTo>
                    <a:lnTo>
                      <a:pt x="58" y="24"/>
                    </a:lnTo>
                    <a:lnTo>
                      <a:pt x="58" y="24"/>
                    </a:lnTo>
                    <a:lnTo>
                      <a:pt x="51" y="25"/>
                    </a:lnTo>
                    <a:lnTo>
                      <a:pt x="46" y="26"/>
                    </a:lnTo>
                    <a:lnTo>
                      <a:pt x="46" y="26"/>
                    </a:lnTo>
                    <a:lnTo>
                      <a:pt x="42" y="30"/>
                    </a:lnTo>
                    <a:lnTo>
                      <a:pt x="38" y="34"/>
                    </a:lnTo>
                    <a:lnTo>
                      <a:pt x="38" y="34"/>
                    </a:lnTo>
                    <a:lnTo>
                      <a:pt x="35" y="40"/>
                    </a:lnTo>
                    <a:lnTo>
                      <a:pt x="34" y="45"/>
                    </a:lnTo>
                    <a:lnTo>
                      <a:pt x="34" y="45"/>
                    </a:lnTo>
                    <a:lnTo>
                      <a:pt x="32" y="58"/>
                    </a:lnTo>
                    <a:lnTo>
                      <a:pt x="32" y="58"/>
                    </a:lnTo>
                    <a:lnTo>
                      <a:pt x="34" y="72"/>
                    </a:lnTo>
                    <a:lnTo>
                      <a:pt x="34" y="72"/>
                    </a:lnTo>
                    <a:lnTo>
                      <a:pt x="35" y="79"/>
                    </a:lnTo>
                    <a:lnTo>
                      <a:pt x="38" y="84"/>
                    </a:lnTo>
                    <a:lnTo>
                      <a:pt x="38" y="84"/>
                    </a:lnTo>
                    <a:lnTo>
                      <a:pt x="42" y="88"/>
                    </a:lnTo>
                    <a:lnTo>
                      <a:pt x="46" y="91"/>
                    </a:lnTo>
                    <a:lnTo>
                      <a:pt x="46" y="91"/>
                    </a:lnTo>
                    <a:lnTo>
                      <a:pt x="51" y="93"/>
                    </a:lnTo>
                    <a:lnTo>
                      <a:pt x="57" y="95"/>
                    </a:lnTo>
                    <a:lnTo>
                      <a:pt x="57" y="95"/>
                    </a:lnTo>
                    <a:lnTo>
                      <a:pt x="63" y="93"/>
                    </a:lnTo>
                    <a:lnTo>
                      <a:pt x="67" y="92"/>
                    </a:lnTo>
                    <a:lnTo>
                      <a:pt x="67" y="70"/>
                    </a:lnTo>
                    <a:lnTo>
                      <a:pt x="53" y="70"/>
                    </a:lnTo>
                    <a:lnTo>
                      <a:pt x="53" y="49"/>
                    </a:lnTo>
                    <a:lnTo>
                      <a:pt x="95" y="49"/>
                    </a:lnTo>
                    <a:lnTo>
                      <a:pt x="95" y="108"/>
                    </a:lnTo>
                    <a:lnTo>
                      <a:pt x="95" y="108"/>
                    </a:lnTo>
                    <a:lnTo>
                      <a:pt x="89" y="112"/>
                    </a:lnTo>
                    <a:lnTo>
                      <a:pt x="79" y="115"/>
                    </a:lnTo>
                    <a:lnTo>
                      <a:pt x="79"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1" name="Rectangle 277"/>
              <p:cNvSpPr>
                <a:spLocks noChangeArrowheads="1"/>
              </p:cNvSpPr>
              <p:nvPr/>
            </p:nvSpPr>
            <p:spPr bwMode="auto">
              <a:xfrm>
                <a:off x="2729117" y="5619137"/>
                <a:ext cx="388097"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2" name="Rectangle 278"/>
              <p:cNvSpPr>
                <a:spLocks noChangeArrowheads="1"/>
              </p:cNvSpPr>
              <p:nvPr/>
            </p:nvSpPr>
            <p:spPr bwMode="auto">
              <a:xfrm>
                <a:off x="2571247" y="5619137"/>
                <a:ext cx="109632"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3" name="Rectangle 279"/>
              <p:cNvSpPr>
                <a:spLocks noChangeArrowheads="1"/>
              </p:cNvSpPr>
              <p:nvPr/>
            </p:nvSpPr>
            <p:spPr bwMode="auto">
              <a:xfrm>
                <a:off x="2729117" y="5658605"/>
                <a:ext cx="353015"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4" name="Rectangle 280"/>
              <p:cNvSpPr>
                <a:spLocks noChangeArrowheads="1"/>
              </p:cNvSpPr>
              <p:nvPr/>
            </p:nvSpPr>
            <p:spPr bwMode="auto">
              <a:xfrm>
                <a:off x="2571247" y="5658605"/>
                <a:ext cx="109632"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5" name="Rectangle 281"/>
              <p:cNvSpPr>
                <a:spLocks noChangeArrowheads="1"/>
              </p:cNvSpPr>
              <p:nvPr/>
            </p:nvSpPr>
            <p:spPr bwMode="auto">
              <a:xfrm>
                <a:off x="2729117" y="5696976"/>
                <a:ext cx="424276"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6" name="Rectangle 282"/>
              <p:cNvSpPr>
                <a:spLocks noChangeArrowheads="1"/>
              </p:cNvSpPr>
              <p:nvPr/>
            </p:nvSpPr>
            <p:spPr bwMode="auto">
              <a:xfrm>
                <a:off x="2571247" y="5696976"/>
                <a:ext cx="109632"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37" name="Rectangle 283"/>
            <p:cNvSpPr>
              <a:spLocks noChangeArrowheads="1"/>
            </p:cNvSpPr>
            <p:nvPr/>
          </p:nvSpPr>
          <p:spPr bwMode="auto">
            <a:xfrm>
              <a:off x="2838749" y="5445919"/>
              <a:ext cx="144714" cy="6139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497" name="Rounded Rectangle 4"/>
          <p:cNvSpPr>
            <a:spLocks noChangeAspect="1"/>
          </p:cNvSpPr>
          <p:nvPr/>
        </p:nvSpPr>
        <p:spPr bwMode="auto">
          <a:xfrm>
            <a:off x="5265934" y="5864977"/>
            <a:ext cx="156513" cy="296007"/>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49" name="Group 648"/>
          <p:cNvGrpSpPr>
            <a:grpSpLocks noChangeAspect="1"/>
          </p:cNvGrpSpPr>
          <p:nvPr/>
        </p:nvGrpSpPr>
        <p:grpSpPr>
          <a:xfrm>
            <a:off x="3838686" y="5887807"/>
            <a:ext cx="128071" cy="327765"/>
            <a:chOff x="-3051175" y="-1057275"/>
            <a:chExt cx="2679700" cy="6858000"/>
          </a:xfrm>
        </p:grpSpPr>
        <p:sp>
          <p:nvSpPr>
            <p:cNvPr id="650"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51"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659" name="Group 658"/>
          <p:cNvGrpSpPr>
            <a:grpSpLocks noChangeAspect="1"/>
          </p:cNvGrpSpPr>
          <p:nvPr/>
        </p:nvGrpSpPr>
        <p:grpSpPr>
          <a:xfrm>
            <a:off x="5390006" y="5826668"/>
            <a:ext cx="180595" cy="344253"/>
            <a:chOff x="13253772" y="-14449"/>
            <a:chExt cx="3216275" cy="6130925"/>
          </a:xfrm>
          <a:solidFill>
            <a:schemeClr val="bg1"/>
          </a:solidFill>
        </p:grpSpPr>
        <p:sp>
          <p:nvSpPr>
            <p:cNvPr id="660" name="Freeform 120"/>
            <p:cNvSpPr>
              <a:spLocks/>
            </p:cNvSpPr>
            <p:nvPr/>
          </p:nvSpPr>
          <p:spPr bwMode="auto">
            <a:xfrm>
              <a:off x="14787297" y="-14449"/>
              <a:ext cx="993775" cy="981075"/>
            </a:xfrm>
            <a:custGeom>
              <a:avLst/>
              <a:gdLst>
                <a:gd name="T0" fmla="*/ 194 w 626"/>
                <a:gd name="T1" fmla="*/ 24 h 618"/>
                <a:gd name="T2" fmla="*/ 232 w 626"/>
                <a:gd name="T3" fmla="*/ 10 h 618"/>
                <a:gd name="T4" fmla="*/ 270 w 626"/>
                <a:gd name="T5" fmla="*/ 2 h 618"/>
                <a:gd name="T6" fmla="*/ 310 w 626"/>
                <a:gd name="T7" fmla="*/ 0 h 618"/>
                <a:gd name="T8" fmla="*/ 348 w 626"/>
                <a:gd name="T9" fmla="*/ 2 h 618"/>
                <a:gd name="T10" fmla="*/ 386 w 626"/>
                <a:gd name="T11" fmla="*/ 10 h 618"/>
                <a:gd name="T12" fmla="*/ 458 w 626"/>
                <a:gd name="T13" fmla="*/ 38 h 618"/>
                <a:gd name="T14" fmla="*/ 522 w 626"/>
                <a:gd name="T15" fmla="*/ 82 h 618"/>
                <a:gd name="T16" fmla="*/ 574 w 626"/>
                <a:gd name="T17" fmla="*/ 140 h 618"/>
                <a:gd name="T18" fmla="*/ 594 w 626"/>
                <a:gd name="T19" fmla="*/ 172 h 618"/>
                <a:gd name="T20" fmla="*/ 610 w 626"/>
                <a:gd name="T21" fmla="*/ 208 h 618"/>
                <a:gd name="T22" fmla="*/ 622 w 626"/>
                <a:gd name="T23" fmla="*/ 246 h 618"/>
                <a:gd name="T24" fmla="*/ 626 w 626"/>
                <a:gd name="T25" fmla="*/ 284 h 618"/>
                <a:gd name="T26" fmla="*/ 626 w 626"/>
                <a:gd name="T27" fmla="*/ 324 h 618"/>
                <a:gd name="T28" fmla="*/ 626 w 626"/>
                <a:gd name="T29" fmla="*/ 348 h 618"/>
                <a:gd name="T30" fmla="*/ 620 w 626"/>
                <a:gd name="T31" fmla="*/ 392 h 618"/>
                <a:gd name="T32" fmla="*/ 608 w 626"/>
                <a:gd name="T33" fmla="*/ 434 h 618"/>
                <a:gd name="T34" fmla="*/ 588 w 626"/>
                <a:gd name="T35" fmla="*/ 472 h 618"/>
                <a:gd name="T36" fmla="*/ 562 w 626"/>
                <a:gd name="T37" fmla="*/ 506 h 618"/>
                <a:gd name="T38" fmla="*/ 532 w 626"/>
                <a:gd name="T39" fmla="*/ 536 h 618"/>
                <a:gd name="T40" fmla="*/ 498 w 626"/>
                <a:gd name="T41" fmla="*/ 560 h 618"/>
                <a:gd name="T42" fmla="*/ 460 w 626"/>
                <a:gd name="T43" fmla="*/ 582 h 618"/>
                <a:gd name="T44" fmla="*/ 420 w 626"/>
                <a:gd name="T45" fmla="*/ 598 h 618"/>
                <a:gd name="T46" fmla="*/ 378 w 626"/>
                <a:gd name="T47" fmla="*/ 610 h 618"/>
                <a:gd name="T48" fmla="*/ 336 w 626"/>
                <a:gd name="T49" fmla="*/ 616 h 618"/>
                <a:gd name="T50" fmla="*/ 292 w 626"/>
                <a:gd name="T51" fmla="*/ 618 h 618"/>
                <a:gd name="T52" fmla="*/ 248 w 626"/>
                <a:gd name="T53" fmla="*/ 612 h 618"/>
                <a:gd name="T54" fmla="*/ 206 w 626"/>
                <a:gd name="T55" fmla="*/ 602 h 618"/>
                <a:gd name="T56" fmla="*/ 166 w 626"/>
                <a:gd name="T57" fmla="*/ 586 h 618"/>
                <a:gd name="T58" fmla="*/ 130 w 626"/>
                <a:gd name="T59" fmla="*/ 562 h 618"/>
                <a:gd name="T60" fmla="*/ 112 w 626"/>
                <a:gd name="T61" fmla="*/ 548 h 618"/>
                <a:gd name="T62" fmla="*/ 80 w 626"/>
                <a:gd name="T63" fmla="*/ 520 h 618"/>
                <a:gd name="T64" fmla="*/ 56 w 626"/>
                <a:gd name="T65" fmla="*/ 490 h 618"/>
                <a:gd name="T66" fmla="*/ 34 w 626"/>
                <a:gd name="T67" fmla="*/ 456 h 618"/>
                <a:gd name="T68" fmla="*/ 18 w 626"/>
                <a:gd name="T69" fmla="*/ 420 h 618"/>
                <a:gd name="T70" fmla="*/ 8 w 626"/>
                <a:gd name="T71" fmla="*/ 382 h 618"/>
                <a:gd name="T72" fmla="*/ 2 w 626"/>
                <a:gd name="T73" fmla="*/ 342 h 618"/>
                <a:gd name="T74" fmla="*/ 4 w 626"/>
                <a:gd name="T75" fmla="*/ 262 h 618"/>
                <a:gd name="T76" fmla="*/ 18 w 626"/>
                <a:gd name="T77" fmla="*/ 204 h 618"/>
                <a:gd name="T78" fmla="*/ 34 w 626"/>
                <a:gd name="T79" fmla="*/ 168 h 618"/>
                <a:gd name="T80" fmla="*/ 54 w 626"/>
                <a:gd name="T81" fmla="*/ 132 h 618"/>
                <a:gd name="T82" fmla="*/ 78 w 626"/>
                <a:gd name="T83" fmla="*/ 102 h 618"/>
                <a:gd name="T84" fmla="*/ 106 w 626"/>
                <a:gd name="T85" fmla="*/ 74 h 618"/>
                <a:gd name="T86" fmla="*/ 138 w 626"/>
                <a:gd name="T87" fmla="*/ 50 h 618"/>
                <a:gd name="T88" fmla="*/ 174 w 626"/>
                <a:gd name="T89" fmla="*/ 32 h 618"/>
                <a:gd name="T90" fmla="*/ 194 w 626"/>
                <a:gd name="T91" fmla="*/ 2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6" h="618">
                  <a:moveTo>
                    <a:pt x="194" y="24"/>
                  </a:moveTo>
                  <a:lnTo>
                    <a:pt x="194" y="24"/>
                  </a:lnTo>
                  <a:lnTo>
                    <a:pt x="212" y="16"/>
                  </a:lnTo>
                  <a:lnTo>
                    <a:pt x="232" y="10"/>
                  </a:lnTo>
                  <a:lnTo>
                    <a:pt x="250" y="6"/>
                  </a:lnTo>
                  <a:lnTo>
                    <a:pt x="270" y="2"/>
                  </a:lnTo>
                  <a:lnTo>
                    <a:pt x="290" y="0"/>
                  </a:lnTo>
                  <a:lnTo>
                    <a:pt x="310" y="0"/>
                  </a:lnTo>
                  <a:lnTo>
                    <a:pt x="328" y="0"/>
                  </a:lnTo>
                  <a:lnTo>
                    <a:pt x="348" y="2"/>
                  </a:lnTo>
                  <a:lnTo>
                    <a:pt x="366" y="4"/>
                  </a:lnTo>
                  <a:lnTo>
                    <a:pt x="386" y="10"/>
                  </a:lnTo>
                  <a:lnTo>
                    <a:pt x="422" y="22"/>
                  </a:lnTo>
                  <a:lnTo>
                    <a:pt x="458" y="38"/>
                  </a:lnTo>
                  <a:lnTo>
                    <a:pt x="492" y="58"/>
                  </a:lnTo>
                  <a:lnTo>
                    <a:pt x="522" y="82"/>
                  </a:lnTo>
                  <a:lnTo>
                    <a:pt x="550" y="110"/>
                  </a:lnTo>
                  <a:lnTo>
                    <a:pt x="574" y="140"/>
                  </a:lnTo>
                  <a:lnTo>
                    <a:pt x="586" y="156"/>
                  </a:lnTo>
                  <a:lnTo>
                    <a:pt x="594" y="172"/>
                  </a:lnTo>
                  <a:lnTo>
                    <a:pt x="604" y="190"/>
                  </a:lnTo>
                  <a:lnTo>
                    <a:pt x="610" y="208"/>
                  </a:lnTo>
                  <a:lnTo>
                    <a:pt x="616" y="226"/>
                  </a:lnTo>
                  <a:lnTo>
                    <a:pt x="622" y="246"/>
                  </a:lnTo>
                  <a:lnTo>
                    <a:pt x="624" y="264"/>
                  </a:lnTo>
                  <a:lnTo>
                    <a:pt x="626" y="284"/>
                  </a:lnTo>
                  <a:lnTo>
                    <a:pt x="626" y="304"/>
                  </a:lnTo>
                  <a:lnTo>
                    <a:pt x="626" y="324"/>
                  </a:lnTo>
                  <a:lnTo>
                    <a:pt x="626" y="324"/>
                  </a:lnTo>
                  <a:lnTo>
                    <a:pt x="626" y="348"/>
                  </a:lnTo>
                  <a:lnTo>
                    <a:pt x="624" y="370"/>
                  </a:lnTo>
                  <a:lnTo>
                    <a:pt x="620" y="392"/>
                  </a:lnTo>
                  <a:lnTo>
                    <a:pt x="614" y="414"/>
                  </a:lnTo>
                  <a:lnTo>
                    <a:pt x="608" y="434"/>
                  </a:lnTo>
                  <a:lnTo>
                    <a:pt x="598" y="452"/>
                  </a:lnTo>
                  <a:lnTo>
                    <a:pt x="588" y="472"/>
                  </a:lnTo>
                  <a:lnTo>
                    <a:pt x="576" y="488"/>
                  </a:lnTo>
                  <a:lnTo>
                    <a:pt x="562" y="506"/>
                  </a:lnTo>
                  <a:lnTo>
                    <a:pt x="548" y="520"/>
                  </a:lnTo>
                  <a:lnTo>
                    <a:pt x="532" y="536"/>
                  </a:lnTo>
                  <a:lnTo>
                    <a:pt x="516" y="548"/>
                  </a:lnTo>
                  <a:lnTo>
                    <a:pt x="498" y="560"/>
                  </a:lnTo>
                  <a:lnTo>
                    <a:pt x="480" y="572"/>
                  </a:lnTo>
                  <a:lnTo>
                    <a:pt x="460" y="582"/>
                  </a:lnTo>
                  <a:lnTo>
                    <a:pt x="442" y="590"/>
                  </a:lnTo>
                  <a:lnTo>
                    <a:pt x="420" y="598"/>
                  </a:lnTo>
                  <a:lnTo>
                    <a:pt x="400" y="604"/>
                  </a:lnTo>
                  <a:lnTo>
                    <a:pt x="378" y="610"/>
                  </a:lnTo>
                  <a:lnTo>
                    <a:pt x="358" y="614"/>
                  </a:lnTo>
                  <a:lnTo>
                    <a:pt x="336" y="616"/>
                  </a:lnTo>
                  <a:lnTo>
                    <a:pt x="314" y="618"/>
                  </a:lnTo>
                  <a:lnTo>
                    <a:pt x="292" y="618"/>
                  </a:lnTo>
                  <a:lnTo>
                    <a:pt x="270" y="616"/>
                  </a:lnTo>
                  <a:lnTo>
                    <a:pt x="248" y="612"/>
                  </a:lnTo>
                  <a:lnTo>
                    <a:pt x="228" y="608"/>
                  </a:lnTo>
                  <a:lnTo>
                    <a:pt x="206" y="602"/>
                  </a:lnTo>
                  <a:lnTo>
                    <a:pt x="186" y="594"/>
                  </a:lnTo>
                  <a:lnTo>
                    <a:pt x="166" y="586"/>
                  </a:lnTo>
                  <a:lnTo>
                    <a:pt x="148" y="574"/>
                  </a:lnTo>
                  <a:lnTo>
                    <a:pt x="130" y="562"/>
                  </a:lnTo>
                  <a:lnTo>
                    <a:pt x="112" y="548"/>
                  </a:lnTo>
                  <a:lnTo>
                    <a:pt x="112" y="548"/>
                  </a:lnTo>
                  <a:lnTo>
                    <a:pt x="96" y="536"/>
                  </a:lnTo>
                  <a:lnTo>
                    <a:pt x="80" y="520"/>
                  </a:lnTo>
                  <a:lnTo>
                    <a:pt x="68" y="506"/>
                  </a:lnTo>
                  <a:lnTo>
                    <a:pt x="56" y="490"/>
                  </a:lnTo>
                  <a:lnTo>
                    <a:pt x="44" y="474"/>
                  </a:lnTo>
                  <a:lnTo>
                    <a:pt x="34" y="456"/>
                  </a:lnTo>
                  <a:lnTo>
                    <a:pt x="26" y="438"/>
                  </a:lnTo>
                  <a:lnTo>
                    <a:pt x="18" y="420"/>
                  </a:lnTo>
                  <a:lnTo>
                    <a:pt x="12" y="400"/>
                  </a:lnTo>
                  <a:lnTo>
                    <a:pt x="8" y="382"/>
                  </a:lnTo>
                  <a:lnTo>
                    <a:pt x="4" y="362"/>
                  </a:lnTo>
                  <a:lnTo>
                    <a:pt x="2" y="342"/>
                  </a:lnTo>
                  <a:lnTo>
                    <a:pt x="0" y="302"/>
                  </a:lnTo>
                  <a:lnTo>
                    <a:pt x="4" y="262"/>
                  </a:lnTo>
                  <a:lnTo>
                    <a:pt x="12" y="222"/>
                  </a:lnTo>
                  <a:lnTo>
                    <a:pt x="18" y="204"/>
                  </a:lnTo>
                  <a:lnTo>
                    <a:pt x="26" y="186"/>
                  </a:lnTo>
                  <a:lnTo>
                    <a:pt x="34" y="168"/>
                  </a:lnTo>
                  <a:lnTo>
                    <a:pt x="42" y="150"/>
                  </a:lnTo>
                  <a:lnTo>
                    <a:pt x="54" y="132"/>
                  </a:lnTo>
                  <a:lnTo>
                    <a:pt x="64" y="116"/>
                  </a:lnTo>
                  <a:lnTo>
                    <a:pt x="78" y="102"/>
                  </a:lnTo>
                  <a:lnTo>
                    <a:pt x="90" y="88"/>
                  </a:lnTo>
                  <a:lnTo>
                    <a:pt x="106" y="74"/>
                  </a:lnTo>
                  <a:lnTo>
                    <a:pt x="120" y="62"/>
                  </a:lnTo>
                  <a:lnTo>
                    <a:pt x="138" y="50"/>
                  </a:lnTo>
                  <a:lnTo>
                    <a:pt x="156" y="40"/>
                  </a:lnTo>
                  <a:lnTo>
                    <a:pt x="174" y="32"/>
                  </a:lnTo>
                  <a:lnTo>
                    <a:pt x="194" y="24"/>
                  </a:lnTo>
                  <a:lnTo>
                    <a:pt x="19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61" name="Freeform 121"/>
            <p:cNvSpPr>
              <a:spLocks/>
            </p:cNvSpPr>
            <p:nvPr/>
          </p:nvSpPr>
          <p:spPr bwMode="auto">
            <a:xfrm>
              <a:off x="13253772" y="1125376"/>
              <a:ext cx="3216275" cy="4991100"/>
            </a:xfrm>
            <a:custGeom>
              <a:avLst/>
              <a:gdLst>
                <a:gd name="T0" fmla="*/ 690 w 2026"/>
                <a:gd name="T1" fmla="*/ 66 h 3144"/>
                <a:gd name="T2" fmla="*/ 796 w 2026"/>
                <a:gd name="T3" fmla="*/ 14 h 3144"/>
                <a:gd name="T4" fmla="*/ 918 w 2026"/>
                <a:gd name="T5" fmla="*/ 0 h 3144"/>
                <a:gd name="T6" fmla="*/ 1102 w 2026"/>
                <a:gd name="T7" fmla="*/ 0 h 3144"/>
                <a:gd name="T8" fmla="*/ 1476 w 2026"/>
                <a:gd name="T9" fmla="*/ 2 h 3144"/>
                <a:gd name="T10" fmla="*/ 1660 w 2026"/>
                <a:gd name="T11" fmla="*/ 18 h 3144"/>
                <a:gd name="T12" fmla="*/ 1840 w 2026"/>
                <a:gd name="T13" fmla="*/ 68 h 3144"/>
                <a:gd name="T14" fmla="*/ 1910 w 2026"/>
                <a:gd name="T15" fmla="*/ 114 h 3144"/>
                <a:gd name="T16" fmla="*/ 1974 w 2026"/>
                <a:gd name="T17" fmla="*/ 202 h 3144"/>
                <a:gd name="T18" fmla="*/ 2010 w 2026"/>
                <a:gd name="T19" fmla="*/ 310 h 3144"/>
                <a:gd name="T20" fmla="*/ 2026 w 2026"/>
                <a:gd name="T21" fmla="*/ 448 h 3144"/>
                <a:gd name="T22" fmla="*/ 2024 w 2026"/>
                <a:gd name="T23" fmla="*/ 1290 h 3144"/>
                <a:gd name="T24" fmla="*/ 2020 w 2026"/>
                <a:gd name="T25" fmla="*/ 1438 h 3144"/>
                <a:gd name="T26" fmla="*/ 2004 w 2026"/>
                <a:gd name="T27" fmla="*/ 1484 h 3144"/>
                <a:gd name="T28" fmla="*/ 1948 w 2026"/>
                <a:gd name="T29" fmla="*/ 1528 h 3144"/>
                <a:gd name="T30" fmla="*/ 1854 w 2026"/>
                <a:gd name="T31" fmla="*/ 1538 h 3144"/>
                <a:gd name="T32" fmla="*/ 1794 w 2026"/>
                <a:gd name="T33" fmla="*/ 1504 h 3144"/>
                <a:gd name="T34" fmla="*/ 1770 w 2026"/>
                <a:gd name="T35" fmla="*/ 1462 h 3144"/>
                <a:gd name="T36" fmla="*/ 1762 w 2026"/>
                <a:gd name="T37" fmla="*/ 1320 h 3144"/>
                <a:gd name="T38" fmla="*/ 1762 w 2026"/>
                <a:gd name="T39" fmla="*/ 630 h 3144"/>
                <a:gd name="T40" fmla="*/ 1664 w 2026"/>
                <a:gd name="T41" fmla="*/ 514 h 3144"/>
                <a:gd name="T42" fmla="*/ 1664 w 2026"/>
                <a:gd name="T43" fmla="*/ 2966 h 3144"/>
                <a:gd name="T44" fmla="*/ 1634 w 2026"/>
                <a:gd name="T45" fmla="*/ 3058 h 3144"/>
                <a:gd name="T46" fmla="*/ 1564 w 2026"/>
                <a:gd name="T47" fmla="*/ 3122 h 3144"/>
                <a:gd name="T48" fmla="*/ 1472 w 2026"/>
                <a:gd name="T49" fmla="*/ 3144 h 3144"/>
                <a:gd name="T50" fmla="*/ 1400 w 2026"/>
                <a:gd name="T51" fmla="*/ 3126 h 3144"/>
                <a:gd name="T52" fmla="*/ 1358 w 2026"/>
                <a:gd name="T53" fmla="*/ 3104 h 3144"/>
                <a:gd name="T54" fmla="*/ 1330 w 2026"/>
                <a:gd name="T55" fmla="*/ 3044 h 3144"/>
                <a:gd name="T56" fmla="*/ 1318 w 2026"/>
                <a:gd name="T57" fmla="*/ 2796 h 3144"/>
                <a:gd name="T58" fmla="*/ 1320 w 2026"/>
                <a:gd name="T59" fmla="*/ 1900 h 3144"/>
                <a:gd name="T60" fmla="*/ 1226 w 2026"/>
                <a:gd name="T61" fmla="*/ 1530 h 3144"/>
                <a:gd name="T62" fmla="*/ 1222 w 2026"/>
                <a:gd name="T63" fmla="*/ 2268 h 3144"/>
                <a:gd name="T64" fmla="*/ 1220 w 2026"/>
                <a:gd name="T65" fmla="*/ 3008 h 3144"/>
                <a:gd name="T66" fmla="*/ 1194 w 2026"/>
                <a:gd name="T67" fmla="*/ 3070 h 3144"/>
                <a:gd name="T68" fmla="*/ 1148 w 2026"/>
                <a:gd name="T69" fmla="*/ 3114 h 3144"/>
                <a:gd name="T70" fmla="*/ 1090 w 2026"/>
                <a:gd name="T71" fmla="*/ 3136 h 3144"/>
                <a:gd name="T72" fmla="*/ 994 w 2026"/>
                <a:gd name="T73" fmla="*/ 3136 h 3144"/>
                <a:gd name="T74" fmla="*/ 936 w 2026"/>
                <a:gd name="T75" fmla="*/ 3112 h 3144"/>
                <a:gd name="T76" fmla="*/ 890 w 2026"/>
                <a:gd name="T77" fmla="*/ 3070 h 3144"/>
                <a:gd name="T78" fmla="*/ 866 w 2026"/>
                <a:gd name="T79" fmla="*/ 3010 h 3144"/>
                <a:gd name="T80" fmla="*/ 862 w 2026"/>
                <a:gd name="T81" fmla="*/ 2320 h 3144"/>
                <a:gd name="T82" fmla="*/ 860 w 2026"/>
                <a:gd name="T83" fmla="*/ 356 h 3144"/>
                <a:gd name="T84" fmla="*/ 552 w 2026"/>
                <a:gd name="T85" fmla="*/ 718 h 3144"/>
                <a:gd name="T86" fmla="*/ 282 w 2026"/>
                <a:gd name="T87" fmla="*/ 1032 h 3144"/>
                <a:gd name="T88" fmla="*/ 216 w 2026"/>
                <a:gd name="T89" fmla="*/ 1090 h 3144"/>
                <a:gd name="T90" fmla="*/ 164 w 2026"/>
                <a:gd name="T91" fmla="*/ 1104 h 3144"/>
                <a:gd name="T92" fmla="*/ 90 w 2026"/>
                <a:gd name="T93" fmla="*/ 1088 h 3144"/>
                <a:gd name="T94" fmla="*/ 18 w 2026"/>
                <a:gd name="T95" fmla="*/ 1016 h 3144"/>
                <a:gd name="T96" fmla="*/ 0 w 2026"/>
                <a:gd name="T97" fmla="*/ 942 h 3144"/>
                <a:gd name="T98" fmla="*/ 12 w 2026"/>
                <a:gd name="T99" fmla="*/ 890 h 3144"/>
                <a:gd name="T100" fmla="*/ 102 w 2026"/>
                <a:gd name="T101" fmla="*/ 770 h 3144"/>
                <a:gd name="T102" fmla="*/ 646 w 2026"/>
                <a:gd name="T103" fmla="*/ 11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6" h="3144">
                  <a:moveTo>
                    <a:pt x="646" y="112"/>
                  </a:moveTo>
                  <a:lnTo>
                    <a:pt x="646" y="112"/>
                  </a:lnTo>
                  <a:lnTo>
                    <a:pt x="666" y="88"/>
                  </a:lnTo>
                  <a:lnTo>
                    <a:pt x="690" y="66"/>
                  </a:lnTo>
                  <a:lnTo>
                    <a:pt x="714" y="48"/>
                  </a:lnTo>
                  <a:lnTo>
                    <a:pt x="740" y="34"/>
                  </a:lnTo>
                  <a:lnTo>
                    <a:pt x="768" y="22"/>
                  </a:lnTo>
                  <a:lnTo>
                    <a:pt x="796" y="14"/>
                  </a:lnTo>
                  <a:lnTo>
                    <a:pt x="826" y="8"/>
                  </a:lnTo>
                  <a:lnTo>
                    <a:pt x="856" y="4"/>
                  </a:lnTo>
                  <a:lnTo>
                    <a:pt x="886" y="2"/>
                  </a:lnTo>
                  <a:lnTo>
                    <a:pt x="918" y="0"/>
                  </a:lnTo>
                  <a:lnTo>
                    <a:pt x="980" y="0"/>
                  </a:lnTo>
                  <a:lnTo>
                    <a:pt x="1042" y="2"/>
                  </a:lnTo>
                  <a:lnTo>
                    <a:pt x="1102" y="0"/>
                  </a:lnTo>
                  <a:lnTo>
                    <a:pt x="1102" y="0"/>
                  </a:lnTo>
                  <a:lnTo>
                    <a:pt x="1196" y="2"/>
                  </a:lnTo>
                  <a:lnTo>
                    <a:pt x="1288" y="2"/>
                  </a:lnTo>
                  <a:lnTo>
                    <a:pt x="1382" y="0"/>
                  </a:lnTo>
                  <a:lnTo>
                    <a:pt x="1476" y="2"/>
                  </a:lnTo>
                  <a:lnTo>
                    <a:pt x="1522" y="4"/>
                  </a:lnTo>
                  <a:lnTo>
                    <a:pt x="1568" y="6"/>
                  </a:lnTo>
                  <a:lnTo>
                    <a:pt x="1614" y="12"/>
                  </a:lnTo>
                  <a:lnTo>
                    <a:pt x="1660" y="18"/>
                  </a:lnTo>
                  <a:lnTo>
                    <a:pt x="1706" y="26"/>
                  </a:lnTo>
                  <a:lnTo>
                    <a:pt x="1750" y="38"/>
                  </a:lnTo>
                  <a:lnTo>
                    <a:pt x="1796" y="50"/>
                  </a:lnTo>
                  <a:lnTo>
                    <a:pt x="1840" y="68"/>
                  </a:lnTo>
                  <a:lnTo>
                    <a:pt x="1840" y="68"/>
                  </a:lnTo>
                  <a:lnTo>
                    <a:pt x="1866" y="80"/>
                  </a:lnTo>
                  <a:lnTo>
                    <a:pt x="1888" y="96"/>
                  </a:lnTo>
                  <a:lnTo>
                    <a:pt x="1910" y="114"/>
                  </a:lnTo>
                  <a:lnTo>
                    <a:pt x="1930" y="134"/>
                  </a:lnTo>
                  <a:lnTo>
                    <a:pt x="1946" y="154"/>
                  </a:lnTo>
                  <a:lnTo>
                    <a:pt x="1960" y="178"/>
                  </a:lnTo>
                  <a:lnTo>
                    <a:pt x="1974" y="202"/>
                  </a:lnTo>
                  <a:lnTo>
                    <a:pt x="1984" y="228"/>
                  </a:lnTo>
                  <a:lnTo>
                    <a:pt x="1994" y="254"/>
                  </a:lnTo>
                  <a:lnTo>
                    <a:pt x="2002" y="282"/>
                  </a:lnTo>
                  <a:lnTo>
                    <a:pt x="2010" y="310"/>
                  </a:lnTo>
                  <a:lnTo>
                    <a:pt x="2014" y="338"/>
                  </a:lnTo>
                  <a:lnTo>
                    <a:pt x="2022" y="394"/>
                  </a:lnTo>
                  <a:lnTo>
                    <a:pt x="2026" y="448"/>
                  </a:lnTo>
                  <a:lnTo>
                    <a:pt x="2026" y="448"/>
                  </a:lnTo>
                  <a:lnTo>
                    <a:pt x="2026" y="690"/>
                  </a:lnTo>
                  <a:lnTo>
                    <a:pt x="2026" y="930"/>
                  </a:lnTo>
                  <a:lnTo>
                    <a:pt x="2026" y="1170"/>
                  </a:lnTo>
                  <a:lnTo>
                    <a:pt x="2024" y="1290"/>
                  </a:lnTo>
                  <a:lnTo>
                    <a:pt x="2022" y="1410"/>
                  </a:lnTo>
                  <a:lnTo>
                    <a:pt x="2022" y="1410"/>
                  </a:lnTo>
                  <a:lnTo>
                    <a:pt x="2022" y="1426"/>
                  </a:lnTo>
                  <a:lnTo>
                    <a:pt x="2020" y="1438"/>
                  </a:lnTo>
                  <a:lnTo>
                    <a:pt x="2018" y="1452"/>
                  </a:lnTo>
                  <a:lnTo>
                    <a:pt x="2014" y="1462"/>
                  </a:lnTo>
                  <a:lnTo>
                    <a:pt x="2010" y="1474"/>
                  </a:lnTo>
                  <a:lnTo>
                    <a:pt x="2004" y="1484"/>
                  </a:lnTo>
                  <a:lnTo>
                    <a:pt x="1996" y="1494"/>
                  </a:lnTo>
                  <a:lnTo>
                    <a:pt x="1988" y="1502"/>
                  </a:lnTo>
                  <a:lnTo>
                    <a:pt x="1970" y="1516"/>
                  </a:lnTo>
                  <a:lnTo>
                    <a:pt x="1948" y="1528"/>
                  </a:lnTo>
                  <a:lnTo>
                    <a:pt x="1926" y="1536"/>
                  </a:lnTo>
                  <a:lnTo>
                    <a:pt x="1902" y="1540"/>
                  </a:lnTo>
                  <a:lnTo>
                    <a:pt x="1878" y="1540"/>
                  </a:lnTo>
                  <a:lnTo>
                    <a:pt x="1854" y="1538"/>
                  </a:lnTo>
                  <a:lnTo>
                    <a:pt x="1832" y="1530"/>
                  </a:lnTo>
                  <a:lnTo>
                    <a:pt x="1812" y="1520"/>
                  </a:lnTo>
                  <a:lnTo>
                    <a:pt x="1802" y="1512"/>
                  </a:lnTo>
                  <a:lnTo>
                    <a:pt x="1794" y="1504"/>
                  </a:lnTo>
                  <a:lnTo>
                    <a:pt x="1786" y="1496"/>
                  </a:lnTo>
                  <a:lnTo>
                    <a:pt x="1780" y="1486"/>
                  </a:lnTo>
                  <a:lnTo>
                    <a:pt x="1774" y="1474"/>
                  </a:lnTo>
                  <a:lnTo>
                    <a:pt x="1770" y="1462"/>
                  </a:lnTo>
                  <a:lnTo>
                    <a:pt x="1768" y="1450"/>
                  </a:lnTo>
                  <a:lnTo>
                    <a:pt x="1766" y="1434"/>
                  </a:lnTo>
                  <a:lnTo>
                    <a:pt x="1766" y="1434"/>
                  </a:lnTo>
                  <a:lnTo>
                    <a:pt x="1762" y="1320"/>
                  </a:lnTo>
                  <a:lnTo>
                    <a:pt x="1760" y="1206"/>
                  </a:lnTo>
                  <a:lnTo>
                    <a:pt x="1760" y="976"/>
                  </a:lnTo>
                  <a:lnTo>
                    <a:pt x="1762" y="746"/>
                  </a:lnTo>
                  <a:lnTo>
                    <a:pt x="1762" y="630"/>
                  </a:lnTo>
                  <a:lnTo>
                    <a:pt x="1760" y="516"/>
                  </a:lnTo>
                  <a:lnTo>
                    <a:pt x="1760" y="516"/>
                  </a:lnTo>
                  <a:lnTo>
                    <a:pt x="1664" y="514"/>
                  </a:lnTo>
                  <a:lnTo>
                    <a:pt x="1664" y="514"/>
                  </a:lnTo>
                  <a:lnTo>
                    <a:pt x="1664" y="1726"/>
                  </a:lnTo>
                  <a:lnTo>
                    <a:pt x="1664" y="2940"/>
                  </a:lnTo>
                  <a:lnTo>
                    <a:pt x="1664" y="2940"/>
                  </a:lnTo>
                  <a:lnTo>
                    <a:pt x="1664" y="2966"/>
                  </a:lnTo>
                  <a:lnTo>
                    <a:pt x="1662" y="2992"/>
                  </a:lnTo>
                  <a:lnTo>
                    <a:pt x="1654" y="3016"/>
                  </a:lnTo>
                  <a:lnTo>
                    <a:pt x="1646" y="3038"/>
                  </a:lnTo>
                  <a:lnTo>
                    <a:pt x="1634" y="3058"/>
                  </a:lnTo>
                  <a:lnTo>
                    <a:pt x="1620" y="3078"/>
                  </a:lnTo>
                  <a:lnTo>
                    <a:pt x="1602" y="3094"/>
                  </a:lnTo>
                  <a:lnTo>
                    <a:pt x="1584" y="3110"/>
                  </a:lnTo>
                  <a:lnTo>
                    <a:pt x="1564" y="3122"/>
                  </a:lnTo>
                  <a:lnTo>
                    <a:pt x="1542" y="3132"/>
                  </a:lnTo>
                  <a:lnTo>
                    <a:pt x="1520" y="3138"/>
                  </a:lnTo>
                  <a:lnTo>
                    <a:pt x="1496" y="3142"/>
                  </a:lnTo>
                  <a:lnTo>
                    <a:pt x="1472" y="3144"/>
                  </a:lnTo>
                  <a:lnTo>
                    <a:pt x="1448" y="3142"/>
                  </a:lnTo>
                  <a:lnTo>
                    <a:pt x="1424" y="3136"/>
                  </a:lnTo>
                  <a:lnTo>
                    <a:pt x="1400" y="3126"/>
                  </a:lnTo>
                  <a:lnTo>
                    <a:pt x="1400" y="3126"/>
                  </a:lnTo>
                  <a:lnTo>
                    <a:pt x="1386" y="3122"/>
                  </a:lnTo>
                  <a:lnTo>
                    <a:pt x="1376" y="3118"/>
                  </a:lnTo>
                  <a:lnTo>
                    <a:pt x="1366" y="3112"/>
                  </a:lnTo>
                  <a:lnTo>
                    <a:pt x="1358" y="3104"/>
                  </a:lnTo>
                  <a:lnTo>
                    <a:pt x="1350" y="3096"/>
                  </a:lnTo>
                  <a:lnTo>
                    <a:pt x="1344" y="3086"/>
                  </a:lnTo>
                  <a:lnTo>
                    <a:pt x="1336" y="3066"/>
                  </a:lnTo>
                  <a:lnTo>
                    <a:pt x="1330" y="3044"/>
                  </a:lnTo>
                  <a:lnTo>
                    <a:pt x="1326" y="3020"/>
                  </a:lnTo>
                  <a:lnTo>
                    <a:pt x="1322" y="2974"/>
                  </a:lnTo>
                  <a:lnTo>
                    <a:pt x="1322" y="2974"/>
                  </a:lnTo>
                  <a:lnTo>
                    <a:pt x="1318" y="2796"/>
                  </a:lnTo>
                  <a:lnTo>
                    <a:pt x="1318" y="2616"/>
                  </a:lnTo>
                  <a:lnTo>
                    <a:pt x="1320" y="2258"/>
                  </a:lnTo>
                  <a:lnTo>
                    <a:pt x="1320" y="2080"/>
                  </a:lnTo>
                  <a:lnTo>
                    <a:pt x="1320" y="1900"/>
                  </a:lnTo>
                  <a:lnTo>
                    <a:pt x="1318" y="1722"/>
                  </a:lnTo>
                  <a:lnTo>
                    <a:pt x="1314" y="1542"/>
                  </a:lnTo>
                  <a:lnTo>
                    <a:pt x="1314" y="1542"/>
                  </a:lnTo>
                  <a:lnTo>
                    <a:pt x="1226" y="1530"/>
                  </a:lnTo>
                  <a:lnTo>
                    <a:pt x="1226" y="1530"/>
                  </a:lnTo>
                  <a:lnTo>
                    <a:pt x="1224" y="1714"/>
                  </a:lnTo>
                  <a:lnTo>
                    <a:pt x="1222" y="1900"/>
                  </a:lnTo>
                  <a:lnTo>
                    <a:pt x="1222" y="2268"/>
                  </a:lnTo>
                  <a:lnTo>
                    <a:pt x="1224" y="2638"/>
                  </a:lnTo>
                  <a:lnTo>
                    <a:pt x="1222" y="2824"/>
                  </a:lnTo>
                  <a:lnTo>
                    <a:pt x="1220" y="3008"/>
                  </a:lnTo>
                  <a:lnTo>
                    <a:pt x="1220" y="3008"/>
                  </a:lnTo>
                  <a:lnTo>
                    <a:pt x="1216" y="3026"/>
                  </a:lnTo>
                  <a:lnTo>
                    <a:pt x="1210" y="3042"/>
                  </a:lnTo>
                  <a:lnTo>
                    <a:pt x="1202" y="3056"/>
                  </a:lnTo>
                  <a:lnTo>
                    <a:pt x="1194" y="3070"/>
                  </a:lnTo>
                  <a:lnTo>
                    <a:pt x="1184" y="3084"/>
                  </a:lnTo>
                  <a:lnTo>
                    <a:pt x="1174" y="3094"/>
                  </a:lnTo>
                  <a:lnTo>
                    <a:pt x="1162" y="3104"/>
                  </a:lnTo>
                  <a:lnTo>
                    <a:pt x="1148" y="3114"/>
                  </a:lnTo>
                  <a:lnTo>
                    <a:pt x="1136" y="3120"/>
                  </a:lnTo>
                  <a:lnTo>
                    <a:pt x="1120" y="3128"/>
                  </a:lnTo>
                  <a:lnTo>
                    <a:pt x="1106" y="3132"/>
                  </a:lnTo>
                  <a:lnTo>
                    <a:pt x="1090" y="3136"/>
                  </a:lnTo>
                  <a:lnTo>
                    <a:pt x="1074" y="3140"/>
                  </a:lnTo>
                  <a:lnTo>
                    <a:pt x="1058" y="3140"/>
                  </a:lnTo>
                  <a:lnTo>
                    <a:pt x="1026" y="3140"/>
                  </a:lnTo>
                  <a:lnTo>
                    <a:pt x="994" y="3136"/>
                  </a:lnTo>
                  <a:lnTo>
                    <a:pt x="978" y="3132"/>
                  </a:lnTo>
                  <a:lnTo>
                    <a:pt x="964" y="3126"/>
                  </a:lnTo>
                  <a:lnTo>
                    <a:pt x="948" y="3120"/>
                  </a:lnTo>
                  <a:lnTo>
                    <a:pt x="936" y="3112"/>
                  </a:lnTo>
                  <a:lnTo>
                    <a:pt x="922" y="3102"/>
                  </a:lnTo>
                  <a:lnTo>
                    <a:pt x="910" y="3092"/>
                  </a:lnTo>
                  <a:lnTo>
                    <a:pt x="900" y="3082"/>
                  </a:lnTo>
                  <a:lnTo>
                    <a:pt x="890" y="3070"/>
                  </a:lnTo>
                  <a:lnTo>
                    <a:pt x="882" y="3056"/>
                  </a:lnTo>
                  <a:lnTo>
                    <a:pt x="874" y="3042"/>
                  </a:lnTo>
                  <a:lnTo>
                    <a:pt x="870" y="3026"/>
                  </a:lnTo>
                  <a:lnTo>
                    <a:pt x="866" y="3010"/>
                  </a:lnTo>
                  <a:lnTo>
                    <a:pt x="864" y="2992"/>
                  </a:lnTo>
                  <a:lnTo>
                    <a:pt x="864" y="2974"/>
                  </a:lnTo>
                  <a:lnTo>
                    <a:pt x="864" y="2974"/>
                  </a:lnTo>
                  <a:lnTo>
                    <a:pt x="862" y="2320"/>
                  </a:lnTo>
                  <a:lnTo>
                    <a:pt x="862" y="1664"/>
                  </a:lnTo>
                  <a:lnTo>
                    <a:pt x="862" y="1010"/>
                  </a:lnTo>
                  <a:lnTo>
                    <a:pt x="860" y="356"/>
                  </a:lnTo>
                  <a:lnTo>
                    <a:pt x="860" y="356"/>
                  </a:lnTo>
                  <a:lnTo>
                    <a:pt x="780" y="444"/>
                  </a:lnTo>
                  <a:lnTo>
                    <a:pt x="702" y="534"/>
                  </a:lnTo>
                  <a:lnTo>
                    <a:pt x="628" y="626"/>
                  </a:lnTo>
                  <a:lnTo>
                    <a:pt x="552" y="718"/>
                  </a:lnTo>
                  <a:lnTo>
                    <a:pt x="478" y="810"/>
                  </a:lnTo>
                  <a:lnTo>
                    <a:pt x="400" y="900"/>
                  </a:lnTo>
                  <a:lnTo>
                    <a:pt x="322" y="988"/>
                  </a:lnTo>
                  <a:lnTo>
                    <a:pt x="282" y="1032"/>
                  </a:lnTo>
                  <a:lnTo>
                    <a:pt x="240" y="1074"/>
                  </a:lnTo>
                  <a:lnTo>
                    <a:pt x="240" y="1074"/>
                  </a:lnTo>
                  <a:lnTo>
                    <a:pt x="228" y="1082"/>
                  </a:lnTo>
                  <a:lnTo>
                    <a:pt x="216" y="1090"/>
                  </a:lnTo>
                  <a:lnTo>
                    <a:pt x="202" y="1096"/>
                  </a:lnTo>
                  <a:lnTo>
                    <a:pt x="190" y="1100"/>
                  </a:lnTo>
                  <a:lnTo>
                    <a:pt x="178" y="1104"/>
                  </a:lnTo>
                  <a:lnTo>
                    <a:pt x="164" y="1104"/>
                  </a:lnTo>
                  <a:lnTo>
                    <a:pt x="152" y="1104"/>
                  </a:lnTo>
                  <a:lnTo>
                    <a:pt x="140" y="1104"/>
                  </a:lnTo>
                  <a:lnTo>
                    <a:pt x="114" y="1098"/>
                  </a:lnTo>
                  <a:lnTo>
                    <a:pt x="90" y="1088"/>
                  </a:lnTo>
                  <a:lnTo>
                    <a:pt x="68" y="1074"/>
                  </a:lnTo>
                  <a:lnTo>
                    <a:pt x="50" y="1058"/>
                  </a:lnTo>
                  <a:lnTo>
                    <a:pt x="32" y="1038"/>
                  </a:lnTo>
                  <a:lnTo>
                    <a:pt x="18" y="1016"/>
                  </a:lnTo>
                  <a:lnTo>
                    <a:pt x="8" y="992"/>
                  </a:lnTo>
                  <a:lnTo>
                    <a:pt x="2" y="968"/>
                  </a:lnTo>
                  <a:lnTo>
                    <a:pt x="0" y="954"/>
                  </a:lnTo>
                  <a:lnTo>
                    <a:pt x="0" y="942"/>
                  </a:lnTo>
                  <a:lnTo>
                    <a:pt x="0" y="930"/>
                  </a:lnTo>
                  <a:lnTo>
                    <a:pt x="4" y="916"/>
                  </a:lnTo>
                  <a:lnTo>
                    <a:pt x="8" y="904"/>
                  </a:lnTo>
                  <a:lnTo>
                    <a:pt x="12" y="890"/>
                  </a:lnTo>
                  <a:lnTo>
                    <a:pt x="20" y="878"/>
                  </a:lnTo>
                  <a:lnTo>
                    <a:pt x="28" y="866"/>
                  </a:lnTo>
                  <a:lnTo>
                    <a:pt x="28" y="866"/>
                  </a:lnTo>
                  <a:lnTo>
                    <a:pt x="102" y="770"/>
                  </a:lnTo>
                  <a:lnTo>
                    <a:pt x="178" y="674"/>
                  </a:lnTo>
                  <a:lnTo>
                    <a:pt x="334" y="486"/>
                  </a:lnTo>
                  <a:lnTo>
                    <a:pt x="490" y="300"/>
                  </a:lnTo>
                  <a:lnTo>
                    <a:pt x="646" y="112"/>
                  </a:lnTo>
                  <a:lnTo>
                    <a:pt x="64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231" name="Group 1230"/>
          <p:cNvGrpSpPr/>
          <p:nvPr/>
        </p:nvGrpSpPr>
        <p:grpSpPr>
          <a:xfrm>
            <a:off x="5540662" y="4473401"/>
            <a:ext cx="915317" cy="517095"/>
            <a:chOff x="4922092" y="3998755"/>
            <a:chExt cx="1104197" cy="686180"/>
          </a:xfrm>
        </p:grpSpPr>
        <p:sp>
          <p:nvSpPr>
            <p:cNvPr id="1063" name="Freeform 66"/>
            <p:cNvSpPr>
              <a:spLocks/>
            </p:cNvSpPr>
            <p:nvPr/>
          </p:nvSpPr>
          <p:spPr bwMode="auto">
            <a:xfrm>
              <a:off x="5177866" y="4312189"/>
              <a:ext cx="188712" cy="190272"/>
            </a:xfrm>
            <a:custGeom>
              <a:avLst/>
              <a:gdLst>
                <a:gd name="T0" fmla="*/ 333 w 365"/>
                <a:gd name="T1" fmla="*/ 0 h 364"/>
                <a:gd name="T2" fmla="*/ 32 w 365"/>
                <a:gd name="T3" fmla="*/ 0 h 364"/>
                <a:gd name="T4" fmla="*/ 32 w 365"/>
                <a:gd name="T5" fmla="*/ 0 h 364"/>
                <a:gd name="T6" fmla="*/ 26 w 365"/>
                <a:gd name="T7" fmla="*/ 1 h 364"/>
                <a:gd name="T8" fmla="*/ 20 w 365"/>
                <a:gd name="T9" fmla="*/ 3 h 364"/>
                <a:gd name="T10" fmla="*/ 15 w 365"/>
                <a:gd name="T11" fmla="*/ 5 h 364"/>
                <a:gd name="T12" fmla="*/ 10 w 365"/>
                <a:gd name="T13" fmla="*/ 9 h 364"/>
                <a:gd name="T14" fmla="*/ 6 w 365"/>
                <a:gd name="T15" fmla="*/ 15 h 364"/>
                <a:gd name="T16" fmla="*/ 3 w 365"/>
                <a:gd name="T17" fmla="*/ 20 h 364"/>
                <a:gd name="T18" fmla="*/ 2 w 365"/>
                <a:gd name="T19" fmla="*/ 25 h 364"/>
                <a:gd name="T20" fmla="*/ 0 w 365"/>
                <a:gd name="T21" fmla="*/ 32 h 364"/>
                <a:gd name="T22" fmla="*/ 0 w 365"/>
                <a:gd name="T23" fmla="*/ 333 h 364"/>
                <a:gd name="T24" fmla="*/ 0 w 365"/>
                <a:gd name="T25" fmla="*/ 333 h 364"/>
                <a:gd name="T26" fmla="*/ 2 w 365"/>
                <a:gd name="T27" fmla="*/ 339 h 364"/>
                <a:gd name="T28" fmla="*/ 3 w 365"/>
                <a:gd name="T29" fmla="*/ 345 h 364"/>
                <a:gd name="T30" fmla="*/ 6 w 365"/>
                <a:gd name="T31" fmla="*/ 350 h 364"/>
                <a:gd name="T32" fmla="*/ 10 w 365"/>
                <a:gd name="T33" fmla="*/ 354 h 364"/>
                <a:gd name="T34" fmla="*/ 15 w 365"/>
                <a:gd name="T35" fmla="*/ 358 h 364"/>
                <a:gd name="T36" fmla="*/ 20 w 365"/>
                <a:gd name="T37" fmla="*/ 361 h 364"/>
                <a:gd name="T38" fmla="*/ 26 w 365"/>
                <a:gd name="T39" fmla="*/ 364 h 364"/>
                <a:gd name="T40" fmla="*/ 32 w 365"/>
                <a:gd name="T41" fmla="*/ 364 h 364"/>
                <a:gd name="T42" fmla="*/ 333 w 365"/>
                <a:gd name="T43" fmla="*/ 364 h 364"/>
                <a:gd name="T44" fmla="*/ 333 w 365"/>
                <a:gd name="T45" fmla="*/ 364 h 364"/>
                <a:gd name="T46" fmla="*/ 340 w 365"/>
                <a:gd name="T47" fmla="*/ 364 h 364"/>
                <a:gd name="T48" fmla="*/ 345 w 365"/>
                <a:gd name="T49" fmla="*/ 361 h 364"/>
                <a:gd name="T50" fmla="*/ 350 w 365"/>
                <a:gd name="T51" fmla="*/ 358 h 364"/>
                <a:gd name="T52" fmla="*/ 356 w 365"/>
                <a:gd name="T53" fmla="*/ 354 h 364"/>
                <a:gd name="T54" fmla="*/ 358 w 365"/>
                <a:gd name="T55" fmla="*/ 350 h 364"/>
                <a:gd name="T56" fmla="*/ 362 w 365"/>
                <a:gd name="T57" fmla="*/ 345 h 364"/>
                <a:gd name="T58" fmla="*/ 364 w 365"/>
                <a:gd name="T59" fmla="*/ 339 h 364"/>
                <a:gd name="T60" fmla="*/ 365 w 365"/>
                <a:gd name="T61" fmla="*/ 333 h 364"/>
                <a:gd name="T62" fmla="*/ 365 w 365"/>
                <a:gd name="T63" fmla="*/ 32 h 364"/>
                <a:gd name="T64" fmla="*/ 365 w 365"/>
                <a:gd name="T65" fmla="*/ 32 h 364"/>
                <a:gd name="T66" fmla="*/ 364 w 365"/>
                <a:gd name="T67" fmla="*/ 25 h 364"/>
                <a:gd name="T68" fmla="*/ 362 w 365"/>
                <a:gd name="T69" fmla="*/ 20 h 364"/>
                <a:gd name="T70" fmla="*/ 358 w 365"/>
                <a:gd name="T71" fmla="*/ 15 h 364"/>
                <a:gd name="T72" fmla="*/ 356 w 365"/>
                <a:gd name="T73" fmla="*/ 9 h 364"/>
                <a:gd name="T74" fmla="*/ 350 w 365"/>
                <a:gd name="T75" fmla="*/ 5 h 364"/>
                <a:gd name="T76" fmla="*/ 345 w 365"/>
                <a:gd name="T77" fmla="*/ 3 h 364"/>
                <a:gd name="T78" fmla="*/ 340 w 365"/>
                <a:gd name="T79" fmla="*/ 1 h 364"/>
                <a:gd name="T80" fmla="*/ 333 w 365"/>
                <a:gd name="T81" fmla="*/ 0 h 364"/>
                <a:gd name="T82" fmla="*/ 333 w 365"/>
                <a:gd name="T8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5" h="364">
                  <a:moveTo>
                    <a:pt x="333" y="0"/>
                  </a:moveTo>
                  <a:lnTo>
                    <a:pt x="32" y="0"/>
                  </a:lnTo>
                  <a:lnTo>
                    <a:pt x="32" y="0"/>
                  </a:lnTo>
                  <a:lnTo>
                    <a:pt x="26" y="1"/>
                  </a:lnTo>
                  <a:lnTo>
                    <a:pt x="20" y="3"/>
                  </a:lnTo>
                  <a:lnTo>
                    <a:pt x="15" y="5"/>
                  </a:lnTo>
                  <a:lnTo>
                    <a:pt x="10" y="9"/>
                  </a:lnTo>
                  <a:lnTo>
                    <a:pt x="6" y="15"/>
                  </a:lnTo>
                  <a:lnTo>
                    <a:pt x="3" y="20"/>
                  </a:lnTo>
                  <a:lnTo>
                    <a:pt x="2" y="25"/>
                  </a:lnTo>
                  <a:lnTo>
                    <a:pt x="0" y="32"/>
                  </a:lnTo>
                  <a:lnTo>
                    <a:pt x="0" y="333"/>
                  </a:lnTo>
                  <a:lnTo>
                    <a:pt x="0" y="333"/>
                  </a:lnTo>
                  <a:lnTo>
                    <a:pt x="2" y="339"/>
                  </a:lnTo>
                  <a:lnTo>
                    <a:pt x="3" y="345"/>
                  </a:lnTo>
                  <a:lnTo>
                    <a:pt x="6" y="350"/>
                  </a:lnTo>
                  <a:lnTo>
                    <a:pt x="10" y="354"/>
                  </a:lnTo>
                  <a:lnTo>
                    <a:pt x="15" y="358"/>
                  </a:lnTo>
                  <a:lnTo>
                    <a:pt x="20" y="361"/>
                  </a:lnTo>
                  <a:lnTo>
                    <a:pt x="26" y="364"/>
                  </a:lnTo>
                  <a:lnTo>
                    <a:pt x="32" y="364"/>
                  </a:lnTo>
                  <a:lnTo>
                    <a:pt x="333" y="364"/>
                  </a:lnTo>
                  <a:lnTo>
                    <a:pt x="333" y="364"/>
                  </a:lnTo>
                  <a:lnTo>
                    <a:pt x="340" y="364"/>
                  </a:lnTo>
                  <a:lnTo>
                    <a:pt x="345" y="361"/>
                  </a:lnTo>
                  <a:lnTo>
                    <a:pt x="350" y="358"/>
                  </a:lnTo>
                  <a:lnTo>
                    <a:pt x="356" y="354"/>
                  </a:lnTo>
                  <a:lnTo>
                    <a:pt x="358" y="350"/>
                  </a:lnTo>
                  <a:lnTo>
                    <a:pt x="362" y="345"/>
                  </a:lnTo>
                  <a:lnTo>
                    <a:pt x="364" y="339"/>
                  </a:lnTo>
                  <a:lnTo>
                    <a:pt x="365" y="333"/>
                  </a:lnTo>
                  <a:lnTo>
                    <a:pt x="365" y="32"/>
                  </a:lnTo>
                  <a:lnTo>
                    <a:pt x="365" y="32"/>
                  </a:lnTo>
                  <a:lnTo>
                    <a:pt x="364" y="25"/>
                  </a:lnTo>
                  <a:lnTo>
                    <a:pt x="362" y="20"/>
                  </a:lnTo>
                  <a:lnTo>
                    <a:pt x="358" y="15"/>
                  </a:lnTo>
                  <a:lnTo>
                    <a:pt x="356" y="9"/>
                  </a:lnTo>
                  <a:lnTo>
                    <a:pt x="350" y="5"/>
                  </a:lnTo>
                  <a:lnTo>
                    <a:pt x="345" y="3"/>
                  </a:lnTo>
                  <a:lnTo>
                    <a:pt x="340" y="1"/>
                  </a:lnTo>
                  <a:lnTo>
                    <a:pt x="333" y="0"/>
                  </a:lnTo>
                  <a:lnTo>
                    <a:pt x="333" y="0"/>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4" name="Freeform 67"/>
            <p:cNvSpPr>
              <a:spLocks/>
            </p:cNvSpPr>
            <p:nvPr/>
          </p:nvSpPr>
          <p:spPr bwMode="auto">
            <a:xfrm>
              <a:off x="5379055" y="4312189"/>
              <a:ext cx="190272" cy="190272"/>
            </a:xfrm>
            <a:custGeom>
              <a:avLst/>
              <a:gdLst>
                <a:gd name="T0" fmla="*/ 332 w 364"/>
                <a:gd name="T1" fmla="*/ 0 h 364"/>
                <a:gd name="T2" fmla="*/ 31 w 364"/>
                <a:gd name="T3" fmla="*/ 0 h 364"/>
                <a:gd name="T4" fmla="*/ 31 w 364"/>
                <a:gd name="T5" fmla="*/ 0 h 364"/>
                <a:gd name="T6" fmla="*/ 26 w 364"/>
                <a:gd name="T7" fmla="*/ 1 h 364"/>
                <a:gd name="T8" fmla="*/ 19 w 364"/>
                <a:gd name="T9" fmla="*/ 3 h 364"/>
                <a:gd name="T10" fmla="*/ 14 w 364"/>
                <a:gd name="T11" fmla="*/ 5 h 364"/>
                <a:gd name="T12" fmla="*/ 10 w 364"/>
                <a:gd name="T13" fmla="*/ 9 h 364"/>
                <a:gd name="T14" fmla="*/ 5 w 364"/>
                <a:gd name="T15" fmla="*/ 15 h 364"/>
                <a:gd name="T16" fmla="*/ 3 w 364"/>
                <a:gd name="T17" fmla="*/ 20 h 364"/>
                <a:gd name="T18" fmla="*/ 0 w 364"/>
                <a:gd name="T19" fmla="*/ 25 h 364"/>
                <a:gd name="T20" fmla="*/ 0 w 364"/>
                <a:gd name="T21" fmla="*/ 32 h 364"/>
                <a:gd name="T22" fmla="*/ 0 w 364"/>
                <a:gd name="T23" fmla="*/ 333 h 364"/>
                <a:gd name="T24" fmla="*/ 0 w 364"/>
                <a:gd name="T25" fmla="*/ 333 h 364"/>
                <a:gd name="T26" fmla="*/ 0 w 364"/>
                <a:gd name="T27" fmla="*/ 339 h 364"/>
                <a:gd name="T28" fmla="*/ 3 w 364"/>
                <a:gd name="T29" fmla="*/ 345 h 364"/>
                <a:gd name="T30" fmla="*/ 5 w 364"/>
                <a:gd name="T31" fmla="*/ 350 h 364"/>
                <a:gd name="T32" fmla="*/ 10 w 364"/>
                <a:gd name="T33" fmla="*/ 354 h 364"/>
                <a:gd name="T34" fmla="*/ 14 w 364"/>
                <a:gd name="T35" fmla="*/ 358 h 364"/>
                <a:gd name="T36" fmla="*/ 19 w 364"/>
                <a:gd name="T37" fmla="*/ 361 h 364"/>
                <a:gd name="T38" fmla="*/ 26 w 364"/>
                <a:gd name="T39" fmla="*/ 364 h 364"/>
                <a:gd name="T40" fmla="*/ 31 w 364"/>
                <a:gd name="T41" fmla="*/ 364 h 364"/>
                <a:gd name="T42" fmla="*/ 332 w 364"/>
                <a:gd name="T43" fmla="*/ 364 h 364"/>
                <a:gd name="T44" fmla="*/ 332 w 364"/>
                <a:gd name="T45" fmla="*/ 364 h 364"/>
                <a:gd name="T46" fmla="*/ 338 w 364"/>
                <a:gd name="T47" fmla="*/ 364 h 364"/>
                <a:gd name="T48" fmla="*/ 344 w 364"/>
                <a:gd name="T49" fmla="*/ 361 h 364"/>
                <a:gd name="T50" fmla="*/ 349 w 364"/>
                <a:gd name="T51" fmla="*/ 358 h 364"/>
                <a:gd name="T52" fmla="*/ 354 w 364"/>
                <a:gd name="T53" fmla="*/ 354 h 364"/>
                <a:gd name="T54" fmla="*/ 358 w 364"/>
                <a:gd name="T55" fmla="*/ 350 h 364"/>
                <a:gd name="T56" fmla="*/ 361 w 364"/>
                <a:gd name="T57" fmla="*/ 345 h 364"/>
                <a:gd name="T58" fmla="*/ 362 w 364"/>
                <a:gd name="T59" fmla="*/ 339 h 364"/>
                <a:gd name="T60" fmla="*/ 364 w 364"/>
                <a:gd name="T61" fmla="*/ 333 h 364"/>
                <a:gd name="T62" fmla="*/ 364 w 364"/>
                <a:gd name="T63" fmla="*/ 32 h 364"/>
                <a:gd name="T64" fmla="*/ 364 w 364"/>
                <a:gd name="T65" fmla="*/ 32 h 364"/>
                <a:gd name="T66" fmla="*/ 362 w 364"/>
                <a:gd name="T67" fmla="*/ 25 h 364"/>
                <a:gd name="T68" fmla="*/ 361 w 364"/>
                <a:gd name="T69" fmla="*/ 20 h 364"/>
                <a:gd name="T70" fmla="*/ 358 w 364"/>
                <a:gd name="T71" fmla="*/ 15 h 364"/>
                <a:gd name="T72" fmla="*/ 354 w 364"/>
                <a:gd name="T73" fmla="*/ 9 h 364"/>
                <a:gd name="T74" fmla="*/ 349 w 364"/>
                <a:gd name="T75" fmla="*/ 5 h 364"/>
                <a:gd name="T76" fmla="*/ 344 w 364"/>
                <a:gd name="T77" fmla="*/ 3 h 364"/>
                <a:gd name="T78" fmla="*/ 338 w 364"/>
                <a:gd name="T79" fmla="*/ 1 h 364"/>
                <a:gd name="T80" fmla="*/ 332 w 364"/>
                <a:gd name="T81" fmla="*/ 0 h 364"/>
                <a:gd name="T82" fmla="*/ 332 w 364"/>
                <a:gd name="T8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4" h="364">
                  <a:moveTo>
                    <a:pt x="332" y="0"/>
                  </a:moveTo>
                  <a:lnTo>
                    <a:pt x="31" y="0"/>
                  </a:lnTo>
                  <a:lnTo>
                    <a:pt x="31" y="0"/>
                  </a:lnTo>
                  <a:lnTo>
                    <a:pt x="26" y="1"/>
                  </a:lnTo>
                  <a:lnTo>
                    <a:pt x="19" y="3"/>
                  </a:lnTo>
                  <a:lnTo>
                    <a:pt x="14" y="5"/>
                  </a:lnTo>
                  <a:lnTo>
                    <a:pt x="10" y="9"/>
                  </a:lnTo>
                  <a:lnTo>
                    <a:pt x="5" y="15"/>
                  </a:lnTo>
                  <a:lnTo>
                    <a:pt x="3" y="20"/>
                  </a:lnTo>
                  <a:lnTo>
                    <a:pt x="0" y="25"/>
                  </a:lnTo>
                  <a:lnTo>
                    <a:pt x="0" y="32"/>
                  </a:lnTo>
                  <a:lnTo>
                    <a:pt x="0" y="333"/>
                  </a:lnTo>
                  <a:lnTo>
                    <a:pt x="0" y="333"/>
                  </a:lnTo>
                  <a:lnTo>
                    <a:pt x="0" y="339"/>
                  </a:lnTo>
                  <a:lnTo>
                    <a:pt x="3" y="345"/>
                  </a:lnTo>
                  <a:lnTo>
                    <a:pt x="5" y="350"/>
                  </a:lnTo>
                  <a:lnTo>
                    <a:pt x="10" y="354"/>
                  </a:lnTo>
                  <a:lnTo>
                    <a:pt x="14" y="358"/>
                  </a:lnTo>
                  <a:lnTo>
                    <a:pt x="19" y="361"/>
                  </a:lnTo>
                  <a:lnTo>
                    <a:pt x="26" y="364"/>
                  </a:lnTo>
                  <a:lnTo>
                    <a:pt x="31" y="364"/>
                  </a:lnTo>
                  <a:lnTo>
                    <a:pt x="332" y="364"/>
                  </a:lnTo>
                  <a:lnTo>
                    <a:pt x="332" y="364"/>
                  </a:lnTo>
                  <a:lnTo>
                    <a:pt x="338" y="364"/>
                  </a:lnTo>
                  <a:lnTo>
                    <a:pt x="344" y="361"/>
                  </a:lnTo>
                  <a:lnTo>
                    <a:pt x="349" y="358"/>
                  </a:lnTo>
                  <a:lnTo>
                    <a:pt x="354" y="354"/>
                  </a:lnTo>
                  <a:lnTo>
                    <a:pt x="358" y="350"/>
                  </a:lnTo>
                  <a:lnTo>
                    <a:pt x="361" y="345"/>
                  </a:lnTo>
                  <a:lnTo>
                    <a:pt x="362" y="339"/>
                  </a:lnTo>
                  <a:lnTo>
                    <a:pt x="364" y="333"/>
                  </a:lnTo>
                  <a:lnTo>
                    <a:pt x="364" y="32"/>
                  </a:lnTo>
                  <a:lnTo>
                    <a:pt x="364" y="32"/>
                  </a:lnTo>
                  <a:lnTo>
                    <a:pt x="362" y="25"/>
                  </a:lnTo>
                  <a:lnTo>
                    <a:pt x="361" y="20"/>
                  </a:lnTo>
                  <a:lnTo>
                    <a:pt x="358" y="15"/>
                  </a:lnTo>
                  <a:lnTo>
                    <a:pt x="354" y="9"/>
                  </a:lnTo>
                  <a:lnTo>
                    <a:pt x="349" y="5"/>
                  </a:lnTo>
                  <a:lnTo>
                    <a:pt x="344" y="3"/>
                  </a:lnTo>
                  <a:lnTo>
                    <a:pt x="338" y="1"/>
                  </a:lnTo>
                  <a:lnTo>
                    <a:pt x="332" y="0"/>
                  </a:lnTo>
                  <a:lnTo>
                    <a:pt x="332" y="0"/>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5" name="Freeform 68"/>
            <p:cNvSpPr>
              <a:spLocks/>
            </p:cNvSpPr>
            <p:nvPr/>
          </p:nvSpPr>
          <p:spPr bwMode="auto">
            <a:xfrm>
              <a:off x="5581802" y="4312189"/>
              <a:ext cx="188712" cy="190272"/>
            </a:xfrm>
            <a:custGeom>
              <a:avLst/>
              <a:gdLst>
                <a:gd name="T0" fmla="*/ 32 w 363"/>
                <a:gd name="T1" fmla="*/ 364 h 364"/>
                <a:gd name="T2" fmla="*/ 333 w 363"/>
                <a:gd name="T3" fmla="*/ 364 h 364"/>
                <a:gd name="T4" fmla="*/ 333 w 363"/>
                <a:gd name="T5" fmla="*/ 364 h 364"/>
                <a:gd name="T6" fmla="*/ 338 w 363"/>
                <a:gd name="T7" fmla="*/ 364 h 364"/>
                <a:gd name="T8" fmla="*/ 345 w 363"/>
                <a:gd name="T9" fmla="*/ 361 h 364"/>
                <a:gd name="T10" fmla="*/ 350 w 363"/>
                <a:gd name="T11" fmla="*/ 358 h 364"/>
                <a:gd name="T12" fmla="*/ 354 w 363"/>
                <a:gd name="T13" fmla="*/ 354 h 364"/>
                <a:gd name="T14" fmla="*/ 358 w 363"/>
                <a:gd name="T15" fmla="*/ 350 h 364"/>
                <a:gd name="T16" fmla="*/ 361 w 363"/>
                <a:gd name="T17" fmla="*/ 345 h 364"/>
                <a:gd name="T18" fmla="*/ 363 w 363"/>
                <a:gd name="T19" fmla="*/ 339 h 364"/>
                <a:gd name="T20" fmla="*/ 363 w 363"/>
                <a:gd name="T21" fmla="*/ 333 h 364"/>
                <a:gd name="T22" fmla="*/ 363 w 363"/>
                <a:gd name="T23" fmla="*/ 32 h 364"/>
                <a:gd name="T24" fmla="*/ 363 w 363"/>
                <a:gd name="T25" fmla="*/ 32 h 364"/>
                <a:gd name="T26" fmla="*/ 363 w 363"/>
                <a:gd name="T27" fmla="*/ 25 h 364"/>
                <a:gd name="T28" fmla="*/ 361 w 363"/>
                <a:gd name="T29" fmla="*/ 20 h 364"/>
                <a:gd name="T30" fmla="*/ 358 w 363"/>
                <a:gd name="T31" fmla="*/ 15 h 364"/>
                <a:gd name="T32" fmla="*/ 354 w 363"/>
                <a:gd name="T33" fmla="*/ 9 h 364"/>
                <a:gd name="T34" fmla="*/ 350 w 363"/>
                <a:gd name="T35" fmla="*/ 5 h 364"/>
                <a:gd name="T36" fmla="*/ 345 w 363"/>
                <a:gd name="T37" fmla="*/ 3 h 364"/>
                <a:gd name="T38" fmla="*/ 338 w 363"/>
                <a:gd name="T39" fmla="*/ 1 h 364"/>
                <a:gd name="T40" fmla="*/ 333 w 363"/>
                <a:gd name="T41" fmla="*/ 0 h 364"/>
                <a:gd name="T42" fmla="*/ 32 w 363"/>
                <a:gd name="T43" fmla="*/ 0 h 364"/>
                <a:gd name="T44" fmla="*/ 32 w 363"/>
                <a:gd name="T45" fmla="*/ 0 h 364"/>
                <a:gd name="T46" fmla="*/ 25 w 363"/>
                <a:gd name="T47" fmla="*/ 1 h 364"/>
                <a:gd name="T48" fmla="*/ 20 w 363"/>
                <a:gd name="T49" fmla="*/ 3 h 364"/>
                <a:gd name="T50" fmla="*/ 14 w 363"/>
                <a:gd name="T51" fmla="*/ 5 h 364"/>
                <a:gd name="T52" fmla="*/ 9 w 363"/>
                <a:gd name="T53" fmla="*/ 9 h 364"/>
                <a:gd name="T54" fmla="*/ 5 w 363"/>
                <a:gd name="T55" fmla="*/ 15 h 364"/>
                <a:gd name="T56" fmla="*/ 2 w 363"/>
                <a:gd name="T57" fmla="*/ 20 h 364"/>
                <a:gd name="T58" fmla="*/ 1 w 363"/>
                <a:gd name="T59" fmla="*/ 25 h 364"/>
                <a:gd name="T60" fmla="*/ 0 w 363"/>
                <a:gd name="T61" fmla="*/ 32 h 364"/>
                <a:gd name="T62" fmla="*/ 0 w 363"/>
                <a:gd name="T63" fmla="*/ 333 h 364"/>
                <a:gd name="T64" fmla="*/ 0 w 363"/>
                <a:gd name="T65" fmla="*/ 333 h 364"/>
                <a:gd name="T66" fmla="*/ 1 w 363"/>
                <a:gd name="T67" fmla="*/ 339 h 364"/>
                <a:gd name="T68" fmla="*/ 2 w 363"/>
                <a:gd name="T69" fmla="*/ 345 h 364"/>
                <a:gd name="T70" fmla="*/ 5 w 363"/>
                <a:gd name="T71" fmla="*/ 350 h 364"/>
                <a:gd name="T72" fmla="*/ 9 w 363"/>
                <a:gd name="T73" fmla="*/ 354 h 364"/>
                <a:gd name="T74" fmla="*/ 14 w 363"/>
                <a:gd name="T75" fmla="*/ 358 h 364"/>
                <a:gd name="T76" fmla="*/ 20 w 363"/>
                <a:gd name="T77" fmla="*/ 361 h 364"/>
                <a:gd name="T78" fmla="*/ 25 w 363"/>
                <a:gd name="T79" fmla="*/ 364 h 364"/>
                <a:gd name="T80" fmla="*/ 32 w 363"/>
                <a:gd name="T81" fmla="*/ 364 h 364"/>
                <a:gd name="T82" fmla="*/ 32 w 363"/>
                <a:gd name="T83"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3" h="364">
                  <a:moveTo>
                    <a:pt x="32" y="364"/>
                  </a:moveTo>
                  <a:lnTo>
                    <a:pt x="333" y="364"/>
                  </a:lnTo>
                  <a:lnTo>
                    <a:pt x="333" y="364"/>
                  </a:lnTo>
                  <a:lnTo>
                    <a:pt x="338" y="364"/>
                  </a:lnTo>
                  <a:lnTo>
                    <a:pt x="345" y="361"/>
                  </a:lnTo>
                  <a:lnTo>
                    <a:pt x="350" y="358"/>
                  </a:lnTo>
                  <a:lnTo>
                    <a:pt x="354" y="354"/>
                  </a:lnTo>
                  <a:lnTo>
                    <a:pt x="358" y="350"/>
                  </a:lnTo>
                  <a:lnTo>
                    <a:pt x="361" y="345"/>
                  </a:lnTo>
                  <a:lnTo>
                    <a:pt x="363" y="339"/>
                  </a:lnTo>
                  <a:lnTo>
                    <a:pt x="363" y="333"/>
                  </a:lnTo>
                  <a:lnTo>
                    <a:pt x="363" y="32"/>
                  </a:lnTo>
                  <a:lnTo>
                    <a:pt x="363" y="32"/>
                  </a:lnTo>
                  <a:lnTo>
                    <a:pt x="363" y="25"/>
                  </a:lnTo>
                  <a:lnTo>
                    <a:pt x="361" y="20"/>
                  </a:lnTo>
                  <a:lnTo>
                    <a:pt x="358" y="15"/>
                  </a:lnTo>
                  <a:lnTo>
                    <a:pt x="354" y="9"/>
                  </a:lnTo>
                  <a:lnTo>
                    <a:pt x="350" y="5"/>
                  </a:lnTo>
                  <a:lnTo>
                    <a:pt x="345" y="3"/>
                  </a:lnTo>
                  <a:lnTo>
                    <a:pt x="338" y="1"/>
                  </a:lnTo>
                  <a:lnTo>
                    <a:pt x="333" y="0"/>
                  </a:lnTo>
                  <a:lnTo>
                    <a:pt x="32" y="0"/>
                  </a:lnTo>
                  <a:lnTo>
                    <a:pt x="32" y="0"/>
                  </a:lnTo>
                  <a:lnTo>
                    <a:pt x="25" y="1"/>
                  </a:lnTo>
                  <a:lnTo>
                    <a:pt x="20" y="3"/>
                  </a:lnTo>
                  <a:lnTo>
                    <a:pt x="14" y="5"/>
                  </a:lnTo>
                  <a:lnTo>
                    <a:pt x="9" y="9"/>
                  </a:lnTo>
                  <a:lnTo>
                    <a:pt x="5" y="15"/>
                  </a:lnTo>
                  <a:lnTo>
                    <a:pt x="2" y="20"/>
                  </a:lnTo>
                  <a:lnTo>
                    <a:pt x="1" y="25"/>
                  </a:lnTo>
                  <a:lnTo>
                    <a:pt x="0" y="32"/>
                  </a:lnTo>
                  <a:lnTo>
                    <a:pt x="0" y="333"/>
                  </a:lnTo>
                  <a:lnTo>
                    <a:pt x="0" y="333"/>
                  </a:lnTo>
                  <a:lnTo>
                    <a:pt x="1" y="339"/>
                  </a:lnTo>
                  <a:lnTo>
                    <a:pt x="2" y="345"/>
                  </a:lnTo>
                  <a:lnTo>
                    <a:pt x="5" y="350"/>
                  </a:lnTo>
                  <a:lnTo>
                    <a:pt x="9" y="354"/>
                  </a:lnTo>
                  <a:lnTo>
                    <a:pt x="14" y="358"/>
                  </a:lnTo>
                  <a:lnTo>
                    <a:pt x="20" y="361"/>
                  </a:lnTo>
                  <a:lnTo>
                    <a:pt x="25" y="364"/>
                  </a:lnTo>
                  <a:lnTo>
                    <a:pt x="32" y="364"/>
                  </a:lnTo>
                  <a:lnTo>
                    <a:pt x="32" y="364"/>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6" name="Freeform 69"/>
            <p:cNvSpPr>
              <a:spLocks/>
            </p:cNvSpPr>
            <p:nvPr/>
          </p:nvSpPr>
          <p:spPr bwMode="auto">
            <a:xfrm>
              <a:off x="5151353" y="4510259"/>
              <a:ext cx="215225" cy="165317"/>
            </a:xfrm>
            <a:custGeom>
              <a:avLst/>
              <a:gdLst>
                <a:gd name="T0" fmla="*/ 384 w 416"/>
                <a:gd name="T1" fmla="*/ 0 h 317"/>
                <a:gd name="T2" fmla="*/ 83 w 416"/>
                <a:gd name="T3" fmla="*/ 0 h 317"/>
                <a:gd name="T4" fmla="*/ 83 w 416"/>
                <a:gd name="T5" fmla="*/ 0 h 317"/>
                <a:gd name="T6" fmla="*/ 71 w 416"/>
                <a:gd name="T7" fmla="*/ 1 h 317"/>
                <a:gd name="T8" fmla="*/ 61 w 416"/>
                <a:gd name="T9" fmla="*/ 3 h 317"/>
                <a:gd name="T10" fmla="*/ 54 w 416"/>
                <a:gd name="T11" fmla="*/ 5 h 317"/>
                <a:gd name="T12" fmla="*/ 53 w 416"/>
                <a:gd name="T13" fmla="*/ 7 h 317"/>
                <a:gd name="T14" fmla="*/ 51 w 416"/>
                <a:gd name="T15" fmla="*/ 8 h 317"/>
                <a:gd name="T16" fmla="*/ 20 w 416"/>
                <a:gd name="T17" fmla="*/ 73 h 317"/>
                <a:gd name="T18" fmla="*/ 20 w 416"/>
                <a:gd name="T19" fmla="*/ 73 h 317"/>
                <a:gd name="T20" fmla="*/ 22 w 416"/>
                <a:gd name="T21" fmla="*/ 76 h 317"/>
                <a:gd name="T22" fmla="*/ 24 w 416"/>
                <a:gd name="T23" fmla="*/ 79 h 317"/>
                <a:gd name="T24" fmla="*/ 31 w 416"/>
                <a:gd name="T25" fmla="*/ 80 h 317"/>
                <a:gd name="T26" fmla="*/ 42 w 416"/>
                <a:gd name="T27" fmla="*/ 81 h 317"/>
                <a:gd name="T28" fmla="*/ 70 w 416"/>
                <a:gd name="T29" fmla="*/ 81 h 317"/>
                <a:gd name="T30" fmla="*/ 70 w 416"/>
                <a:gd name="T31" fmla="*/ 289 h 317"/>
                <a:gd name="T32" fmla="*/ 0 w 416"/>
                <a:gd name="T33" fmla="*/ 289 h 317"/>
                <a:gd name="T34" fmla="*/ 0 w 416"/>
                <a:gd name="T35" fmla="*/ 317 h 317"/>
                <a:gd name="T36" fmla="*/ 166 w 416"/>
                <a:gd name="T37" fmla="*/ 317 h 317"/>
                <a:gd name="T38" fmla="*/ 166 w 416"/>
                <a:gd name="T39" fmla="*/ 289 h 317"/>
                <a:gd name="T40" fmla="*/ 97 w 416"/>
                <a:gd name="T41" fmla="*/ 289 h 317"/>
                <a:gd name="T42" fmla="*/ 97 w 416"/>
                <a:gd name="T43" fmla="*/ 81 h 317"/>
                <a:gd name="T44" fmla="*/ 384 w 416"/>
                <a:gd name="T45" fmla="*/ 81 h 317"/>
                <a:gd name="T46" fmla="*/ 384 w 416"/>
                <a:gd name="T47" fmla="*/ 81 h 317"/>
                <a:gd name="T48" fmla="*/ 396 w 416"/>
                <a:gd name="T49" fmla="*/ 80 h 317"/>
                <a:gd name="T50" fmla="*/ 407 w 416"/>
                <a:gd name="T51" fmla="*/ 79 h 317"/>
                <a:gd name="T52" fmla="*/ 413 w 416"/>
                <a:gd name="T53" fmla="*/ 76 h 317"/>
                <a:gd name="T54" fmla="*/ 415 w 416"/>
                <a:gd name="T55" fmla="*/ 75 h 317"/>
                <a:gd name="T56" fmla="*/ 416 w 416"/>
                <a:gd name="T57" fmla="*/ 73 h 317"/>
                <a:gd name="T58" fmla="*/ 416 w 416"/>
                <a:gd name="T59" fmla="*/ 8 h 317"/>
                <a:gd name="T60" fmla="*/ 416 w 416"/>
                <a:gd name="T61" fmla="*/ 8 h 317"/>
                <a:gd name="T62" fmla="*/ 415 w 416"/>
                <a:gd name="T63" fmla="*/ 7 h 317"/>
                <a:gd name="T64" fmla="*/ 413 w 416"/>
                <a:gd name="T65" fmla="*/ 5 h 317"/>
                <a:gd name="T66" fmla="*/ 407 w 416"/>
                <a:gd name="T67" fmla="*/ 3 h 317"/>
                <a:gd name="T68" fmla="*/ 396 w 416"/>
                <a:gd name="T69" fmla="*/ 1 h 317"/>
                <a:gd name="T70" fmla="*/ 384 w 416"/>
                <a:gd name="T71" fmla="*/ 0 h 317"/>
                <a:gd name="T72" fmla="*/ 384 w 416"/>
                <a:gd name="T73"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6" h="317">
                  <a:moveTo>
                    <a:pt x="384" y="0"/>
                  </a:moveTo>
                  <a:lnTo>
                    <a:pt x="83" y="0"/>
                  </a:lnTo>
                  <a:lnTo>
                    <a:pt x="83" y="0"/>
                  </a:lnTo>
                  <a:lnTo>
                    <a:pt x="71" y="1"/>
                  </a:lnTo>
                  <a:lnTo>
                    <a:pt x="61" y="3"/>
                  </a:lnTo>
                  <a:lnTo>
                    <a:pt x="54" y="5"/>
                  </a:lnTo>
                  <a:lnTo>
                    <a:pt x="53" y="7"/>
                  </a:lnTo>
                  <a:lnTo>
                    <a:pt x="51" y="8"/>
                  </a:lnTo>
                  <a:lnTo>
                    <a:pt x="20" y="73"/>
                  </a:lnTo>
                  <a:lnTo>
                    <a:pt x="20" y="73"/>
                  </a:lnTo>
                  <a:lnTo>
                    <a:pt x="22" y="76"/>
                  </a:lnTo>
                  <a:lnTo>
                    <a:pt x="24" y="79"/>
                  </a:lnTo>
                  <a:lnTo>
                    <a:pt x="31" y="80"/>
                  </a:lnTo>
                  <a:lnTo>
                    <a:pt x="42" y="81"/>
                  </a:lnTo>
                  <a:lnTo>
                    <a:pt x="70" y="81"/>
                  </a:lnTo>
                  <a:lnTo>
                    <a:pt x="70" y="289"/>
                  </a:lnTo>
                  <a:lnTo>
                    <a:pt x="0" y="289"/>
                  </a:lnTo>
                  <a:lnTo>
                    <a:pt x="0" y="317"/>
                  </a:lnTo>
                  <a:lnTo>
                    <a:pt x="166" y="317"/>
                  </a:lnTo>
                  <a:lnTo>
                    <a:pt x="166" y="289"/>
                  </a:lnTo>
                  <a:lnTo>
                    <a:pt x="97" y="289"/>
                  </a:lnTo>
                  <a:lnTo>
                    <a:pt x="97" y="81"/>
                  </a:lnTo>
                  <a:lnTo>
                    <a:pt x="384" y="81"/>
                  </a:lnTo>
                  <a:lnTo>
                    <a:pt x="384" y="81"/>
                  </a:lnTo>
                  <a:lnTo>
                    <a:pt x="396" y="80"/>
                  </a:lnTo>
                  <a:lnTo>
                    <a:pt x="407" y="79"/>
                  </a:lnTo>
                  <a:lnTo>
                    <a:pt x="413" y="76"/>
                  </a:lnTo>
                  <a:lnTo>
                    <a:pt x="415" y="75"/>
                  </a:lnTo>
                  <a:lnTo>
                    <a:pt x="416" y="73"/>
                  </a:lnTo>
                  <a:lnTo>
                    <a:pt x="416" y="8"/>
                  </a:lnTo>
                  <a:lnTo>
                    <a:pt x="416" y="8"/>
                  </a:lnTo>
                  <a:lnTo>
                    <a:pt x="415" y="7"/>
                  </a:lnTo>
                  <a:lnTo>
                    <a:pt x="413" y="5"/>
                  </a:lnTo>
                  <a:lnTo>
                    <a:pt x="407" y="3"/>
                  </a:lnTo>
                  <a:lnTo>
                    <a:pt x="396" y="1"/>
                  </a:lnTo>
                  <a:lnTo>
                    <a:pt x="384" y="0"/>
                  </a:lnTo>
                  <a:lnTo>
                    <a:pt x="384" y="0"/>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7" name="Freeform 70"/>
            <p:cNvSpPr>
              <a:spLocks/>
            </p:cNvSpPr>
            <p:nvPr/>
          </p:nvSpPr>
          <p:spPr bwMode="auto">
            <a:xfrm>
              <a:off x="5379055" y="4510259"/>
              <a:ext cx="190272" cy="42110"/>
            </a:xfrm>
            <a:custGeom>
              <a:avLst/>
              <a:gdLst>
                <a:gd name="T0" fmla="*/ 332 w 364"/>
                <a:gd name="T1" fmla="*/ 0 h 81"/>
                <a:gd name="T2" fmla="*/ 31 w 364"/>
                <a:gd name="T3" fmla="*/ 0 h 81"/>
                <a:gd name="T4" fmla="*/ 31 w 364"/>
                <a:gd name="T5" fmla="*/ 0 h 81"/>
                <a:gd name="T6" fmla="*/ 19 w 364"/>
                <a:gd name="T7" fmla="*/ 1 h 81"/>
                <a:gd name="T8" fmla="*/ 10 w 364"/>
                <a:gd name="T9" fmla="*/ 3 h 81"/>
                <a:gd name="T10" fmla="*/ 3 w 364"/>
                <a:gd name="T11" fmla="*/ 5 h 81"/>
                <a:gd name="T12" fmla="*/ 0 w 364"/>
                <a:gd name="T13" fmla="*/ 7 h 81"/>
                <a:gd name="T14" fmla="*/ 0 w 364"/>
                <a:gd name="T15" fmla="*/ 8 h 81"/>
                <a:gd name="T16" fmla="*/ 0 w 364"/>
                <a:gd name="T17" fmla="*/ 73 h 81"/>
                <a:gd name="T18" fmla="*/ 0 w 364"/>
                <a:gd name="T19" fmla="*/ 73 h 81"/>
                <a:gd name="T20" fmla="*/ 0 w 364"/>
                <a:gd name="T21" fmla="*/ 75 h 81"/>
                <a:gd name="T22" fmla="*/ 3 w 364"/>
                <a:gd name="T23" fmla="*/ 76 h 81"/>
                <a:gd name="T24" fmla="*/ 10 w 364"/>
                <a:gd name="T25" fmla="*/ 79 h 81"/>
                <a:gd name="T26" fmla="*/ 19 w 364"/>
                <a:gd name="T27" fmla="*/ 80 h 81"/>
                <a:gd name="T28" fmla="*/ 31 w 364"/>
                <a:gd name="T29" fmla="*/ 81 h 81"/>
                <a:gd name="T30" fmla="*/ 332 w 364"/>
                <a:gd name="T31" fmla="*/ 81 h 81"/>
                <a:gd name="T32" fmla="*/ 332 w 364"/>
                <a:gd name="T33" fmla="*/ 81 h 81"/>
                <a:gd name="T34" fmla="*/ 344 w 364"/>
                <a:gd name="T35" fmla="*/ 80 h 81"/>
                <a:gd name="T36" fmla="*/ 354 w 364"/>
                <a:gd name="T37" fmla="*/ 79 h 81"/>
                <a:gd name="T38" fmla="*/ 361 w 364"/>
                <a:gd name="T39" fmla="*/ 76 h 81"/>
                <a:gd name="T40" fmla="*/ 362 w 364"/>
                <a:gd name="T41" fmla="*/ 75 h 81"/>
                <a:gd name="T42" fmla="*/ 364 w 364"/>
                <a:gd name="T43" fmla="*/ 73 h 81"/>
                <a:gd name="T44" fmla="*/ 364 w 364"/>
                <a:gd name="T45" fmla="*/ 8 h 81"/>
                <a:gd name="T46" fmla="*/ 364 w 364"/>
                <a:gd name="T47" fmla="*/ 8 h 81"/>
                <a:gd name="T48" fmla="*/ 362 w 364"/>
                <a:gd name="T49" fmla="*/ 7 h 81"/>
                <a:gd name="T50" fmla="*/ 361 w 364"/>
                <a:gd name="T51" fmla="*/ 5 h 81"/>
                <a:gd name="T52" fmla="*/ 354 w 364"/>
                <a:gd name="T53" fmla="*/ 3 h 81"/>
                <a:gd name="T54" fmla="*/ 344 w 364"/>
                <a:gd name="T55" fmla="*/ 1 h 81"/>
                <a:gd name="T56" fmla="*/ 332 w 364"/>
                <a:gd name="T57" fmla="*/ 0 h 81"/>
                <a:gd name="T58" fmla="*/ 332 w 364"/>
                <a:gd name="T5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4" h="81">
                  <a:moveTo>
                    <a:pt x="332" y="0"/>
                  </a:moveTo>
                  <a:lnTo>
                    <a:pt x="31" y="0"/>
                  </a:lnTo>
                  <a:lnTo>
                    <a:pt x="31" y="0"/>
                  </a:lnTo>
                  <a:lnTo>
                    <a:pt x="19" y="1"/>
                  </a:lnTo>
                  <a:lnTo>
                    <a:pt x="10" y="3"/>
                  </a:lnTo>
                  <a:lnTo>
                    <a:pt x="3" y="5"/>
                  </a:lnTo>
                  <a:lnTo>
                    <a:pt x="0" y="7"/>
                  </a:lnTo>
                  <a:lnTo>
                    <a:pt x="0" y="8"/>
                  </a:lnTo>
                  <a:lnTo>
                    <a:pt x="0" y="73"/>
                  </a:lnTo>
                  <a:lnTo>
                    <a:pt x="0" y="73"/>
                  </a:lnTo>
                  <a:lnTo>
                    <a:pt x="0" y="75"/>
                  </a:lnTo>
                  <a:lnTo>
                    <a:pt x="3" y="76"/>
                  </a:lnTo>
                  <a:lnTo>
                    <a:pt x="10" y="79"/>
                  </a:lnTo>
                  <a:lnTo>
                    <a:pt x="19" y="80"/>
                  </a:lnTo>
                  <a:lnTo>
                    <a:pt x="31" y="81"/>
                  </a:lnTo>
                  <a:lnTo>
                    <a:pt x="332" y="81"/>
                  </a:lnTo>
                  <a:lnTo>
                    <a:pt x="332" y="81"/>
                  </a:lnTo>
                  <a:lnTo>
                    <a:pt x="344" y="80"/>
                  </a:lnTo>
                  <a:lnTo>
                    <a:pt x="354" y="79"/>
                  </a:lnTo>
                  <a:lnTo>
                    <a:pt x="361" y="76"/>
                  </a:lnTo>
                  <a:lnTo>
                    <a:pt x="362" y="75"/>
                  </a:lnTo>
                  <a:lnTo>
                    <a:pt x="364" y="73"/>
                  </a:lnTo>
                  <a:lnTo>
                    <a:pt x="364" y="8"/>
                  </a:lnTo>
                  <a:lnTo>
                    <a:pt x="364" y="8"/>
                  </a:lnTo>
                  <a:lnTo>
                    <a:pt x="362" y="7"/>
                  </a:lnTo>
                  <a:lnTo>
                    <a:pt x="361" y="5"/>
                  </a:lnTo>
                  <a:lnTo>
                    <a:pt x="354" y="3"/>
                  </a:lnTo>
                  <a:lnTo>
                    <a:pt x="344" y="1"/>
                  </a:lnTo>
                  <a:lnTo>
                    <a:pt x="332" y="0"/>
                  </a:lnTo>
                  <a:lnTo>
                    <a:pt x="332" y="0"/>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8" name="Freeform 71"/>
            <p:cNvSpPr>
              <a:spLocks/>
            </p:cNvSpPr>
            <p:nvPr/>
          </p:nvSpPr>
          <p:spPr bwMode="auto">
            <a:xfrm>
              <a:off x="5581802" y="4510259"/>
              <a:ext cx="224583" cy="165317"/>
            </a:xfrm>
            <a:custGeom>
              <a:avLst/>
              <a:gdLst>
                <a:gd name="T0" fmla="*/ 363 w 433"/>
                <a:gd name="T1" fmla="*/ 289 h 317"/>
                <a:gd name="T2" fmla="*/ 363 w 433"/>
                <a:gd name="T3" fmla="*/ 81 h 317"/>
                <a:gd name="T4" fmla="*/ 374 w 433"/>
                <a:gd name="T5" fmla="*/ 81 h 317"/>
                <a:gd name="T6" fmla="*/ 374 w 433"/>
                <a:gd name="T7" fmla="*/ 81 h 317"/>
                <a:gd name="T8" fmla="*/ 385 w 433"/>
                <a:gd name="T9" fmla="*/ 80 h 317"/>
                <a:gd name="T10" fmla="*/ 391 w 433"/>
                <a:gd name="T11" fmla="*/ 79 h 317"/>
                <a:gd name="T12" fmla="*/ 394 w 433"/>
                <a:gd name="T13" fmla="*/ 76 h 317"/>
                <a:gd name="T14" fmla="*/ 395 w 433"/>
                <a:gd name="T15" fmla="*/ 73 h 317"/>
                <a:gd name="T16" fmla="*/ 363 w 433"/>
                <a:gd name="T17" fmla="*/ 8 h 317"/>
                <a:gd name="T18" fmla="*/ 363 w 433"/>
                <a:gd name="T19" fmla="*/ 8 h 317"/>
                <a:gd name="T20" fmla="*/ 363 w 433"/>
                <a:gd name="T21" fmla="*/ 7 h 317"/>
                <a:gd name="T22" fmla="*/ 361 w 433"/>
                <a:gd name="T23" fmla="*/ 5 h 317"/>
                <a:gd name="T24" fmla="*/ 354 w 433"/>
                <a:gd name="T25" fmla="*/ 3 h 317"/>
                <a:gd name="T26" fmla="*/ 345 w 433"/>
                <a:gd name="T27" fmla="*/ 1 h 317"/>
                <a:gd name="T28" fmla="*/ 333 w 433"/>
                <a:gd name="T29" fmla="*/ 0 h 317"/>
                <a:gd name="T30" fmla="*/ 32 w 433"/>
                <a:gd name="T31" fmla="*/ 0 h 317"/>
                <a:gd name="T32" fmla="*/ 32 w 433"/>
                <a:gd name="T33" fmla="*/ 0 h 317"/>
                <a:gd name="T34" fmla="*/ 20 w 433"/>
                <a:gd name="T35" fmla="*/ 1 h 317"/>
                <a:gd name="T36" fmla="*/ 9 w 433"/>
                <a:gd name="T37" fmla="*/ 3 h 317"/>
                <a:gd name="T38" fmla="*/ 2 w 433"/>
                <a:gd name="T39" fmla="*/ 5 h 317"/>
                <a:gd name="T40" fmla="*/ 1 w 433"/>
                <a:gd name="T41" fmla="*/ 7 h 317"/>
                <a:gd name="T42" fmla="*/ 0 w 433"/>
                <a:gd name="T43" fmla="*/ 8 h 317"/>
                <a:gd name="T44" fmla="*/ 0 w 433"/>
                <a:gd name="T45" fmla="*/ 73 h 317"/>
                <a:gd name="T46" fmla="*/ 0 w 433"/>
                <a:gd name="T47" fmla="*/ 73 h 317"/>
                <a:gd name="T48" fmla="*/ 1 w 433"/>
                <a:gd name="T49" fmla="*/ 75 h 317"/>
                <a:gd name="T50" fmla="*/ 2 w 433"/>
                <a:gd name="T51" fmla="*/ 76 h 317"/>
                <a:gd name="T52" fmla="*/ 9 w 433"/>
                <a:gd name="T53" fmla="*/ 79 h 317"/>
                <a:gd name="T54" fmla="*/ 20 w 433"/>
                <a:gd name="T55" fmla="*/ 80 h 317"/>
                <a:gd name="T56" fmla="*/ 32 w 433"/>
                <a:gd name="T57" fmla="*/ 81 h 317"/>
                <a:gd name="T58" fmla="*/ 335 w 433"/>
                <a:gd name="T59" fmla="*/ 81 h 317"/>
                <a:gd name="T60" fmla="*/ 335 w 433"/>
                <a:gd name="T61" fmla="*/ 289 h 317"/>
                <a:gd name="T62" fmla="*/ 267 w 433"/>
                <a:gd name="T63" fmla="*/ 289 h 317"/>
                <a:gd name="T64" fmla="*/ 267 w 433"/>
                <a:gd name="T65" fmla="*/ 317 h 317"/>
                <a:gd name="T66" fmla="*/ 433 w 433"/>
                <a:gd name="T67" fmla="*/ 317 h 317"/>
                <a:gd name="T68" fmla="*/ 433 w 433"/>
                <a:gd name="T69" fmla="*/ 289 h 317"/>
                <a:gd name="T70" fmla="*/ 363 w 433"/>
                <a:gd name="T71" fmla="*/ 28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3" h="317">
                  <a:moveTo>
                    <a:pt x="363" y="289"/>
                  </a:moveTo>
                  <a:lnTo>
                    <a:pt x="363" y="81"/>
                  </a:lnTo>
                  <a:lnTo>
                    <a:pt x="374" y="81"/>
                  </a:lnTo>
                  <a:lnTo>
                    <a:pt x="374" y="81"/>
                  </a:lnTo>
                  <a:lnTo>
                    <a:pt x="385" y="80"/>
                  </a:lnTo>
                  <a:lnTo>
                    <a:pt x="391" y="79"/>
                  </a:lnTo>
                  <a:lnTo>
                    <a:pt x="394" y="76"/>
                  </a:lnTo>
                  <a:lnTo>
                    <a:pt x="395" y="73"/>
                  </a:lnTo>
                  <a:lnTo>
                    <a:pt x="363" y="8"/>
                  </a:lnTo>
                  <a:lnTo>
                    <a:pt x="363" y="8"/>
                  </a:lnTo>
                  <a:lnTo>
                    <a:pt x="363" y="7"/>
                  </a:lnTo>
                  <a:lnTo>
                    <a:pt x="361" y="5"/>
                  </a:lnTo>
                  <a:lnTo>
                    <a:pt x="354" y="3"/>
                  </a:lnTo>
                  <a:lnTo>
                    <a:pt x="345" y="1"/>
                  </a:lnTo>
                  <a:lnTo>
                    <a:pt x="333" y="0"/>
                  </a:lnTo>
                  <a:lnTo>
                    <a:pt x="32" y="0"/>
                  </a:lnTo>
                  <a:lnTo>
                    <a:pt x="32" y="0"/>
                  </a:lnTo>
                  <a:lnTo>
                    <a:pt x="20" y="1"/>
                  </a:lnTo>
                  <a:lnTo>
                    <a:pt x="9" y="3"/>
                  </a:lnTo>
                  <a:lnTo>
                    <a:pt x="2" y="5"/>
                  </a:lnTo>
                  <a:lnTo>
                    <a:pt x="1" y="7"/>
                  </a:lnTo>
                  <a:lnTo>
                    <a:pt x="0" y="8"/>
                  </a:lnTo>
                  <a:lnTo>
                    <a:pt x="0" y="73"/>
                  </a:lnTo>
                  <a:lnTo>
                    <a:pt x="0" y="73"/>
                  </a:lnTo>
                  <a:lnTo>
                    <a:pt x="1" y="75"/>
                  </a:lnTo>
                  <a:lnTo>
                    <a:pt x="2" y="76"/>
                  </a:lnTo>
                  <a:lnTo>
                    <a:pt x="9" y="79"/>
                  </a:lnTo>
                  <a:lnTo>
                    <a:pt x="20" y="80"/>
                  </a:lnTo>
                  <a:lnTo>
                    <a:pt x="32" y="81"/>
                  </a:lnTo>
                  <a:lnTo>
                    <a:pt x="335" y="81"/>
                  </a:lnTo>
                  <a:lnTo>
                    <a:pt x="335" y="289"/>
                  </a:lnTo>
                  <a:lnTo>
                    <a:pt x="267" y="289"/>
                  </a:lnTo>
                  <a:lnTo>
                    <a:pt x="267" y="317"/>
                  </a:lnTo>
                  <a:lnTo>
                    <a:pt x="433" y="317"/>
                  </a:lnTo>
                  <a:lnTo>
                    <a:pt x="433" y="289"/>
                  </a:lnTo>
                  <a:lnTo>
                    <a:pt x="363" y="289"/>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25" name="Rectangle 128"/>
            <p:cNvSpPr>
              <a:spLocks noChangeArrowheads="1"/>
            </p:cNvSpPr>
            <p:nvPr/>
          </p:nvSpPr>
          <p:spPr bwMode="auto">
            <a:xfrm>
              <a:off x="4978237" y="4139074"/>
              <a:ext cx="37430" cy="536502"/>
            </a:xfrm>
            <a:prstGeom prst="rect">
              <a:avLst/>
            </a:pr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26" name="Rectangle 129"/>
            <p:cNvSpPr>
              <a:spLocks noChangeArrowheads="1"/>
            </p:cNvSpPr>
            <p:nvPr/>
          </p:nvSpPr>
          <p:spPr bwMode="auto">
            <a:xfrm>
              <a:off x="4951724" y="4661540"/>
              <a:ext cx="90457" cy="23395"/>
            </a:xfrm>
            <a:prstGeom prst="rect">
              <a:avLst/>
            </a:pr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27" name="Rectangle 130"/>
            <p:cNvSpPr>
              <a:spLocks noChangeArrowheads="1"/>
            </p:cNvSpPr>
            <p:nvPr/>
          </p:nvSpPr>
          <p:spPr bwMode="auto">
            <a:xfrm>
              <a:off x="5913998" y="4139074"/>
              <a:ext cx="37430" cy="536502"/>
            </a:xfrm>
            <a:prstGeom prst="rect">
              <a:avLst/>
            </a:pr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28" name="Rectangle 131"/>
            <p:cNvSpPr>
              <a:spLocks noChangeArrowheads="1"/>
            </p:cNvSpPr>
            <p:nvPr/>
          </p:nvSpPr>
          <p:spPr bwMode="auto">
            <a:xfrm>
              <a:off x="5887484" y="4661540"/>
              <a:ext cx="90457" cy="23395"/>
            </a:xfrm>
            <a:prstGeom prst="rect">
              <a:avLst/>
            </a:pr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24" name="Freeform 127"/>
            <p:cNvSpPr>
              <a:spLocks/>
            </p:cNvSpPr>
            <p:nvPr/>
          </p:nvSpPr>
          <p:spPr bwMode="auto">
            <a:xfrm>
              <a:off x="4922092" y="3998755"/>
              <a:ext cx="1104197" cy="152841"/>
            </a:xfrm>
            <a:custGeom>
              <a:avLst/>
              <a:gdLst>
                <a:gd name="T0" fmla="*/ 1883 w 2122"/>
                <a:gd name="T1" fmla="*/ 0 h 296"/>
                <a:gd name="T2" fmla="*/ 239 w 2122"/>
                <a:gd name="T3" fmla="*/ 0 h 296"/>
                <a:gd name="T4" fmla="*/ 0 w 2122"/>
                <a:gd name="T5" fmla="*/ 296 h 296"/>
                <a:gd name="T6" fmla="*/ 2122 w 2122"/>
                <a:gd name="T7" fmla="*/ 296 h 296"/>
                <a:gd name="T8" fmla="*/ 1883 w 2122"/>
                <a:gd name="T9" fmla="*/ 0 h 296"/>
              </a:gdLst>
              <a:ahLst/>
              <a:cxnLst>
                <a:cxn ang="0">
                  <a:pos x="T0" y="T1"/>
                </a:cxn>
                <a:cxn ang="0">
                  <a:pos x="T2" y="T3"/>
                </a:cxn>
                <a:cxn ang="0">
                  <a:pos x="T4" y="T5"/>
                </a:cxn>
                <a:cxn ang="0">
                  <a:pos x="T6" y="T7"/>
                </a:cxn>
                <a:cxn ang="0">
                  <a:pos x="T8" y="T9"/>
                </a:cxn>
              </a:cxnLst>
              <a:rect l="0" t="0" r="r" b="b"/>
              <a:pathLst>
                <a:path w="2122" h="296">
                  <a:moveTo>
                    <a:pt x="1883" y="0"/>
                  </a:moveTo>
                  <a:lnTo>
                    <a:pt x="239" y="0"/>
                  </a:lnTo>
                  <a:lnTo>
                    <a:pt x="0" y="296"/>
                  </a:lnTo>
                  <a:lnTo>
                    <a:pt x="2122" y="296"/>
                  </a:lnTo>
                  <a:lnTo>
                    <a:pt x="1883" y="0"/>
                  </a:lnTo>
                  <a:close/>
                </a:path>
              </a:pathLst>
            </a:custGeom>
            <a:solidFill>
              <a:schemeClr val="tx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240" name="Rounded Rectangle 1239"/>
          <p:cNvSpPr/>
          <p:nvPr/>
        </p:nvSpPr>
        <p:spPr bwMode="auto">
          <a:xfrm>
            <a:off x="6830334" y="3134956"/>
            <a:ext cx="3071825" cy="1139674"/>
          </a:xfrm>
          <a:custGeom>
            <a:avLst/>
            <a:gdLst>
              <a:gd name="connsiteX0" fmla="*/ 561119 w 2384289"/>
              <a:gd name="connsiteY0" fmla="*/ 0 h 916552"/>
              <a:gd name="connsiteX1" fmla="*/ 2384289 w 2384289"/>
              <a:gd name="connsiteY1" fmla="*/ 0 h 916552"/>
              <a:gd name="connsiteX2" fmla="*/ 2384289 w 2384289"/>
              <a:gd name="connsiteY2" fmla="*/ 265569 h 916552"/>
              <a:gd name="connsiteX3" fmla="*/ 663351 w 2384289"/>
              <a:gd name="connsiteY3" fmla="*/ 265569 h 916552"/>
              <a:gd name="connsiteX4" fmla="*/ 332572 w 2384289"/>
              <a:gd name="connsiteY4" fmla="*/ 596348 h 916552"/>
              <a:gd name="connsiteX5" fmla="*/ 350832 w 2384289"/>
              <a:gd name="connsiteY5" fmla="*/ 916552 h 916552"/>
              <a:gd name="connsiteX6" fmla="*/ 5162 w 2384289"/>
              <a:gd name="connsiteY6" fmla="*/ 630341 h 916552"/>
              <a:gd name="connsiteX7" fmla="*/ 0 w 2384289"/>
              <a:gd name="connsiteY7" fmla="*/ 561119 h 916552"/>
              <a:gd name="connsiteX8" fmla="*/ 561119 w 2384289"/>
              <a:gd name="connsiteY8" fmla="*/ 0 h 916552"/>
              <a:gd name="connsiteX0" fmla="*/ 562345 w 2385515"/>
              <a:gd name="connsiteY0" fmla="*/ 0 h 931104"/>
              <a:gd name="connsiteX1" fmla="*/ 2385515 w 2385515"/>
              <a:gd name="connsiteY1" fmla="*/ 0 h 931104"/>
              <a:gd name="connsiteX2" fmla="*/ 2385515 w 2385515"/>
              <a:gd name="connsiteY2" fmla="*/ 265569 h 931104"/>
              <a:gd name="connsiteX3" fmla="*/ 664577 w 2385515"/>
              <a:gd name="connsiteY3" fmla="*/ 265569 h 931104"/>
              <a:gd name="connsiteX4" fmla="*/ 333798 w 2385515"/>
              <a:gd name="connsiteY4" fmla="*/ 596348 h 931104"/>
              <a:gd name="connsiteX5" fmla="*/ 352058 w 2385515"/>
              <a:gd name="connsiteY5" fmla="*/ 916552 h 931104"/>
              <a:gd name="connsiteX6" fmla="*/ 1823 w 2385515"/>
              <a:gd name="connsiteY6" fmla="*/ 931104 h 931104"/>
              <a:gd name="connsiteX7" fmla="*/ 1226 w 2385515"/>
              <a:gd name="connsiteY7" fmla="*/ 561119 h 931104"/>
              <a:gd name="connsiteX8" fmla="*/ 562345 w 2385515"/>
              <a:gd name="connsiteY8" fmla="*/ 0 h 931104"/>
              <a:gd name="connsiteX0" fmla="*/ 562345 w 2385515"/>
              <a:gd name="connsiteY0" fmla="*/ 0 h 931105"/>
              <a:gd name="connsiteX1" fmla="*/ 2385515 w 2385515"/>
              <a:gd name="connsiteY1" fmla="*/ 0 h 931105"/>
              <a:gd name="connsiteX2" fmla="*/ 2385515 w 2385515"/>
              <a:gd name="connsiteY2" fmla="*/ 265569 h 931105"/>
              <a:gd name="connsiteX3" fmla="*/ 664577 w 2385515"/>
              <a:gd name="connsiteY3" fmla="*/ 265569 h 931105"/>
              <a:gd name="connsiteX4" fmla="*/ 333798 w 2385515"/>
              <a:gd name="connsiteY4" fmla="*/ 596348 h 931105"/>
              <a:gd name="connsiteX5" fmla="*/ 356623 w 2385515"/>
              <a:gd name="connsiteY5" fmla="*/ 931105 h 931105"/>
              <a:gd name="connsiteX6" fmla="*/ 1823 w 2385515"/>
              <a:gd name="connsiteY6" fmla="*/ 931104 h 931105"/>
              <a:gd name="connsiteX7" fmla="*/ 1226 w 2385515"/>
              <a:gd name="connsiteY7" fmla="*/ 561119 h 931105"/>
              <a:gd name="connsiteX8" fmla="*/ 562345 w 2385515"/>
              <a:gd name="connsiteY8" fmla="*/ 0 h 931105"/>
              <a:gd name="connsiteX0" fmla="*/ 562345 w 2385515"/>
              <a:gd name="connsiteY0" fmla="*/ 0 h 931105"/>
              <a:gd name="connsiteX1" fmla="*/ 2361715 w 2385515"/>
              <a:gd name="connsiteY1" fmla="*/ 0 h 931105"/>
              <a:gd name="connsiteX2" fmla="*/ 2385515 w 2385515"/>
              <a:gd name="connsiteY2" fmla="*/ 265569 h 931105"/>
              <a:gd name="connsiteX3" fmla="*/ 664577 w 2385515"/>
              <a:gd name="connsiteY3" fmla="*/ 265569 h 931105"/>
              <a:gd name="connsiteX4" fmla="*/ 333798 w 2385515"/>
              <a:gd name="connsiteY4" fmla="*/ 596348 h 931105"/>
              <a:gd name="connsiteX5" fmla="*/ 356623 w 2385515"/>
              <a:gd name="connsiteY5" fmla="*/ 931105 h 931105"/>
              <a:gd name="connsiteX6" fmla="*/ 1823 w 2385515"/>
              <a:gd name="connsiteY6" fmla="*/ 931104 h 931105"/>
              <a:gd name="connsiteX7" fmla="*/ 1226 w 2385515"/>
              <a:gd name="connsiteY7" fmla="*/ 561119 h 931105"/>
              <a:gd name="connsiteX8" fmla="*/ 562345 w 2385515"/>
              <a:gd name="connsiteY8" fmla="*/ 0 h 931105"/>
              <a:gd name="connsiteX0" fmla="*/ 562345 w 2361715"/>
              <a:gd name="connsiteY0" fmla="*/ 0 h 931105"/>
              <a:gd name="connsiteX1" fmla="*/ 2361715 w 2361715"/>
              <a:gd name="connsiteY1" fmla="*/ 0 h 931105"/>
              <a:gd name="connsiteX2" fmla="*/ 2359884 w 2361715"/>
              <a:gd name="connsiteY2" fmla="*/ 265569 h 931105"/>
              <a:gd name="connsiteX3" fmla="*/ 664577 w 2361715"/>
              <a:gd name="connsiteY3" fmla="*/ 265569 h 931105"/>
              <a:gd name="connsiteX4" fmla="*/ 333798 w 2361715"/>
              <a:gd name="connsiteY4" fmla="*/ 596348 h 931105"/>
              <a:gd name="connsiteX5" fmla="*/ 356623 w 2361715"/>
              <a:gd name="connsiteY5" fmla="*/ 931105 h 931105"/>
              <a:gd name="connsiteX6" fmla="*/ 1823 w 2361715"/>
              <a:gd name="connsiteY6" fmla="*/ 931104 h 931105"/>
              <a:gd name="connsiteX7" fmla="*/ 1226 w 2361715"/>
              <a:gd name="connsiteY7" fmla="*/ 561119 h 931105"/>
              <a:gd name="connsiteX8" fmla="*/ 562345 w 2361715"/>
              <a:gd name="connsiteY8" fmla="*/ 0 h 931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1715" h="931105">
                <a:moveTo>
                  <a:pt x="562345" y="0"/>
                </a:moveTo>
                <a:lnTo>
                  <a:pt x="2361715" y="0"/>
                </a:lnTo>
                <a:cubicBezTo>
                  <a:pt x="2361105" y="88523"/>
                  <a:pt x="2360494" y="177046"/>
                  <a:pt x="2359884" y="265569"/>
                </a:cubicBezTo>
                <a:lnTo>
                  <a:pt x="664577" y="265569"/>
                </a:lnTo>
                <a:cubicBezTo>
                  <a:pt x="481893" y="265569"/>
                  <a:pt x="333798" y="413664"/>
                  <a:pt x="333798" y="596348"/>
                </a:cubicBezTo>
                <a:lnTo>
                  <a:pt x="356623" y="931105"/>
                </a:lnTo>
                <a:lnTo>
                  <a:pt x="1823" y="931104"/>
                </a:lnTo>
                <a:cubicBezTo>
                  <a:pt x="-1897" y="908499"/>
                  <a:pt x="1226" y="584596"/>
                  <a:pt x="1226" y="561119"/>
                </a:cubicBezTo>
                <a:cubicBezTo>
                  <a:pt x="1226" y="251222"/>
                  <a:pt x="252448" y="0"/>
                  <a:pt x="562345" y="0"/>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45" name="Arc 1244"/>
          <p:cNvSpPr/>
          <p:nvPr/>
        </p:nvSpPr>
        <p:spPr>
          <a:xfrm flipH="1">
            <a:off x="7013938" y="3295658"/>
            <a:ext cx="2876318" cy="1262264"/>
          </a:xfrm>
          <a:custGeom>
            <a:avLst/>
            <a:gdLst>
              <a:gd name="connsiteX0" fmla="*/ 574565 w 1149130"/>
              <a:gd name="connsiteY0" fmla="*/ 0 h 1308237"/>
              <a:gd name="connsiteX1" fmla="*/ 1149130 w 1149130"/>
              <a:gd name="connsiteY1" fmla="*/ 654119 h 1308237"/>
              <a:gd name="connsiteX2" fmla="*/ 574565 w 1149130"/>
              <a:gd name="connsiteY2" fmla="*/ 654119 h 1308237"/>
              <a:gd name="connsiteX3" fmla="*/ 574565 w 1149130"/>
              <a:gd name="connsiteY3" fmla="*/ 0 h 1308237"/>
              <a:gd name="connsiteX0" fmla="*/ 574565 w 1149130"/>
              <a:gd name="connsiteY0" fmla="*/ 0 h 1308237"/>
              <a:gd name="connsiteX1" fmla="*/ 1149130 w 1149130"/>
              <a:gd name="connsiteY1" fmla="*/ 654119 h 1308237"/>
              <a:gd name="connsiteX0" fmla="*/ 1982419 w 2556984"/>
              <a:gd name="connsiteY0" fmla="*/ 0 h 654119"/>
              <a:gd name="connsiteX1" fmla="*/ 2556984 w 2556984"/>
              <a:gd name="connsiteY1" fmla="*/ 654119 h 654119"/>
              <a:gd name="connsiteX2" fmla="*/ 1982419 w 2556984"/>
              <a:gd name="connsiteY2" fmla="*/ 654119 h 654119"/>
              <a:gd name="connsiteX3" fmla="*/ 1982419 w 2556984"/>
              <a:gd name="connsiteY3" fmla="*/ 0 h 654119"/>
              <a:gd name="connsiteX0" fmla="*/ 0 w 2556984"/>
              <a:gd name="connsiteY0" fmla="*/ 21945 h 654119"/>
              <a:gd name="connsiteX1" fmla="*/ 2556984 w 2556984"/>
              <a:gd name="connsiteY1" fmla="*/ 654119 h 654119"/>
              <a:gd name="connsiteX0" fmla="*/ 1982419 w 2590955"/>
              <a:gd name="connsiteY0" fmla="*/ 0 h 654119"/>
              <a:gd name="connsiteX1" fmla="*/ 2556984 w 2590955"/>
              <a:gd name="connsiteY1" fmla="*/ 654119 h 654119"/>
              <a:gd name="connsiteX2" fmla="*/ 1982419 w 2590955"/>
              <a:gd name="connsiteY2" fmla="*/ 654119 h 654119"/>
              <a:gd name="connsiteX3" fmla="*/ 1982419 w 2590955"/>
              <a:gd name="connsiteY3" fmla="*/ 0 h 654119"/>
              <a:gd name="connsiteX0" fmla="*/ 0 w 2590955"/>
              <a:gd name="connsiteY0" fmla="*/ 21945 h 654119"/>
              <a:gd name="connsiteX1" fmla="*/ 2556984 w 2590955"/>
              <a:gd name="connsiteY1" fmla="*/ 654119 h 654119"/>
              <a:gd name="connsiteX0" fmla="*/ 1953159 w 2590955"/>
              <a:gd name="connsiteY0" fmla="*/ 117678 h 647439"/>
              <a:gd name="connsiteX1" fmla="*/ 2556984 w 2590955"/>
              <a:gd name="connsiteY1" fmla="*/ 647439 h 647439"/>
              <a:gd name="connsiteX2" fmla="*/ 1982419 w 2590955"/>
              <a:gd name="connsiteY2" fmla="*/ 647439 h 647439"/>
              <a:gd name="connsiteX3" fmla="*/ 1953159 w 2590955"/>
              <a:gd name="connsiteY3" fmla="*/ 117678 h 647439"/>
              <a:gd name="connsiteX0" fmla="*/ 0 w 2590955"/>
              <a:gd name="connsiteY0" fmla="*/ 15265 h 647439"/>
              <a:gd name="connsiteX1" fmla="*/ 2556984 w 2590955"/>
              <a:gd name="connsiteY1" fmla="*/ 647439 h 647439"/>
              <a:gd name="connsiteX0" fmla="*/ 2121408 w 2590955"/>
              <a:gd name="connsiteY0" fmla="*/ 1105230 h 1105230"/>
              <a:gd name="connsiteX1" fmla="*/ 2556984 w 2590955"/>
              <a:gd name="connsiteY1" fmla="*/ 647439 h 1105230"/>
              <a:gd name="connsiteX2" fmla="*/ 1982419 w 2590955"/>
              <a:gd name="connsiteY2" fmla="*/ 647439 h 1105230"/>
              <a:gd name="connsiteX3" fmla="*/ 2121408 w 2590955"/>
              <a:gd name="connsiteY3" fmla="*/ 1105230 h 1105230"/>
              <a:gd name="connsiteX0" fmla="*/ 0 w 2590955"/>
              <a:gd name="connsiteY0" fmla="*/ 15265 h 1105230"/>
              <a:gd name="connsiteX1" fmla="*/ 2556984 w 2590955"/>
              <a:gd name="connsiteY1" fmla="*/ 647439 h 1105230"/>
              <a:gd name="connsiteX0" fmla="*/ 2121408 w 2692112"/>
              <a:gd name="connsiteY0" fmla="*/ 1089965 h 1089965"/>
              <a:gd name="connsiteX1" fmla="*/ 2556984 w 2692112"/>
              <a:gd name="connsiteY1" fmla="*/ 632174 h 1089965"/>
              <a:gd name="connsiteX2" fmla="*/ 1982419 w 2692112"/>
              <a:gd name="connsiteY2" fmla="*/ 632174 h 1089965"/>
              <a:gd name="connsiteX3" fmla="*/ 2121408 w 2692112"/>
              <a:gd name="connsiteY3" fmla="*/ 1089965 h 1089965"/>
              <a:gd name="connsiteX0" fmla="*/ 0 w 2692112"/>
              <a:gd name="connsiteY0" fmla="*/ 0 h 1089965"/>
              <a:gd name="connsiteX1" fmla="*/ 2060927 w 2692112"/>
              <a:gd name="connsiteY1" fmla="*/ 36692 h 1089965"/>
              <a:gd name="connsiteX2" fmla="*/ 2556984 w 2692112"/>
              <a:gd name="connsiteY2" fmla="*/ 632174 h 1089965"/>
              <a:gd name="connsiteX0" fmla="*/ 2121408 w 2593271"/>
              <a:gd name="connsiteY0" fmla="*/ 1136357 h 1136357"/>
              <a:gd name="connsiteX1" fmla="*/ 2556984 w 2593271"/>
              <a:gd name="connsiteY1" fmla="*/ 678566 h 1136357"/>
              <a:gd name="connsiteX2" fmla="*/ 1982419 w 2593271"/>
              <a:gd name="connsiteY2" fmla="*/ 678566 h 1136357"/>
              <a:gd name="connsiteX3" fmla="*/ 2121408 w 2593271"/>
              <a:gd name="connsiteY3" fmla="*/ 1136357 h 1136357"/>
              <a:gd name="connsiteX0" fmla="*/ 0 w 2593271"/>
              <a:gd name="connsiteY0" fmla="*/ 46392 h 1136357"/>
              <a:gd name="connsiteX1" fmla="*/ 1819526 w 2593271"/>
              <a:gd name="connsiteY1" fmla="*/ 24562 h 1136357"/>
              <a:gd name="connsiteX2" fmla="*/ 2556984 w 2593271"/>
              <a:gd name="connsiteY2" fmla="*/ 678566 h 1136357"/>
              <a:gd name="connsiteX0" fmla="*/ 2121408 w 2556984"/>
              <a:gd name="connsiteY0" fmla="*/ 1111796 h 1111796"/>
              <a:gd name="connsiteX1" fmla="*/ 2556984 w 2556984"/>
              <a:gd name="connsiteY1" fmla="*/ 654005 h 1111796"/>
              <a:gd name="connsiteX2" fmla="*/ 1982419 w 2556984"/>
              <a:gd name="connsiteY2" fmla="*/ 654005 h 1111796"/>
              <a:gd name="connsiteX3" fmla="*/ 2121408 w 2556984"/>
              <a:gd name="connsiteY3" fmla="*/ 1111796 h 1111796"/>
              <a:gd name="connsiteX0" fmla="*/ 0 w 2556984"/>
              <a:gd name="connsiteY0" fmla="*/ 21831 h 1111796"/>
              <a:gd name="connsiteX1" fmla="*/ 1819526 w 2556984"/>
              <a:gd name="connsiteY1" fmla="*/ 1 h 1111796"/>
              <a:gd name="connsiteX2" fmla="*/ 2556984 w 2556984"/>
              <a:gd name="connsiteY2" fmla="*/ 654005 h 1111796"/>
              <a:gd name="connsiteX0" fmla="*/ 2121408 w 2556984"/>
              <a:gd name="connsiteY0" fmla="*/ 1111796 h 1111796"/>
              <a:gd name="connsiteX1" fmla="*/ 2556984 w 2556984"/>
              <a:gd name="connsiteY1" fmla="*/ 654005 h 1111796"/>
              <a:gd name="connsiteX2" fmla="*/ 1982419 w 2556984"/>
              <a:gd name="connsiteY2" fmla="*/ 654005 h 1111796"/>
              <a:gd name="connsiteX3" fmla="*/ 2121408 w 2556984"/>
              <a:gd name="connsiteY3" fmla="*/ 1111796 h 1111796"/>
              <a:gd name="connsiteX0" fmla="*/ 0 w 2556984"/>
              <a:gd name="connsiteY0" fmla="*/ 21831 h 1111796"/>
              <a:gd name="connsiteX1" fmla="*/ 2002406 w 2556984"/>
              <a:gd name="connsiteY1" fmla="*/ 1 h 1111796"/>
              <a:gd name="connsiteX2" fmla="*/ 2556984 w 2556984"/>
              <a:gd name="connsiteY2" fmla="*/ 654005 h 1111796"/>
              <a:gd name="connsiteX0" fmla="*/ 2150669 w 2586245"/>
              <a:gd name="connsiteY0" fmla="*/ 1111796 h 1111796"/>
              <a:gd name="connsiteX1" fmla="*/ 2586245 w 2586245"/>
              <a:gd name="connsiteY1" fmla="*/ 654005 h 1111796"/>
              <a:gd name="connsiteX2" fmla="*/ 2011680 w 2586245"/>
              <a:gd name="connsiteY2" fmla="*/ 654005 h 1111796"/>
              <a:gd name="connsiteX3" fmla="*/ 2150669 w 2586245"/>
              <a:gd name="connsiteY3" fmla="*/ 1111796 h 1111796"/>
              <a:gd name="connsiteX0" fmla="*/ 0 w 2586245"/>
              <a:gd name="connsiteY0" fmla="*/ 14516 h 1111796"/>
              <a:gd name="connsiteX1" fmla="*/ 2031667 w 2586245"/>
              <a:gd name="connsiteY1" fmla="*/ 1 h 1111796"/>
              <a:gd name="connsiteX2" fmla="*/ 2586245 w 2586245"/>
              <a:gd name="connsiteY2" fmla="*/ 654005 h 1111796"/>
            </a:gdLst>
            <a:ahLst/>
            <a:cxnLst>
              <a:cxn ang="0">
                <a:pos x="connsiteX0" y="connsiteY0"/>
              </a:cxn>
              <a:cxn ang="0">
                <a:pos x="connsiteX1" y="connsiteY1"/>
              </a:cxn>
              <a:cxn ang="0">
                <a:pos x="connsiteX2" y="connsiteY2"/>
              </a:cxn>
            </a:cxnLst>
            <a:rect l="l" t="t" r="r" b="b"/>
            <a:pathLst>
              <a:path w="2586245" h="1111796" stroke="0" extrusionOk="0">
                <a:moveTo>
                  <a:pt x="2150669" y="1111796"/>
                </a:moveTo>
                <a:cubicBezTo>
                  <a:pt x="2467992" y="1111796"/>
                  <a:pt x="2586245" y="292745"/>
                  <a:pt x="2586245" y="654005"/>
                </a:cubicBezTo>
                <a:lnTo>
                  <a:pt x="2011680" y="654005"/>
                </a:lnTo>
                <a:lnTo>
                  <a:pt x="2150669" y="1111796"/>
                </a:lnTo>
                <a:close/>
              </a:path>
              <a:path w="2586245" h="1111796" fill="none">
                <a:moveTo>
                  <a:pt x="0" y="14516"/>
                </a:moveTo>
                <a:lnTo>
                  <a:pt x="2031667" y="1"/>
                </a:lnTo>
                <a:cubicBezTo>
                  <a:pt x="2365579" y="-114"/>
                  <a:pt x="2586245" y="292745"/>
                  <a:pt x="2586245" y="654005"/>
                </a:cubicBezTo>
              </a:path>
            </a:pathLst>
          </a:custGeom>
          <a:ln w="381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44" name="Group 543"/>
          <p:cNvGrpSpPr/>
          <p:nvPr/>
        </p:nvGrpSpPr>
        <p:grpSpPr>
          <a:xfrm>
            <a:off x="6096002" y="5750741"/>
            <a:ext cx="3426830" cy="706609"/>
            <a:chOff x="5283325" y="5537747"/>
            <a:chExt cx="4361959" cy="899431"/>
          </a:xfrm>
        </p:grpSpPr>
        <p:grpSp>
          <p:nvGrpSpPr>
            <p:cNvPr id="624" name="Group 623"/>
            <p:cNvGrpSpPr/>
            <p:nvPr/>
          </p:nvGrpSpPr>
          <p:grpSpPr>
            <a:xfrm>
              <a:off x="5451072" y="5747357"/>
              <a:ext cx="4072170" cy="341972"/>
              <a:chOff x="5451072" y="5715162"/>
              <a:chExt cx="4072170" cy="341972"/>
            </a:xfrm>
          </p:grpSpPr>
          <p:sp>
            <p:nvSpPr>
              <p:cNvPr id="622" name="Rectangle 621"/>
              <p:cNvSpPr/>
              <p:nvPr/>
            </p:nvSpPr>
            <p:spPr bwMode="auto">
              <a:xfrm>
                <a:off x="5451072" y="5715162"/>
                <a:ext cx="1909695" cy="341972"/>
              </a:xfrm>
              <a:custGeom>
                <a:avLst/>
                <a:gdLst>
                  <a:gd name="connsiteX0" fmla="*/ 0 w 1909695"/>
                  <a:gd name="connsiteY0" fmla="*/ 0 h 341972"/>
                  <a:gd name="connsiteX1" fmla="*/ 1909695 w 1909695"/>
                  <a:gd name="connsiteY1" fmla="*/ 0 h 341972"/>
                  <a:gd name="connsiteX2" fmla="*/ 1909695 w 1909695"/>
                  <a:gd name="connsiteY2" fmla="*/ 341972 h 341972"/>
                  <a:gd name="connsiteX3" fmla="*/ 0 w 1909695"/>
                  <a:gd name="connsiteY3" fmla="*/ 341972 h 341972"/>
                  <a:gd name="connsiteX4" fmla="*/ 0 w 1909695"/>
                  <a:gd name="connsiteY4" fmla="*/ 0 h 341972"/>
                  <a:gd name="connsiteX0" fmla="*/ 209550 w 1909695"/>
                  <a:gd name="connsiteY0" fmla="*/ 0 h 341972"/>
                  <a:gd name="connsiteX1" fmla="*/ 1909695 w 1909695"/>
                  <a:gd name="connsiteY1" fmla="*/ 0 h 341972"/>
                  <a:gd name="connsiteX2" fmla="*/ 1909695 w 1909695"/>
                  <a:gd name="connsiteY2" fmla="*/ 341972 h 341972"/>
                  <a:gd name="connsiteX3" fmla="*/ 0 w 1909695"/>
                  <a:gd name="connsiteY3" fmla="*/ 341972 h 341972"/>
                  <a:gd name="connsiteX4" fmla="*/ 209550 w 1909695"/>
                  <a:gd name="connsiteY4" fmla="*/ 0 h 341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9695" h="341972">
                    <a:moveTo>
                      <a:pt x="209550" y="0"/>
                    </a:moveTo>
                    <a:lnTo>
                      <a:pt x="1909695" y="0"/>
                    </a:lnTo>
                    <a:lnTo>
                      <a:pt x="1909695" y="341972"/>
                    </a:lnTo>
                    <a:lnTo>
                      <a:pt x="0" y="341972"/>
                    </a:lnTo>
                    <a:lnTo>
                      <a:pt x="209550" y="0"/>
                    </a:lnTo>
                    <a:close/>
                  </a:path>
                </a:pathLst>
              </a:custGeom>
              <a:solidFill>
                <a:schemeClr val="bg2">
                  <a:lumMod val="10000"/>
                  <a:alpha val="79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23" name="Rectangle 622"/>
              <p:cNvSpPr/>
              <p:nvPr/>
            </p:nvSpPr>
            <p:spPr bwMode="auto">
              <a:xfrm>
                <a:off x="7661172" y="5715162"/>
                <a:ext cx="1862070" cy="341972"/>
              </a:xfrm>
              <a:custGeom>
                <a:avLst/>
                <a:gdLst>
                  <a:gd name="connsiteX0" fmla="*/ 0 w 1909695"/>
                  <a:gd name="connsiteY0" fmla="*/ 0 h 341972"/>
                  <a:gd name="connsiteX1" fmla="*/ 1909695 w 1909695"/>
                  <a:gd name="connsiteY1" fmla="*/ 0 h 341972"/>
                  <a:gd name="connsiteX2" fmla="*/ 1909695 w 1909695"/>
                  <a:gd name="connsiteY2" fmla="*/ 341972 h 341972"/>
                  <a:gd name="connsiteX3" fmla="*/ 0 w 1909695"/>
                  <a:gd name="connsiteY3" fmla="*/ 341972 h 341972"/>
                  <a:gd name="connsiteX4" fmla="*/ 0 w 1909695"/>
                  <a:gd name="connsiteY4" fmla="*/ 0 h 341972"/>
                  <a:gd name="connsiteX0" fmla="*/ 0 w 1909695"/>
                  <a:gd name="connsiteY0" fmla="*/ 0 h 341972"/>
                  <a:gd name="connsiteX1" fmla="*/ 1538220 w 1909695"/>
                  <a:gd name="connsiteY1" fmla="*/ 0 h 341972"/>
                  <a:gd name="connsiteX2" fmla="*/ 1909695 w 1909695"/>
                  <a:gd name="connsiteY2" fmla="*/ 341972 h 341972"/>
                  <a:gd name="connsiteX3" fmla="*/ 0 w 1909695"/>
                  <a:gd name="connsiteY3" fmla="*/ 341972 h 341972"/>
                  <a:gd name="connsiteX4" fmla="*/ 0 w 1909695"/>
                  <a:gd name="connsiteY4" fmla="*/ 0 h 341972"/>
                  <a:gd name="connsiteX0" fmla="*/ 0 w 1862070"/>
                  <a:gd name="connsiteY0" fmla="*/ 0 h 341972"/>
                  <a:gd name="connsiteX1" fmla="*/ 1538220 w 1862070"/>
                  <a:gd name="connsiteY1" fmla="*/ 0 h 341972"/>
                  <a:gd name="connsiteX2" fmla="*/ 1862070 w 1862070"/>
                  <a:gd name="connsiteY2" fmla="*/ 341972 h 341972"/>
                  <a:gd name="connsiteX3" fmla="*/ 0 w 1862070"/>
                  <a:gd name="connsiteY3" fmla="*/ 341972 h 341972"/>
                  <a:gd name="connsiteX4" fmla="*/ 0 w 1862070"/>
                  <a:gd name="connsiteY4" fmla="*/ 0 h 341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2070" h="341972">
                    <a:moveTo>
                      <a:pt x="0" y="0"/>
                    </a:moveTo>
                    <a:lnTo>
                      <a:pt x="1538220" y="0"/>
                    </a:lnTo>
                    <a:lnTo>
                      <a:pt x="1862070" y="341972"/>
                    </a:lnTo>
                    <a:lnTo>
                      <a:pt x="0" y="341972"/>
                    </a:lnTo>
                    <a:lnTo>
                      <a:pt x="0" y="0"/>
                    </a:lnTo>
                    <a:close/>
                  </a:path>
                </a:pathLst>
              </a:custGeom>
              <a:solidFill>
                <a:schemeClr val="bg2">
                  <a:lumMod val="10000"/>
                  <a:alpha val="79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621" name="Group 620"/>
            <p:cNvGrpSpPr/>
            <p:nvPr/>
          </p:nvGrpSpPr>
          <p:grpSpPr>
            <a:xfrm>
              <a:off x="5283325" y="5702463"/>
              <a:ext cx="4361959" cy="734715"/>
              <a:chOff x="7072502" y="5688284"/>
              <a:chExt cx="4361959" cy="734715"/>
            </a:xfrm>
          </p:grpSpPr>
          <p:sp>
            <p:nvSpPr>
              <p:cNvPr id="1024" name="Freeform 28"/>
              <p:cNvSpPr>
                <a:spLocks noEditPoints="1"/>
              </p:cNvSpPr>
              <p:nvPr/>
            </p:nvSpPr>
            <p:spPr bwMode="auto">
              <a:xfrm>
                <a:off x="9296505" y="5688284"/>
                <a:ext cx="2131337" cy="476573"/>
              </a:xfrm>
              <a:custGeom>
                <a:avLst/>
                <a:gdLst>
                  <a:gd name="T0" fmla="*/ 1929 w 1933"/>
                  <a:gd name="T1" fmla="*/ 421 h 431"/>
                  <a:gd name="T2" fmla="*/ 1862 w 1933"/>
                  <a:gd name="T3" fmla="*/ 314 h 431"/>
                  <a:gd name="T4" fmla="*/ 1698 w 1933"/>
                  <a:gd name="T5" fmla="*/ 95 h 431"/>
                  <a:gd name="T6" fmla="*/ 1660 w 1933"/>
                  <a:gd name="T7" fmla="*/ 50 h 431"/>
                  <a:gd name="T8" fmla="*/ 1603 w 1933"/>
                  <a:gd name="T9" fmla="*/ 10 h 431"/>
                  <a:gd name="T10" fmla="*/ 1552 w 1933"/>
                  <a:gd name="T11" fmla="*/ 0 h 431"/>
                  <a:gd name="T12" fmla="*/ 48 w 1933"/>
                  <a:gd name="T13" fmla="*/ 3 h 431"/>
                  <a:gd name="T14" fmla="*/ 16 w 1933"/>
                  <a:gd name="T15" fmla="*/ 24 h 431"/>
                  <a:gd name="T16" fmla="*/ 3 w 1933"/>
                  <a:gd name="T17" fmla="*/ 62 h 431"/>
                  <a:gd name="T18" fmla="*/ 0 w 1933"/>
                  <a:gd name="T19" fmla="*/ 431 h 431"/>
                  <a:gd name="T20" fmla="*/ 1551 w 1933"/>
                  <a:gd name="T21" fmla="*/ 58 h 431"/>
                  <a:gd name="T22" fmla="*/ 1588 w 1933"/>
                  <a:gd name="T23" fmla="*/ 86 h 431"/>
                  <a:gd name="T24" fmla="*/ 1722 w 1933"/>
                  <a:gd name="T25" fmla="*/ 258 h 431"/>
                  <a:gd name="T26" fmla="*/ 1744 w 1933"/>
                  <a:gd name="T27" fmla="*/ 296 h 431"/>
                  <a:gd name="T28" fmla="*/ 1740 w 1933"/>
                  <a:gd name="T29" fmla="*/ 324 h 431"/>
                  <a:gd name="T30" fmla="*/ 1700 w 1933"/>
                  <a:gd name="T31" fmla="*/ 339 h 431"/>
                  <a:gd name="T32" fmla="*/ 1359 w 1933"/>
                  <a:gd name="T33" fmla="*/ 336 h 431"/>
                  <a:gd name="T34" fmla="*/ 1337 w 1933"/>
                  <a:gd name="T35" fmla="*/ 312 h 431"/>
                  <a:gd name="T36" fmla="*/ 1327 w 1933"/>
                  <a:gd name="T37" fmla="*/ 101 h 431"/>
                  <a:gd name="T38" fmla="*/ 1339 w 1933"/>
                  <a:gd name="T39" fmla="*/ 70 h 431"/>
                  <a:gd name="T40" fmla="*/ 1370 w 1933"/>
                  <a:gd name="T41" fmla="*/ 57 h 431"/>
                  <a:gd name="T42" fmla="*/ 864 w 1933"/>
                  <a:gd name="T43" fmla="*/ 99 h 431"/>
                  <a:gd name="T44" fmla="*/ 882 w 1933"/>
                  <a:gd name="T45" fmla="*/ 63 h 431"/>
                  <a:gd name="T46" fmla="*/ 1037 w 1933"/>
                  <a:gd name="T47" fmla="*/ 53 h 431"/>
                  <a:gd name="T48" fmla="*/ 1063 w 1933"/>
                  <a:gd name="T49" fmla="*/ 63 h 431"/>
                  <a:gd name="T50" fmla="*/ 1081 w 1933"/>
                  <a:gd name="T51" fmla="*/ 99 h 431"/>
                  <a:gd name="T52" fmla="*/ 1081 w 1933"/>
                  <a:gd name="T53" fmla="*/ 290 h 431"/>
                  <a:gd name="T54" fmla="*/ 1063 w 1933"/>
                  <a:gd name="T55" fmla="*/ 328 h 431"/>
                  <a:gd name="T56" fmla="*/ 909 w 1933"/>
                  <a:gd name="T57" fmla="*/ 337 h 431"/>
                  <a:gd name="T58" fmla="*/ 882 w 1933"/>
                  <a:gd name="T59" fmla="*/ 328 h 431"/>
                  <a:gd name="T60" fmla="*/ 864 w 1933"/>
                  <a:gd name="T61" fmla="*/ 290 h 431"/>
                  <a:gd name="T62" fmla="*/ 507 w 1933"/>
                  <a:gd name="T63" fmla="*/ 111 h 431"/>
                  <a:gd name="T64" fmla="*/ 520 w 1933"/>
                  <a:gd name="T65" fmla="*/ 70 h 431"/>
                  <a:gd name="T66" fmla="*/ 552 w 1933"/>
                  <a:gd name="T67" fmla="*/ 53 h 431"/>
                  <a:gd name="T68" fmla="*/ 699 w 1933"/>
                  <a:gd name="T69" fmla="*/ 57 h 431"/>
                  <a:gd name="T70" fmla="*/ 723 w 1933"/>
                  <a:gd name="T71" fmla="*/ 89 h 431"/>
                  <a:gd name="T72" fmla="*/ 727 w 1933"/>
                  <a:gd name="T73" fmla="*/ 278 h 431"/>
                  <a:gd name="T74" fmla="*/ 714 w 1933"/>
                  <a:gd name="T75" fmla="*/ 320 h 431"/>
                  <a:gd name="T76" fmla="*/ 680 w 1933"/>
                  <a:gd name="T77" fmla="*/ 337 h 431"/>
                  <a:gd name="T78" fmla="*/ 535 w 1933"/>
                  <a:gd name="T79" fmla="*/ 333 h 431"/>
                  <a:gd name="T80" fmla="*/ 511 w 1933"/>
                  <a:gd name="T81" fmla="*/ 301 h 431"/>
                  <a:gd name="T82" fmla="*/ 163 w 1933"/>
                  <a:gd name="T83" fmla="*/ 111 h 431"/>
                  <a:gd name="T84" fmla="*/ 171 w 1933"/>
                  <a:gd name="T85" fmla="*/ 79 h 431"/>
                  <a:gd name="T86" fmla="*/ 199 w 1933"/>
                  <a:gd name="T87" fmla="*/ 54 h 431"/>
                  <a:gd name="T88" fmla="*/ 346 w 1933"/>
                  <a:gd name="T89" fmla="*/ 54 h 431"/>
                  <a:gd name="T90" fmla="*/ 376 w 1933"/>
                  <a:gd name="T91" fmla="*/ 79 h 431"/>
                  <a:gd name="T92" fmla="*/ 384 w 1933"/>
                  <a:gd name="T93" fmla="*/ 278 h 431"/>
                  <a:gd name="T94" fmla="*/ 376 w 1933"/>
                  <a:gd name="T95" fmla="*/ 312 h 431"/>
                  <a:gd name="T96" fmla="*/ 346 w 1933"/>
                  <a:gd name="T97" fmla="*/ 337 h 431"/>
                  <a:gd name="T98" fmla="*/ 199 w 1933"/>
                  <a:gd name="T99" fmla="*/ 337 h 431"/>
                  <a:gd name="T100" fmla="*/ 171 w 1933"/>
                  <a:gd name="T101" fmla="*/ 312 h 431"/>
                  <a:gd name="T102" fmla="*/ 163 w 1933"/>
                  <a:gd name="T103" fmla="*/ 11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33" h="431">
                    <a:moveTo>
                      <a:pt x="0" y="431"/>
                    </a:moveTo>
                    <a:lnTo>
                      <a:pt x="1933" y="431"/>
                    </a:lnTo>
                    <a:lnTo>
                      <a:pt x="1933" y="431"/>
                    </a:lnTo>
                    <a:lnTo>
                      <a:pt x="1929" y="421"/>
                    </a:lnTo>
                    <a:lnTo>
                      <a:pt x="1922" y="407"/>
                    </a:lnTo>
                    <a:lnTo>
                      <a:pt x="1910" y="387"/>
                    </a:lnTo>
                    <a:lnTo>
                      <a:pt x="1890" y="356"/>
                    </a:lnTo>
                    <a:lnTo>
                      <a:pt x="1862" y="314"/>
                    </a:lnTo>
                    <a:lnTo>
                      <a:pt x="1822" y="260"/>
                    </a:lnTo>
                    <a:lnTo>
                      <a:pt x="1770" y="190"/>
                    </a:lnTo>
                    <a:lnTo>
                      <a:pt x="1702" y="101"/>
                    </a:lnTo>
                    <a:lnTo>
                      <a:pt x="1698" y="95"/>
                    </a:lnTo>
                    <a:lnTo>
                      <a:pt x="1698" y="95"/>
                    </a:lnTo>
                    <a:lnTo>
                      <a:pt x="1687" y="81"/>
                    </a:lnTo>
                    <a:lnTo>
                      <a:pt x="1675" y="66"/>
                    </a:lnTo>
                    <a:lnTo>
                      <a:pt x="1660" y="50"/>
                    </a:lnTo>
                    <a:lnTo>
                      <a:pt x="1643" y="35"/>
                    </a:lnTo>
                    <a:lnTo>
                      <a:pt x="1624" y="22"/>
                    </a:lnTo>
                    <a:lnTo>
                      <a:pt x="1613" y="15"/>
                    </a:lnTo>
                    <a:lnTo>
                      <a:pt x="1603" y="10"/>
                    </a:lnTo>
                    <a:lnTo>
                      <a:pt x="1591" y="6"/>
                    </a:lnTo>
                    <a:lnTo>
                      <a:pt x="1579" y="3"/>
                    </a:lnTo>
                    <a:lnTo>
                      <a:pt x="1565" y="0"/>
                    </a:lnTo>
                    <a:lnTo>
                      <a:pt x="1552" y="0"/>
                    </a:lnTo>
                    <a:lnTo>
                      <a:pt x="74" y="0"/>
                    </a:lnTo>
                    <a:lnTo>
                      <a:pt x="74" y="0"/>
                    </a:lnTo>
                    <a:lnTo>
                      <a:pt x="59" y="0"/>
                    </a:lnTo>
                    <a:lnTo>
                      <a:pt x="48" y="3"/>
                    </a:lnTo>
                    <a:lnTo>
                      <a:pt x="38" y="6"/>
                    </a:lnTo>
                    <a:lnTo>
                      <a:pt x="30" y="11"/>
                    </a:lnTo>
                    <a:lnTo>
                      <a:pt x="22" y="16"/>
                    </a:lnTo>
                    <a:lnTo>
                      <a:pt x="16" y="24"/>
                    </a:lnTo>
                    <a:lnTo>
                      <a:pt x="11" y="32"/>
                    </a:lnTo>
                    <a:lnTo>
                      <a:pt x="8" y="40"/>
                    </a:lnTo>
                    <a:lnTo>
                      <a:pt x="4" y="51"/>
                    </a:lnTo>
                    <a:lnTo>
                      <a:pt x="3" y="62"/>
                    </a:lnTo>
                    <a:lnTo>
                      <a:pt x="0" y="86"/>
                    </a:lnTo>
                    <a:lnTo>
                      <a:pt x="0" y="111"/>
                    </a:lnTo>
                    <a:lnTo>
                      <a:pt x="0" y="139"/>
                    </a:lnTo>
                    <a:lnTo>
                      <a:pt x="0" y="431"/>
                    </a:lnTo>
                    <a:close/>
                    <a:moveTo>
                      <a:pt x="1370" y="57"/>
                    </a:moveTo>
                    <a:lnTo>
                      <a:pt x="1543" y="57"/>
                    </a:lnTo>
                    <a:lnTo>
                      <a:pt x="1543" y="57"/>
                    </a:lnTo>
                    <a:lnTo>
                      <a:pt x="1551" y="58"/>
                    </a:lnTo>
                    <a:lnTo>
                      <a:pt x="1560" y="61"/>
                    </a:lnTo>
                    <a:lnTo>
                      <a:pt x="1568" y="66"/>
                    </a:lnTo>
                    <a:lnTo>
                      <a:pt x="1575" y="71"/>
                    </a:lnTo>
                    <a:lnTo>
                      <a:pt x="1588" y="86"/>
                    </a:lnTo>
                    <a:lnTo>
                      <a:pt x="1599" y="99"/>
                    </a:lnTo>
                    <a:lnTo>
                      <a:pt x="1599" y="99"/>
                    </a:lnTo>
                    <a:lnTo>
                      <a:pt x="1675" y="197"/>
                    </a:lnTo>
                    <a:lnTo>
                      <a:pt x="1722" y="258"/>
                    </a:lnTo>
                    <a:lnTo>
                      <a:pt x="1736" y="282"/>
                    </a:lnTo>
                    <a:lnTo>
                      <a:pt x="1742" y="290"/>
                    </a:lnTo>
                    <a:lnTo>
                      <a:pt x="1744" y="296"/>
                    </a:lnTo>
                    <a:lnTo>
                      <a:pt x="1744" y="296"/>
                    </a:lnTo>
                    <a:lnTo>
                      <a:pt x="1746" y="302"/>
                    </a:lnTo>
                    <a:lnTo>
                      <a:pt x="1746" y="310"/>
                    </a:lnTo>
                    <a:lnTo>
                      <a:pt x="1743" y="317"/>
                    </a:lnTo>
                    <a:lnTo>
                      <a:pt x="1740" y="324"/>
                    </a:lnTo>
                    <a:lnTo>
                      <a:pt x="1734" y="331"/>
                    </a:lnTo>
                    <a:lnTo>
                      <a:pt x="1726" y="335"/>
                    </a:lnTo>
                    <a:lnTo>
                      <a:pt x="1715" y="337"/>
                    </a:lnTo>
                    <a:lnTo>
                      <a:pt x="1700" y="339"/>
                    </a:lnTo>
                    <a:lnTo>
                      <a:pt x="1377" y="339"/>
                    </a:lnTo>
                    <a:lnTo>
                      <a:pt x="1377" y="339"/>
                    </a:lnTo>
                    <a:lnTo>
                      <a:pt x="1367" y="339"/>
                    </a:lnTo>
                    <a:lnTo>
                      <a:pt x="1359" y="336"/>
                    </a:lnTo>
                    <a:lnTo>
                      <a:pt x="1351" y="332"/>
                    </a:lnTo>
                    <a:lnTo>
                      <a:pt x="1346" y="326"/>
                    </a:lnTo>
                    <a:lnTo>
                      <a:pt x="1341" y="320"/>
                    </a:lnTo>
                    <a:lnTo>
                      <a:pt x="1337" y="312"/>
                    </a:lnTo>
                    <a:lnTo>
                      <a:pt x="1334" y="304"/>
                    </a:lnTo>
                    <a:lnTo>
                      <a:pt x="1333" y="296"/>
                    </a:lnTo>
                    <a:lnTo>
                      <a:pt x="1327" y="101"/>
                    </a:lnTo>
                    <a:lnTo>
                      <a:pt x="1327" y="101"/>
                    </a:lnTo>
                    <a:lnTo>
                      <a:pt x="1327" y="91"/>
                    </a:lnTo>
                    <a:lnTo>
                      <a:pt x="1330" y="83"/>
                    </a:lnTo>
                    <a:lnTo>
                      <a:pt x="1334" y="77"/>
                    </a:lnTo>
                    <a:lnTo>
                      <a:pt x="1339" y="70"/>
                    </a:lnTo>
                    <a:lnTo>
                      <a:pt x="1346" y="65"/>
                    </a:lnTo>
                    <a:lnTo>
                      <a:pt x="1354" y="61"/>
                    </a:lnTo>
                    <a:lnTo>
                      <a:pt x="1362" y="58"/>
                    </a:lnTo>
                    <a:lnTo>
                      <a:pt x="1370" y="57"/>
                    </a:lnTo>
                    <a:lnTo>
                      <a:pt x="1370" y="57"/>
                    </a:lnTo>
                    <a:close/>
                    <a:moveTo>
                      <a:pt x="862" y="111"/>
                    </a:moveTo>
                    <a:lnTo>
                      <a:pt x="862" y="111"/>
                    </a:lnTo>
                    <a:lnTo>
                      <a:pt x="864" y="99"/>
                    </a:lnTo>
                    <a:lnTo>
                      <a:pt x="866" y="89"/>
                    </a:lnTo>
                    <a:lnTo>
                      <a:pt x="870" y="79"/>
                    </a:lnTo>
                    <a:lnTo>
                      <a:pt x="876" y="70"/>
                    </a:lnTo>
                    <a:lnTo>
                      <a:pt x="882" y="63"/>
                    </a:lnTo>
                    <a:lnTo>
                      <a:pt x="890" y="57"/>
                    </a:lnTo>
                    <a:lnTo>
                      <a:pt x="900" y="54"/>
                    </a:lnTo>
                    <a:lnTo>
                      <a:pt x="909" y="53"/>
                    </a:lnTo>
                    <a:lnTo>
                      <a:pt x="1037" y="53"/>
                    </a:lnTo>
                    <a:lnTo>
                      <a:pt x="1037" y="53"/>
                    </a:lnTo>
                    <a:lnTo>
                      <a:pt x="1047" y="54"/>
                    </a:lnTo>
                    <a:lnTo>
                      <a:pt x="1055" y="57"/>
                    </a:lnTo>
                    <a:lnTo>
                      <a:pt x="1063" y="63"/>
                    </a:lnTo>
                    <a:lnTo>
                      <a:pt x="1069" y="70"/>
                    </a:lnTo>
                    <a:lnTo>
                      <a:pt x="1075" y="79"/>
                    </a:lnTo>
                    <a:lnTo>
                      <a:pt x="1079" y="89"/>
                    </a:lnTo>
                    <a:lnTo>
                      <a:pt x="1081" y="99"/>
                    </a:lnTo>
                    <a:lnTo>
                      <a:pt x="1083" y="111"/>
                    </a:lnTo>
                    <a:lnTo>
                      <a:pt x="1083" y="278"/>
                    </a:lnTo>
                    <a:lnTo>
                      <a:pt x="1083" y="278"/>
                    </a:lnTo>
                    <a:lnTo>
                      <a:pt x="1081" y="290"/>
                    </a:lnTo>
                    <a:lnTo>
                      <a:pt x="1079" y="301"/>
                    </a:lnTo>
                    <a:lnTo>
                      <a:pt x="1075" y="312"/>
                    </a:lnTo>
                    <a:lnTo>
                      <a:pt x="1069" y="320"/>
                    </a:lnTo>
                    <a:lnTo>
                      <a:pt x="1063" y="328"/>
                    </a:lnTo>
                    <a:lnTo>
                      <a:pt x="1055" y="333"/>
                    </a:lnTo>
                    <a:lnTo>
                      <a:pt x="1047" y="337"/>
                    </a:lnTo>
                    <a:lnTo>
                      <a:pt x="1037" y="337"/>
                    </a:lnTo>
                    <a:lnTo>
                      <a:pt x="909" y="337"/>
                    </a:lnTo>
                    <a:lnTo>
                      <a:pt x="909" y="337"/>
                    </a:lnTo>
                    <a:lnTo>
                      <a:pt x="900" y="337"/>
                    </a:lnTo>
                    <a:lnTo>
                      <a:pt x="890" y="333"/>
                    </a:lnTo>
                    <a:lnTo>
                      <a:pt x="882" y="328"/>
                    </a:lnTo>
                    <a:lnTo>
                      <a:pt x="876" y="320"/>
                    </a:lnTo>
                    <a:lnTo>
                      <a:pt x="870" y="312"/>
                    </a:lnTo>
                    <a:lnTo>
                      <a:pt x="866" y="301"/>
                    </a:lnTo>
                    <a:lnTo>
                      <a:pt x="864" y="290"/>
                    </a:lnTo>
                    <a:lnTo>
                      <a:pt x="862" y="278"/>
                    </a:lnTo>
                    <a:lnTo>
                      <a:pt x="862" y="111"/>
                    </a:lnTo>
                    <a:close/>
                    <a:moveTo>
                      <a:pt x="507" y="111"/>
                    </a:moveTo>
                    <a:lnTo>
                      <a:pt x="507" y="111"/>
                    </a:lnTo>
                    <a:lnTo>
                      <a:pt x="508" y="99"/>
                    </a:lnTo>
                    <a:lnTo>
                      <a:pt x="511" y="89"/>
                    </a:lnTo>
                    <a:lnTo>
                      <a:pt x="515" y="79"/>
                    </a:lnTo>
                    <a:lnTo>
                      <a:pt x="520" y="70"/>
                    </a:lnTo>
                    <a:lnTo>
                      <a:pt x="527" y="63"/>
                    </a:lnTo>
                    <a:lnTo>
                      <a:pt x="535" y="57"/>
                    </a:lnTo>
                    <a:lnTo>
                      <a:pt x="543" y="54"/>
                    </a:lnTo>
                    <a:lnTo>
                      <a:pt x="552" y="53"/>
                    </a:lnTo>
                    <a:lnTo>
                      <a:pt x="680" y="53"/>
                    </a:lnTo>
                    <a:lnTo>
                      <a:pt x="680" y="53"/>
                    </a:lnTo>
                    <a:lnTo>
                      <a:pt x="690" y="54"/>
                    </a:lnTo>
                    <a:lnTo>
                      <a:pt x="699" y="57"/>
                    </a:lnTo>
                    <a:lnTo>
                      <a:pt x="706" y="63"/>
                    </a:lnTo>
                    <a:lnTo>
                      <a:pt x="714" y="70"/>
                    </a:lnTo>
                    <a:lnTo>
                      <a:pt x="719" y="79"/>
                    </a:lnTo>
                    <a:lnTo>
                      <a:pt x="723" y="89"/>
                    </a:lnTo>
                    <a:lnTo>
                      <a:pt x="726" y="99"/>
                    </a:lnTo>
                    <a:lnTo>
                      <a:pt x="727" y="111"/>
                    </a:lnTo>
                    <a:lnTo>
                      <a:pt x="727" y="278"/>
                    </a:lnTo>
                    <a:lnTo>
                      <a:pt x="727" y="278"/>
                    </a:lnTo>
                    <a:lnTo>
                      <a:pt x="726" y="290"/>
                    </a:lnTo>
                    <a:lnTo>
                      <a:pt x="723" y="301"/>
                    </a:lnTo>
                    <a:lnTo>
                      <a:pt x="719" y="312"/>
                    </a:lnTo>
                    <a:lnTo>
                      <a:pt x="714" y="320"/>
                    </a:lnTo>
                    <a:lnTo>
                      <a:pt x="706" y="328"/>
                    </a:lnTo>
                    <a:lnTo>
                      <a:pt x="699" y="333"/>
                    </a:lnTo>
                    <a:lnTo>
                      <a:pt x="690" y="337"/>
                    </a:lnTo>
                    <a:lnTo>
                      <a:pt x="680" y="337"/>
                    </a:lnTo>
                    <a:lnTo>
                      <a:pt x="552" y="337"/>
                    </a:lnTo>
                    <a:lnTo>
                      <a:pt x="552" y="337"/>
                    </a:lnTo>
                    <a:lnTo>
                      <a:pt x="543" y="337"/>
                    </a:lnTo>
                    <a:lnTo>
                      <a:pt x="535" y="333"/>
                    </a:lnTo>
                    <a:lnTo>
                      <a:pt x="527" y="328"/>
                    </a:lnTo>
                    <a:lnTo>
                      <a:pt x="520" y="320"/>
                    </a:lnTo>
                    <a:lnTo>
                      <a:pt x="515" y="312"/>
                    </a:lnTo>
                    <a:lnTo>
                      <a:pt x="511" y="301"/>
                    </a:lnTo>
                    <a:lnTo>
                      <a:pt x="508" y="290"/>
                    </a:lnTo>
                    <a:lnTo>
                      <a:pt x="507" y="278"/>
                    </a:lnTo>
                    <a:lnTo>
                      <a:pt x="507" y="111"/>
                    </a:lnTo>
                    <a:close/>
                    <a:moveTo>
                      <a:pt x="163" y="111"/>
                    </a:moveTo>
                    <a:lnTo>
                      <a:pt x="163" y="111"/>
                    </a:lnTo>
                    <a:lnTo>
                      <a:pt x="165" y="99"/>
                    </a:lnTo>
                    <a:lnTo>
                      <a:pt x="167" y="89"/>
                    </a:lnTo>
                    <a:lnTo>
                      <a:pt x="171" y="79"/>
                    </a:lnTo>
                    <a:lnTo>
                      <a:pt x="177" y="70"/>
                    </a:lnTo>
                    <a:lnTo>
                      <a:pt x="183" y="63"/>
                    </a:lnTo>
                    <a:lnTo>
                      <a:pt x="191" y="57"/>
                    </a:lnTo>
                    <a:lnTo>
                      <a:pt x="199" y="54"/>
                    </a:lnTo>
                    <a:lnTo>
                      <a:pt x="209" y="53"/>
                    </a:lnTo>
                    <a:lnTo>
                      <a:pt x="337" y="53"/>
                    </a:lnTo>
                    <a:lnTo>
                      <a:pt x="337" y="53"/>
                    </a:lnTo>
                    <a:lnTo>
                      <a:pt x="346" y="54"/>
                    </a:lnTo>
                    <a:lnTo>
                      <a:pt x="356" y="57"/>
                    </a:lnTo>
                    <a:lnTo>
                      <a:pt x="364" y="63"/>
                    </a:lnTo>
                    <a:lnTo>
                      <a:pt x="370" y="70"/>
                    </a:lnTo>
                    <a:lnTo>
                      <a:pt x="376" y="79"/>
                    </a:lnTo>
                    <a:lnTo>
                      <a:pt x="380" y="89"/>
                    </a:lnTo>
                    <a:lnTo>
                      <a:pt x="382" y="99"/>
                    </a:lnTo>
                    <a:lnTo>
                      <a:pt x="384" y="111"/>
                    </a:lnTo>
                    <a:lnTo>
                      <a:pt x="384" y="278"/>
                    </a:lnTo>
                    <a:lnTo>
                      <a:pt x="384" y="278"/>
                    </a:lnTo>
                    <a:lnTo>
                      <a:pt x="382" y="290"/>
                    </a:lnTo>
                    <a:lnTo>
                      <a:pt x="380" y="301"/>
                    </a:lnTo>
                    <a:lnTo>
                      <a:pt x="376" y="312"/>
                    </a:lnTo>
                    <a:lnTo>
                      <a:pt x="370" y="320"/>
                    </a:lnTo>
                    <a:lnTo>
                      <a:pt x="364" y="328"/>
                    </a:lnTo>
                    <a:lnTo>
                      <a:pt x="356" y="333"/>
                    </a:lnTo>
                    <a:lnTo>
                      <a:pt x="346" y="337"/>
                    </a:lnTo>
                    <a:lnTo>
                      <a:pt x="337" y="337"/>
                    </a:lnTo>
                    <a:lnTo>
                      <a:pt x="209" y="337"/>
                    </a:lnTo>
                    <a:lnTo>
                      <a:pt x="209" y="337"/>
                    </a:lnTo>
                    <a:lnTo>
                      <a:pt x="199" y="337"/>
                    </a:lnTo>
                    <a:lnTo>
                      <a:pt x="191" y="333"/>
                    </a:lnTo>
                    <a:lnTo>
                      <a:pt x="183" y="328"/>
                    </a:lnTo>
                    <a:lnTo>
                      <a:pt x="177" y="320"/>
                    </a:lnTo>
                    <a:lnTo>
                      <a:pt x="171" y="312"/>
                    </a:lnTo>
                    <a:lnTo>
                      <a:pt x="167" y="301"/>
                    </a:lnTo>
                    <a:lnTo>
                      <a:pt x="165" y="290"/>
                    </a:lnTo>
                    <a:lnTo>
                      <a:pt x="163" y="278"/>
                    </a:lnTo>
                    <a:lnTo>
                      <a:pt x="163" y="111"/>
                    </a:lnTo>
                    <a:close/>
                  </a:path>
                </a:pathLst>
              </a:custGeom>
              <a:solidFill>
                <a:srgbClr val="7EB1C7"/>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5" name="Freeform 29"/>
              <p:cNvSpPr>
                <a:spLocks/>
              </p:cNvSpPr>
              <p:nvPr/>
            </p:nvSpPr>
            <p:spPr bwMode="auto">
              <a:xfrm>
                <a:off x="9296505" y="6201261"/>
                <a:ext cx="2137956" cy="139000"/>
              </a:xfrm>
              <a:custGeom>
                <a:avLst/>
                <a:gdLst>
                  <a:gd name="T0" fmla="*/ 0 w 1938"/>
                  <a:gd name="T1" fmla="*/ 0 h 127"/>
                  <a:gd name="T2" fmla="*/ 0 w 1938"/>
                  <a:gd name="T3" fmla="*/ 0 h 127"/>
                  <a:gd name="T4" fmla="*/ 0 w 1938"/>
                  <a:gd name="T5" fmla="*/ 26 h 127"/>
                  <a:gd name="T6" fmla="*/ 1 w 1938"/>
                  <a:gd name="T7" fmla="*/ 50 h 127"/>
                  <a:gd name="T8" fmla="*/ 4 w 1938"/>
                  <a:gd name="T9" fmla="*/ 71 h 127"/>
                  <a:gd name="T10" fmla="*/ 5 w 1938"/>
                  <a:gd name="T11" fmla="*/ 82 h 127"/>
                  <a:gd name="T12" fmla="*/ 10 w 1938"/>
                  <a:gd name="T13" fmla="*/ 90 h 127"/>
                  <a:gd name="T14" fmla="*/ 14 w 1938"/>
                  <a:gd name="T15" fmla="*/ 98 h 127"/>
                  <a:gd name="T16" fmla="*/ 18 w 1938"/>
                  <a:gd name="T17" fmla="*/ 106 h 127"/>
                  <a:gd name="T18" fmla="*/ 24 w 1938"/>
                  <a:gd name="T19" fmla="*/ 113 h 127"/>
                  <a:gd name="T20" fmla="*/ 31 w 1938"/>
                  <a:gd name="T21" fmla="*/ 118 h 127"/>
                  <a:gd name="T22" fmla="*/ 39 w 1938"/>
                  <a:gd name="T23" fmla="*/ 122 h 127"/>
                  <a:gd name="T24" fmla="*/ 50 w 1938"/>
                  <a:gd name="T25" fmla="*/ 125 h 127"/>
                  <a:gd name="T26" fmla="*/ 60 w 1938"/>
                  <a:gd name="T27" fmla="*/ 126 h 127"/>
                  <a:gd name="T28" fmla="*/ 74 w 1938"/>
                  <a:gd name="T29" fmla="*/ 127 h 127"/>
                  <a:gd name="T30" fmla="*/ 1797 w 1938"/>
                  <a:gd name="T31" fmla="*/ 127 h 127"/>
                  <a:gd name="T32" fmla="*/ 1797 w 1938"/>
                  <a:gd name="T33" fmla="*/ 127 h 127"/>
                  <a:gd name="T34" fmla="*/ 1819 w 1938"/>
                  <a:gd name="T35" fmla="*/ 126 h 127"/>
                  <a:gd name="T36" fmla="*/ 1839 w 1938"/>
                  <a:gd name="T37" fmla="*/ 123 h 127"/>
                  <a:gd name="T38" fmla="*/ 1858 w 1938"/>
                  <a:gd name="T39" fmla="*/ 118 h 127"/>
                  <a:gd name="T40" fmla="*/ 1873 w 1938"/>
                  <a:gd name="T41" fmla="*/ 111 h 127"/>
                  <a:gd name="T42" fmla="*/ 1886 w 1938"/>
                  <a:gd name="T43" fmla="*/ 103 h 127"/>
                  <a:gd name="T44" fmla="*/ 1897 w 1938"/>
                  <a:gd name="T45" fmla="*/ 95 h 127"/>
                  <a:gd name="T46" fmla="*/ 1906 w 1938"/>
                  <a:gd name="T47" fmla="*/ 87 h 127"/>
                  <a:gd name="T48" fmla="*/ 1914 w 1938"/>
                  <a:gd name="T49" fmla="*/ 79 h 127"/>
                  <a:gd name="T50" fmla="*/ 1914 w 1938"/>
                  <a:gd name="T51" fmla="*/ 79 h 127"/>
                  <a:gd name="T52" fmla="*/ 1920 w 1938"/>
                  <a:gd name="T53" fmla="*/ 70 h 127"/>
                  <a:gd name="T54" fmla="*/ 1925 w 1938"/>
                  <a:gd name="T55" fmla="*/ 62 h 127"/>
                  <a:gd name="T56" fmla="*/ 1929 w 1938"/>
                  <a:gd name="T57" fmla="*/ 53 h 127"/>
                  <a:gd name="T58" fmla="*/ 1933 w 1938"/>
                  <a:gd name="T59" fmla="*/ 42 h 127"/>
                  <a:gd name="T60" fmla="*/ 1936 w 1938"/>
                  <a:gd name="T61" fmla="*/ 33 h 127"/>
                  <a:gd name="T62" fmla="*/ 1937 w 1938"/>
                  <a:gd name="T63" fmla="*/ 22 h 127"/>
                  <a:gd name="T64" fmla="*/ 1938 w 1938"/>
                  <a:gd name="T65" fmla="*/ 11 h 127"/>
                  <a:gd name="T66" fmla="*/ 1938 w 1938"/>
                  <a:gd name="T67" fmla="*/ 0 h 127"/>
                  <a:gd name="T68" fmla="*/ 0 w 1938"/>
                  <a:gd name="T69" fmla="*/ 0 h 127"/>
                  <a:gd name="T70" fmla="*/ 0 w 1938"/>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8" h="127">
                    <a:moveTo>
                      <a:pt x="0" y="0"/>
                    </a:moveTo>
                    <a:lnTo>
                      <a:pt x="0" y="0"/>
                    </a:lnTo>
                    <a:lnTo>
                      <a:pt x="0" y="26"/>
                    </a:lnTo>
                    <a:lnTo>
                      <a:pt x="1" y="50"/>
                    </a:lnTo>
                    <a:lnTo>
                      <a:pt x="4" y="71"/>
                    </a:lnTo>
                    <a:lnTo>
                      <a:pt x="5" y="82"/>
                    </a:lnTo>
                    <a:lnTo>
                      <a:pt x="10" y="90"/>
                    </a:lnTo>
                    <a:lnTo>
                      <a:pt x="14" y="98"/>
                    </a:lnTo>
                    <a:lnTo>
                      <a:pt x="18" y="106"/>
                    </a:lnTo>
                    <a:lnTo>
                      <a:pt x="24" y="113"/>
                    </a:lnTo>
                    <a:lnTo>
                      <a:pt x="31" y="118"/>
                    </a:lnTo>
                    <a:lnTo>
                      <a:pt x="39" y="122"/>
                    </a:lnTo>
                    <a:lnTo>
                      <a:pt x="50" y="125"/>
                    </a:lnTo>
                    <a:lnTo>
                      <a:pt x="60" y="126"/>
                    </a:lnTo>
                    <a:lnTo>
                      <a:pt x="74" y="127"/>
                    </a:lnTo>
                    <a:lnTo>
                      <a:pt x="1797" y="127"/>
                    </a:lnTo>
                    <a:lnTo>
                      <a:pt x="1797" y="127"/>
                    </a:lnTo>
                    <a:lnTo>
                      <a:pt x="1819" y="126"/>
                    </a:lnTo>
                    <a:lnTo>
                      <a:pt x="1839" y="123"/>
                    </a:lnTo>
                    <a:lnTo>
                      <a:pt x="1858" y="118"/>
                    </a:lnTo>
                    <a:lnTo>
                      <a:pt x="1873" y="111"/>
                    </a:lnTo>
                    <a:lnTo>
                      <a:pt x="1886" y="103"/>
                    </a:lnTo>
                    <a:lnTo>
                      <a:pt x="1897" y="95"/>
                    </a:lnTo>
                    <a:lnTo>
                      <a:pt x="1906" y="87"/>
                    </a:lnTo>
                    <a:lnTo>
                      <a:pt x="1914" y="79"/>
                    </a:lnTo>
                    <a:lnTo>
                      <a:pt x="1914" y="79"/>
                    </a:lnTo>
                    <a:lnTo>
                      <a:pt x="1920" y="70"/>
                    </a:lnTo>
                    <a:lnTo>
                      <a:pt x="1925" y="62"/>
                    </a:lnTo>
                    <a:lnTo>
                      <a:pt x="1929" y="53"/>
                    </a:lnTo>
                    <a:lnTo>
                      <a:pt x="1933" y="42"/>
                    </a:lnTo>
                    <a:lnTo>
                      <a:pt x="1936" y="33"/>
                    </a:lnTo>
                    <a:lnTo>
                      <a:pt x="1937" y="22"/>
                    </a:lnTo>
                    <a:lnTo>
                      <a:pt x="1938" y="11"/>
                    </a:lnTo>
                    <a:lnTo>
                      <a:pt x="1938" y="0"/>
                    </a:lnTo>
                    <a:lnTo>
                      <a:pt x="0" y="0"/>
                    </a:lnTo>
                    <a:lnTo>
                      <a:pt x="0" y="0"/>
                    </a:lnTo>
                    <a:close/>
                  </a:path>
                </a:pathLst>
              </a:custGeom>
              <a:pattFill prst="dkHorz">
                <a:fgClr>
                  <a:schemeClr val="bg2">
                    <a:lumMod val="25000"/>
                  </a:schemeClr>
                </a:fgClr>
                <a:bgClr>
                  <a:schemeClr val="tx1">
                    <a:lumMod val="90000"/>
                    <a:lumOff val="10000"/>
                  </a:schemeClr>
                </a:bgClr>
              </a:patt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8" name="Freeform 31"/>
              <p:cNvSpPr>
                <a:spLocks/>
              </p:cNvSpPr>
              <p:nvPr/>
            </p:nvSpPr>
            <p:spPr bwMode="auto">
              <a:xfrm>
                <a:off x="11100198" y="6360117"/>
                <a:ext cx="148930" cy="59571"/>
              </a:xfrm>
              <a:custGeom>
                <a:avLst/>
                <a:gdLst>
                  <a:gd name="T0" fmla="*/ 0 w 135"/>
                  <a:gd name="T1" fmla="*/ 0 h 52"/>
                  <a:gd name="T2" fmla="*/ 0 w 135"/>
                  <a:gd name="T3" fmla="*/ 0 h 52"/>
                  <a:gd name="T4" fmla="*/ 4 w 135"/>
                  <a:gd name="T5" fmla="*/ 11 h 52"/>
                  <a:gd name="T6" fmla="*/ 9 w 135"/>
                  <a:gd name="T7" fmla="*/ 21 h 52"/>
                  <a:gd name="T8" fmla="*/ 16 w 135"/>
                  <a:gd name="T9" fmla="*/ 31 h 52"/>
                  <a:gd name="T10" fmla="*/ 24 w 135"/>
                  <a:gd name="T11" fmla="*/ 37 h 52"/>
                  <a:gd name="T12" fmla="*/ 35 w 135"/>
                  <a:gd name="T13" fmla="*/ 44 h 52"/>
                  <a:gd name="T14" fmla="*/ 44 w 135"/>
                  <a:gd name="T15" fmla="*/ 49 h 52"/>
                  <a:gd name="T16" fmla="*/ 56 w 135"/>
                  <a:gd name="T17" fmla="*/ 52 h 52"/>
                  <a:gd name="T18" fmla="*/ 68 w 135"/>
                  <a:gd name="T19" fmla="*/ 52 h 52"/>
                  <a:gd name="T20" fmla="*/ 68 w 135"/>
                  <a:gd name="T21" fmla="*/ 52 h 52"/>
                  <a:gd name="T22" fmla="*/ 80 w 135"/>
                  <a:gd name="T23" fmla="*/ 52 h 52"/>
                  <a:gd name="T24" fmla="*/ 91 w 135"/>
                  <a:gd name="T25" fmla="*/ 49 h 52"/>
                  <a:gd name="T26" fmla="*/ 101 w 135"/>
                  <a:gd name="T27" fmla="*/ 44 h 52"/>
                  <a:gd name="T28" fmla="*/ 111 w 135"/>
                  <a:gd name="T29" fmla="*/ 37 h 52"/>
                  <a:gd name="T30" fmla="*/ 119 w 135"/>
                  <a:gd name="T31" fmla="*/ 31 h 52"/>
                  <a:gd name="T32" fmla="*/ 127 w 135"/>
                  <a:gd name="T33" fmla="*/ 21 h 52"/>
                  <a:gd name="T34" fmla="*/ 132 w 135"/>
                  <a:gd name="T35" fmla="*/ 11 h 52"/>
                  <a:gd name="T36" fmla="*/ 135 w 135"/>
                  <a:gd name="T37" fmla="*/ 0 h 52"/>
                  <a:gd name="T38" fmla="*/ 0 w 135"/>
                  <a:gd name="T39" fmla="*/ 0 h 52"/>
                  <a:gd name="T40" fmla="*/ 0 w 135"/>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 h="52">
                    <a:moveTo>
                      <a:pt x="0" y="0"/>
                    </a:moveTo>
                    <a:lnTo>
                      <a:pt x="0" y="0"/>
                    </a:lnTo>
                    <a:lnTo>
                      <a:pt x="4" y="11"/>
                    </a:lnTo>
                    <a:lnTo>
                      <a:pt x="9" y="21"/>
                    </a:lnTo>
                    <a:lnTo>
                      <a:pt x="16" y="31"/>
                    </a:lnTo>
                    <a:lnTo>
                      <a:pt x="24" y="37"/>
                    </a:lnTo>
                    <a:lnTo>
                      <a:pt x="35" y="44"/>
                    </a:lnTo>
                    <a:lnTo>
                      <a:pt x="44" y="49"/>
                    </a:lnTo>
                    <a:lnTo>
                      <a:pt x="56" y="52"/>
                    </a:lnTo>
                    <a:lnTo>
                      <a:pt x="68" y="52"/>
                    </a:lnTo>
                    <a:lnTo>
                      <a:pt x="68" y="52"/>
                    </a:lnTo>
                    <a:lnTo>
                      <a:pt x="80" y="52"/>
                    </a:lnTo>
                    <a:lnTo>
                      <a:pt x="91" y="49"/>
                    </a:lnTo>
                    <a:lnTo>
                      <a:pt x="101" y="44"/>
                    </a:lnTo>
                    <a:lnTo>
                      <a:pt x="111" y="37"/>
                    </a:lnTo>
                    <a:lnTo>
                      <a:pt x="119" y="31"/>
                    </a:lnTo>
                    <a:lnTo>
                      <a:pt x="127" y="21"/>
                    </a:lnTo>
                    <a:lnTo>
                      <a:pt x="132" y="11"/>
                    </a:lnTo>
                    <a:lnTo>
                      <a:pt x="135" y="0"/>
                    </a:lnTo>
                    <a:lnTo>
                      <a:pt x="0" y="0"/>
                    </a:lnTo>
                    <a:lnTo>
                      <a:pt x="0"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0" name="Freeform 33"/>
              <p:cNvSpPr>
                <a:spLocks/>
              </p:cNvSpPr>
              <p:nvPr/>
            </p:nvSpPr>
            <p:spPr bwMode="auto">
              <a:xfrm>
                <a:off x="10981055" y="6360117"/>
                <a:ext cx="119142" cy="52952"/>
              </a:xfrm>
              <a:custGeom>
                <a:avLst/>
                <a:gdLst>
                  <a:gd name="T0" fmla="*/ 0 w 106"/>
                  <a:gd name="T1" fmla="*/ 0 h 47"/>
                  <a:gd name="T2" fmla="*/ 0 w 106"/>
                  <a:gd name="T3" fmla="*/ 0 h 47"/>
                  <a:gd name="T4" fmla="*/ 6 w 106"/>
                  <a:gd name="T5" fmla="*/ 11 h 47"/>
                  <a:gd name="T6" fmla="*/ 11 w 106"/>
                  <a:gd name="T7" fmla="*/ 19 h 47"/>
                  <a:gd name="T8" fmla="*/ 19 w 106"/>
                  <a:gd name="T9" fmla="*/ 27 h 47"/>
                  <a:gd name="T10" fmla="*/ 28 w 106"/>
                  <a:gd name="T11" fmla="*/ 33 h 47"/>
                  <a:gd name="T12" fmla="*/ 38 w 106"/>
                  <a:gd name="T13" fmla="*/ 39 h 47"/>
                  <a:gd name="T14" fmla="*/ 48 w 106"/>
                  <a:gd name="T15" fmla="*/ 44 h 47"/>
                  <a:gd name="T16" fmla="*/ 59 w 106"/>
                  <a:gd name="T17" fmla="*/ 45 h 47"/>
                  <a:gd name="T18" fmla="*/ 71 w 106"/>
                  <a:gd name="T19" fmla="*/ 47 h 47"/>
                  <a:gd name="T20" fmla="*/ 71 w 106"/>
                  <a:gd name="T21" fmla="*/ 47 h 47"/>
                  <a:gd name="T22" fmla="*/ 80 w 106"/>
                  <a:gd name="T23" fmla="*/ 47 h 47"/>
                  <a:gd name="T24" fmla="*/ 90 w 106"/>
                  <a:gd name="T25" fmla="*/ 44 h 47"/>
                  <a:gd name="T26" fmla="*/ 98 w 106"/>
                  <a:gd name="T27" fmla="*/ 43 h 47"/>
                  <a:gd name="T28" fmla="*/ 106 w 106"/>
                  <a:gd name="T29" fmla="*/ 39 h 47"/>
                  <a:gd name="T30" fmla="*/ 106 w 106"/>
                  <a:gd name="T31" fmla="*/ 39 h 47"/>
                  <a:gd name="T32" fmla="*/ 100 w 106"/>
                  <a:gd name="T33" fmla="*/ 31 h 47"/>
                  <a:gd name="T34" fmla="*/ 95 w 106"/>
                  <a:gd name="T35" fmla="*/ 21 h 47"/>
                  <a:gd name="T36" fmla="*/ 91 w 106"/>
                  <a:gd name="T37" fmla="*/ 11 h 47"/>
                  <a:gd name="T38" fmla="*/ 88 w 106"/>
                  <a:gd name="T39" fmla="*/ 0 h 47"/>
                  <a:gd name="T40" fmla="*/ 0 w 106"/>
                  <a:gd name="T4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47">
                    <a:moveTo>
                      <a:pt x="0" y="0"/>
                    </a:moveTo>
                    <a:lnTo>
                      <a:pt x="0" y="0"/>
                    </a:lnTo>
                    <a:lnTo>
                      <a:pt x="6" y="11"/>
                    </a:lnTo>
                    <a:lnTo>
                      <a:pt x="11" y="19"/>
                    </a:lnTo>
                    <a:lnTo>
                      <a:pt x="19" y="27"/>
                    </a:lnTo>
                    <a:lnTo>
                      <a:pt x="28" y="33"/>
                    </a:lnTo>
                    <a:lnTo>
                      <a:pt x="38" y="39"/>
                    </a:lnTo>
                    <a:lnTo>
                      <a:pt x="48" y="44"/>
                    </a:lnTo>
                    <a:lnTo>
                      <a:pt x="59" y="45"/>
                    </a:lnTo>
                    <a:lnTo>
                      <a:pt x="71" y="47"/>
                    </a:lnTo>
                    <a:lnTo>
                      <a:pt x="71" y="47"/>
                    </a:lnTo>
                    <a:lnTo>
                      <a:pt x="80" y="47"/>
                    </a:lnTo>
                    <a:lnTo>
                      <a:pt x="90" y="44"/>
                    </a:lnTo>
                    <a:lnTo>
                      <a:pt x="98" y="43"/>
                    </a:lnTo>
                    <a:lnTo>
                      <a:pt x="106" y="39"/>
                    </a:lnTo>
                    <a:lnTo>
                      <a:pt x="106" y="39"/>
                    </a:lnTo>
                    <a:lnTo>
                      <a:pt x="100" y="31"/>
                    </a:lnTo>
                    <a:lnTo>
                      <a:pt x="95" y="21"/>
                    </a:lnTo>
                    <a:lnTo>
                      <a:pt x="91" y="11"/>
                    </a:lnTo>
                    <a:lnTo>
                      <a:pt x="88" y="0"/>
                    </a:lnTo>
                    <a:lnTo>
                      <a:pt x="0"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1" name="Freeform 34"/>
              <p:cNvSpPr>
                <a:spLocks/>
              </p:cNvSpPr>
              <p:nvPr/>
            </p:nvSpPr>
            <p:spPr bwMode="auto">
              <a:xfrm>
                <a:off x="9435505" y="6360117"/>
                <a:ext cx="122453" cy="59571"/>
              </a:xfrm>
              <a:custGeom>
                <a:avLst/>
                <a:gdLst>
                  <a:gd name="T0" fmla="*/ 0 w 110"/>
                  <a:gd name="T1" fmla="*/ 0 h 53"/>
                  <a:gd name="T2" fmla="*/ 0 w 110"/>
                  <a:gd name="T3" fmla="*/ 0 h 53"/>
                  <a:gd name="T4" fmla="*/ 4 w 110"/>
                  <a:gd name="T5" fmla="*/ 12 h 53"/>
                  <a:gd name="T6" fmla="*/ 11 w 110"/>
                  <a:gd name="T7" fmla="*/ 21 h 53"/>
                  <a:gd name="T8" fmla="*/ 19 w 110"/>
                  <a:gd name="T9" fmla="*/ 31 h 53"/>
                  <a:gd name="T10" fmla="*/ 28 w 110"/>
                  <a:gd name="T11" fmla="*/ 39 h 53"/>
                  <a:gd name="T12" fmla="*/ 39 w 110"/>
                  <a:gd name="T13" fmla="*/ 45 h 53"/>
                  <a:gd name="T14" fmla="*/ 50 w 110"/>
                  <a:gd name="T15" fmla="*/ 49 h 53"/>
                  <a:gd name="T16" fmla="*/ 62 w 110"/>
                  <a:gd name="T17" fmla="*/ 53 h 53"/>
                  <a:gd name="T18" fmla="*/ 75 w 110"/>
                  <a:gd name="T19" fmla="*/ 53 h 53"/>
                  <a:gd name="T20" fmla="*/ 75 w 110"/>
                  <a:gd name="T21" fmla="*/ 53 h 53"/>
                  <a:gd name="T22" fmla="*/ 83 w 110"/>
                  <a:gd name="T23" fmla="*/ 53 h 53"/>
                  <a:gd name="T24" fmla="*/ 92 w 110"/>
                  <a:gd name="T25" fmla="*/ 52 h 53"/>
                  <a:gd name="T26" fmla="*/ 102 w 110"/>
                  <a:gd name="T27" fmla="*/ 49 h 53"/>
                  <a:gd name="T28" fmla="*/ 110 w 110"/>
                  <a:gd name="T29" fmla="*/ 45 h 53"/>
                  <a:gd name="T30" fmla="*/ 110 w 110"/>
                  <a:gd name="T31" fmla="*/ 45 h 53"/>
                  <a:gd name="T32" fmla="*/ 102 w 110"/>
                  <a:gd name="T33" fmla="*/ 36 h 53"/>
                  <a:gd name="T34" fmla="*/ 96 w 110"/>
                  <a:gd name="T35" fmla="*/ 25 h 53"/>
                  <a:gd name="T36" fmla="*/ 92 w 110"/>
                  <a:gd name="T37" fmla="*/ 13 h 53"/>
                  <a:gd name="T38" fmla="*/ 90 w 110"/>
                  <a:gd name="T39" fmla="*/ 0 h 53"/>
                  <a:gd name="T40" fmla="*/ 0 w 110"/>
                  <a:gd name="T41"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53">
                    <a:moveTo>
                      <a:pt x="0" y="0"/>
                    </a:moveTo>
                    <a:lnTo>
                      <a:pt x="0" y="0"/>
                    </a:lnTo>
                    <a:lnTo>
                      <a:pt x="4" y="12"/>
                    </a:lnTo>
                    <a:lnTo>
                      <a:pt x="11" y="21"/>
                    </a:lnTo>
                    <a:lnTo>
                      <a:pt x="19" y="31"/>
                    </a:lnTo>
                    <a:lnTo>
                      <a:pt x="28" y="39"/>
                    </a:lnTo>
                    <a:lnTo>
                      <a:pt x="39" y="45"/>
                    </a:lnTo>
                    <a:lnTo>
                      <a:pt x="50" y="49"/>
                    </a:lnTo>
                    <a:lnTo>
                      <a:pt x="62" y="53"/>
                    </a:lnTo>
                    <a:lnTo>
                      <a:pt x="75" y="53"/>
                    </a:lnTo>
                    <a:lnTo>
                      <a:pt x="75" y="53"/>
                    </a:lnTo>
                    <a:lnTo>
                      <a:pt x="83" y="53"/>
                    </a:lnTo>
                    <a:lnTo>
                      <a:pt x="92" y="52"/>
                    </a:lnTo>
                    <a:lnTo>
                      <a:pt x="102" y="49"/>
                    </a:lnTo>
                    <a:lnTo>
                      <a:pt x="110" y="45"/>
                    </a:lnTo>
                    <a:lnTo>
                      <a:pt x="110" y="45"/>
                    </a:lnTo>
                    <a:lnTo>
                      <a:pt x="102" y="36"/>
                    </a:lnTo>
                    <a:lnTo>
                      <a:pt x="96" y="25"/>
                    </a:lnTo>
                    <a:lnTo>
                      <a:pt x="92" y="13"/>
                    </a:lnTo>
                    <a:lnTo>
                      <a:pt x="90" y="0"/>
                    </a:lnTo>
                    <a:lnTo>
                      <a:pt x="0"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4" name="Freeform 37"/>
              <p:cNvSpPr>
                <a:spLocks/>
              </p:cNvSpPr>
              <p:nvPr/>
            </p:nvSpPr>
            <p:spPr bwMode="auto">
              <a:xfrm>
                <a:off x="9551339" y="6360117"/>
                <a:ext cx="155548" cy="62882"/>
              </a:xfrm>
              <a:custGeom>
                <a:avLst/>
                <a:gdLst>
                  <a:gd name="T0" fmla="*/ 0 w 141"/>
                  <a:gd name="T1" fmla="*/ 0 h 57"/>
                  <a:gd name="T2" fmla="*/ 0 w 141"/>
                  <a:gd name="T3" fmla="*/ 0 h 57"/>
                  <a:gd name="T4" fmla="*/ 4 w 141"/>
                  <a:gd name="T5" fmla="*/ 12 h 57"/>
                  <a:gd name="T6" fmla="*/ 9 w 141"/>
                  <a:gd name="T7" fmla="*/ 23 h 57"/>
                  <a:gd name="T8" fmla="*/ 16 w 141"/>
                  <a:gd name="T9" fmla="*/ 33 h 57"/>
                  <a:gd name="T10" fmla="*/ 25 w 141"/>
                  <a:gd name="T11" fmla="*/ 41 h 57"/>
                  <a:gd name="T12" fmla="*/ 34 w 141"/>
                  <a:gd name="T13" fmla="*/ 48 h 57"/>
                  <a:gd name="T14" fmla="*/ 47 w 141"/>
                  <a:gd name="T15" fmla="*/ 53 h 57"/>
                  <a:gd name="T16" fmla="*/ 57 w 141"/>
                  <a:gd name="T17" fmla="*/ 57 h 57"/>
                  <a:gd name="T18" fmla="*/ 71 w 141"/>
                  <a:gd name="T19" fmla="*/ 57 h 57"/>
                  <a:gd name="T20" fmla="*/ 71 w 141"/>
                  <a:gd name="T21" fmla="*/ 57 h 57"/>
                  <a:gd name="T22" fmla="*/ 84 w 141"/>
                  <a:gd name="T23" fmla="*/ 57 h 57"/>
                  <a:gd name="T24" fmla="*/ 96 w 141"/>
                  <a:gd name="T25" fmla="*/ 53 h 57"/>
                  <a:gd name="T26" fmla="*/ 107 w 141"/>
                  <a:gd name="T27" fmla="*/ 48 h 57"/>
                  <a:gd name="T28" fmla="*/ 116 w 141"/>
                  <a:gd name="T29" fmla="*/ 41 h 57"/>
                  <a:gd name="T30" fmla="*/ 125 w 141"/>
                  <a:gd name="T31" fmla="*/ 33 h 57"/>
                  <a:gd name="T32" fmla="*/ 132 w 141"/>
                  <a:gd name="T33" fmla="*/ 23 h 57"/>
                  <a:gd name="T34" fmla="*/ 137 w 141"/>
                  <a:gd name="T35" fmla="*/ 12 h 57"/>
                  <a:gd name="T36" fmla="*/ 141 w 141"/>
                  <a:gd name="T37" fmla="*/ 0 h 57"/>
                  <a:gd name="T38" fmla="*/ 0 w 141"/>
                  <a:gd name="T39" fmla="*/ 0 h 57"/>
                  <a:gd name="T40" fmla="*/ 0 w 141"/>
                  <a:gd name="T4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 h="57">
                    <a:moveTo>
                      <a:pt x="0" y="0"/>
                    </a:moveTo>
                    <a:lnTo>
                      <a:pt x="0" y="0"/>
                    </a:lnTo>
                    <a:lnTo>
                      <a:pt x="4" y="12"/>
                    </a:lnTo>
                    <a:lnTo>
                      <a:pt x="9" y="23"/>
                    </a:lnTo>
                    <a:lnTo>
                      <a:pt x="16" y="33"/>
                    </a:lnTo>
                    <a:lnTo>
                      <a:pt x="25" y="41"/>
                    </a:lnTo>
                    <a:lnTo>
                      <a:pt x="34" y="48"/>
                    </a:lnTo>
                    <a:lnTo>
                      <a:pt x="47" y="53"/>
                    </a:lnTo>
                    <a:lnTo>
                      <a:pt x="57" y="57"/>
                    </a:lnTo>
                    <a:lnTo>
                      <a:pt x="71" y="57"/>
                    </a:lnTo>
                    <a:lnTo>
                      <a:pt x="71" y="57"/>
                    </a:lnTo>
                    <a:lnTo>
                      <a:pt x="84" y="57"/>
                    </a:lnTo>
                    <a:lnTo>
                      <a:pt x="96" y="53"/>
                    </a:lnTo>
                    <a:lnTo>
                      <a:pt x="107" y="48"/>
                    </a:lnTo>
                    <a:lnTo>
                      <a:pt x="116" y="41"/>
                    </a:lnTo>
                    <a:lnTo>
                      <a:pt x="125" y="33"/>
                    </a:lnTo>
                    <a:lnTo>
                      <a:pt x="132" y="23"/>
                    </a:lnTo>
                    <a:lnTo>
                      <a:pt x="137" y="12"/>
                    </a:lnTo>
                    <a:lnTo>
                      <a:pt x="141" y="0"/>
                    </a:lnTo>
                    <a:lnTo>
                      <a:pt x="0" y="0"/>
                    </a:lnTo>
                    <a:lnTo>
                      <a:pt x="0"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5" name="Freeform 38"/>
              <p:cNvSpPr>
                <a:spLocks/>
              </p:cNvSpPr>
              <p:nvPr/>
            </p:nvSpPr>
            <p:spPr bwMode="auto">
              <a:xfrm>
                <a:off x="8962243" y="6264141"/>
                <a:ext cx="152238" cy="76120"/>
              </a:xfrm>
              <a:custGeom>
                <a:avLst/>
                <a:gdLst>
                  <a:gd name="T0" fmla="*/ 139 w 139"/>
                  <a:gd name="T1" fmla="*/ 69 h 69"/>
                  <a:gd name="T2" fmla="*/ 139 w 139"/>
                  <a:gd name="T3" fmla="*/ 69 h 69"/>
                  <a:gd name="T4" fmla="*/ 139 w 139"/>
                  <a:gd name="T5" fmla="*/ 69 h 69"/>
                  <a:gd name="T6" fmla="*/ 137 w 139"/>
                  <a:gd name="T7" fmla="*/ 56 h 69"/>
                  <a:gd name="T8" fmla="*/ 133 w 139"/>
                  <a:gd name="T9" fmla="*/ 43 h 69"/>
                  <a:gd name="T10" fmla="*/ 127 w 139"/>
                  <a:gd name="T11" fmla="*/ 31 h 69"/>
                  <a:gd name="T12" fmla="*/ 119 w 139"/>
                  <a:gd name="T13" fmla="*/ 20 h 69"/>
                  <a:gd name="T14" fmla="*/ 108 w 139"/>
                  <a:gd name="T15" fmla="*/ 12 h 69"/>
                  <a:gd name="T16" fmla="*/ 96 w 139"/>
                  <a:gd name="T17" fmla="*/ 5 h 69"/>
                  <a:gd name="T18" fmla="*/ 84 w 139"/>
                  <a:gd name="T19" fmla="*/ 1 h 69"/>
                  <a:gd name="T20" fmla="*/ 69 w 139"/>
                  <a:gd name="T21" fmla="*/ 0 h 69"/>
                  <a:gd name="T22" fmla="*/ 69 w 139"/>
                  <a:gd name="T23" fmla="*/ 0 h 69"/>
                  <a:gd name="T24" fmla="*/ 55 w 139"/>
                  <a:gd name="T25" fmla="*/ 1 h 69"/>
                  <a:gd name="T26" fmla="*/ 43 w 139"/>
                  <a:gd name="T27" fmla="*/ 5 h 69"/>
                  <a:gd name="T28" fmla="*/ 30 w 139"/>
                  <a:gd name="T29" fmla="*/ 12 h 69"/>
                  <a:gd name="T30" fmla="*/ 20 w 139"/>
                  <a:gd name="T31" fmla="*/ 20 h 69"/>
                  <a:gd name="T32" fmla="*/ 12 w 139"/>
                  <a:gd name="T33" fmla="*/ 31 h 69"/>
                  <a:gd name="T34" fmla="*/ 5 w 139"/>
                  <a:gd name="T35" fmla="*/ 43 h 69"/>
                  <a:gd name="T36" fmla="*/ 1 w 139"/>
                  <a:gd name="T37" fmla="*/ 56 h 69"/>
                  <a:gd name="T38" fmla="*/ 0 w 139"/>
                  <a:gd name="T39" fmla="*/ 69 h 69"/>
                  <a:gd name="T40" fmla="*/ 0 w 139"/>
                  <a:gd name="T41" fmla="*/ 69 h 69"/>
                  <a:gd name="T42" fmla="*/ 139 w 139"/>
                  <a:gd name="T43"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69">
                    <a:moveTo>
                      <a:pt x="139" y="69"/>
                    </a:moveTo>
                    <a:lnTo>
                      <a:pt x="139" y="69"/>
                    </a:lnTo>
                    <a:lnTo>
                      <a:pt x="139" y="69"/>
                    </a:lnTo>
                    <a:lnTo>
                      <a:pt x="137" y="56"/>
                    </a:lnTo>
                    <a:lnTo>
                      <a:pt x="133" y="43"/>
                    </a:lnTo>
                    <a:lnTo>
                      <a:pt x="127" y="31"/>
                    </a:lnTo>
                    <a:lnTo>
                      <a:pt x="119" y="20"/>
                    </a:lnTo>
                    <a:lnTo>
                      <a:pt x="108" y="12"/>
                    </a:lnTo>
                    <a:lnTo>
                      <a:pt x="96" y="5"/>
                    </a:lnTo>
                    <a:lnTo>
                      <a:pt x="84" y="1"/>
                    </a:lnTo>
                    <a:lnTo>
                      <a:pt x="69" y="0"/>
                    </a:lnTo>
                    <a:lnTo>
                      <a:pt x="69" y="0"/>
                    </a:lnTo>
                    <a:lnTo>
                      <a:pt x="55" y="1"/>
                    </a:lnTo>
                    <a:lnTo>
                      <a:pt x="43" y="5"/>
                    </a:lnTo>
                    <a:lnTo>
                      <a:pt x="30" y="12"/>
                    </a:lnTo>
                    <a:lnTo>
                      <a:pt x="20" y="20"/>
                    </a:lnTo>
                    <a:lnTo>
                      <a:pt x="12" y="31"/>
                    </a:lnTo>
                    <a:lnTo>
                      <a:pt x="5" y="43"/>
                    </a:lnTo>
                    <a:lnTo>
                      <a:pt x="1" y="56"/>
                    </a:lnTo>
                    <a:lnTo>
                      <a:pt x="0" y="69"/>
                    </a:lnTo>
                    <a:lnTo>
                      <a:pt x="0" y="69"/>
                    </a:lnTo>
                    <a:lnTo>
                      <a:pt x="139"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36" name="Freeform 39"/>
              <p:cNvSpPr>
                <a:spLocks/>
              </p:cNvSpPr>
              <p:nvPr/>
            </p:nvSpPr>
            <p:spPr bwMode="auto">
              <a:xfrm>
                <a:off x="8962243" y="6360117"/>
                <a:ext cx="148930" cy="59571"/>
              </a:xfrm>
              <a:custGeom>
                <a:avLst/>
                <a:gdLst>
                  <a:gd name="T0" fmla="*/ 0 w 136"/>
                  <a:gd name="T1" fmla="*/ 0 h 52"/>
                  <a:gd name="T2" fmla="*/ 0 w 136"/>
                  <a:gd name="T3" fmla="*/ 0 h 52"/>
                  <a:gd name="T4" fmla="*/ 4 w 136"/>
                  <a:gd name="T5" fmla="*/ 11 h 52"/>
                  <a:gd name="T6" fmla="*/ 9 w 136"/>
                  <a:gd name="T7" fmla="*/ 21 h 52"/>
                  <a:gd name="T8" fmla="*/ 16 w 136"/>
                  <a:gd name="T9" fmla="*/ 31 h 52"/>
                  <a:gd name="T10" fmla="*/ 25 w 136"/>
                  <a:gd name="T11" fmla="*/ 37 h 52"/>
                  <a:gd name="T12" fmla="*/ 35 w 136"/>
                  <a:gd name="T13" fmla="*/ 44 h 52"/>
                  <a:gd name="T14" fmla="*/ 46 w 136"/>
                  <a:gd name="T15" fmla="*/ 49 h 52"/>
                  <a:gd name="T16" fmla="*/ 56 w 136"/>
                  <a:gd name="T17" fmla="*/ 52 h 52"/>
                  <a:gd name="T18" fmla="*/ 68 w 136"/>
                  <a:gd name="T19" fmla="*/ 52 h 52"/>
                  <a:gd name="T20" fmla="*/ 68 w 136"/>
                  <a:gd name="T21" fmla="*/ 52 h 52"/>
                  <a:gd name="T22" fmla="*/ 80 w 136"/>
                  <a:gd name="T23" fmla="*/ 52 h 52"/>
                  <a:gd name="T24" fmla="*/ 91 w 136"/>
                  <a:gd name="T25" fmla="*/ 49 h 52"/>
                  <a:gd name="T26" fmla="*/ 102 w 136"/>
                  <a:gd name="T27" fmla="*/ 44 h 52"/>
                  <a:gd name="T28" fmla="*/ 111 w 136"/>
                  <a:gd name="T29" fmla="*/ 37 h 52"/>
                  <a:gd name="T30" fmla="*/ 120 w 136"/>
                  <a:gd name="T31" fmla="*/ 31 h 52"/>
                  <a:gd name="T32" fmla="*/ 127 w 136"/>
                  <a:gd name="T33" fmla="*/ 21 h 52"/>
                  <a:gd name="T34" fmla="*/ 132 w 136"/>
                  <a:gd name="T35" fmla="*/ 11 h 52"/>
                  <a:gd name="T36" fmla="*/ 136 w 136"/>
                  <a:gd name="T37" fmla="*/ 0 h 52"/>
                  <a:gd name="T38" fmla="*/ 0 w 136"/>
                  <a:gd name="T39" fmla="*/ 0 h 52"/>
                  <a:gd name="T40" fmla="*/ 0 w 136"/>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6" h="52">
                    <a:moveTo>
                      <a:pt x="0" y="0"/>
                    </a:moveTo>
                    <a:lnTo>
                      <a:pt x="0" y="0"/>
                    </a:lnTo>
                    <a:lnTo>
                      <a:pt x="4" y="11"/>
                    </a:lnTo>
                    <a:lnTo>
                      <a:pt x="9" y="21"/>
                    </a:lnTo>
                    <a:lnTo>
                      <a:pt x="16" y="31"/>
                    </a:lnTo>
                    <a:lnTo>
                      <a:pt x="25" y="37"/>
                    </a:lnTo>
                    <a:lnTo>
                      <a:pt x="35" y="44"/>
                    </a:lnTo>
                    <a:lnTo>
                      <a:pt x="46" y="49"/>
                    </a:lnTo>
                    <a:lnTo>
                      <a:pt x="56" y="52"/>
                    </a:lnTo>
                    <a:lnTo>
                      <a:pt x="68" y="52"/>
                    </a:lnTo>
                    <a:lnTo>
                      <a:pt x="68" y="52"/>
                    </a:lnTo>
                    <a:lnTo>
                      <a:pt x="80" y="52"/>
                    </a:lnTo>
                    <a:lnTo>
                      <a:pt x="91" y="49"/>
                    </a:lnTo>
                    <a:lnTo>
                      <a:pt x="102" y="44"/>
                    </a:lnTo>
                    <a:lnTo>
                      <a:pt x="111" y="37"/>
                    </a:lnTo>
                    <a:lnTo>
                      <a:pt x="120" y="31"/>
                    </a:lnTo>
                    <a:lnTo>
                      <a:pt x="127" y="21"/>
                    </a:lnTo>
                    <a:lnTo>
                      <a:pt x="132" y="11"/>
                    </a:lnTo>
                    <a:lnTo>
                      <a:pt x="136" y="0"/>
                    </a:lnTo>
                    <a:lnTo>
                      <a:pt x="0" y="0"/>
                    </a:lnTo>
                    <a:lnTo>
                      <a:pt x="0"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7" name="Freeform 40"/>
              <p:cNvSpPr>
                <a:spLocks/>
              </p:cNvSpPr>
              <p:nvPr/>
            </p:nvSpPr>
            <p:spPr bwMode="auto">
              <a:xfrm>
                <a:off x="8839789" y="6240975"/>
                <a:ext cx="142311" cy="99286"/>
              </a:xfrm>
              <a:custGeom>
                <a:avLst/>
                <a:gdLst>
                  <a:gd name="T0" fmla="*/ 93 w 131"/>
                  <a:gd name="T1" fmla="*/ 92 h 92"/>
                  <a:gd name="T2" fmla="*/ 93 w 131"/>
                  <a:gd name="T3" fmla="*/ 92 h 92"/>
                  <a:gd name="T4" fmla="*/ 93 w 131"/>
                  <a:gd name="T5" fmla="*/ 92 h 92"/>
                  <a:gd name="T6" fmla="*/ 93 w 131"/>
                  <a:gd name="T7" fmla="*/ 82 h 92"/>
                  <a:gd name="T8" fmla="*/ 96 w 131"/>
                  <a:gd name="T9" fmla="*/ 71 h 92"/>
                  <a:gd name="T10" fmla="*/ 99 w 131"/>
                  <a:gd name="T11" fmla="*/ 60 h 92"/>
                  <a:gd name="T12" fmla="*/ 103 w 131"/>
                  <a:gd name="T13" fmla="*/ 51 h 92"/>
                  <a:gd name="T14" fmla="*/ 109 w 131"/>
                  <a:gd name="T15" fmla="*/ 42 h 92"/>
                  <a:gd name="T16" fmla="*/ 115 w 131"/>
                  <a:gd name="T17" fmla="*/ 34 h 92"/>
                  <a:gd name="T18" fmla="*/ 123 w 131"/>
                  <a:gd name="T19" fmla="*/ 27 h 92"/>
                  <a:gd name="T20" fmla="*/ 131 w 131"/>
                  <a:gd name="T21" fmla="*/ 20 h 92"/>
                  <a:gd name="T22" fmla="*/ 131 w 131"/>
                  <a:gd name="T23" fmla="*/ 20 h 92"/>
                  <a:gd name="T24" fmla="*/ 120 w 131"/>
                  <a:gd name="T25" fmla="*/ 12 h 92"/>
                  <a:gd name="T26" fmla="*/ 107 w 131"/>
                  <a:gd name="T27" fmla="*/ 6 h 92"/>
                  <a:gd name="T28" fmla="*/ 93 w 131"/>
                  <a:gd name="T29" fmla="*/ 2 h 92"/>
                  <a:gd name="T30" fmla="*/ 79 w 131"/>
                  <a:gd name="T31" fmla="*/ 0 h 92"/>
                  <a:gd name="T32" fmla="*/ 79 w 131"/>
                  <a:gd name="T33" fmla="*/ 0 h 92"/>
                  <a:gd name="T34" fmla="*/ 71 w 131"/>
                  <a:gd name="T35" fmla="*/ 0 h 92"/>
                  <a:gd name="T36" fmla="*/ 63 w 131"/>
                  <a:gd name="T37" fmla="*/ 2 h 92"/>
                  <a:gd name="T38" fmla="*/ 48 w 131"/>
                  <a:gd name="T39" fmla="*/ 6 h 92"/>
                  <a:gd name="T40" fmla="*/ 35 w 131"/>
                  <a:gd name="T41" fmla="*/ 14 h 92"/>
                  <a:gd name="T42" fmla="*/ 23 w 131"/>
                  <a:gd name="T43" fmla="*/ 23 h 92"/>
                  <a:gd name="T44" fmla="*/ 13 w 131"/>
                  <a:gd name="T45" fmla="*/ 34 h 92"/>
                  <a:gd name="T46" fmla="*/ 5 w 131"/>
                  <a:gd name="T47" fmla="*/ 47 h 92"/>
                  <a:gd name="T48" fmla="*/ 1 w 131"/>
                  <a:gd name="T49" fmla="*/ 62 h 92"/>
                  <a:gd name="T50" fmla="*/ 0 w 131"/>
                  <a:gd name="T51" fmla="*/ 70 h 92"/>
                  <a:gd name="T52" fmla="*/ 0 w 131"/>
                  <a:gd name="T53" fmla="*/ 78 h 92"/>
                  <a:gd name="T54" fmla="*/ 0 w 131"/>
                  <a:gd name="T55" fmla="*/ 78 h 92"/>
                  <a:gd name="T56" fmla="*/ 1 w 131"/>
                  <a:gd name="T57" fmla="*/ 92 h 92"/>
                  <a:gd name="T58" fmla="*/ 93 w 131"/>
                  <a:gd name="T59" fmla="*/ 92 h 92"/>
                  <a:gd name="T60" fmla="*/ 93 w 131"/>
                  <a:gd name="T6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1" h="92">
                    <a:moveTo>
                      <a:pt x="93" y="92"/>
                    </a:moveTo>
                    <a:lnTo>
                      <a:pt x="93" y="92"/>
                    </a:lnTo>
                    <a:lnTo>
                      <a:pt x="93" y="92"/>
                    </a:lnTo>
                    <a:lnTo>
                      <a:pt x="93" y="82"/>
                    </a:lnTo>
                    <a:lnTo>
                      <a:pt x="96" y="71"/>
                    </a:lnTo>
                    <a:lnTo>
                      <a:pt x="99" y="60"/>
                    </a:lnTo>
                    <a:lnTo>
                      <a:pt x="103" y="51"/>
                    </a:lnTo>
                    <a:lnTo>
                      <a:pt x="109" y="42"/>
                    </a:lnTo>
                    <a:lnTo>
                      <a:pt x="115" y="34"/>
                    </a:lnTo>
                    <a:lnTo>
                      <a:pt x="123" y="27"/>
                    </a:lnTo>
                    <a:lnTo>
                      <a:pt x="131" y="20"/>
                    </a:lnTo>
                    <a:lnTo>
                      <a:pt x="131" y="20"/>
                    </a:lnTo>
                    <a:lnTo>
                      <a:pt x="120" y="12"/>
                    </a:lnTo>
                    <a:lnTo>
                      <a:pt x="107" y="6"/>
                    </a:lnTo>
                    <a:lnTo>
                      <a:pt x="93" y="2"/>
                    </a:lnTo>
                    <a:lnTo>
                      <a:pt x="79" y="0"/>
                    </a:lnTo>
                    <a:lnTo>
                      <a:pt x="79" y="0"/>
                    </a:lnTo>
                    <a:lnTo>
                      <a:pt x="71" y="0"/>
                    </a:lnTo>
                    <a:lnTo>
                      <a:pt x="63" y="2"/>
                    </a:lnTo>
                    <a:lnTo>
                      <a:pt x="48" y="6"/>
                    </a:lnTo>
                    <a:lnTo>
                      <a:pt x="35" y="14"/>
                    </a:lnTo>
                    <a:lnTo>
                      <a:pt x="23" y="23"/>
                    </a:lnTo>
                    <a:lnTo>
                      <a:pt x="13" y="34"/>
                    </a:lnTo>
                    <a:lnTo>
                      <a:pt x="5" y="47"/>
                    </a:lnTo>
                    <a:lnTo>
                      <a:pt x="1" y="62"/>
                    </a:lnTo>
                    <a:lnTo>
                      <a:pt x="0" y="70"/>
                    </a:lnTo>
                    <a:lnTo>
                      <a:pt x="0" y="78"/>
                    </a:lnTo>
                    <a:lnTo>
                      <a:pt x="0" y="78"/>
                    </a:lnTo>
                    <a:lnTo>
                      <a:pt x="1" y="92"/>
                    </a:lnTo>
                    <a:lnTo>
                      <a:pt x="93" y="92"/>
                    </a:lnTo>
                    <a:lnTo>
                      <a:pt x="93"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38" name="Freeform 41"/>
              <p:cNvSpPr>
                <a:spLocks/>
              </p:cNvSpPr>
              <p:nvPr/>
            </p:nvSpPr>
            <p:spPr bwMode="auto">
              <a:xfrm>
                <a:off x="8846409" y="6360117"/>
                <a:ext cx="115834" cy="52952"/>
              </a:xfrm>
              <a:custGeom>
                <a:avLst/>
                <a:gdLst>
                  <a:gd name="T0" fmla="*/ 0 w 107"/>
                  <a:gd name="T1" fmla="*/ 0 h 47"/>
                  <a:gd name="T2" fmla="*/ 0 w 107"/>
                  <a:gd name="T3" fmla="*/ 0 h 47"/>
                  <a:gd name="T4" fmla="*/ 6 w 107"/>
                  <a:gd name="T5" fmla="*/ 11 h 47"/>
                  <a:gd name="T6" fmla="*/ 13 w 107"/>
                  <a:gd name="T7" fmla="*/ 19 h 47"/>
                  <a:gd name="T8" fmla="*/ 21 w 107"/>
                  <a:gd name="T9" fmla="*/ 27 h 47"/>
                  <a:gd name="T10" fmla="*/ 29 w 107"/>
                  <a:gd name="T11" fmla="*/ 33 h 47"/>
                  <a:gd name="T12" fmla="*/ 38 w 107"/>
                  <a:gd name="T13" fmla="*/ 39 h 47"/>
                  <a:gd name="T14" fmla="*/ 49 w 107"/>
                  <a:gd name="T15" fmla="*/ 44 h 47"/>
                  <a:gd name="T16" fmla="*/ 61 w 107"/>
                  <a:gd name="T17" fmla="*/ 45 h 47"/>
                  <a:gd name="T18" fmla="*/ 73 w 107"/>
                  <a:gd name="T19" fmla="*/ 47 h 47"/>
                  <a:gd name="T20" fmla="*/ 73 w 107"/>
                  <a:gd name="T21" fmla="*/ 47 h 47"/>
                  <a:gd name="T22" fmla="*/ 81 w 107"/>
                  <a:gd name="T23" fmla="*/ 47 h 47"/>
                  <a:gd name="T24" fmla="*/ 90 w 107"/>
                  <a:gd name="T25" fmla="*/ 44 h 47"/>
                  <a:gd name="T26" fmla="*/ 99 w 107"/>
                  <a:gd name="T27" fmla="*/ 43 h 47"/>
                  <a:gd name="T28" fmla="*/ 107 w 107"/>
                  <a:gd name="T29" fmla="*/ 39 h 47"/>
                  <a:gd name="T30" fmla="*/ 107 w 107"/>
                  <a:gd name="T31" fmla="*/ 39 h 47"/>
                  <a:gd name="T32" fmla="*/ 101 w 107"/>
                  <a:gd name="T33" fmla="*/ 31 h 47"/>
                  <a:gd name="T34" fmla="*/ 95 w 107"/>
                  <a:gd name="T35" fmla="*/ 21 h 47"/>
                  <a:gd name="T36" fmla="*/ 91 w 107"/>
                  <a:gd name="T37" fmla="*/ 11 h 47"/>
                  <a:gd name="T38" fmla="*/ 89 w 107"/>
                  <a:gd name="T39" fmla="*/ 0 h 47"/>
                  <a:gd name="T40" fmla="*/ 0 w 107"/>
                  <a:gd name="T4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47">
                    <a:moveTo>
                      <a:pt x="0" y="0"/>
                    </a:moveTo>
                    <a:lnTo>
                      <a:pt x="0" y="0"/>
                    </a:lnTo>
                    <a:lnTo>
                      <a:pt x="6" y="11"/>
                    </a:lnTo>
                    <a:lnTo>
                      <a:pt x="13" y="19"/>
                    </a:lnTo>
                    <a:lnTo>
                      <a:pt x="21" y="27"/>
                    </a:lnTo>
                    <a:lnTo>
                      <a:pt x="29" y="33"/>
                    </a:lnTo>
                    <a:lnTo>
                      <a:pt x="38" y="39"/>
                    </a:lnTo>
                    <a:lnTo>
                      <a:pt x="49" y="44"/>
                    </a:lnTo>
                    <a:lnTo>
                      <a:pt x="61" y="45"/>
                    </a:lnTo>
                    <a:lnTo>
                      <a:pt x="73" y="47"/>
                    </a:lnTo>
                    <a:lnTo>
                      <a:pt x="73" y="47"/>
                    </a:lnTo>
                    <a:lnTo>
                      <a:pt x="81" y="47"/>
                    </a:lnTo>
                    <a:lnTo>
                      <a:pt x="90" y="44"/>
                    </a:lnTo>
                    <a:lnTo>
                      <a:pt x="99" y="43"/>
                    </a:lnTo>
                    <a:lnTo>
                      <a:pt x="107" y="39"/>
                    </a:lnTo>
                    <a:lnTo>
                      <a:pt x="107" y="39"/>
                    </a:lnTo>
                    <a:lnTo>
                      <a:pt x="101" y="31"/>
                    </a:lnTo>
                    <a:lnTo>
                      <a:pt x="95" y="21"/>
                    </a:lnTo>
                    <a:lnTo>
                      <a:pt x="91" y="11"/>
                    </a:lnTo>
                    <a:lnTo>
                      <a:pt x="89" y="0"/>
                    </a:lnTo>
                    <a:lnTo>
                      <a:pt x="0"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9" name="Freeform 42"/>
              <p:cNvSpPr>
                <a:spLocks/>
              </p:cNvSpPr>
              <p:nvPr/>
            </p:nvSpPr>
            <p:spPr bwMode="auto">
              <a:xfrm>
                <a:off x="7297549" y="6360117"/>
                <a:ext cx="122453" cy="59571"/>
              </a:xfrm>
              <a:custGeom>
                <a:avLst/>
                <a:gdLst>
                  <a:gd name="T0" fmla="*/ 0 w 110"/>
                  <a:gd name="T1" fmla="*/ 0 h 53"/>
                  <a:gd name="T2" fmla="*/ 0 w 110"/>
                  <a:gd name="T3" fmla="*/ 0 h 53"/>
                  <a:gd name="T4" fmla="*/ 6 w 110"/>
                  <a:gd name="T5" fmla="*/ 12 h 53"/>
                  <a:gd name="T6" fmla="*/ 11 w 110"/>
                  <a:gd name="T7" fmla="*/ 21 h 53"/>
                  <a:gd name="T8" fmla="*/ 19 w 110"/>
                  <a:gd name="T9" fmla="*/ 31 h 53"/>
                  <a:gd name="T10" fmla="*/ 28 w 110"/>
                  <a:gd name="T11" fmla="*/ 39 h 53"/>
                  <a:gd name="T12" fmla="*/ 39 w 110"/>
                  <a:gd name="T13" fmla="*/ 45 h 53"/>
                  <a:gd name="T14" fmla="*/ 50 w 110"/>
                  <a:gd name="T15" fmla="*/ 49 h 53"/>
                  <a:gd name="T16" fmla="*/ 62 w 110"/>
                  <a:gd name="T17" fmla="*/ 53 h 53"/>
                  <a:gd name="T18" fmla="*/ 75 w 110"/>
                  <a:gd name="T19" fmla="*/ 53 h 53"/>
                  <a:gd name="T20" fmla="*/ 75 w 110"/>
                  <a:gd name="T21" fmla="*/ 53 h 53"/>
                  <a:gd name="T22" fmla="*/ 85 w 110"/>
                  <a:gd name="T23" fmla="*/ 53 h 53"/>
                  <a:gd name="T24" fmla="*/ 93 w 110"/>
                  <a:gd name="T25" fmla="*/ 52 h 53"/>
                  <a:gd name="T26" fmla="*/ 102 w 110"/>
                  <a:gd name="T27" fmla="*/ 49 h 53"/>
                  <a:gd name="T28" fmla="*/ 110 w 110"/>
                  <a:gd name="T29" fmla="*/ 45 h 53"/>
                  <a:gd name="T30" fmla="*/ 110 w 110"/>
                  <a:gd name="T31" fmla="*/ 45 h 53"/>
                  <a:gd name="T32" fmla="*/ 103 w 110"/>
                  <a:gd name="T33" fmla="*/ 36 h 53"/>
                  <a:gd name="T34" fmla="*/ 97 w 110"/>
                  <a:gd name="T35" fmla="*/ 25 h 53"/>
                  <a:gd name="T36" fmla="*/ 93 w 110"/>
                  <a:gd name="T37" fmla="*/ 13 h 53"/>
                  <a:gd name="T38" fmla="*/ 90 w 110"/>
                  <a:gd name="T39" fmla="*/ 0 h 53"/>
                  <a:gd name="T40" fmla="*/ 0 w 110"/>
                  <a:gd name="T41"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53">
                    <a:moveTo>
                      <a:pt x="0" y="0"/>
                    </a:moveTo>
                    <a:lnTo>
                      <a:pt x="0" y="0"/>
                    </a:lnTo>
                    <a:lnTo>
                      <a:pt x="6" y="12"/>
                    </a:lnTo>
                    <a:lnTo>
                      <a:pt x="11" y="21"/>
                    </a:lnTo>
                    <a:lnTo>
                      <a:pt x="19" y="31"/>
                    </a:lnTo>
                    <a:lnTo>
                      <a:pt x="28" y="39"/>
                    </a:lnTo>
                    <a:lnTo>
                      <a:pt x="39" y="45"/>
                    </a:lnTo>
                    <a:lnTo>
                      <a:pt x="50" y="49"/>
                    </a:lnTo>
                    <a:lnTo>
                      <a:pt x="62" y="53"/>
                    </a:lnTo>
                    <a:lnTo>
                      <a:pt x="75" y="53"/>
                    </a:lnTo>
                    <a:lnTo>
                      <a:pt x="75" y="53"/>
                    </a:lnTo>
                    <a:lnTo>
                      <a:pt x="85" y="53"/>
                    </a:lnTo>
                    <a:lnTo>
                      <a:pt x="93" y="52"/>
                    </a:lnTo>
                    <a:lnTo>
                      <a:pt x="102" y="49"/>
                    </a:lnTo>
                    <a:lnTo>
                      <a:pt x="110" y="45"/>
                    </a:lnTo>
                    <a:lnTo>
                      <a:pt x="110" y="45"/>
                    </a:lnTo>
                    <a:lnTo>
                      <a:pt x="103" y="36"/>
                    </a:lnTo>
                    <a:lnTo>
                      <a:pt x="97" y="25"/>
                    </a:lnTo>
                    <a:lnTo>
                      <a:pt x="93" y="13"/>
                    </a:lnTo>
                    <a:lnTo>
                      <a:pt x="90" y="0"/>
                    </a:lnTo>
                    <a:lnTo>
                      <a:pt x="0"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40" name="Freeform 43"/>
              <p:cNvSpPr>
                <a:spLocks/>
              </p:cNvSpPr>
              <p:nvPr/>
            </p:nvSpPr>
            <p:spPr bwMode="auto">
              <a:xfrm>
                <a:off x="7294241" y="6247594"/>
                <a:ext cx="145619" cy="92667"/>
              </a:xfrm>
              <a:custGeom>
                <a:avLst/>
                <a:gdLst>
                  <a:gd name="T0" fmla="*/ 94 w 131"/>
                  <a:gd name="T1" fmla="*/ 85 h 85"/>
                  <a:gd name="T2" fmla="*/ 94 w 131"/>
                  <a:gd name="T3" fmla="*/ 85 h 85"/>
                  <a:gd name="T4" fmla="*/ 95 w 131"/>
                  <a:gd name="T5" fmla="*/ 76 h 85"/>
                  <a:gd name="T6" fmla="*/ 98 w 131"/>
                  <a:gd name="T7" fmla="*/ 65 h 85"/>
                  <a:gd name="T8" fmla="*/ 102 w 131"/>
                  <a:gd name="T9" fmla="*/ 57 h 85"/>
                  <a:gd name="T10" fmla="*/ 106 w 131"/>
                  <a:gd name="T11" fmla="*/ 48 h 85"/>
                  <a:gd name="T12" fmla="*/ 111 w 131"/>
                  <a:gd name="T13" fmla="*/ 40 h 85"/>
                  <a:gd name="T14" fmla="*/ 118 w 131"/>
                  <a:gd name="T15" fmla="*/ 33 h 85"/>
                  <a:gd name="T16" fmla="*/ 125 w 131"/>
                  <a:gd name="T17" fmla="*/ 27 h 85"/>
                  <a:gd name="T18" fmla="*/ 131 w 131"/>
                  <a:gd name="T19" fmla="*/ 20 h 85"/>
                  <a:gd name="T20" fmla="*/ 131 w 131"/>
                  <a:gd name="T21" fmla="*/ 20 h 85"/>
                  <a:gd name="T22" fmla="*/ 121 w 131"/>
                  <a:gd name="T23" fmla="*/ 12 h 85"/>
                  <a:gd name="T24" fmla="*/ 107 w 131"/>
                  <a:gd name="T25" fmla="*/ 5 h 85"/>
                  <a:gd name="T26" fmla="*/ 94 w 131"/>
                  <a:gd name="T27" fmla="*/ 1 h 85"/>
                  <a:gd name="T28" fmla="*/ 79 w 131"/>
                  <a:gd name="T29" fmla="*/ 0 h 85"/>
                  <a:gd name="T30" fmla="*/ 79 w 131"/>
                  <a:gd name="T31" fmla="*/ 0 h 85"/>
                  <a:gd name="T32" fmla="*/ 71 w 131"/>
                  <a:gd name="T33" fmla="*/ 0 h 85"/>
                  <a:gd name="T34" fmla="*/ 63 w 131"/>
                  <a:gd name="T35" fmla="*/ 1 h 85"/>
                  <a:gd name="T36" fmla="*/ 48 w 131"/>
                  <a:gd name="T37" fmla="*/ 7 h 85"/>
                  <a:gd name="T38" fmla="*/ 35 w 131"/>
                  <a:gd name="T39" fmla="*/ 13 h 85"/>
                  <a:gd name="T40" fmla="*/ 23 w 131"/>
                  <a:gd name="T41" fmla="*/ 23 h 85"/>
                  <a:gd name="T42" fmla="*/ 14 w 131"/>
                  <a:gd name="T43" fmla="*/ 35 h 85"/>
                  <a:gd name="T44" fmla="*/ 7 w 131"/>
                  <a:gd name="T45" fmla="*/ 48 h 85"/>
                  <a:gd name="T46" fmla="*/ 2 w 131"/>
                  <a:gd name="T47" fmla="*/ 63 h 85"/>
                  <a:gd name="T48" fmla="*/ 0 w 131"/>
                  <a:gd name="T49" fmla="*/ 71 h 85"/>
                  <a:gd name="T50" fmla="*/ 0 w 131"/>
                  <a:gd name="T51" fmla="*/ 79 h 85"/>
                  <a:gd name="T52" fmla="*/ 0 w 131"/>
                  <a:gd name="T53" fmla="*/ 79 h 85"/>
                  <a:gd name="T54" fmla="*/ 0 w 131"/>
                  <a:gd name="T55" fmla="*/ 85 h 85"/>
                  <a:gd name="T56" fmla="*/ 94 w 131"/>
                  <a:gd name="T57" fmla="*/ 85 h 85"/>
                  <a:gd name="T58" fmla="*/ 94 w 131"/>
                  <a:gd name="T5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1" h="85">
                    <a:moveTo>
                      <a:pt x="94" y="85"/>
                    </a:moveTo>
                    <a:lnTo>
                      <a:pt x="94" y="85"/>
                    </a:lnTo>
                    <a:lnTo>
                      <a:pt x="95" y="76"/>
                    </a:lnTo>
                    <a:lnTo>
                      <a:pt x="98" y="65"/>
                    </a:lnTo>
                    <a:lnTo>
                      <a:pt x="102" y="57"/>
                    </a:lnTo>
                    <a:lnTo>
                      <a:pt x="106" y="48"/>
                    </a:lnTo>
                    <a:lnTo>
                      <a:pt x="111" y="40"/>
                    </a:lnTo>
                    <a:lnTo>
                      <a:pt x="118" y="33"/>
                    </a:lnTo>
                    <a:lnTo>
                      <a:pt x="125" y="27"/>
                    </a:lnTo>
                    <a:lnTo>
                      <a:pt x="131" y="20"/>
                    </a:lnTo>
                    <a:lnTo>
                      <a:pt x="131" y="20"/>
                    </a:lnTo>
                    <a:lnTo>
                      <a:pt x="121" y="12"/>
                    </a:lnTo>
                    <a:lnTo>
                      <a:pt x="107" y="5"/>
                    </a:lnTo>
                    <a:lnTo>
                      <a:pt x="94" y="1"/>
                    </a:lnTo>
                    <a:lnTo>
                      <a:pt x="79" y="0"/>
                    </a:lnTo>
                    <a:lnTo>
                      <a:pt x="79" y="0"/>
                    </a:lnTo>
                    <a:lnTo>
                      <a:pt x="71" y="0"/>
                    </a:lnTo>
                    <a:lnTo>
                      <a:pt x="63" y="1"/>
                    </a:lnTo>
                    <a:lnTo>
                      <a:pt x="48" y="7"/>
                    </a:lnTo>
                    <a:lnTo>
                      <a:pt x="35" y="13"/>
                    </a:lnTo>
                    <a:lnTo>
                      <a:pt x="23" y="23"/>
                    </a:lnTo>
                    <a:lnTo>
                      <a:pt x="14" y="35"/>
                    </a:lnTo>
                    <a:lnTo>
                      <a:pt x="7" y="48"/>
                    </a:lnTo>
                    <a:lnTo>
                      <a:pt x="2" y="63"/>
                    </a:lnTo>
                    <a:lnTo>
                      <a:pt x="0" y="71"/>
                    </a:lnTo>
                    <a:lnTo>
                      <a:pt x="0" y="79"/>
                    </a:lnTo>
                    <a:lnTo>
                      <a:pt x="0" y="79"/>
                    </a:lnTo>
                    <a:lnTo>
                      <a:pt x="0" y="85"/>
                    </a:lnTo>
                    <a:lnTo>
                      <a:pt x="94" y="85"/>
                    </a:lnTo>
                    <a:lnTo>
                      <a:pt x="94"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41" name="Freeform 44"/>
              <p:cNvSpPr>
                <a:spLocks/>
              </p:cNvSpPr>
              <p:nvPr/>
            </p:nvSpPr>
            <p:spPr bwMode="auto">
              <a:xfrm>
                <a:off x="7416692" y="6267451"/>
                <a:ext cx="155548" cy="72809"/>
              </a:xfrm>
              <a:custGeom>
                <a:avLst/>
                <a:gdLst>
                  <a:gd name="T0" fmla="*/ 143 w 143"/>
                  <a:gd name="T1" fmla="*/ 68 h 68"/>
                  <a:gd name="T2" fmla="*/ 143 w 143"/>
                  <a:gd name="T3" fmla="*/ 68 h 68"/>
                  <a:gd name="T4" fmla="*/ 140 w 143"/>
                  <a:gd name="T5" fmla="*/ 55 h 68"/>
                  <a:gd name="T6" fmla="*/ 136 w 143"/>
                  <a:gd name="T7" fmla="*/ 42 h 68"/>
                  <a:gd name="T8" fmla="*/ 130 w 143"/>
                  <a:gd name="T9" fmla="*/ 31 h 68"/>
                  <a:gd name="T10" fmla="*/ 120 w 143"/>
                  <a:gd name="T11" fmla="*/ 20 h 68"/>
                  <a:gd name="T12" fmla="*/ 110 w 143"/>
                  <a:gd name="T13" fmla="*/ 12 h 68"/>
                  <a:gd name="T14" fmla="*/ 99 w 143"/>
                  <a:gd name="T15" fmla="*/ 6 h 68"/>
                  <a:gd name="T16" fmla="*/ 86 w 143"/>
                  <a:gd name="T17" fmla="*/ 2 h 68"/>
                  <a:gd name="T18" fmla="*/ 71 w 143"/>
                  <a:gd name="T19" fmla="*/ 0 h 68"/>
                  <a:gd name="T20" fmla="*/ 71 w 143"/>
                  <a:gd name="T21" fmla="*/ 0 h 68"/>
                  <a:gd name="T22" fmla="*/ 57 w 143"/>
                  <a:gd name="T23" fmla="*/ 2 h 68"/>
                  <a:gd name="T24" fmla="*/ 44 w 143"/>
                  <a:gd name="T25" fmla="*/ 6 h 68"/>
                  <a:gd name="T26" fmla="*/ 32 w 143"/>
                  <a:gd name="T27" fmla="*/ 12 h 68"/>
                  <a:gd name="T28" fmla="*/ 21 w 143"/>
                  <a:gd name="T29" fmla="*/ 20 h 68"/>
                  <a:gd name="T30" fmla="*/ 13 w 143"/>
                  <a:gd name="T31" fmla="*/ 31 h 68"/>
                  <a:gd name="T32" fmla="*/ 7 w 143"/>
                  <a:gd name="T33" fmla="*/ 42 h 68"/>
                  <a:gd name="T34" fmla="*/ 1 w 143"/>
                  <a:gd name="T35" fmla="*/ 55 h 68"/>
                  <a:gd name="T36" fmla="*/ 0 w 143"/>
                  <a:gd name="T37" fmla="*/ 68 h 68"/>
                  <a:gd name="T38" fmla="*/ 143 w 143"/>
                  <a:gd name="T3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68">
                    <a:moveTo>
                      <a:pt x="143" y="68"/>
                    </a:moveTo>
                    <a:lnTo>
                      <a:pt x="143" y="68"/>
                    </a:lnTo>
                    <a:lnTo>
                      <a:pt x="140" y="55"/>
                    </a:lnTo>
                    <a:lnTo>
                      <a:pt x="136" y="42"/>
                    </a:lnTo>
                    <a:lnTo>
                      <a:pt x="130" y="31"/>
                    </a:lnTo>
                    <a:lnTo>
                      <a:pt x="120" y="20"/>
                    </a:lnTo>
                    <a:lnTo>
                      <a:pt x="110" y="12"/>
                    </a:lnTo>
                    <a:lnTo>
                      <a:pt x="99" y="6"/>
                    </a:lnTo>
                    <a:lnTo>
                      <a:pt x="86" y="2"/>
                    </a:lnTo>
                    <a:lnTo>
                      <a:pt x="71" y="0"/>
                    </a:lnTo>
                    <a:lnTo>
                      <a:pt x="71" y="0"/>
                    </a:lnTo>
                    <a:lnTo>
                      <a:pt x="57" y="2"/>
                    </a:lnTo>
                    <a:lnTo>
                      <a:pt x="44" y="6"/>
                    </a:lnTo>
                    <a:lnTo>
                      <a:pt x="32" y="12"/>
                    </a:lnTo>
                    <a:lnTo>
                      <a:pt x="21" y="20"/>
                    </a:lnTo>
                    <a:lnTo>
                      <a:pt x="13" y="31"/>
                    </a:lnTo>
                    <a:lnTo>
                      <a:pt x="7" y="42"/>
                    </a:lnTo>
                    <a:lnTo>
                      <a:pt x="1" y="55"/>
                    </a:lnTo>
                    <a:lnTo>
                      <a:pt x="0" y="68"/>
                    </a:lnTo>
                    <a:lnTo>
                      <a:pt x="143" y="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42" name="Freeform 45"/>
              <p:cNvSpPr>
                <a:spLocks/>
              </p:cNvSpPr>
              <p:nvPr/>
            </p:nvSpPr>
            <p:spPr bwMode="auto">
              <a:xfrm>
                <a:off x="7416692" y="6360117"/>
                <a:ext cx="155548" cy="62882"/>
              </a:xfrm>
              <a:custGeom>
                <a:avLst/>
                <a:gdLst>
                  <a:gd name="T0" fmla="*/ 0 w 141"/>
                  <a:gd name="T1" fmla="*/ 0 h 57"/>
                  <a:gd name="T2" fmla="*/ 0 w 141"/>
                  <a:gd name="T3" fmla="*/ 0 h 57"/>
                  <a:gd name="T4" fmla="*/ 3 w 141"/>
                  <a:gd name="T5" fmla="*/ 12 h 57"/>
                  <a:gd name="T6" fmla="*/ 8 w 141"/>
                  <a:gd name="T7" fmla="*/ 23 h 57"/>
                  <a:gd name="T8" fmla="*/ 16 w 141"/>
                  <a:gd name="T9" fmla="*/ 33 h 57"/>
                  <a:gd name="T10" fmla="*/ 24 w 141"/>
                  <a:gd name="T11" fmla="*/ 41 h 57"/>
                  <a:gd name="T12" fmla="*/ 34 w 141"/>
                  <a:gd name="T13" fmla="*/ 48 h 57"/>
                  <a:gd name="T14" fmla="*/ 46 w 141"/>
                  <a:gd name="T15" fmla="*/ 53 h 57"/>
                  <a:gd name="T16" fmla="*/ 58 w 141"/>
                  <a:gd name="T17" fmla="*/ 57 h 57"/>
                  <a:gd name="T18" fmla="*/ 70 w 141"/>
                  <a:gd name="T19" fmla="*/ 57 h 57"/>
                  <a:gd name="T20" fmla="*/ 70 w 141"/>
                  <a:gd name="T21" fmla="*/ 57 h 57"/>
                  <a:gd name="T22" fmla="*/ 83 w 141"/>
                  <a:gd name="T23" fmla="*/ 57 h 57"/>
                  <a:gd name="T24" fmla="*/ 95 w 141"/>
                  <a:gd name="T25" fmla="*/ 53 h 57"/>
                  <a:gd name="T26" fmla="*/ 106 w 141"/>
                  <a:gd name="T27" fmla="*/ 48 h 57"/>
                  <a:gd name="T28" fmla="*/ 117 w 141"/>
                  <a:gd name="T29" fmla="*/ 41 h 57"/>
                  <a:gd name="T30" fmla="*/ 125 w 141"/>
                  <a:gd name="T31" fmla="*/ 33 h 57"/>
                  <a:gd name="T32" fmla="*/ 131 w 141"/>
                  <a:gd name="T33" fmla="*/ 23 h 57"/>
                  <a:gd name="T34" fmla="*/ 137 w 141"/>
                  <a:gd name="T35" fmla="*/ 12 h 57"/>
                  <a:gd name="T36" fmla="*/ 141 w 141"/>
                  <a:gd name="T37" fmla="*/ 0 h 57"/>
                  <a:gd name="T38" fmla="*/ 0 w 141"/>
                  <a:gd name="T39" fmla="*/ 0 h 57"/>
                  <a:gd name="T40" fmla="*/ 0 w 141"/>
                  <a:gd name="T4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 h="57">
                    <a:moveTo>
                      <a:pt x="0" y="0"/>
                    </a:moveTo>
                    <a:lnTo>
                      <a:pt x="0" y="0"/>
                    </a:lnTo>
                    <a:lnTo>
                      <a:pt x="3" y="12"/>
                    </a:lnTo>
                    <a:lnTo>
                      <a:pt x="8" y="23"/>
                    </a:lnTo>
                    <a:lnTo>
                      <a:pt x="16" y="33"/>
                    </a:lnTo>
                    <a:lnTo>
                      <a:pt x="24" y="41"/>
                    </a:lnTo>
                    <a:lnTo>
                      <a:pt x="34" y="48"/>
                    </a:lnTo>
                    <a:lnTo>
                      <a:pt x="46" y="53"/>
                    </a:lnTo>
                    <a:lnTo>
                      <a:pt x="58" y="57"/>
                    </a:lnTo>
                    <a:lnTo>
                      <a:pt x="70" y="57"/>
                    </a:lnTo>
                    <a:lnTo>
                      <a:pt x="70" y="57"/>
                    </a:lnTo>
                    <a:lnTo>
                      <a:pt x="83" y="57"/>
                    </a:lnTo>
                    <a:lnTo>
                      <a:pt x="95" y="53"/>
                    </a:lnTo>
                    <a:lnTo>
                      <a:pt x="106" y="48"/>
                    </a:lnTo>
                    <a:lnTo>
                      <a:pt x="117" y="41"/>
                    </a:lnTo>
                    <a:lnTo>
                      <a:pt x="125" y="33"/>
                    </a:lnTo>
                    <a:lnTo>
                      <a:pt x="131" y="23"/>
                    </a:lnTo>
                    <a:lnTo>
                      <a:pt x="137" y="12"/>
                    </a:lnTo>
                    <a:lnTo>
                      <a:pt x="141" y="0"/>
                    </a:lnTo>
                    <a:lnTo>
                      <a:pt x="0" y="0"/>
                    </a:lnTo>
                    <a:lnTo>
                      <a:pt x="0"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43" name="Freeform 46"/>
              <p:cNvSpPr>
                <a:spLocks noEditPoints="1"/>
              </p:cNvSpPr>
              <p:nvPr/>
            </p:nvSpPr>
            <p:spPr bwMode="auto">
              <a:xfrm>
                <a:off x="7079121" y="5688284"/>
                <a:ext cx="2131337" cy="476573"/>
              </a:xfrm>
              <a:custGeom>
                <a:avLst/>
                <a:gdLst>
                  <a:gd name="T0" fmla="*/ 1931 w 1933"/>
                  <a:gd name="T1" fmla="*/ 86 h 431"/>
                  <a:gd name="T2" fmla="*/ 1921 w 1933"/>
                  <a:gd name="T3" fmla="*/ 32 h 431"/>
                  <a:gd name="T4" fmla="*/ 1895 w 1933"/>
                  <a:gd name="T5" fmla="*/ 6 h 431"/>
                  <a:gd name="T6" fmla="*/ 379 w 1933"/>
                  <a:gd name="T7" fmla="*/ 0 h 431"/>
                  <a:gd name="T8" fmla="*/ 342 w 1933"/>
                  <a:gd name="T9" fmla="*/ 6 h 431"/>
                  <a:gd name="T10" fmla="*/ 290 w 1933"/>
                  <a:gd name="T11" fmla="*/ 35 h 431"/>
                  <a:gd name="T12" fmla="*/ 235 w 1933"/>
                  <a:gd name="T13" fmla="*/ 95 h 431"/>
                  <a:gd name="T14" fmla="*/ 111 w 1933"/>
                  <a:gd name="T15" fmla="*/ 260 h 431"/>
                  <a:gd name="T16" fmla="*/ 9 w 1933"/>
                  <a:gd name="T17" fmla="*/ 407 h 431"/>
                  <a:gd name="T18" fmla="*/ 1933 w 1933"/>
                  <a:gd name="T19" fmla="*/ 139 h 431"/>
                  <a:gd name="T20" fmla="*/ 599 w 1933"/>
                  <a:gd name="T21" fmla="*/ 304 h 431"/>
                  <a:gd name="T22" fmla="*/ 580 w 1933"/>
                  <a:gd name="T23" fmla="*/ 332 h 431"/>
                  <a:gd name="T24" fmla="*/ 232 w 1933"/>
                  <a:gd name="T25" fmla="*/ 339 h 431"/>
                  <a:gd name="T26" fmla="*/ 198 w 1933"/>
                  <a:gd name="T27" fmla="*/ 331 h 431"/>
                  <a:gd name="T28" fmla="*/ 187 w 1933"/>
                  <a:gd name="T29" fmla="*/ 302 h 431"/>
                  <a:gd name="T30" fmla="*/ 195 w 1933"/>
                  <a:gd name="T31" fmla="*/ 282 h 431"/>
                  <a:gd name="T32" fmla="*/ 334 w 1933"/>
                  <a:gd name="T33" fmla="*/ 99 h 431"/>
                  <a:gd name="T34" fmla="*/ 373 w 1933"/>
                  <a:gd name="T35" fmla="*/ 61 h 431"/>
                  <a:gd name="T36" fmla="*/ 561 w 1933"/>
                  <a:gd name="T37" fmla="*/ 57 h 431"/>
                  <a:gd name="T38" fmla="*/ 592 w 1933"/>
                  <a:gd name="T39" fmla="*/ 70 h 431"/>
                  <a:gd name="T40" fmla="*/ 605 w 1933"/>
                  <a:gd name="T41" fmla="*/ 101 h 431"/>
                  <a:gd name="T42" fmla="*/ 1069 w 1933"/>
                  <a:gd name="T43" fmla="*/ 290 h 431"/>
                  <a:gd name="T44" fmla="*/ 1049 w 1933"/>
                  <a:gd name="T45" fmla="*/ 328 h 431"/>
                  <a:gd name="T46" fmla="*/ 895 w 1933"/>
                  <a:gd name="T47" fmla="*/ 337 h 431"/>
                  <a:gd name="T48" fmla="*/ 870 w 1933"/>
                  <a:gd name="T49" fmla="*/ 328 h 431"/>
                  <a:gd name="T50" fmla="*/ 850 w 1933"/>
                  <a:gd name="T51" fmla="*/ 290 h 431"/>
                  <a:gd name="T52" fmla="*/ 850 w 1933"/>
                  <a:gd name="T53" fmla="*/ 99 h 431"/>
                  <a:gd name="T54" fmla="*/ 870 w 1933"/>
                  <a:gd name="T55" fmla="*/ 63 h 431"/>
                  <a:gd name="T56" fmla="*/ 1024 w 1933"/>
                  <a:gd name="T57" fmla="*/ 53 h 431"/>
                  <a:gd name="T58" fmla="*/ 1049 w 1933"/>
                  <a:gd name="T59" fmla="*/ 63 h 431"/>
                  <a:gd name="T60" fmla="*/ 1069 w 1933"/>
                  <a:gd name="T61" fmla="*/ 99 h 431"/>
                  <a:gd name="T62" fmla="*/ 1426 w 1933"/>
                  <a:gd name="T63" fmla="*/ 278 h 431"/>
                  <a:gd name="T64" fmla="*/ 1413 w 1933"/>
                  <a:gd name="T65" fmla="*/ 320 h 431"/>
                  <a:gd name="T66" fmla="*/ 1379 w 1933"/>
                  <a:gd name="T67" fmla="*/ 337 h 431"/>
                  <a:gd name="T68" fmla="*/ 1234 w 1933"/>
                  <a:gd name="T69" fmla="*/ 333 h 431"/>
                  <a:gd name="T70" fmla="*/ 1210 w 1933"/>
                  <a:gd name="T71" fmla="*/ 301 h 431"/>
                  <a:gd name="T72" fmla="*/ 1206 w 1933"/>
                  <a:gd name="T73" fmla="*/ 111 h 431"/>
                  <a:gd name="T74" fmla="*/ 1219 w 1933"/>
                  <a:gd name="T75" fmla="*/ 70 h 431"/>
                  <a:gd name="T76" fmla="*/ 1251 w 1933"/>
                  <a:gd name="T77" fmla="*/ 53 h 431"/>
                  <a:gd name="T78" fmla="*/ 1398 w 1933"/>
                  <a:gd name="T79" fmla="*/ 57 h 431"/>
                  <a:gd name="T80" fmla="*/ 1422 w 1933"/>
                  <a:gd name="T81" fmla="*/ 89 h 431"/>
                  <a:gd name="T82" fmla="*/ 1770 w 1933"/>
                  <a:gd name="T83" fmla="*/ 278 h 431"/>
                  <a:gd name="T84" fmla="*/ 1762 w 1933"/>
                  <a:gd name="T85" fmla="*/ 312 h 431"/>
                  <a:gd name="T86" fmla="*/ 1732 w 1933"/>
                  <a:gd name="T87" fmla="*/ 337 h 431"/>
                  <a:gd name="T88" fmla="*/ 1585 w 1933"/>
                  <a:gd name="T89" fmla="*/ 337 h 431"/>
                  <a:gd name="T90" fmla="*/ 1557 w 1933"/>
                  <a:gd name="T91" fmla="*/ 312 h 431"/>
                  <a:gd name="T92" fmla="*/ 1549 w 1933"/>
                  <a:gd name="T93" fmla="*/ 111 h 431"/>
                  <a:gd name="T94" fmla="*/ 1557 w 1933"/>
                  <a:gd name="T95" fmla="*/ 79 h 431"/>
                  <a:gd name="T96" fmla="*/ 1585 w 1933"/>
                  <a:gd name="T97" fmla="*/ 54 h 431"/>
                  <a:gd name="T98" fmla="*/ 1732 w 1933"/>
                  <a:gd name="T99" fmla="*/ 54 h 431"/>
                  <a:gd name="T100" fmla="*/ 1762 w 1933"/>
                  <a:gd name="T101" fmla="*/ 79 h 431"/>
                  <a:gd name="T102" fmla="*/ 1770 w 1933"/>
                  <a:gd name="T103" fmla="*/ 278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33" h="431">
                    <a:moveTo>
                      <a:pt x="1933" y="139"/>
                    </a:moveTo>
                    <a:lnTo>
                      <a:pt x="1933" y="139"/>
                    </a:lnTo>
                    <a:lnTo>
                      <a:pt x="1933" y="111"/>
                    </a:lnTo>
                    <a:lnTo>
                      <a:pt x="1931" y="86"/>
                    </a:lnTo>
                    <a:lnTo>
                      <a:pt x="1930" y="62"/>
                    </a:lnTo>
                    <a:lnTo>
                      <a:pt x="1927" y="51"/>
                    </a:lnTo>
                    <a:lnTo>
                      <a:pt x="1925" y="40"/>
                    </a:lnTo>
                    <a:lnTo>
                      <a:pt x="1921" y="32"/>
                    </a:lnTo>
                    <a:lnTo>
                      <a:pt x="1917" y="24"/>
                    </a:lnTo>
                    <a:lnTo>
                      <a:pt x="1910" y="16"/>
                    </a:lnTo>
                    <a:lnTo>
                      <a:pt x="1903" y="11"/>
                    </a:lnTo>
                    <a:lnTo>
                      <a:pt x="1895" y="6"/>
                    </a:lnTo>
                    <a:lnTo>
                      <a:pt x="1885" y="3"/>
                    </a:lnTo>
                    <a:lnTo>
                      <a:pt x="1872" y="0"/>
                    </a:lnTo>
                    <a:lnTo>
                      <a:pt x="1859" y="0"/>
                    </a:lnTo>
                    <a:lnTo>
                      <a:pt x="379" y="0"/>
                    </a:lnTo>
                    <a:lnTo>
                      <a:pt x="379" y="0"/>
                    </a:lnTo>
                    <a:lnTo>
                      <a:pt x="366" y="0"/>
                    </a:lnTo>
                    <a:lnTo>
                      <a:pt x="354" y="3"/>
                    </a:lnTo>
                    <a:lnTo>
                      <a:pt x="342" y="6"/>
                    </a:lnTo>
                    <a:lnTo>
                      <a:pt x="330" y="10"/>
                    </a:lnTo>
                    <a:lnTo>
                      <a:pt x="319" y="15"/>
                    </a:lnTo>
                    <a:lnTo>
                      <a:pt x="309" y="22"/>
                    </a:lnTo>
                    <a:lnTo>
                      <a:pt x="290" y="35"/>
                    </a:lnTo>
                    <a:lnTo>
                      <a:pt x="273" y="50"/>
                    </a:lnTo>
                    <a:lnTo>
                      <a:pt x="258" y="66"/>
                    </a:lnTo>
                    <a:lnTo>
                      <a:pt x="246" y="81"/>
                    </a:lnTo>
                    <a:lnTo>
                      <a:pt x="235" y="95"/>
                    </a:lnTo>
                    <a:lnTo>
                      <a:pt x="230" y="101"/>
                    </a:lnTo>
                    <a:lnTo>
                      <a:pt x="230" y="101"/>
                    </a:lnTo>
                    <a:lnTo>
                      <a:pt x="163" y="190"/>
                    </a:lnTo>
                    <a:lnTo>
                      <a:pt x="111" y="260"/>
                    </a:lnTo>
                    <a:lnTo>
                      <a:pt x="71" y="314"/>
                    </a:lnTo>
                    <a:lnTo>
                      <a:pt x="43" y="356"/>
                    </a:lnTo>
                    <a:lnTo>
                      <a:pt x="23" y="387"/>
                    </a:lnTo>
                    <a:lnTo>
                      <a:pt x="9" y="407"/>
                    </a:lnTo>
                    <a:lnTo>
                      <a:pt x="3" y="421"/>
                    </a:lnTo>
                    <a:lnTo>
                      <a:pt x="0" y="431"/>
                    </a:lnTo>
                    <a:lnTo>
                      <a:pt x="1933" y="431"/>
                    </a:lnTo>
                    <a:lnTo>
                      <a:pt x="1933" y="139"/>
                    </a:lnTo>
                    <a:close/>
                    <a:moveTo>
                      <a:pt x="605" y="101"/>
                    </a:moveTo>
                    <a:lnTo>
                      <a:pt x="600" y="296"/>
                    </a:lnTo>
                    <a:lnTo>
                      <a:pt x="600" y="296"/>
                    </a:lnTo>
                    <a:lnTo>
                      <a:pt x="599" y="304"/>
                    </a:lnTo>
                    <a:lnTo>
                      <a:pt x="596" y="312"/>
                    </a:lnTo>
                    <a:lnTo>
                      <a:pt x="592" y="320"/>
                    </a:lnTo>
                    <a:lnTo>
                      <a:pt x="587" y="326"/>
                    </a:lnTo>
                    <a:lnTo>
                      <a:pt x="580" y="332"/>
                    </a:lnTo>
                    <a:lnTo>
                      <a:pt x="573" y="336"/>
                    </a:lnTo>
                    <a:lnTo>
                      <a:pt x="564" y="339"/>
                    </a:lnTo>
                    <a:lnTo>
                      <a:pt x="556" y="339"/>
                    </a:lnTo>
                    <a:lnTo>
                      <a:pt x="232" y="339"/>
                    </a:lnTo>
                    <a:lnTo>
                      <a:pt x="232" y="339"/>
                    </a:lnTo>
                    <a:lnTo>
                      <a:pt x="218" y="337"/>
                    </a:lnTo>
                    <a:lnTo>
                      <a:pt x="206" y="335"/>
                    </a:lnTo>
                    <a:lnTo>
                      <a:pt x="198" y="331"/>
                    </a:lnTo>
                    <a:lnTo>
                      <a:pt x="192" y="324"/>
                    </a:lnTo>
                    <a:lnTo>
                      <a:pt x="188" y="317"/>
                    </a:lnTo>
                    <a:lnTo>
                      <a:pt x="187" y="310"/>
                    </a:lnTo>
                    <a:lnTo>
                      <a:pt x="187" y="302"/>
                    </a:lnTo>
                    <a:lnTo>
                      <a:pt x="188" y="296"/>
                    </a:lnTo>
                    <a:lnTo>
                      <a:pt x="188" y="296"/>
                    </a:lnTo>
                    <a:lnTo>
                      <a:pt x="191" y="290"/>
                    </a:lnTo>
                    <a:lnTo>
                      <a:pt x="195" y="282"/>
                    </a:lnTo>
                    <a:lnTo>
                      <a:pt x="211" y="258"/>
                    </a:lnTo>
                    <a:lnTo>
                      <a:pt x="258" y="197"/>
                    </a:lnTo>
                    <a:lnTo>
                      <a:pt x="334" y="99"/>
                    </a:lnTo>
                    <a:lnTo>
                      <a:pt x="334" y="99"/>
                    </a:lnTo>
                    <a:lnTo>
                      <a:pt x="345" y="86"/>
                    </a:lnTo>
                    <a:lnTo>
                      <a:pt x="358" y="71"/>
                    </a:lnTo>
                    <a:lnTo>
                      <a:pt x="365" y="66"/>
                    </a:lnTo>
                    <a:lnTo>
                      <a:pt x="373" y="61"/>
                    </a:lnTo>
                    <a:lnTo>
                      <a:pt x="381" y="58"/>
                    </a:lnTo>
                    <a:lnTo>
                      <a:pt x="390" y="57"/>
                    </a:lnTo>
                    <a:lnTo>
                      <a:pt x="561" y="57"/>
                    </a:lnTo>
                    <a:lnTo>
                      <a:pt x="561" y="57"/>
                    </a:lnTo>
                    <a:lnTo>
                      <a:pt x="571" y="58"/>
                    </a:lnTo>
                    <a:lnTo>
                      <a:pt x="579" y="61"/>
                    </a:lnTo>
                    <a:lnTo>
                      <a:pt x="585" y="65"/>
                    </a:lnTo>
                    <a:lnTo>
                      <a:pt x="592" y="70"/>
                    </a:lnTo>
                    <a:lnTo>
                      <a:pt x="597" y="77"/>
                    </a:lnTo>
                    <a:lnTo>
                      <a:pt x="601" y="83"/>
                    </a:lnTo>
                    <a:lnTo>
                      <a:pt x="604" y="91"/>
                    </a:lnTo>
                    <a:lnTo>
                      <a:pt x="605" y="101"/>
                    </a:lnTo>
                    <a:lnTo>
                      <a:pt x="605" y="101"/>
                    </a:lnTo>
                    <a:close/>
                    <a:moveTo>
                      <a:pt x="1069" y="278"/>
                    </a:moveTo>
                    <a:lnTo>
                      <a:pt x="1069" y="278"/>
                    </a:lnTo>
                    <a:lnTo>
                      <a:pt x="1069" y="290"/>
                    </a:lnTo>
                    <a:lnTo>
                      <a:pt x="1067" y="301"/>
                    </a:lnTo>
                    <a:lnTo>
                      <a:pt x="1061" y="312"/>
                    </a:lnTo>
                    <a:lnTo>
                      <a:pt x="1056" y="320"/>
                    </a:lnTo>
                    <a:lnTo>
                      <a:pt x="1049" y="328"/>
                    </a:lnTo>
                    <a:lnTo>
                      <a:pt x="1041" y="333"/>
                    </a:lnTo>
                    <a:lnTo>
                      <a:pt x="1033" y="337"/>
                    </a:lnTo>
                    <a:lnTo>
                      <a:pt x="1024" y="337"/>
                    </a:lnTo>
                    <a:lnTo>
                      <a:pt x="895" y="337"/>
                    </a:lnTo>
                    <a:lnTo>
                      <a:pt x="895" y="337"/>
                    </a:lnTo>
                    <a:lnTo>
                      <a:pt x="886" y="337"/>
                    </a:lnTo>
                    <a:lnTo>
                      <a:pt x="877" y="333"/>
                    </a:lnTo>
                    <a:lnTo>
                      <a:pt x="870" y="328"/>
                    </a:lnTo>
                    <a:lnTo>
                      <a:pt x="863" y="320"/>
                    </a:lnTo>
                    <a:lnTo>
                      <a:pt x="857" y="312"/>
                    </a:lnTo>
                    <a:lnTo>
                      <a:pt x="853" y="301"/>
                    </a:lnTo>
                    <a:lnTo>
                      <a:pt x="850" y="290"/>
                    </a:lnTo>
                    <a:lnTo>
                      <a:pt x="850" y="278"/>
                    </a:lnTo>
                    <a:lnTo>
                      <a:pt x="850" y="111"/>
                    </a:lnTo>
                    <a:lnTo>
                      <a:pt x="850" y="111"/>
                    </a:lnTo>
                    <a:lnTo>
                      <a:pt x="850" y="99"/>
                    </a:lnTo>
                    <a:lnTo>
                      <a:pt x="853" y="89"/>
                    </a:lnTo>
                    <a:lnTo>
                      <a:pt x="857" y="79"/>
                    </a:lnTo>
                    <a:lnTo>
                      <a:pt x="863" y="70"/>
                    </a:lnTo>
                    <a:lnTo>
                      <a:pt x="870" y="63"/>
                    </a:lnTo>
                    <a:lnTo>
                      <a:pt x="877" y="57"/>
                    </a:lnTo>
                    <a:lnTo>
                      <a:pt x="886" y="54"/>
                    </a:lnTo>
                    <a:lnTo>
                      <a:pt x="895" y="53"/>
                    </a:lnTo>
                    <a:lnTo>
                      <a:pt x="1024" y="53"/>
                    </a:lnTo>
                    <a:lnTo>
                      <a:pt x="1024" y="53"/>
                    </a:lnTo>
                    <a:lnTo>
                      <a:pt x="1033" y="54"/>
                    </a:lnTo>
                    <a:lnTo>
                      <a:pt x="1041" y="57"/>
                    </a:lnTo>
                    <a:lnTo>
                      <a:pt x="1049" y="63"/>
                    </a:lnTo>
                    <a:lnTo>
                      <a:pt x="1056" y="70"/>
                    </a:lnTo>
                    <a:lnTo>
                      <a:pt x="1061" y="79"/>
                    </a:lnTo>
                    <a:lnTo>
                      <a:pt x="1067" y="89"/>
                    </a:lnTo>
                    <a:lnTo>
                      <a:pt x="1069" y="99"/>
                    </a:lnTo>
                    <a:lnTo>
                      <a:pt x="1069" y="111"/>
                    </a:lnTo>
                    <a:lnTo>
                      <a:pt x="1069" y="278"/>
                    </a:lnTo>
                    <a:close/>
                    <a:moveTo>
                      <a:pt x="1426" y="278"/>
                    </a:moveTo>
                    <a:lnTo>
                      <a:pt x="1426" y="278"/>
                    </a:lnTo>
                    <a:lnTo>
                      <a:pt x="1425" y="290"/>
                    </a:lnTo>
                    <a:lnTo>
                      <a:pt x="1422" y="301"/>
                    </a:lnTo>
                    <a:lnTo>
                      <a:pt x="1418" y="312"/>
                    </a:lnTo>
                    <a:lnTo>
                      <a:pt x="1413" y="320"/>
                    </a:lnTo>
                    <a:lnTo>
                      <a:pt x="1406" y="328"/>
                    </a:lnTo>
                    <a:lnTo>
                      <a:pt x="1398" y="333"/>
                    </a:lnTo>
                    <a:lnTo>
                      <a:pt x="1389" y="337"/>
                    </a:lnTo>
                    <a:lnTo>
                      <a:pt x="1379" y="337"/>
                    </a:lnTo>
                    <a:lnTo>
                      <a:pt x="1251" y="337"/>
                    </a:lnTo>
                    <a:lnTo>
                      <a:pt x="1251" y="337"/>
                    </a:lnTo>
                    <a:lnTo>
                      <a:pt x="1242" y="337"/>
                    </a:lnTo>
                    <a:lnTo>
                      <a:pt x="1234" y="333"/>
                    </a:lnTo>
                    <a:lnTo>
                      <a:pt x="1226" y="328"/>
                    </a:lnTo>
                    <a:lnTo>
                      <a:pt x="1219" y="320"/>
                    </a:lnTo>
                    <a:lnTo>
                      <a:pt x="1214" y="312"/>
                    </a:lnTo>
                    <a:lnTo>
                      <a:pt x="1210" y="301"/>
                    </a:lnTo>
                    <a:lnTo>
                      <a:pt x="1207" y="290"/>
                    </a:lnTo>
                    <a:lnTo>
                      <a:pt x="1206" y="278"/>
                    </a:lnTo>
                    <a:lnTo>
                      <a:pt x="1206" y="111"/>
                    </a:lnTo>
                    <a:lnTo>
                      <a:pt x="1206" y="111"/>
                    </a:lnTo>
                    <a:lnTo>
                      <a:pt x="1207" y="99"/>
                    </a:lnTo>
                    <a:lnTo>
                      <a:pt x="1210" y="89"/>
                    </a:lnTo>
                    <a:lnTo>
                      <a:pt x="1214" y="79"/>
                    </a:lnTo>
                    <a:lnTo>
                      <a:pt x="1219" y="70"/>
                    </a:lnTo>
                    <a:lnTo>
                      <a:pt x="1226" y="63"/>
                    </a:lnTo>
                    <a:lnTo>
                      <a:pt x="1234" y="57"/>
                    </a:lnTo>
                    <a:lnTo>
                      <a:pt x="1242" y="54"/>
                    </a:lnTo>
                    <a:lnTo>
                      <a:pt x="1251" y="53"/>
                    </a:lnTo>
                    <a:lnTo>
                      <a:pt x="1379" y="53"/>
                    </a:lnTo>
                    <a:lnTo>
                      <a:pt x="1379" y="53"/>
                    </a:lnTo>
                    <a:lnTo>
                      <a:pt x="1389" y="54"/>
                    </a:lnTo>
                    <a:lnTo>
                      <a:pt x="1398" y="57"/>
                    </a:lnTo>
                    <a:lnTo>
                      <a:pt x="1406" y="63"/>
                    </a:lnTo>
                    <a:lnTo>
                      <a:pt x="1413" y="70"/>
                    </a:lnTo>
                    <a:lnTo>
                      <a:pt x="1418" y="79"/>
                    </a:lnTo>
                    <a:lnTo>
                      <a:pt x="1422" y="89"/>
                    </a:lnTo>
                    <a:lnTo>
                      <a:pt x="1425" y="99"/>
                    </a:lnTo>
                    <a:lnTo>
                      <a:pt x="1426" y="111"/>
                    </a:lnTo>
                    <a:lnTo>
                      <a:pt x="1426" y="278"/>
                    </a:lnTo>
                    <a:close/>
                    <a:moveTo>
                      <a:pt x="1770" y="278"/>
                    </a:moveTo>
                    <a:lnTo>
                      <a:pt x="1770" y="278"/>
                    </a:lnTo>
                    <a:lnTo>
                      <a:pt x="1768" y="290"/>
                    </a:lnTo>
                    <a:lnTo>
                      <a:pt x="1766" y="301"/>
                    </a:lnTo>
                    <a:lnTo>
                      <a:pt x="1762" y="312"/>
                    </a:lnTo>
                    <a:lnTo>
                      <a:pt x="1756" y="320"/>
                    </a:lnTo>
                    <a:lnTo>
                      <a:pt x="1748" y="328"/>
                    </a:lnTo>
                    <a:lnTo>
                      <a:pt x="1741" y="333"/>
                    </a:lnTo>
                    <a:lnTo>
                      <a:pt x="1732" y="337"/>
                    </a:lnTo>
                    <a:lnTo>
                      <a:pt x="1723" y="337"/>
                    </a:lnTo>
                    <a:lnTo>
                      <a:pt x="1594" y="337"/>
                    </a:lnTo>
                    <a:lnTo>
                      <a:pt x="1594" y="337"/>
                    </a:lnTo>
                    <a:lnTo>
                      <a:pt x="1585" y="337"/>
                    </a:lnTo>
                    <a:lnTo>
                      <a:pt x="1577" y="333"/>
                    </a:lnTo>
                    <a:lnTo>
                      <a:pt x="1569" y="328"/>
                    </a:lnTo>
                    <a:lnTo>
                      <a:pt x="1562" y="320"/>
                    </a:lnTo>
                    <a:lnTo>
                      <a:pt x="1557" y="312"/>
                    </a:lnTo>
                    <a:lnTo>
                      <a:pt x="1553" y="301"/>
                    </a:lnTo>
                    <a:lnTo>
                      <a:pt x="1550" y="290"/>
                    </a:lnTo>
                    <a:lnTo>
                      <a:pt x="1549" y="278"/>
                    </a:lnTo>
                    <a:lnTo>
                      <a:pt x="1549" y="111"/>
                    </a:lnTo>
                    <a:lnTo>
                      <a:pt x="1549" y="111"/>
                    </a:lnTo>
                    <a:lnTo>
                      <a:pt x="1550" y="99"/>
                    </a:lnTo>
                    <a:lnTo>
                      <a:pt x="1553" y="89"/>
                    </a:lnTo>
                    <a:lnTo>
                      <a:pt x="1557" y="79"/>
                    </a:lnTo>
                    <a:lnTo>
                      <a:pt x="1562" y="70"/>
                    </a:lnTo>
                    <a:lnTo>
                      <a:pt x="1569" y="63"/>
                    </a:lnTo>
                    <a:lnTo>
                      <a:pt x="1577" y="57"/>
                    </a:lnTo>
                    <a:lnTo>
                      <a:pt x="1585" y="54"/>
                    </a:lnTo>
                    <a:lnTo>
                      <a:pt x="1594" y="53"/>
                    </a:lnTo>
                    <a:lnTo>
                      <a:pt x="1723" y="53"/>
                    </a:lnTo>
                    <a:lnTo>
                      <a:pt x="1723" y="53"/>
                    </a:lnTo>
                    <a:lnTo>
                      <a:pt x="1732" y="54"/>
                    </a:lnTo>
                    <a:lnTo>
                      <a:pt x="1741" y="57"/>
                    </a:lnTo>
                    <a:lnTo>
                      <a:pt x="1748" y="63"/>
                    </a:lnTo>
                    <a:lnTo>
                      <a:pt x="1756" y="70"/>
                    </a:lnTo>
                    <a:lnTo>
                      <a:pt x="1762" y="79"/>
                    </a:lnTo>
                    <a:lnTo>
                      <a:pt x="1766" y="89"/>
                    </a:lnTo>
                    <a:lnTo>
                      <a:pt x="1768" y="99"/>
                    </a:lnTo>
                    <a:lnTo>
                      <a:pt x="1770" y="111"/>
                    </a:lnTo>
                    <a:lnTo>
                      <a:pt x="1770" y="278"/>
                    </a:lnTo>
                    <a:close/>
                  </a:path>
                </a:pathLst>
              </a:custGeom>
              <a:solidFill>
                <a:srgbClr val="7EB1C7"/>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44" name="Freeform 47"/>
              <p:cNvSpPr>
                <a:spLocks/>
              </p:cNvSpPr>
              <p:nvPr/>
            </p:nvSpPr>
            <p:spPr bwMode="auto">
              <a:xfrm>
                <a:off x="7072502" y="6201261"/>
                <a:ext cx="2137956" cy="139000"/>
              </a:xfrm>
              <a:custGeom>
                <a:avLst/>
                <a:gdLst>
                  <a:gd name="T0" fmla="*/ 1938 w 1938"/>
                  <a:gd name="T1" fmla="*/ 0 h 127"/>
                  <a:gd name="T2" fmla="*/ 1938 w 1938"/>
                  <a:gd name="T3" fmla="*/ 0 h 127"/>
                  <a:gd name="T4" fmla="*/ 1938 w 1938"/>
                  <a:gd name="T5" fmla="*/ 26 h 127"/>
                  <a:gd name="T6" fmla="*/ 1936 w 1938"/>
                  <a:gd name="T7" fmla="*/ 50 h 127"/>
                  <a:gd name="T8" fmla="*/ 1934 w 1938"/>
                  <a:gd name="T9" fmla="*/ 71 h 127"/>
                  <a:gd name="T10" fmla="*/ 1931 w 1938"/>
                  <a:gd name="T11" fmla="*/ 82 h 127"/>
                  <a:gd name="T12" fmla="*/ 1928 w 1938"/>
                  <a:gd name="T13" fmla="*/ 90 h 127"/>
                  <a:gd name="T14" fmla="*/ 1924 w 1938"/>
                  <a:gd name="T15" fmla="*/ 98 h 127"/>
                  <a:gd name="T16" fmla="*/ 1919 w 1938"/>
                  <a:gd name="T17" fmla="*/ 106 h 127"/>
                  <a:gd name="T18" fmla="*/ 1914 w 1938"/>
                  <a:gd name="T19" fmla="*/ 113 h 127"/>
                  <a:gd name="T20" fmla="*/ 1907 w 1938"/>
                  <a:gd name="T21" fmla="*/ 118 h 127"/>
                  <a:gd name="T22" fmla="*/ 1898 w 1938"/>
                  <a:gd name="T23" fmla="*/ 122 h 127"/>
                  <a:gd name="T24" fmla="*/ 1888 w 1938"/>
                  <a:gd name="T25" fmla="*/ 125 h 127"/>
                  <a:gd name="T26" fmla="*/ 1877 w 1938"/>
                  <a:gd name="T27" fmla="*/ 126 h 127"/>
                  <a:gd name="T28" fmla="*/ 1864 w 1938"/>
                  <a:gd name="T29" fmla="*/ 127 h 127"/>
                  <a:gd name="T30" fmla="*/ 141 w 1938"/>
                  <a:gd name="T31" fmla="*/ 127 h 127"/>
                  <a:gd name="T32" fmla="*/ 141 w 1938"/>
                  <a:gd name="T33" fmla="*/ 127 h 127"/>
                  <a:gd name="T34" fmla="*/ 119 w 1938"/>
                  <a:gd name="T35" fmla="*/ 126 h 127"/>
                  <a:gd name="T36" fmla="*/ 97 w 1938"/>
                  <a:gd name="T37" fmla="*/ 123 h 127"/>
                  <a:gd name="T38" fmla="*/ 80 w 1938"/>
                  <a:gd name="T39" fmla="*/ 118 h 127"/>
                  <a:gd name="T40" fmla="*/ 65 w 1938"/>
                  <a:gd name="T41" fmla="*/ 111 h 127"/>
                  <a:gd name="T42" fmla="*/ 52 w 1938"/>
                  <a:gd name="T43" fmla="*/ 103 h 127"/>
                  <a:gd name="T44" fmla="*/ 40 w 1938"/>
                  <a:gd name="T45" fmla="*/ 95 h 127"/>
                  <a:gd name="T46" fmla="*/ 32 w 1938"/>
                  <a:gd name="T47" fmla="*/ 87 h 127"/>
                  <a:gd name="T48" fmla="*/ 24 w 1938"/>
                  <a:gd name="T49" fmla="*/ 79 h 127"/>
                  <a:gd name="T50" fmla="*/ 24 w 1938"/>
                  <a:gd name="T51" fmla="*/ 79 h 127"/>
                  <a:gd name="T52" fmla="*/ 18 w 1938"/>
                  <a:gd name="T53" fmla="*/ 70 h 127"/>
                  <a:gd name="T54" fmla="*/ 13 w 1938"/>
                  <a:gd name="T55" fmla="*/ 62 h 127"/>
                  <a:gd name="T56" fmla="*/ 8 w 1938"/>
                  <a:gd name="T57" fmla="*/ 53 h 127"/>
                  <a:gd name="T58" fmla="*/ 5 w 1938"/>
                  <a:gd name="T59" fmla="*/ 42 h 127"/>
                  <a:gd name="T60" fmla="*/ 2 w 1938"/>
                  <a:gd name="T61" fmla="*/ 33 h 127"/>
                  <a:gd name="T62" fmla="*/ 0 w 1938"/>
                  <a:gd name="T63" fmla="*/ 22 h 127"/>
                  <a:gd name="T64" fmla="*/ 0 w 1938"/>
                  <a:gd name="T65" fmla="*/ 11 h 127"/>
                  <a:gd name="T66" fmla="*/ 0 w 1938"/>
                  <a:gd name="T67" fmla="*/ 0 h 127"/>
                  <a:gd name="T68" fmla="*/ 1938 w 1938"/>
                  <a:gd name="T69" fmla="*/ 0 h 127"/>
                  <a:gd name="T70" fmla="*/ 1938 w 1938"/>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8" h="127">
                    <a:moveTo>
                      <a:pt x="1938" y="0"/>
                    </a:moveTo>
                    <a:lnTo>
                      <a:pt x="1938" y="0"/>
                    </a:lnTo>
                    <a:lnTo>
                      <a:pt x="1938" y="26"/>
                    </a:lnTo>
                    <a:lnTo>
                      <a:pt x="1936" y="50"/>
                    </a:lnTo>
                    <a:lnTo>
                      <a:pt x="1934" y="71"/>
                    </a:lnTo>
                    <a:lnTo>
                      <a:pt x="1931" y="82"/>
                    </a:lnTo>
                    <a:lnTo>
                      <a:pt x="1928" y="90"/>
                    </a:lnTo>
                    <a:lnTo>
                      <a:pt x="1924" y="98"/>
                    </a:lnTo>
                    <a:lnTo>
                      <a:pt x="1919" y="106"/>
                    </a:lnTo>
                    <a:lnTo>
                      <a:pt x="1914" y="113"/>
                    </a:lnTo>
                    <a:lnTo>
                      <a:pt x="1907" y="118"/>
                    </a:lnTo>
                    <a:lnTo>
                      <a:pt x="1898" y="122"/>
                    </a:lnTo>
                    <a:lnTo>
                      <a:pt x="1888" y="125"/>
                    </a:lnTo>
                    <a:lnTo>
                      <a:pt x="1877" y="126"/>
                    </a:lnTo>
                    <a:lnTo>
                      <a:pt x="1864" y="127"/>
                    </a:lnTo>
                    <a:lnTo>
                      <a:pt x="141" y="127"/>
                    </a:lnTo>
                    <a:lnTo>
                      <a:pt x="141" y="127"/>
                    </a:lnTo>
                    <a:lnTo>
                      <a:pt x="119" y="126"/>
                    </a:lnTo>
                    <a:lnTo>
                      <a:pt x="97" y="123"/>
                    </a:lnTo>
                    <a:lnTo>
                      <a:pt x="80" y="118"/>
                    </a:lnTo>
                    <a:lnTo>
                      <a:pt x="65" y="111"/>
                    </a:lnTo>
                    <a:lnTo>
                      <a:pt x="52" y="103"/>
                    </a:lnTo>
                    <a:lnTo>
                      <a:pt x="40" y="95"/>
                    </a:lnTo>
                    <a:lnTo>
                      <a:pt x="32" y="87"/>
                    </a:lnTo>
                    <a:lnTo>
                      <a:pt x="24" y="79"/>
                    </a:lnTo>
                    <a:lnTo>
                      <a:pt x="24" y="79"/>
                    </a:lnTo>
                    <a:lnTo>
                      <a:pt x="18" y="70"/>
                    </a:lnTo>
                    <a:lnTo>
                      <a:pt x="13" y="62"/>
                    </a:lnTo>
                    <a:lnTo>
                      <a:pt x="8" y="53"/>
                    </a:lnTo>
                    <a:lnTo>
                      <a:pt x="5" y="42"/>
                    </a:lnTo>
                    <a:lnTo>
                      <a:pt x="2" y="33"/>
                    </a:lnTo>
                    <a:lnTo>
                      <a:pt x="0" y="22"/>
                    </a:lnTo>
                    <a:lnTo>
                      <a:pt x="0" y="11"/>
                    </a:lnTo>
                    <a:lnTo>
                      <a:pt x="0" y="0"/>
                    </a:lnTo>
                    <a:lnTo>
                      <a:pt x="1938" y="0"/>
                    </a:lnTo>
                    <a:lnTo>
                      <a:pt x="1938" y="0"/>
                    </a:lnTo>
                    <a:close/>
                  </a:path>
                </a:pathLst>
              </a:custGeom>
              <a:pattFill prst="dkHorz">
                <a:fgClr>
                  <a:schemeClr val="bg2">
                    <a:lumMod val="25000"/>
                  </a:schemeClr>
                </a:fgClr>
                <a:bgClr>
                  <a:schemeClr val="tx1">
                    <a:lumMod val="90000"/>
                    <a:lumOff val="10000"/>
                  </a:schemeClr>
                </a:bgClr>
              </a:patt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0" name="Freeform 183"/>
              <p:cNvSpPr>
                <a:spLocks/>
              </p:cNvSpPr>
              <p:nvPr/>
            </p:nvSpPr>
            <p:spPr bwMode="auto">
              <a:xfrm>
                <a:off x="7539145" y="5880236"/>
                <a:ext cx="82739" cy="79429"/>
              </a:xfrm>
              <a:custGeom>
                <a:avLst/>
                <a:gdLst>
                  <a:gd name="T0" fmla="*/ 23 w 74"/>
                  <a:gd name="T1" fmla="*/ 3 h 72"/>
                  <a:gd name="T2" fmla="*/ 27 w 74"/>
                  <a:gd name="T3" fmla="*/ 1 h 72"/>
                  <a:gd name="T4" fmla="*/ 31 w 74"/>
                  <a:gd name="T5" fmla="*/ 0 h 72"/>
                  <a:gd name="T6" fmla="*/ 36 w 74"/>
                  <a:gd name="T7" fmla="*/ 0 h 72"/>
                  <a:gd name="T8" fmla="*/ 40 w 74"/>
                  <a:gd name="T9" fmla="*/ 0 h 72"/>
                  <a:gd name="T10" fmla="*/ 46 w 74"/>
                  <a:gd name="T11" fmla="*/ 1 h 72"/>
                  <a:gd name="T12" fmla="*/ 54 w 74"/>
                  <a:gd name="T13" fmla="*/ 4 h 72"/>
                  <a:gd name="T14" fmla="*/ 62 w 74"/>
                  <a:gd name="T15" fmla="*/ 9 h 72"/>
                  <a:gd name="T16" fmla="*/ 67 w 74"/>
                  <a:gd name="T17" fmla="*/ 16 h 72"/>
                  <a:gd name="T18" fmla="*/ 70 w 74"/>
                  <a:gd name="T19" fmla="*/ 20 h 72"/>
                  <a:gd name="T20" fmla="*/ 71 w 74"/>
                  <a:gd name="T21" fmla="*/ 24 h 72"/>
                  <a:gd name="T22" fmla="*/ 72 w 74"/>
                  <a:gd name="T23" fmla="*/ 28 h 72"/>
                  <a:gd name="T24" fmla="*/ 74 w 74"/>
                  <a:gd name="T25" fmla="*/ 34 h 72"/>
                  <a:gd name="T26" fmla="*/ 74 w 74"/>
                  <a:gd name="T27" fmla="*/ 38 h 72"/>
                  <a:gd name="T28" fmla="*/ 74 w 74"/>
                  <a:gd name="T29" fmla="*/ 40 h 72"/>
                  <a:gd name="T30" fmla="*/ 72 w 74"/>
                  <a:gd name="T31" fmla="*/ 46 h 72"/>
                  <a:gd name="T32" fmla="*/ 71 w 74"/>
                  <a:gd name="T33" fmla="*/ 51 h 72"/>
                  <a:gd name="T34" fmla="*/ 68 w 74"/>
                  <a:gd name="T35" fmla="*/ 55 h 72"/>
                  <a:gd name="T36" fmla="*/ 66 w 74"/>
                  <a:gd name="T37" fmla="*/ 59 h 72"/>
                  <a:gd name="T38" fmla="*/ 62 w 74"/>
                  <a:gd name="T39" fmla="*/ 63 h 72"/>
                  <a:gd name="T40" fmla="*/ 58 w 74"/>
                  <a:gd name="T41" fmla="*/ 66 h 72"/>
                  <a:gd name="T42" fmla="*/ 54 w 74"/>
                  <a:gd name="T43" fmla="*/ 68 h 72"/>
                  <a:gd name="T44" fmla="*/ 50 w 74"/>
                  <a:gd name="T45" fmla="*/ 70 h 72"/>
                  <a:gd name="T46" fmla="*/ 44 w 74"/>
                  <a:gd name="T47" fmla="*/ 71 h 72"/>
                  <a:gd name="T48" fmla="*/ 39 w 74"/>
                  <a:gd name="T49" fmla="*/ 72 h 72"/>
                  <a:gd name="T50" fmla="*/ 34 w 74"/>
                  <a:gd name="T51" fmla="*/ 72 h 72"/>
                  <a:gd name="T52" fmla="*/ 30 w 74"/>
                  <a:gd name="T53" fmla="*/ 71 h 72"/>
                  <a:gd name="T54" fmla="*/ 24 w 74"/>
                  <a:gd name="T55" fmla="*/ 70 h 72"/>
                  <a:gd name="T56" fmla="*/ 19 w 74"/>
                  <a:gd name="T57" fmla="*/ 68 h 72"/>
                  <a:gd name="T58" fmla="*/ 15 w 74"/>
                  <a:gd name="T59" fmla="*/ 66 h 72"/>
                  <a:gd name="T60" fmla="*/ 14 w 74"/>
                  <a:gd name="T61" fmla="*/ 64 h 72"/>
                  <a:gd name="T62" fmla="*/ 10 w 74"/>
                  <a:gd name="T63" fmla="*/ 60 h 72"/>
                  <a:gd name="T64" fmla="*/ 7 w 74"/>
                  <a:gd name="T65" fmla="*/ 58 h 72"/>
                  <a:gd name="T66" fmla="*/ 4 w 74"/>
                  <a:gd name="T67" fmla="*/ 54 h 72"/>
                  <a:gd name="T68" fmla="*/ 2 w 74"/>
                  <a:gd name="T69" fmla="*/ 50 h 72"/>
                  <a:gd name="T70" fmla="*/ 2 w 74"/>
                  <a:gd name="T71" fmla="*/ 44 h 72"/>
                  <a:gd name="T72" fmla="*/ 0 w 74"/>
                  <a:gd name="T73" fmla="*/ 40 h 72"/>
                  <a:gd name="T74" fmla="*/ 0 w 74"/>
                  <a:gd name="T75" fmla="*/ 31 h 72"/>
                  <a:gd name="T76" fmla="*/ 2 w 74"/>
                  <a:gd name="T77" fmla="*/ 24 h 72"/>
                  <a:gd name="T78" fmla="*/ 4 w 74"/>
                  <a:gd name="T79" fmla="*/ 19 h 72"/>
                  <a:gd name="T80" fmla="*/ 7 w 74"/>
                  <a:gd name="T81" fmla="*/ 15 h 72"/>
                  <a:gd name="T82" fmla="*/ 10 w 74"/>
                  <a:gd name="T83" fmla="*/ 12 h 72"/>
                  <a:gd name="T84" fmla="*/ 12 w 74"/>
                  <a:gd name="T85" fmla="*/ 8 h 72"/>
                  <a:gd name="T86" fmla="*/ 16 w 74"/>
                  <a:gd name="T87" fmla="*/ 5 h 72"/>
                  <a:gd name="T88" fmla="*/ 20 w 74"/>
                  <a:gd name="T89" fmla="*/ 4 h 72"/>
                  <a:gd name="T90" fmla="*/ 23 w 74"/>
                  <a:gd name="T91" fmla="*/ 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72">
                    <a:moveTo>
                      <a:pt x="23" y="3"/>
                    </a:moveTo>
                    <a:lnTo>
                      <a:pt x="23" y="3"/>
                    </a:lnTo>
                    <a:lnTo>
                      <a:pt x="24" y="1"/>
                    </a:lnTo>
                    <a:lnTo>
                      <a:pt x="27" y="1"/>
                    </a:lnTo>
                    <a:lnTo>
                      <a:pt x="30" y="0"/>
                    </a:lnTo>
                    <a:lnTo>
                      <a:pt x="31" y="0"/>
                    </a:lnTo>
                    <a:lnTo>
                      <a:pt x="34" y="0"/>
                    </a:lnTo>
                    <a:lnTo>
                      <a:pt x="36" y="0"/>
                    </a:lnTo>
                    <a:lnTo>
                      <a:pt x="39" y="0"/>
                    </a:lnTo>
                    <a:lnTo>
                      <a:pt x="40" y="0"/>
                    </a:lnTo>
                    <a:lnTo>
                      <a:pt x="43" y="0"/>
                    </a:lnTo>
                    <a:lnTo>
                      <a:pt x="46" y="1"/>
                    </a:lnTo>
                    <a:lnTo>
                      <a:pt x="50" y="3"/>
                    </a:lnTo>
                    <a:lnTo>
                      <a:pt x="54" y="4"/>
                    </a:lnTo>
                    <a:lnTo>
                      <a:pt x="58" y="7"/>
                    </a:lnTo>
                    <a:lnTo>
                      <a:pt x="62" y="9"/>
                    </a:lnTo>
                    <a:lnTo>
                      <a:pt x="64" y="12"/>
                    </a:lnTo>
                    <a:lnTo>
                      <a:pt x="67" y="16"/>
                    </a:lnTo>
                    <a:lnTo>
                      <a:pt x="68" y="18"/>
                    </a:lnTo>
                    <a:lnTo>
                      <a:pt x="70" y="20"/>
                    </a:lnTo>
                    <a:lnTo>
                      <a:pt x="71" y="22"/>
                    </a:lnTo>
                    <a:lnTo>
                      <a:pt x="71" y="24"/>
                    </a:lnTo>
                    <a:lnTo>
                      <a:pt x="72" y="27"/>
                    </a:lnTo>
                    <a:lnTo>
                      <a:pt x="72" y="28"/>
                    </a:lnTo>
                    <a:lnTo>
                      <a:pt x="72" y="31"/>
                    </a:lnTo>
                    <a:lnTo>
                      <a:pt x="74" y="34"/>
                    </a:lnTo>
                    <a:lnTo>
                      <a:pt x="74" y="35"/>
                    </a:lnTo>
                    <a:lnTo>
                      <a:pt x="74" y="38"/>
                    </a:lnTo>
                    <a:lnTo>
                      <a:pt x="74" y="38"/>
                    </a:lnTo>
                    <a:lnTo>
                      <a:pt x="74" y="40"/>
                    </a:lnTo>
                    <a:lnTo>
                      <a:pt x="72" y="43"/>
                    </a:lnTo>
                    <a:lnTo>
                      <a:pt x="72" y="46"/>
                    </a:lnTo>
                    <a:lnTo>
                      <a:pt x="72" y="48"/>
                    </a:lnTo>
                    <a:lnTo>
                      <a:pt x="71" y="51"/>
                    </a:lnTo>
                    <a:lnTo>
                      <a:pt x="70" y="52"/>
                    </a:lnTo>
                    <a:lnTo>
                      <a:pt x="68" y="55"/>
                    </a:lnTo>
                    <a:lnTo>
                      <a:pt x="67" y="58"/>
                    </a:lnTo>
                    <a:lnTo>
                      <a:pt x="66" y="59"/>
                    </a:lnTo>
                    <a:lnTo>
                      <a:pt x="64" y="60"/>
                    </a:lnTo>
                    <a:lnTo>
                      <a:pt x="62" y="63"/>
                    </a:lnTo>
                    <a:lnTo>
                      <a:pt x="60" y="64"/>
                    </a:lnTo>
                    <a:lnTo>
                      <a:pt x="58" y="66"/>
                    </a:lnTo>
                    <a:lnTo>
                      <a:pt x="56" y="67"/>
                    </a:lnTo>
                    <a:lnTo>
                      <a:pt x="54" y="68"/>
                    </a:lnTo>
                    <a:lnTo>
                      <a:pt x="52" y="68"/>
                    </a:lnTo>
                    <a:lnTo>
                      <a:pt x="50" y="70"/>
                    </a:lnTo>
                    <a:lnTo>
                      <a:pt x="47" y="71"/>
                    </a:lnTo>
                    <a:lnTo>
                      <a:pt x="44" y="71"/>
                    </a:lnTo>
                    <a:lnTo>
                      <a:pt x="42" y="72"/>
                    </a:lnTo>
                    <a:lnTo>
                      <a:pt x="39" y="72"/>
                    </a:lnTo>
                    <a:lnTo>
                      <a:pt x="36" y="72"/>
                    </a:lnTo>
                    <a:lnTo>
                      <a:pt x="34" y="72"/>
                    </a:lnTo>
                    <a:lnTo>
                      <a:pt x="31" y="72"/>
                    </a:lnTo>
                    <a:lnTo>
                      <a:pt x="30" y="71"/>
                    </a:lnTo>
                    <a:lnTo>
                      <a:pt x="27" y="71"/>
                    </a:lnTo>
                    <a:lnTo>
                      <a:pt x="24" y="70"/>
                    </a:lnTo>
                    <a:lnTo>
                      <a:pt x="22" y="70"/>
                    </a:lnTo>
                    <a:lnTo>
                      <a:pt x="19" y="68"/>
                    </a:lnTo>
                    <a:lnTo>
                      <a:pt x="18" y="67"/>
                    </a:lnTo>
                    <a:lnTo>
                      <a:pt x="15" y="66"/>
                    </a:lnTo>
                    <a:lnTo>
                      <a:pt x="14" y="64"/>
                    </a:lnTo>
                    <a:lnTo>
                      <a:pt x="14" y="64"/>
                    </a:lnTo>
                    <a:lnTo>
                      <a:pt x="11" y="63"/>
                    </a:lnTo>
                    <a:lnTo>
                      <a:pt x="10" y="60"/>
                    </a:lnTo>
                    <a:lnTo>
                      <a:pt x="8" y="59"/>
                    </a:lnTo>
                    <a:lnTo>
                      <a:pt x="7" y="58"/>
                    </a:lnTo>
                    <a:lnTo>
                      <a:pt x="6" y="55"/>
                    </a:lnTo>
                    <a:lnTo>
                      <a:pt x="4" y="54"/>
                    </a:lnTo>
                    <a:lnTo>
                      <a:pt x="3" y="51"/>
                    </a:lnTo>
                    <a:lnTo>
                      <a:pt x="2" y="50"/>
                    </a:lnTo>
                    <a:lnTo>
                      <a:pt x="2" y="47"/>
                    </a:lnTo>
                    <a:lnTo>
                      <a:pt x="2" y="44"/>
                    </a:lnTo>
                    <a:lnTo>
                      <a:pt x="0" y="42"/>
                    </a:lnTo>
                    <a:lnTo>
                      <a:pt x="0" y="40"/>
                    </a:lnTo>
                    <a:lnTo>
                      <a:pt x="0" y="35"/>
                    </a:lnTo>
                    <a:lnTo>
                      <a:pt x="0" y="31"/>
                    </a:lnTo>
                    <a:lnTo>
                      <a:pt x="2" y="26"/>
                    </a:lnTo>
                    <a:lnTo>
                      <a:pt x="2" y="24"/>
                    </a:lnTo>
                    <a:lnTo>
                      <a:pt x="3" y="22"/>
                    </a:lnTo>
                    <a:lnTo>
                      <a:pt x="4" y="19"/>
                    </a:lnTo>
                    <a:lnTo>
                      <a:pt x="4" y="18"/>
                    </a:lnTo>
                    <a:lnTo>
                      <a:pt x="7" y="15"/>
                    </a:lnTo>
                    <a:lnTo>
                      <a:pt x="7" y="14"/>
                    </a:lnTo>
                    <a:lnTo>
                      <a:pt x="10" y="12"/>
                    </a:lnTo>
                    <a:lnTo>
                      <a:pt x="11" y="9"/>
                    </a:lnTo>
                    <a:lnTo>
                      <a:pt x="12" y="8"/>
                    </a:lnTo>
                    <a:lnTo>
                      <a:pt x="14" y="7"/>
                    </a:lnTo>
                    <a:lnTo>
                      <a:pt x="16" y="5"/>
                    </a:lnTo>
                    <a:lnTo>
                      <a:pt x="18" y="4"/>
                    </a:lnTo>
                    <a:lnTo>
                      <a:pt x="20" y="4"/>
                    </a:lnTo>
                    <a:lnTo>
                      <a:pt x="23" y="3"/>
                    </a:lnTo>
                    <a:lnTo>
                      <a:pt x="23" y="3"/>
                    </a:lnTo>
                    <a:lnTo>
                      <a:pt x="23" y="3"/>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1" name="Freeform 184"/>
              <p:cNvSpPr>
                <a:spLocks/>
              </p:cNvSpPr>
              <p:nvPr/>
            </p:nvSpPr>
            <p:spPr bwMode="auto">
              <a:xfrm>
                <a:off x="7502739" y="5972903"/>
                <a:ext cx="155548" cy="59571"/>
              </a:xfrm>
              <a:custGeom>
                <a:avLst/>
                <a:gdLst>
                  <a:gd name="T0" fmla="*/ 141 w 143"/>
                  <a:gd name="T1" fmla="*/ 46 h 55"/>
                  <a:gd name="T2" fmla="*/ 141 w 143"/>
                  <a:gd name="T3" fmla="*/ 39 h 55"/>
                  <a:gd name="T4" fmla="*/ 140 w 143"/>
                  <a:gd name="T5" fmla="*/ 36 h 55"/>
                  <a:gd name="T6" fmla="*/ 140 w 143"/>
                  <a:gd name="T7" fmla="*/ 32 h 55"/>
                  <a:gd name="T8" fmla="*/ 139 w 143"/>
                  <a:gd name="T9" fmla="*/ 30 h 55"/>
                  <a:gd name="T10" fmla="*/ 137 w 143"/>
                  <a:gd name="T11" fmla="*/ 27 h 55"/>
                  <a:gd name="T12" fmla="*/ 136 w 143"/>
                  <a:gd name="T13" fmla="*/ 23 h 55"/>
                  <a:gd name="T14" fmla="*/ 134 w 143"/>
                  <a:gd name="T15" fmla="*/ 20 h 55"/>
                  <a:gd name="T16" fmla="*/ 133 w 143"/>
                  <a:gd name="T17" fmla="*/ 18 h 55"/>
                  <a:gd name="T18" fmla="*/ 130 w 143"/>
                  <a:gd name="T19" fmla="*/ 15 h 55"/>
                  <a:gd name="T20" fmla="*/ 128 w 143"/>
                  <a:gd name="T21" fmla="*/ 14 h 55"/>
                  <a:gd name="T22" fmla="*/ 126 w 143"/>
                  <a:gd name="T23" fmla="*/ 11 h 55"/>
                  <a:gd name="T24" fmla="*/ 124 w 143"/>
                  <a:gd name="T25" fmla="*/ 10 h 55"/>
                  <a:gd name="T26" fmla="*/ 120 w 143"/>
                  <a:gd name="T27" fmla="*/ 8 h 55"/>
                  <a:gd name="T28" fmla="*/ 116 w 143"/>
                  <a:gd name="T29" fmla="*/ 6 h 55"/>
                  <a:gd name="T30" fmla="*/ 109 w 143"/>
                  <a:gd name="T31" fmla="*/ 4 h 55"/>
                  <a:gd name="T32" fmla="*/ 105 w 143"/>
                  <a:gd name="T33" fmla="*/ 3 h 55"/>
                  <a:gd name="T34" fmla="*/ 100 w 143"/>
                  <a:gd name="T35" fmla="*/ 2 h 55"/>
                  <a:gd name="T36" fmla="*/ 94 w 143"/>
                  <a:gd name="T37" fmla="*/ 2 h 55"/>
                  <a:gd name="T38" fmla="*/ 82 w 143"/>
                  <a:gd name="T39" fmla="*/ 0 h 55"/>
                  <a:gd name="T40" fmla="*/ 60 w 143"/>
                  <a:gd name="T41" fmla="*/ 0 h 55"/>
                  <a:gd name="T42" fmla="*/ 48 w 143"/>
                  <a:gd name="T43" fmla="*/ 2 h 55"/>
                  <a:gd name="T44" fmla="*/ 42 w 143"/>
                  <a:gd name="T45" fmla="*/ 2 h 55"/>
                  <a:gd name="T46" fmla="*/ 37 w 143"/>
                  <a:gd name="T47" fmla="*/ 3 h 55"/>
                  <a:gd name="T48" fmla="*/ 32 w 143"/>
                  <a:gd name="T49" fmla="*/ 4 h 55"/>
                  <a:gd name="T50" fmla="*/ 26 w 143"/>
                  <a:gd name="T51" fmla="*/ 6 h 55"/>
                  <a:gd name="T52" fmla="*/ 21 w 143"/>
                  <a:gd name="T53" fmla="*/ 8 h 55"/>
                  <a:gd name="T54" fmla="*/ 18 w 143"/>
                  <a:gd name="T55" fmla="*/ 10 h 55"/>
                  <a:gd name="T56" fmla="*/ 16 w 143"/>
                  <a:gd name="T57" fmla="*/ 11 h 55"/>
                  <a:gd name="T58" fmla="*/ 13 w 143"/>
                  <a:gd name="T59" fmla="*/ 14 h 55"/>
                  <a:gd name="T60" fmla="*/ 10 w 143"/>
                  <a:gd name="T61" fmla="*/ 15 h 55"/>
                  <a:gd name="T62" fmla="*/ 9 w 143"/>
                  <a:gd name="T63" fmla="*/ 18 h 55"/>
                  <a:gd name="T64" fmla="*/ 8 w 143"/>
                  <a:gd name="T65" fmla="*/ 20 h 55"/>
                  <a:gd name="T66" fmla="*/ 5 w 143"/>
                  <a:gd name="T67" fmla="*/ 23 h 55"/>
                  <a:gd name="T68" fmla="*/ 4 w 143"/>
                  <a:gd name="T69" fmla="*/ 27 h 55"/>
                  <a:gd name="T70" fmla="*/ 4 w 143"/>
                  <a:gd name="T71" fmla="*/ 30 h 55"/>
                  <a:gd name="T72" fmla="*/ 2 w 143"/>
                  <a:gd name="T73" fmla="*/ 32 h 55"/>
                  <a:gd name="T74" fmla="*/ 1 w 143"/>
                  <a:gd name="T75" fmla="*/ 36 h 55"/>
                  <a:gd name="T76" fmla="*/ 1 w 143"/>
                  <a:gd name="T77" fmla="*/ 39 h 55"/>
                  <a:gd name="T78" fmla="*/ 0 w 143"/>
                  <a:gd name="T79" fmla="*/ 46 h 55"/>
                  <a:gd name="T80" fmla="*/ 0 w 143"/>
                  <a:gd name="T81" fmla="*/ 52 h 55"/>
                  <a:gd name="T82" fmla="*/ 0 w 143"/>
                  <a:gd name="T83" fmla="*/ 55 h 55"/>
                  <a:gd name="T84" fmla="*/ 50 w 143"/>
                  <a:gd name="T85" fmla="*/ 55 h 55"/>
                  <a:gd name="T86" fmla="*/ 92 w 143"/>
                  <a:gd name="T87" fmla="*/ 55 h 55"/>
                  <a:gd name="T88" fmla="*/ 143 w 143"/>
                  <a:gd name="T89" fmla="*/ 55 h 55"/>
                  <a:gd name="T90" fmla="*/ 143 w 143"/>
                  <a:gd name="T91" fmla="*/ 52 h 55"/>
                  <a:gd name="T92" fmla="*/ 141 w 143"/>
                  <a:gd name="T93"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1" y="46"/>
                    </a:moveTo>
                    <a:lnTo>
                      <a:pt x="141" y="39"/>
                    </a:lnTo>
                    <a:lnTo>
                      <a:pt x="140" y="36"/>
                    </a:lnTo>
                    <a:lnTo>
                      <a:pt x="140" y="32"/>
                    </a:lnTo>
                    <a:lnTo>
                      <a:pt x="139" y="30"/>
                    </a:lnTo>
                    <a:lnTo>
                      <a:pt x="137" y="27"/>
                    </a:lnTo>
                    <a:lnTo>
                      <a:pt x="136" y="23"/>
                    </a:lnTo>
                    <a:lnTo>
                      <a:pt x="134" y="20"/>
                    </a:lnTo>
                    <a:lnTo>
                      <a:pt x="133" y="18"/>
                    </a:lnTo>
                    <a:lnTo>
                      <a:pt x="130" y="15"/>
                    </a:lnTo>
                    <a:lnTo>
                      <a:pt x="128" y="14"/>
                    </a:lnTo>
                    <a:lnTo>
                      <a:pt x="126" y="11"/>
                    </a:lnTo>
                    <a:lnTo>
                      <a:pt x="124" y="10"/>
                    </a:lnTo>
                    <a:lnTo>
                      <a:pt x="120" y="8"/>
                    </a:lnTo>
                    <a:lnTo>
                      <a:pt x="116" y="6"/>
                    </a:lnTo>
                    <a:lnTo>
                      <a:pt x="109" y="4"/>
                    </a:lnTo>
                    <a:lnTo>
                      <a:pt x="105" y="3"/>
                    </a:lnTo>
                    <a:lnTo>
                      <a:pt x="100" y="2"/>
                    </a:lnTo>
                    <a:lnTo>
                      <a:pt x="94" y="2"/>
                    </a:lnTo>
                    <a:lnTo>
                      <a:pt x="82" y="0"/>
                    </a:lnTo>
                    <a:lnTo>
                      <a:pt x="60" y="0"/>
                    </a:lnTo>
                    <a:lnTo>
                      <a:pt x="48" y="2"/>
                    </a:lnTo>
                    <a:lnTo>
                      <a:pt x="42" y="2"/>
                    </a:lnTo>
                    <a:lnTo>
                      <a:pt x="37" y="3"/>
                    </a:lnTo>
                    <a:lnTo>
                      <a:pt x="32" y="4"/>
                    </a:lnTo>
                    <a:lnTo>
                      <a:pt x="26" y="6"/>
                    </a:lnTo>
                    <a:lnTo>
                      <a:pt x="21" y="8"/>
                    </a:lnTo>
                    <a:lnTo>
                      <a:pt x="18" y="10"/>
                    </a:lnTo>
                    <a:lnTo>
                      <a:pt x="16" y="11"/>
                    </a:lnTo>
                    <a:lnTo>
                      <a:pt x="13" y="14"/>
                    </a:lnTo>
                    <a:lnTo>
                      <a:pt x="10" y="15"/>
                    </a:lnTo>
                    <a:lnTo>
                      <a:pt x="9" y="18"/>
                    </a:lnTo>
                    <a:lnTo>
                      <a:pt x="8" y="20"/>
                    </a:lnTo>
                    <a:lnTo>
                      <a:pt x="5" y="23"/>
                    </a:lnTo>
                    <a:lnTo>
                      <a:pt x="4" y="27"/>
                    </a:lnTo>
                    <a:lnTo>
                      <a:pt x="4" y="30"/>
                    </a:lnTo>
                    <a:lnTo>
                      <a:pt x="2" y="32"/>
                    </a:lnTo>
                    <a:lnTo>
                      <a:pt x="1" y="36"/>
                    </a:lnTo>
                    <a:lnTo>
                      <a:pt x="1" y="39"/>
                    </a:lnTo>
                    <a:lnTo>
                      <a:pt x="0" y="46"/>
                    </a:lnTo>
                    <a:lnTo>
                      <a:pt x="0" y="52"/>
                    </a:lnTo>
                    <a:lnTo>
                      <a:pt x="0" y="55"/>
                    </a:lnTo>
                    <a:lnTo>
                      <a:pt x="50" y="55"/>
                    </a:lnTo>
                    <a:lnTo>
                      <a:pt x="92" y="55"/>
                    </a:lnTo>
                    <a:lnTo>
                      <a:pt x="143" y="55"/>
                    </a:lnTo>
                    <a:lnTo>
                      <a:pt x="143" y="52"/>
                    </a:lnTo>
                    <a:lnTo>
                      <a:pt x="141" y="46"/>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2" name="Freeform 185"/>
              <p:cNvSpPr>
                <a:spLocks/>
              </p:cNvSpPr>
              <p:nvPr/>
            </p:nvSpPr>
            <p:spPr bwMode="auto">
              <a:xfrm>
                <a:off x="8866265" y="5876928"/>
                <a:ext cx="79429" cy="79429"/>
              </a:xfrm>
              <a:custGeom>
                <a:avLst/>
                <a:gdLst>
                  <a:gd name="T0" fmla="*/ 23 w 73"/>
                  <a:gd name="T1" fmla="*/ 3 h 73"/>
                  <a:gd name="T2" fmla="*/ 27 w 73"/>
                  <a:gd name="T3" fmla="*/ 2 h 73"/>
                  <a:gd name="T4" fmla="*/ 31 w 73"/>
                  <a:gd name="T5" fmla="*/ 0 h 73"/>
                  <a:gd name="T6" fmla="*/ 36 w 73"/>
                  <a:gd name="T7" fmla="*/ 0 h 73"/>
                  <a:gd name="T8" fmla="*/ 40 w 73"/>
                  <a:gd name="T9" fmla="*/ 0 h 73"/>
                  <a:gd name="T10" fmla="*/ 45 w 73"/>
                  <a:gd name="T11" fmla="*/ 2 h 73"/>
                  <a:gd name="T12" fmla="*/ 53 w 73"/>
                  <a:gd name="T13" fmla="*/ 4 h 73"/>
                  <a:gd name="T14" fmla="*/ 60 w 73"/>
                  <a:gd name="T15" fmla="*/ 10 h 73"/>
                  <a:gd name="T16" fmla="*/ 67 w 73"/>
                  <a:gd name="T17" fmla="*/ 17 h 73"/>
                  <a:gd name="T18" fmla="*/ 69 w 73"/>
                  <a:gd name="T19" fmla="*/ 21 h 73"/>
                  <a:gd name="T20" fmla="*/ 71 w 73"/>
                  <a:gd name="T21" fmla="*/ 25 h 73"/>
                  <a:gd name="T22" fmla="*/ 72 w 73"/>
                  <a:gd name="T23" fmla="*/ 29 h 73"/>
                  <a:gd name="T24" fmla="*/ 73 w 73"/>
                  <a:gd name="T25" fmla="*/ 34 h 73"/>
                  <a:gd name="T26" fmla="*/ 73 w 73"/>
                  <a:gd name="T27" fmla="*/ 38 h 73"/>
                  <a:gd name="T28" fmla="*/ 73 w 73"/>
                  <a:gd name="T29" fmla="*/ 41 h 73"/>
                  <a:gd name="T30" fmla="*/ 72 w 73"/>
                  <a:gd name="T31" fmla="*/ 46 h 73"/>
                  <a:gd name="T32" fmla="*/ 71 w 73"/>
                  <a:gd name="T33" fmla="*/ 51 h 73"/>
                  <a:gd name="T34" fmla="*/ 68 w 73"/>
                  <a:gd name="T35" fmla="*/ 55 h 73"/>
                  <a:gd name="T36" fmla="*/ 65 w 73"/>
                  <a:gd name="T37" fmla="*/ 59 h 73"/>
                  <a:gd name="T38" fmla="*/ 61 w 73"/>
                  <a:gd name="T39" fmla="*/ 63 h 73"/>
                  <a:gd name="T40" fmla="*/ 57 w 73"/>
                  <a:gd name="T41" fmla="*/ 66 h 73"/>
                  <a:gd name="T42" fmla="*/ 53 w 73"/>
                  <a:gd name="T43" fmla="*/ 69 h 73"/>
                  <a:gd name="T44" fmla="*/ 49 w 73"/>
                  <a:gd name="T45" fmla="*/ 70 h 73"/>
                  <a:gd name="T46" fmla="*/ 44 w 73"/>
                  <a:gd name="T47" fmla="*/ 71 h 73"/>
                  <a:gd name="T48" fmla="*/ 39 w 73"/>
                  <a:gd name="T49" fmla="*/ 73 h 73"/>
                  <a:gd name="T50" fmla="*/ 33 w 73"/>
                  <a:gd name="T51" fmla="*/ 73 h 73"/>
                  <a:gd name="T52" fmla="*/ 28 w 73"/>
                  <a:gd name="T53" fmla="*/ 71 h 73"/>
                  <a:gd name="T54" fmla="*/ 24 w 73"/>
                  <a:gd name="T55" fmla="*/ 71 h 73"/>
                  <a:gd name="T56" fmla="*/ 19 w 73"/>
                  <a:gd name="T57" fmla="*/ 69 h 73"/>
                  <a:gd name="T58" fmla="*/ 15 w 73"/>
                  <a:gd name="T59" fmla="*/ 66 h 73"/>
                  <a:gd name="T60" fmla="*/ 13 w 73"/>
                  <a:gd name="T61" fmla="*/ 65 h 73"/>
                  <a:gd name="T62" fmla="*/ 9 w 73"/>
                  <a:gd name="T63" fmla="*/ 61 h 73"/>
                  <a:gd name="T64" fmla="*/ 7 w 73"/>
                  <a:gd name="T65" fmla="*/ 58 h 73"/>
                  <a:gd name="T66" fmla="*/ 4 w 73"/>
                  <a:gd name="T67" fmla="*/ 54 h 73"/>
                  <a:gd name="T68" fmla="*/ 1 w 73"/>
                  <a:gd name="T69" fmla="*/ 50 h 73"/>
                  <a:gd name="T70" fmla="*/ 0 w 73"/>
                  <a:gd name="T71" fmla="*/ 45 h 73"/>
                  <a:gd name="T72" fmla="*/ 0 w 73"/>
                  <a:gd name="T73" fmla="*/ 41 h 73"/>
                  <a:gd name="T74" fmla="*/ 0 w 73"/>
                  <a:gd name="T75" fmla="*/ 31 h 73"/>
                  <a:gd name="T76" fmla="*/ 1 w 73"/>
                  <a:gd name="T77" fmla="*/ 25 h 73"/>
                  <a:gd name="T78" fmla="*/ 4 w 73"/>
                  <a:gd name="T79" fmla="*/ 21 h 73"/>
                  <a:gd name="T80" fmla="*/ 5 w 73"/>
                  <a:gd name="T81" fmla="*/ 15 h 73"/>
                  <a:gd name="T82" fmla="*/ 9 w 73"/>
                  <a:gd name="T83" fmla="*/ 12 h 73"/>
                  <a:gd name="T84" fmla="*/ 12 w 73"/>
                  <a:gd name="T85" fmla="*/ 8 h 73"/>
                  <a:gd name="T86" fmla="*/ 16 w 73"/>
                  <a:gd name="T87" fmla="*/ 6 h 73"/>
                  <a:gd name="T88" fmla="*/ 20 w 73"/>
                  <a:gd name="T89" fmla="*/ 4 h 73"/>
                  <a:gd name="T90" fmla="*/ 23 w 73"/>
                  <a:gd name="T91"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3">
                    <a:moveTo>
                      <a:pt x="23" y="3"/>
                    </a:moveTo>
                    <a:lnTo>
                      <a:pt x="23" y="3"/>
                    </a:lnTo>
                    <a:lnTo>
                      <a:pt x="24" y="2"/>
                    </a:lnTo>
                    <a:lnTo>
                      <a:pt x="27" y="2"/>
                    </a:lnTo>
                    <a:lnTo>
                      <a:pt x="29" y="0"/>
                    </a:lnTo>
                    <a:lnTo>
                      <a:pt x="31" y="0"/>
                    </a:lnTo>
                    <a:lnTo>
                      <a:pt x="33" y="0"/>
                    </a:lnTo>
                    <a:lnTo>
                      <a:pt x="36" y="0"/>
                    </a:lnTo>
                    <a:lnTo>
                      <a:pt x="37" y="0"/>
                    </a:lnTo>
                    <a:lnTo>
                      <a:pt x="40" y="0"/>
                    </a:lnTo>
                    <a:lnTo>
                      <a:pt x="43" y="0"/>
                    </a:lnTo>
                    <a:lnTo>
                      <a:pt x="45" y="2"/>
                    </a:lnTo>
                    <a:lnTo>
                      <a:pt x="49" y="3"/>
                    </a:lnTo>
                    <a:lnTo>
                      <a:pt x="53" y="4"/>
                    </a:lnTo>
                    <a:lnTo>
                      <a:pt x="57" y="7"/>
                    </a:lnTo>
                    <a:lnTo>
                      <a:pt x="60" y="10"/>
                    </a:lnTo>
                    <a:lnTo>
                      <a:pt x="64" y="12"/>
                    </a:lnTo>
                    <a:lnTo>
                      <a:pt x="67" y="17"/>
                    </a:lnTo>
                    <a:lnTo>
                      <a:pt x="68" y="19"/>
                    </a:lnTo>
                    <a:lnTo>
                      <a:pt x="69" y="21"/>
                    </a:lnTo>
                    <a:lnTo>
                      <a:pt x="71" y="22"/>
                    </a:lnTo>
                    <a:lnTo>
                      <a:pt x="71" y="25"/>
                    </a:lnTo>
                    <a:lnTo>
                      <a:pt x="72" y="27"/>
                    </a:lnTo>
                    <a:lnTo>
                      <a:pt x="72" y="29"/>
                    </a:lnTo>
                    <a:lnTo>
                      <a:pt x="72" y="31"/>
                    </a:lnTo>
                    <a:lnTo>
                      <a:pt x="73" y="34"/>
                    </a:lnTo>
                    <a:lnTo>
                      <a:pt x="73" y="35"/>
                    </a:lnTo>
                    <a:lnTo>
                      <a:pt x="73" y="38"/>
                    </a:lnTo>
                    <a:lnTo>
                      <a:pt x="73" y="38"/>
                    </a:lnTo>
                    <a:lnTo>
                      <a:pt x="73" y="41"/>
                    </a:lnTo>
                    <a:lnTo>
                      <a:pt x="72" y="43"/>
                    </a:lnTo>
                    <a:lnTo>
                      <a:pt x="72" y="46"/>
                    </a:lnTo>
                    <a:lnTo>
                      <a:pt x="71" y="49"/>
                    </a:lnTo>
                    <a:lnTo>
                      <a:pt x="71" y="51"/>
                    </a:lnTo>
                    <a:lnTo>
                      <a:pt x="69" y="53"/>
                    </a:lnTo>
                    <a:lnTo>
                      <a:pt x="68" y="55"/>
                    </a:lnTo>
                    <a:lnTo>
                      <a:pt x="67" y="58"/>
                    </a:lnTo>
                    <a:lnTo>
                      <a:pt x="65" y="59"/>
                    </a:lnTo>
                    <a:lnTo>
                      <a:pt x="64" y="61"/>
                    </a:lnTo>
                    <a:lnTo>
                      <a:pt x="61" y="63"/>
                    </a:lnTo>
                    <a:lnTo>
                      <a:pt x="60" y="65"/>
                    </a:lnTo>
                    <a:lnTo>
                      <a:pt x="57" y="66"/>
                    </a:lnTo>
                    <a:lnTo>
                      <a:pt x="56" y="67"/>
                    </a:lnTo>
                    <a:lnTo>
                      <a:pt x="53" y="69"/>
                    </a:lnTo>
                    <a:lnTo>
                      <a:pt x="51" y="70"/>
                    </a:lnTo>
                    <a:lnTo>
                      <a:pt x="49" y="70"/>
                    </a:lnTo>
                    <a:lnTo>
                      <a:pt x="47" y="71"/>
                    </a:lnTo>
                    <a:lnTo>
                      <a:pt x="44" y="71"/>
                    </a:lnTo>
                    <a:lnTo>
                      <a:pt x="41" y="73"/>
                    </a:lnTo>
                    <a:lnTo>
                      <a:pt x="39" y="73"/>
                    </a:lnTo>
                    <a:lnTo>
                      <a:pt x="36" y="73"/>
                    </a:lnTo>
                    <a:lnTo>
                      <a:pt x="33" y="73"/>
                    </a:lnTo>
                    <a:lnTo>
                      <a:pt x="31" y="73"/>
                    </a:lnTo>
                    <a:lnTo>
                      <a:pt x="28" y="71"/>
                    </a:lnTo>
                    <a:lnTo>
                      <a:pt x="27" y="71"/>
                    </a:lnTo>
                    <a:lnTo>
                      <a:pt x="24" y="71"/>
                    </a:lnTo>
                    <a:lnTo>
                      <a:pt x="21" y="70"/>
                    </a:lnTo>
                    <a:lnTo>
                      <a:pt x="19" y="69"/>
                    </a:lnTo>
                    <a:lnTo>
                      <a:pt x="17" y="67"/>
                    </a:lnTo>
                    <a:lnTo>
                      <a:pt x="15" y="66"/>
                    </a:lnTo>
                    <a:lnTo>
                      <a:pt x="13" y="65"/>
                    </a:lnTo>
                    <a:lnTo>
                      <a:pt x="13" y="65"/>
                    </a:lnTo>
                    <a:lnTo>
                      <a:pt x="11" y="63"/>
                    </a:lnTo>
                    <a:lnTo>
                      <a:pt x="9" y="61"/>
                    </a:lnTo>
                    <a:lnTo>
                      <a:pt x="8" y="59"/>
                    </a:lnTo>
                    <a:lnTo>
                      <a:pt x="7" y="58"/>
                    </a:lnTo>
                    <a:lnTo>
                      <a:pt x="5" y="55"/>
                    </a:lnTo>
                    <a:lnTo>
                      <a:pt x="4" y="54"/>
                    </a:lnTo>
                    <a:lnTo>
                      <a:pt x="3" y="51"/>
                    </a:lnTo>
                    <a:lnTo>
                      <a:pt x="1" y="50"/>
                    </a:lnTo>
                    <a:lnTo>
                      <a:pt x="1" y="47"/>
                    </a:lnTo>
                    <a:lnTo>
                      <a:pt x="0" y="45"/>
                    </a:lnTo>
                    <a:lnTo>
                      <a:pt x="0" y="43"/>
                    </a:lnTo>
                    <a:lnTo>
                      <a:pt x="0" y="41"/>
                    </a:lnTo>
                    <a:lnTo>
                      <a:pt x="0" y="35"/>
                    </a:lnTo>
                    <a:lnTo>
                      <a:pt x="0" y="31"/>
                    </a:lnTo>
                    <a:lnTo>
                      <a:pt x="1" y="26"/>
                    </a:lnTo>
                    <a:lnTo>
                      <a:pt x="1" y="25"/>
                    </a:lnTo>
                    <a:lnTo>
                      <a:pt x="3" y="22"/>
                    </a:lnTo>
                    <a:lnTo>
                      <a:pt x="4" y="21"/>
                    </a:lnTo>
                    <a:lnTo>
                      <a:pt x="4" y="18"/>
                    </a:lnTo>
                    <a:lnTo>
                      <a:pt x="5" y="15"/>
                    </a:lnTo>
                    <a:lnTo>
                      <a:pt x="7" y="14"/>
                    </a:lnTo>
                    <a:lnTo>
                      <a:pt x="9" y="12"/>
                    </a:lnTo>
                    <a:lnTo>
                      <a:pt x="11" y="11"/>
                    </a:lnTo>
                    <a:lnTo>
                      <a:pt x="12" y="8"/>
                    </a:lnTo>
                    <a:lnTo>
                      <a:pt x="13" y="7"/>
                    </a:lnTo>
                    <a:lnTo>
                      <a:pt x="16" y="6"/>
                    </a:lnTo>
                    <a:lnTo>
                      <a:pt x="17" y="4"/>
                    </a:lnTo>
                    <a:lnTo>
                      <a:pt x="20" y="4"/>
                    </a:lnTo>
                    <a:lnTo>
                      <a:pt x="23" y="3"/>
                    </a:lnTo>
                    <a:lnTo>
                      <a:pt x="23" y="3"/>
                    </a:lnTo>
                    <a:lnTo>
                      <a:pt x="23" y="3"/>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3" name="Freeform 186"/>
              <p:cNvSpPr>
                <a:spLocks/>
              </p:cNvSpPr>
              <p:nvPr/>
            </p:nvSpPr>
            <p:spPr bwMode="auto">
              <a:xfrm>
                <a:off x="8826551" y="5972903"/>
                <a:ext cx="158857" cy="56263"/>
              </a:xfrm>
              <a:custGeom>
                <a:avLst/>
                <a:gdLst>
                  <a:gd name="T0" fmla="*/ 142 w 143"/>
                  <a:gd name="T1" fmla="*/ 44 h 53"/>
                  <a:gd name="T2" fmla="*/ 142 w 143"/>
                  <a:gd name="T3" fmla="*/ 37 h 53"/>
                  <a:gd name="T4" fmla="*/ 140 w 143"/>
                  <a:gd name="T5" fmla="*/ 35 h 53"/>
                  <a:gd name="T6" fmla="*/ 139 w 143"/>
                  <a:gd name="T7" fmla="*/ 31 h 53"/>
                  <a:gd name="T8" fmla="*/ 139 w 143"/>
                  <a:gd name="T9" fmla="*/ 28 h 53"/>
                  <a:gd name="T10" fmla="*/ 138 w 143"/>
                  <a:gd name="T11" fmla="*/ 25 h 53"/>
                  <a:gd name="T12" fmla="*/ 136 w 143"/>
                  <a:gd name="T13" fmla="*/ 21 h 53"/>
                  <a:gd name="T14" fmla="*/ 135 w 143"/>
                  <a:gd name="T15" fmla="*/ 19 h 53"/>
                  <a:gd name="T16" fmla="*/ 134 w 143"/>
                  <a:gd name="T17" fmla="*/ 16 h 53"/>
                  <a:gd name="T18" fmla="*/ 131 w 143"/>
                  <a:gd name="T19" fmla="*/ 13 h 53"/>
                  <a:gd name="T20" fmla="*/ 128 w 143"/>
                  <a:gd name="T21" fmla="*/ 12 h 53"/>
                  <a:gd name="T22" fmla="*/ 126 w 143"/>
                  <a:gd name="T23" fmla="*/ 9 h 53"/>
                  <a:gd name="T24" fmla="*/ 124 w 143"/>
                  <a:gd name="T25" fmla="*/ 8 h 53"/>
                  <a:gd name="T26" fmla="*/ 120 w 143"/>
                  <a:gd name="T27" fmla="*/ 7 h 53"/>
                  <a:gd name="T28" fmla="*/ 115 w 143"/>
                  <a:gd name="T29" fmla="*/ 4 h 53"/>
                  <a:gd name="T30" fmla="*/ 110 w 143"/>
                  <a:gd name="T31" fmla="*/ 3 h 53"/>
                  <a:gd name="T32" fmla="*/ 106 w 143"/>
                  <a:gd name="T33" fmla="*/ 1 h 53"/>
                  <a:gd name="T34" fmla="*/ 100 w 143"/>
                  <a:gd name="T35" fmla="*/ 0 h 53"/>
                  <a:gd name="T36" fmla="*/ 94 w 143"/>
                  <a:gd name="T37" fmla="*/ 0 h 53"/>
                  <a:gd name="T38" fmla="*/ 83 w 143"/>
                  <a:gd name="T39" fmla="*/ 0 h 53"/>
                  <a:gd name="T40" fmla="*/ 60 w 143"/>
                  <a:gd name="T41" fmla="*/ 0 h 53"/>
                  <a:gd name="T42" fmla="*/ 48 w 143"/>
                  <a:gd name="T43" fmla="*/ 0 h 53"/>
                  <a:gd name="T44" fmla="*/ 43 w 143"/>
                  <a:gd name="T45" fmla="*/ 0 h 53"/>
                  <a:gd name="T46" fmla="*/ 38 w 143"/>
                  <a:gd name="T47" fmla="*/ 1 h 53"/>
                  <a:gd name="T48" fmla="*/ 32 w 143"/>
                  <a:gd name="T49" fmla="*/ 3 h 53"/>
                  <a:gd name="T50" fmla="*/ 27 w 143"/>
                  <a:gd name="T51" fmla="*/ 4 h 53"/>
                  <a:gd name="T52" fmla="*/ 21 w 143"/>
                  <a:gd name="T53" fmla="*/ 7 h 53"/>
                  <a:gd name="T54" fmla="*/ 19 w 143"/>
                  <a:gd name="T55" fmla="*/ 8 h 53"/>
                  <a:gd name="T56" fmla="*/ 16 w 143"/>
                  <a:gd name="T57" fmla="*/ 9 h 53"/>
                  <a:gd name="T58" fmla="*/ 13 w 143"/>
                  <a:gd name="T59" fmla="*/ 12 h 53"/>
                  <a:gd name="T60" fmla="*/ 11 w 143"/>
                  <a:gd name="T61" fmla="*/ 13 h 53"/>
                  <a:gd name="T62" fmla="*/ 9 w 143"/>
                  <a:gd name="T63" fmla="*/ 16 h 53"/>
                  <a:gd name="T64" fmla="*/ 7 w 143"/>
                  <a:gd name="T65" fmla="*/ 19 h 53"/>
                  <a:gd name="T66" fmla="*/ 5 w 143"/>
                  <a:gd name="T67" fmla="*/ 21 h 53"/>
                  <a:gd name="T68" fmla="*/ 4 w 143"/>
                  <a:gd name="T69" fmla="*/ 25 h 53"/>
                  <a:gd name="T70" fmla="*/ 3 w 143"/>
                  <a:gd name="T71" fmla="*/ 28 h 53"/>
                  <a:gd name="T72" fmla="*/ 3 w 143"/>
                  <a:gd name="T73" fmla="*/ 31 h 53"/>
                  <a:gd name="T74" fmla="*/ 1 w 143"/>
                  <a:gd name="T75" fmla="*/ 35 h 53"/>
                  <a:gd name="T76" fmla="*/ 1 w 143"/>
                  <a:gd name="T77" fmla="*/ 37 h 53"/>
                  <a:gd name="T78" fmla="*/ 0 w 143"/>
                  <a:gd name="T79" fmla="*/ 44 h 53"/>
                  <a:gd name="T80" fmla="*/ 0 w 143"/>
                  <a:gd name="T81" fmla="*/ 51 h 53"/>
                  <a:gd name="T82" fmla="*/ 0 w 143"/>
                  <a:gd name="T83" fmla="*/ 53 h 53"/>
                  <a:gd name="T84" fmla="*/ 51 w 143"/>
                  <a:gd name="T85" fmla="*/ 53 h 53"/>
                  <a:gd name="T86" fmla="*/ 92 w 143"/>
                  <a:gd name="T87" fmla="*/ 53 h 53"/>
                  <a:gd name="T88" fmla="*/ 143 w 143"/>
                  <a:gd name="T89" fmla="*/ 53 h 53"/>
                  <a:gd name="T90" fmla="*/ 143 w 143"/>
                  <a:gd name="T91" fmla="*/ 51 h 53"/>
                  <a:gd name="T92" fmla="*/ 142 w 143"/>
                  <a:gd name="T93"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3">
                    <a:moveTo>
                      <a:pt x="142" y="44"/>
                    </a:moveTo>
                    <a:lnTo>
                      <a:pt x="142" y="37"/>
                    </a:lnTo>
                    <a:lnTo>
                      <a:pt x="140" y="35"/>
                    </a:lnTo>
                    <a:lnTo>
                      <a:pt x="139" y="31"/>
                    </a:lnTo>
                    <a:lnTo>
                      <a:pt x="139" y="28"/>
                    </a:lnTo>
                    <a:lnTo>
                      <a:pt x="138" y="25"/>
                    </a:lnTo>
                    <a:lnTo>
                      <a:pt x="136" y="21"/>
                    </a:lnTo>
                    <a:lnTo>
                      <a:pt x="135" y="19"/>
                    </a:lnTo>
                    <a:lnTo>
                      <a:pt x="134" y="16"/>
                    </a:lnTo>
                    <a:lnTo>
                      <a:pt x="131" y="13"/>
                    </a:lnTo>
                    <a:lnTo>
                      <a:pt x="128" y="12"/>
                    </a:lnTo>
                    <a:lnTo>
                      <a:pt x="126" y="9"/>
                    </a:lnTo>
                    <a:lnTo>
                      <a:pt x="124" y="8"/>
                    </a:lnTo>
                    <a:lnTo>
                      <a:pt x="120" y="7"/>
                    </a:lnTo>
                    <a:lnTo>
                      <a:pt x="115" y="4"/>
                    </a:lnTo>
                    <a:lnTo>
                      <a:pt x="110" y="3"/>
                    </a:lnTo>
                    <a:lnTo>
                      <a:pt x="106" y="1"/>
                    </a:lnTo>
                    <a:lnTo>
                      <a:pt x="100" y="0"/>
                    </a:lnTo>
                    <a:lnTo>
                      <a:pt x="94" y="0"/>
                    </a:lnTo>
                    <a:lnTo>
                      <a:pt x="83" y="0"/>
                    </a:lnTo>
                    <a:lnTo>
                      <a:pt x="60" y="0"/>
                    </a:lnTo>
                    <a:lnTo>
                      <a:pt x="48" y="0"/>
                    </a:lnTo>
                    <a:lnTo>
                      <a:pt x="43" y="0"/>
                    </a:lnTo>
                    <a:lnTo>
                      <a:pt x="38" y="1"/>
                    </a:lnTo>
                    <a:lnTo>
                      <a:pt x="32" y="3"/>
                    </a:lnTo>
                    <a:lnTo>
                      <a:pt x="27" y="4"/>
                    </a:lnTo>
                    <a:lnTo>
                      <a:pt x="21" y="7"/>
                    </a:lnTo>
                    <a:lnTo>
                      <a:pt x="19" y="8"/>
                    </a:lnTo>
                    <a:lnTo>
                      <a:pt x="16" y="9"/>
                    </a:lnTo>
                    <a:lnTo>
                      <a:pt x="13" y="12"/>
                    </a:lnTo>
                    <a:lnTo>
                      <a:pt x="11" y="13"/>
                    </a:lnTo>
                    <a:lnTo>
                      <a:pt x="9" y="16"/>
                    </a:lnTo>
                    <a:lnTo>
                      <a:pt x="7" y="19"/>
                    </a:lnTo>
                    <a:lnTo>
                      <a:pt x="5" y="21"/>
                    </a:lnTo>
                    <a:lnTo>
                      <a:pt x="4" y="25"/>
                    </a:lnTo>
                    <a:lnTo>
                      <a:pt x="3" y="28"/>
                    </a:lnTo>
                    <a:lnTo>
                      <a:pt x="3" y="31"/>
                    </a:lnTo>
                    <a:lnTo>
                      <a:pt x="1" y="35"/>
                    </a:lnTo>
                    <a:lnTo>
                      <a:pt x="1" y="37"/>
                    </a:lnTo>
                    <a:lnTo>
                      <a:pt x="0" y="44"/>
                    </a:lnTo>
                    <a:lnTo>
                      <a:pt x="0" y="51"/>
                    </a:lnTo>
                    <a:lnTo>
                      <a:pt x="0" y="53"/>
                    </a:lnTo>
                    <a:lnTo>
                      <a:pt x="51" y="53"/>
                    </a:lnTo>
                    <a:lnTo>
                      <a:pt x="92" y="53"/>
                    </a:lnTo>
                    <a:lnTo>
                      <a:pt x="143" y="53"/>
                    </a:lnTo>
                    <a:lnTo>
                      <a:pt x="143" y="51"/>
                    </a:lnTo>
                    <a:lnTo>
                      <a:pt x="142" y="44"/>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4" name="Freeform 187"/>
              <p:cNvSpPr>
                <a:spLocks/>
              </p:cNvSpPr>
              <p:nvPr/>
            </p:nvSpPr>
            <p:spPr bwMode="auto">
              <a:xfrm>
                <a:off x="9561267" y="5876928"/>
                <a:ext cx="79429" cy="79429"/>
              </a:xfrm>
              <a:custGeom>
                <a:avLst/>
                <a:gdLst>
                  <a:gd name="T0" fmla="*/ 22 w 73"/>
                  <a:gd name="T1" fmla="*/ 3 h 73"/>
                  <a:gd name="T2" fmla="*/ 26 w 73"/>
                  <a:gd name="T3" fmla="*/ 2 h 73"/>
                  <a:gd name="T4" fmla="*/ 30 w 73"/>
                  <a:gd name="T5" fmla="*/ 0 h 73"/>
                  <a:gd name="T6" fmla="*/ 36 w 73"/>
                  <a:gd name="T7" fmla="*/ 0 h 73"/>
                  <a:gd name="T8" fmla="*/ 40 w 73"/>
                  <a:gd name="T9" fmla="*/ 0 h 73"/>
                  <a:gd name="T10" fmla="*/ 45 w 73"/>
                  <a:gd name="T11" fmla="*/ 2 h 73"/>
                  <a:gd name="T12" fmla="*/ 53 w 73"/>
                  <a:gd name="T13" fmla="*/ 4 h 73"/>
                  <a:gd name="T14" fmla="*/ 60 w 73"/>
                  <a:gd name="T15" fmla="*/ 10 h 73"/>
                  <a:gd name="T16" fmla="*/ 67 w 73"/>
                  <a:gd name="T17" fmla="*/ 17 h 73"/>
                  <a:gd name="T18" fmla="*/ 69 w 73"/>
                  <a:gd name="T19" fmla="*/ 21 h 73"/>
                  <a:gd name="T20" fmla="*/ 71 w 73"/>
                  <a:gd name="T21" fmla="*/ 25 h 73"/>
                  <a:gd name="T22" fmla="*/ 72 w 73"/>
                  <a:gd name="T23" fmla="*/ 29 h 73"/>
                  <a:gd name="T24" fmla="*/ 73 w 73"/>
                  <a:gd name="T25" fmla="*/ 34 h 73"/>
                  <a:gd name="T26" fmla="*/ 73 w 73"/>
                  <a:gd name="T27" fmla="*/ 38 h 73"/>
                  <a:gd name="T28" fmla="*/ 73 w 73"/>
                  <a:gd name="T29" fmla="*/ 41 h 73"/>
                  <a:gd name="T30" fmla="*/ 72 w 73"/>
                  <a:gd name="T31" fmla="*/ 46 h 73"/>
                  <a:gd name="T32" fmla="*/ 71 w 73"/>
                  <a:gd name="T33" fmla="*/ 51 h 73"/>
                  <a:gd name="T34" fmla="*/ 68 w 73"/>
                  <a:gd name="T35" fmla="*/ 55 h 73"/>
                  <a:gd name="T36" fmla="*/ 65 w 73"/>
                  <a:gd name="T37" fmla="*/ 59 h 73"/>
                  <a:gd name="T38" fmla="*/ 61 w 73"/>
                  <a:gd name="T39" fmla="*/ 63 h 73"/>
                  <a:gd name="T40" fmla="*/ 57 w 73"/>
                  <a:gd name="T41" fmla="*/ 66 h 73"/>
                  <a:gd name="T42" fmla="*/ 53 w 73"/>
                  <a:gd name="T43" fmla="*/ 69 h 73"/>
                  <a:gd name="T44" fmla="*/ 49 w 73"/>
                  <a:gd name="T45" fmla="*/ 70 h 73"/>
                  <a:gd name="T46" fmla="*/ 44 w 73"/>
                  <a:gd name="T47" fmla="*/ 71 h 73"/>
                  <a:gd name="T48" fmla="*/ 39 w 73"/>
                  <a:gd name="T49" fmla="*/ 73 h 73"/>
                  <a:gd name="T50" fmla="*/ 33 w 73"/>
                  <a:gd name="T51" fmla="*/ 73 h 73"/>
                  <a:gd name="T52" fmla="*/ 28 w 73"/>
                  <a:gd name="T53" fmla="*/ 71 h 73"/>
                  <a:gd name="T54" fmla="*/ 24 w 73"/>
                  <a:gd name="T55" fmla="*/ 71 h 73"/>
                  <a:gd name="T56" fmla="*/ 18 w 73"/>
                  <a:gd name="T57" fmla="*/ 69 h 73"/>
                  <a:gd name="T58" fmla="*/ 14 w 73"/>
                  <a:gd name="T59" fmla="*/ 66 h 73"/>
                  <a:gd name="T60" fmla="*/ 13 w 73"/>
                  <a:gd name="T61" fmla="*/ 65 h 73"/>
                  <a:gd name="T62" fmla="*/ 9 w 73"/>
                  <a:gd name="T63" fmla="*/ 61 h 73"/>
                  <a:gd name="T64" fmla="*/ 6 w 73"/>
                  <a:gd name="T65" fmla="*/ 58 h 73"/>
                  <a:gd name="T66" fmla="*/ 4 w 73"/>
                  <a:gd name="T67" fmla="*/ 54 h 73"/>
                  <a:gd name="T68" fmla="*/ 1 w 73"/>
                  <a:gd name="T69" fmla="*/ 50 h 73"/>
                  <a:gd name="T70" fmla="*/ 0 w 73"/>
                  <a:gd name="T71" fmla="*/ 45 h 73"/>
                  <a:gd name="T72" fmla="*/ 0 w 73"/>
                  <a:gd name="T73" fmla="*/ 41 h 73"/>
                  <a:gd name="T74" fmla="*/ 0 w 73"/>
                  <a:gd name="T75" fmla="*/ 31 h 73"/>
                  <a:gd name="T76" fmla="*/ 1 w 73"/>
                  <a:gd name="T77" fmla="*/ 25 h 73"/>
                  <a:gd name="T78" fmla="*/ 4 w 73"/>
                  <a:gd name="T79" fmla="*/ 21 h 73"/>
                  <a:gd name="T80" fmla="*/ 5 w 73"/>
                  <a:gd name="T81" fmla="*/ 15 h 73"/>
                  <a:gd name="T82" fmla="*/ 9 w 73"/>
                  <a:gd name="T83" fmla="*/ 12 h 73"/>
                  <a:gd name="T84" fmla="*/ 12 w 73"/>
                  <a:gd name="T85" fmla="*/ 8 h 73"/>
                  <a:gd name="T86" fmla="*/ 16 w 73"/>
                  <a:gd name="T87" fmla="*/ 6 h 73"/>
                  <a:gd name="T88" fmla="*/ 20 w 73"/>
                  <a:gd name="T89" fmla="*/ 4 h 73"/>
                  <a:gd name="T90" fmla="*/ 22 w 73"/>
                  <a:gd name="T91"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3">
                    <a:moveTo>
                      <a:pt x="22" y="3"/>
                    </a:moveTo>
                    <a:lnTo>
                      <a:pt x="22" y="3"/>
                    </a:lnTo>
                    <a:lnTo>
                      <a:pt x="24" y="2"/>
                    </a:lnTo>
                    <a:lnTo>
                      <a:pt x="26" y="2"/>
                    </a:lnTo>
                    <a:lnTo>
                      <a:pt x="29" y="0"/>
                    </a:lnTo>
                    <a:lnTo>
                      <a:pt x="30" y="0"/>
                    </a:lnTo>
                    <a:lnTo>
                      <a:pt x="33" y="0"/>
                    </a:lnTo>
                    <a:lnTo>
                      <a:pt x="36" y="0"/>
                    </a:lnTo>
                    <a:lnTo>
                      <a:pt x="37" y="0"/>
                    </a:lnTo>
                    <a:lnTo>
                      <a:pt x="40" y="0"/>
                    </a:lnTo>
                    <a:lnTo>
                      <a:pt x="43" y="0"/>
                    </a:lnTo>
                    <a:lnTo>
                      <a:pt x="45" y="2"/>
                    </a:lnTo>
                    <a:lnTo>
                      <a:pt x="49" y="3"/>
                    </a:lnTo>
                    <a:lnTo>
                      <a:pt x="53" y="4"/>
                    </a:lnTo>
                    <a:lnTo>
                      <a:pt x="57" y="7"/>
                    </a:lnTo>
                    <a:lnTo>
                      <a:pt x="60" y="10"/>
                    </a:lnTo>
                    <a:lnTo>
                      <a:pt x="64" y="12"/>
                    </a:lnTo>
                    <a:lnTo>
                      <a:pt x="67" y="17"/>
                    </a:lnTo>
                    <a:lnTo>
                      <a:pt x="68" y="19"/>
                    </a:lnTo>
                    <a:lnTo>
                      <a:pt x="69" y="21"/>
                    </a:lnTo>
                    <a:lnTo>
                      <a:pt x="71" y="22"/>
                    </a:lnTo>
                    <a:lnTo>
                      <a:pt x="71" y="25"/>
                    </a:lnTo>
                    <a:lnTo>
                      <a:pt x="72" y="27"/>
                    </a:lnTo>
                    <a:lnTo>
                      <a:pt x="72" y="29"/>
                    </a:lnTo>
                    <a:lnTo>
                      <a:pt x="72" y="31"/>
                    </a:lnTo>
                    <a:lnTo>
                      <a:pt x="73" y="34"/>
                    </a:lnTo>
                    <a:lnTo>
                      <a:pt x="73" y="35"/>
                    </a:lnTo>
                    <a:lnTo>
                      <a:pt x="73" y="38"/>
                    </a:lnTo>
                    <a:lnTo>
                      <a:pt x="73" y="38"/>
                    </a:lnTo>
                    <a:lnTo>
                      <a:pt x="73" y="41"/>
                    </a:lnTo>
                    <a:lnTo>
                      <a:pt x="72" y="43"/>
                    </a:lnTo>
                    <a:lnTo>
                      <a:pt x="72" y="46"/>
                    </a:lnTo>
                    <a:lnTo>
                      <a:pt x="71" y="49"/>
                    </a:lnTo>
                    <a:lnTo>
                      <a:pt x="71" y="51"/>
                    </a:lnTo>
                    <a:lnTo>
                      <a:pt x="69" y="53"/>
                    </a:lnTo>
                    <a:lnTo>
                      <a:pt x="68" y="55"/>
                    </a:lnTo>
                    <a:lnTo>
                      <a:pt x="67" y="58"/>
                    </a:lnTo>
                    <a:lnTo>
                      <a:pt x="65" y="59"/>
                    </a:lnTo>
                    <a:lnTo>
                      <a:pt x="64" y="61"/>
                    </a:lnTo>
                    <a:lnTo>
                      <a:pt x="61" y="63"/>
                    </a:lnTo>
                    <a:lnTo>
                      <a:pt x="60" y="65"/>
                    </a:lnTo>
                    <a:lnTo>
                      <a:pt x="57" y="66"/>
                    </a:lnTo>
                    <a:lnTo>
                      <a:pt x="56" y="67"/>
                    </a:lnTo>
                    <a:lnTo>
                      <a:pt x="53" y="69"/>
                    </a:lnTo>
                    <a:lnTo>
                      <a:pt x="51" y="70"/>
                    </a:lnTo>
                    <a:lnTo>
                      <a:pt x="49" y="70"/>
                    </a:lnTo>
                    <a:lnTo>
                      <a:pt x="47" y="71"/>
                    </a:lnTo>
                    <a:lnTo>
                      <a:pt x="44" y="71"/>
                    </a:lnTo>
                    <a:lnTo>
                      <a:pt x="41" y="73"/>
                    </a:lnTo>
                    <a:lnTo>
                      <a:pt x="39" y="73"/>
                    </a:lnTo>
                    <a:lnTo>
                      <a:pt x="36" y="73"/>
                    </a:lnTo>
                    <a:lnTo>
                      <a:pt x="33" y="73"/>
                    </a:lnTo>
                    <a:lnTo>
                      <a:pt x="30" y="73"/>
                    </a:lnTo>
                    <a:lnTo>
                      <a:pt x="28" y="71"/>
                    </a:lnTo>
                    <a:lnTo>
                      <a:pt x="26" y="71"/>
                    </a:lnTo>
                    <a:lnTo>
                      <a:pt x="24" y="71"/>
                    </a:lnTo>
                    <a:lnTo>
                      <a:pt x="21" y="70"/>
                    </a:lnTo>
                    <a:lnTo>
                      <a:pt x="18" y="69"/>
                    </a:lnTo>
                    <a:lnTo>
                      <a:pt x="17" y="67"/>
                    </a:lnTo>
                    <a:lnTo>
                      <a:pt x="14" y="66"/>
                    </a:lnTo>
                    <a:lnTo>
                      <a:pt x="13" y="65"/>
                    </a:lnTo>
                    <a:lnTo>
                      <a:pt x="13" y="65"/>
                    </a:lnTo>
                    <a:lnTo>
                      <a:pt x="10" y="63"/>
                    </a:lnTo>
                    <a:lnTo>
                      <a:pt x="9" y="61"/>
                    </a:lnTo>
                    <a:lnTo>
                      <a:pt x="8" y="59"/>
                    </a:lnTo>
                    <a:lnTo>
                      <a:pt x="6" y="58"/>
                    </a:lnTo>
                    <a:lnTo>
                      <a:pt x="5" y="55"/>
                    </a:lnTo>
                    <a:lnTo>
                      <a:pt x="4" y="54"/>
                    </a:lnTo>
                    <a:lnTo>
                      <a:pt x="2" y="51"/>
                    </a:lnTo>
                    <a:lnTo>
                      <a:pt x="1" y="50"/>
                    </a:lnTo>
                    <a:lnTo>
                      <a:pt x="1" y="47"/>
                    </a:lnTo>
                    <a:lnTo>
                      <a:pt x="0" y="45"/>
                    </a:lnTo>
                    <a:lnTo>
                      <a:pt x="0" y="43"/>
                    </a:lnTo>
                    <a:lnTo>
                      <a:pt x="0" y="41"/>
                    </a:lnTo>
                    <a:lnTo>
                      <a:pt x="0" y="35"/>
                    </a:lnTo>
                    <a:lnTo>
                      <a:pt x="0" y="31"/>
                    </a:lnTo>
                    <a:lnTo>
                      <a:pt x="1" y="26"/>
                    </a:lnTo>
                    <a:lnTo>
                      <a:pt x="1" y="25"/>
                    </a:lnTo>
                    <a:lnTo>
                      <a:pt x="2" y="22"/>
                    </a:lnTo>
                    <a:lnTo>
                      <a:pt x="4" y="21"/>
                    </a:lnTo>
                    <a:lnTo>
                      <a:pt x="4" y="18"/>
                    </a:lnTo>
                    <a:lnTo>
                      <a:pt x="5" y="15"/>
                    </a:lnTo>
                    <a:lnTo>
                      <a:pt x="6" y="14"/>
                    </a:lnTo>
                    <a:lnTo>
                      <a:pt x="9" y="12"/>
                    </a:lnTo>
                    <a:lnTo>
                      <a:pt x="10" y="11"/>
                    </a:lnTo>
                    <a:lnTo>
                      <a:pt x="12" y="8"/>
                    </a:lnTo>
                    <a:lnTo>
                      <a:pt x="13" y="7"/>
                    </a:lnTo>
                    <a:lnTo>
                      <a:pt x="16" y="6"/>
                    </a:lnTo>
                    <a:lnTo>
                      <a:pt x="17" y="4"/>
                    </a:lnTo>
                    <a:lnTo>
                      <a:pt x="20" y="4"/>
                    </a:lnTo>
                    <a:lnTo>
                      <a:pt x="22" y="3"/>
                    </a:lnTo>
                    <a:lnTo>
                      <a:pt x="22" y="3"/>
                    </a:lnTo>
                    <a:lnTo>
                      <a:pt x="22" y="3"/>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5" name="Freeform 188"/>
              <p:cNvSpPr>
                <a:spLocks/>
              </p:cNvSpPr>
              <p:nvPr/>
            </p:nvSpPr>
            <p:spPr bwMode="auto">
              <a:xfrm>
                <a:off x="9521552" y="5972903"/>
                <a:ext cx="158857" cy="56263"/>
              </a:xfrm>
              <a:custGeom>
                <a:avLst/>
                <a:gdLst>
                  <a:gd name="T0" fmla="*/ 142 w 143"/>
                  <a:gd name="T1" fmla="*/ 44 h 53"/>
                  <a:gd name="T2" fmla="*/ 142 w 143"/>
                  <a:gd name="T3" fmla="*/ 37 h 53"/>
                  <a:gd name="T4" fmla="*/ 140 w 143"/>
                  <a:gd name="T5" fmla="*/ 35 h 53"/>
                  <a:gd name="T6" fmla="*/ 139 w 143"/>
                  <a:gd name="T7" fmla="*/ 31 h 53"/>
                  <a:gd name="T8" fmla="*/ 139 w 143"/>
                  <a:gd name="T9" fmla="*/ 28 h 53"/>
                  <a:gd name="T10" fmla="*/ 138 w 143"/>
                  <a:gd name="T11" fmla="*/ 25 h 53"/>
                  <a:gd name="T12" fmla="*/ 136 w 143"/>
                  <a:gd name="T13" fmla="*/ 21 h 53"/>
                  <a:gd name="T14" fmla="*/ 135 w 143"/>
                  <a:gd name="T15" fmla="*/ 19 h 53"/>
                  <a:gd name="T16" fmla="*/ 134 w 143"/>
                  <a:gd name="T17" fmla="*/ 16 h 53"/>
                  <a:gd name="T18" fmla="*/ 131 w 143"/>
                  <a:gd name="T19" fmla="*/ 13 h 53"/>
                  <a:gd name="T20" fmla="*/ 128 w 143"/>
                  <a:gd name="T21" fmla="*/ 12 h 53"/>
                  <a:gd name="T22" fmla="*/ 126 w 143"/>
                  <a:gd name="T23" fmla="*/ 9 h 53"/>
                  <a:gd name="T24" fmla="*/ 124 w 143"/>
                  <a:gd name="T25" fmla="*/ 8 h 53"/>
                  <a:gd name="T26" fmla="*/ 120 w 143"/>
                  <a:gd name="T27" fmla="*/ 7 h 53"/>
                  <a:gd name="T28" fmla="*/ 115 w 143"/>
                  <a:gd name="T29" fmla="*/ 4 h 53"/>
                  <a:gd name="T30" fmla="*/ 110 w 143"/>
                  <a:gd name="T31" fmla="*/ 3 h 53"/>
                  <a:gd name="T32" fmla="*/ 106 w 143"/>
                  <a:gd name="T33" fmla="*/ 1 h 53"/>
                  <a:gd name="T34" fmla="*/ 100 w 143"/>
                  <a:gd name="T35" fmla="*/ 0 h 53"/>
                  <a:gd name="T36" fmla="*/ 94 w 143"/>
                  <a:gd name="T37" fmla="*/ 0 h 53"/>
                  <a:gd name="T38" fmla="*/ 83 w 143"/>
                  <a:gd name="T39" fmla="*/ 0 h 53"/>
                  <a:gd name="T40" fmla="*/ 60 w 143"/>
                  <a:gd name="T41" fmla="*/ 0 h 53"/>
                  <a:gd name="T42" fmla="*/ 48 w 143"/>
                  <a:gd name="T43" fmla="*/ 0 h 53"/>
                  <a:gd name="T44" fmla="*/ 43 w 143"/>
                  <a:gd name="T45" fmla="*/ 0 h 53"/>
                  <a:gd name="T46" fmla="*/ 37 w 143"/>
                  <a:gd name="T47" fmla="*/ 1 h 53"/>
                  <a:gd name="T48" fmla="*/ 32 w 143"/>
                  <a:gd name="T49" fmla="*/ 3 h 53"/>
                  <a:gd name="T50" fmla="*/ 27 w 143"/>
                  <a:gd name="T51" fmla="*/ 4 h 53"/>
                  <a:gd name="T52" fmla="*/ 21 w 143"/>
                  <a:gd name="T53" fmla="*/ 7 h 53"/>
                  <a:gd name="T54" fmla="*/ 19 w 143"/>
                  <a:gd name="T55" fmla="*/ 8 h 53"/>
                  <a:gd name="T56" fmla="*/ 16 w 143"/>
                  <a:gd name="T57" fmla="*/ 9 h 53"/>
                  <a:gd name="T58" fmla="*/ 13 w 143"/>
                  <a:gd name="T59" fmla="*/ 12 h 53"/>
                  <a:gd name="T60" fmla="*/ 11 w 143"/>
                  <a:gd name="T61" fmla="*/ 13 h 53"/>
                  <a:gd name="T62" fmla="*/ 9 w 143"/>
                  <a:gd name="T63" fmla="*/ 16 h 53"/>
                  <a:gd name="T64" fmla="*/ 7 w 143"/>
                  <a:gd name="T65" fmla="*/ 19 h 53"/>
                  <a:gd name="T66" fmla="*/ 5 w 143"/>
                  <a:gd name="T67" fmla="*/ 21 h 53"/>
                  <a:gd name="T68" fmla="*/ 4 w 143"/>
                  <a:gd name="T69" fmla="*/ 25 h 53"/>
                  <a:gd name="T70" fmla="*/ 3 w 143"/>
                  <a:gd name="T71" fmla="*/ 28 h 53"/>
                  <a:gd name="T72" fmla="*/ 3 w 143"/>
                  <a:gd name="T73" fmla="*/ 31 h 53"/>
                  <a:gd name="T74" fmla="*/ 1 w 143"/>
                  <a:gd name="T75" fmla="*/ 35 h 53"/>
                  <a:gd name="T76" fmla="*/ 1 w 143"/>
                  <a:gd name="T77" fmla="*/ 37 h 53"/>
                  <a:gd name="T78" fmla="*/ 0 w 143"/>
                  <a:gd name="T79" fmla="*/ 44 h 53"/>
                  <a:gd name="T80" fmla="*/ 0 w 143"/>
                  <a:gd name="T81" fmla="*/ 51 h 53"/>
                  <a:gd name="T82" fmla="*/ 0 w 143"/>
                  <a:gd name="T83" fmla="*/ 53 h 53"/>
                  <a:gd name="T84" fmla="*/ 51 w 143"/>
                  <a:gd name="T85" fmla="*/ 53 h 53"/>
                  <a:gd name="T86" fmla="*/ 92 w 143"/>
                  <a:gd name="T87" fmla="*/ 53 h 53"/>
                  <a:gd name="T88" fmla="*/ 143 w 143"/>
                  <a:gd name="T89" fmla="*/ 53 h 53"/>
                  <a:gd name="T90" fmla="*/ 143 w 143"/>
                  <a:gd name="T91" fmla="*/ 51 h 53"/>
                  <a:gd name="T92" fmla="*/ 142 w 143"/>
                  <a:gd name="T93"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3">
                    <a:moveTo>
                      <a:pt x="142" y="44"/>
                    </a:moveTo>
                    <a:lnTo>
                      <a:pt x="142" y="37"/>
                    </a:lnTo>
                    <a:lnTo>
                      <a:pt x="140" y="35"/>
                    </a:lnTo>
                    <a:lnTo>
                      <a:pt x="139" y="31"/>
                    </a:lnTo>
                    <a:lnTo>
                      <a:pt x="139" y="28"/>
                    </a:lnTo>
                    <a:lnTo>
                      <a:pt x="138" y="25"/>
                    </a:lnTo>
                    <a:lnTo>
                      <a:pt x="136" y="21"/>
                    </a:lnTo>
                    <a:lnTo>
                      <a:pt x="135" y="19"/>
                    </a:lnTo>
                    <a:lnTo>
                      <a:pt x="134" y="16"/>
                    </a:lnTo>
                    <a:lnTo>
                      <a:pt x="131" y="13"/>
                    </a:lnTo>
                    <a:lnTo>
                      <a:pt x="128" y="12"/>
                    </a:lnTo>
                    <a:lnTo>
                      <a:pt x="126" y="9"/>
                    </a:lnTo>
                    <a:lnTo>
                      <a:pt x="124" y="8"/>
                    </a:lnTo>
                    <a:lnTo>
                      <a:pt x="120" y="7"/>
                    </a:lnTo>
                    <a:lnTo>
                      <a:pt x="115" y="4"/>
                    </a:lnTo>
                    <a:lnTo>
                      <a:pt x="110" y="3"/>
                    </a:lnTo>
                    <a:lnTo>
                      <a:pt x="106" y="1"/>
                    </a:lnTo>
                    <a:lnTo>
                      <a:pt x="100" y="0"/>
                    </a:lnTo>
                    <a:lnTo>
                      <a:pt x="94" y="0"/>
                    </a:lnTo>
                    <a:lnTo>
                      <a:pt x="83" y="0"/>
                    </a:lnTo>
                    <a:lnTo>
                      <a:pt x="60" y="0"/>
                    </a:lnTo>
                    <a:lnTo>
                      <a:pt x="48" y="0"/>
                    </a:lnTo>
                    <a:lnTo>
                      <a:pt x="43" y="0"/>
                    </a:lnTo>
                    <a:lnTo>
                      <a:pt x="37" y="1"/>
                    </a:lnTo>
                    <a:lnTo>
                      <a:pt x="32" y="3"/>
                    </a:lnTo>
                    <a:lnTo>
                      <a:pt x="27" y="4"/>
                    </a:lnTo>
                    <a:lnTo>
                      <a:pt x="21" y="7"/>
                    </a:lnTo>
                    <a:lnTo>
                      <a:pt x="19" y="8"/>
                    </a:lnTo>
                    <a:lnTo>
                      <a:pt x="16" y="9"/>
                    </a:lnTo>
                    <a:lnTo>
                      <a:pt x="13" y="12"/>
                    </a:lnTo>
                    <a:lnTo>
                      <a:pt x="11" y="13"/>
                    </a:lnTo>
                    <a:lnTo>
                      <a:pt x="9" y="16"/>
                    </a:lnTo>
                    <a:lnTo>
                      <a:pt x="7" y="19"/>
                    </a:lnTo>
                    <a:lnTo>
                      <a:pt x="5" y="21"/>
                    </a:lnTo>
                    <a:lnTo>
                      <a:pt x="4" y="25"/>
                    </a:lnTo>
                    <a:lnTo>
                      <a:pt x="3" y="28"/>
                    </a:lnTo>
                    <a:lnTo>
                      <a:pt x="3" y="31"/>
                    </a:lnTo>
                    <a:lnTo>
                      <a:pt x="1" y="35"/>
                    </a:lnTo>
                    <a:lnTo>
                      <a:pt x="1" y="37"/>
                    </a:lnTo>
                    <a:lnTo>
                      <a:pt x="0" y="44"/>
                    </a:lnTo>
                    <a:lnTo>
                      <a:pt x="0" y="51"/>
                    </a:lnTo>
                    <a:lnTo>
                      <a:pt x="0" y="53"/>
                    </a:lnTo>
                    <a:lnTo>
                      <a:pt x="51" y="53"/>
                    </a:lnTo>
                    <a:lnTo>
                      <a:pt x="92" y="53"/>
                    </a:lnTo>
                    <a:lnTo>
                      <a:pt x="143" y="53"/>
                    </a:lnTo>
                    <a:lnTo>
                      <a:pt x="143" y="51"/>
                    </a:lnTo>
                    <a:lnTo>
                      <a:pt x="142" y="44"/>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6" name="Freeform 189"/>
              <p:cNvSpPr>
                <a:spLocks/>
              </p:cNvSpPr>
              <p:nvPr/>
            </p:nvSpPr>
            <p:spPr bwMode="auto">
              <a:xfrm>
                <a:off x="9928624" y="5876928"/>
                <a:ext cx="79429" cy="79429"/>
              </a:xfrm>
              <a:custGeom>
                <a:avLst/>
                <a:gdLst>
                  <a:gd name="T0" fmla="*/ 22 w 73"/>
                  <a:gd name="T1" fmla="*/ 3 h 73"/>
                  <a:gd name="T2" fmla="*/ 26 w 73"/>
                  <a:gd name="T3" fmla="*/ 2 h 73"/>
                  <a:gd name="T4" fmla="*/ 30 w 73"/>
                  <a:gd name="T5" fmla="*/ 0 h 73"/>
                  <a:gd name="T6" fmla="*/ 36 w 73"/>
                  <a:gd name="T7" fmla="*/ 0 h 73"/>
                  <a:gd name="T8" fmla="*/ 40 w 73"/>
                  <a:gd name="T9" fmla="*/ 0 h 73"/>
                  <a:gd name="T10" fmla="*/ 45 w 73"/>
                  <a:gd name="T11" fmla="*/ 2 h 73"/>
                  <a:gd name="T12" fmla="*/ 53 w 73"/>
                  <a:gd name="T13" fmla="*/ 4 h 73"/>
                  <a:gd name="T14" fmla="*/ 61 w 73"/>
                  <a:gd name="T15" fmla="*/ 10 h 73"/>
                  <a:gd name="T16" fmla="*/ 66 w 73"/>
                  <a:gd name="T17" fmla="*/ 17 h 73"/>
                  <a:gd name="T18" fmla="*/ 69 w 73"/>
                  <a:gd name="T19" fmla="*/ 21 h 73"/>
                  <a:gd name="T20" fmla="*/ 70 w 73"/>
                  <a:gd name="T21" fmla="*/ 25 h 73"/>
                  <a:gd name="T22" fmla="*/ 72 w 73"/>
                  <a:gd name="T23" fmla="*/ 29 h 73"/>
                  <a:gd name="T24" fmla="*/ 73 w 73"/>
                  <a:gd name="T25" fmla="*/ 34 h 73"/>
                  <a:gd name="T26" fmla="*/ 73 w 73"/>
                  <a:gd name="T27" fmla="*/ 38 h 73"/>
                  <a:gd name="T28" fmla="*/ 73 w 73"/>
                  <a:gd name="T29" fmla="*/ 41 h 73"/>
                  <a:gd name="T30" fmla="*/ 72 w 73"/>
                  <a:gd name="T31" fmla="*/ 46 h 73"/>
                  <a:gd name="T32" fmla="*/ 70 w 73"/>
                  <a:gd name="T33" fmla="*/ 51 h 73"/>
                  <a:gd name="T34" fmla="*/ 68 w 73"/>
                  <a:gd name="T35" fmla="*/ 55 h 73"/>
                  <a:gd name="T36" fmla="*/ 65 w 73"/>
                  <a:gd name="T37" fmla="*/ 59 h 73"/>
                  <a:gd name="T38" fmla="*/ 61 w 73"/>
                  <a:gd name="T39" fmla="*/ 63 h 73"/>
                  <a:gd name="T40" fmla="*/ 57 w 73"/>
                  <a:gd name="T41" fmla="*/ 66 h 73"/>
                  <a:gd name="T42" fmla="*/ 53 w 73"/>
                  <a:gd name="T43" fmla="*/ 69 h 73"/>
                  <a:gd name="T44" fmla="*/ 49 w 73"/>
                  <a:gd name="T45" fmla="*/ 70 h 73"/>
                  <a:gd name="T46" fmla="*/ 44 w 73"/>
                  <a:gd name="T47" fmla="*/ 71 h 73"/>
                  <a:gd name="T48" fmla="*/ 38 w 73"/>
                  <a:gd name="T49" fmla="*/ 73 h 73"/>
                  <a:gd name="T50" fmla="*/ 33 w 73"/>
                  <a:gd name="T51" fmla="*/ 73 h 73"/>
                  <a:gd name="T52" fmla="*/ 29 w 73"/>
                  <a:gd name="T53" fmla="*/ 71 h 73"/>
                  <a:gd name="T54" fmla="*/ 24 w 73"/>
                  <a:gd name="T55" fmla="*/ 71 h 73"/>
                  <a:gd name="T56" fmla="*/ 18 w 73"/>
                  <a:gd name="T57" fmla="*/ 69 h 73"/>
                  <a:gd name="T58" fmla="*/ 14 w 73"/>
                  <a:gd name="T59" fmla="*/ 66 h 73"/>
                  <a:gd name="T60" fmla="*/ 13 w 73"/>
                  <a:gd name="T61" fmla="*/ 65 h 73"/>
                  <a:gd name="T62" fmla="*/ 9 w 73"/>
                  <a:gd name="T63" fmla="*/ 61 h 73"/>
                  <a:gd name="T64" fmla="*/ 6 w 73"/>
                  <a:gd name="T65" fmla="*/ 58 h 73"/>
                  <a:gd name="T66" fmla="*/ 4 w 73"/>
                  <a:gd name="T67" fmla="*/ 54 h 73"/>
                  <a:gd name="T68" fmla="*/ 1 w 73"/>
                  <a:gd name="T69" fmla="*/ 50 h 73"/>
                  <a:gd name="T70" fmla="*/ 1 w 73"/>
                  <a:gd name="T71" fmla="*/ 45 h 73"/>
                  <a:gd name="T72" fmla="*/ 0 w 73"/>
                  <a:gd name="T73" fmla="*/ 41 h 73"/>
                  <a:gd name="T74" fmla="*/ 0 w 73"/>
                  <a:gd name="T75" fmla="*/ 31 h 73"/>
                  <a:gd name="T76" fmla="*/ 1 w 73"/>
                  <a:gd name="T77" fmla="*/ 25 h 73"/>
                  <a:gd name="T78" fmla="*/ 4 w 73"/>
                  <a:gd name="T79" fmla="*/ 21 h 73"/>
                  <a:gd name="T80" fmla="*/ 6 w 73"/>
                  <a:gd name="T81" fmla="*/ 15 h 73"/>
                  <a:gd name="T82" fmla="*/ 9 w 73"/>
                  <a:gd name="T83" fmla="*/ 12 h 73"/>
                  <a:gd name="T84" fmla="*/ 12 w 73"/>
                  <a:gd name="T85" fmla="*/ 8 h 73"/>
                  <a:gd name="T86" fmla="*/ 16 w 73"/>
                  <a:gd name="T87" fmla="*/ 6 h 73"/>
                  <a:gd name="T88" fmla="*/ 20 w 73"/>
                  <a:gd name="T89" fmla="*/ 4 h 73"/>
                  <a:gd name="T90" fmla="*/ 22 w 73"/>
                  <a:gd name="T91"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3">
                    <a:moveTo>
                      <a:pt x="22" y="3"/>
                    </a:moveTo>
                    <a:lnTo>
                      <a:pt x="22" y="3"/>
                    </a:lnTo>
                    <a:lnTo>
                      <a:pt x="24" y="2"/>
                    </a:lnTo>
                    <a:lnTo>
                      <a:pt x="26" y="2"/>
                    </a:lnTo>
                    <a:lnTo>
                      <a:pt x="29" y="0"/>
                    </a:lnTo>
                    <a:lnTo>
                      <a:pt x="30" y="0"/>
                    </a:lnTo>
                    <a:lnTo>
                      <a:pt x="33" y="0"/>
                    </a:lnTo>
                    <a:lnTo>
                      <a:pt x="36" y="0"/>
                    </a:lnTo>
                    <a:lnTo>
                      <a:pt x="38" y="0"/>
                    </a:lnTo>
                    <a:lnTo>
                      <a:pt x="40" y="0"/>
                    </a:lnTo>
                    <a:lnTo>
                      <a:pt x="42" y="0"/>
                    </a:lnTo>
                    <a:lnTo>
                      <a:pt x="45" y="2"/>
                    </a:lnTo>
                    <a:lnTo>
                      <a:pt x="49" y="3"/>
                    </a:lnTo>
                    <a:lnTo>
                      <a:pt x="53" y="4"/>
                    </a:lnTo>
                    <a:lnTo>
                      <a:pt x="57" y="7"/>
                    </a:lnTo>
                    <a:lnTo>
                      <a:pt x="61" y="10"/>
                    </a:lnTo>
                    <a:lnTo>
                      <a:pt x="64" y="12"/>
                    </a:lnTo>
                    <a:lnTo>
                      <a:pt x="66" y="17"/>
                    </a:lnTo>
                    <a:lnTo>
                      <a:pt x="68" y="19"/>
                    </a:lnTo>
                    <a:lnTo>
                      <a:pt x="69" y="21"/>
                    </a:lnTo>
                    <a:lnTo>
                      <a:pt x="70" y="22"/>
                    </a:lnTo>
                    <a:lnTo>
                      <a:pt x="70" y="25"/>
                    </a:lnTo>
                    <a:lnTo>
                      <a:pt x="72" y="27"/>
                    </a:lnTo>
                    <a:lnTo>
                      <a:pt x="72" y="29"/>
                    </a:lnTo>
                    <a:lnTo>
                      <a:pt x="72" y="31"/>
                    </a:lnTo>
                    <a:lnTo>
                      <a:pt x="73" y="34"/>
                    </a:lnTo>
                    <a:lnTo>
                      <a:pt x="73" y="35"/>
                    </a:lnTo>
                    <a:lnTo>
                      <a:pt x="73" y="38"/>
                    </a:lnTo>
                    <a:lnTo>
                      <a:pt x="73" y="38"/>
                    </a:lnTo>
                    <a:lnTo>
                      <a:pt x="73" y="41"/>
                    </a:lnTo>
                    <a:lnTo>
                      <a:pt x="72" y="43"/>
                    </a:lnTo>
                    <a:lnTo>
                      <a:pt x="72" y="46"/>
                    </a:lnTo>
                    <a:lnTo>
                      <a:pt x="72" y="49"/>
                    </a:lnTo>
                    <a:lnTo>
                      <a:pt x="70" y="51"/>
                    </a:lnTo>
                    <a:lnTo>
                      <a:pt x="69" y="53"/>
                    </a:lnTo>
                    <a:lnTo>
                      <a:pt x="68" y="55"/>
                    </a:lnTo>
                    <a:lnTo>
                      <a:pt x="66" y="58"/>
                    </a:lnTo>
                    <a:lnTo>
                      <a:pt x="65" y="59"/>
                    </a:lnTo>
                    <a:lnTo>
                      <a:pt x="64" y="61"/>
                    </a:lnTo>
                    <a:lnTo>
                      <a:pt x="61" y="63"/>
                    </a:lnTo>
                    <a:lnTo>
                      <a:pt x="60" y="65"/>
                    </a:lnTo>
                    <a:lnTo>
                      <a:pt x="57" y="66"/>
                    </a:lnTo>
                    <a:lnTo>
                      <a:pt x="56" y="67"/>
                    </a:lnTo>
                    <a:lnTo>
                      <a:pt x="53" y="69"/>
                    </a:lnTo>
                    <a:lnTo>
                      <a:pt x="52" y="70"/>
                    </a:lnTo>
                    <a:lnTo>
                      <a:pt x="49" y="70"/>
                    </a:lnTo>
                    <a:lnTo>
                      <a:pt x="46" y="71"/>
                    </a:lnTo>
                    <a:lnTo>
                      <a:pt x="44" y="71"/>
                    </a:lnTo>
                    <a:lnTo>
                      <a:pt x="41" y="73"/>
                    </a:lnTo>
                    <a:lnTo>
                      <a:pt x="38" y="73"/>
                    </a:lnTo>
                    <a:lnTo>
                      <a:pt x="36" y="73"/>
                    </a:lnTo>
                    <a:lnTo>
                      <a:pt x="33" y="73"/>
                    </a:lnTo>
                    <a:lnTo>
                      <a:pt x="30" y="73"/>
                    </a:lnTo>
                    <a:lnTo>
                      <a:pt x="29" y="71"/>
                    </a:lnTo>
                    <a:lnTo>
                      <a:pt x="26" y="71"/>
                    </a:lnTo>
                    <a:lnTo>
                      <a:pt x="24" y="71"/>
                    </a:lnTo>
                    <a:lnTo>
                      <a:pt x="21" y="70"/>
                    </a:lnTo>
                    <a:lnTo>
                      <a:pt x="18" y="69"/>
                    </a:lnTo>
                    <a:lnTo>
                      <a:pt x="17" y="67"/>
                    </a:lnTo>
                    <a:lnTo>
                      <a:pt x="14" y="66"/>
                    </a:lnTo>
                    <a:lnTo>
                      <a:pt x="13" y="65"/>
                    </a:lnTo>
                    <a:lnTo>
                      <a:pt x="13" y="65"/>
                    </a:lnTo>
                    <a:lnTo>
                      <a:pt x="10" y="63"/>
                    </a:lnTo>
                    <a:lnTo>
                      <a:pt x="9" y="61"/>
                    </a:lnTo>
                    <a:lnTo>
                      <a:pt x="8" y="59"/>
                    </a:lnTo>
                    <a:lnTo>
                      <a:pt x="6" y="58"/>
                    </a:lnTo>
                    <a:lnTo>
                      <a:pt x="5" y="55"/>
                    </a:lnTo>
                    <a:lnTo>
                      <a:pt x="4" y="54"/>
                    </a:lnTo>
                    <a:lnTo>
                      <a:pt x="2" y="51"/>
                    </a:lnTo>
                    <a:lnTo>
                      <a:pt x="1" y="50"/>
                    </a:lnTo>
                    <a:lnTo>
                      <a:pt x="1" y="47"/>
                    </a:lnTo>
                    <a:lnTo>
                      <a:pt x="1" y="45"/>
                    </a:lnTo>
                    <a:lnTo>
                      <a:pt x="0" y="43"/>
                    </a:lnTo>
                    <a:lnTo>
                      <a:pt x="0" y="41"/>
                    </a:lnTo>
                    <a:lnTo>
                      <a:pt x="0" y="35"/>
                    </a:lnTo>
                    <a:lnTo>
                      <a:pt x="0" y="31"/>
                    </a:lnTo>
                    <a:lnTo>
                      <a:pt x="1" y="26"/>
                    </a:lnTo>
                    <a:lnTo>
                      <a:pt x="1" y="25"/>
                    </a:lnTo>
                    <a:lnTo>
                      <a:pt x="2" y="22"/>
                    </a:lnTo>
                    <a:lnTo>
                      <a:pt x="4" y="21"/>
                    </a:lnTo>
                    <a:lnTo>
                      <a:pt x="5" y="18"/>
                    </a:lnTo>
                    <a:lnTo>
                      <a:pt x="6" y="15"/>
                    </a:lnTo>
                    <a:lnTo>
                      <a:pt x="6" y="14"/>
                    </a:lnTo>
                    <a:lnTo>
                      <a:pt x="9" y="12"/>
                    </a:lnTo>
                    <a:lnTo>
                      <a:pt x="10" y="11"/>
                    </a:lnTo>
                    <a:lnTo>
                      <a:pt x="12" y="8"/>
                    </a:lnTo>
                    <a:lnTo>
                      <a:pt x="13" y="7"/>
                    </a:lnTo>
                    <a:lnTo>
                      <a:pt x="16" y="6"/>
                    </a:lnTo>
                    <a:lnTo>
                      <a:pt x="17" y="4"/>
                    </a:lnTo>
                    <a:lnTo>
                      <a:pt x="20" y="4"/>
                    </a:lnTo>
                    <a:lnTo>
                      <a:pt x="22" y="3"/>
                    </a:lnTo>
                    <a:lnTo>
                      <a:pt x="22" y="3"/>
                    </a:lnTo>
                    <a:lnTo>
                      <a:pt x="22" y="3"/>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7" name="Freeform 190"/>
              <p:cNvSpPr>
                <a:spLocks/>
              </p:cNvSpPr>
              <p:nvPr/>
            </p:nvSpPr>
            <p:spPr bwMode="auto">
              <a:xfrm>
                <a:off x="9888910" y="5972903"/>
                <a:ext cx="158857" cy="56263"/>
              </a:xfrm>
              <a:custGeom>
                <a:avLst/>
                <a:gdLst>
                  <a:gd name="T0" fmla="*/ 141 w 143"/>
                  <a:gd name="T1" fmla="*/ 44 h 53"/>
                  <a:gd name="T2" fmla="*/ 141 w 143"/>
                  <a:gd name="T3" fmla="*/ 37 h 53"/>
                  <a:gd name="T4" fmla="*/ 140 w 143"/>
                  <a:gd name="T5" fmla="*/ 35 h 53"/>
                  <a:gd name="T6" fmla="*/ 140 w 143"/>
                  <a:gd name="T7" fmla="*/ 31 h 53"/>
                  <a:gd name="T8" fmla="*/ 139 w 143"/>
                  <a:gd name="T9" fmla="*/ 28 h 53"/>
                  <a:gd name="T10" fmla="*/ 137 w 143"/>
                  <a:gd name="T11" fmla="*/ 25 h 53"/>
                  <a:gd name="T12" fmla="*/ 136 w 143"/>
                  <a:gd name="T13" fmla="*/ 21 h 53"/>
                  <a:gd name="T14" fmla="*/ 135 w 143"/>
                  <a:gd name="T15" fmla="*/ 19 h 53"/>
                  <a:gd name="T16" fmla="*/ 133 w 143"/>
                  <a:gd name="T17" fmla="*/ 16 h 53"/>
                  <a:gd name="T18" fmla="*/ 131 w 143"/>
                  <a:gd name="T19" fmla="*/ 13 h 53"/>
                  <a:gd name="T20" fmla="*/ 129 w 143"/>
                  <a:gd name="T21" fmla="*/ 12 h 53"/>
                  <a:gd name="T22" fmla="*/ 127 w 143"/>
                  <a:gd name="T23" fmla="*/ 9 h 53"/>
                  <a:gd name="T24" fmla="*/ 124 w 143"/>
                  <a:gd name="T25" fmla="*/ 8 h 53"/>
                  <a:gd name="T26" fmla="*/ 120 w 143"/>
                  <a:gd name="T27" fmla="*/ 7 h 53"/>
                  <a:gd name="T28" fmla="*/ 116 w 143"/>
                  <a:gd name="T29" fmla="*/ 4 h 53"/>
                  <a:gd name="T30" fmla="*/ 109 w 143"/>
                  <a:gd name="T31" fmla="*/ 3 h 53"/>
                  <a:gd name="T32" fmla="*/ 105 w 143"/>
                  <a:gd name="T33" fmla="*/ 1 h 53"/>
                  <a:gd name="T34" fmla="*/ 100 w 143"/>
                  <a:gd name="T35" fmla="*/ 0 h 53"/>
                  <a:gd name="T36" fmla="*/ 95 w 143"/>
                  <a:gd name="T37" fmla="*/ 0 h 53"/>
                  <a:gd name="T38" fmla="*/ 83 w 143"/>
                  <a:gd name="T39" fmla="*/ 0 h 53"/>
                  <a:gd name="T40" fmla="*/ 60 w 143"/>
                  <a:gd name="T41" fmla="*/ 0 h 53"/>
                  <a:gd name="T42" fmla="*/ 48 w 143"/>
                  <a:gd name="T43" fmla="*/ 0 h 53"/>
                  <a:gd name="T44" fmla="*/ 43 w 143"/>
                  <a:gd name="T45" fmla="*/ 0 h 53"/>
                  <a:gd name="T46" fmla="*/ 37 w 143"/>
                  <a:gd name="T47" fmla="*/ 1 h 53"/>
                  <a:gd name="T48" fmla="*/ 32 w 143"/>
                  <a:gd name="T49" fmla="*/ 3 h 53"/>
                  <a:gd name="T50" fmla="*/ 27 w 143"/>
                  <a:gd name="T51" fmla="*/ 4 h 53"/>
                  <a:gd name="T52" fmla="*/ 21 w 143"/>
                  <a:gd name="T53" fmla="*/ 7 h 53"/>
                  <a:gd name="T54" fmla="*/ 19 w 143"/>
                  <a:gd name="T55" fmla="*/ 8 h 53"/>
                  <a:gd name="T56" fmla="*/ 16 w 143"/>
                  <a:gd name="T57" fmla="*/ 9 h 53"/>
                  <a:gd name="T58" fmla="*/ 13 w 143"/>
                  <a:gd name="T59" fmla="*/ 12 h 53"/>
                  <a:gd name="T60" fmla="*/ 10 w 143"/>
                  <a:gd name="T61" fmla="*/ 13 h 53"/>
                  <a:gd name="T62" fmla="*/ 9 w 143"/>
                  <a:gd name="T63" fmla="*/ 16 h 53"/>
                  <a:gd name="T64" fmla="*/ 8 w 143"/>
                  <a:gd name="T65" fmla="*/ 19 h 53"/>
                  <a:gd name="T66" fmla="*/ 5 w 143"/>
                  <a:gd name="T67" fmla="*/ 21 h 53"/>
                  <a:gd name="T68" fmla="*/ 4 w 143"/>
                  <a:gd name="T69" fmla="*/ 25 h 53"/>
                  <a:gd name="T70" fmla="*/ 4 w 143"/>
                  <a:gd name="T71" fmla="*/ 28 h 53"/>
                  <a:gd name="T72" fmla="*/ 2 w 143"/>
                  <a:gd name="T73" fmla="*/ 31 h 53"/>
                  <a:gd name="T74" fmla="*/ 1 w 143"/>
                  <a:gd name="T75" fmla="*/ 35 h 53"/>
                  <a:gd name="T76" fmla="*/ 1 w 143"/>
                  <a:gd name="T77" fmla="*/ 37 h 53"/>
                  <a:gd name="T78" fmla="*/ 0 w 143"/>
                  <a:gd name="T79" fmla="*/ 44 h 53"/>
                  <a:gd name="T80" fmla="*/ 0 w 143"/>
                  <a:gd name="T81" fmla="*/ 51 h 53"/>
                  <a:gd name="T82" fmla="*/ 0 w 143"/>
                  <a:gd name="T83" fmla="*/ 53 h 53"/>
                  <a:gd name="T84" fmla="*/ 51 w 143"/>
                  <a:gd name="T85" fmla="*/ 53 h 53"/>
                  <a:gd name="T86" fmla="*/ 92 w 143"/>
                  <a:gd name="T87" fmla="*/ 53 h 53"/>
                  <a:gd name="T88" fmla="*/ 143 w 143"/>
                  <a:gd name="T89" fmla="*/ 53 h 53"/>
                  <a:gd name="T90" fmla="*/ 143 w 143"/>
                  <a:gd name="T91" fmla="*/ 51 h 53"/>
                  <a:gd name="T92" fmla="*/ 141 w 143"/>
                  <a:gd name="T93"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3">
                    <a:moveTo>
                      <a:pt x="141" y="44"/>
                    </a:moveTo>
                    <a:lnTo>
                      <a:pt x="141" y="37"/>
                    </a:lnTo>
                    <a:lnTo>
                      <a:pt x="140" y="35"/>
                    </a:lnTo>
                    <a:lnTo>
                      <a:pt x="140" y="31"/>
                    </a:lnTo>
                    <a:lnTo>
                      <a:pt x="139" y="28"/>
                    </a:lnTo>
                    <a:lnTo>
                      <a:pt x="137" y="25"/>
                    </a:lnTo>
                    <a:lnTo>
                      <a:pt x="136" y="21"/>
                    </a:lnTo>
                    <a:lnTo>
                      <a:pt x="135" y="19"/>
                    </a:lnTo>
                    <a:lnTo>
                      <a:pt x="133" y="16"/>
                    </a:lnTo>
                    <a:lnTo>
                      <a:pt x="131" y="13"/>
                    </a:lnTo>
                    <a:lnTo>
                      <a:pt x="129" y="12"/>
                    </a:lnTo>
                    <a:lnTo>
                      <a:pt x="127" y="9"/>
                    </a:lnTo>
                    <a:lnTo>
                      <a:pt x="124" y="8"/>
                    </a:lnTo>
                    <a:lnTo>
                      <a:pt x="120" y="7"/>
                    </a:lnTo>
                    <a:lnTo>
                      <a:pt x="116" y="4"/>
                    </a:lnTo>
                    <a:lnTo>
                      <a:pt x="109" y="3"/>
                    </a:lnTo>
                    <a:lnTo>
                      <a:pt x="105" y="1"/>
                    </a:lnTo>
                    <a:lnTo>
                      <a:pt x="100" y="0"/>
                    </a:lnTo>
                    <a:lnTo>
                      <a:pt x="95" y="0"/>
                    </a:lnTo>
                    <a:lnTo>
                      <a:pt x="83" y="0"/>
                    </a:lnTo>
                    <a:lnTo>
                      <a:pt x="60" y="0"/>
                    </a:lnTo>
                    <a:lnTo>
                      <a:pt x="48" y="0"/>
                    </a:lnTo>
                    <a:lnTo>
                      <a:pt x="43" y="0"/>
                    </a:lnTo>
                    <a:lnTo>
                      <a:pt x="37" y="1"/>
                    </a:lnTo>
                    <a:lnTo>
                      <a:pt x="32" y="3"/>
                    </a:lnTo>
                    <a:lnTo>
                      <a:pt x="27" y="4"/>
                    </a:lnTo>
                    <a:lnTo>
                      <a:pt x="21" y="7"/>
                    </a:lnTo>
                    <a:lnTo>
                      <a:pt x="19" y="8"/>
                    </a:lnTo>
                    <a:lnTo>
                      <a:pt x="16" y="9"/>
                    </a:lnTo>
                    <a:lnTo>
                      <a:pt x="13" y="12"/>
                    </a:lnTo>
                    <a:lnTo>
                      <a:pt x="10" y="13"/>
                    </a:lnTo>
                    <a:lnTo>
                      <a:pt x="9" y="16"/>
                    </a:lnTo>
                    <a:lnTo>
                      <a:pt x="8" y="19"/>
                    </a:lnTo>
                    <a:lnTo>
                      <a:pt x="5" y="21"/>
                    </a:lnTo>
                    <a:lnTo>
                      <a:pt x="4" y="25"/>
                    </a:lnTo>
                    <a:lnTo>
                      <a:pt x="4" y="28"/>
                    </a:lnTo>
                    <a:lnTo>
                      <a:pt x="2" y="31"/>
                    </a:lnTo>
                    <a:lnTo>
                      <a:pt x="1" y="35"/>
                    </a:lnTo>
                    <a:lnTo>
                      <a:pt x="1" y="37"/>
                    </a:lnTo>
                    <a:lnTo>
                      <a:pt x="0" y="44"/>
                    </a:lnTo>
                    <a:lnTo>
                      <a:pt x="0" y="51"/>
                    </a:lnTo>
                    <a:lnTo>
                      <a:pt x="0" y="53"/>
                    </a:lnTo>
                    <a:lnTo>
                      <a:pt x="51" y="53"/>
                    </a:lnTo>
                    <a:lnTo>
                      <a:pt x="92" y="53"/>
                    </a:lnTo>
                    <a:lnTo>
                      <a:pt x="143" y="53"/>
                    </a:lnTo>
                    <a:lnTo>
                      <a:pt x="143" y="51"/>
                    </a:lnTo>
                    <a:lnTo>
                      <a:pt x="141" y="44"/>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8" name="Freeform 191"/>
              <p:cNvSpPr>
                <a:spLocks/>
              </p:cNvSpPr>
              <p:nvPr/>
            </p:nvSpPr>
            <p:spPr bwMode="auto">
              <a:xfrm>
                <a:off x="9991506" y="5880236"/>
                <a:ext cx="62882" cy="62882"/>
              </a:xfrm>
              <a:custGeom>
                <a:avLst/>
                <a:gdLst>
                  <a:gd name="T0" fmla="*/ 12 w 55"/>
                  <a:gd name="T1" fmla="*/ 0 h 55"/>
                  <a:gd name="T2" fmla="*/ 12 w 55"/>
                  <a:gd name="T3" fmla="*/ 0 h 55"/>
                  <a:gd name="T4" fmla="*/ 6 w 55"/>
                  <a:gd name="T5" fmla="*/ 0 h 55"/>
                  <a:gd name="T6" fmla="*/ 3 w 55"/>
                  <a:gd name="T7" fmla="*/ 0 h 55"/>
                  <a:gd name="T8" fmla="*/ 2 w 55"/>
                  <a:gd name="T9" fmla="*/ 2 h 55"/>
                  <a:gd name="T10" fmla="*/ 0 w 55"/>
                  <a:gd name="T11" fmla="*/ 6 h 55"/>
                  <a:gd name="T12" fmla="*/ 0 w 55"/>
                  <a:gd name="T13" fmla="*/ 13 h 55"/>
                  <a:gd name="T14" fmla="*/ 2 w 55"/>
                  <a:gd name="T15" fmla="*/ 19 h 55"/>
                  <a:gd name="T16" fmla="*/ 6 w 55"/>
                  <a:gd name="T17" fmla="*/ 27 h 55"/>
                  <a:gd name="T18" fmla="*/ 11 w 55"/>
                  <a:gd name="T19" fmla="*/ 35 h 55"/>
                  <a:gd name="T20" fmla="*/ 18 w 55"/>
                  <a:gd name="T21" fmla="*/ 45 h 55"/>
                  <a:gd name="T22" fmla="*/ 18 w 55"/>
                  <a:gd name="T23" fmla="*/ 45 h 55"/>
                  <a:gd name="T24" fmla="*/ 23 w 55"/>
                  <a:gd name="T25" fmla="*/ 51 h 55"/>
                  <a:gd name="T26" fmla="*/ 30 w 55"/>
                  <a:gd name="T27" fmla="*/ 54 h 55"/>
                  <a:gd name="T28" fmla="*/ 36 w 55"/>
                  <a:gd name="T29" fmla="*/ 55 h 55"/>
                  <a:gd name="T30" fmla="*/ 42 w 55"/>
                  <a:gd name="T31" fmla="*/ 55 h 55"/>
                  <a:gd name="T32" fmla="*/ 47 w 55"/>
                  <a:gd name="T33" fmla="*/ 54 h 55"/>
                  <a:gd name="T34" fmla="*/ 51 w 55"/>
                  <a:gd name="T35" fmla="*/ 53 h 55"/>
                  <a:gd name="T36" fmla="*/ 55 w 55"/>
                  <a:gd name="T37" fmla="*/ 50 h 55"/>
                  <a:gd name="T38" fmla="*/ 55 w 55"/>
                  <a:gd name="T39" fmla="*/ 50 h 55"/>
                  <a:gd name="T40" fmla="*/ 52 w 55"/>
                  <a:gd name="T41" fmla="*/ 51 h 55"/>
                  <a:gd name="T42" fmla="*/ 46 w 55"/>
                  <a:gd name="T43" fmla="*/ 50 h 55"/>
                  <a:gd name="T44" fmla="*/ 42 w 55"/>
                  <a:gd name="T45" fmla="*/ 49 h 55"/>
                  <a:gd name="T46" fmla="*/ 38 w 55"/>
                  <a:gd name="T47" fmla="*/ 47 h 55"/>
                  <a:gd name="T48" fmla="*/ 35 w 55"/>
                  <a:gd name="T49" fmla="*/ 42 h 55"/>
                  <a:gd name="T50" fmla="*/ 31 w 55"/>
                  <a:gd name="T51" fmla="*/ 37 h 55"/>
                  <a:gd name="T52" fmla="*/ 31 w 55"/>
                  <a:gd name="T53" fmla="*/ 37 h 55"/>
                  <a:gd name="T54" fmla="*/ 28 w 55"/>
                  <a:gd name="T55" fmla="*/ 27 h 55"/>
                  <a:gd name="T56" fmla="*/ 26 w 55"/>
                  <a:gd name="T57" fmla="*/ 17 h 55"/>
                  <a:gd name="T58" fmla="*/ 24 w 55"/>
                  <a:gd name="T59" fmla="*/ 11 h 55"/>
                  <a:gd name="T60" fmla="*/ 22 w 55"/>
                  <a:gd name="T61" fmla="*/ 6 h 55"/>
                  <a:gd name="T62" fmla="*/ 18 w 55"/>
                  <a:gd name="T63" fmla="*/ 3 h 55"/>
                  <a:gd name="T64" fmla="*/ 12 w 55"/>
                  <a:gd name="T65" fmla="*/ 0 h 55"/>
                  <a:gd name="T66" fmla="*/ 12 w 55"/>
                  <a:gd name="T6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5">
                    <a:moveTo>
                      <a:pt x="12" y="0"/>
                    </a:moveTo>
                    <a:lnTo>
                      <a:pt x="12" y="0"/>
                    </a:lnTo>
                    <a:lnTo>
                      <a:pt x="6" y="0"/>
                    </a:lnTo>
                    <a:lnTo>
                      <a:pt x="3" y="0"/>
                    </a:lnTo>
                    <a:lnTo>
                      <a:pt x="2" y="2"/>
                    </a:lnTo>
                    <a:lnTo>
                      <a:pt x="0" y="6"/>
                    </a:lnTo>
                    <a:lnTo>
                      <a:pt x="0" y="13"/>
                    </a:lnTo>
                    <a:lnTo>
                      <a:pt x="2" y="19"/>
                    </a:lnTo>
                    <a:lnTo>
                      <a:pt x="6" y="27"/>
                    </a:lnTo>
                    <a:lnTo>
                      <a:pt x="11" y="35"/>
                    </a:lnTo>
                    <a:lnTo>
                      <a:pt x="18" y="45"/>
                    </a:lnTo>
                    <a:lnTo>
                      <a:pt x="18" y="45"/>
                    </a:lnTo>
                    <a:lnTo>
                      <a:pt x="23" y="51"/>
                    </a:lnTo>
                    <a:lnTo>
                      <a:pt x="30" y="54"/>
                    </a:lnTo>
                    <a:lnTo>
                      <a:pt x="36" y="55"/>
                    </a:lnTo>
                    <a:lnTo>
                      <a:pt x="42" y="55"/>
                    </a:lnTo>
                    <a:lnTo>
                      <a:pt x="47" y="54"/>
                    </a:lnTo>
                    <a:lnTo>
                      <a:pt x="51" y="53"/>
                    </a:lnTo>
                    <a:lnTo>
                      <a:pt x="55" y="50"/>
                    </a:lnTo>
                    <a:lnTo>
                      <a:pt x="55" y="50"/>
                    </a:lnTo>
                    <a:lnTo>
                      <a:pt x="52" y="51"/>
                    </a:lnTo>
                    <a:lnTo>
                      <a:pt x="46" y="50"/>
                    </a:lnTo>
                    <a:lnTo>
                      <a:pt x="42" y="49"/>
                    </a:lnTo>
                    <a:lnTo>
                      <a:pt x="38" y="47"/>
                    </a:lnTo>
                    <a:lnTo>
                      <a:pt x="35" y="42"/>
                    </a:lnTo>
                    <a:lnTo>
                      <a:pt x="31" y="37"/>
                    </a:lnTo>
                    <a:lnTo>
                      <a:pt x="31" y="37"/>
                    </a:lnTo>
                    <a:lnTo>
                      <a:pt x="28" y="27"/>
                    </a:lnTo>
                    <a:lnTo>
                      <a:pt x="26" y="17"/>
                    </a:lnTo>
                    <a:lnTo>
                      <a:pt x="24" y="11"/>
                    </a:lnTo>
                    <a:lnTo>
                      <a:pt x="22" y="6"/>
                    </a:lnTo>
                    <a:lnTo>
                      <a:pt x="18" y="3"/>
                    </a:lnTo>
                    <a:lnTo>
                      <a:pt x="12" y="0"/>
                    </a:lnTo>
                    <a:lnTo>
                      <a:pt x="12"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9" name="Freeform 192"/>
              <p:cNvSpPr>
                <a:spLocks/>
              </p:cNvSpPr>
              <p:nvPr/>
            </p:nvSpPr>
            <p:spPr bwMode="auto">
              <a:xfrm>
                <a:off x="10325768" y="5876928"/>
                <a:ext cx="79429" cy="79429"/>
              </a:xfrm>
              <a:custGeom>
                <a:avLst/>
                <a:gdLst>
                  <a:gd name="T0" fmla="*/ 23 w 72"/>
                  <a:gd name="T1" fmla="*/ 3 h 73"/>
                  <a:gd name="T2" fmla="*/ 27 w 72"/>
                  <a:gd name="T3" fmla="*/ 2 h 73"/>
                  <a:gd name="T4" fmla="*/ 31 w 72"/>
                  <a:gd name="T5" fmla="*/ 0 h 73"/>
                  <a:gd name="T6" fmla="*/ 36 w 72"/>
                  <a:gd name="T7" fmla="*/ 0 h 73"/>
                  <a:gd name="T8" fmla="*/ 40 w 72"/>
                  <a:gd name="T9" fmla="*/ 0 h 73"/>
                  <a:gd name="T10" fmla="*/ 44 w 72"/>
                  <a:gd name="T11" fmla="*/ 2 h 73"/>
                  <a:gd name="T12" fmla="*/ 54 w 72"/>
                  <a:gd name="T13" fmla="*/ 4 h 73"/>
                  <a:gd name="T14" fmla="*/ 60 w 72"/>
                  <a:gd name="T15" fmla="*/ 10 h 73"/>
                  <a:gd name="T16" fmla="*/ 67 w 72"/>
                  <a:gd name="T17" fmla="*/ 17 h 73"/>
                  <a:gd name="T18" fmla="*/ 70 w 72"/>
                  <a:gd name="T19" fmla="*/ 21 h 73"/>
                  <a:gd name="T20" fmla="*/ 71 w 72"/>
                  <a:gd name="T21" fmla="*/ 25 h 73"/>
                  <a:gd name="T22" fmla="*/ 72 w 72"/>
                  <a:gd name="T23" fmla="*/ 29 h 73"/>
                  <a:gd name="T24" fmla="*/ 72 w 72"/>
                  <a:gd name="T25" fmla="*/ 34 h 73"/>
                  <a:gd name="T26" fmla="*/ 72 w 72"/>
                  <a:gd name="T27" fmla="*/ 38 h 73"/>
                  <a:gd name="T28" fmla="*/ 72 w 72"/>
                  <a:gd name="T29" fmla="*/ 41 h 73"/>
                  <a:gd name="T30" fmla="*/ 72 w 72"/>
                  <a:gd name="T31" fmla="*/ 46 h 73"/>
                  <a:gd name="T32" fmla="*/ 71 w 72"/>
                  <a:gd name="T33" fmla="*/ 51 h 73"/>
                  <a:gd name="T34" fmla="*/ 68 w 72"/>
                  <a:gd name="T35" fmla="*/ 55 h 73"/>
                  <a:gd name="T36" fmla="*/ 66 w 72"/>
                  <a:gd name="T37" fmla="*/ 59 h 73"/>
                  <a:gd name="T38" fmla="*/ 62 w 72"/>
                  <a:gd name="T39" fmla="*/ 63 h 73"/>
                  <a:gd name="T40" fmla="*/ 58 w 72"/>
                  <a:gd name="T41" fmla="*/ 66 h 73"/>
                  <a:gd name="T42" fmla="*/ 54 w 72"/>
                  <a:gd name="T43" fmla="*/ 69 h 73"/>
                  <a:gd name="T44" fmla="*/ 48 w 72"/>
                  <a:gd name="T45" fmla="*/ 70 h 73"/>
                  <a:gd name="T46" fmla="*/ 44 w 72"/>
                  <a:gd name="T47" fmla="*/ 71 h 73"/>
                  <a:gd name="T48" fmla="*/ 39 w 72"/>
                  <a:gd name="T49" fmla="*/ 73 h 73"/>
                  <a:gd name="T50" fmla="*/ 34 w 72"/>
                  <a:gd name="T51" fmla="*/ 73 h 73"/>
                  <a:gd name="T52" fmla="*/ 28 w 72"/>
                  <a:gd name="T53" fmla="*/ 71 h 73"/>
                  <a:gd name="T54" fmla="*/ 24 w 72"/>
                  <a:gd name="T55" fmla="*/ 71 h 73"/>
                  <a:gd name="T56" fmla="*/ 19 w 72"/>
                  <a:gd name="T57" fmla="*/ 69 h 73"/>
                  <a:gd name="T58" fmla="*/ 15 w 72"/>
                  <a:gd name="T59" fmla="*/ 66 h 73"/>
                  <a:gd name="T60" fmla="*/ 12 w 72"/>
                  <a:gd name="T61" fmla="*/ 65 h 73"/>
                  <a:gd name="T62" fmla="*/ 9 w 72"/>
                  <a:gd name="T63" fmla="*/ 61 h 73"/>
                  <a:gd name="T64" fmla="*/ 5 w 72"/>
                  <a:gd name="T65" fmla="*/ 58 h 73"/>
                  <a:gd name="T66" fmla="*/ 4 w 72"/>
                  <a:gd name="T67" fmla="*/ 54 h 73"/>
                  <a:gd name="T68" fmla="*/ 1 w 72"/>
                  <a:gd name="T69" fmla="*/ 50 h 73"/>
                  <a:gd name="T70" fmla="*/ 0 w 72"/>
                  <a:gd name="T71" fmla="*/ 45 h 73"/>
                  <a:gd name="T72" fmla="*/ 0 w 72"/>
                  <a:gd name="T73" fmla="*/ 41 h 73"/>
                  <a:gd name="T74" fmla="*/ 0 w 72"/>
                  <a:gd name="T75" fmla="*/ 31 h 73"/>
                  <a:gd name="T76" fmla="*/ 1 w 72"/>
                  <a:gd name="T77" fmla="*/ 25 h 73"/>
                  <a:gd name="T78" fmla="*/ 4 w 72"/>
                  <a:gd name="T79" fmla="*/ 21 h 73"/>
                  <a:gd name="T80" fmla="*/ 5 w 72"/>
                  <a:gd name="T81" fmla="*/ 15 h 73"/>
                  <a:gd name="T82" fmla="*/ 8 w 72"/>
                  <a:gd name="T83" fmla="*/ 12 h 73"/>
                  <a:gd name="T84" fmla="*/ 12 w 72"/>
                  <a:gd name="T85" fmla="*/ 8 h 73"/>
                  <a:gd name="T86" fmla="*/ 16 w 72"/>
                  <a:gd name="T87" fmla="*/ 6 h 73"/>
                  <a:gd name="T88" fmla="*/ 20 w 72"/>
                  <a:gd name="T89" fmla="*/ 4 h 73"/>
                  <a:gd name="T90" fmla="*/ 23 w 72"/>
                  <a:gd name="T91"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 h="73">
                    <a:moveTo>
                      <a:pt x="23" y="3"/>
                    </a:moveTo>
                    <a:lnTo>
                      <a:pt x="23" y="3"/>
                    </a:lnTo>
                    <a:lnTo>
                      <a:pt x="24" y="2"/>
                    </a:lnTo>
                    <a:lnTo>
                      <a:pt x="27" y="2"/>
                    </a:lnTo>
                    <a:lnTo>
                      <a:pt x="28" y="0"/>
                    </a:lnTo>
                    <a:lnTo>
                      <a:pt x="31" y="0"/>
                    </a:lnTo>
                    <a:lnTo>
                      <a:pt x="34" y="0"/>
                    </a:lnTo>
                    <a:lnTo>
                      <a:pt x="36" y="0"/>
                    </a:lnTo>
                    <a:lnTo>
                      <a:pt x="38" y="0"/>
                    </a:lnTo>
                    <a:lnTo>
                      <a:pt x="40" y="0"/>
                    </a:lnTo>
                    <a:lnTo>
                      <a:pt x="43" y="0"/>
                    </a:lnTo>
                    <a:lnTo>
                      <a:pt x="44" y="2"/>
                    </a:lnTo>
                    <a:lnTo>
                      <a:pt x="50" y="3"/>
                    </a:lnTo>
                    <a:lnTo>
                      <a:pt x="54" y="4"/>
                    </a:lnTo>
                    <a:lnTo>
                      <a:pt x="58" y="7"/>
                    </a:lnTo>
                    <a:lnTo>
                      <a:pt x="60" y="10"/>
                    </a:lnTo>
                    <a:lnTo>
                      <a:pt x="64" y="12"/>
                    </a:lnTo>
                    <a:lnTo>
                      <a:pt x="67" y="17"/>
                    </a:lnTo>
                    <a:lnTo>
                      <a:pt x="68" y="19"/>
                    </a:lnTo>
                    <a:lnTo>
                      <a:pt x="70" y="21"/>
                    </a:lnTo>
                    <a:lnTo>
                      <a:pt x="70" y="22"/>
                    </a:lnTo>
                    <a:lnTo>
                      <a:pt x="71" y="25"/>
                    </a:lnTo>
                    <a:lnTo>
                      <a:pt x="72" y="27"/>
                    </a:lnTo>
                    <a:lnTo>
                      <a:pt x="72" y="29"/>
                    </a:lnTo>
                    <a:lnTo>
                      <a:pt x="72" y="31"/>
                    </a:lnTo>
                    <a:lnTo>
                      <a:pt x="72" y="34"/>
                    </a:lnTo>
                    <a:lnTo>
                      <a:pt x="72" y="35"/>
                    </a:lnTo>
                    <a:lnTo>
                      <a:pt x="72" y="38"/>
                    </a:lnTo>
                    <a:lnTo>
                      <a:pt x="72" y="38"/>
                    </a:lnTo>
                    <a:lnTo>
                      <a:pt x="72" y="41"/>
                    </a:lnTo>
                    <a:lnTo>
                      <a:pt x="72" y="43"/>
                    </a:lnTo>
                    <a:lnTo>
                      <a:pt x="72" y="46"/>
                    </a:lnTo>
                    <a:lnTo>
                      <a:pt x="71" y="49"/>
                    </a:lnTo>
                    <a:lnTo>
                      <a:pt x="71" y="51"/>
                    </a:lnTo>
                    <a:lnTo>
                      <a:pt x="70" y="53"/>
                    </a:lnTo>
                    <a:lnTo>
                      <a:pt x="68" y="55"/>
                    </a:lnTo>
                    <a:lnTo>
                      <a:pt x="67" y="58"/>
                    </a:lnTo>
                    <a:lnTo>
                      <a:pt x="66" y="59"/>
                    </a:lnTo>
                    <a:lnTo>
                      <a:pt x="64" y="61"/>
                    </a:lnTo>
                    <a:lnTo>
                      <a:pt x="62" y="63"/>
                    </a:lnTo>
                    <a:lnTo>
                      <a:pt x="60" y="65"/>
                    </a:lnTo>
                    <a:lnTo>
                      <a:pt x="58" y="66"/>
                    </a:lnTo>
                    <a:lnTo>
                      <a:pt x="56" y="67"/>
                    </a:lnTo>
                    <a:lnTo>
                      <a:pt x="54" y="69"/>
                    </a:lnTo>
                    <a:lnTo>
                      <a:pt x="51" y="70"/>
                    </a:lnTo>
                    <a:lnTo>
                      <a:pt x="48" y="70"/>
                    </a:lnTo>
                    <a:lnTo>
                      <a:pt x="47" y="71"/>
                    </a:lnTo>
                    <a:lnTo>
                      <a:pt x="44" y="71"/>
                    </a:lnTo>
                    <a:lnTo>
                      <a:pt x="42" y="73"/>
                    </a:lnTo>
                    <a:lnTo>
                      <a:pt x="39" y="73"/>
                    </a:lnTo>
                    <a:lnTo>
                      <a:pt x="36" y="73"/>
                    </a:lnTo>
                    <a:lnTo>
                      <a:pt x="34" y="73"/>
                    </a:lnTo>
                    <a:lnTo>
                      <a:pt x="31" y="73"/>
                    </a:lnTo>
                    <a:lnTo>
                      <a:pt x="28" y="71"/>
                    </a:lnTo>
                    <a:lnTo>
                      <a:pt x="27" y="71"/>
                    </a:lnTo>
                    <a:lnTo>
                      <a:pt x="24" y="71"/>
                    </a:lnTo>
                    <a:lnTo>
                      <a:pt x="21" y="70"/>
                    </a:lnTo>
                    <a:lnTo>
                      <a:pt x="19" y="69"/>
                    </a:lnTo>
                    <a:lnTo>
                      <a:pt x="17" y="67"/>
                    </a:lnTo>
                    <a:lnTo>
                      <a:pt x="15" y="66"/>
                    </a:lnTo>
                    <a:lnTo>
                      <a:pt x="12" y="65"/>
                    </a:lnTo>
                    <a:lnTo>
                      <a:pt x="12" y="65"/>
                    </a:lnTo>
                    <a:lnTo>
                      <a:pt x="11" y="63"/>
                    </a:lnTo>
                    <a:lnTo>
                      <a:pt x="9" y="61"/>
                    </a:lnTo>
                    <a:lnTo>
                      <a:pt x="8" y="59"/>
                    </a:lnTo>
                    <a:lnTo>
                      <a:pt x="5" y="58"/>
                    </a:lnTo>
                    <a:lnTo>
                      <a:pt x="4" y="55"/>
                    </a:lnTo>
                    <a:lnTo>
                      <a:pt x="4" y="54"/>
                    </a:lnTo>
                    <a:lnTo>
                      <a:pt x="3" y="51"/>
                    </a:lnTo>
                    <a:lnTo>
                      <a:pt x="1" y="50"/>
                    </a:lnTo>
                    <a:lnTo>
                      <a:pt x="1" y="47"/>
                    </a:lnTo>
                    <a:lnTo>
                      <a:pt x="0" y="45"/>
                    </a:lnTo>
                    <a:lnTo>
                      <a:pt x="0" y="43"/>
                    </a:lnTo>
                    <a:lnTo>
                      <a:pt x="0" y="41"/>
                    </a:lnTo>
                    <a:lnTo>
                      <a:pt x="0" y="35"/>
                    </a:lnTo>
                    <a:lnTo>
                      <a:pt x="0" y="31"/>
                    </a:lnTo>
                    <a:lnTo>
                      <a:pt x="1" y="26"/>
                    </a:lnTo>
                    <a:lnTo>
                      <a:pt x="1" y="25"/>
                    </a:lnTo>
                    <a:lnTo>
                      <a:pt x="3" y="22"/>
                    </a:lnTo>
                    <a:lnTo>
                      <a:pt x="4" y="21"/>
                    </a:lnTo>
                    <a:lnTo>
                      <a:pt x="4" y="18"/>
                    </a:lnTo>
                    <a:lnTo>
                      <a:pt x="5" y="15"/>
                    </a:lnTo>
                    <a:lnTo>
                      <a:pt x="7" y="14"/>
                    </a:lnTo>
                    <a:lnTo>
                      <a:pt x="8" y="12"/>
                    </a:lnTo>
                    <a:lnTo>
                      <a:pt x="9" y="11"/>
                    </a:lnTo>
                    <a:lnTo>
                      <a:pt x="12" y="8"/>
                    </a:lnTo>
                    <a:lnTo>
                      <a:pt x="13" y="7"/>
                    </a:lnTo>
                    <a:lnTo>
                      <a:pt x="16" y="6"/>
                    </a:lnTo>
                    <a:lnTo>
                      <a:pt x="17" y="4"/>
                    </a:lnTo>
                    <a:lnTo>
                      <a:pt x="20" y="4"/>
                    </a:lnTo>
                    <a:lnTo>
                      <a:pt x="23" y="3"/>
                    </a:lnTo>
                    <a:lnTo>
                      <a:pt x="23" y="3"/>
                    </a:lnTo>
                    <a:lnTo>
                      <a:pt x="23" y="3"/>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90" name="Freeform 193"/>
              <p:cNvSpPr>
                <a:spLocks/>
              </p:cNvSpPr>
              <p:nvPr/>
            </p:nvSpPr>
            <p:spPr bwMode="auto">
              <a:xfrm>
                <a:off x="10286054" y="5972903"/>
                <a:ext cx="155548" cy="56263"/>
              </a:xfrm>
              <a:custGeom>
                <a:avLst/>
                <a:gdLst>
                  <a:gd name="T0" fmla="*/ 142 w 142"/>
                  <a:gd name="T1" fmla="*/ 44 h 53"/>
                  <a:gd name="T2" fmla="*/ 141 w 142"/>
                  <a:gd name="T3" fmla="*/ 37 h 53"/>
                  <a:gd name="T4" fmla="*/ 141 w 142"/>
                  <a:gd name="T5" fmla="*/ 35 h 53"/>
                  <a:gd name="T6" fmla="*/ 139 w 142"/>
                  <a:gd name="T7" fmla="*/ 31 h 53"/>
                  <a:gd name="T8" fmla="*/ 139 w 142"/>
                  <a:gd name="T9" fmla="*/ 28 h 53"/>
                  <a:gd name="T10" fmla="*/ 138 w 142"/>
                  <a:gd name="T11" fmla="*/ 25 h 53"/>
                  <a:gd name="T12" fmla="*/ 137 w 142"/>
                  <a:gd name="T13" fmla="*/ 21 h 53"/>
                  <a:gd name="T14" fmla="*/ 135 w 142"/>
                  <a:gd name="T15" fmla="*/ 19 h 53"/>
                  <a:gd name="T16" fmla="*/ 133 w 142"/>
                  <a:gd name="T17" fmla="*/ 16 h 53"/>
                  <a:gd name="T18" fmla="*/ 131 w 142"/>
                  <a:gd name="T19" fmla="*/ 13 h 53"/>
                  <a:gd name="T20" fmla="*/ 129 w 142"/>
                  <a:gd name="T21" fmla="*/ 12 h 53"/>
                  <a:gd name="T22" fmla="*/ 126 w 142"/>
                  <a:gd name="T23" fmla="*/ 9 h 53"/>
                  <a:gd name="T24" fmla="*/ 123 w 142"/>
                  <a:gd name="T25" fmla="*/ 8 h 53"/>
                  <a:gd name="T26" fmla="*/ 121 w 142"/>
                  <a:gd name="T27" fmla="*/ 7 h 53"/>
                  <a:gd name="T28" fmla="*/ 115 w 142"/>
                  <a:gd name="T29" fmla="*/ 4 h 53"/>
                  <a:gd name="T30" fmla="*/ 110 w 142"/>
                  <a:gd name="T31" fmla="*/ 3 h 53"/>
                  <a:gd name="T32" fmla="*/ 105 w 142"/>
                  <a:gd name="T33" fmla="*/ 1 h 53"/>
                  <a:gd name="T34" fmla="*/ 99 w 142"/>
                  <a:gd name="T35" fmla="*/ 0 h 53"/>
                  <a:gd name="T36" fmla="*/ 94 w 142"/>
                  <a:gd name="T37" fmla="*/ 0 h 53"/>
                  <a:gd name="T38" fmla="*/ 82 w 142"/>
                  <a:gd name="T39" fmla="*/ 0 h 53"/>
                  <a:gd name="T40" fmla="*/ 60 w 142"/>
                  <a:gd name="T41" fmla="*/ 0 h 53"/>
                  <a:gd name="T42" fmla="*/ 48 w 142"/>
                  <a:gd name="T43" fmla="*/ 0 h 53"/>
                  <a:gd name="T44" fmla="*/ 43 w 142"/>
                  <a:gd name="T45" fmla="*/ 0 h 53"/>
                  <a:gd name="T46" fmla="*/ 38 w 142"/>
                  <a:gd name="T47" fmla="*/ 1 h 53"/>
                  <a:gd name="T48" fmla="*/ 32 w 142"/>
                  <a:gd name="T49" fmla="*/ 3 h 53"/>
                  <a:gd name="T50" fmla="*/ 27 w 142"/>
                  <a:gd name="T51" fmla="*/ 4 h 53"/>
                  <a:gd name="T52" fmla="*/ 22 w 142"/>
                  <a:gd name="T53" fmla="*/ 7 h 53"/>
                  <a:gd name="T54" fmla="*/ 19 w 142"/>
                  <a:gd name="T55" fmla="*/ 8 h 53"/>
                  <a:gd name="T56" fmla="*/ 16 w 142"/>
                  <a:gd name="T57" fmla="*/ 9 h 53"/>
                  <a:gd name="T58" fmla="*/ 14 w 142"/>
                  <a:gd name="T59" fmla="*/ 12 h 53"/>
                  <a:gd name="T60" fmla="*/ 11 w 142"/>
                  <a:gd name="T61" fmla="*/ 13 h 53"/>
                  <a:gd name="T62" fmla="*/ 10 w 142"/>
                  <a:gd name="T63" fmla="*/ 16 h 53"/>
                  <a:gd name="T64" fmla="*/ 7 w 142"/>
                  <a:gd name="T65" fmla="*/ 19 h 53"/>
                  <a:gd name="T66" fmla="*/ 6 w 142"/>
                  <a:gd name="T67" fmla="*/ 21 h 53"/>
                  <a:gd name="T68" fmla="*/ 4 w 142"/>
                  <a:gd name="T69" fmla="*/ 25 h 53"/>
                  <a:gd name="T70" fmla="*/ 3 w 142"/>
                  <a:gd name="T71" fmla="*/ 28 h 53"/>
                  <a:gd name="T72" fmla="*/ 3 w 142"/>
                  <a:gd name="T73" fmla="*/ 31 h 53"/>
                  <a:gd name="T74" fmla="*/ 2 w 142"/>
                  <a:gd name="T75" fmla="*/ 35 h 53"/>
                  <a:gd name="T76" fmla="*/ 2 w 142"/>
                  <a:gd name="T77" fmla="*/ 37 h 53"/>
                  <a:gd name="T78" fmla="*/ 0 w 142"/>
                  <a:gd name="T79" fmla="*/ 44 h 53"/>
                  <a:gd name="T80" fmla="*/ 0 w 142"/>
                  <a:gd name="T81" fmla="*/ 51 h 53"/>
                  <a:gd name="T82" fmla="*/ 0 w 142"/>
                  <a:gd name="T83" fmla="*/ 53 h 53"/>
                  <a:gd name="T84" fmla="*/ 51 w 142"/>
                  <a:gd name="T85" fmla="*/ 53 h 53"/>
                  <a:gd name="T86" fmla="*/ 91 w 142"/>
                  <a:gd name="T87" fmla="*/ 53 h 53"/>
                  <a:gd name="T88" fmla="*/ 142 w 142"/>
                  <a:gd name="T89" fmla="*/ 53 h 53"/>
                  <a:gd name="T90" fmla="*/ 142 w 142"/>
                  <a:gd name="T91" fmla="*/ 51 h 53"/>
                  <a:gd name="T92" fmla="*/ 142 w 142"/>
                  <a:gd name="T93"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2" h="53">
                    <a:moveTo>
                      <a:pt x="142" y="44"/>
                    </a:moveTo>
                    <a:lnTo>
                      <a:pt x="141" y="37"/>
                    </a:lnTo>
                    <a:lnTo>
                      <a:pt x="141" y="35"/>
                    </a:lnTo>
                    <a:lnTo>
                      <a:pt x="139" y="31"/>
                    </a:lnTo>
                    <a:lnTo>
                      <a:pt x="139" y="28"/>
                    </a:lnTo>
                    <a:lnTo>
                      <a:pt x="138" y="25"/>
                    </a:lnTo>
                    <a:lnTo>
                      <a:pt x="137" y="21"/>
                    </a:lnTo>
                    <a:lnTo>
                      <a:pt x="135" y="19"/>
                    </a:lnTo>
                    <a:lnTo>
                      <a:pt x="133" y="16"/>
                    </a:lnTo>
                    <a:lnTo>
                      <a:pt x="131" y="13"/>
                    </a:lnTo>
                    <a:lnTo>
                      <a:pt x="129" y="12"/>
                    </a:lnTo>
                    <a:lnTo>
                      <a:pt x="126" y="9"/>
                    </a:lnTo>
                    <a:lnTo>
                      <a:pt x="123" y="8"/>
                    </a:lnTo>
                    <a:lnTo>
                      <a:pt x="121" y="7"/>
                    </a:lnTo>
                    <a:lnTo>
                      <a:pt x="115" y="4"/>
                    </a:lnTo>
                    <a:lnTo>
                      <a:pt x="110" y="3"/>
                    </a:lnTo>
                    <a:lnTo>
                      <a:pt x="105" y="1"/>
                    </a:lnTo>
                    <a:lnTo>
                      <a:pt x="99" y="0"/>
                    </a:lnTo>
                    <a:lnTo>
                      <a:pt x="94" y="0"/>
                    </a:lnTo>
                    <a:lnTo>
                      <a:pt x="82" y="0"/>
                    </a:lnTo>
                    <a:lnTo>
                      <a:pt x="60" y="0"/>
                    </a:lnTo>
                    <a:lnTo>
                      <a:pt x="48" y="0"/>
                    </a:lnTo>
                    <a:lnTo>
                      <a:pt x="43" y="0"/>
                    </a:lnTo>
                    <a:lnTo>
                      <a:pt x="38" y="1"/>
                    </a:lnTo>
                    <a:lnTo>
                      <a:pt x="32" y="3"/>
                    </a:lnTo>
                    <a:lnTo>
                      <a:pt x="27" y="4"/>
                    </a:lnTo>
                    <a:lnTo>
                      <a:pt x="22" y="7"/>
                    </a:lnTo>
                    <a:lnTo>
                      <a:pt x="19" y="8"/>
                    </a:lnTo>
                    <a:lnTo>
                      <a:pt x="16" y="9"/>
                    </a:lnTo>
                    <a:lnTo>
                      <a:pt x="14" y="12"/>
                    </a:lnTo>
                    <a:lnTo>
                      <a:pt x="11" y="13"/>
                    </a:lnTo>
                    <a:lnTo>
                      <a:pt x="10" y="16"/>
                    </a:lnTo>
                    <a:lnTo>
                      <a:pt x="7" y="19"/>
                    </a:lnTo>
                    <a:lnTo>
                      <a:pt x="6" y="21"/>
                    </a:lnTo>
                    <a:lnTo>
                      <a:pt x="4" y="25"/>
                    </a:lnTo>
                    <a:lnTo>
                      <a:pt x="3" y="28"/>
                    </a:lnTo>
                    <a:lnTo>
                      <a:pt x="3" y="31"/>
                    </a:lnTo>
                    <a:lnTo>
                      <a:pt x="2" y="35"/>
                    </a:lnTo>
                    <a:lnTo>
                      <a:pt x="2" y="37"/>
                    </a:lnTo>
                    <a:lnTo>
                      <a:pt x="0" y="44"/>
                    </a:lnTo>
                    <a:lnTo>
                      <a:pt x="0" y="51"/>
                    </a:lnTo>
                    <a:lnTo>
                      <a:pt x="0" y="53"/>
                    </a:lnTo>
                    <a:lnTo>
                      <a:pt x="51" y="53"/>
                    </a:lnTo>
                    <a:lnTo>
                      <a:pt x="91" y="53"/>
                    </a:lnTo>
                    <a:lnTo>
                      <a:pt x="142" y="53"/>
                    </a:lnTo>
                    <a:lnTo>
                      <a:pt x="142" y="51"/>
                    </a:lnTo>
                    <a:lnTo>
                      <a:pt x="142" y="44"/>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91" name="Freeform 194"/>
              <p:cNvSpPr>
                <a:spLocks/>
              </p:cNvSpPr>
              <p:nvPr/>
            </p:nvSpPr>
            <p:spPr bwMode="auto">
              <a:xfrm>
                <a:off x="10388649" y="5880236"/>
                <a:ext cx="59571" cy="62882"/>
              </a:xfrm>
              <a:custGeom>
                <a:avLst/>
                <a:gdLst>
                  <a:gd name="T0" fmla="*/ 13 w 54"/>
                  <a:gd name="T1" fmla="*/ 0 h 55"/>
                  <a:gd name="T2" fmla="*/ 13 w 54"/>
                  <a:gd name="T3" fmla="*/ 0 h 55"/>
                  <a:gd name="T4" fmla="*/ 6 w 54"/>
                  <a:gd name="T5" fmla="*/ 0 h 55"/>
                  <a:gd name="T6" fmla="*/ 4 w 54"/>
                  <a:gd name="T7" fmla="*/ 0 h 55"/>
                  <a:gd name="T8" fmla="*/ 2 w 54"/>
                  <a:gd name="T9" fmla="*/ 2 h 55"/>
                  <a:gd name="T10" fmla="*/ 0 w 54"/>
                  <a:gd name="T11" fmla="*/ 6 h 55"/>
                  <a:gd name="T12" fmla="*/ 1 w 54"/>
                  <a:gd name="T13" fmla="*/ 13 h 55"/>
                  <a:gd name="T14" fmla="*/ 2 w 54"/>
                  <a:gd name="T15" fmla="*/ 19 h 55"/>
                  <a:gd name="T16" fmla="*/ 6 w 54"/>
                  <a:gd name="T17" fmla="*/ 27 h 55"/>
                  <a:gd name="T18" fmla="*/ 12 w 54"/>
                  <a:gd name="T19" fmla="*/ 35 h 55"/>
                  <a:gd name="T20" fmla="*/ 17 w 54"/>
                  <a:gd name="T21" fmla="*/ 45 h 55"/>
                  <a:gd name="T22" fmla="*/ 17 w 54"/>
                  <a:gd name="T23" fmla="*/ 45 h 55"/>
                  <a:gd name="T24" fmla="*/ 24 w 54"/>
                  <a:gd name="T25" fmla="*/ 51 h 55"/>
                  <a:gd name="T26" fmla="*/ 30 w 54"/>
                  <a:gd name="T27" fmla="*/ 54 h 55"/>
                  <a:gd name="T28" fmla="*/ 37 w 54"/>
                  <a:gd name="T29" fmla="*/ 55 h 55"/>
                  <a:gd name="T30" fmla="*/ 42 w 54"/>
                  <a:gd name="T31" fmla="*/ 55 h 55"/>
                  <a:gd name="T32" fmla="*/ 48 w 54"/>
                  <a:gd name="T33" fmla="*/ 54 h 55"/>
                  <a:gd name="T34" fmla="*/ 52 w 54"/>
                  <a:gd name="T35" fmla="*/ 53 h 55"/>
                  <a:gd name="T36" fmla="*/ 54 w 54"/>
                  <a:gd name="T37" fmla="*/ 50 h 55"/>
                  <a:gd name="T38" fmla="*/ 54 w 54"/>
                  <a:gd name="T39" fmla="*/ 50 h 55"/>
                  <a:gd name="T40" fmla="*/ 52 w 54"/>
                  <a:gd name="T41" fmla="*/ 51 h 55"/>
                  <a:gd name="T42" fmla="*/ 46 w 54"/>
                  <a:gd name="T43" fmla="*/ 50 h 55"/>
                  <a:gd name="T44" fmla="*/ 42 w 54"/>
                  <a:gd name="T45" fmla="*/ 49 h 55"/>
                  <a:gd name="T46" fmla="*/ 38 w 54"/>
                  <a:gd name="T47" fmla="*/ 47 h 55"/>
                  <a:gd name="T48" fmla="*/ 34 w 54"/>
                  <a:gd name="T49" fmla="*/ 42 h 55"/>
                  <a:gd name="T50" fmla="*/ 32 w 54"/>
                  <a:gd name="T51" fmla="*/ 37 h 55"/>
                  <a:gd name="T52" fmla="*/ 32 w 54"/>
                  <a:gd name="T53" fmla="*/ 37 h 55"/>
                  <a:gd name="T54" fmla="*/ 29 w 54"/>
                  <a:gd name="T55" fmla="*/ 27 h 55"/>
                  <a:gd name="T56" fmla="*/ 26 w 54"/>
                  <a:gd name="T57" fmla="*/ 17 h 55"/>
                  <a:gd name="T58" fmla="*/ 24 w 54"/>
                  <a:gd name="T59" fmla="*/ 11 h 55"/>
                  <a:gd name="T60" fmla="*/ 22 w 54"/>
                  <a:gd name="T61" fmla="*/ 6 h 55"/>
                  <a:gd name="T62" fmla="*/ 18 w 54"/>
                  <a:gd name="T63" fmla="*/ 3 h 55"/>
                  <a:gd name="T64" fmla="*/ 13 w 54"/>
                  <a:gd name="T65" fmla="*/ 0 h 55"/>
                  <a:gd name="T66" fmla="*/ 13 w 54"/>
                  <a:gd name="T6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5">
                    <a:moveTo>
                      <a:pt x="13" y="0"/>
                    </a:moveTo>
                    <a:lnTo>
                      <a:pt x="13" y="0"/>
                    </a:lnTo>
                    <a:lnTo>
                      <a:pt x="6" y="0"/>
                    </a:lnTo>
                    <a:lnTo>
                      <a:pt x="4" y="0"/>
                    </a:lnTo>
                    <a:lnTo>
                      <a:pt x="2" y="2"/>
                    </a:lnTo>
                    <a:lnTo>
                      <a:pt x="0" y="6"/>
                    </a:lnTo>
                    <a:lnTo>
                      <a:pt x="1" y="13"/>
                    </a:lnTo>
                    <a:lnTo>
                      <a:pt x="2" y="19"/>
                    </a:lnTo>
                    <a:lnTo>
                      <a:pt x="6" y="27"/>
                    </a:lnTo>
                    <a:lnTo>
                      <a:pt x="12" y="35"/>
                    </a:lnTo>
                    <a:lnTo>
                      <a:pt x="17" y="45"/>
                    </a:lnTo>
                    <a:lnTo>
                      <a:pt x="17" y="45"/>
                    </a:lnTo>
                    <a:lnTo>
                      <a:pt x="24" y="51"/>
                    </a:lnTo>
                    <a:lnTo>
                      <a:pt x="30" y="54"/>
                    </a:lnTo>
                    <a:lnTo>
                      <a:pt x="37" y="55"/>
                    </a:lnTo>
                    <a:lnTo>
                      <a:pt x="42" y="55"/>
                    </a:lnTo>
                    <a:lnTo>
                      <a:pt x="48" y="54"/>
                    </a:lnTo>
                    <a:lnTo>
                      <a:pt x="52" y="53"/>
                    </a:lnTo>
                    <a:lnTo>
                      <a:pt x="54" y="50"/>
                    </a:lnTo>
                    <a:lnTo>
                      <a:pt x="54" y="50"/>
                    </a:lnTo>
                    <a:lnTo>
                      <a:pt x="52" y="51"/>
                    </a:lnTo>
                    <a:lnTo>
                      <a:pt x="46" y="50"/>
                    </a:lnTo>
                    <a:lnTo>
                      <a:pt x="42" y="49"/>
                    </a:lnTo>
                    <a:lnTo>
                      <a:pt x="38" y="47"/>
                    </a:lnTo>
                    <a:lnTo>
                      <a:pt x="34" y="42"/>
                    </a:lnTo>
                    <a:lnTo>
                      <a:pt x="32" y="37"/>
                    </a:lnTo>
                    <a:lnTo>
                      <a:pt x="32" y="37"/>
                    </a:lnTo>
                    <a:lnTo>
                      <a:pt x="29" y="27"/>
                    </a:lnTo>
                    <a:lnTo>
                      <a:pt x="26" y="17"/>
                    </a:lnTo>
                    <a:lnTo>
                      <a:pt x="24" y="11"/>
                    </a:lnTo>
                    <a:lnTo>
                      <a:pt x="22" y="6"/>
                    </a:lnTo>
                    <a:lnTo>
                      <a:pt x="18" y="3"/>
                    </a:lnTo>
                    <a:lnTo>
                      <a:pt x="13" y="0"/>
                    </a:lnTo>
                    <a:lnTo>
                      <a:pt x="13"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0" name="Freeform 187"/>
              <p:cNvSpPr>
                <a:spLocks/>
              </p:cNvSpPr>
              <p:nvPr/>
            </p:nvSpPr>
            <p:spPr bwMode="auto">
              <a:xfrm>
                <a:off x="8105634" y="5888245"/>
                <a:ext cx="79429" cy="79429"/>
              </a:xfrm>
              <a:custGeom>
                <a:avLst/>
                <a:gdLst>
                  <a:gd name="T0" fmla="*/ 22 w 73"/>
                  <a:gd name="T1" fmla="*/ 3 h 73"/>
                  <a:gd name="T2" fmla="*/ 26 w 73"/>
                  <a:gd name="T3" fmla="*/ 2 h 73"/>
                  <a:gd name="T4" fmla="*/ 30 w 73"/>
                  <a:gd name="T5" fmla="*/ 0 h 73"/>
                  <a:gd name="T6" fmla="*/ 36 w 73"/>
                  <a:gd name="T7" fmla="*/ 0 h 73"/>
                  <a:gd name="T8" fmla="*/ 40 w 73"/>
                  <a:gd name="T9" fmla="*/ 0 h 73"/>
                  <a:gd name="T10" fmla="*/ 45 w 73"/>
                  <a:gd name="T11" fmla="*/ 2 h 73"/>
                  <a:gd name="T12" fmla="*/ 53 w 73"/>
                  <a:gd name="T13" fmla="*/ 4 h 73"/>
                  <a:gd name="T14" fmla="*/ 60 w 73"/>
                  <a:gd name="T15" fmla="*/ 10 h 73"/>
                  <a:gd name="T16" fmla="*/ 67 w 73"/>
                  <a:gd name="T17" fmla="*/ 17 h 73"/>
                  <a:gd name="T18" fmla="*/ 69 w 73"/>
                  <a:gd name="T19" fmla="*/ 21 h 73"/>
                  <a:gd name="T20" fmla="*/ 71 w 73"/>
                  <a:gd name="T21" fmla="*/ 25 h 73"/>
                  <a:gd name="T22" fmla="*/ 72 w 73"/>
                  <a:gd name="T23" fmla="*/ 29 h 73"/>
                  <a:gd name="T24" fmla="*/ 73 w 73"/>
                  <a:gd name="T25" fmla="*/ 34 h 73"/>
                  <a:gd name="T26" fmla="*/ 73 w 73"/>
                  <a:gd name="T27" fmla="*/ 38 h 73"/>
                  <a:gd name="T28" fmla="*/ 73 w 73"/>
                  <a:gd name="T29" fmla="*/ 41 h 73"/>
                  <a:gd name="T30" fmla="*/ 72 w 73"/>
                  <a:gd name="T31" fmla="*/ 46 h 73"/>
                  <a:gd name="T32" fmla="*/ 71 w 73"/>
                  <a:gd name="T33" fmla="*/ 51 h 73"/>
                  <a:gd name="T34" fmla="*/ 68 w 73"/>
                  <a:gd name="T35" fmla="*/ 55 h 73"/>
                  <a:gd name="T36" fmla="*/ 65 w 73"/>
                  <a:gd name="T37" fmla="*/ 59 h 73"/>
                  <a:gd name="T38" fmla="*/ 61 w 73"/>
                  <a:gd name="T39" fmla="*/ 63 h 73"/>
                  <a:gd name="T40" fmla="*/ 57 w 73"/>
                  <a:gd name="T41" fmla="*/ 66 h 73"/>
                  <a:gd name="T42" fmla="*/ 53 w 73"/>
                  <a:gd name="T43" fmla="*/ 69 h 73"/>
                  <a:gd name="T44" fmla="*/ 49 w 73"/>
                  <a:gd name="T45" fmla="*/ 70 h 73"/>
                  <a:gd name="T46" fmla="*/ 44 w 73"/>
                  <a:gd name="T47" fmla="*/ 71 h 73"/>
                  <a:gd name="T48" fmla="*/ 39 w 73"/>
                  <a:gd name="T49" fmla="*/ 73 h 73"/>
                  <a:gd name="T50" fmla="*/ 33 w 73"/>
                  <a:gd name="T51" fmla="*/ 73 h 73"/>
                  <a:gd name="T52" fmla="*/ 28 w 73"/>
                  <a:gd name="T53" fmla="*/ 71 h 73"/>
                  <a:gd name="T54" fmla="*/ 24 w 73"/>
                  <a:gd name="T55" fmla="*/ 71 h 73"/>
                  <a:gd name="T56" fmla="*/ 18 w 73"/>
                  <a:gd name="T57" fmla="*/ 69 h 73"/>
                  <a:gd name="T58" fmla="*/ 14 w 73"/>
                  <a:gd name="T59" fmla="*/ 66 h 73"/>
                  <a:gd name="T60" fmla="*/ 13 w 73"/>
                  <a:gd name="T61" fmla="*/ 65 h 73"/>
                  <a:gd name="T62" fmla="*/ 9 w 73"/>
                  <a:gd name="T63" fmla="*/ 61 h 73"/>
                  <a:gd name="T64" fmla="*/ 6 w 73"/>
                  <a:gd name="T65" fmla="*/ 58 h 73"/>
                  <a:gd name="T66" fmla="*/ 4 w 73"/>
                  <a:gd name="T67" fmla="*/ 54 h 73"/>
                  <a:gd name="T68" fmla="*/ 1 w 73"/>
                  <a:gd name="T69" fmla="*/ 50 h 73"/>
                  <a:gd name="T70" fmla="*/ 0 w 73"/>
                  <a:gd name="T71" fmla="*/ 45 h 73"/>
                  <a:gd name="T72" fmla="*/ 0 w 73"/>
                  <a:gd name="T73" fmla="*/ 41 h 73"/>
                  <a:gd name="T74" fmla="*/ 0 w 73"/>
                  <a:gd name="T75" fmla="*/ 31 h 73"/>
                  <a:gd name="T76" fmla="*/ 1 w 73"/>
                  <a:gd name="T77" fmla="*/ 25 h 73"/>
                  <a:gd name="T78" fmla="*/ 4 w 73"/>
                  <a:gd name="T79" fmla="*/ 21 h 73"/>
                  <a:gd name="T80" fmla="*/ 5 w 73"/>
                  <a:gd name="T81" fmla="*/ 15 h 73"/>
                  <a:gd name="T82" fmla="*/ 9 w 73"/>
                  <a:gd name="T83" fmla="*/ 12 h 73"/>
                  <a:gd name="T84" fmla="*/ 12 w 73"/>
                  <a:gd name="T85" fmla="*/ 8 h 73"/>
                  <a:gd name="T86" fmla="*/ 16 w 73"/>
                  <a:gd name="T87" fmla="*/ 6 h 73"/>
                  <a:gd name="T88" fmla="*/ 20 w 73"/>
                  <a:gd name="T89" fmla="*/ 4 h 73"/>
                  <a:gd name="T90" fmla="*/ 22 w 73"/>
                  <a:gd name="T91"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3">
                    <a:moveTo>
                      <a:pt x="22" y="3"/>
                    </a:moveTo>
                    <a:lnTo>
                      <a:pt x="22" y="3"/>
                    </a:lnTo>
                    <a:lnTo>
                      <a:pt x="24" y="2"/>
                    </a:lnTo>
                    <a:lnTo>
                      <a:pt x="26" y="2"/>
                    </a:lnTo>
                    <a:lnTo>
                      <a:pt x="29" y="0"/>
                    </a:lnTo>
                    <a:lnTo>
                      <a:pt x="30" y="0"/>
                    </a:lnTo>
                    <a:lnTo>
                      <a:pt x="33" y="0"/>
                    </a:lnTo>
                    <a:lnTo>
                      <a:pt x="36" y="0"/>
                    </a:lnTo>
                    <a:lnTo>
                      <a:pt x="37" y="0"/>
                    </a:lnTo>
                    <a:lnTo>
                      <a:pt x="40" y="0"/>
                    </a:lnTo>
                    <a:lnTo>
                      <a:pt x="43" y="0"/>
                    </a:lnTo>
                    <a:lnTo>
                      <a:pt x="45" y="2"/>
                    </a:lnTo>
                    <a:lnTo>
                      <a:pt x="49" y="3"/>
                    </a:lnTo>
                    <a:lnTo>
                      <a:pt x="53" y="4"/>
                    </a:lnTo>
                    <a:lnTo>
                      <a:pt x="57" y="7"/>
                    </a:lnTo>
                    <a:lnTo>
                      <a:pt x="60" y="10"/>
                    </a:lnTo>
                    <a:lnTo>
                      <a:pt x="64" y="12"/>
                    </a:lnTo>
                    <a:lnTo>
                      <a:pt x="67" y="17"/>
                    </a:lnTo>
                    <a:lnTo>
                      <a:pt x="68" y="19"/>
                    </a:lnTo>
                    <a:lnTo>
                      <a:pt x="69" y="21"/>
                    </a:lnTo>
                    <a:lnTo>
                      <a:pt x="71" y="22"/>
                    </a:lnTo>
                    <a:lnTo>
                      <a:pt x="71" y="25"/>
                    </a:lnTo>
                    <a:lnTo>
                      <a:pt x="72" y="27"/>
                    </a:lnTo>
                    <a:lnTo>
                      <a:pt x="72" y="29"/>
                    </a:lnTo>
                    <a:lnTo>
                      <a:pt x="72" y="31"/>
                    </a:lnTo>
                    <a:lnTo>
                      <a:pt x="73" y="34"/>
                    </a:lnTo>
                    <a:lnTo>
                      <a:pt x="73" y="35"/>
                    </a:lnTo>
                    <a:lnTo>
                      <a:pt x="73" y="38"/>
                    </a:lnTo>
                    <a:lnTo>
                      <a:pt x="73" y="38"/>
                    </a:lnTo>
                    <a:lnTo>
                      <a:pt x="73" y="41"/>
                    </a:lnTo>
                    <a:lnTo>
                      <a:pt x="72" y="43"/>
                    </a:lnTo>
                    <a:lnTo>
                      <a:pt x="72" y="46"/>
                    </a:lnTo>
                    <a:lnTo>
                      <a:pt x="71" y="49"/>
                    </a:lnTo>
                    <a:lnTo>
                      <a:pt x="71" y="51"/>
                    </a:lnTo>
                    <a:lnTo>
                      <a:pt x="69" y="53"/>
                    </a:lnTo>
                    <a:lnTo>
                      <a:pt x="68" y="55"/>
                    </a:lnTo>
                    <a:lnTo>
                      <a:pt x="67" y="58"/>
                    </a:lnTo>
                    <a:lnTo>
                      <a:pt x="65" y="59"/>
                    </a:lnTo>
                    <a:lnTo>
                      <a:pt x="64" y="61"/>
                    </a:lnTo>
                    <a:lnTo>
                      <a:pt x="61" y="63"/>
                    </a:lnTo>
                    <a:lnTo>
                      <a:pt x="60" y="65"/>
                    </a:lnTo>
                    <a:lnTo>
                      <a:pt x="57" y="66"/>
                    </a:lnTo>
                    <a:lnTo>
                      <a:pt x="56" y="67"/>
                    </a:lnTo>
                    <a:lnTo>
                      <a:pt x="53" y="69"/>
                    </a:lnTo>
                    <a:lnTo>
                      <a:pt x="51" y="70"/>
                    </a:lnTo>
                    <a:lnTo>
                      <a:pt x="49" y="70"/>
                    </a:lnTo>
                    <a:lnTo>
                      <a:pt x="47" y="71"/>
                    </a:lnTo>
                    <a:lnTo>
                      <a:pt x="44" y="71"/>
                    </a:lnTo>
                    <a:lnTo>
                      <a:pt x="41" y="73"/>
                    </a:lnTo>
                    <a:lnTo>
                      <a:pt x="39" y="73"/>
                    </a:lnTo>
                    <a:lnTo>
                      <a:pt x="36" y="73"/>
                    </a:lnTo>
                    <a:lnTo>
                      <a:pt x="33" y="73"/>
                    </a:lnTo>
                    <a:lnTo>
                      <a:pt x="30" y="73"/>
                    </a:lnTo>
                    <a:lnTo>
                      <a:pt x="28" y="71"/>
                    </a:lnTo>
                    <a:lnTo>
                      <a:pt x="26" y="71"/>
                    </a:lnTo>
                    <a:lnTo>
                      <a:pt x="24" y="71"/>
                    </a:lnTo>
                    <a:lnTo>
                      <a:pt x="21" y="70"/>
                    </a:lnTo>
                    <a:lnTo>
                      <a:pt x="18" y="69"/>
                    </a:lnTo>
                    <a:lnTo>
                      <a:pt x="17" y="67"/>
                    </a:lnTo>
                    <a:lnTo>
                      <a:pt x="14" y="66"/>
                    </a:lnTo>
                    <a:lnTo>
                      <a:pt x="13" y="65"/>
                    </a:lnTo>
                    <a:lnTo>
                      <a:pt x="13" y="65"/>
                    </a:lnTo>
                    <a:lnTo>
                      <a:pt x="10" y="63"/>
                    </a:lnTo>
                    <a:lnTo>
                      <a:pt x="9" y="61"/>
                    </a:lnTo>
                    <a:lnTo>
                      <a:pt x="8" y="59"/>
                    </a:lnTo>
                    <a:lnTo>
                      <a:pt x="6" y="58"/>
                    </a:lnTo>
                    <a:lnTo>
                      <a:pt x="5" y="55"/>
                    </a:lnTo>
                    <a:lnTo>
                      <a:pt x="4" y="54"/>
                    </a:lnTo>
                    <a:lnTo>
                      <a:pt x="2" y="51"/>
                    </a:lnTo>
                    <a:lnTo>
                      <a:pt x="1" y="50"/>
                    </a:lnTo>
                    <a:lnTo>
                      <a:pt x="1" y="47"/>
                    </a:lnTo>
                    <a:lnTo>
                      <a:pt x="0" y="45"/>
                    </a:lnTo>
                    <a:lnTo>
                      <a:pt x="0" y="43"/>
                    </a:lnTo>
                    <a:lnTo>
                      <a:pt x="0" y="41"/>
                    </a:lnTo>
                    <a:lnTo>
                      <a:pt x="0" y="35"/>
                    </a:lnTo>
                    <a:lnTo>
                      <a:pt x="0" y="31"/>
                    </a:lnTo>
                    <a:lnTo>
                      <a:pt x="1" y="26"/>
                    </a:lnTo>
                    <a:lnTo>
                      <a:pt x="1" y="25"/>
                    </a:lnTo>
                    <a:lnTo>
                      <a:pt x="2" y="22"/>
                    </a:lnTo>
                    <a:lnTo>
                      <a:pt x="4" y="21"/>
                    </a:lnTo>
                    <a:lnTo>
                      <a:pt x="4" y="18"/>
                    </a:lnTo>
                    <a:lnTo>
                      <a:pt x="5" y="15"/>
                    </a:lnTo>
                    <a:lnTo>
                      <a:pt x="6" y="14"/>
                    </a:lnTo>
                    <a:lnTo>
                      <a:pt x="9" y="12"/>
                    </a:lnTo>
                    <a:lnTo>
                      <a:pt x="10" y="11"/>
                    </a:lnTo>
                    <a:lnTo>
                      <a:pt x="12" y="8"/>
                    </a:lnTo>
                    <a:lnTo>
                      <a:pt x="13" y="7"/>
                    </a:lnTo>
                    <a:lnTo>
                      <a:pt x="16" y="6"/>
                    </a:lnTo>
                    <a:lnTo>
                      <a:pt x="17" y="4"/>
                    </a:lnTo>
                    <a:lnTo>
                      <a:pt x="20" y="4"/>
                    </a:lnTo>
                    <a:lnTo>
                      <a:pt x="22" y="3"/>
                    </a:lnTo>
                    <a:lnTo>
                      <a:pt x="22" y="3"/>
                    </a:lnTo>
                    <a:lnTo>
                      <a:pt x="22" y="3"/>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1" name="Freeform 188"/>
              <p:cNvSpPr>
                <a:spLocks/>
              </p:cNvSpPr>
              <p:nvPr/>
            </p:nvSpPr>
            <p:spPr bwMode="auto">
              <a:xfrm>
                <a:off x="8065919" y="5984220"/>
                <a:ext cx="158857" cy="56263"/>
              </a:xfrm>
              <a:custGeom>
                <a:avLst/>
                <a:gdLst>
                  <a:gd name="T0" fmla="*/ 142 w 143"/>
                  <a:gd name="T1" fmla="*/ 44 h 53"/>
                  <a:gd name="T2" fmla="*/ 142 w 143"/>
                  <a:gd name="T3" fmla="*/ 37 h 53"/>
                  <a:gd name="T4" fmla="*/ 140 w 143"/>
                  <a:gd name="T5" fmla="*/ 35 h 53"/>
                  <a:gd name="T6" fmla="*/ 139 w 143"/>
                  <a:gd name="T7" fmla="*/ 31 h 53"/>
                  <a:gd name="T8" fmla="*/ 139 w 143"/>
                  <a:gd name="T9" fmla="*/ 28 h 53"/>
                  <a:gd name="T10" fmla="*/ 138 w 143"/>
                  <a:gd name="T11" fmla="*/ 25 h 53"/>
                  <a:gd name="T12" fmla="*/ 136 w 143"/>
                  <a:gd name="T13" fmla="*/ 21 h 53"/>
                  <a:gd name="T14" fmla="*/ 135 w 143"/>
                  <a:gd name="T15" fmla="*/ 19 h 53"/>
                  <a:gd name="T16" fmla="*/ 134 w 143"/>
                  <a:gd name="T17" fmla="*/ 16 h 53"/>
                  <a:gd name="T18" fmla="*/ 131 w 143"/>
                  <a:gd name="T19" fmla="*/ 13 h 53"/>
                  <a:gd name="T20" fmla="*/ 128 w 143"/>
                  <a:gd name="T21" fmla="*/ 12 h 53"/>
                  <a:gd name="T22" fmla="*/ 126 w 143"/>
                  <a:gd name="T23" fmla="*/ 9 h 53"/>
                  <a:gd name="T24" fmla="*/ 124 w 143"/>
                  <a:gd name="T25" fmla="*/ 8 h 53"/>
                  <a:gd name="T26" fmla="*/ 120 w 143"/>
                  <a:gd name="T27" fmla="*/ 7 h 53"/>
                  <a:gd name="T28" fmla="*/ 115 w 143"/>
                  <a:gd name="T29" fmla="*/ 4 h 53"/>
                  <a:gd name="T30" fmla="*/ 110 w 143"/>
                  <a:gd name="T31" fmla="*/ 3 h 53"/>
                  <a:gd name="T32" fmla="*/ 106 w 143"/>
                  <a:gd name="T33" fmla="*/ 1 h 53"/>
                  <a:gd name="T34" fmla="*/ 100 w 143"/>
                  <a:gd name="T35" fmla="*/ 0 h 53"/>
                  <a:gd name="T36" fmla="*/ 94 w 143"/>
                  <a:gd name="T37" fmla="*/ 0 h 53"/>
                  <a:gd name="T38" fmla="*/ 83 w 143"/>
                  <a:gd name="T39" fmla="*/ 0 h 53"/>
                  <a:gd name="T40" fmla="*/ 60 w 143"/>
                  <a:gd name="T41" fmla="*/ 0 h 53"/>
                  <a:gd name="T42" fmla="*/ 48 w 143"/>
                  <a:gd name="T43" fmla="*/ 0 h 53"/>
                  <a:gd name="T44" fmla="*/ 43 w 143"/>
                  <a:gd name="T45" fmla="*/ 0 h 53"/>
                  <a:gd name="T46" fmla="*/ 37 w 143"/>
                  <a:gd name="T47" fmla="*/ 1 h 53"/>
                  <a:gd name="T48" fmla="*/ 32 w 143"/>
                  <a:gd name="T49" fmla="*/ 3 h 53"/>
                  <a:gd name="T50" fmla="*/ 27 w 143"/>
                  <a:gd name="T51" fmla="*/ 4 h 53"/>
                  <a:gd name="T52" fmla="*/ 21 w 143"/>
                  <a:gd name="T53" fmla="*/ 7 h 53"/>
                  <a:gd name="T54" fmla="*/ 19 w 143"/>
                  <a:gd name="T55" fmla="*/ 8 h 53"/>
                  <a:gd name="T56" fmla="*/ 16 w 143"/>
                  <a:gd name="T57" fmla="*/ 9 h 53"/>
                  <a:gd name="T58" fmla="*/ 13 w 143"/>
                  <a:gd name="T59" fmla="*/ 12 h 53"/>
                  <a:gd name="T60" fmla="*/ 11 w 143"/>
                  <a:gd name="T61" fmla="*/ 13 h 53"/>
                  <a:gd name="T62" fmla="*/ 9 w 143"/>
                  <a:gd name="T63" fmla="*/ 16 h 53"/>
                  <a:gd name="T64" fmla="*/ 7 w 143"/>
                  <a:gd name="T65" fmla="*/ 19 h 53"/>
                  <a:gd name="T66" fmla="*/ 5 w 143"/>
                  <a:gd name="T67" fmla="*/ 21 h 53"/>
                  <a:gd name="T68" fmla="*/ 4 w 143"/>
                  <a:gd name="T69" fmla="*/ 25 h 53"/>
                  <a:gd name="T70" fmla="*/ 3 w 143"/>
                  <a:gd name="T71" fmla="*/ 28 h 53"/>
                  <a:gd name="T72" fmla="*/ 3 w 143"/>
                  <a:gd name="T73" fmla="*/ 31 h 53"/>
                  <a:gd name="T74" fmla="*/ 1 w 143"/>
                  <a:gd name="T75" fmla="*/ 35 h 53"/>
                  <a:gd name="T76" fmla="*/ 1 w 143"/>
                  <a:gd name="T77" fmla="*/ 37 h 53"/>
                  <a:gd name="T78" fmla="*/ 0 w 143"/>
                  <a:gd name="T79" fmla="*/ 44 h 53"/>
                  <a:gd name="T80" fmla="*/ 0 w 143"/>
                  <a:gd name="T81" fmla="*/ 51 h 53"/>
                  <a:gd name="T82" fmla="*/ 0 w 143"/>
                  <a:gd name="T83" fmla="*/ 53 h 53"/>
                  <a:gd name="T84" fmla="*/ 51 w 143"/>
                  <a:gd name="T85" fmla="*/ 53 h 53"/>
                  <a:gd name="T86" fmla="*/ 92 w 143"/>
                  <a:gd name="T87" fmla="*/ 53 h 53"/>
                  <a:gd name="T88" fmla="*/ 143 w 143"/>
                  <a:gd name="T89" fmla="*/ 53 h 53"/>
                  <a:gd name="T90" fmla="*/ 143 w 143"/>
                  <a:gd name="T91" fmla="*/ 51 h 53"/>
                  <a:gd name="T92" fmla="*/ 142 w 143"/>
                  <a:gd name="T93"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3">
                    <a:moveTo>
                      <a:pt x="142" y="44"/>
                    </a:moveTo>
                    <a:lnTo>
                      <a:pt x="142" y="37"/>
                    </a:lnTo>
                    <a:lnTo>
                      <a:pt x="140" y="35"/>
                    </a:lnTo>
                    <a:lnTo>
                      <a:pt x="139" y="31"/>
                    </a:lnTo>
                    <a:lnTo>
                      <a:pt x="139" y="28"/>
                    </a:lnTo>
                    <a:lnTo>
                      <a:pt x="138" y="25"/>
                    </a:lnTo>
                    <a:lnTo>
                      <a:pt x="136" y="21"/>
                    </a:lnTo>
                    <a:lnTo>
                      <a:pt x="135" y="19"/>
                    </a:lnTo>
                    <a:lnTo>
                      <a:pt x="134" y="16"/>
                    </a:lnTo>
                    <a:lnTo>
                      <a:pt x="131" y="13"/>
                    </a:lnTo>
                    <a:lnTo>
                      <a:pt x="128" y="12"/>
                    </a:lnTo>
                    <a:lnTo>
                      <a:pt x="126" y="9"/>
                    </a:lnTo>
                    <a:lnTo>
                      <a:pt x="124" y="8"/>
                    </a:lnTo>
                    <a:lnTo>
                      <a:pt x="120" y="7"/>
                    </a:lnTo>
                    <a:lnTo>
                      <a:pt x="115" y="4"/>
                    </a:lnTo>
                    <a:lnTo>
                      <a:pt x="110" y="3"/>
                    </a:lnTo>
                    <a:lnTo>
                      <a:pt x="106" y="1"/>
                    </a:lnTo>
                    <a:lnTo>
                      <a:pt x="100" y="0"/>
                    </a:lnTo>
                    <a:lnTo>
                      <a:pt x="94" y="0"/>
                    </a:lnTo>
                    <a:lnTo>
                      <a:pt x="83" y="0"/>
                    </a:lnTo>
                    <a:lnTo>
                      <a:pt x="60" y="0"/>
                    </a:lnTo>
                    <a:lnTo>
                      <a:pt x="48" y="0"/>
                    </a:lnTo>
                    <a:lnTo>
                      <a:pt x="43" y="0"/>
                    </a:lnTo>
                    <a:lnTo>
                      <a:pt x="37" y="1"/>
                    </a:lnTo>
                    <a:lnTo>
                      <a:pt x="32" y="3"/>
                    </a:lnTo>
                    <a:lnTo>
                      <a:pt x="27" y="4"/>
                    </a:lnTo>
                    <a:lnTo>
                      <a:pt x="21" y="7"/>
                    </a:lnTo>
                    <a:lnTo>
                      <a:pt x="19" y="8"/>
                    </a:lnTo>
                    <a:lnTo>
                      <a:pt x="16" y="9"/>
                    </a:lnTo>
                    <a:lnTo>
                      <a:pt x="13" y="12"/>
                    </a:lnTo>
                    <a:lnTo>
                      <a:pt x="11" y="13"/>
                    </a:lnTo>
                    <a:lnTo>
                      <a:pt x="9" y="16"/>
                    </a:lnTo>
                    <a:lnTo>
                      <a:pt x="7" y="19"/>
                    </a:lnTo>
                    <a:lnTo>
                      <a:pt x="5" y="21"/>
                    </a:lnTo>
                    <a:lnTo>
                      <a:pt x="4" y="25"/>
                    </a:lnTo>
                    <a:lnTo>
                      <a:pt x="3" y="28"/>
                    </a:lnTo>
                    <a:lnTo>
                      <a:pt x="3" y="31"/>
                    </a:lnTo>
                    <a:lnTo>
                      <a:pt x="1" y="35"/>
                    </a:lnTo>
                    <a:lnTo>
                      <a:pt x="1" y="37"/>
                    </a:lnTo>
                    <a:lnTo>
                      <a:pt x="0" y="44"/>
                    </a:lnTo>
                    <a:lnTo>
                      <a:pt x="0" y="51"/>
                    </a:lnTo>
                    <a:lnTo>
                      <a:pt x="0" y="53"/>
                    </a:lnTo>
                    <a:lnTo>
                      <a:pt x="51" y="53"/>
                    </a:lnTo>
                    <a:lnTo>
                      <a:pt x="92" y="53"/>
                    </a:lnTo>
                    <a:lnTo>
                      <a:pt x="143" y="53"/>
                    </a:lnTo>
                    <a:lnTo>
                      <a:pt x="143" y="51"/>
                    </a:lnTo>
                    <a:lnTo>
                      <a:pt x="142" y="44"/>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2" name="Freeform 189"/>
              <p:cNvSpPr>
                <a:spLocks/>
              </p:cNvSpPr>
              <p:nvPr/>
            </p:nvSpPr>
            <p:spPr bwMode="auto">
              <a:xfrm>
                <a:off x="8472991" y="5888245"/>
                <a:ext cx="79429" cy="79429"/>
              </a:xfrm>
              <a:custGeom>
                <a:avLst/>
                <a:gdLst>
                  <a:gd name="T0" fmla="*/ 22 w 73"/>
                  <a:gd name="T1" fmla="*/ 3 h 73"/>
                  <a:gd name="T2" fmla="*/ 26 w 73"/>
                  <a:gd name="T3" fmla="*/ 2 h 73"/>
                  <a:gd name="T4" fmla="*/ 30 w 73"/>
                  <a:gd name="T5" fmla="*/ 0 h 73"/>
                  <a:gd name="T6" fmla="*/ 36 w 73"/>
                  <a:gd name="T7" fmla="*/ 0 h 73"/>
                  <a:gd name="T8" fmla="*/ 40 w 73"/>
                  <a:gd name="T9" fmla="*/ 0 h 73"/>
                  <a:gd name="T10" fmla="*/ 45 w 73"/>
                  <a:gd name="T11" fmla="*/ 2 h 73"/>
                  <a:gd name="T12" fmla="*/ 53 w 73"/>
                  <a:gd name="T13" fmla="*/ 4 h 73"/>
                  <a:gd name="T14" fmla="*/ 61 w 73"/>
                  <a:gd name="T15" fmla="*/ 10 h 73"/>
                  <a:gd name="T16" fmla="*/ 66 w 73"/>
                  <a:gd name="T17" fmla="*/ 17 h 73"/>
                  <a:gd name="T18" fmla="*/ 69 w 73"/>
                  <a:gd name="T19" fmla="*/ 21 h 73"/>
                  <a:gd name="T20" fmla="*/ 70 w 73"/>
                  <a:gd name="T21" fmla="*/ 25 h 73"/>
                  <a:gd name="T22" fmla="*/ 72 w 73"/>
                  <a:gd name="T23" fmla="*/ 29 h 73"/>
                  <a:gd name="T24" fmla="*/ 73 w 73"/>
                  <a:gd name="T25" fmla="*/ 34 h 73"/>
                  <a:gd name="T26" fmla="*/ 73 w 73"/>
                  <a:gd name="T27" fmla="*/ 38 h 73"/>
                  <a:gd name="T28" fmla="*/ 73 w 73"/>
                  <a:gd name="T29" fmla="*/ 41 h 73"/>
                  <a:gd name="T30" fmla="*/ 72 w 73"/>
                  <a:gd name="T31" fmla="*/ 46 h 73"/>
                  <a:gd name="T32" fmla="*/ 70 w 73"/>
                  <a:gd name="T33" fmla="*/ 51 h 73"/>
                  <a:gd name="T34" fmla="*/ 68 w 73"/>
                  <a:gd name="T35" fmla="*/ 55 h 73"/>
                  <a:gd name="T36" fmla="*/ 65 w 73"/>
                  <a:gd name="T37" fmla="*/ 59 h 73"/>
                  <a:gd name="T38" fmla="*/ 61 w 73"/>
                  <a:gd name="T39" fmla="*/ 63 h 73"/>
                  <a:gd name="T40" fmla="*/ 57 w 73"/>
                  <a:gd name="T41" fmla="*/ 66 h 73"/>
                  <a:gd name="T42" fmla="*/ 53 w 73"/>
                  <a:gd name="T43" fmla="*/ 69 h 73"/>
                  <a:gd name="T44" fmla="*/ 49 w 73"/>
                  <a:gd name="T45" fmla="*/ 70 h 73"/>
                  <a:gd name="T46" fmla="*/ 44 w 73"/>
                  <a:gd name="T47" fmla="*/ 71 h 73"/>
                  <a:gd name="T48" fmla="*/ 38 w 73"/>
                  <a:gd name="T49" fmla="*/ 73 h 73"/>
                  <a:gd name="T50" fmla="*/ 33 w 73"/>
                  <a:gd name="T51" fmla="*/ 73 h 73"/>
                  <a:gd name="T52" fmla="*/ 29 w 73"/>
                  <a:gd name="T53" fmla="*/ 71 h 73"/>
                  <a:gd name="T54" fmla="*/ 24 w 73"/>
                  <a:gd name="T55" fmla="*/ 71 h 73"/>
                  <a:gd name="T56" fmla="*/ 18 w 73"/>
                  <a:gd name="T57" fmla="*/ 69 h 73"/>
                  <a:gd name="T58" fmla="*/ 14 w 73"/>
                  <a:gd name="T59" fmla="*/ 66 h 73"/>
                  <a:gd name="T60" fmla="*/ 13 w 73"/>
                  <a:gd name="T61" fmla="*/ 65 h 73"/>
                  <a:gd name="T62" fmla="*/ 9 w 73"/>
                  <a:gd name="T63" fmla="*/ 61 h 73"/>
                  <a:gd name="T64" fmla="*/ 6 w 73"/>
                  <a:gd name="T65" fmla="*/ 58 h 73"/>
                  <a:gd name="T66" fmla="*/ 4 w 73"/>
                  <a:gd name="T67" fmla="*/ 54 h 73"/>
                  <a:gd name="T68" fmla="*/ 1 w 73"/>
                  <a:gd name="T69" fmla="*/ 50 h 73"/>
                  <a:gd name="T70" fmla="*/ 1 w 73"/>
                  <a:gd name="T71" fmla="*/ 45 h 73"/>
                  <a:gd name="T72" fmla="*/ 0 w 73"/>
                  <a:gd name="T73" fmla="*/ 41 h 73"/>
                  <a:gd name="T74" fmla="*/ 0 w 73"/>
                  <a:gd name="T75" fmla="*/ 31 h 73"/>
                  <a:gd name="T76" fmla="*/ 1 w 73"/>
                  <a:gd name="T77" fmla="*/ 25 h 73"/>
                  <a:gd name="T78" fmla="*/ 4 w 73"/>
                  <a:gd name="T79" fmla="*/ 21 h 73"/>
                  <a:gd name="T80" fmla="*/ 6 w 73"/>
                  <a:gd name="T81" fmla="*/ 15 h 73"/>
                  <a:gd name="T82" fmla="*/ 9 w 73"/>
                  <a:gd name="T83" fmla="*/ 12 h 73"/>
                  <a:gd name="T84" fmla="*/ 12 w 73"/>
                  <a:gd name="T85" fmla="*/ 8 h 73"/>
                  <a:gd name="T86" fmla="*/ 16 w 73"/>
                  <a:gd name="T87" fmla="*/ 6 h 73"/>
                  <a:gd name="T88" fmla="*/ 20 w 73"/>
                  <a:gd name="T89" fmla="*/ 4 h 73"/>
                  <a:gd name="T90" fmla="*/ 22 w 73"/>
                  <a:gd name="T91"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3">
                    <a:moveTo>
                      <a:pt x="22" y="3"/>
                    </a:moveTo>
                    <a:lnTo>
                      <a:pt x="22" y="3"/>
                    </a:lnTo>
                    <a:lnTo>
                      <a:pt x="24" y="2"/>
                    </a:lnTo>
                    <a:lnTo>
                      <a:pt x="26" y="2"/>
                    </a:lnTo>
                    <a:lnTo>
                      <a:pt x="29" y="0"/>
                    </a:lnTo>
                    <a:lnTo>
                      <a:pt x="30" y="0"/>
                    </a:lnTo>
                    <a:lnTo>
                      <a:pt x="33" y="0"/>
                    </a:lnTo>
                    <a:lnTo>
                      <a:pt x="36" y="0"/>
                    </a:lnTo>
                    <a:lnTo>
                      <a:pt x="38" y="0"/>
                    </a:lnTo>
                    <a:lnTo>
                      <a:pt x="40" y="0"/>
                    </a:lnTo>
                    <a:lnTo>
                      <a:pt x="42" y="0"/>
                    </a:lnTo>
                    <a:lnTo>
                      <a:pt x="45" y="2"/>
                    </a:lnTo>
                    <a:lnTo>
                      <a:pt x="49" y="3"/>
                    </a:lnTo>
                    <a:lnTo>
                      <a:pt x="53" y="4"/>
                    </a:lnTo>
                    <a:lnTo>
                      <a:pt x="57" y="7"/>
                    </a:lnTo>
                    <a:lnTo>
                      <a:pt x="61" y="10"/>
                    </a:lnTo>
                    <a:lnTo>
                      <a:pt x="64" y="12"/>
                    </a:lnTo>
                    <a:lnTo>
                      <a:pt x="66" y="17"/>
                    </a:lnTo>
                    <a:lnTo>
                      <a:pt x="68" y="19"/>
                    </a:lnTo>
                    <a:lnTo>
                      <a:pt x="69" y="21"/>
                    </a:lnTo>
                    <a:lnTo>
                      <a:pt x="70" y="22"/>
                    </a:lnTo>
                    <a:lnTo>
                      <a:pt x="70" y="25"/>
                    </a:lnTo>
                    <a:lnTo>
                      <a:pt x="72" y="27"/>
                    </a:lnTo>
                    <a:lnTo>
                      <a:pt x="72" y="29"/>
                    </a:lnTo>
                    <a:lnTo>
                      <a:pt x="72" y="31"/>
                    </a:lnTo>
                    <a:lnTo>
                      <a:pt x="73" y="34"/>
                    </a:lnTo>
                    <a:lnTo>
                      <a:pt x="73" y="35"/>
                    </a:lnTo>
                    <a:lnTo>
                      <a:pt x="73" y="38"/>
                    </a:lnTo>
                    <a:lnTo>
                      <a:pt x="73" y="38"/>
                    </a:lnTo>
                    <a:lnTo>
                      <a:pt x="73" y="41"/>
                    </a:lnTo>
                    <a:lnTo>
                      <a:pt x="72" y="43"/>
                    </a:lnTo>
                    <a:lnTo>
                      <a:pt x="72" y="46"/>
                    </a:lnTo>
                    <a:lnTo>
                      <a:pt x="72" y="49"/>
                    </a:lnTo>
                    <a:lnTo>
                      <a:pt x="70" y="51"/>
                    </a:lnTo>
                    <a:lnTo>
                      <a:pt x="69" y="53"/>
                    </a:lnTo>
                    <a:lnTo>
                      <a:pt x="68" y="55"/>
                    </a:lnTo>
                    <a:lnTo>
                      <a:pt x="66" y="58"/>
                    </a:lnTo>
                    <a:lnTo>
                      <a:pt x="65" y="59"/>
                    </a:lnTo>
                    <a:lnTo>
                      <a:pt x="64" y="61"/>
                    </a:lnTo>
                    <a:lnTo>
                      <a:pt x="61" y="63"/>
                    </a:lnTo>
                    <a:lnTo>
                      <a:pt x="60" y="65"/>
                    </a:lnTo>
                    <a:lnTo>
                      <a:pt x="57" y="66"/>
                    </a:lnTo>
                    <a:lnTo>
                      <a:pt x="56" y="67"/>
                    </a:lnTo>
                    <a:lnTo>
                      <a:pt x="53" y="69"/>
                    </a:lnTo>
                    <a:lnTo>
                      <a:pt x="52" y="70"/>
                    </a:lnTo>
                    <a:lnTo>
                      <a:pt x="49" y="70"/>
                    </a:lnTo>
                    <a:lnTo>
                      <a:pt x="46" y="71"/>
                    </a:lnTo>
                    <a:lnTo>
                      <a:pt x="44" y="71"/>
                    </a:lnTo>
                    <a:lnTo>
                      <a:pt x="41" y="73"/>
                    </a:lnTo>
                    <a:lnTo>
                      <a:pt x="38" y="73"/>
                    </a:lnTo>
                    <a:lnTo>
                      <a:pt x="36" y="73"/>
                    </a:lnTo>
                    <a:lnTo>
                      <a:pt x="33" y="73"/>
                    </a:lnTo>
                    <a:lnTo>
                      <a:pt x="30" y="73"/>
                    </a:lnTo>
                    <a:lnTo>
                      <a:pt x="29" y="71"/>
                    </a:lnTo>
                    <a:lnTo>
                      <a:pt x="26" y="71"/>
                    </a:lnTo>
                    <a:lnTo>
                      <a:pt x="24" y="71"/>
                    </a:lnTo>
                    <a:lnTo>
                      <a:pt x="21" y="70"/>
                    </a:lnTo>
                    <a:lnTo>
                      <a:pt x="18" y="69"/>
                    </a:lnTo>
                    <a:lnTo>
                      <a:pt x="17" y="67"/>
                    </a:lnTo>
                    <a:lnTo>
                      <a:pt x="14" y="66"/>
                    </a:lnTo>
                    <a:lnTo>
                      <a:pt x="13" y="65"/>
                    </a:lnTo>
                    <a:lnTo>
                      <a:pt x="13" y="65"/>
                    </a:lnTo>
                    <a:lnTo>
                      <a:pt x="10" y="63"/>
                    </a:lnTo>
                    <a:lnTo>
                      <a:pt x="9" y="61"/>
                    </a:lnTo>
                    <a:lnTo>
                      <a:pt x="8" y="59"/>
                    </a:lnTo>
                    <a:lnTo>
                      <a:pt x="6" y="58"/>
                    </a:lnTo>
                    <a:lnTo>
                      <a:pt x="5" y="55"/>
                    </a:lnTo>
                    <a:lnTo>
                      <a:pt x="4" y="54"/>
                    </a:lnTo>
                    <a:lnTo>
                      <a:pt x="2" y="51"/>
                    </a:lnTo>
                    <a:lnTo>
                      <a:pt x="1" y="50"/>
                    </a:lnTo>
                    <a:lnTo>
                      <a:pt x="1" y="47"/>
                    </a:lnTo>
                    <a:lnTo>
                      <a:pt x="1" y="45"/>
                    </a:lnTo>
                    <a:lnTo>
                      <a:pt x="0" y="43"/>
                    </a:lnTo>
                    <a:lnTo>
                      <a:pt x="0" y="41"/>
                    </a:lnTo>
                    <a:lnTo>
                      <a:pt x="0" y="35"/>
                    </a:lnTo>
                    <a:lnTo>
                      <a:pt x="0" y="31"/>
                    </a:lnTo>
                    <a:lnTo>
                      <a:pt x="1" y="26"/>
                    </a:lnTo>
                    <a:lnTo>
                      <a:pt x="1" y="25"/>
                    </a:lnTo>
                    <a:lnTo>
                      <a:pt x="2" y="22"/>
                    </a:lnTo>
                    <a:lnTo>
                      <a:pt x="4" y="21"/>
                    </a:lnTo>
                    <a:lnTo>
                      <a:pt x="5" y="18"/>
                    </a:lnTo>
                    <a:lnTo>
                      <a:pt x="6" y="15"/>
                    </a:lnTo>
                    <a:lnTo>
                      <a:pt x="6" y="14"/>
                    </a:lnTo>
                    <a:lnTo>
                      <a:pt x="9" y="12"/>
                    </a:lnTo>
                    <a:lnTo>
                      <a:pt x="10" y="11"/>
                    </a:lnTo>
                    <a:lnTo>
                      <a:pt x="12" y="8"/>
                    </a:lnTo>
                    <a:lnTo>
                      <a:pt x="13" y="7"/>
                    </a:lnTo>
                    <a:lnTo>
                      <a:pt x="16" y="6"/>
                    </a:lnTo>
                    <a:lnTo>
                      <a:pt x="17" y="4"/>
                    </a:lnTo>
                    <a:lnTo>
                      <a:pt x="20" y="4"/>
                    </a:lnTo>
                    <a:lnTo>
                      <a:pt x="22" y="3"/>
                    </a:lnTo>
                    <a:lnTo>
                      <a:pt x="22" y="3"/>
                    </a:lnTo>
                    <a:lnTo>
                      <a:pt x="22" y="3"/>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3" name="Freeform 190"/>
              <p:cNvSpPr>
                <a:spLocks/>
              </p:cNvSpPr>
              <p:nvPr/>
            </p:nvSpPr>
            <p:spPr bwMode="auto">
              <a:xfrm>
                <a:off x="8433277" y="5984220"/>
                <a:ext cx="158857" cy="56263"/>
              </a:xfrm>
              <a:custGeom>
                <a:avLst/>
                <a:gdLst>
                  <a:gd name="T0" fmla="*/ 141 w 143"/>
                  <a:gd name="T1" fmla="*/ 44 h 53"/>
                  <a:gd name="T2" fmla="*/ 141 w 143"/>
                  <a:gd name="T3" fmla="*/ 37 h 53"/>
                  <a:gd name="T4" fmla="*/ 140 w 143"/>
                  <a:gd name="T5" fmla="*/ 35 h 53"/>
                  <a:gd name="T6" fmla="*/ 140 w 143"/>
                  <a:gd name="T7" fmla="*/ 31 h 53"/>
                  <a:gd name="T8" fmla="*/ 139 w 143"/>
                  <a:gd name="T9" fmla="*/ 28 h 53"/>
                  <a:gd name="T10" fmla="*/ 137 w 143"/>
                  <a:gd name="T11" fmla="*/ 25 h 53"/>
                  <a:gd name="T12" fmla="*/ 136 w 143"/>
                  <a:gd name="T13" fmla="*/ 21 h 53"/>
                  <a:gd name="T14" fmla="*/ 135 w 143"/>
                  <a:gd name="T15" fmla="*/ 19 h 53"/>
                  <a:gd name="T16" fmla="*/ 133 w 143"/>
                  <a:gd name="T17" fmla="*/ 16 h 53"/>
                  <a:gd name="T18" fmla="*/ 131 w 143"/>
                  <a:gd name="T19" fmla="*/ 13 h 53"/>
                  <a:gd name="T20" fmla="*/ 129 w 143"/>
                  <a:gd name="T21" fmla="*/ 12 h 53"/>
                  <a:gd name="T22" fmla="*/ 127 w 143"/>
                  <a:gd name="T23" fmla="*/ 9 h 53"/>
                  <a:gd name="T24" fmla="*/ 124 w 143"/>
                  <a:gd name="T25" fmla="*/ 8 h 53"/>
                  <a:gd name="T26" fmla="*/ 120 w 143"/>
                  <a:gd name="T27" fmla="*/ 7 h 53"/>
                  <a:gd name="T28" fmla="*/ 116 w 143"/>
                  <a:gd name="T29" fmla="*/ 4 h 53"/>
                  <a:gd name="T30" fmla="*/ 109 w 143"/>
                  <a:gd name="T31" fmla="*/ 3 h 53"/>
                  <a:gd name="T32" fmla="*/ 105 w 143"/>
                  <a:gd name="T33" fmla="*/ 1 h 53"/>
                  <a:gd name="T34" fmla="*/ 100 w 143"/>
                  <a:gd name="T35" fmla="*/ 0 h 53"/>
                  <a:gd name="T36" fmla="*/ 95 w 143"/>
                  <a:gd name="T37" fmla="*/ 0 h 53"/>
                  <a:gd name="T38" fmla="*/ 83 w 143"/>
                  <a:gd name="T39" fmla="*/ 0 h 53"/>
                  <a:gd name="T40" fmla="*/ 60 w 143"/>
                  <a:gd name="T41" fmla="*/ 0 h 53"/>
                  <a:gd name="T42" fmla="*/ 48 w 143"/>
                  <a:gd name="T43" fmla="*/ 0 h 53"/>
                  <a:gd name="T44" fmla="*/ 43 w 143"/>
                  <a:gd name="T45" fmla="*/ 0 h 53"/>
                  <a:gd name="T46" fmla="*/ 37 w 143"/>
                  <a:gd name="T47" fmla="*/ 1 h 53"/>
                  <a:gd name="T48" fmla="*/ 32 w 143"/>
                  <a:gd name="T49" fmla="*/ 3 h 53"/>
                  <a:gd name="T50" fmla="*/ 27 w 143"/>
                  <a:gd name="T51" fmla="*/ 4 h 53"/>
                  <a:gd name="T52" fmla="*/ 21 w 143"/>
                  <a:gd name="T53" fmla="*/ 7 h 53"/>
                  <a:gd name="T54" fmla="*/ 19 w 143"/>
                  <a:gd name="T55" fmla="*/ 8 h 53"/>
                  <a:gd name="T56" fmla="*/ 16 w 143"/>
                  <a:gd name="T57" fmla="*/ 9 h 53"/>
                  <a:gd name="T58" fmla="*/ 13 w 143"/>
                  <a:gd name="T59" fmla="*/ 12 h 53"/>
                  <a:gd name="T60" fmla="*/ 10 w 143"/>
                  <a:gd name="T61" fmla="*/ 13 h 53"/>
                  <a:gd name="T62" fmla="*/ 9 w 143"/>
                  <a:gd name="T63" fmla="*/ 16 h 53"/>
                  <a:gd name="T64" fmla="*/ 8 w 143"/>
                  <a:gd name="T65" fmla="*/ 19 h 53"/>
                  <a:gd name="T66" fmla="*/ 5 w 143"/>
                  <a:gd name="T67" fmla="*/ 21 h 53"/>
                  <a:gd name="T68" fmla="*/ 4 w 143"/>
                  <a:gd name="T69" fmla="*/ 25 h 53"/>
                  <a:gd name="T70" fmla="*/ 4 w 143"/>
                  <a:gd name="T71" fmla="*/ 28 h 53"/>
                  <a:gd name="T72" fmla="*/ 2 w 143"/>
                  <a:gd name="T73" fmla="*/ 31 h 53"/>
                  <a:gd name="T74" fmla="*/ 1 w 143"/>
                  <a:gd name="T75" fmla="*/ 35 h 53"/>
                  <a:gd name="T76" fmla="*/ 1 w 143"/>
                  <a:gd name="T77" fmla="*/ 37 h 53"/>
                  <a:gd name="T78" fmla="*/ 0 w 143"/>
                  <a:gd name="T79" fmla="*/ 44 h 53"/>
                  <a:gd name="T80" fmla="*/ 0 w 143"/>
                  <a:gd name="T81" fmla="*/ 51 h 53"/>
                  <a:gd name="T82" fmla="*/ 0 w 143"/>
                  <a:gd name="T83" fmla="*/ 53 h 53"/>
                  <a:gd name="T84" fmla="*/ 51 w 143"/>
                  <a:gd name="T85" fmla="*/ 53 h 53"/>
                  <a:gd name="T86" fmla="*/ 92 w 143"/>
                  <a:gd name="T87" fmla="*/ 53 h 53"/>
                  <a:gd name="T88" fmla="*/ 143 w 143"/>
                  <a:gd name="T89" fmla="*/ 53 h 53"/>
                  <a:gd name="T90" fmla="*/ 143 w 143"/>
                  <a:gd name="T91" fmla="*/ 51 h 53"/>
                  <a:gd name="T92" fmla="*/ 141 w 143"/>
                  <a:gd name="T93"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3">
                    <a:moveTo>
                      <a:pt x="141" y="44"/>
                    </a:moveTo>
                    <a:lnTo>
                      <a:pt x="141" y="37"/>
                    </a:lnTo>
                    <a:lnTo>
                      <a:pt x="140" y="35"/>
                    </a:lnTo>
                    <a:lnTo>
                      <a:pt x="140" y="31"/>
                    </a:lnTo>
                    <a:lnTo>
                      <a:pt x="139" y="28"/>
                    </a:lnTo>
                    <a:lnTo>
                      <a:pt x="137" y="25"/>
                    </a:lnTo>
                    <a:lnTo>
                      <a:pt x="136" y="21"/>
                    </a:lnTo>
                    <a:lnTo>
                      <a:pt x="135" y="19"/>
                    </a:lnTo>
                    <a:lnTo>
                      <a:pt x="133" y="16"/>
                    </a:lnTo>
                    <a:lnTo>
                      <a:pt x="131" y="13"/>
                    </a:lnTo>
                    <a:lnTo>
                      <a:pt x="129" y="12"/>
                    </a:lnTo>
                    <a:lnTo>
                      <a:pt x="127" y="9"/>
                    </a:lnTo>
                    <a:lnTo>
                      <a:pt x="124" y="8"/>
                    </a:lnTo>
                    <a:lnTo>
                      <a:pt x="120" y="7"/>
                    </a:lnTo>
                    <a:lnTo>
                      <a:pt x="116" y="4"/>
                    </a:lnTo>
                    <a:lnTo>
                      <a:pt x="109" y="3"/>
                    </a:lnTo>
                    <a:lnTo>
                      <a:pt x="105" y="1"/>
                    </a:lnTo>
                    <a:lnTo>
                      <a:pt x="100" y="0"/>
                    </a:lnTo>
                    <a:lnTo>
                      <a:pt x="95" y="0"/>
                    </a:lnTo>
                    <a:lnTo>
                      <a:pt x="83" y="0"/>
                    </a:lnTo>
                    <a:lnTo>
                      <a:pt x="60" y="0"/>
                    </a:lnTo>
                    <a:lnTo>
                      <a:pt x="48" y="0"/>
                    </a:lnTo>
                    <a:lnTo>
                      <a:pt x="43" y="0"/>
                    </a:lnTo>
                    <a:lnTo>
                      <a:pt x="37" y="1"/>
                    </a:lnTo>
                    <a:lnTo>
                      <a:pt x="32" y="3"/>
                    </a:lnTo>
                    <a:lnTo>
                      <a:pt x="27" y="4"/>
                    </a:lnTo>
                    <a:lnTo>
                      <a:pt x="21" y="7"/>
                    </a:lnTo>
                    <a:lnTo>
                      <a:pt x="19" y="8"/>
                    </a:lnTo>
                    <a:lnTo>
                      <a:pt x="16" y="9"/>
                    </a:lnTo>
                    <a:lnTo>
                      <a:pt x="13" y="12"/>
                    </a:lnTo>
                    <a:lnTo>
                      <a:pt x="10" y="13"/>
                    </a:lnTo>
                    <a:lnTo>
                      <a:pt x="9" y="16"/>
                    </a:lnTo>
                    <a:lnTo>
                      <a:pt x="8" y="19"/>
                    </a:lnTo>
                    <a:lnTo>
                      <a:pt x="5" y="21"/>
                    </a:lnTo>
                    <a:lnTo>
                      <a:pt x="4" y="25"/>
                    </a:lnTo>
                    <a:lnTo>
                      <a:pt x="4" y="28"/>
                    </a:lnTo>
                    <a:lnTo>
                      <a:pt x="2" y="31"/>
                    </a:lnTo>
                    <a:lnTo>
                      <a:pt x="1" y="35"/>
                    </a:lnTo>
                    <a:lnTo>
                      <a:pt x="1" y="37"/>
                    </a:lnTo>
                    <a:lnTo>
                      <a:pt x="0" y="44"/>
                    </a:lnTo>
                    <a:lnTo>
                      <a:pt x="0" y="51"/>
                    </a:lnTo>
                    <a:lnTo>
                      <a:pt x="0" y="53"/>
                    </a:lnTo>
                    <a:lnTo>
                      <a:pt x="51" y="53"/>
                    </a:lnTo>
                    <a:lnTo>
                      <a:pt x="92" y="53"/>
                    </a:lnTo>
                    <a:lnTo>
                      <a:pt x="143" y="53"/>
                    </a:lnTo>
                    <a:lnTo>
                      <a:pt x="143" y="51"/>
                    </a:lnTo>
                    <a:lnTo>
                      <a:pt x="141" y="44"/>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4" name="Freeform 191"/>
              <p:cNvSpPr>
                <a:spLocks/>
              </p:cNvSpPr>
              <p:nvPr/>
            </p:nvSpPr>
            <p:spPr bwMode="auto">
              <a:xfrm>
                <a:off x="8535873" y="5891553"/>
                <a:ext cx="62882" cy="62882"/>
              </a:xfrm>
              <a:custGeom>
                <a:avLst/>
                <a:gdLst>
                  <a:gd name="T0" fmla="*/ 12 w 55"/>
                  <a:gd name="T1" fmla="*/ 0 h 55"/>
                  <a:gd name="T2" fmla="*/ 12 w 55"/>
                  <a:gd name="T3" fmla="*/ 0 h 55"/>
                  <a:gd name="T4" fmla="*/ 6 w 55"/>
                  <a:gd name="T5" fmla="*/ 0 h 55"/>
                  <a:gd name="T6" fmla="*/ 3 w 55"/>
                  <a:gd name="T7" fmla="*/ 0 h 55"/>
                  <a:gd name="T8" fmla="*/ 2 w 55"/>
                  <a:gd name="T9" fmla="*/ 2 h 55"/>
                  <a:gd name="T10" fmla="*/ 0 w 55"/>
                  <a:gd name="T11" fmla="*/ 6 h 55"/>
                  <a:gd name="T12" fmla="*/ 0 w 55"/>
                  <a:gd name="T13" fmla="*/ 13 h 55"/>
                  <a:gd name="T14" fmla="*/ 2 w 55"/>
                  <a:gd name="T15" fmla="*/ 19 h 55"/>
                  <a:gd name="T16" fmla="*/ 6 w 55"/>
                  <a:gd name="T17" fmla="*/ 27 h 55"/>
                  <a:gd name="T18" fmla="*/ 11 w 55"/>
                  <a:gd name="T19" fmla="*/ 35 h 55"/>
                  <a:gd name="T20" fmla="*/ 18 w 55"/>
                  <a:gd name="T21" fmla="*/ 45 h 55"/>
                  <a:gd name="T22" fmla="*/ 18 w 55"/>
                  <a:gd name="T23" fmla="*/ 45 h 55"/>
                  <a:gd name="T24" fmla="*/ 23 w 55"/>
                  <a:gd name="T25" fmla="*/ 51 h 55"/>
                  <a:gd name="T26" fmla="*/ 30 w 55"/>
                  <a:gd name="T27" fmla="*/ 54 h 55"/>
                  <a:gd name="T28" fmla="*/ 36 w 55"/>
                  <a:gd name="T29" fmla="*/ 55 h 55"/>
                  <a:gd name="T30" fmla="*/ 42 w 55"/>
                  <a:gd name="T31" fmla="*/ 55 h 55"/>
                  <a:gd name="T32" fmla="*/ 47 w 55"/>
                  <a:gd name="T33" fmla="*/ 54 h 55"/>
                  <a:gd name="T34" fmla="*/ 51 w 55"/>
                  <a:gd name="T35" fmla="*/ 53 h 55"/>
                  <a:gd name="T36" fmla="*/ 55 w 55"/>
                  <a:gd name="T37" fmla="*/ 50 h 55"/>
                  <a:gd name="T38" fmla="*/ 55 w 55"/>
                  <a:gd name="T39" fmla="*/ 50 h 55"/>
                  <a:gd name="T40" fmla="*/ 52 w 55"/>
                  <a:gd name="T41" fmla="*/ 51 h 55"/>
                  <a:gd name="T42" fmla="*/ 46 w 55"/>
                  <a:gd name="T43" fmla="*/ 50 h 55"/>
                  <a:gd name="T44" fmla="*/ 42 w 55"/>
                  <a:gd name="T45" fmla="*/ 49 h 55"/>
                  <a:gd name="T46" fmla="*/ 38 w 55"/>
                  <a:gd name="T47" fmla="*/ 47 h 55"/>
                  <a:gd name="T48" fmla="*/ 35 w 55"/>
                  <a:gd name="T49" fmla="*/ 42 h 55"/>
                  <a:gd name="T50" fmla="*/ 31 w 55"/>
                  <a:gd name="T51" fmla="*/ 37 h 55"/>
                  <a:gd name="T52" fmla="*/ 31 w 55"/>
                  <a:gd name="T53" fmla="*/ 37 h 55"/>
                  <a:gd name="T54" fmla="*/ 28 w 55"/>
                  <a:gd name="T55" fmla="*/ 27 h 55"/>
                  <a:gd name="T56" fmla="*/ 26 w 55"/>
                  <a:gd name="T57" fmla="*/ 17 h 55"/>
                  <a:gd name="T58" fmla="*/ 24 w 55"/>
                  <a:gd name="T59" fmla="*/ 11 h 55"/>
                  <a:gd name="T60" fmla="*/ 22 w 55"/>
                  <a:gd name="T61" fmla="*/ 6 h 55"/>
                  <a:gd name="T62" fmla="*/ 18 w 55"/>
                  <a:gd name="T63" fmla="*/ 3 h 55"/>
                  <a:gd name="T64" fmla="*/ 12 w 55"/>
                  <a:gd name="T65" fmla="*/ 0 h 55"/>
                  <a:gd name="T66" fmla="*/ 12 w 55"/>
                  <a:gd name="T6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5">
                    <a:moveTo>
                      <a:pt x="12" y="0"/>
                    </a:moveTo>
                    <a:lnTo>
                      <a:pt x="12" y="0"/>
                    </a:lnTo>
                    <a:lnTo>
                      <a:pt x="6" y="0"/>
                    </a:lnTo>
                    <a:lnTo>
                      <a:pt x="3" y="0"/>
                    </a:lnTo>
                    <a:lnTo>
                      <a:pt x="2" y="2"/>
                    </a:lnTo>
                    <a:lnTo>
                      <a:pt x="0" y="6"/>
                    </a:lnTo>
                    <a:lnTo>
                      <a:pt x="0" y="13"/>
                    </a:lnTo>
                    <a:lnTo>
                      <a:pt x="2" y="19"/>
                    </a:lnTo>
                    <a:lnTo>
                      <a:pt x="6" y="27"/>
                    </a:lnTo>
                    <a:lnTo>
                      <a:pt x="11" y="35"/>
                    </a:lnTo>
                    <a:lnTo>
                      <a:pt x="18" y="45"/>
                    </a:lnTo>
                    <a:lnTo>
                      <a:pt x="18" y="45"/>
                    </a:lnTo>
                    <a:lnTo>
                      <a:pt x="23" y="51"/>
                    </a:lnTo>
                    <a:lnTo>
                      <a:pt x="30" y="54"/>
                    </a:lnTo>
                    <a:lnTo>
                      <a:pt x="36" y="55"/>
                    </a:lnTo>
                    <a:lnTo>
                      <a:pt x="42" y="55"/>
                    </a:lnTo>
                    <a:lnTo>
                      <a:pt x="47" y="54"/>
                    </a:lnTo>
                    <a:lnTo>
                      <a:pt x="51" y="53"/>
                    </a:lnTo>
                    <a:lnTo>
                      <a:pt x="55" y="50"/>
                    </a:lnTo>
                    <a:lnTo>
                      <a:pt x="55" y="50"/>
                    </a:lnTo>
                    <a:lnTo>
                      <a:pt x="52" y="51"/>
                    </a:lnTo>
                    <a:lnTo>
                      <a:pt x="46" y="50"/>
                    </a:lnTo>
                    <a:lnTo>
                      <a:pt x="42" y="49"/>
                    </a:lnTo>
                    <a:lnTo>
                      <a:pt x="38" y="47"/>
                    </a:lnTo>
                    <a:lnTo>
                      <a:pt x="35" y="42"/>
                    </a:lnTo>
                    <a:lnTo>
                      <a:pt x="31" y="37"/>
                    </a:lnTo>
                    <a:lnTo>
                      <a:pt x="31" y="37"/>
                    </a:lnTo>
                    <a:lnTo>
                      <a:pt x="28" y="27"/>
                    </a:lnTo>
                    <a:lnTo>
                      <a:pt x="26" y="17"/>
                    </a:lnTo>
                    <a:lnTo>
                      <a:pt x="24" y="11"/>
                    </a:lnTo>
                    <a:lnTo>
                      <a:pt x="22" y="6"/>
                    </a:lnTo>
                    <a:lnTo>
                      <a:pt x="18" y="3"/>
                    </a:lnTo>
                    <a:lnTo>
                      <a:pt x="12" y="0"/>
                    </a:lnTo>
                    <a:lnTo>
                      <a:pt x="12" y="0"/>
                    </a:lnTo>
                    <a:close/>
                  </a:path>
                </a:pathLst>
              </a:custGeom>
              <a:solidFill>
                <a:schemeClr val="bg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78" name="Group 777"/>
            <p:cNvGrpSpPr/>
            <p:nvPr/>
          </p:nvGrpSpPr>
          <p:grpSpPr>
            <a:xfrm flipH="1">
              <a:off x="5409622" y="5537747"/>
              <a:ext cx="235376" cy="389231"/>
              <a:chOff x="1431982" y="3952664"/>
              <a:chExt cx="235376" cy="389231"/>
            </a:xfrm>
          </p:grpSpPr>
          <p:sp>
            <p:nvSpPr>
              <p:cNvPr id="779" name="Oval 778"/>
              <p:cNvSpPr/>
              <p:nvPr/>
            </p:nvSpPr>
            <p:spPr bwMode="auto">
              <a:xfrm>
                <a:off x="1455850" y="3982329"/>
                <a:ext cx="180319" cy="18031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80" name="Freeform 224"/>
              <p:cNvSpPr>
                <a:spLocks/>
              </p:cNvSpPr>
              <p:nvPr/>
            </p:nvSpPr>
            <p:spPr bwMode="auto">
              <a:xfrm>
                <a:off x="1431982" y="3952664"/>
                <a:ext cx="235376" cy="389231"/>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3"/>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788" name="Group 787"/>
          <p:cNvGrpSpPr/>
          <p:nvPr/>
        </p:nvGrpSpPr>
        <p:grpSpPr>
          <a:xfrm rot="8309841" flipV="1">
            <a:off x="3176060" y="5798662"/>
            <a:ext cx="104764" cy="170459"/>
            <a:chOff x="2658904" y="3122439"/>
            <a:chExt cx="81472" cy="132564"/>
          </a:xfrm>
          <a:solidFill>
            <a:schemeClr val="bg1"/>
          </a:solidFill>
        </p:grpSpPr>
        <p:sp>
          <p:nvSpPr>
            <p:cNvPr id="78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9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9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792" name="Group 791"/>
          <p:cNvGrpSpPr/>
          <p:nvPr/>
        </p:nvGrpSpPr>
        <p:grpSpPr>
          <a:xfrm rot="13290159">
            <a:off x="5167602" y="5726769"/>
            <a:ext cx="104764" cy="170459"/>
            <a:chOff x="2658904" y="3122439"/>
            <a:chExt cx="81472" cy="132564"/>
          </a:xfrm>
          <a:solidFill>
            <a:schemeClr val="bg1"/>
          </a:solidFill>
        </p:grpSpPr>
        <p:sp>
          <p:nvSpPr>
            <p:cNvPr id="793"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94"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9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704" name="Group 703"/>
          <p:cNvGrpSpPr/>
          <p:nvPr/>
        </p:nvGrpSpPr>
        <p:grpSpPr>
          <a:xfrm flipH="1">
            <a:off x="5788820" y="5565148"/>
            <a:ext cx="341312" cy="153987"/>
            <a:chOff x="-676275" y="5062538"/>
            <a:chExt cx="341312" cy="153987"/>
          </a:xfrm>
        </p:grpSpPr>
        <p:sp>
          <p:nvSpPr>
            <p:cNvPr id="705" name="Freeform 43"/>
            <p:cNvSpPr>
              <a:spLocks/>
            </p:cNvSpPr>
            <p:nvPr/>
          </p:nvSpPr>
          <p:spPr bwMode="auto">
            <a:xfrm>
              <a:off x="-676275" y="5062538"/>
              <a:ext cx="341312" cy="153987"/>
            </a:xfrm>
            <a:custGeom>
              <a:avLst/>
              <a:gdLst>
                <a:gd name="T0" fmla="*/ 24 w 10101"/>
                <a:gd name="T1" fmla="*/ 183 h 4652"/>
                <a:gd name="T2" fmla="*/ 77 w 10101"/>
                <a:gd name="T3" fmla="*/ 483 h 4652"/>
                <a:gd name="T4" fmla="*/ 146 w 10101"/>
                <a:gd name="T5" fmla="*/ 779 h 4652"/>
                <a:gd name="T6" fmla="*/ 231 w 10101"/>
                <a:gd name="T7" fmla="*/ 1066 h 4652"/>
                <a:gd name="T8" fmla="*/ 330 w 10101"/>
                <a:gd name="T9" fmla="*/ 1346 h 4652"/>
                <a:gd name="T10" fmla="*/ 446 w 10101"/>
                <a:gd name="T11" fmla="*/ 1619 h 4652"/>
                <a:gd name="T12" fmla="*/ 574 w 10101"/>
                <a:gd name="T13" fmla="*/ 1884 h 4652"/>
                <a:gd name="T14" fmla="*/ 717 w 10101"/>
                <a:gd name="T15" fmla="*/ 2140 h 4652"/>
                <a:gd name="T16" fmla="*/ 872 w 10101"/>
                <a:gd name="T17" fmla="*/ 2387 h 4652"/>
                <a:gd name="T18" fmla="*/ 1040 w 10101"/>
                <a:gd name="T19" fmla="*/ 2623 h 4652"/>
                <a:gd name="T20" fmla="*/ 1221 w 10101"/>
                <a:gd name="T21" fmla="*/ 2850 h 4652"/>
                <a:gd name="T22" fmla="*/ 1414 w 10101"/>
                <a:gd name="T23" fmla="*/ 3064 h 4652"/>
                <a:gd name="T24" fmla="*/ 1616 w 10101"/>
                <a:gd name="T25" fmla="*/ 3269 h 4652"/>
                <a:gd name="T26" fmla="*/ 1830 w 10101"/>
                <a:gd name="T27" fmla="*/ 3461 h 4652"/>
                <a:gd name="T28" fmla="*/ 2055 w 10101"/>
                <a:gd name="T29" fmla="*/ 3641 h 4652"/>
                <a:gd name="T30" fmla="*/ 2289 w 10101"/>
                <a:gd name="T31" fmla="*/ 3808 h 4652"/>
                <a:gd name="T32" fmla="*/ 2532 w 10101"/>
                <a:gd name="T33" fmla="*/ 3961 h 4652"/>
                <a:gd name="T34" fmla="*/ 2784 w 10101"/>
                <a:gd name="T35" fmla="*/ 4100 h 4652"/>
                <a:gd name="T36" fmla="*/ 3043 w 10101"/>
                <a:gd name="T37" fmla="*/ 4226 h 4652"/>
                <a:gd name="T38" fmla="*/ 3311 w 10101"/>
                <a:gd name="T39" fmla="*/ 4335 h 4652"/>
                <a:gd name="T40" fmla="*/ 3586 w 10101"/>
                <a:gd name="T41" fmla="*/ 4430 h 4652"/>
                <a:gd name="T42" fmla="*/ 3867 w 10101"/>
                <a:gd name="T43" fmla="*/ 4508 h 4652"/>
                <a:gd name="T44" fmla="*/ 4155 w 10101"/>
                <a:gd name="T45" fmla="*/ 4571 h 4652"/>
                <a:gd name="T46" fmla="*/ 4449 w 10101"/>
                <a:gd name="T47" fmla="*/ 4615 h 4652"/>
                <a:gd name="T48" fmla="*/ 4747 w 10101"/>
                <a:gd name="T49" fmla="*/ 4643 h 4652"/>
                <a:gd name="T50" fmla="*/ 5050 w 10101"/>
                <a:gd name="T51" fmla="*/ 4652 h 4652"/>
                <a:gd name="T52" fmla="*/ 5293 w 10101"/>
                <a:gd name="T53" fmla="*/ 4647 h 4652"/>
                <a:gd name="T54" fmla="*/ 5593 w 10101"/>
                <a:gd name="T55" fmla="*/ 4622 h 4652"/>
                <a:gd name="T56" fmla="*/ 5887 w 10101"/>
                <a:gd name="T57" fmla="*/ 4581 h 4652"/>
                <a:gd name="T58" fmla="*/ 6176 w 10101"/>
                <a:gd name="T59" fmla="*/ 4523 h 4652"/>
                <a:gd name="T60" fmla="*/ 6459 w 10101"/>
                <a:gd name="T61" fmla="*/ 4447 h 4652"/>
                <a:gd name="T62" fmla="*/ 6736 w 10101"/>
                <a:gd name="T63" fmla="*/ 4356 h 4652"/>
                <a:gd name="T64" fmla="*/ 7005 w 10101"/>
                <a:gd name="T65" fmla="*/ 4249 h 4652"/>
                <a:gd name="T66" fmla="*/ 7266 w 10101"/>
                <a:gd name="T67" fmla="*/ 4127 h 4652"/>
                <a:gd name="T68" fmla="*/ 7520 w 10101"/>
                <a:gd name="T69" fmla="*/ 3990 h 4652"/>
                <a:gd name="T70" fmla="*/ 7764 w 10101"/>
                <a:gd name="T71" fmla="*/ 3840 h 4652"/>
                <a:gd name="T72" fmla="*/ 8000 w 10101"/>
                <a:gd name="T73" fmla="*/ 3675 h 4652"/>
                <a:gd name="T74" fmla="*/ 8227 w 10101"/>
                <a:gd name="T75" fmla="*/ 3498 h 4652"/>
                <a:gd name="T76" fmla="*/ 8442 w 10101"/>
                <a:gd name="T77" fmla="*/ 3309 h 4652"/>
                <a:gd name="T78" fmla="*/ 8647 w 10101"/>
                <a:gd name="T79" fmla="*/ 3106 h 4652"/>
                <a:gd name="T80" fmla="*/ 8842 w 10101"/>
                <a:gd name="T81" fmla="*/ 2893 h 4652"/>
                <a:gd name="T82" fmla="*/ 9025 w 10101"/>
                <a:gd name="T83" fmla="*/ 2669 h 4652"/>
                <a:gd name="T84" fmla="*/ 9195 w 10101"/>
                <a:gd name="T85" fmla="*/ 2434 h 4652"/>
                <a:gd name="T86" fmla="*/ 9354 w 10101"/>
                <a:gd name="T87" fmla="*/ 2190 h 4652"/>
                <a:gd name="T88" fmla="*/ 9500 w 10101"/>
                <a:gd name="T89" fmla="*/ 1936 h 4652"/>
                <a:gd name="T90" fmla="*/ 9631 w 10101"/>
                <a:gd name="T91" fmla="*/ 1673 h 4652"/>
                <a:gd name="T92" fmla="*/ 9749 w 10101"/>
                <a:gd name="T93" fmla="*/ 1401 h 4652"/>
                <a:gd name="T94" fmla="*/ 9851 w 10101"/>
                <a:gd name="T95" fmla="*/ 1123 h 4652"/>
                <a:gd name="T96" fmla="*/ 9939 w 10101"/>
                <a:gd name="T97" fmla="*/ 837 h 4652"/>
                <a:gd name="T98" fmla="*/ 10012 w 10101"/>
                <a:gd name="T99" fmla="*/ 543 h 4652"/>
                <a:gd name="T100" fmla="*/ 10068 w 10101"/>
                <a:gd name="T101" fmla="*/ 243 h 4652"/>
                <a:gd name="T102" fmla="*/ 0 w 10101"/>
                <a:gd name="T103" fmla="*/ 0 h 4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01" h="4652">
                  <a:moveTo>
                    <a:pt x="0" y="0"/>
                  </a:moveTo>
                  <a:lnTo>
                    <a:pt x="0" y="0"/>
                  </a:lnTo>
                  <a:lnTo>
                    <a:pt x="7" y="61"/>
                  </a:lnTo>
                  <a:lnTo>
                    <a:pt x="15" y="122"/>
                  </a:lnTo>
                  <a:lnTo>
                    <a:pt x="24" y="183"/>
                  </a:lnTo>
                  <a:lnTo>
                    <a:pt x="33" y="243"/>
                  </a:lnTo>
                  <a:lnTo>
                    <a:pt x="43" y="304"/>
                  </a:lnTo>
                  <a:lnTo>
                    <a:pt x="53" y="364"/>
                  </a:lnTo>
                  <a:lnTo>
                    <a:pt x="65" y="423"/>
                  </a:lnTo>
                  <a:lnTo>
                    <a:pt x="77" y="483"/>
                  </a:lnTo>
                  <a:lnTo>
                    <a:pt x="89" y="543"/>
                  </a:lnTo>
                  <a:lnTo>
                    <a:pt x="102" y="603"/>
                  </a:lnTo>
                  <a:lnTo>
                    <a:pt x="116" y="662"/>
                  </a:lnTo>
                  <a:lnTo>
                    <a:pt x="131" y="720"/>
                  </a:lnTo>
                  <a:lnTo>
                    <a:pt x="146" y="779"/>
                  </a:lnTo>
                  <a:lnTo>
                    <a:pt x="162" y="837"/>
                  </a:lnTo>
                  <a:lnTo>
                    <a:pt x="178" y="895"/>
                  </a:lnTo>
                  <a:lnTo>
                    <a:pt x="195" y="952"/>
                  </a:lnTo>
                  <a:lnTo>
                    <a:pt x="213" y="1009"/>
                  </a:lnTo>
                  <a:lnTo>
                    <a:pt x="231" y="1066"/>
                  </a:lnTo>
                  <a:lnTo>
                    <a:pt x="250" y="1123"/>
                  </a:lnTo>
                  <a:lnTo>
                    <a:pt x="269" y="1180"/>
                  </a:lnTo>
                  <a:lnTo>
                    <a:pt x="289" y="1236"/>
                  </a:lnTo>
                  <a:lnTo>
                    <a:pt x="309" y="1292"/>
                  </a:lnTo>
                  <a:lnTo>
                    <a:pt x="330" y="1346"/>
                  </a:lnTo>
                  <a:lnTo>
                    <a:pt x="352" y="1401"/>
                  </a:lnTo>
                  <a:lnTo>
                    <a:pt x="374" y="1456"/>
                  </a:lnTo>
                  <a:lnTo>
                    <a:pt x="398" y="1511"/>
                  </a:lnTo>
                  <a:lnTo>
                    <a:pt x="422" y="1565"/>
                  </a:lnTo>
                  <a:lnTo>
                    <a:pt x="446" y="1619"/>
                  </a:lnTo>
                  <a:lnTo>
                    <a:pt x="470" y="1673"/>
                  </a:lnTo>
                  <a:lnTo>
                    <a:pt x="495" y="1726"/>
                  </a:lnTo>
                  <a:lnTo>
                    <a:pt x="521" y="1779"/>
                  </a:lnTo>
                  <a:lnTo>
                    <a:pt x="547" y="1832"/>
                  </a:lnTo>
                  <a:lnTo>
                    <a:pt x="574" y="1884"/>
                  </a:lnTo>
                  <a:lnTo>
                    <a:pt x="601" y="1936"/>
                  </a:lnTo>
                  <a:lnTo>
                    <a:pt x="629" y="1988"/>
                  </a:lnTo>
                  <a:lnTo>
                    <a:pt x="658" y="2038"/>
                  </a:lnTo>
                  <a:lnTo>
                    <a:pt x="687" y="2089"/>
                  </a:lnTo>
                  <a:lnTo>
                    <a:pt x="717" y="2140"/>
                  </a:lnTo>
                  <a:lnTo>
                    <a:pt x="747" y="2190"/>
                  </a:lnTo>
                  <a:lnTo>
                    <a:pt x="777" y="2240"/>
                  </a:lnTo>
                  <a:lnTo>
                    <a:pt x="808" y="2289"/>
                  </a:lnTo>
                  <a:lnTo>
                    <a:pt x="840" y="2338"/>
                  </a:lnTo>
                  <a:lnTo>
                    <a:pt x="872" y="2387"/>
                  </a:lnTo>
                  <a:lnTo>
                    <a:pt x="905" y="2434"/>
                  </a:lnTo>
                  <a:lnTo>
                    <a:pt x="938" y="2482"/>
                  </a:lnTo>
                  <a:lnTo>
                    <a:pt x="972" y="2529"/>
                  </a:lnTo>
                  <a:lnTo>
                    <a:pt x="1006" y="2577"/>
                  </a:lnTo>
                  <a:lnTo>
                    <a:pt x="1040" y="2623"/>
                  </a:lnTo>
                  <a:lnTo>
                    <a:pt x="1075" y="2669"/>
                  </a:lnTo>
                  <a:lnTo>
                    <a:pt x="1111" y="2715"/>
                  </a:lnTo>
                  <a:lnTo>
                    <a:pt x="1148" y="2760"/>
                  </a:lnTo>
                  <a:lnTo>
                    <a:pt x="1184" y="2805"/>
                  </a:lnTo>
                  <a:lnTo>
                    <a:pt x="1221" y="2850"/>
                  </a:lnTo>
                  <a:lnTo>
                    <a:pt x="1259" y="2893"/>
                  </a:lnTo>
                  <a:lnTo>
                    <a:pt x="1296" y="2937"/>
                  </a:lnTo>
                  <a:lnTo>
                    <a:pt x="1335" y="2980"/>
                  </a:lnTo>
                  <a:lnTo>
                    <a:pt x="1373" y="3023"/>
                  </a:lnTo>
                  <a:lnTo>
                    <a:pt x="1414" y="3064"/>
                  </a:lnTo>
                  <a:lnTo>
                    <a:pt x="1453" y="3106"/>
                  </a:lnTo>
                  <a:lnTo>
                    <a:pt x="1493" y="3148"/>
                  </a:lnTo>
                  <a:lnTo>
                    <a:pt x="1534" y="3189"/>
                  </a:lnTo>
                  <a:lnTo>
                    <a:pt x="1575" y="3229"/>
                  </a:lnTo>
                  <a:lnTo>
                    <a:pt x="1616" y="3269"/>
                  </a:lnTo>
                  <a:lnTo>
                    <a:pt x="1659" y="3309"/>
                  </a:lnTo>
                  <a:lnTo>
                    <a:pt x="1701" y="3347"/>
                  </a:lnTo>
                  <a:lnTo>
                    <a:pt x="1744" y="3386"/>
                  </a:lnTo>
                  <a:lnTo>
                    <a:pt x="1787" y="3424"/>
                  </a:lnTo>
                  <a:lnTo>
                    <a:pt x="1830" y="3461"/>
                  </a:lnTo>
                  <a:lnTo>
                    <a:pt x="1874" y="3498"/>
                  </a:lnTo>
                  <a:lnTo>
                    <a:pt x="1919" y="3535"/>
                  </a:lnTo>
                  <a:lnTo>
                    <a:pt x="1964" y="3570"/>
                  </a:lnTo>
                  <a:lnTo>
                    <a:pt x="2009" y="3606"/>
                  </a:lnTo>
                  <a:lnTo>
                    <a:pt x="2055" y="3641"/>
                  </a:lnTo>
                  <a:lnTo>
                    <a:pt x="2101" y="3675"/>
                  </a:lnTo>
                  <a:lnTo>
                    <a:pt x="2148" y="3710"/>
                  </a:lnTo>
                  <a:lnTo>
                    <a:pt x="2194" y="3743"/>
                  </a:lnTo>
                  <a:lnTo>
                    <a:pt x="2241" y="3776"/>
                  </a:lnTo>
                  <a:lnTo>
                    <a:pt x="2289" y="3808"/>
                  </a:lnTo>
                  <a:lnTo>
                    <a:pt x="2336" y="3840"/>
                  </a:lnTo>
                  <a:lnTo>
                    <a:pt x="2384" y="3871"/>
                  </a:lnTo>
                  <a:lnTo>
                    <a:pt x="2434" y="3902"/>
                  </a:lnTo>
                  <a:lnTo>
                    <a:pt x="2483" y="3931"/>
                  </a:lnTo>
                  <a:lnTo>
                    <a:pt x="2532" y="3961"/>
                  </a:lnTo>
                  <a:lnTo>
                    <a:pt x="2581" y="3990"/>
                  </a:lnTo>
                  <a:lnTo>
                    <a:pt x="2631" y="4019"/>
                  </a:lnTo>
                  <a:lnTo>
                    <a:pt x="2682" y="4046"/>
                  </a:lnTo>
                  <a:lnTo>
                    <a:pt x="2733" y="4074"/>
                  </a:lnTo>
                  <a:lnTo>
                    <a:pt x="2784" y="4100"/>
                  </a:lnTo>
                  <a:lnTo>
                    <a:pt x="2835" y="4127"/>
                  </a:lnTo>
                  <a:lnTo>
                    <a:pt x="2886" y="4152"/>
                  </a:lnTo>
                  <a:lnTo>
                    <a:pt x="2939" y="4178"/>
                  </a:lnTo>
                  <a:lnTo>
                    <a:pt x="2991" y="4202"/>
                  </a:lnTo>
                  <a:lnTo>
                    <a:pt x="3043" y="4226"/>
                  </a:lnTo>
                  <a:lnTo>
                    <a:pt x="3096" y="4249"/>
                  </a:lnTo>
                  <a:lnTo>
                    <a:pt x="3149" y="4271"/>
                  </a:lnTo>
                  <a:lnTo>
                    <a:pt x="3203" y="4294"/>
                  </a:lnTo>
                  <a:lnTo>
                    <a:pt x="3257" y="4315"/>
                  </a:lnTo>
                  <a:lnTo>
                    <a:pt x="3311" y="4335"/>
                  </a:lnTo>
                  <a:lnTo>
                    <a:pt x="3365" y="4356"/>
                  </a:lnTo>
                  <a:lnTo>
                    <a:pt x="3421" y="4375"/>
                  </a:lnTo>
                  <a:lnTo>
                    <a:pt x="3475" y="4394"/>
                  </a:lnTo>
                  <a:lnTo>
                    <a:pt x="3530" y="4413"/>
                  </a:lnTo>
                  <a:lnTo>
                    <a:pt x="3586" y="4430"/>
                  </a:lnTo>
                  <a:lnTo>
                    <a:pt x="3641" y="4447"/>
                  </a:lnTo>
                  <a:lnTo>
                    <a:pt x="3698" y="4464"/>
                  </a:lnTo>
                  <a:lnTo>
                    <a:pt x="3754" y="4479"/>
                  </a:lnTo>
                  <a:lnTo>
                    <a:pt x="3811" y="4494"/>
                  </a:lnTo>
                  <a:lnTo>
                    <a:pt x="3867" y="4508"/>
                  </a:lnTo>
                  <a:lnTo>
                    <a:pt x="3925" y="4523"/>
                  </a:lnTo>
                  <a:lnTo>
                    <a:pt x="3982" y="4536"/>
                  </a:lnTo>
                  <a:lnTo>
                    <a:pt x="4039" y="4548"/>
                  </a:lnTo>
                  <a:lnTo>
                    <a:pt x="4097" y="4559"/>
                  </a:lnTo>
                  <a:lnTo>
                    <a:pt x="4155" y="4571"/>
                  </a:lnTo>
                  <a:lnTo>
                    <a:pt x="4214" y="4581"/>
                  </a:lnTo>
                  <a:lnTo>
                    <a:pt x="4272" y="4591"/>
                  </a:lnTo>
                  <a:lnTo>
                    <a:pt x="4330" y="4600"/>
                  </a:lnTo>
                  <a:lnTo>
                    <a:pt x="4389" y="4608"/>
                  </a:lnTo>
                  <a:lnTo>
                    <a:pt x="4449" y="4615"/>
                  </a:lnTo>
                  <a:lnTo>
                    <a:pt x="4508" y="4622"/>
                  </a:lnTo>
                  <a:lnTo>
                    <a:pt x="4567" y="4629"/>
                  </a:lnTo>
                  <a:lnTo>
                    <a:pt x="4627" y="4635"/>
                  </a:lnTo>
                  <a:lnTo>
                    <a:pt x="4687" y="4639"/>
                  </a:lnTo>
                  <a:lnTo>
                    <a:pt x="4747" y="4643"/>
                  </a:lnTo>
                  <a:lnTo>
                    <a:pt x="4807" y="4647"/>
                  </a:lnTo>
                  <a:lnTo>
                    <a:pt x="4868" y="4649"/>
                  </a:lnTo>
                  <a:lnTo>
                    <a:pt x="4929" y="4651"/>
                  </a:lnTo>
                  <a:lnTo>
                    <a:pt x="4990" y="4652"/>
                  </a:lnTo>
                  <a:lnTo>
                    <a:pt x="5050" y="4652"/>
                  </a:lnTo>
                  <a:lnTo>
                    <a:pt x="5050" y="4652"/>
                  </a:lnTo>
                  <a:lnTo>
                    <a:pt x="5111" y="4652"/>
                  </a:lnTo>
                  <a:lnTo>
                    <a:pt x="5172" y="4651"/>
                  </a:lnTo>
                  <a:lnTo>
                    <a:pt x="5233" y="4649"/>
                  </a:lnTo>
                  <a:lnTo>
                    <a:pt x="5293" y="4647"/>
                  </a:lnTo>
                  <a:lnTo>
                    <a:pt x="5353" y="4643"/>
                  </a:lnTo>
                  <a:lnTo>
                    <a:pt x="5413" y="4639"/>
                  </a:lnTo>
                  <a:lnTo>
                    <a:pt x="5474" y="4635"/>
                  </a:lnTo>
                  <a:lnTo>
                    <a:pt x="5533" y="4629"/>
                  </a:lnTo>
                  <a:lnTo>
                    <a:pt x="5593" y="4622"/>
                  </a:lnTo>
                  <a:lnTo>
                    <a:pt x="5652" y="4615"/>
                  </a:lnTo>
                  <a:lnTo>
                    <a:pt x="5712" y="4608"/>
                  </a:lnTo>
                  <a:lnTo>
                    <a:pt x="5770" y="4600"/>
                  </a:lnTo>
                  <a:lnTo>
                    <a:pt x="5829" y="4591"/>
                  </a:lnTo>
                  <a:lnTo>
                    <a:pt x="5887" y="4581"/>
                  </a:lnTo>
                  <a:lnTo>
                    <a:pt x="5946" y="4571"/>
                  </a:lnTo>
                  <a:lnTo>
                    <a:pt x="6004" y="4559"/>
                  </a:lnTo>
                  <a:lnTo>
                    <a:pt x="6061" y="4548"/>
                  </a:lnTo>
                  <a:lnTo>
                    <a:pt x="6119" y="4536"/>
                  </a:lnTo>
                  <a:lnTo>
                    <a:pt x="6176" y="4523"/>
                  </a:lnTo>
                  <a:lnTo>
                    <a:pt x="6234" y="4508"/>
                  </a:lnTo>
                  <a:lnTo>
                    <a:pt x="6290" y="4494"/>
                  </a:lnTo>
                  <a:lnTo>
                    <a:pt x="6347" y="4479"/>
                  </a:lnTo>
                  <a:lnTo>
                    <a:pt x="6403" y="4464"/>
                  </a:lnTo>
                  <a:lnTo>
                    <a:pt x="6459" y="4447"/>
                  </a:lnTo>
                  <a:lnTo>
                    <a:pt x="6515" y="4430"/>
                  </a:lnTo>
                  <a:lnTo>
                    <a:pt x="6570" y="4413"/>
                  </a:lnTo>
                  <a:lnTo>
                    <a:pt x="6625" y="4394"/>
                  </a:lnTo>
                  <a:lnTo>
                    <a:pt x="6680" y="4375"/>
                  </a:lnTo>
                  <a:lnTo>
                    <a:pt x="6736" y="4356"/>
                  </a:lnTo>
                  <a:lnTo>
                    <a:pt x="6790" y="4335"/>
                  </a:lnTo>
                  <a:lnTo>
                    <a:pt x="6844" y="4315"/>
                  </a:lnTo>
                  <a:lnTo>
                    <a:pt x="6897" y="4294"/>
                  </a:lnTo>
                  <a:lnTo>
                    <a:pt x="6952" y="4271"/>
                  </a:lnTo>
                  <a:lnTo>
                    <a:pt x="7005" y="4249"/>
                  </a:lnTo>
                  <a:lnTo>
                    <a:pt x="7057" y="4226"/>
                  </a:lnTo>
                  <a:lnTo>
                    <a:pt x="7110" y="4202"/>
                  </a:lnTo>
                  <a:lnTo>
                    <a:pt x="7162" y="4178"/>
                  </a:lnTo>
                  <a:lnTo>
                    <a:pt x="7215" y="4152"/>
                  </a:lnTo>
                  <a:lnTo>
                    <a:pt x="7266" y="4127"/>
                  </a:lnTo>
                  <a:lnTo>
                    <a:pt x="7317" y="4100"/>
                  </a:lnTo>
                  <a:lnTo>
                    <a:pt x="7368" y="4074"/>
                  </a:lnTo>
                  <a:lnTo>
                    <a:pt x="7419" y="4046"/>
                  </a:lnTo>
                  <a:lnTo>
                    <a:pt x="7470" y="4019"/>
                  </a:lnTo>
                  <a:lnTo>
                    <a:pt x="7520" y="3990"/>
                  </a:lnTo>
                  <a:lnTo>
                    <a:pt x="7569" y="3961"/>
                  </a:lnTo>
                  <a:lnTo>
                    <a:pt x="7618" y="3931"/>
                  </a:lnTo>
                  <a:lnTo>
                    <a:pt x="7667" y="3902"/>
                  </a:lnTo>
                  <a:lnTo>
                    <a:pt x="7716" y="3871"/>
                  </a:lnTo>
                  <a:lnTo>
                    <a:pt x="7764" y="3840"/>
                  </a:lnTo>
                  <a:lnTo>
                    <a:pt x="7812" y="3808"/>
                  </a:lnTo>
                  <a:lnTo>
                    <a:pt x="7859" y="3776"/>
                  </a:lnTo>
                  <a:lnTo>
                    <a:pt x="7906" y="3743"/>
                  </a:lnTo>
                  <a:lnTo>
                    <a:pt x="7953" y="3710"/>
                  </a:lnTo>
                  <a:lnTo>
                    <a:pt x="8000" y="3675"/>
                  </a:lnTo>
                  <a:lnTo>
                    <a:pt x="8046" y="3641"/>
                  </a:lnTo>
                  <a:lnTo>
                    <a:pt x="8092" y="3606"/>
                  </a:lnTo>
                  <a:lnTo>
                    <a:pt x="8137" y="3570"/>
                  </a:lnTo>
                  <a:lnTo>
                    <a:pt x="8181" y="3535"/>
                  </a:lnTo>
                  <a:lnTo>
                    <a:pt x="8227" y="3498"/>
                  </a:lnTo>
                  <a:lnTo>
                    <a:pt x="8270" y="3461"/>
                  </a:lnTo>
                  <a:lnTo>
                    <a:pt x="8314" y="3424"/>
                  </a:lnTo>
                  <a:lnTo>
                    <a:pt x="8357" y="3386"/>
                  </a:lnTo>
                  <a:lnTo>
                    <a:pt x="8400" y="3347"/>
                  </a:lnTo>
                  <a:lnTo>
                    <a:pt x="8442" y="3309"/>
                  </a:lnTo>
                  <a:lnTo>
                    <a:pt x="8485" y="3269"/>
                  </a:lnTo>
                  <a:lnTo>
                    <a:pt x="8526" y="3229"/>
                  </a:lnTo>
                  <a:lnTo>
                    <a:pt x="8567" y="3189"/>
                  </a:lnTo>
                  <a:lnTo>
                    <a:pt x="8607" y="3148"/>
                  </a:lnTo>
                  <a:lnTo>
                    <a:pt x="8647" y="3106"/>
                  </a:lnTo>
                  <a:lnTo>
                    <a:pt x="8687" y="3064"/>
                  </a:lnTo>
                  <a:lnTo>
                    <a:pt x="8727" y="3023"/>
                  </a:lnTo>
                  <a:lnTo>
                    <a:pt x="8766" y="2980"/>
                  </a:lnTo>
                  <a:lnTo>
                    <a:pt x="8804" y="2937"/>
                  </a:lnTo>
                  <a:lnTo>
                    <a:pt x="8842" y="2893"/>
                  </a:lnTo>
                  <a:lnTo>
                    <a:pt x="8880" y="2850"/>
                  </a:lnTo>
                  <a:lnTo>
                    <a:pt x="8916" y="2805"/>
                  </a:lnTo>
                  <a:lnTo>
                    <a:pt x="8953" y="2760"/>
                  </a:lnTo>
                  <a:lnTo>
                    <a:pt x="8990" y="2715"/>
                  </a:lnTo>
                  <a:lnTo>
                    <a:pt x="9025" y="2669"/>
                  </a:lnTo>
                  <a:lnTo>
                    <a:pt x="9060" y="2623"/>
                  </a:lnTo>
                  <a:lnTo>
                    <a:pt x="9095" y="2577"/>
                  </a:lnTo>
                  <a:lnTo>
                    <a:pt x="9129" y="2529"/>
                  </a:lnTo>
                  <a:lnTo>
                    <a:pt x="9162" y="2482"/>
                  </a:lnTo>
                  <a:lnTo>
                    <a:pt x="9195" y="2434"/>
                  </a:lnTo>
                  <a:lnTo>
                    <a:pt x="9229" y="2387"/>
                  </a:lnTo>
                  <a:lnTo>
                    <a:pt x="9261" y="2338"/>
                  </a:lnTo>
                  <a:lnTo>
                    <a:pt x="9292" y="2289"/>
                  </a:lnTo>
                  <a:lnTo>
                    <a:pt x="9324" y="2240"/>
                  </a:lnTo>
                  <a:lnTo>
                    <a:pt x="9354" y="2190"/>
                  </a:lnTo>
                  <a:lnTo>
                    <a:pt x="9384" y="2140"/>
                  </a:lnTo>
                  <a:lnTo>
                    <a:pt x="9413" y="2089"/>
                  </a:lnTo>
                  <a:lnTo>
                    <a:pt x="9442" y="2038"/>
                  </a:lnTo>
                  <a:lnTo>
                    <a:pt x="9472" y="1988"/>
                  </a:lnTo>
                  <a:lnTo>
                    <a:pt x="9500" y="1936"/>
                  </a:lnTo>
                  <a:lnTo>
                    <a:pt x="9527" y="1884"/>
                  </a:lnTo>
                  <a:lnTo>
                    <a:pt x="9554" y="1832"/>
                  </a:lnTo>
                  <a:lnTo>
                    <a:pt x="9580" y="1779"/>
                  </a:lnTo>
                  <a:lnTo>
                    <a:pt x="9606" y="1726"/>
                  </a:lnTo>
                  <a:lnTo>
                    <a:pt x="9631" y="1673"/>
                  </a:lnTo>
                  <a:lnTo>
                    <a:pt x="9655" y="1619"/>
                  </a:lnTo>
                  <a:lnTo>
                    <a:pt x="9679" y="1565"/>
                  </a:lnTo>
                  <a:lnTo>
                    <a:pt x="9703" y="1511"/>
                  </a:lnTo>
                  <a:lnTo>
                    <a:pt x="9726" y="1456"/>
                  </a:lnTo>
                  <a:lnTo>
                    <a:pt x="9749" y="1401"/>
                  </a:lnTo>
                  <a:lnTo>
                    <a:pt x="9770" y="1346"/>
                  </a:lnTo>
                  <a:lnTo>
                    <a:pt x="9791" y="1292"/>
                  </a:lnTo>
                  <a:lnTo>
                    <a:pt x="9812" y="1236"/>
                  </a:lnTo>
                  <a:lnTo>
                    <a:pt x="9832" y="1180"/>
                  </a:lnTo>
                  <a:lnTo>
                    <a:pt x="9851" y="1123"/>
                  </a:lnTo>
                  <a:lnTo>
                    <a:pt x="9870" y="1066"/>
                  </a:lnTo>
                  <a:lnTo>
                    <a:pt x="9888" y="1009"/>
                  </a:lnTo>
                  <a:lnTo>
                    <a:pt x="9906" y="952"/>
                  </a:lnTo>
                  <a:lnTo>
                    <a:pt x="9922" y="895"/>
                  </a:lnTo>
                  <a:lnTo>
                    <a:pt x="9939" y="837"/>
                  </a:lnTo>
                  <a:lnTo>
                    <a:pt x="9954" y="779"/>
                  </a:lnTo>
                  <a:lnTo>
                    <a:pt x="9969" y="720"/>
                  </a:lnTo>
                  <a:lnTo>
                    <a:pt x="9985" y="662"/>
                  </a:lnTo>
                  <a:lnTo>
                    <a:pt x="9999" y="603"/>
                  </a:lnTo>
                  <a:lnTo>
                    <a:pt x="10012" y="543"/>
                  </a:lnTo>
                  <a:lnTo>
                    <a:pt x="10024" y="483"/>
                  </a:lnTo>
                  <a:lnTo>
                    <a:pt x="10036" y="423"/>
                  </a:lnTo>
                  <a:lnTo>
                    <a:pt x="10047" y="364"/>
                  </a:lnTo>
                  <a:lnTo>
                    <a:pt x="10058" y="304"/>
                  </a:lnTo>
                  <a:lnTo>
                    <a:pt x="10068" y="243"/>
                  </a:lnTo>
                  <a:lnTo>
                    <a:pt x="10077" y="183"/>
                  </a:lnTo>
                  <a:lnTo>
                    <a:pt x="10085" y="122"/>
                  </a:lnTo>
                  <a:lnTo>
                    <a:pt x="10093" y="61"/>
                  </a:lnTo>
                  <a:lnTo>
                    <a:pt x="10101" y="0"/>
                  </a:lnTo>
                  <a:lnTo>
                    <a:pt x="0" y="0"/>
                  </a:lnTo>
                  <a:close/>
                </a:path>
              </a:pathLst>
            </a:custGeom>
            <a:gradFill flip="none" rotWithShape="1">
              <a:gsLst>
                <a:gs pos="67000">
                  <a:schemeClr val="accent1">
                    <a:lumMod val="50000"/>
                  </a:schemeClr>
                </a:gs>
                <a:gs pos="20000">
                  <a:srgbClr val="005F70">
                    <a:alpha val="0"/>
                  </a:srgbClr>
                </a:gs>
              </a:gsLst>
              <a:path path="circle">
                <a:fillToRect l="50000" t="50000" r="50000" b="50000"/>
              </a:path>
              <a:tileRect/>
            </a:gradFill>
            <a:ln w="1270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06" name="Freeform 40"/>
            <p:cNvSpPr>
              <a:spLocks/>
            </p:cNvSpPr>
            <p:nvPr/>
          </p:nvSpPr>
          <p:spPr bwMode="auto">
            <a:xfrm>
              <a:off x="-570352" y="5115254"/>
              <a:ext cx="116766" cy="78719"/>
            </a:xfrm>
            <a:custGeom>
              <a:avLst/>
              <a:gdLst>
                <a:gd name="T0" fmla="*/ 3860 w 4215"/>
                <a:gd name="T1" fmla="*/ 2166 h 2875"/>
                <a:gd name="T2" fmla="*/ 4215 w 4215"/>
                <a:gd name="T3" fmla="*/ 1862 h 2875"/>
                <a:gd name="T4" fmla="*/ 656 w 4215"/>
                <a:gd name="T5" fmla="*/ 0 h 2875"/>
                <a:gd name="T6" fmla="*/ 0 w 4215"/>
                <a:gd name="T7" fmla="*/ 1287 h 2875"/>
                <a:gd name="T8" fmla="*/ 1043 w 4215"/>
                <a:gd name="T9" fmla="*/ 1833 h 2875"/>
                <a:gd name="T10" fmla="*/ 975 w 4215"/>
                <a:gd name="T11" fmla="*/ 1966 h 2875"/>
                <a:gd name="T12" fmla="*/ 975 w 4215"/>
                <a:gd name="T13" fmla="*/ 1966 h 2875"/>
                <a:gd name="T14" fmla="*/ 970 w 4215"/>
                <a:gd name="T15" fmla="*/ 1977 h 2875"/>
                <a:gd name="T16" fmla="*/ 966 w 4215"/>
                <a:gd name="T17" fmla="*/ 1988 h 2875"/>
                <a:gd name="T18" fmla="*/ 964 w 4215"/>
                <a:gd name="T19" fmla="*/ 2001 h 2875"/>
                <a:gd name="T20" fmla="*/ 962 w 4215"/>
                <a:gd name="T21" fmla="*/ 2012 h 2875"/>
                <a:gd name="T22" fmla="*/ 962 w 4215"/>
                <a:gd name="T23" fmla="*/ 2024 h 2875"/>
                <a:gd name="T24" fmla="*/ 963 w 4215"/>
                <a:gd name="T25" fmla="*/ 2035 h 2875"/>
                <a:gd name="T26" fmla="*/ 965 w 4215"/>
                <a:gd name="T27" fmla="*/ 2046 h 2875"/>
                <a:gd name="T28" fmla="*/ 968 w 4215"/>
                <a:gd name="T29" fmla="*/ 2058 h 2875"/>
                <a:gd name="T30" fmla="*/ 972 w 4215"/>
                <a:gd name="T31" fmla="*/ 2069 h 2875"/>
                <a:gd name="T32" fmla="*/ 976 w 4215"/>
                <a:gd name="T33" fmla="*/ 2079 h 2875"/>
                <a:gd name="T34" fmla="*/ 982 w 4215"/>
                <a:gd name="T35" fmla="*/ 2089 h 2875"/>
                <a:gd name="T36" fmla="*/ 989 w 4215"/>
                <a:gd name="T37" fmla="*/ 2098 h 2875"/>
                <a:gd name="T38" fmla="*/ 997 w 4215"/>
                <a:gd name="T39" fmla="*/ 2106 h 2875"/>
                <a:gd name="T40" fmla="*/ 1006 w 4215"/>
                <a:gd name="T41" fmla="*/ 2114 h 2875"/>
                <a:gd name="T42" fmla="*/ 1015 w 4215"/>
                <a:gd name="T43" fmla="*/ 2122 h 2875"/>
                <a:gd name="T44" fmla="*/ 1026 w 4215"/>
                <a:gd name="T45" fmla="*/ 2128 h 2875"/>
                <a:gd name="T46" fmla="*/ 1920 w 4215"/>
                <a:gd name="T47" fmla="*/ 2597 h 2875"/>
                <a:gd name="T48" fmla="*/ 1920 w 4215"/>
                <a:gd name="T49" fmla="*/ 2597 h 2875"/>
                <a:gd name="T50" fmla="*/ 1932 w 4215"/>
                <a:gd name="T51" fmla="*/ 2602 h 2875"/>
                <a:gd name="T52" fmla="*/ 1943 w 4215"/>
                <a:gd name="T53" fmla="*/ 2605 h 2875"/>
                <a:gd name="T54" fmla="*/ 1955 w 4215"/>
                <a:gd name="T55" fmla="*/ 2608 h 2875"/>
                <a:gd name="T56" fmla="*/ 1966 w 4215"/>
                <a:gd name="T57" fmla="*/ 2609 h 2875"/>
                <a:gd name="T58" fmla="*/ 1977 w 4215"/>
                <a:gd name="T59" fmla="*/ 2610 h 2875"/>
                <a:gd name="T60" fmla="*/ 1989 w 4215"/>
                <a:gd name="T61" fmla="*/ 2609 h 2875"/>
                <a:gd name="T62" fmla="*/ 2000 w 4215"/>
                <a:gd name="T63" fmla="*/ 2607 h 2875"/>
                <a:gd name="T64" fmla="*/ 2011 w 4215"/>
                <a:gd name="T65" fmla="*/ 2604 h 2875"/>
                <a:gd name="T66" fmla="*/ 2022 w 4215"/>
                <a:gd name="T67" fmla="*/ 2600 h 2875"/>
                <a:gd name="T68" fmla="*/ 2032 w 4215"/>
                <a:gd name="T69" fmla="*/ 2595 h 2875"/>
                <a:gd name="T70" fmla="*/ 2041 w 4215"/>
                <a:gd name="T71" fmla="*/ 2589 h 2875"/>
                <a:gd name="T72" fmla="*/ 2051 w 4215"/>
                <a:gd name="T73" fmla="*/ 2582 h 2875"/>
                <a:gd name="T74" fmla="*/ 2059 w 4215"/>
                <a:gd name="T75" fmla="*/ 2573 h 2875"/>
                <a:gd name="T76" fmla="*/ 2067 w 4215"/>
                <a:gd name="T77" fmla="*/ 2565 h 2875"/>
                <a:gd name="T78" fmla="*/ 2074 w 4215"/>
                <a:gd name="T79" fmla="*/ 2555 h 2875"/>
                <a:gd name="T80" fmla="*/ 2080 w 4215"/>
                <a:gd name="T81" fmla="*/ 2545 h 2875"/>
                <a:gd name="T82" fmla="*/ 2147 w 4215"/>
                <a:gd name="T83" fmla="*/ 2412 h 2875"/>
                <a:gd name="T84" fmla="*/ 3033 w 4215"/>
                <a:gd name="T85" fmla="*/ 2875 h 2875"/>
                <a:gd name="T86" fmla="*/ 3327 w 4215"/>
                <a:gd name="T87" fmla="*/ 2623 h 2875"/>
                <a:gd name="T88" fmla="*/ 3564 w 4215"/>
                <a:gd name="T89" fmla="*/ 2748 h 2875"/>
                <a:gd name="T90" fmla="*/ 3631 w 4215"/>
                <a:gd name="T91" fmla="*/ 2616 h 2875"/>
                <a:gd name="T92" fmla="*/ 3717 w 4215"/>
                <a:gd name="T93" fmla="*/ 2661 h 2875"/>
                <a:gd name="T94" fmla="*/ 3909 w 4215"/>
                <a:gd name="T95" fmla="*/ 2283 h 2875"/>
                <a:gd name="T96" fmla="*/ 3824 w 4215"/>
                <a:gd name="T97" fmla="*/ 2238 h 2875"/>
                <a:gd name="T98" fmla="*/ 3860 w 4215"/>
                <a:gd name="T99" fmla="*/ 2166 h 2875"/>
                <a:gd name="T100" fmla="*/ 3860 w 4215"/>
                <a:gd name="T101" fmla="*/ 2166 h 2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15" h="2875">
                  <a:moveTo>
                    <a:pt x="3860" y="2166"/>
                  </a:moveTo>
                  <a:lnTo>
                    <a:pt x="4215" y="1862"/>
                  </a:lnTo>
                  <a:lnTo>
                    <a:pt x="656" y="0"/>
                  </a:lnTo>
                  <a:lnTo>
                    <a:pt x="0" y="1287"/>
                  </a:lnTo>
                  <a:lnTo>
                    <a:pt x="1043" y="1833"/>
                  </a:lnTo>
                  <a:lnTo>
                    <a:pt x="975" y="1966"/>
                  </a:lnTo>
                  <a:lnTo>
                    <a:pt x="975" y="1966"/>
                  </a:lnTo>
                  <a:lnTo>
                    <a:pt x="970" y="1977"/>
                  </a:lnTo>
                  <a:lnTo>
                    <a:pt x="966" y="1988"/>
                  </a:lnTo>
                  <a:lnTo>
                    <a:pt x="964" y="2001"/>
                  </a:lnTo>
                  <a:lnTo>
                    <a:pt x="962" y="2012"/>
                  </a:lnTo>
                  <a:lnTo>
                    <a:pt x="962" y="2024"/>
                  </a:lnTo>
                  <a:lnTo>
                    <a:pt x="963" y="2035"/>
                  </a:lnTo>
                  <a:lnTo>
                    <a:pt x="965" y="2046"/>
                  </a:lnTo>
                  <a:lnTo>
                    <a:pt x="968" y="2058"/>
                  </a:lnTo>
                  <a:lnTo>
                    <a:pt x="972" y="2069"/>
                  </a:lnTo>
                  <a:lnTo>
                    <a:pt x="976" y="2079"/>
                  </a:lnTo>
                  <a:lnTo>
                    <a:pt x="982" y="2089"/>
                  </a:lnTo>
                  <a:lnTo>
                    <a:pt x="989" y="2098"/>
                  </a:lnTo>
                  <a:lnTo>
                    <a:pt x="997" y="2106"/>
                  </a:lnTo>
                  <a:lnTo>
                    <a:pt x="1006" y="2114"/>
                  </a:lnTo>
                  <a:lnTo>
                    <a:pt x="1015" y="2122"/>
                  </a:lnTo>
                  <a:lnTo>
                    <a:pt x="1026" y="2128"/>
                  </a:lnTo>
                  <a:lnTo>
                    <a:pt x="1920" y="2597"/>
                  </a:lnTo>
                  <a:lnTo>
                    <a:pt x="1920" y="2597"/>
                  </a:lnTo>
                  <a:lnTo>
                    <a:pt x="1932" y="2602"/>
                  </a:lnTo>
                  <a:lnTo>
                    <a:pt x="1943" y="2605"/>
                  </a:lnTo>
                  <a:lnTo>
                    <a:pt x="1955" y="2608"/>
                  </a:lnTo>
                  <a:lnTo>
                    <a:pt x="1966" y="2609"/>
                  </a:lnTo>
                  <a:lnTo>
                    <a:pt x="1977" y="2610"/>
                  </a:lnTo>
                  <a:lnTo>
                    <a:pt x="1989" y="2609"/>
                  </a:lnTo>
                  <a:lnTo>
                    <a:pt x="2000" y="2607"/>
                  </a:lnTo>
                  <a:lnTo>
                    <a:pt x="2011" y="2604"/>
                  </a:lnTo>
                  <a:lnTo>
                    <a:pt x="2022" y="2600"/>
                  </a:lnTo>
                  <a:lnTo>
                    <a:pt x="2032" y="2595"/>
                  </a:lnTo>
                  <a:lnTo>
                    <a:pt x="2041" y="2589"/>
                  </a:lnTo>
                  <a:lnTo>
                    <a:pt x="2051" y="2582"/>
                  </a:lnTo>
                  <a:lnTo>
                    <a:pt x="2059" y="2573"/>
                  </a:lnTo>
                  <a:lnTo>
                    <a:pt x="2067" y="2565"/>
                  </a:lnTo>
                  <a:lnTo>
                    <a:pt x="2074" y="2555"/>
                  </a:lnTo>
                  <a:lnTo>
                    <a:pt x="2080" y="2545"/>
                  </a:lnTo>
                  <a:lnTo>
                    <a:pt x="2147" y="2412"/>
                  </a:lnTo>
                  <a:lnTo>
                    <a:pt x="3033" y="2875"/>
                  </a:lnTo>
                  <a:lnTo>
                    <a:pt x="3327" y="2623"/>
                  </a:lnTo>
                  <a:lnTo>
                    <a:pt x="3564" y="2748"/>
                  </a:lnTo>
                  <a:lnTo>
                    <a:pt x="3631" y="2616"/>
                  </a:lnTo>
                  <a:lnTo>
                    <a:pt x="3717" y="2661"/>
                  </a:lnTo>
                  <a:lnTo>
                    <a:pt x="3909" y="2283"/>
                  </a:lnTo>
                  <a:lnTo>
                    <a:pt x="3824" y="2238"/>
                  </a:lnTo>
                  <a:lnTo>
                    <a:pt x="3860" y="2166"/>
                  </a:lnTo>
                  <a:lnTo>
                    <a:pt x="3860" y="216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07" name="Freeform 41"/>
            <p:cNvSpPr>
              <a:spLocks/>
            </p:cNvSpPr>
            <p:nvPr/>
          </p:nvSpPr>
          <p:spPr bwMode="auto">
            <a:xfrm>
              <a:off x="-525463" y="5065713"/>
              <a:ext cx="30162" cy="80962"/>
            </a:xfrm>
            <a:custGeom>
              <a:avLst/>
              <a:gdLst>
                <a:gd name="T0" fmla="*/ 814 w 852"/>
                <a:gd name="T1" fmla="*/ 2208 h 2462"/>
                <a:gd name="T2" fmla="*/ 828 w 852"/>
                <a:gd name="T3" fmla="*/ 2176 h 2462"/>
                <a:gd name="T4" fmla="*/ 839 w 852"/>
                <a:gd name="T5" fmla="*/ 2137 h 2462"/>
                <a:gd name="T6" fmla="*/ 848 w 852"/>
                <a:gd name="T7" fmla="*/ 2087 h 2462"/>
                <a:gd name="T8" fmla="*/ 852 w 852"/>
                <a:gd name="T9" fmla="*/ 2027 h 2462"/>
                <a:gd name="T10" fmla="*/ 851 w 852"/>
                <a:gd name="T11" fmla="*/ 1994 h 2462"/>
                <a:gd name="T12" fmla="*/ 847 w 852"/>
                <a:gd name="T13" fmla="*/ 1960 h 2462"/>
                <a:gd name="T14" fmla="*/ 840 w 852"/>
                <a:gd name="T15" fmla="*/ 1923 h 2462"/>
                <a:gd name="T16" fmla="*/ 829 w 852"/>
                <a:gd name="T17" fmla="*/ 1886 h 2462"/>
                <a:gd name="T18" fmla="*/ 814 w 852"/>
                <a:gd name="T19" fmla="*/ 1848 h 2462"/>
                <a:gd name="T20" fmla="*/ 795 w 852"/>
                <a:gd name="T21" fmla="*/ 1808 h 2462"/>
                <a:gd name="T22" fmla="*/ 786 w 852"/>
                <a:gd name="T23" fmla="*/ 1794 h 2462"/>
                <a:gd name="T24" fmla="*/ 768 w 852"/>
                <a:gd name="T25" fmla="*/ 1768 h 2462"/>
                <a:gd name="T26" fmla="*/ 748 w 852"/>
                <a:gd name="T27" fmla="*/ 1742 h 2462"/>
                <a:gd name="T28" fmla="*/ 726 w 852"/>
                <a:gd name="T29" fmla="*/ 1718 h 2462"/>
                <a:gd name="T30" fmla="*/ 702 w 852"/>
                <a:gd name="T31" fmla="*/ 1696 h 2462"/>
                <a:gd name="T32" fmla="*/ 676 w 852"/>
                <a:gd name="T33" fmla="*/ 1676 h 2462"/>
                <a:gd name="T34" fmla="*/ 635 w 852"/>
                <a:gd name="T35" fmla="*/ 1650 h 2462"/>
                <a:gd name="T36" fmla="*/ 535 w 852"/>
                <a:gd name="T37" fmla="*/ 0 h 2462"/>
                <a:gd name="T38" fmla="*/ 212 w 852"/>
                <a:gd name="T39" fmla="*/ 1656 h 2462"/>
                <a:gd name="T40" fmla="*/ 187 w 852"/>
                <a:gd name="T41" fmla="*/ 1671 h 2462"/>
                <a:gd name="T42" fmla="*/ 142 w 852"/>
                <a:gd name="T43" fmla="*/ 1706 h 2462"/>
                <a:gd name="T44" fmla="*/ 102 w 852"/>
                <a:gd name="T45" fmla="*/ 1748 h 2462"/>
                <a:gd name="T46" fmla="*/ 68 w 852"/>
                <a:gd name="T47" fmla="*/ 1795 h 2462"/>
                <a:gd name="T48" fmla="*/ 40 w 852"/>
                <a:gd name="T49" fmla="*/ 1845 h 2462"/>
                <a:gd name="T50" fmla="*/ 19 w 852"/>
                <a:gd name="T51" fmla="*/ 1900 h 2462"/>
                <a:gd name="T52" fmla="*/ 5 w 852"/>
                <a:gd name="T53" fmla="*/ 1958 h 2462"/>
                <a:gd name="T54" fmla="*/ 0 w 852"/>
                <a:gd name="T55" fmla="*/ 2018 h 2462"/>
                <a:gd name="T56" fmla="*/ 0 w 852"/>
                <a:gd name="T57" fmla="*/ 2049 h 2462"/>
                <a:gd name="T58" fmla="*/ 5 w 852"/>
                <a:gd name="T59" fmla="*/ 2093 h 2462"/>
                <a:gd name="T60" fmla="*/ 13 w 852"/>
                <a:gd name="T61" fmla="*/ 2136 h 2462"/>
                <a:gd name="T62" fmla="*/ 26 w 852"/>
                <a:gd name="T63" fmla="*/ 2177 h 2462"/>
                <a:gd name="T64" fmla="*/ 42 w 852"/>
                <a:gd name="T65" fmla="*/ 2216 h 2462"/>
                <a:gd name="T66" fmla="*/ 62 w 852"/>
                <a:gd name="T67" fmla="*/ 2253 h 2462"/>
                <a:gd name="T68" fmla="*/ 85 w 852"/>
                <a:gd name="T69" fmla="*/ 2288 h 2462"/>
                <a:gd name="T70" fmla="*/ 111 w 852"/>
                <a:gd name="T71" fmla="*/ 2320 h 2462"/>
                <a:gd name="T72" fmla="*/ 140 w 852"/>
                <a:gd name="T73" fmla="*/ 2350 h 2462"/>
                <a:gd name="T74" fmla="*/ 172 w 852"/>
                <a:gd name="T75" fmla="*/ 2376 h 2462"/>
                <a:gd name="T76" fmla="*/ 207 w 852"/>
                <a:gd name="T77" fmla="*/ 2398 h 2462"/>
                <a:gd name="T78" fmla="*/ 243 w 852"/>
                <a:gd name="T79" fmla="*/ 2419 h 2462"/>
                <a:gd name="T80" fmla="*/ 281 w 852"/>
                <a:gd name="T81" fmla="*/ 2435 h 2462"/>
                <a:gd name="T82" fmla="*/ 321 w 852"/>
                <a:gd name="T83" fmla="*/ 2447 h 2462"/>
                <a:gd name="T84" fmla="*/ 362 w 852"/>
                <a:gd name="T85" fmla="*/ 2456 h 2462"/>
                <a:gd name="T86" fmla="*/ 405 w 852"/>
                <a:gd name="T87" fmla="*/ 2461 h 2462"/>
                <a:gd name="T88" fmla="*/ 449 w 852"/>
                <a:gd name="T89" fmla="*/ 2461 h 2462"/>
                <a:gd name="T90" fmla="*/ 480 w 852"/>
                <a:gd name="T91" fmla="*/ 2459 h 2462"/>
                <a:gd name="T92" fmla="*/ 538 w 852"/>
                <a:gd name="T93" fmla="*/ 2446 h 2462"/>
                <a:gd name="T94" fmla="*/ 593 w 852"/>
                <a:gd name="T95" fmla="*/ 2427 h 2462"/>
                <a:gd name="T96" fmla="*/ 645 w 852"/>
                <a:gd name="T97" fmla="*/ 2401 h 2462"/>
                <a:gd name="T98" fmla="*/ 692 w 852"/>
                <a:gd name="T99" fmla="*/ 2367 h 2462"/>
                <a:gd name="T100" fmla="*/ 734 w 852"/>
                <a:gd name="T101" fmla="*/ 2328 h 2462"/>
                <a:gd name="T102" fmla="*/ 771 w 852"/>
                <a:gd name="T103" fmla="*/ 2283 h 2462"/>
                <a:gd name="T104" fmla="*/ 801 w 852"/>
                <a:gd name="T105" fmla="*/ 2235 h 2462"/>
                <a:gd name="T106" fmla="*/ 814 w 852"/>
                <a:gd name="T107" fmla="*/ 2208 h 2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2" h="2462">
                  <a:moveTo>
                    <a:pt x="814" y="2208"/>
                  </a:moveTo>
                  <a:lnTo>
                    <a:pt x="814" y="2208"/>
                  </a:lnTo>
                  <a:lnTo>
                    <a:pt x="818" y="2200"/>
                  </a:lnTo>
                  <a:lnTo>
                    <a:pt x="828" y="2176"/>
                  </a:lnTo>
                  <a:lnTo>
                    <a:pt x="833" y="2158"/>
                  </a:lnTo>
                  <a:lnTo>
                    <a:pt x="839" y="2137"/>
                  </a:lnTo>
                  <a:lnTo>
                    <a:pt x="844" y="2114"/>
                  </a:lnTo>
                  <a:lnTo>
                    <a:pt x="848" y="2087"/>
                  </a:lnTo>
                  <a:lnTo>
                    <a:pt x="851" y="2059"/>
                  </a:lnTo>
                  <a:lnTo>
                    <a:pt x="852" y="2027"/>
                  </a:lnTo>
                  <a:lnTo>
                    <a:pt x="852" y="2011"/>
                  </a:lnTo>
                  <a:lnTo>
                    <a:pt x="851" y="1994"/>
                  </a:lnTo>
                  <a:lnTo>
                    <a:pt x="849" y="1977"/>
                  </a:lnTo>
                  <a:lnTo>
                    <a:pt x="847" y="1960"/>
                  </a:lnTo>
                  <a:lnTo>
                    <a:pt x="844" y="1942"/>
                  </a:lnTo>
                  <a:lnTo>
                    <a:pt x="840" y="1923"/>
                  </a:lnTo>
                  <a:lnTo>
                    <a:pt x="835" y="1905"/>
                  </a:lnTo>
                  <a:lnTo>
                    <a:pt x="829" y="1886"/>
                  </a:lnTo>
                  <a:lnTo>
                    <a:pt x="822" y="1867"/>
                  </a:lnTo>
                  <a:lnTo>
                    <a:pt x="814" y="1848"/>
                  </a:lnTo>
                  <a:lnTo>
                    <a:pt x="805" y="1828"/>
                  </a:lnTo>
                  <a:lnTo>
                    <a:pt x="795" y="1808"/>
                  </a:lnTo>
                  <a:lnTo>
                    <a:pt x="795" y="1808"/>
                  </a:lnTo>
                  <a:lnTo>
                    <a:pt x="786" y="1794"/>
                  </a:lnTo>
                  <a:lnTo>
                    <a:pt x="778" y="1781"/>
                  </a:lnTo>
                  <a:lnTo>
                    <a:pt x="768" y="1768"/>
                  </a:lnTo>
                  <a:lnTo>
                    <a:pt x="759" y="1754"/>
                  </a:lnTo>
                  <a:lnTo>
                    <a:pt x="748" y="1742"/>
                  </a:lnTo>
                  <a:lnTo>
                    <a:pt x="737" y="1730"/>
                  </a:lnTo>
                  <a:lnTo>
                    <a:pt x="726" y="1718"/>
                  </a:lnTo>
                  <a:lnTo>
                    <a:pt x="714" y="1706"/>
                  </a:lnTo>
                  <a:lnTo>
                    <a:pt x="702" y="1696"/>
                  </a:lnTo>
                  <a:lnTo>
                    <a:pt x="689" y="1686"/>
                  </a:lnTo>
                  <a:lnTo>
                    <a:pt x="676" y="1676"/>
                  </a:lnTo>
                  <a:lnTo>
                    <a:pt x="662" y="1667"/>
                  </a:lnTo>
                  <a:lnTo>
                    <a:pt x="635" y="1650"/>
                  </a:lnTo>
                  <a:lnTo>
                    <a:pt x="606" y="1635"/>
                  </a:lnTo>
                  <a:lnTo>
                    <a:pt x="535" y="0"/>
                  </a:lnTo>
                  <a:lnTo>
                    <a:pt x="140" y="19"/>
                  </a:lnTo>
                  <a:lnTo>
                    <a:pt x="212" y="1656"/>
                  </a:lnTo>
                  <a:lnTo>
                    <a:pt x="212" y="1656"/>
                  </a:lnTo>
                  <a:lnTo>
                    <a:pt x="187" y="1671"/>
                  </a:lnTo>
                  <a:lnTo>
                    <a:pt x="163" y="1688"/>
                  </a:lnTo>
                  <a:lnTo>
                    <a:pt x="142" y="1706"/>
                  </a:lnTo>
                  <a:lnTo>
                    <a:pt x="121" y="1727"/>
                  </a:lnTo>
                  <a:lnTo>
                    <a:pt x="102" y="1748"/>
                  </a:lnTo>
                  <a:lnTo>
                    <a:pt x="84" y="1771"/>
                  </a:lnTo>
                  <a:lnTo>
                    <a:pt x="68" y="1795"/>
                  </a:lnTo>
                  <a:lnTo>
                    <a:pt x="53" y="1819"/>
                  </a:lnTo>
                  <a:lnTo>
                    <a:pt x="40" y="1845"/>
                  </a:lnTo>
                  <a:lnTo>
                    <a:pt x="28" y="1872"/>
                  </a:lnTo>
                  <a:lnTo>
                    <a:pt x="19" y="1900"/>
                  </a:lnTo>
                  <a:lnTo>
                    <a:pt x="11" y="1928"/>
                  </a:lnTo>
                  <a:lnTo>
                    <a:pt x="5" y="1958"/>
                  </a:lnTo>
                  <a:lnTo>
                    <a:pt x="2" y="1987"/>
                  </a:lnTo>
                  <a:lnTo>
                    <a:pt x="0" y="2018"/>
                  </a:lnTo>
                  <a:lnTo>
                    <a:pt x="0" y="2049"/>
                  </a:lnTo>
                  <a:lnTo>
                    <a:pt x="0" y="2049"/>
                  </a:lnTo>
                  <a:lnTo>
                    <a:pt x="2" y="2072"/>
                  </a:lnTo>
                  <a:lnTo>
                    <a:pt x="5" y="2093"/>
                  </a:lnTo>
                  <a:lnTo>
                    <a:pt x="8" y="2115"/>
                  </a:lnTo>
                  <a:lnTo>
                    <a:pt x="13" y="2136"/>
                  </a:lnTo>
                  <a:lnTo>
                    <a:pt x="19" y="2156"/>
                  </a:lnTo>
                  <a:lnTo>
                    <a:pt x="26" y="2177"/>
                  </a:lnTo>
                  <a:lnTo>
                    <a:pt x="34" y="2197"/>
                  </a:lnTo>
                  <a:lnTo>
                    <a:pt x="42" y="2216"/>
                  </a:lnTo>
                  <a:lnTo>
                    <a:pt x="52" y="2235"/>
                  </a:lnTo>
                  <a:lnTo>
                    <a:pt x="62" y="2253"/>
                  </a:lnTo>
                  <a:lnTo>
                    <a:pt x="73" y="2270"/>
                  </a:lnTo>
                  <a:lnTo>
                    <a:pt x="85" y="2288"/>
                  </a:lnTo>
                  <a:lnTo>
                    <a:pt x="98" y="2304"/>
                  </a:lnTo>
                  <a:lnTo>
                    <a:pt x="111" y="2320"/>
                  </a:lnTo>
                  <a:lnTo>
                    <a:pt x="125" y="2334"/>
                  </a:lnTo>
                  <a:lnTo>
                    <a:pt x="140" y="2350"/>
                  </a:lnTo>
                  <a:lnTo>
                    <a:pt x="156" y="2363"/>
                  </a:lnTo>
                  <a:lnTo>
                    <a:pt x="172" y="2376"/>
                  </a:lnTo>
                  <a:lnTo>
                    <a:pt x="189" y="2387"/>
                  </a:lnTo>
                  <a:lnTo>
                    <a:pt x="207" y="2398"/>
                  </a:lnTo>
                  <a:lnTo>
                    <a:pt x="225" y="2410"/>
                  </a:lnTo>
                  <a:lnTo>
                    <a:pt x="243" y="2419"/>
                  </a:lnTo>
                  <a:lnTo>
                    <a:pt x="262" y="2427"/>
                  </a:lnTo>
                  <a:lnTo>
                    <a:pt x="281" y="2435"/>
                  </a:lnTo>
                  <a:lnTo>
                    <a:pt x="301" y="2442"/>
                  </a:lnTo>
                  <a:lnTo>
                    <a:pt x="321" y="2447"/>
                  </a:lnTo>
                  <a:lnTo>
                    <a:pt x="341" y="2452"/>
                  </a:lnTo>
                  <a:lnTo>
                    <a:pt x="362" y="2456"/>
                  </a:lnTo>
                  <a:lnTo>
                    <a:pt x="383" y="2460"/>
                  </a:lnTo>
                  <a:lnTo>
                    <a:pt x="405" y="2461"/>
                  </a:lnTo>
                  <a:lnTo>
                    <a:pt x="426" y="2462"/>
                  </a:lnTo>
                  <a:lnTo>
                    <a:pt x="449" y="2461"/>
                  </a:lnTo>
                  <a:lnTo>
                    <a:pt x="449" y="2461"/>
                  </a:lnTo>
                  <a:lnTo>
                    <a:pt x="480" y="2459"/>
                  </a:lnTo>
                  <a:lnTo>
                    <a:pt x="509" y="2453"/>
                  </a:lnTo>
                  <a:lnTo>
                    <a:pt x="538" y="2446"/>
                  </a:lnTo>
                  <a:lnTo>
                    <a:pt x="566" y="2438"/>
                  </a:lnTo>
                  <a:lnTo>
                    <a:pt x="593" y="2427"/>
                  </a:lnTo>
                  <a:lnTo>
                    <a:pt x="620" y="2415"/>
                  </a:lnTo>
                  <a:lnTo>
                    <a:pt x="645" y="2401"/>
                  </a:lnTo>
                  <a:lnTo>
                    <a:pt x="669" y="2384"/>
                  </a:lnTo>
                  <a:lnTo>
                    <a:pt x="692" y="2367"/>
                  </a:lnTo>
                  <a:lnTo>
                    <a:pt x="714" y="2349"/>
                  </a:lnTo>
                  <a:lnTo>
                    <a:pt x="734" y="2328"/>
                  </a:lnTo>
                  <a:lnTo>
                    <a:pt x="753" y="2307"/>
                  </a:lnTo>
                  <a:lnTo>
                    <a:pt x="771" y="2283"/>
                  </a:lnTo>
                  <a:lnTo>
                    <a:pt x="787" y="2260"/>
                  </a:lnTo>
                  <a:lnTo>
                    <a:pt x="801" y="2235"/>
                  </a:lnTo>
                  <a:lnTo>
                    <a:pt x="814" y="2208"/>
                  </a:lnTo>
                  <a:lnTo>
                    <a:pt x="814" y="22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08" name="Freeform 42"/>
            <p:cNvSpPr>
              <a:spLocks/>
            </p:cNvSpPr>
            <p:nvPr/>
          </p:nvSpPr>
          <p:spPr bwMode="auto">
            <a:xfrm>
              <a:off x="-606425" y="5062538"/>
              <a:ext cx="188912" cy="28575"/>
            </a:xfrm>
            <a:custGeom>
              <a:avLst/>
              <a:gdLst>
                <a:gd name="T0" fmla="*/ 0 w 5600"/>
                <a:gd name="T1" fmla="*/ 0 h 872"/>
                <a:gd name="T2" fmla="*/ 57 w 5600"/>
                <a:gd name="T3" fmla="*/ 48 h 872"/>
                <a:gd name="T4" fmla="*/ 179 w 5600"/>
                <a:gd name="T5" fmla="*/ 143 h 872"/>
                <a:gd name="T6" fmla="*/ 310 w 5600"/>
                <a:gd name="T7" fmla="*/ 232 h 872"/>
                <a:gd name="T8" fmla="*/ 450 w 5600"/>
                <a:gd name="T9" fmla="*/ 317 h 872"/>
                <a:gd name="T10" fmla="*/ 599 w 5600"/>
                <a:gd name="T11" fmla="*/ 397 h 872"/>
                <a:gd name="T12" fmla="*/ 756 w 5600"/>
                <a:gd name="T13" fmla="*/ 471 h 872"/>
                <a:gd name="T14" fmla="*/ 922 w 5600"/>
                <a:gd name="T15" fmla="*/ 540 h 872"/>
                <a:gd name="T16" fmla="*/ 1093 w 5600"/>
                <a:gd name="T17" fmla="*/ 604 h 872"/>
                <a:gd name="T18" fmla="*/ 1273 w 5600"/>
                <a:gd name="T19" fmla="*/ 661 h 872"/>
                <a:gd name="T20" fmla="*/ 1460 w 5600"/>
                <a:gd name="T21" fmla="*/ 711 h 872"/>
                <a:gd name="T22" fmla="*/ 1652 w 5600"/>
                <a:gd name="T23" fmla="*/ 755 h 872"/>
                <a:gd name="T24" fmla="*/ 1850 w 5600"/>
                <a:gd name="T25" fmla="*/ 793 h 872"/>
                <a:gd name="T26" fmla="*/ 2053 w 5600"/>
                <a:gd name="T27" fmla="*/ 823 h 872"/>
                <a:gd name="T28" fmla="*/ 2261 w 5600"/>
                <a:gd name="T29" fmla="*/ 847 h 872"/>
                <a:gd name="T30" fmla="*/ 2474 w 5600"/>
                <a:gd name="T31" fmla="*/ 863 h 872"/>
                <a:gd name="T32" fmla="*/ 2691 w 5600"/>
                <a:gd name="T33" fmla="*/ 871 h 872"/>
                <a:gd name="T34" fmla="*/ 2800 w 5600"/>
                <a:gd name="T35" fmla="*/ 872 h 872"/>
                <a:gd name="T36" fmla="*/ 3019 w 5600"/>
                <a:gd name="T37" fmla="*/ 868 h 872"/>
                <a:gd name="T38" fmla="*/ 3233 w 5600"/>
                <a:gd name="T39" fmla="*/ 856 h 872"/>
                <a:gd name="T40" fmla="*/ 3444 w 5600"/>
                <a:gd name="T41" fmla="*/ 837 h 872"/>
                <a:gd name="T42" fmla="*/ 3650 w 5600"/>
                <a:gd name="T43" fmla="*/ 809 h 872"/>
                <a:gd name="T44" fmla="*/ 3850 w 5600"/>
                <a:gd name="T45" fmla="*/ 776 h 872"/>
                <a:gd name="T46" fmla="*/ 4045 w 5600"/>
                <a:gd name="T47" fmla="*/ 734 h 872"/>
                <a:gd name="T48" fmla="*/ 4235 w 5600"/>
                <a:gd name="T49" fmla="*/ 687 h 872"/>
                <a:gd name="T50" fmla="*/ 4418 w 5600"/>
                <a:gd name="T51" fmla="*/ 633 h 872"/>
                <a:gd name="T52" fmla="*/ 4594 w 5600"/>
                <a:gd name="T53" fmla="*/ 572 h 872"/>
                <a:gd name="T54" fmla="*/ 4763 w 5600"/>
                <a:gd name="T55" fmla="*/ 506 h 872"/>
                <a:gd name="T56" fmla="*/ 4924 w 5600"/>
                <a:gd name="T57" fmla="*/ 435 h 872"/>
                <a:gd name="T58" fmla="*/ 5077 w 5600"/>
                <a:gd name="T59" fmla="*/ 357 h 872"/>
                <a:gd name="T60" fmla="*/ 5222 w 5600"/>
                <a:gd name="T61" fmla="*/ 275 h 872"/>
                <a:gd name="T62" fmla="*/ 5357 w 5600"/>
                <a:gd name="T63" fmla="*/ 187 h 872"/>
                <a:gd name="T64" fmla="*/ 5484 w 5600"/>
                <a:gd name="T65" fmla="*/ 96 h 872"/>
                <a:gd name="T66" fmla="*/ 5572 w 5600"/>
                <a:gd name="T67" fmla="*/ 24 h 872"/>
                <a:gd name="T68" fmla="*/ 0 w 5600"/>
                <a:gd name="T69" fmla="*/ 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00" h="872">
                  <a:moveTo>
                    <a:pt x="0" y="0"/>
                  </a:moveTo>
                  <a:lnTo>
                    <a:pt x="0" y="0"/>
                  </a:lnTo>
                  <a:lnTo>
                    <a:pt x="29" y="24"/>
                  </a:lnTo>
                  <a:lnTo>
                    <a:pt x="57" y="48"/>
                  </a:lnTo>
                  <a:lnTo>
                    <a:pt x="117" y="96"/>
                  </a:lnTo>
                  <a:lnTo>
                    <a:pt x="179" y="143"/>
                  </a:lnTo>
                  <a:lnTo>
                    <a:pt x="243" y="187"/>
                  </a:lnTo>
                  <a:lnTo>
                    <a:pt x="310" y="232"/>
                  </a:lnTo>
                  <a:lnTo>
                    <a:pt x="379" y="275"/>
                  </a:lnTo>
                  <a:lnTo>
                    <a:pt x="450" y="317"/>
                  </a:lnTo>
                  <a:lnTo>
                    <a:pt x="523" y="357"/>
                  </a:lnTo>
                  <a:lnTo>
                    <a:pt x="599" y="397"/>
                  </a:lnTo>
                  <a:lnTo>
                    <a:pt x="677" y="435"/>
                  </a:lnTo>
                  <a:lnTo>
                    <a:pt x="756" y="471"/>
                  </a:lnTo>
                  <a:lnTo>
                    <a:pt x="837" y="506"/>
                  </a:lnTo>
                  <a:lnTo>
                    <a:pt x="922" y="540"/>
                  </a:lnTo>
                  <a:lnTo>
                    <a:pt x="1007" y="572"/>
                  </a:lnTo>
                  <a:lnTo>
                    <a:pt x="1093" y="604"/>
                  </a:lnTo>
                  <a:lnTo>
                    <a:pt x="1183" y="633"/>
                  </a:lnTo>
                  <a:lnTo>
                    <a:pt x="1273" y="661"/>
                  </a:lnTo>
                  <a:lnTo>
                    <a:pt x="1366" y="687"/>
                  </a:lnTo>
                  <a:lnTo>
                    <a:pt x="1460" y="711"/>
                  </a:lnTo>
                  <a:lnTo>
                    <a:pt x="1555" y="734"/>
                  </a:lnTo>
                  <a:lnTo>
                    <a:pt x="1652" y="755"/>
                  </a:lnTo>
                  <a:lnTo>
                    <a:pt x="1750" y="776"/>
                  </a:lnTo>
                  <a:lnTo>
                    <a:pt x="1850" y="793"/>
                  </a:lnTo>
                  <a:lnTo>
                    <a:pt x="1951" y="809"/>
                  </a:lnTo>
                  <a:lnTo>
                    <a:pt x="2053" y="823"/>
                  </a:lnTo>
                  <a:lnTo>
                    <a:pt x="2157" y="837"/>
                  </a:lnTo>
                  <a:lnTo>
                    <a:pt x="2261" y="847"/>
                  </a:lnTo>
                  <a:lnTo>
                    <a:pt x="2368" y="856"/>
                  </a:lnTo>
                  <a:lnTo>
                    <a:pt x="2474" y="863"/>
                  </a:lnTo>
                  <a:lnTo>
                    <a:pt x="2582" y="868"/>
                  </a:lnTo>
                  <a:lnTo>
                    <a:pt x="2691" y="871"/>
                  </a:lnTo>
                  <a:lnTo>
                    <a:pt x="2800" y="872"/>
                  </a:lnTo>
                  <a:lnTo>
                    <a:pt x="2800" y="872"/>
                  </a:lnTo>
                  <a:lnTo>
                    <a:pt x="2910" y="871"/>
                  </a:lnTo>
                  <a:lnTo>
                    <a:pt x="3019" y="868"/>
                  </a:lnTo>
                  <a:lnTo>
                    <a:pt x="3127" y="863"/>
                  </a:lnTo>
                  <a:lnTo>
                    <a:pt x="3233" y="856"/>
                  </a:lnTo>
                  <a:lnTo>
                    <a:pt x="3339" y="847"/>
                  </a:lnTo>
                  <a:lnTo>
                    <a:pt x="3444" y="837"/>
                  </a:lnTo>
                  <a:lnTo>
                    <a:pt x="3547" y="823"/>
                  </a:lnTo>
                  <a:lnTo>
                    <a:pt x="3650" y="809"/>
                  </a:lnTo>
                  <a:lnTo>
                    <a:pt x="3751" y="793"/>
                  </a:lnTo>
                  <a:lnTo>
                    <a:pt x="3850" y="776"/>
                  </a:lnTo>
                  <a:lnTo>
                    <a:pt x="3949" y="755"/>
                  </a:lnTo>
                  <a:lnTo>
                    <a:pt x="4045" y="734"/>
                  </a:lnTo>
                  <a:lnTo>
                    <a:pt x="4141" y="711"/>
                  </a:lnTo>
                  <a:lnTo>
                    <a:pt x="4235" y="687"/>
                  </a:lnTo>
                  <a:lnTo>
                    <a:pt x="4327" y="661"/>
                  </a:lnTo>
                  <a:lnTo>
                    <a:pt x="4418" y="633"/>
                  </a:lnTo>
                  <a:lnTo>
                    <a:pt x="4507" y="604"/>
                  </a:lnTo>
                  <a:lnTo>
                    <a:pt x="4594" y="572"/>
                  </a:lnTo>
                  <a:lnTo>
                    <a:pt x="4680" y="540"/>
                  </a:lnTo>
                  <a:lnTo>
                    <a:pt x="4763" y="506"/>
                  </a:lnTo>
                  <a:lnTo>
                    <a:pt x="4844" y="471"/>
                  </a:lnTo>
                  <a:lnTo>
                    <a:pt x="4924" y="435"/>
                  </a:lnTo>
                  <a:lnTo>
                    <a:pt x="5002" y="397"/>
                  </a:lnTo>
                  <a:lnTo>
                    <a:pt x="5077" y="357"/>
                  </a:lnTo>
                  <a:lnTo>
                    <a:pt x="5151" y="317"/>
                  </a:lnTo>
                  <a:lnTo>
                    <a:pt x="5222" y="275"/>
                  </a:lnTo>
                  <a:lnTo>
                    <a:pt x="5291" y="232"/>
                  </a:lnTo>
                  <a:lnTo>
                    <a:pt x="5357" y="187"/>
                  </a:lnTo>
                  <a:lnTo>
                    <a:pt x="5422" y="143"/>
                  </a:lnTo>
                  <a:lnTo>
                    <a:pt x="5484" y="96"/>
                  </a:lnTo>
                  <a:lnTo>
                    <a:pt x="5543" y="48"/>
                  </a:lnTo>
                  <a:lnTo>
                    <a:pt x="5572" y="24"/>
                  </a:lnTo>
                  <a:lnTo>
                    <a:pt x="5600"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796" name="Group 795"/>
          <p:cNvGrpSpPr/>
          <p:nvPr/>
        </p:nvGrpSpPr>
        <p:grpSpPr>
          <a:xfrm rot="13290159" flipH="1" flipV="1">
            <a:off x="9150020" y="5600945"/>
            <a:ext cx="104764" cy="170459"/>
            <a:chOff x="2658904" y="3122439"/>
            <a:chExt cx="81472" cy="132564"/>
          </a:xfrm>
          <a:solidFill>
            <a:schemeClr val="bg1"/>
          </a:solidFill>
        </p:grpSpPr>
        <p:sp>
          <p:nvSpPr>
            <p:cNvPr id="797"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98"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99"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832" name="Group 831"/>
          <p:cNvGrpSpPr/>
          <p:nvPr/>
        </p:nvGrpSpPr>
        <p:grpSpPr>
          <a:xfrm rot="16200000">
            <a:off x="8325757" y="2346283"/>
            <a:ext cx="108704" cy="176868"/>
            <a:chOff x="2658904" y="3122439"/>
            <a:chExt cx="81472" cy="132564"/>
          </a:xfrm>
          <a:solidFill>
            <a:schemeClr val="bg1"/>
          </a:solidFill>
        </p:grpSpPr>
        <p:sp>
          <p:nvSpPr>
            <p:cNvPr id="833"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4"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836" name="Group 835"/>
          <p:cNvGrpSpPr/>
          <p:nvPr/>
        </p:nvGrpSpPr>
        <p:grpSpPr>
          <a:xfrm rot="16200000">
            <a:off x="8799715" y="2346283"/>
            <a:ext cx="108704" cy="176868"/>
            <a:chOff x="2658904" y="3122439"/>
            <a:chExt cx="81472" cy="132564"/>
          </a:xfrm>
          <a:solidFill>
            <a:schemeClr val="bg1"/>
          </a:solidFill>
        </p:grpSpPr>
        <p:sp>
          <p:nvSpPr>
            <p:cNvPr id="837"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8"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9"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840" name="Group 839"/>
          <p:cNvGrpSpPr/>
          <p:nvPr/>
        </p:nvGrpSpPr>
        <p:grpSpPr>
          <a:xfrm rot="16200000">
            <a:off x="9316398" y="2346283"/>
            <a:ext cx="108704" cy="176868"/>
            <a:chOff x="2658904" y="3122439"/>
            <a:chExt cx="81472" cy="132564"/>
          </a:xfrm>
          <a:solidFill>
            <a:schemeClr val="bg1"/>
          </a:solidFill>
        </p:grpSpPr>
        <p:sp>
          <p:nvSpPr>
            <p:cNvPr id="841"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42"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43"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716" name="Rectangle 169"/>
          <p:cNvSpPr/>
          <p:nvPr/>
        </p:nvSpPr>
        <p:spPr bwMode="auto">
          <a:xfrm>
            <a:off x="9522831" y="4649815"/>
            <a:ext cx="242574" cy="347468"/>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2" name="Rectangle 169"/>
          <p:cNvSpPr/>
          <p:nvPr/>
        </p:nvSpPr>
        <p:spPr bwMode="auto">
          <a:xfrm>
            <a:off x="7216907" y="2090117"/>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3" name="Rectangle 169"/>
          <p:cNvSpPr/>
          <p:nvPr/>
        </p:nvSpPr>
        <p:spPr bwMode="auto">
          <a:xfrm>
            <a:off x="6991259" y="2042574"/>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8" name="Rectangle 169"/>
          <p:cNvSpPr/>
          <p:nvPr/>
        </p:nvSpPr>
        <p:spPr bwMode="auto">
          <a:xfrm>
            <a:off x="7057918" y="2223566"/>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9" name="Rectangle 169"/>
          <p:cNvSpPr/>
          <p:nvPr/>
        </p:nvSpPr>
        <p:spPr bwMode="auto">
          <a:xfrm>
            <a:off x="7325486" y="2258054"/>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1" name="Rectangle 169"/>
          <p:cNvSpPr/>
          <p:nvPr/>
        </p:nvSpPr>
        <p:spPr bwMode="auto">
          <a:xfrm>
            <a:off x="7850878" y="2139458"/>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2" name="Rectangle 169"/>
          <p:cNvSpPr/>
          <p:nvPr/>
        </p:nvSpPr>
        <p:spPr bwMode="auto">
          <a:xfrm>
            <a:off x="7656347" y="2122795"/>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3" name="Rectangle 169"/>
          <p:cNvSpPr/>
          <p:nvPr/>
        </p:nvSpPr>
        <p:spPr bwMode="auto">
          <a:xfrm>
            <a:off x="7545299" y="2210534"/>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5" name="Rectangle 169"/>
          <p:cNvSpPr/>
          <p:nvPr/>
        </p:nvSpPr>
        <p:spPr bwMode="auto">
          <a:xfrm>
            <a:off x="7484030" y="2368067"/>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74" name="Freeform 30"/>
          <p:cNvSpPr>
            <a:spLocks/>
          </p:cNvSpPr>
          <p:nvPr/>
        </p:nvSpPr>
        <p:spPr bwMode="auto">
          <a:xfrm flipH="1">
            <a:off x="7378119" y="3246818"/>
            <a:ext cx="2144713" cy="1055029"/>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rgbClr val="00495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1" name="Group 10"/>
          <p:cNvGrpSpPr/>
          <p:nvPr/>
        </p:nvGrpSpPr>
        <p:grpSpPr>
          <a:xfrm>
            <a:off x="7958198" y="4116515"/>
            <a:ext cx="997843" cy="885734"/>
            <a:chOff x="7967999" y="3663543"/>
            <a:chExt cx="1140904" cy="1028661"/>
          </a:xfrm>
        </p:grpSpPr>
        <p:sp>
          <p:nvSpPr>
            <p:cNvPr id="10" name="Rectangle 9"/>
            <p:cNvSpPr/>
            <p:nvPr/>
          </p:nvSpPr>
          <p:spPr bwMode="auto">
            <a:xfrm>
              <a:off x="8202329" y="4457381"/>
              <a:ext cx="722729" cy="226940"/>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616" name="Group 615"/>
            <p:cNvGrpSpPr/>
            <p:nvPr/>
          </p:nvGrpSpPr>
          <p:grpSpPr>
            <a:xfrm>
              <a:off x="7967999" y="3663543"/>
              <a:ext cx="1140904" cy="1028661"/>
              <a:chOff x="321374" y="3694804"/>
              <a:chExt cx="1380493" cy="1075972"/>
            </a:xfrm>
          </p:grpSpPr>
          <p:sp>
            <p:nvSpPr>
              <p:cNvPr id="615" name="Rectangle 614"/>
              <p:cNvSpPr/>
              <p:nvPr/>
            </p:nvSpPr>
            <p:spPr bwMode="auto">
              <a:xfrm>
                <a:off x="396989" y="3814524"/>
                <a:ext cx="1196101" cy="722345"/>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0" name="Freeform 73"/>
              <p:cNvSpPr>
                <a:spLocks noEditPoints="1"/>
              </p:cNvSpPr>
              <p:nvPr/>
            </p:nvSpPr>
            <p:spPr bwMode="auto">
              <a:xfrm>
                <a:off x="321374" y="3694804"/>
                <a:ext cx="1380493" cy="1075972"/>
              </a:xfrm>
              <a:custGeom>
                <a:avLst/>
                <a:gdLst>
                  <a:gd name="T0" fmla="*/ 990 w 1224"/>
                  <a:gd name="T1" fmla="*/ 32 h 956"/>
                  <a:gd name="T2" fmla="*/ 990 w 1224"/>
                  <a:gd name="T3" fmla="*/ 0 h 956"/>
                  <a:gd name="T4" fmla="*/ 230 w 1224"/>
                  <a:gd name="T5" fmla="*/ 0 h 956"/>
                  <a:gd name="T6" fmla="*/ 230 w 1224"/>
                  <a:gd name="T7" fmla="*/ 32 h 956"/>
                  <a:gd name="T8" fmla="*/ 0 w 1224"/>
                  <a:gd name="T9" fmla="*/ 32 h 956"/>
                  <a:gd name="T10" fmla="*/ 0 w 1224"/>
                  <a:gd name="T11" fmla="*/ 956 h 956"/>
                  <a:gd name="T12" fmla="*/ 370 w 1224"/>
                  <a:gd name="T13" fmla="*/ 956 h 956"/>
                  <a:gd name="T14" fmla="*/ 370 w 1224"/>
                  <a:gd name="T15" fmla="*/ 821 h 956"/>
                  <a:gd name="T16" fmla="*/ 854 w 1224"/>
                  <a:gd name="T17" fmla="*/ 821 h 956"/>
                  <a:gd name="T18" fmla="*/ 854 w 1224"/>
                  <a:gd name="T19" fmla="*/ 956 h 956"/>
                  <a:gd name="T20" fmla="*/ 1224 w 1224"/>
                  <a:gd name="T21" fmla="*/ 956 h 956"/>
                  <a:gd name="T22" fmla="*/ 1224 w 1224"/>
                  <a:gd name="T23" fmla="*/ 32 h 956"/>
                  <a:gd name="T24" fmla="*/ 990 w 1224"/>
                  <a:gd name="T25" fmla="*/ 32 h 956"/>
                  <a:gd name="T26" fmla="*/ 456 w 1224"/>
                  <a:gd name="T27" fmla="*/ 673 h 956"/>
                  <a:gd name="T28" fmla="*/ 164 w 1224"/>
                  <a:gd name="T29" fmla="*/ 673 h 956"/>
                  <a:gd name="T30" fmla="*/ 164 w 1224"/>
                  <a:gd name="T31" fmla="*/ 557 h 956"/>
                  <a:gd name="T32" fmla="*/ 456 w 1224"/>
                  <a:gd name="T33" fmla="*/ 557 h 956"/>
                  <a:gd name="T34" fmla="*/ 456 w 1224"/>
                  <a:gd name="T35" fmla="*/ 673 h 956"/>
                  <a:gd name="T36" fmla="*/ 456 w 1224"/>
                  <a:gd name="T37" fmla="*/ 478 h 956"/>
                  <a:gd name="T38" fmla="*/ 164 w 1224"/>
                  <a:gd name="T39" fmla="*/ 478 h 956"/>
                  <a:gd name="T40" fmla="*/ 164 w 1224"/>
                  <a:gd name="T41" fmla="*/ 362 h 956"/>
                  <a:gd name="T42" fmla="*/ 456 w 1224"/>
                  <a:gd name="T43" fmla="*/ 362 h 956"/>
                  <a:gd name="T44" fmla="*/ 456 w 1224"/>
                  <a:gd name="T45" fmla="*/ 478 h 956"/>
                  <a:gd name="T46" fmla="*/ 456 w 1224"/>
                  <a:gd name="T47" fmla="*/ 271 h 956"/>
                  <a:gd name="T48" fmla="*/ 164 w 1224"/>
                  <a:gd name="T49" fmla="*/ 271 h 956"/>
                  <a:gd name="T50" fmla="*/ 164 w 1224"/>
                  <a:gd name="T51" fmla="*/ 153 h 956"/>
                  <a:gd name="T52" fmla="*/ 456 w 1224"/>
                  <a:gd name="T53" fmla="*/ 153 h 956"/>
                  <a:gd name="T54" fmla="*/ 456 w 1224"/>
                  <a:gd name="T55" fmla="*/ 271 h 956"/>
                  <a:gd name="T56" fmla="*/ 1058 w 1224"/>
                  <a:gd name="T57" fmla="*/ 673 h 956"/>
                  <a:gd name="T58" fmla="*/ 768 w 1224"/>
                  <a:gd name="T59" fmla="*/ 673 h 956"/>
                  <a:gd name="T60" fmla="*/ 768 w 1224"/>
                  <a:gd name="T61" fmla="*/ 557 h 956"/>
                  <a:gd name="T62" fmla="*/ 1058 w 1224"/>
                  <a:gd name="T63" fmla="*/ 557 h 956"/>
                  <a:gd name="T64" fmla="*/ 1058 w 1224"/>
                  <a:gd name="T65" fmla="*/ 673 h 956"/>
                  <a:gd name="T66" fmla="*/ 1058 w 1224"/>
                  <a:gd name="T67" fmla="*/ 673 h 956"/>
                  <a:gd name="T68" fmla="*/ 1058 w 1224"/>
                  <a:gd name="T69" fmla="*/ 478 h 956"/>
                  <a:gd name="T70" fmla="*/ 768 w 1224"/>
                  <a:gd name="T71" fmla="*/ 478 h 956"/>
                  <a:gd name="T72" fmla="*/ 768 w 1224"/>
                  <a:gd name="T73" fmla="*/ 362 h 956"/>
                  <a:gd name="T74" fmla="*/ 1058 w 1224"/>
                  <a:gd name="T75" fmla="*/ 362 h 956"/>
                  <a:gd name="T76" fmla="*/ 1058 w 1224"/>
                  <a:gd name="T77" fmla="*/ 478 h 956"/>
                  <a:gd name="T78" fmla="*/ 1058 w 1224"/>
                  <a:gd name="T79" fmla="*/ 478 h 956"/>
                  <a:gd name="T80" fmla="*/ 1058 w 1224"/>
                  <a:gd name="T81" fmla="*/ 271 h 956"/>
                  <a:gd name="T82" fmla="*/ 768 w 1224"/>
                  <a:gd name="T83" fmla="*/ 271 h 956"/>
                  <a:gd name="T84" fmla="*/ 768 w 1224"/>
                  <a:gd name="T85" fmla="*/ 153 h 956"/>
                  <a:gd name="T86" fmla="*/ 1058 w 1224"/>
                  <a:gd name="T87" fmla="*/ 153 h 956"/>
                  <a:gd name="T88" fmla="*/ 1058 w 1224"/>
                  <a:gd name="T89" fmla="*/ 271 h 956"/>
                  <a:gd name="T90" fmla="*/ 1058 w 1224"/>
                  <a:gd name="T91" fmla="*/ 271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4" h="956">
                    <a:moveTo>
                      <a:pt x="990" y="32"/>
                    </a:moveTo>
                    <a:lnTo>
                      <a:pt x="990" y="0"/>
                    </a:lnTo>
                    <a:lnTo>
                      <a:pt x="230" y="0"/>
                    </a:lnTo>
                    <a:lnTo>
                      <a:pt x="230" y="32"/>
                    </a:lnTo>
                    <a:lnTo>
                      <a:pt x="0" y="32"/>
                    </a:lnTo>
                    <a:lnTo>
                      <a:pt x="0" y="956"/>
                    </a:lnTo>
                    <a:lnTo>
                      <a:pt x="370" y="956"/>
                    </a:lnTo>
                    <a:lnTo>
                      <a:pt x="370" y="821"/>
                    </a:lnTo>
                    <a:lnTo>
                      <a:pt x="854" y="821"/>
                    </a:lnTo>
                    <a:lnTo>
                      <a:pt x="854" y="956"/>
                    </a:lnTo>
                    <a:lnTo>
                      <a:pt x="1224" y="956"/>
                    </a:lnTo>
                    <a:lnTo>
                      <a:pt x="1224" y="32"/>
                    </a:lnTo>
                    <a:lnTo>
                      <a:pt x="990" y="32"/>
                    </a:lnTo>
                    <a:close/>
                    <a:moveTo>
                      <a:pt x="456" y="673"/>
                    </a:moveTo>
                    <a:lnTo>
                      <a:pt x="164" y="673"/>
                    </a:lnTo>
                    <a:lnTo>
                      <a:pt x="164" y="557"/>
                    </a:lnTo>
                    <a:lnTo>
                      <a:pt x="456" y="557"/>
                    </a:lnTo>
                    <a:lnTo>
                      <a:pt x="456" y="673"/>
                    </a:lnTo>
                    <a:close/>
                    <a:moveTo>
                      <a:pt x="456" y="478"/>
                    </a:moveTo>
                    <a:lnTo>
                      <a:pt x="164" y="478"/>
                    </a:lnTo>
                    <a:lnTo>
                      <a:pt x="164" y="362"/>
                    </a:lnTo>
                    <a:lnTo>
                      <a:pt x="456" y="362"/>
                    </a:lnTo>
                    <a:lnTo>
                      <a:pt x="456" y="478"/>
                    </a:lnTo>
                    <a:close/>
                    <a:moveTo>
                      <a:pt x="456" y="271"/>
                    </a:moveTo>
                    <a:lnTo>
                      <a:pt x="164" y="271"/>
                    </a:lnTo>
                    <a:lnTo>
                      <a:pt x="164" y="153"/>
                    </a:lnTo>
                    <a:lnTo>
                      <a:pt x="456" y="153"/>
                    </a:lnTo>
                    <a:lnTo>
                      <a:pt x="456" y="271"/>
                    </a:lnTo>
                    <a:close/>
                    <a:moveTo>
                      <a:pt x="1058" y="673"/>
                    </a:moveTo>
                    <a:lnTo>
                      <a:pt x="768" y="673"/>
                    </a:lnTo>
                    <a:lnTo>
                      <a:pt x="768" y="557"/>
                    </a:lnTo>
                    <a:lnTo>
                      <a:pt x="1058" y="557"/>
                    </a:lnTo>
                    <a:lnTo>
                      <a:pt x="1058" y="673"/>
                    </a:lnTo>
                    <a:lnTo>
                      <a:pt x="1058" y="673"/>
                    </a:lnTo>
                    <a:close/>
                    <a:moveTo>
                      <a:pt x="1058" y="478"/>
                    </a:moveTo>
                    <a:lnTo>
                      <a:pt x="768" y="478"/>
                    </a:lnTo>
                    <a:lnTo>
                      <a:pt x="768" y="362"/>
                    </a:lnTo>
                    <a:lnTo>
                      <a:pt x="1058" y="362"/>
                    </a:lnTo>
                    <a:lnTo>
                      <a:pt x="1058" y="478"/>
                    </a:lnTo>
                    <a:lnTo>
                      <a:pt x="1058" y="478"/>
                    </a:lnTo>
                    <a:close/>
                    <a:moveTo>
                      <a:pt x="1058" y="271"/>
                    </a:moveTo>
                    <a:lnTo>
                      <a:pt x="768" y="271"/>
                    </a:lnTo>
                    <a:lnTo>
                      <a:pt x="768" y="153"/>
                    </a:lnTo>
                    <a:lnTo>
                      <a:pt x="1058" y="153"/>
                    </a:lnTo>
                    <a:lnTo>
                      <a:pt x="1058" y="271"/>
                    </a:lnTo>
                    <a:lnTo>
                      <a:pt x="1058" y="271"/>
                    </a:lnTo>
                    <a:close/>
                  </a:path>
                </a:pathLst>
              </a:custGeom>
              <a:solidFill>
                <a:srgbClr val="00405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875" name="Freeform 30"/>
          <p:cNvSpPr>
            <a:spLocks/>
          </p:cNvSpPr>
          <p:nvPr/>
        </p:nvSpPr>
        <p:spPr bwMode="auto">
          <a:xfrm flipH="1">
            <a:off x="6757495" y="2501847"/>
            <a:ext cx="1135983" cy="561519"/>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chemeClr val="accent6">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18" name="Group 917"/>
          <p:cNvGrpSpPr/>
          <p:nvPr/>
        </p:nvGrpSpPr>
        <p:grpSpPr>
          <a:xfrm>
            <a:off x="9293744" y="4822019"/>
            <a:ext cx="200610" cy="216497"/>
            <a:chOff x="5605629" y="2738494"/>
            <a:chExt cx="751718" cy="811248"/>
          </a:xfrm>
          <a:solidFill>
            <a:schemeClr val="accent6">
              <a:lumMod val="50000"/>
            </a:schemeClr>
          </a:solidFill>
        </p:grpSpPr>
        <p:sp>
          <p:nvSpPr>
            <p:cNvPr id="919" name="Rectangle 163"/>
            <p:cNvSpPr/>
            <p:nvPr/>
          </p:nvSpPr>
          <p:spPr bwMode="auto">
            <a:xfrm>
              <a:off x="5814038" y="2738494"/>
              <a:ext cx="335016" cy="2210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0" name="Oval 919"/>
            <p:cNvSpPr/>
            <p:nvPr/>
          </p:nvSpPr>
          <p:spPr bwMode="auto">
            <a:xfrm>
              <a:off x="5947055" y="3100925"/>
              <a:ext cx="68980" cy="6898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1" name="Rectangle 163"/>
            <p:cNvSpPr/>
            <p:nvPr/>
          </p:nvSpPr>
          <p:spPr bwMode="auto">
            <a:xfrm rot="16200000">
              <a:off x="5555087" y="3145826"/>
              <a:ext cx="202899" cy="1018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2" name="Rectangle 438"/>
            <p:cNvSpPr/>
            <p:nvPr/>
          </p:nvSpPr>
          <p:spPr bwMode="auto">
            <a:xfrm>
              <a:off x="5727633" y="2980458"/>
              <a:ext cx="508257" cy="569284"/>
            </a:xfrm>
            <a:custGeom>
              <a:avLst/>
              <a:gdLst/>
              <a:ahLst/>
              <a:cxnLst/>
              <a:rect l="l" t="t" r="r" b="b"/>
              <a:pathLst>
                <a:path w="508257" h="569284">
                  <a:moveTo>
                    <a:pt x="253913" y="76915"/>
                  </a:moveTo>
                  <a:cubicBezTo>
                    <a:pt x="211786" y="76915"/>
                    <a:pt x="177635" y="111066"/>
                    <a:pt x="177635" y="153193"/>
                  </a:cubicBezTo>
                  <a:cubicBezTo>
                    <a:pt x="177635" y="195320"/>
                    <a:pt x="211786" y="229471"/>
                    <a:pt x="253913" y="229471"/>
                  </a:cubicBezTo>
                  <a:cubicBezTo>
                    <a:pt x="296040" y="229471"/>
                    <a:pt x="330191" y="195320"/>
                    <a:pt x="330191" y="153193"/>
                  </a:cubicBezTo>
                  <a:cubicBezTo>
                    <a:pt x="330191" y="111066"/>
                    <a:pt x="296040" y="76915"/>
                    <a:pt x="253913" y="76915"/>
                  </a:cubicBezTo>
                  <a:close/>
                  <a:moveTo>
                    <a:pt x="86404" y="0"/>
                  </a:moveTo>
                  <a:lnTo>
                    <a:pt x="421420" y="0"/>
                  </a:lnTo>
                  <a:lnTo>
                    <a:pt x="421420" y="108590"/>
                  </a:lnTo>
                  <a:lnTo>
                    <a:pt x="507085" y="108590"/>
                  </a:lnTo>
                  <a:lnTo>
                    <a:pt x="507085" y="189446"/>
                  </a:lnTo>
                  <a:lnTo>
                    <a:pt x="508257" y="189446"/>
                  </a:lnTo>
                  <a:lnTo>
                    <a:pt x="508257" y="317725"/>
                  </a:lnTo>
                  <a:lnTo>
                    <a:pt x="421420" y="317725"/>
                  </a:lnTo>
                  <a:lnTo>
                    <a:pt x="421420" y="569284"/>
                  </a:lnTo>
                  <a:lnTo>
                    <a:pt x="86404" y="569284"/>
                  </a:lnTo>
                  <a:lnTo>
                    <a:pt x="86404" y="317725"/>
                  </a:lnTo>
                  <a:lnTo>
                    <a:pt x="0" y="317725"/>
                  </a:lnTo>
                  <a:lnTo>
                    <a:pt x="0" y="195384"/>
                  </a:lnTo>
                  <a:lnTo>
                    <a:pt x="0" y="189446"/>
                  </a:lnTo>
                  <a:lnTo>
                    <a:pt x="0" y="114528"/>
                  </a:lnTo>
                  <a:lnTo>
                    <a:pt x="86404" y="11452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23" name="Rectangle 163"/>
            <p:cNvSpPr/>
            <p:nvPr/>
          </p:nvSpPr>
          <p:spPr bwMode="auto">
            <a:xfrm rot="5400000" flipH="1">
              <a:off x="6204990" y="3140727"/>
              <a:ext cx="202899" cy="101815"/>
            </a:xfrm>
            <a:custGeom>
              <a:avLst/>
              <a:gdLst/>
              <a:ahLst/>
              <a:cxnLst/>
              <a:rect l="l" t="t" r="r" b="b"/>
              <a:pathLst>
                <a:path w="335016" h="221015">
                  <a:moveTo>
                    <a:pt x="127994" y="0"/>
                  </a:moveTo>
                  <a:lnTo>
                    <a:pt x="207022" y="0"/>
                  </a:lnTo>
                  <a:lnTo>
                    <a:pt x="207022" y="61485"/>
                  </a:lnTo>
                  <a:cubicBezTo>
                    <a:pt x="280844" y="76416"/>
                    <a:pt x="335016" y="142389"/>
                    <a:pt x="335016" y="221015"/>
                  </a:cubicBezTo>
                  <a:lnTo>
                    <a:pt x="0" y="221015"/>
                  </a:lnTo>
                  <a:cubicBezTo>
                    <a:pt x="0" y="142389"/>
                    <a:pt x="54172" y="76416"/>
                    <a:pt x="127994" y="614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963" name="Freeform 30"/>
          <p:cNvSpPr>
            <a:spLocks/>
          </p:cNvSpPr>
          <p:nvPr/>
        </p:nvSpPr>
        <p:spPr bwMode="auto">
          <a:xfrm flipH="1">
            <a:off x="7051549" y="2388775"/>
            <a:ext cx="867564" cy="458956"/>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rgbClr val="004254">
              <a:alpha val="48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64" name="Group 963"/>
          <p:cNvGrpSpPr/>
          <p:nvPr/>
        </p:nvGrpSpPr>
        <p:grpSpPr>
          <a:xfrm flipH="1">
            <a:off x="7347788" y="2540459"/>
            <a:ext cx="387774" cy="386343"/>
            <a:chOff x="5442459" y="6856973"/>
            <a:chExt cx="783335" cy="692727"/>
          </a:xfrm>
        </p:grpSpPr>
        <p:grpSp>
          <p:nvGrpSpPr>
            <p:cNvPr id="965" name="Group 964"/>
            <p:cNvGrpSpPr/>
            <p:nvPr/>
          </p:nvGrpSpPr>
          <p:grpSpPr>
            <a:xfrm>
              <a:off x="5442460" y="6902068"/>
              <a:ext cx="783334" cy="647632"/>
              <a:chOff x="5442460" y="6902068"/>
              <a:chExt cx="783334" cy="647632"/>
            </a:xfrm>
            <a:solidFill>
              <a:schemeClr val="bg1">
                <a:lumMod val="65000"/>
              </a:schemeClr>
            </a:solidFill>
          </p:grpSpPr>
          <p:sp>
            <p:nvSpPr>
              <p:cNvPr id="967" name="Rectangle 966"/>
              <p:cNvSpPr/>
              <p:nvPr/>
            </p:nvSpPr>
            <p:spPr bwMode="auto">
              <a:xfrm>
                <a:off x="5442460" y="7132320"/>
                <a:ext cx="783334" cy="417380"/>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68" name="Rectangle 967"/>
              <p:cNvSpPr/>
              <p:nvPr/>
            </p:nvSpPr>
            <p:spPr bwMode="auto">
              <a:xfrm>
                <a:off x="5891019" y="6902068"/>
                <a:ext cx="312739" cy="346364"/>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966" name="Freeform 352"/>
            <p:cNvSpPr>
              <a:spLocks noChangeAspect="1" noEditPoints="1"/>
            </p:cNvSpPr>
            <p:nvPr/>
          </p:nvSpPr>
          <p:spPr bwMode="auto">
            <a:xfrm>
              <a:off x="5442459" y="6856973"/>
              <a:ext cx="783335" cy="692727"/>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rgbClr val="00425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970" name="Group 969"/>
          <p:cNvGrpSpPr/>
          <p:nvPr/>
        </p:nvGrpSpPr>
        <p:grpSpPr>
          <a:xfrm>
            <a:off x="7034553" y="2737265"/>
            <a:ext cx="235580" cy="234711"/>
            <a:chOff x="5442459" y="6856973"/>
            <a:chExt cx="783335" cy="692727"/>
          </a:xfrm>
        </p:grpSpPr>
        <p:grpSp>
          <p:nvGrpSpPr>
            <p:cNvPr id="971" name="Group 970"/>
            <p:cNvGrpSpPr/>
            <p:nvPr/>
          </p:nvGrpSpPr>
          <p:grpSpPr>
            <a:xfrm>
              <a:off x="5442460" y="6902068"/>
              <a:ext cx="783334" cy="647632"/>
              <a:chOff x="5442460" y="6902068"/>
              <a:chExt cx="783334" cy="647632"/>
            </a:xfrm>
            <a:solidFill>
              <a:schemeClr val="bg1">
                <a:lumMod val="65000"/>
              </a:schemeClr>
            </a:solidFill>
          </p:grpSpPr>
          <p:sp>
            <p:nvSpPr>
              <p:cNvPr id="973" name="Rectangle 972"/>
              <p:cNvSpPr/>
              <p:nvPr/>
            </p:nvSpPr>
            <p:spPr bwMode="auto">
              <a:xfrm>
                <a:off x="5442460" y="7132320"/>
                <a:ext cx="783334" cy="417380"/>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74" name="Rectangle 973"/>
              <p:cNvSpPr/>
              <p:nvPr/>
            </p:nvSpPr>
            <p:spPr bwMode="auto">
              <a:xfrm>
                <a:off x="5891019" y="6902068"/>
                <a:ext cx="312739" cy="346364"/>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972" name="Freeform 352"/>
            <p:cNvSpPr>
              <a:spLocks noChangeAspect="1" noEditPoints="1"/>
            </p:cNvSpPr>
            <p:nvPr/>
          </p:nvSpPr>
          <p:spPr bwMode="auto">
            <a:xfrm>
              <a:off x="5442459" y="6856973"/>
              <a:ext cx="783335" cy="692727"/>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rgbClr val="00425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975" name="Rectangle 169"/>
          <p:cNvSpPr/>
          <p:nvPr/>
        </p:nvSpPr>
        <p:spPr bwMode="auto">
          <a:xfrm>
            <a:off x="7858076" y="2348937"/>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76" name="Rectangle 169"/>
          <p:cNvSpPr/>
          <p:nvPr/>
        </p:nvSpPr>
        <p:spPr bwMode="auto">
          <a:xfrm>
            <a:off x="8082407" y="2223283"/>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77" name="Rectangle 169"/>
          <p:cNvSpPr/>
          <p:nvPr/>
        </p:nvSpPr>
        <p:spPr bwMode="auto">
          <a:xfrm>
            <a:off x="8546115" y="2216176"/>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78" name="Rectangle 169"/>
          <p:cNvSpPr/>
          <p:nvPr/>
        </p:nvSpPr>
        <p:spPr bwMode="auto">
          <a:xfrm>
            <a:off x="8999766" y="2251264"/>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79" name="Rectangle 169"/>
          <p:cNvSpPr/>
          <p:nvPr/>
        </p:nvSpPr>
        <p:spPr bwMode="auto">
          <a:xfrm>
            <a:off x="9648100" y="2271860"/>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80" name="Rectangle 169"/>
          <p:cNvSpPr/>
          <p:nvPr/>
        </p:nvSpPr>
        <p:spPr bwMode="auto">
          <a:xfrm>
            <a:off x="9397070" y="2139303"/>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81" name="Rectangle 169"/>
          <p:cNvSpPr/>
          <p:nvPr/>
        </p:nvSpPr>
        <p:spPr bwMode="auto">
          <a:xfrm>
            <a:off x="9200188" y="2187880"/>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82" name="Rectangle 169"/>
          <p:cNvSpPr/>
          <p:nvPr/>
        </p:nvSpPr>
        <p:spPr bwMode="auto">
          <a:xfrm>
            <a:off x="9590605" y="2494535"/>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83" name="Rectangle 169"/>
          <p:cNvSpPr/>
          <p:nvPr/>
        </p:nvSpPr>
        <p:spPr bwMode="auto">
          <a:xfrm>
            <a:off x="8808452" y="2180444"/>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84" name="Rectangle 169"/>
          <p:cNvSpPr/>
          <p:nvPr/>
        </p:nvSpPr>
        <p:spPr bwMode="auto">
          <a:xfrm>
            <a:off x="8323057" y="2180444"/>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85" name="Rectangle 169"/>
          <p:cNvSpPr/>
          <p:nvPr/>
        </p:nvSpPr>
        <p:spPr bwMode="auto">
          <a:xfrm>
            <a:off x="8057942" y="2445684"/>
            <a:ext cx="117256" cy="167960"/>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76" name="Group 775"/>
          <p:cNvGrpSpPr/>
          <p:nvPr/>
        </p:nvGrpSpPr>
        <p:grpSpPr>
          <a:xfrm>
            <a:off x="8816618" y="5565148"/>
            <a:ext cx="341312" cy="153987"/>
            <a:chOff x="-676275" y="5062538"/>
            <a:chExt cx="341312" cy="153987"/>
          </a:xfrm>
        </p:grpSpPr>
        <p:sp>
          <p:nvSpPr>
            <p:cNvPr id="916" name="Freeform 43"/>
            <p:cNvSpPr>
              <a:spLocks/>
            </p:cNvSpPr>
            <p:nvPr/>
          </p:nvSpPr>
          <p:spPr bwMode="auto">
            <a:xfrm>
              <a:off x="-676275" y="5062538"/>
              <a:ext cx="341312" cy="153987"/>
            </a:xfrm>
            <a:custGeom>
              <a:avLst/>
              <a:gdLst>
                <a:gd name="T0" fmla="*/ 24 w 10101"/>
                <a:gd name="T1" fmla="*/ 183 h 4652"/>
                <a:gd name="T2" fmla="*/ 77 w 10101"/>
                <a:gd name="T3" fmla="*/ 483 h 4652"/>
                <a:gd name="T4" fmla="*/ 146 w 10101"/>
                <a:gd name="T5" fmla="*/ 779 h 4652"/>
                <a:gd name="T6" fmla="*/ 231 w 10101"/>
                <a:gd name="T7" fmla="*/ 1066 h 4652"/>
                <a:gd name="T8" fmla="*/ 330 w 10101"/>
                <a:gd name="T9" fmla="*/ 1346 h 4652"/>
                <a:gd name="T10" fmla="*/ 446 w 10101"/>
                <a:gd name="T11" fmla="*/ 1619 h 4652"/>
                <a:gd name="T12" fmla="*/ 574 w 10101"/>
                <a:gd name="T13" fmla="*/ 1884 h 4652"/>
                <a:gd name="T14" fmla="*/ 717 w 10101"/>
                <a:gd name="T15" fmla="*/ 2140 h 4652"/>
                <a:gd name="T16" fmla="*/ 872 w 10101"/>
                <a:gd name="T17" fmla="*/ 2387 h 4652"/>
                <a:gd name="T18" fmla="*/ 1040 w 10101"/>
                <a:gd name="T19" fmla="*/ 2623 h 4652"/>
                <a:gd name="T20" fmla="*/ 1221 w 10101"/>
                <a:gd name="T21" fmla="*/ 2850 h 4652"/>
                <a:gd name="T22" fmla="*/ 1414 w 10101"/>
                <a:gd name="T23" fmla="*/ 3064 h 4652"/>
                <a:gd name="T24" fmla="*/ 1616 w 10101"/>
                <a:gd name="T25" fmla="*/ 3269 h 4652"/>
                <a:gd name="T26" fmla="*/ 1830 w 10101"/>
                <a:gd name="T27" fmla="*/ 3461 h 4652"/>
                <a:gd name="T28" fmla="*/ 2055 w 10101"/>
                <a:gd name="T29" fmla="*/ 3641 h 4652"/>
                <a:gd name="T30" fmla="*/ 2289 w 10101"/>
                <a:gd name="T31" fmla="*/ 3808 h 4652"/>
                <a:gd name="T32" fmla="*/ 2532 w 10101"/>
                <a:gd name="T33" fmla="*/ 3961 h 4652"/>
                <a:gd name="T34" fmla="*/ 2784 w 10101"/>
                <a:gd name="T35" fmla="*/ 4100 h 4652"/>
                <a:gd name="T36" fmla="*/ 3043 w 10101"/>
                <a:gd name="T37" fmla="*/ 4226 h 4652"/>
                <a:gd name="T38" fmla="*/ 3311 w 10101"/>
                <a:gd name="T39" fmla="*/ 4335 h 4652"/>
                <a:gd name="T40" fmla="*/ 3586 w 10101"/>
                <a:gd name="T41" fmla="*/ 4430 h 4652"/>
                <a:gd name="T42" fmla="*/ 3867 w 10101"/>
                <a:gd name="T43" fmla="*/ 4508 h 4652"/>
                <a:gd name="T44" fmla="*/ 4155 w 10101"/>
                <a:gd name="T45" fmla="*/ 4571 h 4652"/>
                <a:gd name="T46" fmla="*/ 4449 w 10101"/>
                <a:gd name="T47" fmla="*/ 4615 h 4652"/>
                <a:gd name="T48" fmla="*/ 4747 w 10101"/>
                <a:gd name="T49" fmla="*/ 4643 h 4652"/>
                <a:gd name="T50" fmla="*/ 5050 w 10101"/>
                <a:gd name="T51" fmla="*/ 4652 h 4652"/>
                <a:gd name="T52" fmla="*/ 5293 w 10101"/>
                <a:gd name="T53" fmla="*/ 4647 h 4652"/>
                <a:gd name="T54" fmla="*/ 5593 w 10101"/>
                <a:gd name="T55" fmla="*/ 4622 h 4652"/>
                <a:gd name="T56" fmla="*/ 5887 w 10101"/>
                <a:gd name="T57" fmla="*/ 4581 h 4652"/>
                <a:gd name="T58" fmla="*/ 6176 w 10101"/>
                <a:gd name="T59" fmla="*/ 4523 h 4652"/>
                <a:gd name="T60" fmla="*/ 6459 w 10101"/>
                <a:gd name="T61" fmla="*/ 4447 h 4652"/>
                <a:gd name="T62" fmla="*/ 6736 w 10101"/>
                <a:gd name="T63" fmla="*/ 4356 h 4652"/>
                <a:gd name="T64" fmla="*/ 7005 w 10101"/>
                <a:gd name="T65" fmla="*/ 4249 h 4652"/>
                <a:gd name="T66" fmla="*/ 7266 w 10101"/>
                <a:gd name="T67" fmla="*/ 4127 h 4652"/>
                <a:gd name="T68" fmla="*/ 7520 w 10101"/>
                <a:gd name="T69" fmla="*/ 3990 h 4652"/>
                <a:gd name="T70" fmla="*/ 7764 w 10101"/>
                <a:gd name="T71" fmla="*/ 3840 h 4652"/>
                <a:gd name="T72" fmla="*/ 8000 w 10101"/>
                <a:gd name="T73" fmla="*/ 3675 h 4652"/>
                <a:gd name="T74" fmla="*/ 8227 w 10101"/>
                <a:gd name="T75" fmla="*/ 3498 h 4652"/>
                <a:gd name="T76" fmla="*/ 8442 w 10101"/>
                <a:gd name="T77" fmla="*/ 3309 h 4652"/>
                <a:gd name="T78" fmla="*/ 8647 w 10101"/>
                <a:gd name="T79" fmla="*/ 3106 h 4652"/>
                <a:gd name="T80" fmla="*/ 8842 w 10101"/>
                <a:gd name="T81" fmla="*/ 2893 h 4652"/>
                <a:gd name="T82" fmla="*/ 9025 w 10101"/>
                <a:gd name="T83" fmla="*/ 2669 h 4652"/>
                <a:gd name="T84" fmla="*/ 9195 w 10101"/>
                <a:gd name="T85" fmla="*/ 2434 h 4652"/>
                <a:gd name="T86" fmla="*/ 9354 w 10101"/>
                <a:gd name="T87" fmla="*/ 2190 h 4652"/>
                <a:gd name="T88" fmla="*/ 9500 w 10101"/>
                <a:gd name="T89" fmla="*/ 1936 h 4652"/>
                <a:gd name="T90" fmla="*/ 9631 w 10101"/>
                <a:gd name="T91" fmla="*/ 1673 h 4652"/>
                <a:gd name="T92" fmla="*/ 9749 w 10101"/>
                <a:gd name="T93" fmla="*/ 1401 h 4652"/>
                <a:gd name="T94" fmla="*/ 9851 w 10101"/>
                <a:gd name="T95" fmla="*/ 1123 h 4652"/>
                <a:gd name="T96" fmla="*/ 9939 w 10101"/>
                <a:gd name="T97" fmla="*/ 837 h 4652"/>
                <a:gd name="T98" fmla="*/ 10012 w 10101"/>
                <a:gd name="T99" fmla="*/ 543 h 4652"/>
                <a:gd name="T100" fmla="*/ 10068 w 10101"/>
                <a:gd name="T101" fmla="*/ 243 h 4652"/>
                <a:gd name="T102" fmla="*/ 0 w 10101"/>
                <a:gd name="T103" fmla="*/ 0 h 4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01" h="4652">
                  <a:moveTo>
                    <a:pt x="0" y="0"/>
                  </a:moveTo>
                  <a:lnTo>
                    <a:pt x="0" y="0"/>
                  </a:lnTo>
                  <a:lnTo>
                    <a:pt x="7" y="61"/>
                  </a:lnTo>
                  <a:lnTo>
                    <a:pt x="15" y="122"/>
                  </a:lnTo>
                  <a:lnTo>
                    <a:pt x="24" y="183"/>
                  </a:lnTo>
                  <a:lnTo>
                    <a:pt x="33" y="243"/>
                  </a:lnTo>
                  <a:lnTo>
                    <a:pt x="43" y="304"/>
                  </a:lnTo>
                  <a:lnTo>
                    <a:pt x="53" y="364"/>
                  </a:lnTo>
                  <a:lnTo>
                    <a:pt x="65" y="423"/>
                  </a:lnTo>
                  <a:lnTo>
                    <a:pt x="77" y="483"/>
                  </a:lnTo>
                  <a:lnTo>
                    <a:pt x="89" y="543"/>
                  </a:lnTo>
                  <a:lnTo>
                    <a:pt x="102" y="603"/>
                  </a:lnTo>
                  <a:lnTo>
                    <a:pt x="116" y="662"/>
                  </a:lnTo>
                  <a:lnTo>
                    <a:pt x="131" y="720"/>
                  </a:lnTo>
                  <a:lnTo>
                    <a:pt x="146" y="779"/>
                  </a:lnTo>
                  <a:lnTo>
                    <a:pt x="162" y="837"/>
                  </a:lnTo>
                  <a:lnTo>
                    <a:pt x="178" y="895"/>
                  </a:lnTo>
                  <a:lnTo>
                    <a:pt x="195" y="952"/>
                  </a:lnTo>
                  <a:lnTo>
                    <a:pt x="213" y="1009"/>
                  </a:lnTo>
                  <a:lnTo>
                    <a:pt x="231" y="1066"/>
                  </a:lnTo>
                  <a:lnTo>
                    <a:pt x="250" y="1123"/>
                  </a:lnTo>
                  <a:lnTo>
                    <a:pt x="269" y="1180"/>
                  </a:lnTo>
                  <a:lnTo>
                    <a:pt x="289" y="1236"/>
                  </a:lnTo>
                  <a:lnTo>
                    <a:pt x="309" y="1292"/>
                  </a:lnTo>
                  <a:lnTo>
                    <a:pt x="330" y="1346"/>
                  </a:lnTo>
                  <a:lnTo>
                    <a:pt x="352" y="1401"/>
                  </a:lnTo>
                  <a:lnTo>
                    <a:pt x="374" y="1456"/>
                  </a:lnTo>
                  <a:lnTo>
                    <a:pt x="398" y="1511"/>
                  </a:lnTo>
                  <a:lnTo>
                    <a:pt x="422" y="1565"/>
                  </a:lnTo>
                  <a:lnTo>
                    <a:pt x="446" y="1619"/>
                  </a:lnTo>
                  <a:lnTo>
                    <a:pt x="470" y="1673"/>
                  </a:lnTo>
                  <a:lnTo>
                    <a:pt x="495" y="1726"/>
                  </a:lnTo>
                  <a:lnTo>
                    <a:pt x="521" y="1779"/>
                  </a:lnTo>
                  <a:lnTo>
                    <a:pt x="547" y="1832"/>
                  </a:lnTo>
                  <a:lnTo>
                    <a:pt x="574" y="1884"/>
                  </a:lnTo>
                  <a:lnTo>
                    <a:pt x="601" y="1936"/>
                  </a:lnTo>
                  <a:lnTo>
                    <a:pt x="629" y="1988"/>
                  </a:lnTo>
                  <a:lnTo>
                    <a:pt x="658" y="2038"/>
                  </a:lnTo>
                  <a:lnTo>
                    <a:pt x="687" y="2089"/>
                  </a:lnTo>
                  <a:lnTo>
                    <a:pt x="717" y="2140"/>
                  </a:lnTo>
                  <a:lnTo>
                    <a:pt x="747" y="2190"/>
                  </a:lnTo>
                  <a:lnTo>
                    <a:pt x="777" y="2240"/>
                  </a:lnTo>
                  <a:lnTo>
                    <a:pt x="808" y="2289"/>
                  </a:lnTo>
                  <a:lnTo>
                    <a:pt x="840" y="2338"/>
                  </a:lnTo>
                  <a:lnTo>
                    <a:pt x="872" y="2387"/>
                  </a:lnTo>
                  <a:lnTo>
                    <a:pt x="905" y="2434"/>
                  </a:lnTo>
                  <a:lnTo>
                    <a:pt x="938" y="2482"/>
                  </a:lnTo>
                  <a:lnTo>
                    <a:pt x="972" y="2529"/>
                  </a:lnTo>
                  <a:lnTo>
                    <a:pt x="1006" y="2577"/>
                  </a:lnTo>
                  <a:lnTo>
                    <a:pt x="1040" y="2623"/>
                  </a:lnTo>
                  <a:lnTo>
                    <a:pt x="1075" y="2669"/>
                  </a:lnTo>
                  <a:lnTo>
                    <a:pt x="1111" y="2715"/>
                  </a:lnTo>
                  <a:lnTo>
                    <a:pt x="1148" y="2760"/>
                  </a:lnTo>
                  <a:lnTo>
                    <a:pt x="1184" y="2805"/>
                  </a:lnTo>
                  <a:lnTo>
                    <a:pt x="1221" y="2850"/>
                  </a:lnTo>
                  <a:lnTo>
                    <a:pt x="1259" y="2893"/>
                  </a:lnTo>
                  <a:lnTo>
                    <a:pt x="1296" y="2937"/>
                  </a:lnTo>
                  <a:lnTo>
                    <a:pt x="1335" y="2980"/>
                  </a:lnTo>
                  <a:lnTo>
                    <a:pt x="1373" y="3023"/>
                  </a:lnTo>
                  <a:lnTo>
                    <a:pt x="1414" y="3064"/>
                  </a:lnTo>
                  <a:lnTo>
                    <a:pt x="1453" y="3106"/>
                  </a:lnTo>
                  <a:lnTo>
                    <a:pt x="1493" y="3148"/>
                  </a:lnTo>
                  <a:lnTo>
                    <a:pt x="1534" y="3189"/>
                  </a:lnTo>
                  <a:lnTo>
                    <a:pt x="1575" y="3229"/>
                  </a:lnTo>
                  <a:lnTo>
                    <a:pt x="1616" y="3269"/>
                  </a:lnTo>
                  <a:lnTo>
                    <a:pt x="1659" y="3309"/>
                  </a:lnTo>
                  <a:lnTo>
                    <a:pt x="1701" y="3347"/>
                  </a:lnTo>
                  <a:lnTo>
                    <a:pt x="1744" y="3386"/>
                  </a:lnTo>
                  <a:lnTo>
                    <a:pt x="1787" y="3424"/>
                  </a:lnTo>
                  <a:lnTo>
                    <a:pt x="1830" y="3461"/>
                  </a:lnTo>
                  <a:lnTo>
                    <a:pt x="1874" y="3498"/>
                  </a:lnTo>
                  <a:lnTo>
                    <a:pt x="1919" y="3535"/>
                  </a:lnTo>
                  <a:lnTo>
                    <a:pt x="1964" y="3570"/>
                  </a:lnTo>
                  <a:lnTo>
                    <a:pt x="2009" y="3606"/>
                  </a:lnTo>
                  <a:lnTo>
                    <a:pt x="2055" y="3641"/>
                  </a:lnTo>
                  <a:lnTo>
                    <a:pt x="2101" y="3675"/>
                  </a:lnTo>
                  <a:lnTo>
                    <a:pt x="2148" y="3710"/>
                  </a:lnTo>
                  <a:lnTo>
                    <a:pt x="2194" y="3743"/>
                  </a:lnTo>
                  <a:lnTo>
                    <a:pt x="2241" y="3776"/>
                  </a:lnTo>
                  <a:lnTo>
                    <a:pt x="2289" y="3808"/>
                  </a:lnTo>
                  <a:lnTo>
                    <a:pt x="2336" y="3840"/>
                  </a:lnTo>
                  <a:lnTo>
                    <a:pt x="2384" y="3871"/>
                  </a:lnTo>
                  <a:lnTo>
                    <a:pt x="2434" y="3902"/>
                  </a:lnTo>
                  <a:lnTo>
                    <a:pt x="2483" y="3931"/>
                  </a:lnTo>
                  <a:lnTo>
                    <a:pt x="2532" y="3961"/>
                  </a:lnTo>
                  <a:lnTo>
                    <a:pt x="2581" y="3990"/>
                  </a:lnTo>
                  <a:lnTo>
                    <a:pt x="2631" y="4019"/>
                  </a:lnTo>
                  <a:lnTo>
                    <a:pt x="2682" y="4046"/>
                  </a:lnTo>
                  <a:lnTo>
                    <a:pt x="2733" y="4074"/>
                  </a:lnTo>
                  <a:lnTo>
                    <a:pt x="2784" y="4100"/>
                  </a:lnTo>
                  <a:lnTo>
                    <a:pt x="2835" y="4127"/>
                  </a:lnTo>
                  <a:lnTo>
                    <a:pt x="2886" y="4152"/>
                  </a:lnTo>
                  <a:lnTo>
                    <a:pt x="2939" y="4178"/>
                  </a:lnTo>
                  <a:lnTo>
                    <a:pt x="2991" y="4202"/>
                  </a:lnTo>
                  <a:lnTo>
                    <a:pt x="3043" y="4226"/>
                  </a:lnTo>
                  <a:lnTo>
                    <a:pt x="3096" y="4249"/>
                  </a:lnTo>
                  <a:lnTo>
                    <a:pt x="3149" y="4271"/>
                  </a:lnTo>
                  <a:lnTo>
                    <a:pt x="3203" y="4294"/>
                  </a:lnTo>
                  <a:lnTo>
                    <a:pt x="3257" y="4315"/>
                  </a:lnTo>
                  <a:lnTo>
                    <a:pt x="3311" y="4335"/>
                  </a:lnTo>
                  <a:lnTo>
                    <a:pt x="3365" y="4356"/>
                  </a:lnTo>
                  <a:lnTo>
                    <a:pt x="3421" y="4375"/>
                  </a:lnTo>
                  <a:lnTo>
                    <a:pt x="3475" y="4394"/>
                  </a:lnTo>
                  <a:lnTo>
                    <a:pt x="3530" y="4413"/>
                  </a:lnTo>
                  <a:lnTo>
                    <a:pt x="3586" y="4430"/>
                  </a:lnTo>
                  <a:lnTo>
                    <a:pt x="3641" y="4447"/>
                  </a:lnTo>
                  <a:lnTo>
                    <a:pt x="3698" y="4464"/>
                  </a:lnTo>
                  <a:lnTo>
                    <a:pt x="3754" y="4479"/>
                  </a:lnTo>
                  <a:lnTo>
                    <a:pt x="3811" y="4494"/>
                  </a:lnTo>
                  <a:lnTo>
                    <a:pt x="3867" y="4508"/>
                  </a:lnTo>
                  <a:lnTo>
                    <a:pt x="3925" y="4523"/>
                  </a:lnTo>
                  <a:lnTo>
                    <a:pt x="3982" y="4536"/>
                  </a:lnTo>
                  <a:lnTo>
                    <a:pt x="4039" y="4548"/>
                  </a:lnTo>
                  <a:lnTo>
                    <a:pt x="4097" y="4559"/>
                  </a:lnTo>
                  <a:lnTo>
                    <a:pt x="4155" y="4571"/>
                  </a:lnTo>
                  <a:lnTo>
                    <a:pt x="4214" y="4581"/>
                  </a:lnTo>
                  <a:lnTo>
                    <a:pt x="4272" y="4591"/>
                  </a:lnTo>
                  <a:lnTo>
                    <a:pt x="4330" y="4600"/>
                  </a:lnTo>
                  <a:lnTo>
                    <a:pt x="4389" y="4608"/>
                  </a:lnTo>
                  <a:lnTo>
                    <a:pt x="4449" y="4615"/>
                  </a:lnTo>
                  <a:lnTo>
                    <a:pt x="4508" y="4622"/>
                  </a:lnTo>
                  <a:lnTo>
                    <a:pt x="4567" y="4629"/>
                  </a:lnTo>
                  <a:lnTo>
                    <a:pt x="4627" y="4635"/>
                  </a:lnTo>
                  <a:lnTo>
                    <a:pt x="4687" y="4639"/>
                  </a:lnTo>
                  <a:lnTo>
                    <a:pt x="4747" y="4643"/>
                  </a:lnTo>
                  <a:lnTo>
                    <a:pt x="4807" y="4647"/>
                  </a:lnTo>
                  <a:lnTo>
                    <a:pt x="4868" y="4649"/>
                  </a:lnTo>
                  <a:lnTo>
                    <a:pt x="4929" y="4651"/>
                  </a:lnTo>
                  <a:lnTo>
                    <a:pt x="4990" y="4652"/>
                  </a:lnTo>
                  <a:lnTo>
                    <a:pt x="5050" y="4652"/>
                  </a:lnTo>
                  <a:lnTo>
                    <a:pt x="5050" y="4652"/>
                  </a:lnTo>
                  <a:lnTo>
                    <a:pt x="5111" y="4652"/>
                  </a:lnTo>
                  <a:lnTo>
                    <a:pt x="5172" y="4651"/>
                  </a:lnTo>
                  <a:lnTo>
                    <a:pt x="5233" y="4649"/>
                  </a:lnTo>
                  <a:lnTo>
                    <a:pt x="5293" y="4647"/>
                  </a:lnTo>
                  <a:lnTo>
                    <a:pt x="5353" y="4643"/>
                  </a:lnTo>
                  <a:lnTo>
                    <a:pt x="5413" y="4639"/>
                  </a:lnTo>
                  <a:lnTo>
                    <a:pt x="5474" y="4635"/>
                  </a:lnTo>
                  <a:lnTo>
                    <a:pt x="5533" y="4629"/>
                  </a:lnTo>
                  <a:lnTo>
                    <a:pt x="5593" y="4622"/>
                  </a:lnTo>
                  <a:lnTo>
                    <a:pt x="5652" y="4615"/>
                  </a:lnTo>
                  <a:lnTo>
                    <a:pt x="5712" y="4608"/>
                  </a:lnTo>
                  <a:lnTo>
                    <a:pt x="5770" y="4600"/>
                  </a:lnTo>
                  <a:lnTo>
                    <a:pt x="5829" y="4591"/>
                  </a:lnTo>
                  <a:lnTo>
                    <a:pt x="5887" y="4581"/>
                  </a:lnTo>
                  <a:lnTo>
                    <a:pt x="5946" y="4571"/>
                  </a:lnTo>
                  <a:lnTo>
                    <a:pt x="6004" y="4559"/>
                  </a:lnTo>
                  <a:lnTo>
                    <a:pt x="6061" y="4548"/>
                  </a:lnTo>
                  <a:lnTo>
                    <a:pt x="6119" y="4536"/>
                  </a:lnTo>
                  <a:lnTo>
                    <a:pt x="6176" y="4523"/>
                  </a:lnTo>
                  <a:lnTo>
                    <a:pt x="6234" y="4508"/>
                  </a:lnTo>
                  <a:lnTo>
                    <a:pt x="6290" y="4494"/>
                  </a:lnTo>
                  <a:lnTo>
                    <a:pt x="6347" y="4479"/>
                  </a:lnTo>
                  <a:lnTo>
                    <a:pt x="6403" y="4464"/>
                  </a:lnTo>
                  <a:lnTo>
                    <a:pt x="6459" y="4447"/>
                  </a:lnTo>
                  <a:lnTo>
                    <a:pt x="6515" y="4430"/>
                  </a:lnTo>
                  <a:lnTo>
                    <a:pt x="6570" y="4413"/>
                  </a:lnTo>
                  <a:lnTo>
                    <a:pt x="6625" y="4394"/>
                  </a:lnTo>
                  <a:lnTo>
                    <a:pt x="6680" y="4375"/>
                  </a:lnTo>
                  <a:lnTo>
                    <a:pt x="6736" y="4356"/>
                  </a:lnTo>
                  <a:lnTo>
                    <a:pt x="6790" y="4335"/>
                  </a:lnTo>
                  <a:lnTo>
                    <a:pt x="6844" y="4315"/>
                  </a:lnTo>
                  <a:lnTo>
                    <a:pt x="6897" y="4294"/>
                  </a:lnTo>
                  <a:lnTo>
                    <a:pt x="6952" y="4271"/>
                  </a:lnTo>
                  <a:lnTo>
                    <a:pt x="7005" y="4249"/>
                  </a:lnTo>
                  <a:lnTo>
                    <a:pt x="7057" y="4226"/>
                  </a:lnTo>
                  <a:lnTo>
                    <a:pt x="7110" y="4202"/>
                  </a:lnTo>
                  <a:lnTo>
                    <a:pt x="7162" y="4178"/>
                  </a:lnTo>
                  <a:lnTo>
                    <a:pt x="7215" y="4152"/>
                  </a:lnTo>
                  <a:lnTo>
                    <a:pt x="7266" y="4127"/>
                  </a:lnTo>
                  <a:lnTo>
                    <a:pt x="7317" y="4100"/>
                  </a:lnTo>
                  <a:lnTo>
                    <a:pt x="7368" y="4074"/>
                  </a:lnTo>
                  <a:lnTo>
                    <a:pt x="7419" y="4046"/>
                  </a:lnTo>
                  <a:lnTo>
                    <a:pt x="7470" y="4019"/>
                  </a:lnTo>
                  <a:lnTo>
                    <a:pt x="7520" y="3990"/>
                  </a:lnTo>
                  <a:lnTo>
                    <a:pt x="7569" y="3961"/>
                  </a:lnTo>
                  <a:lnTo>
                    <a:pt x="7618" y="3931"/>
                  </a:lnTo>
                  <a:lnTo>
                    <a:pt x="7667" y="3902"/>
                  </a:lnTo>
                  <a:lnTo>
                    <a:pt x="7716" y="3871"/>
                  </a:lnTo>
                  <a:lnTo>
                    <a:pt x="7764" y="3840"/>
                  </a:lnTo>
                  <a:lnTo>
                    <a:pt x="7812" y="3808"/>
                  </a:lnTo>
                  <a:lnTo>
                    <a:pt x="7859" y="3776"/>
                  </a:lnTo>
                  <a:lnTo>
                    <a:pt x="7906" y="3743"/>
                  </a:lnTo>
                  <a:lnTo>
                    <a:pt x="7953" y="3710"/>
                  </a:lnTo>
                  <a:lnTo>
                    <a:pt x="8000" y="3675"/>
                  </a:lnTo>
                  <a:lnTo>
                    <a:pt x="8046" y="3641"/>
                  </a:lnTo>
                  <a:lnTo>
                    <a:pt x="8092" y="3606"/>
                  </a:lnTo>
                  <a:lnTo>
                    <a:pt x="8137" y="3570"/>
                  </a:lnTo>
                  <a:lnTo>
                    <a:pt x="8181" y="3535"/>
                  </a:lnTo>
                  <a:lnTo>
                    <a:pt x="8227" y="3498"/>
                  </a:lnTo>
                  <a:lnTo>
                    <a:pt x="8270" y="3461"/>
                  </a:lnTo>
                  <a:lnTo>
                    <a:pt x="8314" y="3424"/>
                  </a:lnTo>
                  <a:lnTo>
                    <a:pt x="8357" y="3386"/>
                  </a:lnTo>
                  <a:lnTo>
                    <a:pt x="8400" y="3347"/>
                  </a:lnTo>
                  <a:lnTo>
                    <a:pt x="8442" y="3309"/>
                  </a:lnTo>
                  <a:lnTo>
                    <a:pt x="8485" y="3269"/>
                  </a:lnTo>
                  <a:lnTo>
                    <a:pt x="8526" y="3229"/>
                  </a:lnTo>
                  <a:lnTo>
                    <a:pt x="8567" y="3189"/>
                  </a:lnTo>
                  <a:lnTo>
                    <a:pt x="8607" y="3148"/>
                  </a:lnTo>
                  <a:lnTo>
                    <a:pt x="8647" y="3106"/>
                  </a:lnTo>
                  <a:lnTo>
                    <a:pt x="8687" y="3064"/>
                  </a:lnTo>
                  <a:lnTo>
                    <a:pt x="8727" y="3023"/>
                  </a:lnTo>
                  <a:lnTo>
                    <a:pt x="8766" y="2980"/>
                  </a:lnTo>
                  <a:lnTo>
                    <a:pt x="8804" y="2937"/>
                  </a:lnTo>
                  <a:lnTo>
                    <a:pt x="8842" y="2893"/>
                  </a:lnTo>
                  <a:lnTo>
                    <a:pt x="8880" y="2850"/>
                  </a:lnTo>
                  <a:lnTo>
                    <a:pt x="8916" y="2805"/>
                  </a:lnTo>
                  <a:lnTo>
                    <a:pt x="8953" y="2760"/>
                  </a:lnTo>
                  <a:lnTo>
                    <a:pt x="8990" y="2715"/>
                  </a:lnTo>
                  <a:lnTo>
                    <a:pt x="9025" y="2669"/>
                  </a:lnTo>
                  <a:lnTo>
                    <a:pt x="9060" y="2623"/>
                  </a:lnTo>
                  <a:lnTo>
                    <a:pt x="9095" y="2577"/>
                  </a:lnTo>
                  <a:lnTo>
                    <a:pt x="9129" y="2529"/>
                  </a:lnTo>
                  <a:lnTo>
                    <a:pt x="9162" y="2482"/>
                  </a:lnTo>
                  <a:lnTo>
                    <a:pt x="9195" y="2434"/>
                  </a:lnTo>
                  <a:lnTo>
                    <a:pt x="9229" y="2387"/>
                  </a:lnTo>
                  <a:lnTo>
                    <a:pt x="9261" y="2338"/>
                  </a:lnTo>
                  <a:lnTo>
                    <a:pt x="9292" y="2289"/>
                  </a:lnTo>
                  <a:lnTo>
                    <a:pt x="9324" y="2240"/>
                  </a:lnTo>
                  <a:lnTo>
                    <a:pt x="9354" y="2190"/>
                  </a:lnTo>
                  <a:lnTo>
                    <a:pt x="9384" y="2140"/>
                  </a:lnTo>
                  <a:lnTo>
                    <a:pt x="9413" y="2089"/>
                  </a:lnTo>
                  <a:lnTo>
                    <a:pt x="9442" y="2038"/>
                  </a:lnTo>
                  <a:lnTo>
                    <a:pt x="9472" y="1988"/>
                  </a:lnTo>
                  <a:lnTo>
                    <a:pt x="9500" y="1936"/>
                  </a:lnTo>
                  <a:lnTo>
                    <a:pt x="9527" y="1884"/>
                  </a:lnTo>
                  <a:lnTo>
                    <a:pt x="9554" y="1832"/>
                  </a:lnTo>
                  <a:lnTo>
                    <a:pt x="9580" y="1779"/>
                  </a:lnTo>
                  <a:lnTo>
                    <a:pt x="9606" y="1726"/>
                  </a:lnTo>
                  <a:lnTo>
                    <a:pt x="9631" y="1673"/>
                  </a:lnTo>
                  <a:lnTo>
                    <a:pt x="9655" y="1619"/>
                  </a:lnTo>
                  <a:lnTo>
                    <a:pt x="9679" y="1565"/>
                  </a:lnTo>
                  <a:lnTo>
                    <a:pt x="9703" y="1511"/>
                  </a:lnTo>
                  <a:lnTo>
                    <a:pt x="9726" y="1456"/>
                  </a:lnTo>
                  <a:lnTo>
                    <a:pt x="9749" y="1401"/>
                  </a:lnTo>
                  <a:lnTo>
                    <a:pt x="9770" y="1346"/>
                  </a:lnTo>
                  <a:lnTo>
                    <a:pt x="9791" y="1292"/>
                  </a:lnTo>
                  <a:lnTo>
                    <a:pt x="9812" y="1236"/>
                  </a:lnTo>
                  <a:lnTo>
                    <a:pt x="9832" y="1180"/>
                  </a:lnTo>
                  <a:lnTo>
                    <a:pt x="9851" y="1123"/>
                  </a:lnTo>
                  <a:lnTo>
                    <a:pt x="9870" y="1066"/>
                  </a:lnTo>
                  <a:lnTo>
                    <a:pt x="9888" y="1009"/>
                  </a:lnTo>
                  <a:lnTo>
                    <a:pt x="9906" y="952"/>
                  </a:lnTo>
                  <a:lnTo>
                    <a:pt x="9922" y="895"/>
                  </a:lnTo>
                  <a:lnTo>
                    <a:pt x="9939" y="837"/>
                  </a:lnTo>
                  <a:lnTo>
                    <a:pt x="9954" y="779"/>
                  </a:lnTo>
                  <a:lnTo>
                    <a:pt x="9969" y="720"/>
                  </a:lnTo>
                  <a:lnTo>
                    <a:pt x="9985" y="662"/>
                  </a:lnTo>
                  <a:lnTo>
                    <a:pt x="9999" y="603"/>
                  </a:lnTo>
                  <a:lnTo>
                    <a:pt x="10012" y="543"/>
                  </a:lnTo>
                  <a:lnTo>
                    <a:pt x="10024" y="483"/>
                  </a:lnTo>
                  <a:lnTo>
                    <a:pt x="10036" y="423"/>
                  </a:lnTo>
                  <a:lnTo>
                    <a:pt x="10047" y="364"/>
                  </a:lnTo>
                  <a:lnTo>
                    <a:pt x="10058" y="304"/>
                  </a:lnTo>
                  <a:lnTo>
                    <a:pt x="10068" y="243"/>
                  </a:lnTo>
                  <a:lnTo>
                    <a:pt x="10077" y="183"/>
                  </a:lnTo>
                  <a:lnTo>
                    <a:pt x="10085" y="122"/>
                  </a:lnTo>
                  <a:lnTo>
                    <a:pt x="10093" y="61"/>
                  </a:lnTo>
                  <a:lnTo>
                    <a:pt x="10101" y="0"/>
                  </a:lnTo>
                  <a:lnTo>
                    <a:pt x="0" y="0"/>
                  </a:lnTo>
                  <a:close/>
                </a:path>
              </a:pathLst>
            </a:custGeom>
            <a:gradFill flip="none" rotWithShape="1">
              <a:gsLst>
                <a:gs pos="67000">
                  <a:schemeClr val="accent1">
                    <a:lumMod val="50000"/>
                  </a:schemeClr>
                </a:gs>
                <a:gs pos="20000">
                  <a:srgbClr val="005F70">
                    <a:alpha val="0"/>
                  </a:srgbClr>
                </a:gs>
              </a:gsLst>
              <a:path path="circle">
                <a:fillToRect l="50000" t="50000" r="50000" b="50000"/>
              </a:path>
              <a:tileRect/>
            </a:gradFill>
            <a:ln w="1270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17" name="Freeform 40"/>
            <p:cNvSpPr>
              <a:spLocks/>
            </p:cNvSpPr>
            <p:nvPr/>
          </p:nvSpPr>
          <p:spPr bwMode="auto">
            <a:xfrm>
              <a:off x="-570352" y="5115254"/>
              <a:ext cx="116766" cy="78719"/>
            </a:xfrm>
            <a:custGeom>
              <a:avLst/>
              <a:gdLst>
                <a:gd name="T0" fmla="*/ 3860 w 4215"/>
                <a:gd name="T1" fmla="*/ 2166 h 2875"/>
                <a:gd name="T2" fmla="*/ 4215 w 4215"/>
                <a:gd name="T3" fmla="*/ 1862 h 2875"/>
                <a:gd name="T4" fmla="*/ 656 w 4215"/>
                <a:gd name="T5" fmla="*/ 0 h 2875"/>
                <a:gd name="T6" fmla="*/ 0 w 4215"/>
                <a:gd name="T7" fmla="*/ 1287 h 2875"/>
                <a:gd name="T8" fmla="*/ 1043 w 4215"/>
                <a:gd name="T9" fmla="*/ 1833 h 2875"/>
                <a:gd name="T10" fmla="*/ 975 w 4215"/>
                <a:gd name="T11" fmla="*/ 1966 h 2875"/>
                <a:gd name="T12" fmla="*/ 975 w 4215"/>
                <a:gd name="T13" fmla="*/ 1966 h 2875"/>
                <a:gd name="T14" fmla="*/ 970 w 4215"/>
                <a:gd name="T15" fmla="*/ 1977 h 2875"/>
                <a:gd name="T16" fmla="*/ 966 w 4215"/>
                <a:gd name="T17" fmla="*/ 1988 h 2875"/>
                <a:gd name="T18" fmla="*/ 964 w 4215"/>
                <a:gd name="T19" fmla="*/ 2001 h 2875"/>
                <a:gd name="T20" fmla="*/ 962 w 4215"/>
                <a:gd name="T21" fmla="*/ 2012 h 2875"/>
                <a:gd name="T22" fmla="*/ 962 w 4215"/>
                <a:gd name="T23" fmla="*/ 2024 h 2875"/>
                <a:gd name="T24" fmla="*/ 963 w 4215"/>
                <a:gd name="T25" fmla="*/ 2035 h 2875"/>
                <a:gd name="T26" fmla="*/ 965 w 4215"/>
                <a:gd name="T27" fmla="*/ 2046 h 2875"/>
                <a:gd name="T28" fmla="*/ 968 w 4215"/>
                <a:gd name="T29" fmla="*/ 2058 h 2875"/>
                <a:gd name="T30" fmla="*/ 972 w 4215"/>
                <a:gd name="T31" fmla="*/ 2069 h 2875"/>
                <a:gd name="T32" fmla="*/ 976 w 4215"/>
                <a:gd name="T33" fmla="*/ 2079 h 2875"/>
                <a:gd name="T34" fmla="*/ 982 w 4215"/>
                <a:gd name="T35" fmla="*/ 2089 h 2875"/>
                <a:gd name="T36" fmla="*/ 989 w 4215"/>
                <a:gd name="T37" fmla="*/ 2098 h 2875"/>
                <a:gd name="T38" fmla="*/ 997 w 4215"/>
                <a:gd name="T39" fmla="*/ 2106 h 2875"/>
                <a:gd name="T40" fmla="*/ 1006 w 4215"/>
                <a:gd name="T41" fmla="*/ 2114 h 2875"/>
                <a:gd name="T42" fmla="*/ 1015 w 4215"/>
                <a:gd name="T43" fmla="*/ 2122 h 2875"/>
                <a:gd name="T44" fmla="*/ 1026 w 4215"/>
                <a:gd name="T45" fmla="*/ 2128 h 2875"/>
                <a:gd name="T46" fmla="*/ 1920 w 4215"/>
                <a:gd name="T47" fmla="*/ 2597 h 2875"/>
                <a:gd name="T48" fmla="*/ 1920 w 4215"/>
                <a:gd name="T49" fmla="*/ 2597 h 2875"/>
                <a:gd name="T50" fmla="*/ 1932 w 4215"/>
                <a:gd name="T51" fmla="*/ 2602 h 2875"/>
                <a:gd name="T52" fmla="*/ 1943 w 4215"/>
                <a:gd name="T53" fmla="*/ 2605 h 2875"/>
                <a:gd name="T54" fmla="*/ 1955 w 4215"/>
                <a:gd name="T55" fmla="*/ 2608 h 2875"/>
                <a:gd name="T56" fmla="*/ 1966 w 4215"/>
                <a:gd name="T57" fmla="*/ 2609 h 2875"/>
                <a:gd name="T58" fmla="*/ 1977 w 4215"/>
                <a:gd name="T59" fmla="*/ 2610 h 2875"/>
                <a:gd name="T60" fmla="*/ 1989 w 4215"/>
                <a:gd name="T61" fmla="*/ 2609 h 2875"/>
                <a:gd name="T62" fmla="*/ 2000 w 4215"/>
                <a:gd name="T63" fmla="*/ 2607 h 2875"/>
                <a:gd name="T64" fmla="*/ 2011 w 4215"/>
                <a:gd name="T65" fmla="*/ 2604 h 2875"/>
                <a:gd name="T66" fmla="*/ 2022 w 4215"/>
                <a:gd name="T67" fmla="*/ 2600 h 2875"/>
                <a:gd name="T68" fmla="*/ 2032 w 4215"/>
                <a:gd name="T69" fmla="*/ 2595 h 2875"/>
                <a:gd name="T70" fmla="*/ 2041 w 4215"/>
                <a:gd name="T71" fmla="*/ 2589 h 2875"/>
                <a:gd name="T72" fmla="*/ 2051 w 4215"/>
                <a:gd name="T73" fmla="*/ 2582 h 2875"/>
                <a:gd name="T74" fmla="*/ 2059 w 4215"/>
                <a:gd name="T75" fmla="*/ 2573 h 2875"/>
                <a:gd name="T76" fmla="*/ 2067 w 4215"/>
                <a:gd name="T77" fmla="*/ 2565 h 2875"/>
                <a:gd name="T78" fmla="*/ 2074 w 4215"/>
                <a:gd name="T79" fmla="*/ 2555 h 2875"/>
                <a:gd name="T80" fmla="*/ 2080 w 4215"/>
                <a:gd name="T81" fmla="*/ 2545 h 2875"/>
                <a:gd name="T82" fmla="*/ 2147 w 4215"/>
                <a:gd name="T83" fmla="*/ 2412 h 2875"/>
                <a:gd name="T84" fmla="*/ 3033 w 4215"/>
                <a:gd name="T85" fmla="*/ 2875 h 2875"/>
                <a:gd name="T86" fmla="*/ 3327 w 4215"/>
                <a:gd name="T87" fmla="*/ 2623 h 2875"/>
                <a:gd name="T88" fmla="*/ 3564 w 4215"/>
                <a:gd name="T89" fmla="*/ 2748 h 2875"/>
                <a:gd name="T90" fmla="*/ 3631 w 4215"/>
                <a:gd name="T91" fmla="*/ 2616 h 2875"/>
                <a:gd name="T92" fmla="*/ 3717 w 4215"/>
                <a:gd name="T93" fmla="*/ 2661 h 2875"/>
                <a:gd name="T94" fmla="*/ 3909 w 4215"/>
                <a:gd name="T95" fmla="*/ 2283 h 2875"/>
                <a:gd name="T96" fmla="*/ 3824 w 4215"/>
                <a:gd name="T97" fmla="*/ 2238 h 2875"/>
                <a:gd name="T98" fmla="*/ 3860 w 4215"/>
                <a:gd name="T99" fmla="*/ 2166 h 2875"/>
                <a:gd name="T100" fmla="*/ 3860 w 4215"/>
                <a:gd name="T101" fmla="*/ 2166 h 2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15" h="2875">
                  <a:moveTo>
                    <a:pt x="3860" y="2166"/>
                  </a:moveTo>
                  <a:lnTo>
                    <a:pt x="4215" y="1862"/>
                  </a:lnTo>
                  <a:lnTo>
                    <a:pt x="656" y="0"/>
                  </a:lnTo>
                  <a:lnTo>
                    <a:pt x="0" y="1287"/>
                  </a:lnTo>
                  <a:lnTo>
                    <a:pt x="1043" y="1833"/>
                  </a:lnTo>
                  <a:lnTo>
                    <a:pt x="975" y="1966"/>
                  </a:lnTo>
                  <a:lnTo>
                    <a:pt x="975" y="1966"/>
                  </a:lnTo>
                  <a:lnTo>
                    <a:pt x="970" y="1977"/>
                  </a:lnTo>
                  <a:lnTo>
                    <a:pt x="966" y="1988"/>
                  </a:lnTo>
                  <a:lnTo>
                    <a:pt x="964" y="2001"/>
                  </a:lnTo>
                  <a:lnTo>
                    <a:pt x="962" y="2012"/>
                  </a:lnTo>
                  <a:lnTo>
                    <a:pt x="962" y="2024"/>
                  </a:lnTo>
                  <a:lnTo>
                    <a:pt x="963" y="2035"/>
                  </a:lnTo>
                  <a:lnTo>
                    <a:pt x="965" y="2046"/>
                  </a:lnTo>
                  <a:lnTo>
                    <a:pt x="968" y="2058"/>
                  </a:lnTo>
                  <a:lnTo>
                    <a:pt x="972" y="2069"/>
                  </a:lnTo>
                  <a:lnTo>
                    <a:pt x="976" y="2079"/>
                  </a:lnTo>
                  <a:lnTo>
                    <a:pt x="982" y="2089"/>
                  </a:lnTo>
                  <a:lnTo>
                    <a:pt x="989" y="2098"/>
                  </a:lnTo>
                  <a:lnTo>
                    <a:pt x="997" y="2106"/>
                  </a:lnTo>
                  <a:lnTo>
                    <a:pt x="1006" y="2114"/>
                  </a:lnTo>
                  <a:lnTo>
                    <a:pt x="1015" y="2122"/>
                  </a:lnTo>
                  <a:lnTo>
                    <a:pt x="1026" y="2128"/>
                  </a:lnTo>
                  <a:lnTo>
                    <a:pt x="1920" y="2597"/>
                  </a:lnTo>
                  <a:lnTo>
                    <a:pt x="1920" y="2597"/>
                  </a:lnTo>
                  <a:lnTo>
                    <a:pt x="1932" y="2602"/>
                  </a:lnTo>
                  <a:lnTo>
                    <a:pt x="1943" y="2605"/>
                  </a:lnTo>
                  <a:lnTo>
                    <a:pt x="1955" y="2608"/>
                  </a:lnTo>
                  <a:lnTo>
                    <a:pt x="1966" y="2609"/>
                  </a:lnTo>
                  <a:lnTo>
                    <a:pt x="1977" y="2610"/>
                  </a:lnTo>
                  <a:lnTo>
                    <a:pt x="1989" y="2609"/>
                  </a:lnTo>
                  <a:lnTo>
                    <a:pt x="2000" y="2607"/>
                  </a:lnTo>
                  <a:lnTo>
                    <a:pt x="2011" y="2604"/>
                  </a:lnTo>
                  <a:lnTo>
                    <a:pt x="2022" y="2600"/>
                  </a:lnTo>
                  <a:lnTo>
                    <a:pt x="2032" y="2595"/>
                  </a:lnTo>
                  <a:lnTo>
                    <a:pt x="2041" y="2589"/>
                  </a:lnTo>
                  <a:lnTo>
                    <a:pt x="2051" y="2582"/>
                  </a:lnTo>
                  <a:lnTo>
                    <a:pt x="2059" y="2573"/>
                  </a:lnTo>
                  <a:lnTo>
                    <a:pt x="2067" y="2565"/>
                  </a:lnTo>
                  <a:lnTo>
                    <a:pt x="2074" y="2555"/>
                  </a:lnTo>
                  <a:lnTo>
                    <a:pt x="2080" y="2545"/>
                  </a:lnTo>
                  <a:lnTo>
                    <a:pt x="2147" y="2412"/>
                  </a:lnTo>
                  <a:lnTo>
                    <a:pt x="3033" y="2875"/>
                  </a:lnTo>
                  <a:lnTo>
                    <a:pt x="3327" y="2623"/>
                  </a:lnTo>
                  <a:lnTo>
                    <a:pt x="3564" y="2748"/>
                  </a:lnTo>
                  <a:lnTo>
                    <a:pt x="3631" y="2616"/>
                  </a:lnTo>
                  <a:lnTo>
                    <a:pt x="3717" y="2661"/>
                  </a:lnTo>
                  <a:lnTo>
                    <a:pt x="3909" y="2283"/>
                  </a:lnTo>
                  <a:lnTo>
                    <a:pt x="3824" y="2238"/>
                  </a:lnTo>
                  <a:lnTo>
                    <a:pt x="3860" y="2166"/>
                  </a:lnTo>
                  <a:lnTo>
                    <a:pt x="3860" y="216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4" name="Freeform 41"/>
            <p:cNvSpPr>
              <a:spLocks/>
            </p:cNvSpPr>
            <p:nvPr/>
          </p:nvSpPr>
          <p:spPr bwMode="auto">
            <a:xfrm>
              <a:off x="-525463" y="5065713"/>
              <a:ext cx="30162" cy="80962"/>
            </a:xfrm>
            <a:custGeom>
              <a:avLst/>
              <a:gdLst>
                <a:gd name="T0" fmla="*/ 814 w 852"/>
                <a:gd name="T1" fmla="*/ 2208 h 2462"/>
                <a:gd name="T2" fmla="*/ 828 w 852"/>
                <a:gd name="T3" fmla="*/ 2176 h 2462"/>
                <a:gd name="T4" fmla="*/ 839 w 852"/>
                <a:gd name="T5" fmla="*/ 2137 h 2462"/>
                <a:gd name="T6" fmla="*/ 848 w 852"/>
                <a:gd name="T7" fmla="*/ 2087 h 2462"/>
                <a:gd name="T8" fmla="*/ 852 w 852"/>
                <a:gd name="T9" fmla="*/ 2027 h 2462"/>
                <a:gd name="T10" fmla="*/ 851 w 852"/>
                <a:gd name="T11" fmla="*/ 1994 h 2462"/>
                <a:gd name="T12" fmla="*/ 847 w 852"/>
                <a:gd name="T13" fmla="*/ 1960 h 2462"/>
                <a:gd name="T14" fmla="*/ 840 w 852"/>
                <a:gd name="T15" fmla="*/ 1923 h 2462"/>
                <a:gd name="T16" fmla="*/ 829 w 852"/>
                <a:gd name="T17" fmla="*/ 1886 h 2462"/>
                <a:gd name="T18" fmla="*/ 814 w 852"/>
                <a:gd name="T19" fmla="*/ 1848 h 2462"/>
                <a:gd name="T20" fmla="*/ 795 w 852"/>
                <a:gd name="T21" fmla="*/ 1808 h 2462"/>
                <a:gd name="T22" fmla="*/ 786 w 852"/>
                <a:gd name="T23" fmla="*/ 1794 h 2462"/>
                <a:gd name="T24" fmla="*/ 768 w 852"/>
                <a:gd name="T25" fmla="*/ 1768 h 2462"/>
                <a:gd name="T26" fmla="*/ 748 w 852"/>
                <a:gd name="T27" fmla="*/ 1742 h 2462"/>
                <a:gd name="T28" fmla="*/ 726 w 852"/>
                <a:gd name="T29" fmla="*/ 1718 h 2462"/>
                <a:gd name="T30" fmla="*/ 702 w 852"/>
                <a:gd name="T31" fmla="*/ 1696 h 2462"/>
                <a:gd name="T32" fmla="*/ 676 w 852"/>
                <a:gd name="T33" fmla="*/ 1676 h 2462"/>
                <a:gd name="T34" fmla="*/ 635 w 852"/>
                <a:gd name="T35" fmla="*/ 1650 h 2462"/>
                <a:gd name="T36" fmla="*/ 535 w 852"/>
                <a:gd name="T37" fmla="*/ 0 h 2462"/>
                <a:gd name="T38" fmla="*/ 212 w 852"/>
                <a:gd name="T39" fmla="*/ 1656 h 2462"/>
                <a:gd name="T40" fmla="*/ 187 w 852"/>
                <a:gd name="T41" fmla="*/ 1671 h 2462"/>
                <a:gd name="T42" fmla="*/ 142 w 852"/>
                <a:gd name="T43" fmla="*/ 1706 h 2462"/>
                <a:gd name="T44" fmla="*/ 102 w 852"/>
                <a:gd name="T45" fmla="*/ 1748 h 2462"/>
                <a:gd name="T46" fmla="*/ 68 w 852"/>
                <a:gd name="T47" fmla="*/ 1795 h 2462"/>
                <a:gd name="T48" fmla="*/ 40 w 852"/>
                <a:gd name="T49" fmla="*/ 1845 h 2462"/>
                <a:gd name="T50" fmla="*/ 19 w 852"/>
                <a:gd name="T51" fmla="*/ 1900 h 2462"/>
                <a:gd name="T52" fmla="*/ 5 w 852"/>
                <a:gd name="T53" fmla="*/ 1958 h 2462"/>
                <a:gd name="T54" fmla="*/ 0 w 852"/>
                <a:gd name="T55" fmla="*/ 2018 h 2462"/>
                <a:gd name="T56" fmla="*/ 0 w 852"/>
                <a:gd name="T57" fmla="*/ 2049 h 2462"/>
                <a:gd name="T58" fmla="*/ 5 w 852"/>
                <a:gd name="T59" fmla="*/ 2093 h 2462"/>
                <a:gd name="T60" fmla="*/ 13 w 852"/>
                <a:gd name="T61" fmla="*/ 2136 h 2462"/>
                <a:gd name="T62" fmla="*/ 26 w 852"/>
                <a:gd name="T63" fmla="*/ 2177 h 2462"/>
                <a:gd name="T64" fmla="*/ 42 w 852"/>
                <a:gd name="T65" fmla="*/ 2216 h 2462"/>
                <a:gd name="T66" fmla="*/ 62 w 852"/>
                <a:gd name="T67" fmla="*/ 2253 h 2462"/>
                <a:gd name="T68" fmla="*/ 85 w 852"/>
                <a:gd name="T69" fmla="*/ 2288 h 2462"/>
                <a:gd name="T70" fmla="*/ 111 w 852"/>
                <a:gd name="T71" fmla="*/ 2320 h 2462"/>
                <a:gd name="T72" fmla="*/ 140 w 852"/>
                <a:gd name="T73" fmla="*/ 2350 h 2462"/>
                <a:gd name="T74" fmla="*/ 172 w 852"/>
                <a:gd name="T75" fmla="*/ 2376 h 2462"/>
                <a:gd name="T76" fmla="*/ 207 w 852"/>
                <a:gd name="T77" fmla="*/ 2398 h 2462"/>
                <a:gd name="T78" fmla="*/ 243 w 852"/>
                <a:gd name="T79" fmla="*/ 2419 h 2462"/>
                <a:gd name="T80" fmla="*/ 281 w 852"/>
                <a:gd name="T81" fmla="*/ 2435 h 2462"/>
                <a:gd name="T82" fmla="*/ 321 w 852"/>
                <a:gd name="T83" fmla="*/ 2447 h 2462"/>
                <a:gd name="T84" fmla="*/ 362 w 852"/>
                <a:gd name="T85" fmla="*/ 2456 h 2462"/>
                <a:gd name="T86" fmla="*/ 405 w 852"/>
                <a:gd name="T87" fmla="*/ 2461 h 2462"/>
                <a:gd name="T88" fmla="*/ 449 w 852"/>
                <a:gd name="T89" fmla="*/ 2461 h 2462"/>
                <a:gd name="T90" fmla="*/ 480 w 852"/>
                <a:gd name="T91" fmla="*/ 2459 h 2462"/>
                <a:gd name="T92" fmla="*/ 538 w 852"/>
                <a:gd name="T93" fmla="*/ 2446 h 2462"/>
                <a:gd name="T94" fmla="*/ 593 w 852"/>
                <a:gd name="T95" fmla="*/ 2427 h 2462"/>
                <a:gd name="T96" fmla="*/ 645 w 852"/>
                <a:gd name="T97" fmla="*/ 2401 h 2462"/>
                <a:gd name="T98" fmla="*/ 692 w 852"/>
                <a:gd name="T99" fmla="*/ 2367 h 2462"/>
                <a:gd name="T100" fmla="*/ 734 w 852"/>
                <a:gd name="T101" fmla="*/ 2328 h 2462"/>
                <a:gd name="T102" fmla="*/ 771 w 852"/>
                <a:gd name="T103" fmla="*/ 2283 h 2462"/>
                <a:gd name="T104" fmla="*/ 801 w 852"/>
                <a:gd name="T105" fmla="*/ 2235 h 2462"/>
                <a:gd name="T106" fmla="*/ 814 w 852"/>
                <a:gd name="T107" fmla="*/ 2208 h 2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2" h="2462">
                  <a:moveTo>
                    <a:pt x="814" y="2208"/>
                  </a:moveTo>
                  <a:lnTo>
                    <a:pt x="814" y="2208"/>
                  </a:lnTo>
                  <a:lnTo>
                    <a:pt x="818" y="2200"/>
                  </a:lnTo>
                  <a:lnTo>
                    <a:pt x="828" y="2176"/>
                  </a:lnTo>
                  <a:lnTo>
                    <a:pt x="833" y="2158"/>
                  </a:lnTo>
                  <a:lnTo>
                    <a:pt x="839" y="2137"/>
                  </a:lnTo>
                  <a:lnTo>
                    <a:pt x="844" y="2114"/>
                  </a:lnTo>
                  <a:lnTo>
                    <a:pt x="848" y="2087"/>
                  </a:lnTo>
                  <a:lnTo>
                    <a:pt x="851" y="2059"/>
                  </a:lnTo>
                  <a:lnTo>
                    <a:pt x="852" y="2027"/>
                  </a:lnTo>
                  <a:lnTo>
                    <a:pt x="852" y="2011"/>
                  </a:lnTo>
                  <a:lnTo>
                    <a:pt x="851" y="1994"/>
                  </a:lnTo>
                  <a:lnTo>
                    <a:pt x="849" y="1977"/>
                  </a:lnTo>
                  <a:lnTo>
                    <a:pt x="847" y="1960"/>
                  </a:lnTo>
                  <a:lnTo>
                    <a:pt x="844" y="1942"/>
                  </a:lnTo>
                  <a:lnTo>
                    <a:pt x="840" y="1923"/>
                  </a:lnTo>
                  <a:lnTo>
                    <a:pt x="835" y="1905"/>
                  </a:lnTo>
                  <a:lnTo>
                    <a:pt x="829" y="1886"/>
                  </a:lnTo>
                  <a:lnTo>
                    <a:pt x="822" y="1867"/>
                  </a:lnTo>
                  <a:lnTo>
                    <a:pt x="814" y="1848"/>
                  </a:lnTo>
                  <a:lnTo>
                    <a:pt x="805" y="1828"/>
                  </a:lnTo>
                  <a:lnTo>
                    <a:pt x="795" y="1808"/>
                  </a:lnTo>
                  <a:lnTo>
                    <a:pt x="795" y="1808"/>
                  </a:lnTo>
                  <a:lnTo>
                    <a:pt x="786" y="1794"/>
                  </a:lnTo>
                  <a:lnTo>
                    <a:pt x="778" y="1781"/>
                  </a:lnTo>
                  <a:lnTo>
                    <a:pt x="768" y="1768"/>
                  </a:lnTo>
                  <a:lnTo>
                    <a:pt x="759" y="1754"/>
                  </a:lnTo>
                  <a:lnTo>
                    <a:pt x="748" y="1742"/>
                  </a:lnTo>
                  <a:lnTo>
                    <a:pt x="737" y="1730"/>
                  </a:lnTo>
                  <a:lnTo>
                    <a:pt x="726" y="1718"/>
                  </a:lnTo>
                  <a:lnTo>
                    <a:pt x="714" y="1706"/>
                  </a:lnTo>
                  <a:lnTo>
                    <a:pt x="702" y="1696"/>
                  </a:lnTo>
                  <a:lnTo>
                    <a:pt x="689" y="1686"/>
                  </a:lnTo>
                  <a:lnTo>
                    <a:pt x="676" y="1676"/>
                  </a:lnTo>
                  <a:lnTo>
                    <a:pt x="662" y="1667"/>
                  </a:lnTo>
                  <a:lnTo>
                    <a:pt x="635" y="1650"/>
                  </a:lnTo>
                  <a:lnTo>
                    <a:pt x="606" y="1635"/>
                  </a:lnTo>
                  <a:lnTo>
                    <a:pt x="535" y="0"/>
                  </a:lnTo>
                  <a:lnTo>
                    <a:pt x="140" y="19"/>
                  </a:lnTo>
                  <a:lnTo>
                    <a:pt x="212" y="1656"/>
                  </a:lnTo>
                  <a:lnTo>
                    <a:pt x="212" y="1656"/>
                  </a:lnTo>
                  <a:lnTo>
                    <a:pt x="187" y="1671"/>
                  </a:lnTo>
                  <a:lnTo>
                    <a:pt x="163" y="1688"/>
                  </a:lnTo>
                  <a:lnTo>
                    <a:pt x="142" y="1706"/>
                  </a:lnTo>
                  <a:lnTo>
                    <a:pt x="121" y="1727"/>
                  </a:lnTo>
                  <a:lnTo>
                    <a:pt x="102" y="1748"/>
                  </a:lnTo>
                  <a:lnTo>
                    <a:pt x="84" y="1771"/>
                  </a:lnTo>
                  <a:lnTo>
                    <a:pt x="68" y="1795"/>
                  </a:lnTo>
                  <a:lnTo>
                    <a:pt x="53" y="1819"/>
                  </a:lnTo>
                  <a:lnTo>
                    <a:pt x="40" y="1845"/>
                  </a:lnTo>
                  <a:lnTo>
                    <a:pt x="28" y="1872"/>
                  </a:lnTo>
                  <a:lnTo>
                    <a:pt x="19" y="1900"/>
                  </a:lnTo>
                  <a:lnTo>
                    <a:pt x="11" y="1928"/>
                  </a:lnTo>
                  <a:lnTo>
                    <a:pt x="5" y="1958"/>
                  </a:lnTo>
                  <a:lnTo>
                    <a:pt x="2" y="1987"/>
                  </a:lnTo>
                  <a:lnTo>
                    <a:pt x="0" y="2018"/>
                  </a:lnTo>
                  <a:lnTo>
                    <a:pt x="0" y="2049"/>
                  </a:lnTo>
                  <a:lnTo>
                    <a:pt x="0" y="2049"/>
                  </a:lnTo>
                  <a:lnTo>
                    <a:pt x="2" y="2072"/>
                  </a:lnTo>
                  <a:lnTo>
                    <a:pt x="5" y="2093"/>
                  </a:lnTo>
                  <a:lnTo>
                    <a:pt x="8" y="2115"/>
                  </a:lnTo>
                  <a:lnTo>
                    <a:pt x="13" y="2136"/>
                  </a:lnTo>
                  <a:lnTo>
                    <a:pt x="19" y="2156"/>
                  </a:lnTo>
                  <a:lnTo>
                    <a:pt x="26" y="2177"/>
                  </a:lnTo>
                  <a:lnTo>
                    <a:pt x="34" y="2197"/>
                  </a:lnTo>
                  <a:lnTo>
                    <a:pt x="42" y="2216"/>
                  </a:lnTo>
                  <a:lnTo>
                    <a:pt x="52" y="2235"/>
                  </a:lnTo>
                  <a:lnTo>
                    <a:pt x="62" y="2253"/>
                  </a:lnTo>
                  <a:lnTo>
                    <a:pt x="73" y="2270"/>
                  </a:lnTo>
                  <a:lnTo>
                    <a:pt x="85" y="2288"/>
                  </a:lnTo>
                  <a:lnTo>
                    <a:pt x="98" y="2304"/>
                  </a:lnTo>
                  <a:lnTo>
                    <a:pt x="111" y="2320"/>
                  </a:lnTo>
                  <a:lnTo>
                    <a:pt x="125" y="2334"/>
                  </a:lnTo>
                  <a:lnTo>
                    <a:pt x="140" y="2350"/>
                  </a:lnTo>
                  <a:lnTo>
                    <a:pt x="156" y="2363"/>
                  </a:lnTo>
                  <a:lnTo>
                    <a:pt x="172" y="2376"/>
                  </a:lnTo>
                  <a:lnTo>
                    <a:pt x="189" y="2387"/>
                  </a:lnTo>
                  <a:lnTo>
                    <a:pt x="207" y="2398"/>
                  </a:lnTo>
                  <a:lnTo>
                    <a:pt x="225" y="2410"/>
                  </a:lnTo>
                  <a:lnTo>
                    <a:pt x="243" y="2419"/>
                  </a:lnTo>
                  <a:lnTo>
                    <a:pt x="262" y="2427"/>
                  </a:lnTo>
                  <a:lnTo>
                    <a:pt x="281" y="2435"/>
                  </a:lnTo>
                  <a:lnTo>
                    <a:pt x="301" y="2442"/>
                  </a:lnTo>
                  <a:lnTo>
                    <a:pt x="321" y="2447"/>
                  </a:lnTo>
                  <a:lnTo>
                    <a:pt x="341" y="2452"/>
                  </a:lnTo>
                  <a:lnTo>
                    <a:pt x="362" y="2456"/>
                  </a:lnTo>
                  <a:lnTo>
                    <a:pt x="383" y="2460"/>
                  </a:lnTo>
                  <a:lnTo>
                    <a:pt x="405" y="2461"/>
                  </a:lnTo>
                  <a:lnTo>
                    <a:pt x="426" y="2462"/>
                  </a:lnTo>
                  <a:lnTo>
                    <a:pt x="449" y="2461"/>
                  </a:lnTo>
                  <a:lnTo>
                    <a:pt x="449" y="2461"/>
                  </a:lnTo>
                  <a:lnTo>
                    <a:pt x="480" y="2459"/>
                  </a:lnTo>
                  <a:lnTo>
                    <a:pt x="509" y="2453"/>
                  </a:lnTo>
                  <a:lnTo>
                    <a:pt x="538" y="2446"/>
                  </a:lnTo>
                  <a:lnTo>
                    <a:pt x="566" y="2438"/>
                  </a:lnTo>
                  <a:lnTo>
                    <a:pt x="593" y="2427"/>
                  </a:lnTo>
                  <a:lnTo>
                    <a:pt x="620" y="2415"/>
                  </a:lnTo>
                  <a:lnTo>
                    <a:pt x="645" y="2401"/>
                  </a:lnTo>
                  <a:lnTo>
                    <a:pt x="669" y="2384"/>
                  </a:lnTo>
                  <a:lnTo>
                    <a:pt x="692" y="2367"/>
                  </a:lnTo>
                  <a:lnTo>
                    <a:pt x="714" y="2349"/>
                  </a:lnTo>
                  <a:lnTo>
                    <a:pt x="734" y="2328"/>
                  </a:lnTo>
                  <a:lnTo>
                    <a:pt x="753" y="2307"/>
                  </a:lnTo>
                  <a:lnTo>
                    <a:pt x="771" y="2283"/>
                  </a:lnTo>
                  <a:lnTo>
                    <a:pt x="787" y="2260"/>
                  </a:lnTo>
                  <a:lnTo>
                    <a:pt x="801" y="2235"/>
                  </a:lnTo>
                  <a:lnTo>
                    <a:pt x="814" y="2208"/>
                  </a:lnTo>
                  <a:lnTo>
                    <a:pt x="814" y="22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5" name="Freeform 42"/>
            <p:cNvSpPr>
              <a:spLocks/>
            </p:cNvSpPr>
            <p:nvPr/>
          </p:nvSpPr>
          <p:spPr bwMode="auto">
            <a:xfrm>
              <a:off x="-606425" y="5062538"/>
              <a:ext cx="188912" cy="28575"/>
            </a:xfrm>
            <a:custGeom>
              <a:avLst/>
              <a:gdLst>
                <a:gd name="T0" fmla="*/ 0 w 5600"/>
                <a:gd name="T1" fmla="*/ 0 h 872"/>
                <a:gd name="T2" fmla="*/ 57 w 5600"/>
                <a:gd name="T3" fmla="*/ 48 h 872"/>
                <a:gd name="T4" fmla="*/ 179 w 5600"/>
                <a:gd name="T5" fmla="*/ 143 h 872"/>
                <a:gd name="T6" fmla="*/ 310 w 5600"/>
                <a:gd name="T7" fmla="*/ 232 h 872"/>
                <a:gd name="T8" fmla="*/ 450 w 5600"/>
                <a:gd name="T9" fmla="*/ 317 h 872"/>
                <a:gd name="T10" fmla="*/ 599 w 5600"/>
                <a:gd name="T11" fmla="*/ 397 h 872"/>
                <a:gd name="T12" fmla="*/ 756 w 5600"/>
                <a:gd name="T13" fmla="*/ 471 h 872"/>
                <a:gd name="T14" fmla="*/ 922 w 5600"/>
                <a:gd name="T15" fmla="*/ 540 h 872"/>
                <a:gd name="T16" fmla="*/ 1093 w 5600"/>
                <a:gd name="T17" fmla="*/ 604 h 872"/>
                <a:gd name="T18" fmla="*/ 1273 w 5600"/>
                <a:gd name="T19" fmla="*/ 661 h 872"/>
                <a:gd name="T20" fmla="*/ 1460 w 5600"/>
                <a:gd name="T21" fmla="*/ 711 h 872"/>
                <a:gd name="T22" fmla="*/ 1652 w 5600"/>
                <a:gd name="T23" fmla="*/ 755 h 872"/>
                <a:gd name="T24" fmla="*/ 1850 w 5600"/>
                <a:gd name="T25" fmla="*/ 793 h 872"/>
                <a:gd name="T26" fmla="*/ 2053 w 5600"/>
                <a:gd name="T27" fmla="*/ 823 h 872"/>
                <a:gd name="T28" fmla="*/ 2261 w 5600"/>
                <a:gd name="T29" fmla="*/ 847 h 872"/>
                <a:gd name="T30" fmla="*/ 2474 w 5600"/>
                <a:gd name="T31" fmla="*/ 863 h 872"/>
                <a:gd name="T32" fmla="*/ 2691 w 5600"/>
                <a:gd name="T33" fmla="*/ 871 h 872"/>
                <a:gd name="T34" fmla="*/ 2800 w 5600"/>
                <a:gd name="T35" fmla="*/ 872 h 872"/>
                <a:gd name="T36" fmla="*/ 3019 w 5600"/>
                <a:gd name="T37" fmla="*/ 868 h 872"/>
                <a:gd name="T38" fmla="*/ 3233 w 5600"/>
                <a:gd name="T39" fmla="*/ 856 h 872"/>
                <a:gd name="T40" fmla="*/ 3444 w 5600"/>
                <a:gd name="T41" fmla="*/ 837 h 872"/>
                <a:gd name="T42" fmla="*/ 3650 w 5600"/>
                <a:gd name="T43" fmla="*/ 809 h 872"/>
                <a:gd name="T44" fmla="*/ 3850 w 5600"/>
                <a:gd name="T45" fmla="*/ 776 h 872"/>
                <a:gd name="T46" fmla="*/ 4045 w 5600"/>
                <a:gd name="T47" fmla="*/ 734 h 872"/>
                <a:gd name="T48" fmla="*/ 4235 w 5600"/>
                <a:gd name="T49" fmla="*/ 687 h 872"/>
                <a:gd name="T50" fmla="*/ 4418 w 5600"/>
                <a:gd name="T51" fmla="*/ 633 h 872"/>
                <a:gd name="T52" fmla="*/ 4594 w 5600"/>
                <a:gd name="T53" fmla="*/ 572 h 872"/>
                <a:gd name="T54" fmla="*/ 4763 w 5600"/>
                <a:gd name="T55" fmla="*/ 506 h 872"/>
                <a:gd name="T56" fmla="*/ 4924 w 5600"/>
                <a:gd name="T57" fmla="*/ 435 h 872"/>
                <a:gd name="T58" fmla="*/ 5077 w 5600"/>
                <a:gd name="T59" fmla="*/ 357 h 872"/>
                <a:gd name="T60" fmla="*/ 5222 w 5600"/>
                <a:gd name="T61" fmla="*/ 275 h 872"/>
                <a:gd name="T62" fmla="*/ 5357 w 5600"/>
                <a:gd name="T63" fmla="*/ 187 h 872"/>
                <a:gd name="T64" fmla="*/ 5484 w 5600"/>
                <a:gd name="T65" fmla="*/ 96 h 872"/>
                <a:gd name="T66" fmla="*/ 5572 w 5600"/>
                <a:gd name="T67" fmla="*/ 24 h 872"/>
                <a:gd name="T68" fmla="*/ 0 w 5600"/>
                <a:gd name="T69" fmla="*/ 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00" h="872">
                  <a:moveTo>
                    <a:pt x="0" y="0"/>
                  </a:moveTo>
                  <a:lnTo>
                    <a:pt x="0" y="0"/>
                  </a:lnTo>
                  <a:lnTo>
                    <a:pt x="29" y="24"/>
                  </a:lnTo>
                  <a:lnTo>
                    <a:pt x="57" y="48"/>
                  </a:lnTo>
                  <a:lnTo>
                    <a:pt x="117" y="96"/>
                  </a:lnTo>
                  <a:lnTo>
                    <a:pt x="179" y="143"/>
                  </a:lnTo>
                  <a:lnTo>
                    <a:pt x="243" y="187"/>
                  </a:lnTo>
                  <a:lnTo>
                    <a:pt x="310" y="232"/>
                  </a:lnTo>
                  <a:lnTo>
                    <a:pt x="379" y="275"/>
                  </a:lnTo>
                  <a:lnTo>
                    <a:pt x="450" y="317"/>
                  </a:lnTo>
                  <a:lnTo>
                    <a:pt x="523" y="357"/>
                  </a:lnTo>
                  <a:lnTo>
                    <a:pt x="599" y="397"/>
                  </a:lnTo>
                  <a:lnTo>
                    <a:pt x="677" y="435"/>
                  </a:lnTo>
                  <a:lnTo>
                    <a:pt x="756" y="471"/>
                  </a:lnTo>
                  <a:lnTo>
                    <a:pt x="837" y="506"/>
                  </a:lnTo>
                  <a:lnTo>
                    <a:pt x="922" y="540"/>
                  </a:lnTo>
                  <a:lnTo>
                    <a:pt x="1007" y="572"/>
                  </a:lnTo>
                  <a:lnTo>
                    <a:pt x="1093" y="604"/>
                  </a:lnTo>
                  <a:lnTo>
                    <a:pt x="1183" y="633"/>
                  </a:lnTo>
                  <a:lnTo>
                    <a:pt x="1273" y="661"/>
                  </a:lnTo>
                  <a:lnTo>
                    <a:pt x="1366" y="687"/>
                  </a:lnTo>
                  <a:lnTo>
                    <a:pt x="1460" y="711"/>
                  </a:lnTo>
                  <a:lnTo>
                    <a:pt x="1555" y="734"/>
                  </a:lnTo>
                  <a:lnTo>
                    <a:pt x="1652" y="755"/>
                  </a:lnTo>
                  <a:lnTo>
                    <a:pt x="1750" y="776"/>
                  </a:lnTo>
                  <a:lnTo>
                    <a:pt x="1850" y="793"/>
                  </a:lnTo>
                  <a:lnTo>
                    <a:pt x="1951" y="809"/>
                  </a:lnTo>
                  <a:lnTo>
                    <a:pt x="2053" y="823"/>
                  </a:lnTo>
                  <a:lnTo>
                    <a:pt x="2157" y="837"/>
                  </a:lnTo>
                  <a:lnTo>
                    <a:pt x="2261" y="847"/>
                  </a:lnTo>
                  <a:lnTo>
                    <a:pt x="2368" y="856"/>
                  </a:lnTo>
                  <a:lnTo>
                    <a:pt x="2474" y="863"/>
                  </a:lnTo>
                  <a:lnTo>
                    <a:pt x="2582" y="868"/>
                  </a:lnTo>
                  <a:lnTo>
                    <a:pt x="2691" y="871"/>
                  </a:lnTo>
                  <a:lnTo>
                    <a:pt x="2800" y="872"/>
                  </a:lnTo>
                  <a:lnTo>
                    <a:pt x="2800" y="872"/>
                  </a:lnTo>
                  <a:lnTo>
                    <a:pt x="2910" y="871"/>
                  </a:lnTo>
                  <a:lnTo>
                    <a:pt x="3019" y="868"/>
                  </a:lnTo>
                  <a:lnTo>
                    <a:pt x="3127" y="863"/>
                  </a:lnTo>
                  <a:lnTo>
                    <a:pt x="3233" y="856"/>
                  </a:lnTo>
                  <a:lnTo>
                    <a:pt x="3339" y="847"/>
                  </a:lnTo>
                  <a:lnTo>
                    <a:pt x="3444" y="837"/>
                  </a:lnTo>
                  <a:lnTo>
                    <a:pt x="3547" y="823"/>
                  </a:lnTo>
                  <a:lnTo>
                    <a:pt x="3650" y="809"/>
                  </a:lnTo>
                  <a:lnTo>
                    <a:pt x="3751" y="793"/>
                  </a:lnTo>
                  <a:lnTo>
                    <a:pt x="3850" y="776"/>
                  </a:lnTo>
                  <a:lnTo>
                    <a:pt x="3949" y="755"/>
                  </a:lnTo>
                  <a:lnTo>
                    <a:pt x="4045" y="734"/>
                  </a:lnTo>
                  <a:lnTo>
                    <a:pt x="4141" y="711"/>
                  </a:lnTo>
                  <a:lnTo>
                    <a:pt x="4235" y="687"/>
                  </a:lnTo>
                  <a:lnTo>
                    <a:pt x="4327" y="661"/>
                  </a:lnTo>
                  <a:lnTo>
                    <a:pt x="4418" y="633"/>
                  </a:lnTo>
                  <a:lnTo>
                    <a:pt x="4507" y="604"/>
                  </a:lnTo>
                  <a:lnTo>
                    <a:pt x="4594" y="572"/>
                  </a:lnTo>
                  <a:lnTo>
                    <a:pt x="4680" y="540"/>
                  </a:lnTo>
                  <a:lnTo>
                    <a:pt x="4763" y="506"/>
                  </a:lnTo>
                  <a:lnTo>
                    <a:pt x="4844" y="471"/>
                  </a:lnTo>
                  <a:lnTo>
                    <a:pt x="4924" y="435"/>
                  </a:lnTo>
                  <a:lnTo>
                    <a:pt x="5002" y="397"/>
                  </a:lnTo>
                  <a:lnTo>
                    <a:pt x="5077" y="357"/>
                  </a:lnTo>
                  <a:lnTo>
                    <a:pt x="5151" y="317"/>
                  </a:lnTo>
                  <a:lnTo>
                    <a:pt x="5222" y="275"/>
                  </a:lnTo>
                  <a:lnTo>
                    <a:pt x="5291" y="232"/>
                  </a:lnTo>
                  <a:lnTo>
                    <a:pt x="5357" y="187"/>
                  </a:lnTo>
                  <a:lnTo>
                    <a:pt x="5422" y="143"/>
                  </a:lnTo>
                  <a:lnTo>
                    <a:pt x="5484" y="96"/>
                  </a:lnTo>
                  <a:lnTo>
                    <a:pt x="5543" y="48"/>
                  </a:lnTo>
                  <a:lnTo>
                    <a:pt x="5572" y="24"/>
                  </a:lnTo>
                  <a:lnTo>
                    <a:pt x="5600"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50" name="Group 849"/>
          <p:cNvGrpSpPr/>
          <p:nvPr/>
        </p:nvGrpSpPr>
        <p:grpSpPr>
          <a:xfrm rot="8309841" flipV="1">
            <a:off x="5673904" y="5600944"/>
            <a:ext cx="104764" cy="170459"/>
            <a:chOff x="2658904" y="3122439"/>
            <a:chExt cx="81472" cy="132564"/>
          </a:xfrm>
          <a:solidFill>
            <a:schemeClr val="bg1"/>
          </a:solidFill>
        </p:grpSpPr>
        <p:sp>
          <p:nvSpPr>
            <p:cNvPr id="854"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79"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0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993" name="Group 992"/>
          <p:cNvGrpSpPr/>
          <p:nvPr/>
        </p:nvGrpSpPr>
        <p:grpSpPr>
          <a:xfrm>
            <a:off x="3348167" y="5876167"/>
            <a:ext cx="186513" cy="344605"/>
            <a:chOff x="5200664" y="5431932"/>
            <a:chExt cx="273073" cy="504535"/>
          </a:xfrm>
          <a:solidFill>
            <a:schemeClr val="bg1"/>
          </a:solidFill>
        </p:grpSpPr>
        <p:sp>
          <p:nvSpPr>
            <p:cNvPr id="994" name="Oval 58"/>
            <p:cNvSpPr/>
            <p:nvPr/>
          </p:nvSpPr>
          <p:spPr bwMode="auto">
            <a:xfrm>
              <a:off x="5271337" y="5431932"/>
              <a:ext cx="202400" cy="504535"/>
            </a:xfrm>
            <a:custGeom>
              <a:avLst/>
              <a:gdLst/>
              <a:ahLst/>
              <a:cxnLst/>
              <a:rect l="l" t="t" r="r" b="b"/>
              <a:pathLst>
                <a:path w="746519" h="1860882">
                  <a:moveTo>
                    <a:pt x="167038" y="361990"/>
                  </a:moveTo>
                  <a:lnTo>
                    <a:pt x="576950" y="361990"/>
                  </a:lnTo>
                  <a:cubicBezTo>
                    <a:pt x="667803" y="361990"/>
                    <a:pt x="741454" y="429907"/>
                    <a:pt x="741454" y="513688"/>
                  </a:cubicBezTo>
                  <a:lnTo>
                    <a:pt x="741454" y="578527"/>
                  </a:lnTo>
                  <a:lnTo>
                    <a:pt x="741454" y="822418"/>
                  </a:lnTo>
                  <a:lnTo>
                    <a:pt x="746519" y="1035341"/>
                  </a:lnTo>
                  <a:cubicBezTo>
                    <a:pt x="746519" y="1060166"/>
                    <a:pt x="712757" y="1069136"/>
                    <a:pt x="695242" y="1069994"/>
                  </a:cubicBezTo>
                  <a:cubicBezTo>
                    <a:pt x="677728" y="1070852"/>
                    <a:pt x="641431" y="1065315"/>
                    <a:pt x="641431" y="1040490"/>
                  </a:cubicBezTo>
                  <a:cubicBezTo>
                    <a:pt x="641335" y="933656"/>
                    <a:pt x="641239" y="826821"/>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lnTo>
                    <a:pt x="413651" y="1183095"/>
                  </a:lnTo>
                  <a:cubicBezTo>
                    <a:pt x="413651" y="1171546"/>
                    <a:pt x="403499" y="1162184"/>
                    <a:pt x="390975" y="1162184"/>
                  </a:cubicBezTo>
                  <a:lnTo>
                    <a:pt x="353012" y="1162184"/>
                  </a:lnTo>
                  <a:cubicBezTo>
                    <a:pt x="340488" y="1162184"/>
                    <a:pt x="330336" y="1171546"/>
                    <a:pt x="330336" y="1183095"/>
                  </a:cubicBezTo>
                  <a:lnTo>
                    <a:pt x="330336" y="1204005"/>
                  </a:lnTo>
                  <a:lnTo>
                    <a:pt x="333806" y="1788305"/>
                  </a:lnTo>
                  <a:cubicBezTo>
                    <a:pt x="333806" y="1828388"/>
                    <a:pt x="298569" y="1860882"/>
                    <a:pt x="255103" y="1860882"/>
                  </a:cubicBezTo>
                  <a:lnTo>
                    <a:pt x="255103" y="1860881"/>
                  </a:lnTo>
                  <a:cubicBezTo>
                    <a:pt x="211636" y="1860881"/>
                    <a:pt x="176400" y="1828388"/>
                    <a:pt x="176400" y="1788305"/>
                  </a:cubicBezTo>
                  <a:lnTo>
                    <a:pt x="176134" y="724482"/>
                  </a:ln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lnTo>
                    <a:pt x="2533" y="822418"/>
                  </a:ln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solidFill>
                  <a:srgbClr val="8DC548"/>
                </a:solidFill>
                <a:effectLst/>
                <a:uLnTx/>
                <a:uFillTx/>
                <a:ea typeface="Segoe UI" pitchFamily="34" charset="0"/>
                <a:cs typeface="Segoe UI" pitchFamily="34" charset="0"/>
              </a:endParaRPr>
            </a:p>
          </p:txBody>
        </p:sp>
        <p:grpSp>
          <p:nvGrpSpPr>
            <p:cNvPr id="995" name="Group 994"/>
            <p:cNvGrpSpPr>
              <a:grpSpLocks noChangeAspect="1"/>
            </p:cNvGrpSpPr>
            <p:nvPr/>
          </p:nvGrpSpPr>
          <p:grpSpPr>
            <a:xfrm>
              <a:off x="5200664" y="5703144"/>
              <a:ext cx="161595" cy="159154"/>
              <a:chOff x="10377492" y="4644232"/>
              <a:chExt cx="420688" cy="414337"/>
            </a:xfrm>
            <a:grpFill/>
          </p:grpSpPr>
          <p:sp>
            <p:nvSpPr>
              <p:cNvPr id="1014" name="Freeform 197"/>
              <p:cNvSpPr>
                <a:spLocks noEditPoints="1"/>
              </p:cNvSpPr>
              <p:nvPr/>
            </p:nvSpPr>
            <p:spPr bwMode="auto">
              <a:xfrm>
                <a:off x="10377492" y="4644232"/>
                <a:ext cx="420688" cy="201613"/>
              </a:xfrm>
              <a:custGeom>
                <a:avLst/>
                <a:gdLst>
                  <a:gd name="T0" fmla="*/ 1268 w 1860"/>
                  <a:gd name="T1" fmla="*/ 188 h 891"/>
                  <a:gd name="T2" fmla="*/ 1265 w 1860"/>
                  <a:gd name="T3" fmla="*/ 150 h 891"/>
                  <a:gd name="T4" fmla="*/ 1245 w 1860"/>
                  <a:gd name="T5" fmla="*/ 99 h 891"/>
                  <a:gd name="T6" fmla="*/ 1213 w 1860"/>
                  <a:gd name="T7" fmla="*/ 56 h 891"/>
                  <a:gd name="T8" fmla="*/ 1169 w 1860"/>
                  <a:gd name="T9" fmla="*/ 23 h 891"/>
                  <a:gd name="T10" fmla="*/ 1118 w 1860"/>
                  <a:gd name="T11" fmla="*/ 4 h 891"/>
                  <a:gd name="T12" fmla="*/ 779 w 1860"/>
                  <a:gd name="T13" fmla="*/ 0 h 891"/>
                  <a:gd name="T14" fmla="*/ 741 w 1860"/>
                  <a:gd name="T15" fmla="*/ 4 h 891"/>
                  <a:gd name="T16" fmla="*/ 689 w 1860"/>
                  <a:gd name="T17" fmla="*/ 23 h 891"/>
                  <a:gd name="T18" fmla="*/ 646 w 1860"/>
                  <a:gd name="T19" fmla="*/ 56 h 891"/>
                  <a:gd name="T20" fmla="*/ 614 w 1860"/>
                  <a:gd name="T21" fmla="*/ 99 h 891"/>
                  <a:gd name="T22" fmla="*/ 595 w 1860"/>
                  <a:gd name="T23" fmla="*/ 150 h 891"/>
                  <a:gd name="T24" fmla="*/ 592 w 1860"/>
                  <a:gd name="T25" fmla="*/ 305 h 891"/>
                  <a:gd name="T26" fmla="*/ 98 w 1860"/>
                  <a:gd name="T27" fmla="*/ 305 h 891"/>
                  <a:gd name="T28" fmla="*/ 66 w 1860"/>
                  <a:gd name="T29" fmla="*/ 313 h 891"/>
                  <a:gd name="T30" fmla="*/ 40 w 1860"/>
                  <a:gd name="T31" fmla="*/ 330 h 891"/>
                  <a:gd name="T32" fmla="*/ 18 w 1860"/>
                  <a:gd name="T33" fmla="*/ 353 h 891"/>
                  <a:gd name="T34" fmla="*/ 4 w 1860"/>
                  <a:gd name="T35" fmla="*/ 382 h 891"/>
                  <a:gd name="T36" fmla="*/ 0 w 1860"/>
                  <a:gd name="T37" fmla="*/ 415 h 891"/>
                  <a:gd name="T38" fmla="*/ 8 w 1860"/>
                  <a:gd name="T39" fmla="*/ 570 h 891"/>
                  <a:gd name="T40" fmla="*/ 41 w 1860"/>
                  <a:gd name="T41" fmla="*/ 611 h 891"/>
                  <a:gd name="T42" fmla="*/ 312 w 1860"/>
                  <a:gd name="T43" fmla="*/ 844 h 891"/>
                  <a:gd name="T44" fmla="*/ 371 w 1860"/>
                  <a:gd name="T45" fmla="*/ 872 h 891"/>
                  <a:gd name="T46" fmla="*/ 435 w 1860"/>
                  <a:gd name="T47" fmla="*/ 889 h 891"/>
                  <a:gd name="T48" fmla="*/ 1406 w 1860"/>
                  <a:gd name="T49" fmla="*/ 891 h 891"/>
                  <a:gd name="T50" fmla="*/ 1467 w 1860"/>
                  <a:gd name="T51" fmla="*/ 880 h 891"/>
                  <a:gd name="T52" fmla="*/ 1529 w 1860"/>
                  <a:gd name="T53" fmla="*/ 854 h 891"/>
                  <a:gd name="T54" fmla="*/ 1819 w 1860"/>
                  <a:gd name="T55" fmla="*/ 611 h 891"/>
                  <a:gd name="T56" fmla="*/ 1840 w 1860"/>
                  <a:gd name="T57" fmla="*/ 585 h 891"/>
                  <a:gd name="T58" fmla="*/ 1860 w 1860"/>
                  <a:gd name="T59" fmla="*/ 415 h 891"/>
                  <a:gd name="T60" fmla="*/ 1858 w 1860"/>
                  <a:gd name="T61" fmla="*/ 392 h 891"/>
                  <a:gd name="T62" fmla="*/ 1847 w 1860"/>
                  <a:gd name="T63" fmla="*/ 362 h 891"/>
                  <a:gd name="T64" fmla="*/ 1828 w 1860"/>
                  <a:gd name="T65" fmla="*/ 337 h 891"/>
                  <a:gd name="T66" fmla="*/ 1802 w 1860"/>
                  <a:gd name="T67" fmla="*/ 317 h 891"/>
                  <a:gd name="T68" fmla="*/ 1773 w 1860"/>
                  <a:gd name="T69" fmla="*/ 307 h 891"/>
                  <a:gd name="T70" fmla="*/ 1750 w 1860"/>
                  <a:gd name="T71" fmla="*/ 305 h 891"/>
                  <a:gd name="T72" fmla="*/ 748 w 1860"/>
                  <a:gd name="T73" fmla="*/ 182 h 891"/>
                  <a:gd name="T74" fmla="*/ 756 w 1860"/>
                  <a:gd name="T75" fmla="*/ 166 h 891"/>
                  <a:gd name="T76" fmla="*/ 772 w 1860"/>
                  <a:gd name="T77" fmla="*/ 156 h 891"/>
                  <a:gd name="T78" fmla="*/ 1080 w 1860"/>
                  <a:gd name="T79" fmla="*/ 155 h 891"/>
                  <a:gd name="T80" fmla="*/ 1099 w 1860"/>
                  <a:gd name="T81" fmla="*/ 161 h 891"/>
                  <a:gd name="T82" fmla="*/ 1110 w 1860"/>
                  <a:gd name="T83" fmla="*/ 176 h 891"/>
                  <a:gd name="T84" fmla="*/ 1113 w 1860"/>
                  <a:gd name="T85" fmla="*/ 305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60" h="891">
                    <a:moveTo>
                      <a:pt x="1750" y="305"/>
                    </a:moveTo>
                    <a:lnTo>
                      <a:pt x="1268" y="305"/>
                    </a:lnTo>
                    <a:lnTo>
                      <a:pt x="1268" y="188"/>
                    </a:lnTo>
                    <a:lnTo>
                      <a:pt x="1268" y="188"/>
                    </a:lnTo>
                    <a:lnTo>
                      <a:pt x="1267" y="169"/>
                    </a:lnTo>
                    <a:lnTo>
                      <a:pt x="1265" y="150"/>
                    </a:lnTo>
                    <a:lnTo>
                      <a:pt x="1260" y="133"/>
                    </a:lnTo>
                    <a:lnTo>
                      <a:pt x="1253" y="115"/>
                    </a:lnTo>
                    <a:lnTo>
                      <a:pt x="1245" y="99"/>
                    </a:lnTo>
                    <a:lnTo>
                      <a:pt x="1236" y="83"/>
                    </a:lnTo>
                    <a:lnTo>
                      <a:pt x="1225" y="69"/>
                    </a:lnTo>
                    <a:lnTo>
                      <a:pt x="1213" y="56"/>
                    </a:lnTo>
                    <a:lnTo>
                      <a:pt x="1200" y="43"/>
                    </a:lnTo>
                    <a:lnTo>
                      <a:pt x="1186" y="32"/>
                    </a:lnTo>
                    <a:lnTo>
                      <a:pt x="1169" y="23"/>
                    </a:lnTo>
                    <a:lnTo>
                      <a:pt x="1153" y="15"/>
                    </a:lnTo>
                    <a:lnTo>
                      <a:pt x="1136" y="9"/>
                    </a:lnTo>
                    <a:lnTo>
                      <a:pt x="1118" y="4"/>
                    </a:lnTo>
                    <a:lnTo>
                      <a:pt x="1100" y="1"/>
                    </a:lnTo>
                    <a:lnTo>
                      <a:pt x="1080" y="0"/>
                    </a:lnTo>
                    <a:lnTo>
                      <a:pt x="779" y="0"/>
                    </a:lnTo>
                    <a:lnTo>
                      <a:pt x="779" y="0"/>
                    </a:lnTo>
                    <a:lnTo>
                      <a:pt x="760" y="1"/>
                    </a:lnTo>
                    <a:lnTo>
                      <a:pt x="741" y="4"/>
                    </a:lnTo>
                    <a:lnTo>
                      <a:pt x="723" y="9"/>
                    </a:lnTo>
                    <a:lnTo>
                      <a:pt x="706" y="15"/>
                    </a:lnTo>
                    <a:lnTo>
                      <a:pt x="689" y="23"/>
                    </a:lnTo>
                    <a:lnTo>
                      <a:pt x="674" y="32"/>
                    </a:lnTo>
                    <a:lnTo>
                      <a:pt x="659" y="43"/>
                    </a:lnTo>
                    <a:lnTo>
                      <a:pt x="646" y="56"/>
                    </a:lnTo>
                    <a:lnTo>
                      <a:pt x="634" y="69"/>
                    </a:lnTo>
                    <a:lnTo>
                      <a:pt x="623" y="83"/>
                    </a:lnTo>
                    <a:lnTo>
                      <a:pt x="614" y="99"/>
                    </a:lnTo>
                    <a:lnTo>
                      <a:pt x="606" y="115"/>
                    </a:lnTo>
                    <a:lnTo>
                      <a:pt x="600" y="133"/>
                    </a:lnTo>
                    <a:lnTo>
                      <a:pt x="595" y="150"/>
                    </a:lnTo>
                    <a:lnTo>
                      <a:pt x="593" y="169"/>
                    </a:lnTo>
                    <a:lnTo>
                      <a:pt x="592" y="188"/>
                    </a:lnTo>
                    <a:lnTo>
                      <a:pt x="592" y="305"/>
                    </a:lnTo>
                    <a:lnTo>
                      <a:pt x="109" y="305"/>
                    </a:lnTo>
                    <a:lnTo>
                      <a:pt x="109" y="305"/>
                    </a:lnTo>
                    <a:lnTo>
                      <a:pt x="98" y="305"/>
                    </a:lnTo>
                    <a:lnTo>
                      <a:pt x="87" y="307"/>
                    </a:lnTo>
                    <a:lnTo>
                      <a:pt x="77" y="309"/>
                    </a:lnTo>
                    <a:lnTo>
                      <a:pt x="66" y="313"/>
                    </a:lnTo>
                    <a:lnTo>
                      <a:pt x="57" y="317"/>
                    </a:lnTo>
                    <a:lnTo>
                      <a:pt x="48" y="323"/>
                    </a:lnTo>
                    <a:lnTo>
                      <a:pt x="40" y="330"/>
                    </a:lnTo>
                    <a:lnTo>
                      <a:pt x="31" y="337"/>
                    </a:lnTo>
                    <a:lnTo>
                      <a:pt x="24" y="345"/>
                    </a:lnTo>
                    <a:lnTo>
                      <a:pt x="18" y="353"/>
                    </a:lnTo>
                    <a:lnTo>
                      <a:pt x="13" y="362"/>
                    </a:lnTo>
                    <a:lnTo>
                      <a:pt x="8" y="372"/>
                    </a:lnTo>
                    <a:lnTo>
                      <a:pt x="4" y="382"/>
                    </a:lnTo>
                    <a:lnTo>
                      <a:pt x="2" y="392"/>
                    </a:lnTo>
                    <a:lnTo>
                      <a:pt x="0" y="404"/>
                    </a:lnTo>
                    <a:lnTo>
                      <a:pt x="0" y="415"/>
                    </a:lnTo>
                    <a:lnTo>
                      <a:pt x="0" y="552"/>
                    </a:lnTo>
                    <a:lnTo>
                      <a:pt x="0" y="552"/>
                    </a:lnTo>
                    <a:lnTo>
                      <a:pt x="8" y="570"/>
                    </a:lnTo>
                    <a:lnTo>
                      <a:pt x="18" y="585"/>
                    </a:lnTo>
                    <a:lnTo>
                      <a:pt x="29" y="599"/>
                    </a:lnTo>
                    <a:lnTo>
                      <a:pt x="41" y="611"/>
                    </a:lnTo>
                    <a:lnTo>
                      <a:pt x="296" y="832"/>
                    </a:lnTo>
                    <a:lnTo>
                      <a:pt x="296" y="832"/>
                    </a:lnTo>
                    <a:lnTo>
                      <a:pt x="312" y="844"/>
                    </a:lnTo>
                    <a:lnTo>
                      <a:pt x="329" y="854"/>
                    </a:lnTo>
                    <a:lnTo>
                      <a:pt x="349" y="864"/>
                    </a:lnTo>
                    <a:lnTo>
                      <a:pt x="371" y="872"/>
                    </a:lnTo>
                    <a:lnTo>
                      <a:pt x="393" y="880"/>
                    </a:lnTo>
                    <a:lnTo>
                      <a:pt x="414" y="886"/>
                    </a:lnTo>
                    <a:lnTo>
                      <a:pt x="435" y="889"/>
                    </a:lnTo>
                    <a:lnTo>
                      <a:pt x="453" y="891"/>
                    </a:lnTo>
                    <a:lnTo>
                      <a:pt x="1406" y="891"/>
                    </a:lnTo>
                    <a:lnTo>
                      <a:pt x="1406" y="891"/>
                    </a:lnTo>
                    <a:lnTo>
                      <a:pt x="1425" y="889"/>
                    </a:lnTo>
                    <a:lnTo>
                      <a:pt x="1445" y="886"/>
                    </a:lnTo>
                    <a:lnTo>
                      <a:pt x="1467" y="880"/>
                    </a:lnTo>
                    <a:lnTo>
                      <a:pt x="1488" y="872"/>
                    </a:lnTo>
                    <a:lnTo>
                      <a:pt x="1510" y="864"/>
                    </a:lnTo>
                    <a:lnTo>
                      <a:pt x="1529" y="854"/>
                    </a:lnTo>
                    <a:lnTo>
                      <a:pt x="1548" y="844"/>
                    </a:lnTo>
                    <a:lnTo>
                      <a:pt x="1562" y="832"/>
                    </a:lnTo>
                    <a:lnTo>
                      <a:pt x="1819" y="611"/>
                    </a:lnTo>
                    <a:lnTo>
                      <a:pt x="1819" y="611"/>
                    </a:lnTo>
                    <a:lnTo>
                      <a:pt x="1830" y="599"/>
                    </a:lnTo>
                    <a:lnTo>
                      <a:pt x="1840" y="585"/>
                    </a:lnTo>
                    <a:lnTo>
                      <a:pt x="1851" y="570"/>
                    </a:lnTo>
                    <a:lnTo>
                      <a:pt x="1860" y="552"/>
                    </a:lnTo>
                    <a:lnTo>
                      <a:pt x="1860" y="415"/>
                    </a:lnTo>
                    <a:lnTo>
                      <a:pt x="1860" y="415"/>
                    </a:lnTo>
                    <a:lnTo>
                      <a:pt x="1860" y="404"/>
                    </a:lnTo>
                    <a:lnTo>
                      <a:pt x="1858" y="392"/>
                    </a:lnTo>
                    <a:lnTo>
                      <a:pt x="1855" y="382"/>
                    </a:lnTo>
                    <a:lnTo>
                      <a:pt x="1852" y="372"/>
                    </a:lnTo>
                    <a:lnTo>
                      <a:pt x="1847" y="362"/>
                    </a:lnTo>
                    <a:lnTo>
                      <a:pt x="1841" y="353"/>
                    </a:lnTo>
                    <a:lnTo>
                      <a:pt x="1835" y="345"/>
                    </a:lnTo>
                    <a:lnTo>
                      <a:pt x="1828" y="337"/>
                    </a:lnTo>
                    <a:lnTo>
                      <a:pt x="1820" y="330"/>
                    </a:lnTo>
                    <a:lnTo>
                      <a:pt x="1812" y="323"/>
                    </a:lnTo>
                    <a:lnTo>
                      <a:pt x="1802" y="317"/>
                    </a:lnTo>
                    <a:lnTo>
                      <a:pt x="1793" y="313"/>
                    </a:lnTo>
                    <a:lnTo>
                      <a:pt x="1783" y="309"/>
                    </a:lnTo>
                    <a:lnTo>
                      <a:pt x="1773" y="307"/>
                    </a:lnTo>
                    <a:lnTo>
                      <a:pt x="1761" y="305"/>
                    </a:lnTo>
                    <a:lnTo>
                      <a:pt x="1750" y="305"/>
                    </a:lnTo>
                    <a:lnTo>
                      <a:pt x="1750" y="305"/>
                    </a:lnTo>
                    <a:close/>
                    <a:moveTo>
                      <a:pt x="747" y="188"/>
                    </a:moveTo>
                    <a:lnTo>
                      <a:pt x="747" y="188"/>
                    </a:lnTo>
                    <a:lnTo>
                      <a:pt x="748" y="182"/>
                    </a:lnTo>
                    <a:lnTo>
                      <a:pt x="749" y="176"/>
                    </a:lnTo>
                    <a:lnTo>
                      <a:pt x="752" y="171"/>
                    </a:lnTo>
                    <a:lnTo>
                      <a:pt x="756" y="166"/>
                    </a:lnTo>
                    <a:lnTo>
                      <a:pt x="761" y="161"/>
                    </a:lnTo>
                    <a:lnTo>
                      <a:pt x="766" y="158"/>
                    </a:lnTo>
                    <a:lnTo>
                      <a:pt x="772" y="156"/>
                    </a:lnTo>
                    <a:lnTo>
                      <a:pt x="779" y="155"/>
                    </a:lnTo>
                    <a:lnTo>
                      <a:pt x="1080" y="155"/>
                    </a:lnTo>
                    <a:lnTo>
                      <a:pt x="1080" y="155"/>
                    </a:lnTo>
                    <a:lnTo>
                      <a:pt x="1087" y="156"/>
                    </a:lnTo>
                    <a:lnTo>
                      <a:pt x="1092" y="158"/>
                    </a:lnTo>
                    <a:lnTo>
                      <a:pt x="1099" y="161"/>
                    </a:lnTo>
                    <a:lnTo>
                      <a:pt x="1103" y="166"/>
                    </a:lnTo>
                    <a:lnTo>
                      <a:pt x="1107" y="171"/>
                    </a:lnTo>
                    <a:lnTo>
                      <a:pt x="1110" y="176"/>
                    </a:lnTo>
                    <a:lnTo>
                      <a:pt x="1112" y="182"/>
                    </a:lnTo>
                    <a:lnTo>
                      <a:pt x="1113" y="188"/>
                    </a:lnTo>
                    <a:lnTo>
                      <a:pt x="1113" y="305"/>
                    </a:lnTo>
                    <a:lnTo>
                      <a:pt x="747" y="305"/>
                    </a:lnTo>
                    <a:lnTo>
                      <a:pt x="747"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DC548"/>
                  </a:solidFill>
                  <a:effectLst/>
                  <a:uLnTx/>
                  <a:uFillTx/>
                </a:endParaRPr>
              </a:p>
            </p:txBody>
          </p:sp>
          <p:sp>
            <p:nvSpPr>
              <p:cNvPr id="1015" name="Freeform 198"/>
              <p:cNvSpPr>
                <a:spLocks/>
              </p:cNvSpPr>
              <p:nvPr/>
            </p:nvSpPr>
            <p:spPr bwMode="auto">
              <a:xfrm>
                <a:off x="10377492" y="4807744"/>
                <a:ext cx="420688" cy="250825"/>
              </a:xfrm>
              <a:custGeom>
                <a:avLst/>
                <a:gdLst>
                  <a:gd name="T0" fmla="*/ 1056 w 1860"/>
                  <a:gd name="T1" fmla="*/ 392 h 1104"/>
                  <a:gd name="T2" fmla="*/ 1053 w 1860"/>
                  <a:gd name="T3" fmla="*/ 410 h 1104"/>
                  <a:gd name="T4" fmla="*/ 1037 w 1860"/>
                  <a:gd name="T5" fmla="*/ 428 h 1104"/>
                  <a:gd name="T6" fmla="*/ 1012 w 1860"/>
                  <a:gd name="T7" fmla="*/ 437 h 1104"/>
                  <a:gd name="T8" fmla="*/ 838 w 1860"/>
                  <a:gd name="T9" fmla="*/ 436 h 1104"/>
                  <a:gd name="T10" fmla="*/ 815 w 1860"/>
                  <a:gd name="T11" fmla="*/ 423 h 1104"/>
                  <a:gd name="T12" fmla="*/ 804 w 1860"/>
                  <a:gd name="T13" fmla="*/ 402 h 1104"/>
                  <a:gd name="T14" fmla="*/ 453 w 1860"/>
                  <a:gd name="T15" fmla="*/ 279 h 1104"/>
                  <a:gd name="T16" fmla="*/ 424 w 1860"/>
                  <a:gd name="T17" fmla="*/ 278 h 1104"/>
                  <a:gd name="T18" fmla="*/ 378 w 1860"/>
                  <a:gd name="T19" fmla="*/ 268 h 1104"/>
                  <a:gd name="T20" fmla="*/ 301 w 1860"/>
                  <a:gd name="T21" fmla="*/ 242 h 1104"/>
                  <a:gd name="T22" fmla="*/ 258 w 1860"/>
                  <a:gd name="T23" fmla="*/ 219 h 1104"/>
                  <a:gd name="T24" fmla="*/ 223 w 1860"/>
                  <a:gd name="T25" fmla="*/ 193 h 1104"/>
                  <a:gd name="T26" fmla="*/ 0 w 1860"/>
                  <a:gd name="T27" fmla="*/ 930 h 1104"/>
                  <a:gd name="T28" fmla="*/ 4 w 1860"/>
                  <a:gd name="T29" fmla="*/ 963 h 1104"/>
                  <a:gd name="T30" fmla="*/ 18 w 1860"/>
                  <a:gd name="T31" fmla="*/ 992 h 1104"/>
                  <a:gd name="T32" fmla="*/ 40 w 1860"/>
                  <a:gd name="T33" fmla="*/ 1015 h 1104"/>
                  <a:gd name="T34" fmla="*/ 66 w 1860"/>
                  <a:gd name="T35" fmla="*/ 1032 h 1104"/>
                  <a:gd name="T36" fmla="*/ 98 w 1860"/>
                  <a:gd name="T37" fmla="*/ 1040 h 1104"/>
                  <a:gd name="T38" fmla="*/ 172 w 1860"/>
                  <a:gd name="T39" fmla="*/ 1060 h 1104"/>
                  <a:gd name="T40" fmla="*/ 175 w 1860"/>
                  <a:gd name="T41" fmla="*/ 1077 h 1104"/>
                  <a:gd name="T42" fmla="*/ 191 w 1860"/>
                  <a:gd name="T43" fmla="*/ 1096 h 1104"/>
                  <a:gd name="T44" fmla="*/ 216 w 1860"/>
                  <a:gd name="T45" fmla="*/ 1104 h 1104"/>
                  <a:gd name="T46" fmla="*/ 380 w 1860"/>
                  <a:gd name="T47" fmla="*/ 1103 h 1104"/>
                  <a:gd name="T48" fmla="*/ 403 w 1860"/>
                  <a:gd name="T49" fmla="*/ 1091 h 1104"/>
                  <a:gd name="T50" fmla="*/ 414 w 1860"/>
                  <a:gd name="T51" fmla="*/ 1069 h 1104"/>
                  <a:gd name="T52" fmla="*/ 1443 w 1860"/>
                  <a:gd name="T53" fmla="*/ 1041 h 1104"/>
                  <a:gd name="T54" fmla="*/ 1444 w 1860"/>
                  <a:gd name="T55" fmla="*/ 1069 h 1104"/>
                  <a:gd name="T56" fmla="*/ 1457 w 1860"/>
                  <a:gd name="T57" fmla="*/ 1091 h 1104"/>
                  <a:gd name="T58" fmla="*/ 1479 w 1860"/>
                  <a:gd name="T59" fmla="*/ 1103 h 1104"/>
                  <a:gd name="T60" fmla="*/ 1643 w 1860"/>
                  <a:gd name="T61" fmla="*/ 1104 h 1104"/>
                  <a:gd name="T62" fmla="*/ 1668 w 1860"/>
                  <a:gd name="T63" fmla="*/ 1096 h 1104"/>
                  <a:gd name="T64" fmla="*/ 1684 w 1860"/>
                  <a:gd name="T65" fmla="*/ 1077 h 1104"/>
                  <a:gd name="T66" fmla="*/ 1687 w 1860"/>
                  <a:gd name="T67" fmla="*/ 1041 h 1104"/>
                  <a:gd name="T68" fmla="*/ 1761 w 1860"/>
                  <a:gd name="T69" fmla="*/ 1040 h 1104"/>
                  <a:gd name="T70" fmla="*/ 1793 w 1860"/>
                  <a:gd name="T71" fmla="*/ 1032 h 1104"/>
                  <a:gd name="T72" fmla="*/ 1820 w 1860"/>
                  <a:gd name="T73" fmla="*/ 1015 h 1104"/>
                  <a:gd name="T74" fmla="*/ 1841 w 1860"/>
                  <a:gd name="T75" fmla="*/ 992 h 1104"/>
                  <a:gd name="T76" fmla="*/ 1855 w 1860"/>
                  <a:gd name="T77" fmla="*/ 963 h 1104"/>
                  <a:gd name="T78" fmla="*/ 1860 w 1860"/>
                  <a:gd name="T79" fmla="*/ 930 h 1104"/>
                  <a:gd name="T80" fmla="*/ 1636 w 1860"/>
                  <a:gd name="T81" fmla="*/ 193 h 1104"/>
                  <a:gd name="T82" fmla="*/ 1600 w 1860"/>
                  <a:gd name="T83" fmla="*/ 219 h 1104"/>
                  <a:gd name="T84" fmla="*/ 1558 w 1860"/>
                  <a:gd name="T85" fmla="*/ 242 h 1104"/>
                  <a:gd name="T86" fmla="*/ 1481 w 1860"/>
                  <a:gd name="T87" fmla="*/ 268 h 1104"/>
                  <a:gd name="T88" fmla="*/ 1435 w 1860"/>
                  <a:gd name="T89" fmla="*/ 278 h 1104"/>
                  <a:gd name="T90" fmla="*/ 1406 w 1860"/>
                  <a:gd name="T91" fmla="*/ 279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0" h="1104">
                    <a:moveTo>
                      <a:pt x="1406" y="279"/>
                    </a:moveTo>
                    <a:lnTo>
                      <a:pt x="1056" y="279"/>
                    </a:lnTo>
                    <a:lnTo>
                      <a:pt x="1056" y="392"/>
                    </a:lnTo>
                    <a:lnTo>
                      <a:pt x="1056" y="392"/>
                    </a:lnTo>
                    <a:lnTo>
                      <a:pt x="1055" y="402"/>
                    </a:lnTo>
                    <a:lnTo>
                      <a:pt x="1053" y="410"/>
                    </a:lnTo>
                    <a:lnTo>
                      <a:pt x="1049" y="417"/>
                    </a:lnTo>
                    <a:lnTo>
                      <a:pt x="1044" y="423"/>
                    </a:lnTo>
                    <a:lnTo>
                      <a:pt x="1037" y="428"/>
                    </a:lnTo>
                    <a:lnTo>
                      <a:pt x="1030" y="433"/>
                    </a:lnTo>
                    <a:lnTo>
                      <a:pt x="1022" y="436"/>
                    </a:lnTo>
                    <a:lnTo>
                      <a:pt x="1012" y="437"/>
                    </a:lnTo>
                    <a:lnTo>
                      <a:pt x="847" y="437"/>
                    </a:lnTo>
                    <a:lnTo>
                      <a:pt x="847" y="437"/>
                    </a:lnTo>
                    <a:lnTo>
                      <a:pt x="838" y="436"/>
                    </a:lnTo>
                    <a:lnTo>
                      <a:pt x="830" y="433"/>
                    </a:lnTo>
                    <a:lnTo>
                      <a:pt x="822" y="428"/>
                    </a:lnTo>
                    <a:lnTo>
                      <a:pt x="815" y="423"/>
                    </a:lnTo>
                    <a:lnTo>
                      <a:pt x="810" y="417"/>
                    </a:lnTo>
                    <a:lnTo>
                      <a:pt x="806" y="410"/>
                    </a:lnTo>
                    <a:lnTo>
                      <a:pt x="804" y="402"/>
                    </a:lnTo>
                    <a:lnTo>
                      <a:pt x="803" y="392"/>
                    </a:lnTo>
                    <a:lnTo>
                      <a:pt x="803" y="279"/>
                    </a:lnTo>
                    <a:lnTo>
                      <a:pt x="453" y="279"/>
                    </a:lnTo>
                    <a:lnTo>
                      <a:pt x="453" y="279"/>
                    </a:lnTo>
                    <a:lnTo>
                      <a:pt x="439" y="279"/>
                    </a:lnTo>
                    <a:lnTo>
                      <a:pt x="424" y="278"/>
                    </a:lnTo>
                    <a:lnTo>
                      <a:pt x="409" y="276"/>
                    </a:lnTo>
                    <a:lnTo>
                      <a:pt x="394" y="272"/>
                    </a:lnTo>
                    <a:lnTo>
                      <a:pt x="378" y="268"/>
                    </a:lnTo>
                    <a:lnTo>
                      <a:pt x="363" y="264"/>
                    </a:lnTo>
                    <a:lnTo>
                      <a:pt x="331" y="254"/>
                    </a:lnTo>
                    <a:lnTo>
                      <a:pt x="301" y="242"/>
                    </a:lnTo>
                    <a:lnTo>
                      <a:pt x="286" y="235"/>
                    </a:lnTo>
                    <a:lnTo>
                      <a:pt x="273" y="227"/>
                    </a:lnTo>
                    <a:lnTo>
                      <a:pt x="258" y="219"/>
                    </a:lnTo>
                    <a:lnTo>
                      <a:pt x="246" y="211"/>
                    </a:lnTo>
                    <a:lnTo>
                      <a:pt x="234" y="202"/>
                    </a:lnTo>
                    <a:lnTo>
                      <a:pt x="223" y="193"/>
                    </a:lnTo>
                    <a:lnTo>
                      <a:pt x="0" y="0"/>
                    </a:lnTo>
                    <a:lnTo>
                      <a:pt x="0" y="930"/>
                    </a:lnTo>
                    <a:lnTo>
                      <a:pt x="0" y="930"/>
                    </a:lnTo>
                    <a:lnTo>
                      <a:pt x="0" y="941"/>
                    </a:lnTo>
                    <a:lnTo>
                      <a:pt x="2" y="953"/>
                    </a:lnTo>
                    <a:lnTo>
                      <a:pt x="4" y="963"/>
                    </a:lnTo>
                    <a:lnTo>
                      <a:pt x="8" y="973"/>
                    </a:lnTo>
                    <a:lnTo>
                      <a:pt x="13" y="982"/>
                    </a:lnTo>
                    <a:lnTo>
                      <a:pt x="18" y="992"/>
                    </a:lnTo>
                    <a:lnTo>
                      <a:pt x="24" y="1000"/>
                    </a:lnTo>
                    <a:lnTo>
                      <a:pt x="31" y="1008"/>
                    </a:lnTo>
                    <a:lnTo>
                      <a:pt x="40" y="1015"/>
                    </a:lnTo>
                    <a:lnTo>
                      <a:pt x="48" y="1021"/>
                    </a:lnTo>
                    <a:lnTo>
                      <a:pt x="57" y="1028"/>
                    </a:lnTo>
                    <a:lnTo>
                      <a:pt x="66" y="1032"/>
                    </a:lnTo>
                    <a:lnTo>
                      <a:pt x="77" y="1036"/>
                    </a:lnTo>
                    <a:lnTo>
                      <a:pt x="87" y="1038"/>
                    </a:lnTo>
                    <a:lnTo>
                      <a:pt x="98" y="1040"/>
                    </a:lnTo>
                    <a:lnTo>
                      <a:pt x="109" y="1041"/>
                    </a:lnTo>
                    <a:lnTo>
                      <a:pt x="172" y="1041"/>
                    </a:lnTo>
                    <a:lnTo>
                      <a:pt x="172" y="1060"/>
                    </a:lnTo>
                    <a:lnTo>
                      <a:pt x="172" y="1060"/>
                    </a:lnTo>
                    <a:lnTo>
                      <a:pt x="173" y="1069"/>
                    </a:lnTo>
                    <a:lnTo>
                      <a:pt x="175" y="1077"/>
                    </a:lnTo>
                    <a:lnTo>
                      <a:pt x="179" y="1085"/>
                    </a:lnTo>
                    <a:lnTo>
                      <a:pt x="185" y="1091"/>
                    </a:lnTo>
                    <a:lnTo>
                      <a:pt x="191" y="1096"/>
                    </a:lnTo>
                    <a:lnTo>
                      <a:pt x="199" y="1100"/>
                    </a:lnTo>
                    <a:lnTo>
                      <a:pt x="207" y="1103"/>
                    </a:lnTo>
                    <a:lnTo>
                      <a:pt x="216" y="1104"/>
                    </a:lnTo>
                    <a:lnTo>
                      <a:pt x="371" y="1104"/>
                    </a:lnTo>
                    <a:lnTo>
                      <a:pt x="371" y="1104"/>
                    </a:lnTo>
                    <a:lnTo>
                      <a:pt x="380" y="1103"/>
                    </a:lnTo>
                    <a:lnTo>
                      <a:pt x="388" y="1100"/>
                    </a:lnTo>
                    <a:lnTo>
                      <a:pt x="396" y="1096"/>
                    </a:lnTo>
                    <a:lnTo>
                      <a:pt x="403" y="1091"/>
                    </a:lnTo>
                    <a:lnTo>
                      <a:pt x="408" y="1085"/>
                    </a:lnTo>
                    <a:lnTo>
                      <a:pt x="412" y="1077"/>
                    </a:lnTo>
                    <a:lnTo>
                      <a:pt x="414" y="1069"/>
                    </a:lnTo>
                    <a:lnTo>
                      <a:pt x="415" y="1060"/>
                    </a:lnTo>
                    <a:lnTo>
                      <a:pt x="415" y="1041"/>
                    </a:lnTo>
                    <a:lnTo>
                      <a:pt x="1443" y="1041"/>
                    </a:lnTo>
                    <a:lnTo>
                      <a:pt x="1443" y="1060"/>
                    </a:lnTo>
                    <a:lnTo>
                      <a:pt x="1443" y="1060"/>
                    </a:lnTo>
                    <a:lnTo>
                      <a:pt x="1444" y="1069"/>
                    </a:lnTo>
                    <a:lnTo>
                      <a:pt x="1447" y="1077"/>
                    </a:lnTo>
                    <a:lnTo>
                      <a:pt x="1451" y="1085"/>
                    </a:lnTo>
                    <a:lnTo>
                      <a:pt x="1457" y="1091"/>
                    </a:lnTo>
                    <a:lnTo>
                      <a:pt x="1463" y="1096"/>
                    </a:lnTo>
                    <a:lnTo>
                      <a:pt x="1471" y="1100"/>
                    </a:lnTo>
                    <a:lnTo>
                      <a:pt x="1479" y="1103"/>
                    </a:lnTo>
                    <a:lnTo>
                      <a:pt x="1487" y="1104"/>
                    </a:lnTo>
                    <a:lnTo>
                      <a:pt x="1643" y="1104"/>
                    </a:lnTo>
                    <a:lnTo>
                      <a:pt x="1643" y="1104"/>
                    </a:lnTo>
                    <a:lnTo>
                      <a:pt x="1653" y="1103"/>
                    </a:lnTo>
                    <a:lnTo>
                      <a:pt x="1661" y="1100"/>
                    </a:lnTo>
                    <a:lnTo>
                      <a:pt x="1668" y="1096"/>
                    </a:lnTo>
                    <a:lnTo>
                      <a:pt x="1674" y="1091"/>
                    </a:lnTo>
                    <a:lnTo>
                      <a:pt x="1680" y="1085"/>
                    </a:lnTo>
                    <a:lnTo>
                      <a:pt x="1684" y="1077"/>
                    </a:lnTo>
                    <a:lnTo>
                      <a:pt x="1686" y="1069"/>
                    </a:lnTo>
                    <a:lnTo>
                      <a:pt x="1687" y="1060"/>
                    </a:lnTo>
                    <a:lnTo>
                      <a:pt x="1687" y="1041"/>
                    </a:lnTo>
                    <a:lnTo>
                      <a:pt x="1750" y="1041"/>
                    </a:lnTo>
                    <a:lnTo>
                      <a:pt x="1750" y="1041"/>
                    </a:lnTo>
                    <a:lnTo>
                      <a:pt x="1761" y="1040"/>
                    </a:lnTo>
                    <a:lnTo>
                      <a:pt x="1773" y="1038"/>
                    </a:lnTo>
                    <a:lnTo>
                      <a:pt x="1783" y="1036"/>
                    </a:lnTo>
                    <a:lnTo>
                      <a:pt x="1793" y="1032"/>
                    </a:lnTo>
                    <a:lnTo>
                      <a:pt x="1802" y="1028"/>
                    </a:lnTo>
                    <a:lnTo>
                      <a:pt x="1812" y="1021"/>
                    </a:lnTo>
                    <a:lnTo>
                      <a:pt x="1820" y="1015"/>
                    </a:lnTo>
                    <a:lnTo>
                      <a:pt x="1828" y="1008"/>
                    </a:lnTo>
                    <a:lnTo>
                      <a:pt x="1835" y="1000"/>
                    </a:lnTo>
                    <a:lnTo>
                      <a:pt x="1841" y="992"/>
                    </a:lnTo>
                    <a:lnTo>
                      <a:pt x="1847" y="982"/>
                    </a:lnTo>
                    <a:lnTo>
                      <a:pt x="1852" y="973"/>
                    </a:lnTo>
                    <a:lnTo>
                      <a:pt x="1855" y="963"/>
                    </a:lnTo>
                    <a:lnTo>
                      <a:pt x="1858" y="953"/>
                    </a:lnTo>
                    <a:lnTo>
                      <a:pt x="1860" y="941"/>
                    </a:lnTo>
                    <a:lnTo>
                      <a:pt x="1860" y="930"/>
                    </a:lnTo>
                    <a:lnTo>
                      <a:pt x="1860" y="0"/>
                    </a:lnTo>
                    <a:lnTo>
                      <a:pt x="1636" y="193"/>
                    </a:lnTo>
                    <a:lnTo>
                      <a:pt x="1636" y="193"/>
                    </a:lnTo>
                    <a:lnTo>
                      <a:pt x="1625" y="202"/>
                    </a:lnTo>
                    <a:lnTo>
                      <a:pt x="1614" y="211"/>
                    </a:lnTo>
                    <a:lnTo>
                      <a:pt x="1600" y="219"/>
                    </a:lnTo>
                    <a:lnTo>
                      <a:pt x="1587" y="227"/>
                    </a:lnTo>
                    <a:lnTo>
                      <a:pt x="1573" y="235"/>
                    </a:lnTo>
                    <a:lnTo>
                      <a:pt x="1558" y="242"/>
                    </a:lnTo>
                    <a:lnTo>
                      <a:pt x="1527" y="254"/>
                    </a:lnTo>
                    <a:lnTo>
                      <a:pt x="1497" y="264"/>
                    </a:lnTo>
                    <a:lnTo>
                      <a:pt x="1481" y="268"/>
                    </a:lnTo>
                    <a:lnTo>
                      <a:pt x="1465" y="272"/>
                    </a:lnTo>
                    <a:lnTo>
                      <a:pt x="1449" y="276"/>
                    </a:lnTo>
                    <a:lnTo>
                      <a:pt x="1435" y="278"/>
                    </a:lnTo>
                    <a:lnTo>
                      <a:pt x="1420" y="279"/>
                    </a:lnTo>
                    <a:lnTo>
                      <a:pt x="1406" y="279"/>
                    </a:lnTo>
                    <a:lnTo>
                      <a:pt x="1406"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DC548"/>
                  </a:solidFill>
                  <a:effectLst/>
                  <a:uLnTx/>
                  <a:uFillTx/>
                </a:endParaRPr>
              </a:p>
            </p:txBody>
          </p:sp>
        </p:grpSp>
      </p:grpSp>
      <p:grpSp>
        <p:nvGrpSpPr>
          <p:cNvPr id="1057" name="Group 1056"/>
          <p:cNvGrpSpPr/>
          <p:nvPr/>
        </p:nvGrpSpPr>
        <p:grpSpPr>
          <a:xfrm flipH="1">
            <a:off x="5887703" y="4658589"/>
            <a:ext cx="225680" cy="379066"/>
            <a:chOff x="5200664" y="5431932"/>
            <a:chExt cx="273073" cy="504535"/>
          </a:xfrm>
          <a:solidFill>
            <a:schemeClr val="bg1"/>
          </a:solidFill>
        </p:grpSpPr>
        <p:sp>
          <p:nvSpPr>
            <p:cNvPr id="1058" name="Oval 58"/>
            <p:cNvSpPr/>
            <p:nvPr/>
          </p:nvSpPr>
          <p:spPr bwMode="auto">
            <a:xfrm>
              <a:off x="5271337" y="5431932"/>
              <a:ext cx="202400" cy="504535"/>
            </a:xfrm>
            <a:custGeom>
              <a:avLst/>
              <a:gdLst/>
              <a:ahLst/>
              <a:cxnLst/>
              <a:rect l="l" t="t" r="r" b="b"/>
              <a:pathLst>
                <a:path w="746519" h="1860882">
                  <a:moveTo>
                    <a:pt x="167038" y="361990"/>
                  </a:moveTo>
                  <a:lnTo>
                    <a:pt x="576950" y="361990"/>
                  </a:lnTo>
                  <a:cubicBezTo>
                    <a:pt x="667803" y="361990"/>
                    <a:pt x="741454" y="429907"/>
                    <a:pt x="741454" y="513688"/>
                  </a:cubicBezTo>
                  <a:lnTo>
                    <a:pt x="741454" y="578527"/>
                  </a:lnTo>
                  <a:lnTo>
                    <a:pt x="741454" y="822418"/>
                  </a:lnTo>
                  <a:lnTo>
                    <a:pt x="746519" y="1035341"/>
                  </a:lnTo>
                  <a:cubicBezTo>
                    <a:pt x="746519" y="1060166"/>
                    <a:pt x="712757" y="1069136"/>
                    <a:pt x="695242" y="1069994"/>
                  </a:cubicBezTo>
                  <a:cubicBezTo>
                    <a:pt x="677728" y="1070852"/>
                    <a:pt x="641431" y="1065315"/>
                    <a:pt x="641431" y="1040490"/>
                  </a:cubicBezTo>
                  <a:cubicBezTo>
                    <a:pt x="641335" y="933656"/>
                    <a:pt x="641239" y="826821"/>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lnTo>
                    <a:pt x="413651" y="1183095"/>
                  </a:lnTo>
                  <a:cubicBezTo>
                    <a:pt x="413651" y="1171546"/>
                    <a:pt x="403499" y="1162184"/>
                    <a:pt x="390975" y="1162184"/>
                  </a:cubicBezTo>
                  <a:lnTo>
                    <a:pt x="353012" y="1162184"/>
                  </a:lnTo>
                  <a:cubicBezTo>
                    <a:pt x="340488" y="1162184"/>
                    <a:pt x="330336" y="1171546"/>
                    <a:pt x="330336" y="1183095"/>
                  </a:cubicBezTo>
                  <a:lnTo>
                    <a:pt x="330336" y="1204005"/>
                  </a:lnTo>
                  <a:lnTo>
                    <a:pt x="333806" y="1788305"/>
                  </a:lnTo>
                  <a:cubicBezTo>
                    <a:pt x="333806" y="1828388"/>
                    <a:pt x="298569" y="1860882"/>
                    <a:pt x="255103" y="1860882"/>
                  </a:cubicBezTo>
                  <a:lnTo>
                    <a:pt x="255103" y="1860881"/>
                  </a:lnTo>
                  <a:cubicBezTo>
                    <a:pt x="211636" y="1860881"/>
                    <a:pt x="176400" y="1828388"/>
                    <a:pt x="176400" y="1788305"/>
                  </a:cubicBezTo>
                  <a:lnTo>
                    <a:pt x="176134" y="724482"/>
                  </a:ln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lnTo>
                    <a:pt x="2533" y="822418"/>
                  </a:ln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solidFill>
                  <a:srgbClr val="8DC548"/>
                </a:solidFill>
                <a:effectLst/>
                <a:uLnTx/>
                <a:uFillTx/>
                <a:ea typeface="Segoe UI" pitchFamily="34" charset="0"/>
                <a:cs typeface="Segoe UI" pitchFamily="34" charset="0"/>
              </a:endParaRPr>
            </a:p>
          </p:txBody>
        </p:sp>
        <p:grpSp>
          <p:nvGrpSpPr>
            <p:cNvPr id="1059" name="Group 1058"/>
            <p:cNvGrpSpPr>
              <a:grpSpLocks noChangeAspect="1"/>
            </p:cNvGrpSpPr>
            <p:nvPr/>
          </p:nvGrpSpPr>
          <p:grpSpPr>
            <a:xfrm>
              <a:off x="5200664" y="5703144"/>
              <a:ext cx="161595" cy="159154"/>
              <a:chOff x="10377492" y="4644232"/>
              <a:chExt cx="420688" cy="414337"/>
            </a:xfrm>
            <a:grpFill/>
          </p:grpSpPr>
          <p:sp>
            <p:nvSpPr>
              <p:cNvPr id="1060" name="Freeform 197"/>
              <p:cNvSpPr>
                <a:spLocks noEditPoints="1"/>
              </p:cNvSpPr>
              <p:nvPr/>
            </p:nvSpPr>
            <p:spPr bwMode="auto">
              <a:xfrm>
                <a:off x="10377492" y="4644232"/>
                <a:ext cx="420688" cy="201613"/>
              </a:xfrm>
              <a:custGeom>
                <a:avLst/>
                <a:gdLst>
                  <a:gd name="T0" fmla="*/ 1268 w 1860"/>
                  <a:gd name="T1" fmla="*/ 188 h 891"/>
                  <a:gd name="T2" fmla="*/ 1265 w 1860"/>
                  <a:gd name="T3" fmla="*/ 150 h 891"/>
                  <a:gd name="T4" fmla="*/ 1245 w 1860"/>
                  <a:gd name="T5" fmla="*/ 99 h 891"/>
                  <a:gd name="T6" fmla="*/ 1213 w 1860"/>
                  <a:gd name="T7" fmla="*/ 56 h 891"/>
                  <a:gd name="T8" fmla="*/ 1169 w 1860"/>
                  <a:gd name="T9" fmla="*/ 23 h 891"/>
                  <a:gd name="T10" fmla="*/ 1118 w 1860"/>
                  <a:gd name="T11" fmla="*/ 4 h 891"/>
                  <a:gd name="T12" fmla="*/ 779 w 1860"/>
                  <a:gd name="T13" fmla="*/ 0 h 891"/>
                  <a:gd name="T14" fmla="*/ 741 w 1860"/>
                  <a:gd name="T15" fmla="*/ 4 h 891"/>
                  <a:gd name="T16" fmla="*/ 689 w 1860"/>
                  <a:gd name="T17" fmla="*/ 23 h 891"/>
                  <a:gd name="T18" fmla="*/ 646 w 1860"/>
                  <a:gd name="T19" fmla="*/ 56 h 891"/>
                  <a:gd name="T20" fmla="*/ 614 w 1860"/>
                  <a:gd name="T21" fmla="*/ 99 h 891"/>
                  <a:gd name="T22" fmla="*/ 595 w 1860"/>
                  <a:gd name="T23" fmla="*/ 150 h 891"/>
                  <a:gd name="T24" fmla="*/ 592 w 1860"/>
                  <a:gd name="T25" fmla="*/ 305 h 891"/>
                  <a:gd name="T26" fmla="*/ 98 w 1860"/>
                  <a:gd name="T27" fmla="*/ 305 h 891"/>
                  <a:gd name="T28" fmla="*/ 66 w 1860"/>
                  <a:gd name="T29" fmla="*/ 313 h 891"/>
                  <a:gd name="T30" fmla="*/ 40 w 1860"/>
                  <a:gd name="T31" fmla="*/ 330 h 891"/>
                  <a:gd name="T32" fmla="*/ 18 w 1860"/>
                  <a:gd name="T33" fmla="*/ 353 h 891"/>
                  <a:gd name="T34" fmla="*/ 4 w 1860"/>
                  <a:gd name="T35" fmla="*/ 382 h 891"/>
                  <a:gd name="T36" fmla="*/ 0 w 1860"/>
                  <a:gd name="T37" fmla="*/ 415 h 891"/>
                  <a:gd name="T38" fmla="*/ 8 w 1860"/>
                  <a:gd name="T39" fmla="*/ 570 h 891"/>
                  <a:gd name="T40" fmla="*/ 41 w 1860"/>
                  <a:gd name="T41" fmla="*/ 611 h 891"/>
                  <a:gd name="T42" fmla="*/ 312 w 1860"/>
                  <a:gd name="T43" fmla="*/ 844 h 891"/>
                  <a:gd name="T44" fmla="*/ 371 w 1860"/>
                  <a:gd name="T45" fmla="*/ 872 h 891"/>
                  <a:gd name="T46" fmla="*/ 435 w 1860"/>
                  <a:gd name="T47" fmla="*/ 889 h 891"/>
                  <a:gd name="T48" fmla="*/ 1406 w 1860"/>
                  <a:gd name="T49" fmla="*/ 891 h 891"/>
                  <a:gd name="T50" fmla="*/ 1467 w 1860"/>
                  <a:gd name="T51" fmla="*/ 880 h 891"/>
                  <a:gd name="T52" fmla="*/ 1529 w 1860"/>
                  <a:gd name="T53" fmla="*/ 854 h 891"/>
                  <a:gd name="T54" fmla="*/ 1819 w 1860"/>
                  <a:gd name="T55" fmla="*/ 611 h 891"/>
                  <a:gd name="T56" fmla="*/ 1840 w 1860"/>
                  <a:gd name="T57" fmla="*/ 585 h 891"/>
                  <a:gd name="T58" fmla="*/ 1860 w 1860"/>
                  <a:gd name="T59" fmla="*/ 415 h 891"/>
                  <a:gd name="T60" fmla="*/ 1858 w 1860"/>
                  <a:gd name="T61" fmla="*/ 392 h 891"/>
                  <a:gd name="T62" fmla="*/ 1847 w 1860"/>
                  <a:gd name="T63" fmla="*/ 362 h 891"/>
                  <a:gd name="T64" fmla="*/ 1828 w 1860"/>
                  <a:gd name="T65" fmla="*/ 337 h 891"/>
                  <a:gd name="T66" fmla="*/ 1802 w 1860"/>
                  <a:gd name="T67" fmla="*/ 317 h 891"/>
                  <a:gd name="T68" fmla="*/ 1773 w 1860"/>
                  <a:gd name="T69" fmla="*/ 307 h 891"/>
                  <a:gd name="T70" fmla="*/ 1750 w 1860"/>
                  <a:gd name="T71" fmla="*/ 305 h 891"/>
                  <a:gd name="T72" fmla="*/ 748 w 1860"/>
                  <a:gd name="T73" fmla="*/ 182 h 891"/>
                  <a:gd name="T74" fmla="*/ 756 w 1860"/>
                  <a:gd name="T75" fmla="*/ 166 h 891"/>
                  <a:gd name="T76" fmla="*/ 772 w 1860"/>
                  <a:gd name="T77" fmla="*/ 156 h 891"/>
                  <a:gd name="T78" fmla="*/ 1080 w 1860"/>
                  <a:gd name="T79" fmla="*/ 155 h 891"/>
                  <a:gd name="T80" fmla="*/ 1099 w 1860"/>
                  <a:gd name="T81" fmla="*/ 161 h 891"/>
                  <a:gd name="T82" fmla="*/ 1110 w 1860"/>
                  <a:gd name="T83" fmla="*/ 176 h 891"/>
                  <a:gd name="T84" fmla="*/ 1113 w 1860"/>
                  <a:gd name="T85" fmla="*/ 305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60" h="891">
                    <a:moveTo>
                      <a:pt x="1750" y="305"/>
                    </a:moveTo>
                    <a:lnTo>
                      <a:pt x="1268" y="305"/>
                    </a:lnTo>
                    <a:lnTo>
                      <a:pt x="1268" y="188"/>
                    </a:lnTo>
                    <a:lnTo>
                      <a:pt x="1268" y="188"/>
                    </a:lnTo>
                    <a:lnTo>
                      <a:pt x="1267" y="169"/>
                    </a:lnTo>
                    <a:lnTo>
                      <a:pt x="1265" y="150"/>
                    </a:lnTo>
                    <a:lnTo>
                      <a:pt x="1260" y="133"/>
                    </a:lnTo>
                    <a:lnTo>
                      <a:pt x="1253" y="115"/>
                    </a:lnTo>
                    <a:lnTo>
                      <a:pt x="1245" y="99"/>
                    </a:lnTo>
                    <a:lnTo>
                      <a:pt x="1236" y="83"/>
                    </a:lnTo>
                    <a:lnTo>
                      <a:pt x="1225" y="69"/>
                    </a:lnTo>
                    <a:lnTo>
                      <a:pt x="1213" y="56"/>
                    </a:lnTo>
                    <a:lnTo>
                      <a:pt x="1200" y="43"/>
                    </a:lnTo>
                    <a:lnTo>
                      <a:pt x="1186" y="32"/>
                    </a:lnTo>
                    <a:lnTo>
                      <a:pt x="1169" y="23"/>
                    </a:lnTo>
                    <a:lnTo>
                      <a:pt x="1153" y="15"/>
                    </a:lnTo>
                    <a:lnTo>
                      <a:pt x="1136" y="9"/>
                    </a:lnTo>
                    <a:lnTo>
                      <a:pt x="1118" y="4"/>
                    </a:lnTo>
                    <a:lnTo>
                      <a:pt x="1100" y="1"/>
                    </a:lnTo>
                    <a:lnTo>
                      <a:pt x="1080" y="0"/>
                    </a:lnTo>
                    <a:lnTo>
                      <a:pt x="779" y="0"/>
                    </a:lnTo>
                    <a:lnTo>
                      <a:pt x="779" y="0"/>
                    </a:lnTo>
                    <a:lnTo>
                      <a:pt x="760" y="1"/>
                    </a:lnTo>
                    <a:lnTo>
                      <a:pt x="741" y="4"/>
                    </a:lnTo>
                    <a:lnTo>
                      <a:pt x="723" y="9"/>
                    </a:lnTo>
                    <a:lnTo>
                      <a:pt x="706" y="15"/>
                    </a:lnTo>
                    <a:lnTo>
                      <a:pt x="689" y="23"/>
                    </a:lnTo>
                    <a:lnTo>
                      <a:pt x="674" y="32"/>
                    </a:lnTo>
                    <a:lnTo>
                      <a:pt x="659" y="43"/>
                    </a:lnTo>
                    <a:lnTo>
                      <a:pt x="646" y="56"/>
                    </a:lnTo>
                    <a:lnTo>
                      <a:pt x="634" y="69"/>
                    </a:lnTo>
                    <a:lnTo>
                      <a:pt x="623" y="83"/>
                    </a:lnTo>
                    <a:lnTo>
                      <a:pt x="614" y="99"/>
                    </a:lnTo>
                    <a:lnTo>
                      <a:pt x="606" y="115"/>
                    </a:lnTo>
                    <a:lnTo>
                      <a:pt x="600" y="133"/>
                    </a:lnTo>
                    <a:lnTo>
                      <a:pt x="595" y="150"/>
                    </a:lnTo>
                    <a:lnTo>
                      <a:pt x="593" y="169"/>
                    </a:lnTo>
                    <a:lnTo>
                      <a:pt x="592" y="188"/>
                    </a:lnTo>
                    <a:lnTo>
                      <a:pt x="592" y="305"/>
                    </a:lnTo>
                    <a:lnTo>
                      <a:pt x="109" y="305"/>
                    </a:lnTo>
                    <a:lnTo>
                      <a:pt x="109" y="305"/>
                    </a:lnTo>
                    <a:lnTo>
                      <a:pt x="98" y="305"/>
                    </a:lnTo>
                    <a:lnTo>
                      <a:pt x="87" y="307"/>
                    </a:lnTo>
                    <a:lnTo>
                      <a:pt x="77" y="309"/>
                    </a:lnTo>
                    <a:lnTo>
                      <a:pt x="66" y="313"/>
                    </a:lnTo>
                    <a:lnTo>
                      <a:pt x="57" y="317"/>
                    </a:lnTo>
                    <a:lnTo>
                      <a:pt x="48" y="323"/>
                    </a:lnTo>
                    <a:lnTo>
                      <a:pt x="40" y="330"/>
                    </a:lnTo>
                    <a:lnTo>
                      <a:pt x="31" y="337"/>
                    </a:lnTo>
                    <a:lnTo>
                      <a:pt x="24" y="345"/>
                    </a:lnTo>
                    <a:lnTo>
                      <a:pt x="18" y="353"/>
                    </a:lnTo>
                    <a:lnTo>
                      <a:pt x="13" y="362"/>
                    </a:lnTo>
                    <a:lnTo>
                      <a:pt x="8" y="372"/>
                    </a:lnTo>
                    <a:lnTo>
                      <a:pt x="4" y="382"/>
                    </a:lnTo>
                    <a:lnTo>
                      <a:pt x="2" y="392"/>
                    </a:lnTo>
                    <a:lnTo>
                      <a:pt x="0" y="404"/>
                    </a:lnTo>
                    <a:lnTo>
                      <a:pt x="0" y="415"/>
                    </a:lnTo>
                    <a:lnTo>
                      <a:pt x="0" y="552"/>
                    </a:lnTo>
                    <a:lnTo>
                      <a:pt x="0" y="552"/>
                    </a:lnTo>
                    <a:lnTo>
                      <a:pt x="8" y="570"/>
                    </a:lnTo>
                    <a:lnTo>
                      <a:pt x="18" y="585"/>
                    </a:lnTo>
                    <a:lnTo>
                      <a:pt x="29" y="599"/>
                    </a:lnTo>
                    <a:lnTo>
                      <a:pt x="41" y="611"/>
                    </a:lnTo>
                    <a:lnTo>
                      <a:pt x="296" y="832"/>
                    </a:lnTo>
                    <a:lnTo>
                      <a:pt x="296" y="832"/>
                    </a:lnTo>
                    <a:lnTo>
                      <a:pt x="312" y="844"/>
                    </a:lnTo>
                    <a:lnTo>
                      <a:pt x="329" y="854"/>
                    </a:lnTo>
                    <a:lnTo>
                      <a:pt x="349" y="864"/>
                    </a:lnTo>
                    <a:lnTo>
                      <a:pt x="371" y="872"/>
                    </a:lnTo>
                    <a:lnTo>
                      <a:pt x="393" y="880"/>
                    </a:lnTo>
                    <a:lnTo>
                      <a:pt x="414" y="886"/>
                    </a:lnTo>
                    <a:lnTo>
                      <a:pt x="435" y="889"/>
                    </a:lnTo>
                    <a:lnTo>
                      <a:pt x="453" y="891"/>
                    </a:lnTo>
                    <a:lnTo>
                      <a:pt x="1406" y="891"/>
                    </a:lnTo>
                    <a:lnTo>
                      <a:pt x="1406" y="891"/>
                    </a:lnTo>
                    <a:lnTo>
                      <a:pt x="1425" y="889"/>
                    </a:lnTo>
                    <a:lnTo>
                      <a:pt x="1445" y="886"/>
                    </a:lnTo>
                    <a:lnTo>
                      <a:pt x="1467" y="880"/>
                    </a:lnTo>
                    <a:lnTo>
                      <a:pt x="1488" y="872"/>
                    </a:lnTo>
                    <a:lnTo>
                      <a:pt x="1510" y="864"/>
                    </a:lnTo>
                    <a:lnTo>
                      <a:pt x="1529" y="854"/>
                    </a:lnTo>
                    <a:lnTo>
                      <a:pt x="1548" y="844"/>
                    </a:lnTo>
                    <a:lnTo>
                      <a:pt x="1562" y="832"/>
                    </a:lnTo>
                    <a:lnTo>
                      <a:pt x="1819" y="611"/>
                    </a:lnTo>
                    <a:lnTo>
                      <a:pt x="1819" y="611"/>
                    </a:lnTo>
                    <a:lnTo>
                      <a:pt x="1830" y="599"/>
                    </a:lnTo>
                    <a:lnTo>
                      <a:pt x="1840" y="585"/>
                    </a:lnTo>
                    <a:lnTo>
                      <a:pt x="1851" y="570"/>
                    </a:lnTo>
                    <a:lnTo>
                      <a:pt x="1860" y="552"/>
                    </a:lnTo>
                    <a:lnTo>
                      <a:pt x="1860" y="415"/>
                    </a:lnTo>
                    <a:lnTo>
                      <a:pt x="1860" y="415"/>
                    </a:lnTo>
                    <a:lnTo>
                      <a:pt x="1860" y="404"/>
                    </a:lnTo>
                    <a:lnTo>
                      <a:pt x="1858" y="392"/>
                    </a:lnTo>
                    <a:lnTo>
                      <a:pt x="1855" y="382"/>
                    </a:lnTo>
                    <a:lnTo>
                      <a:pt x="1852" y="372"/>
                    </a:lnTo>
                    <a:lnTo>
                      <a:pt x="1847" y="362"/>
                    </a:lnTo>
                    <a:lnTo>
                      <a:pt x="1841" y="353"/>
                    </a:lnTo>
                    <a:lnTo>
                      <a:pt x="1835" y="345"/>
                    </a:lnTo>
                    <a:lnTo>
                      <a:pt x="1828" y="337"/>
                    </a:lnTo>
                    <a:lnTo>
                      <a:pt x="1820" y="330"/>
                    </a:lnTo>
                    <a:lnTo>
                      <a:pt x="1812" y="323"/>
                    </a:lnTo>
                    <a:lnTo>
                      <a:pt x="1802" y="317"/>
                    </a:lnTo>
                    <a:lnTo>
                      <a:pt x="1793" y="313"/>
                    </a:lnTo>
                    <a:lnTo>
                      <a:pt x="1783" y="309"/>
                    </a:lnTo>
                    <a:lnTo>
                      <a:pt x="1773" y="307"/>
                    </a:lnTo>
                    <a:lnTo>
                      <a:pt x="1761" y="305"/>
                    </a:lnTo>
                    <a:lnTo>
                      <a:pt x="1750" y="305"/>
                    </a:lnTo>
                    <a:lnTo>
                      <a:pt x="1750" y="305"/>
                    </a:lnTo>
                    <a:close/>
                    <a:moveTo>
                      <a:pt x="747" y="188"/>
                    </a:moveTo>
                    <a:lnTo>
                      <a:pt x="747" y="188"/>
                    </a:lnTo>
                    <a:lnTo>
                      <a:pt x="748" y="182"/>
                    </a:lnTo>
                    <a:lnTo>
                      <a:pt x="749" y="176"/>
                    </a:lnTo>
                    <a:lnTo>
                      <a:pt x="752" y="171"/>
                    </a:lnTo>
                    <a:lnTo>
                      <a:pt x="756" y="166"/>
                    </a:lnTo>
                    <a:lnTo>
                      <a:pt x="761" y="161"/>
                    </a:lnTo>
                    <a:lnTo>
                      <a:pt x="766" y="158"/>
                    </a:lnTo>
                    <a:lnTo>
                      <a:pt x="772" y="156"/>
                    </a:lnTo>
                    <a:lnTo>
                      <a:pt x="779" y="155"/>
                    </a:lnTo>
                    <a:lnTo>
                      <a:pt x="1080" y="155"/>
                    </a:lnTo>
                    <a:lnTo>
                      <a:pt x="1080" y="155"/>
                    </a:lnTo>
                    <a:lnTo>
                      <a:pt x="1087" y="156"/>
                    </a:lnTo>
                    <a:lnTo>
                      <a:pt x="1092" y="158"/>
                    </a:lnTo>
                    <a:lnTo>
                      <a:pt x="1099" y="161"/>
                    </a:lnTo>
                    <a:lnTo>
                      <a:pt x="1103" y="166"/>
                    </a:lnTo>
                    <a:lnTo>
                      <a:pt x="1107" y="171"/>
                    </a:lnTo>
                    <a:lnTo>
                      <a:pt x="1110" y="176"/>
                    </a:lnTo>
                    <a:lnTo>
                      <a:pt x="1112" y="182"/>
                    </a:lnTo>
                    <a:lnTo>
                      <a:pt x="1113" y="188"/>
                    </a:lnTo>
                    <a:lnTo>
                      <a:pt x="1113" y="305"/>
                    </a:lnTo>
                    <a:lnTo>
                      <a:pt x="747" y="305"/>
                    </a:lnTo>
                    <a:lnTo>
                      <a:pt x="747"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DC548"/>
                  </a:solidFill>
                  <a:effectLst/>
                  <a:uLnTx/>
                  <a:uFillTx/>
                </a:endParaRPr>
              </a:p>
            </p:txBody>
          </p:sp>
          <p:sp>
            <p:nvSpPr>
              <p:cNvPr id="1061" name="Freeform 198"/>
              <p:cNvSpPr>
                <a:spLocks/>
              </p:cNvSpPr>
              <p:nvPr/>
            </p:nvSpPr>
            <p:spPr bwMode="auto">
              <a:xfrm>
                <a:off x="10377492" y="4807744"/>
                <a:ext cx="420688" cy="250825"/>
              </a:xfrm>
              <a:custGeom>
                <a:avLst/>
                <a:gdLst>
                  <a:gd name="T0" fmla="*/ 1056 w 1860"/>
                  <a:gd name="T1" fmla="*/ 392 h 1104"/>
                  <a:gd name="T2" fmla="*/ 1053 w 1860"/>
                  <a:gd name="T3" fmla="*/ 410 h 1104"/>
                  <a:gd name="T4" fmla="*/ 1037 w 1860"/>
                  <a:gd name="T5" fmla="*/ 428 h 1104"/>
                  <a:gd name="T6" fmla="*/ 1012 w 1860"/>
                  <a:gd name="T7" fmla="*/ 437 h 1104"/>
                  <a:gd name="T8" fmla="*/ 838 w 1860"/>
                  <a:gd name="T9" fmla="*/ 436 h 1104"/>
                  <a:gd name="T10" fmla="*/ 815 w 1860"/>
                  <a:gd name="T11" fmla="*/ 423 h 1104"/>
                  <a:gd name="T12" fmla="*/ 804 w 1860"/>
                  <a:gd name="T13" fmla="*/ 402 h 1104"/>
                  <a:gd name="T14" fmla="*/ 453 w 1860"/>
                  <a:gd name="T15" fmla="*/ 279 h 1104"/>
                  <a:gd name="T16" fmla="*/ 424 w 1860"/>
                  <a:gd name="T17" fmla="*/ 278 h 1104"/>
                  <a:gd name="T18" fmla="*/ 378 w 1860"/>
                  <a:gd name="T19" fmla="*/ 268 h 1104"/>
                  <a:gd name="T20" fmla="*/ 301 w 1860"/>
                  <a:gd name="T21" fmla="*/ 242 h 1104"/>
                  <a:gd name="T22" fmla="*/ 258 w 1860"/>
                  <a:gd name="T23" fmla="*/ 219 h 1104"/>
                  <a:gd name="T24" fmla="*/ 223 w 1860"/>
                  <a:gd name="T25" fmla="*/ 193 h 1104"/>
                  <a:gd name="T26" fmla="*/ 0 w 1860"/>
                  <a:gd name="T27" fmla="*/ 930 h 1104"/>
                  <a:gd name="T28" fmla="*/ 4 w 1860"/>
                  <a:gd name="T29" fmla="*/ 963 h 1104"/>
                  <a:gd name="T30" fmla="*/ 18 w 1860"/>
                  <a:gd name="T31" fmla="*/ 992 h 1104"/>
                  <a:gd name="T32" fmla="*/ 40 w 1860"/>
                  <a:gd name="T33" fmla="*/ 1015 h 1104"/>
                  <a:gd name="T34" fmla="*/ 66 w 1860"/>
                  <a:gd name="T35" fmla="*/ 1032 h 1104"/>
                  <a:gd name="T36" fmla="*/ 98 w 1860"/>
                  <a:gd name="T37" fmla="*/ 1040 h 1104"/>
                  <a:gd name="T38" fmla="*/ 172 w 1860"/>
                  <a:gd name="T39" fmla="*/ 1060 h 1104"/>
                  <a:gd name="T40" fmla="*/ 175 w 1860"/>
                  <a:gd name="T41" fmla="*/ 1077 h 1104"/>
                  <a:gd name="T42" fmla="*/ 191 w 1860"/>
                  <a:gd name="T43" fmla="*/ 1096 h 1104"/>
                  <a:gd name="T44" fmla="*/ 216 w 1860"/>
                  <a:gd name="T45" fmla="*/ 1104 h 1104"/>
                  <a:gd name="T46" fmla="*/ 380 w 1860"/>
                  <a:gd name="T47" fmla="*/ 1103 h 1104"/>
                  <a:gd name="T48" fmla="*/ 403 w 1860"/>
                  <a:gd name="T49" fmla="*/ 1091 h 1104"/>
                  <a:gd name="T50" fmla="*/ 414 w 1860"/>
                  <a:gd name="T51" fmla="*/ 1069 h 1104"/>
                  <a:gd name="T52" fmla="*/ 1443 w 1860"/>
                  <a:gd name="T53" fmla="*/ 1041 h 1104"/>
                  <a:gd name="T54" fmla="*/ 1444 w 1860"/>
                  <a:gd name="T55" fmla="*/ 1069 h 1104"/>
                  <a:gd name="T56" fmla="*/ 1457 w 1860"/>
                  <a:gd name="T57" fmla="*/ 1091 h 1104"/>
                  <a:gd name="T58" fmla="*/ 1479 w 1860"/>
                  <a:gd name="T59" fmla="*/ 1103 h 1104"/>
                  <a:gd name="T60" fmla="*/ 1643 w 1860"/>
                  <a:gd name="T61" fmla="*/ 1104 h 1104"/>
                  <a:gd name="T62" fmla="*/ 1668 w 1860"/>
                  <a:gd name="T63" fmla="*/ 1096 h 1104"/>
                  <a:gd name="T64" fmla="*/ 1684 w 1860"/>
                  <a:gd name="T65" fmla="*/ 1077 h 1104"/>
                  <a:gd name="T66" fmla="*/ 1687 w 1860"/>
                  <a:gd name="T67" fmla="*/ 1041 h 1104"/>
                  <a:gd name="T68" fmla="*/ 1761 w 1860"/>
                  <a:gd name="T69" fmla="*/ 1040 h 1104"/>
                  <a:gd name="T70" fmla="*/ 1793 w 1860"/>
                  <a:gd name="T71" fmla="*/ 1032 h 1104"/>
                  <a:gd name="T72" fmla="*/ 1820 w 1860"/>
                  <a:gd name="T73" fmla="*/ 1015 h 1104"/>
                  <a:gd name="T74" fmla="*/ 1841 w 1860"/>
                  <a:gd name="T75" fmla="*/ 992 h 1104"/>
                  <a:gd name="T76" fmla="*/ 1855 w 1860"/>
                  <a:gd name="T77" fmla="*/ 963 h 1104"/>
                  <a:gd name="T78" fmla="*/ 1860 w 1860"/>
                  <a:gd name="T79" fmla="*/ 930 h 1104"/>
                  <a:gd name="T80" fmla="*/ 1636 w 1860"/>
                  <a:gd name="T81" fmla="*/ 193 h 1104"/>
                  <a:gd name="T82" fmla="*/ 1600 w 1860"/>
                  <a:gd name="T83" fmla="*/ 219 h 1104"/>
                  <a:gd name="T84" fmla="*/ 1558 w 1860"/>
                  <a:gd name="T85" fmla="*/ 242 h 1104"/>
                  <a:gd name="T86" fmla="*/ 1481 w 1860"/>
                  <a:gd name="T87" fmla="*/ 268 h 1104"/>
                  <a:gd name="T88" fmla="*/ 1435 w 1860"/>
                  <a:gd name="T89" fmla="*/ 278 h 1104"/>
                  <a:gd name="T90" fmla="*/ 1406 w 1860"/>
                  <a:gd name="T91" fmla="*/ 279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0" h="1104">
                    <a:moveTo>
                      <a:pt x="1406" y="279"/>
                    </a:moveTo>
                    <a:lnTo>
                      <a:pt x="1056" y="279"/>
                    </a:lnTo>
                    <a:lnTo>
                      <a:pt x="1056" y="392"/>
                    </a:lnTo>
                    <a:lnTo>
                      <a:pt x="1056" y="392"/>
                    </a:lnTo>
                    <a:lnTo>
                      <a:pt x="1055" y="402"/>
                    </a:lnTo>
                    <a:lnTo>
                      <a:pt x="1053" y="410"/>
                    </a:lnTo>
                    <a:lnTo>
                      <a:pt x="1049" y="417"/>
                    </a:lnTo>
                    <a:lnTo>
                      <a:pt x="1044" y="423"/>
                    </a:lnTo>
                    <a:lnTo>
                      <a:pt x="1037" y="428"/>
                    </a:lnTo>
                    <a:lnTo>
                      <a:pt x="1030" y="433"/>
                    </a:lnTo>
                    <a:lnTo>
                      <a:pt x="1022" y="436"/>
                    </a:lnTo>
                    <a:lnTo>
                      <a:pt x="1012" y="437"/>
                    </a:lnTo>
                    <a:lnTo>
                      <a:pt x="847" y="437"/>
                    </a:lnTo>
                    <a:lnTo>
                      <a:pt x="847" y="437"/>
                    </a:lnTo>
                    <a:lnTo>
                      <a:pt x="838" y="436"/>
                    </a:lnTo>
                    <a:lnTo>
                      <a:pt x="830" y="433"/>
                    </a:lnTo>
                    <a:lnTo>
                      <a:pt x="822" y="428"/>
                    </a:lnTo>
                    <a:lnTo>
                      <a:pt x="815" y="423"/>
                    </a:lnTo>
                    <a:lnTo>
                      <a:pt x="810" y="417"/>
                    </a:lnTo>
                    <a:lnTo>
                      <a:pt x="806" y="410"/>
                    </a:lnTo>
                    <a:lnTo>
                      <a:pt x="804" y="402"/>
                    </a:lnTo>
                    <a:lnTo>
                      <a:pt x="803" y="392"/>
                    </a:lnTo>
                    <a:lnTo>
                      <a:pt x="803" y="279"/>
                    </a:lnTo>
                    <a:lnTo>
                      <a:pt x="453" y="279"/>
                    </a:lnTo>
                    <a:lnTo>
                      <a:pt x="453" y="279"/>
                    </a:lnTo>
                    <a:lnTo>
                      <a:pt x="439" y="279"/>
                    </a:lnTo>
                    <a:lnTo>
                      <a:pt x="424" y="278"/>
                    </a:lnTo>
                    <a:lnTo>
                      <a:pt x="409" y="276"/>
                    </a:lnTo>
                    <a:lnTo>
                      <a:pt x="394" y="272"/>
                    </a:lnTo>
                    <a:lnTo>
                      <a:pt x="378" y="268"/>
                    </a:lnTo>
                    <a:lnTo>
                      <a:pt x="363" y="264"/>
                    </a:lnTo>
                    <a:lnTo>
                      <a:pt x="331" y="254"/>
                    </a:lnTo>
                    <a:lnTo>
                      <a:pt x="301" y="242"/>
                    </a:lnTo>
                    <a:lnTo>
                      <a:pt x="286" y="235"/>
                    </a:lnTo>
                    <a:lnTo>
                      <a:pt x="273" y="227"/>
                    </a:lnTo>
                    <a:lnTo>
                      <a:pt x="258" y="219"/>
                    </a:lnTo>
                    <a:lnTo>
                      <a:pt x="246" y="211"/>
                    </a:lnTo>
                    <a:lnTo>
                      <a:pt x="234" y="202"/>
                    </a:lnTo>
                    <a:lnTo>
                      <a:pt x="223" y="193"/>
                    </a:lnTo>
                    <a:lnTo>
                      <a:pt x="0" y="0"/>
                    </a:lnTo>
                    <a:lnTo>
                      <a:pt x="0" y="930"/>
                    </a:lnTo>
                    <a:lnTo>
                      <a:pt x="0" y="930"/>
                    </a:lnTo>
                    <a:lnTo>
                      <a:pt x="0" y="941"/>
                    </a:lnTo>
                    <a:lnTo>
                      <a:pt x="2" y="953"/>
                    </a:lnTo>
                    <a:lnTo>
                      <a:pt x="4" y="963"/>
                    </a:lnTo>
                    <a:lnTo>
                      <a:pt x="8" y="973"/>
                    </a:lnTo>
                    <a:lnTo>
                      <a:pt x="13" y="982"/>
                    </a:lnTo>
                    <a:lnTo>
                      <a:pt x="18" y="992"/>
                    </a:lnTo>
                    <a:lnTo>
                      <a:pt x="24" y="1000"/>
                    </a:lnTo>
                    <a:lnTo>
                      <a:pt x="31" y="1008"/>
                    </a:lnTo>
                    <a:lnTo>
                      <a:pt x="40" y="1015"/>
                    </a:lnTo>
                    <a:lnTo>
                      <a:pt x="48" y="1021"/>
                    </a:lnTo>
                    <a:lnTo>
                      <a:pt x="57" y="1028"/>
                    </a:lnTo>
                    <a:lnTo>
                      <a:pt x="66" y="1032"/>
                    </a:lnTo>
                    <a:lnTo>
                      <a:pt x="77" y="1036"/>
                    </a:lnTo>
                    <a:lnTo>
                      <a:pt x="87" y="1038"/>
                    </a:lnTo>
                    <a:lnTo>
                      <a:pt x="98" y="1040"/>
                    </a:lnTo>
                    <a:lnTo>
                      <a:pt x="109" y="1041"/>
                    </a:lnTo>
                    <a:lnTo>
                      <a:pt x="172" y="1041"/>
                    </a:lnTo>
                    <a:lnTo>
                      <a:pt x="172" y="1060"/>
                    </a:lnTo>
                    <a:lnTo>
                      <a:pt x="172" y="1060"/>
                    </a:lnTo>
                    <a:lnTo>
                      <a:pt x="173" y="1069"/>
                    </a:lnTo>
                    <a:lnTo>
                      <a:pt x="175" y="1077"/>
                    </a:lnTo>
                    <a:lnTo>
                      <a:pt x="179" y="1085"/>
                    </a:lnTo>
                    <a:lnTo>
                      <a:pt x="185" y="1091"/>
                    </a:lnTo>
                    <a:lnTo>
                      <a:pt x="191" y="1096"/>
                    </a:lnTo>
                    <a:lnTo>
                      <a:pt x="199" y="1100"/>
                    </a:lnTo>
                    <a:lnTo>
                      <a:pt x="207" y="1103"/>
                    </a:lnTo>
                    <a:lnTo>
                      <a:pt x="216" y="1104"/>
                    </a:lnTo>
                    <a:lnTo>
                      <a:pt x="371" y="1104"/>
                    </a:lnTo>
                    <a:lnTo>
                      <a:pt x="371" y="1104"/>
                    </a:lnTo>
                    <a:lnTo>
                      <a:pt x="380" y="1103"/>
                    </a:lnTo>
                    <a:lnTo>
                      <a:pt x="388" y="1100"/>
                    </a:lnTo>
                    <a:lnTo>
                      <a:pt x="396" y="1096"/>
                    </a:lnTo>
                    <a:lnTo>
                      <a:pt x="403" y="1091"/>
                    </a:lnTo>
                    <a:lnTo>
                      <a:pt x="408" y="1085"/>
                    </a:lnTo>
                    <a:lnTo>
                      <a:pt x="412" y="1077"/>
                    </a:lnTo>
                    <a:lnTo>
                      <a:pt x="414" y="1069"/>
                    </a:lnTo>
                    <a:lnTo>
                      <a:pt x="415" y="1060"/>
                    </a:lnTo>
                    <a:lnTo>
                      <a:pt x="415" y="1041"/>
                    </a:lnTo>
                    <a:lnTo>
                      <a:pt x="1443" y="1041"/>
                    </a:lnTo>
                    <a:lnTo>
                      <a:pt x="1443" y="1060"/>
                    </a:lnTo>
                    <a:lnTo>
                      <a:pt x="1443" y="1060"/>
                    </a:lnTo>
                    <a:lnTo>
                      <a:pt x="1444" y="1069"/>
                    </a:lnTo>
                    <a:lnTo>
                      <a:pt x="1447" y="1077"/>
                    </a:lnTo>
                    <a:lnTo>
                      <a:pt x="1451" y="1085"/>
                    </a:lnTo>
                    <a:lnTo>
                      <a:pt x="1457" y="1091"/>
                    </a:lnTo>
                    <a:lnTo>
                      <a:pt x="1463" y="1096"/>
                    </a:lnTo>
                    <a:lnTo>
                      <a:pt x="1471" y="1100"/>
                    </a:lnTo>
                    <a:lnTo>
                      <a:pt x="1479" y="1103"/>
                    </a:lnTo>
                    <a:lnTo>
                      <a:pt x="1487" y="1104"/>
                    </a:lnTo>
                    <a:lnTo>
                      <a:pt x="1643" y="1104"/>
                    </a:lnTo>
                    <a:lnTo>
                      <a:pt x="1643" y="1104"/>
                    </a:lnTo>
                    <a:lnTo>
                      <a:pt x="1653" y="1103"/>
                    </a:lnTo>
                    <a:lnTo>
                      <a:pt x="1661" y="1100"/>
                    </a:lnTo>
                    <a:lnTo>
                      <a:pt x="1668" y="1096"/>
                    </a:lnTo>
                    <a:lnTo>
                      <a:pt x="1674" y="1091"/>
                    </a:lnTo>
                    <a:lnTo>
                      <a:pt x="1680" y="1085"/>
                    </a:lnTo>
                    <a:lnTo>
                      <a:pt x="1684" y="1077"/>
                    </a:lnTo>
                    <a:lnTo>
                      <a:pt x="1686" y="1069"/>
                    </a:lnTo>
                    <a:lnTo>
                      <a:pt x="1687" y="1060"/>
                    </a:lnTo>
                    <a:lnTo>
                      <a:pt x="1687" y="1041"/>
                    </a:lnTo>
                    <a:lnTo>
                      <a:pt x="1750" y="1041"/>
                    </a:lnTo>
                    <a:lnTo>
                      <a:pt x="1750" y="1041"/>
                    </a:lnTo>
                    <a:lnTo>
                      <a:pt x="1761" y="1040"/>
                    </a:lnTo>
                    <a:lnTo>
                      <a:pt x="1773" y="1038"/>
                    </a:lnTo>
                    <a:lnTo>
                      <a:pt x="1783" y="1036"/>
                    </a:lnTo>
                    <a:lnTo>
                      <a:pt x="1793" y="1032"/>
                    </a:lnTo>
                    <a:lnTo>
                      <a:pt x="1802" y="1028"/>
                    </a:lnTo>
                    <a:lnTo>
                      <a:pt x="1812" y="1021"/>
                    </a:lnTo>
                    <a:lnTo>
                      <a:pt x="1820" y="1015"/>
                    </a:lnTo>
                    <a:lnTo>
                      <a:pt x="1828" y="1008"/>
                    </a:lnTo>
                    <a:lnTo>
                      <a:pt x="1835" y="1000"/>
                    </a:lnTo>
                    <a:lnTo>
                      <a:pt x="1841" y="992"/>
                    </a:lnTo>
                    <a:lnTo>
                      <a:pt x="1847" y="982"/>
                    </a:lnTo>
                    <a:lnTo>
                      <a:pt x="1852" y="973"/>
                    </a:lnTo>
                    <a:lnTo>
                      <a:pt x="1855" y="963"/>
                    </a:lnTo>
                    <a:lnTo>
                      <a:pt x="1858" y="953"/>
                    </a:lnTo>
                    <a:lnTo>
                      <a:pt x="1860" y="941"/>
                    </a:lnTo>
                    <a:lnTo>
                      <a:pt x="1860" y="930"/>
                    </a:lnTo>
                    <a:lnTo>
                      <a:pt x="1860" y="0"/>
                    </a:lnTo>
                    <a:lnTo>
                      <a:pt x="1636" y="193"/>
                    </a:lnTo>
                    <a:lnTo>
                      <a:pt x="1636" y="193"/>
                    </a:lnTo>
                    <a:lnTo>
                      <a:pt x="1625" y="202"/>
                    </a:lnTo>
                    <a:lnTo>
                      <a:pt x="1614" y="211"/>
                    </a:lnTo>
                    <a:lnTo>
                      <a:pt x="1600" y="219"/>
                    </a:lnTo>
                    <a:lnTo>
                      <a:pt x="1587" y="227"/>
                    </a:lnTo>
                    <a:lnTo>
                      <a:pt x="1573" y="235"/>
                    </a:lnTo>
                    <a:lnTo>
                      <a:pt x="1558" y="242"/>
                    </a:lnTo>
                    <a:lnTo>
                      <a:pt x="1527" y="254"/>
                    </a:lnTo>
                    <a:lnTo>
                      <a:pt x="1497" y="264"/>
                    </a:lnTo>
                    <a:lnTo>
                      <a:pt x="1481" y="268"/>
                    </a:lnTo>
                    <a:lnTo>
                      <a:pt x="1465" y="272"/>
                    </a:lnTo>
                    <a:lnTo>
                      <a:pt x="1449" y="276"/>
                    </a:lnTo>
                    <a:lnTo>
                      <a:pt x="1435" y="278"/>
                    </a:lnTo>
                    <a:lnTo>
                      <a:pt x="1420" y="279"/>
                    </a:lnTo>
                    <a:lnTo>
                      <a:pt x="1406" y="279"/>
                    </a:lnTo>
                    <a:lnTo>
                      <a:pt x="1406"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DC548"/>
                  </a:solidFill>
                  <a:effectLst/>
                  <a:uLnTx/>
                  <a:uFillTx/>
                </a:endParaRPr>
              </a:p>
            </p:txBody>
          </p:sp>
        </p:grpSp>
      </p:grpSp>
      <p:grpSp>
        <p:nvGrpSpPr>
          <p:cNvPr id="1377" name="Group 1376"/>
          <p:cNvGrpSpPr/>
          <p:nvPr/>
        </p:nvGrpSpPr>
        <p:grpSpPr>
          <a:xfrm>
            <a:off x="7604660" y="1260439"/>
            <a:ext cx="2175744" cy="784635"/>
            <a:chOff x="7335453" y="1428323"/>
            <a:chExt cx="2435056" cy="655472"/>
          </a:xfrm>
        </p:grpSpPr>
        <p:sp>
          <p:nvSpPr>
            <p:cNvPr id="465" name="Rectangle 464"/>
            <p:cNvSpPr/>
            <p:nvPr/>
          </p:nvSpPr>
          <p:spPr bwMode="auto">
            <a:xfrm>
              <a:off x="7335453" y="1428323"/>
              <a:ext cx="2421412" cy="655472"/>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18872"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Alleviate the hassle of city parking by providing citizens with views of parking availability and secure automated payment systems</a:t>
              </a:r>
            </a:p>
          </p:txBody>
        </p:sp>
        <p:cxnSp>
          <p:nvCxnSpPr>
            <p:cNvPr id="1020" name="Straight Connector 1019"/>
            <p:cNvCxnSpPr/>
            <p:nvPr/>
          </p:nvCxnSpPr>
          <p:spPr>
            <a:xfrm flipH="1">
              <a:off x="7337399" y="2083239"/>
              <a:ext cx="243311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17" name="Group 516"/>
          <p:cNvGrpSpPr/>
          <p:nvPr/>
        </p:nvGrpSpPr>
        <p:grpSpPr>
          <a:xfrm>
            <a:off x="2315607" y="4633429"/>
            <a:ext cx="2492696" cy="745534"/>
            <a:chOff x="2874754" y="4374178"/>
            <a:chExt cx="1503740" cy="754536"/>
          </a:xfrm>
        </p:grpSpPr>
        <p:sp>
          <p:nvSpPr>
            <p:cNvPr id="610" name="Rectangle 609"/>
            <p:cNvSpPr/>
            <p:nvPr/>
          </p:nvSpPr>
          <p:spPr bwMode="auto">
            <a:xfrm>
              <a:off x="2874754" y="4374178"/>
              <a:ext cx="1503740" cy="754536"/>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Keep more vehicles in service and improve fuel efficiency with alerts from vehicle, train, and plane sensors that notify technicians of conditional maintenance needs</a:t>
              </a:r>
            </a:p>
          </p:txBody>
        </p:sp>
        <p:cxnSp>
          <p:nvCxnSpPr>
            <p:cNvPr id="110" name="Straight Connector 109"/>
            <p:cNvCxnSpPr/>
            <p:nvPr/>
          </p:nvCxnSpPr>
          <p:spPr>
            <a:xfrm>
              <a:off x="2877706" y="4374178"/>
              <a:ext cx="0" cy="752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390" name="Group 1389"/>
          <p:cNvGrpSpPr/>
          <p:nvPr/>
        </p:nvGrpSpPr>
        <p:grpSpPr>
          <a:xfrm>
            <a:off x="379567" y="5664316"/>
            <a:ext cx="2477308" cy="700890"/>
            <a:chOff x="341450" y="5662443"/>
            <a:chExt cx="2094494" cy="740895"/>
          </a:xfrm>
        </p:grpSpPr>
        <p:sp>
          <p:nvSpPr>
            <p:cNvPr id="613" name="Rectangle 612"/>
            <p:cNvSpPr/>
            <p:nvPr/>
          </p:nvSpPr>
          <p:spPr bwMode="auto">
            <a:xfrm>
              <a:off x="341450" y="5668857"/>
              <a:ext cx="2094494" cy="734481"/>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Securely monitor and manage all station or airport assets—everything from escalators and HVAC control systems to video and communication networks</a:t>
              </a:r>
            </a:p>
          </p:txBody>
        </p:sp>
        <p:cxnSp>
          <p:nvCxnSpPr>
            <p:cNvPr id="1050" name="Straight Connector 1049"/>
            <p:cNvCxnSpPr/>
            <p:nvPr/>
          </p:nvCxnSpPr>
          <p:spPr>
            <a:xfrm>
              <a:off x="2434017" y="5662443"/>
              <a:ext cx="0" cy="73361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7" name="Group 116"/>
          <p:cNvGrpSpPr/>
          <p:nvPr/>
        </p:nvGrpSpPr>
        <p:grpSpPr>
          <a:xfrm flipH="1">
            <a:off x="6640669" y="3824761"/>
            <a:ext cx="1181846" cy="1177488"/>
            <a:chOff x="5442459" y="6856973"/>
            <a:chExt cx="783336" cy="692727"/>
          </a:xfrm>
        </p:grpSpPr>
        <p:grpSp>
          <p:nvGrpSpPr>
            <p:cNvPr id="118" name="Group 117"/>
            <p:cNvGrpSpPr/>
            <p:nvPr/>
          </p:nvGrpSpPr>
          <p:grpSpPr>
            <a:xfrm>
              <a:off x="5442461" y="6902068"/>
              <a:ext cx="783334" cy="647632"/>
              <a:chOff x="5442461" y="6902068"/>
              <a:chExt cx="783334" cy="647632"/>
            </a:xfrm>
            <a:solidFill>
              <a:schemeClr val="bg1">
                <a:lumMod val="65000"/>
              </a:schemeClr>
            </a:solidFill>
          </p:grpSpPr>
          <p:sp>
            <p:nvSpPr>
              <p:cNvPr id="120" name="Rectangle 119"/>
              <p:cNvSpPr/>
              <p:nvPr/>
            </p:nvSpPr>
            <p:spPr bwMode="auto">
              <a:xfrm>
                <a:off x="5442461" y="7132320"/>
                <a:ext cx="783334" cy="417380"/>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1" name="Rectangle 120"/>
              <p:cNvSpPr/>
              <p:nvPr/>
            </p:nvSpPr>
            <p:spPr bwMode="auto">
              <a:xfrm>
                <a:off x="5891019" y="6902068"/>
                <a:ext cx="312739" cy="346364"/>
              </a:xfrm>
              <a:prstGeom prst="rect">
                <a:avLst/>
              </a:prstGeom>
              <a:solidFill>
                <a:srgbClr val="0055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19" name="Freeform 352"/>
            <p:cNvSpPr>
              <a:spLocks noChangeAspect="1" noEditPoints="1"/>
            </p:cNvSpPr>
            <p:nvPr/>
          </p:nvSpPr>
          <p:spPr bwMode="auto">
            <a:xfrm>
              <a:off x="5442459" y="6856973"/>
              <a:ext cx="783335" cy="692727"/>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rgbClr val="00405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2" name="Group 11"/>
          <p:cNvGrpSpPr/>
          <p:nvPr/>
        </p:nvGrpSpPr>
        <p:grpSpPr>
          <a:xfrm>
            <a:off x="6540411" y="4115102"/>
            <a:ext cx="2211748" cy="760231"/>
            <a:chOff x="6419940" y="3935981"/>
            <a:chExt cx="2211748" cy="754830"/>
          </a:xfrm>
        </p:grpSpPr>
        <p:sp>
          <p:nvSpPr>
            <p:cNvPr id="1048" name="Rectangle 1047"/>
            <p:cNvSpPr/>
            <p:nvPr/>
          </p:nvSpPr>
          <p:spPr bwMode="auto">
            <a:xfrm>
              <a:off x="6424433" y="3935981"/>
              <a:ext cx="2207255" cy="752761"/>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Increase transit utilization and reduce spending on under-utilized routes by adjusting routes and capacity according </a:t>
              </a:r>
              <a:br>
                <a:rPr kumimoji="0" lang="en-US" sz="900" b="0" i="0" u="none" strike="noStrike" kern="0" cap="none" spc="0" normalizeH="0" baseline="0" noProof="0" dirty="0">
                  <a:ln>
                    <a:noFill/>
                  </a:ln>
                  <a:solidFill>
                    <a:srgbClr val="FFFFFF"/>
                  </a:solidFill>
                  <a:effectLst/>
                  <a:uLnTx/>
                  <a:uFillTx/>
                </a:rPr>
              </a:br>
              <a:r>
                <a:rPr kumimoji="0" lang="en-US" sz="900" b="0" i="0" u="none" strike="noStrike" kern="0" cap="none" spc="0" normalizeH="0" baseline="0" noProof="0" dirty="0">
                  <a:ln>
                    <a:noFill/>
                  </a:ln>
                  <a:solidFill>
                    <a:srgbClr val="FFFFFF"/>
                  </a:solidFill>
                  <a:effectLst/>
                  <a:uLnTx/>
                  <a:uFillTx/>
                </a:rPr>
                <a:t>to trends in occupancy data</a:t>
              </a:r>
            </a:p>
          </p:txBody>
        </p:sp>
        <p:cxnSp>
          <p:nvCxnSpPr>
            <p:cNvPr id="1049" name="Straight Connector 1048"/>
            <p:cNvCxnSpPr/>
            <p:nvPr/>
          </p:nvCxnSpPr>
          <p:spPr>
            <a:xfrm>
              <a:off x="6419940" y="3942456"/>
              <a:ext cx="0" cy="74835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147" name="Straight Connector 146"/>
          <p:cNvCxnSpPr/>
          <p:nvPr/>
        </p:nvCxnSpPr>
        <p:spPr>
          <a:xfrm>
            <a:off x="4301510" y="5525854"/>
            <a:ext cx="275984" cy="626753"/>
          </a:xfrm>
          <a:prstGeom prst="line">
            <a:avLst/>
          </a:prstGeom>
          <a:ln w="22225" cap="rnd">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494" name="Rectangle 493"/>
          <p:cNvSpPr/>
          <p:nvPr/>
        </p:nvSpPr>
        <p:spPr bwMode="auto">
          <a:xfrm>
            <a:off x="188677" y="5456962"/>
            <a:ext cx="9693819" cy="93162"/>
          </a:xfrm>
          <a:prstGeom prst="rect">
            <a:avLst/>
          </a:prstGeom>
          <a:pattFill prst="wdUpDiag">
            <a:fgClr>
              <a:schemeClr val="accent5">
                <a:lumMod val="75000"/>
              </a:schemeClr>
            </a:fgClr>
            <a:bgClr>
              <a:schemeClr val="tx1">
                <a:lumMod val="90000"/>
                <a:lumOff val="10000"/>
              </a:schemeClr>
            </a:bgClr>
          </a:pattFill>
          <a:ln w="19050">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926" name="Group 925"/>
          <p:cNvGrpSpPr/>
          <p:nvPr/>
        </p:nvGrpSpPr>
        <p:grpSpPr>
          <a:xfrm flipH="1">
            <a:off x="4038355" y="5824704"/>
            <a:ext cx="186513" cy="344605"/>
            <a:chOff x="5200664" y="5431932"/>
            <a:chExt cx="273073" cy="504535"/>
          </a:xfrm>
          <a:solidFill>
            <a:schemeClr val="bg1"/>
          </a:solidFill>
        </p:grpSpPr>
        <p:sp>
          <p:nvSpPr>
            <p:cNvPr id="927" name="Oval 58"/>
            <p:cNvSpPr/>
            <p:nvPr/>
          </p:nvSpPr>
          <p:spPr bwMode="auto">
            <a:xfrm>
              <a:off x="5271337" y="5431932"/>
              <a:ext cx="202400" cy="504535"/>
            </a:xfrm>
            <a:custGeom>
              <a:avLst/>
              <a:gdLst/>
              <a:ahLst/>
              <a:cxnLst/>
              <a:rect l="l" t="t" r="r" b="b"/>
              <a:pathLst>
                <a:path w="746519" h="1860882">
                  <a:moveTo>
                    <a:pt x="167038" y="361990"/>
                  </a:moveTo>
                  <a:lnTo>
                    <a:pt x="576950" y="361990"/>
                  </a:lnTo>
                  <a:cubicBezTo>
                    <a:pt x="667803" y="361990"/>
                    <a:pt x="741454" y="429907"/>
                    <a:pt x="741454" y="513688"/>
                  </a:cubicBezTo>
                  <a:lnTo>
                    <a:pt x="741454" y="578527"/>
                  </a:lnTo>
                  <a:lnTo>
                    <a:pt x="741454" y="822418"/>
                  </a:lnTo>
                  <a:lnTo>
                    <a:pt x="746519" y="1035341"/>
                  </a:lnTo>
                  <a:cubicBezTo>
                    <a:pt x="746519" y="1060166"/>
                    <a:pt x="712757" y="1069136"/>
                    <a:pt x="695242" y="1069994"/>
                  </a:cubicBezTo>
                  <a:cubicBezTo>
                    <a:pt x="677728" y="1070852"/>
                    <a:pt x="641431" y="1065315"/>
                    <a:pt x="641431" y="1040490"/>
                  </a:cubicBezTo>
                  <a:cubicBezTo>
                    <a:pt x="641335" y="933656"/>
                    <a:pt x="641239" y="826821"/>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lnTo>
                    <a:pt x="413651" y="1183095"/>
                  </a:lnTo>
                  <a:cubicBezTo>
                    <a:pt x="413651" y="1171546"/>
                    <a:pt x="403499" y="1162184"/>
                    <a:pt x="390975" y="1162184"/>
                  </a:cubicBezTo>
                  <a:lnTo>
                    <a:pt x="353012" y="1162184"/>
                  </a:lnTo>
                  <a:cubicBezTo>
                    <a:pt x="340488" y="1162184"/>
                    <a:pt x="330336" y="1171546"/>
                    <a:pt x="330336" y="1183095"/>
                  </a:cubicBezTo>
                  <a:lnTo>
                    <a:pt x="330336" y="1204005"/>
                  </a:lnTo>
                  <a:lnTo>
                    <a:pt x="333806" y="1788305"/>
                  </a:lnTo>
                  <a:cubicBezTo>
                    <a:pt x="333806" y="1828388"/>
                    <a:pt x="298569" y="1860882"/>
                    <a:pt x="255103" y="1860882"/>
                  </a:cubicBezTo>
                  <a:lnTo>
                    <a:pt x="255103" y="1860881"/>
                  </a:lnTo>
                  <a:cubicBezTo>
                    <a:pt x="211636" y="1860881"/>
                    <a:pt x="176400" y="1828388"/>
                    <a:pt x="176400" y="1788305"/>
                  </a:cubicBezTo>
                  <a:lnTo>
                    <a:pt x="176134" y="724482"/>
                  </a:ln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lnTo>
                    <a:pt x="2533" y="822418"/>
                  </a:ln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solidFill>
                  <a:srgbClr val="8DC548"/>
                </a:solidFill>
                <a:effectLst/>
                <a:uLnTx/>
                <a:uFillTx/>
                <a:ea typeface="Segoe UI" pitchFamily="34" charset="0"/>
                <a:cs typeface="Segoe UI" pitchFamily="34" charset="0"/>
              </a:endParaRPr>
            </a:p>
          </p:txBody>
        </p:sp>
        <p:grpSp>
          <p:nvGrpSpPr>
            <p:cNvPr id="950" name="Group 949"/>
            <p:cNvGrpSpPr>
              <a:grpSpLocks noChangeAspect="1"/>
            </p:cNvGrpSpPr>
            <p:nvPr/>
          </p:nvGrpSpPr>
          <p:grpSpPr>
            <a:xfrm>
              <a:off x="5200664" y="5703144"/>
              <a:ext cx="161595" cy="159154"/>
              <a:chOff x="10377492" y="4644232"/>
              <a:chExt cx="420688" cy="414337"/>
            </a:xfrm>
            <a:grpFill/>
          </p:grpSpPr>
          <p:sp>
            <p:nvSpPr>
              <p:cNvPr id="969" name="Freeform 197"/>
              <p:cNvSpPr>
                <a:spLocks noEditPoints="1"/>
              </p:cNvSpPr>
              <p:nvPr/>
            </p:nvSpPr>
            <p:spPr bwMode="auto">
              <a:xfrm>
                <a:off x="10377492" y="4644232"/>
                <a:ext cx="420688" cy="201613"/>
              </a:xfrm>
              <a:custGeom>
                <a:avLst/>
                <a:gdLst>
                  <a:gd name="T0" fmla="*/ 1268 w 1860"/>
                  <a:gd name="T1" fmla="*/ 188 h 891"/>
                  <a:gd name="T2" fmla="*/ 1265 w 1860"/>
                  <a:gd name="T3" fmla="*/ 150 h 891"/>
                  <a:gd name="T4" fmla="*/ 1245 w 1860"/>
                  <a:gd name="T5" fmla="*/ 99 h 891"/>
                  <a:gd name="T6" fmla="*/ 1213 w 1860"/>
                  <a:gd name="T7" fmla="*/ 56 h 891"/>
                  <a:gd name="T8" fmla="*/ 1169 w 1860"/>
                  <a:gd name="T9" fmla="*/ 23 h 891"/>
                  <a:gd name="T10" fmla="*/ 1118 w 1860"/>
                  <a:gd name="T11" fmla="*/ 4 h 891"/>
                  <a:gd name="T12" fmla="*/ 779 w 1860"/>
                  <a:gd name="T13" fmla="*/ 0 h 891"/>
                  <a:gd name="T14" fmla="*/ 741 w 1860"/>
                  <a:gd name="T15" fmla="*/ 4 h 891"/>
                  <a:gd name="T16" fmla="*/ 689 w 1860"/>
                  <a:gd name="T17" fmla="*/ 23 h 891"/>
                  <a:gd name="T18" fmla="*/ 646 w 1860"/>
                  <a:gd name="T19" fmla="*/ 56 h 891"/>
                  <a:gd name="T20" fmla="*/ 614 w 1860"/>
                  <a:gd name="T21" fmla="*/ 99 h 891"/>
                  <a:gd name="T22" fmla="*/ 595 w 1860"/>
                  <a:gd name="T23" fmla="*/ 150 h 891"/>
                  <a:gd name="T24" fmla="*/ 592 w 1860"/>
                  <a:gd name="T25" fmla="*/ 305 h 891"/>
                  <a:gd name="T26" fmla="*/ 98 w 1860"/>
                  <a:gd name="T27" fmla="*/ 305 h 891"/>
                  <a:gd name="T28" fmla="*/ 66 w 1860"/>
                  <a:gd name="T29" fmla="*/ 313 h 891"/>
                  <a:gd name="T30" fmla="*/ 40 w 1860"/>
                  <a:gd name="T31" fmla="*/ 330 h 891"/>
                  <a:gd name="T32" fmla="*/ 18 w 1860"/>
                  <a:gd name="T33" fmla="*/ 353 h 891"/>
                  <a:gd name="T34" fmla="*/ 4 w 1860"/>
                  <a:gd name="T35" fmla="*/ 382 h 891"/>
                  <a:gd name="T36" fmla="*/ 0 w 1860"/>
                  <a:gd name="T37" fmla="*/ 415 h 891"/>
                  <a:gd name="T38" fmla="*/ 8 w 1860"/>
                  <a:gd name="T39" fmla="*/ 570 h 891"/>
                  <a:gd name="T40" fmla="*/ 41 w 1860"/>
                  <a:gd name="T41" fmla="*/ 611 h 891"/>
                  <a:gd name="T42" fmla="*/ 312 w 1860"/>
                  <a:gd name="T43" fmla="*/ 844 h 891"/>
                  <a:gd name="T44" fmla="*/ 371 w 1860"/>
                  <a:gd name="T45" fmla="*/ 872 h 891"/>
                  <a:gd name="T46" fmla="*/ 435 w 1860"/>
                  <a:gd name="T47" fmla="*/ 889 h 891"/>
                  <a:gd name="T48" fmla="*/ 1406 w 1860"/>
                  <a:gd name="T49" fmla="*/ 891 h 891"/>
                  <a:gd name="T50" fmla="*/ 1467 w 1860"/>
                  <a:gd name="T51" fmla="*/ 880 h 891"/>
                  <a:gd name="T52" fmla="*/ 1529 w 1860"/>
                  <a:gd name="T53" fmla="*/ 854 h 891"/>
                  <a:gd name="T54" fmla="*/ 1819 w 1860"/>
                  <a:gd name="T55" fmla="*/ 611 h 891"/>
                  <a:gd name="T56" fmla="*/ 1840 w 1860"/>
                  <a:gd name="T57" fmla="*/ 585 h 891"/>
                  <a:gd name="T58" fmla="*/ 1860 w 1860"/>
                  <a:gd name="T59" fmla="*/ 415 h 891"/>
                  <a:gd name="T60" fmla="*/ 1858 w 1860"/>
                  <a:gd name="T61" fmla="*/ 392 h 891"/>
                  <a:gd name="T62" fmla="*/ 1847 w 1860"/>
                  <a:gd name="T63" fmla="*/ 362 h 891"/>
                  <a:gd name="T64" fmla="*/ 1828 w 1860"/>
                  <a:gd name="T65" fmla="*/ 337 h 891"/>
                  <a:gd name="T66" fmla="*/ 1802 w 1860"/>
                  <a:gd name="T67" fmla="*/ 317 h 891"/>
                  <a:gd name="T68" fmla="*/ 1773 w 1860"/>
                  <a:gd name="T69" fmla="*/ 307 h 891"/>
                  <a:gd name="T70" fmla="*/ 1750 w 1860"/>
                  <a:gd name="T71" fmla="*/ 305 h 891"/>
                  <a:gd name="T72" fmla="*/ 748 w 1860"/>
                  <a:gd name="T73" fmla="*/ 182 h 891"/>
                  <a:gd name="T74" fmla="*/ 756 w 1860"/>
                  <a:gd name="T75" fmla="*/ 166 h 891"/>
                  <a:gd name="T76" fmla="*/ 772 w 1860"/>
                  <a:gd name="T77" fmla="*/ 156 h 891"/>
                  <a:gd name="T78" fmla="*/ 1080 w 1860"/>
                  <a:gd name="T79" fmla="*/ 155 h 891"/>
                  <a:gd name="T80" fmla="*/ 1099 w 1860"/>
                  <a:gd name="T81" fmla="*/ 161 h 891"/>
                  <a:gd name="T82" fmla="*/ 1110 w 1860"/>
                  <a:gd name="T83" fmla="*/ 176 h 891"/>
                  <a:gd name="T84" fmla="*/ 1113 w 1860"/>
                  <a:gd name="T85" fmla="*/ 305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60" h="891">
                    <a:moveTo>
                      <a:pt x="1750" y="305"/>
                    </a:moveTo>
                    <a:lnTo>
                      <a:pt x="1268" y="305"/>
                    </a:lnTo>
                    <a:lnTo>
                      <a:pt x="1268" y="188"/>
                    </a:lnTo>
                    <a:lnTo>
                      <a:pt x="1268" y="188"/>
                    </a:lnTo>
                    <a:lnTo>
                      <a:pt x="1267" y="169"/>
                    </a:lnTo>
                    <a:lnTo>
                      <a:pt x="1265" y="150"/>
                    </a:lnTo>
                    <a:lnTo>
                      <a:pt x="1260" y="133"/>
                    </a:lnTo>
                    <a:lnTo>
                      <a:pt x="1253" y="115"/>
                    </a:lnTo>
                    <a:lnTo>
                      <a:pt x="1245" y="99"/>
                    </a:lnTo>
                    <a:lnTo>
                      <a:pt x="1236" y="83"/>
                    </a:lnTo>
                    <a:lnTo>
                      <a:pt x="1225" y="69"/>
                    </a:lnTo>
                    <a:lnTo>
                      <a:pt x="1213" y="56"/>
                    </a:lnTo>
                    <a:lnTo>
                      <a:pt x="1200" y="43"/>
                    </a:lnTo>
                    <a:lnTo>
                      <a:pt x="1186" y="32"/>
                    </a:lnTo>
                    <a:lnTo>
                      <a:pt x="1169" y="23"/>
                    </a:lnTo>
                    <a:lnTo>
                      <a:pt x="1153" y="15"/>
                    </a:lnTo>
                    <a:lnTo>
                      <a:pt x="1136" y="9"/>
                    </a:lnTo>
                    <a:lnTo>
                      <a:pt x="1118" y="4"/>
                    </a:lnTo>
                    <a:lnTo>
                      <a:pt x="1100" y="1"/>
                    </a:lnTo>
                    <a:lnTo>
                      <a:pt x="1080" y="0"/>
                    </a:lnTo>
                    <a:lnTo>
                      <a:pt x="779" y="0"/>
                    </a:lnTo>
                    <a:lnTo>
                      <a:pt x="779" y="0"/>
                    </a:lnTo>
                    <a:lnTo>
                      <a:pt x="760" y="1"/>
                    </a:lnTo>
                    <a:lnTo>
                      <a:pt x="741" y="4"/>
                    </a:lnTo>
                    <a:lnTo>
                      <a:pt x="723" y="9"/>
                    </a:lnTo>
                    <a:lnTo>
                      <a:pt x="706" y="15"/>
                    </a:lnTo>
                    <a:lnTo>
                      <a:pt x="689" y="23"/>
                    </a:lnTo>
                    <a:lnTo>
                      <a:pt x="674" y="32"/>
                    </a:lnTo>
                    <a:lnTo>
                      <a:pt x="659" y="43"/>
                    </a:lnTo>
                    <a:lnTo>
                      <a:pt x="646" y="56"/>
                    </a:lnTo>
                    <a:lnTo>
                      <a:pt x="634" y="69"/>
                    </a:lnTo>
                    <a:lnTo>
                      <a:pt x="623" y="83"/>
                    </a:lnTo>
                    <a:lnTo>
                      <a:pt x="614" y="99"/>
                    </a:lnTo>
                    <a:lnTo>
                      <a:pt x="606" y="115"/>
                    </a:lnTo>
                    <a:lnTo>
                      <a:pt x="600" y="133"/>
                    </a:lnTo>
                    <a:lnTo>
                      <a:pt x="595" y="150"/>
                    </a:lnTo>
                    <a:lnTo>
                      <a:pt x="593" y="169"/>
                    </a:lnTo>
                    <a:lnTo>
                      <a:pt x="592" y="188"/>
                    </a:lnTo>
                    <a:lnTo>
                      <a:pt x="592" y="305"/>
                    </a:lnTo>
                    <a:lnTo>
                      <a:pt x="109" y="305"/>
                    </a:lnTo>
                    <a:lnTo>
                      <a:pt x="109" y="305"/>
                    </a:lnTo>
                    <a:lnTo>
                      <a:pt x="98" y="305"/>
                    </a:lnTo>
                    <a:lnTo>
                      <a:pt x="87" y="307"/>
                    </a:lnTo>
                    <a:lnTo>
                      <a:pt x="77" y="309"/>
                    </a:lnTo>
                    <a:lnTo>
                      <a:pt x="66" y="313"/>
                    </a:lnTo>
                    <a:lnTo>
                      <a:pt x="57" y="317"/>
                    </a:lnTo>
                    <a:lnTo>
                      <a:pt x="48" y="323"/>
                    </a:lnTo>
                    <a:lnTo>
                      <a:pt x="40" y="330"/>
                    </a:lnTo>
                    <a:lnTo>
                      <a:pt x="31" y="337"/>
                    </a:lnTo>
                    <a:lnTo>
                      <a:pt x="24" y="345"/>
                    </a:lnTo>
                    <a:lnTo>
                      <a:pt x="18" y="353"/>
                    </a:lnTo>
                    <a:lnTo>
                      <a:pt x="13" y="362"/>
                    </a:lnTo>
                    <a:lnTo>
                      <a:pt x="8" y="372"/>
                    </a:lnTo>
                    <a:lnTo>
                      <a:pt x="4" y="382"/>
                    </a:lnTo>
                    <a:lnTo>
                      <a:pt x="2" y="392"/>
                    </a:lnTo>
                    <a:lnTo>
                      <a:pt x="0" y="404"/>
                    </a:lnTo>
                    <a:lnTo>
                      <a:pt x="0" y="415"/>
                    </a:lnTo>
                    <a:lnTo>
                      <a:pt x="0" y="552"/>
                    </a:lnTo>
                    <a:lnTo>
                      <a:pt x="0" y="552"/>
                    </a:lnTo>
                    <a:lnTo>
                      <a:pt x="8" y="570"/>
                    </a:lnTo>
                    <a:lnTo>
                      <a:pt x="18" y="585"/>
                    </a:lnTo>
                    <a:lnTo>
                      <a:pt x="29" y="599"/>
                    </a:lnTo>
                    <a:lnTo>
                      <a:pt x="41" y="611"/>
                    </a:lnTo>
                    <a:lnTo>
                      <a:pt x="296" y="832"/>
                    </a:lnTo>
                    <a:lnTo>
                      <a:pt x="296" y="832"/>
                    </a:lnTo>
                    <a:lnTo>
                      <a:pt x="312" y="844"/>
                    </a:lnTo>
                    <a:lnTo>
                      <a:pt x="329" y="854"/>
                    </a:lnTo>
                    <a:lnTo>
                      <a:pt x="349" y="864"/>
                    </a:lnTo>
                    <a:lnTo>
                      <a:pt x="371" y="872"/>
                    </a:lnTo>
                    <a:lnTo>
                      <a:pt x="393" y="880"/>
                    </a:lnTo>
                    <a:lnTo>
                      <a:pt x="414" y="886"/>
                    </a:lnTo>
                    <a:lnTo>
                      <a:pt x="435" y="889"/>
                    </a:lnTo>
                    <a:lnTo>
                      <a:pt x="453" y="891"/>
                    </a:lnTo>
                    <a:lnTo>
                      <a:pt x="1406" y="891"/>
                    </a:lnTo>
                    <a:lnTo>
                      <a:pt x="1406" y="891"/>
                    </a:lnTo>
                    <a:lnTo>
                      <a:pt x="1425" y="889"/>
                    </a:lnTo>
                    <a:lnTo>
                      <a:pt x="1445" y="886"/>
                    </a:lnTo>
                    <a:lnTo>
                      <a:pt x="1467" y="880"/>
                    </a:lnTo>
                    <a:lnTo>
                      <a:pt x="1488" y="872"/>
                    </a:lnTo>
                    <a:lnTo>
                      <a:pt x="1510" y="864"/>
                    </a:lnTo>
                    <a:lnTo>
                      <a:pt x="1529" y="854"/>
                    </a:lnTo>
                    <a:lnTo>
                      <a:pt x="1548" y="844"/>
                    </a:lnTo>
                    <a:lnTo>
                      <a:pt x="1562" y="832"/>
                    </a:lnTo>
                    <a:lnTo>
                      <a:pt x="1819" y="611"/>
                    </a:lnTo>
                    <a:lnTo>
                      <a:pt x="1819" y="611"/>
                    </a:lnTo>
                    <a:lnTo>
                      <a:pt x="1830" y="599"/>
                    </a:lnTo>
                    <a:lnTo>
                      <a:pt x="1840" y="585"/>
                    </a:lnTo>
                    <a:lnTo>
                      <a:pt x="1851" y="570"/>
                    </a:lnTo>
                    <a:lnTo>
                      <a:pt x="1860" y="552"/>
                    </a:lnTo>
                    <a:lnTo>
                      <a:pt x="1860" y="415"/>
                    </a:lnTo>
                    <a:lnTo>
                      <a:pt x="1860" y="415"/>
                    </a:lnTo>
                    <a:lnTo>
                      <a:pt x="1860" y="404"/>
                    </a:lnTo>
                    <a:lnTo>
                      <a:pt x="1858" y="392"/>
                    </a:lnTo>
                    <a:lnTo>
                      <a:pt x="1855" y="382"/>
                    </a:lnTo>
                    <a:lnTo>
                      <a:pt x="1852" y="372"/>
                    </a:lnTo>
                    <a:lnTo>
                      <a:pt x="1847" y="362"/>
                    </a:lnTo>
                    <a:lnTo>
                      <a:pt x="1841" y="353"/>
                    </a:lnTo>
                    <a:lnTo>
                      <a:pt x="1835" y="345"/>
                    </a:lnTo>
                    <a:lnTo>
                      <a:pt x="1828" y="337"/>
                    </a:lnTo>
                    <a:lnTo>
                      <a:pt x="1820" y="330"/>
                    </a:lnTo>
                    <a:lnTo>
                      <a:pt x="1812" y="323"/>
                    </a:lnTo>
                    <a:lnTo>
                      <a:pt x="1802" y="317"/>
                    </a:lnTo>
                    <a:lnTo>
                      <a:pt x="1793" y="313"/>
                    </a:lnTo>
                    <a:lnTo>
                      <a:pt x="1783" y="309"/>
                    </a:lnTo>
                    <a:lnTo>
                      <a:pt x="1773" y="307"/>
                    </a:lnTo>
                    <a:lnTo>
                      <a:pt x="1761" y="305"/>
                    </a:lnTo>
                    <a:lnTo>
                      <a:pt x="1750" y="305"/>
                    </a:lnTo>
                    <a:lnTo>
                      <a:pt x="1750" y="305"/>
                    </a:lnTo>
                    <a:close/>
                    <a:moveTo>
                      <a:pt x="747" y="188"/>
                    </a:moveTo>
                    <a:lnTo>
                      <a:pt x="747" y="188"/>
                    </a:lnTo>
                    <a:lnTo>
                      <a:pt x="748" y="182"/>
                    </a:lnTo>
                    <a:lnTo>
                      <a:pt x="749" y="176"/>
                    </a:lnTo>
                    <a:lnTo>
                      <a:pt x="752" y="171"/>
                    </a:lnTo>
                    <a:lnTo>
                      <a:pt x="756" y="166"/>
                    </a:lnTo>
                    <a:lnTo>
                      <a:pt x="761" y="161"/>
                    </a:lnTo>
                    <a:lnTo>
                      <a:pt x="766" y="158"/>
                    </a:lnTo>
                    <a:lnTo>
                      <a:pt x="772" y="156"/>
                    </a:lnTo>
                    <a:lnTo>
                      <a:pt x="779" y="155"/>
                    </a:lnTo>
                    <a:lnTo>
                      <a:pt x="1080" y="155"/>
                    </a:lnTo>
                    <a:lnTo>
                      <a:pt x="1080" y="155"/>
                    </a:lnTo>
                    <a:lnTo>
                      <a:pt x="1087" y="156"/>
                    </a:lnTo>
                    <a:lnTo>
                      <a:pt x="1092" y="158"/>
                    </a:lnTo>
                    <a:lnTo>
                      <a:pt x="1099" y="161"/>
                    </a:lnTo>
                    <a:lnTo>
                      <a:pt x="1103" y="166"/>
                    </a:lnTo>
                    <a:lnTo>
                      <a:pt x="1107" y="171"/>
                    </a:lnTo>
                    <a:lnTo>
                      <a:pt x="1110" y="176"/>
                    </a:lnTo>
                    <a:lnTo>
                      <a:pt x="1112" y="182"/>
                    </a:lnTo>
                    <a:lnTo>
                      <a:pt x="1113" y="188"/>
                    </a:lnTo>
                    <a:lnTo>
                      <a:pt x="1113" y="305"/>
                    </a:lnTo>
                    <a:lnTo>
                      <a:pt x="747" y="305"/>
                    </a:lnTo>
                    <a:lnTo>
                      <a:pt x="747"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DC548"/>
                  </a:solidFill>
                  <a:effectLst/>
                  <a:uLnTx/>
                  <a:uFillTx/>
                </a:endParaRPr>
              </a:p>
            </p:txBody>
          </p:sp>
          <p:sp>
            <p:nvSpPr>
              <p:cNvPr id="992" name="Freeform 198"/>
              <p:cNvSpPr>
                <a:spLocks/>
              </p:cNvSpPr>
              <p:nvPr/>
            </p:nvSpPr>
            <p:spPr bwMode="auto">
              <a:xfrm>
                <a:off x="10377492" y="4807744"/>
                <a:ext cx="420688" cy="250825"/>
              </a:xfrm>
              <a:custGeom>
                <a:avLst/>
                <a:gdLst>
                  <a:gd name="T0" fmla="*/ 1056 w 1860"/>
                  <a:gd name="T1" fmla="*/ 392 h 1104"/>
                  <a:gd name="T2" fmla="*/ 1053 w 1860"/>
                  <a:gd name="T3" fmla="*/ 410 h 1104"/>
                  <a:gd name="T4" fmla="*/ 1037 w 1860"/>
                  <a:gd name="T5" fmla="*/ 428 h 1104"/>
                  <a:gd name="T6" fmla="*/ 1012 w 1860"/>
                  <a:gd name="T7" fmla="*/ 437 h 1104"/>
                  <a:gd name="T8" fmla="*/ 838 w 1860"/>
                  <a:gd name="T9" fmla="*/ 436 h 1104"/>
                  <a:gd name="T10" fmla="*/ 815 w 1860"/>
                  <a:gd name="T11" fmla="*/ 423 h 1104"/>
                  <a:gd name="T12" fmla="*/ 804 w 1860"/>
                  <a:gd name="T13" fmla="*/ 402 h 1104"/>
                  <a:gd name="T14" fmla="*/ 453 w 1860"/>
                  <a:gd name="T15" fmla="*/ 279 h 1104"/>
                  <a:gd name="T16" fmla="*/ 424 w 1860"/>
                  <a:gd name="T17" fmla="*/ 278 h 1104"/>
                  <a:gd name="T18" fmla="*/ 378 w 1860"/>
                  <a:gd name="T19" fmla="*/ 268 h 1104"/>
                  <a:gd name="T20" fmla="*/ 301 w 1860"/>
                  <a:gd name="T21" fmla="*/ 242 h 1104"/>
                  <a:gd name="T22" fmla="*/ 258 w 1860"/>
                  <a:gd name="T23" fmla="*/ 219 h 1104"/>
                  <a:gd name="T24" fmla="*/ 223 w 1860"/>
                  <a:gd name="T25" fmla="*/ 193 h 1104"/>
                  <a:gd name="T26" fmla="*/ 0 w 1860"/>
                  <a:gd name="T27" fmla="*/ 930 h 1104"/>
                  <a:gd name="T28" fmla="*/ 4 w 1860"/>
                  <a:gd name="T29" fmla="*/ 963 h 1104"/>
                  <a:gd name="T30" fmla="*/ 18 w 1860"/>
                  <a:gd name="T31" fmla="*/ 992 h 1104"/>
                  <a:gd name="T32" fmla="*/ 40 w 1860"/>
                  <a:gd name="T33" fmla="*/ 1015 h 1104"/>
                  <a:gd name="T34" fmla="*/ 66 w 1860"/>
                  <a:gd name="T35" fmla="*/ 1032 h 1104"/>
                  <a:gd name="T36" fmla="*/ 98 w 1860"/>
                  <a:gd name="T37" fmla="*/ 1040 h 1104"/>
                  <a:gd name="T38" fmla="*/ 172 w 1860"/>
                  <a:gd name="T39" fmla="*/ 1060 h 1104"/>
                  <a:gd name="T40" fmla="*/ 175 w 1860"/>
                  <a:gd name="T41" fmla="*/ 1077 h 1104"/>
                  <a:gd name="T42" fmla="*/ 191 w 1860"/>
                  <a:gd name="T43" fmla="*/ 1096 h 1104"/>
                  <a:gd name="T44" fmla="*/ 216 w 1860"/>
                  <a:gd name="T45" fmla="*/ 1104 h 1104"/>
                  <a:gd name="T46" fmla="*/ 380 w 1860"/>
                  <a:gd name="T47" fmla="*/ 1103 h 1104"/>
                  <a:gd name="T48" fmla="*/ 403 w 1860"/>
                  <a:gd name="T49" fmla="*/ 1091 h 1104"/>
                  <a:gd name="T50" fmla="*/ 414 w 1860"/>
                  <a:gd name="T51" fmla="*/ 1069 h 1104"/>
                  <a:gd name="T52" fmla="*/ 1443 w 1860"/>
                  <a:gd name="T53" fmla="*/ 1041 h 1104"/>
                  <a:gd name="T54" fmla="*/ 1444 w 1860"/>
                  <a:gd name="T55" fmla="*/ 1069 h 1104"/>
                  <a:gd name="T56" fmla="*/ 1457 w 1860"/>
                  <a:gd name="T57" fmla="*/ 1091 h 1104"/>
                  <a:gd name="T58" fmla="*/ 1479 w 1860"/>
                  <a:gd name="T59" fmla="*/ 1103 h 1104"/>
                  <a:gd name="T60" fmla="*/ 1643 w 1860"/>
                  <a:gd name="T61" fmla="*/ 1104 h 1104"/>
                  <a:gd name="T62" fmla="*/ 1668 w 1860"/>
                  <a:gd name="T63" fmla="*/ 1096 h 1104"/>
                  <a:gd name="T64" fmla="*/ 1684 w 1860"/>
                  <a:gd name="T65" fmla="*/ 1077 h 1104"/>
                  <a:gd name="T66" fmla="*/ 1687 w 1860"/>
                  <a:gd name="T67" fmla="*/ 1041 h 1104"/>
                  <a:gd name="T68" fmla="*/ 1761 w 1860"/>
                  <a:gd name="T69" fmla="*/ 1040 h 1104"/>
                  <a:gd name="T70" fmla="*/ 1793 w 1860"/>
                  <a:gd name="T71" fmla="*/ 1032 h 1104"/>
                  <a:gd name="T72" fmla="*/ 1820 w 1860"/>
                  <a:gd name="T73" fmla="*/ 1015 h 1104"/>
                  <a:gd name="T74" fmla="*/ 1841 w 1860"/>
                  <a:gd name="T75" fmla="*/ 992 h 1104"/>
                  <a:gd name="T76" fmla="*/ 1855 w 1860"/>
                  <a:gd name="T77" fmla="*/ 963 h 1104"/>
                  <a:gd name="T78" fmla="*/ 1860 w 1860"/>
                  <a:gd name="T79" fmla="*/ 930 h 1104"/>
                  <a:gd name="T80" fmla="*/ 1636 w 1860"/>
                  <a:gd name="T81" fmla="*/ 193 h 1104"/>
                  <a:gd name="T82" fmla="*/ 1600 w 1860"/>
                  <a:gd name="T83" fmla="*/ 219 h 1104"/>
                  <a:gd name="T84" fmla="*/ 1558 w 1860"/>
                  <a:gd name="T85" fmla="*/ 242 h 1104"/>
                  <a:gd name="T86" fmla="*/ 1481 w 1860"/>
                  <a:gd name="T87" fmla="*/ 268 h 1104"/>
                  <a:gd name="T88" fmla="*/ 1435 w 1860"/>
                  <a:gd name="T89" fmla="*/ 278 h 1104"/>
                  <a:gd name="T90" fmla="*/ 1406 w 1860"/>
                  <a:gd name="T91" fmla="*/ 279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0" h="1104">
                    <a:moveTo>
                      <a:pt x="1406" y="279"/>
                    </a:moveTo>
                    <a:lnTo>
                      <a:pt x="1056" y="279"/>
                    </a:lnTo>
                    <a:lnTo>
                      <a:pt x="1056" y="392"/>
                    </a:lnTo>
                    <a:lnTo>
                      <a:pt x="1056" y="392"/>
                    </a:lnTo>
                    <a:lnTo>
                      <a:pt x="1055" y="402"/>
                    </a:lnTo>
                    <a:lnTo>
                      <a:pt x="1053" y="410"/>
                    </a:lnTo>
                    <a:lnTo>
                      <a:pt x="1049" y="417"/>
                    </a:lnTo>
                    <a:lnTo>
                      <a:pt x="1044" y="423"/>
                    </a:lnTo>
                    <a:lnTo>
                      <a:pt x="1037" y="428"/>
                    </a:lnTo>
                    <a:lnTo>
                      <a:pt x="1030" y="433"/>
                    </a:lnTo>
                    <a:lnTo>
                      <a:pt x="1022" y="436"/>
                    </a:lnTo>
                    <a:lnTo>
                      <a:pt x="1012" y="437"/>
                    </a:lnTo>
                    <a:lnTo>
                      <a:pt x="847" y="437"/>
                    </a:lnTo>
                    <a:lnTo>
                      <a:pt x="847" y="437"/>
                    </a:lnTo>
                    <a:lnTo>
                      <a:pt x="838" y="436"/>
                    </a:lnTo>
                    <a:lnTo>
                      <a:pt x="830" y="433"/>
                    </a:lnTo>
                    <a:lnTo>
                      <a:pt x="822" y="428"/>
                    </a:lnTo>
                    <a:lnTo>
                      <a:pt x="815" y="423"/>
                    </a:lnTo>
                    <a:lnTo>
                      <a:pt x="810" y="417"/>
                    </a:lnTo>
                    <a:lnTo>
                      <a:pt x="806" y="410"/>
                    </a:lnTo>
                    <a:lnTo>
                      <a:pt x="804" y="402"/>
                    </a:lnTo>
                    <a:lnTo>
                      <a:pt x="803" y="392"/>
                    </a:lnTo>
                    <a:lnTo>
                      <a:pt x="803" y="279"/>
                    </a:lnTo>
                    <a:lnTo>
                      <a:pt x="453" y="279"/>
                    </a:lnTo>
                    <a:lnTo>
                      <a:pt x="453" y="279"/>
                    </a:lnTo>
                    <a:lnTo>
                      <a:pt x="439" y="279"/>
                    </a:lnTo>
                    <a:lnTo>
                      <a:pt x="424" y="278"/>
                    </a:lnTo>
                    <a:lnTo>
                      <a:pt x="409" y="276"/>
                    </a:lnTo>
                    <a:lnTo>
                      <a:pt x="394" y="272"/>
                    </a:lnTo>
                    <a:lnTo>
                      <a:pt x="378" y="268"/>
                    </a:lnTo>
                    <a:lnTo>
                      <a:pt x="363" y="264"/>
                    </a:lnTo>
                    <a:lnTo>
                      <a:pt x="331" y="254"/>
                    </a:lnTo>
                    <a:lnTo>
                      <a:pt x="301" y="242"/>
                    </a:lnTo>
                    <a:lnTo>
                      <a:pt x="286" y="235"/>
                    </a:lnTo>
                    <a:lnTo>
                      <a:pt x="273" y="227"/>
                    </a:lnTo>
                    <a:lnTo>
                      <a:pt x="258" y="219"/>
                    </a:lnTo>
                    <a:lnTo>
                      <a:pt x="246" y="211"/>
                    </a:lnTo>
                    <a:lnTo>
                      <a:pt x="234" y="202"/>
                    </a:lnTo>
                    <a:lnTo>
                      <a:pt x="223" y="193"/>
                    </a:lnTo>
                    <a:lnTo>
                      <a:pt x="0" y="0"/>
                    </a:lnTo>
                    <a:lnTo>
                      <a:pt x="0" y="930"/>
                    </a:lnTo>
                    <a:lnTo>
                      <a:pt x="0" y="930"/>
                    </a:lnTo>
                    <a:lnTo>
                      <a:pt x="0" y="941"/>
                    </a:lnTo>
                    <a:lnTo>
                      <a:pt x="2" y="953"/>
                    </a:lnTo>
                    <a:lnTo>
                      <a:pt x="4" y="963"/>
                    </a:lnTo>
                    <a:lnTo>
                      <a:pt x="8" y="973"/>
                    </a:lnTo>
                    <a:lnTo>
                      <a:pt x="13" y="982"/>
                    </a:lnTo>
                    <a:lnTo>
                      <a:pt x="18" y="992"/>
                    </a:lnTo>
                    <a:lnTo>
                      <a:pt x="24" y="1000"/>
                    </a:lnTo>
                    <a:lnTo>
                      <a:pt x="31" y="1008"/>
                    </a:lnTo>
                    <a:lnTo>
                      <a:pt x="40" y="1015"/>
                    </a:lnTo>
                    <a:lnTo>
                      <a:pt x="48" y="1021"/>
                    </a:lnTo>
                    <a:lnTo>
                      <a:pt x="57" y="1028"/>
                    </a:lnTo>
                    <a:lnTo>
                      <a:pt x="66" y="1032"/>
                    </a:lnTo>
                    <a:lnTo>
                      <a:pt x="77" y="1036"/>
                    </a:lnTo>
                    <a:lnTo>
                      <a:pt x="87" y="1038"/>
                    </a:lnTo>
                    <a:lnTo>
                      <a:pt x="98" y="1040"/>
                    </a:lnTo>
                    <a:lnTo>
                      <a:pt x="109" y="1041"/>
                    </a:lnTo>
                    <a:lnTo>
                      <a:pt x="172" y="1041"/>
                    </a:lnTo>
                    <a:lnTo>
                      <a:pt x="172" y="1060"/>
                    </a:lnTo>
                    <a:lnTo>
                      <a:pt x="172" y="1060"/>
                    </a:lnTo>
                    <a:lnTo>
                      <a:pt x="173" y="1069"/>
                    </a:lnTo>
                    <a:lnTo>
                      <a:pt x="175" y="1077"/>
                    </a:lnTo>
                    <a:lnTo>
                      <a:pt x="179" y="1085"/>
                    </a:lnTo>
                    <a:lnTo>
                      <a:pt x="185" y="1091"/>
                    </a:lnTo>
                    <a:lnTo>
                      <a:pt x="191" y="1096"/>
                    </a:lnTo>
                    <a:lnTo>
                      <a:pt x="199" y="1100"/>
                    </a:lnTo>
                    <a:lnTo>
                      <a:pt x="207" y="1103"/>
                    </a:lnTo>
                    <a:lnTo>
                      <a:pt x="216" y="1104"/>
                    </a:lnTo>
                    <a:lnTo>
                      <a:pt x="371" y="1104"/>
                    </a:lnTo>
                    <a:lnTo>
                      <a:pt x="371" y="1104"/>
                    </a:lnTo>
                    <a:lnTo>
                      <a:pt x="380" y="1103"/>
                    </a:lnTo>
                    <a:lnTo>
                      <a:pt x="388" y="1100"/>
                    </a:lnTo>
                    <a:lnTo>
                      <a:pt x="396" y="1096"/>
                    </a:lnTo>
                    <a:lnTo>
                      <a:pt x="403" y="1091"/>
                    </a:lnTo>
                    <a:lnTo>
                      <a:pt x="408" y="1085"/>
                    </a:lnTo>
                    <a:lnTo>
                      <a:pt x="412" y="1077"/>
                    </a:lnTo>
                    <a:lnTo>
                      <a:pt x="414" y="1069"/>
                    </a:lnTo>
                    <a:lnTo>
                      <a:pt x="415" y="1060"/>
                    </a:lnTo>
                    <a:lnTo>
                      <a:pt x="415" y="1041"/>
                    </a:lnTo>
                    <a:lnTo>
                      <a:pt x="1443" y="1041"/>
                    </a:lnTo>
                    <a:lnTo>
                      <a:pt x="1443" y="1060"/>
                    </a:lnTo>
                    <a:lnTo>
                      <a:pt x="1443" y="1060"/>
                    </a:lnTo>
                    <a:lnTo>
                      <a:pt x="1444" y="1069"/>
                    </a:lnTo>
                    <a:lnTo>
                      <a:pt x="1447" y="1077"/>
                    </a:lnTo>
                    <a:lnTo>
                      <a:pt x="1451" y="1085"/>
                    </a:lnTo>
                    <a:lnTo>
                      <a:pt x="1457" y="1091"/>
                    </a:lnTo>
                    <a:lnTo>
                      <a:pt x="1463" y="1096"/>
                    </a:lnTo>
                    <a:lnTo>
                      <a:pt x="1471" y="1100"/>
                    </a:lnTo>
                    <a:lnTo>
                      <a:pt x="1479" y="1103"/>
                    </a:lnTo>
                    <a:lnTo>
                      <a:pt x="1487" y="1104"/>
                    </a:lnTo>
                    <a:lnTo>
                      <a:pt x="1643" y="1104"/>
                    </a:lnTo>
                    <a:lnTo>
                      <a:pt x="1643" y="1104"/>
                    </a:lnTo>
                    <a:lnTo>
                      <a:pt x="1653" y="1103"/>
                    </a:lnTo>
                    <a:lnTo>
                      <a:pt x="1661" y="1100"/>
                    </a:lnTo>
                    <a:lnTo>
                      <a:pt x="1668" y="1096"/>
                    </a:lnTo>
                    <a:lnTo>
                      <a:pt x="1674" y="1091"/>
                    </a:lnTo>
                    <a:lnTo>
                      <a:pt x="1680" y="1085"/>
                    </a:lnTo>
                    <a:lnTo>
                      <a:pt x="1684" y="1077"/>
                    </a:lnTo>
                    <a:lnTo>
                      <a:pt x="1686" y="1069"/>
                    </a:lnTo>
                    <a:lnTo>
                      <a:pt x="1687" y="1060"/>
                    </a:lnTo>
                    <a:lnTo>
                      <a:pt x="1687" y="1041"/>
                    </a:lnTo>
                    <a:lnTo>
                      <a:pt x="1750" y="1041"/>
                    </a:lnTo>
                    <a:lnTo>
                      <a:pt x="1750" y="1041"/>
                    </a:lnTo>
                    <a:lnTo>
                      <a:pt x="1761" y="1040"/>
                    </a:lnTo>
                    <a:lnTo>
                      <a:pt x="1773" y="1038"/>
                    </a:lnTo>
                    <a:lnTo>
                      <a:pt x="1783" y="1036"/>
                    </a:lnTo>
                    <a:lnTo>
                      <a:pt x="1793" y="1032"/>
                    </a:lnTo>
                    <a:lnTo>
                      <a:pt x="1802" y="1028"/>
                    </a:lnTo>
                    <a:lnTo>
                      <a:pt x="1812" y="1021"/>
                    </a:lnTo>
                    <a:lnTo>
                      <a:pt x="1820" y="1015"/>
                    </a:lnTo>
                    <a:lnTo>
                      <a:pt x="1828" y="1008"/>
                    </a:lnTo>
                    <a:lnTo>
                      <a:pt x="1835" y="1000"/>
                    </a:lnTo>
                    <a:lnTo>
                      <a:pt x="1841" y="992"/>
                    </a:lnTo>
                    <a:lnTo>
                      <a:pt x="1847" y="982"/>
                    </a:lnTo>
                    <a:lnTo>
                      <a:pt x="1852" y="973"/>
                    </a:lnTo>
                    <a:lnTo>
                      <a:pt x="1855" y="963"/>
                    </a:lnTo>
                    <a:lnTo>
                      <a:pt x="1858" y="953"/>
                    </a:lnTo>
                    <a:lnTo>
                      <a:pt x="1860" y="941"/>
                    </a:lnTo>
                    <a:lnTo>
                      <a:pt x="1860" y="930"/>
                    </a:lnTo>
                    <a:lnTo>
                      <a:pt x="1860" y="0"/>
                    </a:lnTo>
                    <a:lnTo>
                      <a:pt x="1636" y="193"/>
                    </a:lnTo>
                    <a:lnTo>
                      <a:pt x="1636" y="193"/>
                    </a:lnTo>
                    <a:lnTo>
                      <a:pt x="1625" y="202"/>
                    </a:lnTo>
                    <a:lnTo>
                      <a:pt x="1614" y="211"/>
                    </a:lnTo>
                    <a:lnTo>
                      <a:pt x="1600" y="219"/>
                    </a:lnTo>
                    <a:lnTo>
                      <a:pt x="1587" y="227"/>
                    </a:lnTo>
                    <a:lnTo>
                      <a:pt x="1573" y="235"/>
                    </a:lnTo>
                    <a:lnTo>
                      <a:pt x="1558" y="242"/>
                    </a:lnTo>
                    <a:lnTo>
                      <a:pt x="1527" y="254"/>
                    </a:lnTo>
                    <a:lnTo>
                      <a:pt x="1497" y="264"/>
                    </a:lnTo>
                    <a:lnTo>
                      <a:pt x="1481" y="268"/>
                    </a:lnTo>
                    <a:lnTo>
                      <a:pt x="1465" y="272"/>
                    </a:lnTo>
                    <a:lnTo>
                      <a:pt x="1449" y="276"/>
                    </a:lnTo>
                    <a:lnTo>
                      <a:pt x="1435" y="278"/>
                    </a:lnTo>
                    <a:lnTo>
                      <a:pt x="1420" y="279"/>
                    </a:lnTo>
                    <a:lnTo>
                      <a:pt x="1406" y="279"/>
                    </a:lnTo>
                    <a:lnTo>
                      <a:pt x="1406"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DC548"/>
                  </a:solidFill>
                  <a:effectLst/>
                  <a:uLnTx/>
                  <a:uFillTx/>
                </a:endParaRPr>
              </a:p>
            </p:txBody>
          </p:sp>
        </p:grpSp>
      </p:grpSp>
      <p:sp>
        <p:nvSpPr>
          <p:cNvPr id="155" name="Oval 154"/>
          <p:cNvSpPr/>
          <p:nvPr/>
        </p:nvSpPr>
        <p:spPr bwMode="auto">
          <a:xfrm>
            <a:off x="10396561" y="3959297"/>
            <a:ext cx="102658" cy="1026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844" name="Group 843"/>
          <p:cNvGrpSpPr/>
          <p:nvPr/>
        </p:nvGrpSpPr>
        <p:grpSpPr>
          <a:xfrm rot="10510845" flipH="1">
            <a:off x="2149790" y="4601897"/>
            <a:ext cx="81331" cy="132332"/>
            <a:chOff x="2658904" y="3122439"/>
            <a:chExt cx="81472" cy="132564"/>
          </a:xfrm>
          <a:solidFill>
            <a:schemeClr val="bg1"/>
          </a:solidFill>
        </p:grpSpPr>
        <p:sp>
          <p:nvSpPr>
            <p:cNvPr id="845"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46"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47"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21" name="Group 1220"/>
          <p:cNvGrpSpPr/>
          <p:nvPr/>
        </p:nvGrpSpPr>
        <p:grpSpPr>
          <a:xfrm flipH="1">
            <a:off x="457502" y="4624650"/>
            <a:ext cx="1666255" cy="758863"/>
            <a:chOff x="922305" y="4057236"/>
            <a:chExt cx="2146336" cy="977507"/>
          </a:xfrm>
        </p:grpSpPr>
        <p:sp>
          <p:nvSpPr>
            <p:cNvPr id="617" name="Rectangle 616"/>
            <p:cNvSpPr/>
            <p:nvPr/>
          </p:nvSpPr>
          <p:spPr bwMode="auto">
            <a:xfrm>
              <a:off x="1135815" y="4194897"/>
              <a:ext cx="1909695" cy="341972"/>
            </a:xfrm>
            <a:prstGeom prst="rect">
              <a:avLst/>
            </a:prstGeom>
            <a:solidFill>
              <a:schemeClr val="tx1"/>
            </a:solidFill>
            <a:ln w="19050">
              <a:solidFill>
                <a:schemeClr val="tx1">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588" name="Group 587"/>
            <p:cNvGrpSpPr/>
            <p:nvPr/>
          </p:nvGrpSpPr>
          <p:grpSpPr>
            <a:xfrm>
              <a:off x="922305" y="4057236"/>
              <a:ext cx="2146336" cy="977507"/>
              <a:chOff x="1219017" y="4094944"/>
              <a:chExt cx="2215539" cy="1009024"/>
            </a:xfrm>
          </p:grpSpPr>
          <p:sp>
            <p:nvSpPr>
              <p:cNvPr id="7" name="Freeform 207"/>
              <p:cNvSpPr>
                <a:spLocks noEditPoints="1"/>
              </p:cNvSpPr>
              <p:nvPr/>
            </p:nvSpPr>
            <p:spPr bwMode="auto">
              <a:xfrm>
                <a:off x="1219017" y="4094944"/>
                <a:ext cx="271759" cy="164703"/>
              </a:xfrm>
              <a:custGeom>
                <a:avLst/>
                <a:gdLst>
                  <a:gd name="T0" fmla="*/ 106 w 198"/>
                  <a:gd name="T1" fmla="*/ 106 h 120"/>
                  <a:gd name="T2" fmla="*/ 104 w 198"/>
                  <a:gd name="T3" fmla="*/ 106 h 120"/>
                  <a:gd name="T4" fmla="*/ 100 w 198"/>
                  <a:gd name="T5" fmla="*/ 100 h 120"/>
                  <a:gd name="T6" fmla="*/ 127 w 198"/>
                  <a:gd name="T7" fmla="*/ 80 h 120"/>
                  <a:gd name="T8" fmla="*/ 131 w 198"/>
                  <a:gd name="T9" fmla="*/ 79 h 120"/>
                  <a:gd name="T10" fmla="*/ 134 w 198"/>
                  <a:gd name="T11" fmla="*/ 71 h 120"/>
                  <a:gd name="T12" fmla="*/ 112 w 198"/>
                  <a:gd name="T13" fmla="*/ 7 h 120"/>
                  <a:gd name="T14" fmla="*/ 110 w 198"/>
                  <a:gd name="T15" fmla="*/ 3 h 120"/>
                  <a:gd name="T16" fmla="*/ 102 w 198"/>
                  <a:gd name="T17" fmla="*/ 0 h 120"/>
                  <a:gd name="T18" fmla="*/ 27 w 198"/>
                  <a:gd name="T19" fmla="*/ 25 h 120"/>
                  <a:gd name="T20" fmla="*/ 23 w 198"/>
                  <a:gd name="T21" fmla="*/ 27 h 120"/>
                  <a:gd name="T22" fmla="*/ 19 w 198"/>
                  <a:gd name="T23" fmla="*/ 35 h 120"/>
                  <a:gd name="T24" fmla="*/ 24 w 198"/>
                  <a:gd name="T25" fmla="*/ 54 h 120"/>
                  <a:gd name="T26" fmla="*/ 14 w 198"/>
                  <a:gd name="T27" fmla="*/ 55 h 120"/>
                  <a:gd name="T28" fmla="*/ 12 w 198"/>
                  <a:gd name="T29" fmla="*/ 54 h 120"/>
                  <a:gd name="T30" fmla="*/ 7 w 198"/>
                  <a:gd name="T31" fmla="*/ 51 h 120"/>
                  <a:gd name="T32" fmla="*/ 4 w 198"/>
                  <a:gd name="T33" fmla="*/ 51 h 120"/>
                  <a:gd name="T34" fmla="*/ 0 w 198"/>
                  <a:gd name="T35" fmla="*/ 55 h 120"/>
                  <a:gd name="T36" fmla="*/ 0 w 198"/>
                  <a:gd name="T37" fmla="*/ 60 h 120"/>
                  <a:gd name="T38" fmla="*/ 12 w 198"/>
                  <a:gd name="T39" fmla="*/ 95 h 120"/>
                  <a:gd name="T40" fmla="*/ 16 w 198"/>
                  <a:gd name="T41" fmla="*/ 99 h 120"/>
                  <a:gd name="T42" fmla="*/ 22 w 198"/>
                  <a:gd name="T43" fmla="*/ 99 h 120"/>
                  <a:gd name="T44" fmla="*/ 24 w 198"/>
                  <a:gd name="T45" fmla="*/ 98 h 120"/>
                  <a:gd name="T46" fmla="*/ 27 w 198"/>
                  <a:gd name="T47" fmla="*/ 94 h 120"/>
                  <a:gd name="T48" fmla="*/ 26 w 198"/>
                  <a:gd name="T49" fmla="*/ 88 h 120"/>
                  <a:gd name="T50" fmla="*/ 35 w 198"/>
                  <a:gd name="T51" fmla="*/ 84 h 120"/>
                  <a:gd name="T52" fmla="*/ 40 w 198"/>
                  <a:gd name="T53" fmla="*/ 99 h 120"/>
                  <a:gd name="T54" fmla="*/ 47 w 198"/>
                  <a:gd name="T55" fmla="*/ 104 h 120"/>
                  <a:gd name="T56" fmla="*/ 55 w 198"/>
                  <a:gd name="T57" fmla="*/ 106 h 120"/>
                  <a:gd name="T58" fmla="*/ 87 w 198"/>
                  <a:gd name="T59" fmla="*/ 112 h 120"/>
                  <a:gd name="T60" fmla="*/ 90 w 198"/>
                  <a:gd name="T61" fmla="*/ 115 h 120"/>
                  <a:gd name="T62" fmla="*/ 95 w 198"/>
                  <a:gd name="T63" fmla="*/ 119 h 120"/>
                  <a:gd name="T64" fmla="*/ 198 w 198"/>
                  <a:gd name="T65" fmla="*/ 120 h 120"/>
                  <a:gd name="T66" fmla="*/ 90 w 198"/>
                  <a:gd name="T67" fmla="*/ 23 h 120"/>
                  <a:gd name="T68" fmla="*/ 90 w 198"/>
                  <a:gd name="T69" fmla="*/ 20 h 120"/>
                  <a:gd name="T70" fmla="*/ 94 w 198"/>
                  <a:gd name="T71" fmla="*/ 17 h 120"/>
                  <a:gd name="T72" fmla="*/ 96 w 198"/>
                  <a:gd name="T73" fmla="*/ 16 h 120"/>
                  <a:gd name="T74" fmla="*/ 102 w 198"/>
                  <a:gd name="T75" fmla="*/ 19 h 120"/>
                  <a:gd name="T76" fmla="*/ 103 w 198"/>
                  <a:gd name="T77" fmla="*/ 23 h 120"/>
                  <a:gd name="T78" fmla="*/ 103 w 198"/>
                  <a:gd name="T79" fmla="*/ 27 h 120"/>
                  <a:gd name="T80" fmla="*/ 99 w 198"/>
                  <a:gd name="T81" fmla="*/ 29 h 120"/>
                  <a:gd name="T82" fmla="*/ 96 w 198"/>
                  <a:gd name="T83" fmla="*/ 31 h 120"/>
                  <a:gd name="T84" fmla="*/ 91 w 198"/>
                  <a:gd name="T85" fmla="*/ 28 h 120"/>
                  <a:gd name="T86" fmla="*/ 90 w 198"/>
                  <a:gd name="T87"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 h="120">
                    <a:moveTo>
                      <a:pt x="198" y="106"/>
                    </a:moveTo>
                    <a:lnTo>
                      <a:pt x="106" y="106"/>
                    </a:lnTo>
                    <a:lnTo>
                      <a:pt x="106" y="106"/>
                    </a:lnTo>
                    <a:lnTo>
                      <a:pt x="104" y="106"/>
                    </a:lnTo>
                    <a:lnTo>
                      <a:pt x="103" y="104"/>
                    </a:lnTo>
                    <a:lnTo>
                      <a:pt x="100" y="100"/>
                    </a:lnTo>
                    <a:lnTo>
                      <a:pt x="98" y="91"/>
                    </a:lnTo>
                    <a:lnTo>
                      <a:pt x="127" y="80"/>
                    </a:lnTo>
                    <a:lnTo>
                      <a:pt x="127" y="80"/>
                    </a:lnTo>
                    <a:lnTo>
                      <a:pt x="131" y="79"/>
                    </a:lnTo>
                    <a:lnTo>
                      <a:pt x="132" y="75"/>
                    </a:lnTo>
                    <a:lnTo>
                      <a:pt x="134" y="71"/>
                    </a:lnTo>
                    <a:lnTo>
                      <a:pt x="134" y="66"/>
                    </a:lnTo>
                    <a:lnTo>
                      <a:pt x="112" y="7"/>
                    </a:lnTo>
                    <a:lnTo>
                      <a:pt x="112" y="7"/>
                    </a:lnTo>
                    <a:lnTo>
                      <a:pt x="110" y="3"/>
                    </a:lnTo>
                    <a:lnTo>
                      <a:pt x="107" y="1"/>
                    </a:lnTo>
                    <a:lnTo>
                      <a:pt x="102" y="0"/>
                    </a:lnTo>
                    <a:lnTo>
                      <a:pt x="98" y="0"/>
                    </a:lnTo>
                    <a:lnTo>
                      <a:pt x="27" y="25"/>
                    </a:lnTo>
                    <a:lnTo>
                      <a:pt x="27" y="25"/>
                    </a:lnTo>
                    <a:lnTo>
                      <a:pt x="23" y="27"/>
                    </a:lnTo>
                    <a:lnTo>
                      <a:pt x="20" y="31"/>
                    </a:lnTo>
                    <a:lnTo>
                      <a:pt x="19" y="35"/>
                    </a:lnTo>
                    <a:lnTo>
                      <a:pt x="20" y="40"/>
                    </a:lnTo>
                    <a:lnTo>
                      <a:pt x="24" y="54"/>
                    </a:lnTo>
                    <a:lnTo>
                      <a:pt x="14" y="56"/>
                    </a:lnTo>
                    <a:lnTo>
                      <a:pt x="14" y="55"/>
                    </a:lnTo>
                    <a:lnTo>
                      <a:pt x="14" y="55"/>
                    </a:lnTo>
                    <a:lnTo>
                      <a:pt x="12" y="54"/>
                    </a:lnTo>
                    <a:lnTo>
                      <a:pt x="10" y="51"/>
                    </a:lnTo>
                    <a:lnTo>
                      <a:pt x="7" y="51"/>
                    </a:lnTo>
                    <a:lnTo>
                      <a:pt x="4" y="51"/>
                    </a:lnTo>
                    <a:lnTo>
                      <a:pt x="4" y="51"/>
                    </a:lnTo>
                    <a:lnTo>
                      <a:pt x="2" y="52"/>
                    </a:lnTo>
                    <a:lnTo>
                      <a:pt x="0" y="55"/>
                    </a:lnTo>
                    <a:lnTo>
                      <a:pt x="0" y="58"/>
                    </a:lnTo>
                    <a:lnTo>
                      <a:pt x="0" y="60"/>
                    </a:lnTo>
                    <a:lnTo>
                      <a:pt x="12" y="95"/>
                    </a:lnTo>
                    <a:lnTo>
                      <a:pt x="12" y="95"/>
                    </a:lnTo>
                    <a:lnTo>
                      <a:pt x="15" y="98"/>
                    </a:lnTo>
                    <a:lnTo>
                      <a:pt x="16" y="99"/>
                    </a:lnTo>
                    <a:lnTo>
                      <a:pt x="19" y="100"/>
                    </a:lnTo>
                    <a:lnTo>
                      <a:pt x="22" y="99"/>
                    </a:lnTo>
                    <a:lnTo>
                      <a:pt x="22" y="99"/>
                    </a:lnTo>
                    <a:lnTo>
                      <a:pt x="24" y="98"/>
                    </a:lnTo>
                    <a:lnTo>
                      <a:pt x="26" y="96"/>
                    </a:lnTo>
                    <a:lnTo>
                      <a:pt x="27" y="94"/>
                    </a:lnTo>
                    <a:lnTo>
                      <a:pt x="26" y="91"/>
                    </a:lnTo>
                    <a:lnTo>
                      <a:pt x="26" y="88"/>
                    </a:lnTo>
                    <a:lnTo>
                      <a:pt x="30" y="86"/>
                    </a:lnTo>
                    <a:lnTo>
                      <a:pt x="35" y="84"/>
                    </a:lnTo>
                    <a:lnTo>
                      <a:pt x="40" y="99"/>
                    </a:lnTo>
                    <a:lnTo>
                      <a:pt x="40" y="99"/>
                    </a:lnTo>
                    <a:lnTo>
                      <a:pt x="43" y="103"/>
                    </a:lnTo>
                    <a:lnTo>
                      <a:pt x="47" y="104"/>
                    </a:lnTo>
                    <a:lnTo>
                      <a:pt x="51" y="106"/>
                    </a:lnTo>
                    <a:lnTo>
                      <a:pt x="55" y="106"/>
                    </a:lnTo>
                    <a:lnTo>
                      <a:pt x="83" y="95"/>
                    </a:lnTo>
                    <a:lnTo>
                      <a:pt x="87" y="112"/>
                    </a:lnTo>
                    <a:lnTo>
                      <a:pt x="87" y="112"/>
                    </a:lnTo>
                    <a:lnTo>
                      <a:pt x="90" y="115"/>
                    </a:lnTo>
                    <a:lnTo>
                      <a:pt x="92" y="118"/>
                    </a:lnTo>
                    <a:lnTo>
                      <a:pt x="95" y="119"/>
                    </a:lnTo>
                    <a:lnTo>
                      <a:pt x="99" y="120"/>
                    </a:lnTo>
                    <a:lnTo>
                      <a:pt x="198" y="120"/>
                    </a:lnTo>
                    <a:lnTo>
                      <a:pt x="198" y="106"/>
                    </a:lnTo>
                    <a:close/>
                    <a:moveTo>
                      <a:pt x="90" y="23"/>
                    </a:moveTo>
                    <a:lnTo>
                      <a:pt x="90" y="23"/>
                    </a:lnTo>
                    <a:lnTo>
                      <a:pt x="90" y="20"/>
                    </a:lnTo>
                    <a:lnTo>
                      <a:pt x="91" y="19"/>
                    </a:lnTo>
                    <a:lnTo>
                      <a:pt x="94" y="17"/>
                    </a:lnTo>
                    <a:lnTo>
                      <a:pt x="96" y="16"/>
                    </a:lnTo>
                    <a:lnTo>
                      <a:pt x="96" y="16"/>
                    </a:lnTo>
                    <a:lnTo>
                      <a:pt x="99" y="17"/>
                    </a:lnTo>
                    <a:lnTo>
                      <a:pt x="102" y="19"/>
                    </a:lnTo>
                    <a:lnTo>
                      <a:pt x="103" y="20"/>
                    </a:lnTo>
                    <a:lnTo>
                      <a:pt x="103" y="23"/>
                    </a:lnTo>
                    <a:lnTo>
                      <a:pt x="103" y="23"/>
                    </a:lnTo>
                    <a:lnTo>
                      <a:pt x="103" y="27"/>
                    </a:lnTo>
                    <a:lnTo>
                      <a:pt x="102" y="28"/>
                    </a:lnTo>
                    <a:lnTo>
                      <a:pt x="99" y="29"/>
                    </a:lnTo>
                    <a:lnTo>
                      <a:pt x="96" y="31"/>
                    </a:lnTo>
                    <a:lnTo>
                      <a:pt x="96" y="31"/>
                    </a:lnTo>
                    <a:lnTo>
                      <a:pt x="94" y="29"/>
                    </a:lnTo>
                    <a:lnTo>
                      <a:pt x="91" y="28"/>
                    </a:lnTo>
                    <a:lnTo>
                      <a:pt x="90" y="27"/>
                    </a:lnTo>
                    <a:lnTo>
                      <a:pt x="90" y="23"/>
                    </a:lnTo>
                    <a:lnTo>
                      <a:pt x="90" y="23"/>
                    </a:lnTo>
                    <a:close/>
                  </a:path>
                </a:pathLst>
              </a:custGeom>
              <a:solidFill>
                <a:schemeClr val="bg2">
                  <a:lumMod val="7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9" name="Freeform 7"/>
              <p:cNvSpPr>
                <a:spLocks/>
              </p:cNvSpPr>
              <p:nvPr/>
            </p:nvSpPr>
            <p:spPr bwMode="auto">
              <a:xfrm>
                <a:off x="1488478" y="4773213"/>
                <a:ext cx="334603" cy="330755"/>
              </a:xfrm>
              <a:custGeom>
                <a:avLst/>
                <a:gdLst>
                  <a:gd name="T0" fmla="*/ 130 w 260"/>
                  <a:gd name="T1" fmla="*/ 258 h 258"/>
                  <a:gd name="T2" fmla="*/ 130 w 260"/>
                  <a:gd name="T3" fmla="*/ 258 h 258"/>
                  <a:gd name="T4" fmla="*/ 130 w 260"/>
                  <a:gd name="T5" fmla="*/ 258 h 258"/>
                  <a:gd name="T6" fmla="*/ 103 w 260"/>
                  <a:gd name="T7" fmla="*/ 256 h 258"/>
                  <a:gd name="T8" fmla="*/ 79 w 260"/>
                  <a:gd name="T9" fmla="*/ 249 h 258"/>
                  <a:gd name="T10" fmla="*/ 58 w 260"/>
                  <a:gd name="T11" fmla="*/ 237 h 258"/>
                  <a:gd name="T12" fmla="*/ 39 w 260"/>
                  <a:gd name="T13" fmla="*/ 221 h 258"/>
                  <a:gd name="T14" fmla="*/ 23 w 260"/>
                  <a:gd name="T15" fmla="*/ 202 h 258"/>
                  <a:gd name="T16" fmla="*/ 11 w 260"/>
                  <a:gd name="T17" fmla="*/ 179 h 258"/>
                  <a:gd name="T18" fmla="*/ 3 w 260"/>
                  <a:gd name="T19" fmla="*/ 155 h 258"/>
                  <a:gd name="T20" fmla="*/ 0 w 260"/>
                  <a:gd name="T21" fmla="*/ 130 h 258"/>
                  <a:gd name="T22" fmla="*/ 0 w 260"/>
                  <a:gd name="T23" fmla="*/ 130 h 258"/>
                  <a:gd name="T24" fmla="*/ 0 w 260"/>
                  <a:gd name="T25" fmla="*/ 127 h 258"/>
                  <a:gd name="T26" fmla="*/ 2 w 260"/>
                  <a:gd name="T27" fmla="*/ 115 h 258"/>
                  <a:gd name="T28" fmla="*/ 7 w 260"/>
                  <a:gd name="T29" fmla="*/ 90 h 258"/>
                  <a:gd name="T30" fmla="*/ 17 w 260"/>
                  <a:gd name="T31" fmla="*/ 67 h 258"/>
                  <a:gd name="T32" fmla="*/ 31 w 260"/>
                  <a:gd name="T33" fmla="*/ 47 h 258"/>
                  <a:gd name="T34" fmla="*/ 49 w 260"/>
                  <a:gd name="T35" fmla="*/ 30 h 258"/>
                  <a:gd name="T36" fmla="*/ 69 w 260"/>
                  <a:gd name="T37" fmla="*/ 15 h 258"/>
                  <a:gd name="T38" fmla="*/ 93 w 260"/>
                  <a:gd name="T39" fmla="*/ 6 h 258"/>
                  <a:gd name="T40" fmla="*/ 117 w 260"/>
                  <a:gd name="T41" fmla="*/ 0 h 258"/>
                  <a:gd name="T42" fmla="*/ 130 w 260"/>
                  <a:gd name="T43" fmla="*/ 0 h 258"/>
                  <a:gd name="T44" fmla="*/ 143 w 260"/>
                  <a:gd name="T45" fmla="*/ 0 h 258"/>
                  <a:gd name="T46" fmla="*/ 169 w 260"/>
                  <a:gd name="T47" fmla="*/ 6 h 258"/>
                  <a:gd name="T48" fmla="*/ 192 w 260"/>
                  <a:gd name="T49" fmla="*/ 15 h 258"/>
                  <a:gd name="T50" fmla="*/ 213 w 260"/>
                  <a:gd name="T51" fmla="*/ 30 h 258"/>
                  <a:gd name="T52" fmla="*/ 230 w 260"/>
                  <a:gd name="T53" fmla="*/ 47 h 258"/>
                  <a:gd name="T54" fmla="*/ 244 w 260"/>
                  <a:gd name="T55" fmla="*/ 67 h 258"/>
                  <a:gd name="T56" fmla="*/ 253 w 260"/>
                  <a:gd name="T57" fmla="*/ 91 h 258"/>
                  <a:gd name="T58" fmla="*/ 258 w 260"/>
                  <a:gd name="T59" fmla="*/ 117 h 258"/>
                  <a:gd name="T60" fmla="*/ 260 w 260"/>
                  <a:gd name="T61" fmla="*/ 129 h 258"/>
                  <a:gd name="T62" fmla="*/ 260 w 260"/>
                  <a:gd name="T63" fmla="*/ 130 h 258"/>
                  <a:gd name="T64" fmla="*/ 260 w 260"/>
                  <a:gd name="T65" fmla="*/ 130 h 258"/>
                  <a:gd name="T66" fmla="*/ 257 w 260"/>
                  <a:gd name="T67" fmla="*/ 155 h 258"/>
                  <a:gd name="T68" fmla="*/ 249 w 260"/>
                  <a:gd name="T69" fmla="*/ 179 h 258"/>
                  <a:gd name="T70" fmla="*/ 237 w 260"/>
                  <a:gd name="T71" fmla="*/ 202 h 258"/>
                  <a:gd name="T72" fmla="*/ 221 w 260"/>
                  <a:gd name="T73" fmla="*/ 221 h 258"/>
                  <a:gd name="T74" fmla="*/ 202 w 260"/>
                  <a:gd name="T75" fmla="*/ 237 h 258"/>
                  <a:gd name="T76" fmla="*/ 181 w 260"/>
                  <a:gd name="T77" fmla="*/ 249 h 258"/>
                  <a:gd name="T78" fmla="*/ 157 w 260"/>
                  <a:gd name="T79" fmla="*/ 256 h 258"/>
                  <a:gd name="T80" fmla="*/ 130 w 260"/>
                  <a:gd name="T81" fmla="*/ 258 h 258"/>
                  <a:gd name="T82" fmla="*/ 130 w 260"/>
                  <a:gd name="T83"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0" h="258">
                    <a:moveTo>
                      <a:pt x="130" y="258"/>
                    </a:moveTo>
                    <a:lnTo>
                      <a:pt x="130" y="258"/>
                    </a:lnTo>
                    <a:lnTo>
                      <a:pt x="130" y="258"/>
                    </a:lnTo>
                    <a:lnTo>
                      <a:pt x="130" y="258"/>
                    </a:lnTo>
                    <a:lnTo>
                      <a:pt x="130" y="258"/>
                    </a:lnTo>
                    <a:lnTo>
                      <a:pt x="130" y="258"/>
                    </a:lnTo>
                    <a:lnTo>
                      <a:pt x="117" y="258"/>
                    </a:lnTo>
                    <a:lnTo>
                      <a:pt x="103" y="256"/>
                    </a:lnTo>
                    <a:lnTo>
                      <a:pt x="91" y="253"/>
                    </a:lnTo>
                    <a:lnTo>
                      <a:pt x="79" y="249"/>
                    </a:lnTo>
                    <a:lnTo>
                      <a:pt x="69" y="242"/>
                    </a:lnTo>
                    <a:lnTo>
                      <a:pt x="58" y="237"/>
                    </a:lnTo>
                    <a:lnTo>
                      <a:pt x="49" y="229"/>
                    </a:lnTo>
                    <a:lnTo>
                      <a:pt x="39" y="221"/>
                    </a:lnTo>
                    <a:lnTo>
                      <a:pt x="30" y="211"/>
                    </a:lnTo>
                    <a:lnTo>
                      <a:pt x="23" y="202"/>
                    </a:lnTo>
                    <a:lnTo>
                      <a:pt x="17" y="191"/>
                    </a:lnTo>
                    <a:lnTo>
                      <a:pt x="11" y="179"/>
                    </a:lnTo>
                    <a:lnTo>
                      <a:pt x="7" y="167"/>
                    </a:lnTo>
                    <a:lnTo>
                      <a:pt x="3" y="155"/>
                    </a:lnTo>
                    <a:lnTo>
                      <a:pt x="2" y="142"/>
                    </a:lnTo>
                    <a:lnTo>
                      <a:pt x="0" y="130"/>
                    </a:lnTo>
                    <a:lnTo>
                      <a:pt x="0" y="130"/>
                    </a:lnTo>
                    <a:lnTo>
                      <a:pt x="0" y="130"/>
                    </a:lnTo>
                    <a:lnTo>
                      <a:pt x="0" y="127"/>
                    </a:lnTo>
                    <a:lnTo>
                      <a:pt x="0" y="127"/>
                    </a:lnTo>
                    <a:lnTo>
                      <a:pt x="0" y="127"/>
                    </a:lnTo>
                    <a:lnTo>
                      <a:pt x="2" y="115"/>
                    </a:lnTo>
                    <a:lnTo>
                      <a:pt x="4" y="102"/>
                    </a:lnTo>
                    <a:lnTo>
                      <a:pt x="7" y="90"/>
                    </a:lnTo>
                    <a:lnTo>
                      <a:pt x="11" y="78"/>
                    </a:lnTo>
                    <a:lnTo>
                      <a:pt x="17" y="67"/>
                    </a:lnTo>
                    <a:lnTo>
                      <a:pt x="23" y="56"/>
                    </a:lnTo>
                    <a:lnTo>
                      <a:pt x="31" y="47"/>
                    </a:lnTo>
                    <a:lnTo>
                      <a:pt x="39" y="38"/>
                    </a:lnTo>
                    <a:lnTo>
                      <a:pt x="49" y="30"/>
                    </a:lnTo>
                    <a:lnTo>
                      <a:pt x="58" y="22"/>
                    </a:lnTo>
                    <a:lnTo>
                      <a:pt x="69" y="15"/>
                    </a:lnTo>
                    <a:lnTo>
                      <a:pt x="81" y="10"/>
                    </a:lnTo>
                    <a:lnTo>
                      <a:pt x="93" y="6"/>
                    </a:lnTo>
                    <a:lnTo>
                      <a:pt x="105" y="3"/>
                    </a:lnTo>
                    <a:lnTo>
                      <a:pt x="117" y="0"/>
                    </a:lnTo>
                    <a:lnTo>
                      <a:pt x="130" y="0"/>
                    </a:lnTo>
                    <a:lnTo>
                      <a:pt x="130" y="0"/>
                    </a:lnTo>
                    <a:lnTo>
                      <a:pt x="130" y="0"/>
                    </a:lnTo>
                    <a:lnTo>
                      <a:pt x="143" y="0"/>
                    </a:lnTo>
                    <a:lnTo>
                      <a:pt x="157" y="3"/>
                    </a:lnTo>
                    <a:lnTo>
                      <a:pt x="169" y="6"/>
                    </a:lnTo>
                    <a:lnTo>
                      <a:pt x="181" y="10"/>
                    </a:lnTo>
                    <a:lnTo>
                      <a:pt x="192" y="15"/>
                    </a:lnTo>
                    <a:lnTo>
                      <a:pt x="202" y="22"/>
                    </a:lnTo>
                    <a:lnTo>
                      <a:pt x="213" y="30"/>
                    </a:lnTo>
                    <a:lnTo>
                      <a:pt x="221" y="38"/>
                    </a:lnTo>
                    <a:lnTo>
                      <a:pt x="230" y="47"/>
                    </a:lnTo>
                    <a:lnTo>
                      <a:pt x="237" y="56"/>
                    </a:lnTo>
                    <a:lnTo>
                      <a:pt x="244" y="67"/>
                    </a:lnTo>
                    <a:lnTo>
                      <a:pt x="249" y="79"/>
                    </a:lnTo>
                    <a:lnTo>
                      <a:pt x="253" y="91"/>
                    </a:lnTo>
                    <a:lnTo>
                      <a:pt x="257" y="103"/>
                    </a:lnTo>
                    <a:lnTo>
                      <a:pt x="258" y="117"/>
                    </a:lnTo>
                    <a:lnTo>
                      <a:pt x="260" y="129"/>
                    </a:lnTo>
                    <a:lnTo>
                      <a:pt x="260" y="129"/>
                    </a:lnTo>
                    <a:lnTo>
                      <a:pt x="260" y="129"/>
                    </a:lnTo>
                    <a:lnTo>
                      <a:pt x="260" y="130"/>
                    </a:lnTo>
                    <a:lnTo>
                      <a:pt x="260" y="130"/>
                    </a:lnTo>
                    <a:lnTo>
                      <a:pt x="260" y="130"/>
                    </a:lnTo>
                    <a:lnTo>
                      <a:pt x="258" y="143"/>
                    </a:lnTo>
                    <a:lnTo>
                      <a:pt x="257" y="155"/>
                    </a:lnTo>
                    <a:lnTo>
                      <a:pt x="253" y="167"/>
                    </a:lnTo>
                    <a:lnTo>
                      <a:pt x="249" y="179"/>
                    </a:lnTo>
                    <a:lnTo>
                      <a:pt x="244" y="191"/>
                    </a:lnTo>
                    <a:lnTo>
                      <a:pt x="237" y="202"/>
                    </a:lnTo>
                    <a:lnTo>
                      <a:pt x="230" y="211"/>
                    </a:lnTo>
                    <a:lnTo>
                      <a:pt x="221" y="221"/>
                    </a:lnTo>
                    <a:lnTo>
                      <a:pt x="213" y="229"/>
                    </a:lnTo>
                    <a:lnTo>
                      <a:pt x="202" y="237"/>
                    </a:lnTo>
                    <a:lnTo>
                      <a:pt x="192" y="244"/>
                    </a:lnTo>
                    <a:lnTo>
                      <a:pt x="181" y="249"/>
                    </a:lnTo>
                    <a:lnTo>
                      <a:pt x="169" y="253"/>
                    </a:lnTo>
                    <a:lnTo>
                      <a:pt x="157" y="256"/>
                    </a:lnTo>
                    <a:lnTo>
                      <a:pt x="143" y="258"/>
                    </a:lnTo>
                    <a:lnTo>
                      <a:pt x="130" y="258"/>
                    </a:lnTo>
                    <a:lnTo>
                      <a:pt x="130" y="258"/>
                    </a:lnTo>
                    <a:lnTo>
                      <a:pt x="130" y="2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 name="Freeform 8"/>
              <p:cNvSpPr>
                <a:spLocks/>
              </p:cNvSpPr>
              <p:nvPr/>
            </p:nvSpPr>
            <p:spPr bwMode="auto">
              <a:xfrm>
                <a:off x="1561550" y="4846289"/>
                <a:ext cx="188455" cy="188455"/>
              </a:xfrm>
              <a:custGeom>
                <a:avLst/>
                <a:gdLst>
                  <a:gd name="T0" fmla="*/ 123 w 147"/>
                  <a:gd name="T1" fmla="*/ 67 h 148"/>
                  <a:gd name="T2" fmla="*/ 120 w 147"/>
                  <a:gd name="T3" fmla="*/ 62 h 148"/>
                  <a:gd name="T4" fmla="*/ 120 w 147"/>
                  <a:gd name="T5" fmla="*/ 62 h 148"/>
                  <a:gd name="T6" fmla="*/ 113 w 147"/>
                  <a:gd name="T7" fmla="*/ 51 h 148"/>
                  <a:gd name="T8" fmla="*/ 105 w 147"/>
                  <a:gd name="T9" fmla="*/ 41 h 148"/>
                  <a:gd name="T10" fmla="*/ 96 w 147"/>
                  <a:gd name="T11" fmla="*/ 33 h 148"/>
                  <a:gd name="T12" fmla="*/ 85 w 147"/>
                  <a:gd name="T13" fmla="*/ 27 h 148"/>
                  <a:gd name="T14" fmla="*/ 80 w 147"/>
                  <a:gd name="T15" fmla="*/ 23 h 148"/>
                  <a:gd name="T16" fmla="*/ 92 w 147"/>
                  <a:gd name="T17" fmla="*/ 3 h 148"/>
                  <a:gd name="T18" fmla="*/ 92 w 147"/>
                  <a:gd name="T19" fmla="*/ 3 h 148"/>
                  <a:gd name="T20" fmla="*/ 82 w 147"/>
                  <a:gd name="T21" fmla="*/ 1 h 148"/>
                  <a:gd name="T22" fmla="*/ 73 w 147"/>
                  <a:gd name="T23" fmla="*/ 0 h 148"/>
                  <a:gd name="T24" fmla="*/ 73 w 147"/>
                  <a:gd name="T25" fmla="*/ 0 h 148"/>
                  <a:gd name="T26" fmla="*/ 58 w 147"/>
                  <a:gd name="T27" fmla="*/ 1 h 148"/>
                  <a:gd name="T28" fmla="*/ 45 w 147"/>
                  <a:gd name="T29" fmla="*/ 7 h 148"/>
                  <a:gd name="T30" fmla="*/ 32 w 147"/>
                  <a:gd name="T31" fmla="*/ 13 h 148"/>
                  <a:gd name="T32" fmla="*/ 21 w 147"/>
                  <a:gd name="T33" fmla="*/ 21 h 148"/>
                  <a:gd name="T34" fmla="*/ 12 w 147"/>
                  <a:gd name="T35" fmla="*/ 33 h 148"/>
                  <a:gd name="T36" fmla="*/ 5 w 147"/>
                  <a:gd name="T37" fmla="*/ 46 h 148"/>
                  <a:gd name="T38" fmla="*/ 1 w 147"/>
                  <a:gd name="T39" fmla="*/ 59 h 148"/>
                  <a:gd name="T40" fmla="*/ 0 w 147"/>
                  <a:gd name="T41" fmla="*/ 74 h 148"/>
                  <a:gd name="T42" fmla="*/ 0 w 147"/>
                  <a:gd name="T43" fmla="*/ 74 h 148"/>
                  <a:gd name="T44" fmla="*/ 1 w 147"/>
                  <a:gd name="T45" fmla="*/ 90 h 148"/>
                  <a:gd name="T46" fmla="*/ 5 w 147"/>
                  <a:gd name="T47" fmla="*/ 103 h 148"/>
                  <a:gd name="T48" fmla="*/ 12 w 147"/>
                  <a:gd name="T49" fmla="*/ 115 h 148"/>
                  <a:gd name="T50" fmla="*/ 21 w 147"/>
                  <a:gd name="T51" fmla="*/ 127 h 148"/>
                  <a:gd name="T52" fmla="*/ 32 w 147"/>
                  <a:gd name="T53" fmla="*/ 135 h 148"/>
                  <a:gd name="T54" fmla="*/ 45 w 147"/>
                  <a:gd name="T55" fmla="*/ 142 h 148"/>
                  <a:gd name="T56" fmla="*/ 58 w 147"/>
                  <a:gd name="T57" fmla="*/ 147 h 148"/>
                  <a:gd name="T58" fmla="*/ 73 w 147"/>
                  <a:gd name="T59" fmla="*/ 148 h 148"/>
                  <a:gd name="T60" fmla="*/ 73 w 147"/>
                  <a:gd name="T61" fmla="*/ 148 h 148"/>
                  <a:gd name="T62" fmla="*/ 88 w 147"/>
                  <a:gd name="T63" fmla="*/ 147 h 148"/>
                  <a:gd name="T64" fmla="*/ 103 w 147"/>
                  <a:gd name="T65" fmla="*/ 142 h 148"/>
                  <a:gd name="T66" fmla="*/ 115 w 147"/>
                  <a:gd name="T67" fmla="*/ 135 h 148"/>
                  <a:gd name="T68" fmla="*/ 125 w 147"/>
                  <a:gd name="T69" fmla="*/ 127 h 148"/>
                  <a:gd name="T70" fmla="*/ 135 w 147"/>
                  <a:gd name="T71" fmla="*/ 115 h 148"/>
                  <a:gd name="T72" fmla="*/ 141 w 147"/>
                  <a:gd name="T73" fmla="*/ 103 h 148"/>
                  <a:gd name="T74" fmla="*/ 145 w 147"/>
                  <a:gd name="T75" fmla="*/ 90 h 148"/>
                  <a:gd name="T76" fmla="*/ 147 w 147"/>
                  <a:gd name="T77" fmla="*/ 74 h 148"/>
                  <a:gd name="T78" fmla="*/ 147 w 147"/>
                  <a:gd name="T79" fmla="*/ 74 h 148"/>
                  <a:gd name="T80" fmla="*/ 147 w 147"/>
                  <a:gd name="T81" fmla="*/ 64 h 148"/>
                  <a:gd name="T82" fmla="*/ 144 w 147"/>
                  <a:gd name="T83" fmla="*/ 55 h 148"/>
                  <a:gd name="T84" fmla="*/ 123 w 147"/>
                  <a:gd name="T85" fmla="*/ 6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7" h="148">
                    <a:moveTo>
                      <a:pt x="123" y="67"/>
                    </a:moveTo>
                    <a:lnTo>
                      <a:pt x="120" y="62"/>
                    </a:lnTo>
                    <a:lnTo>
                      <a:pt x="120" y="62"/>
                    </a:lnTo>
                    <a:lnTo>
                      <a:pt x="113" y="51"/>
                    </a:lnTo>
                    <a:lnTo>
                      <a:pt x="105" y="41"/>
                    </a:lnTo>
                    <a:lnTo>
                      <a:pt x="96" y="33"/>
                    </a:lnTo>
                    <a:lnTo>
                      <a:pt x="85" y="27"/>
                    </a:lnTo>
                    <a:lnTo>
                      <a:pt x="80" y="23"/>
                    </a:lnTo>
                    <a:lnTo>
                      <a:pt x="92" y="3"/>
                    </a:lnTo>
                    <a:lnTo>
                      <a:pt x="92" y="3"/>
                    </a:lnTo>
                    <a:lnTo>
                      <a:pt x="82" y="1"/>
                    </a:lnTo>
                    <a:lnTo>
                      <a:pt x="73" y="0"/>
                    </a:lnTo>
                    <a:lnTo>
                      <a:pt x="73" y="0"/>
                    </a:lnTo>
                    <a:lnTo>
                      <a:pt x="58" y="1"/>
                    </a:lnTo>
                    <a:lnTo>
                      <a:pt x="45" y="7"/>
                    </a:lnTo>
                    <a:lnTo>
                      <a:pt x="32" y="13"/>
                    </a:lnTo>
                    <a:lnTo>
                      <a:pt x="21" y="21"/>
                    </a:lnTo>
                    <a:lnTo>
                      <a:pt x="12" y="33"/>
                    </a:lnTo>
                    <a:lnTo>
                      <a:pt x="5" y="46"/>
                    </a:lnTo>
                    <a:lnTo>
                      <a:pt x="1" y="59"/>
                    </a:lnTo>
                    <a:lnTo>
                      <a:pt x="0" y="74"/>
                    </a:lnTo>
                    <a:lnTo>
                      <a:pt x="0" y="74"/>
                    </a:lnTo>
                    <a:lnTo>
                      <a:pt x="1" y="90"/>
                    </a:lnTo>
                    <a:lnTo>
                      <a:pt x="5" y="103"/>
                    </a:lnTo>
                    <a:lnTo>
                      <a:pt x="12" y="115"/>
                    </a:lnTo>
                    <a:lnTo>
                      <a:pt x="21" y="127"/>
                    </a:lnTo>
                    <a:lnTo>
                      <a:pt x="32" y="135"/>
                    </a:lnTo>
                    <a:lnTo>
                      <a:pt x="45" y="142"/>
                    </a:lnTo>
                    <a:lnTo>
                      <a:pt x="58" y="147"/>
                    </a:lnTo>
                    <a:lnTo>
                      <a:pt x="73" y="148"/>
                    </a:lnTo>
                    <a:lnTo>
                      <a:pt x="73" y="148"/>
                    </a:lnTo>
                    <a:lnTo>
                      <a:pt x="88" y="147"/>
                    </a:lnTo>
                    <a:lnTo>
                      <a:pt x="103" y="142"/>
                    </a:lnTo>
                    <a:lnTo>
                      <a:pt x="115" y="135"/>
                    </a:lnTo>
                    <a:lnTo>
                      <a:pt x="125" y="127"/>
                    </a:lnTo>
                    <a:lnTo>
                      <a:pt x="135" y="115"/>
                    </a:lnTo>
                    <a:lnTo>
                      <a:pt x="141" y="103"/>
                    </a:lnTo>
                    <a:lnTo>
                      <a:pt x="145" y="90"/>
                    </a:lnTo>
                    <a:lnTo>
                      <a:pt x="147" y="74"/>
                    </a:lnTo>
                    <a:lnTo>
                      <a:pt x="147" y="74"/>
                    </a:lnTo>
                    <a:lnTo>
                      <a:pt x="147" y="64"/>
                    </a:lnTo>
                    <a:lnTo>
                      <a:pt x="144" y="55"/>
                    </a:lnTo>
                    <a:lnTo>
                      <a:pt x="123" y="6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85" name="Freeform 88"/>
              <p:cNvSpPr>
                <a:spLocks/>
              </p:cNvSpPr>
              <p:nvPr/>
            </p:nvSpPr>
            <p:spPr bwMode="auto">
              <a:xfrm>
                <a:off x="1303871" y="4127085"/>
                <a:ext cx="2130685" cy="861504"/>
              </a:xfrm>
              <a:custGeom>
                <a:avLst/>
                <a:gdLst>
                  <a:gd name="T0" fmla="*/ 160 w 1664"/>
                  <a:gd name="T1" fmla="*/ 1 h 672"/>
                  <a:gd name="T2" fmla="*/ 147 w 1664"/>
                  <a:gd name="T3" fmla="*/ 2 h 672"/>
                  <a:gd name="T4" fmla="*/ 137 w 1664"/>
                  <a:gd name="T5" fmla="*/ 9 h 672"/>
                  <a:gd name="T6" fmla="*/ 129 w 1664"/>
                  <a:gd name="T7" fmla="*/ 18 h 672"/>
                  <a:gd name="T8" fmla="*/ 4 w 1664"/>
                  <a:gd name="T9" fmla="*/ 335 h 672"/>
                  <a:gd name="T10" fmla="*/ 0 w 1664"/>
                  <a:gd name="T11" fmla="*/ 508 h 672"/>
                  <a:gd name="T12" fmla="*/ 0 w 1664"/>
                  <a:gd name="T13" fmla="*/ 623 h 672"/>
                  <a:gd name="T14" fmla="*/ 4 w 1664"/>
                  <a:gd name="T15" fmla="*/ 643 h 672"/>
                  <a:gd name="T16" fmla="*/ 14 w 1664"/>
                  <a:gd name="T17" fmla="*/ 657 h 672"/>
                  <a:gd name="T18" fmla="*/ 29 w 1664"/>
                  <a:gd name="T19" fmla="*/ 665 h 672"/>
                  <a:gd name="T20" fmla="*/ 45 w 1664"/>
                  <a:gd name="T21" fmla="*/ 669 h 672"/>
                  <a:gd name="T22" fmla="*/ 133 w 1664"/>
                  <a:gd name="T23" fmla="*/ 669 h 672"/>
                  <a:gd name="T24" fmla="*/ 129 w 1664"/>
                  <a:gd name="T25" fmla="*/ 633 h 672"/>
                  <a:gd name="T26" fmla="*/ 129 w 1664"/>
                  <a:gd name="T27" fmla="*/ 632 h 672"/>
                  <a:gd name="T28" fmla="*/ 131 w 1664"/>
                  <a:gd name="T29" fmla="*/ 617 h 672"/>
                  <a:gd name="T30" fmla="*/ 136 w 1664"/>
                  <a:gd name="T31" fmla="*/ 589 h 672"/>
                  <a:gd name="T32" fmla="*/ 147 w 1664"/>
                  <a:gd name="T33" fmla="*/ 562 h 672"/>
                  <a:gd name="T34" fmla="*/ 163 w 1664"/>
                  <a:gd name="T35" fmla="*/ 540 h 672"/>
                  <a:gd name="T36" fmla="*/ 183 w 1664"/>
                  <a:gd name="T37" fmla="*/ 520 h 672"/>
                  <a:gd name="T38" fmla="*/ 206 w 1664"/>
                  <a:gd name="T39" fmla="*/ 505 h 672"/>
                  <a:gd name="T40" fmla="*/ 232 w 1664"/>
                  <a:gd name="T41" fmla="*/ 494 h 672"/>
                  <a:gd name="T42" fmla="*/ 260 w 1664"/>
                  <a:gd name="T43" fmla="*/ 488 h 672"/>
                  <a:gd name="T44" fmla="*/ 275 w 1664"/>
                  <a:gd name="T45" fmla="*/ 488 h 672"/>
                  <a:gd name="T46" fmla="*/ 305 w 1664"/>
                  <a:gd name="T47" fmla="*/ 490 h 672"/>
                  <a:gd name="T48" fmla="*/ 333 w 1664"/>
                  <a:gd name="T49" fmla="*/ 498 h 672"/>
                  <a:gd name="T50" fmla="*/ 357 w 1664"/>
                  <a:gd name="T51" fmla="*/ 512 h 672"/>
                  <a:gd name="T52" fmla="*/ 378 w 1664"/>
                  <a:gd name="T53" fmla="*/ 530 h 672"/>
                  <a:gd name="T54" fmla="*/ 397 w 1664"/>
                  <a:gd name="T55" fmla="*/ 552 h 672"/>
                  <a:gd name="T56" fmla="*/ 410 w 1664"/>
                  <a:gd name="T57" fmla="*/ 576 h 672"/>
                  <a:gd name="T58" fmla="*/ 418 w 1664"/>
                  <a:gd name="T59" fmla="*/ 604 h 672"/>
                  <a:gd name="T60" fmla="*/ 421 w 1664"/>
                  <a:gd name="T61" fmla="*/ 633 h 672"/>
                  <a:gd name="T62" fmla="*/ 421 w 1664"/>
                  <a:gd name="T63" fmla="*/ 633 h 672"/>
                  <a:gd name="T64" fmla="*/ 417 w 1664"/>
                  <a:gd name="T65" fmla="*/ 669 h 672"/>
                  <a:gd name="T66" fmla="*/ 1105 w 1664"/>
                  <a:gd name="T67" fmla="*/ 669 h 672"/>
                  <a:gd name="T68" fmla="*/ 1101 w 1664"/>
                  <a:gd name="T69" fmla="*/ 652 h 672"/>
                  <a:gd name="T70" fmla="*/ 1101 w 1664"/>
                  <a:gd name="T71" fmla="*/ 633 h 672"/>
                  <a:gd name="T72" fmla="*/ 1104 w 1664"/>
                  <a:gd name="T73" fmla="*/ 604 h 672"/>
                  <a:gd name="T74" fmla="*/ 1112 w 1664"/>
                  <a:gd name="T75" fmla="*/ 576 h 672"/>
                  <a:gd name="T76" fmla="*/ 1125 w 1664"/>
                  <a:gd name="T77" fmla="*/ 552 h 672"/>
                  <a:gd name="T78" fmla="*/ 1144 w 1664"/>
                  <a:gd name="T79" fmla="*/ 530 h 672"/>
                  <a:gd name="T80" fmla="*/ 1165 w 1664"/>
                  <a:gd name="T81" fmla="*/ 512 h 672"/>
                  <a:gd name="T82" fmla="*/ 1189 w 1664"/>
                  <a:gd name="T83" fmla="*/ 498 h 672"/>
                  <a:gd name="T84" fmla="*/ 1217 w 1664"/>
                  <a:gd name="T85" fmla="*/ 490 h 672"/>
                  <a:gd name="T86" fmla="*/ 1247 w 1664"/>
                  <a:gd name="T87" fmla="*/ 488 h 672"/>
                  <a:gd name="T88" fmla="*/ 1262 w 1664"/>
                  <a:gd name="T89" fmla="*/ 488 h 672"/>
                  <a:gd name="T90" fmla="*/ 1290 w 1664"/>
                  <a:gd name="T91" fmla="*/ 494 h 672"/>
                  <a:gd name="T92" fmla="*/ 1316 w 1664"/>
                  <a:gd name="T93" fmla="*/ 505 h 672"/>
                  <a:gd name="T94" fmla="*/ 1339 w 1664"/>
                  <a:gd name="T95" fmla="*/ 521 h 672"/>
                  <a:gd name="T96" fmla="*/ 1359 w 1664"/>
                  <a:gd name="T97" fmla="*/ 540 h 672"/>
                  <a:gd name="T98" fmla="*/ 1375 w 1664"/>
                  <a:gd name="T99" fmla="*/ 564 h 672"/>
                  <a:gd name="T100" fmla="*/ 1386 w 1664"/>
                  <a:gd name="T101" fmla="*/ 589 h 672"/>
                  <a:gd name="T102" fmla="*/ 1391 w 1664"/>
                  <a:gd name="T103" fmla="*/ 619 h 672"/>
                  <a:gd name="T104" fmla="*/ 1393 w 1664"/>
                  <a:gd name="T105" fmla="*/ 633 h 672"/>
                  <a:gd name="T106" fmla="*/ 1387 w 1664"/>
                  <a:gd name="T107" fmla="*/ 671 h 672"/>
                  <a:gd name="T108" fmla="*/ 1664 w 1664"/>
                  <a:gd name="T109" fmla="*/ 104 h 672"/>
                  <a:gd name="T110" fmla="*/ 1663 w 1664"/>
                  <a:gd name="T111" fmla="*/ 95 h 672"/>
                  <a:gd name="T112" fmla="*/ 1657 w 1664"/>
                  <a:gd name="T113" fmla="*/ 75 h 672"/>
                  <a:gd name="T114" fmla="*/ 1646 w 1664"/>
                  <a:gd name="T115" fmla="*/ 56 h 672"/>
                  <a:gd name="T116" fmla="*/ 1633 w 1664"/>
                  <a:gd name="T117" fmla="*/ 38 h 672"/>
                  <a:gd name="T118" fmla="*/ 1616 w 1664"/>
                  <a:gd name="T119" fmla="*/ 24 h 672"/>
                  <a:gd name="T120" fmla="*/ 1596 w 1664"/>
                  <a:gd name="T121" fmla="*/ 12 h 672"/>
                  <a:gd name="T122" fmla="*/ 1576 w 1664"/>
                  <a:gd name="T123" fmla="*/ 4 h 672"/>
                  <a:gd name="T124" fmla="*/ 1554 w 1664"/>
                  <a:gd name="T125" fmla="*/ 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4" h="672">
                    <a:moveTo>
                      <a:pt x="160" y="1"/>
                    </a:moveTo>
                    <a:lnTo>
                      <a:pt x="160" y="1"/>
                    </a:lnTo>
                    <a:lnTo>
                      <a:pt x="152" y="1"/>
                    </a:lnTo>
                    <a:lnTo>
                      <a:pt x="147" y="2"/>
                    </a:lnTo>
                    <a:lnTo>
                      <a:pt x="141" y="5"/>
                    </a:lnTo>
                    <a:lnTo>
                      <a:pt x="137" y="9"/>
                    </a:lnTo>
                    <a:lnTo>
                      <a:pt x="133" y="13"/>
                    </a:lnTo>
                    <a:lnTo>
                      <a:pt x="129" y="18"/>
                    </a:lnTo>
                    <a:lnTo>
                      <a:pt x="124" y="30"/>
                    </a:lnTo>
                    <a:lnTo>
                      <a:pt x="4" y="335"/>
                    </a:lnTo>
                    <a:lnTo>
                      <a:pt x="0" y="358"/>
                    </a:lnTo>
                    <a:lnTo>
                      <a:pt x="0" y="508"/>
                    </a:lnTo>
                    <a:lnTo>
                      <a:pt x="0" y="623"/>
                    </a:lnTo>
                    <a:lnTo>
                      <a:pt x="0" y="623"/>
                    </a:lnTo>
                    <a:lnTo>
                      <a:pt x="1" y="633"/>
                    </a:lnTo>
                    <a:lnTo>
                      <a:pt x="4" y="643"/>
                    </a:lnTo>
                    <a:lnTo>
                      <a:pt x="8" y="651"/>
                    </a:lnTo>
                    <a:lnTo>
                      <a:pt x="14" y="657"/>
                    </a:lnTo>
                    <a:lnTo>
                      <a:pt x="21" y="663"/>
                    </a:lnTo>
                    <a:lnTo>
                      <a:pt x="29" y="665"/>
                    </a:lnTo>
                    <a:lnTo>
                      <a:pt x="37" y="668"/>
                    </a:lnTo>
                    <a:lnTo>
                      <a:pt x="45" y="669"/>
                    </a:lnTo>
                    <a:lnTo>
                      <a:pt x="133" y="669"/>
                    </a:lnTo>
                    <a:lnTo>
                      <a:pt x="133" y="669"/>
                    </a:lnTo>
                    <a:lnTo>
                      <a:pt x="131" y="652"/>
                    </a:lnTo>
                    <a:lnTo>
                      <a:pt x="129" y="633"/>
                    </a:lnTo>
                    <a:lnTo>
                      <a:pt x="129" y="633"/>
                    </a:lnTo>
                    <a:lnTo>
                      <a:pt x="129" y="632"/>
                    </a:lnTo>
                    <a:lnTo>
                      <a:pt x="129" y="632"/>
                    </a:lnTo>
                    <a:lnTo>
                      <a:pt x="131" y="617"/>
                    </a:lnTo>
                    <a:lnTo>
                      <a:pt x="132" y="602"/>
                    </a:lnTo>
                    <a:lnTo>
                      <a:pt x="136" y="589"/>
                    </a:lnTo>
                    <a:lnTo>
                      <a:pt x="141" y="576"/>
                    </a:lnTo>
                    <a:lnTo>
                      <a:pt x="147" y="562"/>
                    </a:lnTo>
                    <a:lnTo>
                      <a:pt x="155" y="550"/>
                    </a:lnTo>
                    <a:lnTo>
                      <a:pt x="163" y="540"/>
                    </a:lnTo>
                    <a:lnTo>
                      <a:pt x="172" y="529"/>
                    </a:lnTo>
                    <a:lnTo>
                      <a:pt x="183" y="520"/>
                    </a:lnTo>
                    <a:lnTo>
                      <a:pt x="194" y="512"/>
                    </a:lnTo>
                    <a:lnTo>
                      <a:pt x="206" y="505"/>
                    </a:lnTo>
                    <a:lnTo>
                      <a:pt x="219" y="498"/>
                    </a:lnTo>
                    <a:lnTo>
                      <a:pt x="232" y="494"/>
                    </a:lnTo>
                    <a:lnTo>
                      <a:pt x="246" y="490"/>
                    </a:lnTo>
                    <a:lnTo>
                      <a:pt x="260" y="488"/>
                    </a:lnTo>
                    <a:lnTo>
                      <a:pt x="275" y="488"/>
                    </a:lnTo>
                    <a:lnTo>
                      <a:pt x="275" y="488"/>
                    </a:lnTo>
                    <a:lnTo>
                      <a:pt x="290" y="488"/>
                    </a:lnTo>
                    <a:lnTo>
                      <a:pt x="305" y="490"/>
                    </a:lnTo>
                    <a:lnTo>
                      <a:pt x="319" y="494"/>
                    </a:lnTo>
                    <a:lnTo>
                      <a:pt x="333" y="498"/>
                    </a:lnTo>
                    <a:lnTo>
                      <a:pt x="345" y="505"/>
                    </a:lnTo>
                    <a:lnTo>
                      <a:pt x="357" y="512"/>
                    </a:lnTo>
                    <a:lnTo>
                      <a:pt x="367" y="521"/>
                    </a:lnTo>
                    <a:lnTo>
                      <a:pt x="378" y="530"/>
                    </a:lnTo>
                    <a:lnTo>
                      <a:pt x="387" y="540"/>
                    </a:lnTo>
                    <a:lnTo>
                      <a:pt x="397" y="552"/>
                    </a:lnTo>
                    <a:lnTo>
                      <a:pt x="403" y="564"/>
                    </a:lnTo>
                    <a:lnTo>
                      <a:pt x="410" y="576"/>
                    </a:lnTo>
                    <a:lnTo>
                      <a:pt x="414" y="589"/>
                    </a:lnTo>
                    <a:lnTo>
                      <a:pt x="418" y="604"/>
                    </a:lnTo>
                    <a:lnTo>
                      <a:pt x="421" y="619"/>
                    </a:lnTo>
                    <a:lnTo>
                      <a:pt x="421" y="633"/>
                    </a:lnTo>
                    <a:lnTo>
                      <a:pt x="421" y="633"/>
                    </a:lnTo>
                    <a:lnTo>
                      <a:pt x="421" y="633"/>
                    </a:lnTo>
                    <a:lnTo>
                      <a:pt x="419" y="652"/>
                    </a:lnTo>
                    <a:lnTo>
                      <a:pt x="417" y="669"/>
                    </a:lnTo>
                    <a:lnTo>
                      <a:pt x="1037" y="669"/>
                    </a:lnTo>
                    <a:lnTo>
                      <a:pt x="1105" y="669"/>
                    </a:lnTo>
                    <a:lnTo>
                      <a:pt x="1105" y="669"/>
                    </a:lnTo>
                    <a:lnTo>
                      <a:pt x="1101" y="652"/>
                    </a:lnTo>
                    <a:lnTo>
                      <a:pt x="1101" y="633"/>
                    </a:lnTo>
                    <a:lnTo>
                      <a:pt x="1101" y="633"/>
                    </a:lnTo>
                    <a:lnTo>
                      <a:pt x="1101" y="619"/>
                    </a:lnTo>
                    <a:lnTo>
                      <a:pt x="1104" y="604"/>
                    </a:lnTo>
                    <a:lnTo>
                      <a:pt x="1106" y="590"/>
                    </a:lnTo>
                    <a:lnTo>
                      <a:pt x="1112" y="576"/>
                    </a:lnTo>
                    <a:lnTo>
                      <a:pt x="1119" y="564"/>
                    </a:lnTo>
                    <a:lnTo>
                      <a:pt x="1125" y="552"/>
                    </a:lnTo>
                    <a:lnTo>
                      <a:pt x="1133" y="541"/>
                    </a:lnTo>
                    <a:lnTo>
                      <a:pt x="1144" y="530"/>
                    </a:lnTo>
                    <a:lnTo>
                      <a:pt x="1153" y="521"/>
                    </a:lnTo>
                    <a:lnTo>
                      <a:pt x="1165" y="512"/>
                    </a:lnTo>
                    <a:lnTo>
                      <a:pt x="1177" y="505"/>
                    </a:lnTo>
                    <a:lnTo>
                      <a:pt x="1189" y="498"/>
                    </a:lnTo>
                    <a:lnTo>
                      <a:pt x="1203" y="494"/>
                    </a:lnTo>
                    <a:lnTo>
                      <a:pt x="1217" y="490"/>
                    </a:lnTo>
                    <a:lnTo>
                      <a:pt x="1232" y="488"/>
                    </a:lnTo>
                    <a:lnTo>
                      <a:pt x="1247" y="488"/>
                    </a:lnTo>
                    <a:lnTo>
                      <a:pt x="1247" y="488"/>
                    </a:lnTo>
                    <a:lnTo>
                      <a:pt x="1262" y="488"/>
                    </a:lnTo>
                    <a:lnTo>
                      <a:pt x="1276" y="490"/>
                    </a:lnTo>
                    <a:lnTo>
                      <a:pt x="1290" y="494"/>
                    </a:lnTo>
                    <a:lnTo>
                      <a:pt x="1303" y="498"/>
                    </a:lnTo>
                    <a:lnTo>
                      <a:pt x="1316" y="505"/>
                    </a:lnTo>
                    <a:lnTo>
                      <a:pt x="1328" y="512"/>
                    </a:lnTo>
                    <a:lnTo>
                      <a:pt x="1339" y="521"/>
                    </a:lnTo>
                    <a:lnTo>
                      <a:pt x="1350" y="530"/>
                    </a:lnTo>
                    <a:lnTo>
                      <a:pt x="1359" y="540"/>
                    </a:lnTo>
                    <a:lnTo>
                      <a:pt x="1367" y="552"/>
                    </a:lnTo>
                    <a:lnTo>
                      <a:pt x="1375" y="564"/>
                    </a:lnTo>
                    <a:lnTo>
                      <a:pt x="1380" y="576"/>
                    </a:lnTo>
                    <a:lnTo>
                      <a:pt x="1386" y="589"/>
                    </a:lnTo>
                    <a:lnTo>
                      <a:pt x="1390" y="604"/>
                    </a:lnTo>
                    <a:lnTo>
                      <a:pt x="1391" y="619"/>
                    </a:lnTo>
                    <a:lnTo>
                      <a:pt x="1393" y="633"/>
                    </a:lnTo>
                    <a:lnTo>
                      <a:pt x="1393" y="633"/>
                    </a:lnTo>
                    <a:lnTo>
                      <a:pt x="1391" y="652"/>
                    </a:lnTo>
                    <a:lnTo>
                      <a:pt x="1387" y="671"/>
                    </a:lnTo>
                    <a:lnTo>
                      <a:pt x="1661" y="672"/>
                    </a:lnTo>
                    <a:lnTo>
                      <a:pt x="1664" y="104"/>
                    </a:lnTo>
                    <a:lnTo>
                      <a:pt x="1664" y="104"/>
                    </a:lnTo>
                    <a:lnTo>
                      <a:pt x="1663" y="95"/>
                    </a:lnTo>
                    <a:lnTo>
                      <a:pt x="1661" y="84"/>
                    </a:lnTo>
                    <a:lnTo>
                      <a:pt x="1657" y="75"/>
                    </a:lnTo>
                    <a:lnTo>
                      <a:pt x="1653" y="65"/>
                    </a:lnTo>
                    <a:lnTo>
                      <a:pt x="1646" y="56"/>
                    </a:lnTo>
                    <a:lnTo>
                      <a:pt x="1640" y="48"/>
                    </a:lnTo>
                    <a:lnTo>
                      <a:pt x="1633" y="38"/>
                    </a:lnTo>
                    <a:lnTo>
                      <a:pt x="1624" y="32"/>
                    </a:lnTo>
                    <a:lnTo>
                      <a:pt x="1616" y="24"/>
                    </a:lnTo>
                    <a:lnTo>
                      <a:pt x="1605" y="18"/>
                    </a:lnTo>
                    <a:lnTo>
                      <a:pt x="1596" y="12"/>
                    </a:lnTo>
                    <a:lnTo>
                      <a:pt x="1585" y="8"/>
                    </a:lnTo>
                    <a:lnTo>
                      <a:pt x="1576" y="4"/>
                    </a:lnTo>
                    <a:lnTo>
                      <a:pt x="1565" y="1"/>
                    </a:lnTo>
                    <a:lnTo>
                      <a:pt x="1554" y="0"/>
                    </a:lnTo>
                    <a:lnTo>
                      <a:pt x="15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85" name="Group 584"/>
              <p:cNvGrpSpPr/>
              <p:nvPr/>
            </p:nvGrpSpPr>
            <p:grpSpPr>
              <a:xfrm>
                <a:off x="1526938" y="4330923"/>
                <a:ext cx="1796083" cy="215376"/>
                <a:chOff x="1526938" y="4330923"/>
                <a:chExt cx="1796083" cy="215376"/>
              </a:xfrm>
              <a:solidFill>
                <a:schemeClr val="bg1"/>
              </a:solidFill>
            </p:grpSpPr>
            <p:sp>
              <p:nvSpPr>
                <p:cNvPr id="1192" name="Freeform 195"/>
                <p:cNvSpPr>
                  <a:spLocks/>
                </p:cNvSpPr>
                <p:nvPr/>
              </p:nvSpPr>
              <p:spPr bwMode="auto">
                <a:xfrm>
                  <a:off x="2103839" y="4369383"/>
                  <a:ext cx="96150" cy="92304"/>
                </a:xfrm>
                <a:custGeom>
                  <a:avLst/>
                  <a:gdLst>
                    <a:gd name="T0" fmla="*/ 23 w 74"/>
                    <a:gd name="T1" fmla="*/ 2 h 72"/>
                    <a:gd name="T2" fmla="*/ 27 w 74"/>
                    <a:gd name="T3" fmla="*/ 1 h 72"/>
                    <a:gd name="T4" fmla="*/ 32 w 74"/>
                    <a:gd name="T5" fmla="*/ 0 h 72"/>
                    <a:gd name="T6" fmla="*/ 36 w 74"/>
                    <a:gd name="T7" fmla="*/ 0 h 72"/>
                    <a:gd name="T8" fmla="*/ 42 w 74"/>
                    <a:gd name="T9" fmla="*/ 0 h 72"/>
                    <a:gd name="T10" fmla="*/ 46 w 74"/>
                    <a:gd name="T11" fmla="*/ 1 h 72"/>
                    <a:gd name="T12" fmla="*/ 54 w 74"/>
                    <a:gd name="T13" fmla="*/ 4 h 72"/>
                    <a:gd name="T14" fmla="*/ 62 w 74"/>
                    <a:gd name="T15" fmla="*/ 9 h 72"/>
                    <a:gd name="T16" fmla="*/ 67 w 74"/>
                    <a:gd name="T17" fmla="*/ 16 h 72"/>
                    <a:gd name="T18" fmla="*/ 70 w 74"/>
                    <a:gd name="T19" fmla="*/ 20 h 72"/>
                    <a:gd name="T20" fmla="*/ 72 w 74"/>
                    <a:gd name="T21" fmla="*/ 24 h 72"/>
                    <a:gd name="T22" fmla="*/ 74 w 74"/>
                    <a:gd name="T23" fmla="*/ 28 h 72"/>
                    <a:gd name="T24" fmla="*/ 74 w 74"/>
                    <a:gd name="T25" fmla="*/ 33 h 72"/>
                    <a:gd name="T26" fmla="*/ 74 w 74"/>
                    <a:gd name="T27" fmla="*/ 37 h 72"/>
                    <a:gd name="T28" fmla="*/ 74 w 74"/>
                    <a:gd name="T29" fmla="*/ 40 h 72"/>
                    <a:gd name="T30" fmla="*/ 72 w 74"/>
                    <a:gd name="T31" fmla="*/ 45 h 72"/>
                    <a:gd name="T32" fmla="*/ 71 w 74"/>
                    <a:gd name="T33" fmla="*/ 50 h 72"/>
                    <a:gd name="T34" fmla="*/ 70 w 74"/>
                    <a:gd name="T35" fmla="*/ 54 h 72"/>
                    <a:gd name="T36" fmla="*/ 66 w 74"/>
                    <a:gd name="T37" fmla="*/ 58 h 72"/>
                    <a:gd name="T38" fmla="*/ 63 w 74"/>
                    <a:gd name="T39" fmla="*/ 62 h 72"/>
                    <a:gd name="T40" fmla="*/ 59 w 74"/>
                    <a:gd name="T41" fmla="*/ 65 h 72"/>
                    <a:gd name="T42" fmla="*/ 54 w 74"/>
                    <a:gd name="T43" fmla="*/ 68 h 72"/>
                    <a:gd name="T44" fmla="*/ 50 w 74"/>
                    <a:gd name="T45" fmla="*/ 69 h 72"/>
                    <a:gd name="T46" fmla="*/ 44 w 74"/>
                    <a:gd name="T47" fmla="*/ 70 h 72"/>
                    <a:gd name="T48" fmla="*/ 40 w 74"/>
                    <a:gd name="T49" fmla="*/ 72 h 72"/>
                    <a:gd name="T50" fmla="*/ 35 w 74"/>
                    <a:gd name="T51" fmla="*/ 72 h 72"/>
                    <a:gd name="T52" fmla="*/ 30 w 74"/>
                    <a:gd name="T53" fmla="*/ 70 h 72"/>
                    <a:gd name="T54" fmla="*/ 24 w 74"/>
                    <a:gd name="T55" fmla="*/ 69 h 72"/>
                    <a:gd name="T56" fmla="*/ 20 w 74"/>
                    <a:gd name="T57" fmla="*/ 68 h 72"/>
                    <a:gd name="T58" fmla="*/ 16 w 74"/>
                    <a:gd name="T59" fmla="*/ 65 h 72"/>
                    <a:gd name="T60" fmla="*/ 14 w 74"/>
                    <a:gd name="T61" fmla="*/ 64 h 72"/>
                    <a:gd name="T62" fmla="*/ 10 w 74"/>
                    <a:gd name="T63" fmla="*/ 60 h 72"/>
                    <a:gd name="T64" fmla="*/ 7 w 74"/>
                    <a:gd name="T65" fmla="*/ 57 h 72"/>
                    <a:gd name="T66" fmla="*/ 4 w 74"/>
                    <a:gd name="T67" fmla="*/ 53 h 72"/>
                    <a:gd name="T68" fmla="*/ 3 w 74"/>
                    <a:gd name="T69" fmla="*/ 49 h 72"/>
                    <a:gd name="T70" fmla="*/ 2 w 74"/>
                    <a:gd name="T71" fmla="*/ 44 h 72"/>
                    <a:gd name="T72" fmla="*/ 0 w 74"/>
                    <a:gd name="T73" fmla="*/ 40 h 72"/>
                    <a:gd name="T74" fmla="*/ 0 w 74"/>
                    <a:gd name="T75" fmla="*/ 30 h 72"/>
                    <a:gd name="T76" fmla="*/ 3 w 74"/>
                    <a:gd name="T77" fmla="*/ 24 h 72"/>
                    <a:gd name="T78" fmla="*/ 4 w 74"/>
                    <a:gd name="T79" fmla="*/ 18 h 72"/>
                    <a:gd name="T80" fmla="*/ 7 w 74"/>
                    <a:gd name="T81" fmla="*/ 14 h 72"/>
                    <a:gd name="T82" fmla="*/ 10 w 74"/>
                    <a:gd name="T83" fmla="*/ 12 h 72"/>
                    <a:gd name="T84" fmla="*/ 12 w 74"/>
                    <a:gd name="T85" fmla="*/ 8 h 72"/>
                    <a:gd name="T86" fmla="*/ 16 w 74"/>
                    <a:gd name="T87" fmla="*/ 5 h 72"/>
                    <a:gd name="T88" fmla="*/ 20 w 74"/>
                    <a:gd name="T89" fmla="*/ 4 h 72"/>
                    <a:gd name="T90" fmla="*/ 23 w 7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72">
                      <a:moveTo>
                        <a:pt x="23" y="2"/>
                      </a:moveTo>
                      <a:lnTo>
                        <a:pt x="23" y="2"/>
                      </a:lnTo>
                      <a:lnTo>
                        <a:pt x="26" y="1"/>
                      </a:lnTo>
                      <a:lnTo>
                        <a:pt x="27" y="1"/>
                      </a:lnTo>
                      <a:lnTo>
                        <a:pt x="30" y="0"/>
                      </a:lnTo>
                      <a:lnTo>
                        <a:pt x="32" y="0"/>
                      </a:lnTo>
                      <a:lnTo>
                        <a:pt x="35" y="0"/>
                      </a:lnTo>
                      <a:lnTo>
                        <a:pt x="36" y="0"/>
                      </a:lnTo>
                      <a:lnTo>
                        <a:pt x="39" y="0"/>
                      </a:lnTo>
                      <a:lnTo>
                        <a:pt x="42" y="0"/>
                      </a:lnTo>
                      <a:lnTo>
                        <a:pt x="43" y="0"/>
                      </a:lnTo>
                      <a:lnTo>
                        <a:pt x="46" y="1"/>
                      </a:lnTo>
                      <a:lnTo>
                        <a:pt x="50" y="2"/>
                      </a:lnTo>
                      <a:lnTo>
                        <a:pt x="54" y="4"/>
                      </a:lnTo>
                      <a:lnTo>
                        <a:pt x="58" y="6"/>
                      </a:lnTo>
                      <a:lnTo>
                        <a:pt x="62" y="9"/>
                      </a:lnTo>
                      <a:lnTo>
                        <a:pt x="64" y="12"/>
                      </a:lnTo>
                      <a:lnTo>
                        <a:pt x="67" y="16"/>
                      </a:lnTo>
                      <a:lnTo>
                        <a:pt x="68" y="17"/>
                      </a:lnTo>
                      <a:lnTo>
                        <a:pt x="70" y="20"/>
                      </a:lnTo>
                      <a:lnTo>
                        <a:pt x="71" y="21"/>
                      </a:lnTo>
                      <a:lnTo>
                        <a:pt x="72" y="24"/>
                      </a:lnTo>
                      <a:lnTo>
                        <a:pt x="72" y="26"/>
                      </a:lnTo>
                      <a:lnTo>
                        <a:pt x="74" y="28"/>
                      </a:lnTo>
                      <a:lnTo>
                        <a:pt x="74" y="30"/>
                      </a:lnTo>
                      <a:lnTo>
                        <a:pt x="74" y="33"/>
                      </a:lnTo>
                      <a:lnTo>
                        <a:pt x="74" y="34"/>
                      </a:lnTo>
                      <a:lnTo>
                        <a:pt x="74" y="37"/>
                      </a:lnTo>
                      <a:lnTo>
                        <a:pt x="74" y="37"/>
                      </a:lnTo>
                      <a:lnTo>
                        <a:pt x="74" y="40"/>
                      </a:lnTo>
                      <a:lnTo>
                        <a:pt x="74" y="42"/>
                      </a:lnTo>
                      <a:lnTo>
                        <a:pt x="72" y="45"/>
                      </a:lnTo>
                      <a:lnTo>
                        <a:pt x="72" y="48"/>
                      </a:lnTo>
                      <a:lnTo>
                        <a:pt x="71" y="50"/>
                      </a:lnTo>
                      <a:lnTo>
                        <a:pt x="71" y="52"/>
                      </a:lnTo>
                      <a:lnTo>
                        <a:pt x="70" y="54"/>
                      </a:lnTo>
                      <a:lnTo>
                        <a:pt x="68" y="56"/>
                      </a:lnTo>
                      <a:lnTo>
                        <a:pt x="66" y="58"/>
                      </a:lnTo>
                      <a:lnTo>
                        <a:pt x="64" y="60"/>
                      </a:lnTo>
                      <a:lnTo>
                        <a:pt x="63" y="62"/>
                      </a:lnTo>
                      <a:lnTo>
                        <a:pt x="60" y="64"/>
                      </a:lnTo>
                      <a:lnTo>
                        <a:pt x="59" y="65"/>
                      </a:lnTo>
                      <a:lnTo>
                        <a:pt x="56" y="66"/>
                      </a:lnTo>
                      <a:lnTo>
                        <a:pt x="54" y="68"/>
                      </a:lnTo>
                      <a:lnTo>
                        <a:pt x="52" y="68"/>
                      </a:lnTo>
                      <a:lnTo>
                        <a:pt x="50" y="69"/>
                      </a:lnTo>
                      <a:lnTo>
                        <a:pt x="47" y="70"/>
                      </a:lnTo>
                      <a:lnTo>
                        <a:pt x="44" y="70"/>
                      </a:lnTo>
                      <a:lnTo>
                        <a:pt x="42" y="72"/>
                      </a:lnTo>
                      <a:lnTo>
                        <a:pt x="40" y="72"/>
                      </a:lnTo>
                      <a:lnTo>
                        <a:pt x="38" y="72"/>
                      </a:lnTo>
                      <a:lnTo>
                        <a:pt x="35" y="72"/>
                      </a:lnTo>
                      <a:lnTo>
                        <a:pt x="32" y="72"/>
                      </a:lnTo>
                      <a:lnTo>
                        <a:pt x="30" y="70"/>
                      </a:lnTo>
                      <a:lnTo>
                        <a:pt x="27" y="70"/>
                      </a:lnTo>
                      <a:lnTo>
                        <a:pt x="24" y="69"/>
                      </a:lnTo>
                      <a:lnTo>
                        <a:pt x="22" y="69"/>
                      </a:lnTo>
                      <a:lnTo>
                        <a:pt x="20" y="68"/>
                      </a:lnTo>
                      <a:lnTo>
                        <a:pt x="18" y="66"/>
                      </a:lnTo>
                      <a:lnTo>
                        <a:pt x="16" y="65"/>
                      </a:lnTo>
                      <a:lnTo>
                        <a:pt x="14" y="64"/>
                      </a:lnTo>
                      <a:lnTo>
                        <a:pt x="14" y="64"/>
                      </a:lnTo>
                      <a:lnTo>
                        <a:pt x="12" y="62"/>
                      </a:lnTo>
                      <a:lnTo>
                        <a:pt x="10" y="60"/>
                      </a:lnTo>
                      <a:lnTo>
                        <a:pt x="8" y="58"/>
                      </a:lnTo>
                      <a:lnTo>
                        <a:pt x="7" y="57"/>
                      </a:lnTo>
                      <a:lnTo>
                        <a:pt x="6" y="54"/>
                      </a:lnTo>
                      <a:lnTo>
                        <a:pt x="4" y="53"/>
                      </a:lnTo>
                      <a:lnTo>
                        <a:pt x="3" y="50"/>
                      </a:lnTo>
                      <a:lnTo>
                        <a:pt x="3" y="49"/>
                      </a:lnTo>
                      <a:lnTo>
                        <a:pt x="2" y="46"/>
                      </a:lnTo>
                      <a:lnTo>
                        <a:pt x="2" y="44"/>
                      </a:lnTo>
                      <a:lnTo>
                        <a:pt x="0" y="41"/>
                      </a:lnTo>
                      <a:lnTo>
                        <a:pt x="0" y="40"/>
                      </a:lnTo>
                      <a:lnTo>
                        <a:pt x="0" y="34"/>
                      </a:lnTo>
                      <a:lnTo>
                        <a:pt x="0" y="30"/>
                      </a:lnTo>
                      <a:lnTo>
                        <a:pt x="2" y="25"/>
                      </a:lnTo>
                      <a:lnTo>
                        <a:pt x="3" y="24"/>
                      </a:lnTo>
                      <a:lnTo>
                        <a:pt x="3" y="21"/>
                      </a:lnTo>
                      <a:lnTo>
                        <a:pt x="4" y="18"/>
                      </a:lnTo>
                      <a:lnTo>
                        <a:pt x="6" y="17"/>
                      </a:lnTo>
                      <a:lnTo>
                        <a:pt x="7" y="14"/>
                      </a:lnTo>
                      <a:lnTo>
                        <a:pt x="8" y="13"/>
                      </a:lnTo>
                      <a:lnTo>
                        <a:pt x="10" y="12"/>
                      </a:lnTo>
                      <a:lnTo>
                        <a:pt x="11" y="9"/>
                      </a:lnTo>
                      <a:lnTo>
                        <a:pt x="12" y="8"/>
                      </a:lnTo>
                      <a:lnTo>
                        <a:pt x="15" y="6"/>
                      </a:lnTo>
                      <a:lnTo>
                        <a:pt x="16" y="5"/>
                      </a:lnTo>
                      <a:lnTo>
                        <a:pt x="19" y="4"/>
                      </a:lnTo>
                      <a:lnTo>
                        <a:pt x="20" y="4"/>
                      </a:lnTo>
                      <a:lnTo>
                        <a:pt x="23" y="2"/>
                      </a:lnTo>
                      <a:lnTo>
                        <a:pt x="23" y="2"/>
                      </a:ln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3" name="Freeform 196"/>
                <p:cNvSpPr>
                  <a:spLocks/>
                </p:cNvSpPr>
                <p:nvPr/>
              </p:nvSpPr>
              <p:spPr bwMode="auto">
                <a:xfrm>
                  <a:off x="2061532" y="4477071"/>
                  <a:ext cx="180763" cy="69228"/>
                </a:xfrm>
                <a:custGeom>
                  <a:avLst/>
                  <a:gdLst>
                    <a:gd name="T0" fmla="*/ 143 w 143"/>
                    <a:gd name="T1" fmla="*/ 45 h 55"/>
                    <a:gd name="T2" fmla="*/ 141 w 143"/>
                    <a:gd name="T3" fmla="*/ 38 h 55"/>
                    <a:gd name="T4" fmla="*/ 141 w 143"/>
                    <a:gd name="T5" fmla="*/ 36 h 55"/>
                    <a:gd name="T6" fmla="*/ 140 w 143"/>
                    <a:gd name="T7" fmla="*/ 32 h 55"/>
                    <a:gd name="T8" fmla="*/ 139 w 143"/>
                    <a:gd name="T9" fmla="*/ 29 h 55"/>
                    <a:gd name="T10" fmla="*/ 137 w 143"/>
                    <a:gd name="T11" fmla="*/ 26 h 55"/>
                    <a:gd name="T12" fmla="*/ 136 w 143"/>
                    <a:gd name="T13" fmla="*/ 22 h 55"/>
                    <a:gd name="T14" fmla="*/ 135 w 143"/>
                    <a:gd name="T15" fmla="*/ 20 h 55"/>
                    <a:gd name="T16" fmla="*/ 133 w 143"/>
                    <a:gd name="T17" fmla="*/ 17 h 55"/>
                    <a:gd name="T18" fmla="*/ 132 w 143"/>
                    <a:gd name="T19" fmla="*/ 14 h 55"/>
                    <a:gd name="T20" fmla="*/ 129 w 143"/>
                    <a:gd name="T21" fmla="*/ 13 h 55"/>
                    <a:gd name="T22" fmla="*/ 127 w 143"/>
                    <a:gd name="T23" fmla="*/ 10 h 55"/>
                    <a:gd name="T24" fmla="*/ 124 w 143"/>
                    <a:gd name="T25" fmla="*/ 9 h 55"/>
                    <a:gd name="T26" fmla="*/ 121 w 143"/>
                    <a:gd name="T27" fmla="*/ 8 h 55"/>
                    <a:gd name="T28" fmla="*/ 116 w 143"/>
                    <a:gd name="T29" fmla="*/ 5 h 55"/>
                    <a:gd name="T30" fmla="*/ 110 w 143"/>
                    <a:gd name="T31" fmla="*/ 4 h 55"/>
                    <a:gd name="T32" fmla="*/ 105 w 143"/>
                    <a:gd name="T33" fmla="*/ 2 h 55"/>
                    <a:gd name="T34" fmla="*/ 100 w 143"/>
                    <a:gd name="T35" fmla="*/ 1 h 55"/>
                    <a:gd name="T36" fmla="*/ 94 w 143"/>
                    <a:gd name="T37" fmla="*/ 1 h 55"/>
                    <a:gd name="T38" fmla="*/ 82 w 143"/>
                    <a:gd name="T39" fmla="*/ 0 h 55"/>
                    <a:gd name="T40" fmla="*/ 60 w 143"/>
                    <a:gd name="T41" fmla="*/ 0 h 55"/>
                    <a:gd name="T42" fmla="*/ 48 w 143"/>
                    <a:gd name="T43" fmla="*/ 1 h 55"/>
                    <a:gd name="T44" fmla="*/ 42 w 143"/>
                    <a:gd name="T45" fmla="*/ 1 h 55"/>
                    <a:gd name="T46" fmla="*/ 37 w 143"/>
                    <a:gd name="T47" fmla="*/ 2 h 55"/>
                    <a:gd name="T48" fmla="*/ 32 w 143"/>
                    <a:gd name="T49" fmla="*/ 4 h 55"/>
                    <a:gd name="T50" fmla="*/ 26 w 143"/>
                    <a:gd name="T51" fmla="*/ 5 h 55"/>
                    <a:gd name="T52" fmla="*/ 21 w 143"/>
                    <a:gd name="T53" fmla="*/ 8 h 55"/>
                    <a:gd name="T54" fmla="*/ 18 w 143"/>
                    <a:gd name="T55" fmla="*/ 9 h 55"/>
                    <a:gd name="T56" fmla="*/ 16 w 143"/>
                    <a:gd name="T57" fmla="*/ 10 h 55"/>
                    <a:gd name="T58" fmla="*/ 13 w 143"/>
                    <a:gd name="T59" fmla="*/ 13 h 55"/>
                    <a:gd name="T60" fmla="*/ 12 w 143"/>
                    <a:gd name="T61" fmla="*/ 14 h 55"/>
                    <a:gd name="T62" fmla="*/ 9 w 143"/>
                    <a:gd name="T63" fmla="*/ 17 h 55"/>
                    <a:gd name="T64" fmla="*/ 8 w 143"/>
                    <a:gd name="T65" fmla="*/ 20 h 55"/>
                    <a:gd name="T66" fmla="*/ 6 w 143"/>
                    <a:gd name="T67" fmla="*/ 22 h 55"/>
                    <a:gd name="T68" fmla="*/ 5 w 143"/>
                    <a:gd name="T69" fmla="*/ 26 h 55"/>
                    <a:gd name="T70" fmla="*/ 4 w 143"/>
                    <a:gd name="T71" fmla="*/ 29 h 55"/>
                    <a:gd name="T72" fmla="*/ 2 w 143"/>
                    <a:gd name="T73" fmla="*/ 32 h 55"/>
                    <a:gd name="T74" fmla="*/ 2 w 143"/>
                    <a:gd name="T75" fmla="*/ 36 h 55"/>
                    <a:gd name="T76" fmla="*/ 1 w 143"/>
                    <a:gd name="T77" fmla="*/ 38 h 55"/>
                    <a:gd name="T78" fmla="*/ 0 w 143"/>
                    <a:gd name="T79" fmla="*/ 45 h 55"/>
                    <a:gd name="T80" fmla="*/ 0 w 143"/>
                    <a:gd name="T81" fmla="*/ 52 h 55"/>
                    <a:gd name="T82" fmla="*/ 0 w 143"/>
                    <a:gd name="T83" fmla="*/ 55 h 55"/>
                    <a:gd name="T84" fmla="*/ 50 w 143"/>
                    <a:gd name="T85" fmla="*/ 55 h 55"/>
                    <a:gd name="T86" fmla="*/ 92 w 143"/>
                    <a:gd name="T87" fmla="*/ 55 h 55"/>
                    <a:gd name="T88" fmla="*/ 143 w 143"/>
                    <a:gd name="T89" fmla="*/ 55 h 55"/>
                    <a:gd name="T90" fmla="*/ 143 w 143"/>
                    <a:gd name="T91" fmla="*/ 52 h 55"/>
                    <a:gd name="T92" fmla="*/ 143 w 143"/>
                    <a:gd name="T9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3" y="45"/>
                      </a:moveTo>
                      <a:lnTo>
                        <a:pt x="141" y="38"/>
                      </a:lnTo>
                      <a:lnTo>
                        <a:pt x="141" y="36"/>
                      </a:lnTo>
                      <a:lnTo>
                        <a:pt x="140" y="32"/>
                      </a:lnTo>
                      <a:lnTo>
                        <a:pt x="139" y="29"/>
                      </a:lnTo>
                      <a:lnTo>
                        <a:pt x="137" y="26"/>
                      </a:lnTo>
                      <a:lnTo>
                        <a:pt x="136" y="22"/>
                      </a:lnTo>
                      <a:lnTo>
                        <a:pt x="135" y="20"/>
                      </a:lnTo>
                      <a:lnTo>
                        <a:pt x="133" y="17"/>
                      </a:lnTo>
                      <a:lnTo>
                        <a:pt x="132" y="14"/>
                      </a:lnTo>
                      <a:lnTo>
                        <a:pt x="129" y="13"/>
                      </a:lnTo>
                      <a:lnTo>
                        <a:pt x="127" y="10"/>
                      </a:lnTo>
                      <a:lnTo>
                        <a:pt x="124" y="9"/>
                      </a:lnTo>
                      <a:lnTo>
                        <a:pt x="121" y="8"/>
                      </a:lnTo>
                      <a:lnTo>
                        <a:pt x="116" y="5"/>
                      </a:lnTo>
                      <a:lnTo>
                        <a:pt x="110" y="4"/>
                      </a:lnTo>
                      <a:lnTo>
                        <a:pt x="105" y="2"/>
                      </a:lnTo>
                      <a:lnTo>
                        <a:pt x="100" y="1"/>
                      </a:lnTo>
                      <a:lnTo>
                        <a:pt x="94" y="1"/>
                      </a:lnTo>
                      <a:lnTo>
                        <a:pt x="82" y="0"/>
                      </a:lnTo>
                      <a:lnTo>
                        <a:pt x="60" y="0"/>
                      </a:lnTo>
                      <a:lnTo>
                        <a:pt x="48" y="1"/>
                      </a:lnTo>
                      <a:lnTo>
                        <a:pt x="42" y="1"/>
                      </a:lnTo>
                      <a:lnTo>
                        <a:pt x="37" y="2"/>
                      </a:lnTo>
                      <a:lnTo>
                        <a:pt x="32" y="4"/>
                      </a:lnTo>
                      <a:lnTo>
                        <a:pt x="26" y="5"/>
                      </a:lnTo>
                      <a:lnTo>
                        <a:pt x="21" y="8"/>
                      </a:lnTo>
                      <a:lnTo>
                        <a:pt x="18" y="9"/>
                      </a:lnTo>
                      <a:lnTo>
                        <a:pt x="16" y="10"/>
                      </a:lnTo>
                      <a:lnTo>
                        <a:pt x="13" y="13"/>
                      </a:lnTo>
                      <a:lnTo>
                        <a:pt x="12" y="14"/>
                      </a:lnTo>
                      <a:lnTo>
                        <a:pt x="9" y="17"/>
                      </a:lnTo>
                      <a:lnTo>
                        <a:pt x="8" y="20"/>
                      </a:lnTo>
                      <a:lnTo>
                        <a:pt x="6" y="22"/>
                      </a:lnTo>
                      <a:lnTo>
                        <a:pt x="5" y="26"/>
                      </a:lnTo>
                      <a:lnTo>
                        <a:pt x="4" y="29"/>
                      </a:lnTo>
                      <a:lnTo>
                        <a:pt x="2" y="32"/>
                      </a:lnTo>
                      <a:lnTo>
                        <a:pt x="2" y="36"/>
                      </a:lnTo>
                      <a:lnTo>
                        <a:pt x="1" y="38"/>
                      </a:lnTo>
                      <a:lnTo>
                        <a:pt x="0" y="45"/>
                      </a:lnTo>
                      <a:lnTo>
                        <a:pt x="0" y="52"/>
                      </a:lnTo>
                      <a:lnTo>
                        <a:pt x="0" y="55"/>
                      </a:lnTo>
                      <a:lnTo>
                        <a:pt x="50" y="55"/>
                      </a:lnTo>
                      <a:lnTo>
                        <a:pt x="92" y="55"/>
                      </a:lnTo>
                      <a:lnTo>
                        <a:pt x="143" y="55"/>
                      </a:lnTo>
                      <a:lnTo>
                        <a:pt x="143" y="52"/>
                      </a:lnTo>
                      <a:lnTo>
                        <a:pt x="143"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4" name="Freeform 197"/>
                <p:cNvSpPr>
                  <a:spLocks/>
                </p:cNvSpPr>
                <p:nvPr/>
              </p:nvSpPr>
              <p:spPr bwMode="auto">
                <a:xfrm>
                  <a:off x="2838424" y="4369383"/>
                  <a:ext cx="92304" cy="92304"/>
                </a:xfrm>
                <a:custGeom>
                  <a:avLst/>
                  <a:gdLst>
                    <a:gd name="T0" fmla="*/ 23 w 74"/>
                    <a:gd name="T1" fmla="*/ 2 h 72"/>
                    <a:gd name="T2" fmla="*/ 28 w 74"/>
                    <a:gd name="T3" fmla="*/ 1 h 72"/>
                    <a:gd name="T4" fmla="*/ 32 w 74"/>
                    <a:gd name="T5" fmla="*/ 0 h 72"/>
                    <a:gd name="T6" fmla="*/ 38 w 74"/>
                    <a:gd name="T7" fmla="*/ 0 h 72"/>
                    <a:gd name="T8" fmla="*/ 42 w 74"/>
                    <a:gd name="T9" fmla="*/ 0 h 72"/>
                    <a:gd name="T10" fmla="*/ 46 w 74"/>
                    <a:gd name="T11" fmla="*/ 1 h 72"/>
                    <a:gd name="T12" fmla="*/ 55 w 74"/>
                    <a:gd name="T13" fmla="*/ 4 h 72"/>
                    <a:gd name="T14" fmla="*/ 62 w 74"/>
                    <a:gd name="T15" fmla="*/ 9 h 72"/>
                    <a:gd name="T16" fmla="*/ 69 w 74"/>
                    <a:gd name="T17" fmla="*/ 16 h 72"/>
                    <a:gd name="T18" fmla="*/ 70 w 74"/>
                    <a:gd name="T19" fmla="*/ 20 h 72"/>
                    <a:gd name="T20" fmla="*/ 73 w 74"/>
                    <a:gd name="T21" fmla="*/ 24 h 72"/>
                    <a:gd name="T22" fmla="*/ 74 w 74"/>
                    <a:gd name="T23" fmla="*/ 28 h 72"/>
                    <a:gd name="T24" fmla="*/ 74 w 74"/>
                    <a:gd name="T25" fmla="*/ 33 h 72"/>
                    <a:gd name="T26" fmla="*/ 74 w 74"/>
                    <a:gd name="T27" fmla="*/ 37 h 72"/>
                    <a:gd name="T28" fmla="*/ 74 w 74"/>
                    <a:gd name="T29" fmla="*/ 40 h 72"/>
                    <a:gd name="T30" fmla="*/ 74 w 74"/>
                    <a:gd name="T31" fmla="*/ 45 h 72"/>
                    <a:gd name="T32" fmla="*/ 73 w 74"/>
                    <a:gd name="T33" fmla="*/ 50 h 72"/>
                    <a:gd name="T34" fmla="*/ 70 w 74"/>
                    <a:gd name="T35" fmla="*/ 54 h 72"/>
                    <a:gd name="T36" fmla="*/ 67 w 74"/>
                    <a:gd name="T37" fmla="*/ 58 h 72"/>
                    <a:gd name="T38" fmla="*/ 63 w 74"/>
                    <a:gd name="T39" fmla="*/ 62 h 72"/>
                    <a:gd name="T40" fmla="*/ 59 w 74"/>
                    <a:gd name="T41" fmla="*/ 65 h 72"/>
                    <a:gd name="T42" fmla="*/ 55 w 74"/>
                    <a:gd name="T43" fmla="*/ 68 h 72"/>
                    <a:gd name="T44" fmla="*/ 50 w 74"/>
                    <a:gd name="T45" fmla="*/ 69 h 72"/>
                    <a:gd name="T46" fmla="*/ 46 w 74"/>
                    <a:gd name="T47" fmla="*/ 70 h 72"/>
                    <a:gd name="T48" fmla="*/ 40 w 74"/>
                    <a:gd name="T49" fmla="*/ 72 h 72"/>
                    <a:gd name="T50" fmla="*/ 35 w 74"/>
                    <a:gd name="T51" fmla="*/ 72 h 72"/>
                    <a:gd name="T52" fmla="*/ 30 w 74"/>
                    <a:gd name="T53" fmla="*/ 70 h 72"/>
                    <a:gd name="T54" fmla="*/ 24 w 74"/>
                    <a:gd name="T55" fmla="*/ 69 h 72"/>
                    <a:gd name="T56" fmla="*/ 20 w 74"/>
                    <a:gd name="T57" fmla="*/ 68 h 72"/>
                    <a:gd name="T58" fmla="*/ 16 w 74"/>
                    <a:gd name="T59" fmla="*/ 65 h 72"/>
                    <a:gd name="T60" fmla="*/ 14 w 74"/>
                    <a:gd name="T61" fmla="*/ 64 h 72"/>
                    <a:gd name="T62" fmla="*/ 10 w 74"/>
                    <a:gd name="T63" fmla="*/ 60 h 72"/>
                    <a:gd name="T64" fmla="*/ 7 w 74"/>
                    <a:gd name="T65" fmla="*/ 57 h 72"/>
                    <a:gd name="T66" fmla="*/ 4 w 74"/>
                    <a:gd name="T67" fmla="*/ 53 h 72"/>
                    <a:gd name="T68" fmla="*/ 3 w 74"/>
                    <a:gd name="T69" fmla="*/ 49 h 72"/>
                    <a:gd name="T70" fmla="*/ 2 w 74"/>
                    <a:gd name="T71" fmla="*/ 44 h 72"/>
                    <a:gd name="T72" fmla="*/ 2 w 74"/>
                    <a:gd name="T73" fmla="*/ 40 h 72"/>
                    <a:gd name="T74" fmla="*/ 2 w 74"/>
                    <a:gd name="T75" fmla="*/ 30 h 72"/>
                    <a:gd name="T76" fmla="*/ 3 w 74"/>
                    <a:gd name="T77" fmla="*/ 24 h 72"/>
                    <a:gd name="T78" fmla="*/ 4 w 74"/>
                    <a:gd name="T79" fmla="*/ 18 h 72"/>
                    <a:gd name="T80" fmla="*/ 7 w 74"/>
                    <a:gd name="T81" fmla="*/ 14 h 72"/>
                    <a:gd name="T82" fmla="*/ 10 w 74"/>
                    <a:gd name="T83" fmla="*/ 12 h 72"/>
                    <a:gd name="T84" fmla="*/ 14 w 74"/>
                    <a:gd name="T85" fmla="*/ 8 h 72"/>
                    <a:gd name="T86" fmla="*/ 18 w 74"/>
                    <a:gd name="T87" fmla="*/ 5 h 72"/>
                    <a:gd name="T88" fmla="*/ 22 w 74"/>
                    <a:gd name="T89" fmla="*/ 4 h 72"/>
                    <a:gd name="T90" fmla="*/ 23 w 7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72">
                      <a:moveTo>
                        <a:pt x="23" y="2"/>
                      </a:moveTo>
                      <a:lnTo>
                        <a:pt x="23" y="2"/>
                      </a:lnTo>
                      <a:lnTo>
                        <a:pt x="26" y="1"/>
                      </a:lnTo>
                      <a:lnTo>
                        <a:pt x="28" y="1"/>
                      </a:lnTo>
                      <a:lnTo>
                        <a:pt x="30" y="0"/>
                      </a:lnTo>
                      <a:lnTo>
                        <a:pt x="32" y="0"/>
                      </a:lnTo>
                      <a:lnTo>
                        <a:pt x="35" y="0"/>
                      </a:lnTo>
                      <a:lnTo>
                        <a:pt x="38" y="0"/>
                      </a:lnTo>
                      <a:lnTo>
                        <a:pt x="39" y="0"/>
                      </a:lnTo>
                      <a:lnTo>
                        <a:pt x="42" y="0"/>
                      </a:lnTo>
                      <a:lnTo>
                        <a:pt x="43" y="0"/>
                      </a:lnTo>
                      <a:lnTo>
                        <a:pt x="46" y="1"/>
                      </a:lnTo>
                      <a:lnTo>
                        <a:pt x="50" y="2"/>
                      </a:lnTo>
                      <a:lnTo>
                        <a:pt x="55" y="4"/>
                      </a:lnTo>
                      <a:lnTo>
                        <a:pt x="59" y="6"/>
                      </a:lnTo>
                      <a:lnTo>
                        <a:pt x="62" y="9"/>
                      </a:lnTo>
                      <a:lnTo>
                        <a:pt x="66" y="12"/>
                      </a:lnTo>
                      <a:lnTo>
                        <a:pt x="69" y="16"/>
                      </a:lnTo>
                      <a:lnTo>
                        <a:pt x="70" y="17"/>
                      </a:lnTo>
                      <a:lnTo>
                        <a:pt x="70" y="20"/>
                      </a:lnTo>
                      <a:lnTo>
                        <a:pt x="71" y="21"/>
                      </a:lnTo>
                      <a:lnTo>
                        <a:pt x="73" y="24"/>
                      </a:lnTo>
                      <a:lnTo>
                        <a:pt x="73" y="26"/>
                      </a:lnTo>
                      <a:lnTo>
                        <a:pt x="74" y="28"/>
                      </a:lnTo>
                      <a:lnTo>
                        <a:pt x="74" y="30"/>
                      </a:lnTo>
                      <a:lnTo>
                        <a:pt x="74" y="33"/>
                      </a:lnTo>
                      <a:lnTo>
                        <a:pt x="74" y="34"/>
                      </a:lnTo>
                      <a:lnTo>
                        <a:pt x="74" y="37"/>
                      </a:lnTo>
                      <a:lnTo>
                        <a:pt x="74" y="37"/>
                      </a:lnTo>
                      <a:lnTo>
                        <a:pt x="74" y="40"/>
                      </a:lnTo>
                      <a:lnTo>
                        <a:pt x="74" y="42"/>
                      </a:lnTo>
                      <a:lnTo>
                        <a:pt x="74" y="45"/>
                      </a:lnTo>
                      <a:lnTo>
                        <a:pt x="73" y="48"/>
                      </a:lnTo>
                      <a:lnTo>
                        <a:pt x="73" y="50"/>
                      </a:lnTo>
                      <a:lnTo>
                        <a:pt x="71" y="52"/>
                      </a:lnTo>
                      <a:lnTo>
                        <a:pt x="70" y="54"/>
                      </a:lnTo>
                      <a:lnTo>
                        <a:pt x="69" y="56"/>
                      </a:lnTo>
                      <a:lnTo>
                        <a:pt x="67" y="58"/>
                      </a:lnTo>
                      <a:lnTo>
                        <a:pt x="65" y="60"/>
                      </a:lnTo>
                      <a:lnTo>
                        <a:pt x="63" y="62"/>
                      </a:lnTo>
                      <a:lnTo>
                        <a:pt x="62" y="64"/>
                      </a:lnTo>
                      <a:lnTo>
                        <a:pt x="59" y="65"/>
                      </a:lnTo>
                      <a:lnTo>
                        <a:pt x="57" y="66"/>
                      </a:lnTo>
                      <a:lnTo>
                        <a:pt x="55" y="68"/>
                      </a:lnTo>
                      <a:lnTo>
                        <a:pt x="53" y="68"/>
                      </a:lnTo>
                      <a:lnTo>
                        <a:pt x="50" y="69"/>
                      </a:lnTo>
                      <a:lnTo>
                        <a:pt x="47" y="70"/>
                      </a:lnTo>
                      <a:lnTo>
                        <a:pt x="46" y="70"/>
                      </a:lnTo>
                      <a:lnTo>
                        <a:pt x="43" y="72"/>
                      </a:lnTo>
                      <a:lnTo>
                        <a:pt x="40" y="72"/>
                      </a:lnTo>
                      <a:lnTo>
                        <a:pt x="38" y="72"/>
                      </a:lnTo>
                      <a:lnTo>
                        <a:pt x="35" y="72"/>
                      </a:lnTo>
                      <a:lnTo>
                        <a:pt x="32" y="72"/>
                      </a:lnTo>
                      <a:lnTo>
                        <a:pt x="30" y="70"/>
                      </a:lnTo>
                      <a:lnTo>
                        <a:pt x="27" y="70"/>
                      </a:lnTo>
                      <a:lnTo>
                        <a:pt x="24" y="69"/>
                      </a:lnTo>
                      <a:lnTo>
                        <a:pt x="23" y="69"/>
                      </a:lnTo>
                      <a:lnTo>
                        <a:pt x="20" y="68"/>
                      </a:lnTo>
                      <a:lnTo>
                        <a:pt x="18" y="66"/>
                      </a:lnTo>
                      <a:lnTo>
                        <a:pt x="16" y="65"/>
                      </a:lnTo>
                      <a:lnTo>
                        <a:pt x="14" y="64"/>
                      </a:lnTo>
                      <a:lnTo>
                        <a:pt x="14" y="64"/>
                      </a:lnTo>
                      <a:lnTo>
                        <a:pt x="12" y="62"/>
                      </a:lnTo>
                      <a:lnTo>
                        <a:pt x="10" y="60"/>
                      </a:lnTo>
                      <a:lnTo>
                        <a:pt x="8" y="58"/>
                      </a:lnTo>
                      <a:lnTo>
                        <a:pt x="7" y="57"/>
                      </a:lnTo>
                      <a:lnTo>
                        <a:pt x="6" y="54"/>
                      </a:lnTo>
                      <a:lnTo>
                        <a:pt x="4" y="53"/>
                      </a:lnTo>
                      <a:lnTo>
                        <a:pt x="4" y="50"/>
                      </a:lnTo>
                      <a:lnTo>
                        <a:pt x="3" y="49"/>
                      </a:lnTo>
                      <a:lnTo>
                        <a:pt x="2" y="46"/>
                      </a:lnTo>
                      <a:lnTo>
                        <a:pt x="2" y="44"/>
                      </a:lnTo>
                      <a:lnTo>
                        <a:pt x="2" y="41"/>
                      </a:lnTo>
                      <a:lnTo>
                        <a:pt x="2" y="40"/>
                      </a:lnTo>
                      <a:lnTo>
                        <a:pt x="0" y="34"/>
                      </a:lnTo>
                      <a:lnTo>
                        <a:pt x="2" y="30"/>
                      </a:lnTo>
                      <a:lnTo>
                        <a:pt x="2" y="25"/>
                      </a:lnTo>
                      <a:lnTo>
                        <a:pt x="3" y="24"/>
                      </a:lnTo>
                      <a:lnTo>
                        <a:pt x="4" y="21"/>
                      </a:lnTo>
                      <a:lnTo>
                        <a:pt x="4" y="18"/>
                      </a:lnTo>
                      <a:lnTo>
                        <a:pt x="6" y="17"/>
                      </a:lnTo>
                      <a:lnTo>
                        <a:pt x="7" y="14"/>
                      </a:lnTo>
                      <a:lnTo>
                        <a:pt x="8" y="13"/>
                      </a:lnTo>
                      <a:lnTo>
                        <a:pt x="10" y="12"/>
                      </a:lnTo>
                      <a:lnTo>
                        <a:pt x="11" y="9"/>
                      </a:lnTo>
                      <a:lnTo>
                        <a:pt x="14" y="8"/>
                      </a:lnTo>
                      <a:lnTo>
                        <a:pt x="15" y="6"/>
                      </a:lnTo>
                      <a:lnTo>
                        <a:pt x="18" y="5"/>
                      </a:lnTo>
                      <a:lnTo>
                        <a:pt x="19" y="4"/>
                      </a:lnTo>
                      <a:lnTo>
                        <a:pt x="22" y="4"/>
                      </a:lnTo>
                      <a:lnTo>
                        <a:pt x="23" y="2"/>
                      </a:lnTo>
                      <a:lnTo>
                        <a:pt x="23" y="2"/>
                      </a:ln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5" name="Freeform 198"/>
                <p:cNvSpPr>
                  <a:spLocks/>
                </p:cNvSpPr>
                <p:nvPr/>
              </p:nvSpPr>
              <p:spPr bwMode="auto">
                <a:xfrm>
                  <a:off x="2792272" y="4477071"/>
                  <a:ext cx="184607" cy="69228"/>
                </a:xfrm>
                <a:custGeom>
                  <a:avLst/>
                  <a:gdLst>
                    <a:gd name="T0" fmla="*/ 143 w 143"/>
                    <a:gd name="T1" fmla="*/ 45 h 55"/>
                    <a:gd name="T2" fmla="*/ 141 w 143"/>
                    <a:gd name="T3" fmla="*/ 38 h 55"/>
                    <a:gd name="T4" fmla="*/ 141 w 143"/>
                    <a:gd name="T5" fmla="*/ 36 h 55"/>
                    <a:gd name="T6" fmla="*/ 140 w 143"/>
                    <a:gd name="T7" fmla="*/ 32 h 55"/>
                    <a:gd name="T8" fmla="*/ 139 w 143"/>
                    <a:gd name="T9" fmla="*/ 29 h 55"/>
                    <a:gd name="T10" fmla="*/ 139 w 143"/>
                    <a:gd name="T11" fmla="*/ 26 h 55"/>
                    <a:gd name="T12" fmla="*/ 137 w 143"/>
                    <a:gd name="T13" fmla="*/ 22 h 55"/>
                    <a:gd name="T14" fmla="*/ 135 w 143"/>
                    <a:gd name="T15" fmla="*/ 20 h 55"/>
                    <a:gd name="T16" fmla="*/ 133 w 143"/>
                    <a:gd name="T17" fmla="*/ 17 h 55"/>
                    <a:gd name="T18" fmla="*/ 132 w 143"/>
                    <a:gd name="T19" fmla="*/ 14 h 55"/>
                    <a:gd name="T20" fmla="*/ 129 w 143"/>
                    <a:gd name="T21" fmla="*/ 13 h 55"/>
                    <a:gd name="T22" fmla="*/ 127 w 143"/>
                    <a:gd name="T23" fmla="*/ 10 h 55"/>
                    <a:gd name="T24" fmla="*/ 124 w 143"/>
                    <a:gd name="T25" fmla="*/ 9 h 55"/>
                    <a:gd name="T26" fmla="*/ 121 w 143"/>
                    <a:gd name="T27" fmla="*/ 8 h 55"/>
                    <a:gd name="T28" fmla="*/ 116 w 143"/>
                    <a:gd name="T29" fmla="*/ 5 h 55"/>
                    <a:gd name="T30" fmla="*/ 111 w 143"/>
                    <a:gd name="T31" fmla="*/ 4 h 55"/>
                    <a:gd name="T32" fmla="*/ 105 w 143"/>
                    <a:gd name="T33" fmla="*/ 2 h 55"/>
                    <a:gd name="T34" fmla="*/ 100 w 143"/>
                    <a:gd name="T35" fmla="*/ 1 h 55"/>
                    <a:gd name="T36" fmla="*/ 95 w 143"/>
                    <a:gd name="T37" fmla="*/ 1 h 55"/>
                    <a:gd name="T38" fmla="*/ 82 w 143"/>
                    <a:gd name="T39" fmla="*/ 0 h 55"/>
                    <a:gd name="T40" fmla="*/ 60 w 143"/>
                    <a:gd name="T41" fmla="*/ 0 h 55"/>
                    <a:gd name="T42" fmla="*/ 48 w 143"/>
                    <a:gd name="T43" fmla="*/ 1 h 55"/>
                    <a:gd name="T44" fmla="*/ 42 w 143"/>
                    <a:gd name="T45" fmla="*/ 1 h 55"/>
                    <a:gd name="T46" fmla="*/ 37 w 143"/>
                    <a:gd name="T47" fmla="*/ 2 h 55"/>
                    <a:gd name="T48" fmla="*/ 33 w 143"/>
                    <a:gd name="T49" fmla="*/ 4 h 55"/>
                    <a:gd name="T50" fmla="*/ 28 w 143"/>
                    <a:gd name="T51" fmla="*/ 5 h 55"/>
                    <a:gd name="T52" fmla="*/ 22 w 143"/>
                    <a:gd name="T53" fmla="*/ 8 h 55"/>
                    <a:gd name="T54" fmla="*/ 18 w 143"/>
                    <a:gd name="T55" fmla="*/ 9 h 55"/>
                    <a:gd name="T56" fmla="*/ 16 w 143"/>
                    <a:gd name="T57" fmla="*/ 10 h 55"/>
                    <a:gd name="T58" fmla="*/ 14 w 143"/>
                    <a:gd name="T59" fmla="*/ 13 h 55"/>
                    <a:gd name="T60" fmla="*/ 12 w 143"/>
                    <a:gd name="T61" fmla="*/ 14 h 55"/>
                    <a:gd name="T62" fmla="*/ 9 w 143"/>
                    <a:gd name="T63" fmla="*/ 17 h 55"/>
                    <a:gd name="T64" fmla="*/ 8 w 143"/>
                    <a:gd name="T65" fmla="*/ 20 h 55"/>
                    <a:gd name="T66" fmla="*/ 6 w 143"/>
                    <a:gd name="T67" fmla="*/ 22 h 55"/>
                    <a:gd name="T68" fmla="*/ 5 w 143"/>
                    <a:gd name="T69" fmla="*/ 26 h 55"/>
                    <a:gd name="T70" fmla="*/ 4 w 143"/>
                    <a:gd name="T71" fmla="*/ 29 h 55"/>
                    <a:gd name="T72" fmla="*/ 4 w 143"/>
                    <a:gd name="T73" fmla="*/ 32 h 55"/>
                    <a:gd name="T74" fmla="*/ 2 w 143"/>
                    <a:gd name="T75" fmla="*/ 36 h 55"/>
                    <a:gd name="T76" fmla="*/ 1 w 143"/>
                    <a:gd name="T77" fmla="*/ 38 h 55"/>
                    <a:gd name="T78" fmla="*/ 1 w 143"/>
                    <a:gd name="T79" fmla="*/ 45 h 55"/>
                    <a:gd name="T80" fmla="*/ 0 w 143"/>
                    <a:gd name="T81" fmla="*/ 52 h 55"/>
                    <a:gd name="T82" fmla="*/ 0 w 143"/>
                    <a:gd name="T83" fmla="*/ 55 h 55"/>
                    <a:gd name="T84" fmla="*/ 50 w 143"/>
                    <a:gd name="T85" fmla="*/ 55 h 55"/>
                    <a:gd name="T86" fmla="*/ 92 w 143"/>
                    <a:gd name="T87" fmla="*/ 55 h 55"/>
                    <a:gd name="T88" fmla="*/ 143 w 143"/>
                    <a:gd name="T89" fmla="*/ 55 h 55"/>
                    <a:gd name="T90" fmla="*/ 143 w 143"/>
                    <a:gd name="T91" fmla="*/ 52 h 55"/>
                    <a:gd name="T92" fmla="*/ 143 w 143"/>
                    <a:gd name="T9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3" y="45"/>
                      </a:moveTo>
                      <a:lnTo>
                        <a:pt x="141" y="38"/>
                      </a:lnTo>
                      <a:lnTo>
                        <a:pt x="141" y="36"/>
                      </a:lnTo>
                      <a:lnTo>
                        <a:pt x="140" y="32"/>
                      </a:lnTo>
                      <a:lnTo>
                        <a:pt x="139" y="29"/>
                      </a:lnTo>
                      <a:lnTo>
                        <a:pt x="139" y="26"/>
                      </a:lnTo>
                      <a:lnTo>
                        <a:pt x="137" y="22"/>
                      </a:lnTo>
                      <a:lnTo>
                        <a:pt x="135" y="20"/>
                      </a:lnTo>
                      <a:lnTo>
                        <a:pt x="133" y="17"/>
                      </a:lnTo>
                      <a:lnTo>
                        <a:pt x="132" y="14"/>
                      </a:lnTo>
                      <a:lnTo>
                        <a:pt x="129" y="13"/>
                      </a:lnTo>
                      <a:lnTo>
                        <a:pt x="127" y="10"/>
                      </a:lnTo>
                      <a:lnTo>
                        <a:pt x="124" y="9"/>
                      </a:lnTo>
                      <a:lnTo>
                        <a:pt x="121" y="8"/>
                      </a:lnTo>
                      <a:lnTo>
                        <a:pt x="116" y="5"/>
                      </a:lnTo>
                      <a:lnTo>
                        <a:pt x="111" y="4"/>
                      </a:lnTo>
                      <a:lnTo>
                        <a:pt x="105" y="2"/>
                      </a:lnTo>
                      <a:lnTo>
                        <a:pt x="100" y="1"/>
                      </a:lnTo>
                      <a:lnTo>
                        <a:pt x="95" y="1"/>
                      </a:lnTo>
                      <a:lnTo>
                        <a:pt x="82" y="0"/>
                      </a:lnTo>
                      <a:lnTo>
                        <a:pt x="60" y="0"/>
                      </a:lnTo>
                      <a:lnTo>
                        <a:pt x="48" y="1"/>
                      </a:lnTo>
                      <a:lnTo>
                        <a:pt x="42" y="1"/>
                      </a:lnTo>
                      <a:lnTo>
                        <a:pt x="37" y="2"/>
                      </a:lnTo>
                      <a:lnTo>
                        <a:pt x="33" y="4"/>
                      </a:lnTo>
                      <a:lnTo>
                        <a:pt x="28" y="5"/>
                      </a:lnTo>
                      <a:lnTo>
                        <a:pt x="22" y="8"/>
                      </a:lnTo>
                      <a:lnTo>
                        <a:pt x="18" y="9"/>
                      </a:lnTo>
                      <a:lnTo>
                        <a:pt x="16" y="10"/>
                      </a:lnTo>
                      <a:lnTo>
                        <a:pt x="14" y="13"/>
                      </a:lnTo>
                      <a:lnTo>
                        <a:pt x="12" y="14"/>
                      </a:lnTo>
                      <a:lnTo>
                        <a:pt x="9" y="17"/>
                      </a:lnTo>
                      <a:lnTo>
                        <a:pt x="8" y="20"/>
                      </a:lnTo>
                      <a:lnTo>
                        <a:pt x="6" y="22"/>
                      </a:lnTo>
                      <a:lnTo>
                        <a:pt x="5" y="26"/>
                      </a:lnTo>
                      <a:lnTo>
                        <a:pt x="4" y="29"/>
                      </a:lnTo>
                      <a:lnTo>
                        <a:pt x="4" y="32"/>
                      </a:lnTo>
                      <a:lnTo>
                        <a:pt x="2" y="36"/>
                      </a:lnTo>
                      <a:lnTo>
                        <a:pt x="1" y="38"/>
                      </a:lnTo>
                      <a:lnTo>
                        <a:pt x="1" y="45"/>
                      </a:lnTo>
                      <a:lnTo>
                        <a:pt x="0" y="52"/>
                      </a:lnTo>
                      <a:lnTo>
                        <a:pt x="0" y="55"/>
                      </a:lnTo>
                      <a:lnTo>
                        <a:pt x="50" y="55"/>
                      </a:lnTo>
                      <a:lnTo>
                        <a:pt x="92" y="55"/>
                      </a:lnTo>
                      <a:lnTo>
                        <a:pt x="143" y="55"/>
                      </a:lnTo>
                      <a:lnTo>
                        <a:pt x="143" y="52"/>
                      </a:lnTo>
                      <a:lnTo>
                        <a:pt x="143"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6" name="Freeform 199"/>
                <p:cNvSpPr>
                  <a:spLocks/>
                </p:cNvSpPr>
                <p:nvPr/>
              </p:nvSpPr>
              <p:spPr bwMode="auto">
                <a:xfrm>
                  <a:off x="1573090" y="4346307"/>
                  <a:ext cx="92304" cy="96150"/>
                </a:xfrm>
                <a:custGeom>
                  <a:avLst/>
                  <a:gdLst>
                    <a:gd name="T0" fmla="*/ 22 w 73"/>
                    <a:gd name="T1" fmla="*/ 3 h 73"/>
                    <a:gd name="T2" fmla="*/ 26 w 73"/>
                    <a:gd name="T3" fmla="*/ 2 h 73"/>
                    <a:gd name="T4" fmla="*/ 32 w 73"/>
                    <a:gd name="T5" fmla="*/ 2 h 73"/>
                    <a:gd name="T6" fmla="*/ 36 w 73"/>
                    <a:gd name="T7" fmla="*/ 0 h 73"/>
                    <a:gd name="T8" fmla="*/ 41 w 73"/>
                    <a:gd name="T9" fmla="*/ 2 h 73"/>
                    <a:gd name="T10" fmla="*/ 45 w 73"/>
                    <a:gd name="T11" fmla="*/ 2 h 73"/>
                    <a:gd name="T12" fmla="*/ 53 w 73"/>
                    <a:gd name="T13" fmla="*/ 6 h 73"/>
                    <a:gd name="T14" fmla="*/ 61 w 73"/>
                    <a:gd name="T15" fmla="*/ 11 h 73"/>
                    <a:gd name="T16" fmla="*/ 66 w 73"/>
                    <a:gd name="T17" fmla="*/ 18 h 73"/>
                    <a:gd name="T18" fmla="*/ 69 w 73"/>
                    <a:gd name="T19" fmla="*/ 21 h 73"/>
                    <a:gd name="T20" fmla="*/ 72 w 73"/>
                    <a:gd name="T21" fmla="*/ 26 h 73"/>
                    <a:gd name="T22" fmla="*/ 73 w 73"/>
                    <a:gd name="T23" fmla="*/ 30 h 73"/>
                    <a:gd name="T24" fmla="*/ 73 w 73"/>
                    <a:gd name="T25" fmla="*/ 34 h 73"/>
                    <a:gd name="T26" fmla="*/ 73 w 73"/>
                    <a:gd name="T27" fmla="*/ 39 h 73"/>
                    <a:gd name="T28" fmla="*/ 73 w 73"/>
                    <a:gd name="T29" fmla="*/ 42 h 73"/>
                    <a:gd name="T30" fmla="*/ 72 w 73"/>
                    <a:gd name="T31" fmla="*/ 47 h 73"/>
                    <a:gd name="T32" fmla="*/ 70 w 73"/>
                    <a:gd name="T33" fmla="*/ 51 h 73"/>
                    <a:gd name="T34" fmla="*/ 69 w 73"/>
                    <a:gd name="T35" fmla="*/ 57 h 73"/>
                    <a:gd name="T36" fmla="*/ 65 w 73"/>
                    <a:gd name="T37" fmla="*/ 61 h 73"/>
                    <a:gd name="T38" fmla="*/ 62 w 73"/>
                    <a:gd name="T39" fmla="*/ 63 h 73"/>
                    <a:gd name="T40" fmla="*/ 58 w 73"/>
                    <a:gd name="T41" fmla="*/ 66 h 73"/>
                    <a:gd name="T42" fmla="*/ 53 w 73"/>
                    <a:gd name="T43" fmla="*/ 69 h 73"/>
                    <a:gd name="T44" fmla="*/ 49 w 73"/>
                    <a:gd name="T45" fmla="*/ 71 h 73"/>
                    <a:gd name="T46" fmla="*/ 44 w 73"/>
                    <a:gd name="T47" fmla="*/ 73 h 73"/>
                    <a:gd name="T48" fmla="*/ 40 w 73"/>
                    <a:gd name="T49" fmla="*/ 73 h 73"/>
                    <a:gd name="T50" fmla="*/ 34 w 73"/>
                    <a:gd name="T51" fmla="*/ 73 h 73"/>
                    <a:gd name="T52" fmla="*/ 29 w 73"/>
                    <a:gd name="T53" fmla="*/ 73 h 73"/>
                    <a:gd name="T54" fmla="*/ 24 w 73"/>
                    <a:gd name="T55" fmla="*/ 71 h 73"/>
                    <a:gd name="T56" fmla="*/ 20 w 73"/>
                    <a:gd name="T57" fmla="*/ 70 h 73"/>
                    <a:gd name="T58" fmla="*/ 16 w 73"/>
                    <a:gd name="T59" fmla="*/ 67 h 73"/>
                    <a:gd name="T60" fmla="*/ 13 w 73"/>
                    <a:gd name="T61" fmla="*/ 65 h 73"/>
                    <a:gd name="T62" fmla="*/ 9 w 73"/>
                    <a:gd name="T63" fmla="*/ 62 h 73"/>
                    <a:gd name="T64" fmla="*/ 6 w 73"/>
                    <a:gd name="T65" fmla="*/ 58 h 73"/>
                    <a:gd name="T66" fmla="*/ 4 w 73"/>
                    <a:gd name="T67" fmla="*/ 54 h 73"/>
                    <a:gd name="T68" fmla="*/ 2 w 73"/>
                    <a:gd name="T69" fmla="*/ 50 h 73"/>
                    <a:gd name="T70" fmla="*/ 1 w 73"/>
                    <a:gd name="T71" fmla="*/ 46 h 73"/>
                    <a:gd name="T72" fmla="*/ 0 w 73"/>
                    <a:gd name="T73" fmla="*/ 41 h 73"/>
                    <a:gd name="T74" fmla="*/ 0 w 73"/>
                    <a:gd name="T75" fmla="*/ 31 h 73"/>
                    <a:gd name="T76" fmla="*/ 2 w 73"/>
                    <a:gd name="T77" fmla="*/ 25 h 73"/>
                    <a:gd name="T78" fmla="*/ 4 w 73"/>
                    <a:gd name="T79" fmla="*/ 21 h 73"/>
                    <a:gd name="T80" fmla="*/ 6 w 73"/>
                    <a:gd name="T81" fmla="*/ 17 h 73"/>
                    <a:gd name="T82" fmla="*/ 9 w 73"/>
                    <a:gd name="T83" fmla="*/ 13 h 73"/>
                    <a:gd name="T84" fmla="*/ 12 w 73"/>
                    <a:gd name="T85" fmla="*/ 10 h 73"/>
                    <a:gd name="T86" fmla="*/ 16 w 73"/>
                    <a:gd name="T87" fmla="*/ 7 h 73"/>
                    <a:gd name="T88" fmla="*/ 20 w 73"/>
                    <a:gd name="T89" fmla="*/ 4 h 73"/>
                    <a:gd name="T90" fmla="*/ 22 w 73"/>
                    <a:gd name="T91"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3">
                      <a:moveTo>
                        <a:pt x="22" y="3"/>
                      </a:moveTo>
                      <a:lnTo>
                        <a:pt x="22" y="3"/>
                      </a:lnTo>
                      <a:lnTo>
                        <a:pt x="25" y="3"/>
                      </a:lnTo>
                      <a:lnTo>
                        <a:pt x="26" y="2"/>
                      </a:lnTo>
                      <a:lnTo>
                        <a:pt x="29" y="2"/>
                      </a:lnTo>
                      <a:lnTo>
                        <a:pt x="32" y="2"/>
                      </a:lnTo>
                      <a:lnTo>
                        <a:pt x="34" y="0"/>
                      </a:lnTo>
                      <a:lnTo>
                        <a:pt x="36" y="0"/>
                      </a:lnTo>
                      <a:lnTo>
                        <a:pt x="38" y="0"/>
                      </a:lnTo>
                      <a:lnTo>
                        <a:pt x="41" y="2"/>
                      </a:lnTo>
                      <a:lnTo>
                        <a:pt x="42" y="2"/>
                      </a:lnTo>
                      <a:lnTo>
                        <a:pt x="45" y="2"/>
                      </a:lnTo>
                      <a:lnTo>
                        <a:pt x="49" y="3"/>
                      </a:lnTo>
                      <a:lnTo>
                        <a:pt x="53" y="6"/>
                      </a:lnTo>
                      <a:lnTo>
                        <a:pt x="57" y="7"/>
                      </a:lnTo>
                      <a:lnTo>
                        <a:pt x="61" y="11"/>
                      </a:lnTo>
                      <a:lnTo>
                        <a:pt x="64" y="14"/>
                      </a:lnTo>
                      <a:lnTo>
                        <a:pt x="66" y="18"/>
                      </a:lnTo>
                      <a:lnTo>
                        <a:pt x="68" y="19"/>
                      </a:lnTo>
                      <a:lnTo>
                        <a:pt x="69" y="21"/>
                      </a:lnTo>
                      <a:lnTo>
                        <a:pt x="70" y="23"/>
                      </a:lnTo>
                      <a:lnTo>
                        <a:pt x="72" y="26"/>
                      </a:lnTo>
                      <a:lnTo>
                        <a:pt x="72" y="27"/>
                      </a:lnTo>
                      <a:lnTo>
                        <a:pt x="73" y="30"/>
                      </a:lnTo>
                      <a:lnTo>
                        <a:pt x="73" y="31"/>
                      </a:lnTo>
                      <a:lnTo>
                        <a:pt x="73" y="34"/>
                      </a:lnTo>
                      <a:lnTo>
                        <a:pt x="73" y="37"/>
                      </a:lnTo>
                      <a:lnTo>
                        <a:pt x="73" y="39"/>
                      </a:lnTo>
                      <a:lnTo>
                        <a:pt x="73" y="39"/>
                      </a:lnTo>
                      <a:lnTo>
                        <a:pt x="73" y="42"/>
                      </a:lnTo>
                      <a:lnTo>
                        <a:pt x="73" y="45"/>
                      </a:lnTo>
                      <a:lnTo>
                        <a:pt x="72" y="47"/>
                      </a:lnTo>
                      <a:lnTo>
                        <a:pt x="72" y="50"/>
                      </a:lnTo>
                      <a:lnTo>
                        <a:pt x="70" y="51"/>
                      </a:lnTo>
                      <a:lnTo>
                        <a:pt x="69" y="54"/>
                      </a:lnTo>
                      <a:lnTo>
                        <a:pt x="69" y="57"/>
                      </a:lnTo>
                      <a:lnTo>
                        <a:pt x="68" y="58"/>
                      </a:lnTo>
                      <a:lnTo>
                        <a:pt x="65" y="61"/>
                      </a:lnTo>
                      <a:lnTo>
                        <a:pt x="64" y="62"/>
                      </a:lnTo>
                      <a:lnTo>
                        <a:pt x="62" y="63"/>
                      </a:lnTo>
                      <a:lnTo>
                        <a:pt x="60" y="65"/>
                      </a:lnTo>
                      <a:lnTo>
                        <a:pt x="58" y="66"/>
                      </a:lnTo>
                      <a:lnTo>
                        <a:pt x="56" y="67"/>
                      </a:lnTo>
                      <a:lnTo>
                        <a:pt x="53" y="69"/>
                      </a:lnTo>
                      <a:lnTo>
                        <a:pt x="52" y="70"/>
                      </a:lnTo>
                      <a:lnTo>
                        <a:pt x="49" y="71"/>
                      </a:lnTo>
                      <a:lnTo>
                        <a:pt x="46" y="71"/>
                      </a:lnTo>
                      <a:lnTo>
                        <a:pt x="44" y="73"/>
                      </a:lnTo>
                      <a:lnTo>
                        <a:pt x="41" y="73"/>
                      </a:lnTo>
                      <a:lnTo>
                        <a:pt x="40" y="73"/>
                      </a:lnTo>
                      <a:lnTo>
                        <a:pt x="37" y="73"/>
                      </a:lnTo>
                      <a:lnTo>
                        <a:pt x="34" y="73"/>
                      </a:lnTo>
                      <a:lnTo>
                        <a:pt x="32" y="73"/>
                      </a:lnTo>
                      <a:lnTo>
                        <a:pt x="29" y="73"/>
                      </a:lnTo>
                      <a:lnTo>
                        <a:pt x="26" y="73"/>
                      </a:lnTo>
                      <a:lnTo>
                        <a:pt x="24" y="71"/>
                      </a:lnTo>
                      <a:lnTo>
                        <a:pt x="21" y="70"/>
                      </a:lnTo>
                      <a:lnTo>
                        <a:pt x="20" y="70"/>
                      </a:lnTo>
                      <a:lnTo>
                        <a:pt x="17" y="69"/>
                      </a:lnTo>
                      <a:lnTo>
                        <a:pt x="16" y="67"/>
                      </a:lnTo>
                      <a:lnTo>
                        <a:pt x="13" y="65"/>
                      </a:lnTo>
                      <a:lnTo>
                        <a:pt x="13" y="65"/>
                      </a:lnTo>
                      <a:lnTo>
                        <a:pt x="12" y="63"/>
                      </a:lnTo>
                      <a:lnTo>
                        <a:pt x="9" y="62"/>
                      </a:lnTo>
                      <a:lnTo>
                        <a:pt x="8" y="61"/>
                      </a:lnTo>
                      <a:lnTo>
                        <a:pt x="6" y="58"/>
                      </a:lnTo>
                      <a:lnTo>
                        <a:pt x="5" y="57"/>
                      </a:lnTo>
                      <a:lnTo>
                        <a:pt x="4" y="54"/>
                      </a:lnTo>
                      <a:lnTo>
                        <a:pt x="2" y="53"/>
                      </a:lnTo>
                      <a:lnTo>
                        <a:pt x="2" y="50"/>
                      </a:lnTo>
                      <a:lnTo>
                        <a:pt x="1" y="47"/>
                      </a:lnTo>
                      <a:lnTo>
                        <a:pt x="1" y="46"/>
                      </a:lnTo>
                      <a:lnTo>
                        <a:pt x="0" y="43"/>
                      </a:lnTo>
                      <a:lnTo>
                        <a:pt x="0" y="41"/>
                      </a:lnTo>
                      <a:lnTo>
                        <a:pt x="0" y="37"/>
                      </a:lnTo>
                      <a:lnTo>
                        <a:pt x="0" y="31"/>
                      </a:lnTo>
                      <a:lnTo>
                        <a:pt x="1" y="27"/>
                      </a:lnTo>
                      <a:lnTo>
                        <a:pt x="2" y="25"/>
                      </a:lnTo>
                      <a:lnTo>
                        <a:pt x="2" y="23"/>
                      </a:lnTo>
                      <a:lnTo>
                        <a:pt x="4" y="21"/>
                      </a:lnTo>
                      <a:lnTo>
                        <a:pt x="5" y="19"/>
                      </a:lnTo>
                      <a:lnTo>
                        <a:pt x="6" y="17"/>
                      </a:lnTo>
                      <a:lnTo>
                        <a:pt x="8" y="15"/>
                      </a:lnTo>
                      <a:lnTo>
                        <a:pt x="9" y="13"/>
                      </a:lnTo>
                      <a:lnTo>
                        <a:pt x="10" y="11"/>
                      </a:lnTo>
                      <a:lnTo>
                        <a:pt x="12" y="10"/>
                      </a:lnTo>
                      <a:lnTo>
                        <a:pt x="14" y="9"/>
                      </a:lnTo>
                      <a:lnTo>
                        <a:pt x="16" y="7"/>
                      </a:lnTo>
                      <a:lnTo>
                        <a:pt x="18" y="6"/>
                      </a:lnTo>
                      <a:lnTo>
                        <a:pt x="20" y="4"/>
                      </a:lnTo>
                      <a:lnTo>
                        <a:pt x="22" y="3"/>
                      </a:lnTo>
                      <a:lnTo>
                        <a:pt x="22" y="3"/>
                      </a:lnTo>
                      <a:lnTo>
                        <a:pt x="2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7" name="Freeform 200"/>
                <p:cNvSpPr>
                  <a:spLocks/>
                </p:cNvSpPr>
                <p:nvPr/>
              </p:nvSpPr>
              <p:spPr bwMode="auto">
                <a:xfrm>
                  <a:off x="1526938" y="4457842"/>
                  <a:ext cx="184607" cy="69228"/>
                </a:xfrm>
                <a:custGeom>
                  <a:avLst/>
                  <a:gdLst>
                    <a:gd name="T0" fmla="*/ 143 w 143"/>
                    <a:gd name="T1" fmla="*/ 45 h 55"/>
                    <a:gd name="T2" fmla="*/ 142 w 143"/>
                    <a:gd name="T3" fmla="*/ 39 h 55"/>
                    <a:gd name="T4" fmla="*/ 142 w 143"/>
                    <a:gd name="T5" fmla="*/ 35 h 55"/>
                    <a:gd name="T6" fmla="*/ 140 w 143"/>
                    <a:gd name="T7" fmla="*/ 32 h 55"/>
                    <a:gd name="T8" fmla="*/ 139 w 143"/>
                    <a:gd name="T9" fmla="*/ 29 h 55"/>
                    <a:gd name="T10" fmla="*/ 138 w 143"/>
                    <a:gd name="T11" fmla="*/ 25 h 55"/>
                    <a:gd name="T12" fmla="*/ 136 w 143"/>
                    <a:gd name="T13" fmla="*/ 23 h 55"/>
                    <a:gd name="T14" fmla="*/ 135 w 143"/>
                    <a:gd name="T15" fmla="*/ 20 h 55"/>
                    <a:gd name="T16" fmla="*/ 134 w 143"/>
                    <a:gd name="T17" fmla="*/ 17 h 55"/>
                    <a:gd name="T18" fmla="*/ 132 w 143"/>
                    <a:gd name="T19" fmla="*/ 15 h 55"/>
                    <a:gd name="T20" fmla="*/ 130 w 143"/>
                    <a:gd name="T21" fmla="*/ 12 h 55"/>
                    <a:gd name="T22" fmla="*/ 127 w 143"/>
                    <a:gd name="T23" fmla="*/ 11 h 55"/>
                    <a:gd name="T24" fmla="*/ 124 w 143"/>
                    <a:gd name="T25" fmla="*/ 8 h 55"/>
                    <a:gd name="T26" fmla="*/ 122 w 143"/>
                    <a:gd name="T27" fmla="*/ 7 h 55"/>
                    <a:gd name="T28" fmla="*/ 116 w 143"/>
                    <a:gd name="T29" fmla="*/ 5 h 55"/>
                    <a:gd name="T30" fmla="*/ 111 w 143"/>
                    <a:gd name="T31" fmla="*/ 4 h 55"/>
                    <a:gd name="T32" fmla="*/ 105 w 143"/>
                    <a:gd name="T33" fmla="*/ 3 h 55"/>
                    <a:gd name="T34" fmla="*/ 100 w 143"/>
                    <a:gd name="T35" fmla="*/ 1 h 55"/>
                    <a:gd name="T36" fmla="*/ 95 w 143"/>
                    <a:gd name="T37" fmla="*/ 0 h 55"/>
                    <a:gd name="T38" fmla="*/ 83 w 143"/>
                    <a:gd name="T39" fmla="*/ 0 h 55"/>
                    <a:gd name="T40" fmla="*/ 60 w 143"/>
                    <a:gd name="T41" fmla="*/ 0 h 55"/>
                    <a:gd name="T42" fmla="*/ 48 w 143"/>
                    <a:gd name="T43" fmla="*/ 0 h 55"/>
                    <a:gd name="T44" fmla="*/ 43 w 143"/>
                    <a:gd name="T45" fmla="*/ 1 h 55"/>
                    <a:gd name="T46" fmla="*/ 37 w 143"/>
                    <a:gd name="T47" fmla="*/ 3 h 55"/>
                    <a:gd name="T48" fmla="*/ 32 w 143"/>
                    <a:gd name="T49" fmla="*/ 4 h 55"/>
                    <a:gd name="T50" fmla="*/ 27 w 143"/>
                    <a:gd name="T51" fmla="*/ 5 h 55"/>
                    <a:gd name="T52" fmla="*/ 21 w 143"/>
                    <a:gd name="T53" fmla="*/ 7 h 55"/>
                    <a:gd name="T54" fmla="*/ 19 w 143"/>
                    <a:gd name="T55" fmla="*/ 8 h 55"/>
                    <a:gd name="T56" fmla="*/ 16 w 143"/>
                    <a:gd name="T57" fmla="*/ 11 h 55"/>
                    <a:gd name="T58" fmla="*/ 13 w 143"/>
                    <a:gd name="T59" fmla="*/ 12 h 55"/>
                    <a:gd name="T60" fmla="*/ 12 w 143"/>
                    <a:gd name="T61" fmla="*/ 15 h 55"/>
                    <a:gd name="T62" fmla="*/ 9 w 143"/>
                    <a:gd name="T63" fmla="*/ 17 h 55"/>
                    <a:gd name="T64" fmla="*/ 8 w 143"/>
                    <a:gd name="T65" fmla="*/ 20 h 55"/>
                    <a:gd name="T66" fmla="*/ 7 w 143"/>
                    <a:gd name="T67" fmla="*/ 23 h 55"/>
                    <a:gd name="T68" fmla="*/ 5 w 143"/>
                    <a:gd name="T69" fmla="*/ 25 h 55"/>
                    <a:gd name="T70" fmla="*/ 4 w 143"/>
                    <a:gd name="T71" fmla="*/ 29 h 55"/>
                    <a:gd name="T72" fmla="*/ 3 w 143"/>
                    <a:gd name="T73" fmla="*/ 32 h 55"/>
                    <a:gd name="T74" fmla="*/ 3 w 143"/>
                    <a:gd name="T75" fmla="*/ 35 h 55"/>
                    <a:gd name="T76" fmla="*/ 1 w 143"/>
                    <a:gd name="T77" fmla="*/ 39 h 55"/>
                    <a:gd name="T78" fmla="*/ 0 w 143"/>
                    <a:gd name="T79" fmla="*/ 45 h 55"/>
                    <a:gd name="T80" fmla="*/ 0 w 143"/>
                    <a:gd name="T81" fmla="*/ 51 h 55"/>
                    <a:gd name="T82" fmla="*/ 0 w 143"/>
                    <a:gd name="T83" fmla="*/ 55 h 55"/>
                    <a:gd name="T84" fmla="*/ 51 w 143"/>
                    <a:gd name="T85" fmla="*/ 55 h 55"/>
                    <a:gd name="T86" fmla="*/ 92 w 143"/>
                    <a:gd name="T87" fmla="*/ 55 h 55"/>
                    <a:gd name="T88" fmla="*/ 143 w 143"/>
                    <a:gd name="T89" fmla="*/ 55 h 55"/>
                    <a:gd name="T90" fmla="*/ 143 w 143"/>
                    <a:gd name="T91" fmla="*/ 51 h 55"/>
                    <a:gd name="T92" fmla="*/ 143 w 143"/>
                    <a:gd name="T9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3" y="45"/>
                      </a:moveTo>
                      <a:lnTo>
                        <a:pt x="142" y="39"/>
                      </a:lnTo>
                      <a:lnTo>
                        <a:pt x="142" y="35"/>
                      </a:lnTo>
                      <a:lnTo>
                        <a:pt x="140" y="32"/>
                      </a:lnTo>
                      <a:lnTo>
                        <a:pt x="139" y="29"/>
                      </a:lnTo>
                      <a:lnTo>
                        <a:pt x="138" y="25"/>
                      </a:lnTo>
                      <a:lnTo>
                        <a:pt x="136" y="23"/>
                      </a:lnTo>
                      <a:lnTo>
                        <a:pt x="135" y="20"/>
                      </a:lnTo>
                      <a:lnTo>
                        <a:pt x="134" y="17"/>
                      </a:lnTo>
                      <a:lnTo>
                        <a:pt x="132" y="15"/>
                      </a:lnTo>
                      <a:lnTo>
                        <a:pt x="130" y="12"/>
                      </a:lnTo>
                      <a:lnTo>
                        <a:pt x="127" y="11"/>
                      </a:lnTo>
                      <a:lnTo>
                        <a:pt x="124" y="8"/>
                      </a:lnTo>
                      <a:lnTo>
                        <a:pt x="122" y="7"/>
                      </a:lnTo>
                      <a:lnTo>
                        <a:pt x="116" y="5"/>
                      </a:lnTo>
                      <a:lnTo>
                        <a:pt x="111" y="4"/>
                      </a:lnTo>
                      <a:lnTo>
                        <a:pt x="105" y="3"/>
                      </a:lnTo>
                      <a:lnTo>
                        <a:pt x="100" y="1"/>
                      </a:lnTo>
                      <a:lnTo>
                        <a:pt x="95" y="0"/>
                      </a:lnTo>
                      <a:lnTo>
                        <a:pt x="83" y="0"/>
                      </a:lnTo>
                      <a:lnTo>
                        <a:pt x="60" y="0"/>
                      </a:lnTo>
                      <a:lnTo>
                        <a:pt x="48" y="0"/>
                      </a:lnTo>
                      <a:lnTo>
                        <a:pt x="43" y="1"/>
                      </a:lnTo>
                      <a:lnTo>
                        <a:pt x="37" y="3"/>
                      </a:lnTo>
                      <a:lnTo>
                        <a:pt x="32" y="4"/>
                      </a:lnTo>
                      <a:lnTo>
                        <a:pt x="27" y="5"/>
                      </a:lnTo>
                      <a:lnTo>
                        <a:pt x="21" y="7"/>
                      </a:lnTo>
                      <a:lnTo>
                        <a:pt x="19" y="8"/>
                      </a:lnTo>
                      <a:lnTo>
                        <a:pt x="16" y="11"/>
                      </a:lnTo>
                      <a:lnTo>
                        <a:pt x="13" y="12"/>
                      </a:lnTo>
                      <a:lnTo>
                        <a:pt x="12" y="15"/>
                      </a:lnTo>
                      <a:lnTo>
                        <a:pt x="9" y="17"/>
                      </a:lnTo>
                      <a:lnTo>
                        <a:pt x="8" y="20"/>
                      </a:lnTo>
                      <a:lnTo>
                        <a:pt x="7" y="23"/>
                      </a:lnTo>
                      <a:lnTo>
                        <a:pt x="5" y="25"/>
                      </a:lnTo>
                      <a:lnTo>
                        <a:pt x="4" y="29"/>
                      </a:lnTo>
                      <a:lnTo>
                        <a:pt x="3" y="32"/>
                      </a:lnTo>
                      <a:lnTo>
                        <a:pt x="3" y="35"/>
                      </a:lnTo>
                      <a:lnTo>
                        <a:pt x="1" y="39"/>
                      </a:lnTo>
                      <a:lnTo>
                        <a:pt x="0" y="45"/>
                      </a:lnTo>
                      <a:lnTo>
                        <a:pt x="0" y="51"/>
                      </a:lnTo>
                      <a:lnTo>
                        <a:pt x="0" y="55"/>
                      </a:lnTo>
                      <a:lnTo>
                        <a:pt x="51" y="55"/>
                      </a:lnTo>
                      <a:lnTo>
                        <a:pt x="92" y="55"/>
                      </a:lnTo>
                      <a:lnTo>
                        <a:pt x="143" y="55"/>
                      </a:lnTo>
                      <a:lnTo>
                        <a:pt x="143" y="51"/>
                      </a:lnTo>
                      <a:lnTo>
                        <a:pt x="143"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8" name="Freeform 201"/>
                <p:cNvSpPr>
                  <a:spLocks/>
                </p:cNvSpPr>
                <p:nvPr/>
              </p:nvSpPr>
              <p:spPr bwMode="auto">
                <a:xfrm>
                  <a:off x="1557706" y="4330923"/>
                  <a:ext cx="107688" cy="38460"/>
                </a:xfrm>
                <a:custGeom>
                  <a:avLst/>
                  <a:gdLst>
                    <a:gd name="T0" fmla="*/ 66 w 83"/>
                    <a:gd name="T1" fmla="*/ 26 h 30"/>
                    <a:gd name="T2" fmla="*/ 76 w 83"/>
                    <a:gd name="T3" fmla="*/ 26 h 30"/>
                    <a:gd name="T4" fmla="*/ 79 w 83"/>
                    <a:gd name="T5" fmla="*/ 17 h 30"/>
                    <a:gd name="T6" fmla="*/ 79 w 83"/>
                    <a:gd name="T7" fmla="*/ 17 h 30"/>
                    <a:gd name="T8" fmla="*/ 82 w 83"/>
                    <a:gd name="T9" fmla="*/ 12 h 30"/>
                    <a:gd name="T10" fmla="*/ 83 w 83"/>
                    <a:gd name="T11" fmla="*/ 8 h 30"/>
                    <a:gd name="T12" fmla="*/ 83 w 83"/>
                    <a:gd name="T13" fmla="*/ 8 h 30"/>
                    <a:gd name="T14" fmla="*/ 83 w 83"/>
                    <a:gd name="T15" fmla="*/ 4 h 30"/>
                    <a:gd name="T16" fmla="*/ 80 w 83"/>
                    <a:gd name="T17" fmla="*/ 3 h 30"/>
                    <a:gd name="T18" fmla="*/ 76 w 83"/>
                    <a:gd name="T19" fmla="*/ 1 h 30"/>
                    <a:gd name="T20" fmla="*/ 72 w 83"/>
                    <a:gd name="T21" fmla="*/ 0 h 30"/>
                    <a:gd name="T22" fmla="*/ 46 w 83"/>
                    <a:gd name="T23" fmla="*/ 1 h 30"/>
                    <a:gd name="T24" fmla="*/ 46 w 83"/>
                    <a:gd name="T25" fmla="*/ 1 h 30"/>
                    <a:gd name="T26" fmla="*/ 18 w 83"/>
                    <a:gd name="T27" fmla="*/ 0 h 30"/>
                    <a:gd name="T28" fmla="*/ 14 w 83"/>
                    <a:gd name="T29" fmla="*/ 1 h 30"/>
                    <a:gd name="T30" fmla="*/ 10 w 83"/>
                    <a:gd name="T31" fmla="*/ 3 h 30"/>
                    <a:gd name="T32" fmla="*/ 8 w 83"/>
                    <a:gd name="T33" fmla="*/ 4 h 30"/>
                    <a:gd name="T34" fmla="*/ 7 w 83"/>
                    <a:gd name="T35" fmla="*/ 8 h 30"/>
                    <a:gd name="T36" fmla="*/ 7 w 83"/>
                    <a:gd name="T37" fmla="*/ 8 h 30"/>
                    <a:gd name="T38" fmla="*/ 8 w 83"/>
                    <a:gd name="T39" fmla="*/ 13 h 30"/>
                    <a:gd name="T40" fmla="*/ 12 w 83"/>
                    <a:gd name="T41" fmla="*/ 17 h 30"/>
                    <a:gd name="T42" fmla="*/ 12 w 83"/>
                    <a:gd name="T43" fmla="*/ 17 h 30"/>
                    <a:gd name="T44" fmla="*/ 12 w 83"/>
                    <a:gd name="T45" fmla="*/ 17 h 30"/>
                    <a:gd name="T46" fmla="*/ 12 w 83"/>
                    <a:gd name="T47" fmla="*/ 17 h 30"/>
                    <a:gd name="T48" fmla="*/ 6 w 83"/>
                    <a:gd name="T49" fmla="*/ 22 h 30"/>
                    <a:gd name="T50" fmla="*/ 2 w 83"/>
                    <a:gd name="T51" fmla="*/ 23 h 30"/>
                    <a:gd name="T52" fmla="*/ 0 w 83"/>
                    <a:gd name="T53" fmla="*/ 27 h 30"/>
                    <a:gd name="T54" fmla="*/ 0 w 83"/>
                    <a:gd name="T55" fmla="*/ 27 h 30"/>
                    <a:gd name="T56" fmla="*/ 3 w 83"/>
                    <a:gd name="T57" fmla="*/ 28 h 30"/>
                    <a:gd name="T58" fmla="*/ 6 w 83"/>
                    <a:gd name="T59" fmla="*/ 30 h 30"/>
                    <a:gd name="T60" fmla="*/ 66 w 83"/>
                    <a:gd name="T61"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3" h="30">
                      <a:moveTo>
                        <a:pt x="66" y="26"/>
                      </a:moveTo>
                      <a:lnTo>
                        <a:pt x="76" y="26"/>
                      </a:lnTo>
                      <a:lnTo>
                        <a:pt x="79" y="17"/>
                      </a:lnTo>
                      <a:lnTo>
                        <a:pt x="79" y="17"/>
                      </a:lnTo>
                      <a:lnTo>
                        <a:pt x="82" y="12"/>
                      </a:lnTo>
                      <a:lnTo>
                        <a:pt x="83" y="8"/>
                      </a:lnTo>
                      <a:lnTo>
                        <a:pt x="83" y="8"/>
                      </a:lnTo>
                      <a:lnTo>
                        <a:pt x="83" y="4"/>
                      </a:lnTo>
                      <a:lnTo>
                        <a:pt x="80" y="3"/>
                      </a:lnTo>
                      <a:lnTo>
                        <a:pt x="76" y="1"/>
                      </a:lnTo>
                      <a:lnTo>
                        <a:pt x="72" y="0"/>
                      </a:lnTo>
                      <a:lnTo>
                        <a:pt x="46" y="1"/>
                      </a:lnTo>
                      <a:lnTo>
                        <a:pt x="46" y="1"/>
                      </a:lnTo>
                      <a:lnTo>
                        <a:pt x="18" y="0"/>
                      </a:lnTo>
                      <a:lnTo>
                        <a:pt x="14" y="1"/>
                      </a:lnTo>
                      <a:lnTo>
                        <a:pt x="10" y="3"/>
                      </a:lnTo>
                      <a:lnTo>
                        <a:pt x="8" y="4"/>
                      </a:lnTo>
                      <a:lnTo>
                        <a:pt x="7" y="8"/>
                      </a:lnTo>
                      <a:lnTo>
                        <a:pt x="7" y="8"/>
                      </a:lnTo>
                      <a:lnTo>
                        <a:pt x="8" y="13"/>
                      </a:lnTo>
                      <a:lnTo>
                        <a:pt x="12" y="17"/>
                      </a:lnTo>
                      <a:lnTo>
                        <a:pt x="12" y="17"/>
                      </a:lnTo>
                      <a:lnTo>
                        <a:pt x="12" y="17"/>
                      </a:lnTo>
                      <a:lnTo>
                        <a:pt x="12" y="17"/>
                      </a:lnTo>
                      <a:lnTo>
                        <a:pt x="6" y="22"/>
                      </a:lnTo>
                      <a:lnTo>
                        <a:pt x="2" y="23"/>
                      </a:lnTo>
                      <a:lnTo>
                        <a:pt x="0" y="27"/>
                      </a:lnTo>
                      <a:lnTo>
                        <a:pt x="0" y="27"/>
                      </a:lnTo>
                      <a:lnTo>
                        <a:pt x="3" y="28"/>
                      </a:lnTo>
                      <a:lnTo>
                        <a:pt x="6" y="30"/>
                      </a:lnTo>
                      <a:lnTo>
                        <a:pt x="6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99" name="Freeform 202"/>
                <p:cNvSpPr>
                  <a:spLocks/>
                </p:cNvSpPr>
                <p:nvPr/>
              </p:nvSpPr>
              <p:spPr bwMode="auto">
                <a:xfrm>
                  <a:off x="2911499" y="4373228"/>
                  <a:ext cx="73075" cy="69228"/>
                </a:xfrm>
                <a:custGeom>
                  <a:avLst/>
                  <a:gdLst>
                    <a:gd name="T0" fmla="*/ 14 w 55"/>
                    <a:gd name="T1" fmla="*/ 0 h 54"/>
                    <a:gd name="T2" fmla="*/ 14 w 55"/>
                    <a:gd name="T3" fmla="*/ 0 h 54"/>
                    <a:gd name="T4" fmla="*/ 7 w 55"/>
                    <a:gd name="T5" fmla="*/ 0 h 54"/>
                    <a:gd name="T6" fmla="*/ 4 w 55"/>
                    <a:gd name="T7" fmla="*/ 0 h 54"/>
                    <a:gd name="T8" fmla="*/ 3 w 55"/>
                    <a:gd name="T9" fmla="*/ 1 h 54"/>
                    <a:gd name="T10" fmla="*/ 0 w 55"/>
                    <a:gd name="T11" fmla="*/ 5 h 54"/>
                    <a:gd name="T12" fmla="*/ 0 w 55"/>
                    <a:gd name="T13" fmla="*/ 12 h 54"/>
                    <a:gd name="T14" fmla="*/ 3 w 55"/>
                    <a:gd name="T15" fmla="*/ 18 h 54"/>
                    <a:gd name="T16" fmla="*/ 7 w 55"/>
                    <a:gd name="T17" fmla="*/ 26 h 54"/>
                    <a:gd name="T18" fmla="*/ 12 w 55"/>
                    <a:gd name="T19" fmla="*/ 34 h 54"/>
                    <a:gd name="T20" fmla="*/ 18 w 55"/>
                    <a:gd name="T21" fmla="*/ 44 h 54"/>
                    <a:gd name="T22" fmla="*/ 18 w 55"/>
                    <a:gd name="T23" fmla="*/ 44 h 54"/>
                    <a:gd name="T24" fmla="*/ 24 w 55"/>
                    <a:gd name="T25" fmla="*/ 50 h 54"/>
                    <a:gd name="T26" fmla="*/ 31 w 55"/>
                    <a:gd name="T27" fmla="*/ 53 h 54"/>
                    <a:gd name="T28" fmla="*/ 38 w 55"/>
                    <a:gd name="T29" fmla="*/ 54 h 54"/>
                    <a:gd name="T30" fmla="*/ 43 w 55"/>
                    <a:gd name="T31" fmla="*/ 54 h 54"/>
                    <a:gd name="T32" fmla="*/ 48 w 55"/>
                    <a:gd name="T33" fmla="*/ 53 h 54"/>
                    <a:gd name="T34" fmla="*/ 52 w 55"/>
                    <a:gd name="T35" fmla="*/ 52 h 54"/>
                    <a:gd name="T36" fmla="*/ 55 w 55"/>
                    <a:gd name="T37" fmla="*/ 49 h 54"/>
                    <a:gd name="T38" fmla="*/ 55 w 55"/>
                    <a:gd name="T39" fmla="*/ 49 h 54"/>
                    <a:gd name="T40" fmla="*/ 52 w 55"/>
                    <a:gd name="T41" fmla="*/ 50 h 54"/>
                    <a:gd name="T42" fmla="*/ 47 w 55"/>
                    <a:gd name="T43" fmla="*/ 49 h 54"/>
                    <a:gd name="T44" fmla="*/ 43 w 55"/>
                    <a:gd name="T45" fmla="*/ 48 h 54"/>
                    <a:gd name="T46" fmla="*/ 39 w 55"/>
                    <a:gd name="T47" fmla="*/ 45 h 54"/>
                    <a:gd name="T48" fmla="*/ 35 w 55"/>
                    <a:gd name="T49" fmla="*/ 41 h 54"/>
                    <a:gd name="T50" fmla="*/ 32 w 55"/>
                    <a:gd name="T51" fmla="*/ 36 h 54"/>
                    <a:gd name="T52" fmla="*/ 32 w 55"/>
                    <a:gd name="T53" fmla="*/ 36 h 54"/>
                    <a:gd name="T54" fmla="*/ 30 w 55"/>
                    <a:gd name="T55" fmla="*/ 26 h 54"/>
                    <a:gd name="T56" fmla="*/ 27 w 55"/>
                    <a:gd name="T57" fmla="*/ 16 h 54"/>
                    <a:gd name="T58" fmla="*/ 24 w 55"/>
                    <a:gd name="T59" fmla="*/ 10 h 54"/>
                    <a:gd name="T60" fmla="*/ 22 w 55"/>
                    <a:gd name="T61" fmla="*/ 5 h 54"/>
                    <a:gd name="T62" fmla="*/ 19 w 55"/>
                    <a:gd name="T63" fmla="*/ 2 h 54"/>
                    <a:gd name="T64" fmla="*/ 14 w 55"/>
                    <a:gd name="T65" fmla="*/ 0 h 54"/>
                    <a:gd name="T66" fmla="*/ 14 w 55"/>
                    <a:gd name="T6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4">
                      <a:moveTo>
                        <a:pt x="14" y="0"/>
                      </a:moveTo>
                      <a:lnTo>
                        <a:pt x="14" y="0"/>
                      </a:lnTo>
                      <a:lnTo>
                        <a:pt x="7" y="0"/>
                      </a:lnTo>
                      <a:lnTo>
                        <a:pt x="4" y="0"/>
                      </a:lnTo>
                      <a:lnTo>
                        <a:pt x="3" y="1"/>
                      </a:lnTo>
                      <a:lnTo>
                        <a:pt x="0" y="5"/>
                      </a:lnTo>
                      <a:lnTo>
                        <a:pt x="0" y="12"/>
                      </a:lnTo>
                      <a:lnTo>
                        <a:pt x="3" y="18"/>
                      </a:lnTo>
                      <a:lnTo>
                        <a:pt x="7" y="26"/>
                      </a:lnTo>
                      <a:lnTo>
                        <a:pt x="12" y="34"/>
                      </a:lnTo>
                      <a:lnTo>
                        <a:pt x="18" y="44"/>
                      </a:lnTo>
                      <a:lnTo>
                        <a:pt x="18" y="44"/>
                      </a:lnTo>
                      <a:lnTo>
                        <a:pt x="24" y="50"/>
                      </a:lnTo>
                      <a:lnTo>
                        <a:pt x="31" y="53"/>
                      </a:lnTo>
                      <a:lnTo>
                        <a:pt x="38" y="54"/>
                      </a:lnTo>
                      <a:lnTo>
                        <a:pt x="43" y="54"/>
                      </a:lnTo>
                      <a:lnTo>
                        <a:pt x="48" y="53"/>
                      </a:lnTo>
                      <a:lnTo>
                        <a:pt x="52" y="52"/>
                      </a:lnTo>
                      <a:lnTo>
                        <a:pt x="55" y="49"/>
                      </a:lnTo>
                      <a:lnTo>
                        <a:pt x="55" y="49"/>
                      </a:lnTo>
                      <a:lnTo>
                        <a:pt x="52" y="50"/>
                      </a:lnTo>
                      <a:lnTo>
                        <a:pt x="47" y="49"/>
                      </a:lnTo>
                      <a:lnTo>
                        <a:pt x="43" y="48"/>
                      </a:lnTo>
                      <a:lnTo>
                        <a:pt x="39" y="45"/>
                      </a:lnTo>
                      <a:lnTo>
                        <a:pt x="35" y="41"/>
                      </a:lnTo>
                      <a:lnTo>
                        <a:pt x="32" y="36"/>
                      </a:lnTo>
                      <a:lnTo>
                        <a:pt x="32" y="36"/>
                      </a:lnTo>
                      <a:lnTo>
                        <a:pt x="30" y="26"/>
                      </a:lnTo>
                      <a:lnTo>
                        <a:pt x="27" y="16"/>
                      </a:lnTo>
                      <a:lnTo>
                        <a:pt x="24" y="10"/>
                      </a:lnTo>
                      <a:lnTo>
                        <a:pt x="22" y="5"/>
                      </a:lnTo>
                      <a:lnTo>
                        <a:pt x="19" y="2"/>
                      </a:lnTo>
                      <a:lnTo>
                        <a:pt x="14"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00" name="Freeform 203"/>
                <p:cNvSpPr>
                  <a:spLocks/>
                </p:cNvSpPr>
                <p:nvPr/>
              </p:nvSpPr>
              <p:spPr bwMode="auto">
                <a:xfrm>
                  <a:off x="3184563" y="4369383"/>
                  <a:ext cx="96150" cy="92304"/>
                </a:xfrm>
                <a:custGeom>
                  <a:avLst/>
                  <a:gdLst>
                    <a:gd name="T0" fmla="*/ 22 w 73"/>
                    <a:gd name="T1" fmla="*/ 2 h 72"/>
                    <a:gd name="T2" fmla="*/ 26 w 73"/>
                    <a:gd name="T3" fmla="*/ 1 h 72"/>
                    <a:gd name="T4" fmla="*/ 32 w 73"/>
                    <a:gd name="T5" fmla="*/ 0 h 72"/>
                    <a:gd name="T6" fmla="*/ 36 w 73"/>
                    <a:gd name="T7" fmla="*/ 0 h 72"/>
                    <a:gd name="T8" fmla="*/ 41 w 73"/>
                    <a:gd name="T9" fmla="*/ 0 h 72"/>
                    <a:gd name="T10" fmla="*/ 45 w 73"/>
                    <a:gd name="T11" fmla="*/ 1 h 72"/>
                    <a:gd name="T12" fmla="*/ 53 w 73"/>
                    <a:gd name="T13" fmla="*/ 4 h 72"/>
                    <a:gd name="T14" fmla="*/ 61 w 73"/>
                    <a:gd name="T15" fmla="*/ 9 h 72"/>
                    <a:gd name="T16" fmla="*/ 67 w 73"/>
                    <a:gd name="T17" fmla="*/ 16 h 72"/>
                    <a:gd name="T18" fmla="*/ 69 w 73"/>
                    <a:gd name="T19" fmla="*/ 20 h 72"/>
                    <a:gd name="T20" fmla="*/ 72 w 73"/>
                    <a:gd name="T21" fmla="*/ 24 h 72"/>
                    <a:gd name="T22" fmla="*/ 73 w 73"/>
                    <a:gd name="T23" fmla="*/ 28 h 72"/>
                    <a:gd name="T24" fmla="*/ 73 w 73"/>
                    <a:gd name="T25" fmla="*/ 33 h 72"/>
                    <a:gd name="T26" fmla="*/ 73 w 73"/>
                    <a:gd name="T27" fmla="*/ 37 h 72"/>
                    <a:gd name="T28" fmla="*/ 73 w 73"/>
                    <a:gd name="T29" fmla="*/ 40 h 72"/>
                    <a:gd name="T30" fmla="*/ 72 w 73"/>
                    <a:gd name="T31" fmla="*/ 45 h 72"/>
                    <a:gd name="T32" fmla="*/ 71 w 73"/>
                    <a:gd name="T33" fmla="*/ 50 h 72"/>
                    <a:gd name="T34" fmla="*/ 69 w 73"/>
                    <a:gd name="T35" fmla="*/ 54 h 72"/>
                    <a:gd name="T36" fmla="*/ 65 w 73"/>
                    <a:gd name="T37" fmla="*/ 58 h 72"/>
                    <a:gd name="T38" fmla="*/ 63 w 73"/>
                    <a:gd name="T39" fmla="*/ 62 h 72"/>
                    <a:gd name="T40" fmla="*/ 59 w 73"/>
                    <a:gd name="T41" fmla="*/ 65 h 72"/>
                    <a:gd name="T42" fmla="*/ 53 w 73"/>
                    <a:gd name="T43" fmla="*/ 68 h 72"/>
                    <a:gd name="T44" fmla="*/ 49 w 73"/>
                    <a:gd name="T45" fmla="*/ 69 h 72"/>
                    <a:gd name="T46" fmla="*/ 44 w 73"/>
                    <a:gd name="T47" fmla="*/ 70 h 72"/>
                    <a:gd name="T48" fmla="*/ 40 w 73"/>
                    <a:gd name="T49" fmla="*/ 72 h 72"/>
                    <a:gd name="T50" fmla="*/ 34 w 73"/>
                    <a:gd name="T51" fmla="*/ 72 h 72"/>
                    <a:gd name="T52" fmla="*/ 29 w 73"/>
                    <a:gd name="T53" fmla="*/ 70 h 72"/>
                    <a:gd name="T54" fmla="*/ 24 w 73"/>
                    <a:gd name="T55" fmla="*/ 69 h 72"/>
                    <a:gd name="T56" fmla="*/ 20 w 73"/>
                    <a:gd name="T57" fmla="*/ 68 h 72"/>
                    <a:gd name="T58" fmla="*/ 16 w 73"/>
                    <a:gd name="T59" fmla="*/ 65 h 72"/>
                    <a:gd name="T60" fmla="*/ 13 w 73"/>
                    <a:gd name="T61" fmla="*/ 64 h 72"/>
                    <a:gd name="T62" fmla="*/ 9 w 73"/>
                    <a:gd name="T63" fmla="*/ 60 h 72"/>
                    <a:gd name="T64" fmla="*/ 6 w 73"/>
                    <a:gd name="T65" fmla="*/ 57 h 72"/>
                    <a:gd name="T66" fmla="*/ 4 w 73"/>
                    <a:gd name="T67" fmla="*/ 53 h 72"/>
                    <a:gd name="T68" fmla="*/ 2 w 73"/>
                    <a:gd name="T69" fmla="*/ 49 h 72"/>
                    <a:gd name="T70" fmla="*/ 1 w 73"/>
                    <a:gd name="T71" fmla="*/ 44 h 72"/>
                    <a:gd name="T72" fmla="*/ 0 w 73"/>
                    <a:gd name="T73" fmla="*/ 40 h 72"/>
                    <a:gd name="T74" fmla="*/ 1 w 73"/>
                    <a:gd name="T75" fmla="*/ 30 h 72"/>
                    <a:gd name="T76" fmla="*/ 2 w 73"/>
                    <a:gd name="T77" fmla="*/ 24 h 72"/>
                    <a:gd name="T78" fmla="*/ 4 w 73"/>
                    <a:gd name="T79" fmla="*/ 18 h 72"/>
                    <a:gd name="T80" fmla="*/ 6 w 73"/>
                    <a:gd name="T81" fmla="*/ 14 h 72"/>
                    <a:gd name="T82" fmla="*/ 9 w 73"/>
                    <a:gd name="T83" fmla="*/ 12 h 72"/>
                    <a:gd name="T84" fmla="*/ 12 w 73"/>
                    <a:gd name="T85" fmla="*/ 8 h 72"/>
                    <a:gd name="T86" fmla="*/ 16 w 73"/>
                    <a:gd name="T87" fmla="*/ 5 h 72"/>
                    <a:gd name="T88" fmla="*/ 20 w 73"/>
                    <a:gd name="T89" fmla="*/ 4 h 72"/>
                    <a:gd name="T90" fmla="*/ 22 w 73"/>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2">
                      <a:moveTo>
                        <a:pt x="22" y="2"/>
                      </a:moveTo>
                      <a:lnTo>
                        <a:pt x="22" y="2"/>
                      </a:lnTo>
                      <a:lnTo>
                        <a:pt x="25" y="1"/>
                      </a:lnTo>
                      <a:lnTo>
                        <a:pt x="26" y="1"/>
                      </a:lnTo>
                      <a:lnTo>
                        <a:pt x="29" y="0"/>
                      </a:lnTo>
                      <a:lnTo>
                        <a:pt x="32" y="0"/>
                      </a:lnTo>
                      <a:lnTo>
                        <a:pt x="34" y="0"/>
                      </a:lnTo>
                      <a:lnTo>
                        <a:pt x="36" y="0"/>
                      </a:lnTo>
                      <a:lnTo>
                        <a:pt x="38" y="0"/>
                      </a:lnTo>
                      <a:lnTo>
                        <a:pt x="41" y="0"/>
                      </a:lnTo>
                      <a:lnTo>
                        <a:pt x="42" y="0"/>
                      </a:lnTo>
                      <a:lnTo>
                        <a:pt x="45" y="1"/>
                      </a:lnTo>
                      <a:lnTo>
                        <a:pt x="49" y="2"/>
                      </a:lnTo>
                      <a:lnTo>
                        <a:pt x="53" y="4"/>
                      </a:lnTo>
                      <a:lnTo>
                        <a:pt x="57" y="6"/>
                      </a:lnTo>
                      <a:lnTo>
                        <a:pt x="61" y="9"/>
                      </a:lnTo>
                      <a:lnTo>
                        <a:pt x="64" y="12"/>
                      </a:lnTo>
                      <a:lnTo>
                        <a:pt x="67" y="16"/>
                      </a:lnTo>
                      <a:lnTo>
                        <a:pt x="68" y="17"/>
                      </a:lnTo>
                      <a:lnTo>
                        <a:pt x="69" y="20"/>
                      </a:lnTo>
                      <a:lnTo>
                        <a:pt x="71" y="21"/>
                      </a:lnTo>
                      <a:lnTo>
                        <a:pt x="72" y="24"/>
                      </a:lnTo>
                      <a:lnTo>
                        <a:pt x="72" y="26"/>
                      </a:lnTo>
                      <a:lnTo>
                        <a:pt x="73" y="28"/>
                      </a:lnTo>
                      <a:lnTo>
                        <a:pt x="73" y="30"/>
                      </a:lnTo>
                      <a:lnTo>
                        <a:pt x="73" y="33"/>
                      </a:lnTo>
                      <a:lnTo>
                        <a:pt x="73" y="34"/>
                      </a:lnTo>
                      <a:lnTo>
                        <a:pt x="73" y="37"/>
                      </a:lnTo>
                      <a:lnTo>
                        <a:pt x="73" y="37"/>
                      </a:lnTo>
                      <a:lnTo>
                        <a:pt x="73" y="40"/>
                      </a:lnTo>
                      <a:lnTo>
                        <a:pt x="73" y="42"/>
                      </a:lnTo>
                      <a:lnTo>
                        <a:pt x="72" y="45"/>
                      </a:lnTo>
                      <a:lnTo>
                        <a:pt x="72" y="48"/>
                      </a:lnTo>
                      <a:lnTo>
                        <a:pt x="71" y="50"/>
                      </a:lnTo>
                      <a:lnTo>
                        <a:pt x="71" y="52"/>
                      </a:lnTo>
                      <a:lnTo>
                        <a:pt x="69" y="54"/>
                      </a:lnTo>
                      <a:lnTo>
                        <a:pt x="68" y="56"/>
                      </a:lnTo>
                      <a:lnTo>
                        <a:pt x="65" y="58"/>
                      </a:lnTo>
                      <a:lnTo>
                        <a:pt x="64" y="60"/>
                      </a:lnTo>
                      <a:lnTo>
                        <a:pt x="63" y="62"/>
                      </a:lnTo>
                      <a:lnTo>
                        <a:pt x="60" y="64"/>
                      </a:lnTo>
                      <a:lnTo>
                        <a:pt x="59" y="65"/>
                      </a:lnTo>
                      <a:lnTo>
                        <a:pt x="56" y="66"/>
                      </a:lnTo>
                      <a:lnTo>
                        <a:pt x="53" y="68"/>
                      </a:lnTo>
                      <a:lnTo>
                        <a:pt x="52" y="68"/>
                      </a:lnTo>
                      <a:lnTo>
                        <a:pt x="49" y="69"/>
                      </a:lnTo>
                      <a:lnTo>
                        <a:pt x="46" y="70"/>
                      </a:lnTo>
                      <a:lnTo>
                        <a:pt x="44" y="70"/>
                      </a:lnTo>
                      <a:lnTo>
                        <a:pt x="42" y="72"/>
                      </a:lnTo>
                      <a:lnTo>
                        <a:pt x="40" y="72"/>
                      </a:lnTo>
                      <a:lnTo>
                        <a:pt x="37" y="72"/>
                      </a:lnTo>
                      <a:lnTo>
                        <a:pt x="34" y="72"/>
                      </a:lnTo>
                      <a:lnTo>
                        <a:pt x="32" y="72"/>
                      </a:lnTo>
                      <a:lnTo>
                        <a:pt x="29" y="70"/>
                      </a:lnTo>
                      <a:lnTo>
                        <a:pt x="26" y="70"/>
                      </a:lnTo>
                      <a:lnTo>
                        <a:pt x="24" y="69"/>
                      </a:lnTo>
                      <a:lnTo>
                        <a:pt x="21" y="69"/>
                      </a:lnTo>
                      <a:lnTo>
                        <a:pt x="20" y="68"/>
                      </a:lnTo>
                      <a:lnTo>
                        <a:pt x="17" y="66"/>
                      </a:lnTo>
                      <a:lnTo>
                        <a:pt x="16" y="65"/>
                      </a:lnTo>
                      <a:lnTo>
                        <a:pt x="13" y="64"/>
                      </a:lnTo>
                      <a:lnTo>
                        <a:pt x="13" y="64"/>
                      </a:lnTo>
                      <a:lnTo>
                        <a:pt x="12" y="62"/>
                      </a:lnTo>
                      <a:lnTo>
                        <a:pt x="9" y="60"/>
                      </a:lnTo>
                      <a:lnTo>
                        <a:pt x="8" y="58"/>
                      </a:lnTo>
                      <a:lnTo>
                        <a:pt x="6" y="57"/>
                      </a:lnTo>
                      <a:lnTo>
                        <a:pt x="5" y="54"/>
                      </a:lnTo>
                      <a:lnTo>
                        <a:pt x="4" y="53"/>
                      </a:lnTo>
                      <a:lnTo>
                        <a:pt x="2" y="50"/>
                      </a:lnTo>
                      <a:lnTo>
                        <a:pt x="2" y="49"/>
                      </a:lnTo>
                      <a:lnTo>
                        <a:pt x="1" y="46"/>
                      </a:lnTo>
                      <a:lnTo>
                        <a:pt x="1" y="44"/>
                      </a:lnTo>
                      <a:lnTo>
                        <a:pt x="1" y="41"/>
                      </a:lnTo>
                      <a:lnTo>
                        <a:pt x="0" y="40"/>
                      </a:lnTo>
                      <a:lnTo>
                        <a:pt x="0" y="34"/>
                      </a:lnTo>
                      <a:lnTo>
                        <a:pt x="1" y="30"/>
                      </a:lnTo>
                      <a:lnTo>
                        <a:pt x="1" y="25"/>
                      </a:lnTo>
                      <a:lnTo>
                        <a:pt x="2" y="24"/>
                      </a:lnTo>
                      <a:lnTo>
                        <a:pt x="2" y="21"/>
                      </a:lnTo>
                      <a:lnTo>
                        <a:pt x="4" y="18"/>
                      </a:lnTo>
                      <a:lnTo>
                        <a:pt x="5" y="17"/>
                      </a:lnTo>
                      <a:lnTo>
                        <a:pt x="6" y="14"/>
                      </a:lnTo>
                      <a:lnTo>
                        <a:pt x="8" y="13"/>
                      </a:lnTo>
                      <a:lnTo>
                        <a:pt x="9" y="12"/>
                      </a:lnTo>
                      <a:lnTo>
                        <a:pt x="10" y="9"/>
                      </a:lnTo>
                      <a:lnTo>
                        <a:pt x="12" y="8"/>
                      </a:lnTo>
                      <a:lnTo>
                        <a:pt x="14" y="6"/>
                      </a:lnTo>
                      <a:lnTo>
                        <a:pt x="16" y="5"/>
                      </a:lnTo>
                      <a:lnTo>
                        <a:pt x="18" y="4"/>
                      </a:lnTo>
                      <a:lnTo>
                        <a:pt x="20" y="4"/>
                      </a:lnTo>
                      <a:lnTo>
                        <a:pt x="22" y="2"/>
                      </a:lnTo>
                      <a:lnTo>
                        <a:pt x="22" y="2"/>
                      </a:lnTo>
                      <a:lnTo>
                        <a:pt x="2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01" name="Freeform 204"/>
                <p:cNvSpPr>
                  <a:spLocks/>
                </p:cNvSpPr>
                <p:nvPr/>
              </p:nvSpPr>
              <p:spPr bwMode="auto">
                <a:xfrm>
                  <a:off x="3142258" y="4477071"/>
                  <a:ext cx="180763" cy="69228"/>
                </a:xfrm>
                <a:custGeom>
                  <a:avLst/>
                  <a:gdLst>
                    <a:gd name="T0" fmla="*/ 143 w 143"/>
                    <a:gd name="T1" fmla="*/ 45 h 55"/>
                    <a:gd name="T2" fmla="*/ 142 w 143"/>
                    <a:gd name="T3" fmla="*/ 38 h 55"/>
                    <a:gd name="T4" fmla="*/ 142 w 143"/>
                    <a:gd name="T5" fmla="*/ 36 h 55"/>
                    <a:gd name="T6" fmla="*/ 140 w 143"/>
                    <a:gd name="T7" fmla="*/ 32 h 55"/>
                    <a:gd name="T8" fmla="*/ 139 w 143"/>
                    <a:gd name="T9" fmla="*/ 29 h 55"/>
                    <a:gd name="T10" fmla="*/ 138 w 143"/>
                    <a:gd name="T11" fmla="*/ 26 h 55"/>
                    <a:gd name="T12" fmla="*/ 136 w 143"/>
                    <a:gd name="T13" fmla="*/ 22 h 55"/>
                    <a:gd name="T14" fmla="*/ 135 w 143"/>
                    <a:gd name="T15" fmla="*/ 20 h 55"/>
                    <a:gd name="T16" fmla="*/ 134 w 143"/>
                    <a:gd name="T17" fmla="*/ 17 h 55"/>
                    <a:gd name="T18" fmla="*/ 132 w 143"/>
                    <a:gd name="T19" fmla="*/ 14 h 55"/>
                    <a:gd name="T20" fmla="*/ 130 w 143"/>
                    <a:gd name="T21" fmla="*/ 13 h 55"/>
                    <a:gd name="T22" fmla="*/ 127 w 143"/>
                    <a:gd name="T23" fmla="*/ 10 h 55"/>
                    <a:gd name="T24" fmla="*/ 124 w 143"/>
                    <a:gd name="T25" fmla="*/ 9 h 55"/>
                    <a:gd name="T26" fmla="*/ 122 w 143"/>
                    <a:gd name="T27" fmla="*/ 8 h 55"/>
                    <a:gd name="T28" fmla="*/ 116 w 143"/>
                    <a:gd name="T29" fmla="*/ 5 h 55"/>
                    <a:gd name="T30" fmla="*/ 111 w 143"/>
                    <a:gd name="T31" fmla="*/ 4 h 55"/>
                    <a:gd name="T32" fmla="*/ 106 w 143"/>
                    <a:gd name="T33" fmla="*/ 2 h 55"/>
                    <a:gd name="T34" fmla="*/ 100 w 143"/>
                    <a:gd name="T35" fmla="*/ 1 h 55"/>
                    <a:gd name="T36" fmla="*/ 95 w 143"/>
                    <a:gd name="T37" fmla="*/ 1 h 55"/>
                    <a:gd name="T38" fmla="*/ 83 w 143"/>
                    <a:gd name="T39" fmla="*/ 0 h 55"/>
                    <a:gd name="T40" fmla="*/ 60 w 143"/>
                    <a:gd name="T41" fmla="*/ 0 h 55"/>
                    <a:gd name="T42" fmla="*/ 48 w 143"/>
                    <a:gd name="T43" fmla="*/ 1 h 55"/>
                    <a:gd name="T44" fmla="*/ 43 w 143"/>
                    <a:gd name="T45" fmla="*/ 1 h 55"/>
                    <a:gd name="T46" fmla="*/ 37 w 143"/>
                    <a:gd name="T47" fmla="*/ 2 h 55"/>
                    <a:gd name="T48" fmla="*/ 32 w 143"/>
                    <a:gd name="T49" fmla="*/ 4 h 55"/>
                    <a:gd name="T50" fmla="*/ 27 w 143"/>
                    <a:gd name="T51" fmla="*/ 5 h 55"/>
                    <a:gd name="T52" fmla="*/ 21 w 143"/>
                    <a:gd name="T53" fmla="*/ 8 h 55"/>
                    <a:gd name="T54" fmla="*/ 19 w 143"/>
                    <a:gd name="T55" fmla="*/ 9 h 55"/>
                    <a:gd name="T56" fmla="*/ 16 w 143"/>
                    <a:gd name="T57" fmla="*/ 10 h 55"/>
                    <a:gd name="T58" fmla="*/ 13 w 143"/>
                    <a:gd name="T59" fmla="*/ 13 h 55"/>
                    <a:gd name="T60" fmla="*/ 12 w 143"/>
                    <a:gd name="T61" fmla="*/ 14 h 55"/>
                    <a:gd name="T62" fmla="*/ 9 w 143"/>
                    <a:gd name="T63" fmla="*/ 17 h 55"/>
                    <a:gd name="T64" fmla="*/ 8 w 143"/>
                    <a:gd name="T65" fmla="*/ 20 h 55"/>
                    <a:gd name="T66" fmla="*/ 7 w 143"/>
                    <a:gd name="T67" fmla="*/ 22 h 55"/>
                    <a:gd name="T68" fmla="*/ 5 w 143"/>
                    <a:gd name="T69" fmla="*/ 26 h 55"/>
                    <a:gd name="T70" fmla="*/ 4 w 143"/>
                    <a:gd name="T71" fmla="*/ 29 h 55"/>
                    <a:gd name="T72" fmla="*/ 3 w 143"/>
                    <a:gd name="T73" fmla="*/ 32 h 55"/>
                    <a:gd name="T74" fmla="*/ 3 w 143"/>
                    <a:gd name="T75" fmla="*/ 36 h 55"/>
                    <a:gd name="T76" fmla="*/ 1 w 143"/>
                    <a:gd name="T77" fmla="*/ 38 h 55"/>
                    <a:gd name="T78" fmla="*/ 0 w 143"/>
                    <a:gd name="T79" fmla="*/ 45 h 55"/>
                    <a:gd name="T80" fmla="*/ 0 w 143"/>
                    <a:gd name="T81" fmla="*/ 52 h 55"/>
                    <a:gd name="T82" fmla="*/ 0 w 143"/>
                    <a:gd name="T83" fmla="*/ 55 h 55"/>
                    <a:gd name="T84" fmla="*/ 51 w 143"/>
                    <a:gd name="T85" fmla="*/ 55 h 55"/>
                    <a:gd name="T86" fmla="*/ 92 w 143"/>
                    <a:gd name="T87" fmla="*/ 55 h 55"/>
                    <a:gd name="T88" fmla="*/ 143 w 143"/>
                    <a:gd name="T89" fmla="*/ 55 h 55"/>
                    <a:gd name="T90" fmla="*/ 143 w 143"/>
                    <a:gd name="T91" fmla="*/ 52 h 55"/>
                    <a:gd name="T92" fmla="*/ 143 w 143"/>
                    <a:gd name="T9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3" y="45"/>
                      </a:moveTo>
                      <a:lnTo>
                        <a:pt x="142" y="38"/>
                      </a:lnTo>
                      <a:lnTo>
                        <a:pt x="142" y="36"/>
                      </a:lnTo>
                      <a:lnTo>
                        <a:pt x="140" y="32"/>
                      </a:lnTo>
                      <a:lnTo>
                        <a:pt x="139" y="29"/>
                      </a:lnTo>
                      <a:lnTo>
                        <a:pt x="138" y="26"/>
                      </a:lnTo>
                      <a:lnTo>
                        <a:pt x="136" y="22"/>
                      </a:lnTo>
                      <a:lnTo>
                        <a:pt x="135" y="20"/>
                      </a:lnTo>
                      <a:lnTo>
                        <a:pt x="134" y="17"/>
                      </a:lnTo>
                      <a:lnTo>
                        <a:pt x="132" y="14"/>
                      </a:lnTo>
                      <a:lnTo>
                        <a:pt x="130" y="13"/>
                      </a:lnTo>
                      <a:lnTo>
                        <a:pt x="127" y="10"/>
                      </a:lnTo>
                      <a:lnTo>
                        <a:pt x="124" y="9"/>
                      </a:lnTo>
                      <a:lnTo>
                        <a:pt x="122" y="8"/>
                      </a:lnTo>
                      <a:lnTo>
                        <a:pt x="116" y="5"/>
                      </a:lnTo>
                      <a:lnTo>
                        <a:pt x="111" y="4"/>
                      </a:lnTo>
                      <a:lnTo>
                        <a:pt x="106" y="2"/>
                      </a:lnTo>
                      <a:lnTo>
                        <a:pt x="100" y="1"/>
                      </a:lnTo>
                      <a:lnTo>
                        <a:pt x="95" y="1"/>
                      </a:lnTo>
                      <a:lnTo>
                        <a:pt x="83" y="0"/>
                      </a:lnTo>
                      <a:lnTo>
                        <a:pt x="60" y="0"/>
                      </a:lnTo>
                      <a:lnTo>
                        <a:pt x="48" y="1"/>
                      </a:lnTo>
                      <a:lnTo>
                        <a:pt x="43" y="1"/>
                      </a:lnTo>
                      <a:lnTo>
                        <a:pt x="37" y="2"/>
                      </a:lnTo>
                      <a:lnTo>
                        <a:pt x="32" y="4"/>
                      </a:lnTo>
                      <a:lnTo>
                        <a:pt x="27" y="5"/>
                      </a:lnTo>
                      <a:lnTo>
                        <a:pt x="21" y="8"/>
                      </a:lnTo>
                      <a:lnTo>
                        <a:pt x="19" y="9"/>
                      </a:lnTo>
                      <a:lnTo>
                        <a:pt x="16" y="10"/>
                      </a:lnTo>
                      <a:lnTo>
                        <a:pt x="13" y="13"/>
                      </a:lnTo>
                      <a:lnTo>
                        <a:pt x="12" y="14"/>
                      </a:lnTo>
                      <a:lnTo>
                        <a:pt x="9" y="17"/>
                      </a:lnTo>
                      <a:lnTo>
                        <a:pt x="8" y="20"/>
                      </a:lnTo>
                      <a:lnTo>
                        <a:pt x="7" y="22"/>
                      </a:lnTo>
                      <a:lnTo>
                        <a:pt x="5" y="26"/>
                      </a:lnTo>
                      <a:lnTo>
                        <a:pt x="4" y="29"/>
                      </a:lnTo>
                      <a:lnTo>
                        <a:pt x="3" y="32"/>
                      </a:lnTo>
                      <a:lnTo>
                        <a:pt x="3" y="36"/>
                      </a:lnTo>
                      <a:lnTo>
                        <a:pt x="1" y="38"/>
                      </a:lnTo>
                      <a:lnTo>
                        <a:pt x="0" y="45"/>
                      </a:lnTo>
                      <a:lnTo>
                        <a:pt x="0" y="52"/>
                      </a:lnTo>
                      <a:lnTo>
                        <a:pt x="0" y="55"/>
                      </a:lnTo>
                      <a:lnTo>
                        <a:pt x="51" y="55"/>
                      </a:lnTo>
                      <a:lnTo>
                        <a:pt x="92" y="55"/>
                      </a:lnTo>
                      <a:lnTo>
                        <a:pt x="143" y="55"/>
                      </a:lnTo>
                      <a:lnTo>
                        <a:pt x="143" y="52"/>
                      </a:lnTo>
                      <a:lnTo>
                        <a:pt x="143"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02" name="Freeform 205"/>
                <p:cNvSpPr>
                  <a:spLocks/>
                </p:cNvSpPr>
                <p:nvPr/>
              </p:nvSpPr>
              <p:spPr bwMode="auto">
                <a:xfrm>
                  <a:off x="2173066" y="4373228"/>
                  <a:ext cx="69228" cy="69228"/>
                </a:xfrm>
                <a:custGeom>
                  <a:avLst/>
                  <a:gdLst>
                    <a:gd name="T0" fmla="*/ 13 w 55"/>
                    <a:gd name="T1" fmla="*/ 0 h 54"/>
                    <a:gd name="T2" fmla="*/ 13 w 55"/>
                    <a:gd name="T3" fmla="*/ 0 h 54"/>
                    <a:gd name="T4" fmla="*/ 6 w 55"/>
                    <a:gd name="T5" fmla="*/ 0 h 54"/>
                    <a:gd name="T6" fmla="*/ 4 w 55"/>
                    <a:gd name="T7" fmla="*/ 0 h 54"/>
                    <a:gd name="T8" fmla="*/ 1 w 55"/>
                    <a:gd name="T9" fmla="*/ 1 h 54"/>
                    <a:gd name="T10" fmla="*/ 0 w 55"/>
                    <a:gd name="T11" fmla="*/ 5 h 54"/>
                    <a:gd name="T12" fmla="*/ 0 w 55"/>
                    <a:gd name="T13" fmla="*/ 12 h 54"/>
                    <a:gd name="T14" fmla="*/ 2 w 55"/>
                    <a:gd name="T15" fmla="*/ 18 h 54"/>
                    <a:gd name="T16" fmla="*/ 6 w 55"/>
                    <a:gd name="T17" fmla="*/ 26 h 54"/>
                    <a:gd name="T18" fmla="*/ 10 w 55"/>
                    <a:gd name="T19" fmla="*/ 34 h 54"/>
                    <a:gd name="T20" fmla="*/ 17 w 55"/>
                    <a:gd name="T21" fmla="*/ 44 h 54"/>
                    <a:gd name="T22" fmla="*/ 17 w 55"/>
                    <a:gd name="T23" fmla="*/ 44 h 54"/>
                    <a:gd name="T24" fmla="*/ 24 w 55"/>
                    <a:gd name="T25" fmla="*/ 50 h 54"/>
                    <a:gd name="T26" fmla="*/ 31 w 55"/>
                    <a:gd name="T27" fmla="*/ 53 h 54"/>
                    <a:gd name="T28" fmla="*/ 36 w 55"/>
                    <a:gd name="T29" fmla="*/ 54 h 54"/>
                    <a:gd name="T30" fmla="*/ 43 w 55"/>
                    <a:gd name="T31" fmla="*/ 54 h 54"/>
                    <a:gd name="T32" fmla="*/ 47 w 55"/>
                    <a:gd name="T33" fmla="*/ 53 h 54"/>
                    <a:gd name="T34" fmla="*/ 51 w 55"/>
                    <a:gd name="T35" fmla="*/ 52 h 54"/>
                    <a:gd name="T36" fmla="*/ 55 w 55"/>
                    <a:gd name="T37" fmla="*/ 49 h 54"/>
                    <a:gd name="T38" fmla="*/ 55 w 55"/>
                    <a:gd name="T39" fmla="*/ 49 h 54"/>
                    <a:gd name="T40" fmla="*/ 52 w 55"/>
                    <a:gd name="T41" fmla="*/ 50 h 54"/>
                    <a:gd name="T42" fmla="*/ 47 w 55"/>
                    <a:gd name="T43" fmla="*/ 49 h 54"/>
                    <a:gd name="T44" fmla="*/ 43 w 55"/>
                    <a:gd name="T45" fmla="*/ 48 h 54"/>
                    <a:gd name="T46" fmla="*/ 39 w 55"/>
                    <a:gd name="T47" fmla="*/ 45 h 54"/>
                    <a:gd name="T48" fmla="*/ 35 w 55"/>
                    <a:gd name="T49" fmla="*/ 41 h 54"/>
                    <a:gd name="T50" fmla="*/ 31 w 55"/>
                    <a:gd name="T51" fmla="*/ 36 h 54"/>
                    <a:gd name="T52" fmla="*/ 31 w 55"/>
                    <a:gd name="T53" fmla="*/ 36 h 54"/>
                    <a:gd name="T54" fmla="*/ 28 w 55"/>
                    <a:gd name="T55" fmla="*/ 26 h 54"/>
                    <a:gd name="T56" fmla="*/ 27 w 55"/>
                    <a:gd name="T57" fmla="*/ 16 h 54"/>
                    <a:gd name="T58" fmla="*/ 24 w 55"/>
                    <a:gd name="T59" fmla="*/ 10 h 54"/>
                    <a:gd name="T60" fmla="*/ 21 w 55"/>
                    <a:gd name="T61" fmla="*/ 5 h 54"/>
                    <a:gd name="T62" fmla="*/ 17 w 55"/>
                    <a:gd name="T63" fmla="*/ 2 h 54"/>
                    <a:gd name="T64" fmla="*/ 13 w 55"/>
                    <a:gd name="T65" fmla="*/ 0 h 54"/>
                    <a:gd name="T66" fmla="*/ 13 w 55"/>
                    <a:gd name="T6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4">
                      <a:moveTo>
                        <a:pt x="13" y="0"/>
                      </a:moveTo>
                      <a:lnTo>
                        <a:pt x="13" y="0"/>
                      </a:lnTo>
                      <a:lnTo>
                        <a:pt x="6" y="0"/>
                      </a:lnTo>
                      <a:lnTo>
                        <a:pt x="4" y="0"/>
                      </a:lnTo>
                      <a:lnTo>
                        <a:pt x="1" y="1"/>
                      </a:lnTo>
                      <a:lnTo>
                        <a:pt x="0" y="5"/>
                      </a:lnTo>
                      <a:lnTo>
                        <a:pt x="0" y="12"/>
                      </a:lnTo>
                      <a:lnTo>
                        <a:pt x="2" y="18"/>
                      </a:lnTo>
                      <a:lnTo>
                        <a:pt x="6" y="26"/>
                      </a:lnTo>
                      <a:lnTo>
                        <a:pt x="10" y="34"/>
                      </a:lnTo>
                      <a:lnTo>
                        <a:pt x="17" y="44"/>
                      </a:lnTo>
                      <a:lnTo>
                        <a:pt x="17" y="44"/>
                      </a:lnTo>
                      <a:lnTo>
                        <a:pt x="24" y="50"/>
                      </a:lnTo>
                      <a:lnTo>
                        <a:pt x="31" y="53"/>
                      </a:lnTo>
                      <a:lnTo>
                        <a:pt x="36" y="54"/>
                      </a:lnTo>
                      <a:lnTo>
                        <a:pt x="43" y="54"/>
                      </a:lnTo>
                      <a:lnTo>
                        <a:pt x="47" y="53"/>
                      </a:lnTo>
                      <a:lnTo>
                        <a:pt x="51" y="52"/>
                      </a:lnTo>
                      <a:lnTo>
                        <a:pt x="55" y="49"/>
                      </a:lnTo>
                      <a:lnTo>
                        <a:pt x="55" y="49"/>
                      </a:lnTo>
                      <a:lnTo>
                        <a:pt x="52" y="50"/>
                      </a:lnTo>
                      <a:lnTo>
                        <a:pt x="47" y="49"/>
                      </a:lnTo>
                      <a:lnTo>
                        <a:pt x="43" y="48"/>
                      </a:lnTo>
                      <a:lnTo>
                        <a:pt x="39" y="45"/>
                      </a:lnTo>
                      <a:lnTo>
                        <a:pt x="35" y="41"/>
                      </a:lnTo>
                      <a:lnTo>
                        <a:pt x="31" y="36"/>
                      </a:lnTo>
                      <a:lnTo>
                        <a:pt x="31" y="36"/>
                      </a:lnTo>
                      <a:lnTo>
                        <a:pt x="28" y="26"/>
                      </a:lnTo>
                      <a:lnTo>
                        <a:pt x="27" y="16"/>
                      </a:lnTo>
                      <a:lnTo>
                        <a:pt x="24" y="10"/>
                      </a:lnTo>
                      <a:lnTo>
                        <a:pt x="21" y="5"/>
                      </a:lnTo>
                      <a:lnTo>
                        <a:pt x="17" y="2"/>
                      </a:lnTo>
                      <a:lnTo>
                        <a:pt x="13" y="0"/>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672" name="Freeform 213"/>
              <p:cNvSpPr>
                <a:spLocks/>
              </p:cNvSpPr>
              <p:nvPr/>
            </p:nvSpPr>
            <p:spPr bwMode="auto">
              <a:xfrm>
                <a:off x="1603751" y="4884714"/>
                <a:ext cx="15384" cy="15384"/>
              </a:xfrm>
              <a:custGeom>
                <a:avLst/>
                <a:gdLst>
                  <a:gd name="T0" fmla="*/ 13 w 13"/>
                  <a:gd name="T1" fmla="*/ 5 h 12"/>
                  <a:gd name="T2" fmla="*/ 13 w 13"/>
                  <a:gd name="T3" fmla="*/ 5 h 12"/>
                  <a:gd name="T4" fmla="*/ 12 w 13"/>
                  <a:gd name="T5" fmla="*/ 4 h 12"/>
                  <a:gd name="T6" fmla="*/ 10 w 13"/>
                  <a:gd name="T7" fmla="*/ 1 h 12"/>
                  <a:gd name="T8" fmla="*/ 9 w 13"/>
                  <a:gd name="T9" fmla="*/ 0 h 12"/>
                  <a:gd name="T10" fmla="*/ 6 w 13"/>
                  <a:gd name="T11" fmla="*/ 0 h 12"/>
                  <a:gd name="T12" fmla="*/ 6 w 13"/>
                  <a:gd name="T13" fmla="*/ 0 h 12"/>
                  <a:gd name="T14" fmla="*/ 4 w 13"/>
                  <a:gd name="T15" fmla="*/ 0 h 12"/>
                  <a:gd name="T16" fmla="*/ 1 w 13"/>
                  <a:gd name="T17" fmla="*/ 1 h 12"/>
                  <a:gd name="T18" fmla="*/ 0 w 13"/>
                  <a:gd name="T19" fmla="*/ 4 h 12"/>
                  <a:gd name="T20" fmla="*/ 0 w 13"/>
                  <a:gd name="T21" fmla="*/ 5 h 12"/>
                  <a:gd name="T22" fmla="*/ 0 w 13"/>
                  <a:gd name="T23" fmla="*/ 5 h 12"/>
                  <a:gd name="T24" fmla="*/ 0 w 13"/>
                  <a:gd name="T25" fmla="*/ 8 h 12"/>
                  <a:gd name="T26" fmla="*/ 1 w 13"/>
                  <a:gd name="T27" fmla="*/ 11 h 12"/>
                  <a:gd name="T28" fmla="*/ 4 w 13"/>
                  <a:gd name="T29" fmla="*/ 12 h 12"/>
                  <a:gd name="T30" fmla="*/ 6 w 13"/>
                  <a:gd name="T31" fmla="*/ 12 h 12"/>
                  <a:gd name="T32" fmla="*/ 6 w 13"/>
                  <a:gd name="T33" fmla="*/ 12 h 12"/>
                  <a:gd name="T34" fmla="*/ 9 w 13"/>
                  <a:gd name="T35" fmla="*/ 12 h 12"/>
                  <a:gd name="T36" fmla="*/ 10 w 13"/>
                  <a:gd name="T37" fmla="*/ 11 h 12"/>
                  <a:gd name="T38" fmla="*/ 12 w 13"/>
                  <a:gd name="T39" fmla="*/ 8 h 12"/>
                  <a:gd name="T40" fmla="*/ 13 w 13"/>
                  <a:gd name="T41" fmla="*/ 5 h 12"/>
                  <a:gd name="T42" fmla="*/ 13 w 13"/>
                  <a:gd name="T4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2">
                    <a:moveTo>
                      <a:pt x="13" y="5"/>
                    </a:moveTo>
                    <a:lnTo>
                      <a:pt x="13" y="5"/>
                    </a:lnTo>
                    <a:lnTo>
                      <a:pt x="12" y="4"/>
                    </a:lnTo>
                    <a:lnTo>
                      <a:pt x="10" y="1"/>
                    </a:lnTo>
                    <a:lnTo>
                      <a:pt x="9" y="0"/>
                    </a:lnTo>
                    <a:lnTo>
                      <a:pt x="6" y="0"/>
                    </a:lnTo>
                    <a:lnTo>
                      <a:pt x="6" y="0"/>
                    </a:lnTo>
                    <a:lnTo>
                      <a:pt x="4" y="0"/>
                    </a:lnTo>
                    <a:lnTo>
                      <a:pt x="1" y="1"/>
                    </a:lnTo>
                    <a:lnTo>
                      <a:pt x="0" y="4"/>
                    </a:lnTo>
                    <a:lnTo>
                      <a:pt x="0" y="5"/>
                    </a:lnTo>
                    <a:lnTo>
                      <a:pt x="0" y="5"/>
                    </a:lnTo>
                    <a:lnTo>
                      <a:pt x="0" y="8"/>
                    </a:lnTo>
                    <a:lnTo>
                      <a:pt x="1" y="11"/>
                    </a:lnTo>
                    <a:lnTo>
                      <a:pt x="4" y="12"/>
                    </a:lnTo>
                    <a:lnTo>
                      <a:pt x="6" y="12"/>
                    </a:lnTo>
                    <a:lnTo>
                      <a:pt x="6" y="12"/>
                    </a:lnTo>
                    <a:lnTo>
                      <a:pt x="9" y="12"/>
                    </a:lnTo>
                    <a:lnTo>
                      <a:pt x="10" y="11"/>
                    </a:lnTo>
                    <a:lnTo>
                      <a:pt x="12" y="8"/>
                    </a:lnTo>
                    <a:lnTo>
                      <a:pt x="13" y="5"/>
                    </a:lnTo>
                    <a:lnTo>
                      <a:pt x="13" y="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3" name="Freeform 214"/>
              <p:cNvSpPr>
                <a:spLocks/>
              </p:cNvSpPr>
              <p:nvPr/>
            </p:nvSpPr>
            <p:spPr bwMode="auto">
              <a:xfrm>
                <a:off x="1603751" y="4977017"/>
                <a:ext cx="15384" cy="15384"/>
              </a:xfrm>
              <a:custGeom>
                <a:avLst/>
                <a:gdLst>
                  <a:gd name="T0" fmla="*/ 13 w 13"/>
                  <a:gd name="T1" fmla="*/ 7 h 12"/>
                  <a:gd name="T2" fmla="*/ 13 w 13"/>
                  <a:gd name="T3" fmla="*/ 7 h 12"/>
                  <a:gd name="T4" fmla="*/ 12 w 13"/>
                  <a:gd name="T5" fmla="*/ 4 h 12"/>
                  <a:gd name="T6" fmla="*/ 10 w 13"/>
                  <a:gd name="T7" fmla="*/ 2 h 12"/>
                  <a:gd name="T8" fmla="*/ 9 w 13"/>
                  <a:gd name="T9" fmla="*/ 0 h 12"/>
                  <a:gd name="T10" fmla="*/ 6 w 13"/>
                  <a:gd name="T11" fmla="*/ 0 h 12"/>
                  <a:gd name="T12" fmla="*/ 6 w 13"/>
                  <a:gd name="T13" fmla="*/ 0 h 12"/>
                  <a:gd name="T14" fmla="*/ 4 w 13"/>
                  <a:gd name="T15" fmla="*/ 0 h 12"/>
                  <a:gd name="T16" fmla="*/ 1 w 13"/>
                  <a:gd name="T17" fmla="*/ 2 h 12"/>
                  <a:gd name="T18" fmla="*/ 0 w 13"/>
                  <a:gd name="T19" fmla="*/ 4 h 12"/>
                  <a:gd name="T20" fmla="*/ 0 w 13"/>
                  <a:gd name="T21" fmla="*/ 7 h 12"/>
                  <a:gd name="T22" fmla="*/ 0 w 13"/>
                  <a:gd name="T23" fmla="*/ 7 h 12"/>
                  <a:gd name="T24" fmla="*/ 0 w 13"/>
                  <a:gd name="T25" fmla="*/ 8 h 12"/>
                  <a:gd name="T26" fmla="*/ 1 w 13"/>
                  <a:gd name="T27" fmla="*/ 11 h 12"/>
                  <a:gd name="T28" fmla="*/ 4 w 13"/>
                  <a:gd name="T29" fmla="*/ 12 h 12"/>
                  <a:gd name="T30" fmla="*/ 6 w 13"/>
                  <a:gd name="T31" fmla="*/ 12 h 12"/>
                  <a:gd name="T32" fmla="*/ 6 w 13"/>
                  <a:gd name="T33" fmla="*/ 12 h 12"/>
                  <a:gd name="T34" fmla="*/ 9 w 13"/>
                  <a:gd name="T35" fmla="*/ 12 h 12"/>
                  <a:gd name="T36" fmla="*/ 10 w 13"/>
                  <a:gd name="T37" fmla="*/ 11 h 12"/>
                  <a:gd name="T38" fmla="*/ 12 w 13"/>
                  <a:gd name="T39" fmla="*/ 8 h 12"/>
                  <a:gd name="T40" fmla="*/ 13 w 13"/>
                  <a:gd name="T41" fmla="*/ 7 h 12"/>
                  <a:gd name="T42" fmla="*/ 13 w 13"/>
                  <a:gd name="T43"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2">
                    <a:moveTo>
                      <a:pt x="13" y="7"/>
                    </a:moveTo>
                    <a:lnTo>
                      <a:pt x="13" y="7"/>
                    </a:lnTo>
                    <a:lnTo>
                      <a:pt x="12" y="4"/>
                    </a:lnTo>
                    <a:lnTo>
                      <a:pt x="10" y="2"/>
                    </a:lnTo>
                    <a:lnTo>
                      <a:pt x="9" y="0"/>
                    </a:lnTo>
                    <a:lnTo>
                      <a:pt x="6" y="0"/>
                    </a:lnTo>
                    <a:lnTo>
                      <a:pt x="6" y="0"/>
                    </a:lnTo>
                    <a:lnTo>
                      <a:pt x="4" y="0"/>
                    </a:lnTo>
                    <a:lnTo>
                      <a:pt x="1" y="2"/>
                    </a:lnTo>
                    <a:lnTo>
                      <a:pt x="0" y="4"/>
                    </a:lnTo>
                    <a:lnTo>
                      <a:pt x="0" y="7"/>
                    </a:lnTo>
                    <a:lnTo>
                      <a:pt x="0" y="7"/>
                    </a:lnTo>
                    <a:lnTo>
                      <a:pt x="0" y="8"/>
                    </a:lnTo>
                    <a:lnTo>
                      <a:pt x="1" y="11"/>
                    </a:lnTo>
                    <a:lnTo>
                      <a:pt x="4" y="12"/>
                    </a:lnTo>
                    <a:lnTo>
                      <a:pt x="6" y="12"/>
                    </a:lnTo>
                    <a:lnTo>
                      <a:pt x="6" y="12"/>
                    </a:lnTo>
                    <a:lnTo>
                      <a:pt x="9" y="12"/>
                    </a:lnTo>
                    <a:lnTo>
                      <a:pt x="10" y="11"/>
                    </a:lnTo>
                    <a:lnTo>
                      <a:pt x="12" y="8"/>
                    </a:lnTo>
                    <a:lnTo>
                      <a:pt x="13" y="7"/>
                    </a:lnTo>
                    <a:lnTo>
                      <a:pt x="13" y="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4" name="Freeform 215"/>
              <p:cNvSpPr>
                <a:spLocks/>
              </p:cNvSpPr>
              <p:nvPr/>
            </p:nvSpPr>
            <p:spPr bwMode="auto">
              <a:xfrm>
                <a:off x="1692210" y="4977017"/>
                <a:ext cx="19231" cy="15384"/>
              </a:xfrm>
              <a:custGeom>
                <a:avLst/>
                <a:gdLst>
                  <a:gd name="T0" fmla="*/ 13 w 13"/>
                  <a:gd name="T1" fmla="*/ 7 h 12"/>
                  <a:gd name="T2" fmla="*/ 13 w 13"/>
                  <a:gd name="T3" fmla="*/ 7 h 12"/>
                  <a:gd name="T4" fmla="*/ 13 w 13"/>
                  <a:gd name="T5" fmla="*/ 4 h 12"/>
                  <a:gd name="T6" fmla="*/ 12 w 13"/>
                  <a:gd name="T7" fmla="*/ 2 h 12"/>
                  <a:gd name="T8" fmla="*/ 9 w 13"/>
                  <a:gd name="T9" fmla="*/ 0 h 12"/>
                  <a:gd name="T10" fmla="*/ 6 w 13"/>
                  <a:gd name="T11" fmla="*/ 0 h 12"/>
                  <a:gd name="T12" fmla="*/ 6 w 13"/>
                  <a:gd name="T13" fmla="*/ 0 h 12"/>
                  <a:gd name="T14" fmla="*/ 4 w 13"/>
                  <a:gd name="T15" fmla="*/ 0 h 12"/>
                  <a:gd name="T16" fmla="*/ 2 w 13"/>
                  <a:gd name="T17" fmla="*/ 2 h 12"/>
                  <a:gd name="T18" fmla="*/ 1 w 13"/>
                  <a:gd name="T19" fmla="*/ 4 h 12"/>
                  <a:gd name="T20" fmla="*/ 0 w 13"/>
                  <a:gd name="T21" fmla="*/ 7 h 12"/>
                  <a:gd name="T22" fmla="*/ 0 w 13"/>
                  <a:gd name="T23" fmla="*/ 7 h 12"/>
                  <a:gd name="T24" fmla="*/ 1 w 13"/>
                  <a:gd name="T25" fmla="*/ 8 h 12"/>
                  <a:gd name="T26" fmla="*/ 2 w 13"/>
                  <a:gd name="T27" fmla="*/ 11 h 12"/>
                  <a:gd name="T28" fmla="*/ 4 w 13"/>
                  <a:gd name="T29" fmla="*/ 12 h 12"/>
                  <a:gd name="T30" fmla="*/ 6 w 13"/>
                  <a:gd name="T31" fmla="*/ 12 h 12"/>
                  <a:gd name="T32" fmla="*/ 6 w 13"/>
                  <a:gd name="T33" fmla="*/ 12 h 12"/>
                  <a:gd name="T34" fmla="*/ 9 w 13"/>
                  <a:gd name="T35" fmla="*/ 12 h 12"/>
                  <a:gd name="T36" fmla="*/ 12 w 13"/>
                  <a:gd name="T37" fmla="*/ 11 h 12"/>
                  <a:gd name="T38" fmla="*/ 13 w 13"/>
                  <a:gd name="T39" fmla="*/ 8 h 12"/>
                  <a:gd name="T40" fmla="*/ 13 w 13"/>
                  <a:gd name="T41" fmla="*/ 7 h 12"/>
                  <a:gd name="T42" fmla="*/ 13 w 13"/>
                  <a:gd name="T43"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2">
                    <a:moveTo>
                      <a:pt x="13" y="7"/>
                    </a:moveTo>
                    <a:lnTo>
                      <a:pt x="13" y="7"/>
                    </a:lnTo>
                    <a:lnTo>
                      <a:pt x="13" y="4"/>
                    </a:lnTo>
                    <a:lnTo>
                      <a:pt x="12" y="2"/>
                    </a:lnTo>
                    <a:lnTo>
                      <a:pt x="9" y="0"/>
                    </a:lnTo>
                    <a:lnTo>
                      <a:pt x="6" y="0"/>
                    </a:lnTo>
                    <a:lnTo>
                      <a:pt x="6" y="0"/>
                    </a:lnTo>
                    <a:lnTo>
                      <a:pt x="4" y="0"/>
                    </a:lnTo>
                    <a:lnTo>
                      <a:pt x="2" y="2"/>
                    </a:lnTo>
                    <a:lnTo>
                      <a:pt x="1" y="4"/>
                    </a:lnTo>
                    <a:lnTo>
                      <a:pt x="0" y="7"/>
                    </a:lnTo>
                    <a:lnTo>
                      <a:pt x="0" y="7"/>
                    </a:lnTo>
                    <a:lnTo>
                      <a:pt x="1" y="8"/>
                    </a:lnTo>
                    <a:lnTo>
                      <a:pt x="2" y="11"/>
                    </a:lnTo>
                    <a:lnTo>
                      <a:pt x="4" y="12"/>
                    </a:lnTo>
                    <a:lnTo>
                      <a:pt x="6" y="12"/>
                    </a:lnTo>
                    <a:lnTo>
                      <a:pt x="6" y="12"/>
                    </a:lnTo>
                    <a:lnTo>
                      <a:pt x="9" y="12"/>
                    </a:lnTo>
                    <a:lnTo>
                      <a:pt x="12" y="11"/>
                    </a:lnTo>
                    <a:lnTo>
                      <a:pt x="13" y="8"/>
                    </a:lnTo>
                    <a:lnTo>
                      <a:pt x="13" y="7"/>
                    </a:lnTo>
                    <a:lnTo>
                      <a:pt x="13" y="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5" name="Freeform 216"/>
              <p:cNvSpPr>
                <a:spLocks/>
              </p:cNvSpPr>
              <p:nvPr/>
            </p:nvSpPr>
            <p:spPr bwMode="auto">
              <a:xfrm>
                <a:off x="1619135" y="4903942"/>
                <a:ext cx="73075" cy="73075"/>
              </a:xfrm>
              <a:custGeom>
                <a:avLst/>
                <a:gdLst>
                  <a:gd name="T0" fmla="*/ 29 w 59"/>
                  <a:gd name="T1" fmla="*/ 57 h 57"/>
                  <a:gd name="T2" fmla="*/ 29 w 59"/>
                  <a:gd name="T3" fmla="*/ 57 h 57"/>
                  <a:gd name="T4" fmla="*/ 29 w 59"/>
                  <a:gd name="T5" fmla="*/ 57 h 57"/>
                  <a:gd name="T6" fmla="*/ 29 w 59"/>
                  <a:gd name="T7" fmla="*/ 57 h 57"/>
                  <a:gd name="T8" fmla="*/ 29 w 59"/>
                  <a:gd name="T9" fmla="*/ 57 h 57"/>
                  <a:gd name="T10" fmla="*/ 36 w 59"/>
                  <a:gd name="T11" fmla="*/ 57 h 57"/>
                  <a:gd name="T12" fmla="*/ 41 w 59"/>
                  <a:gd name="T13" fmla="*/ 56 h 57"/>
                  <a:gd name="T14" fmla="*/ 45 w 59"/>
                  <a:gd name="T15" fmla="*/ 53 h 57"/>
                  <a:gd name="T16" fmla="*/ 51 w 59"/>
                  <a:gd name="T17" fmla="*/ 49 h 57"/>
                  <a:gd name="T18" fmla="*/ 53 w 59"/>
                  <a:gd name="T19" fmla="*/ 45 h 57"/>
                  <a:gd name="T20" fmla="*/ 56 w 59"/>
                  <a:gd name="T21" fmla="*/ 40 h 57"/>
                  <a:gd name="T22" fmla="*/ 57 w 59"/>
                  <a:gd name="T23" fmla="*/ 34 h 57"/>
                  <a:gd name="T24" fmla="*/ 59 w 59"/>
                  <a:gd name="T25" fmla="*/ 29 h 57"/>
                  <a:gd name="T26" fmla="*/ 59 w 59"/>
                  <a:gd name="T27" fmla="*/ 29 h 57"/>
                  <a:gd name="T28" fmla="*/ 59 w 59"/>
                  <a:gd name="T29" fmla="*/ 29 h 57"/>
                  <a:gd name="T30" fmla="*/ 59 w 59"/>
                  <a:gd name="T31" fmla="*/ 28 h 57"/>
                  <a:gd name="T32" fmla="*/ 59 w 59"/>
                  <a:gd name="T33" fmla="*/ 28 h 57"/>
                  <a:gd name="T34" fmla="*/ 59 w 59"/>
                  <a:gd name="T35" fmla="*/ 28 h 57"/>
                  <a:gd name="T36" fmla="*/ 57 w 59"/>
                  <a:gd name="T37" fmla="*/ 22 h 57"/>
                  <a:gd name="T38" fmla="*/ 56 w 59"/>
                  <a:gd name="T39" fmla="*/ 17 h 57"/>
                  <a:gd name="T40" fmla="*/ 53 w 59"/>
                  <a:gd name="T41" fmla="*/ 12 h 57"/>
                  <a:gd name="T42" fmla="*/ 51 w 59"/>
                  <a:gd name="T43" fmla="*/ 8 h 57"/>
                  <a:gd name="T44" fmla="*/ 45 w 59"/>
                  <a:gd name="T45" fmla="*/ 4 h 57"/>
                  <a:gd name="T46" fmla="*/ 41 w 59"/>
                  <a:gd name="T47" fmla="*/ 1 h 57"/>
                  <a:gd name="T48" fmla="*/ 36 w 59"/>
                  <a:gd name="T49" fmla="*/ 0 h 57"/>
                  <a:gd name="T50" fmla="*/ 29 w 59"/>
                  <a:gd name="T51" fmla="*/ 0 h 57"/>
                  <a:gd name="T52" fmla="*/ 29 w 59"/>
                  <a:gd name="T53" fmla="*/ 0 h 57"/>
                  <a:gd name="T54" fmla="*/ 29 w 59"/>
                  <a:gd name="T55" fmla="*/ 0 h 57"/>
                  <a:gd name="T56" fmla="*/ 24 w 59"/>
                  <a:gd name="T57" fmla="*/ 0 h 57"/>
                  <a:gd name="T58" fmla="*/ 18 w 59"/>
                  <a:gd name="T59" fmla="*/ 1 h 57"/>
                  <a:gd name="T60" fmla="*/ 13 w 59"/>
                  <a:gd name="T61" fmla="*/ 4 h 57"/>
                  <a:gd name="T62" fmla="*/ 9 w 59"/>
                  <a:gd name="T63" fmla="*/ 8 h 57"/>
                  <a:gd name="T64" fmla="*/ 5 w 59"/>
                  <a:gd name="T65" fmla="*/ 12 h 57"/>
                  <a:gd name="T66" fmla="*/ 2 w 59"/>
                  <a:gd name="T67" fmla="*/ 17 h 57"/>
                  <a:gd name="T68" fmla="*/ 1 w 59"/>
                  <a:gd name="T69" fmla="*/ 22 h 57"/>
                  <a:gd name="T70" fmla="*/ 0 w 59"/>
                  <a:gd name="T71" fmla="*/ 28 h 57"/>
                  <a:gd name="T72" fmla="*/ 0 w 59"/>
                  <a:gd name="T73" fmla="*/ 28 h 57"/>
                  <a:gd name="T74" fmla="*/ 0 w 59"/>
                  <a:gd name="T75" fmla="*/ 29 h 57"/>
                  <a:gd name="T76" fmla="*/ 0 w 59"/>
                  <a:gd name="T77" fmla="*/ 29 h 57"/>
                  <a:gd name="T78" fmla="*/ 0 w 59"/>
                  <a:gd name="T79" fmla="*/ 29 h 57"/>
                  <a:gd name="T80" fmla="*/ 1 w 59"/>
                  <a:gd name="T81" fmla="*/ 34 h 57"/>
                  <a:gd name="T82" fmla="*/ 2 w 59"/>
                  <a:gd name="T83" fmla="*/ 40 h 57"/>
                  <a:gd name="T84" fmla="*/ 5 w 59"/>
                  <a:gd name="T85" fmla="*/ 45 h 57"/>
                  <a:gd name="T86" fmla="*/ 9 w 59"/>
                  <a:gd name="T87" fmla="*/ 49 h 57"/>
                  <a:gd name="T88" fmla="*/ 13 w 59"/>
                  <a:gd name="T89" fmla="*/ 53 h 57"/>
                  <a:gd name="T90" fmla="*/ 18 w 59"/>
                  <a:gd name="T91" fmla="*/ 56 h 57"/>
                  <a:gd name="T92" fmla="*/ 24 w 59"/>
                  <a:gd name="T93" fmla="*/ 57 h 57"/>
                  <a:gd name="T94" fmla="*/ 29 w 59"/>
                  <a:gd name="T95" fmla="*/ 57 h 57"/>
                  <a:gd name="T96" fmla="*/ 29 w 59"/>
                  <a:gd name="T97" fmla="*/ 57 h 57"/>
                  <a:gd name="T98" fmla="*/ 29 w 59"/>
                  <a:gd name="T99" fmla="*/ 57 h 57"/>
                  <a:gd name="T100" fmla="*/ 29 w 59"/>
                  <a:gd name="T10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 h="57">
                    <a:moveTo>
                      <a:pt x="29" y="57"/>
                    </a:moveTo>
                    <a:lnTo>
                      <a:pt x="29" y="57"/>
                    </a:lnTo>
                    <a:lnTo>
                      <a:pt x="29" y="57"/>
                    </a:lnTo>
                    <a:lnTo>
                      <a:pt x="29" y="57"/>
                    </a:lnTo>
                    <a:lnTo>
                      <a:pt x="29" y="57"/>
                    </a:lnTo>
                    <a:lnTo>
                      <a:pt x="36" y="57"/>
                    </a:lnTo>
                    <a:lnTo>
                      <a:pt x="41" y="56"/>
                    </a:lnTo>
                    <a:lnTo>
                      <a:pt x="45" y="53"/>
                    </a:lnTo>
                    <a:lnTo>
                      <a:pt x="51" y="49"/>
                    </a:lnTo>
                    <a:lnTo>
                      <a:pt x="53" y="45"/>
                    </a:lnTo>
                    <a:lnTo>
                      <a:pt x="56" y="40"/>
                    </a:lnTo>
                    <a:lnTo>
                      <a:pt x="57" y="34"/>
                    </a:lnTo>
                    <a:lnTo>
                      <a:pt x="59" y="29"/>
                    </a:lnTo>
                    <a:lnTo>
                      <a:pt x="59" y="29"/>
                    </a:lnTo>
                    <a:lnTo>
                      <a:pt x="59" y="29"/>
                    </a:lnTo>
                    <a:lnTo>
                      <a:pt x="59" y="28"/>
                    </a:lnTo>
                    <a:lnTo>
                      <a:pt x="59" y="28"/>
                    </a:lnTo>
                    <a:lnTo>
                      <a:pt x="59" y="28"/>
                    </a:lnTo>
                    <a:lnTo>
                      <a:pt x="57" y="22"/>
                    </a:lnTo>
                    <a:lnTo>
                      <a:pt x="56" y="17"/>
                    </a:lnTo>
                    <a:lnTo>
                      <a:pt x="53" y="12"/>
                    </a:lnTo>
                    <a:lnTo>
                      <a:pt x="51" y="8"/>
                    </a:lnTo>
                    <a:lnTo>
                      <a:pt x="45" y="4"/>
                    </a:lnTo>
                    <a:lnTo>
                      <a:pt x="41" y="1"/>
                    </a:lnTo>
                    <a:lnTo>
                      <a:pt x="36" y="0"/>
                    </a:lnTo>
                    <a:lnTo>
                      <a:pt x="29" y="0"/>
                    </a:lnTo>
                    <a:lnTo>
                      <a:pt x="29" y="0"/>
                    </a:lnTo>
                    <a:lnTo>
                      <a:pt x="29" y="0"/>
                    </a:lnTo>
                    <a:lnTo>
                      <a:pt x="24" y="0"/>
                    </a:lnTo>
                    <a:lnTo>
                      <a:pt x="18" y="1"/>
                    </a:lnTo>
                    <a:lnTo>
                      <a:pt x="13" y="4"/>
                    </a:lnTo>
                    <a:lnTo>
                      <a:pt x="9" y="8"/>
                    </a:lnTo>
                    <a:lnTo>
                      <a:pt x="5" y="12"/>
                    </a:lnTo>
                    <a:lnTo>
                      <a:pt x="2" y="17"/>
                    </a:lnTo>
                    <a:lnTo>
                      <a:pt x="1" y="22"/>
                    </a:lnTo>
                    <a:lnTo>
                      <a:pt x="0" y="28"/>
                    </a:lnTo>
                    <a:lnTo>
                      <a:pt x="0" y="28"/>
                    </a:lnTo>
                    <a:lnTo>
                      <a:pt x="0" y="29"/>
                    </a:lnTo>
                    <a:lnTo>
                      <a:pt x="0" y="29"/>
                    </a:lnTo>
                    <a:lnTo>
                      <a:pt x="0" y="29"/>
                    </a:lnTo>
                    <a:lnTo>
                      <a:pt x="1" y="34"/>
                    </a:lnTo>
                    <a:lnTo>
                      <a:pt x="2" y="40"/>
                    </a:lnTo>
                    <a:lnTo>
                      <a:pt x="5" y="45"/>
                    </a:lnTo>
                    <a:lnTo>
                      <a:pt x="9" y="49"/>
                    </a:lnTo>
                    <a:lnTo>
                      <a:pt x="13" y="53"/>
                    </a:lnTo>
                    <a:lnTo>
                      <a:pt x="18" y="56"/>
                    </a:lnTo>
                    <a:lnTo>
                      <a:pt x="24" y="57"/>
                    </a:lnTo>
                    <a:lnTo>
                      <a:pt x="29" y="57"/>
                    </a:lnTo>
                    <a:lnTo>
                      <a:pt x="29" y="57"/>
                    </a:lnTo>
                    <a:lnTo>
                      <a:pt x="29" y="57"/>
                    </a:lnTo>
                    <a:lnTo>
                      <a:pt x="29" y="57"/>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76" name="Freeform 217"/>
              <p:cNvSpPr>
                <a:spLocks/>
              </p:cNvSpPr>
              <p:nvPr/>
            </p:nvSpPr>
            <p:spPr bwMode="auto">
              <a:xfrm>
                <a:off x="1676826" y="4834715"/>
                <a:ext cx="80767" cy="84611"/>
              </a:xfrm>
              <a:custGeom>
                <a:avLst/>
                <a:gdLst>
                  <a:gd name="T0" fmla="*/ 36 w 63"/>
                  <a:gd name="T1" fmla="*/ 65 h 65"/>
                  <a:gd name="T2" fmla="*/ 63 w 63"/>
                  <a:gd name="T3" fmla="*/ 48 h 65"/>
                  <a:gd name="T4" fmla="*/ 63 w 63"/>
                  <a:gd name="T5" fmla="*/ 48 h 65"/>
                  <a:gd name="T6" fmla="*/ 54 w 63"/>
                  <a:gd name="T7" fmla="*/ 35 h 65"/>
                  <a:gd name="T8" fmla="*/ 43 w 63"/>
                  <a:gd name="T9" fmla="*/ 22 h 65"/>
                  <a:gd name="T10" fmla="*/ 30 w 63"/>
                  <a:gd name="T11" fmla="*/ 10 h 65"/>
                  <a:gd name="T12" fmla="*/ 15 w 63"/>
                  <a:gd name="T13" fmla="*/ 0 h 65"/>
                  <a:gd name="T14" fmla="*/ 0 w 63"/>
                  <a:gd name="T15" fmla="*/ 28 h 65"/>
                  <a:gd name="T16" fmla="*/ 0 w 63"/>
                  <a:gd name="T17" fmla="*/ 28 h 65"/>
                  <a:gd name="T18" fmla="*/ 11 w 63"/>
                  <a:gd name="T19" fmla="*/ 35 h 65"/>
                  <a:gd name="T20" fmla="*/ 20 w 63"/>
                  <a:gd name="T21" fmla="*/ 44 h 65"/>
                  <a:gd name="T22" fmla="*/ 30 w 63"/>
                  <a:gd name="T23" fmla="*/ 54 h 65"/>
                  <a:gd name="T24" fmla="*/ 36 w 63"/>
                  <a:gd name="T25" fmla="*/ 65 h 65"/>
                  <a:gd name="T26" fmla="*/ 36 w 63"/>
                  <a:gd name="T2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5">
                    <a:moveTo>
                      <a:pt x="36" y="65"/>
                    </a:moveTo>
                    <a:lnTo>
                      <a:pt x="63" y="48"/>
                    </a:lnTo>
                    <a:lnTo>
                      <a:pt x="63" y="48"/>
                    </a:lnTo>
                    <a:lnTo>
                      <a:pt x="54" y="35"/>
                    </a:lnTo>
                    <a:lnTo>
                      <a:pt x="43" y="22"/>
                    </a:lnTo>
                    <a:lnTo>
                      <a:pt x="30" y="10"/>
                    </a:lnTo>
                    <a:lnTo>
                      <a:pt x="15" y="0"/>
                    </a:lnTo>
                    <a:lnTo>
                      <a:pt x="0" y="28"/>
                    </a:lnTo>
                    <a:lnTo>
                      <a:pt x="0" y="28"/>
                    </a:lnTo>
                    <a:lnTo>
                      <a:pt x="11" y="35"/>
                    </a:lnTo>
                    <a:lnTo>
                      <a:pt x="20" y="44"/>
                    </a:lnTo>
                    <a:lnTo>
                      <a:pt x="30" y="54"/>
                    </a:lnTo>
                    <a:lnTo>
                      <a:pt x="36" y="65"/>
                    </a:lnTo>
                    <a:lnTo>
                      <a:pt x="36" y="65"/>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7" name="Freeform 239"/>
              <p:cNvSpPr>
                <a:spLocks/>
              </p:cNvSpPr>
              <p:nvPr/>
            </p:nvSpPr>
            <p:spPr bwMode="auto">
              <a:xfrm>
                <a:off x="2734471" y="4773179"/>
                <a:ext cx="330755" cy="330755"/>
              </a:xfrm>
              <a:custGeom>
                <a:avLst/>
                <a:gdLst>
                  <a:gd name="T0" fmla="*/ 128 w 258"/>
                  <a:gd name="T1" fmla="*/ 258 h 258"/>
                  <a:gd name="T2" fmla="*/ 128 w 258"/>
                  <a:gd name="T3" fmla="*/ 258 h 258"/>
                  <a:gd name="T4" fmla="*/ 128 w 258"/>
                  <a:gd name="T5" fmla="*/ 258 h 258"/>
                  <a:gd name="T6" fmla="*/ 103 w 258"/>
                  <a:gd name="T7" fmla="*/ 256 h 258"/>
                  <a:gd name="T8" fmla="*/ 79 w 258"/>
                  <a:gd name="T9" fmla="*/ 249 h 258"/>
                  <a:gd name="T10" fmla="*/ 56 w 258"/>
                  <a:gd name="T11" fmla="*/ 237 h 258"/>
                  <a:gd name="T12" fmla="*/ 37 w 258"/>
                  <a:gd name="T13" fmla="*/ 221 h 258"/>
                  <a:gd name="T14" fmla="*/ 21 w 258"/>
                  <a:gd name="T15" fmla="*/ 202 h 258"/>
                  <a:gd name="T16" fmla="*/ 9 w 258"/>
                  <a:gd name="T17" fmla="*/ 179 h 258"/>
                  <a:gd name="T18" fmla="*/ 3 w 258"/>
                  <a:gd name="T19" fmla="*/ 155 h 258"/>
                  <a:gd name="T20" fmla="*/ 0 w 258"/>
                  <a:gd name="T21" fmla="*/ 130 h 258"/>
                  <a:gd name="T22" fmla="*/ 0 w 258"/>
                  <a:gd name="T23" fmla="*/ 130 h 258"/>
                  <a:gd name="T24" fmla="*/ 0 w 258"/>
                  <a:gd name="T25" fmla="*/ 127 h 258"/>
                  <a:gd name="T26" fmla="*/ 0 w 258"/>
                  <a:gd name="T27" fmla="*/ 115 h 258"/>
                  <a:gd name="T28" fmla="*/ 5 w 258"/>
                  <a:gd name="T29" fmla="*/ 90 h 258"/>
                  <a:gd name="T30" fmla="*/ 16 w 258"/>
                  <a:gd name="T31" fmla="*/ 67 h 258"/>
                  <a:gd name="T32" fmla="*/ 29 w 258"/>
                  <a:gd name="T33" fmla="*/ 47 h 258"/>
                  <a:gd name="T34" fmla="*/ 47 w 258"/>
                  <a:gd name="T35" fmla="*/ 30 h 258"/>
                  <a:gd name="T36" fmla="*/ 68 w 258"/>
                  <a:gd name="T37" fmla="*/ 15 h 258"/>
                  <a:gd name="T38" fmla="*/ 91 w 258"/>
                  <a:gd name="T39" fmla="*/ 6 h 258"/>
                  <a:gd name="T40" fmla="*/ 116 w 258"/>
                  <a:gd name="T41" fmla="*/ 0 h 258"/>
                  <a:gd name="T42" fmla="*/ 128 w 258"/>
                  <a:gd name="T43" fmla="*/ 0 h 258"/>
                  <a:gd name="T44" fmla="*/ 142 w 258"/>
                  <a:gd name="T45" fmla="*/ 0 h 258"/>
                  <a:gd name="T46" fmla="*/ 167 w 258"/>
                  <a:gd name="T47" fmla="*/ 6 h 258"/>
                  <a:gd name="T48" fmla="*/ 190 w 258"/>
                  <a:gd name="T49" fmla="*/ 15 h 258"/>
                  <a:gd name="T50" fmla="*/ 211 w 258"/>
                  <a:gd name="T51" fmla="*/ 30 h 258"/>
                  <a:gd name="T52" fmla="*/ 228 w 258"/>
                  <a:gd name="T53" fmla="*/ 47 h 258"/>
                  <a:gd name="T54" fmla="*/ 242 w 258"/>
                  <a:gd name="T55" fmla="*/ 67 h 258"/>
                  <a:gd name="T56" fmla="*/ 252 w 258"/>
                  <a:gd name="T57" fmla="*/ 91 h 258"/>
                  <a:gd name="T58" fmla="*/ 258 w 258"/>
                  <a:gd name="T59" fmla="*/ 117 h 258"/>
                  <a:gd name="T60" fmla="*/ 258 w 258"/>
                  <a:gd name="T61" fmla="*/ 129 h 258"/>
                  <a:gd name="T62" fmla="*/ 258 w 258"/>
                  <a:gd name="T63" fmla="*/ 130 h 258"/>
                  <a:gd name="T64" fmla="*/ 258 w 258"/>
                  <a:gd name="T65" fmla="*/ 130 h 258"/>
                  <a:gd name="T66" fmla="*/ 255 w 258"/>
                  <a:gd name="T67" fmla="*/ 155 h 258"/>
                  <a:gd name="T68" fmla="*/ 247 w 258"/>
                  <a:gd name="T69" fmla="*/ 179 h 258"/>
                  <a:gd name="T70" fmla="*/ 235 w 258"/>
                  <a:gd name="T71" fmla="*/ 202 h 258"/>
                  <a:gd name="T72" fmla="*/ 220 w 258"/>
                  <a:gd name="T73" fmla="*/ 221 h 258"/>
                  <a:gd name="T74" fmla="*/ 200 w 258"/>
                  <a:gd name="T75" fmla="*/ 237 h 258"/>
                  <a:gd name="T76" fmla="*/ 179 w 258"/>
                  <a:gd name="T77" fmla="*/ 249 h 258"/>
                  <a:gd name="T78" fmla="*/ 155 w 258"/>
                  <a:gd name="T79" fmla="*/ 256 h 258"/>
                  <a:gd name="T80" fmla="*/ 128 w 258"/>
                  <a:gd name="T81" fmla="*/ 258 h 258"/>
                  <a:gd name="T82" fmla="*/ 128 w 258"/>
                  <a:gd name="T83"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8" h="258">
                    <a:moveTo>
                      <a:pt x="128" y="258"/>
                    </a:moveTo>
                    <a:lnTo>
                      <a:pt x="128" y="258"/>
                    </a:lnTo>
                    <a:lnTo>
                      <a:pt x="128" y="258"/>
                    </a:lnTo>
                    <a:lnTo>
                      <a:pt x="128" y="258"/>
                    </a:lnTo>
                    <a:lnTo>
                      <a:pt x="128" y="258"/>
                    </a:lnTo>
                    <a:lnTo>
                      <a:pt x="128" y="258"/>
                    </a:lnTo>
                    <a:lnTo>
                      <a:pt x="115" y="258"/>
                    </a:lnTo>
                    <a:lnTo>
                      <a:pt x="103" y="256"/>
                    </a:lnTo>
                    <a:lnTo>
                      <a:pt x="89" y="253"/>
                    </a:lnTo>
                    <a:lnTo>
                      <a:pt x="79" y="249"/>
                    </a:lnTo>
                    <a:lnTo>
                      <a:pt x="67" y="242"/>
                    </a:lnTo>
                    <a:lnTo>
                      <a:pt x="56" y="237"/>
                    </a:lnTo>
                    <a:lnTo>
                      <a:pt x="47" y="229"/>
                    </a:lnTo>
                    <a:lnTo>
                      <a:pt x="37" y="221"/>
                    </a:lnTo>
                    <a:lnTo>
                      <a:pt x="29" y="211"/>
                    </a:lnTo>
                    <a:lnTo>
                      <a:pt x="21" y="202"/>
                    </a:lnTo>
                    <a:lnTo>
                      <a:pt x="15" y="191"/>
                    </a:lnTo>
                    <a:lnTo>
                      <a:pt x="9" y="179"/>
                    </a:lnTo>
                    <a:lnTo>
                      <a:pt x="5" y="167"/>
                    </a:lnTo>
                    <a:lnTo>
                      <a:pt x="3" y="155"/>
                    </a:lnTo>
                    <a:lnTo>
                      <a:pt x="0" y="142"/>
                    </a:lnTo>
                    <a:lnTo>
                      <a:pt x="0" y="130"/>
                    </a:lnTo>
                    <a:lnTo>
                      <a:pt x="0" y="130"/>
                    </a:lnTo>
                    <a:lnTo>
                      <a:pt x="0" y="130"/>
                    </a:lnTo>
                    <a:lnTo>
                      <a:pt x="0" y="127"/>
                    </a:lnTo>
                    <a:lnTo>
                      <a:pt x="0" y="127"/>
                    </a:lnTo>
                    <a:lnTo>
                      <a:pt x="0" y="127"/>
                    </a:lnTo>
                    <a:lnTo>
                      <a:pt x="0" y="115"/>
                    </a:lnTo>
                    <a:lnTo>
                      <a:pt x="3" y="102"/>
                    </a:lnTo>
                    <a:lnTo>
                      <a:pt x="5" y="90"/>
                    </a:lnTo>
                    <a:lnTo>
                      <a:pt x="11" y="78"/>
                    </a:lnTo>
                    <a:lnTo>
                      <a:pt x="16" y="67"/>
                    </a:lnTo>
                    <a:lnTo>
                      <a:pt x="23" y="56"/>
                    </a:lnTo>
                    <a:lnTo>
                      <a:pt x="29" y="47"/>
                    </a:lnTo>
                    <a:lnTo>
                      <a:pt x="37" y="38"/>
                    </a:lnTo>
                    <a:lnTo>
                      <a:pt x="47" y="30"/>
                    </a:lnTo>
                    <a:lnTo>
                      <a:pt x="57" y="22"/>
                    </a:lnTo>
                    <a:lnTo>
                      <a:pt x="68" y="15"/>
                    </a:lnTo>
                    <a:lnTo>
                      <a:pt x="79" y="10"/>
                    </a:lnTo>
                    <a:lnTo>
                      <a:pt x="91" y="6"/>
                    </a:lnTo>
                    <a:lnTo>
                      <a:pt x="103" y="3"/>
                    </a:lnTo>
                    <a:lnTo>
                      <a:pt x="116" y="0"/>
                    </a:lnTo>
                    <a:lnTo>
                      <a:pt x="128" y="0"/>
                    </a:lnTo>
                    <a:lnTo>
                      <a:pt x="128" y="0"/>
                    </a:lnTo>
                    <a:lnTo>
                      <a:pt x="128" y="0"/>
                    </a:lnTo>
                    <a:lnTo>
                      <a:pt x="142" y="0"/>
                    </a:lnTo>
                    <a:lnTo>
                      <a:pt x="155" y="3"/>
                    </a:lnTo>
                    <a:lnTo>
                      <a:pt x="167" y="6"/>
                    </a:lnTo>
                    <a:lnTo>
                      <a:pt x="179" y="10"/>
                    </a:lnTo>
                    <a:lnTo>
                      <a:pt x="190" y="15"/>
                    </a:lnTo>
                    <a:lnTo>
                      <a:pt x="200" y="22"/>
                    </a:lnTo>
                    <a:lnTo>
                      <a:pt x="211" y="30"/>
                    </a:lnTo>
                    <a:lnTo>
                      <a:pt x="220" y="38"/>
                    </a:lnTo>
                    <a:lnTo>
                      <a:pt x="228" y="47"/>
                    </a:lnTo>
                    <a:lnTo>
                      <a:pt x="236" y="56"/>
                    </a:lnTo>
                    <a:lnTo>
                      <a:pt x="242" y="67"/>
                    </a:lnTo>
                    <a:lnTo>
                      <a:pt x="247" y="79"/>
                    </a:lnTo>
                    <a:lnTo>
                      <a:pt x="252" y="91"/>
                    </a:lnTo>
                    <a:lnTo>
                      <a:pt x="255" y="103"/>
                    </a:lnTo>
                    <a:lnTo>
                      <a:pt x="258" y="117"/>
                    </a:lnTo>
                    <a:lnTo>
                      <a:pt x="258" y="129"/>
                    </a:lnTo>
                    <a:lnTo>
                      <a:pt x="258" y="129"/>
                    </a:lnTo>
                    <a:lnTo>
                      <a:pt x="258" y="129"/>
                    </a:lnTo>
                    <a:lnTo>
                      <a:pt x="258" y="130"/>
                    </a:lnTo>
                    <a:lnTo>
                      <a:pt x="258" y="130"/>
                    </a:lnTo>
                    <a:lnTo>
                      <a:pt x="258" y="130"/>
                    </a:lnTo>
                    <a:lnTo>
                      <a:pt x="258" y="143"/>
                    </a:lnTo>
                    <a:lnTo>
                      <a:pt x="255" y="155"/>
                    </a:lnTo>
                    <a:lnTo>
                      <a:pt x="252" y="167"/>
                    </a:lnTo>
                    <a:lnTo>
                      <a:pt x="247" y="179"/>
                    </a:lnTo>
                    <a:lnTo>
                      <a:pt x="242" y="191"/>
                    </a:lnTo>
                    <a:lnTo>
                      <a:pt x="235" y="202"/>
                    </a:lnTo>
                    <a:lnTo>
                      <a:pt x="228" y="211"/>
                    </a:lnTo>
                    <a:lnTo>
                      <a:pt x="220" y="221"/>
                    </a:lnTo>
                    <a:lnTo>
                      <a:pt x="211" y="229"/>
                    </a:lnTo>
                    <a:lnTo>
                      <a:pt x="200" y="237"/>
                    </a:lnTo>
                    <a:lnTo>
                      <a:pt x="190" y="244"/>
                    </a:lnTo>
                    <a:lnTo>
                      <a:pt x="179" y="249"/>
                    </a:lnTo>
                    <a:lnTo>
                      <a:pt x="167" y="253"/>
                    </a:lnTo>
                    <a:lnTo>
                      <a:pt x="155" y="256"/>
                    </a:lnTo>
                    <a:lnTo>
                      <a:pt x="142" y="258"/>
                    </a:lnTo>
                    <a:lnTo>
                      <a:pt x="128" y="258"/>
                    </a:lnTo>
                    <a:lnTo>
                      <a:pt x="128" y="258"/>
                    </a:lnTo>
                    <a:lnTo>
                      <a:pt x="128" y="2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8" name="Freeform 240"/>
              <p:cNvSpPr>
                <a:spLocks/>
              </p:cNvSpPr>
              <p:nvPr/>
            </p:nvSpPr>
            <p:spPr bwMode="auto">
              <a:xfrm>
                <a:off x="2803699" y="4846254"/>
                <a:ext cx="188455" cy="188455"/>
              </a:xfrm>
              <a:custGeom>
                <a:avLst/>
                <a:gdLst>
                  <a:gd name="T0" fmla="*/ 124 w 148"/>
                  <a:gd name="T1" fmla="*/ 67 h 148"/>
                  <a:gd name="T2" fmla="*/ 120 w 148"/>
                  <a:gd name="T3" fmla="*/ 62 h 148"/>
                  <a:gd name="T4" fmla="*/ 120 w 148"/>
                  <a:gd name="T5" fmla="*/ 62 h 148"/>
                  <a:gd name="T6" fmla="*/ 113 w 148"/>
                  <a:gd name="T7" fmla="*/ 51 h 148"/>
                  <a:gd name="T8" fmla="*/ 105 w 148"/>
                  <a:gd name="T9" fmla="*/ 41 h 148"/>
                  <a:gd name="T10" fmla="*/ 96 w 148"/>
                  <a:gd name="T11" fmla="*/ 33 h 148"/>
                  <a:gd name="T12" fmla="*/ 85 w 148"/>
                  <a:gd name="T13" fmla="*/ 27 h 148"/>
                  <a:gd name="T14" fmla="*/ 80 w 148"/>
                  <a:gd name="T15" fmla="*/ 23 h 148"/>
                  <a:gd name="T16" fmla="*/ 92 w 148"/>
                  <a:gd name="T17" fmla="*/ 3 h 148"/>
                  <a:gd name="T18" fmla="*/ 92 w 148"/>
                  <a:gd name="T19" fmla="*/ 3 h 148"/>
                  <a:gd name="T20" fmla="*/ 83 w 148"/>
                  <a:gd name="T21" fmla="*/ 1 h 148"/>
                  <a:gd name="T22" fmla="*/ 73 w 148"/>
                  <a:gd name="T23" fmla="*/ 0 h 148"/>
                  <a:gd name="T24" fmla="*/ 73 w 148"/>
                  <a:gd name="T25" fmla="*/ 0 h 148"/>
                  <a:gd name="T26" fmla="*/ 58 w 148"/>
                  <a:gd name="T27" fmla="*/ 1 h 148"/>
                  <a:gd name="T28" fmla="*/ 45 w 148"/>
                  <a:gd name="T29" fmla="*/ 7 h 148"/>
                  <a:gd name="T30" fmla="*/ 33 w 148"/>
                  <a:gd name="T31" fmla="*/ 13 h 148"/>
                  <a:gd name="T32" fmla="*/ 21 w 148"/>
                  <a:gd name="T33" fmla="*/ 21 h 148"/>
                  <a:gd name="T34" fmla="*/ 13 w 148"/>
                  <a:gd name="T35" fmla="*/ 33 h 148"/>
                  <a:gd name="T36" fmla="*/ 6 w 148"/>
                  <a:gd name="T37" fmla="*/ 46 h 148"/>
                  <a:gd name="T38" fmla="*/ 1 w 148"/>
                  <a:gd name="T39" fmla="*/ 59 h 148"/>
                  <a:gd name="T40" fmla="*/ 0 w 148"/>
                  <a:gd name="T41" fmla="*/ 74 h 148"/>
                  <a:gd name="T42" fmla="*/ 0 w 148"/>
                  <a:gd name="T43" fmla="*/ 74 h 148"/>
                  <a:gd name="T44" fmla="*/ 1 w 148"/>
                  <a:gd name="T45" fmla="*/ 90 h 148"/>
                  <a:gd name="T46" fmla="*/ 6 w 148"/>
                  <a:gd name="T47" fmla="*/ 103 h 148"/>
                  <a:gd name="T48" fmla="*/ 13 w 148"/>
                  <a:gd name="T49" fmla="*/ 115 h 148"/>
                  <a:gd name="T50" fmla="*/ 21 w 148"/>
                  <a:gd name="T51" fmla="*/ 127 h 148"/>
                  <a:gd name="T52" fmla="*/ 33 w 148"/>
                  <a:gd name="T53" fmla="*/ 135 h 148"/>
                  <a:gd name="T54" fmla="*/ 45 w 148"/>
                  <a:gd name="T55" fmla="*/ 142 h 148"/>
                  <a:gd name="T56" fmla="*/ 58 w 148"/>
                  <a:gd name="T57" fmla="*/ 147 h 148"/>
                  <a:gd name="T58" fmla="*/ 73 w 148"/>
                  <a:gd name="T59" fmla="*/ 148 h 148"/>
                  <a:gd name="T60" fmla="*/ 73 w 148"/>
                  <a:gd name="T61" fmla="*/ 148 h 148"/>
                  <a:gd name="T62" fmla="*/ 89 w 148"/>
                  <a:gd name="T63" fmla="*/ 147 h 148"/>
                  <a:gd name="T64" fmla="*/ 103 w 148"/>
                  <a:gd name="T65" fmla="*/ 142 h 148"/>
                  <a:gd name="T66" fmla="*/ 115 w 148"/>
                  <a:gd name="T67" fmla="*/ 135 h 148"/>
                  <a:gd name="T68" fmla="*/ 125 w 148"/>
                  <a:gd name="T69" fmla="*/ 127 h 148"/>
                  <a:gd name="T70" fmla="*/ 135 w 148"/>
                  <a:gd name="T71" fmla="*/ 115 h 148"/>
                  <a:gd name="T72" fmla="*/ 141 w 148"/>
                  <a:gd name="T73" fmla="*/ 103 h 148"/>
                  <a:gd name="T74" fmla="*/ 145 w 148"/>
                  <a:gd name="T75" fmla="*/ 90 h 148"/>
                  <a:gd name="T76" fmla="*/ 148 w 148"/>
                  <a:gd name="T77" fmla="*/ 74 h 148"/>
                  <a:gd name="T78" fmla="*/ 148 w 148"/>
                  <a:gd name="T79" fmla="*/ 74 h 148"/>
                  <a:gd name="T80" fmla="*/ 147 w 148"/>
                  <a:gd name="T81" fmla="*/ 64 h 148"/>
                  <a:gd name="T82" fmla="*/ 144 w 148"/>
                  <a:gd name="T83" fmla="*/ 55 h 148"/>
                  <a:gd name="T84" fmla="*/ 124 w 148"/>
                  <a:gd name="T85" fmla="*/ 6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148">
                    <a:moveTo>
                      <a:pt x="124" y="67"/>
                    </a:moveTo>
                    <a:lnTo>
                      <a:pt x="120" y="62"/>
                    </a:lnTo>
                    <a:lnTo>
                      <a:pt x="120" y="62"/>
                    </a:lnTo>
                    <a:lnTo>
                      <a:pt x="113" y="51"/>
                    </a:lnTo>
                    <a:lnTo>
                      <a:pt x="105" y="41"/>
                    </a:lnTo>
                    <a:lnTo>
                      <a:pt x="96" y="33"/>
                    </a:lnTo>
                    <a:lnTo>
                      <a:pt x="85" y="27"/>
                    </a:lnTo>
                    <a:lnTo>
                      <a:pt x="80" y="23"/>
                    </a:lnTo>
                    <a:lnTo>
                      <a:pt x="92" y="3"/>
                    </a:lnTo>
                    <a:lnTo>
                      <a:pt x="92" y="3"/>
                    </a:lnTo>
                    <a:lnTo>
                      <a:pt x="83" y="1"/>
                    </a:lnTo>
                    <a:lnTo>
                      <a:pt x="73" y="0"/>
                    </a:lnTo>
                    <a:lnTo>
                      <a:pt x="73" y="0"/>
                    </a:lnTo>
                    <a:lnTo>
                      <a:pt x="58" y="1"/>
                    </a:lnTo>
                    <a:lnTo>
                      <a:pt x="45" y="7"/>
                    </a:lnTo>
                    <a:lnTo>
                      <a:pt x="33" y="13"/>
                    </a:lnTo>
                    <a:lnTo>
                      <a:pt x="21" y="21"/>
                    </a:lnTo>
                    <a:lnTo>
                      <a:pt x="13" y="33"/>
                    </a:lnTo>
                    <a:lnTo>
                      <a:pt x="6" y="46"/>
                    </a:lnTo>
                    <a:lnTo>
                      <a:pt x="1" y="59"/>
                    </a:lnTo>
                    <a:lnTo>
                      <a:pt x="0" y="74"/>
                    </a:lnTo>
                    <a:lnTo>
                      <a:pt x="0" y="74"/>
                    </a:lnTo>
                    <a:lnTo>
                      <a:pt x="1" y="90"/>
                    </a:lnTo>
                    <a:lnTo>
                      <a:pt x="6" y="103"/>
                    </a:lnTo>
                    <a:lnTo>
                      <a:pt x="13" y="115"/>
                    </a:lnTo>
                    <a:lnTo>
                      <a:pt x="21" y="127"/>
                    </a:lnTo>
                    <a:lnTo>
                      <a:pt x="33" y="135"/>
                    </a:lnTo>
                    <a:lnTo>
                      <a:pt x="45" y="142"/>
                    </a:lnTo>
                    <a:lnTo>
                      <a:pt x="58" y="147"/>
                    </a:lnTo>
                    <a:lnTo>
                      <a:pt x="73" y="148"/>
                    </a:lnTo>
                    <a:lnTo>
                      <a:pt x="73" y="148"/>
                    </a:lnTo>
                    <a:lnTo>
                      <a:pt x="89" y="147"/>
                    </a:lnTo>
                    <a:lnTo>
                      <a:pt x="103" y="142"/>
                    </a:lnTo>
                    <a:lnTo>
                      <a:pt x="115" y="135"/>
                    </a:lnTo>
                    <a:lnTo>
                      <a:pt x="125" y="127"/>
                    </a:lnTo>
                    <a:lnTo>
                      <a:pt x="135" y="115"/>
                    </a:lnTo>
                    <a:lnTo>
                      <a:pt x="141" y="103"/>
                    </a:lnTo>
                    <a:lnTo>
                      <a:pt x="145" y="90"/>
                    </a:lnTo>
                    <a:lnTo>
                      <a:pt x="148" y="74"/>
                    </a:lnTo>
                    <a:lnTo>
                      <a:pt x="148" y="74"/>
                    </a:lnTo>
                    <a:lnTo>
                      <a:pt x="147" y="64"/>
                    </a:lnTo>
                    <a:lnTo>
                      <a:pt x="144" y="55"/>
                    </a:lnTo>
                    <a:lnTo>
                      <a:pt x="124" y="6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12" name="Freeform 241"/>
              <p:cNvSpPr>
                <a:spLocks/>
              </p:cNvSpPr>
              <p:nvPr/>
            </p:nvSpPr>
            <p:spPr bwMode="auto">
              <a:xfrm>
                <a:off x="2846007" y="4884714"/>
                <a:ext cx="15384" cy="15384"/>
              </a:xfrm>
              <a:custGeom>
                <a:avLst/>
                <a:gdLst>
                  <a:gd name="T0" fmla="*/ 13 w 13"/>
                  <a:gd name="T1" fmla="*/ 5 h 12"/>
                  <a:gd name="T2" fmla="*/ 13 w 13"/>
                  <a:gd name="T3" fmla="*/ 5 h 12"/>
                  <a:gd name="T4" fmla="*/ 12 w 13"/>
                  <a:gd name="T5" fmla="*/ 4 h 12"/>
                  <a:gd name="T6" fmla="*/ 10 w 13"/>
                  <a:gd name="T7" fmla="*/ 1 h 12"/>
                  <a:gd name="T8" fmla="*/ 9 w 13"/>
                  <a:gd name="T9" fmla="*/ 0 h 12"/>
                  <a:gd name="T10" fmla="*/ 6 w 13"/>
                  <a:gd name="T11" fmla="*/ 0 h 12"/>
                  <a:gd name="T12" fmla="*/ 6 w 13"/>
                  <a:gd name="T13" fmla="*/ 0 h 12"/>
                  <a:gd name="T14" fmla="*/ 4 w 13"/>
                  <a:gd name="T15" fmla="*/ 0 h 12"/>
                  <a:gd name="T16" fmla="*/ 2 w 13"/>
                  <a:gd name="T17" fmla="*/ 1 h 12"/>
                  <a:gd name="T18" fmla="*/ 1 w 13"/>
                  <a:gd name="T19" fmla="*/ 4 h 12"/>
                  <a:gd name="T20" fmla="*/ 0 w 13"/>
                  <a:gd name="T21" fmla="*/ 5 h 12"/>
                  <a:gd name="T22" fmla="*/ 0 w 13"/>
                  <a:gd name="T23" fmla="*/ 5 h 12"/>
                  <a:gd name="T24" fmla="*/ 1 w 13"/>
                  <a:gd name="T25" fmla="*/ 8 h 12"/>
                  <a:gd name="T26" fmla="*/ 2 w 13"/>
                  <a:gd name="T27" fmla="*/ 11 h 12"/>
                  <a:gd name="T28" fmla="*/ 4 w 13"/>
                  <a:gd name="T29" fmla="*/ 12 h 12"/>
                  <a:gd name="T30" fmla="*/ 6 w 13"/>
                  <a:gd name="T31" fmla="*/ 12 h 12"/>
                  <a:gd name="T32" fmla="*/ 6 w 13"/>
                  <a:gd name="T33" fmla="*/ 12 h 12"/>
                  <a:gd name="T34" fmla="*/ 9 w 13"/>
                  <a:gd name="T35" fmla="*/ 12 h 12"/>
                  <a:gd name="T36" fmla="*/ 10 w 13"/>
                  <a:gd name="T37" fmla="*/ 11 h 12"/>
                  <a:gd name="T38" fmla="*/ 12 w 13"/>
                  <a:gd name="T39" fmla="*/ 8 h 12"/>
                  <a:gd name="T40" fmla="*/ 13 w 13"/>
                  <a:gd name="T41" fmla="*/ 5 h 12"/>
                  <a:gd name="T42" fmla="*/ 13 w 13"/>
                  <a:gd name="T4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2">
                    <a:moveTo>
                      <a:pt x="13" y="5"/>
                    </a:moveTo>
                    <a:lnTo>
                      <a:pt x="13" y="5"/>
                    </a:lnTo>
                    <a:lnTo>
                      <a:pt x="12" y="4"/>
                    </a:lnTo>
                    <a:lnTo>
                      <a:pt x="10" y="1"/>
                    </a:lnTo>
                    <a:lnTo>
                      <a:pt x="9" y="0"/>
                    </a:lnTo>
                    <a:lnTo>
                      <a:pt x="6" y="0"/>
                    </a:lnTo>
                    <a:lnTo>
                      <a:pt x="6" y="0"/>
                    </a:lnTo>
                    <a:lnTo>
                      <a:pt x="4" y="0"/>
                    </a:lnTo>
                    <a:lnTo>
                      <a:pt x="2" y="1"/>
                    </a:lnTo>
                    <a:lnTo>
                      <a:pt x="1" y="4"/>
                    </a:lnTo>
                    <a:lnTo>
                      <a:pt x="0" y="5"/>
                    </a:lnTo>
                    <a:lnTo>
                      <a:pt x="0" y="5"/>
                    </a:lnTo>
                    <a:lnTo>
                      <a:pt x="1" y="8"/>
                    </a:lnTo>
                    <a:lnTo>
                      <a:pt x="2" y="11"/>
                    </a:lnTo>
                    <a:lnTo>
                      <a:pt x="4" y="12"/>
                    </a:lnTo>
                    <a:lnTo>
                      <a:pt x="6" y="12"/>
                    </a:lnTo>
                    <a:lnTo>
                      <a:pt x="6" y="12"/>
                    </a:lnTo>
                    <a:lnTo>
                      <a:pt x="9" y="12"/>
                    </a:lnTo>
                    <a:lnTo>
                      <a:pt x="10" y="11"/>
                    </a:lnTo>
                    <a:lnTo>
                      <a:pt x="12" y="8"/>
                    </a:lnTo>
                    <a:lnTo>
                      <a:pt x="13" y="5"/>
                    </a:lnTo>
                    <a:lnTo>
                      <a:pt x="13" y="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13" name="Freeform 242"/>
              <p:cNvSpPr>
                <a:spLocks/>
              </p:cNvSpPr>
              <p:nvPr/>
            </p:nvSpPr>
            <p:spPr bwMode="auto">
              <a:xfrm>
                <a:off x="2846007" y="4977017"/>
                <a:ext cx="15384" cy="15384"/>
              </a:xfrm>
              <a:custGeom>
                <a:avLst/>
                <a:gdLst>
                  <a:gd name="T0" fmla="*/ 13 w 13"/>
                  <a:gd name="T1" fmla="*/ 7 h 12"/>
                  <a:gd name="T2" fmla="*/ 13 w 13"/>
                  <a:gd name="T3" fmla="*/ 7 h 12"/>
                  <a:gd name="T4" fmla="*/ 12 w 13"/>
                  <a:gd name="T5" fmla="*/ 4 h 12"/>
                  <a:gd name="T6" fmla="*/ 10 w 13"/>
                  <a:gd name="T7" fmla="*/ 2 h 12"/>
                  <a:gd name="T8" fmla="*/ 9 w 13"/>
                  <a:gd name="T9" fmla="*/ 0 h 12"/>
                  <a:gd name="T10" fmla="*/ 6 w 13"/>
                  <a:gd name="T11" fmla="*/ 0 h 12"/>
                  <a:gd name="T12" fmla="*/ 6 w 13"/>
                  <a:gd name="T13" fmla="*/ 0 h 12"/>
                  <a:gd name="T14" fmla="*/ 4 w 13"/>
                  <a:gd name="T15" fmla="*/ 0 h 12"/>
                  <a:gd name="T16" fmla="*/ 2 w 13"/>
                  <a:gd name="T17" fmla="*/ 2 h 12"/>
                  <a:gd name="T18" fmla="*/ 1 w 13"/>
                  <a:gd name="T19" fmla="*/ 4 h 12"/>
                  <a:gd name="T20" fmla="*/ 0 w 13"/>
                  <a:gd name="T21" fmla="*/ 7 h 12"/>
                  <a:gd name="T22" fmla="*/ 0 w 13"/>
                  <a:gd name="T23" fmla="*/ 7 h 12"/>
                  <a:gd name="T24" fmla="*/ 1 w 13"/>
                  <a:gd name="T25" fmla="*/ 8 h 12"/>
                  <a:gd name="T26" fmla="*/ 2 w 13"/>
                  <a:gd name="T27" fmla="*/ 11 h 12"/>
                  <a:gd name="T28" fmla="*/ 4 w 13"/>
                  <a:gd name="T29" fmla="*/ 12 h 12"/>
                  <a:gd name="T30" fmla="*/ 6 w 13"/>
                  <a:gd name="T31" fmla="*/ 12 h 12"/>
                  <a:gd name="T32" fmla="*/ 6 w 13"/>
                  <a:gd name="T33" fmla="*/ 12 h 12"/>
                  <a:gd name="T34" fmla="*/ 9 w 13"/>
                  <a:gd name="T35" fmla="*/ 12 h 12"/>
                  <a:gd name="T36" fmla="*/ 10 w 13"/>
                  <a:gd name="T37" fmla="*/ 11 h 12"/>
                  <a:gd name="T38" fmla="*/ 12 w 13"/>
                  <a:gd name="T39" fmla="*/ 8 h 12"/>
                  <a:gd name="T40" fmla="*/ 13 w 13"/>
                  <a:gd name="T41" fmla="*/ 7 h 12"/>
                  <a:gd name="T42" fmla="*/ 13 w 13"/>
                  <a:gd name="T43"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2">
                    <a:moveTo>
                      <a:pt x="13" y="7"/>
                    </a:moveTo>
                    <a:lnTo>
                      <a:pt x="13" y="7"/>
                    </a:lnTo>
                    <a:lnTo>
                      <a:pt x="12" y="4"/>
                    </a:lnTo>
                    <a:lnTo>
                      <a:pt x="10" y="2"/>
                    </a:lnTo>
                    <a:lnTo>
                      <a:pt x="9" y="0"/>
                    </a:lnTo>
                    <a:lnTo>
                      <a:pt x="6" y="0"/>
                    </a:lnTo>
                    <a:lnTo>
                      <a:pt x="6" y="0"/>
                    </a:lnTo>
                    <a:lnTo>
                      <a:pt x="4" y="0"/>
                    </a:lnTo>
                    <a:lnTo>
                      <a:pt x="2" y="2"/>
                    </a:lnTo>
                    <a:lnTo>
                      <a:pt x="1" y="4"/>
                    </a:lnTo>
                    <a:lnTo>
                      <a:pt x="0" y="7"/>
                    </a:lnTo>
                    <a:lnTo>
                      <a:pt x="0" y="7"/>
                    </a:lnTo>
                    <a:lnTo>
                      <a:pt x="1" y="8"/>
                    </a:lnTo>
                    <a:lnTo>
                      <a:pt x="2" y="11"/>
                    </a:lnTo>
                    <a:lnTo>
                      <a:pt x="4" y="12"/>
                    </a:lnTo>
                    <a:lnTo>
                      <a:pt x="6" y="12"/>
                    </a:lnTo>
                    <a:lnTo>
                      <a:pt x="6" y="12"/>
                    </a:lnTo>
                    <a:lnTo>
                      <a:pt x="9" y="12"/>
                    </a:lnTo>
                    <a:lnTo>
                      <a:pt x="10" y="11"/>
                    </a:lnTo>
                    <a:lnTo>
                      <a:pt x="12" y="8"/>
                    </a:lnTo>
                    <a:lnTo>
                      <a:pt x="13" y="7"/>
                    </a:lnTo>
                    <a:lnTo>
                      <a:pt x="13" y="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14" name="Freeform 243"/>
              <p:cNvSpPr>
                <a:spLocks/>
              </p:cNvSpPr>
              <p:nvPr/>
            </p:nvSpPr>
            <p:spPr bwMode="auto">
              <a:xfrm>
                <a:off x="2938311" y="4977017"/>
                <a:ext cx="15384" cy="15384"/>
              </a:xfrm>
              <a:custGeom>
                <a:avLst/>
                <a:gdLst>
                  <a:gd name="T0" fmla="*/ 12 w 12"/>
                  <a:gd name="T1" fmla="*/ 7 h 12"/>
                  <a:gd name="T2" fmla="*/ 12 w 12"/>
                  <a:gd name="T3" fmla="*/ 7 h 12"/>
                  <a:gd name="T4" fmla="*/ 12 w 12"/>
                  <a:gd name="T5" fmla="*/ 4 h 12"/>
                  <a:gd name="T6" fmla="*/ 11 w 12"/>
                  <a:gd name="T7" fmla="*/ 2 h 12"/>
                  <a:gd name="T8" fmla="*/ 8 w 12"/>
                  <a:gd name="T9" fmla="*/ 0 h 12"/>
                  <a:gd name="T10" fmla="*/ 5 w 12"/>
                  <a:gd name="T11" fmla="*/ 0 h 12"/>
                  <a:gd name="T12" fmla="*/ 5 w 12"/>
                  <a:gd name="T13" fmla="*/ 0 h 12"/>
                  <a:gd name="T14" fmla="*/ 4 w 12"/>
                  <a:gd name="T15" fmla="*/ 0 h 12"/>
                  <a:gd name="T16" fmla="*/ 1 w 12"/>
                  <a:gd name="T17" fmla="*/ 2 h 12"/>
                  <a:gd name="T18" fmla="*/ 0 w 12"/>
                  <a:gd name="T19" fmla="*/ 4 h 12"/>
                  <a:gd name="T20" fmla="*/ 0 w 12"/>
                  <a:gd name="T21" fmla="*/ 7 h 12"/>
                  <a:gd name="T22" fmla="*/ 0 w 12"/>
                  <a:gd name="T23" fmla="*/ 7 h 12"/>
                  <a:gd name="T24" fmla="*/ 0 w 12"/>
                  <a:gd name="T25" fmla="*/ 8 h 12"/>
                  <a:gd name="T26" fmla="*/ 1 w 12"/>
                  <a:gd name="T27" fmla="*/ 11 h 12"/>
                  <a:gd name="T28" fmla="*/ 4 w 12"/>
                  <a:gd name="T29" fmla="*/ 12 h 12"/>
                  <a:gd name="T30" fmla="*/ 5 w 12"/>
                  <a:gd name="T31" fmla="*/ 12 h 12"/>
                  <a:gd name="T32" fmla="*/ 5 w 12"/>
                  <a:gd name="T33" fmla="*/ 12 h 12"/>
                  <a:gd name="T34" fmla="*/ 8 w 12"/>
                  <a:gd name="T35" fmla="*/ 12 h 12"/>
                  <a:gd name="T36" fmla="*/ 11 w 12"/>
                  <a:gd name="T37" fmla="*/ 11 h 12"/>
                  <a:gd name="T38" fmla="*/ 12 w 12"/>
                  <a:gd name="T39" fmla="*/ 8 h 12"/>
                  <a:gd name="T40" fmla="*/ 12 w 12"/>
                  <a:gd name="T41" fmla="*/ 7 h 12"/>
                  <a:gd name="T42" fmla="*/ 12 w 12"/>
                  <a:gd name="T43"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 h="12">
                    <a:moveTo>
                      <a:pt x="12" y="7"/>
                    </a:moveTo>
                    <a:lnTo>
                      <a:pt x="12" y="7"/>
                    </a:lnTo>
                    <a:lnTo>
                      <a:pt x="12" y="4"/>
                    </a:lnTo>
                    <a:lnTo>
                      <a:pt x="11" y="2"/>
                    </a:lnTo>
                    <a:lnTo>
                      <a:pt x="8" y="0"/>
                    </a:lnTo>
                    <a:lnTo>
                      <a:pt x="5" y="0"/>
                    </a:lnTo>
                    <a:lnTo>
                      <a:pt x="5" y="0"/>
                    </a:lnTo>
                    <a:lnTo>
                      <a:pt x="4" y="0"/>
                    </a:lnTo>
                    <a:lnTo>
                      <a:pt x="1" y="2"/>
                    </a:lnTo>
                    <a:lnTo>
                      <a:pt x="0" y="4"/>
                    </a:lnTo>
                    <a:lnTo>
                      <a:pt x="0" y="7"/>
                    </a:lnTo>
                    <a:lnTo>
                      <a:pt x="0" y="7"/>
                    </a:lnTo>
                    <a:lnTo>
                      <a:pt x="0" y="8"/>
                    </a:lnTo>
                    <a:lnTo>
                      <a:pt x="1" y="11"/>
                    </a:lnTo>
                    <a:lnTo>
                      <a:pt x="4" y="12"/>
                    </a:lnTo>
                    <a:lnTo>
                      <a:pt x="5" y="12"/>
                    </a:lnTo>
                    <a:lnTo>
                      <a:pt x="5" y="12"/>
                    </a:lnTo>
                    <a:lnTo>
                      <a:pt x="8" y="12"/>
                    </a:lnTo>
                    <a:lnTo>
                      <a:pt x="11" y="11"/>
                    </a:lnTo>
                    <a:lnTo>
                      <a:pt x="12" y="8"/>
                    </a:lnTo>
                    <a:lnTo>
                      <a:pt x="12" y="7"/>
                    </a:lnTo>
                    <a:lnTo>
                      <a:pt x="12" y="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15" name="Freeform 244"/>
              <p:cNvSpPr>
                <a:spLocks/>
              </p:cNvSpPr>
              <p:nvPr/>
            </p:nvSpPr>
            <p:spPr bwMode="auto">
              <a:xfrm>
                <a:off x="2861390" y="4903942"/>
                <a:ext cx="73075" cy="73075"/>
              </a:xfrm>
              <a:custGeom>
                <a:avLst/>
                <a:gdLst>
                  <a:gd name="T0" fmla="*/ 28 w 58"/>
                  <a:gd name="T1" fmla="*/ 57 h 57"/>
                  <a:gd name="T2" fmla="*/ 28 w 58"/>
                  <a:gd name="T3" fmla="*/ 57 h 57"/>
                  <a:gd name="T4" fmla="*/ 28 w 58"/>
                  <a:gd name="T5" fmla="*/ 57 h 57"/>
                  <a:gd name="T6" fmla="*/ 28 w 58"/>
                  <a:gd name="T7" fmla="*/ 57 h 57"/>
                  <a:gd name="T8" fmla="*/ 28 w 58"/>
                  <a:gd name="T9" fmla="*/ 57 h 57"/>
                  <a:gd name="T10" fmla="*/ 35 w 58"/>
                  <a:gd name="T11" fmla="*/ 57 h 57"/>
                  <a:gd name="T12" fmla="*/ 40 w 58"/>
                  <a:gd name="T13" fmla="*/ 56 h 57"/>
                  <a:gd name="T14" fmla="*/ 46 w 58"/>
                  <a:gd name="T15" fmla="*/ 53 h 57"/>
                  <a:gd name="T16" fmla="*/ 50 w 58"/>
                  <a:gd name="T17" fmla="*/ 49 h 57"/>
                  <a:gd name="T18" fmla="*/ 52 w 58"/>
                  <a:gd name="T19" fmla="*/ 45 h 57"/>
                  <a:gd name="T20" fmla="*/ 55 w 58"/>
                  <a:gd name="T21" fmla="*/ 40 h 57"/>
                  <a:gd name="T22" fmla="*/ 58 w 58"/>
                  <a:gd name="T23" fmla="*/ 34 h 57"/>
                  <a:gd name="T24" fmla="*/ 58 w 58"/>
                  <a:gd name="T25" fmla="*/ 29 h 57"/>
                  <a:gd name="T26" fmla="*/ 58 w 58"/>
                  <a:gd name="T27" fmla="*/ 29 h 57"/>
                  <a:gd name="T28" fmla="*/ 58 w 58"/>
                  <a:gd name="T29" fmla="*/ 29 h 57"/>
                  <a:gd name="T30" fmla="*/ 58 w 58"/>
                  <a:gd name="T31" fmla="*/ 28 h 57"/>
                  <a:gd name="T32" fmla="*/ 58 w 58"/>
                  <a:gd name="T33" fmla="*/ 28 h 57"/>
                  <a:gd name="T34" fmla="*/ 58 w 58"/>
                  <a:gd name="T35" fmla="*/ 28 h 57"/>
                  <a:gd name="T36" fmla="*/ 58 w 58"/>
                  <a:gd name="T37" fmla="*/ 22 h 57"/>
                  <a:gd name="T38" fmla="*/ 55 w 58"/>
                  <a:gd name="T39" fmla="*/ 17 h 57"/>
                  <a:gd name="T40" fmla="*/ 52 w 58"/>
                  <a:gd name="T41" fmla="*/ 12 h 57"/>
                  <a:gd name="T42" fmla="*/ 50 w 58"/>
                  <a:gd name="T43" fmla="*/ 8 h 57"/>
                  <a:gd name="T44" fmla="*/ 46 w 58"/>
                  <a:gd name="T45" fmla="*/ 4 h 57"/>
                  <a:gd name="T46" fmla="*/ 40 w 58"/>
                  <a:gd name="T47" fmla="*/ 1 h 57"/>
                  <a:gd name="T48" fmla="*/ 35 w 58"/>
                  <a:gd name="T49" fmla="*/ 0 h 57"/>
                  <a:gd name="T50" fmla="*/ 28 w 58"/>
                  <a:gd name="T51" fmla="*/ 0 h 57"/>
                  <a:gd name="T52" fmla="*/ 28 w 58"/>
                  <a:gd name="T53" fmla="*/ 0 h 57"/>
                  <a:gd name="T54" fmla="*/ 28 w 58"/>
                  <a:gd name="T55" fmla="*/ 0 h 57"/>
                  <a:gd name="T56" fmla="*/ 23 w 58"/>
                  <a:gd name="T57" fmla="*/ 0 h 57"/>
                  <a:gd name="T58" fmla="*/ 17 w 58"/>
                  <a:gd name="T59" fmla="*/ 1 h 57"/>
                  <a:gd name="T60" fmla="*/ 12 w 58"/>
                  <a:gd name="T61" fmla="*/ 4 h 57"/>
                  <a:gd name="T62" fmla="*/ 8 w 58"/>
                  <a:gd name="T63" fmla="*/ 8 h 57"/>
                  <a:gd name="T64" fmla="*/ 4 w 58"/>
                  <a:gd name="T65" fmla="*/ 12 h 57"/>
                  <a:gd name="T66" fmla="*/ 1 w 58"/>
                  <a:gd name="T67" fmla="*/ 17 h 57"/>
                  <a:gd name="T68" fmla="*/ 0 w 58"/>
                  <a:gd name="T69" fmla="*/ 22 h 57"/>
                  <a:gd name="T70" fmla="*/ 0 w 58"/>
                  <a:gd name="T71" fmla="*/ 28 h 57"/>
                  <a:gd name="T72" fmla="*/ 0 w 58"/>
                  <a:gd name="T73" fmla="*/ 28 h 57"/>
                  <a:gd name="T74" fmla="*/ 0 w 58"/>
                  <a:gd name="T75" fmla="*/ 29 h 57"/>
                  <a:gd name="T76" fmla="*/ 0 w 58"/>
                  <a:gd name="T77" fmla="*/ 29 h 57"/>
                  <a:gd name="T78" fmla="*/ 0 w 58"/>
                  <a:gd name="T79" fmla="*/ 29 h 57"/>
                  <a:gd name="T80" fmla="*/ 0 w 58"/>
                  <a:gd name="T81" fmla="*/ 34 h 57"/>
                  <a:gd name="T82" fmla="*/ 1 w 58"/>
                  <a:gd name="T83" fmla="*/ 40 h 57"/>
                  <a:gd name="T84" fmla="*/ 4 w 58"/>
                  <a:gd name="T85" fmla="*/ 45 h 57"/>
                  <a:gd name="T86" fmla="*/ 8 w 58"/>
                  <a:gd name="T87" fmla="*/ 49 h 57"/>
                  <a:gd name="T88" fmla="*/ 12 w 58"/>
                  <a:gd name="T89" fmla="*/ 53 h 57"/>
                  <a:gd name="T90" fmla="*/ 17 w 58"/>
                  <a:gd name="T91" fmla="*/ 56 h 57"/>
                  <a:gd name="T92" fmla="*/ 23 w 58"/>
                  <a:gd name="T93" fmla="*/ 57 h 57"/>
                  <a:gd name="T94" fmla="*/ 28 w 58"/>
                  <a:gd name="T95" fmla="*/ 57 h 57"/>
                  <a:gd name="T96" fmla="*/ 28 w 58"/>
                  <a:gd name="T97" fmla="*/ 57 h 57"/>
                  <a:gd name="T98" fmla="*/ 28 w 58"/>
                  <a:gd name="T99" fmla="*/ 57 h 57"/>
                  <a:gd name="T100" fmla="*/ 28 w 58"/>
                  <a:gd name="T10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8" h="57">
                    <a:moveTo>
                      <a:pt x="28" y="57"/>
                    </a:moveTo>
                    <a:lnTo>
                      <a:pt x="28" y="57"/>
                    </a:lnTo>
                    <a:lnTo>
                      <a:pt x="28" y="57"/>
                    </a:lnTo>
                    <a:lnTo>
                      <a:pt x="28" y="57"/>
                    </a:lnTo>
                    <a:lnTo>
                      <a:pt x="28" y="57"/>
                    </a:lnTo>
                    <a:lnTo>
                      <a:pt x="35" y="57"/>
                    </a:lnTo>
                    <a:lnTo>
                      <a:pt x="40" y="56"/>
                    </a:lnTo>
                    <a:lnTo>
                      <a:pt x="46" y="53"/>
                    </a:lnTo>
                    <a:lnTo>
                      <a:pt x="50" y="49"/>
                    </a:lnTo>
                    <a:lnTo>
                      <a:pt x="52" y="45"/>
                    </a:lnTo>
                    <a:lnTo>
                      <a:pt x="55" y="40"/>
                    </a:lnTo>
                    <a:lnTo>
                      <a:pt x="58" y="34"/>
                    </a:lnTo>
                    <a:lnTo>
                      <a:pt x="58" y="29"/>
                    </a:lnTo>
                    <a:lnTo>
                      <a:pt x="58" y="29"/>
                    </a:lnTo>
                    <a:lnTo>
                      <a:pt x="58" y="29"/>
                    </a:lnTo>
                    <a:lnTo>
                      <a:pt x="58" y="28"/>
                    </a:lnTo>
                    <a:lnTo>
                      <a:pt x="58" y="28"/>
                    </a:lnTo>
                    <a:lnTo>
                      <a:pt x="58" y="28"/>
                    </a:lnTo>
                    <a:lnTo>
                      <a:pt x="58" y="22"/>
                    </a:lnTo>
                    <a:lnTo>
                      <a:pt x="55" y="17"/>
                    </a:lnTo>
                    <a:lnTo>
                      <a:pt x="52" y="12"/>
                    </a:lnTo>
                    <a:lnTo>
                      <a:pt x="50" y="8"/>
                    </a:lnTo>
                    <a:lnTo>
                      <a:pt x="46" y="4"/>
                    </a:lnTo>
                    <a:lnTo>
                      <a:pt x="40" y="1"/>
                    </a:lnTo>
                    <a:lnTo>
                      <a:pt x="35" y="0"/>
                    </a:lnTo>
                    <a:lnTo>
                      <a:pt x="28" y="0"/>
                    </a:lnTo>
                    <a:lnTo>
                      <a:pt x="28" y="0"/>
                    </a:lnTo>
                    <a:lnTo>
                      <a:pt x="28" y="0"/>
                    </a:lnTo>
                    <a:lnTo>
                      <a:pt x="23" y="0"/>
                    </a:lnTo>
                    <a:lnTo>
                      <a:pt x="17" y="1"/>
                    </a:lnTo>
                    <a:lnTo>
                      <a:pt x="12" y="4"/>
                    </a:lnTo>
                    <a:lnTo>
                      <a:pt x="8" y="8"/>
                    </a:lnTo>
                    <a:lnTo>
                      <a:pt x="4" y="12"/>
                    </a:lnTo>
                    <a:lnTo>
                      <a:pt x="1" y="17"/>
                    </a:lnTo>
                    <a:lnTo>
                      <a:pt x="0" y="22"/>
                    </a:lnTo>
                    <a:lnTo>
                      <a:pt x="0" y="28"/>
                    </a:lnTo>
                    <a:lnTo>
                      <a:pt x="0" y="28"/>
                    </a:lnTo>
                    <a:lnTo>
                      <a:pt x="0" y="29"/>
                    </a:lnTo>
                    <a:lnTo>
                      <a:pt x="0" y="29"/>
                    </a:lnTo>
                    <a:lnTo>
                      <a:pt x="0" y="29"/>
                    </a:lnTo>
                    <a:lnTo>
                      <a:pt x="0" y="34"/>
                    </a:lnTo>
                    <a:lnTo>
                      <a:pt x="1" y="40"/>
                    </a:lnTo>
                    <a:lnTo>
                      <a:pt x="4" y="45"/>
                    </a:lnTo>
                    <a:lnTo>
                      <a:pt x="8" y="49"/>
                    </a:lnTo>
                    <a:lnTo>
                      <a:pt x="12" y="53"/>
                    </a:lnTo>
                    <a:lnTo>
                      <a:pt x="17" y="56"/>
                    </a:lnTo>
                    <a:lnTo>
                      <a:pt x="23" y="57"/>
                    </a:lnTo>
                    <a:lnTo>
                      <a:pt x="28" y="57"/>
                    </a:lnTo>
                    <a:lnTo>
                      <a:pt x="28" y="57"/>
                    </a:lnTo>
                    <a:lnTo>
                      <a:pt x="28" y="57"/>
                    </a:lnTo>
                    <a:lnTo>
                      <a:pt x="28" y="57"/>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16" name="Freeform 245"/>
              <p:cNvSpPr>
                <a:spLocks/>
              </p:cNvSpPr>
              <p:nvPr/>
            </p:nvSpPr>
            <p:spPr bwMode="auto">
              <a:xfrm>
                <a:off x="2919079" y="4834715"/>
                <a:ext cx="80767" cy="84611"/>
              </a:xfrm>
              <a:custGeom>
                <a:avLst/>
                <a:gdLst>
                  <a:gd name="T0" fmla="*/ 36 w 64"/>
                  <a:gd name="T1" fmla="*/ 65 h 65"/>
                  <a:gd name="T2" fmla="*/ 64 w 64"/>
                  <a:gd name="T3" fmla="*/ 48 h 65"/>
                  <a:gd name="T4" fmla="*/ 64 w 64"/>
                  <a:gd name="T5" fmla="*/ 48 h 65"/>
                  <a:gd name="T6" fmla="*/ 55 w 64"/>
                  <a:gd name="T7" fmla="*/ 35 h 65"/>
                  <a:gd name="T8" fmla="*/ 43 w 64"/>
                  <a:gd name="T9" fmla="*/ 22 h 65"/>
                  <a:gd name="T10" fmla="*/ 30 w 64"/>
                  <a:gd name="T11" fmla="*/ 10 h 65"/>
                  <a:gd name="T12" fmla="*/ 16 w 64"/>
                  <a:gd name="T13" fmla="*/ 0 h 65"/>
                  <a:gd name="T14" fmla="*/ 0 w 64"/>
                  <a:gd name="T15" fmla="*/ 28 h 65"/>
                  <a:gd name="T16" fmla="*/ 0 w 64"/>
                  <a:gd name="T17" fmla="*/ 28 h 65"/>
                  <a:gd name="T18" fmla="*/ 11 w 64"/>
                  <a:gd name="T19" fmla="*/ 35 h 65"/>
                  <a:gd name="T20" fmla="*/ 20 w 64"/>
                  <a:gd name="T21" fmla="*/ 44 h 65"/>
                  <a:gd name="T22" fmla="*/ 30 w 64"/>
                  <a:gd name="T23" fmla="*/ 54 h 65"/>
                  <a:gd name="T24" fmla="*/ 36 w 64"/>
                  <a:gd name="T25" fmla="*/ 65 h 65"/>
                  <a:gd name="T26" fmla="*/ 36 w 64"/>
                  <a:gd name="T2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5">
                    <a:moveTo>
                      <a:pt x="36" y="65"/>
                    </a:moveTo>
                    <a:lnTo>
                      <a:pt x="64" y="48"/>
                    </a:lnTo>
                    <a:lnTo>
                      <a:pt x="64" y="48"/>
                    </a:lnTo>
                    <a:lnTo>
                      <a:pt x="55" y="35"/>
                    </a:lnTo>
                    <a:lnTo>
                      <a:pt x="43" y="22"/>
                    </a:lnTo>
                    <a:lnTo>
                      <a:pt x="30" y="10"/>
                    </a:lnTo>
                    <a:lnTo>
                      <a:pt x="16" y="0"/>
                    </a:lnTo>
                    <a:lnTo>
                      <a:pt x="0" y="28"/>
                    </a:lnTo>
                    <a:lnTo>
                      <a:pt x="0" y="28"/>
                    </a:lnTo>
                    <a:lnTo>
                      <a:pt x="11" y="35"/>
                    </a:lnTo>
                    <a:lnTo>
                      <a:pt x="20" y="44"/>
                    </a:lnTo>
                    <a:lnTo>
                      <a:pt x="30" y="54"/>
                    </a:lnTo>
                    <a:lnTo>
                      <a:pt x="36" y="65"/>
                    </a:lnTo>
                    <a:lnTo>
                      <a:pt x="36" y="6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84" name="Freeform 87"/>
              <p:cNvSpPr>
                <a:spLocks noEditPoints="1"/>
              </p:cNvSpPr>
              <p:nvPr/>
            </p:nvSpPr>
            <p:spPr bwMode="auto">
              <a:xfrm>
                <a:off x="1303871" y="4127085"/>
                <a:ext cx="2130685" cy="861504"/>
              </a:xfrm>
              <a:custGeom>
                <a:avLst/>
                <a:gdLst>
                  <a:gd name="T0" fmla="*/ 137 w 1664"/>
                  <a:gd name="T1" fmla="*/ 9 h 672"/>
                  <a:gd name="T2" fmla="*/ 0 w 1664"/>
                  <a:gd name="T3" fmla="*/ 508 h 672"/>
                  <a:gd name="T4" fmla="*/ 14 w 1664"/>
                  <a:gd name="T5" fmla="*/ 657 h 672"/>
                  <a:gd name="T6" fmla="*/ 133 w 1664"/>
                  <a:gd name="T7" fmla="*/ 669 h 672"/>
                  <a:gd name="T8" fmla="*/ 131 w 1664"/>
                  <a:gd name="T9" fmla="*/ 617 h 672"/>
                  <a:gd name="T10" fmla="*/ 163 w 1664"/>
                  <a:gd name="T11" fmla="*/ 540 h 672"/>
                  <a:gd name="T12" fmla="*/ 232 w 1664"/>
                  <a:gd name="T13" fmla="*/ 494 h 672"/>
                  <a:gd name="T14" fmla="*/ 305 w 1664"/>
                  <a:gd name="T15" fmla="*/ 490 h 672"/>
                  <a:gd name="T16" fmla="*/ 378 w 1664"/>
                  <a:gd name="T17" fmla="*/ 530 h 672"/>
                  <a:gd name="T18" fmla="*/ 418 w 1664"/>
                  <a:gd name="T19" fmla="*/ 604 h 672"/>
                  <a:gd name="T20" fmla="*/ 417 w 1664"/>
                  <a:gd name="T21" fmla="*/ 669 h 672"/>
                  <a:gd name="T22" fmla="*/ 1101 w 1664"/>
                  <a:gd name="T23" fmla="*/ 633 h 672"/>
                  <a:gd name="T24" fmla="*/ 1125 w 1664"/>
                  <a:gd name="T25" fmla="*/ 552 h 672"/>
                  <a:gd name="T26" fmla="*/ 1189 w 1664"/>
                  <a:gd name="T27" fmla="*/ 498 h 672"/>
                  <a:gd name="T28" fmla="*/ 1262 w 1664"/>
                  <a:gd name="T29" fmla="*/ 488 h 672"/>
                  <a:gd name="T30" fmla="*/ 1339 w 1664"/>
                  <a:gd name="T31" fmla="*/ 521 h 672"/>
                  <a:gd name="T32" fmla="*/ 1386 w 1664"/>
                  <a:gd name="T33" fmla="*/ 589 h 672"/>
                  <a:gd name="T34" fmla="*/ 1387 w 1664"/>
                  <a:gd name="T35" fmla="*/ 671 h 672"/>
                  <a:gd name="T36" fmla="*/ 1657 w 1664"/>
                  <a:gd name="T37" fmla="*/ 75 h 672"/>
                  <a:gd name="T38" fmla="*/ 1616 w 1664"/>
                  <a:gd name="T39" fmla="*/ 24 h 672"/>
                  <a:gd name="T40" fmla="*/ 1554 w 1664"/>
                  <a:gd name="T41" fmla="*/ 0 h 672"/>
                  <a:gd name="T42" fmla="*/ 346 w 1664"/>
                  <a:gd name="T43" fmla="*/ 294 h 672"/>
                  <a:gd name="T44" fmla="*/ 314 w 1664"/>
                  <a:gd name="T45" fmla="*/ 312 h 672"/>
                  <a:gd name="T46" fmla="*/ 97 w 1664"/>
                  <a:gd name="T47" fmla="*/ 304 h 672"/>
                  <a:gd name="T48" fmla="*/ 144 w 1664"/>
                  <a:gd name="T49" fmla="*/ 147 h 672"/>
                  <a:gd name="T50" fmla="*/ 172 w 1664"/>
                  <a:gd name="T51" fmla="*/ 115 h 672"/>
                  <a:gd name="T52" fmla="*/ 334 w 1664"/>
                  <a:gd name="T53" fmla="*/ 120 h 672"/>
                  <a:gd name="T54" fmla="*/ 349 w 1664"/>
                  <a:gd name="T55" fmla="*/ 280 h 672"/>
                  <a:gd name="T56" fmla="*/ 751 w 1664"/>
                  <a:gd name="T57" fmla="*/ 308 h 672"/>
                  <a:gd name="T58" fmla="*/ 540 w 1664"/>
                  <a:gd name="T59" fmla="*/ 318 h 672"/>
                  <a:gd name="T60" fmla="*/ 508 w 1664"/>
                  <a:gd name="T61" fmla="*/ 296 h 672"/>
                  <a:gd name="T62" fmla="*/ 508 w 1664"/>
                  <a:gd name="T63" fmla="*/ 131 h 672"/>
                  <a:gd name="T64" fmla="*/ 540 w 1664"/>
                  <a:gd name="T65" fmla="*/ 111 h 672"/>
                  <a:gd name="T66" fmla="*/ 751 w 1664"/>
                  <a:gd name="T67" fmla="*/ 120 h 672"/>
                  <a:gd name="T68" fmla="*/ 1048 w 1664"/>
                  <a:gd name="T69" fmla="*/ 283 h 672"/>
                  <a:gd name="T70" fmla="*/ 1032 w 1664"/>
                  <a:gd name="T71" fmla="*/ 312 h 672"/>
                  <a:gd name="T72" fmla="*/ 819 w 1664"/>
                  <a:gd name="T73" fmla="*/ 316 h 672"/>
                  <a:gd name="T74" fmla="*/ 792 w 1664"/>
                  <a:gd name="T75" fmla="*/ 291 h 672"/>
                  <a:gd name="T76" fmla="*/ 798 w 1664"/>
                  <a:gd name="T77" fmla="*/ 125 h 672"/>
                  <a:gd name="T78" fmla="*/ 1013 w 1664"/>
                  <a:gd name="T79" fmla="*/ 111 h 672"/>
                  <a:gd name="T80" fmla="*/ 1041 w 1664"/>
                  <a:gd name="T81" fmla="*/ 125 h 672"/>
                  <a:gd name="T82" fmla="*/ 1334 w 1664"/>
                  <a:gd name="T83" fmla="*/ 283 h 672"/>
                  <a:gd name="T84" fmla="*/ 1312 w 1664"/>
                  <a:gd name="T85" fmla="*/ 315 h 672"/>
                  <a:gd name="T86" fmla="*/ 1098 w 1664"/>
                  <a:gd name="T87" fmla="*/ 315 h 672"/>
                  <a:gd name="T88" fmla="*/ 1077 w 1664"/>
                  <a:gd name="T89" fmla="*/ 283 h 672"/>
                  <a:gd name="T90" fmla="*/ 1088 w 1664"/>
                  <a:gd name="T91" fmla="*/ 120 h 672"/>
                  <a:gd name="T92" fmla="*/ 1299 w 1664"/>
                  <a:gd name="T93" fmla="*/ 111 h 672"/>
                  <a:gd name="T94" fmla="*/ 1331 w 1664"/>
                  <a:gd name="T95" fmla="*/ 131 h 672"/>
                  <a:gd name="T96" fmla="*/ 1618 w 1664"/>
                  <a:gd name="T97" fmla="*/ 291 h 672"/>
                  <a:gd name="T98" fmla="*/ 1592 w 1664"/>
                  <a:gd name="T99" fmla="*/ 316 h 672"/>
                  <a:gd name="T100" fmla="*/ 1378 w 1664"/>
                  <a:gd name="T101" fmla="*/ 312 h 672"/>
                  <a:gd name="T102" fmla="*/ 1363 w 1664"/>
                  <a:gd name="T103" fmla="*/ 144 h 672"/>
                  <a:gd name="T104" fmla="*/ 1378 w 1664"/>
                  <a:gd name="T105" fmla="*/ 116 h 672"/>
                  <a:gd name="T106" fmla="*/ 1592 w 1664"/>
                  <a:gd name="T107" fmla="*/ 111 h 672"/>
                  <a:gd name="T108" fmla="*/ 1618 w 1664"/>
                  <a:gd name="T109" fmla="*/ 137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4" h="672">
                    <a:moveTo>
                      <a:pt x="160" y="1"/>
                    </a:moveTo>
                    <a:lnTo>
                      <a:pt x="160" y="1"/>
                    </a:lnTo>
                    <a:lnTo>
                      <a:pt x="152" y="1"/>
                    </a:lnTo>
                    <a:lnTo>
                      <a:pt x="147" y="2"/>
                    </a:lnTo>
                    <a:lnTo>
                      <a:pt x="141" y="5"/>
                    </a:lnTo>
                    <a:lnTo>
                      <a:pt x="137" y="9"/>
                    </a:lnTo>
                    <a:lnTo>
                      <a:pt x="133" y="13"/>
                    </a:lnTo>
                    <a:lnTo>
                      <a:pt x="129" y="18"/>
                    </a:lnTo>
                    <a:lnTo>
                      <a:pt x="124" y="30"/>
                    </a:lnTo>
                    <a:lnTo>
                      <a:pt x="4" y="335"/>
                    </a:lnTo>
                    <a:lnTo>
                      <a:pt x="0" y="358"/>
                    </a:lnTo>
                    <a:lnTo>
                      <a:pt x="0" y="508"/>
                    </a:lnTo>
                    <a:lnTo>
                      <a:pt x="0" y="623"/>
                    </a:lnTo>
                    <a:lnTo>
                      <a:pt x="0" y="623"/>
                    </a:lnTo>
                    <a:lnTo>
                      <a:pt x="1" y="633"/>
                    </a:lnTo>
                    <a:lnTo>
                      <a:pt x="4" y="643"/>
                    </a:lnTo>
                    <a:lnTo>
                      <a:pt x="8" y="651"/>
                    </a:lnTo>
                    <a:lnTo>
                      <a:pt x="14" y="657"/>
                    </a:lnTo>
                    <a:lnTo>
                      <a:pt x="21" y="663"/>
                    </a:lnTo>
                    <a:lnTo>
                      <a:pt x="29" y="665"/>
                    </a:lnTo>
                    <a:lnTo>
                      <a:pt x="37" y="668"/>
                    </a:lnTo>
                    <a:lnTo>
                      <a:pt x="45" y="669"/>
                    </a:lnTo>
                    <a:lnTo>
                      <a:pt x="133" y="669"/>
                    </a:lnTo>
                    <a:lnTo>
                      <a:pt x="133" y="669"/>
                    </a:lnTo>
                    <a:lnTo>
                      <a:pt x="131" y="652"/>
                    </a:lnTo>
                    <a:lnTo>
                      <a:pt x="129" y="633"/>
                    </a:lnTo>
                    <a:lnTo>
                      <a:pt x="129" y="633"/>
                    </a:lnTo>
                    <a:lnTo>
                      <a:pt x="129" y="632"/>
                    </a:lnTo>
                    <a:lnTo>
                      <a:pt x="129" y="632"/>
                    </a:lnTo>
                    <a:lnTo>
                      <a:pt x="131" y="617"/>
                    </a:lnTo>
                    <a:lnTo>
                      <a:pt x="132" y="602"/>
                    </a:lnTo>
                    <a:lnTo>
                      <a:pt x="136" y="589"/>
                    </a:lnTo>
                    <a:lnTo>
                      <a:pt x="141" y="576"/>
                    </a:lnTo>
                    <a:lnTo>
                      <a:pt x="147" y="562"/>
                    </a:lnTo>
                    <a:lnTo>
                      <a:pt x="155" y="550"/>
                    </a:lnTo>
                    <a:lnTo>
                      <a:pt x="163" y="540"/>
                    </a:lnTo>
                    <a:lnTo>
                      <a:pt x="172" y="529"/>
                    </a:lnTo>
                    <a:lnTo>
                      <a:pt x="183" y="520"/>
                    </a:lnTo>
                    <a:lnTo>
                      <a:pt x="194" y="512"/>
                    </a:lnTo>
                    <a:lnTo>
                      <a:pt x="206" y="505"/>
                    </a:lnTo>
                    <a:lnTo>
                      <a:pt x="219" y="498"/>
                    </a:lnTo>
                    <a:lnTo>
                      <a:pt x="232" y="494"/>
                    </a:lnTo>
                    <a:lnTo>
                      <a:pt x="246" y="490"/>
                    </a:lnTo>
                    <a:lnTo>
                      <a:pt x="260" y="488"/>
                    </a:lnTo>
                    <a:lnTo>
                      <a:pt x="275" y="488"/>
                    </a:lnTo>
                    <a:lnTo>
                      <a:pt x="275" y="488"/>
                    </a:lnTo>
                    <a:lnTo>
                      <a:pt x="290" y="488"/>
                    </a:lnTo>
                    <a:lnTo>
                      <a:pt x="305" y="490"/>
                    </a:lnTo>
                    <a:lnTo>
                      <a:pt x="319" y="494"/>
                    </a:lnTo>
                    <a:lnTo>
                      <a:pt x="333" y="498"/>
                    </a:lnTo>
                    <a:lnTo>
                      <a:pt x="345" y="505"/>
                    </a:lnTo>
                    <a:lnTo>
                      <a:pt x="357" y="512"/>
                    </a:lnTo>
                    <a:lnTo>
                      <a:pt x="367" y="521"/>
                    </a:lnTo>
                    <a:lnTo>
                      <a:pt x="378" y="530"/>
                    </a:lnTo>
                    <a:lnTo>
                      <a:pt x="387" y="540"/>
                    </a:lnTo>
                    <a:lnTo>
                      <a:pt x="397" y="552"/>
                    </a:lnTo>
                    <a:lnTo>
                      <a:pt x="403" y="564"/>
                    </a:lnTo>
                    <a:lnTo>
                      <a:pt x="410" y="576"/>
                    </a:lnTo>
                    <a:lnTo>
                      <a:pt x="414" y="589"/>
                    </a:lnTo>
                    <a:lnTo>
                      <a:pt x="418" y="604"/>
                    </a:lnTo>
                    <a:lnTo>
                      <a:pt x="421" y="619"/>
                    </a:lnTo>
                    <a:lnTo>
                      <a:pt x="421" y="633"/>
                    </a:lnTo>
                    <a:lnTo>
                      <a:pt x="421" y="633"/>
                    </a:lnTo>
                    <a:lnTo>
                      <a:pt x="421" y="633"/>
                    </a:lnTo>
                    <a:lnTo>
                      <a:pt x="419" y="652"/>
                    </a:lnTo>
                    <a:lnTo>
                      <a:pt x="417" y="669"/>
                    </a:lnTo>
                    <a:lnTo>
                      <a:pt x="1037" y="669"/>
                    </a:lnTo>
                    <a:lnTo>
                      <a:pt x="1105" y="669"/>
                    </a:lnTo>
                    <a:lnTo>
                      <a:pt x="1105" y="669"/>
                    </a:lnTo>
                    <a:lnTo>
                      <a:pt x="1101" y="652"/>
                    </a:lnTo>
                    <a:lnTo>
                      <a:pt x="1101" y="633"/>
                    </a:lnTo>
                    <a:lnTo>
                      <a:pt x="1101" y="633"/>
                    </a:lnTo>
                    <a:lnTo>
                      <a:pt x="1101" y="619"/>
                    </a:lnTo>
                    <a:lnTo>
                      <a:pt x="1104" y="604"/>
                    </a:lnTo>
                    <a:lnTo>
                      <a:pt x="1106" y="590"/>
                    </a:lnTo>
                    <a:lnTo>
                      <a:pt x="1112" y="576"/>
                    </a:lnTo>
                    <a:lnTo>
                      <a:pt x="1119" y="564"/>
                    </a:lnTo>
                    <a:lnTo>
                      <a:pt x="1125" y="552"/>
                    </a:lnTo>
                    <a:lnTo>
                      <a:pt x="1133" y="541"/>
                    </a:lnTo>
                    <a:lnTo>
                      <a:pt x="1144" y="530"/>
                    </a:lnTo>
                    <a:lnTo>
                      <a:pt x="1153" y="521"/>
                    </a:lnTo>
                    <a:lnTo>
                      <a:pt x="1165" y="512"/>
                    </a:lnTo>
                    <a:lnTo>
                      <a:pt x="1177" y="505"/>
                    </a:lnTo>
                    <a:lnTo>
                      <a:pt x="1189" y="498"/>
                    </a:lnTo>
                    <a:lnTo>
                      <a:pt x="1203" y="494"/>
                    </a:lnTo>
                    <a:lnTo>
                      <a:pt x="1217" y="490"/>
                    </a:lnTo>
                    <a:lnTo>
                      <a:pt x="1232" y="488"/>
                    </a:lnTo>
                    <a:lnTo>
                      <a:pt x="1247" y="488"/>
                    </a:lnTo>
                    <a:lnTo>
                      <a:pt x="1247" y="488"/>
                    </a:lnTo>
                    <a:lnTo>
                      <a:pt x="1262" y="488"/>
                    </a:lnTo>
                    <a:lnTo>
                      <a:pt x="1276" y="490"/>
                    </a:lnTo>
                    <a:lnTo>
                      <a:pt x="1290" y="494"/>
                    </a:lnTo>
                    <a:lnTo>
                      <a:pt x="1303" y="498"/>
                    </a:lnTo>
                    <a:lnTo>
                      <a:pt x="1316" y="505"/>
                    </a:lnTo>
                    <a:lnTo>
                      <a:pt x="1328" y="512"/>
                    </a:lnTo>
                    <a:lnTo>
                      <a:pt x="1339" y="521"/>
                    </a:lnTo>
                    <a:lnTo>
                      <a:pt x="1350" y="530"/>
                    </a:lnTo>
                    <a:lnTo>
                      <a:pt x="1359" y="540"/>
                    </a:lnTo>
                    <a:lnTo>
                      <a:pt x="1367" y="552"/>
                    </a:lnTo>
                    <a:lnTo>
                      <a:pt x="1375" y="564"/>
                    </a:lnTo>
                    <a:lnTo>
                      <a:pt x="1380" y="576"/>
                    </a:lnTo>
                    <a:lnTo>
                      <a:pt x="1386" y="589"/>
                    </a:lnTo>
                    <a:lnTo>
                      <a:pt x="1390" y="604"/>
                    </a:lnTo>
                    <a:lnTo>
                      <a:pt x="1391" y="619"/>
                    </a:lnTo>
                    <a:lnTo>
                      <a:pt x="1393" y="633"/>
                    </a:lnTo>
                    <a:lnTo>
                      <a:pt x="1393" y="633"/>
                    </a:lnTo>
                    <a:lnTo>
                      <a:pt x="1391" y="652"/>
                    </a:lnTo>
                    <a:lnTo>
                      <a:pt x="1387" y="671"/>
                    </a:lnTo>
                    <a:lnTo>
                      <a:pt x="1661" y="672"/>
                    </a:lnTo>
                    <a:lnTo>
                      <a:pt x="1664" y="104"/>
                    </a:lnTo>
                    <a:lnTo>
                      <a:pt x="1664" y="104"/>
                    </a:lnTo>
                    <a:lnTo>
                      <a:pt x="1663" y="95"/>
                    </a:lnTo>
                    <a:lnTo>
                      <a:pt x="1661" y="84"/>
                    </a:lnTo>
                    <a:lnTo>
                      <a:pt x="1657" y="75"/>
                    </a:lnTo>
                    <a:lnTo>
                      <a:pt x="1653" y="65"/>
                    </a:lnTo>
                    <a:lnTo>
                      <a:pt x="1646" y="56"/>
                    </a:lnTo>
                    <a:lnTo>
                      <a:pt x="1640" y="48"/>
                    </a:lnTo>
                    <a:lnTo>
                      <a:pt x="1633" y="38"/>
                    </a:lnTo>
                    <a:lnTo>
                      <a:pt x="1624" y="32"/>
                    </a:lnTo>
                    <a:lnTo>
                      <a:pt x="1616" y="24"/>
                    </a:lnTo>
                    <a:lnTo>
                      <a:pt x="1605" y="18"/>
                    </a:lnTo>
                    <a:lnTo>
                      <a:pt x="1596" y="12"/>
                    </a:lnTo>
                    <a:lnTo>
                      <a:pt x="1585" y="8"/>
                    </a:lnTo>
                    <a:lnTo>
                      <a:pt x="1576" y="4"/>
                    </a:lnTo>
                    <a:lnTo>
                      <a:pt x="1565" y="1"/>
                    </a:lnTo>
                    <a:lnTo>
                      <a:pt x="1554" y="0"/>
                    </a:lnTo>
                    <a:lnTo>
                      <a:pt x="1544" y="0"/>
                    </a:lnTo>
                    <a:lnTo>
                      <a:pt x="160" y="1"/>
                    </a:lnTo>
                    <a:close/>
                    <a:moveTo>
                      <a:pt x="349" y="280"/>
                    </a:moveTo>
                    <a:lnTo>
                      <a:pt x="349" y="280"/>
                    </a:lnTo>
                    <a:lnTo>
                      <a:pt x="349" y="287"/>
                    </a:lnTo>
                    <a:lnTo>
                      <a:pt x="346" y="294"/>
                    </a:lnTo>
                    <a:lnTo>
                      <a:pt x="343" y="299"/>
                    </a:lnTo>
                    <a:lnTo>
                      <a:pt x="338" y="303"/>
                    </a:lnTo>
                    <a:lnTo>
                      <a:pt x="334" y="307"/>
                    </a:lnTo>
                    <a:lnTo>
                      <a:pt x="327" y="311"/>
                    </a:lnTo>
                    <a:lnTo>
                      <a:pt x="321" y="312"/>
                    </a:lnTo>
                    <a:lnTo>
                      <a:pt x="314" y="312"/>
                    </a:lnTo>
                    <a:lnTo>
                      <a:pt x="125" y="312"/>
                    </a:lnTo>
                    <a:lnTo>
                      <a:pt x="125" y="312"/>
                    </a:lnTo>
                    <a:lnTo>
                      <a:pt x="119" y="312"/>
                    </a:lnTo>
                    <a:lnTo>
                      <a:pt x="111" y="311"/>
                    </a:lnTo>
                    <a:lnTo>
                      <a:pt x="104" y="308"/>
                    </a:lnTo>
                    <a:lnTo>
                      <a:pt x="97" y="304"/>
                    </a:lnTo>
                    <a:lnTo>
                      <a:pt x="92" y="300"/>
                    </a:lnTo>
                    <a:lnTo>
                      <a:pt x="89" y="294"/>
                    </a:lnTo>
                    <a:lnTo>
                      <a:pt x="89" y="284"/>
                    </a:lnTo>
                    <a:lnTo>
                      <a:pt x="93" y="275"/>
                    </a:lnTo>
                    <a:lnTo>
                      <a:pt x="144" y="147"/>
                    </a:lnTo>
                    <a:lnTo>
                      <a:pt x="144" y="147"/>
                    </a:lnTo>
                    <a:lnTo>
                      <a:pt x="149" y="133"/>
                    </a:lnTo>
                    <a:lnTo>
                      <a:pt x="153" y="128"/>
                    </a:lnTo>
                    <a:lnTo>
                      <a:pt x="157" y="124"/>
                    </a:lnTo>
                    <a:lnTo>
                      <a:pt x="162" y="120"/>
                    </a:lnTo>
                    <a:lnTo>
                      <a:pt x="167" y="117"/>
                    </a:lnTo>
                    <a:lnTo>
                      <a:pt x="172" y="115"/>
                    </a:lnTo>
                    <a:lnTo>
                      <a:pt x="179" y="115"/>
                    </a:lnTo>
                    <a:lnTo>
                      <a:pt x="314" y="115"/>
                    </a:lnTo>
                    <a:lnTo>
                      <a:pt x="314" y="115"/>
                    </a:lnTo>
                    <a:lnTo>
                      <a:pt x="321" y="116"/>
                    </a:lnTo>
                    <a:lnTo>
                      <a:pt x="327" y="117"/>
                    </a:lnTo>
                    <a:lnTo>
                      <a:pt x="334" y="120"/>
                    </a:lnTo>
                    <a:lnTo>
                      <a:pt x="338" y="124"/>
                    </a:lnTo>
                    <a:lnTo>
                      <a:pt x="343" y="129"/>
                    </a:lnTo>
                    <a:lnTo>
                      <a:pt x="346" y="135"/>
                    </a:lnTo>
                    <a:lnTo>
                      <a:pt x="349" y="140"/>
                    </a:lnTo>
                    <a:lnTo>
                      <a:pt x="349" y="147"/>
                    </a:lnTo>
                    <a:lnTo>
                      <a:pt x="349" y="280"/>
                    </a:lnTo>
                    <a:close/>
                    <a:moveTo>
                      <a:pt x="762" y="283"/>
                    </a:moveTo>
                    <a:lnTo>
                      <a:pt x="762" y="283"/>
                    </a:lnTo>
                    <a:lnTo>
                      <a:pt x="760" y="291"/>
                    </a:lnTo>
                    <a:lnTo>
                      <a:pt x="759" y="296"/>
                    </a:lnTo>
                    <a:lnTo>
                      <a:pt x="756" y="303"/>
                    </a:lnTo>
                    <a:lnTo>
                      <a:pt x="751" y="308"/>
                    </a:lnTo>
                    <a:lnTo>
                      <a:pt x="747" y="312"/>
                    </a:lnTo>
                    <a:lnTo>
                      <a:pt x="740" y="315"/>
                    </a:lnTo>
                    <a:lnTo>
                      <a:pt x="734" y="316"/>
                    </a:lnTo>
                    <a:lnTo>
                      <a:pt x="727" y="318"/>
                    </a:lnTo>
                    <a:lnTo>
                      <a:pt x="540" y="318"/>
                    </a:lnTo>
                    <a:lnTo>
                      <a:pt x="540" y="318"/>
                    </a:lnTo>
                    <a:lnTo>
                      <a:pt x="533" y="316"/>
                    </a:lnTo>
                    <a:lnTo>
                      <a:pt x="526" y="315"/>
                    </a:lnTo>
                    <a:lnTo>
                      <a:pt x="521" y="312"/>
                    </a:lnTo>
                    <a:lnTo>
                      <a:pt x="516" y="308"/>
                    </a:lnTo>
                    <a:lnTo>
                      <a:pt x="512" y="303"/>
                    </a:lnTo>
                    <a:lnTo>
                      <a:pt x="508" y="296"/>
                    </a:lnTo>
                    <a:lnTo>
                      <a:pt x="506" y="291"/>
                    </a:lnTo>
                    <a:lnTo>
                      <a:pt x="505" y="283"/>
                    </a:lnTo>
                    <a:lnTo>
                      <a:pt x="505" y="144"/>
                    </a:lnTo>
                    <a:lnTo>
                      <a:pt x="505" y="144"/>
                    </a:lnTo>
                    <a:lnTo>
                      <a:pt x="506" y="137"/>
                    </a:lnTo>
                    <a:lnTo>
                      <a:pt x="508" y="131"/>
                    </a:lnTo>
                    <a:lnTo>
                      <a:pt x="512" y="125"/>
                    </a:lnTo>
                    <a:lnTo>
                      <a:pt x="516" y="120"/>
                    </a:lnTo>
                    <a:lnTo>
                      <a:pt x="521" y="116"/>
                    </a:lnTo>
                    <a:lnTo>
                      <a:pt x="526" y="113"/>
                    </a:lnTo>
                    <a:lnTo>
                      <a:pt x="533" y="111"/>
                    </a:lnTo>
                    <a:lnTo>
                      <a:pt x="540" y="111"/>
                    </a:lnTo>
                    <a:lnTo>
                      <a:pt x="727" y="111"/>
                    </a:lnTo>
                    <a:lnTo>
                      <a:pt x="727" y="111"/>
                    </a:lnTo>
                    <a:lnTo>
                      <a:pt x="734" y="111"/>
                    </a:lnTo>
                    <a:lnTo>
                      <a:pt x="740" y="113"/>
                    </a:lnTo>
                    <a:lnTo>
                      <a:pt x="747" y="116"/>
                    </a:lnTo>
                    <a:lnTo>
                      <a:pt x="751" y="120"/>
                    </a:lnTo>
                    <a:lnTo>
                      <a:pt x="756" y="125"/>
                    </a:lnTo>
                    <a:lnTo>
                      <a:pt x="759" y="131"/>
                    </a:lnTo>
                    <a:lnTo>
                      <a:pt x="760" y="137"/>
                    </a:lnTo>
                    <a:lnTo>
                      <a:pt x="762" y="144"/>
                    </a:lnTo>
                    <a:lnTo>
                      <a:pt x="762" y="283"/>
                    </a:lnTo>
                    <a:close/>
                    <a:moveTo>
                      <a:pt x="1048" y="283"/>
                    </a:moveTo>
                    <a:lnTo>
                      <a:pt x="1048" y="283"/>
                    </a:lnTo>
                    <a:lnTo>
                      <a:pt x="1046" y="291"/>
                    </a:lnTo>
                    <a:lnTo>
                      <a:pt x="1045" y="296"/>
                    </a:lnTo>
                    <a:lnTo>
                      <a:pt x="1041" y="303"/>
                    </a:lnTo>
                    <a:lnTo>
                      <a:pt x="1037" y="308"/>
                    </a:lnTo>
                    <a:lnTo>
                      <a:pt x="1032" y="312"/>
                    </a:lnTo>
                    <a:lnTo>
                      <a:pt x="1026" y="315"/>
                    </a:lnTo>
                    <a:lnTo>
                      <a:pt x="1020" y="316"/>
                    </a:lnTo>
                    <a:lnTo>
                      <a:pt x="1013" y="318"/>
                    </a:lnTo>
                    <a:lnTo>
                      <a:pt x="826" y="318"/>
                    </a:lnTo>
                    <a:lnTo>
                      <a:pt x="826" y="318"/>
                    </a:lnTo>
                    <a:lnTo>
                      <a:pt x="819" y="316"/>
                    </a:lnTo>
                    <a:lnTo>
                      <a:pt x="812" y="315"/>
                    </a:lnTo>
                    <a:lnTo>
                      <a:pt x="807" y="312"/>
                    </a:lnTo>
                    <a:lnTo>
                      <a:pt x="802" y="308"/>
                    </a:lnTo>
                    <a:lnTo>
                      <a:pt x="798" y="303"/>
                    </a:lnTo>
                    <a:lnTo>
                      <a:pt x="794" y="296"/>
                    </a:lnTo>
                    <a:lnTo>
                      <a:pt x="792" y="291"/>
                    </a:lnTo>
                    <a:lnTo>
                      <a:pt x="791" y="283"/>
                    </a:lnTo>
                    <a:lnTo>
                      <a:pt x="791" y="144"/>
                    </a:lnTo>
                    <a:lnTo>
                      <a:pt x="791" y="144"/>
                    </a:lnTo>
                    <a:lnTo>
                      <a:pt x="792" y="137"/>
                    </a:lnTo>
                    <a:lnTo>
                      <a:pt x="794" y="131"/>
                    </a:lnTo>
                    <a:lnTo>
                      <a:pt x="798" y="125"/>
                    </a:lnTo>
                    <a:lnTo>
                      <a:pt x="802" y="120"/>
                    </a:lnTo>
                    <a:lnTo>
                      <a:pt x="807" y="116"/>
                    </a:lnTo>
                    <a:lnTo>
                      <a:pt x="812" y="113"/>
                    </a:lnTo>
                    <a:lnTo>
                      <a:pt x="819" y="111"/>
                    </a:lnTo>
                    <a:lnTo>
                      <a:pt x="826" y="111"/>
                    </a:lnTo>
                    <a:lnTo>
                      <a:pt x="1013" y="111"/>
                    </a:lnTo>
                    <a:lnTo>
                      <a:pt x="1013" y="111"/>
                    </a:lnTo>
                    <a:lnTo>
                      <a:pt x="1020" y="111"/>
                    </a:lnTo>
                    <a:lnTo>
                      <a:pt x="1026" y="113"/>
                    </a:lnTo>
                    <a:lnTo>
                      <a:pt x="1032" y="116"/>
                    </a:lnTo>
                    <a:lnTo>
                      <a:pt x="1037" y="120"/>
                    </a:lnTo>
                    <a:lnTo>
                      <a:pt x="1041" y="125"/>
                    </a:lnTo>
                    <a:lnTo>
                      <a:pt x="1045" y="131"/>
                    </a:lnTo>
                    <a:lnTo>
                      <a:pt x="1046" y="137"/>
                    </a:lnTo>
                    <a:lnTo>
                      <a:pt x="1048" y="144"/>
                    </a:lnTo>
                    <a:lnTo>
                      <a:pt x="1048" y="283"/>
                    </a:lnTo>
                    <a:close/>
                    <a:moveTo>
                      <a:pt x="1334" y="283"/>
                    </a:moveTo>
                    <a:lnTo>
                      <a:pt x="1334" y="283"/>
                    </a:lnTo>
                    <a:lnTo>
                      <a:pt x="1332" y="291"/>
                    </a:lnTo>
                    <a:lnTo>
                      <a:pt x="1331" y="296"/>
                    </a:lnTo>
                    <a:lnTo>
                      <a:pt x="1327" y="303"/>
                    </a:lnTo>
                    <a:lnTo>
                      <a:pt x="1323" y="308"/>
                    </a:lnTo>
                    <a:lnTo>
                      <a:pt x="1318" y="312"/>
                    </a:lnTo>
                    <a:lnTo>
                      <a:pt x="1312" y="315"/>
                    </a:lnTo>
                    <a:lnTo>
                      <a:pt x="1306" y="316"/>
                    </a:lnTo>
                    <a:lnTo>
                      <a:pt x="1299" y="318"/>
                    </a:lnTo>
                    <a:lnTo>
                      <a:pt x="1112" y="318"/>
                    </a:lnTo>
                    <a:lnTo>
                      <a:pt x="1112" y="318"/>
                    </a:lnTo>
                    <a:lnTo>
                      <a:pt x="1105" y="316"/>
                    </a:lnTo>
                    <a:lnTo>
                      <a:pt x="1098" y="315"/>
                    </a:lnTo>
                    <a:lnTo>
                      <a:pt x="1092" y="312"/>
                    </a:lnTo>
                    <a:lnTo>
                      <a:pt x="1088" y="308"/>
                    </a:lnTo>
                    <a:lnTo>
                      <a:pt x="1082" y="303"/>
                    </a:lnTo>
                    <a:lnTo>
                      <a:pt x="1080" y="296"/>
                    </a:lnTo>
                    <a:lnTo>
                      <a:pt x="1078" y="291"/>
                    </a:lnTo>
                    <a:lnTo>
                      <a:pt x="1077" y="283"/>
                    </a:lnTo>
                    <a:lnTo>
                      <a:pt x="1077" y="144"/>
                    </a:lnTo>
                    <a:lnTo>
                      <a:pt x="1077" y="144"/>
                    </a:lnTo>
                    <a:lnTo>
                      <a:pt x="1078" y="137"/>
                    </a:lnTo>
                    <a:lnTo>
                      <a:pt x="1080" y="131"/>
                    </a:lnTo>
                    <a:lnTo>
                      <a:pt x="1082" y="125"/>
                    </a:lnTo>
                    <a:lnTo>
                      <a:pt x="1088" y="120"/>
                    </a:lnTo>
                    <a:lnTo>
                      <a:pt x="1092" y="116"/>
                    </a:lnTo>
                    <a:lnTo>
                      <a:pt x="1098" y="113"/>
                    </a:lnTo>
                    <a:lnTo>
                      <a:pt x="1105" y="111"/>
                    </a:lnTo>
                    <a:lnTo>
                      <a:pt x="1112" y="111"/>
                    </a:lnTo>
                    <a:lnTo>
                      <a:pt x="1299" y="111"/>
                    </a:lnTo>
                    <a:lnTo>
                      <a:pt x="1299" y="111"/>
                    </a:lnTo>
                    <a:lnTo>
                      <a:pt x="1306" y="111"/>
                    </a:lnTo>
                    <a:lnTo>
                      <a:pt x="1312" y="113"/>
                    </a:lnTo>
                    <a:lnTo>
                      <a:pt x="1318" y="116"/>
                    </a:lnTo>
                    <a:lnTo>
                      <a:pt x="1323" y="120"/>
                    </a:lnTo>
                    <a:lnTo>
                      <a:pt x="1327" y="125"/>
                    </a:lnTo>
                    <a:lnTo>
                      <a:pt x="1331" y="131"/>
                    </a:lnTo>
                    <a:lnTo>
                      <a:pt x="1332" y="137"/>
                    </a:lnTo>
                    <a:lnTo>
                      <a:pt x="1334" y="144"/>
                    </a:lnTo>
                    <a:lnTo>
                      <a:pt x="1334" y="283"/>
                    </a:lnTo>
                    <a:close/>
                    <a:moveTo>
                      <a:pt x="1618" y="283"/>
                    </a:moveTo>
                    <a:lnTo>
                      <a:pt x="1618" y="283"/>
                    </a:lnTo>
                    <a:lnTo>
                      <a:pt x="1618" y="291"/>
                    </a:lnTo>
                    <a:lnTo>
                      <a:pt x="1616" y="296"/>
                    </a:lnTo>
                    <a:lnTo>
                      <a:pt x="1613" y="303"/>
                    </a:lnTo>
                    <a:lnTo>
                      <a:pt x="1609" y="308"/>
                    </a:lnTo>
                    <a:lnTo>
                      <a:pt x="1604" y="312"/>
                    </a:lnTo>
                    <a:lnTo>
                      <a:pt x="1597" y="315"/>
                    </a:lnTo>
                    <a:lnTo>
                      <a:pt x="1592" y="316"/>
                    </a:lnTo>
                    <a:lnTo>
                      <a:pt x="1584" y="318"/>
                    </a:lnTo>
                    <a:lnTo>
                      <a:pt x="1398" y="318"/>
                    </a:lnTo>
                    <a:lnTo>
                      <a:pt x="1398" y="318"/>
                    </a:lnTo>
                    <a:lnTo>
                      <a:pt x="1391" y="316"/>
                    </a:lnTo>
                    <a:lnTo>
                      <a:pt x="1385" y="315"/>
                    </a:lnTo>
                    <a:lnTo>
                      <a:pt x="1378" y="312"/>
                    </a:lnTo>
                    <a:lnTo>
                      <a:pt x="1372" y="308"/>
                    </a:lnTo>
                    <a:lnTo>
                      <a:pt x="1368" y="303"/>
                    </a:lnTo>
                    <a:lnTo>
                      <a:pt x="1366" y="296"/>
                    </a:lnTo>
                    <a:lnTo>
                      <a:pt x="1363" y="291"/>
                    </a:lnTo>
                    <a:lnTo>
                      <a:pt x="1363" y="283"/>
                    </a:lnTo>
                    <a:lnTo>
                      <a:pt x="1363" y="144"/>
                    </a:lnTo>
                    <a:lnTo>
                      <a:pt x="1363" y="144"/>
                    </a:lnTo>
                    <a:lnTo>
                      <a:pt x="1363" y="137"/>
                    </a:lnTo>
                    <a:lnTo>
                      <a:pt x="1366" y="131"/>
                    </a:lnTo>
                    <a:lnTo>
                      <a:pt x="1368" y="125"/>
                    </a:lnTo>
                    <a:lnTo>
                      <a:pt x="1372" y="120"/>
                    </a:lnTo>
                    <a:lnTo>
                      <a:pt x="1378" y="116"/>
                    </a:lnTo>
                    <a:lnTo>
                      <a:pt x="1385" y="113"/>
                    </a:lnTo>
                    <a:lnTo>
                      <a:pt x="1391" y="111"/>
                    </a:lnTo>
                    <a:lnTo>
                      <a:pt x="1398" y="111"/>
                    </a:lnTo>
                    <a:lnTo>
                      <a:pt x="1584" y="111"/>
                    </a:lnTo>
                    <a:lnTo>
                      <a:pt x="1584" y="111"/>
                    </a:lnTo>
                    <a:lnTo>
                      <a:pt x="1592" y="111"/>
                    </a:lnTo>
                    <a:lnTo>
                      <a:pt x="1597" y="113"/>
                    </a:lnTo>
                    <a:lnTo>
                      <a:pt x="1604" y="116"/>
                    </a:lnTo>
                    <a:lnTo>
                      <a:pt x="1609" y="120"/>
                    </a:lnTo>
                    <a:lnTo>
                      <a:pt x="1613" y="125"/>
                    </a:lnTo>
                    <a:lnTo>
                      <a:pt x="1616" y="131"/>
                    </a:lnTo>
                    <a:lnTo>
                      <a:pt x="1618" y="137"/>
                    </a:lnTo>
                    <a:lnTo>
                      <a:pt x="1618" y="144"/>
                    </a:lnTo>
                    <a:lnTo>
                      <a:pt x="1618" y="283"/>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87" name="Group 586"/>
              <p:cNvGrpSpPr/>
              <p:nvPr/>
            </p:nvGrpSpPr>
            <p:grpSpPr>
              <a:xfrm>
                <a:off x="1857586" y="4696260"/>
                <a:ext cx="323065" cy="246146"/>
                <a:chOff x="1857586" y="4696260"/>
                <a:chExt cx="323065" cy="246146"/>
              </a:xfrm>
              <a:solidFill>
                <a:schemeClr val="tx1"/>
              </a:solidFill>
            </p:grpSpPr>
            <p:sp>
              <p:nvSpPr>
                <p:cNvPr id="518" name="Freeform 247"/>
                <p:cNvSpPr>
                  <a:spLocks/>
                </p:cNvSpPr>
                <p:nvPr/>
              </p:nvSpPr>
              <p:spPr bwMode="auto">
                <a:xfrm>
                  <a:off x="1999889" y="4696260"/>
                  <a:ext cx="92304" cy="53844"/>
                </a:xfrm>
                <a:custGeom>
                  <a:avLst/>
                  <a:gdLst>
                    <a:gd name="T0" fmla="*/ 45 w 71"/>
                    <a:gd name="T1" fmla="*/ 40 h 40"/>
                    <a:gd name="T2" fmla="*/ 45 w 71"/>
                    <a:gd name="T3" fmla="*/ 20 h 40"/>
                    <a:gd name="T4" fmla="*/ 71 w 71"/>
                    <a:gd name="T5" fmla="*/ 20 h 40"/>
                    <a:gd name="T6" fmla="*/ 71 w 71"/>
                    <a:gd name="T7" fmla="*/ 0 h 40"/>
                    <a:gd name="T8" fmla="*/ 0 w 71"/>
                    <a:gd name="T9" fmla="*/ 0 h 40"/>
                    <a:gd name="T10" fmla="*/ 0 w 71"/>
                    <a:gd name="T11" fmla="*/ 20 h 40"/>
                    <a:gd name="T12" fmla="*/ 25 w 71"/>
                    <a:gd name="T13" fmla="*/ 20 h 40"/>
                    <a:gd name="T14" fmla="*/ 25 w 71"/>
                    <a:gd name="T15" fmla="*/ 40 h 40"/>
                    <a:gd name="T16" fmla="*/ 45 w 71"/>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40">
                      <a:moveTo>
                        <a:pt x="45" y="40"/>
                      </a:moveTo>
                      <a:lnTo>
                        <a:pt x="45" y="20"/>
                      </a:lnTo>
                      <a:lnTo>
                        <a:pt x="71" y="20"/>
                      </a:lnTo>
                      <a:lnTo>
                        <a:pt x="71" y="0"/>
                      </a:lnTo>
                      <a:lnTo>
                        <a:pt x="0" y="0"/>
                      </a:lnTo>
                      <a:lnTo>
                        <a:pt x="0" y="20"/>
                      </a:lnTo>
                      <a:lnTo>
                        <a:pt x="25" y="20"/>
                      </a:lnTo>
                      <a:lnTo>
                        <a:pt x="25" y="40"/>
                      </a:lnTo>
                      <a:lnTo>
                        <a:pt x="45"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19" name="Freeform 248"/>
                <p:cNvSpPr>
                  <a:spLocks/>
                </p:cNvSpPr>
                <p:nvPr/>
              </p:nvSpPr>
              <p:spPr bwMode="auto">
                <a:xfrm>
                  <a:off x="1999889" y="4696260"/>
                  <a:ext cx="92304" cy="53844"/>
                </a:xfrm>
                <a:custGeom>
                  <a:avLst/>
                  <a:gdLst>
                    <a:gd name="T0" fmla="*/ 45 w 71"/>
                    <a:gd name="T1" fmla="*/ 40 h 40"/>
                    <a:gd name="T2" fmla="*/ 45 w 71"/>
                    <a:gd name="T3" fmla="*/ 20 h 40"/>
                    <a:gd name="T4" fmla="*/ 71 w 71"/>
                    <a:gd name="T5" fmla="*/ 20 h 40"/>
                    <a:gd name="T6" fmla="*/ 71 w 71"/>
                    <a:gd name="T7" fmla="*/ 0 h 40"/>
                    <a:gd name="T8" fmla="*/ 0 w 71"/>
                    <a:gd name="T9" fmla="*/ 0 h 40"/>
                    <a:gd name="T10" fmla="*/ 0 w 71"/>
                    <a:gd name="T11" fmla="*/ 20 h 40"/>
                    <a:gd name="T12" fmla="*/ 25 w 71"/>
                    <a:gd name="T13" fmla="*/ 20 h 40"/>
                    <a:gd name="T14" fmla="*/ 25 w 71"/>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40">
                      <a:moveTo>
                        <a:pt x="45" y="40"/>
                      </a:moveTo>
                      <a:lnTo>
                        <a:pt x="45" y="20"/>
                      </a:lnTo>
                      <a:lnTo>
                        <a:pt x="71" y="20"/>
                      </a:lnTo>
                      <a:lnTo>
                        <a:pt x="71" y="0"/>
                      </a:lnTo>
                      <a:lnTo>
                        <a:pt x="0" y="0"/>
                      </a:lnTo>
                      <a:lnTo>
                        <a:pt x="0" y="20"/>
                      </a:lnTo>
                      <a:lnTo>
                        <a:pt x="25" y="20"/>
                      </a:lnTo>
                      <a:lnTo>
                        <a:pt x="25" y="40"/>
                      </a:lnTo>
                    </a:path>
                  </a:pathLst>
                </a:custGeom>
                <a:solidFill>
                  <a:schemeClr val="accent2"/>
                </a:solidFill>
                <a:ln w="9525">
                  <a:solidFill>
                    <a:schemeClr val="accent2"/>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22" name="Freeform 249"/>
                <p:cNvSpPr>
                  <a:spLocks/>
                </p:cNvSpPr>
                <p:nvPr/>
              </p:nvSpPr>
              <p:spPr bwMode="auto">
                <a:xfrm>
                  <a:off x="1857586" y="4800102"/>
                  <a:ext cx="53844" cy="103843"/>
                </a:xfrm>
                <a:custGeom>
                  <a:avLst/>
                  <a:gdLst>
                    <a:gd name="T0" fmla="*/ 40 w 40"/>
                    <a:gd name="T1" fmla="*/ 31 h 81"/>
                    <a:gd name="T2" fmla="*/ 20 w 40"/>
                    <a:gd name="T3" fmla="*/ 31 h 81"/>
                    <a:gd name="T4" fmla="*/ 20 w 40"/>
                    <a:gd name="T5" fmla="*/ 0 h 81"/>
                    <a:gd name="T6" fmla="*/ 0 w 40"/>
                    <a:gd name="T7" fmla="*/ 0 h 81"/>
                    <a:gd name="T8" fmla="*/ 0 w 40"/>
                    <a:gd name="T9" fmla="*/ 81 h 81"/>
                    <a:gd name="T10" fmla="*/ 20 w 40"/>
                    <a:gd name="T11" fmla="*/ 81 h 81"/>
                    <a:gd name="T12" fmla="*/ 20 w 40"/>
                    <a:gd name="T13" fmla="*/ 51 h 81"/>
                    <a:gd name="T14" fmla="*/ 40 w 40"/>
                    <a:gd name="T15" fmla="*/ 51 h 81"/>
                    <a:gd name="T16" fmla="*/ 40 w 40"/>
                    <a:gd name="T17" fmla="*/ 3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81">
                      <a:moveTo>
                        <a:pt x="40" y="31"/>
                      </a:moveTo>
                      <a:lnTo>
                        <a:pt x="20" y="31"/>
                      </a:lnTo>
                      <a:lnTo>
                        <a:pt x="20" y="0"/>
                      </a:lnTo>
                      <a:lnTo>
                        <a:pt x="0" y="0"/>
                      </a:lnTo>
                      <a:lnTo>
                        <a:pt x="0" y="81"/>
                      </a:lnTo>
                      <a:lnTo>
                        <a:pt x="20" y="81"/>
                      </a:lnTo>
                      <a:lnTo>
                        <a:pt x="20" y="51"/>
                      </a:lnTo>
                      <a:lnTo>
                        <a:pt x="40" y="51"/>
                      </a:lnTo>
                      <a:lnTo>
                        <a:pt x="40" y="3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24" name="Freeform 251"/>
                <p:cNvSpPr>
                  <a:spLocks/>
                </p:cNvSpPr>
                <p:nvPr/>
              </p:nvSpPr>
              <p:spPr bwMode="auto">
                <a:xfrm>
                  <a:off x="1922969" y="4761643"/>
                  <a:ext cx="257682" cy="180763"/>
                </a:xfrm>
                <a:custGeom>
                  <a:avLst/>
                  <a:gdLst>
                    <a:gd name="T0" fmla="*/ 180 w 200"/>
                    <a:gd name="T1" fmla="*/ 24 h 140"/>
                    <a:gd name="T2" fmla="*/ 180 w 200"/>
                    <a:gd name="T3" fmla="*/ 49 h 140"/>
                    <a:gd name="T4" fmla="*/ 165 w 200"/>
                    <a:gd name="T5" fmla="*/ 49 h 140"/>
                    <a:gd name="T6" fmla="*/ 165 w 200"/>
                    <a:gd name="T7" fmla="*/ 9 h 140"/>
                    <a:gd name="T8" fmla="*/ 165 w 200"/>
                    <a:gd name="T9" fmla="*/ 9 h 140"/>
                    <a:gd name="T10" fmla="*/ 164 w 200"/>
                    <a:gd name="T11" fmla="*/ 5 h 140"/>
                    <a:gd name="T12" fmla="*/ 163 w 200"/>
                    <a:gd name="T13" fmla="*/ 3 h 140"/>
                    <a:gd name="T14" fmla="*/ 160 w 200"/>
                    <a:gd name="T15" fmla="*/ 0 h 140"/>
                    <a:gd name="T16" fmla="*/ 156 w 200"/>
                    <a:gd name="T17" fmla="*/ 0 h 140"/>
                    <a:gd name="T18" fmla="*/ 54 w 200"/>
                    <a:gd name="T19" fmla="*/ 0 h 140"/>
                    <a:gd name="T20" fmla="*/ 54 w 200"/>
                    <a:gd name="T21" fmla="*/ 0 h 140"/>
                    <a:gd name="T22" fmla="*/ 50 w 200"/>
                    <a:gd name="T23" fmla="*/ 0 h 140"/>
                    <a:gd name="T24" fmla="*/ 48 w 200"/>
                    <a:gd name="T25" fmla="*/ 3 h 140"/>
                    <a:gd name="T26" fmla="*/ 24 w 200"/>
                    <a:gd name="T27" fmla="*/ 29 h 140"/>
                    <a:gd name="T28" fmla="*/ 9 w 200"/>
                    <a:gd name="T29" fmla="*/ 29 h 140"/>
                    <a:gd name="T30" fmla="*/ 9 w 200"/>
                    <a:gd name="T31" fmla="*/ 29 h 140"/>
                    <a:gd name="T32" fmla="*/ 5 w 200"/>
                    <a:gd name="T33" fmla="*/ 31 h 140"/>
                    <a:gd name="T34" fmla="*/ 2 w 200"/>
                    <a:gd name="T35" fmla="*/ 33 h 140"/>
                    <a:gd name="T36" fmla="*/ 0 w 200"/>
                    <a:gd name="T37" fmla="*/ 36 h 140"/>
                    <a:gd name="T38" fmla="*/ 0 w 200"/>
                    <a:gd name="T39" fmla="*/ 40 h 140"/>
                    <a:gd name="T40" fmla="*/ 0 w 200"/>
                    <a:gd name="T41" fmla="*/ 100 h 140"/>
                    <a:gd name="T42" fmla="*/ 0 w 200"/>
                    <a:gd name="T43" fmla="*/ 100 h 140"/>
                    <a:gd name="T44" fmla="*/ 0 w 200"/>
                    <a:gd name="T45" fmla="*/ 104 h 140"/>
                    <a:gd name="T46" fmla="*/ 2 w 200"/>
                    <a:gd name="T47" fmla="*/ 107 h 140"/>
                    <a:gd name="T48" fmla="*/ 5 w 200"/>
                    <a:gd name="T49" fmla="*/ 110 h 140"/>
                    <a:gd name="T50" fmla="*/ 9 w 200"/>
                    <a:gd name="T51" fmla="*/ 110 h 140"/>
                    <a:gd name="T52" fmla="*/ 24 w 200"/>
                    <a:gd name="T53" fmla="*/ 110 h 140"/>
                    <a:gd name="T54" fmla="*/ 48 w 200"/>
                    <a:gd name="T55" fmla="*/ 138 h 140"/>
                    <a:gd name="T56" fmla="*/ 48 w 200"/>
                    <a:gd name="T57" fmla="*/ 138 h 140"/>
                    <a:gd name="T58" fmla="*/ 50 w 200"/>
                    <a:gd name="T59" fmla="*/ 140 h 140"/>
                    <a:gd name="T60" fmla="*/ 54 w 200"/>
                    <a:gd name="T61" fmla="*/ 140 h 140"/>
                    <a:gd name="T62" fmla="*/ 119 w 200"/>
                    <a:gd name="T63" fmla="*/ 140 h 140"/>
                    <a:gd name="T64" fmla="*/ 119 w 200"/>
                    <a:gd name="T65" fmla="*/ 140 h 140"/>
                    <a:gd name="T66" fmla="*/ 123 w 200"/>
                    <a:gd name="T67" fmla="*/ 140 h 140"/>
                    <a:gd name="T68" fmla="*/ 125 w 200"/>
                    <a:gd name="T69" fmla="*/ 138 h 140"/>
                    <a:gd name="T70" fmla="*/ 163 w 200"/>
                    <a:gd name="T71" fmla="*/ 100 h 140"/>
                    <a:gd name="T72" fmla="*/ 163 w 200"/>
                    <a:gd name="T73" fmla="*/ 100 h 140"/>
                    <a:gd name="T74" fmla="*/ 164 w 200"/>
                    <a:gd name="T75" fmla="*/ 97 h 140"/>
                    <a:gd name="T76" fmla="*/ 165 w 200"/>
                    <a:gd name="T77" fmla="*/ 93 h 140"/>
                    <a:gd name="T78" fmla="*/ 165 w 200"/>
                    <a:gd name="T79" fmla="*/ 80 h 140"/>
                    <a:gd name="T80" fmla="*/ 180 w 200"/>
                    <a:gd name="T81" fmla="*/ 80 h 140"/>
                    <a:gd name="T82" fmla="*/ 180 w 200"/>
                    <a:gd name="T83" fmla="*/ 105 h 140"/>
                    <a:gd name="T84" fmla="*/ 200 w 200"/>
                    <a:gd name="T85" fmla="*/ 105 h 140"/>
                    <a:gd name="T86" fmla="*/ 200 w 200"/>
                    <a:gd name="T87" fmla="*/ 24 h 140"/>
                    <a:gd name="T88" fmla="*/ 180 w 200"/>
                    <a:gd name="T89" fmla="*/ 2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140">
                      <a:moveTo>
                        <a:pt x="180" y="24"/>
                      </a:moveTo>
                      <a:lnTo>
                        <a:pt x="180" y="49"/>
                      </a:lnTo>
                      <a:lnTo>
                        <a:pt x="165" y="49"/>
                      </a:lnTo>
                      <a:lnTo>
                        <a:pt x="165" y="9"/>
                      </a:lnTo>
                      <a:lnTo>
                        <a:pt x="165" y="9"/>
                      </a:lnTo>
                      <a:lnTo>
                        <a:pt x="164" y="5"/>
                      </a:lnTo>
                      <a:lnTo>
                        <a:pt x="163" y="3"/>
                      </a:lnTo>
                      <a:lnTo>
                        <a:pt x="160" y="0"/>
                      </a:lnTo>
                      <a:lnTo>
                        <a:pt x="156" y="0"/>
                      </a:lnTo>
                      <a:lnTo>
                        <a:pt x="54" y="0"/>
                      </a:lnTo>
                      <a:lnTo>
                        <a:pt x="54" y="0"/>
                      </a:lnTo>
                      <a:lnTo>
                        <a:pt x="50" y="0"/>
                      </a:lnTo>
                      <a:lnTo>
                        <a:pt x="48" y="3"/>
                      </a:lnTo>
                      <a:lnTo>
                        <a:pt x="24" y="29"/>
                      </a:lnTo>
                      <a:lnTo>
                        <a:pt x="9" y="29"/>
                      </a:lnTo>
                      <a:lnTo>
                        <a:pt x="9" y="29"/>
                      </a:lnTo>
                      <a:lnTo>
                        <a:pt x="5" y="31"/>
                      </a:lnTo>
                      <a:lnTo>
                        <a:pt x="2" y="33"/>
                      </a:lnTo>
                      <a:lnTo>
                        <a:pt x="0" y="36"/>
                      </a:lnTo>
                      <a:lnTo>
                        <a:pt x="0" y="40"/>
                      </a:lnTo>
                      <a:lnTo>
                        <a:pt x="0" y="100"/>
                      </a:lnTo>
                      <a:lnTo>
                        <a:pt x="0" y="100"/>
                      </a:lnTo>
                      <a:lnTo>
                        <a:pt x="0" y="104"/>
                      </a:lnTo>
                      <a:lnTo>
                        <a:pt x="2" y="107"/>
                      </a:lnTo>
                      <a:lnTo>
                        <a:pt x="5" y="110"/>
                      </a:lnTo>
                      <a:lnTo>
                        <a:pt x="9" y="110"/>
                      </a:lnTo>
                      <a:lnTo>
                        <a:pt x="24" y="110"/>
                      </a:lnTo>
                      <a:lnTo>
                        <a:pt x="48" y="138"/>
                      </a:lnTo>
                      <a:lnTo>
                        <a:pt x="48" y="138"/>
                      </a:lnTo>
                      <a:lnTo>
                        <a:pt x="50" y="140"/>
                      </a:lnTo>
                      <a:lnTo>
                        <a:pt x="54" y="140"/>
                      </a:lnTo>
                      <a:lnTo>
                        <a:pt x="119" y="140"/>
                      </a:lnTo>
                      <a:lnTo>
                        <a:pt x="119" y="140"/>
                      </a:lnTo>
                      <a:lnTo>
                        <a:pt x="123" y="140"/>
                      </a:lnTo>
                      <a:lnTo>
                        <a:pt x="125" y="138"/>
                      </a:lnTo>
                      <a:lnTo>
                        <a:pt x="163" y="100"/>
                      </a:lnTo>
                      <a:lnTo>
                        <a:pt x="163" y="100"/>
                      </a:lnTo>
                      <a:lnTo>
                        <a:pt x="164" y="97"/>
                      </a:lnTo>
                      <a:lnTo>
                        <a:pt x="165" y="93"/>
                      </a:lnTo>
                      <a:lnTo>
                        <a:pt x="165" y="80"/>
                      </a:lnTo>
                      <a:lnTo>
                        <a:pt x="180" y="80"/>
                      </a:lnTo>
                      <a:lnTo>
                        <a:pt x="180" y="105"/>
                      </a:lnTo>
                      <a:lnTo>
                        <a:pt x="200" y="105"/>
                      </a:lnTo>
                      <a:lnTo>
                        <a:pt x="200" y="24"/>
                      </a:lnTo>
                      <a:lnTo>
                        <a:pt x="180" y="2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525" name="Rectangle 252"/>
              <p:cNvSpPr>
                <a:spLocks noChangeArrowheads="1"/>
              </p:cNvSpPr>
              <p:nvPr/>
            </p:nvSpPr>
            <p:spPr bwMode="auto">
              <a:xfrm>
                <a:off x="2188341" y="4823178"/>
                <a:ext cx="457200" cy="3846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218" name="Rectangle 1217"/>
            <p:cNvSpPr/>
            <p:nvPr/>
          </p:nvSpPr>
          <p:spPr bwMode="auto">
            <a:xfrm>
              <a:off x="1868054" y="4773415"/>
              <a:ext cx="498103" cy="23461"/>
            </a:xfrm>
            <a:custGeom>
              <a:avLst/>
              <a:gdLst>
                <a:gd name="connsiteX0" fmla="*/ 0 w 498103"/>
                <a:gd name="connsiteY0" fmla="*/ 0 h 23461"/>
                <a:gd name="connsiteX1" fmla="*/ 498103 w 498103"/>
                <a:gd name="connsiteY1" fmla="*/ 0 h 23461"/>
                <a:gd name="connsiteX2" fmla="*/ 498103 w 498103"/>
                <a:gd name="connsiteY2" fmla="*/ 23461 h 23461"/>
                <a:gd name="connsiteX3" fmla="*/ 0 w 498103"/>
                <a:gd name="connsiteY3" fmla="*/ 23461 h 23461"/>
                <a:gd name="connsiteX4" fmla="*/ 0 w 498103"/>
                <a:gd name="connsiteY4" fmla="*/ 0 h 23461"/>
                <a:gd name="connsiteX0" fmla="*/ 0 w 498103"/>
                <a:gd name="connsiteY0" fmla="*/ 0 h 23461"/>
                <a:gd name="connsiteX1" fmla="*/ 498103 w 498103"/>
                <a:gd name="connsiteY1" fmla="*/ 0 h 23461"/>
                <a:gd name="connsiteX2" fmla="*/ 481434 w 498103"/>
                <a:gd name="connsiteY2" fmla="*/ 23461 h 23461"/>
                <a:gd name="connsiteX3" fmla="*/ 0 w 498103"/>
                <a:gd name="connsiteY3" fmla="*/ 23461 h 23461"/>
                <a:gd name="connsiteX4" fmla="*/ 0 w 498103"/>
                <a:gd name="connsiteY4" fmla="*/ 0 h 23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103" h="23461">
                  <a:moveTo>
                    <a:pt x="0" y="0"/>
                  </a:moveTo>
                  <a:lnTo>
                    <a:pt x="498103" y="0"/>
                  </a:lnTo>
                  <a:lnTo>
                    <a:pt x="481434" y="23461"/>
                  </a:lnTo>
                  <a:lnTo>
                    <a:pt x="0" y="23461"/>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812" name="Group 811"/>
          <p:cNvGrpSpPr/>
          <p:nvPr/>
        </p:nvGrpSpPr>
        <p:grpSpPr>
          <a:xfrm rot="8309841" flipH="1">
            <a:off x="1891832" y="4989409"/>
            <a:ext cx="123554" cy="201031"/>
            <a:chOff x="2658904" y="3122439"/>
            <a:chExt cx="81472" cy="132564"/>
          </a:xfrm>
          <a:solidFill>
            <a:schemeClr val="bg1"/>
          </a:solidFill>
        </p:grpSpPr>
        <p:sp>
          <p:nvSpPr>
            <p:cNvPr id="813"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14"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1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816" name="Group 815"/>
          <p:cNvGrpSpPr/>
          <p:nvPr/>
        </p:nvGrpSpPr>
        <p:grpSpPr>
          <a:xfrm rot="13290159">
            <a:off x="645438" y="4998422"/>
            <a:ext cx="123554" cy="201031"/>
            <a:chOff x="2658904" y="3122439"/>
            <a:chExt cx="81472" cy="132564"/>
          </a:xfrm>
          <a:solidFill>
            <a:schemeClr val="bg1"/>
          </a:solidFill>
        </p:grpSpPr>
        <p:sp>
          <p:nvSpPr>
            <p:cNvPr id="817"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18"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19"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820" name="Group 819"/>
          <p:cNvGrpSpPr/>
          <p:nvPr/>
        </p:nvGrpSpPr>
        <p:grpSpPr>
          <a:xfrm rot="13290159">
            <a:off x="1292681" y="4977029"/>
            <a:ext cx="123554" cy="201031"/>
            <a:chOff x="2658904" y="3122439"/>
            <a:chExt cx="81472" cy="132564"/>
          </a:xfrm>
          <a:solidFill>
            <a:schemeClr val="bg1"/>
          </a:solidFill>
        </p:grpSpPr>
        <p:sp>
          <p:nvSpPr>
            <p:cNvPr id="821"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2"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3"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20" name="Group 1219"/>
          <p:cNvGrpSpPr/>
          <p:nvPr/>
        </p:nvGrpSpPr>
        <p:grpSpPr>
          <a:xfrm flipH="1">
            <a:off x="1559196" y="4504147"/>
            <a:ext cx="182728" cy="302170"/>
            <a:chOff x="1431982" y="3952664"/>
            <a:chExt cx="235376" cy="389231"/>
          </a:xfrm>
        </p:grpSpPr>
        <p:sp>
          <p:nvSpPr>
            <p:cNvPr id="1219" name="Oval 1218"/>
            <p:cNvSpPr/>
            <p:nvPr/>
          </p:nvSpPr>
          <p:spPr bwMode="auto">
            <a:xfrm>
              <a:off x="1455850" y="3982329"/>
              <a:ext cx="180319" cy="18031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08" name="Freeform 224"/>
            <p:cNvSpPr>
              <a:spLocks/>
            </p:cNvSpPr>
            <p:nvPr/>
          </p:nvSpPr>
          <p:spPr bwMode="auto">
            <a:xfrm>
              <a:off x="1431982" y="3952664"/>
              <a:ext cx="235376" cy="389231"/>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3"/>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64" name="Group 863"/>
          <p:cNvGrpSpPr/>
          <p:nvPr/>
        </p:nvGrpSpPr>
        <p:grpSpPr>
          <a:xfrm>
            <a:off x="2205808" y="2948393"/>
            <a:ext cx="169777" cy="328269"/>
            <a:chOff x="3059507" y="1275356"/>
            <a:chExt cx="631982" cy="1221956"/>
          </a:xfrm>
        </p:grpSpPr>
        <p:sp>
          <p:nvSpPr>
            <p:cNvPr id="948" name="Freeform 17"/>
            <p:cNvSpPr>
              <a:spLocks noEditPoints="1"/>
            </p:cNvSpPr>
            <p:nvPr/>
          </p:nvSpPr>
          <p:spPr bwMode="black">
            <a:xfrm>
              <a:off x="3074324" y="1424579"/>
              <a:ext cx="598588" cy="1072733"/>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B3B41"/>
                </a:solidFill>
                <a:effectLst/>
                <a:uLnTx/>
                <a:uFillTx/>
              </a:endParaRPr>
            </a:p>
          </p:txBody>
        </p:sp>
        <p:sp>
          <p:nvSpPr>
            <p:cNvPr id="949" name="Rounded Rectangle 948"/>
            <p:cNvSpPr/>
            <p:nvPr/>
          </p:nvSpPr>
          <p:spPr bwMode="auto">
            <a:xfrm rot="2428155">
              <a:off x="3059507" y="1275356"/>
              <a:ext cx="72761" cy="339062"/>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86" name="Rounded Rectangle 985"/>
            <p:cNvSpPr/>
            <p:nvPr/>
          </p:nvSpPr>
          <p:spPr bwMode="auto">
            <a:xfrm rot="19607745">
              <a:off x="3618728" y="1278217"/>
              <a:ext cx="72761" cy="339062"/>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866" name="Freeform 144"/>
          <p:cNvSpPr>
            <a:spLocks noEditPoints="1"/>
          </p:cNvSpPr>
          <p:nvPr/>
        </p:nvSpPr>
        <p:spPr bwMode="black">
          <a:xfrm flipH="1">
            <a:off x="4164531" y="3005030"/>
            <a:ext cx="136615" cy="241187"/>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868" name="Group 867"/>
          <p:cNvGrpSpPr/>
          <p:nvPr/>
        </p:nvGrpSpPr>
        <p:grpSpPr>
          <a:xfrm rot="2362253" flipH="1">
            <a:off x="387211" y="1323551"/>
            <a:ext cx="310892" cy="221182"/>
            <a:chOff x="681815" y="1311965"/>
            <a:chExt cx="433375" cy="308322"/>
          </a:xfrm>
          <a:solidFill>
            <a:schemeClr val="bg2">
              <a:lumMod val="50000"/>
            </a:schemeClr>
          </a:solidFill>
        </p:grpSpPr>
        <p:sp>
          <p:nvSpPr>
            <p:cNvPr id="884" name="Freeform 132"/>
            <p:cNvSpPr>
              <a:spLocks/>
            </p:cNvSpPr>
            <p:nvPr/>
          </p:nvSpPr>
          <p:spPr bwMode="auto">
            <a:xfrm>
              <a:off x="681815" y="1311965"/>
              <a:ext cx="433375" cy="308322"/>
            </a:xfrm>
            <a:custGeom>
              <a:avLst/>
              <a:gdLst>
                <a:gd name="T0" fmla="*/ 592 w 602"/>
                <a:gd name="T1" fmla="*/ 368 h 429"/>
                <a:gd name="T2" fmla="*/ 592 w 602"/>
                <a:gd name="T3" fmla="*/ 368 h 429"/>
                <a:gd name="T4" fmla="*/ 586 w 602"/>
                <a:gd name="T5" fmla="*/ 373 h 429"/>
                <a:gd name="T6" fmla="*/ 581 w 602"/>
                <a:gd name="T7" fmla="*/ 376 h 429"/>
                <a:gd name="T8" fmla="*/ 574 w 602"/>
                <a:gd name="T9" fmla="*/ 378 h 429"/>
                <a:gd name="T10" fmla="*/ 568 w 602"/>
                <a:gd name="T11" fmla="*/ 380 h 429"/>
                <a:gd name="T12" fmla="*/ 553 w 602"/>
                <a:gd name="T13" fmla="*/ 381 h 429"/>
                <a:gd name="T14" fmla="*/ 538 w 602"/>
                <a:gd name="T15" fmla="*/ 380 h 429"/>
                <a:gd name="T16" fmla="*/ 522 w 602"/>
                <a:gd name="T17" fmla="*/ 377 h 429"/>
                <a:gd name="T18" fmla="*/ 508 w 602"/>
                <a:gd name="T19" fmla="*/ 373 h 429"/>
                <a:gd name="T20" fmla="*/ 478 w 602"/>
                <a:gd name="T21" fmla="*/ 364 h 429"/>
                <a:gd name="T22" fmla="*/ 478 w 602"/>
                <a:gd name="T23" fmla="*/ 364 h 429"/>
                <a:gd name="T24" fmla="*/ 425 w 602"/>
                <a:gd name="T25" fmla="*/ 347 h 429"/>
                <a:gd name="T26" fmla="*/ 371 w 602"/>
                <a:gd name="T27" fmla="*/ 330 h 429"/>
                <a:gd name="T28" fmla="*/ 371 w 602"/>
                <a:gd name="T29" fmla="*/ 330 h 429"/>
                <a:gd name="T30" fmla="*/ 327 w 602"/>
                <a:gd name="T31" fmla="*/ 346 h 429"/>
                <a:gd name="T32" fmla="*/ 279 w 602"/>
                <a:gd name="T33" fmla="*/ 365 h 429"/>
                <a:gd name="T34" fmla="*/ 184 w 602"/>
                <a:gd name="T35" fmla="*/ 404 h 429"/>
                <a:gd name="T36" fmla="*/ 184 w 602"/>
                <a:gd name="T37" fmla="*/ 404 h 429"/>
                <a:gd name="T38" fmla="*/ 152 w 602"/>
                <a:gd name="T39" fmla="*/ 417 h 429"/>
                <a:gd name="T40" fmla="*/ 136 w 602"/>
                <a:gd name="T41" fmla="*/ 422 h 429"/>
                <a:gd name="T42" fmla="*/ 120 w 602"/>
                <a:gd name="T43" fmla="*/ 426 h 429"/>
                <a:gd name="T44" fmla="*/ 120 w 602"/>
                <a:gd name="T45" fmla="*/ 426 h 429"/>
                <a:gd name="T46" fmla="*/ 112 w 602"/>
                <a:gd name="T47" fmla="*/ 428 h 429"/>
                <a:gd name="T48" fmla="*/ 103 w 602"/>
                <a:gd name="T49" fmla="*/ 429 h 429"/>
                <a:gd name="T50" fmla="*/ 95 w 602"/>
                <a:gd name="T51" fmla="*/ 428 h 429"/>
                <a:gd name="T52" fmla="*/ 87 w 602"/>
                <a:gd name="T53" fmla="*/ 426 h 429"/>
                <a:gd name="T54" fmla="*/ 72 w 602"/>
                <a:gd name="T55" fmla="*/ 422 h 429"/>
                <a:gd name="T56" fmla="*/ 58 w 602"/>
                <a:gd name="T57" fmla="*/ 416 h 429"/>
                <a:gd name="T58" fmla="*/ 58 w 602"/>
                <a:gd name="T59" fmla="*/ 416 h 429"/>
                <a:gd name="T60" fmla="*/ 62 w 602"/>
                <a:gd name="T61" fmla="*/ 409 h 429"/>
                <a:gd name="T62" fmla="*/ 66 w 602"/>
                <a:gd name="T63" fmla="*/ 404 h 429"/>
                <a:gd name="T64" fmla="*/ 77 w 602"/>
                <a:gd name="T65" fmla="*/ 394 h 429"/>
                <a:gd name="T66" fmla="*/ 100 w 602"/>
                <a:gd name="T67" fmla="*/ 378 h 429"/>
                <a:gd name="T68" fmla="*/ 100 w 602"/>
                <a:gd name="T69" fmla="*/ 378 h 429"/>
                <a:gd name="T70" fmla="*/ 235 w 602"/>
                <a:gd name="T71" fmla="*/ 282 h 429"/>
                <a:gd name="T72" fmla="*/ 0 w 602"/>
                <a:gd name="T73" fmla="*/ 166 h 429"/>
                <a:gd name="T74" fmla="*/ 37 w 602"/>
                <a:gd name="T75" fmla="*/ 0 h 429"/>
                <a:gd name="T76" fmla="*/ 64 w 602"/>
                <a:gd name="T77" fmla="*/ 13 h 429"/>
                <a:gd name="T78" fmla="*/ 87 w 602"/>
                <a:gd name="T79" fmla="*/ 114 h 429"/>
                <a:gd name="T80" fmla="*/ 87 w 602"/>
                <a:gd name="T81" fmla="*/ 114 h 429"/>
                <a:gd name="T82" fmla="*/ 159 w 602"/>
                <a:gd name="T83" fmla="*/ 140 h 429"/>
                <a:gd name="T84" fmla="*/ 159 w 602"/>
                <a:gd name="T85" fmla="*/ 140 h 429"/>
                <a:gd name="T86" fmla="*/ 266 w 602"/>
                <a:gd name="T87" fmla="*/ 179 h 429"/>
                <a:gd name="T88" fmla="*/ 373 w 602"/>
                <a:gd name="T89" fmla="*/ 218 h 429"/>
                <a:gd name="T90" fmla="*/ 373 w 602"/>
                <a:gd name="T91" fmla="*/ 218 h 429"/>
                <a:gd name="T92" fmla="*/ 445 w 602"/>
                <a:gd name="T93" fmla="*/ 242 h 429"/>
                <a:gd name="T94" fmla="*/ 482 w 602"/>
                <a:gd name="T95" fmla="*/ 255 h 429"/>
                <a:gd name="T96" fmla="*/ 517 w 602"/>
                <a:gd name="T97" fmla="*/ 270 h 429"/>
                <a:gd name="T98" fmla="*/ 517 w 602"/>
                <a:gd name="T99" fmla="*/ 270 h 429"/>
                <a:gd name="T100" fmla="*/ 552 w 602"/>
                <a:gd name="T101" fmla="*/ 286 h 429"/>
                <a:gd name="T102" fmla="*/ 569 w 602"/>
                <a:gd name="T103" fmla="*/ 294 h 429"/>
                <a:gd name="T104" fmla="*/ 584 w 602"/>
                <a:gd name="T105" fmla="*/ 305 h 429"/>
                <a:gd name="T106" fmla="*/ 590 w 602"/>
                <a:gd name="T107" fmla="*/ 310 h 429"/>
                <a:gd name="T108" fmla="*/ 596 w 602"/>
                <a:gd name="T109" fmla="*/ 317 h 429"/>
                <a:gd name="T110" fmla="*/ 600 w 602"/>
                <a:gd name="T111" fmla="*/ 323 h 429"/>
                <a:gd name="T112" fmla="*/ 601 w 602"/>
                <a:gd name="T113" fmla="*/ 331 h 429"/>
                <a:gd name="T114" fmla="*/ 602 w 602"/>
                <a:gd name="T115" fmla="*/ 339 h 429"/>
                <a:gd name="T116" fmla="*/ 601 w 602"/>
                <a:gd name="T117" fmla="*/ 347 h 429"/>
                <a:gd name="T118" fmla="*/ 597 w 602"/>
                <a:gd name="T119" fmla="*/ 358 h 429"/>
                <a:gd name="T120" fmla="*/ 592 w 602"/>
                <a:gd name="T121" fmla="*/ 368 h 429"/>
                <a:gd name="T122" fmla="*/ 592 w 602"/>
                <a:gd name="T123" fmla="*/ 36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2" h="429">
                  <a:moveTo>
                    <a:pt x="592" y="368"/>
                  </a:moveTo>
                  <a:lnTo>
                    <a:pt x="592" y="368"/>
                  </a:lnTo>
                  <a:lnTo>
                    <a:pt x="586" y="373"/>
                  </a:lnTo>
                  <a:lnTo>
                    <a:pt x="581" y="376"/>
                  </a:lnTo>
                  <a:lnTo>
                    <a:pt x="574" y="378"/>
                  </a:lnTo>
                  <a:lnTo>
                    <a:pt x="568" y="380"/>
                  </a:lnTo>
                  <a:lnTo>
                    <a:pt x="553" y="381"/>
                  </a:lnTo>
                  <a:lnTo>
                    <a:pt x="538" y="380"/>
                  </a:lnTo>
                  <a:lnTo>
                    <a:pt x="522" y="377"/>
                  </a:lnTo>
                  <a:lnTo>
                    <a:pt x="508" y="373"/>
                  </a:lnTo>
                  <a:lnTo>
                    <a:pt x="478" y="364"/>
                  </a:lnTo>
                  <a:lnTo>
                    <a:pt x="478" y="364"/>
                  </a:lnTo>
                  <a:lnTo>
                    <a:pt x="425" y="347"/>
                  </a:lnTo>
                  <a:lnTo>
                    <a:pt x="371" y="330"/>
                  </a:lnTo>
                  <a:lnTo>
                    <a:pt x="371" y="330"/>
                  </a:lnTo>
                  <a:lnTo>
                    <a:pt x="327" y="346"/>
                  </a:lnTo>
                  <a:lnTo>
                    <a:pt x="279" y="365"/>
                  </a:lnTo>
                  <a:lnTo>
                    <a:pt x="184" y="404"/>
                  </a:lnTo>
                  <a:lnTo>
                    <a:pt x="184" y="404"/>
                  </a:lnTo>
                  <a:lnTo>
                    <a:pt x="152" y="417"/>
                  </a:lnTo>
                  <a:lnTo>
                    <a:pt x="136" y="422"/>
                  </a:lnTo>
                  <a:lnTo>
                    <a:pt x="120" y="426"/>
                  </a:lnTo>
                  <a:lnTo>
                    <a:pt x="120" y="426"/>
                  </a:lnTo>
                  <a:lnTo>
                    <a:pt x="112" y="428"/>
                  </a:lnTo>
                  <a:lnTo>
                    <a:pt x="103" y="429"/>
                  </a:lnTo>
                  <a:lnTo>
                    <a:pt x="95" y="428"/>
                  </a:lnTo>
                  <a:lnTo>
                    <a:pt x="87" y="426"/>
                  </a:lnTo>
                  <a:lnTo>
                    <a:pt x="72" y="422"/>
                  </a:lnTo>
                  <a:lnTo>
                    <a:pt x="58" y="416"/>
                  </a:lnTo>
                  <a:lnTo>
                    <a:pt x="58" y="416"/>
                  </a:lnTo>
                  <a:lnTo>
                    <a:pt x="62" y="409"/>
                  </a:lnTo>
                  <a:lnTo>
                    <a:pt x="66" y="404"/>
                  </a:lnTo>
                  <a:lnTo>
                    <a:pt x="77" y="394"/>
                  </a:lnTo>
                  <a:lnTo>
                    <a:pt x="100" y="378"/>
                  </a:lnTo>
                  <a:lnTo>
                    <a:pt x="100" y="378"/>
                  </a:lnTo>
                  <a:lnTo>
                    <a:pt x="235" y="282"/>
                  </a:lnTo>
                  <a:lnTo>
                    <a:pt x="0" y="166"/>
                  </a:lnTo>
                  <a:lnTo>
                    <a:pt x="37" y="0"/>
                  </a:lnTo>
                  <a:lnTo>
                    <a:pt x="64" y="13"/>
                  </a:lnTo>
                  <a:lnTo>
                    <a:pt x="87" y="114"/>
                  </a:lnTo>
                  <a:lnTo>
                    <a:pt x="87" y="114"/>
                  </a:lnTo>
                  <a:lnTo>
                    <a:pt x="159" y="140"/>
                  </a:lnTo>
                  <a:lnTo>
                    <a:pt x="159" y="140"/>
                  </a:lnTo>
                  <a:lnTo>
                    <a:pt x="266" y="179"/>
                  </a:lnTo>
                  <a:lnTo>
                    <a:pt x="373" y="218"/>
                  </a:lnTo>
                  <a:lnTo>
                    <a:pt x="373" y="218"/>
                  </a:lnTo>
                  <a:lnTo>
                    <a:pt x="445" y="242"/>
                  </a:lnTo>
                  <a:lnTo>
                    <a:pt x="482" y="255"/>
                  </a:lnTo>
                  <a:lnTo>
                    <a:pt x="517" y="270"/>
                  </a:lnTo>
                  <a:lnTo>
                    <a:pt x="517" y="270"/>
                  </a:lnTo>
                  <a:lnTo>
                    <a:pt x="552" y="286"/>
                  </a:lnTo>
                  <a:lnTo>
                    <a:pt x="569" y="294"/>
                  </a:lnTo>
                  <a:lnTo>
                    <a:pt x="584" y="305"/>
                  </a:lnTo>
                  <a:lnTo>
                    <a:pt x="590" y="310"/>
                  </a:lnTo>
                  <a:lnTo>
                    <a:pt x="596" y="317"/>
                  </a:lnTo>
                  <a:lnTo>
                    <a:pt x="600" y="323"/>
                  </a:lnTo>
                  <a:lnTo>
                    <a:pt x="601" y="331"/>
                  </a:lnTo>
                  <a:lnTo>
                    <a:pt x="602" y="339"/>
                  </a:lnTo>
                  <a:lnTo>
                    <a:pt x="601" y="347"/>
                  </a:lnTo>
                  <a:lnTo>
                    <a:pt x="597" y="358"/>
                  </a:lnTo>
                  <a:lnTo>
                    <a:pt x="592" y="368"/>
                  </a:lnTo>
                  <a:lnTo>
                    <a:pt x="592"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85" name="Freeform 133"/>
            <p:cNvSpPr>
              <a:spLocks/>
            </p:cNvSpPr>
            <p:nvPr/>
          </p:nvSpPr>
          <p:spPr bwMode="auto">
            <a:xfrm rot="21486454">
              <a:off x="852802" y="1336007"/>
              <a:ext cx="90556" cy="134619"/>
            </a:xfrm>
            <a:custGeom>
              <a:avLst/>
              <a:gdLst>
                <a:gd name="T0" fmla="*/ 127 w 127"/>
                <a:gd name="T1" fmla="*/ 155 h 155"/>
                <a:gd name="T2" fmla="*/ 127 w 127"/>
                <a:gd name="T3" fmla="*/ 155 h 155"/>
                <a:gd name="T4" fmla="*/ 91 w 127"/>
                <a:gd name="T5" fmla="*/ 143 h 155"/>
                <a:gd name="T6" fmla="*/ 58 w 127"/>
                <a:gd name="T7" fmla="*/ 131 h 155"/>
                <a:gd name="T8" fmla="*/ 28 w 127"/>
                <a:gd name="T9" fmla="*/ 122 h 155"/>
                <a:gd name="T10" fmla="*/ 28 w 127"/>
                <a:gd name="T11" fmla="*/ 122 h 155"/>
                <a:gd name="T12" fmla="*/ 20 w 127"/>
                <a:gd name="T13" fmla="*/ 92 h 155"/>
                <a:gd name="T14" fmla="*/ 12 w 127"/>
                <a:gd name="T15" fmla="*/ 63 h 155"/>
                <a:gd name="T16" fmla="*/ 4 w 127"/>
                <a:gd name="T17" fmla="*/ 33 h 155"/>
                <a:gd name="T18" fmla="*/ 1 w 127"/>
                <a:gd name="T19" fmla="*/ 19 h 155"/>
                <a:gd name="T20" fmla="*/ 0 w 127"/>
                <a:gd name="T21" fmla="*/ 4 h 155"/>
                <a:gd name="T22" fmla="*/ 0 w 127"/>
                <a:gd name="T23" fmla="*/ 4 h 155"/>
                <a:gd name="T24" fmla="*/ 0 w 127"/>
                <a:gd name="T25" fmla="*/ 1 h 155"/>
                <a:gd name="T26" fmla="*/ 1 w 127"/>
                <a:gd name="T27" fmla="*/ 0 h 155"/>
                <a:gd name="T28" fmla="*/ 1 w 127"/>
                <a:gd name="T29" fmla="*/ 0 h 155"/>
                <a:gd name="T30" fmla="*/ 15 w 127"/>
                <a:gd name="T31" fmla="*/ 5 h 155"/>
                <a:gd name="T32" fmla="*/ 27 w 127"/>
                <a:gd name="T33" fmla="*/ 12 h 155"/>
                <a:gd name="T34" fmla="*/ 42 w 127"/>
                <a:gd name="T35" fmla="*/ 21 h 155"/>
                <a:gd name="T36" fmla="*/ 127 w 127"/>
                <a:gd name="T3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55">
                  <a:moveTo>
                    <a:pt x="127" y="155"/>
                  </a:moveTo>
                  <a:lnTo>
                    <a:pt x="127" y="155"/>
                  </a:lnTo>
                  <a:lnTo>
                    <a:pt x="91" y="143"/>
                  </a:lnTo>
                  <a:lnTo>
                    <a:pt x="58" y="131"/>
                  </a:lnTo>
                  <a:lnTo>
                    <a:pt x="28" y="122"/>
                  </a:lnTo>
                  <a:lnTo>
                    <a:pt x="28" y="122"/>
                  </a:lnTo>
                  <a:lnTo>
                    <a:pt x="20" y="92"/>
                  </a:lnTo>
                  <a:lnTo>
                    <a:pt x="12" y="63"/>
                  </a:lnTo>
                  <a:lnTo>
                    <a:pt x="4" y="33"/>
                  </a:lnTo>
                  <a:lnTo>
                    <a:pt x="1" y="19"/>
                  </a:lnTo>
                  <a:lnTo>
                    <a:pt x="0" y="4"/>
                  </a:lnTo>
                  <a:lnTo>
                    <a:pt x="0" y="4"/>
                  </a:lnTo>
                  <a:lnTo>
                    <a:pt x="0" y="1"/>
                  </a:lnTo>
                  <a:lnTo>
                    <a:pt x="1" y="0"/>
                  </a:lnTo>
                  <a:lnTo>
                    <a:pt x="1" y="0"/>
                  </a:lnTo>
                  <a:lnTo>
                    <a:pt x="15" y="5"/>
                  </a:lnTo>
                  <a:lnTo>
                    <a:pt x="27" y="12"/>
                  </a:lnTo>
                  <a:lnTo>
                    <a:pt x="42" y="21"/>
                  </a:lnTo>
                  <a:lnTo>
                    <a:pt x="127"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76" name="Group 1375"/>
          <p:cNvGrpSpPr/>
          <p:nvPr/>
        </p:nvGrpSpPr>
        <p:grpSpPr>
          <a:xfrm>
            <a:off x="5369661" y="1260647"/>
            <a:ext cx="2013275" cy="945371"/>
            <a:chOff x="6295003" y="2523962"/>
            <a:chExt cx="1866243" cy="655550"/>
          </a:xfrm>
        </p:grpSpPr>
        <p:sp>
          <p:nvSpPr>
            <p:cNvPr id="502" name="Rectangle 501"/>
            <p:cNvSpPr/>
            <p:nvPr/>
          </p:nvSpPr>
          <p:spPr bwMode="auto">
            <a:xfrm>
              <a:off x="6295003" y="2523962"/>
              <a:ext cx="1865100" cy="650778"/>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Reduce congestion and wasted hours and increase revenue through secure automated tolling systems with license plate recognition and incentivized off-peak travel</a:t>
              </a:r>
            </a:p>
          </p:txBody>
        </p:sp>
        <p:cxnSp>
          <p:nvCxnSpPr>
            <p:cNvPr id="803" name="Straight Connector 802"/>
            <p:cNvCxnSpPr/>
            <p:nvPr/>
          </p:nvCxnSpPr>
          <p:spPr>
            <a:xfrm flipH="1">
              <a:off x="6304274" y="3179512"/>
              <a:ext cx="185697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47" name="Group 646"/>
          <p:cNvGrpSpPr>
            <a:grpSpLocks noChangeAspect="1"/>
          </p:cNvGrpSpPr>
          <p:nvPr/>
        </p:nvGrpSpPr>
        <p:grpSpPr>
          <a:xfrm>
            <a:off x="5895258" y="3240498"/>
            <a:ext cx="325237" cy="271030"/>
            <a:chOff x="8316853" y="2640409"/>
            <a:chExt cx="414001" cy="379500"/>
          </a:xfrm>
        </p:grpSpPr>
        <p:sp>
          <p:nvSpPr>
            <p:cNvPr id="662" name="Rectangle 661"/>
            <p:cNvSpPr/>
            <p:nvPr/>
          </p:nvSpPr>
          <p:spPr bwMode="auto">
            <a:xfrm>
              <a:off x="8335671" y="2803820"/>
              <a:ext cx="376365" cy="1202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665" name="Group 664"/>
            <p:cNvGrpSpPr/>
            <p:nvPr/>
          </p:nvGrpSpPr>
          <p:grpSpPr>
            <a:xfrm>
              <a:off x="8316853" y="2640409"/>
              <a:ext cx="414001" cy="379500"/>
              <a:chOff x="8316853" y="2640409"/>
              <a:chExt cx="414001" cy="379500"/>
            </a:xfrm>
          </p:grpSpPr>
          <p:sp>
            <p:nvSpPr>
              <p:cNvPr id="666" name="Rectangle 665"/>
              <p:cNvSpPr/>
              <p:nvPr/>
            </p:nvSpPr>
            <p:spPr bwMode="auto">
              <a:xfrm>
                <a:off x="8366141" y="2668299"/>
                <a:ext cx="307365" cy="104794"/>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67" name="Freeform 65"/>
              <p:cNvSpPr>
                <a:spLocks noEditPoints="1"/>
              </p:cNvSpPr>
              <p:nvPr/>
            </p:nvSpPr>
            <p:spPr bwMode="auto">
              <a:xfrm>
                <a:off x="8316853" y="2640409"/>
                <a:ext cx="414001" cy="379500"/>
              </a:xfrm>
              <a:custGeom>
                <a:avLst/>
                <a:gdLst>
                  <a:gd name="T0" fmla="*/ 1083 w 1261"/>
                  <a:gd name="T1" fmla="*/ 59 h 1154"/>
                  <a:gd name="T2" fmla="*/ 1025 w 1261"/>
                  <a:gd name="T3" fmla="*/ 13 h 1154"/>
                  <a:gd name="T4" fmla="*/ 296 w 1261"/>
                  <a:gd name="T5" fmla="*/ 0 h 1154"/>
                  <a:gd name="T6" fmla="*/ 223 w 1261"/>
                  <a:gd name="T7" fmla="*/ 19 h 1154"/>
                  <a:gd name="T8" fmla="*/ 165 w 1261"/>
                  <a:gd name="T9" fmla="*/ 78 h 1154"/>
                  <a:gd name="T10" fmla="*/ 56 w 1261"/>
                  <a:gd name="T11" fmla="*/ 457 h 1154"/>
                  <a:gd name="T12" fmla="*/ 3 w 1261"/>
                  <a:gd name="T13" fmla="*/ 523 h 1154"/>
                  <a:gd name="T14" fmla="*/ 3 w 1261"/>
                  <a:gd name="T15" fmla="*/ 833 h 1154"/>
                  <a:gd name="T16" fmla="*/ 52 w 1261"/>
                  <a:gd name="T17" fmla="*/ 906 h 1154"/>
                  <a:gd name="T18" fmla="*/ 108 w 1261"/>
                  <a:gd name="T19" fmla="*/ 1147 h 1154"/>
                  <a:gd name="T20" fmla="*/ 174 w 1261"/>
                  <a:gd name="T21" fmla="*/ 1150 h 1154"/>
                  <a:gd name="T22" fmla="*/ 246 w 1261"/>
                  <a:gd name="T23" fmla="*/ 1109 h 1154"/>
                  <a:gd name="T24" fmla="*/ 1016 w 1261"/>
                  <a:gd name="T25" fmla="*/ 1109 h 1154"/>
                  <a:gd name="T26" fmla="*/ 1075 w 1261"/>
                  <a:gd name="T27" fmla="*/ 1147 h 1154"/>
                  <a:gd name="T28" fmla="*/ 1142 w 1261"/>
                  <a:gd name="T29" fmla="*/ 1150 h 1154"/>
                  <a:gd name="T30" fmla="*/ 1206 w 1261"/>
                  <a:gd name="T31" fmla="*/ 1109 h 1154"/>
                  <a:gd name="T32" fmla="*/ 1249 w 1261"/>
                  <a:gd name="T33" fmla="*/ 861 h 1154"/>
                  <a:gd name="T34" fmla="*/ 1261 w 1261"/>
                  <a:gd name="T35" fmla="*/ 539 h 1154"/>
                  <a:gd name="T36" fmla="*/ 1234 w 1261"/>
                  <a:gd name="T37" fmla="*/ 479 h 1154"/>
                  <a:gd name="T38" fmla="*/ 157 w 1261"/>
                  <a:gd name="T39" fmla="*/ 682 h 1154"/>
                  <a:gd name="T40" fmla="*/ 116 w 1261"/>
                  <a:gd name="T41" fmla="*/ 671 h 1154"/>
                  <a:gd name="T42" fmla="*/ 78 w 1261"/>
                  <a:gd name="T43" fmla="*/ 628 h 1154"/>
                  <a:gd name="T44" fmla="*/ 71 w 1261"/>
                  <a:gd name="T45" fmla="*/ 584 h 1154"/>
                  <a:gd name="T46" fmla="*/ 96 w 1261"/>
                  <a:gd name="T47" fmla="*/ 531 h 1154"/>
                  <a:gd name="T48" fmla="*/ 139 w 1261"/>
                  <a:gd name="T49" fmla="*/ 507 h 1154"/>
                  <a:gd name="T50" fmla="*/ 183 w 1261"/>
                  <a:gd name="T51" fmla="*/ 509 h 1154"/>
                  <a:gd name="T52" fmla="*/ 229 w 1261"/>
                  <a:gd name="T53" fmla="*/ 544 h 1154"/>
                  <a:gd name="T54" fmla="*/ 243 w 1261"/>
                  <a:gd name="T55" fmla="*/ 594 h 1154"/>
                  <a:gd name="T56" fmla="*/ 233 w 1261"/>
                  <a:gd name="T57" fmla="*/ 636 h 1154"/>
                  <a:gd name="T58" fmla="*/ 190 w 1261"/>
                  <a:gd name="T59" fmla="*/ 675 h 1154"/>
                  <a:gd name="T60" fmla="*/ 952 w 1261"/>
                  <a:gd name="T61" fmla="*/ 827 h 1154"/>
                  <a:gd name="T62" fmla="*/ 631 w 1261"/>
                  <a:gd name="T63" fmla="*/ 789 h 1154"/>
                  <a:gd name="T64" fmla="*/ 308 w 1261"/>
                  <a:gd name="T65" fmla="*/ 739 h 1154"/>
                  <a:gd name="T66" fmla="*/ 308 w 1261"/>
                  <a:gd name="T67" fmla="*/ 638 h 1154"/>
                  <a:gd name="T68" fmla="*/ 952 w 1261"/>
                  <a:gd name="T69" fmla="*/ 638 h 1154"/>
                  <a:gd name="T70" fmla="*/ 263 w 1261"/>
                  <a:gd name="T71" fmla="*/ 393 h 1154"/>
                  <a:gd name="T72" fmla="*/ 191 w 1261"/>
                  <a:gd name="T73" fmla="*/ 377 h 1154"/>
                  <a:gd name="T74" fmla="*/ 171 w 1261"/>
                  <a:gd name="T75" fmla="*/ 336 h 1154"/>
                  <a:gd name="T76" fmla="*/ 203 w 1261"/>
                  <a:gd name="T77" fmla="*/ 178 h 1154"/>
                  <a:gd name="T78" fmla="*/ 282 w 1261"/>
                  <a:gd name="T79" fmla="*/ 115 h 1154"/>
                  <a:gd name="T80" fmla="*/ 441 w 1261"/>
                  <a:gd name="T81" fmla="*/ 94 h 1154"/>
                  <a:gd name="T82" fmla="*/ 925 w 1261"/>
                  <a:gd name="T83" fmla="*/ 100 h 1154"/>
                  <a:gd name="T84" fmla="*/ 1025 w 1261"/>
                  <a:gd name="T85" fmla="*/ 139 h 1154"/>
                  <a:gd name="T86" fmla="*/ 1087 w 1261"/>
                  <a:gd name="T87" fmla="*/ 316 h 1154"/>
                  <a:gd name="T88" fmla="*/ 1084 w 1261"/>
                  <a:gd name="T89" fmla="*/ 360 h 1154"/>
                  <a:gd name="T90" fmla="*/ 1049 w 1261"/>
                  <a:gd name="T91" fmla="*/ 388 h 1154"/>
                  <a:gd name="T92" fmla="*/ 1100 w 1261"/>
                  <a:gd name="T93" fmla="*/ 682 h 1154"/>
                  <a:gd name="T94" fmla="*/ 1052 w 1261"/>
                  <a:gd name="T95" fmla="*/ 667 h 1154"/>
                  <a:gd name="T96" fmla="*/ 1017 w 1261"/>
                  <a:gd name="T97" fmla="*/ 620 h 1154"/>
                  <a:gd name="T98" fmla="*/ 1016 w 1261"/>
                  <a:gd name="T99" fmla="*/ 576 h 1154"/>
                  <a:gd name="T100" fmla="*/ 1045 w 1261"/>
                  <a:gd name="T101" fmla="*/ 525 h 1154"/>
                  <a:gd name="T102" fmla="*/ 1091 w 1261"/>
                  <a:gd name="T103" fmla="*/ 505 h 1154"/>
                  <a:gd name="T104" fmla="*/ 1134 w 1261"/>
                  <a:gd name="T105" fmla="*/ 512 h 1154"/>
                  <a:gd name="T106" fmla="*/ 1175 w 1261"/>
                  <a:gd name="T107" fmla="*/ 551 h 1154"/>
                  <a:gd name="T108" fmla="*/ 1186 w 1261"/>
                  <a:gd name="T109" fmla="*/ 594 h 1154"/>
                  <a:gd name="T110" fmla="*/ 1171 w 1261"/>
                  <a:gd name="T111" fmla="*/ 643 h 1154"/>
                  <a:gd name="T112" fmla="*/ 1126 w 1261"/>
                  <a:gd name="T113" fmla="*/ 678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1" h="1154">
                    <a:moveTo>
                      <a:pt x="1175" y="445"/>
                    </a:moveTo>
                    <a:lnTo>
                      <a:pt x="1108" y="110"/>
                    </a:lnTo>
                    <a:lnTo>
                      <a:pt x="1108" y="110"/>
                    </a:lnTo>
                    <a:lnTo>
                      <a:pt x="1103" y="94"/>
                    </a:lnTo>
                    <a:lnTo>
                      <a:pt x="1095" y="78"/>
                    </a:lnTo>
                    <a:lnTo>
                      <a:pt x="1083" y="59"/>
                    </a:lnTo>
                    <a:lnTo>
                      <a:pt x="1076" y="51"/>
                    </a:lnTo>
                    <a:lnTo>
                      <a:pt x="1068" y="42"/>
                    </a:lnTo>
                    <a:lnTo>
                      <a:pt x="1059" y="34"/>
                    </a:lnTo>
                    <a:lnTo>
                      <a:pt x="1048" y="26"/>
                    </a:lnTo>
                    <a:lnTo>
                      <a:pt x="1037" y="19"/>
                    </a:lnTo>
                    <a:lnTo>
                      <a:pt x="1025" y="13"/>
                    </a:lnTo>
                    <a:lnTo>
                      <a:pt x="1012" y="8"/>
                    </a:lnTo>
                    <a:lnTo>
                      <a:pt x="999" y="4"/>
                    </a:lnTo>
                    <a:lnTo>
                      <a:pt x="983" y="1"/>
                    </a:lnTo>
                    <a:lnTo>
                      <a:pt x="967" y="0"/>
                    </a:lnTo>
                    <a:lnTo>
                      <a:pt x="631" y="0"/>
                    </a:lnTo>
                    <a:lnTo>
                      <a:pt x="296" y="0"/>
                    </a:lnTo>
                    <a:lnTo>
                      <a:pt x="296" y="0"/>
                    </a:lnTo>
                    <a:lnTo>
                      <a:pt x="278" y="1"/>
                    </a:lnTo>
                    <a:lnTo>
                      <a:pt x="263" y="4"/>
                    </a:lnTo>
                    <a:lnTo>
                      <a:pt x="249" y="8"/>
                    </a:lnTo>
                    <a:lnTo>
                      <a:pt x="235" y="13"/>
                    </a:lnTo>
                    <a:lnTo>
                      <a:pt x="223" y="19"/>
                    </a:lnTo>
                    <a:lnTo>
                      <a:pt x="211" y="26"/>
                    </a:lnTo>
                    <a:lnTo>
                      <a:pt x="202" y="34"/>
                    </a:lnTo>
                    <a:lnTo>
                      <a:pt x="193" y="42"/>
                    </a:lnTo>
                    <a:lnTo>
                      <a:pt x="185" y="51"/>
                    </a:lnTo>
                    <a:lnTo>
                      <a:pt x="177" y="59"/>
                    </a:lnTo>
                    <a:lnTo>
                      <a:pt x="165" y="78"/>
                    </a:lnTo>
                    <a:lnTo>
                      <a:pt x="157" y="94"/>
                    </a:lnTo>
                    <a:lnTo>
                      <a:pt x="151" y="110"/>
                    </a:lnTo>
                    <a:lnTo>
                      <a:pt x="87" y="445"/>
                    </a:lnTo>
                    <a:lnTo>
                      <a:pt x="87" y="445"/>
                    </a:lnTo>
                    <a:lnTo>
                      <a:pt x="71" y="449"/>
                    </a:lnTo>
                    <a:lnTo>
                      <a:pt x="56" y="457"/>
                    </a:lnTo>
                    <a:lnTo>
                      <a:pt x="42" y="467"/>
                    </a:lnTo>
                    <a:lnTo>
                      <a:pt x="28" y="479"/>
                    </a:lnTo>
                    <a:lnTo>
                      <a:pt x="18" y="492"/>
                    </a:lnTo>
                    <a:lnTo>
                      <a:pt x="8" y="507"/>
                    </a:lnTo>
                    <a:lnTo>
                      <a:pt x="5" y="515"/>
                    </a:lnTo>
                    <a:lnTo>
                      <a:pt x="3" y="523"/>
                    </a:lnTo>
                    <a:lnTo>
                      <a:pt x="1" y="531"/>
                    </a:lnTo>
                    <a:lnTo>
                      <a:pt x="0" y="539"/>
                    </a:lnTo>
                    <a:lnTo>
                      <a:pt x="0" y="818"/>
                    </a:lnTo>
                    <a:lnTo>
                      <a:pt x="0" y="818"/>
                    </a:lnTo>
                    <a:lnTo>
                      <a:pt x="1" y="825"/>
                    </a:lnTo>
                    <a:lnTo>
                      <a:pt x="3" y="833"/>
                    </a:lnTo>
                    <a:lnTo>
                      <a:pt x="7" y="847"/>
                    </a:lnTo>
                    <a:lnTo>
                      <a:pt x="14" y="861"/>
                    </a:lnTo>
                    <a:lnTo>
                      <a:pt x="22" y="873"/>
                    </a:lnTo>
                    <a:lnTo>
                      <a:pt x="30" y="884"/>
                    </a:lnTo>
                    <a:lnTo>
                      <a:pt x="38" y="893"/>
                    </a:lnTo>
                    <a:lnTo>
                      <a:pt x="52" y="906"/>
                    </a:lnTo>
                    <a:lnTo>
                      <a:pt x="52" y="1109"/>
                    </a:lnTo>
                    <a:lnTo>
                      <a:pt x="52" y="1109"/>
                    </a:lnTo>
                    <a:lnTo>
                      <a:pt x="75" y="1127"/>
                    </a:lnTo>
                    <a:lnTo>
                      <a:pt x="86" y="1135"/>
                    </a:lnTo>
                    <a:lnTo>
                      <a:pt x="96" y="1141"/>
                    </a:lnTo>
                    <a:lnTo>
                      <a:pt x="108" y="1147"/>
                    </a:lnTo>
                    <a:lnTo>
                      <a:pt x="120" y="1150"/>
                    </a:lnTo>
                    <a:lnTo>
                      <a:pt x="134" y="1152"/>
                    </a:lnTo>
                    <a:lnTo>
                      <a:pt x="147" y="1154"/>
                    </a:lnTo>
                    <a:lnTo>
                      <a:pt x="147" y="1154"/>
                    </a:lnTo>
                    <a:lnTo>
                      <a:pt x="161" y="1152"/>
                    </a:lnTo>
                    <a:lnTo>
                      <a:pt x="174" y="1150"/>
                    </a:lnTo>
                    <a:lnTo>
                      <a:pt x="187" y="1147"/>
                    </a:lnTo>
                    <a:lnTo>
                      <a:pt x="201" y="1141"/>
                    </a:lnTo>
                    <a:lnTo>
                      <a:pt x="214" y="1135"/>
                    </a:lnTo>
                    <a:lnTo>
                      <a:pt x="226" y="1127"/>
                    </a:lnTo>
                    <a:lnTo>
                      <a:pt x="237" y="1119"/>
                    </a:lnTo>
                    <a:lnTo>
                      <a:pt x="246" y="1109"/>
                    </a:lnTo>
                    <a:lnTo>
                      <a:pt x="246" y="914"/>
                    </a:lnTo>
                    <a:lnTo>
                      <a:pt x="420" y="926"/>
                    </a:lnTo>
                    <a:lnTo>
                      <a:pt x="631" y="926"/>
                    </a:lnTo>
                    <a:lnTo>
                      <a:pt x="842" y="926"/>
                    </a:lnTo>
                    <a:lnTo>
                      <a:pt x="1016" y="914"/>
                    </a:lnTo>
                    <a:lnTo>
                      <a:pt x="1016" y="1109"/>
                    </a:lnTo>
                    <a:lnTo>
                      <a:pt x="1016" y="1109"/>
                    </a:lnTo>
                    <a:lnTo>
                      <a:pt x="1025" y="1119"/>
                    </a:lnTo>
                    <a:lnTo>
                      <a:pt x="1036" y="1127"/>
                    </a:lnTo>
                    <a:lnTo>
                      <a:pt x="1048" y="1135"/>
                    </a:lnTo>
                    <a:lnTo>
                      <a:pt x="1061" y="1141"/>
                    </a:lnTo>
                    <a:lnTo>
                      <a:pt x="1075" y="1147"/>
                    </a:lnTo>
                    <a:lnTo>
                      <a:pt x="1088" y="1150"/>
                    </a:lnTo>
                    <a:lnTo>
                      <a:pt x="1102" y="1152"/>
                    </a:lnTo>
                    <a:lnTo>
                      <a:pt x="1115" y="1154"/>
                    </a:lnTo>
                    <a:lnTo>
                      <a:pt x="1115" y="1154"/>
                    </a:lnTo>
                    <a:lnTo>
                      <a:pt x="1128" y="1152"/>
                    </a:lnTo>
                    <a:lnTo>
                      <a:pt x="1142" y="1150"/>
                    </a:lnTo>
                    <a:lnTo>
                      <a:pt x="1154" y="1147"/>
                    </a:lnTo>
                    <a:lnTo>
                      <a:pt x="1164" y="1141"/>
                    </a:lnTo>
                    <a:lnTo>
                      <a:pt x="1176" y="1135"/>
                    </a:lnTo>
                    <a:lnTo>
                      <a:pt x="1186" y="1127"/>
                    </a:lnTo>
                    <a:lnTo>
                      <a:pt x="1196" y="1119"/>
                    </a:lnTo>
                    <a:lnTo>
                      <a:pt x="1206" y="1109"/>
                    </a:lnTo>
                    <a:lnTo>
                      <a:pt x="1206" y="906"/>
                    </a:lnTo>
                    <a:lnTo>
                      <a:pt x="1206" y="906"/>
                    </a:lnTo>
                    <a:lnTo>
                      <a:pt x="1223" y="893"/>
                    </a:lnTo>
                    <a:lnTo>
                      <a:pt x="1231" y="884"/>
                    </a:lnTo>
                    <a:lnTo>
                      <a:pt x="1241" y="873"/>
                    </a:lnTo>
                    <a:lnTo>
                      <a:pt x="1249" y="861"/>
                    </a:lnTo>
                    <a:lnTo>
                      <a:pt x="1255" y="847"/>
                    </a:lnTo>
                    <a:lnTo>
                      <a:pt x="1259" y="833"/>
                    </a:lnTo>
                    <a:lnTo>
                      <a:pt x="1261" y="825"/>
                    </a:lnTo>
                    <a:lnTo>
                      <a:pt x="1261" y="818"/>
                    </a:lnTo>
                    <a:lnTo>
                      <a:pt x="1261" y="539"/>
                    </a:lnTo>
                    <a:lnTo>
                      <a:pt x="1261" y="539"/>
                    </a:lnTo>
                    <a:lnTo>
                      <a:pt x="1261" y="531"/>
                    </a:lnTo>
                    <a:lnTo>
                      <a:pt x="1259" y="523"/>
                    </a:lnTo>
                    <a:lnTo>
                      <a:pt x="1257" y="515"/>
                    </a:lnTo>
                    <a:lnTo>
                      <a:pt x="1254" y="507"/>
                    </a:lnTo>
                    <a:lnTo>
                      <a:pt x="1245" y="492"/>
                    </a:lnTo>
                    <a:lnTo>
                      <a:pt x="1234" y="479"/>
                    </a:lnTo>
                    <a:lnTo>
                      <a:pt x="1220" y="467"/>
                    </a:lnTo>
                    <a:lnTo>
                      <a:pt x="1206" y="457"/>
                    </a:lnTo>
                    <a:lnTo>
                      <a:pt x="1191" y="449"/>
                    </a:lnTo>
                    <a:lnTo>
                      <a:pt x="1175" y="445"/>
                    </a:lnTo>
                    <a:lnTo>
                      <a:pt x="1175" y="445"/>
                    </a:lnTo>
                    <a:close/>
                    <a:moveTo>
                      <a:pt x="157" y="682"/>
                    </a:moveTo>
                    <a:lnTo>
                      <a:pt x="157" y="682"/>
                    </a:lnTo>
                    <a:lnTo>
                      <a:pt x="149" y="682"/>
                    </a:lnTo>
                    <a:lnTo>
                      <a:pt x="139" y="680"/>
                    </a:lnTo>
                    <a:lnTo>
                      <a:pt x="131" y="678"/>
                    </a:lnTo>
                    <a:lnTo>
                      <a:pt x="123" y="675"/>
                    </a:lnTo>
                    <a:lnTo>
                      <a:pt x="116" y="671"/>
                    </a:lnTo>
                    <a:lnTo>
                      <a:pt x="108" y="667"/>
                    </a:lnTo>
                    <a:lnTo>
                      <a:pt x="102" y="662"/>
                    </a:lnTo>
                    <a:lnTo>
                      <a:pt x="96" y="656"/>
                    </a:lnTo>
                    <a:lnTo>
                      <a:pt x="86" y="643"/>
                    </a:lnTo>
                    <a:lnTo>
                      <a:pt x="82" y="636"/>
                    </a:lnTo>
                    <a:lnTo>
                      <a:pt x="78" y="628"/>
                    </a:lnTo>
                    <a:lnTo>
                      <a:pt x="75" y="620"/>
                    </a:lnTo>
                    <a:lnTo>
                      <a:pt x="72" y="611"/>
                    </a:lnTo>
                    <a:lnTo>
                      <a:pt x="71" y="603"/>
                    </a:lnTo>
                    <a:lnTo>
                      <a:pt x="71" y="594"/>
                    </a:lnTo>
                    <a:lnTo>
                      <a:pt x="71" y="594"/>
                    </a:lnTo>
                    <a:lnTo>
                      <a:pt x="71" y="584"/>
                    </a:lnTo>
                    <a:lnTo>
                      <a:pt x="72" y="576"/>
                    </a:lnTo>
                    <a:lnTo>
                      <a:pt x="75" y="567"/>
                    </a:lnTo>
                    <a:lnTo>
                      <a:pt x="78" y="559"/>
                    </a:lnTo>
                    <a:lnTo>
                      <a:pt x="82" y="551"/>
                    </a:lnTo>
                    <a:lnTo>
                      <a:pt x="86" y="544"/>
                    </a:lnTo>
                    <a:lnTo>
                      <a:pt x="96" y="531"/>
                    </a:lnTo>
                    <a:lnTo>
                      <a:pt x="102" y="525"/>
                    </a:lnTo>
                    <a:lnTo>
                      <a:pt x="108" y="520"/>
                    </a:lnTo>
                    <a:lnTo>
                      <a:pt x="116" y="516"/>
                    </a:lnTo>
                    <a:lnTo>
                      <a:pt x="123" y="512"/>
                    </a:lnTo>
                    <a:lnTo>
                      <a:pt x="131" y="509"/>
                    </a:lnTo>
                    <a:lnTo>
                      <a:pt x="139" y="507"/>
                    </a:lnTo>
                    <a:lnTo>
                      <a:pt x="149" y="505"/>
                    </a:lnTo>
                    <a:lnTo>
                      <a:pt x="157" y="505"/>
                    </a:lnTo>
                    <a:lnTo>
                      <a:pt x="157" y="505"/>
                    </a:lnTo>
                    <a:lnTo>
                      <a:pt x="166" y="505"/>
                    </a:lnTo>
                    <a:lnTo>
                      <a:pt x="174" y="507"/>
                    </a:lnTo>
                    <a:lnTo>
                      <a:pt x="183" y="509"/>
                    </a:lnTo>
                    <a:lnTo>
                      <a:pt x="190" y="512"/>
                    </a:lnTo>
                    <a:lnTo>
                      <a:pt x="198" y="516"/>
                    </a:lnTo>
                    <a:lnTo>
                      <a:pt x="205" y="520"/>
                    </a:lnTo>
                    <a:lnTo>
                      <a:pt x="211" y="525"/>
                    </a:lnTo>
                    <a:lnTo>
                      <a:pt x="218" y="531"/>
                    </a:lnTo>
                    <a:lnTo>
                      <a:pt x="229" y="544"/>
                    </a:lnTo>
                    <a:lnTo>
                      <a:pt x="233" y="551"/>
                    </a:lnTo>
                    <a:lnTo>
                      <a:pt x="237" y="559"/>
                    </a:lnTo>
                    <a:lnTo>
                      <a:pt x="239" y="567"/>
                    </a:lnTo>
                    <a:lnTo>
                      <a:pt x="241" y="576"/>
                    </a:lnTo>
                    <a:lnTo>
                      <a:pt x="242" y="584"/>
                    </a:lnTo>
                    <a:lnTo>
                      <a:pt x="243" y="594"/>
                    </a:lnTo>
                    <a:lnTo>
                      <a:pt x="243" y="594"/>
                    </a:lnTo>
                    <a:lnTo>
                      <a:pt x="242" y="603"/>
                    </a:lnTo>
                    <a:lnTo>
                      <a:pt x="241" y="611"/>
                    </a:lnTo>
                    <a:lnTo>
                      <a:pt x="239" y="620"/>
                    </a:lnTo>
                    <a:lnTo>
                      <a:pt x="237" y="628"/>
                    </a:lnTo>
                    <a:lnTo>
                      <a:pt x="233" y="636"/>
                    </a:lnTo>
                    <a:lnTo>
                      <a:pt x="229" y="643"/>
                    </a:lnTo>
                    <a:lnTo>
                      <a:pt x="218" y="656"/>
                    </a:lnTo>
                    <a:lnTo>
                      <a:pt x="211" y="662"/>
                    </a:lnTo>
                    <a:lnTo>
                      <a:pt x="205" y="667"/>
                    </a:lnTo>
                    <a:lnTo>
                      <a:pt x="198" y="671"/>
                    </a:lnTo>
                    <a:lnTo>
                      <a:pt x="190" y="675"/>
                    </a:lnTo>
                    <a:lnTo>
                      <a:pt x="183" y="678"/>
                    </a:lnTo>
                    <a:lnTo>
                      <a:pt x="174" y="680"/>
                    </a:lnTo>
                    <a:lnTo>
                      <a:pt x="166" y="682"/>
                    </a:lnTo>
                    <a:lnTo>
                      <a:pt x="157" y="682"/>
                    </a:lnTo>
                    <a:lnTo>
                      <a:pt x="157" y="682"/>
                    </a:lnTo>
                    <a:close/>
                    <a:moveTo>
                      <a:pt x="952" y="827"/>
                    </a:moveTo>
                    <a:lnTo>
                      <a:pt x="751" y="838"/>
                    </a:lnTo>
                    <a:lnTo>
                      <a:pt x="631" y="838"/>
                    </a:lnTo>
                    <a:lnTo>
                      <a:pt x="511" y="838"/>
                    </a:lnTo>
                    <a:lnTo>
                      <a:pt x="308" y="827"/>
                    </a:lnTo>
                    <a:lnTo>
                      <a:pt x="308" y="789"/>
                    </a:lnTo>
                    <a:lnTo>
                      <a:pt x="631" y="789"/>
                    </a:lnTo>
                    <a:lnTo>
                      <a:pt x="952" y="789"/>
                    </a:lnTo>
                    <a:lnTo>
                      <a:pt x="952" y="827"/>
                    </a:lnTo>
                    <a:close/>
                    <a:moveTo>
                      <a:pt x="954" y="739"/>
                    </a:moveTo>
                    <a:lnTo>
                      <a:pt x="631" y="739"/>
                    </a:lnTo>
                    <a:lnTo>
                      <a:pt x="628" y="739"/>
                    </a:lnTo>
                    <a:lnTo>
                      <a:pt x="308" y="739"/>
                    </a:lnTo>
                    <a:lnTo>
                      <a:pt x="308" y="690"/>
                    </a:lnTo>
                    <a:lnTo>
                      <a:pt x="628" y="690"/>
                    </a:lnTo>
                    <a:lnTo>
                      <a:pt x="631" y="690"/>
                    </a:lnTo>
                    <a:lnTo>
                      <a:pt x="954" y="690"/>
                    </a:lnTo>
                    <a:lnTo>
                      <a:pt x="954" y="739"/>
                    </a:lnTo>
                    <a:close/>
                    <a:moveTo>
                      <a:pt x="308" y="638"/>
                    </a:moveTo>
                    <a:lnTo>
                      <a:pt x="308" y="602"/>
                    </a:lnTo>
                    <a:lnTo>
                      <a:pt x="511" y="588"/>
                    </a:lnTo>
                    <a:lnTo>
                      <a:pt x="631" y="588"/>
                    </a:lnTo>
                    <a:lnTo>
                      <a:pt x="751" y="588"/>
                    </a:lnTo>
                    <a:lnTo>
                      <a:pt x="952" y="602"/>
                    </a:lnTo>
                    <a:lnTo>
                      <a:pt x="952" y="638"/>
                    </a:lnTo>
                    <a:lnTo>
                      <a:pt x="631" y="638"/>
                    </a:lnTo>
                    <a:lnTo>
                      <a:pt x="308" y="638"/>
                    </a:lnTo>
                    <a:close/>
                    <a:moveTo>
                      <a:pt x="999" y="393"/>
                    </a:moveTo>
                    <a:lnTo>
                      <a:pt x="631" y="377"/>
                    </a:lnTo>
                    <a:lnTo>
                      <a:pt x="263" y="393"/>
                    </a:lnTo>
                    <a:lnTo>
                      <a:pt x="263" y="393"/>
                    </a:lnTo>
                    <a:lnTo>
                      <a:pt x="241" y="393"/>
                    </a:lnTo>
                    <a:lnTo>
                      <a:pt x="221" y="390"/>
                    </a:lnTo>
                    <a:lnTo>
                      <a:pt x="213" y="388"/>
                    </a:lnTo>
                    <a:lnTo>
                      <a:pt x="205" y="385"/>
                    </a:lnTo>
                    <a:lnTo>
                      <a:pt x="197" y="382"/>
                    </a:lnTo>
                    <a:lnTo>
                      <a:pt x="191" y="377"/>
                    </a:lnTo>
                    <a:lnTo>
                      <a:pt x="186" y="373"/>
                    </a:lnTo>
                    <a:lnTo>
                      <a:pt x="181" y="366"/>
                    </a:lnTo>
                    <a:lnTo>
                      <a:pt x="178" y="360"/>
                    </a:lnTo>
                    <a:lnTo>
                      <a:pt x="174" y="353"/>
                    </a:lnTo>
                    <a:lnTo>
                      <a:pt x="173" y="345"/>
                    </a:lnTo>
                    <a:lnTo>
                      <a:pt x="171" y="336"/>
                    </a:lnTo>
                    <a:lnTo>
                      <a:pt x="171" y="326"/>
                    </a:lnTo>
                    <a:lnTo>
                      <a:pt x="173" y="316"/>
                    </a:lnTo>
                    <a:lnTo>
                      <a:pt x="191" y="214"/>
                    </a:lnTo>
                    <a:lnTo>
                      <a:pt x="191" y="214"/>
                    </a:lnTo>
                    <a:lnTo>
                      <a:pt x="197" y="195"/>
                    </a:lnTo>
                    <a:lnTo>
                      <a:pt x="203" y="178"/>
                    </a:lnTo>
                    <a:lnTo>
                      <a:pt x="213" y="163"/>
                    </a:lnTo>
                    <a:lnTo>
                      <a:pt x="223" y="151"/>
                    </a:lnTo>
                    <a:lnTo>
                      <a:pt x="237" y="139"/>
                    </a:lnTo>
                    <a:lnTo>
                      <a:pt x="250" y="130"/>
                    </a:lnTo>
                    <a:lnTo>
                      <a:pt x="265" y="122"/>
                    </a:lnTo>
                    <a:lnTo>
                      <a:pt x="282" y="115"/>
                    </a:lnTo>
                    <a:lnTo>
                      <a:pt x="300" y="108"/>
                    </a:lnTo>
                    <a:lnTo>
                      <a:pt x="318" y="104"/>
                    </a:lnTo>
                    <a:lnTo>
                      <a:pt x="337" y="100"/>
                    </a:lnTo>
                    <a:lnTo>
                      <a:pt x="357" y="98"/>
                    </a:lnTo>
                    <a:lnTo>
                      <a:pt x="398" y="95"/>
                    </a:lnTo>
                    <a:lnTo>
                      <a:pt x="441" y="94"/>
                    </a:lnTo>
                    <a:lnTo>
                      <a:pt x="631" y="94"/>
                    </a:lnTo>
                    <a:lnTo>
                      <a:pt x="821" y="94"/>
                    </a:lnTo>
                    <a:lnTo>
                      <a:pt x="821" y="94"/>
                    </a:lnTo>
                    <a:lnTo>
                      <a:pt x="864" y="95"/>
                    </a:lnTo>
                    <a:lnTo>
                      <a:pt x="905" y="98"/>
                    </a:lnTo>
                    <a:lnTo>
                      <a:pt x="925" y="100"/>
                    </a:lnTo>
                    <a:lnTo>
                      <a:pt x="944" y="104"/>
                    </a:lnTo>
                    <a:lnTo>
                      <a:pt x="962" y="108"/>
                    </a:lnTo>
                    <a:lnTo>
                      <a:pt x="980" y="115"/>
                    </a:lnTo>
                    <a:lnTo>
                      <a:pt x="996" y="122"/>
                    </a:lnTo>
                    <a:lnTo>
                      <a:pt x="1012" y="130"/>
                    </a:lnTo>
                    <a:lnTo>
                      <a:pt x="1025" y="139"/>
                    </a:lnTo>
                    <a:lnTo>
                      <a:pt x="1037" y="151"/>
                    </a:lnTo>
                    <a:lnTo>
                      <a:pt x="1048" y="163"/>
                    </a:lnTo>
                    <a:lnTo>
                      <a:pt x="1056" y="178"/>
                    </a:lnTo>
                    <a:lnTo>
                      <a:pt x="1064" y="195"/>
                    </a:lnTo>
                    <a:lnTo>
                      <a:pt x="1068" y="214"/>
                    </a:lnTo>
                    <a:lnTo>
                      <a:pt x="1087" y="316"/>
                    </a:lnTo>
                    <a:lnTo>
                      <a:pt x="1087" y="316"/>
                    </a:lnTo>
                    <a:lnTo>
                      <a:pt x="1088" y="326"/>
                    </a:lnTo>
                    <a:lnTo>
                      <a:pt x="1088" y="336"/>
                    </a:lnTo>
                    <a:lnTo>
                      <a:pt x="1088" y="345"/>
                    </a:lnTo>
                    <a:lnTo>
                      <a:pt x="1087" y="353"/>
                    </a:lnTo>
                    <a:lnTo>
                      <a:pt x="1084" y="360"/>
                    </a:lnTo>
                    <a:lnTo>
                      <a:pt x="1080" y="366"/>
                    </a:lnTo>
                    <a:lnTo>
                      <a:pt x="1076" y="373"/>
                    </a:lnTo>
                    <a:lnTo>
                      <a:pt x="1071" y="377"/>
                    </a:lnTo>
                    <a:lnTo>
                      <a:pt x="1064" y="382"/>
                    </a:lnTo>
                    <a:lnTo>
                      <a:pt x="1057" y="385"/>
                    </a:lnTo>
                    <a:lnTo>
                      <a:pt x="1049" y="388"/>
                    </a:lnTo>
                    <a:lnTo>
                      <a:pt x="1041" y="390"/>
                    </a:lnTo>
                    <a:lnTo>
                      <a:pt x="1021" y="393"/>
                    </a:lnTo>
                    <a:lnTo>
                      <a:pt x="999" y="393"/>
                    </a:lnTo>
                    <a:lnTo>
                      <a:pt x="999" y="393"/>
                    </a:lnTo>
                    <a:close/>
                    <a:moveTo>
                      <a:pt x="1100" y="682"/>
                    </a:moveTo>
                    <a:lnTo>
                      <a:pt x="1100" y="682"/>
                    </a:lnTo>
                    <a:lnTo>
                      <a:pt x="1091" y="682"/>
                    </a:lnTo>
                    <a:lnTo>
                      <a:pt x="1083" y="680"/>
                    </a:lnTo>
                    <a:lnTo>
                      <a:pt x="1075" y="678"/>
                    </a:lnTo>
                    <a:lnTo>
                      <a:pt x="1067" y="675"/>
                    </a:lnTo>
                    <a:lnTo>
                      <a:pt x="1059" y="671"/>
                    </a:lnTo>
                    <a:lnTo>
                      <a:pt x="1052" y="667"/>
                    </a:lnTo>
                    <a:lnTo>
                      <a:pt x="1045" y="662"/>
                    </a:lnTo>
                    <a:lnTo>
                      <a:pt x="1039" y="656"/>
                    </a:lnTo>
                    <a:lnTo>
                      <a:pt x="1028" y="643"/>
                    </a:lnTo>
                    <a:lnTo>
                      <a:pt x="1024" y="636"/>
                    </a:lnTo>
                    <a:lnTo>
                      <a:pt x="1020" y="628"/>
                    </a:lnTo>
                    <a:lnTo>
                      <a:pt x="1017" y="620"/>
                    </a:lnTo>
                    <a:lnTo>
                      <a:pt x="1016" y="611"/>
                    </a:lnTo>
                    <a:lnTo>
                      <a:pt x="1015" y="603"/>
                    </a:lnTo>
                    <a:lnTo>
                      <a:pt x="1013" y="594"/>
                    </a:lnTo>
                    <a:lnTo>
                      <a:pt x="1013" y="594"/>
                    </a:lnTo>
                    <a:lnTo>
                      <a:pt x="1015" y="584"/>
                    </a:lnTo>
                    <a:lnTo>
                      <a:pt x="1016" y="576"/>
                    </a:lnTo>
                    <a:lnTo>
                      <a:pt x="1017" y="567"/>
                    </a:lnTo>
                    <a:lnTo>
                      <a:pt x="1020" y="559"/>
                    </a:lnTo>
                    <a:lnTo>
                      <a:pt x="1024" y="551"/>
                    </a:lnTo>
                    <a:lnTo>
                      <a:pt x="1028" y="544"/>
                    </a:lnTo>
                    <a:lnTo>
                      <a:pt x="1039" y="531"/>
                    </a:lnTo>
                    <a:lnTo>
                      <a:pt x="1045" y="525"/>
                    </a:lnTo>
                    <a:lnTo>
                      <a:pt x="1052" y="520"/>
                    </a:lnTo>
                    <a:lnTo>
                      <a:pt x="1059" y="516"/>
                    </a:lnTo>
                    <a:lnTo>
                      <a:pt x="1067" y="512"/>
                    </a:lnTo>
                    <a:lnTo>
                      <a:pt x="1075" y="509"/>
                    </a:lnTo>
                    <a:lnTo>
                      <a:pt x="1083" y="507"/>
                    </a:lnTo>
                    <a:lnTo>
                      <a:pt x="1091" y="505"/>
                    </a:lnTo>
                    <a:lnTo>
                      <a:pt x="1100" y="505"/>
                    </a:lnTo>
                    <a:lnTo>
                      <a:pt x="1100" y="505"/>
                    </a:lnTo>
                    <a:lnTo>
                      <a:pt x="1108" y="505"/>
                    </a:lnTo>
                    <a:lnTo>
                      <a:pt x="1118" y="507"/>
                    </a:lnTo>
                    <a:lnTo>
                      <a:pt x="1126" y="509"/>
                    </a:lnTo>
                    <a:lnTo>
                      <a:pt x="1134" y="512"/>
                    </a:lnTo>
                    <a:lnTo>
                      <a:pt x="1140" y="516"/>
                    </a:lnTo>
                    <a:lnTo>
                      <a:pt x="1148" y="520"/>
                    </a:lnTo>
                    <a:lnTo>
                      <a:pt x="1155" y="525"/>
                    </a:lnTo>
                    <a:lnTo>
                      <a:pt x="1160" y="531"/>
                    </a:lnTo>
                    <a:lnTo>
                      <a:pt x="1171" y="544"/>
                    </a:lnTo>
                    <a:lnTo>
                      <a:pt x="1175" y="551"/>
                    </a:lnTo>
                    <a:lnTo>
                      <a:pt x="1179" y="559"/>
                    </a:lnTo>
                    <a:lnTo>
                      <a:pt x="1182" y="567"/>
                    </a:lnTo>
                    <a:lnTo>
                      <a:pt x="1184" y="576"/>
                    </a:lnTo>
                    <a:lnTo>
                      <a:pt x="1186" y="584"/>
                    </a:lnTo>
                    <a:lnTo>
                      <a:pt x="1186" y="594"/>
                    </a:lnTo>
                    <a:lnTo>
                      <a:pt x="1186" y="594"/>
                    </a:lnTo>
                    <a:lnTo>
                      <a:pt x="1186" y="603"/>
                    </a:lnTo>
                    <a:lnTo>
                      <a:pt x="1184" y="611"/>
                    </a:lnTo>
                    <a:lnTo>
                      <a:pt x="1182" y="620"/>
                    </a:lnTo>
                    <a:lnTo>
                      <a:pt x="1179" y="628"/>
                    </a:lnTo>
                    <a:lnTo>
                      <a:pt x="1175" y="636"/>
                    </a:lnTo>
                    <a:lnTo>
                      <a:pt x="1171" y="643"/>
                    </a:lnTo>
                    <a:lnTo>
                      <a:pt x="1160" y="656"/>
                    </a:lnTo>
                    <a:lnTo>
                      <a:pt x="1155" y="662"/>
                    </a:lnTo>
                    <a:lnTo>
                      <a:pt x="1148" y="667"/>
                    </a:lnTo>
                    <a:lnTo>
                      <a:pt x="1140" y="671"/>
                    </a:lnTo>
                    <a:lnTo>
                      <a:pt x="1134" y="675"/>
                    </a:lnTo>
                    <a:lnTo>
                      <a:pt x="1126" y="678"/>
                    </a:lnTo>
                    <a:lnTo>
                      <a:pt x="1118" y="680"/>
                    </a:lnTo>
                    <a:lnTo>
                      <a:pt x="1108" y="682"/>
                    </a:lnTo>
                    <a:lnTo>
                      <a:pt x="1100" y="682"/>
                    </a:lnTo>
                    <a:lnTo>
                      <a:pt x="1100" y="682"/>
                    </a:lnTo>
                    <a:close/>
                  </a:path>
                </a:pathLst>
              </a:custGeom>
              <a:solidFill>
                <a:srgbClr val="45A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729" name="Group 728"/>
          <p:cNvGrpSpPr>
            <a:grpSpLocks noChangeAspect="1"/>
          </p:cNvGrpSpPr>
          <p:nvPr/>
        </p:nvGrpSpPr>
        <p:grpSpPr>
          <a:xfrm>
            <a:off x="6403959" y="2994415"/>
            <a:ext cx="256781" cy="211205"/>
            <a:chOff x="8970859" y="2626225"/>
            <a:chExt cx="414001" cy="374572"/>
          </a:xfrm>
        </p:grpSpPr>
        <p:sp>
          <p:nvSpPr>
            <p:cNvPr id="730" name="Rectangle 729"/>
            <p:cNvSpPr/>
            <p:nvPr/>
          </p:nvSpPr>
          <p:spPr bwMode="auto">
            <a:xfrm>
              <a:off x="9028548" y="2650136"/>
              <a:ext cx="295192" cy="104793"/>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731" name="Group 730"/>
            <p:cNvGrpSpPr/>
            <p:nvPr/>
          </p:nvGrpSpPr>
          <p:grpSpPr>
            <a:xfrm>
              <a:off x="8970859" y="2626225"/>
              <a:ext cx="414001" cy="374572"/>
              <a:chOff x="25455229" y="-39674"/>
              <a:chExt cx="806770" cy="729935"/>
            </a:xfrm>
          </p:grpSpPr>
          <p:sp>
            <p:nvSpPr>
              <p:cNvPr id="732"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rgbClr val="45A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33"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34"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459" name="Group 458"/>
          <p:cNvGrpSpPr/>
          <p:nvPr/>
        </p:nvGrpSpPr>
        <p:grpSpPr>
          <a:xfrm rot="5400000">
            <a:off x="6564631" y="3140136"/>
            <a:ext cx="556914" cy="52065"/>
            <a:chOff x="3287254" y="4006746"/>
            <a:chExt cx="633033" cy="84032"/>
          </a:xfrm>
        </p:grpSpPr>
        <p:sp>
          <p:nvSpPr>
            <p:cNvPr id="460" name="Rectangle 459"/>
            <p:cNvSpPr/>
            <p:nvPr/>
          </p:nvSpPr>
          <p:spPr bwMode="auto">
            <a:xfrm rot="5400000" flipH="1">
              <a:off x="3561699" y="3732301"/>
              <a:ext cx="84032" cy="632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61" name="Rectangle 460"/>
            <p:cNvSpPr/>
            <p:nvPr/>
          </p:nvSpPr>
          <p:spPr bwMode="auto">
            <a:xfrm rot="5400000" flipH="1">
              <a:off x="3587258" y="3755285"/>
              <a:ext cx="33025" cy="6330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04" name="Group 1203"/>
          <p:cNvGrpSpPr/>
          <p:nvPr/>
        </p:nvGrpSpPr>
        <p:grpSpPr>
          <a:xfrm>
            <a:off x="5626807" y="2734277"/>
            <a:ext cx="1307235" cy="152663"/>
            <a:chOff x="6250603" y="2050250"/>
            <a:chExt cx="1136542" cy="132729"/>
          </a:xfrm>
        </p:grpSpPr>
        <p:grpSp>
          <p:nvGrpSpPr>
            <p:cNvPr id="451" name="Group 450"/>
            <p:cNvGrpSpPr/>
            <p:nvPr/>
          </p:nvGrpSpPr>
          <p:grpSpPr>
            <a:xfrm rot="16200000">
              <a:off x="6752509" y="1548344"/>
              <a:ext cx="132729" cy="1136542"/>
              <a:chOff x="3057466" y="2998490"/>
              <a:chExt cx="162239" cy="33138274"/>
            </a:xfrm>
          </p:grpSpPr>
          <p:sp>
            <p:nvSpPr>
              <p:cNvPr id="452" name="Rectangle 451"/>
              <p:cNvSpPr/>
              <p:nvPr/>
            </p:nvSpPr>
            <p:spPr bwMode="auto">
              <a:xfrm>
                <a:off x="3078493" y="2999059"/>
                <a:ext cx="141212" cy="3313241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700" b="1" i="0" u="none" strike="noStrike" kern="0" cap="none" spc="300" normalizeH="0" baseline="0" noProof="0" dirty="0">
                    <a:ln w="3175">
                      <a:noFill/>
                    </a:ln>
                    <a:solidFill>
                      <a:srgbClr val="FFFFFF"/>
                    </a:solidFill>
                    <a:effectLst/>
                    <a:uLnTx/>
                    <a:uFillTx/>
                    <a:cs typeface="Arial" charset="0"/>
                  </a:rPr>
                  <a:t>TOLL</a:t>
                </a:r>
              </a:p>
            </p:txBody>
          </p:sp>
          <p:sp>
            <p:nvSpPr>
              <p:cNvPr id="454" name="Rectangle 453"/>
              <p:cNvSpPr/>
              <p:nvPr/>
            </p:nvSpPr>
            <p:spPr bwMode="auto">
              <a:xfrm>
                <a:off x="3057466" y="2998490"/>
                <a:ext cx="21395" cy="33138274"/>
              </a:xfrm>
              <a:prstGeom prst="rect">
                <a:avLst/>
              </a:prstGeom>
              <a:solidFill>
                <a:srgbClr val="2E657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03" name="Group 1202"/>
            <p:cNvGrpSpPr/>
            <p:nvPr/>
          </p:nvGrpSpPr>
          <p:grpSpPr>
            <a:xfrm>
              <a:off x="6500767" y="2073663"/>
              <a:ext cx="640785" cy="62389"/>
              <a:chOff x="6470783" y="2073663"/>
              <a:chExt cx="640785" cy="62389"/>
            </a:xfrm>
          </p:grpSpPr>
          <p:sp>
            <p:nvSpPr>
              <p:cNvPr id="437" name="Freeform 99"/>
              <p:cNvSpPr>
                <a:spLocks/>
              </p:cNvSpPr>
              <p:nvPr/>
            </p:nvSpPr>
            <p:spPr bwMode="black">
              <a:xfrm rot="5400000">
                <a:off x="6462449" y="2081997"/>
                <a:ext cx="62388" cy="45719"/>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63" name="Freeform 99"/>
              <p:cNvSpPr>
                <a:spLocks/>
              </p:cNvSpPr>
              <p:nvPr/>
            </p:nvSpPr>
            <p:spPr bwMode="black">
              <a:xfrm rot="5400000">
                <a:off x="7057515" y="2081998"/>
                <a:ext cx="62388" cy="45719"/>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677" name="Group 676"/>
          <p:cNvGrpSpPr/>
          <p:nvPr/>
        </p:nvGrpSpPr>
        <p:grpSpPr>
          <a:xfrm flipH="1">
            <a:off x="6518520" y="2890315"/>
            <a:ext cx="183138" cy="75113"/>
            <a:chOff x="-676275" y="5062538"/>
            <a:chExt cx="341312" cy="153987"/>
          </a:xfrm>
        </p:grpSpPr>
        <p:sp>
          <p:nvSpPr>
            <p:cNvPr id="678" name="Freeform 43"/>
            <p:cNvSpPr>
              <a:spLocks/>
            </p:cNvSpPr>
            <p:nvPr/>
          </p:nvSpPr>
          <p:spPr bwMode="auto">
            <a:xfrm>
              <a:off x="-676275" y="5062538"/>
              <a:ext cx="341312" cy="153987"/>
            </a:xfrm>
            <a:custGeom>
              <a:avLst/>
              <a:gdLst>
                <a:gd name="T0" fmla="*/ 24 w 10101"/>
                <a:gd name="T1" fmla="*/ 183 h 4652"/>
                <a:gd name="T2" fmla="*/ 77 w 10101"/>
                <a:gd name="T3" fmla="*/ 483 h 4652"/>
                <a:gd name="T4" fmla="*/ 146 w 10101"/>
                <a:gd name="T5" fmla="*/ 779 h 4652"/>
                <a:gd name="T6" fmla="*/ 231 w 10101"/>
                <a:gd name="T7" fmla="*/ 1066 h 4652"/>
                <a:gd name="T8" fmla="*/ 330 w 10101"/>
                <a:gd name="T9" fmla="*/ 1346 h 4652"/>
                <a:gd name="T10" fmla="*/ 446 w 10101"/>
                <a:gd name="T11" fmla="*/ 1619 h 4652"/>
                <a:gd name="T12" fmla="*/ 574 w 10101"/>
                <a:gd name="T13" fmla="*/ 1884 h 4652"/>
                <a:gd name="T14" fmla="*/ 717 w 10101"/>
                <a:gd name="T15" fmla="*/ 2140 h 4652"/>
                <a:gd name="T16" fmla="*/ 872 w 10101"/>
                <a:gd name="T17" fmla="*/ 2387 h 4652"/>
                <a:gd name="T18" fmla="*/ 1040 w 10101"/>
                <a:gd name="T19" fmla="*/ 2623 h 4652"/>
                <a:gd name="T20" fmla="*/ 1221 w 10101"/>
                <a:gd name="T21" fmla="*/ 2850 h 4652"/>
                <a:gd name="T22" fmla="*/ 1414 w 10101"/>
                <a:gd name="T23" fmla="*/ 3064 h 4652"/>
                <a:gd name="T24" fmla="*/ 1616 w 10101"/>
                <a:gd name="T25" fmla="*/ 3269 h 4652"/>
                <a:gd name="T26" fmla="*/ 1830 w 10101"/>
                <a:gd name="T27" fmla="*/ 3461 h 4652"/>
                <a:gd name="T28" fmla="*/ 2055 w 10101"/>
                <a:gd name="T29" fmla="*/ 3641 h 4652"/>
                <a:gd name="T30" fmla="*/ 2289 w 10101"/>
                <a:gd name="T31" fmla="*/ 3808 h 4652"/>
                <a:gd name="T32" fmla="*/ 2532 w 10101"/>
                <a:gd name="T33" fmla="*/ 3961 h 4652"/>
                <a:gd name="T34" fmla="*/ 2784 w 10101"/>
                <a:gd name="T35" fmla="*/ 4100 h 4652"/>
                <a:gd name="T36" fmla="*/ 3043 w 10101"/>
                <a:gd name="T37" fmla="*/ 4226 h 4652"/>
                <a:gd name="T38" fmla="*/ 3311 w 10101"/>
                <a:gd name="T39" fmla="*/ 4335 h 4652"/>
                <a:gd name="T40" fmla="*/ 3586 w 10101"/>
                <a:gd name="T41" fmla="*/ 4430 h 4652"/>
                <a:gd name="T42" fmla="*/ 3867 w 10101"/>
                <a:gd name="T43" fmla="*/ 4508 h 4652"/>
                <a:gd name="T44" fmla="*/ 4155 w 10101"/>
                <a:gd name="T45" fmla="*/ 4571 h 4652"/>
                <a:gd name="T46" fmla="*/ 4449 w 10101"/>
                <a:gd name="T47" fmla="*/ 4615 h 4652"/>
                <a:gd name="T48" fmla="*/ 4747 w 10101"/>
                <a:gd name="T49" fmla="*/ 4643 h 4652"/>
                <a:gd name="T50" fmla="*/ 5050 w 10101"/>
                <a:gd name="T51" fmla="*/ 4652 h 4652"/>
                <a:gd name="T52" fmla="*/ 5293 w 10101"/>
                <a:gd name="T53" fmla="*/ 4647 h 4652"/>
                <a:gd name="T54" fmla="*/ 5593 w 10101"/>
                <a:gd name="T55" fmla="*/ 4622 h 4652"/>
                <a:gd name="T56" fmla="*/ 5887 w 10101"/>
                <a:gd name="T57" fmla="*/ 4581 h 4652"/>
                <a:gd name="T58" fmla="*/ 6176 w 10101"/>
                <a:gd name="T59" fmla="*/ 4523 h 4652"/>
                <a:gd name="T60" fmla="*/ 6459 w 10101"/>
                <a:gd name="T61" fmla="*/ 4447 h 4652"/>
                <a:gd name="T62" fmla="*/ 6736 w 10101"/>
                <a:gd name="T63" fmla="*/ 4356 h 4652"/>
                <a:gd name="T64" fmla="*/ 7005 w 10101"/>
                <a:gd name="T65" fmla="*/ 4249 h 4652"/>
                <a:gd name="T66" fmla="*/ 7266 w 10101"/>
                <a:gd name="T67" fmla="*/ 4127 h 4652"/>
                <a:gd name="T68" fmla="*/ 7520 w 10101"/>
                <a:gd name="T69" fmla="*/ 3990 h 4652"/>
                <a:gd name="T70" fmla="*/ 7764 w 10101"/>
                <a:gd name="T71" fmla="*/ 3840 h 4652"/>
                <a:gd name="T72" fmla="*/ 8000 w 10101"/>
                <a:gd name="T73" fmla="*/ 3675 h 4652"/>
                <a:gd name="T74" fmla="*/ 8227 w 10101"/>
                <a:gd name="T75" fmla="*/ 3498 h 4652"/>
                <a:gd name="T76" fmla="*/ 8442 w 10101"/>
                <a:gd name="T77" fmla="*/ 3309 h 4652"/>
                <a:gd name="T78" fmla="*/ 8647 w 10101"/>
                <a:gd name="T79" fmla="*/ 3106 h 4652"/>
                <a:gd name="T80" fmla="*/ 8842 w 10101"/>
                <a:gd name="T81" fmla="*/ 2893 h 4652"/>
                <a:gd name="T82" fmla="*/ 9025 w 10101"/>
                <a:gd name="T83" fmla="*/ 2669 h 4652"/>
                <a:gd name="T84" fmla="*/ 9195 w 10101"/>
                <a:gd name="T85" fmla="*/ 2434 h 4652"/>
                <a:gd name="T86" fmla="*/ 9354 w 10101"/>
                <a:gd name="T87" fmla="*/ 2190 h 4652"/>
                <a:gd name="T88" fmla="*/ 9500 w 10101"/>
                <a:gd name="T89" fmla="*/ 1936 h 4652"/>
                <a:gd name="T90" fmla="*/ 9631 w 10101"/>
                <a:gd name="T91" fmla="*/ 1673 h 4652"/>
                <a:gd name="T92" fmla="*/ 9749 w 10101"/>
                <a:gd name="T93" fmla="*/ 1401 h 4652"/>
                <a:gd name="T94" fmla="*/ 9851 w 10101"/>
                <a:gd name="T95" fmla="*/ 1123 h 4652"/>
                <a:gd name="T96" fmla="*/ 9939 w 10101"/>
                <a:gd name="T97" fmla="*/ 837 h 4652"/>
                <a:gd name="T98" fmla="*/ 10012 w 10101"/>
                <a:gd name="T99" fmla="*/ 543 h 4652"/>
                <a:gd name="T100" fmla="*/ 10068 w 10101"/>
                <a:gd name="T101" fmla="*/ 243 h 4652"/>
                <a:gd name="T102" fmla="*/ 0 w 10101"/>
                <a:gd name="T103" fmla="*/ 0 h 4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01" h="4652">
                  <a:moveTo>
                    <a:pt x="0" y="0"/>
                  </a:moveTo>
                  <a:lnTo>
                    <a:pt x="0" y="0"/>
                  </a:lnTo>
                  <a:lnTo>
                    <a:pt x="7" y="61"/>
                  </a:lnTo>
                  <a:lnTo>
                    <a:pt x="15" y="122"/>
                  </a:lnTo>
                  <a:lnTo>
                    <a:pt x="24" y="183"/>
                  </a:lnTo>
                  <a:lnTo>
                    <a:pt x="33" y="243"/>
                  </a:lnTo>
                  <a:lnTo>
                    <a:pt x="43" y="304"/>
                  </a:lnTo>
                  <a:lnTo>
                    <a:pt x="53" y="364"/>
                  </a:lnTo>
                  <a:lnTo>
                    <a:pt x="65" y="423"/>
                  </a:lnTo>
                  <a:lnTo>
                    <a:pt x="77" y="483"/>
                  </a:lnTo>
                  <a:lnTo>
                    <a:pt x="89" y="543"/>
                  </a:lnTo>
                  <a:lnTo>
                    <a:pt x="102" y="603"/>
                  </a:lnTo>
                  <a:lnTo>
                    <a:pt x="116" y="662"/>
                  </a:lnTo>
                  <a:lnTo>
                    <a:pt x="131" y="720"/>
                  </a:lnTo>
                  <a:lnTo>
                    <a:pt x="146" y="779"/>
                  </a:lnTo>
                  <a:lnTo>
                    <a:pt x="162" y="837"/>
                  </a:lnTo>
                  <a:lnTo>
                    <a:pt x="178" y="895"/>
                  </a:lnTo>
                  <a:lnTo>
                    <a:pt x="195" y="952"/>
                  </a:lnTo>
                  <a:lnTo>
                    <a:pt x="213" y="1009"/>
                  </a:lnTo>
                  <a:lnTo>
                    <a:pt x="231" y="1066"/>
                  </a:lnTo>
                  <a:lnTo>
                    <a:pt x="250" y="1123"/>
                  </a:lnTo>
                  <a:lnTo>
                    <a:pt x="269" y="1180"/>
                  </a:lnTo>
                  <a:lnTo>
                    <a:pt x="289" y="1236"/>
                  </a:lnTo>
                  <a:lnTo>
                    <a:pt x="309" y="1292"/>
                  </a:lnTo>
                  <a:lnTo>
                    <a:pt x="330" y="1346"/>
                  </a:lnTo>
                  <a:lnTo>
                    <a:pt x="352" y="1401"/>
                  </a:lnTo>
                  <a:lnTo>
                    <a:pt x="374" y="1456"/>
                  </a:lnTo>
                  <a:lnTo>
                    <a:pt x="398" y="1511"/>
                  </a:lnTo>
                  <a:lnTo>
                    <a:pt x="422" y="1565"/>
                  </a:lnTo>
                  <a:lnTo>
                    <a:pt x="446" y="1619"/>
                  </a:lnTo>
                  <a:lnTo>
                    <a:pt x="470" y="1673"/>
                  </a:lnTo>
                  <a:lnTo>
                    <a:pt x="495" y="1726"/>
                  </a:lnTo>
                  <a:lnTo>
                    <a:pt x="521" y="1779"/>
                  </a:lnTo>
                  <a:lnTo>
                    <a:pt x="547" y="1832"/>
                  </a:lnTo>
                  <a:lnTo>
                    <a:pt x="574" y="1884"/>
                  </a:lnTo>
                  <a:lnTo>
                    <a:pt x="601" y="1936"/>
                  </a:lnTo>
                  <a:lnTo>
                    <a:pt x="629" y="1988"/>
                  </a:lnTo>
                  <a:lnTo>
                    <a:pt x="658" y="2038"/>
                  </a:lnTo>
                  <a:lnTo>
                    <a:pt x="687" y="2089"/>
                  </a:lnTo>
                  <a:lnTo>
                    <a:pt x="717" y="2140"/>
                  </a:lnTo>
                  <a:lnTo>
                    <a:pt x="747" y="2190"/>
                  </a:lnTo>
                  <a:lnTo>
                    <a:pt x="777" y="2240"/>
                  </a:lnTo>
                  <a:lnTo>
                    <a:pt x="808" y="2289"/>
                  </a:lnTo>
                  <a:lnTo>
                    <a:pt x="840" y="2338"/>
                  </a:lnTo>
                  <a:lnTo>
                    <a:pt x="872" y="2387"/>
                  </a:lnTo>
                  <a:lnTo>
                    <a:pt x="905" y="2434"/>
                  </a:lnTo>
                  <a:lnTo>
                    <a:pt x="938" y="2482"/>
                  </a:lnTo>
                  <a:lnTo>
                    <a:pt x="972" y="2529"/>
                  </a:lnTo>
                  <a:lnTo>
                    <a:pt x="1006" y="2577"/>
                  </a:lnTo>
                  <a:lnTo>
                    <a:pt x="1040" y="2623"/>
                  </a:lnTo>
                  <a:lnTo>
                    <a:pt x="1075" y="2669"/>
                  </a:lnTo>
                  <a:lnTo>
                    <a:pt x="1111" y="2715"/>
                  </a:lnTo>
                  <a:lnTo>
                    <a:pt x="1148" y="2760"/>
                  </a:lnTo>
                  <a:lnTo>
                    <a:pt x="1184" y="2805"/>
                  </a:lnTo>
                  <a:lnTo>
                    <a:pt x="1221" y="2850"/>
                  </a:lnTo>
                  <a:lnTo>
                    <a:pt x="1259" y="2893"/>
                  </a:lnTo>
                  <a:lnTo>
                    <a:pt x="1296" y="2937"/>
                  </a:lnTo>
                  <a:lnTo>
                    <a:pt x="1335" y="2980"/>
                  </a:lnTo>
                  <a:lnTo>
                    <a:pt x="1373" y="3023"/>
                  </a:lnTo>
                  <a:lnTo>
                    <a:pt x="1414" y="3064"/>
                  </a:lnTo>
                  <a:lnTo>
                    <a:pt x="1453" y="3106"/>
                  </a:lnTo>
                  <a:lnTo>
                    <a:pt x="1493" y="3148"/>
                  </a:lnTo>
                  <a:lnTo>
                    <a:pt x="1534" y="3189"/>
                  </a:lnTo>
                  <a:lnTo>
                    <a:pt x="1575" y="3229"/>
                  </a:lnTo>
                  <a:lnTo>
                    <a:pt x="1616" y="3269"/>
                  </a:lnTo>
                  <a:lnTo>
                    <a:pt x="1659" y="3309"/>
                  </a:lnTo>
                  <a:lnTo>
                    <a:pt x="1701" y="3347"/>
                  </a:lnTo>
                  <a:lnTo>
                    <a:pt x="1744" y="3386"/>
                  </a:lnTo>
                  <a:lnTo>
                    <a:pt x="1787" y="3424"/>
                  </a:lnTo>
                  <a:lnTo>
                    <a:pt x="1830" y="3461"/>
                  </a:lnTo>
                  <a:lnTo>
                    <a:pt x="1874" y="3498"/>
                  </a:lnTo>
                  <a:lnTo>
                    <a:pt x="1919" y="3535"/>
                  </a:lnTo>
                  <a:lnTo>
                    <a:pt x="1964" y="3570"/>
                  </a:lnTo>
                  <a:lnTo>
                    <a:pt x="2009" y="3606"/>
                  </a:lnTo>
                  <a:lnTo>
                    <a:pt x="2055" y="3641"/>
                  </a:lnTo>
                  <a:lnTo>
                    <a:pt x="2101" y="3675"/>
                  </a:lnTo>
                  <a:lnTo>
                    <a:pt x="2148" y="3710"/>
                  </a:lnTo>
                  <a:lnTo>
                    <a:pt x="2194" y="3743"/>
                  </a:lnTo>
                  <a:lnTo>
                    <a:pt x="2241" y="3776"/>
                  </a:lnTo>
                  <a:lnTo>
                    <a:pt x="2289" y="3808"/>
                  </a:lnTo>
                  <a:lnTo>
                    <a:pt x="2336" y="3840"/>
                  </a:lnTo>
                  <a:lnTo>
                    <a:pt x="2384" y="3871"/>
                  </a:lnTo>
                  <a:lnTo>
                    <a:pt x="2434" y="3902"/>
                  </a:lnTo>
                  <a:lnTo>
                    <a:pt x="2483" y="3931"/>
                  </a:lnTo>
                  <a:lnTo>
                    <a:pt x="2532" y="3961"/>
                  </a:lnTo>
                  <a:lnTo>
                    <a:pt x="2581" y="3990"/>
                  </a:lnTo>
                  <a:lnTo>
                    <a:pt x="2631" y="4019"/>
                  </a:lnTo>
                  <a:lnTo>
                    <a:pt x="2682" y="4046"/>
                  </a:lnTo>
                  <a:lnTo>
                    <a:pt x="2733" y="4074"/>
                  </a:lnTo>
                  <a:lnTo>
                    <a:pt x="2784" y="4100"/>
                  </a:lnTo>
                  <a:lnTo>
                    <a:pt x="2835" y="4127"/>
                  </a:lnTo>
                  <a:lnTo>
                    <a:pt x="2886" y="4152"/>
                  </a:lnTo>
                  <a:lnTo>
                    <a:pt x="2939" y="4178"/>
                  </a:lnTo>
                  <a:lnTo>
                    <a:pt x="2991" y="4202"/>
                  </a:lnTo>
                  <a:lnTo>
                    <a:pt x="3043" y="4226"/>
                  </a:lnTo>
                  <a:lnTo>
                    <a:pt x="3096" y="4249"/>
                  </a:lnTo>
                  <a:lnTo>
                    <a:pt x="3149" y="4271"/>
                  </a:lnTo>
                  <a:lnTo>
                    <a:pt x="3203" y="4294"/>
                  </a:lnTo>
                  <a:lnTo>
                    <a:pt x="3257" y="4315"/>
                  </a:lnTo>
                  <a:lnTo>
                    <a:pt x="3311" y="4335"/>
                  </a:lnTo>
                  <a:lnTo>
                    <a:pt x="3365" y="4356"/>
                  </a:lnTo>
                  <a:lnTo>
                    <a:pt x="3421" y="4375"/>
                  </a:lnTo>
                  <a:lnTo>
                    <a:pt x="3475" y="4394"/>
                  </a:lnTo>
                  <a:lnTo>
                    <a:pt x="3530" y="4413"/>
                  </a:lnTo>
                  <a:lnTo>
                    <a:pt x="3586" y="4430"/>
                  </a:lnTo>
                  <a:lnTo>
                    <a:pt x="3641" y="4447"/>
                  </a:lnTo>
                  <a:lnTo>
                    <a:pt x="3698" y="4464"/>
                  </a:lnTo>
                  <a:lnTo>
                    <a:pt x="3754" y="4479"/>
                  </a:lnTo>
                  <a:lnTo>
                    <a:pt x="3811" y="4494"/>
                  </a:lnTo>
                  <a:lnTo>
                    <a:pt x="3867" y="4508"/>
                  </a:lnTo>
                  <a:lnTo>
                    <a:pt x="3925" y="4523"/>
                  </a:lnTo>
                  <a:lnTo>
                    <a:pt x="3982" y="4536"/>
                  </a:lnTo>
                  <a:lnTo>
                    <a:pt x="4039" y="4548"/>
                  </a:lnTo>
                  <a:lnTo>
                    <a:pt x="4097" y="4559"/>
                  </a:lnTo>
                  <a:lnTo>
                    <a:pt x="4155" y="4571"/>
                  </a:lnTo>
                  <a:lnTo>
                    <a:pt x="4214" y="4581"/>
                  </a:lnTo>
                  <a:lnTo>
                    <a:pt x="4272" y="4591"/>
                  </a:lnTo>
                  <a:lnTo>
                    <a:pt x="4330" y="4600"/>
                  </a:lnTo>
                  <a:lnTo>
                    <a:pt x="4389" y="4608"/>
                  </a:lnTo>
                  <a:lnTo>
                    <a:pt x="4449" y="4615"/>
                  </a:lnTo>
                  <a:lnTo>
                    <a:pt x="4508" y="4622"/>
                  </a:lnTo>
                  <a:lnTo>
                    <a:pt x="4567" y="4629"/>
                  </a:lnTo>
                  <a:lnTo>
                    <a:pt x="4627" y="4635"/>
                  </a:lnTo>
                  <a:lnTo>
                    <a:pt x="4687" y="4639"/>
                  </a:lnTo>
                  <a:lnTo>
                    <a:pt x="4747" y="4643"/>
                  </a:lnTo>
                  <a:lnTo>
                    <a:pt x="4807" y="4647"/>
                  </a:lnTo>
                  <a:lnTo>
                    <a:pt x="4868" y="4649"/>
                  </a:lnTo>
                  <a:lnTo>
                    <a:pt x="4929" y="4651"/>
                  </a:lnTo>
                  <a:lnTo>
                    <a:pt x="4990" y="4652"/>
                  </a:lnTo>
                  <a:lnTo>
                    <a:pt x="5050" y="4652"/>
                  </a:lnTo>
                  <a:lnTo>
                    <a:pt x="5050" y="4652"/>
                  </a:lnTo>
                  <a:lnTo>
                    <a:pt x="5111" y="4652"/>
                  </a:lnTo>
                  <a:lnTo>
                    <a:pt x="5172" y="4651"/>
                  </a:lnTo>
                  <a:lnTo>
                    <a:pt x="5233" y="4649"/>
                  </a:lnTo>
                  <a:lnTo>
                    <a:pt x="5293" y="4647"/>
                  </a:lnTo>
                  <a:lnTo>
                    <a:pt x="5353" y="4643"/>
                  </a:lnTo>
                  <a:lnTo>
                    <a:pt x="5413" y="4639"/>
                  </a:lnTo>
                  <a:lnTo>
                    <a:pt x="5474" y="4635"/>
                  </a:lnTo>
                  <a:lnTo>
                    <a:pt x="5533" y="4629"/>
                  </a:lnTo>
                  <a:lnTo>
                    <a:pt x="5593" y="4622"/>
                  </a:lnTo>
                  <a:lnTo>
                    <a:pt x="5652" y="4615"/>
                  </a:lnTo>
                  <a:lnTo>
                    <a:pt x="5712" y="4608"/>
                  </a:lnTo>
                  <a:lnTo>
                    <a:pt x="5770" y="4600"/>
                  </a:lnTo>
                  <a:lnTo>
                    <a:pt x="5829" y="4591"/>
                  </a:lnTo>
                  <a:lnTo>
                    <a:pt x="5887" y="4581"/>
                  </a:lnTo>
                  <a:lnTo>
                    <a:pt x="5946" y="4571"/>
                  </a:lnTo>
                  <a:lnTo>
                    <a:pt x="6004" y="4559"/>
                  </a:lnTo>
                  <a:lnTo>
                    <a:pt x="6061" y="4548"/>
                  </a:lnTo>
                  <a:lnTo>
                    <a:pt x="6119" y="4536"/>
                  </a:lnTo>
                  <a:lnTo>
                    <a:pt x="6176" y="4523"/>
                  </a:lnTo>
                  <a:lnTo>
                    <a:pt x="6234" y="4508"/>
                  </a:lnTo>
                  <a:lnTo>
                    <a:pt x="6290" y="4494"/>
                  </a:lnTo>
                  <a:lnTo>
                    <a:pt x="6347" y="4479"/>
                  </a:lnTo>
                  <a:lnTo>
                    <a:pt x="6403" y="4464"/>
                  </a:lnTo>
                  <a:lnTo>
                    <a:pt x="6459" y="4447"/>
                  </a:lnTo>
                  <a:lnTo>
                    <a:pt x="6515" y="4430"/>
                  </a:lnTo>
                  <a:lnTo>
                    <a:pt x="6570" y="4413"/>
                  </a:lnTo>
                  <a:lnTo>
                    <a:pt x="6625" y="4394"/>
                  </a:lnTo>
                  <a:lnTo>
                    <a:pt x="6680" y="4375"/>
                  </a:lnTo>
                  <a:lnTo>
                    <a:pt x="6736" y="4356"/>
                  </a:lnTo>
                  <a:lnTo>
                    <a:pt x="6790" y="4335"/>
                  </a:lnTo>
                  <a:lnTo>
                    <a:pt x="6844" y="4315"/>
                  </a:lnTo>
                  <a:lnTo>
                    <a:pt x="6897" y="4294"/>
                  </a:lnTo>
                  <a:lnTo>
                    <a:pt x="6952" y="4271"/>
                  </a:lnTo>
                  <a:lnTo>
                    <a:pt x="7005" y="4249"/>
                  </a:lnTo>
                  <a:lnTo>
                    <a:pt x="7057" y="4226"/>
                  </a:lnTo>
                  <a:lnTo>
                    <a:pt x="7110" y="4202"/>
                  </a:lnTo>
                  <a:lnTo>
                    <a:pt x="7162" y="4178"/>
                  </a:lnTo>
                  <a:lnTo>
                    <a:pt x="7215" y="4152"/>
                  </a:lnTo>
                  <a:lnTo>
                    <a:pt x="7266" y="4127"/>
                  </a:lnTo>
                  <a:lnTo>
                    <a:pt x="7317" y="4100"/>
                  </a:lnTo>
                  <a:lnTo>
                    <a:pt x="7368" y="4074"/>
                  </a:lnTo>
                  <a:lnTo>
                    <a:pt x="7419" y="4046"/>
                  </a:lnTo>
                  <a:lnTo>
                    <a:pt x="7470" y="4019"/>
                  </a:lnTo>
                  <a:lnTo>
                    <a:pt x="7520" y="3990"/>
                  </a:lnTo>
                  <a:lnTo>
                    <a:pt x="7569" y="3961"/>
                  </a:lnTo>
                  <a:lnTo>
                    <a:pt x="7618" y="3931"/>
                  </a:lnTo>
                  <a:lnTo>
                    <a:pt x="7667" y="3902"/>
                  </a:lnTo>
                  <a:lnTo>
                    <a:pt x="7716" y="3871"/>
                  </a:lnTo>
                  <a:lnTo>
                    <a:pt x="7764" y="3840"/>
                  </a:lnTo>
                  <a:lnTo>
                    <a:pt x="7812" y="3808"/>
                  </a:lnTo>
                  <a:lnTo>
                    <a:pt x="7859" y="3776"/>
                  </a:lnTo>
                  <a:lnTo>
                    <a:pt x="7906" y="3743"/>
                  </a:lnTo>
                  <a:lnTo>
                    <a:pt x="7953" y="3710"/>
                  </a:lnTo>
                  <a:lnTo>
                    <a:pt x="8000" y="3675"/>
                  </a:lnTo>
                  <a:lnTo>
                    <a:pt x="8046" y="3641"/>
                  </a:lnTo>
                  <a:lnTo>
                    <a:pt x="8092" y="3606"/>
                  </a:lnTo>
                  <a:lnTo>
                    <a:pt x="8137" y="3570"/>
                  </a:lnTo>
                  <a:lnTo>
                    <a:pt x="8181" y="3535"/>
                  </a:lnTo>
                  <a:lnTo>
                    <a:pt x="8227" y="3498"/>
                  </a:lnTo>
                  <a:lnTo>
                    <a:pt x="8270" y="3461"/>
                  </a:lnTo>
                  <a:lnTo>
                    <a:pt x="8314" y="3424"/>
                  </a:lnTo>
                  <a:lnTo>
                    <a:pt x="8357" y="3386"/>
                  </a:lnTo>
                  <a:lnTo>
                    <a:pt x="8400" y="3347"/>
                  </a:lnTo>
                  <a:lnTo>
                    <a:pt x="8442" y="3309"/>
                  </a:lnTo>
                  <a:lnTo>
                    <a:pt x="8485" y="3269"/>
                  </a:lnTo>
                  <a:lnTo>
                    <a:pt x="8526" y="3229"/>
                  </a:lnTo>
                  <a:lnTo>
                    <a:pt x="8567" y="3189"/>
                  </a:lnTo>
                  <a:lnTo>
                    <a:pt x="8607" y="3148"/>
                  </a:lnTo>
                  <a:lnTo>
                    <a:pt x="8647" y="3106"/>
                  </a:lnTo>
                  <a:lnTo>
                    <a:pt x="8687" y="3064"/>
                  </a:lnTo>
                  <a:lnTo>
                    <a:pt x="8727" y="3023"/>
                  </a:lnTo>
                  <a:lnTo>
                    <a:pt x="8766" y="2980"/>
                  </a:lnTo>
                  <a:lnTo>
                    <a:pt x="8804" y="2937"/>
                  </a:lnTo>
                  <a:lnTo>
                    <a:pt x="8842" y="2893"/>
                  </a:lnTo>
                  <a:lnTo>
                    <a:pt x="8880" y="2850"/>
                  </a:lnTo>
                  <a:lnTo>
                    <a:pt x="8916" y="2805"/>
                  </a:lnTo>
                  <a:lnTo>
                    <a:pt x="8953" y="2760"/>
                  </a:lnTo>
                  <a:lnTo>
                    <a:pt x="8990" y="2715"/>
                  </a:lnTo>
                  <a:lnTo>
                    <a:pt x="9025" y="2669"/>
                  </a:lnTo>
                  <a:lnTo>
                    <a:pt x="9060" y="2623"/>
                  </a:lnTo>
                  <a:lnTo>
                    <a:pt x="9095" y="2577"/>
                  </a:lnTo>
                  <a:lnTo>
                    <a:pt x="9129" y="2529"/>
                  </a:lnTo>
                  <a:lnTo>
                    <a:pt x="9162" y="2482"/>
                  </a:lnTo>
                  <a:lnTo>
                    <a:pt x="9195" y="2434"/>
                  </a:lnTo>
                  <a:lnTo>
                    <a:pt x="9229" y="2387"/>
                  </a:lnTo>
                  <a:lnTo>
                    <a:pt x="9261" y="2338"/>
                  </a:lnTo>
                  <a:lnTo>
                    <a:pt x="9292" y="2289"/>
                  </a:lnTo>
                  <a:lnTo>
                    <a:pt x="9324" y="2240"/>
                  </a:lnTo>
                  <a:lnTo>
                    <a:pt x="9354" y="2190"/>
                  </a:lnTo>
                  <a:lnTo>
                    <a:pt x="9384" y="2140"/>
                  </a:lnTo>
                  <a:lnTo>
                    <a:pt x="9413" y="2089"/>
                  </a:lnTo>
                  <a:lnTo>
                    <a:pt x="9442" y="2038"/>
                  </a:lnTo>
                  <a:lnTo>
                    <a:pt x="9472" y="1988"/>
                  </a:lnTo>
                  <a:lnTo>
                    <a:pt x="9500" y="1936"/>
                  </a:lnTo>
                  <a:lnTo>
                    <a:pt x="9527" y="1884"/>
                  </a:lnTo>
                  <a:lnTo>
                    <a:pt x="9554" y="1832"/>
                  </a:lnTo>
                  <a:lnTo>
                    <a:pt x="9580" y="1779"/>
                  </a:lnTo>
                  <a:lnTo>
                    <a:pt x="9606" y="1726"/>
                  </a:lnTo>
                  <a:lnTo>
                    <a:pt x="9631" y="1673"/>
                  </a:lnTo>
                  <a:lnTo>
                    <a:pt x="9655" y="1619"/>
                  </a:lnTo>
                  <a:lnTo>
                    <a:pt x="9679" y="1565"/>
                  </a:lnTo>
                  <a:lnTo>
                    <a:pt x="9703" y="1511"/>
                  </a:lnTo>
                  <a:lnTo>
                    <a:pt x="9726" y="1456"/>
                  </a:lnTo>
                  <a:lnTo>
                    <a:pt x="9749" y="1401"/>
                  </a:lnTo>
                  <a:lnTo>
                    <a:pt x="9770" y="1346"/>
                  </a:lnTo>
                  <a:lnTo>
                    <a:pt x="9791" y="1292"/>
                  </a:lnTo>
                  <a:lnTo>
                    <a:pt x="9812" y="1236"/>
                  </a:lnTo>
                  <a:lnTo>
                    <a:pt x="9832" y="1180"/>
                  </a:lnTo>
                  <a:lnTo>
                    <a:pt x="9851" y="1123"/>
                  </a:lnTo>
                  <a:lnTo>
                    <a:pt x="9870" y="1066"/>
                  </a:lnTo>
                  <a:lnTo>
                    <a:pt x="9888" y="1009"/>
                  </a:lnTo>
                  <a:lnTo>
                    <a:pt x="9906" y="952"/>
                  </a:lnTo>
                  <a:lnTo>
                    <a:pt x="9922" y="895"/>
                  </a:lnTo>
                  <a:lnTo>
                    <a:pt x="9939" y="837"/>
                  </a:lnTo>
                  <a:lnTo>
                    <a:pt x="9954" y="779"/>
                  </a:lnTo>
                  <a:lnTo>
                    <a:pt x="9969" y="720"/>
                  </a:lnTo>
                  <a:lnTo>
                    <a:pt x="9985" y="662"/>
                  </a:lnTo>
                  <a:lnTo>
                    <a:pt x="9999" y="603"/>
                  </a:lnTo>
                  <a:lnTo>
                    <a:pt x="10012" y="543"/>
                  </a:lnTo>
                  <a:lnTo>
                    <a:pt x="10024" y="483"/>
                  </a:lnTo>
                  <a:lnTo>
                    <a:pt x="10036" y="423"/>
                  </a:lnTo>
                  <a:lnTo>
                    <a:pt x="10047" y="364"/>
                  </a:lnTo>
                  <a:lnTo>
                    <a:pt x="10058" y="304"/>
                  </a:lnTo>
                  <a:lnTo>
                    <a:pt x="10068" y="243"/>
                  </a:lnTo>
                  <a:lnTo>
                    <a:pt x="10077" y="183"/>
                  </a:lnTo>
                  <a:lnTo>
                    <a:pt x="10085" y="122"/>
                  </a:lnTo>
                  <a:lnTo>
                    <a:pt x="10093" y="61"/>
                  </a:lnTo>
                  <a:lnTo>
                    <a:pt x="10101" y="0"/>
                  </a:lnTo>
                  <a:lnTo>
                    <a:pt x="0" y="0"/>
                  </a:lnTo>
                  <a:close/>
                </a:path>
              </a:pathLst>
            </a:custGeom>
            <a:gradFill flip="none" rotWithShape="1">
              <a:gsLst>
                <a:gs pos="67000">
                  <a:schemeClr val="accent1">
                    <a:lumMod val="50000"/>
                  </a:schemeClr>
                </a:gs>
                <a:gs pos="20000">
                  <a:srgbClr val="005F70">
                    <a:alpha val="0"/>
                  </a:srgbClr>
                </a:gs>
              </a:gsLst>
              <a:path path="circle">
                <a:fillToRect l="50000" t="50000" r="50000" b="50000"/>
              </a:path>
              <a:tileRect/>
            </a:gradFill>
            <a:ln w="1270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83" name="Freeform 40"/>
            <p:cNvSpPr>
              <a:spLocks/>
            </p:cNvSpPr>
            <p:nvPr/>
          </p:nvSpPr>
          <p:spPr bwMode="auto">
            <a:xfrm>
              <a:off x="-570352" y="5115254"/>
              <a:ext cx="116766" cy="78719"/>
            </a:xfrm>
            <a:custGeom>
              <a:avLst/>
              <a:gdLst>
                <a:gd name="T0" fmla="*/ 3860 w 4215"/>
                <a:gd name="T1" fmla="*/ 2166 h 2875"/>
                <a:gd name="T2" fmla="*/ 4215 w 4215"/>
                <a:gd name="T3" fmla="*/ 1862 h 2875"/>
                <a:gd name="T4" fmla="*/ 656 w 4215"/>
                <a:gd name="T5" fmla="*/ 0 h 2875"/>
                <a:gd name="T6" fmla="*/ 0 w 4215"/>
                <a:gd name="T7" fmla="*/ 1287 h 2875"/>
                <a:gd name="T8" fmla="*/ 1043 w 4215"/>
                <a:gd name="T9" fmla="*/ 1833 h 2875"/>
                <a:gd name="T10" fmla="*/ 975 w 4215"/>
                <a:gd name="T11" fmla="*/ 1966 h 2875"/>
                <a:gd name="T12" fmla="*/ 975 w 4215"/>
                <a:gd name="T13" fmla="*/ 1966 h 2875"/>
                <a:gd name="T14" fmla="*/ 970 w 4215"/>
                <a:gd name="T15" fmla="*/ 1977 h 2875"/>
                <a:gd name="T16" fmla="*/ 966 w 4215"/>
                <a:gd name="T17" fmla="*/ 1988 h 2875"/>
                <a:gd name="T18" fmla="*/ 964 w 4215"/>
                <a:gd name="T19" fmla="*/ 2001 h 2875"/>
                <a:gd name="T20" fmla="*/ 962 w 4215"/>
                <a:gd name="T21" fmla="*/ 2012 h 2875"/>
                <a:gd name="T22" fmla="*/ 962 w 4215"/>
                <a:gd name="T23" fmla="*/ 2024 h 2875"/>
                <a:gd name="T24" fmla="*/ 963 w 4215"/>
                <a:gd name="T25" fmla="*/ 2035 h 2875"/>
                <a:gd name="T26" fmla="*/ 965 w 4215"/>
                <a:gd name="T27" fmla="*/ 2046 h 2875"/>
                <a:gd name="T28" fmla="*/ 968 w 4215"/>
                <a:gd name="T29" fmla="*/ 2058 h 2875"/>
                <a:gd name="T30" fmla="*/ 972 w 4215"/>
                <a:gd name="T31" fmla="*/ 2069 h 2875"/>
                <a:gd name="T32" fmla="*/ 976 w 4215"/>
                <a:gd name="T33" fmla="*/ 2079 h 2875"/>
                <a:gd name="T34" fmla="*/ 982 w 4215"/>
                <a:gd name="T35" fmla="*/ 2089 h 2875"/>
                <a:gd name="T36" fmla="*/ 989 w 4215"/>
                <a:gd name="T37" fmla="*/ 2098 h 2875"/>
                <a:gd name="T38" fmla="*/ 997 w 4215"/>
                <a:gd name="T39" fmla="*/ 2106 h 2875"/>
                <a:gd name="T40" fmla="*/ 1006 w 4215"/>
                <a:gd name="T41" fmla="*/ 2114 h 2875"/>
                <a:gd name="T42" fmla="*/ 1015 w 4215"/>
                <a:gd name="T43" fmla="*/ 2122 h 2875"/>
                <a:gd name="T44" fmla="*/ 1026 w 4215"/>
                <a:gd name="T45" fmla="*/ 2128 h 2875"/>
                <a:gd name="T46" fmla="*/ 1920 w 4215"/>
                <a:gd name="T47" fmla="*/ 2597 h 2875"/>
                <a:gd name="T48" fmla="*/ 1920 w 4215"/>
                <a:gd name="T49" fmla="*/ 2597 h 2875"/>
                <a:gd name="T50" fmla="*/ 1932 w 4215"/>
                <a:gd name="T51" fmla="*/ 2602 h 2875"/>
                <a:gd name="T52" fmla="*/ 1943 w 4215"/>
                <a:gd name="T53" fmla="*/ 2605 h 2875"/>
                <a:gd name="T54" fmla="*/ 1955 w 4215"/>
                <a:gd name="T55" fmla="*/ 2608 h 2875"/>
                <a:gd name="T56" fmla="*/ 1966 w 4215"/>
                <a:gd name="T57" fmla="*/ 2609 h 2875"/>
                <a:gd name="T58" fmla="*/ 1977 w 4215"/>
                <a:gd name="T59" fmla="*/ 2610 h 2875"/>
                <a:gd name="T60" fmla="*/ 1989 w 4215"/>
                <a:gd name="T61" fmla="*/ 2609 h 2875"/>
                <a:gd name="T62" fmla="*/ 2000 w 4215"/>
                <a:gd name="T63" fmla="*/ 2607 h 2875"/>
                <a:gd name="T64" fmla="*/ 2011 w 4215"/>
                <a:gd name="T65" fmla="*/ 2604 h 2875"/>
                <a:gd name="T66" fmla="*/ 2022 w 4215"/>
                <a:gd name="T67" fmla="*/ 2600 h 2875"/>
                <a:gd name="T68" fmla="*/ 2032 w 4215"/>
                <a:gd name="T69" fmla="*/ 2595 h 2875"/>
                <a:gd name="T70" fmla="*/ 2041 w 4215"/>
                <a:gd name="T71" fmla="*/ 2589 h 2875"/>
                <a:gd name="T72" fmla="*/ 2051 w 4215"/>
                <a:gd name="T73" fmla="*/ 2582 h 2875"/>
                <a:gd name="T74" fmla="*/ 2059 w 4215"/>
                <a:gd name="T75" fmla="*/ 2573 h 2875"/>
                <a:gd name="T76" fmla="*/ 2067 w 4215"/>
                <a:gd name="T77" fmla="*/ 2565 h 2875"/>
                <a:gd name="T78" fmla="*/ 2074 w 4215"/>
                <a:gd name="T79" fmla="*/ 2555 h 2875"/>
                <a:gd name="T80" fmla="*/ 2080 w 4215"/>
                <a:gd name="T81" fmla="*/ 2545 h 2875"/>
                <a:gd name="T82" fmla="*/ 2147 w 4215"/>
                <a:gd name="T83" fmla="*/ 2412 h 2875"/>
                <a:gd name="T84" fmla="*/ 3033 w 4215"/>
                <a:gd name="T85" fmla="*/ 2875 h 2875"/>
                <a:gd name="T86" fmla="*/ 3327 w 4215"/>
                <a:gd name="T87" fmla="*/ 2623 h 2875"/>
                <a:gd name="T88" fmla="*/ 3564 w 4215"/>
                <a:gd name="T89" fmla="*/ 2748 h 2875"/>
                <a:gd name="T90" fmla="*/ 3631 w 4215"/>
                <a:gd name="T91" fmla="*/ 2616 h 2875"/>
                <a:gd name="T92" fmla="*/ 3717 w 4215"/>
                <a:gd name="T93" fmla="*/ 2661 h 2875"/>
                <a:gd name="T94" fmla="*/ 3909 w 4215"/>
                <a:gd name="T95" fmla="*/ 2283 h 2875"/>
                <a:gd name="T96" fmla="*/ 3824 w 4215"/>
                <a:gd name="T97" fmla="*/ 2238 h 2875"/>
                <a:gd name="T98" fmla="*/ 3860 w 4215"/>
                <a:gd name="T99" fmla="*/ 2166 h 2875"/>
                <a:gd name="T100" fmla="*/ 3860 w 4215"/>
                <a:gd name="T101" fmla="*/ 2166 h 2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15" h="2875">
                  <a:moveTo>
                    <a:pt x="3860" y="2166"/>
                  </a:moveTo>
                  <a:lnTo>
                    <a:pt x="4215" y="1862"/>
                  </a:lnTo>
                  <a:lnTo>
                    <a:pt x="656" y="0"/>
                  </a:lnTo>
                  <a:lnTo>
                    <a:pt x="0" y="1287"/>
                  </a:lnTo>
                  <a:lnTo>
                    <a:pt x="1043" y="1833"/>
                  </a:lnTo>
                  <a:lnTo>
                    <a:pt x="975" y="1966"/>
                  </a:lnTo>
                  <a:lnTo>
                    <a:pt x="975" y="1966"/>
                  </a:lnTo>
                  <a:lnTo>
                    <a:pt x="970" y="1977"/>
                  </a:lnTo>
                  <a:lnTo>
                    <a:pt x="966" y="1988"/>
                  </a:lnTo>
                  <a:lnTo>
                    <a:pt x="964" y="2001"/>
                  </a:lnTo>
                  <a:lnTo>
                    <a:pt x="962" y="2012"/>
                  </a:lnTo>
                  <a:lnTo>
                    <a:pt x="962" y="2024"/>
                  </a:lnTo>
                  <a:lnTo>
                    <a:pt x="963" y="2035"/>
                  </a:lnTo>
                  <a:lnTo>
                    <a:pt x="965" y="2046"/>
                  </a:lnTo>
                  <a:lnTo>
                    <a:pt x="968" y="2058"/>
                  </a:lnTo>
                  <a:lnTo>
                    <a:pt x="972" y="2069"/>
                  </a:lnTo>
                  <a:lnTo>
                    <a:pt x="976" y="2079"/>
                  </a:lnTo>
                  <a:lnTo>
                    <a:pt x="982" y="2089"/>
                  </a:lnTo>
                  <a:lnTo>
                    <a:pt x="989" y="2098"/>
                  </a:lnTo>
                  <a:lnTo>
                    <a:pt x="997" y="2106"/>
                  </a:lnTo>
                  <a:lnTo>
                    <a:pt x="1006" y="2114"/>
                  </a:lnTo>
                  <a:lnTo>
                    <a:pt x="1015" y="2122"/>
                  </a:lnTo>
                  <a:lnTo>
                    <a:pt x="1026" y="2128"/>
                  </a:lnTo>
                  <a:lnTo>
                    <a:pt x="1920" y="2597"/>
                  </a:lnTo>
                  <a:lnTo>
                    <a:pt x="1920" y="2597"/>
                  </a:lnTo>
                  <a:lnTo>
                    <a:pt x="1932" y="2602"/>
                  </a:lnTo>
                  <a:lnTo>
                    <a:pt x="1943" y="2605"/>
                  </a:lnTo>
                  <a:lnTo>
                    <a:pt x="1955" y="2608"/>
                  </a:lnTo>
                  <a:lnTo>
                    <a:pt x="1966" y="2609"/>
                  </a:lnTo>
                  <a:lnTo>
                    <a:pt x="1977" y="2610"/>
                  </a:lnTo>
                  <a:lnTo>
                    <a:pt x="1989" y="2609"/>
                  </a:lnTo>
                  <a:lnTo>
                    <a:pt x="2000" y="2607"/>
                  </a:lnTo>
                  <a:lnTo>
                    <a:pt x="2011" y="2604"/>
                  </a:lnTo>
                  <a:lnTo>
                    <a:pt x="2022" y="2600"/>
                  </a:lnTo>
                  <a:lnTo>
                    <a:pt x="2032" y="2595"/>
                  </a:lnTo>
                  <a:lnTo>
                    <a:pt x="2041" y="2589"/>
                  </a:lnTo>
                  <a:lnTo>
                    <a:pt x="2051" y="2582"/>
                  </a:lnTo>
                  <a:lnTo>
                    <a:pt x="2059" y="2573"/>
                  </a:lnTo>
                  <a:lnTo>
                    <a:pt x="2067" y="2565"/>
                  </a:lnTo>
                  <a:lnTo>
                    <a:pt x="2074" y="2555"/>
                  </a:lnTo>
                  <a:lnTo>
                    <a:pt x="2080" y="2545"/>
                  </a:lnTo>
                  <a:lnTo>
                    <a:pt x="2147" y="2412"/>
                  </a:lnTo>
                  <a:lnTo>
                    <a:pt x="3033" y="2875"/>
                  </a:lnTo>
                  <a:lnTo>
                    <a:pt x="3327" y="2623"/>
                  </a:lnTo>
                  <a:lnTo>
                    <a:pt x="3564" y="2748"/>
                  </a:lnTo>
                  <a:lnTo>
                    <a:pt x="3631" y="2616"/>
                  </a:lnTo>
                  <a:lnTo>
                    <a:pt x="3717" y="2661"/>
                  </a:lnTo>
                  <a:lnTo>
                    <a:pt x="3909" y="2283"/>
                  </a:lnTo>
                  <a:lnTo>
                    <a:pt x="3824" y="2238"/>
                  </a:lnTo>
                  <a:lnTo>
                    <a:pt x="3860" y="2166"/>
                  </a:lnTo>
                  <a:lnTo>
                    <a:pt x="3860" y="216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84" name="Freeform 41"/>
            <p:cNvSpPr>
              <a:spLocks/>
            </p:cNvSpPr>
            <p:nvPr/>
          </p:nvSpPr>
          <p:spPr bwMode="auto">
            <a:xfrm>
              <a:off x="-525463" y="5065713"/>
              <a:ext cx="30162" cy="80962"/>
            </a:xfrm>
            <a:custGeom>
              <a:avLst/>
              <a:gdLst>
                <a:gd name="T0" fmla="*/ 814 w 852"/>
                <a:gd name="T1" fmla="*/ 2208 h 2462"/>
                <a:gd name="T2" fmla="*/ 828 w 852"/>
                <a:gd name="T3" fmla="*/ 2176 h 2462"/>
                <a:gd name="T4" fmla="*/ 839 w 852"/>
                <a:gd name="T5" fmla="*/ 2137 h 2462"/>
                <a:gd name="T6" fmla="*/ 848 w 852"/>
                <a:gd name="T7" fmla="*/ 2087 h 2462"/>
                <a:gd name="T8" fmla="*/ 852 w 852"/>
                <a:gd name="T9" fmla="*/ 2027 h 2462"/>
                <a:gd name="T10" fmla="*/ 851 w 852"/>
                <a:gd name="T11" fmla="*/ 1994 h 2462"/>
                <a:gd name="T12" fmla="*/ 847 w 852"/>
                <a:gd name="T13" fmla="*/ 1960 h 2462"/>
                <a:gd name="T14" fmla="*/ 840 w 852"/>
                <a:gd name="T15" fmla="*/ 1923 h 2462"/>
                <a:gd name="T16" fmla="*/ 829 w 852"/>
                <a:gd name="T17" fmla="*/ 1886 h 2462"/>
                <a:gd name="T18" fmla="*/ 814 w 852"/>
                <a:gd name="T19" fmla="*/ 1848 h 2462"/>
                <a:gd name="T20" fmla="*/ 795 w 852"/>
                <a:gd name="T21" fmla="*/ 1808 h 2462"/>
                <a:gd name="T22" fmla="*/ 786 w 852"/>
                <a:gd name="T23" fmla="*/ 1794 h 2462"/>
                <a:gd name="T24" fmla="*/ 768 w 852"/>
                <a:gd name="T25" fmla="*/ 1768 h 2462"/>
                <a:gd name="T26" fmla="*/ 748 w 852"/>
                <a:gd name="T27" fmla="*/ 1742 h 2462"/>
                <a:gd name="T28" fmla="*/ 726 w 852"/>
                <a:gd name="T29" fmla="*/ 1718 h 2462"/>
                <a:gd name="T30" fmla="*/ 702 w 852"/>
                <a:gd name="T31" fmla="*/ 1696 h 2462"/>
                <a:gd name="T32" fmla="*/ 676 w 852"/>
                <a:gd name="T33" fmla="*/ 1676 h 2462"/>
                <a:gd name="T34" fmla="*/ 635 w 852"/>
                <a:gd name="T35" fmla="*/ 1650 h 2462"/>
                <a:gd name="T36" fmla="*/ 535 w 852"/>
                <a:gd name="T37" fmla="*/ 0 h 2462"/>
                <a:gd name="T38" fmla="*/ 212 w 852"/>
                <a:gd name="T39" fmla="*/ 1656 h 2462"/>
                <a:gd name="T40" fmla="*/ 187 w 852"/>
                <a:gd name="T41" fmla="*/ 1671 h 2462"/>
                <a:gd name="T42" fmla="*/ 142 w 852"/>
                <a:gd name="T43" fmla="*/ 1706 h 2462"/>
                <a:gd name="T44" fmla="*/ 102 w 852"/>
                <a:gd name="T45" fmla="*/ 1748 h 2462"/>
                <a:gd name="T46" fmla="*/ 68 w 852"/>
                <a:gd name="T47" fmla="*/ 1795 h 2462"/>
                <a:gd name="T48" fmla="*/ 40 w 852"/>
                <a:gd name="T49" fmla="*/ 1845 h 2462"/>
                <a:gd name="T50" fmla="*/ 19 w 852"/>
                <a:gd name="T51" fmla="*/ 1900 h 2462"/>
                <a:gd name="T52" fmla="*/ 5 w 852"/>
                <a:gd name="T53" fmla="*/ 1958 h 2462"/>
                <a:gd name="T54" fmla="*/ 0 w 852"/>
                <a:gd name="T55" fmla="*/ 2018 h 2462"/>
                <a:gd name="T56" fmla="*/ 0 w 852"/>
                <a:gd name="T57" fmla="*/ 2049 h 2462"/>
                <a:gd name="T58" fmla="*/ 5 w 852"/>
                <a:gd name="T59" fmla="*/ 2093 h 2462"/>
                <a:gd name="T60" fmla="*/ 13 w 852"/>
                <a:gd name="T61" fmla="*/ 2136 h 2462"/>
                <a:gd name="T62" fmla="*/ 26 w 852"/>
                <a:gd name="T63" fmla="*/ 2177 h 2462"/>
                <a:gd name="T64" fmla="*/ 42 w 852"/>
                <a:gd name="T65" fmla="*/ 2216 h 2462"/>
                <a:gd name="T66" fmla="*/ 62 w 852"/>
                <a:gd name="T67" fmla="*/ 2253 h 2462"/>
                <a:gd name="T68" fmla="*/ 85 w 852"/>
                <a:gd name="T69" fmla="*/ 2288 h 2462"/>
                <a:gd name="T70" fmla="*/ 111 w 852"/>
                <a:gd name="T71" fmla="*/ 2320 h 2462"/>
                <a:gd name="T72" fmla="*/ 140 w 852"/>
                <a:gd name="T73" fmla="*/ 2350 h 2462"/>
                <a:gd name="T74" fmla="*/ 172 w 852"/>
                <a:gd name="T75" fmla="*/ 2376 h 2462"/>
                <a:gd name="T76" fmla="*/ 207 w 852"/>
                <a:gd name="T77" fmla="*/ 2398 h 2462"/>
                <a:gd name="T78" fmla="*/ 243 w 852"/>
                <a:gd name="T79" fmla="*/ 2419 h 2462"/>
                <a:gd name="T80" fmla="*/ 281 w 852"/>
                <a:gd name="T81" fmla="*/ 2435 h 2462"/>
                <a:gd name="T82" fmla="*/ 321 w 852"/>
                <a:gd name="T83" fmla="*/ 2447 h 2462"/>
                <a:gd name="T84" fmla="*/ 362 w 852"/>
                <a:gd name="T85" fmla="*/ 2456 h 2462"/>
                <a:gd name="T86" fmla="*/ 405 w 852"/>
                <a:gd name="T87" fmla="*/ 2461 h 2462"/>
                <a:gd name="T88" fmla="*/ 449 w 852"/>
                <a:gd name="T89" fmla="*/ 2461 h 2462"/>
                <a:gd name="T90" fmla="*/ 480 w 852"/>
                <a:gd name="T91" fmla="*/ 2459 h 2462"/>
                <a:gd name="T92" fmla="*/ 538 w 852"/>
                <a:gd name="T93" fmla="*/ 2446 h 2462"/>
                <a:gd name="T94" fmla="*/ 593 w 852"/>
                <a:gd name="T95" fmla="*/ 2427 h 2462"/>
                <a:gd name="T96" fmla="*/ 645 w 852"/>
                <a:gd name="T97" fmla="*/ 2401 h 2462"/>
                <a:gd name="T98" fmla="*/ 692 w 852"/>
                <a:gd name="T99" fmla="*/ 2367 h 2462"/>
                <a:gd name="T100" fmla="*/ 734 w 852"/>
                <a:gd name="T101" fmla="*/ 2328 h 2462"/>
                <a:gd name="T102" fmla="*/ 771 w 852"/>
                <a:gd name="T103" fmla="*/ 2283 h 2462"/>
                <a:gd name="T104" fmla="*/ 801 w 852"/>
                <a:gd name="T105" fmla="*/ 2235 h 2462"/>
                <a:gd name="T106" fmla="*/ 814 w 852"/>
                <a:gd name="T107" fmla="*/ 2208 h 2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2" h="2462">
                  <a:moveTo>
                    <a:pt x="814" y="2208"/>
                  </a:moveTo>
                  <a:lnTo>
                    <a:pt x="814" y="2208"/>
                  </a:lnTo>
                  <a:lnTo>
                    <a:pt x="818" y="2200"/>
                  </a:lnTo>
                  <a:lnTo>
                    <a:pt x="828" y="2176"/>
                  </a:lnTo>
                  <a:lnTo>
                    <a:pt x="833" y="2158"/>
                  </a:lnTo>
                  <a:lnTo>
                    <a:pt x="839" y="2137"/>
                  </a:lnTo>
                  <a:lnTo>
                    <a:pt x="844" y="2114"/>
                  </a:lnTo>
                  <a:lnTo>
                    <a:pt x="848" y="2087"/>
                  </a:lnTo>
                  <a:lnTo>
                    <a:pt x="851" y="2059"/>
                  </a:lnTo>
                  <a:lnTo>
                    <a:pt x="852" y="2027"/>
                  </a:lnTo>
                  <a:lnTo>
                    <a:pt x="852" y="2011"/>
                  </a:lnTo>
                  <a:lnTo>
                    <a:pt x="851" y="1994"/>
                  </a:lnTo>
                  <a:lnTo>
                    <a:pt x="849" y="1977"/>
                  </a:lnTo>
                  <a:lnTo>
                    <a:pt x="847" y="1960"/>
                  </a:lnTo>
                  <a:lnTo>
                    <a:pt x="844" y="1942"/>
                  </a:lnTo>
                  <a:lnTo>
                    <a:pt x="840" y="1923"/>
                  </a:lnTo>
                  <a:lnTo>
                    <a:pt x="835" y="1905"/>
                  </a:lnTo>
                  <a:lnTo>
                    <a:pt x="829" y="1886"/>
                  </a:lnTo>
                  <a:lnTo>
                    <a:pt x="822" y="1867"/>
                  </a:lnTo>
                  <a:lnTo>
                    <a:pt x="814" y="1848"/>
                  </a:lnTo>
                  <a:lnTo>
                    <a:pt x="805" y="1828"/>
                  </a:lnTo>
                  <a:lnTo>
                    <a:pt x="795" y="1808"/>
                  </a:lnTo>
                  <a:lnTo>
                    <a:pt x="795" y="1808"/>
                  </a:lnTo>
                  <a:lnTo>
                    <a:pt x="786" y="1794"/>
                  </a:lnTo>
                  <a:lnTo>
                    <a:pt x="778" y="1781"/>
                  </a:lnTo>
                  <a:lnTo>
                    <a:pt x="768" y="1768"/>
                  </a:lnTo>
                  <a:lnTo>
                    <a:pt x="759" y="1754"/>
                  </a:lnTo>
                  <a:lnTo>
                    <a:pt x="748" y="1742"/>
                  </a:lnTo>
                  <a:lnTo>
                    <a:pt x="737" y="1730"/>
                  </a:lnTo>
                  <a:lnTo>
                    <a:pt x="726" y="1718"/>
                  </a:lnTo>
                  <a:lnTo>
                    <a:pt x="714" y="1706"/>
                  </a:lnTo>
                  <a:lnTo>
                    <a:pt x="702" y="1696"/>
                  </a:lnTo>
                  <a:lnTo>
                    <a:pt x="689" y="1686"/>
                  </a:lnTo>
                  <a:lnTo>
                    <a:pt x="676" y="1676"/>
                  </a:lnTo>
                  <a:lnTo>
                    <a:pt x="662" y="1667"/>
                  </a:lnTo>
                  <a:lnTo>
                    <a:pt x="635" y="1650"/>
                  </a:lnTo>
                  <a:lnTo>
                    <a:pt x="606" y="1635"/>
                  </a:lnTo>
                  <a:lnTo>
                    <a:pt x="535" y="0"/>
                  </a:lnTo>
                  <a:lnTo>
                    <a:pt x="140" y="19"/>
                  </a:lnTo>
                  <a:lnTo>
                    <a:pt x="212" y="1656"/>
                  </a:lnTo>
                  <a:lnTo>
                    <a:pt x="212" y="1656"/>
                  </a:lnTo>
                  <a:lnTo>
                    <a:pt x="187" y="1671"/>
                  </a:lnTo>
                  <a:lnTo>
                    <a:pt x="163" y="1688"/>
                  </a:lnTo>
                  <a:lnTo>
                    <a:pt x="142" y="1706"/>
                  </a:lnTo>
                  <a:lnTo>
                    <a:pt x="121" y="1727"/>
                  </a:lnTo>
                  <a:lnTo>
                    <a:pt x="102" y="1748"/>
                  </a:lnTo>
                  <a:lnTo>
                    <a:pt x="84" y="1771"/>
                  </a:lnTo>
                  <a:lnTo>
                    <a:pt x="68" y="1795"/>
                  </a:lnTo>
                  <a:lnTo>
                    <a:pt x="53" y="1819"/>
                  </a:lnTo>
                  <a:lnTo>
                    <a:pt x="40" y="1845"/>
                  </a:lnTo>
                  <a:lnTo>
                    <a:pt x="28" y="1872"/>
                  </a:lnTo>
                  <a:lnTo>
                    <a:pt x="19" y="1900"/>
                  </a:lnTo>
                  <a:lnTo>
                    <a:pt x="11" y="1928"/>
                  </a:lnTo>
                  <a:lnTo>
                    <a:pt x="5" y="1958"/>
                  </a:lnTo>
                  <a:lnTo>
                    <a:pt x="2" y="1987"/>
                  </a:lnTo>
                  <a:lnTo>
                    <a:pt x="0" y="2018"/>
                  </a:lnTo>
                  <a:lnTo>
                    <a:pt x="0" y="2049"/>
                  </a:lnTo>
                  <a:lnTo>
                    <a:pt x="0" y="2049"/>
                  </a:lnTo>
                  <a:lnTo>
                    <a:pt x="2" y="2072"/>
                  </a:lnTo>
                  <a:lnTo>
                    <a:pt x="5" y="2093"/>
                  </a:lnTo>
                  <a:lnTo>
                    <a:pt x="8" y="2115"/>
                  </a:lnTo>
                  <a:lnTo>
                    <a:pt x="13" y="2136"/>
                  </a:lnTo>
                  <a:lnTo>
                    <a:pt x="19" y="2156"/>
                  </a:lnTo>
                  <a:lnTo>
                    <a:pt x="26" y="2177"/>
                  </a:lnTo>
                  <a:lnTo>
                    <a:pt x="34" y="2197"/>
                  </a:lnTo>
                  <a:lnTo>
                    <a:pt x="42" y="2216"/>
                  </a:lnTo>
                  <a:lnTo>
                    <a:pt x="52" y="2235"/>
                  </a:lnTo>
                  <a:lnTo>
                    <a:pt x="62" y="2253"/>
                  </a:lnTo>
                  <a:lnTo>
                    <a:pt x="73" y="2270"/>
                  </a:lnTo>
                  <a:lnTo>
                    <a:pt x="85" y="2288"/>
                  </a:lnTo>
                  <a:lnTo>
                    <a:pt x="98" y="2304"/>
                  </a:lnTo>
                  <a:lnTo>
                    <a:pt x="111" y="2320"/>
                  </a:lnTo>
                  <a:lnTo>
                    <a:pt x="125" y="2334"/>
                  </a:lnTo>
                  <a:lnTo>
                    <a:pt x="140" y="2350"/>
                  </a:lnTo>
                  <a:lnTo>
                    <a:pt x="156" y="2363"/>
                  </a:lnTo>
                  <a:lnTo>
                    <a:pt x="172" y="2376"/>
                  </a:lnTo>
                  <a:lnTo>
                    <a:pt x="189" y="2387"/>
                  </a:lnTo>
                  <a:lnTo>
                    <a:pt x="207" y="2398"/>
                  </a:lnTo>
                  <a:lnTo>
                    <a:pt x="225" y="2410"/>
                  </a:lnTo>
                  <a:lnTo>
                    <a:pt x="243" y="2419"/>
                  </a:lnTo>
                  <a:lnTo>
                    <a:pt x="262" y="2427"/>
                  </a:lnTo>
                  <a:lnTo>
                    <a:pt x="281" y="2435"/>
                  </a:lnTo>
                  <a:lnTo>
                    <a:pt x="301" y="2442"/>
                  </a:lnTo>
                  <a:lnTo>
                    <a:pt x="321" y="2447"/>
                  </a:lnTo>
                  <a:lnTo>
                    <a:pt x="341" y="2452"/>
                  </a:lnTo>
                  <a:lnTo>
                    <a:pt x="362" y="2456"/>
                  </a:lnTo>
                  <a:lnTo>
                    <a:pt x="383" y="2460"/>
                  </a:lnTo>
                  <a:lnTo>
                    <a:pt x="405" y="2461"/>
                  </a:lnTo>
                  <a:lnTo>
                    <a:pt x="426" y="2462"/>
                  </a:lnTo>
                  <a:lnTo>
                    <a:pt x="449" y="2461"/>
                  </a:lnTo>
                  <a:lnTo>
                    <a:pt x="449" y="2461"/>
                  </a:lnTo>
                  <a:lnTo>
                    <a:pt x="480" y="2459"/>
                  </a:lnTo>
                  <a:lnTo>
                    <a:pt x="509" y="2453"/>
                  </a:lnTo>
                  <a:lnTo>
                    <a:pt x="538" y="2446"/>
                  </a:lnTo>
                  <a:lnTo>
                    <a:pt x="566" y="2438"/>
                  </a:lnTo>
                  <a:lnTo>
                    <a:pt x="593" y="2427"/>
                  </a:lnTo>
                  <a:lnTo>
                    <a:pt x="620" y="2415"/>
                  </a:lnTo>
                  <a:lnTo>
                    <a:pt x="645" y="2401"/>
                  </a:lnTo>
                  <a:lnTo>
                    <a:pt x="669" y="2384"/>
                  </a:lnTo>
                  <a:lnTo>
                    <a:pt x="692" y="2367"/>
                  </a:lnTo>
                  <a:lnTo>
                    <a:pt x="714" y="2349"/>
                  </a:lnTo>
                  <a:lnTo>
                    <a:pt x="734" y="2328"/>
                  </a:lnTo>
                  <a:lnTo>
                    <a:pt x="753" y="2307"/>
                  </a:lnTo>
                  <a:lnTo>
                    <a:pt x="771" y="2283"/>
                  </a:lnTo>
                  <a:lnTo>
                    <a:pt x="787" y="2260"/>
                  </a:lnTo>
                  <a:lnTo>
                    <a:pt x="801" y="2235"/>
                  </a:lnTo>
                  <a:lnTo>
                    <a:pt x="814" y="2208"/>
                  </a:lnTo>
                  <a:lnTo>
                    <a:pt x="814" y="22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85" name="Freeform 42"/>
            <p:cNvSpPr>
              <a:spLocks/>
            </p:cNvSpPr>
            <p:nvPr/>
          </p:nvSpPr>
          <p:spPr bwMode="auto">
            <a:xfrm>
              <a:off x="-606425" y="5062538"/>
              <a:ext cx="188912" cy="28575"/>
            </a:xfrm>
            <a:custGeom>
              <a:avLst/>
              <a:gdLst>
                <a:gd name="T0" fmla="*/ 0 w 5600"/>
                <a:gd name="T1" fmla="*/ 0 h 872"/>
                <a:gd name="T2" fmla="*/ 57 w 5600"/>
                <a:gd name="T3" fmla="*/ 48 h 872"/>
                <a:gd name="T4" fmla="*/ 179 w 5600"/>
                <a:gd name="T5" fmla="*/ 143 h 872"/>
                <a:gd name="T6" fmla="*/ 310 w 5600"/>
                <a:gd name="T7" fmla="*/ 232 h 872"/>
                <a:gd name="T8" fmla="*/ 450 w 5600"/>
                <a:gd name="T9" fmla="*/ 317 h 872"/>
                <a:gd name="T10" fmla="*/ 599 w 5600"/>
                <a:gd name="T11" fmla="*/ 397 h 872"/>
                <a:gd name="T12" fmla="*/ 756 w 5600"/>
                <a:gd name="T13" fmla="*/ 471 h 872"/>
                <a:gd name="T14" fmla="*/ 922 w 5600"/>
                <a:gd name="T15" fmla="*/ 540 h 872"/>
                <a:gd name="T16" fmla="*/ 1093 w 5600"/>
                <a:gd name="T17" fmla="*/ 604 h 872"/>
                <a:gd name="T18" fmla="*/ 1273 w 5600"/>
                <a:gd name="T19" fmla="*/ 661 h 872"/>
                <a:gd name="T20" fmla="*/ 1460 w 5600"/>
                <a:gd name="T21" fmla="*/ 711 h 872"/>
                <a:gd name="T22" fmla="*/ 1652 w 5600"/>
                <a:gd name="T23" fmla="*/ 755 h 872"/>
                <a:gd name="T24" fmla="*/ 1850 w 5600"/>
                <a:gd name="T25" fmla="*/ 793 h 872"/>
                <a:gd name="T26" fmla="*/ 2053 w 5600"/>
                <a:gd name="T27" fmla="*/ 823 h 872"/>
                <a:gd name="T28" fmla="*/ 2261 w 5600"/>
                <a:gd name="T29" fmla="*/ 847 h 872"/>
                <a:gd name="T30" fmla="*/ 2474 w 5600"/>
                <a:gd name="T31" fmla="*/ 863 h 872"/>
                <a:gd name="T32" fmla="*/ 2691 w 5600"/>
                <a:gd name="T33" fmla="*/ 871 h 872"/>
                <a:gd name="T34" fmla="*/ 2800 w 5600"/>
                <a:gd name="T35" fmla="*/ 872 h 872"/>
                <a:gd name="T36" fmla="*/ 3019 w 5600"/>
                <a:gd name="T37" fmla="*/ 868 h 872"/>
                <a:gd name="T38" fmla="*/ 3233 w 5600"/>
                <a:gd name="T39" fmla="*/ 856 h 872"/>
                <a:gd name="T40" fmla="*/ 3444 w 5600"/>
                <a:gd name="T41" fmla="*/ 837 h 872"/>
                <a:gd name="T42" fmla="*/ 3650 w 5600"/>
                <a:gd name="T43" fmla="*/ 809 h 872"/>
                <a:gd name="T44" fmla="*/ 3850 w 5600"/>
                <a:gd name="T45" fmla="*/ 776 h 872"/>
                <a:gd name="T46" fmla="*/ 4045 w 5600"/>
                <a:gd name="T47" fmla="*/ 734 h 872"/>
                <a:gd name="T48" fmla="*/ 4235 w 5600"/>
                <a:gd name="T49" fmla="*/ 687 h 872"/>
                <a:gd name="T50" fmla="*/ 4418 w 5600"/>
                <a:gd name="T51" fmla="*/ 633 h 872"/>
                <a:gd name="T52" fmla="*/ 4594 w 5600"/>
                <a:gd name="T53" fmla="*/ 572 h 872"/>
                <a:gd name="T54" fmla="*/ 4763 w 5600"/>
                <a:gd name="T55" fmla="*/ 506 h 872"/>
                <a:gd name="T56" fmla="*/ 4924 w 5600"/>
                <a:gd name="T57" fmla="*/ 435 h 872"/>
                <a:gd name="T58" fmla="*/ 5077 w 5600"/>
                <a:gd name="T59" fmla="*/ 357 h 872"/>
                <a:gd name="T60" fmla="*/ 5222 w 5600"/>
                <a:gd name="T61" fmla="*/ 275 h 872"/>
                <a:gd name="T62" fmla="*/ 5357 w 5600"/>
                <a:gd name="T63" fmla="*/ 187 h 872"/>
                <a:gd name="T64" fmla="*/ 5484 w 5600"/>
                <a:gd name="T65" fmla="*/ 96 h 872"/>
                <a:gd name="T66" fmla="*/ 5572 w 5600"/>
                <a:gd name="T67" fmla="*/ 24 h 872"/>
                <a:gd name="T68" fmla="*/ 0 w 5600"/>
                <a:gd name="T69" fmla="*/ 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00" h="872">
                  <a:moveTo>
                    <a:pt x="0" y="0"/>
                  </a:moveTo>
                  <a:lnTo>
                    <a:pt x="0" y="0"/>
                  </a:lnTo>
                  <a:lnTo>
                    <a:pt x="29" y="24"/>
                  </a:lnTo>
                  <a:lnTo>
                    <a:pt x="57" y="48"/>
                  </a:lnTo>
                  <a:lnTo>
                    <a:pt x="117" y="96"/>
                  </a:lnTo>
                  <a:lnTo>
                    <a:pt x="179" y="143"/>
                  </a:lnTo>
                  <a:lnTo>
                    <a:pt x="243" y="187"/>
                  </a:lnTo>
                  <a:lnTo>
                    <a:pt x="310" y="232"/>
                  </a:lnTo>
                  <a:lnTo>
                    <a:pt x="379" y="275"/>
                  </a:lnTo>
                  <a:lnTo>
                    <a:pt x="450" y="317"/>
                  </a:lnTo>
                  <a:lnTo>
                    <a:pt x="523" y="357"/>
                  </a:lnTo>
                  <a:lnTo>
                    <a:pt x="599" y="397"/>
                  </a:lnTo>
                  <a:lnTo>
                    <a:pt x="677" y="435"/>
                  </a:lnTo>
                  <a:lnTo>
                    <a:pt x="756" y="471"/>
                  </a:lnTo>
                  <a:lnTo>
                    <a:pt x="837" y="506"/>
                  </a:lnTo>
                  <a:lnTo>
                    <a:pt x="922" y="540"/>
                  </a:lnTo>
                  <a:lnTo>
                    <a:pt x="1007" y="572"/>
                  </a:lnTo>
                  <a:lnTo>
                    <a:pt x="1093" y="604"/>
                  </a:lnTo>
                  <a:lnTo>
                    <a:pt x="1183" y="633"/>
                  </a:lnTo>
                  <a:lnTo>
                    <a:pt x="1273" y="661"/>
                  </a:lnTo>
                  <a:lnTo>
                    <a:pt x="1366" y="687"/>
                  </a:lnTo>
                  <a:lnTo>
                    <a:pt x="1460" y="711"/>
                  </a:lnTo>
                  <a:lnTo>
                    <a:pt x="1555" y="734"/>
                  </a:lnTo>
                  <a:lnTo>
                    <a:pt x="1652" y="755"/>
                  </a:lnTo>
                  <a:lnTo>
                    <a:pt x="1750" y="776"/>
                  </a:lnTo>
                  <a:lnTo>
                    <a:pt x="1850" y="793"/>
                  </a:lnTo>
                  <a:lnTo>
                    <a:pt x="1951" y="809"/>
                  </a:lnTo>
                  <a:lnTo>
                    <a:pt x="2053" y="823"/>
                  </a:lnTo>
                  <a:lnTo>
                    <a:pt x="2157" y="837"/>
                  </a:lnTo>
                  <a:lnTo>
                    <a:pt x="2261" y="847"/>
                  </a:lnTo>
                  <a:lnTo>
                    <a:pt x="2368" y="856"/>
                  </a:lnTo>
                  <a:lnTo>
                    <a:pt x="2474" y="863"/>
                  </a:lnTo>
                  <a:lnTo>
                    <a:pt x="2582" y="868"/>
                  </a:lnTo>
                  <a:lnTo>
                    <a:pt x="2691" y="871"/>
                  </a:lnTo>
                  <a:lnTo>
                    <a:pt x="2800" y="872"/>
                  </a:lnTo>
                  <a:lnTo>
                    <a:pt x="2800" y="872"/>
                  </a:lnTo>
                  <a:lnTo>
                    <a:pt x="2910" y="871"/>
                  </a:lnTo>
                  <a:lnTo>
                    <a:pt x="3019" y="868"/>
                  </a:lnTo>
                  <a:lnTo>
                    <a:pt x="3127" y="863"/>
                  </a:lnTo>
                  <a:lnTo>
                    <a:pt x="3233" y="856"/>
                  </a:lnTo>
                  <a:lnTo>
                    <a:pt x="3339" y="847"/>
                  </a:lnTo>
                  <a:lnTo>
                    <a:pt x="3444" y="837"/>
                  </a:lnTo>
                  <a:lnTo>
                    <a:pt x="3547" y="823"/>
                  </a:lnTo>
                  <a:lnTo>
                    <a:pt x="3650" y="809"/>
                  </a:lnTo>
                  <a:lnTo>
                    <a:pt x="3751" y="793"/>
                  </a:lnTo>
                  <a:lnTo>
                    <a:pt x="3850" y="776"/>
                  </a:lnTo>
                  <a:lnTo>
                    <a:pt x="3949" y="755"/>
                  </a:lnTo>
                  <a:lnTo>
                    <a:pt x="4045" y="734"/>
                  </a:lnTo>
                  <a:lnTo>
                    <a:pt x="4141" y="711"/>
                  </a:lnTo>
                  <a:lnTo>
                    <a:pt x="4235" y="687"/>
                  </a:lnTo>
                  <a:lnTo>
                    <a:pt x="4327" y="661"/>
                  </a:lnTo>
                  <a:lnTo>
                    <a:pt x="4418" y="633"/>
                  </a:lnTo>
                  <a:lnTo>
                    <a:pt x="4507" y="604"/>
                  </a:lnTo>
                  <a:lnTo>
                    <a:pt x="4594" y="572"/>
                  </a:lnTo>
                  <a:lnTo>
                    <a:pt x="4680" y="540"/>
                  </a:lnTo>
                  <a:lnTo>
                    <a:pt x="4763" y="506"/>
                  </a:lnTo>
                  <a:lnTo>
                    <a:pt x="4844" y="471"/>
                  </a:lnTo>
                  <a:lnTo>
                    <a:pt x="4924" y="435"/>
                  </a:lnTo>
                  <a:lnTo>
                    <a:pt x="5002" y="397"/>
                  </a:lnTo>
                  <a:lnTo>
                    <a:pt x="5077" y="357"/>
                  </a:lnTo>
                  <a:lnTo>
                    <a:pt x="5151" y="317"/>
                  </a:lnTo>
                  <a:lnTo>
                    <a:pt x="5222" y="275"/>
                  </a:lnTo>
                  <a:lnTo>
                    <a:pt x="5291" y="232"/>
                  </a:lnTo>
                  <a:lnTo>
                    <a:pt x="5357" y="187"/>
                  </a:lnTo>
                  <a:lnTo>
                    <a:pt x="5422" y="143"/>
                  </a:lnTo>
                  <a:lnTo>
                    <a:pt x="5484" y="96"/>
                  </a:lnTo>
                  <a:lnTo>
                    <a:pt x="5543" y="48"/>
                  </a:lnTo>
                  <a:lnTo>
                    <a:pt x="5572" y="24"/>
                  </a:lnTo>
                  <a:lnTo>
                    <a:pt x="5600"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686" name="Group 685"/>
          <p:cNvGrpSpPr/>
          <p:nvPr/>
        </p:nvGrpSpPr>
        <p:grpSpPr>
          <a:xfrm flipH="1">
            <a:off x="5859298" y="2890315"/>
            <a:ext cx="183138" cy="75113"/>
            <a:chOff x="-676275" y="5062538"/>
            <a:chExt cx="341312" cy="153987"/>
          </a:xfrm>
        </p:grpSpPr>
        <p:sp>
          <p:nvSpPr>
            <p:cNvPr id="689" name="Freeform 43"/>
            <p:cNvSpPr>
              <a:spLocks/>
            </p:cNvSpPr>
            <p:nvPr/>
          </p:nvSpPr>
          <p:spPr bwMode="auto">
            <a:xfrm>
              <a:off x="-676275" y="5062538"/>
              <a:ext cx="341312" cy="153987"/>
            </a:xfrm>
            <a:custGeom>
              <a:avLst/>
              <a:gdLst>
                <a:gd name="T0" fmla="*/ 24 w 10101"/>
                <a:gd name="T1" fmla="*/ 183 h 4652"/>
                <a:gd name="T2" fmla="*/ 77 w 10101"/>
                <a:gd name="T3" fmla="*/ 483 h 4652"/>
                <a:gd name="T4" fmla="*/ 146 w 10101"/>
                <a:gd name="T5" fmla="*/ 779 h 4652"/>
                <a:gd name="T6" fmla="*/ 231 w 10101"/>
                <a:gd name="T7" fmla="*/ 1066 h 4652"/>
                <a:gd name="T8" fmla="*/ 330 w 10101"/>
                <a:gd name="T9" fmla="*/ 1346 h 4652"/>
                <a:gd name="T10" fmla="*/ 446 w 10101"/>
                <a:gd name="T11" fmla="*/ 1619 h 4652"/>
                <a:gd name="T12" fmla="*/ 574 w 10101"/>
                <a:gd name="T13" fmla="*/ 1884 h 4652"/>
                <a:gd name="T14" fmla="*/ 717 w 10101"/>
                <a:gd name="T15" fmla="*/ 2140 h 4652"/>
                <a:gd name="T16" fmla="*/ 872 w 10101"/>
                <a:gd name="T17" fmla="*/ 2387 h 4652"/>
                <a:gd name="T18" fmla="*/ 1040 w 10101"/>
                <a:gd name="T19" fmla="*/ 2623 h 4652"/>
                <a:gd name="T20" fmla="*/ 1221 w 10101"/>
                <a:gd name="T21" fmla="*/ 2850 h 4652"/>
                <a:gd name="T22" fmla="*/ 1414 w 10101"/>
                <a:gd name="T23" fmla="*/ 3064 h 4652"/>
                <a:gd name="T24" fmla="*/ 1616 w 10101"/>
                <a:gd name="T25" fmla="*/ 3269 h 4652"/>
                <a:gd name="T26" fmla="*/ 1830 w 10101"/>
                <a:gd name="T27" fmla="*/ 3461 h 4652"/>
                <a:gd name="T28" fmla="*/ 2055 w 10101"/>
                <a:gd name="T29" fmla="*/ 3641 h 4652"/>
                <a:gd name="T30" fmla="*/ 2289 w 10101"/>
                <a:gd name="T31" fmla="*/ 3808 h 4652"/>
                <a:gd name="T32" fmla="*/ 2532 w 10101"/>
                <a:gd name="T33" fmla="*/ 3961 h 4652"/>
                <a:gd name="T34" fmla="*/ 2784 w 10101"/>
                <a:gd name="T35" fmla="*/ 4100 h 4652"/>
                <a:gd name="T36" fmla="*/ 3043 w 10101"/>
                <a:gd name="T37" fmla="*/ 4226 h 4652"/>
                <a:gd name="T38" fmla="*/ 3311 w 10101"/>
                <a:gd name="T39" fmla="*/ 4335 h 4652"/>
                <a:gd name="T40" fmla="*/ 3586 w 10101"/>
                <a:gd name="T41" fmla="*/ 4430 h 4652"/>
                <a:gd name="T42" fmla="*/ 3867 w 10101"/>
                <a:gd name="T43" fmla="*/ 4508 h 4652"/>
                <a:gd name="T44" fmla="*/ 4155 w 10101"/>
                <a:gd name="T45" fmla="*/ 4571 h 4652"/>
                <a:gd name="T46" fmla="*/ 4449 w 10101"/>
                <a:gd name="T47" fmla="*/ 4615 h 4652"/>
                <a:gd name="T48" fmla="*/ 4747 w 10101"/>
                <a:gd name="T49" fmla="*/ 4643 h 4652"/>
                <a:gd name="T50" fmla="*/ 5050 w 10101"/>
                <a:gd name="T51" fmla="*/ 4652 h 4652"/>
                <a:gd name="T52" fmla="*/ 5293 w 10101"/>
                <a:gd name="T53" fmla="*/ 4647 h 4652"/>
                <a:gd name="T54" fmla="*/ 5593 w 10101"/>
                <a:gd name="T55" fmla="*/ 4622 h 4652"/>
                <a:gd name="T56" fmla="*/ 5887 w 10101"/>
                <a:gd name="T57" fmla="*/ 4581 h 4652"/>
                <a:gd name="T58" fmla="*/ 6176 w 10101"/>
                <a:gd name="T59" fmla="*/ 4523 h 4652"/>
                <a:gd name="T60" fmla="*/ 6459 w 10101"/>
                <a:gd name="T61" fmla="*/ 4447 h 4652"/>
                <a:gd name="T62" fmla="*/ 6736 w 10101"/>
                <a:gd name="T63" fmla="*/ 4356 h 4652"/>
                <a:gd name="T64" fmla="*/ 7005 w 10101"/>
                <a:gd name="T65" fmla="*/ 4249 h 4652"/>
                <a:gd name="T66" fmla="*/ 7266 w 10101"/>
                <a:gd name="T67" fmla="*/ 4127 h 4652"/>
                <a:gd name="T68" fmla="*/ 7520 w 10101"/>
                <a:gd name="T69" fmla="*/ 3990 h 4652"/>
                <a:gd name="T70" fmla="*/ 7764 w 10101"/>
                <a:gd name="T71" fmla="*/ 3840 h 4652"/>
                <a:gd name="T72" fmla="*/ 8000 w 10101"/>
                <a:gd name="T73" fmla="*/ 3675 h 4652"/>
                <a:gd name="T74" fmla="*/ 8227 w 10101"/>
                <a:gd name="T75" fmla="*/ 3498 h 4652"/>
                <a:gd name="T76" fmla="*/ 8442 w 10101"/>
                <a:gd name="T77" fmla="*/ 3309 h 4652"/>
                <a:gd name="T78" fmla="*/ 8647 w 10101"/>
                <a:gd name="T79" fmla="*/ 3106 h 4652"/>
                <a:gd name="T80" fmla="*/ 8842 w 10101"/>
                <a:gd name="T81" fmla="*/ 2893 h 4652"/>
                <a:gd name="T82" fmla="*/ 9025 w 10101"/>
                <a:gd name="T83" fmla="*/ 2669 h 4652"/>
                <a:gd name="T84" fmla="*/ 9195 w 10101"/>
                <a:gd name="T85" fmla="*/ 2434 h 4652"/>
                <a:gd name="T86" fmla="*/ 9354 w 10101"/>
                <a:gd name="T87" fmla="*/ 2190 h 4652"/>
                <a:gd name="T88" fmla="*/ 9500 w 10101"/>
                <a:gd name="T89" fmla="*/ 1936 h 4652"/>
                <a:gd name="T90" fmla="*/ 9631 w 10101"/>
                <a:gd name="T91" fmla="*/ 1673 h 4652"/>
                <a:gd name="T92" fmla="*/ 9749 w 10101"/>
                <a:gd name="T93" fmla="*/ 1401 h 4652"/>
                <a:gd name="T94" fmla="*/ 9851 w 10101"/>
                <a:gd name="T95" fmla="*/ 1123 h 4652"/>
                <a:gd name="T96" fmla="*/ 9939 w 10101"/>
                <a:gd name="T97" fmla="*/ 837 h 4652"/>
                <a:gd name="T98" fmla="*/ 10012 w 10101"/>
                <a:gd name="T99" fmla="*/ 543 h 4652"/>
                <a:gd name="T100" fmla="*/ 10068 w 10101"/>
                <a:gd name="T101" fmla="*/ 243 h 4652"/>
                <a:gd name="T102" fmla="*/ 0 w 10101"/>
                <a:gd name="T103" fmla="*/ 0 h 4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01" h="4652">
                  <a:moveTo>
                    <a:pt x="0" y="0"/>
                  </a:moveTo>
                  <a:lnTo>
                    <a:pt x="0" y="0"/>
                  </a:lnTo>
                  <a:lnTo>
                    <a:pt x="7" y="61"/>
                  </a:lnTo>
                  <a:lnTo>
                    <a:pt x="15" y="122"/>
                  </a:lnTo>
                  <a:lnTo>
                    <a:pt x="24" y="183"/>
                  </a:lnTo>
                  <a:lnTo>
                    <a:pt x="33" y="243"/>
                  </a:lnTo>
                  <a:lnTo>
                    <a:pt x="43" y="304"/>
                  </a:lnTo>
                  <a:lnTo>
                    <a:pt x="53" y="364"/>
                  </a:lnTo>
                  <a:lnTo>
                    <a:pt x="65" y="423"/>
                  </a:lnTo>
                  <a:lnTo>
                    <a:pt x="77" y="483"/>
                  </a:lnTo>
                  <a:lnTo>
                    <a:pt x="89" y="543"/>
                  </a:lnTo>
                  <a:lnTo>
                    <a:pt x="102" y="603"/>
                  </a:lnTo>
                  <a:lnTo>
                    <a:pt x="116" y="662"/>
                  </a:lnTo>
                  <a:lnTo>
                    <a:pt x="131" y="720"/>
                  </a:lnTo>
                  <a:lnTo>
                    <a:pt x="146" y="779"/>
                  </a:lnTo>
                  <a:lnTo>
                    <a:pt x="162" y="837"/>
                  </a:lnTo>
                  <a:lnTo>
                    <a:pt x="178" y="895"/>
                  </a:lnTo>
                  <a:lnTo>
                    <a:pt x="195" y="952"/>
                  </a:lnTo>
                  <a:lnTo>
                    <a:pt x="213" y="1009"/>
                  </a:lnTo>
                  <a:lnTo>
                    <a:pt x="231" y="1066"/>
                  </a:lnTo>
                  <a:lnTo>
                    <a:pt x="250" y="1123"/>
                  </a:lnTo>
                  <a:lnTo>
                    <a:pt x="269" y="1180"/>
                  </a:lnTo>
                  <a:lnTo>
                    <a:pt x="289" y="1236"/>
                  </a:lnTo>
                  <a:lnTo>
                    <a:pt x="309" y="1292"/>
                  </a:lnTo>
                  <a:lnTo>
                    <a:pt x="330" y="1346"/>
                  </a:lnTo>
                  <a:lnTo>
                    <a:pt x="352" y="1401"/>
                  </a:lnTo>
                  <a:lnTo>
                    <a:pt x="374" y="1456"/>
                  </a:lnTo>
                  <a:lnTo>
                    <a:pt x="398" y="1511"/>
                  </a:lnTo>
                  <a:lnTo>
                    <a:pt x="422" y="1565"/>
                  </a:lnTo>
                  <a:lnTo>
                    <a:pt x="446" y="1619"/>
                  </a:lnTo>
                  <a:lnTo>
                    <a:pt x="470" y="1673"/>
                  </a:lnTo>
                  <a:lnTo>
                    <a:pt x="495" y="1726"/>
                  </a:lnTo>
                  <a:lnTo>
                    <a:pt x="521" y="1779"/>
                  </a:lnTo>
                  <a:lnTo>
                    <a:pt x="547" y="1832"/>
                  </a:lnTo>
                  <a:lnTo>
                    <a:pt x="574" y="1884"/>
                  </a:lnTo>
                  <a:lnTo>
                    <a:pt x="601" y="1936"/>
                  </a:lnTo>
                  <a:lnTo>
                    <a:pt x="629" y="1988"/>
                  </a:lnTo>
                  <a:lnTo>
                    <a:pt x="658" y="2038"/>
                  </a:lnTo>
                  <a:lnTo>
                    <a:pt x="687" y="2089"/>
                  </a:lnTo>
                  <a:lnTo>
                    <a:pt x="717" y="2140"/>
                  </a:lnTo>
                  <a:lnTo>
                    <a:pt x="747" y="2190"/>
                  </a:lnTo>
                  <a:lnTo>
                    <a:pt x="777" y="2240"/>
                  </a:lnTo>
                  <a:lnTo>
                    <a:pt x="808" y="2289"/>
                  </a:lnTo>
                  <a:lnTo>
                    <a:pt x="840" y="2338"/>
                  </a:lnTo>
                  <a:lnTo>
                    <a:pt x="872" y="2387"/>
                  </a:lnTo>
                  <a:lnTo>
                    <a:pt x="905" y="2434"/>
                  </a:lnTo>
                  <a:lnTo>
                    <a:pt x="938" y="2482"/>
                  </a:lnTo>
                  <a:lnTo>
                    <a:pt x="972" y="2529"/>
                  </a:lnTo>
                  <a:lnTo>
                    <a:pt x="1006" y="2577"/>
                  </a:lnTo>
                  <a:lnTo>
                    <a:pt x="1040" y="2623"/>
                  </a:lnTo>
                  <a:lnTo>
                    <a:pt x="1075" y="2669"/>
                  </a:lnTo>
                  <a:lnTo>
                    <a:pt x="1111" y="2715"/>
                  </a:lnTo>
                  <a:lnTo>
                    <a:pt x="1148" y="2760"/>
                  </a:lnTo>
                  <a:lnTo>
                    <a:pt x="1184" y="2805"/>
                  </a:lnTo>
                  <a:lnTo>
                    <a:pt x="1221" y="2850"/>
                  </a:lnTo>
                  <a:lnTo>
                    <a:pt x="1259" y="2893"/>
                  </a:lnTo>
                  <a:lnTo>
                    <a:pt x="1296" y="2937"/>
                  </a:lnTo>
                  <a:lnTo>
                    <a:pt x="1335" y="2980"/>
                  </a:lnTo>
                  <a:lnTo>
                    <a:pt x="1373" y="3023"/>
                  </a:lnTo>
                  <a:lnTo>
                    <a:pt x="1414" y="3064"/>
                  </a:lnTo>
                  <a:lnTo>
                    <a:pt x="1453" y="3106"/>
                  </a:lnTo>
                  <a:lnTo>
                    <a:pt x="1493" y="3148"/>
                  </a:lnTo>
                  <a:lnTo>
                    <a:pt x="1534" y="3189"/>
                  </a:lnTo>
                  <a:lnTo>
                    <a:pt x="1575" y="3229"/>
                  </a:lnTo>
                  <a:lnTo>
                    <a:pt x="1616" y="3269"/>
                  </a:lnTo>
                  <a:lnTo>
                    <a:pt x="1659" y="3309"/>
                  </a:lnTo>
                  <a:lnTo>
                    <a:pt x="1701" y="3347"/>
                  </a:lnTo>
                  <a:lnTo>
                    <a:pt x="1744" y="3386"/>
                  </a:lnTo>
                  <a:lnTo>
                    <a:pt x="1787" y="3424"/>
                  </a:lnTo>
                  <a:lnTo>
                    <a:pt x="1830" y="3461"/>
                  </a:lnTo>
                  <a:lnTo>
                    <a:pt x="1874" y="3498"/>
                  </a:lnTo>
                  <a:lnTo>
                    <a:pt x="1919" y="3535"/>
                  </a:lnTo>
                  <a:lnTo>
                    <a:pt x="1964" y="3570"/>
                  </a:lnTo>
                  <a:lnTo>
                    <a:pt x="2009" y="3606"/>
                  </a:lnTo>
                  <a:lnTo>
                    <a:pt x="2055" y="3641"/>
                  </a:lnTo>
                  <a:lnTo>
                    <a:pt x="2101" y="3675"/>
                  </a:lnTo>
                  <a:lnTo>
                    <a:pt x="2148" y="3710"/>
                  </a:lnTo>
                  <a:lnTo>
                    <a:pt x="2194" y="3743"/>
                  </a:lnTo>
                  <a:lnTo>
                    <a:pt x="2241" y="3776"/>
                  </a:lnTo>
                  <a:lnTo>
                    <a:pt x="2289" y="3808"/>
                  </a:lnTo>
                  <a:lnTo>
                    <a:pt x="2336" y="3840"/>
                  </a:lnTo>
                  <a:lnTo>
                    <a:pt x="2384" y="3871"/>
                  </a:lnTo>
                  <a:lnTo>
                    <a:pt x="2434" y="3902"/>
                  </a:lnTo>
                  <a:lnTo>
                    <a:pt x="2483" y="3931"/>
                  </a:lnTo>
                  <a:lnTo>
                    <a:pt x="2532" y="3961"/>
                  </a:lnTo>
                  <a:lnTo>
                    <a:pt x="2581" y="3990"/>
                  </a:lnTo>
                  <a:lnTo>
                    <a:pt x="2631" y="4019"/>
                  </a:lnTo>
                  <a:lnTo>
                    <a:pt x="2682" y="4046"/>
                  </a:lnTo>
                  <a:lnTo>
                    <a:pt x="2733" y="4074"/>
                  </a:lnTo>
                  <a:lnTo>
                    <a:pt x="2784" y="4100"/>
                  </a:lnTo>
                  <a:lnTo>
                    <a:pt x="2835" y="4127"/>
                  </a:lnTo>
                  <a:lnTo>
                    <a:pt x="2886" y="4152"/>
                  </a:lnTo>
                  <a:lnTo>
                    <a:pt x="2939" y="4178"/>
                  </a:lnTo>
                  <a:lnTo>
                    <a:pt x="2991" y="4202"/>
                  </a:lnTo>
                  <a:lnTo>
                    <a:pt x="3043" y="4226"/>
                  </a:lnTo>
                  <a:lnTo>
                    <a:pt x="3096" y="4249"/>
                  </a:lnTo>
                  <a:lnTo>
                    <a:pt x="3149" y="4271"/>
                  </a:lnTo>
                  <a:lnTo>
                    <a:pt x="3203" y="4294"/>
                  </a:lnTo>
                  <a:lnTo>
                    <a:pt x="3257" y="4315"/>
                  </a:lnTo>
                  <a:lnTo>
                    <a:pt x="3311" y="4335"/>
                  </a:lnTo>
                  <a:lnTo>
                    <a:pt x="3365" y="4356"/>
                  </a:lnTo>
                  <a:lnTo>
                    <a:pt x="3421" y="4375"/>
                  </a:lnTo>
                  <a:lnTo>
                    <a:pt x="3475" y="4394"/>
                  </a:lnTo>
                  <a:lnTo>
                    <a:pt x="3530" y="4413"/>
                  </a:lnTo>
                  <a:lnTo>
                    <a:pt x="3586" y="4430"/>
                  </a:lnTo>
                  <a:lnTo>
                    <a:pt x="3641" y="4447"/>
                  </a:lnTo>
                  <a:lnTo>
                    <a:pt x="3698" y="4464"/>
                  </a:lnTo>
                  <a:lnTo>
                    <a:pt x="3754" y="4479"/>
                  </a:lnTo>
                  <a:lnTo>
                    <a:pt x="3811" y="4494"/>
                  </a:lnTo>
                  <a:lnTo>
                    <a:pt x="3867" y="4508"/>
                  </a:lnTo>
                  <a:lnTo>
                    <a:pt x="3925" y="4523"/>
                  </a:lnTo>
                  <a:lnTo>
                    <a:pt x="3982" y="4536"/>
                  </a:lnTo>
                  <a:lnTo>
                    <a:pt x="4039" y="4548"/>
                  </a:lnTo>
                  <a:lnTo>
                    <a:pt x="4097" y="4559"/>
                  </a:lnTo>
                  <a:lnTo>
                    <a:pt x="4155" y="4571"/>
                  </a:lnTo>
                  <a:lnTo>
                    <a:pt x="4214" y="4581"/>
                  </a:lnTo>
                  <a:lnTo>
                    <a:pt x="4272" y="4591"/>
                  </a:lnTo>
                  <a:lnTo>
                    <a:pt x="4330" y="4600"/>
                  </a:lnTo>
                  <a:lnTo>
                    <a:pt x="4389" y="4608"/>
                  </a:lnTo>
                  <a:lnTo>
                    <a:pt x="4449" y="4615"/>
                  </a:lnTo>
                  <a:lnTo>
                    <a:pt x="4508" y="4622"/>
                  </a:lnTo>
                  <a:lnTo>
                    <a:pt x="4567" y="4629"/>
                  </a:lnTo>
                  <a:lnTo>
                    <a:pt x="4627" y="4635"/>
                  </a:lnTo>
                  <a:lnTo>
                    <a:pt x="4687" y="4639"/>
                  </a:lnTo>
                  <a:lnTo>
                    <a:pt x="4747" y="4643"/>
                  </a:lnTo>
                  <a:lnTo>
                    <a:pt x="4807" y="4647"/>
                  </a:lnTo>
                  <a:lnTo>
                    <a:pt x="4868" y="4649"/>
                  </a:lnTo>
                  <a:lnTo>
                    <a:pt x="4929" y="4651"/>
                  </a:lnTo>
                  <a:lnTo>
                    <a:pt x="4990" y="4652"/>
                  </a:lnTo>
                  <a:lnTo>
                    <a:pt x="5050" y="4652"/>
                  </a:lnTo>
                  <a:lnTo>
                    <a:pt x="5050" y="4652"/>
                  </a:lnTo>
                  <a:lnTo>
                    <a:pt x="5111" y="4652"/>
                  </a:lnTo>
                  <a:lnTo>
                    <a:pt x="5172" y="4651"/>
                  </a:lnTo>
                  <a:lnTo>
                    <a:pt x="5233" y="4649"/>
                  </a:lnTo>
                  <a:lnTo>
                    <a:pt x="5293" y="4647"/>
                  </a:lnTo>
                  <a:lnTo>
                    <a:pt x="5353" y="4643"/>
                  </a:lnTo>
                  <a:lnTo>
                    <a:pt x="5413" y="4639"/>
                  </a:lnTo>
                  <a:lnTo>
                    <a:pt x="5474" y="4635"/>
                  </a:lnTo>
                  <a:lnTo>
                    <a:pt x="5533" y="4629"/>
                  </a:lnTo>
                  <a:lnTo>
                    <a:pt x="5593" y="4622"/>
                  </a:lnTo>
                  <a:lnTo>
                    <a:pt x="5652" y="4615"/>
                  </a:lnTo>
                  <a:lnTo>
                    <a:pt x="5712" y="4608"/>
                  </a:lnTo>
                  <a:lnTo>
                    <a:pt x="5770" y="4600"/>
                  </a:lnTo>
                  <a:lnTo>
                    <a:pt x="5829" y="4591"/>
                  </a:lnTo>
                  <a:lnTo>
                    <a:pt x="5887" y="4581"/>
                  </a:lnTo>
                  <a:lnTo>
                    <a:pt x="5946" y="4571"/>
                  </a:lnTo>
                  <a:lnTo>
                    <a:pt x="6004" y="4559"/>
                  </a:lnTo>
                  <a:lnTo>
                    <a:pt x="6061" y="4548"/>
                  </a:lnTo>
                  <a:lnTo>
                    <a:pt x="6119" y="4536"/>
                  </a:lnTo>
                  <a:lnTo>
                    <a:pt x="6176" y="4523"/>
                  </a:lnTo>
                  <a:lnTo>
                    <a:pt x="6234" y="4508"/>
                  </a:lnTo>
                  <a:lnTo>
                    <a:pt x="6290" y="4494"/>
                  </a:lnTo>
                  <a:lnTo>
                    <a:pt x="6347" y="4479"/>
                  </a:lnTo>
                  <a:lnTo>
                    <a:pt x="6403" y="4464"/>
                  </a:lnTo>
                  <a:lnTo>
                    <a:pt x="6459" y="4447"/>
                  </a:lnTo>
                  <a:lnTo>
                    <a:pt x="6515" y="4430"/>
                  </a:lnTo>
                  <a:lnTo>
                    <a:pt x="6570" y="4413"/>
                  </a:lnTo>
                  <a:lnTo>
                    <a:pt x="6625" y="4394"/>
                  </a:lnTo>
                  <a:lnTo>
                    <a:pt x="6680" y="4375"/>
                  </a:lnTo>
                  <a:lnTo>
                    <a:pt x="6736" y="4356"/>
                  </a:lnTo>
                  <a:lnTo>
                    <a:pt x="6790" y="4335"/>
                  </a:lnTo>
                  <a:lnTo>
                    <a:pt x="6844" y="4315"/>
                  </a:lnTo>
                  <a:lnTo>
                    <a:pt x="6897" y="4294"/>
                  </a:lnTo>
                  <a:lnTo>
                    <a:pt x="6952" y="4271"/>
                  </a:lnTo>
                  <a:lnTo>
                    <a:pt x="7005" y="4249"/>
                  </a:lnTo>
                  <a:lnTo>
                    <a:pt x="7057" y="4226"/>
                  </a:lnTo>
                  <a:lnTo>
                    <a:pt x="7110" y="4202"/>
                  </a:lnTo>
                  <a:lnTo>
                    <a:pt x="7162" y="4178"/>
                  </a:lnTo>
                  <a:lnTo>
                    <a:pt x="7215" y="4152"/>
                  </a:lnTo>
                  <a:lnTo>
                    <a:pt x="7266" y="4127"/>
                  </a:lnTo>
                  <a:lnTo>
                    <a:pt x="7317" y="4100"/>
                  </a:lnTo>
                  <a:lnTo>
                    <a:pt x="7368" y="4074"/>
                  </a:lnTo>
                  <a:lnTo>
                    <a:pt x="7419" y="4046"/>
                  </a:lnTo>
                  <a:lnTo>
                    <a:pt x="7470" y="4019"/>
                  </a:lnTo>
                  <a:lnTo>
                    <a:pt x="7520" y="3990"/>
                  </a:lnTo>
                  <a:lnTo>
                    <a:pt x="7569" y="3961"/>
                  </a:lnTo>
                  <a:lnTo>
                    <a:pt x="7618" y="3931"/>
                  </a:lnTo>
                  <a:lnTo>
                    <a:pt x="7667" y="3902"/>
                  </a:lnTo>
                  <a:lnTo>
                    <a:pt x="7716" y="3871"/>
                  </a:lnTo>
                  <a:lnTo>
                    <a:pt x="7764" y="3840"/>
                  </a:lnTo>
                  <a:lnTo>
                    <a:pt x="7812" y="3808"/>
                  </a:lnTo>
                  <a:lnTo>
                    <a:pt x="7859" y="3776"/>
                  </a:lnTo>
                  <a:lnTo>
                    <a:pt x="7906" y="3743"/>
                  </a:lnTo>
                  <a:lnTo>
                    <a:pt x="7953" y="3710"/>
                  </a:lnTo>
                  <a:lnTo>
                    <a:pt x="8000" y="3675"/>
                  </a:lnTo>
                  <a:lnTo>
                    <a:pt x="8046" y="3641"/>
                  </a:lnTo>
                  <a:lnTo>
                    <a:pt x="8092" y="3606"/>
                  </a:lnTo>
                  <a:lnTo>
                    <a:pt x="8137" y="3570"/>
                  </a:lnTo>
                  <a:lnTo>
                    <a:pt x="8181" y="3535"/>
                  </a:lnTo>
                  <a:lnTo>
                    <a:pt x="8227" y="3498"/>
                  </a:lnTo>
                  <a:lnTo>
                    <a:pt x="8270" y="3461"/>
                  </a:lnTo>
                  <a:lnTo>
                    <a:pt x="8314" y="3424"/>
                  </a:lnTo>
                  <a:lnTo>
                    <a:pt x="8357" y="3386"/>
                  </a:lnTo>
                  <a:lnTo>
                    <a:pt x="8400" y="3347"/>
                  </a:lnTo>
                  <a:lnTo>
                    <a:pt x="8442" y="3309"/>
                  </a:lnTo>
                  <a:lnTo>
                    <a:pt x="8485" y="3269"/>
                  </a:lnTo>
                  <a:lnTo>
                    <a:pt x="8526" y="3229"/>
                  </a:lnTo>
                  <a:lnTo>
                    <a:pt x="8567" y="3189"/>
                  </a:lnTo>
                  <a:lnTo>
                    <a:pt x="8607" y="3148"/>
                  </a:lnTo>
                  <a:lnTo>
                    <a:pt x="8647" y="3106"/>
                  </a:lnTo>
                  <a:lnTo>
                    <a:pt x="8687" y="3064"/>
                  </a:lnTo>
                  <a:lnTo>
                    <a:pt x="8727" y="3023"/>
                  </a:lnTo>
                  <a:lnTo>
                    <a:pt x="8766" y="2980"/>
                  </a:lnTo>
                  <a:lnTo>
                    <a:pt x="8804" y="2937"/>
                  </a:lnTo>
                  <a:lnTo>
                    <a:pt x="8842" y="2893"/>
                  </a:lnTo>
                  <a:lnTo>
                    <a:pt x="8880" y="2850"/>
                  </a:lnTo>
                  <a:lnTo>
                    <a:pt x="8916" y="2805"/>
                  </a:lnTo>
                  <a:lnTo>
                    <a:pt x="8953" y="2760"/>
                  </a:lnTo>
                  <a:lnTo>
                    <a:pt x="8990" y="2715"/>
                  </a:lnTo>
                  <a:lnTo>
                    <a:pt x="9025" y="2669"/>
                  </a:lnTo>
                  <a:lnTo>
                    <a:pt x="9060" y="2623"/>
                  </a:lnTo>
                  <a:lnTo>
                    <a:pt x="9095" y="2577"/>
                  </a:lnTo>
                  <a:lnTo>
                    <a:pt x="9129" y="2529"/>
                  </a:lnTo>
                  <a:lnTo>
                    <a:pt x="9162" y="2482"/>
                  </a:lnTo>
                  <a:lnTo>
                    <a:pt x="9195" y="2434"/>
                  </a:lnTo>
                  <a:lnTo>
                    <a:pt x="9229" y="2387"/>
                  </a:lnTo>
                  <a:lnTo>
                    <a:pt x="9261" y="2338"/>
                  </a:lnTo>
                  <a:lnTo>
                    <a:pt x="9292" y="2289"/>
                  </a:lnTo>
                  <a:lnTo>
                    <a:pt x="9324" y="2240"/>
                  </a:lnTo>
                  <a:lnTo>
                    <a:pt x="9354" y="2190"/>
                  </a:lnTo>
                  <a:lnTo>
                    <a:pt x="9384" y="2140"/>
                  </a:lnTo>
                  <a:lnTo>
                    <a:pt x="9413" y="2089"/>
                  </a:lnTo>
                  <a:lnTo>
                    <a:pt x="9442" y="2038"/>
                  </a:lnTo>
                  <a:lnTo>
                    <a:pt x="9472" y="1988"/>
                  </a:lnTo>
                  <a:lnTo>
                    <a:pt x="9500" y="1936"/>
                  </a:lnTo>
                  <a:lnTo>
                    <a:pt x="9527" y="1884"/>
                  </a:lnTo>
                  <a:lnTo>
                    <a:pt x="9554" y="1832"/>
                  </a:lnTo>
                  <a:lnTo>
                    <a:pt x="9580" y="1779"/>
                  </a:lnTo>
                  <a:lnTo>
                    <a:pt x="9606" y="1726"/>
                  </a:lnTo>
                  <a:lnTo>
                    <a:pt x="9631" y="1673"/>
                  </a:lnTo>
                  <a:lnTo>
                    <a:pt x="9655" y="1619"/>
                  </a:lnTo>
                  <a:lnTo>
                    <a:pt x="9679" y="1565"/>
                  </a:lnTo>
                  <a:lnTo>
                    <a:pt x="9703" y="1511"/>
                  </a:lnTo>
                  <a:lnTo>
                    <a:pt x="9726" y="1456"/>
                  </a:lnTo>
                  <a:lnTo>
                    <a:pt x="9749" y="1401"/>
                  </a:lnTo>
                  <a:lnTo>
                    <a:pt x="9770" y="1346"/>
                  </a:lnTo>
                  <a:lnTo>
                    <a:pt x="9791" y="1292"/>
                  </a:lnTo>
                  <a:lnTo>
                    <a:pt x="9812" y="1236"/>
                  </a:lnTo>
                  <a:lnTo>
                    <a:pt x="9832" y="1180"/>
                  </a:lnTo>
                  <a:lnTo>
                    <a:pt x="9851" y="1123"/>
                  </a:lnTo>
                  <a:lnTo>
                    <a:pt x="9870" y="1066"/>
                  </a:lnTo>
                  <a:lnTo>
                    <a:pt x="9888" y="1009"/>
                  </a:lnTo>
                  <a:lnTo>
                    <a:pt x="9906" y="952"/>
                  </a:lnTo>
                  <a:lnTo>
                    <a:pt x="9922" y="895"/>
                  </a:lnTo>
                  <a:lnTo>
                    <a:pt x="9939" y="837"/>
                  </a:lnTo>
                  <a:lnTo>
                    <a:pt x="9954" y="779"/>
                  </a:lnTo>
                  <a:lnTo>
                    <a:pt x="9969" y="720"/>
                  </a:lnTo>
                  <a:lnTo>
                    <a:pt x="9985" y="662"/>
                  </a:lnTo>
                  <a:lnTo>
                    <a:pt x="9999" y="603"/>
                  </a:lnTo>
                  <a:lnTo>
                    <a:pt x="10012" y="543"/>
                  </a:lnTo>
                  <a:lnTo>
                    <a:pt x="10024" y="483"/>
                  </a:lnTo>
                  <a:lnTo>
                    <a:pt x="10036" y="423"/>
                  </a:lnTo>
                  <a:lnTo>
                    <a:pt x="10047" y="364"/>
                  </a:lnTo>
                  <a:lnTo>
                    <a:pt x="10058" y="304"/>
                  </a:lnTo>
                  <a:lnTo>
                    <a:pt x="10068" y="243"/>
                  </a:lnTo>
                  <a:lnTo>
                    <a:pt x="10077" y="183"/>
                  </a:lnTo>
                  <a:lnTo>
                    <a:pt x="10085" y="122"/>
                  </a:lnTo>
                  <a:lnTo>
                    <a:pt x="10093" y="61"/>
                  </a:lnTo>
                  <a:lnTo>
                    <a:pt x="10101" y="0"/>
                  </a:lnTo>
                  <a:lnTo>
                    <a:pt x="0" y="0"/>
                  </a:lnTo>
                  <a:close/>
                </a:path>
              </a:pathLst>
            </a:custGeom>
            <a:gradFill flip="none" rotWithShape="1">
              <a:gsLst>
                <a:gs pos="67000">
                  <a:schemeClr val="accent1">
                    <a:lumMod val="50000"/>
                  </a:schemeClr>
                </a:gs>
                <a:gs pos="20000">
                  <a:srgbClr val="005F70">
                    <a:alpha val="0"/>
                  </a:srgbClr>
                </a:gs>
              </a:gsLst>
              <a:path path="circle">
                <a:fillToRect l="50000" t="50000" r="50000" b="50000"/>
              </a:path>
              <a:tileRect/>
            </a:gradFill>
            <a:ln w="1270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90" name="Freeform 40"/>
            <p:cNvSpPr>
              <a:spLocks/>
            </p:cNvSpPr>
            <p:nvPr/>
          </p:nvSpPr>
          <p:spPr bwMode="auto">
            <a:xfrm>
              <a:off x="-570352" y="5115254"/>
              <a:ext cx="116766" cy="78719"/>
            </a:xfrm>
            <a:custGeom>
              <a:avLst/>
              <a:gdLst>
                <a:gd name="T0" fmla="*/ 3860 w 4215"/>
                <a:gd name="T1" fmla="*/ 2166 h 2875"/>
                <a:gd name="T2" fmla="*/ 4215 w 4215"/>
                <a:gd name="T3" fmla="*/ 1862 h 2875"/>
                <a:gd name="T4" fmla="*/ 656 w 4215"/>
                <a:gd name="T5" fmla="*/ 0 h 2875"/>
                <a:gd name="T6" fmla="*/ 0 w 4215"/>
                <a:gd name="T7" fmla="*/ 1287 h 2875"/>
                <a:gd name="T8" fmla="*/ 1043 w 4215"/>
                <a:gd name="T9" fmla="*/ 1833 h 2875"/>
                <a:gd name="T10" fmla="*/ 975 w 4215"/>
                <a:gd name="T11" fmla="*/ 1966 h 2875"/>
                <a:gd name="T12" fmla="*/ 975 w 4215"/>
                <a:gd name="T13" fmla="*/ 1966 h 2875"/>
                <a:gd name="T14" fmla="*/ 970 w 4215"/>
                <a:gd name="T15" fmla="*/ 1977 h 2875"/>
                <a:gd name="T16" fmla="*/ 966 w 4215"/>
                <a:gd name="T17" fmla="*/ 1988 h 2875"/>
                <a:gd name="T18" fmla="*/ 964 w 4215"/>
                <a:gd name="T19" fmla="*/ 2001 h 2875"/>
                <a:gd name="T20" fmla="*/ 962 w 4215"/>
                <a:gd name="T21" fmla="*/ 2012 h 2875"/>
                <a:gd name="T22" fmla="*/ 962 w 4215"/>
                <a:gd name="T23" fmla="*/ 2024 h 2875"/>
                <a:gd name="T24" fmla="*/ 963 w 4215"/>
                <a:gd name="T25" fmla="*/ 2035 h 2875"/>
                <a:gd name="T26" fmla="*/ 965 w 4215"/>
                <a:gd name="T27" fmla="*/ 2046 h 2875"/>
                <a:gd name="T28" fmla="*/ 968 w 4215"/>
                <a:gd name="T29" fmla="*/ 2058 h 2875"/>
                <a:gd name="T30" fmla="*/ 972 w 4215"/>
                <a:gd name="T31" fmla="*/ 2069 h 2875"/>
                <a:gd name="T32" fmla="*/ 976 w 4215"/>
                <a:gd name="T33" fmla="*/ 2079 h 2875"/>
                <a:gd name="T34" fmla="*/ 982 w 4215"/>
                <a:gd name="T35" fmla="*/ 2089 h 2875"/>
                <a:gd name="T36" fmla="*/ 989 w 4215"/>
                <a:gd name="T37" fmla="*/ 2098 h 2875"/>
                <a:gd name="T38" fmla="*/ 997 w 4215"/>
                <a:gd name="T39" fmla="*/ 2106 h 2875"/>
                <a:gd name="T40" fmla="*/ 1006 w 4215"/>
                <a:gd name="T41" fmla="*/ 2114 h 2875"/>
                <a:gd name="T42" fmla="*/ 1015 w 4215"/>
                <a:gd name="T43" fmla="*/ 2122 h 2875"/>
                <a:gd name="T44" fmla="*/ 1026 w 4215"/>
                <a:gd name="T45" fmla="*/ 2128 h 2875"/>
                <a:gd name="T46" fmla="*/ 1920 w 4215"/>
                <a:gd name="T47" fmla="*/ 2597 h 2875"/>
                <a:gd name="T48" fmla="*/ 1920 w 4215"/>
                <a:gd name="T49" fmla="*/ 2597 h 2875"/>
                <a:gd name="T50" fmla="*/ 1932 w 4215"/>
                <a:gd name="T51" fmla="*/ 2602 h 2875"/>
                <a:gd name="T52" fmla="*/ 1943 w 4215"/>
                <a:gd name="T53" fmla="*/ 2605 h 2875"/>
                <a:gd name="T54" fmla="*/ 1955 w 4215"/>
                <a:gd name="T55" fmla="*/ 2608 h 2875"/>
                <a:gd name="T56" fmla="*/ 1966 w 4215"/>
                <a:gd name="T57" fmla="*/ 2609 h 2875"/>
                <a:gd name="T58" fmla="*/ 1977 w 4215"/>
                <a:gd name="T59" fmla="*/ 2610 h 2875"/>
                <a:gd name="T60" fmla="*/ 1989 w 4215"/>
                <a:gd name="T61" fmla="*/ 2609 h 2875"/>
                <a:gd name="T62" fmla="*/ 2000 w 4215"/>
                <a:gd name="T63" fmla="*/ 2607 h 2875"/>
                <a:gd name="T64" fmla="*/ 2011 w 4215"/>
                <a:gd name="T65" fmla="*/ 2604 h 2875"/>
                <a:gd name="T66" fmla="*/ 2022 w 4215"/>
                <a:gd name="T67" fmla="*/ 2600 h 2875"/>
                <a:gd name="T68" fmla="*/ 2032 w 4215"/>
                <a:gd name="T69" fmla="*/ 2595 h 2875"/>
                <a:gd name="T70" fmla="*/ 2041 w 4215"/>
                <a:gd name="T71" fmla="*/ 2589 h 2875"/>
                <a:gd name="T72" fmla="*/ 2051 w 4215"/>
                <a:gd name="T73" fmla="*/ 2582 h 2875"/>
                <a:gd name="T74" fmla="*/ 2059 w 4215"/>
                <a:gd name="T75" fmla="*/ 2573 h 2875"/>
                <a:gd name="T76" fmla="*/ 2067 w 4215"/>
                <a:gd name="T77" fmla="*/ 2565 h 2875"/>
                <a:gd name="T78" fmla="*/ 2074 w 4215"/>
                <a:gd name="T79" fmla="*/ 2555 h 2875"/>
                <a:gd name="T80" fmla="*/ 2080 w 4215"/>
                <a:gd name="T81" fmla="*/ 2545 h 2875"/>
                <a:gd name="T82" fmla="*/ 2147 w 4215"/>
                <a:gd name="T83" fmla="*/ 2412 h 2875"/>
                <a:gd name="T84" fmla="*/ 3033 w 4215"/>
                <a:gd name="T85" fmla="*/ 2875 h 2875"/>
                <a:gd name="T86" fmla="*/ 3327 w 4215"/>
                <a:gd name="T87" fmla="*/ 2623 h 2875"/>
                <a:gd name="T88" fmla="*/ 3564 w 4215"/>
                <a:gd name="T89" fmla="*/ 2748 h 2875"/>
                <a:gd name="T90" fmla="*/ 3631 w 4215"/>
                <a:gd name="T91" fmla="*/ 2616 h 2875"/>
                <a:gd name="T92" fmla="*/ 3717 w 4215"/>
                <a:gd name="T93" fmla="*/ 2661 h 2875"/>
                <a:gd name="T94" fmla="*/ 3909 w 4215"/>
                <a:gd name="T95" fmla="*/ 2283 h 2875"/>
                <a:gd name="T96" fmla="*/ 3824 w 4215"/>
                <a:gd name="T97" fmla="*/ 2238 h 2875"/>
                <a:gd name="T98" fmla="*/ 3860 w 4215"/>
                <a:gd name="T99" fmla="*/ 2166 h 2875"/>
                <a:gd name="T100" fmla="*/ 3860 w 4215"/>
                <a:gd name="T101" fmla="*/ 2166 h 2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15" h="2875">
                  <a:moveTo>
                    <a:pt x="3860" y="2166"/>
                  </a:moveTo>
                  <a:lnTo>
                    <a:pt x="4215" y="1862"/>
                  </a:lnTo>
                  <a:lnTo>
                    <a:pt x="656" y="0"/>
                  </a:lnTo>
                  <a:lnTo>
                    <a:pt x="0" y="1287"/>
                  </a:lnTo>
                  <a:lnTo>
                    <a:pt x="1043" y="1833"/>
                  </a:lnTo>
                  <a:lnTo>
                    <a:pt x="975" y="1966"/>
                  </a:lnTo>
                  <a:lnTo>
                    <a:pt x="975" y="1966"/>
                  </a:lnTo>
                  <a:lnTo>
                    <a:pt x="970" y="1977"/>
                  </a:lnTo>
                  <a:lnTo>
                    <a:pt x="966" y="1988"/>
                  </a:lnTo>
                  <a:lnTo>
                    <a:pt x="964" y="2001"/>
                  </a:lnTo>
                  <a:lnTo>
                    <a:pt x="962" y="2012"/>
                  </a:lnTo>
                  <a:lnTo>
                    <a:pt x="962" y="2024"/>
                  </a:lnTo>
                  <a:lnTo>
                    <a:pt x="963" y="2035"/>
                  </a:lnTo>
                  <a:lnTo>
                    <a:pt x="965" y="2046"/>
                  </a:lnTo>
                  <a:lnTo>
                    <a:pt x="968" y="2058"/>
                  </a:lnTo>
                  <a:lnTo>
                    <a:pt x="972" y="2069"/>
                  </a:lnTo>
                  <a:lnTo>
                    <a:pt x="976" y="2079"/>
                  </a:lnTo>
                  <a:lnTo>
                    <a:pt x="982" y="2089"/>
                  </a:lnTo>
                  <a:lnTo>
                    <a:pt x="989" y="2098"/>
                  </a:lnTo>
                  <a:lnTo>
                    <a:pt x="997" y="2106"/>
                  </a:lnTo>
                  <a:lnTo>
                    <a:pt x="1006" y="2114"/>
                  </a:lnTo>
                  <a:lnTo>
                    <a:pt x="1015" y="2122"/>
                  </a:lnTo>
                  <a:lnTo>
                    <a:pt x="1026" y="2128"/>
                  </a:lnTo>
                  <a:lnTo>
                    <a:pt x="1920" y="2597"/>
                  </a:lnTo>
                  <a:lnTo>
                    <a:pt x="1920" y="2597"/>
                  </a:lnTo>
                  <a:lnTo>
                    <a:pt x="1932" y="2602"/>
                  </a:lnTo>
                  <a:lnTo>
                    <a:pt x="1943" y="2605"/>
                  </a:lnTo>
                  <a:lnTo>
                    <a:pt x="1955" y="2608"/>
                  </a:lnTo>
                  <a:lnTo>
                    <a:pt x="1966" y="2609"/>
                  </a:lnTo>
                  <a:lnTo>
                    <a:pt x="1977" y="2610"/>
                  </a:lnTo>
                  <a:lnTo>
                    <a:pt x="1989" y="2609"/>
                  </a:lnTo>
                  <a:lnTo>
                    <a:pt x="2000" y="2607"/>
                  </a:lnTo>
                  <a:lnTo>
                    <a:pt x="2011" y="2604"/>
                  </a:lnTo>
                  <a:lnTo>
                    <a:pt x="2022" y="2600"/>
                  </a:lnTo>
                  <a:lnTo>
                    <a:pt x="2032" y="2595"/>
                  </a:lnTo>
                  <a:lnTo>
                    <a:pt x="2041" y="2589"/>
                  </a:lnTo>
                  <a:lnTo>
                    <a:pt x="2051" y="2582"/>
                  </a:lnTo>
                  <a:lnTo>
                    <a:pt x="2059" y="2573"/>
                  </a:lnTo>
                  <a:lnTo>
                    <a:pt x="2067" y="2565"/>
                  </a:lnTo>
                  <a:lnTo>
                    <a:pt x="2074" y="2555"/>
                  </a:lnTo>
                  <a:lnTo>
                    <a:pt x="2080" y="2545"/>
                  </a:lnTo>
                  <a:lnTo>
                    <a:pt x="2147" y="2412"/>
                  </a:lnTo>
                  <a:lnTo>
                    <a:pt x="3033" y="2875"/>
                  </a:lnTo>
                  <a:lnTo>
                    <a:pt x="3327" y="2623"/>
                  </a:lnTo>
                  <a:lnTo>
                    <a:pt x="3564" y="2748"/>
                  </a:lnTo>
                  <a:lnTo>
                    <a:pt x="3631" y="2616"/>
                  </a:lnTo>
                  <a:lnTo>
                    <a:pt x="3717" y="2661"/>
                  </a:lnTo>
                  <a:lnTo>
                    <a:pt x="3909" y="2283"/>
                  </a:lnTo>
                  <a:lnTo>
                    <a:pt x="3824" y="2238"/>
                  </a:lnTo>
                  <a:lnTo>
                    <a:pt x="3860" y="2166"/>
                  </a:lnTo>
                  <a:lnTo>
                    <a:pt x="3860" y="216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91" name="Freeform 41"/>
            <p:cNvSpPr>
              <a:spLocks/>
            </p:cNvSpPr>
            <p:nvPr/>
          </p:nvSpPr>
          <p:spPr bwMode="auto">
            <a:xfrm>
              <a:off x="-525463" y="5065713"/>
              <a:ext cx="30162" cy="80962"/>
            </a:xfrm>
            <a:custGeom>
              <a:avLst/>
              <a:gdLst>
                <a:gd name="T0" fmla="*/ 814 w 852"/>
                <a:gd name="T1" fmla="*/ 2208 h 2462"/>
                <a:gd name="T2" fmla="*/ 828 w 852"/>
                <a:gd name="T3" fmla="*/ 2176 h 2462"/>
                <a:gd name="T4" fmla="*/ 839 w 852"/>
                <a:gd name="T5" fmla="*/ 2137 h 2462"/>
                <a:gd name="T6" fmla="*/ 848 w 852"/>
                <a:gd name="T7" fmla="*/ 2087 h 2462"/>
                <a:gd name="T8" fmla="*/ 852 w 852"/>
                <a:gd name="T9" fmla="*/ 2027 h 2462"/>
                <a:gd name="T10" fmla="*/ 851 w 852"/>
                <a:gd name="T11" fmla="*/ 1994 h 2462"/>
                <a:gd name="T12" fmla="*/ 847 w 852"/>
                <a:gd name="T13" fmla="*/ 1960 h 2462"/>
                <a:gd name="T14" fmla="*/ 840 w 852"/>
                <a:gd name="T15" fmla="*/ 1923 h 2462"/>
                <a:gd name="T16" fmla="*/ 829 w 852"/>
                <a:gd name="T17" fmla="*/ 1886 h 2462"/>
                <a:gd name="T18" fmla="*/ 814 w 852"/>
                <a:gd name="T19" fmla="*/ 1848 h 2462"/>
                <a:gd name="T20" fmla="*/ 795 w 852"/>
                <a:gd name="T21" fmla="*/ 1808 h 2462"/>
                <a:gd name="T22" fmla="*/ 786 w 852"/>
                <a:gd name="T23" fmla="*/ 1794 h 2462"/>
                <a:gd name="T24" fmla="*/ 768 w 852"/>
                <a:gd name="T25" fmla="*/ 1768 h 2462"/>
                <a:gd name="T26" fmla="*/ 748 w 852"/>
                <a:gd name="T27" fmla="*/ 1742 h 2462"/>
                <a:gd name="T28" fmla="*/ 726 w 852"/>
                <a:gd name="T29" fmla="*/ 1718 h 2462"/>
                <a:gd name="T30" fmla="*/ 702 w 852"/>
                <a:gd name="T31" fmla="*/ 1696 h 2462"/>
                <a:gd name="T32" fmla="*/ 676 w 852"/>
                <a:gd name="T33" fmla="*/ 1676 h 2462"/>
                <a:gd name="T34" fmla="*/ 635 w 852"/>
                <a:gd name="T35" fmla="*/ 1650 h 2462"/>
                <a:gd name="T36" fmla="*/ 535 w 852"/>
                <a:gd name="T37" fmla="*/ 0 h 2462"/>
                <a:gd name="T38" fmla="*/ 212 w 852"/>
                <a:gd name="T39" fmla="*/ 1656 h 2462"/>
                <a:gd name="T40" fmla="*/ 187 w 852"/>
                <a:gd name="T41" fmla="*/ 1671 h 2462"/>
                <a:gd name="T42" fmla="*/ 142 w 852"/>
                <a:gd name="T43" fmla="*/ 1706 h 2462"/>
                <a:gd name="T44" fmla="*/ 102 w 852"/>
                <a:gd name="T45" fmla="*/ 1748 h 2462"/>
                <a:gd name="T46" fmla="*/ 68 w 852"/>
                <a:gd name="T47" fmla="*/ 1795 h 2462"/>
                <a:gd name="T48" fmla="*/ 40 w 852"/>
                <a:gd name="T49" fmla="*/ 1845 h 2462"/>
                <a:gd name="T50" fmla="*/ 19 w 852"/>
                <a:gd name="T51" fmla="*/ 1900 h 2462"/>
                <a:gd name="T52" fmla="*/ 5 w 852"/>
                <a:gd name="T53" fmla="*/ 1958 h 2462"/>
                <a:gd name="T54" fmla="*/ 0 w 852"/>
                <a:gd name="T55" fmla="*/ 2018 h 2462"/>
                <a:gd name="T56" fmla="*/ 0 w 852"/>
                <a:gd name="T57" fmla="*/ 2049 h 2462"/>
                <a:gd name="T58" fmla="*/ 5 w 852"/>
                <a:gd name="T59" fmla="*/ 2093 h 2462"/>
                <a:gd name="T60" fmla="*/ 13 w 852"/>
                <a:gd name="T61" fmla="*/ 2136 h 2462"/>
                <a:gd name="T62" fmla="*/ 26 w 852"/>
                <a:gd name="T63" fmla="*/ 2177 h 2462"/>
                <a:gd name="T64" fmla="*/ 42 w 852"/>
                <a:gd name="T65" fmla="*/ 2216 h 2462"/>
                <a:gd name="T66" fmla="*/ 62 w 852"/>
                <a:gd name="T67" fmla="*/ 2253 h 2462"/>
                <a:gd name="T68" fmla="*/ 85 w 852"/>
                <a:gd name="T69" fmla="*/ 2288 h 2462"/>
                <a:gd name="T70" fmla="*/ 111 w 852"/>
                <a:gd name="T71" fmla="*/ 2320 h 2462"/>
                <a:gd name="T72" fmla="*/ 140 w 852"/>
                <a:gd name="T73" fmla="*/ 2350 h 2462"/>
                <a:gd name="T74" fmla="*/ 172 w 852"/>
                <a:gd name="T75" fmla="*/ 2376 h 2462"/>
                <a:gd name="T76" fmla="*/ 207 w 852"/>
                <a:gd name="T77" fmla="*/ 2398 h 2462"/>
                <a:gd name="T78" fmla="*/ 243 w 852"/>
                <a:gd name="T79" fmla="*/ 2419 h 2462"/>
                <a:gd name="T80" fmla="*/ 281 w 852"/>
                <a:gd name="T81" fmla="*/ 2435 h 2462"/>
                <a:gd name="T82" fmla="*/ 321 w 852"/>
                <a:gd name="T83" fmla="*/ 2447 h 2462"/>
                <a:gd name="T84" fmla="*/ 362 w 852"/>
                <a:gd name="T85" fmla="*/ 2456 h 2462"/>
                <a:gd name="T86" fmla="*/ 405 w 852"/>
                <a:gd name="T87" fmla="*/ 2461 h 2462"/>
                <a:gd name="T88" fmla="*/ 449 w 852"/>
                <a:gd name="T89" fmla="*/ 2461 h 2462"/>
                <a:gd name="T90" fmla="*/ 480 w 852"/>
                <a:gd name="T91" fmla="*/ 2459 h 2462"/>
                <a:gd name="T92" fmla="*/ 538 w 852"/>
                <a:gd name="T93" fmla="*/ 2446 h 2462"/>
                <a:gd name="T94" fmla="*/ 593 w 852"/>
                <a:gd name="T95" fmla="*/ 2427 h 2462"/>
                <a:gd name="T96" fmla="*/ 645 w 852"/>
                <a:gd name="T97" fmla="*/ 2401 h 2462"/>
                <a:gd name="T98" fmla="*/ 692 w 852"/>
                <a:gd name="T99" fmla="*/ 2367 h 2462"/>
                <a:gd name="T100" fmla="*/ 734 w 852"/>
                <a:gd name="T101" fmla="*/ 2328 h 2462"/>
                <a:gd name="T102" fmla="*/ 771 w 852"/>
                <a:gd name="T103" fmla="*/ 2283 h 2462"/>
                <a:gd name="T104" fmla="*/ 801 w 852"/>
                <a:gd name="T105" fmla="*/ 2235 h 2462"/>
                <a:gd name="T106" fmla="*/ 814 w 852"/>
                <a:gd name="T107" fmla="*/ 2208 h 2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2" h="2462">
                  <a:moveTo>
                    <a:pt x="814" y="2208"/>
                  </a:moveTo>
                  <a:lnTo>
                    <a:pt x="814" y="2208"/>
                  </a:lnTo>
                  <a:lnTo>
                    <a:pt x="818" y="2200"/>
                  </a:lnTo>
                  <a:lnTo>
                    <a:pt x="828" y="2176"/>
                  </a:lnTo>
                  <a:lnTo>
                    <a:pt x="833" y="2158"/>
                  </a:lnTo>
                  <a:lnTo>
                    <a:pt x="839" y="2137"/>
                  </a:lnTo>
                  <a:lnTo>
                    <a:pt x="844" y="2114"/>
                  </a:lnTo>
                  <a:lnTo>
                    <a:pt x="848" y="2087"/>
                  </a:lnTo>
                  <a:lnTo>
                    <a:pt x="851" y="2059"/>
                  </a:lnTo>
                  <a:lnTo>
                    <a:pt x="852" y="2027"/>
                  </a:lnTo>
                  <a:lnTo>
                    <a:pt x="852" y="2011"/>
                  </a:lnTo>
                  <a:lnTo>
                    <a:pt x="851" y="1994"/>
                  </a:lnTo>
                  <a:lnTo>
                    <a:pt x="849" y="1977"/>
                  </a:lnTo>
                  <a:lnTo>
                    <a:pt x="847" y="1960"/>
                  </a:lnTo>
                  <a:lnTo>
                    <a:pt x="844" y="1942"/>
                  </a:lnTo>
                  <a:lnTo>
                    <a:pt x="840" y="1923"/>
                  </a:lnTo>
                  <a:lnTo>
                    <a:pt x="835" y="1905"/>
                  </a:lnTo>
                  <a:lnTo>
                    <a:pt x="829" y="1886"/>
                  </a:lnTo>
                  <a:lnTo>
                    <a:pt x="822" y="1867"/>
                  </a:lnTo>
                  <a:lnTo>
                    <a:pt x="814" y="1848"/>
                  </a:lnTo>
                  <a:lnTo>
                    <a:pt x="805" y="1828"/>
                  </a:lnTo>
                  <a:lnTo>
                    <a:pt x="795" y="1808"/>
                  </a:lnTo>
                  <a:lnTo>
                    <a:pt x="795" y="1808"/>
                  </a:lnTo>
                  <a:lnTo>
                    <a:pt x="786" y="1794"/>
                  </a:lnTo>
                  <a:lnTo>
                    <a:pt x="778" y="1781"/>
                  </a:lnTo>
                  <a:lnTo>
                    <a:pt x="768" y="1768"/>
                  </a:lnTo>
                  <a:lnTo>
                    <a:pt x="759" y="1754"/>
                  </a:lnTo>
                  <a:lnTo>
                    <a:pt x="748" y="1742"/>
                  </a:lnTo>
                  <a:lnTo>
                    <a:pt x="737" y="1730"/>
                  </a:lnTo>
                  <a:lnTo>
                    <a:pt x="726" y="1718"/>
                  </a:lnTo>
                  <a:lnTo>
                    <a:pt x="714" y="1706"/>
                  </a:lnTo>
                  <a:lnTo>
                    <a:pt x="702" y="1696"/>
                  </a:lnTo>
                  <a:lnTo>
                    <a:pt x="689" y="1686"/>
                  </a:lnTo>
                  <a:lnTo>
                    <a:pt x="676" y="1676"/>
                  </a:lnTo>
                  <a:lnTo>
                    <a:pt x="662" y="1667"/>
                  </a:lnTo>
                  <a:lnTo>
                    <a:pt x="635" y="1650"/>
                  </a:lnTo>
                  <a:lnTo>
                    <a:pt x="606" y="1635"/>
                  </a:lnTo>
                  <a:lnTo>
                    <a:pt x="535" y="0"/>
                  </a:lnTo>
                  <a:lnTo>
                    <a:pt x="140" y="19"/>
                  </a:lnTo>
                  <a:lnTo>
                    <a:pt x="212" y="1656"/>
                  </a:lnTo>
                  <a:lnTo>
                    <a:pt x="212" y="1656"/>
                  </a:lnTo>
                  <a:lnTo>
                    <a:pt x="187" y="1671"/>
                  </a:lnTo>
                  <a:lnTo>
                    <a:pt x="163" y="1688"/>
                  </a:lnTo>
                  <a:lnTo>
                    <a:pt x="142" y="1706"/>
                  </a:lnTo>
                  <a:lnTo>
                    <a:pt x="121" y="1727"/>
                  </a:lnTo>
                  <a:lnTo>
                    <a:pt x="102" y="1748"/>
                  </a:lnTo>
                  <a:lnTo>
                    <a:pt x="84" y="1771"/>
                  </a:lnTo>
                  <a:lnTo>
                    <a:pt x="68" y="1795"/>
                  </a:lnTo>
                  <a:lnTo>
                    <a:pt x="53" y="1819"/>
                  </a:lnTo>
                  <a:lnTo>
                    <a:pt x="40" y="1845"/>
                  </a:lnTo>
                  <a:lnTo>
                    <a:pt x="28" y="1872"/>
                  </a:lnTo>
                  <a:lnTo>
                    <a:pt x="19" y="1900"/>
                  </a:lnTo>
                  <a:lnTo>
                    <a:pt x="11" y="1928"/>
                  </a:lnTo>
                  <a:lnTo>
                    <a:pt x="5" y="1958"/>
                  </a:lnTo>
                  <a:lnTo>
                    <a:pt x="2" y="1987"/>
                  </a:lnTo>
                  <a:lnTo>
                    <a:pt x="0" y="2018"/>
                  </a:lnTo>
                  <a:lnTo>
                    <a:pt x="0" y="2049"/>
                  </a:lnTo>
                  <a:lnTo>
                    <a:pt x="0" y="2049"/>
                  </a:lnTo>
                  <a:lnTo>
                    <a:pt x="2" y="2072"/>
                  </a:lnTo>
                  <a:lnTo>
                    <a:pt x="5" y="2093"/>
                  </a:lnTo>
                  <a:lnTo>
                    <a:pt x="8" y="2115"/>
                  </a:lnTo>
                  <a:lnTo>
                    <a:pt x="13" y="2136"/>
                  </a:lnTo>
                  <a:lnTo>
                    <a:pt x="19" y="2156"/>
                  </a:lnTo>
                  <a:lnTo>
                    <a:pt x="26" y="2177"/>
                  </a:lnTo>
                  <a:lnTo>
                    <a:pt x="34" y="2197"/>
                  </a:lnTo>
                  <a:lnTo>
                    <a:pt x="42" y="2216"/>
                  </a:lnTo>
                  <a:lnTo>
                    <a:pt x="52" y="2235"/>
                  </a:lnTo>
                  <a:lnTo>
                    <a:pt x="62" y="2253"/>
                  </a:lnTo>
                  <a:lnTo>
                    <a:pt x="73" y="2270"/>
                  </a:lnTo>
                  <a:lnTo>
                    <a:pt x="85" y="2288"/>
                  </a:lnTo>
                  <a:lnTo>
                    <a:pt x="98" y="2304"/>
                  </a:lnTo>
                  <a:lnTo>
                    <a:pt x="111" y="2320"/>
                  </a:lnTo>
                  <a:lnTo>
                    <a:pt x="125" y="2334"/>
                  </a:lnTo>
                  <a:lnTo>
                    <a:pt x="140" y="2350"/>
                  </a:lnTo>
                  <a:lnTo>
                    <a:pt x="156" y="2363"/>
                  </a:lnTo>
                  <a:lnTo>
                    <a:pt x="172" y="2376"/>
                  </a:lnTo>
                  <a:lnTo>
                    <a:pt x="189" y="2387"/>
                  </a:lnTo>
                  <a:lnTo>
                    <a:pt x="207" y="2398"/>
                  </a:lnTo>
                  <a:lnTo>
                    <a:pt x="225" y="2410"/>
                  </a:lnTo>
                  <a:lnTo>
                    <a:pt x="243" y="2419"/>
                  </a:lnTo>
                  <a:lnTo>
                    <a:pt x="262" y="2427"/>
                  </a:lnTo>
                  <a:lnTo>
                    <a:pt x="281" y="2435"/>
                  </a:lnTo>
                  <a:lnTo>
                    <a:pt x="301" y="2442"/>
                  </a:lnTo>
                  <a:lnTo>
                    <a:pt x="321" y="2447"/>
                  </a:lnTo>
                  <a:lnTo>
                    <a:pt x="341" y="2452"/>
                  </a:lnTo>
                  <a:lnTo>
                    <a:pt x="362" y="2456"/>
                  </a:lnTo>
                  <a:lnTo>
                    <a:pt x="383" y="2460"/>
                  </a:lnTo>
                  <a:lnTo>
                    <a:pt x="405" y="2461"/>
                  </a:lnTo>
                  <a:lnTo>
                    <a:pt x="426" y="2462"/>
                  </a:lnTo>
                  <a:lnTo>
                    <a:pt x="449" y="2461"/>
                  </a:lnTo>
                  <a:lnTo>
                    <a:pt x="449" y="2461"/>
                  </a:lnTo>
                  <a:lnTo>
                    <a:pt x="480" y="2459"/>
                  </a:lnTo>
                  <a:lnTo>
                    <a:pt x="509" y="2453"/>
                  </a:lnTo>
                  <a:lnTo>
                    <a:pt x="538" y="2446"/>
                  </a:lnTo>
                  <a:lnTo>
                    <a:pt x="566" y="2438"/>
                  </a:lnTo>
                  <a:lnTo>
                    <a:pt x="593" y="2427"/>
                  </a:lnTo>
                  <a:lnTo>
                    <a:pt x="620" y="2415"/>
                  </a:lnTo>
                  <a:lnTo>
                    <a:pt x="645" y="2401"/>
                  </a:lnTo>
                  <a:lnTo>
                    <a:pt x="669" y="2384"/>
                  </a:lnTo>
                  <a:lnTo>
                    <a:pt x="692" y="2367"/>
                  </a:lnTo>
                  <a:lnTo>
                    <a:pt x="714" y="2349"/>
                  </a:lnTo>
                  <a:lnTo>
                    <a:pt x="734" y="2328"/>
                  </a:lnTo>
                  <a:lnTo>
                    <a:pt x="753" y="2307"/>
                  </a:lnTo>
                  <a:lnTo>
                    <a:pt x="771" y="2283"/>
                  </a:lnTo>
                  <a:lnTo>
                    <a:pt x="787" y="2260"/>
                  </a:lnTo>
                  <a:lnTo>
                    <a:pt x="801" y="2235"/>
                  </a:lnTo>
                  <a:lnTo>
                    <a:pt x="814" y="2208"/>
                  </a:lnTo>
                  <a:lnTo>
                    <a:pt x="814" y="22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94" name="Freeform 42"/>
            <p:cNvSpPr>
              <a:spLocks/>
            </p:cNvSpPr>
            <p:nvPr/>
          </p:nvSpPr>
          <p:spPr bwMode="auto">
            <a:xfrm>
              <a:off x="-606425" y="5062538"/>
              <a:ext cx="188912" cy="28575"/>
            </a:xfrm>
            <a:custGeom>
              <a:avLst/>
              <a:gdLst>
                <a:gd name="T0" fmla="*/ 0 w 5600"/>
                <a:gd name="T1" fmla="*/ 0 h 872"/>
                <a:gd name="T2" fmla="*/ 57 w 5600"/>
                <a:gd name="T3" fmla="*/ 48 h 872"/>
                <a:gd name="T4" fmla="*/ 179 w 5600"/>
                <a:gd name="T5" fmla="*/ 143 h 872"/>
                <a:gd name="T6" fmla="*/ 310 w 5600"/>
                <a:gd name="T7" fmla="*/ 232 h 872"/>
                <a:gd name="T8" fmla="*/ 450 w 5600"/>
                <a:gd name="T9" fmla="*/ 317 h 872"/>
                <a:gd name="T10" fmla="*/ 599 w 5600"/>
                <a:gd name="T11" fmla="*/ 397 h 872"/>
                <a:gd name="T12" fmla="*/ 756 w 5600"/>
                <a:gd name="T13" fmla="*/ 471 h 872"/>
                <a:gd name="T14" fmla="*/ 922 w 5600"/>
                <a:gd name="T15" fmla="*/ 540 h 872"/>
                <a:gd name="T16" fmla="*/ 1093 w 5600"/>
                <a:gd name="T17" fmla="*/ 604 h 872"/>
                <a:gd name="T18" fmla="*/ 1273 w 5600"/>
                <a:gd name="T19" fmla="*/ 661 h 872"/>
                <a:gd name="T20" fmla="*/ 1460 w 5600"/>
                <a:gd name="T21" fmla="*/ 711 h 872"/>
                <a:gd name="T22" fmla="*/ 1652 w 5600"/>
                <a:gd name="T23" fmla="*/ 755 h 872"/>
                <a:gd name="T24" fmla="*/ 1850 w 5600"/>
                <a:gd name="T25" fmla="*/ 793 h 872"/>
                <a:gd name="T26" fmla="*/ 2053 w 5600"/>
                <a:gd name="T27" fmla="*/ 823 h 872"/>
                <a:gd name="T28" fmla="*/ 2261 w 5600"/>
                <a:gd name="T29" fmla="*/ 847 h 872"/>
                <a:gd name="T30" fmla="*/ 2474 w 5600"/>
                <a:gd name="T31" fmla="*/ 863 h 872"/>
                <a:gd name="T32" fmla="*/ 2691 w 5600"/>
                <a:gd name="T33" fmla="*/ 871 h 872"/>
                <a:gd name="T34" fmla="*/ 2800 w 5600"/>
                <a:gd name="T35" fmla="*/ 872 h 872"/>
                <a:gd name="T36" fmla="*/ 3019 w 5600"/>
                <a:gd name="T37" fmla="*/ 868 h 872"/>
                <a:gd name="T38" fmla="*/ 3233 w 5600"/>
                <a:gd name="T39" fmla="*/ 856 h 872"/>
                <a:gd name="T40" fmla="*/ 3444 w 5600"/>
                <a:gd name="T41" fmla="*/ 837 h 872"/>
                <a:gd name="T42" fmla="*/ 3650 w 5600"/>
                <a:gd name="T43" fmla="*/ 809 h 872"/>
                <a:gd name="T44" fmla="*/ 3850 w 5600"/>
                <a:gd name="T45" fmla="*/ 776 h 872"/>
                <a:gd name="T46" fmla="*/ 4045 w 5600"/>
                <a:gd name="T47" fmla="*/ 734 h 872"/>
                <a:gd name="T48" fmla="*/ 4235 w 5600"/>
                <a:gd name="T49" fmla="*/ 687 h 872"/>
                <a:gd name="T50" fmla="*/ 4418 w 5600"/>
                <a:gd name="T51" fmla="*/ 633 h 872"/>
                <a:gd name="T52" fmla="*/ 4594 w 5600"/>
                <a:gd name="T53" fmla="*/ 572 h 872"/>
                <a:gd name="T54" fmla="*/ 4763 w 5600"/>
                <a:gd name="T55" fmla="*/ 506 h 872"/>
                <a:gd name="T56" fmla="*/ 4924 w 5600"/>
                <a:gd name="T57" fmla="*/ 435 h 872"/>
                <a:gd name="T58" fmla="*/ 5077 w 5600"/>
                <a:gd name="T59" fmla="*/ 357 h 872"/>
                <a:gd name="T60" fmla="*/ 5222 w 5600"/>
                <a:gd name="T61" fmla="*/ 275 h 872"/>
                <a:gd name="T62" fmla="*/ 5357 w 5600"/>
                <a:gd name="T63" fmla="*/ 187 h 872"/>
                <a:gd name="T64" fmla="*/ 5484 w 5600"/>
                <a:gd name="T65" fmla="*/ 96 h 872"/>
                <a:gd name="T66" fmla="*/ 5572 w 5600"/>
                <a:gd name="T67" fmla="*/ 24 h 872"/>
                <a:gd name="T68" fmla="*/ 0 w 5600"/>
                <a:gd name="T69" fmla="*/ 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00" h="872">
                  <a:moveTo>
                    <a:pt x="0" y="0"/>
                  </a:moveTo>
                  <a:lnTo>
                    <a:pt x="0" y="0"/>
                  </a:lnTo>
                  <a:lnTo>
                    <a:pt x="29" y="24"/>
                  </a:lnTo>
                  <a:lnTo>
                    <a:pt x="57" y="48"/>
                  </a:lnTo>
                  <a:lnTo>
                    <a:pt x="117" y="96"/>
                  </a:lnTo>
                  <a:lnTo>
                    <a:pt x="179" y="143"/>
                  </a:lnTo>
                  <a:lnTo>
                    <a:pt x="243" y="187"/>
                  </a:lnTo>
                  <a:lnTo>
                    <a:pt x="310" y="232"/>
                  </a:lnTo>
                  <a:lnTo>
                    <a:pt x="379" y="275"/>
                  </a:lnTo>
                  <a:lnTo>
                    <a:pt x="450" y="317"/>
                  </a:lnTo>
                  <a:lnTo>
                    <a:pt x="523" y="357"/>
                  </a:lnTo>
                  <a:lnTo>
                    <a:pt x="599" y="397"/>
                  </a:lnTo>
                  <a:lnTo>
                    <a:pt x="677" y="435"/>
                  </a:lnTo>
                  <a:lnTo>
                    <a:pt x="756" y="471"/>
                  </a:lnTo>
                  <a:lnTo>
                    <a:pt x="837" y="506"/>
                  </a:lnTo>
                  <a:lnTo>
                    <a:pt x="922" y="540"/>
                  </a:lnTo>
                  <a:lnTo>
                    <a:pt x="1007" y="572"/>
                  </a:lnTo>
                  <a:lnTo>
                    <a:pt x="1093" y="604"/>
                  </a:lnTo>
                  <a:lnTo>
                    <a:pt x="1183" y="633"/>
                  </a:lnTo>
                  <a:lnTo>
                    <a:pt x="1273" y="661"/>
                  </a:lnTo>
                  <a:lnTo>
                    <a:pt x="1366" y="687"/>
                  </a:lnTo>
                  <a:lnTo>
                    <a:pt x="1460" y="711"/>
                  </a:lnTo>
                  <a:lnTo>
                    <a:pt x="1555" y="734"/>
                  </a:lnTo>
                  <a:lnTo>
                    <a:pt x="1652" y="755"/>
                  </a:lnTo>
                  <a:lnTo>
                    <a:pt x="1750" y="776"/>
                  </a:lnTo>
                  <a:lnTo>
                    <a:pt x="1850" y="793"/>
                  </a:lnTo>
                  <a:lnTo>
                    <a:pt x="1951" y="809"/>
                  </a:lnTo>
                  <a:lnTo>
                    <a:pt x="2053" y="823"/>
                  </a:lnTo>
                  <a:lnTo>
                    <a:pt x="2157" y="837"/>
                  </a:lnTo>
                  <a:lnTo>
                    <a:pt x="2261" y="847"/>
                  </a:lnTo>
                  <a:lnTo>
                    <a:pt x="2368" y="856"/>
                  </a:lnTo>
                  <a:lnTo>
                    <a:pt x="2474" y="863"/>
                  </a:lnTo>
                  <a:lnTo>
                    <a:pt x="2582" y="868"/>
                  </a:lnTo>
                  <a:lnTo>
                    <a:pt x="2691" y="871"/>
                  </a:lnTo>
                  <a:lnTo>
                    <a:pt x="2800" y="872"/>
                  </a:lnTo>
                  <a:lnTo>
                    <a:pt x="2800" y="872"/>
                  </a:lnTo>
                  <a:lnTo>
                    <a:pt x="2910" y="871"/>
                  </a:lnTo>
                  <a:lnTo>
                    <a:pt x="3019" y="868"/>
                  </a:lnTo>
                  <a:lnTo>
                    <a:pt x="3127" y="863"/>
                  </a:lnTo>
                  <a:lnTo>
                    <a:pt x="3233" y="856"/>
                  </a:lnTo>
                  <a:lnTo>
                    <a:pt x="3339" y="847"/>
                  </a:lnTo>
                  <a:lnTo>
                    <a:pt x="3444" y="837"/>
                  </a:lnTo>
                  <a:lnTo>
                    <a:pt x="3547" y="823"/>
                  </a:lnTo>
                  <a:lnTo>
                    <a:pt x="3650" y="809"/>
                  </a:lnTo>
                  <a:lnTo>
                    <a:pt x="3751" y="793"/>
                  </a:lnTo>
                  <a:lnTo>
                    <a:pt x="3850" y="776"/>
                  </a:lnTo>
                  <a:lnTo>
                    <a:pt x="3949" y="755"/>
                  </a:lnTo>
                  <a:lnTo>
                    <a:pt x="4045" y="734"/>
                  </a:lnTo>
                  <a:lnTo>
                    <a:pt x="4141" y="711"/>
                  </a:lnTo>
                  <a:lnTo>
                    <a:pt x="4235" y="687"/>
                  </a:lnTo>
                  <a:lnTo>
                    <a:pt x="4327" y="661"/>
                  </a:lnTo>
                  <a:lnTo>
                    <a:pt x="4418" y="633"/>
                  </a:lnTo>
                  <a:lnTo>
                    <a:pt x="4507" y="604"/>
                  </a:lnTo>
                  <a:lnTo>
                    <a:pt x="4594" y="572"/>
                  </a:lnTo>
                  <a:lnTo>
                    <a:pt x="4680" y="540"/>
                  </a:lnTo>
                  <a:lnTo>
                    <a:pt x="4763" y="506"/>
                  </a:lnTo>
                  <a:lnTo>
                    <a:pt x="4844" y="471"/>
                  </a:lnTo>
                  <a:lnTo>
                    <a:pt x="4924" y="435"/>
                  </a:lnTo>
                  <a:lnTo>
                    <a:pt x="5002" y="397"/>
                  </a:lnTo>
                  <a:lnTo>
                    <a:pt x="5077" y="357"/>
                  </a:lnTo>
                  <a:lnTo>
                    <a:pt x="5151" y="317"/>
                  </a:lnTo>
                  <a:lnTo>
                    <a:pt x="5222" y="275"/>
                  </a:lnTo>
                  <a:lnTo>
                    <a:pt x="5291" y="232"/>
                  </a:lnTo>
                  <a:lnTo>
                    <a:pt x="5357" y="187"/>
                  </a:lnTo>
                  <a:lnTo>
                    <a:pt x="5422" y="143"/>
                  </a:lnTo>
                  <a:lnTo>
                    <a:pt x="5484" y="96"/>
                  </a:lnTo>
                  <a:lnTo>
                    <a:pt x="5543" y="48"/>
                  </a:lnTo>
                  <a:lnTo>
                    <a:pt x="5572" y="24"/>
                  </a:lnTo>
                  <a:lnTo>
                    <a:pt x="5600"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24" name="Group 823"/>
          <p:cNvGrpSpPr/>
          <p:nvPr/>
        </p:nvGrpSpPr>
        <p:grpSpPr>
          <a:xfrm rot="16200000">
            <a:off x="5855055" y="2464579"/>
            <a:ext cx="166414" cy="270766"/>
            <a:chOff x="2658904" y="3122439"/>
            <a:chExt cx="81472" cy="132564"/>
          </a:xfrm>
          <a:solidFill>
            <a:schemeClr val="bg1"/>
          </a:solidFill>
        </p:grpSpPr>
        <p:sp>
          <p:nvSpPr>
            <p:cNvPr id="825"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6"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7"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828" name="Group 827"/>
          <p:cNvGrpSpPr/>
          <p:nvPr/>
        </p:nvGrpSpPr>
        <p:grpSpPr>
          <a:xfrm rot="16200000">
            <a:off x="6542810" y="2469741"/>
            <a:ext cx="166414" cy="270766"/>
            <a:chOff x="2658904" y="3122439"/>
            <a:chExt cx="81472" cy="132564"/>
          </a:xfrm>
          <a:solidFill>
            <a:schemeClr val="bg1"/>
          </a:solidFill>
        </p:grpSpPr>
        <p:sp>
          <p:nvSpPr>
            <p:cNvPr id="82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74" name="Group 1073"/>
          <p:cNvGrpSpPr/>
          <p:nvPr/>
        </p:nvGrpSpPr>
        <p:grpSpPr>
          <a:xfrm rot="5400000">
            <a:off x="5424262" y="3140136"/>
            <a:ext cx="556914" cy="52065"/>
            <a:chOff x="3287254" y="4006746"/>
            <a:chExt cx="633033" cy="84032"/>
          </a:xfrm>
        </p:grpSpPr>
        <p:sp>
          <p:nvSpPr>
            <p:cNvPr id="1075" name="Rectangle 1074"/>
            <p:cNvSpPr/>
            <p:nvPr/>
          </p:nvSpPr>
          <p:spPr bwMode="auto">
            <a:xfrm rot="5400000" flipH="1">
              <a:off x="3561699" y="3732301"/>
              <a:ext cx="84032" cy="6329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6" name="Rectangle 1075"/>
            <p:cNvSpPr/>
            <p:nvPr/>
          </p:nvSpPr>
          <p:spPr bwMode="auto">
            <a:xfrm rot="5400000" flipH="1">
              <a:off x="3587258" y="3755285"/>
              <a:ext cx="33025" cy="6330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39" name="Freeform 19"/>
          <p:cNvSpPr>
            <a:spLocks/>
          </p:cNvSpPr>
          <p:nvPr/>
        </p:nvSpPr>
        <p:spPr bwMode="auto">
          <a:xfrm>
            <a:off x="1861677" y="2135625"/>
            <a:ext cx="1491995" cy="459145"/>
          </a:xfrm>
          <a:custGeom>
            <a:avLst/>
            <a:gdLst>
              <a:gd name="T0" fmla="*/ 1695 w 3281"/>
              <a:gd name="T1" fmla="*/ 0 h 1010"/>
              <a:gd name="T2" fmla="*/ 1695 w 3281"/>
              <a:gd name="T3" fmla="*/ 0 h 1010"/>
              <a:gd name="T4" fmla="*/ 1578 w 3281"/>
              <a:gd name="T5" fmla="*/ 1 h 1010"/>
              <a:gd name="T6" fmla="*/ 1463 w 3281"/>
              <a:gd name="T7" fmla="*/ 4 h 1010"/>
              <a:gd name="T8" fmla="*/ 1347 w 3281"/>
              <a:gd name="T9" fmla="*/ 10 h 1010"/>
              <a:gd name="T10" fmla="*/ 1235 w 3281"/>
              <a:gd name="T11" fmla="*/ 17 h 1010"/>
              <a:gd name="T12" fmla="*/ 1122 w 3281"/>
              <a:gd name="T13" fmla="*/ 27 h 1010"/>
              <a:gd name="T14" fmla="*/ 1012 w 3281"/>
              <a:gd name="T15" fmla="*/ 38 h 1010"/>
              <a:gd name="T16" fmla="*/ 903 w 3281"/>
              <a:gd name="T17" fmla="*/ 53 h 1010"/>
              <a:gd name="T18" fmla="*/ 795 w 3281"/>
              <a:gd name="T19" fmla="*/ 67 h 1010"/>
              <a:gd name="T20" fmla="*/ 690 w 3281"/>
              <a:gd name="T21" fmla="*/ 86 h 1010"/>
              <a:gd name="T22" fmla="*/ 586 w 3281"/>
              <a:gd name="T23" fmla="*/ 104 h 1010"/>
              <a:gd name="T24" fmla="*/ 483 w 3281"/>
              <a:gd name="T25" fmla="*/ 126 h 1010"/>
              <a:gd name="T26" fmla="*/ 382 w 3281"/>
              <a:gd name="T27" fmla="*/ 148 h 1010"/>
              <a:gd name="T28" fmla="*/ 283 w 3281"/>
              <a:gd name="T29" fmla="*/ 174 h 1010"/>
              <a:gd name="T30" fmla="*/ 187 w 3281"/>
              <a:gd name="T31" fmla="*/ 200 h 1010"/>
              <a:gd name="T32" fmla="*/ 92 w 3281"/>
              <a:gd name="T33" fmla="*/ 228 h 1010"/>
              <a:gd name="T34" fmla="*/ 0 w 3281"/>
              <a:gd name="T35" fmla="*/ 257 h 1010"/>
              <a:gd name="T36" fmla="*/ 0 w 3281"/>
              <a:gd name="T37" fmla="*/ 1010 h 1010"/>
              <a:gd name="T38" fmla="*/ 3281 w 3281"/>
              <a:gd name="T39" fmla="*/ 1010 h 1010"/>
              <a:gd name="T40" fmla="*/ 3281 w 3281"/>
              <a:gd name="T41" fmla="*/ 223 h 1010"/>
              <a:gd name="T42" fmla="*/ 3281 w 3281"/>
              <a:gd name="T43" fmla="*/ 223 h 1010"/>
              <a:gd name="T44" fmla="*/ 3193 w 3281"/>
              <a:gd name="T45" fmla="*/ 197 h 1010"/>
              <a:gd name="T46" fmla="*/ 3104 w 3281"/>
              <a:gd name="T47" fmla="*/ 173 h 1010"/>
              <a:gd name="T48" fmla="*/ 3012 w 3281"/>
              <a:gd name="T49" fmla="*/ 150 h 1010"/>
              <a:gd name="T50" fmla="*/ 2919 w 3281"/>
              <a:gd name="T51" fmla="*/ 129 h 1010"/>
              <a:gd name="T52" fmla="*/ 2825 w 3281"/>
              <a:gd name="T53" fmla="*/ 109 h 1010"/>
              <a:gd name="T54" fmla="*/ 2728 w 3281"/>
              <a:gd name="T55" fmla="*/ 91 h 1010"/>
              <a:gd name="T56" fmla="*/ 2631 w 3281"/>
              <a:gd name="T57" fmla="*/ 74 h 1010"/>
              <a:gd name="T58" fmla="*/ 2532 w 3281"/>
              <a:gd name="T59" fmla="*/ 59 h 1010"/>
              <a:gd name="T60" fmla="*/ 2431 w 3281"/>
              <a:gd name="T61" fmla="*/ 45 h 1010"/>
              <a:gd name="T62" fmla="*/ 2330 w 3281"/>
              <a:gd name="T63" fmla="*/ 33 h 1010"/>
              <a:gd name="T64" fmla="*/ 2227 w 3281"/>
              <a:gd name="T65" fmla="*/ 23 h 1010"/>
              <a:gd name="T66" fmla="*/ 2121 w 3281"/>
              <a:gd name="T67" fmla="*/ 15 h 1010"/>
              <a:gd name="T68" fmla="*/ 2016 w 3281"/>
              <a:gd name="T69" fmla="*/ 9 h 1010"/>
              <a:gd name="T70" fmla="*/ 1911 w 3281"/>
              <a:gd name="T71" fmla="*/ 4 h 1010"/>
              <a:gd name="T72" fmla="*/ 1803 w 3281"/>
              <a:gd name="T73" fmla="*/ 1 h 1010"/>
              <a:gd name="T74" fmla="*/ 1695 w 3281"/>
              <a:gd name="T75" fmla="*/ 0 h 1010"/>
              <a:gd name="T76" fmla="*/ 1695 w 3281"/>
              <a:gd name="T77" fmla="*/ 0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1" h="1010">
                <a:moveTo>
                  <a:pt x="1695" y="0"/>
                </a:moveTo>
                <a:lnTo>
                  <a:pt x="1695" y="0"/>
                </a:lnTo>
                <a:lnTo>
                  <a:pt x="1578" y="1"/>
                </a:lnTo>
                <a:lnTo>
                  <a:pt x="1463" y="4"/>
                </a:lnTo>
                <a:lnTo>
                  <a:pt x="1347" y="10"/>
                </a:lnTo>
                <a:lnTo>
                  <a:pt x="1235" y="17"/>
                </a:lnTo>
                <a:lnTo>
                  <a:pt x="1122" y="27"/>
                </a:lnTo>
                <a:lnTo>
                  <a:pt x="1012" y="38"/>
                </a:lnTo>
                <a:lnTo>
                  <a:pt x="903" y="53"/>
                </a:lnTo>
                <a:lnTo>
                  <a:pt x="795" y="67"/>
                </a:lnTo>
                <a:lnTo>
                  <a:pt x="690" y="86"/>
                </a:lnTo>
                <a:lnTo>
                  <a:pt x="586" y="104"/>
                </a:lnTo>
                <a:lnTo>
                  <a:pt x="483" y="126"/>
                </a:lnTo>
                <a:lnTo>
                  <a:pt x="382" y="148"/>
                </a:lnTo>
                <a:lnTo>
                  <a:pt x="283" y="174"/>
                </a:lnTo>
                <a:lnTo>
                  <a:pt x="187" y="200"/>
                </a:lnTo>
                <a:lnTo>
                  <a:pt x="92" y="228"/>
                </a:lnTo>
                <a:lnTo>
                  <a:pt x="0" y="257"/>
                </a:lnTo>
                <a:lnTo>
                  <a:pt x="0" y="1010"/>
                </a:lnTo>
                <a:lnTo>
                  <a:pt x="3281" y="1010"/>
                </a:lnTo>
                <a:lnTo>
                  <a:pt x="3281" y="223"/>
                </a:lnTo>
                <a:lnTo>
                  <a:pt x="3281" y="223"/>
                </a:lnTo>
                <a:lnTo>
                  <a:pt x="3193" y="197"/>
                </a:lnTo>
                <a:lnTo>
                  <a:pt x="3104" y="173"/>
                </a:lnTo>
                <a:lnTo>
                  <a:pt x="3012" y="150"/>
                </a:lnTo>
                <a:lnTo>
                  <a:pt x="2919" y="129"/>
                </a:lnTo>
                <a:lnTo>
                  <a:pt x="2825" y="109"/>
                </a:lnTo>
                <a:lnTo>
                  <a:pt x="2728" y="91"/>
                </a:lnTo>
                <a:lnTo>
                  <a:pt x="2631" y="74"/>
                </a:lnTo>
                <a:lnTo>
                  <a:pt x="2532" y="59"/>
                </a:lnTo>
                <a:lnTo>
                  <a:pt x="2431" y="45"/>
                </a:lnTo>
                <a:lnTo>
                  <a:pt x="2330" y="33"/>
                </a:lnTo>
                <a:lnTo>
                  <a:pt x="2227" y="23"/>
                </a:lnTo>
                <a:lnTo>
                  <a:pt x="2121" y="15"/>
                </a:lnTo>
                <a:lnTo>
                  <a:pt x="2016" y="9"/>
                </a:lnTo>
                <a:lnTo>
                  <a:pt x="1911" y="4"/>
                </a:lnTo>
                <a:lnTo>
                  <a:pt x="1803" y="1"/>
                </a:lnTo>
                <a:lnTo>
                  <a:pt x="1695" y="0"/>
                </a:lnTo>
                <a:lnTo>
                  <a:pt x="1695"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2" name="Freeform 29"/>
          <p:cNvSpPr>
            <a:spLocks/>
          </p:cNvSpPr>
          <p:nvPr/>
        </p:nvSpPr>
        <p:spPr bwMode="auto">
          <a:xfrm>
            <a:off x="1802577" y="2101075"/>
            <a:ext cx="1611100" cy="192750"/>
          </a:xfrm>
          <a:custGeom>
            <a:avLst/>
            <a:gdLst>
              <a:gd name="T0" fmla="*/ 0 w 3545"/>
              <a:gd name="T1" fmla="*/ 282 h 424"/>
              <a:gd name="T2" fmla="*/ 98 w 3545"/>
              <a:gd name="T3" fmla="*/ 249 h 424"/>
              <a:gd name="T4" fmla="*/ 303 w 3545"/>
              <a:gd name="T5" fmla="*/ 189 h 424"/>
              <a:gd name="T6" fmla="*/ 517 w 3545"/>
              <a:gd name="T7" fmla="*/ 136 h 424"/>
              <a:gd name="T8" fmla="*/ 739 w 3545"/>
              <a:gd name="T9" fmla="*/ 92 h 424"/>
              <a:gd name="T10" fmla="*/ 968 w 3545"/>
              <a:gd name="T11" fmla="*/ 56 h 424"/>
              <a:gd name="T12" fmla="*/ 1202 w 3545"/>
              <a:gd name="T13" fmla="*/ 30 h 424"/>
              <a:gd name="T14" fmla="*/ 1439 w 3545"/>
              <a:gd name="T15" fmla="*/ 11 h 424"/>
              <a:gd name="T16" fmla="*/ 1679 w 3545"/>
              <a:gd name="T17" fmla="*/ 1 h 424"/>
              <a:gd name="T18" fmla="*/ 1801 w 3545"/>
              <a:gd name="T19" fmla="*/ 0 h 424"/>
              <a:gd name="T20" fmla="*/ 2033 w 3545"/>
              <a:gd name="T21" fmla="*/ 5 h 424"/>
              <a:gd name="T22" fmla="*/ 2264 w 3545"/>
              <a:gd name="T23" fmla="*/ 19 h 424"/>
              <a:gd name="T24" fmla="*/ 2490 w 3545"/>
              <a:gd name="T25" fmla="*/ 39 h 424"/>
              <a:gd name="T26" fmla="*/ 2712 w 3545"/>
              <a:gd name="T27" fmla="*/ 70 h 424"/>
              <a:gd name="T28" fmla="*/ 2930 w 3545"/>
              <a:gd name="T29" fmla="*/ 108 h 424"/>
              <a:gd name="T30" fmla="*/ 3142 w 3545"/>
              <a:gd name="T31" fmla="*/ 155 h 424"/>
              <a:gd name="T32" fmla="*/ 3346 w 3545"/>
              <a:gd name="T33" fmla="*/ 208 h 424"/>
              <a:gd name="T34" fmla="*/ 3545 w 3545"/>
              <a:gd name="T35" fmla="*/ 271 h 424"/>
              <a:gd name="T36" fmla="*/ 3496 w 3545"/>
              <a:gd name="T37" fmla="*/ 413 h 424"/>
              <a:gd name="T38" fmla="*/ 3305 w 3545"/>
              <a:gd name="T39" fmla="*/ 353 h 424"/>
              <a:gd name="T40" fmla="*/ 3105 w 3545"/>
              <a:gd name="T41" fmla="*/ 300 h 424"/>
              <a:gd name="T42" fmla="*/ 2899 w 3545"/>
              <a:gd name="T43" fmla="*/ 255 h 424"/>
              <a:gd name="T44" fmla="*/ 2688 w 3545"/>
              <a:gd name="T45" fmla="*/ 218 h 424"/>
              <a:gd name="T46" fmla="*/ 2472 w 3545"/>
              <a:gd name="T47" fmla="*/ 189 h 424"/>
              <a:gd name="T48" fmla="*/ 2251 w 3545"/>
              <a:gd name="T49" fmla="*/ 168 h 424"/>
              <a:gd name="T50" fmla="*/ 2027 w 3545"/>
              <a:gd name="T51" fmla="*/ 156 h 424"/>
              <a:gd name="T52" fmla="*/ 1801 w 3545"/>
              <a:gd name="T53" fmla="*/ 151 h 424"/>
              <a:gd name="T54" fmla="*/ 1683 w 3545"/>
              <a:gd name="T55" fmla="*/ 152 h 424"/>
              <a:gd name="T56" fmla="*/ 1449 w 3545"/>
              <a:gd name="T57" fmla="*/ 161 h 424"/>
              <a:gd name="T58" fmla="*/ 1218 w 3545"/>
              <a:gd name="T59" fmla="*/ 179 h 424"/>
              <a:gd name="T60" fmla="*/ 990 w 3545"/>
              <a:gd name="T61" fmla="*/ 205 h 424"/>
              <a:gd name="T62" fmla="*/ 767 w 3545"/>
              <a:gd name="T63" fmla="*/ 240 h 424"/>
              <a:gd name="T64" fmla="*/ 551 w 3545"/>
              <a:gd name="T65" fmla="*/ 283 h 424"/>
              <a:gd name="T66" fmla="*/ 343 w 3545"/>
              <a:gd name="T67" fmla="*/ 333 h 424"/>
              <a:gd name="T68" fmla="*/ 145 w 3545"/>
              <a:gd name="T69" fmla="*/ 392 h 424"/>
              <a:gd name="T70" fmla="*/ 49 w 3545"/>
              <a:gd name="T71" fmla="*/ 424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45" h="424">
                <a:moveTo>
                  <a:pt x="49" y="424"/>
                </a:moveTo>
                <a:lnTo>
                  <a:pt x="0" y="282"/>
                </a:lnTo>
                <a:lnTo>
                  <a:pt x="0" y="282"/>
                </a:lnTo>
                <a:lnTo>
                  <a:pt x="98" y="249"/>
                </a:lnTo>
                <a:lnTo>
                  <a:pt x="199" y="218"/>
                </a:lnTo>
                <a:lnTo>
                  <a:pt x="303" y="189"/>
                </a:lnTo>
                <a:lnTo>
                  <a:pt x="408" y="162"/>
                </a:lnTo>
                <a:lnTo>
                  <a:pt x="517" y="136"/>
                </a:lnTo>
                <a:lnTo>
                  <a:pt x="627" y="113"/>
                </a:lnTo>
                <a:lnTo>
                  <a:pt x="739" y="92"/>
                </a:lnTo>
                <a:lnTo>
                  <a:pt x="853" y="74"/>
                </a:lnTo>
                <a:lnTo>
                  <a:pt x="968" y="56"/>
                </a:lnTo>
                <a:lnTo>
                  <a:pt x="1084" y="42"/>
                </a:lnTo>
                <a:lnTo>
                  <a:pt x="1202" y="30"/>
                </a:lnTo>
                <a:lnTo>
                  <a:pt x="1321" y="19"/>
                </a:lnTo>
                <a:lnTo>
                  <a:pt x="1439" y="11"/>
                </a:lnTo>
                <a:lnTo>
                  <a:pt x="1559" y="5"/>
                </a:lnTo>
                <a:lnTo>
                  <a:pt x="1679" y="1"/>
                </a:lnTo>
                <a:lnTo>
                  <a:pt x="1801" y="0"/>
                </a:lnTo>
                <a:lnTo>
                  <a:pt x="1801" y="0"/>
                </a:lnTo>
                <a:lnTo>
                  <a:pt x="1917" y="1"/>
                </a:lnTo>
                <a:lnTo>
                  <a:pt x="2033" y="5"/>
                </a:lnTo>
                <a:lnTo>
                  <a:pt x="2149" y="10"/>
                </a:lnTo>
                <a:lnTo>
                  <a:pt x="2264" y="19"/>
                </a:lnTo>
                <a:lnTo>
                  <a:pt x="2378" y="28"/>
                </a:lnTo>
                <a:lnTo>
                  <a:pt x="2490" y="39"/>
                </a:lnTo>
                <a:lnTo>
                  <a:pt x="2602" y="54"/>
                </a:lnTo>
                <a:lnTo>
                  <a:pt x="2712" y="70"/>
                </a:lnTo>
                <a:lnTo>
                  <a:pt x="2822" y="87"/>
                </a:lnTo>
                <a:lnTo>
                  <a:pt x="2930" y="108"/>
                </a:lnTo>
                <a:lnTo>
                  <a:pt x="3037" y="130"/>
                </a:lnTo>
                <a:lnTo>
                  <a:pt x="3142" y="155"/>
                </a:lnTo>
                <a:lnTo>
                  <a:pt x="3245" y="180"/>
                </a:lnTo>
                <a:lnTo>
                  <a:pt x="3346" y="208"/>
                </a:lnTo>
                <a:lnTo>
                  <a:pt x="3447" y="239"/>
                </a:lnTo>
                <a:lnTo>
                  <a:pt x="3545" y="271"/>
                </a:lnTo>
                <a:lnTo>
                  <a:pt x="3496" y="413"/>
                </a:lnTo>
                <a:lnTo>
                  <a:pt x="3496" y="413"/>
                </a:lnTo>
                <a:lnTo>
                  <a:pt x="3402" y="382"/>
                </a:lnTo>
                <a:lnTo>
                  <a:pt x="3305" y="353"/>
                </a:lnTo>
                <a:lnTo>
                  <a:pt x="3206" y="326"/>
                </a:lnTo>
                <a:lnTo>
                  <a:pt x="3105" y="300"/>
                </a:lnTo>
                <a:lnTo>
                  <a:pt x="3004" y="277"/>
                </a:lnTo>
                <a:lnTo>
                  <a:pt x="2899" y="255"/>
                </a:lnTo>
                <a:lnTo>
                  <a:pt x="2794" y="235"/>
                </a:lnTo>
                <a:lnTo>
                  <a:pt x="2688" y="218"/>
                </a:lnTo>
                <a:lnTo>
                  <a:pt x="2581" y="202"/>
                </a:lnTo>
                <a:lnTo>
                  <a:pt x="2472" y="189"/>
                </a:lnTo>
                <a:lnTo>
                  <a:pt x="2362" y="178"/>
                </a:lnTo>
                <a:lnTo>
                  <a:pt x="2251" y="168"/>
                </a:lnTo>
                <a:lnTo>
                  <a:pt x="2140" y="161"/>
                </a:lnTo>
                <a:lnTo>
                  <a:pt x="2027" y="156"/>
                </a:lnTo>
                <a:lnTo>
                  <a:pt x="1915" y="152"/>
                </a:lnTo>
                <a:lnTo>
                  <a:pt x="1801" y="151"/>
                </a:lnTo>
                <a:lnTo>
                  <a:pt x="1801" y="151"/>
                </a:lnTo>
                <a:lnTo>
                  <a:pt x="1683" y="152"/>
                </a:lnTo>
                <a:lnTo>
                  <a:pt x="1566" y="156"/>
                </a:lnTo>
                <a:lnTo>
                  <a:pt x="1449" y="161"/>
                </a:lnTo>
                <a:lnTo>
                  <a:pt x="1333" y="169"/>
                </a:lnTo>
                <a:lnTo>
                  <a:pt x="1218" y="179"/>
                </a:lnTo>
                <a:lnTo>
                  <a:pt x="1103" y="191"/>
                </a:lnTo>
                <a:lnTo>
                  <a:pt x="990" y="205"/>
                </a:lnTo>
                <a:lnTo>
                  <a:pt x="877" y="222"/>
                </a:lnTo>
                <a:lnTo>
                  <a:pt x="767" y="240"/>
                </a:lnTo>
                <a:lnTo>
                  <a:pt x="658" y="260"/>
                </a:lnTo>
                <a:lnTo>
                  <a:pt x="551" y="283"/>
                </a:lnTo>
                <a:lnTo>
                  <a:pt x="446" y="306"/>
                </a:lnTo>
                <a:lnTo>
                  <a:pt x="343" y="333"/>
                </a:lnTo>
                <a:lnTo>
                  <a:pt x="243" y="362"/>
                </a:lnTo>
                <a:lnTo>
                  <a:pt x="145" y="392"/>
                </a:lnTo>
                <a:lnTo>
                  <a:pt x="49" y="424"/>
                </a:lnTo>
                <a:lnTo>
                  <a:pt x="49" y="424"/>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47" name="Group 446"/>
          <p:cNvGrpSpPr/>
          <p:nvPr/>
        </p:nvGrpSpPr>
        <p:grpSpPr>
          <a:xfrm>
            <a:off x="235944" y="2718422"/>
            <a:ext cx="1783983" cy="522076"/>
            <a:chOff x="2720976" y="-1543050"/>
            <a:chExt cx="2767013" cy="954087"/>
          </a:xfrm>
          <a:solidFill>
            <a:schemeClr val="bg2">
              <a:lumMod val="50000"/>
            </a:schemeClr>
          </a:solidFill>
        </p:grpSpPr>
        <p:sp>
          <p:nvSpPr>
            <p:cNvPr id="1423" name="Freeform 30"/>
            <p:cNvSpPr>
              <a:spLocks/>
            </p:cNvSpPr>
            <p:nvPr/>
          </p:nvSpPr>
          <p:spPr bwMode="auto">
            <a:xfrm>
              <a:off x="4875213" y="-609600"/>
              <a:ext cx="120650" cy="20637"/>
            </a:xfrm>
            <a:custGeom>
              <a:avLst/>
              <a:gdLst>
                <a:gd name="T0" fmla="*/ 70 w 152"/>
                <a:gd name="T1" fmla="*/ 27 h 27"/>
                <a:gd name="T2" fmla="*/ 0 w 152"/>
                <a:gd name="T3" fmla="*/ 27 h 27"/>
                <a:gd name="T4" fmla="*/ 0 w 152"/>
                <a:gd name="T5" fmla="*/ 2 h 27"/>
                <a:gd name="T6" fmla="*/ 70 w 152"/>
                <a:gd name="T7" fmla="*/ 2 h 27"/>
                <a:gd name="T8" fmla="*/ 70 w 152"/>
                <a:gd name="T9" fmla="*/ 2 h 27"/>
                <a:gd name="T10" fmla="*/ 110 w 152"/>
                <a:gd name="T11" fmla="*/ 1 h 27"/>
                <a:gd name="T12" fmla="*/ 151 w 152"/>
                <a:gd name="T13" fmla="*/ 0 h 27"/>
                <a:gd name="T14" fmla="*/ 152 w 152"/>
                <a:gd name="T15" fmla="*/ 24 h 27"/>
                <a:gd name="T16" fmla="*/ 152 w 152"/>
                <a:gd name="T17" fmla="*/ 24 h 27"/>
                <a:gd name="T18" fmla="*/ 110 w 152"/>
                <a:gd name="T19" fmla="*/ 27 h 27"/>
                <a:gd name="T20" fmla="*/ 70 w 152"/>
                <a:gd name="T21" fmla="*/ 27 h 27"/>
                <a:gd name="T22" fmla="*/ 70 w 152"/>
                <a:gd name="T2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2" h="27">
                  <a:moveTo>
                    <a:pt x="70" y="27"/>
                  </a:moveTo>
                  <a:lnTo>
                    <a:pt x="0" y="27"/>
                  </a:lnTo>
                  <a:lnTo>
                    <a:pt x="0" y="2"/>
                  </a:lnTo>
                  <a:lnTo>
                    <a:pt x="70" y="2"/>
                  </a:lnTo>
                  <a:lnTo>
                    <a:pt x="70" y="2"/>
                  </a:lnTo>
                  <a:lnTo>
                    <a:pt x="110" y="1"/>
                  </a:lnTo>
                  <a:lnTo>
                    <a:pt x="151" y="0"/>
                  </a:lnTo>
                  <a:lnTo>
                    <a:pt x="152" y="24"/>
                  </a:lnTo>
                  <a:lnTo>
                    <a:pt x="152" y="24"/>
                  </a:lnTo>
                  <a:lnTo>
                    <a:pt x="110" y="27"/>
                  </a:lnTo>
                  <a:lnTo>
                    <a:pt x="70" y="27"/>
                  </a:lnTo>
                  <a:lnTo>
                    <a:pt x="7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6" name="Rectangle 31"/>
            <p:cNvSpPr>
              <a:spLocks noChangeArrowheads="1"/>
            </p:cNvSpPr>
            <p:nvPr/>
          </p:nvSpPr>
          <p:spPr bwMode="auto">
            <a:xfrm>
              <a:off x="4637088" y="-608013"/>
              <a:ext cx="1190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7" name="Rectangle 32"/>
            <p:cNvSpPr>
              <a:spLocks noChangeArrowheads="1"/>
            </p:cNvSpPr>
            <p:nvPr/>
          </p:nvSpPr>
          <p:spPr bwMode="auto">
            <a:xfrm>
              <a:off x="4397376" y="-608013"/>
              <a:ext cx="1190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8" name="Rectangle 33"/>
            <p:cNvSpPr>
              <a:spLocks noChangeArrowheads="1"/>
            </p:cNvSpPr>
            <p:nvPr/>
          </p:nvSpPr>
          <p:spPr bwMode="auto">
            <a:xfrm>
              <a:off x="4157663" y="-608013"/>
              <a:ext cx="1190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9" name="Rectangle 34"/>
            <p:cNvSpPr>
              <a:spLocks noChangeArrowheads="1"/>
            </p:cNvSpPr>
            <p:nvPr/>
          </p:nvSpPr>
          <p:spPr bwMode="auto">
            <a:xfrm>
              <a:off x="3917951" y="-608013"/>
              <a:ext cx="1206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30" name="Rectangle 35"/>
            <p:cNvSpPr>
              <a:spLocks noChangeArrowheads="1"/>
            </p:cNvSpPr>
            <p:nvPr/>
          </p:nvSpPr>
          <p:spPr bwMode="auto">
            <a:xfrm>
              <a:off x="3678238" y="-608013"/>
              <a:ext cx="1206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31" name="Rectangle 36"/>
            <p:cNvSpPr>
              <a:spLocks noChangeArrowheads="1"/>
            </p:cNvSpPr>
            <p:nvPr/>
          </p:nvSpPr>
          <p:spPr bwMode="auto">
            <a:xfrm>
              <a:off x="3438526" y="-608013"/>
              <a:ext cx="1206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32" name="Rectangle 37"/>
            <p:cNvSpPr>
              <a:spLocks noChangeArrowheads="1"/>
            </p:cNvSpPr>
            <p:nvPr/>
          </p:nvSpPr>
          <p:spPr bwMode="auto">
            <a:xfrm>
              <a:off x="3198813" y="-608013"/>
              <a:ext cx="1206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33" name="Rectangle 38"/>
            <p:cNvSpPr>
              <a:spLocks noChangeArrowheads="1"/>
            </p:cNvSpPr>
            <p:nvPr/>
          </p:nvSpPr>
          <p:spPr bwMode="auto">
            <a:xfrm>
              <a:off x="2959101" y="-608013"/>
              <a:ext cx="1206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34" name="Rectangle 39"/>
            <p:cNvSpPr>
              <a:spLocks noChangeArrowheads="1"/>
            </p:cNvSpPr>
            <p:nvPr/>
          </p:nvSpPr>
          <p:spPr bwMode="auto">
            <a:xfrm>
              <a:off x="2720976" y="-608013"/>
              <a:ext cx="1190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39" name="Freeform 44"/>
            <p:cNvSpPr>
              <a:spLocks/>
            </p:cNvSpPr>
            <p:nvPr/>
          </p:nvSpPr>
          <p:spPr bwMode="auto">
            <a:xfrm>
              <a:off x="5114926" y="-647700"/>
              <a:ext cx="119063" cy="44450"/>
            </a:xfrm>
            <a:custGeom>
              <a:avLst/>
              <a:gdLst>
                <a:gd name="T0" fmla="*/ 4 w 152"/>
                <a:gd name="T1" fmla="*/ 56 h 56"/>
                <a:gd name="T2" fmla="*/ 0 w 152"/>
                <a:gd name="T3" fmla="*/ 32 h 56"/>
                <a:gd name="T4" fmla="*/ 0 w 152"/>
                <a:gd name="T5" fmla="*/ 32 h 56"/>
                <a:gd name="T6" fmla="*/ 38 w 152"/>
                <a:gd name="T7" fmla="*/ 26 h 56"/>
                <a:gd name="T8" fmla="*/ 76 w 152"/>
                <a:gd name="T9" fmla="*/ 17 h 56"/>
                <a:gd name="T10" fmla="*/ 111 w 152"/>
                <a:gd name="T11" fmla="*/ 9 h 56"/>
                <a:gd name="T12" fmla="*/ 145 w 152"/>
                <a:gd name="T13" fmla="*/ 0 h 56"/>
                <a:gd name="T14" fmla="*/ 152 w 152"/>
                <a:gd name="T15" fmla="*/ 23 h 56"/>
                <a:gd name="T16" fmla="*/ 152 w 152"/>
                <a:gd name="T17" fmla="*/ 23 h 56"/>
                <a:gd name="T18" fmla="*/ 118 w 152"/>
                <a:gd name="T19" fmla="*/ 33 h 56"/>
                <a:gd name="T20" fmla="*/ 81 w 152"/>
                <a:gd name="T21" fmla="*/ 42 h 56"/>
                <a:gd name="T22" fmla="*/ 43 w 152"/>
                <a:gd name="T23" fmla="*/ 50 h 56"/>
                <a:gd name="T24" fmla="*/ 4 w 152"/>
                <a:gd name="T25" fmla="*/ 56 h 56"/>
                <a:gd name="T26" fmla="*/ 4 w 152"/>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56">
                  <a:moveTo>
                    <a:pt x="4" y="56"/>
                  </a:moveTo>
                  <a:lnTo>
                    <a:pt x="0" y="32"/>
                  </a:lnTo>
                  <a:lnTo>
                    <a:pt x="0" y="32"/>
                  </a:lnTo>
                  <a:lnTo>
                    <a:pt x="38" y="26"/>
                  </a:lnTo>
                  <a:lnTo>
                    <a:pt x="76" y="17"/>
                  </a:lnTo>
                  <a:lnTo>
                    <a:pt x="111" y="9"/>
                  </a:lnTo>
                  <a:lnTo>
                    <a:pt x="145" y="0"/>
                  </a:lnTo>
                  <a:lnTo>
                    <a:pt x="152" y="23"/>
                  </a:lnTo>
                  <a:lnTo>
                    <a:pt x="152" y="23"/>
                  </a:lnTo>
                  <a:lnTo>
                    <a:pt x="118" y="33"/>
                  </a:lnTo>
                  <a:lnTo>
                    <a:pt x="81" y="42"/>
                  </a:lnTo>
                  <a:lnTo>
                    <a:pt x="43" y="50"/>
                  </a:lnTo>
                  <a:lnTo>
                    <a:pt x="4" y="56"/>
                  </a:lnTo>
                  <a:lnTo>
                    <a:pt x="4"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9" name="Freeform 45"/>
            <p:cNvSpPr>
              <a:spLocks/>
            </p:cNvSpPr>
            <p:nvPr/>
          </p:nvSpPr>
          <p:spPr bwMode="auto">
            <a:xfrm>
              <a:off x="5337176" y="-771525"/>
              <a:ext cx="100013" cy="95250"/>
            </a:xfrm>
            <a:custGeom>
              <a:avLst/>
              <a:gdLst>
                <a:gd name="T0" fmla="*/ 12 w 125"/>
                <a:gd name="T1" fmla="*/ 120 h 120"/>
                <a:gd name="T2" fmla="*/ 0 w 125"/>
                <a:gd name="T3" fmla="*/ 98 h 120"/>
                <a:gd name="T4" fmla="*/ 0 w 125"/>
                <a:gd name="T5" fmla="*/ 98 h 120"/>
                <a:gd name="T6" fmla="*/ 14 w 125"/>
                <a:gd name="T7" fmla="*/ 90 h 120"/>
                <a:gd name="T8" fmla="*/ 28 w 125"/>
                <a:gd name="T9" fmla="*/ 80 h 120"/>
                <a:gd name="T10" fmla="*/ 41 w 125"/>
                <a:gd name="T11" fmla="*/ 70 h 120"/>
                <a:gd name="T12" fmla="*/ 54 w 125"/>
                <a:gd name="T13" fmla="*/ 60 h 120"/>
                <a:gd name="T14" fmla="*/ 65 w 125"/>
                <a:gd name="T15" fmla="*/ 49 h 120"/>
                <a:gd name="T16" fmla="*/ 76 w 125"/>
                <a:gd name="T17" fmla="*/ 40 h 120"/>
                <a:gd name="T18" fmla="*/ 84 w 125"/>
                <a:gd name="T19" fmla="*/ 29 h 120"/>
                <a:gd name="T20" fmla="*/ 93 w 125"/>
                <a:gd name="T21" fmla="*/ 16 h 120"/>
                <a:gd name="T22" fmla="*/ 93 w 125"/>
                <a:gd name="T23" fmla="*/ 16 h 120"/>
                <a:gd name="T24" fmla="*/ 104 w 125"/>
                <a:gd name="T25" fmla="*/ 0 h 120"/>
                <a:gd name="T26" fmla="*/ 125 w 125"/>
                <a:gd name="T27" fmla="*/ 14 h 120"/>
                <a:gd name="T28" fmla="*/ 125 w 125"/>
                <a:gd name="T29" fmla="*/ 14 h 120"/>
                <a:gd name="T30" fmla="*/ 114 w 125"/>
                <a:gd name="T31" fmla="*/ 31 h 120"/>
                <a:gd name="T32" fmla="*/ 114 w 125"/>
                <a:gd name="T33" fmla="*/ 31 h 120"/>
                <a:gd name="T34" fmla="*/ 104 w 125"/>
                <a:gd name="T35" fmla="*/ 43 h 120"/>
                <a:gd name="T36" fmla="*/ 94 w 125"/>
                <a:gd name="T37" fmla="*/ 56 h 120"/>
                <a:gd name="T38" fmla="*/ 83 w 125"/>
                <a:gd name="T39" fmla="*/ 68 h 120"/>
                <a:gd name="T40" fmla="*/ 71 w 125"/>
                <a:gd name="T41" fmla="*/ 79 h 120"/>
                <a:gd name="T42" fmla="*/ 57 w 125"/>
                <a:gd name="T43" fmla="*/ 90 h 120"/>
                <a:gd name="T44" fmla="*/ 43 w 125"/>
                <a:gd name="T45" fmla="*/ 100 h 120"/>
                <a:gd name="T46" fmla="*/ 28 w 125"/>
                <a:gd name="T47" fmla="*/ 111 h 120"/>
                <a:gd name="T48" fmla="*/ 12 w 125"/>
                <a:gd name="T49" fmla="*/ 120 h 120"/>
                <a:gd name="T50" fmla="*/ 12 w 125"/>
                <a:gd name="T5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120">
                  <a:moveTo>
                    <a:pt x="12" y="120"/>
                  </a:moveTo>
                  <a:lnTo>
                    <a:pt x="0" y="98"/>
                  </a:lnTo>
                  <a:lnTo>
                    <a:pt x="0" y="98"/>
                  </a:lnTo>
                  <a:lnTo>
                    <a:pt x="14" y="90"/>
                  </a:lnTo>
                  <a:lnTo>
                    <a:pt x="28" y="80"/>
                  </a:lnTo>
                  <a:lnTo>
                    <a:pt x="41" y="70"/>
                  </a:lnTo>
                  <a:lnTo>
                    <a:pt x="54" y="60"/>
                  </a:lnTo>
                  <a:lnTo>
                    <a:pt x="65" y="49"/>
                  </a:lnTo>
                  <a:lnTo>
                    <a:pt x="76" y="40"/>
                  </a:lnTo>
                  <a:lnTo>
                    <a:pt x="84" y="29"/>
                  </a:lnTo>
                  <a:lnTo>
                    <a:pt x="93" y="16"/>
                  </a:lnTo>
                  <a:lnTo>
                    <a:pt x="93" y="16"/>
                  </a:lnTo>
                  <a:lnTo>
                    <a:pt x="104" y="0"/>
                  </a:lnTo>
                  <a:lnTo>
                    <a:pt x="125" y="14"/>
                  </a:lnTo>
                  <a:lnTo>
                    <a:pt x="125" y="14"/>
                  </a:lnTo>
                  <a:lnTo>
                    <a:pt x="114" y="31"/>
                  </a:lnTo>
                  <a:lnTo>
                    <a:pt x="114" y="31"/>
                  </a:lnTo>
                  <a:lnTo>
                    <a:pt x="104" y="43"/>
                  </a:lnTo>
                  <a:lnTo>
                    <a:pt x="94" y="56"/>
                  </a:lnTo>
                  <a:lnTo>
                    <a:pt x="83" y="68"/>
                  </a:lnTo>
                  <a:lnTo>
                    <a:pt x="71" y="79"/>
                  </a:lnTo>
                  <a:lnTo>
                    <a:pt x="57" y="90"/>
                  </a:lnTo>
                  <a:lnTo>
                    <a:pt x="43" y="100"/>
                  </a:lnTo>
                  <a:lnTo>
                    <a:pt x="28" y="111"/>
                  </a:lnTo>
                  <a:lnTo>
                    <a:pt x="12" y="120"/>
                  </a:ln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5" name="Freeform 46"/>
            <p:cNvSpPr>
              <a:spLocks/>
            </p:cNvSpPr>
            <p:nvPr/>
          </p:nvSpPr>
          <p:spPr bwMode="auto">
            <a:xfrm>
              <a:off x="5451476" y="-996950"/>
              <a:ext cx="36513" cy="122237"/>
            </a:xfrm>
            <a:custGeom>
              <a:avLst/>
              <a:gdLst>
                <a:gd name="T0" fmla="*/ 42 w 45"/>
                <a:gd name="T1" fmla="*/ 155 h 155"/>
                <a:gd name="T2" fmla="*/ 16 w 45"/>
                <a:gd name="T3" fmla="*/ 151 h 155"/>
                <a:gd name="T4" fmla="*/ 16 w 45"/>
                <a:gd name="T5" fmla="*/ 151 h 155"/>
                <a:gd name="T6" fmla="*/ 18 w 45"/>
                <a:gd name="T7" fmla="*/ 130 h 155"/>
                <a:gd name="T8" fmla="*/ 20 w 45"/>
                <a:gd name="T9" fmla="*/ 109 h 155"/>
                <a:gd name="T10" fmla="*/ 20 w 45"/>
                <a:gd name="T11" fmla="*/ 109 h 155"/>
                <a:gd name="T12" fmla="*/ 18 w 45"/>
                <a:gd name="T13" fmla="*/ 85 h 155"/>
                <a:gd name="T14" fmla="*/ 15 w 45"/>
                <a:gd name="T15" fmla="*/ 60 h 155"/>
                <a:gd name="T16" fmla="*/ 9 w 45"/>
                <a:gd name="T17" fmla="*/ 34 h 155"/>
                <a:gd name="T18" fmla="*/ 0 w 45"/>
                <a:gd name="T19" fmla="*/ 10 h 155"/>
                <a:gd name="T20" fmla="*/ 23 w 45"/>
                <a:gd name="T21" fmla="*/ 0 h 155"/>
                <a:gd name="T22" fmla="*/ 23 w 45"/>
                <a:gd name="T23" fmla="*/ 0 h 155"/>
                <a:gd name="T24" fmla="*/ 33 w 45"/>
                <a:gd name="T25" fmla="*/ 27 h 155"/>
                <a:gd name="T26" fmla="*/ 39 w 45"/>
                <a:gd name="T27" fmla="*/ 55 h 155"/>
                <a:gd name="T28" fmla="*/ 44 w 45"/>
                <a:gd name="T29" fmla="*/ 82 h 155"/>
                <a:gd name="T30" fmla="*/ 45 w 45"/>
                <a:gd name="T31" fmla="*/ 109 h 155"/>
                <a:gd name="T32" fmla="*/ 45 w 45"/>
                <a:gd name="T33" fmla="*/ 109 h 155"/>
                <a:gd name="T34" fmla="*/ 44 w 45"/>
                <a:gd name="T35" fmla="*/ 132 h 155"/>
                <a:gd name="T36" fmla="*/ 42 w 45"/>
                <a:gd name="T37" fmla="*/ 155 h 155"/>
                <a:gd name="T38" fmla="*/ 42 w 45"/>
                <a:gd name="T39"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155">
                  <a:moveTo>
                    <a:pt x="42" y="155"/>
                  </a:moveTo>
                  <a:lnTo>
                    <a:pt x="16" y="151"/>
                  </a:lnTo>
                  <a:lnTo>
                    <a:pt x="16" y="151"/>
                  </a:lnTo>
                  <a:lnTo>
                    <a:pt x="18" y="130"/>
                  </a:lnTo>
                  <a:lnTo>
                    <a:pt x="20" y="109"/>
                  </a:lnTo>
                  <a:lnTo>
                    <a:pt x="20" y="109"/>
                  </a:lnTo>
                  <a:lnTo>
                    <a:pt x="18" y="85"/>
                  </a:lnTo>
                  <a:lnTo>
                    <a:pt x="15" y="60"/>
                  </a:lnTo>
                  <a:lnTo>
                    <a:pt x="9" y="34"/>
                  </a:lnTo>
                  <a:lnTo>
                    <a:pt x="0" y="10"/>
                  </a:lnTo>
                  <a:lnTo>
                    <a:pt x="23" y="0"/>
                  </a:lnTo>
                  <a:lnTo>
                    <a:pt x="23" y="0"/>
                  </a:lnTo>
                  <a:lnTo>
                    <a:pt x="33" y="27"/>
                  </a:lnTo>
                  <a:lnTo>
                    <a:pt x="39" y="55"/>
                  </a:lnTo>
                  <a:lnTo>
                    <a:pt x="44" y="82"/>
                  </a:lnTo>
                  <a:lnTo>
                    <a:pt x="45" y="109"/>
                  </a:lnTo>
                  <a:lnTo>
                    <a:pt x="45" y="109"/>
                  </a:lnTo>
                  <a:lnTo>
                    <a:pt x="44" y="132"/>
                  </a:lnTo>
                  <a:lnTo>
                    <a:pt x="42" y="155"/>
                  </a:lnTo>
                  <a:lnTo>
                    <a:pt x="42"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5" name="Freeform 47"/>
            <p:cNvSpPr>
              <a:spLocks/>
            </p:cNvSpPr>
            <p:nvPr/>
          </p:nvSpPr>
          <p:spPr bwMode="auto">
            <a:xfrm>
              <a:off x="5307013" y="-1185863"/>
              <a:ext cx="98425" cy="98425"/>
            </a:xfrm>
            <a:custGeom>
              <a:avLst/>
              <a:gdLst>
                <a:gd name="T0" fmla="*/ 104 w 123"/>
                <a:gd name="T1" fmla="*/ 125 h 125"/>
                <a:gd name="T2" fmla="*/ 104 w 123"/>
                <a:gd name="T3" fmla="*/ 125 h 125"/>
                <a:gd name="T4" fmla="*/ 82 w 123"/>
                <a:gd name="T5" fmla="*/ 101 h 125"/>
                <a:gd name="T6" fmla="*/ 57 w 123"/>
                <a:gd name="T7" fmla="*/ 75 h 125"/>
                <a:gd name="T8" fmla="*/ 30 w 123"/>
                <a:gd name="T9" fmla="*/ 47 h 125"/>
                <a:gd name="T10" fmla="*/ 0 w 123"/>
                <a:gd name="T11" fmla="*/ 19 h 125"/>
                <a:gd name="T12" fmla="*/ 17 w 123"/>
                <a:gd name="T13" fmla="*/ 0 h 125"/>
                <a:gd name="T14" fmla="*/ 17 w 123"/>
                <a:gd name="T15" fmla="*/ 0 h 125"/>
                <a:gd name="T16" fmla="*/ 47 w 123"/>
                <a:gd name="T17" fmla="*/ 30 h 125"/>
                <a:gd name="T18" fmla="*/ 75 w 123"/>
                <a:gd name="T19" fmla="*/ 57 h 125"/>
                <a:gd name="T20" fmla="*/ 100 w 123"/>
                <a:gd name="T21" fmla="*/ 84 h 125"/>
                <a:gd name="T22" fmla="*/ 123 w 123"/>
                <a:gd name="T23" fmla="*/ 109 h 125"/>
                <a:gd name="T24" fmla="*/ 104 w 123"/>
                <a:gd name="T25"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5">
                  <a:moveTo>
                    <a:pt x="104" y="125"/>
                  </a:moveTo>
                  <a:lnTo>
                    <a:pt x="104" y="125"/>
                  </a:lnTo>
                  <a:lnTo>
                    <a:pt x="82" y="101"/>
                  </a:lnTo>
                  <a:lnTo>
                    <a:pt x="57" y="75"/>
                  </a:lnTo>
                  <a:lnTo>
                    <a:pt x="30" y="47"/>
                  </a:lnTo>
                  <a:lnTo>
                    <a:pt x="0" y="19"/>
                  </a:lnTo>
                  <a:lnTo>
                    <a:pt x="17" y="0"/>
                  </a:lnTo>
                  <a:lnTo>
                    <a:pt x="17" y="0"/>
                  </a:lnTo>
                  <a:lnTo>
                    <a:pt x="47" y="30"/>
                  </a:lnTo>
                  <a:lnTo>
                    <a:pt x="75" y="57"/>
                  </a:lnTo>
                  <a:lnTo>
                    <a:pt x="100" y="84"/>
                  </a:lnTo>
                  <a:lnTo>
                    <a:pt x="123" y="109"/>
                  </a:lnTo>
                  <a:lnTo>
                    <a:pt x="104"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8" name="Freeform 48"/>
            <p:cNvSpPr>
              <a:spLocks/>
            </p:cNvSpPr>
            <p:nvPr/>
          </p:nvSpPr>
          <p:spPr bwMode="auto">
            <a:xfrm>
              <a:off x="5126038" y="-1344613"/>
              <a:ext cx="107950" cy="93662"/>
            </a:xfrm>
            <a:custGeom>
              <a:avLst/>
              <a:gdLst>
                <a:gd name="T0" fmla="*/ 121 w 137"/>
                <a:gd name="T1" fmla="*/ 117 h 117"/>
                <a:gd name="T2" fmla="*/ 104 w 137"/>
                <a:gd name="T3" fmla="*/ 104 h 117"/>
                <a:gd name="T4" fmla="*/ 104 w 137"/>
                <a:gd name="T5" fmla="*/ 104 h 117"/>
                <a:gd name="T6" fmla="*/ 22 w 137"/>
                <a:gd name="T7" fmla="*/ 37 h 117"/>
                <a:gd name="T8" fmla="*/ 22 w 137"/>
                <a:gd name="T9" fmla="*/ 37 h 117"/>
                <a:gd name="T10" fmla="*/ 0 w 137"/>
                <a:gd name="T11" fmla="*/ 21 h 117"/>
                <a:gd name="T12" fmla="*/ 16 w 137"/>
                <a:gd name="T13" fmla="*/ 0 h 117"/>
                <a:gd name="T14" fmla="*/ 16 w 137"/>
                <a:gd name="T15" fmla="*/ 0 h 117"/>
                <a:gd name="T16" fmla="*/ 39 w 137"/>
                <a:gd name="T17" fmla="*/ 18 h 117"/>
                <a:gd name="T18" fmla="*/ 39 w 137"/>
                <a:gd name="T19" fmla="*/ 18 h 117"/>
                <a:gd name="T20" fmla="*/ 121 w 137"/>
                <a:gd name="T21" fmla="*/ 84 h 117"/>
                <a:gd name="T22" fmla="*/ 137 w 137"/>
                <a:gd name="T23" fmla="*/ 98 h 117"/>
                <a:gd name="T24" fmla="*/ 121 w 137"/>
                <a:gd name="T25"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117">
                  <a:moveTo>
                    <a:pt x="121" y="117"/>
                  </a:moveTo>
                  <a:lnTo>
                    <a:pt x="104" y="104"/>
                  </a:lnTo>
                  <a:lnTo>
                    <a:pt x="104" y="104"/>
                  </a:lnTo>
                  <a:lnTo>
                    <a:pt x="22" y="37"/>
                  </a:lnTo>
                  <a:lnTo>
                    <a:pt x="22" y="37"/>
                  </a:lnTo>
                  <a:lnTo>
                    <a:pt x="0" y="21"/>
                  </a:lnTo>
                  <a:lnTo>
                    <a:pt x="16" y="0"/>
                  </a:lnTo>
                  <a:lnTo>
                    <a:pt x="16" y="0"/>
                  </a:lnTo>
                  <a:lnTo>
                    <a:pt x="39" y="18"/>
                  </a:lnTo>
                  <a:lnTo>
                    <a:pt x="39" y="18"/>
                  </a:lnTo>
                  <a:lnTo>
                    <a:pt x="121" y="84"/>
                  </a:lnTo>
                  <a:lnTo>
                    <a:pt x="137" y="98"/>
                  </a:lnTo>
                  <a:lnTo>
                    <a:pt x="121"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1" name="Freeform 49"/>
            <p:cNvSpPr>
              <a:spLocks/>
            </p:cNvSpPr>
            <p:nvPr/>
          </p:nvSpPr>
          <p:spPr bwMode="auto">
            <a:xfrm>
              <a:off x="4911726" y="-1443038"/>
              <a:ext cx="119063" cy="58737"/>
            </a:xfrm>
            <a:custGeom>
              <a:avLst/>
              <a:gdLst>
                <a:gd name="T0" fmla="*/ 141 w 151"/>
                <a:gd name="T1" fmla="*/ 73 h 73"/>
                <a:gd name="T2" fmla="*/ 141 w 151"/>
                <a:gd name="T3" fmla="*/ 73 h 73"/>
                <a:gd name="T4" fmla="*/ 109 w 151"/>
                <a:gd name="T5" fmla="*/ 61 h 73"/>
                <a:gd name="T6" fmla="*/ 75 w 151"/>
                <a:gd name="T7" fmla="*/ 48 h 73"/>
                <a:gd name="T8" fmla="*/ 39 w 151"/>
                <a:gd name="T9" fmla="*/ 35 h 73"/>
                <a:gd name="T10" fmla="*/ 0 w 151"/>
                <a:gd name="T11" fmla="*/ 23 h 73"/>
                <a:gd name="T12" fmla="*/ 7 w 151"/>
                <a:gd name="T13" fmla="*/ 0 h 73"/>
                <a:gd name="T14" fmla="*/ 7 w 151"/>
                <a:gd name="T15" fmla="*/ 0 h 73"/>
                <a:gd name="T16" fmla="*/ 47 w 151"/>
                <a:gd name="T17" fmla="*/ 12 h 73"/>
                <a:gd name="T18" fmla="*/ 83 w 151"/>
                <a:gd name="T19" fmla="*/ 24 h 73"/>
                <a:gd name="T20" fmla="*/ 119 w 151"/>
                <a:gd name="T21" fmla="*/ 38 h 73"/>
                <a:gd name="T22" fmla="*/ 151 w 151"/>
                <a:gd name="T23" fmla="*/ 51 h 73"/>
                <a:gd name="T24" fmla="*/ 141 w 151"/>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73">
                  <a:moveTo>
                    <a:pt x="141" y="73"/>
                  </a:moveTo>
                  <a:lnTo>
                    <a:pt x="141" y="73"/>
                  </a:lnTo>
                  <a:lnTo>
                    <a:pt x="109" y="61"/>
                  </a:lnTo>
                  <a:lnTo>
                    <a:pt x="75" y="48"/>
                  </a:lnTo>
                  <a:lnTo>
                    <a:pt x="39" y="35"/>
                  </a:lnTo>
                  <a:lnTo>
                    <a:pt x="0" y="23"/>
                  </a:lnTo>
                  <a:lnTo>
                    <a:pt x="7" y="0"/>
                  </a:lnTo>
                  <a:lnTo>
                    <a:pt x="7" y="0"/>
                  </a:lnTo>
                  <a:lnTo>
                    <a:pt x="47" y="12"/>
                  </a:lnTo>
                  <a:lnTo>
                    <a:pt x="83" y="24"/>
                  </a:lnTo>
                  <a:lnTo>
                    <a:pt x="119" y="38"/>
                  </a:lnTo>
                  <a:lnTo>
                    <a:pt x="151" y="51"/>
                  </a:lnTo>
                  <a:lnTo>
                    <a:pt x="141"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2" name="Freeform 50"/>
            <p:cNvSpPr>
              <a:spLocks/>
            </p:cNvSpPr>
            <p:nvPr/>
          </p:nvSpPr>
          <p:spPr bwMode="auto">
            <a:xfrm>
              <a:off x="4679951" y="-1498600"/>
              <a:ext cx="120650" cy="44450"/>
            </a:xfrm>
            <a:custGeom>
              <a:avLst/>
              <a:gdLst>
                <a:gd name="T0" fmla="*/ 147 w 153"/>
                <a:gd name="T1" fmla="*/ 55 h 55"/>
                <a:gd name="T2" fmla="*/ 147 w 153"/>
                <a:gd name="T3" fmla="*/ 55 h 55"/>
                <a:gd name="T4" fmla="*/ 74 w 153"/>
                <a:gd name="T5" fmla="*/ 39 h 55"/>
                <a:gd name="T6" fmla="*/ 0 w 153"/>
                <a:gd name="T7" fmla="*/ 24 h 55"/>
                <a:gd name="T8" fmla="*/ 3 w 153"/>
                <a:gd name="T9" fmla="*/ 0 h 55"/>
                <a:gd name="T10" fmla="*/ 3 w 153"/>
                <a:gd name="T11" fmla="*/ 0 h 55"/>
                <a:gd name="T12" fmla="*/ 79 w 153"/>
                <a:gd name="T13" fmla="*/ 15 h 55"/>
                <a:gd name="T14" fmla="*/ 153 w 153"/>
                <a:gd name="T15" fmla="*/ 31 h 55"/>
                <a:gd name="T16" fmla="*/ 147 w 153"/>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55">
                  <a:moveTo>
                    <a:pt x="147" y="55"/>
                  </a:moveTo>
                  <a:lnTo>
                    <a:pt x="147" y="55"/>
                  </a:lnTo>
                  <a:lnTo>
                    <a:pt x="74" y="39"/>
                  </a:lnTo>
                  <a:lnTo>
                    <a:pt x="0" y="24"/>
                  </a:lnTo>
                  <a:lnTo>
                    <a:pt x="3" y="0"/>
                  </a:lnTo>
                  <a:lnTo>
                    <a:pt x="3" y="0"/>
                  </a:lnTo>
                  <a:lnTo>
                    <a:pt x="79" y="15"/>
                  </a:lnTo>
                  <a:lnTo>
                    <a:pt x="153" y="31"/>
                  </a:lnTo>
                  <a:lnTo>
                    <a:pt x="147"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 name="Freeform 51"/>
            <p:cNvSpPr>
              <a:spLocks/>
            </p:cNvSpPr>
            <p:nvPr/>
          </p:nvSpPr>
          <p:spPr bwMode="auto">
            <a:xfrm>
              <a:off x="4441826" y="-1530350"/>
              <a:ext cx="122238" cy="33337"/>
            </a:xfrm>
            <a:custGeom>
              <a:avLst/>
              <a:gdLst>
                <a:gd name="T0" fmla="*/ 149 w 153"/>
                <a:gd name="T1" fmla="*/ 41 h 41"/>
                <a:gd name="T2" fmla="*/ 149 w 153"/>
                <a:gd name="T3" fmla="*/ 41 h 41"/>
                <a:gd name="T4" fmla="*/ 76 w 153"/>
                <a:gd name="T5" fmla="*/ 31 h 41"/>
                <a:gd name="T6" fmla="*/ 0 w 153"/>
                <a:gd name="T7" fmla="*/ 24 h 41"/>
                <a:gd name="T8" fmla="*/ 2 w 153"/>
                <a:gd name="T9" fmla="*/ 0 h 41"/>
                <a:gd name="T10" fmla="*/ 2 w 153"/>
                <a:gd name="T11" fmla="*/ 0 h 41"/>
                <a:gd name="T12" fmla="*/ 78 w 153"/>
                <a:gd name="T13" fmla="*/ 7 h 41"/>
                <a:gd name="T14" fmla="*/ 153 w 153"/>
                <a:gd name="T15" fmla="*/ 17 h 41"/>
                <a:gd name="T16" fmla="*/ 149 w 15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41">
                  <a:moveTo>
                    <a:pt x="149" y="41"/>
                  </a:moveTo>
                  <a:lnTo>
                    <a:pt x="149" y="41"/>
                  </a:lnTo>
                  <a:lnTo>
                    <a:pt x="76" y="31"/>
                  </a:lnTo>
                  <a:lnTo>
                    <a:pt x="0" y="24"/>
                  </a:lnTo>
                  <a:lnTo>
                    <a:pt x="2" y="0"/>
                  </a:lnTo>
                  <a:lnTo>
                    <a:pt x="2" y="0"/>
                  </a:lnTo>
                  <a:lnTo>
                    <a:pt x="78" y="7"/>
                  </a:lnTo>
                  <a:lnTo>
                    <a:pt x="153" y="17"/>
                  </a:lnTo>
                  <a:lnTo>
                    <a:pt x="149"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4" name="Freeform 52"/>
            <p:cNvSpPr>
              <a:spLocks/>
            </p:cNvSpPr>
            <p:nvPr/>
          </p:nvSpPr>
          <p:spPr bwMode="auto">
            <a:xfrm>
              <a:off x="4203701" y="-1543050"/>
              <a:ext cx="120650" cy="23812"/>
            </a:xfrm>
            <a:custGeom>
              <a:avLst/>
              <a:gdLst>
                <a:gd name="T0" fmla="*/ 150 w 151"/>
                <a:gd name="T1" fmla="*/ 29 h 29"/>
                <a:gd name="T2" fmla="*/ 150 w 151"/>
                <a:gd name="T3" fmla="*/ 29 h 29"/>
                <a:gd name="T4" fmla="*/ 73 w 151"/>
                <a:gd name="T5" fmla="*/ 25 h 29"/>
                <a:gd name="T6" fmla="*/ 0 w 151"/>
                <a:gd name="T7" fmla="*/ 24 h 29"/>
                <a:gd name="T8" fmla="*/ 0 w 151"/>
                <a:gd name="T9" fmla="*/ 0 h 29"/>
                <a:gd name="T10" fmla="*/ 0 w 151"/>
                <a:gd name="T11" fmla="*/ 0 h 29"/>
                <a:gd name="T12" fmla="*/ 74 w 151"/>
                <a:gd name="T13" fmla="*/ 1 h 29"/>
                <a:gd name="T14" fmla="*/ 151 w 151"/>
                <a:gd name="T15" fmla="*/ 3 h 29"/>
                <a:gd name="T16" fmla="*/ 150 w 15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29">
                  <a:moveTo>
                    <a:pt x="150" y="29"/>
                  </a:moveTo>
                  <a:lnTo>
                    <a:pt x="150" y="29"/>
                  </a:lnTo>
                  <a:lnTo>
                    <a:pt x="73" y="25"/>
                  </a:lnTo>
                  <a:lnTo>
                    <a:pt x="0" y="24"/>
                  </a:lnTo>
                  <a:lnTo>
                    <a:pt x="0" y="0"/>
                  </a:lnTo>
                  <a:lnTo>
                    <a:pt x="0" y="0"/>
                  </a:lnTo>
                  <a:lnTo>
                    <a:pt x="74" y="1"/>
                  </a:lnTo>
                  <a:lnTo>
                    <a:pt x="151" y="3"/>
                  </a:lnTo>
                  <a:lnTo>
                    <a:pt x="15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 name="Rectangle 53"/>
            <p:cNvSpPr>
              <a:spLocks noChangeArrowheads="1"/>
            </p:cNvSpPr>
            <p:nvPr/>
          </p:nvSpPr>
          <p:spPr bwMode="auto">
            <a:xfrm>
              <a:off x="3965576" y="-1543050"/>
              <a:ext cx="1190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2" name="Rectangle 54"/>
            <p:cNvSpPr>
              <a:spLocks noChangeArrowheads="1"/>
            </p:cNvSpPr>
            <p:nvPr/>
          </p:nvSpPr>
          <p:spPr bwMode="auto">
            <a:xfrm>
              <a:off x="3724276" y="-1543050"/>
              <a:ext cx="1206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3" name="Rectangle 55"/>
            <p:cNvSpPr>
              <a:spLocks noChangeArrowheads="1"/>
            </p:cNvSpPr>
            <p:nvPr/>
          </p:nvSpPr>
          <p:spPr bwMode="auto">
            <a:xfrm>
              <a:off x="3486151" y="-1543050"/>
              <a:ext cx="1190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4" name="Rectangle 56"/>
            <p:cNvSpPr>
              <a:spLocks noChangeArrowheads="1"/>
            </p:cNvSpPr>
            <p:nvPr/>
          </p:nvSpPr>
          <p:spPr bwMode="auto">
            <a:xfrm>
              <a:off x="3244851" y="-1543050"/>
              <a:ext cx="1206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5" name="Rectangle 57"/>
            <p:cNvSpPr>
              <a:spLocks noChangeArrowheads="1"/>
            </p:cNvSpPr>
            <p:nvPr/>
          </p:nvSpPr>
          <p:spPr bwMode="auto">
            <a:xfrm>
              <a:off x="3006726" y="-1543050"/>
              <a:ext cx="1190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6" name="Freeform 58"/>
            <p:cNvSpPr>
              <a:spLocks/>
            </p:cNvSpPr>
            <p:nvPr/>
          </p:nvSpPr>
          <p:spPr bwMode="auto">
            <a:xfrm>
              <a:off x="2792413" y="-1543050"/>
              <a:ext cx="93663" cy="19050"/>
            </a:xfrm>
            <a:custGeom>
              <a:avLst/>
              <a:gdLst>
                <a:gd name="T0" fmla="*/ 119 w 119"/>
                <a:gd name="T1" fmla="*/ 24 h 24"/>
                <a:gd name="T2" fmla="*/ 119 w 119"/>
                <a:gd name="T3" fmla="*/ 0 h 24"/>
                <a:gd name="T4" fmla="*/ 27 w 119"/>
                <a:gd name="T5" fmla="*/ 0 h 24"/>
                <a:gd name="T6" fmla="*/ 0 w 119"/>
                <a:gd name="T7" fmla="*/ 24 h 24"/>
                <a:gd name="T8" fmla="*/ 119 w 119"/>
                <a:gd name="T9" fmla="*/ 24 h 24"/>
              </a:gdLst>
              <a:ahLst/>
              <a:cxnLst>
                <a:cxn ang="0">
                  <a:pos x="T0" y="T1"/>
                </a:cxn>
                <a:cxn ang="0">
                  <a:pos x="T2" y="T3"/>
                </a:cxn>
                <a:cxn ang="0">
                  <a:pos x="T4" y="T5"/>
                </a:cxn>
                <a:cxn ang="0">
                  <a:pos x="T6" y="T7"/>
                </a:cxn>
                <a:cxn ang="0">
                  <a:pos x="T8" y="T9"/>
                </a:cxn>
              </a:cxnLst>
              <a:rect l="0" t="0" r="r" b="b"/>
              <a:pathLst>
                <a:path w="119" h="24">
                  <a:moveTo>
                    <a:pt x="119" y="24"/>
                  </a:moveTo>
                  <a:lnTo>
                    <a:pt x="119" y="0"/>
                  </a:lnTo>
                  <a:lnTo>
                    <a:pt x="27" y="0"/>
                  </a:lnTo>
                  <a:lnTo>
                    <a:pt x="0" y="24"/>
                  </a:lnTo>
                  <a:lnTo>
                    <a:pt x="119"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50" name="Freeform 59"/>
          <p:cNvSpPr>
            <a:spLocks/>
          </p:cNvSpPr>
          <p:nvPr/>
        </p:nvSpPr>
        <p:spPr bwMode="auto">
          <a:xfrm>
            <a:off x="3339124" y="2061980"/>
            <a:ext cx="1378345" cy="535518"/>
          </a:xfrm>
          <a:custGeom>
            <a:avLst/>
            <a:gdLst>
              <a:gd name="T0" fmla="*/ 1666 w 3030"/>
              <a:gd name="T1" fmla="*/ 112 h 1179"/>
              <a:gd name="T2" fmla="*/ 1666 w 3030"/>
              <a:gd name="T3" fmla="*/ 112 h 1179"/>
              <a:gd name="T4" fmla="*/ 1558 w 3030"/>
              <a:gd name="T5" fmla="*/ 91 h 1179"/>
              <a:gd name="T6" fmla="*/ 1449 w 3030"/>
              <a:gd name="T7" fmla="*/ 74 h 1179"/>
              <a:gd name="T8" fmla="*/ 1341 w 3030"/>
              <a:gd name="T9" fmla="*/ 58 h 1179"/>
              <a:gd name="T10" fmla="*/ 1233 w 3030"/>
              <a:gd name="T11" fmla="*/ 43 h 1179"/>
              <a:gd name="T12" fmla="*/ 1125 w 3030"/>
              <a:gd name="T13" fmla="*/ 31 h 1179"/>
              <a:gd name="T14" fmla="*/ 1019 w 3030"/>
              <a:gd name="T15" fmla="*/ 21 h 1179"/>
              <a:gd name="T16" fmla="*/ 911 w 3030"/>
              <a:gd name="T17" fmla="*/ 12 h 1179"/>
              <a:gd name="T18" fmla="*/ 806 w 3030"/>
              <a:gd name="T19" fmla="*/ 6 h 1179"/>
              <a:gd name="T20" fmla="*/ 700 w 3030"/>
              <a:gd name="T21" fmla="*/ 3 h 1179"/>
              <a:gd name="T22" fmla="*/ 596 w 3030"/>
              <a:gd name="T23" fmla="*/ 0 h 1179"/>
              <a:gd name="T24" fmla="*/ 493 w 3030"/>
              <a:gd name="T25" fmla="*/ 0 h 1179"/>
              <a:gd name="T26" fmla="*/ 392 w 3030"/>
              <a:gd name="T27" fmla="*/ 3 h 1179"/>
              <a:gd name="T28" fmla="*/ 291 w 3030"/>
              <a:gd name="T29" fmla="*/ 6 h 1179"/>
              <a:gd name="T30" fmla="*/ 192 w 3030"/>
              <a:gd name="T31" fmla="*/ 12 h 1179"/>
              <a:gd name="T32" fmla="*/ 95 w 3030"/>
              <a:gd name="T33" fmla="*/ 21 h 1179"/>
              <a:gd name="T34" fmla="*/ 0 w 3030"/>
              <a:gd name="T35" fmla="*/ 31 h 1179"/>
              <a:gd name="T36" fmla="*/ 0 w 3030"/>
              <a:gd name="T37" fmla="*/ 1179 h 1179"/>
              <a:gd name="T38" fmla="*/ 3030 w 3030"/>
              <a:gd name="T39" fmla="*/ 1179 h 1179"/>
              <a:gd name="T40" fmla="*/ 3030 w 3030"/>
              <a:gd name="T41" fmla="*/ 560 h 1179"/>
              <a:gd name="T42" fmla="*/ 3030 w 3030"/>
              <a:gd name="T43" fmla="*/ 560 h 1179"/>
              <a:gd name="T44" fmla="*/ 2953 w 3030"/>
              <a:gd name="T45" fmla="*/ 523 h 1179"/>
              <a:gd name="T46" fmla="*/ 2875 w 3030"/>
              <a:gd name="T47" fmla="*/ 488 h 1179"/>
              <a:gd name="T48" fmla="*/ 2795 w 3030"/>
              <a:gd name="T49" fmla="*/ 453 h 1179"/>
              <a:gd name="T50" fmla="*/ 2714 w 3030"/>
              <a:gd name="T51" fmla="*/ 419 h 1179"/>
              <a:gd name="T52" fmla="*/ 2632 w 3030"/>
              <a:gd name="T53" fmla="*/ 387 h 1179"/>
              <a:gd name="T54" fmla="*/ 2549 w 3030"/>
              <a:gd name="T55" fmla="*/ 355 h 1179"/>
              <a:gd name="T56" fmla="*/ 2465 w 3030"/>
              <a:gd name="T57" fmla="*/ 326 h 1179"/>
              <a:gd name="T58" fmla="*/ 2380 w 3030"/>
              <a:gd name="T59" fmla="*/ 297 h 1179"/>
              <a:gd name="T60" fmla="*/ 2293 w 3030"/>
              <a:gd name="T61" fmla="*/ 270 h 1179"/>
              <a:gd name="T62" fmla="*/ 2206 w 3030"/>
              <a:gd name="T63" fmla="*/ 243 h 1179"/>
              <a:gd name="T64" fmla="*/ 2118 w 3030"/>
              <a:gd name="T65" fmla="*/ 218 h 1179"/>
              <a:gd name="T66" fmla="*/ 2029 w 3030"/>
              <a:gd name="T67" fmla="*/ 194 h 1179"/>
              <a:gd name="T68" fmla="*/ 1939 w 3030"/>
              <a:gd name="T69" fmla="*/ 172 h 1179"/>
              <a:gd name="T70" fmla="*/ 1848 w 3030"/>
              <a:gd name="T71" fmla="*/ 150 h 1179"/>
              <a:gd name="T72" fmla="*/ 1757 w 3030"/>
              <a:gd name="T73" fmla="*/ 130 h 1179"/>
              <a:gd name="T74" fmla="*/ 1666 w 3030"/>
              <a:gd name="T75" fmla="*/ 112 h 1179"/>
              <a:gd name="T76" fmla="*/ 1666 w 3030"/>
              <a:gd name="T77" fmla="*/ 112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30" h="1179">
                <a:moveTo>
                  <a:pt x="1666" y="112"/>
                </a:moveTo>
                <a:lnTo>
                  <a:pt x="1666" y="112"/>
                </a:lnTo>
                <a:lnTo>
                  <a:pt x="1558" y="91"/>
                </a:lnTo>
                <a:lnTo>
                  <a:pt x="1449" y="74"/>
                </a:lnTo>
                <a:lnTo>
                  <a:pt x="1341" y="58"/>
                </a:lnTo>
                <a:lnTo>
                  <a:pt x="1233" y="43"/>
                </a:lnTo>
                <a:lnTo>
                  <a:pt x="1125" y="31"/>
                </a:lnTo>
                <a:lnTo>
                  <a:pt x="1019" y="21"/>
                </a:lnTo>
                <a:lnTo>
                  <a:pt x="911" y="12"/>
                </a:lnTo>
                <a:lnTo>
                  <a:pt x="806" y="6"/>
                </a:lnTo>
                <a:lnTo>
                  <a:pt x="700" y="3"/>
                </a:lnTo>
                <a:lnTo>
                  <a:pt x="596" y="0"/>
                </a:lnTo>
                <a:lnTo>
                  <a:pt x="493" y="0"/>
                </a:lnTo>
                <a:lnTo>
                  <a:pt x="392" y="3"/>
                </a:lnTo>
                <a:lnTo>
                  <a:pt x="291" y="6"/>
                </a:lnTo>
                <a:lnTo>
                  <a:pt x="192" y="12"/>
                </a:lnTo>
                <a:lnTo>
                  <a:pt x="95" y="21"/>
                </a:lnTo>
                <a:lnTo>
                  <a:pt x="0" y="31"/>
                </a:lnTo>
                <a:lnTo>
                  <a:pt x="0" y="1179"/>
                </a:lnTo>
                <a:lnTo>
                  <a:pt x="3030" y="1179"/>
                </a:lnTo>
                <a:lnTo>
                  <a:pt x="3030" y="560"/>
                </a:lnTo>
                <a:lnTo>
                  <a:pt x="3030" y="560"/>
                </a:lnTo>
                <a:lnTo>
                  <a:pt x="2953" y="523"/>
                </a:lnTo>
                <a:lnTo>
                  <a:pt x="2875" y="488"/>
                </a:lnTo>
                <a:lnTo>
                  <a:pt x="2795" y="453"/>
                </a:lnTo>
                <a:lnTo>
                  <a:pt x="2714" y="419"/>
                </a:lnTo>
                <a:lnTo>
                  <a:pt x="2632" y="387"/>
                </a:lnTo>
                <a:lnTo>
                  <a:pt x="2549" y="355"/>
                </a:lnTo>
                <a:lnTo>
                  <a:pt x="2465" y="326"/>
                </a:lnTo>
                <a:lnTo>
                  <a:pt x="2380" y="297"/>
                </a:lnTo>
                <a:lnTo>
                  <a:pt x="2293" y="270"/>
                </a:lnTo>
                <a:lnTo>
                  <a:pt x="2206" y="243"/>
                </a:lnTo>
                <a:lnTo>
                  <a:pt x="2118" y="218"/>
                </a:lnTo>
                <a:lnTo>
                  <a:pt x="2029" y="194"/>
                </a:lnTo>
                <a:lnTo>
                  <a:pt x="1939" y="172"/>
                </a:lnTo>
                <a:lnTo>
                  <a:pt x="1848" y="150"/>
                </a:lnTo>
                <a:lnTo>
                  <a:pt x="1757" y="130"/>
                </a:lnTo>
                <a:lnTo>
                  <a:pt x="1666" y="112"/>
                </a:lnTo>
                <a:lnTo>
                  <a:pt x="1666" y="11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1" name="Rectangle 60"/>
          <p:cNvSpPr>
            <a:spLocks noChangeArrowheads="1"/>
          </p:cNvSpPr>
          <p:nvPr/>
        </p:nvSpPr>
        <p:spPr bwMode="auto">
          <a:xfrm>
            <a:off x="3439135" y="2422931"/>
            <a:ext cx="215480" cy="195478"/>
          </a:xfrm>
          <a:prstGeom prst="rect">
            <a:avLst/>
          </a:prstGeom>
          <a:solidFill>
            <a:schemeClr val="tx2">
              <a:lumMod val="50000"/>
            </a:schemeClr>
          </a:solidFill>
          <a:ln w="9525">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57" name="Group 456"/>
          <p:cNvGrpSpPr/>
          <p:nvPr/>
        </p:nvGrpSpPr>
        <p:grpSpPr>
          <a:xfrm>
            <a:off x="1933502" y="2216193"/>
            <a:ext cx="2630312" cy="352770"/>
            <a:chOff x="1931914" y="2234727"/>
            <a:chExt cx="2630312" cy="352770"/>
          </a:xfrm>
          <a:solidFill>
            <a:schemeClr val="tx2">
              <a:lumMod val="75000"/>
            </a:schemeClr>
          </a:solidFill>
        </p:grpSpPr>
        <p:sp>
          <p:nvSpPr>
            <p:cNvPr id="40" name="Freeform 20"/>
            <p:cNvSpPr>
              <a:spLocks/>
            </p:cNvSpPr>
            <p:nvPr/>
          </p:nvSpPr>
          <p:spPr bwMode="auto">
            <a:xfrm>
              <a:off x="2390150" y="2337467"/>
              <a:ext cx="431870" cy="62734"/>
            </a:xfrm>
            <a:custGeom>
              <a:avLst/>
              <a:gdLst>
                <a:gd name="T0" fmla="*/ 0 w 949"/>
                <a:gd name="T1" fmla="*/ 20 h 138"/>
                <a:gd name="T2" fmla="*/ 0 w 949"/>
                <a:gd name="T3" fmla="*/ 138 h 138"/>
                <a:gd name="T4" fmla="*/ 949 w 949"/>
                <a:gd name="T5" fmla="*/ 138 h 138"/>
                <a:gd name="T6" fmla="*/ 949 w 949"/>
                <a:gd name="T7" fmla="*/ 16 h 138"/>
                <a:gd name="T8" fmla="*/ 949 w 949"/>
                <a:gd name="T9" fmla="*/ 16 h 138"/>
                <a:gd name="T10" fmla="*/ 840 w 949"/>
                <a:gd name="T11" fmla="*/ 9 h 138"/>
                <a:gd name="T12" fmla="*/ 730 w 949"/>
                <a:gd name="T13" fmla="*/ 3 h 138"/>
                <a:gd name="T14" fmla="*/ 619 w 949"/>
                <a:gd name="T15" fmla="*/ 1 h 138"/>
                <a:gd name="T16" fmla="*/ 506 w 949"/>
                <a:gd name="T17" fmla="*/ 0 h 138"/>
                <a:gd name="T18" fmla="*/ 506 w 949"/>
                <a:gd name="T19" fmla="*/ 0 h 138"/>
                <a:gd name="T20" fmla="*/ 377 w 949"/>
                <a:gd name="T21" fmla="*/ 1 h 138"/>
                <a:gd name="T22" fmla="*/ 251 w 949"/>
                <a:gd name="T23" fmla="*/ 6 h 138"/>
                <a:gd name="T24" fmla="*/ 125 w 949"/>
                <a:gd name="T25" fmla="*/ 12 h 138"/>
                <a:gd name="T26" fmla="*/ 0 w 949"/>
                <a:gd name="T27" fmla="*/ 20 h 138"/>
                <a:gd name="T28" fmla="*/ 0 w 949"/>
                <a:gd name="T29" fmla="*/ 2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9" h="138">
                  <a:moveTo>
                    <a:pt x="0" y="20"/>
                  </a:moveTo>
                  <a:lnTo>
                    <a:pt x="0" y="138"/>
                  </a:lnTo>
                  <a:lnTo>
                    <a:pt x="949" y="138"/>
                  </a:lnTo>
                  <a:lnTo>
                    <a:pt x="949" y="16"/>
                  </a:lnTo>
                  <a:lnTo>
                    <a:pt x="949" y="16"/>
                  </a:lnTo>
                  <a:lnTo>
                    <a:pt x="840" y="9"/>
                  </a:lnTo>
                  <a:lnTo>
                    <a:pt x="730" y="3"/>
                  </a:lnTo>
                  <a:lnTo>
                    <a:pt x="619" y="1"/>
                  </a:lnTo>
                  <a:lnTo>
                    <a:pt x="506" y="0"/>
                  </a:lnTo>
                  <a:lnTo>
                    <a:pt x="506" y="0"/>
                  </a:lnTo>
                  <a:lnTo>
                    <a:pt x="377" y="1"/>
                  </a:lnTo>
                  <a:lnTo>
                    <a:pt x="251" y="6"/>
                  </a:lnTo>
                  <a:lnTo>
                    <a:pt x="125" y="12"/>
                  </a:lnTo>
                  <a:lnTo>
                    <a:pt x="0" y="20"/>
                  </a:lnTo>
                  <a:lnTo>
                    <a:pt x="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1" name="Freeform 21"/>
            <p:cNvSpPr>
              <a:spLocks/>
            </p:cNvSpPr>
            <p:nvPr/>
          </p:nvSpPr>
          <p:spPr bwMode="auto">
            <a:xfrm>
              <a:off x="2849296" y="2346559"/>
              <a:ext cx="344587" cy="53642"/>
            </a:xfrm>
            <a:custGeom>
              <a:avLst/>
              <a:gdLst>
                <a:gd name="T0" fmla="*/ 0 w 760"/>
                <a:gd name="T1" fmla="*/ 0 h 118"/>
                <a:gd name="T2" fmla="*/ 0 w 760"/>
                <a:gd name="T3" fmla="*/ 118 h 118"/>
                <a:gd name="T4" fmla="*/ 760 w 760"/>
                <a:gd name="T5" fmla="*/ 118 h 118"/>
                <a:gd name="T6" fmla="*/ 760 w 760"/>
                <a:gd name="T7" fmla="*/ 118 h 118"/>
                <a:gd name="T8" fmla="*/ 670 w 760"/>
                <a:gd name="T9" fmla="*/ 97 h 118"/>
                <a:gd name="T10" fmla="*/ 578 w 760"/>
                <a:gd name="T11" fmla="*/ 79 h 118"/>
                <a:gd name="T12" fmla="*/ 485 w 760"/>
                <a:gd name="T13" fmla="*/ 63 h 118"/>
                <a:gd name="T14" fmla="*/ 391 w 760"/>
                <a:gd name="T15" fmla="*/ 47 h 118"/>
                <a:gd name="T16" fmla="*/ 294 w 760"/>
                <a:gd name="T17" fmla="*/ 34 h 118"/>
                <a:gd name="T18" fmla="*/ 198 w 760"/>
                <a:gd name="T19" fmla="*/ 21 h 118"/>
                <a:gd name="T20" fmla="*/ 100 w 760"/>
                <a:gd name="T21" fmla="*/ 10 h 118"/>
                <a:gd name="T22" fmla="*/ 0 w 760"/>
                <a:gd name="T23" fmla="*/ 0 h 118"/>
                <a:gd name="T24" fmla="*/ 0 w 760"/>
                <a:gd name="T2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0" h="118">
                  <a:moveTo>
                    <a:pt x="0" y="0"/>
                  </a:moveTo>
                  <a:lnTo>
                    <a:pt x="0" y="118"/>
                  </a:lnTo>
                  <a:lnTo>
                    <a:pt x="760" y="118"/>
                  </a:lnTo>
                  <a:lnTo>
                    <a:pt x="760" y="118"/>
                  </a:lnTo>
                  <a:lnTo>
                    <a:pt x="670" y="97"/>
                  </a:lnTo>
                  <a:lnTo>
                    <a:pt x="578" y="79"/>
                  </a:lnTo>
                  <a:lnTo>
                    <a:pt x="485" y="63"/>
                  </a:lnTo>
                  <a:lnTo>
                    <a:pt x="391" y="47"/>
                  </a:lnTo>
                  <a:lnTo>
                    <a:pt x="294" y="34"/>
                  </a:lnTo>
                  <a:lnTo>
                    <a:pt x="198" y="21"/>
                  </a:lnTo>
                  <a:lnTo>
                    <a:pt x="100" y="1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9" name="Rectangle 22"/>
            <p:cNvSpPr>
              <a:spLocks noChangeArrowheads="1"/>
            </p:cNvSpPr>
            <p:nvPr/>
          </p:nvSpPr>
          <p:spPr bwMode="auto">
            <a:xfrm>
              <a:off x="2390150" y="2427478"/>
              <a:ext cx="43187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0" name="Rectangle 23"/>
            <p:cNvSpPr>
              <a:spLocks noChangeArrowheads="1"/>
            </p:cNvSpPr>
            <p:nvPr/>
          </p:nvSpPr>
          <p:spPr bwMode="auto">
            <a:xfrm>
              <a:off x="2849296" y="2427478"/>
              <a:ext cx="43096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8" name="Freeform 24"/>
            <p:cNvSpPr>
              <a:spLocks/>
            </p:cNvSpPr>
            <p:nvPr/>
          </p:nvSpPr>
          <p:spPr bwMode="auto">
            <a:xfrm>
              <a:off x="1931914" y="2427478"/>
              <a:ext cx="430960" cy="66371"/>
            </a:xfrm>
            <a:custGeom>
              <a:avLst/>
              <a:gdLst>
                <a:gd name="T0" fmla="*/ 948 w 948"/>
                <a:gd name="T1" fmla="*/ 146 h 146"/>
                <a:gd name="T2" fmla="*/ 948 w 948"/>
                <a:gd name="T3" fmla="*/ 0 h 146"/>
                <a:gd name="T4" fmla="*/ 14 w 948"/>
                <a:gd name="T5" fmla="*/ 0 h 146"/>
                <a:gd name="T6" fmla="*/ 14 w 948"/>
                <a:gd name="T7" fmla="*/ 0 h 146"/>
                <a:gd name="T8" fmla="*/ 0 w 948"/>
                <a:gd name="T9" fmla="*/ 4 h 146"/>
                <a:gd name="T10" fmla="*/ 0 w 948"/>
                <a:gd name="T11" fmla="*/ 146 h 146"/>
                <a:gd name="T12" fmla="*/ 948 w 948"/>
                <a:gd name="T13" fmla="*/ 146 h 146"/>
              </a:gdLst>
              <a:ahLst/>
              <a:cxnLst>
                <a:cxn ang="0">
                  <a:pos x="T0" y="T1"/>
                </a:cxn>
                <a:cxn ang="0">
                  <a:pos x="T2" y="T3"/>
                </a:cxn>
                <a:cxn ang="0">
                  <a:pos x="T4" y="T5"/>
                </a:cxn>
                <a:cxn ang="0">
                  <a:pos x="T6" y="T7"/>
                </a:cxn>
                <a:cxn ang="0">
                  <a:pos x="T8" y="T9"/>
                </a:cxn>
                <a:cxn ang="0">
                  <a:pos x="T10" y="T11"/>
                </a:cxn>
                <a:cxn ang="0">
                  <a:pos x="T12" y="T13"/>
                </a:cxn>
              </a:cxnLst>
              <a:rect l="0" t="0" r="r" b="b"/>
              <a:pathLst>
                <a:path w="948" h="146">
                  <a:moveTo>
                    <a:pt x="948" y="146"/>
                  </a:moveTo>
                  <a:lnTo>
                    <a:pt x="948" y="0"/>
                  </a:lnTo>
                  <a:lnTo>
                    <a:pt x="14" y="0"/>
                  </a:lnTo>
                  <a:lnTo>
                    <a:pt x="14" y="0"/>
                  </a:lnTo>
                  <a:lnTo>
                    <a:pt x="0" y="4"/>
                  </a:lnTo>
                  <a:lnTo>
                    <a:pt x="0" y="146"/>
                  </a:lnTo>
                  <a:lnTo>
                    <a:pt x="948"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9" name="Rectangle 25"/>
            <p:cNvSpPr>
              <a:spLocks noChangeArrowheads="1"/>
            </p:cNvSpPr>
            <p:nvPr/>
          </p:nvSpPr>
          <p:spPr bwMode="auto">
            <a:xfrm>
              <a:off x="1931914" y="2519307"/>
              <a:ext cx="430960" cy="672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0" name="Rectangle 26"/>
            <p:cNvSpPr>
              <a:spLocks noChangeArrowheads="1"/>
            </p:cNvSpPr>
            <p:nvPr/>
          </p:nvSpPr>
          <p:spPr bwMode="auto">
            <a:xfrm>
              <a:off x="2390150" y="2519307"/>
              <a:ext cx="431870" cy="672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1" name="Rectangle 27"/>
            <p:cNvSpPr>
              <a:spLocks noChangeArrowheads="1"/>
            </p:cNvSpPr>
            <p:nvPr/>
          </p:nvSpPr>
          <p:spPr bwMode="auto">
            <a:xfrm>
              <a:off x="2849296" y="2519307"/>
              <a:ext cx="430960" cy="672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12" name="Freeform 28"/>
            <p:cNvSpPr>
              <a:spLocks/>
            </p:cNvSpPr>
            <p:nvPr/>
          </p:nvSpPr>
          <p:spPr bwMode="auto">
            <a:xfrm>
              <a:off x="2045564" y="2349287"/>
              <a:ext cx="317311" cy="50915"/>
            </a:xfrm>
            <a:custGeom>
              <a:avLst/>
              <a:gdLst>
                <a:gd name="T0" fmla="*/ 698 w 698"/>
                <a:gd name="T1" fmla="*/ 111 h 111"/>
                <a:gd name="T2" fmla="*/ 698 w 698"/>
                <a:gd name="T3" fmla="*/ 0 h 111"/>
                <a:gd name="T4" fmla="*/ 698 w 698"/>
                <a:gd name="T5" fmla="*/ 0 h 111"/>
                <a:gd name="T6" fmla="*/ 607 w 698"/>
                <a:gd name="T7" fmla="*/ 8 h 111"/>
                <a:gd name="T8" fmla="*/ 517 w 698"/>
                <a:gd name="T9" fmla="*/ 19 h 111"/>
                <a:gd name="T10" fmla="*/ 429 w 698"/>
                <a:gd name="T11" fmla="*/ 31 h 111"/>
                <a:gd name="T12" fmla="*/ 340 w 698"/>
                <a:gd name="T13" fmla="*/ 45 h 111"/>
                <a:gd name="T14" fmla="*/ 253 w 698"/>
                <a:gd name="T15" fmla="*/ 60 h 111"/>
                <a:gd name="T16" fmla="*/ 168 w 698"/>
                <a:gd name="T17" fmla="*/ 76 h 111"/>
                <a:gd name="T18" fmla="*/ 83 w 698"/>
                <a:gd name="T19" fmla="*/ 93 h 111"/>
                <a:gd name="T20" fmla="*/ 0 w 698"/>
                <a:gd name="T21" fmla="*/ 111 h 111"/>
                <a:gd name="T22" fmla="*/ 698 w 698"/>
                <a:gd name="T23"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8" h="111">
                  <a:moveTo>
                    <a:pt x="698" y="111"/>
                  </a:moveTo>
                  <a:lnTo>
                    <a:pt x="698" y="0"/>
                  </a:lnTo>
                  <a:lnTo>
                    <a:pt x="698" y="0"/>
                  </a:lnTo>
                  <a:lnTo>
                    <a:pt x="607" y="8"/>
                  </a:lnTo>
                  <a:lnTo>
                    <a:pt x="517" y="19"/>
                  </a:lnTo>
                  <a:lnTo>
                    <a:pt x="429" y="31"/>
                  </a:lnTo>
                  <a:lnTo>
                    <a:pt x="340" y="45"/>
                  </a:lnTo>
                  <a:lnTo>
                    <a:pt x="253" y="60"/>
                  </a:lnTo>
                  <a:lnTo>
                    <a:pt x="168" y="76"/>
                  </a:lnTo>
                  <a:lnTo>
                    <a:pt x="83" y="93"/>
                  </a:lnTo>
                  <a:lnTo>
                    <a:pt x="0" y="111"/>
                  </a:lnTo>
                  <a:lnTo>
                    <a:pt x="698"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 name="Rectangle 61"/>
            <p:cNvSpPr>
              <a:spLocks noChangeArrowheads="1"/>
            </p:cNvSpPr>
            <p:nvPr/>
          </p:nvSpPr>
          <p:spPr bwMode="auto">
            <a:xfrm>
              <a:off x="3675757" y="2327466"/>
              <a:ext cx="43096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 name="Rectangle 62"/>
            <p:cNvSpPr>
              <a:spLocks noChangeArrowheads="1"/>
            </p:cNvSpPr>
            <p:nvPr/>
          </p:nvSpPr>
          <p:spPr bwMode="auto">
            <a:xfrm>
              <a:off x="3675757" y="2422931"/>
              <a:ext cx="43096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7" name="Rectangle 63"/>
            <p:cNvSpPr>
              <a:spLocks noChangeArrowheads="1"/>
            </p:cNvSpPr>
            <p:nvPr/>
          </p:nvSpPr>
          <p:spPr bwMode="auto">
            <a:xfrm>
              <a:off x="4130356" y="2327466"/>
              <a:ext cx="43187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84" name="Rectangle 64"/>
            <p:cNvSpPr>
              <a:spLocks noChangeArrowheads="1"/>
            </p:cNvSpPr>
            <p:nvPr/>
          </p:nvSpPr>
          <p:spPr bwMode="auto">
            <a:xfrm>
              <a:off x="4130356" y="2422931"/>
              <a:ext cx="43187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1" name="Rectangle 65"/>
            <p:cNvSpPr>
              <a:spLocks noChangeArrowheads="1"/>
            </p:cNvSpPr>
            <p:nvPr/>
          </p:nvSpPr>
          <p:spPr bwMode="auto">
            <a:xfrm>
              <a:off x="3675757" y="2520216"/>
              <a:ext cx="430960" cy="672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2" name="Rectangle 66"/>
            <p:cNvSpPr>
              <a:spLocks noChangeArrowheads="1"/>
            </p:cNvSpPr>
            <p:nvPr/>
          </p:nvSpPr>
          <p:spPr bwMode="auto">
            <a:xfrm>
              <a:off x="4130356" y="2520216"/>
              <a:ext cx="431870" cy="672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93" name="Rectangle 67"/>
            <p:cNvSpPr>
              <a:spLocks noChangeArrowheads="1"/>
            </p:cNvSpPr>
            <p:nvPr/>
          </p:nvSpPr>
          <p:spPr bwMode="auto">
            <a:xfrm>
              <a:off x="3675757" y="2234727"/>
              <a:ext cx="43096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13" name="Rectangle 68"/>
            <p:cNvSpPr>
              <a:spLocks noChangeArrowheads="1"/>
            </p:cNvSpPr>
            <p:nvPr/>
          </p:nvSpPr>
          <p:spPr bwMode="auto">
            <a:xfrm>
              <a:off x="3443002" y="2327466"/>
              <a:ext cx="20457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14" name="Rectangle 69"/>
            <p:cNvSpPr>
              <a:spLocks noChangeArrowheads="1"/>
            </p:cNvSpPr>
            <p:nvPr/>
          </p:nvSpPr>
          <p:spPr bwMode="auto">
            <a:xfrm>
              <a:off x="3443002" y="2234727"/>
              <a:ext cx="204570" cy="663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15" name="Freeform 70"/>
            <p:cNvSpPr>
              <a:spLocks/>
            </p:cNvSpPr>
            <p:nvPr/>
          </p:nvSpPr>
          <p:spPr bwMode="auto">
            <a:xfrm>
              <a:off x="4130356" y="2234727"/>
              <a:ext cx="431870" cy="66371"/>
            </a:xfrm>
            <a:custGeom>
              <a:avLst/>
              <a:gdLst>
                <a:gd name="T0" fmla="*/ 726 w 948"/>
                <a:gd name="T1" fmla="*/ 0 h 146"/>
                <a:gd name="T2" fmla="*/ 0 w 948"/>
                <a:gd name="T3" fmla="*/ 0 h 146"/>
                <a:gd name="T4" fmla="*/ 0 w 948"/>
                <a:gd name="T5" fmla="*/ 146 h 146"/>
                <a:gd name="T6" fmla="*/ 948 w 948"/>
                <a:gd name="T7" fmla="*/ 146 h 146"/>
                <a:gd name="T8" fmla="*/ 948 w 948"/>
                <a:gd name="T9" fmla="*/ 83 h 146"/>
                <a:gd name="T10" fmla="*/ 948 w 948"/>
                <a:gd name="T11" fmla="*/ 83 h 146"/>
                <a:gd name="T12" fmla="*/ 838 w 948"/>
                <a:gd name="T13" fmla="*/ 41 h 146"/>
                <a:gd name="T14" fmla="*/ 726 w 948"/>
                <a:gd name="T15" fmla="*/ 0 h 146"/>
                <a:gd name="T16" fmla="*/ 726 w 948"/>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8" h="146">
                  <a:moveTo>
                    <a:pt x="726" y="0"/>
                  </a:moveTo>
                  <a:lnTo>
                    <a:pt x="0" y="0"/>
                  </a:lnTo>
                  <a:lnTo>
                    <a:pt x="0" y="146"/>
                  </a:lnTo>
                  <a:lnTo>
                    <a:pt x="948" y="146"/>
                  </a:lnTo>
                  <a:lnTo>
                    <a:pt x="948" y="83"/>
                  </a:lnTo>
                  <a:lnTo>
                    <a:pt x="948" y="83"/>
                  </a:lnTo>
                  <a:lnTo>
                    <a:pt x="838" y="41"/>
                  </a:lnTo>
                  <a:lnTo>
                    <a:pt x="726" y="0"/>
                  </a:lnTo>
                  <a:lnTo>
                    <a:pt x="7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416" name="Freeform 71"/>
          <p:cNvSpPr>
            <a:spLocks/>
          </p:cNvSpPr>
          <p:nvPr/>
        </p:nvSpPr>
        <p:spPr bwMode="auto">
          <a:xfrm>
            <a:off x="3419134" y="2573860"/>
            <a:ext cx="255485" cy="200933"/>
          </a:xfrm>
          <a:custGeom>
            <a:avLst/>
            <a:gdLst>
              <a:gd name="T0" fmla="*/ 562 w 562"/>
              <a:gd name="T1" fmla="*/ 441 h 441"/>
              <a:gd name="T2" fmla="*/ 0 w 562"/>
              <a:gd name="T3" fmla="*/ 441 h 441"/>
              <a:gd name="T4" fmla="*/ 143 w 562"/>
              <a:gd name="T5" fmla="*/ 0 h 441"/>
              <a:gd name="T6" fmla="*/ 419 w 562"/>
              <a:gd name="T7" fmla="*/ 0 h 441"/>
              <a:gd name="T8" fmla="*/ 562 w 562"/>
              <a:gd name="T9" fmla="*/ 441 h 441"/>
            </a:gdLst>
            <a:ahLst/>
            <a:cxnLst>
              <a:cxn ang="0">
                <a:pos x="T0" y="T1"/>
              </a:cxn>
              <a:cxn ang="0">
                <a:pos x="T2" y="T3"/>
              </a:cxn>
              <a:cxn ang="0">
                <a:pos x="T4" y="T5"/>
              </a:cxn>
              <a:cxn ang="0">
                <a:pos x="T6" y="T7"/>
              </a:cxn>
              <a:cxn ang="0">
                <a:pos x="T8" y="T9"/>
              </a:cxn>
            </a:cxnLst>
            <a:rect l="0" t="0" r="r" b="b"/>
            <a:pathLst>
              <a:path w="562" h="441">
                <a:moveTo>
                  <a:pt x="562" y="441"/>
                </a:moveTo>
                <a:lnTo>
                  <a:pt x="0" y="441"/>
                </a:lnTo>
                <a:lnTo>
                  <a:pt x="143" y="0"/>
                </a:lnTo>
                <a:lnTo>
                  <a:pt x="419" y="0"/>
                </a:lnTo>
                <a:lnTo>
                  <a:pt x="562" y="441"/>
                </a:lnTo>
                <a:close/>
              </a:path>
            </a:pathLst>
          </a:cu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17" name="Rectangle 72"/>
          <p:cNvSpPr>
            <a:spLocks noChangeArrowheads="1"/>
          </p:cNvSpPr>
          <p:nvPr/>
        </p:nvSpPr>
        <p:spPr bwMode="auto">
          <a:xfrm>
            <a:off x="3484595" y="2446881"/>
            <a:ext cx="127288" cy="136641"/>
          </a:xfrm>
          <a:prstGeom prst="rect">
            <a:avLst/>
          </a:prstGeom>
          <a:solidFill>
            <a:schemeClr val="bg2">
              <a:lumMod val="25000"/>
            </a:schemeClr>
          </a:solidFill>
          <a:ln w="2">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18" name="Rectangle 73"/>
          <p:cNvSpPr>
            <a:spLocks noChangeArrowheads="1"/>
          </p:cNvSpPr>
          <p:nvPr/>
        </p:nvSpPr>
        <p:spPr bwMode="auto">
          <a:xfrm>
            <a:off x="3420042" y="2774792"/>
            <a:ext cx="254576" cy="38186"/>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19" name="Freeform 74"/>
          <p:cNvSpPr>
            <a:spLocks/>
          </p:cNvSpPr>
          <p:nvPr/>
        </p:nvSpPr>
        <p:spPr bwMode="auto">
          <a:xfrm>
            <a:off x="3281845" y="1992881"/>
            <a:ext cx="1473811" cy="332767"/>
          </a:xfrm>
          <a:custGeom>
            <a:avLst/>
            <a:gdLst>
              <a:gd name="T0" fmla="*/ 3243 w 3243"/>
              <a:gd name="T1" fmla="*/ 586 h 732"/>
              <a:gd name="T2" fmla="*/ 3081 w 3243"/>
              <a:gd name="T3" fmla="*/ 509 h 732"/>
              <a:gd name="T4" fmla="*/ 2914 w 3243"/>
              <a:gd name="T5" fmla="*/ 438 h 732"/>
              <a:gd name="T6" fmla="*/ 2743 w 3243"/>
              <a:gd name="T7" fmla="*/ 370 h 732"/>
              <a:gd name="T8" fmla="*/ 2566 w 3243"/>
              <a:gd name="T9" fmla="*/ 309 h 732"/>
              <a:gd name="T10" fmla="*/ 2385 w 3243"/>
              <a:gd name="T11" fmla="*/ 253 h 732"/>
              <a:gd name="T12" fmla="*/ 2200 w 3243"/>
              <a:gd name="T13" fmla="*/ 201 h 732"/>
              <a:gd name="T14" fmla="*/ 2013 w 3243"/>
              <a:gd name="T15" fmla="*/ 155 h 732"/>
              <a:gd name="T16" fmla="*/ 1822 w 3243"/>
              <a:gd name="T17" fmla="*/ 114 h 732"/>
              <a:gd name="T18" fmla="*/ 1703 w 3243"/>
              <a:gd name="T19" fmla="*/ 92 h 732"/>
              <a:gd name="T20" fmla="*/ 1465 w 3243"/>
              <a:gd name="T21" fmla="*/ 56 h 732"/>
              <a:gd name="T22" fmla="*/ 1229 w 3243"/>
              <a:gd name="T23" fmla="*/ 29 h 732"/>
              <a:gd name="T24" fmla="*/ 994 w 3243"/>
              <a:gd name="T25" fmla="*/ 10 h 732"/>
              <a:gd name="T26" fmla="*/ 762 w 3243"/>
              <a:gd name="T27" fmla="*/ 2 h 732"/>
              <a:gd name="T28" fmla="*/ 536 w 3243"/>
              <a:gd name="T29" fmla="*/ 3 h 732"/>
              <a:gd name="T30" fmla="*/ 316 w 3243"/>
              <a:gd name="T31" fmla="*/ 13 h 732"/>
              <a:gd name="T32" fmla="*/ 103 w 3243"/>
              <a:gd name="T33" fmla="*/ 32 h 732"/>
              <a:gd name="T34" fmla="*/ 22 w 3243"/>
              <a:gd name="T35" fmla="*/ 195 h 732"/>
              <a:gd name="T36" fmla="*/ 122 w 3243"/>
              <a:gd name="T37" fmla="*/ 182 h 732"/>
              <a:gd name="T38" fmla="*/ 329 w 3243"/>
              <a:gd name="T39" fmla="*/ 162 h 732"/>
              <a:gd name="T40" fmla="*/ 542 w 3243"/>
              <a:gd name="T41" fmla="*/ 152 h 732"/>
              <a:gd name="T42" fmla="*/ 762 w 3243"/>
              <a:gd name="T43" fmla="*/ 152 h 732"/>
              <a:gd name="T44" fmla="*/ 986 w 3243"/>
              <a:gd name="T45" fmla="*/ 161 h 732"/>
              <a:gd name="T46" fmla="*/ 1215 w 3243"/>
              <a:gd name="T47" fmla="*/ 178 h 732"/>
              <a:gd name="T48" fmla="*/ 1446 w 3243"/>
              <a:gd name="T49" fmla="*/ 205 h 732"/>
              <a:gd name="T50" fmla="*/ 1677 w 3243"/>
              <a:gd name="T51" fmla="*/ 241 h 732"/>
              <a:gd name="T52" fmla="*/ 1794 w 3243"/>
              <a:gd name="T53" fmla="*/ 263 h 732"/>
              <a:gd name="T54" fmla="*/ 1982 w 3243"/>
              <a:gd name="T55" fmla="*/ 302 h 732"/>
              <a:gd name="T56" fmla="*/ 2168 w 3243"/>
              <a:gd name="T57" fmla="*/ 348 h 732"/>
              <a:gd name="T58" fmla="*/ 2351 w 3243"/>
              <a:gd name="T59" fmla="*/ 399 h 732"/>
              <a:gd name="T60" fmla="*/ 2530 w 3243"/>
              <a:gd name="T61" fmla="*/ 455 h 732"/>
              <a:gd name="T62" fmla="*/ 2705 w 3243"/>
              <a:gd name="T63" fmla="*/ 517 h 732"/>
              <a:gd name="T64" fmla="*/ 2874 w 3243"/>
              <a:gd name="T65" fmla="*/ 584 h 732"/>
              <a:gd name="T66" fmla="*/ 3039 w 3243"/>
              <a:gd name="T67" fmla="*/ 655 h 732"/>
              <a:gd name="T68" fmla="*/ 3197 w 3243"/>
              <a:gd name="T69" fmla="*/ 73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43" h="732">
                <a:moveTo>
                  <a:pt x="3243" y="586"/>
                </a:moveTo>
                <a:lnTo>
                  <a:pt x="3243" y="586"/>
                </a:lnTo>
                <a:lnTo>
                  <a:pt x="3163" y="547"/>
                </a:lnTo>
                <a:lnTo>
                  <a:pt x="3081" y="509"/>
                </a:lnTo>
                <a:lnTo>
                  <a:pt x="2999" y="473"/>
                </a:lnTo>
                <a:lnTo>
                  <a:pt x="2914" y="438"/>
                </a:lnTo>
                <a:lnTo>
                  <a:pt x="2829" y="404"/>
                </a:lnTo>
                <a:lnTo>
                  <a:pt x="2743" y="370"/>
                </a:lnTo>
                <a:lnTo>
                  <a:pt x="2655" y="340"/>
                </a:lnTo>
                <a:lnTo>
                  <a:pt x="2566" y="309"/>
                </a:lnTo>
                <a:lnTo>
                  <a:pt x="2476" y="280"/>
                </a:lnTo>
                <a:lnTo>
                  <a:pt x="2385" y="253"/>
                </a:lnTo>
                <a:lnTo>
                  <a:pt x="2293" y="226"/>
                </a:lnTo>
                <a:lnTo>
                  <a:pt x="2200" y="201"/>
                </a:lnTo>
                <a:lnTo>
                  <a:pt x="2107" y="177"/>
                </a:lnTo>
                <a:lnTo>
                  <a:pt x="2013" y="155"/>
                </a:lnTo>
                <a:lnTo>
                  <a:pt x="1917" y="134"/>
                </a:lnTo>
                <a:lnTo>
                  <a:pt x="1822" y="114"/>
                </a:lnTo>
                <a:lnTo>
                  <a:pt x="1822" y="114"/>
                </a:lnTo>
                <a:lnTo>
                  <a:pt x="1703" y="92"/>
                </a:lnTo>
                <a:lnTo>
                  <a:pt x="1584" y="73"/>
                </a:lnTo>
                <a:lnTo>
                  <a:pt x="1465" y="56"/>
                </a:lnTo>
                <a:lnTo>
                  <a:pt x="1347" y="41"/>
                </a:lnTo>
                <a:lnTo>
                  <a:pt x="1229" y="29"/>
                </a:lnTo>
                <a:lnTo>
                  <a:pt x="1111" y="18"/>
                </a:lnTo>
                <a:lnTo>
                  <a:pt x="994" y="10"/>
                </a:lnTo>
                <a:lnTo>
                  <a:pt x="877" y="5"/>
                </a:lnTo>
                <a:lnTo>
                  <a:pt x="762" y="2"/>
                </a:lnTo>
                <a:lnTo>
                  <a:pt x="648" y="0"/>
                </a:lnTo>
                <a:lnTo>
                  <a:pt x="536" y="3"/>
                </a:lnTo>
                <a:lnTo>
                  <a:pt x="425" y="7"/>
                </a:lnTo>
                <a:lnTo>
                  <a:pt x="316" y="13"/>
                </a:lnTo>
                <a:lnTo>
                  <a:pt x="209" y="21"/>
                </a:lnTo>
                <a:lnTo>
                  <a:pt x="103" y="32"/>
                </a:lnTo>
                <a:lnTo>
                  <a:pt x="0" y="47"/>
                </a:lnTo>
                <a:lnTo>
                  <a:pt x="22" y="195"/>
                </a:lnTo>
                <a:lnTo>
                  <a:pt x="22" y="195"/>
                </a:lnTo>
                <a:lnTo>
                  <a:pt x="122" y="182"/>
                </a:lnTo>
                <a:lnTo>
                  <a:pt x="225" y="171"/>
                </a:lnTo>
                <a:lnTo>
                  <a:pt x="329" y="162"/>
                </a:lnTo>
                <a:lnTo>
                  <a:pt x="434" y="156"/>
                </a:lnTo>
                <a:lnTo>
                  <a:pt x="542" y="152"/>
                </a:lnTo>
                <a:lnTo>
                  <a:pt x="651" y="151"/>
                </a:lnTo>
                <a:lnTo>
                  <a:pt x="762" y="152"/>
                </a:lnTo>
                <a:lnTo>
                  <a:pt x="874" y="155"/>
                </a:lnTo>
                <a:lnTo>
                  <a:pt x="986" y="161"/>
                </a:lnTo>
                <a:lnTo>
                  <a:pt x="1100" y="168"/>
                </a:lnTo>
                <a:lnTo>
                  <a:pt x="1215" y="178"/>
                </a:lnTo>
                <a:lnTo>
                  <a:pt x="1331" y="190"/>
                </a:lnTo>
                <a:lnTo>
                  <a:pt x="1446" y="205"/>
                </a:lnTo>
                <a:lnTo>
                  <a:pt x="1562" y="222"/>
                </a:lnTo>
                <a:lnTo>
                  <a:pt x="1677" y="241"/>
                </a:lnTo>
                <a:lnTo>
                  <a:pt x="1794" y="263"/>
                </a:lnTo>
                <a:lnTo>
                  <a:pt x="1794" y="263"/>
                </a:lnTo>
                <a:lnTo>
                  <a:pt x="1888" y="282"/>
                </a:lnTo>
                <a:lnTo>
                  <a:pt x="1982" y="302"/>
                </a:lnTo>
                <a:lnTo>
                  <a:pt x="2077" y="324"/>
                </a:lnTo>
                <a:lnTo>
                  <a:pt x="2168" y="348"/>
                </a:lnTo>
                <a:lnTo>
                  <a:pt x="2260" y="373"/>
                </a:lnTo>
                <a:lnTo>
                  <a:pt x="2351" y="399"/>
                </a:lnTo>
                <a:lnTo>
                  <a:pt x="2442" y="427"/>
                </a:lnTo>
                <a:lnTo>
                  <a:pt x="2530" y="455"/>
                </a:lnTo>
                <a:lnTo>
                  <a:pt x="2618" y="486"/>
                </a:lnTo>
                <a:lnTo>
                  <a:pt x="2705" y="517"/>
                </a:lnTo>
                <a:lnTo>
                  <a:pt x="2791" y="549"/>
                </a:lnTo>
                <a:lnTo>
                  <a:pt x="2874" y="584"/>
                </a:lnTo>
                <a:lnTo>
                  <a:pt x="2957" y="619"/>
                </a:lnTo>
                <a:lnTo>
                  <a:pt x="3039" y="655"/>
                </a:lnTo>
                <a:lnTo>
                  <a:pt x="3119" y="693"/>
                </a:lnTo>
                <a:lnTo>
                  <a:pt x="3197" y="732"/>
                </a:lnTo>
                <a:lnTo>
                  <a:pt x="3243" y="586"/>
                </a:ln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344" name="Group 1343"/>
          <p:cNvGrpSpPr/>
          <p:nvPr/>
        </p:nvGrpSpPr>
        <p:grpSpPr>
          <a:xfrm>
            <a:off x="1804397" y="2212908"/>
            <a:ext cx="1573823" cy="813733"/>
            <a:chOff x="1802808" y="2212907"/>
            <a:chExt cx="1573823" cy="813733"/>
          </a:xfrm>
        </p:grpSpPr>
        <p:sp>
          <p:nvSpPr>
            <p:cNvPr id="427" name="Freeform 82"/>
            <p:cNvSpPr>
              <a:spLocks/>
            </p:cNvSpPr>
            <p:nvPr/>
          </p:nvSpPr>
          <p:spPr bwMode="auto">
            <a:xfrm>
              <a:off x="1802808" y="2212907"/>
              <a:ext cx="1573823" cy="813733"/>
            </a:xfrm>
            <a:custGeom>
              <a:avLst/>
              <a:gdLst>
                <a:gd name="T0" fmla="*/ 2119 w 3463"/>
                <a:gd name="T1" fmla="*/ 784 h 1790"/>
                <a:gd name="T2" fmla="*/ 1874 w 3463"/>
                <a:gd name="T3" fmla="*/ 607 h 1790"/>
                <a:gd name="T4" fmla="*/ 2345 w 3463"/>
                <a:gd name="T5" fmla="*/ 453 h 1790"/>
                <a:gd name="T6" fmla="*/ 2330 w 3463"/>
                <a:gd name="T7" fmla="*/ 420 h 1790"/>
                <a:gd name="T8" fmla="*/ 1748 w 3463"/>
                <a:gd name="T9" fmla="*/ 14 h 1790"/>
                <a:gd name="T10" fmla="*/ 1709 w 3463"/>
                <a:gd name="T11" fmla="*/ 3 h 1790"/>
                <a:gd name="T12" fmla="*/ 1129 w 3463"/>
                <a:gd name="T13" fmla="*/ 419 h 1790"/>
                <a:gd name="T14" fmla="*/ 1096 w 3463"/>
                <a:gd name="T15" fmla="*/ 442 h 1790"/>
                <a:gd name="T16" fmla="*/ 1118 w 3463"/>
                <a:gd name="T17" fmla="*/ 474 h 1790"/>
                <a:gd name="T18" fmla="*/ 1406 w 3463"/>
                <a:gd name="T19" fmla="*/ 712 h 1790"/>
                <a:gd name="T20" fmla="*/ 1263 w 3463"/>
                <a:gd name="T21" fmla="*/ 974 h 1790"/>
                <a:gd name="T22" fmla="*/ 0 w 3463"/>
                <a:gd name="T23" fmla="*/ 1013 h 1790"/>
                <a:gd name="T24" fmla="*/ 29 w 3463"/>
                <a:gd name="T25" fmla="*/ 1073 h 1790"/>
                <a:gd name="T26" fmla="*/ 730 w 3463"/>
                <a:gd name="T27" fmla="*/ 1162 h 1790"/>
                <a:gd name="T28" fmla="*/ 642 w 3463"/>
                <a:gd name="T29" fmla="*/ 1283 h 1790"/>
                <a:gd name="T30" fmla="*/ 660 w 3463"/>
                <a:gd name="T31" fmla="*/ 1435 h 1790"/>
                <a:gd name="T32" fmla="*/ 801 w 3463"/>
                <a:gd name="T33" fmla="*/ 1539 h 1790"/>
                <a:gd name="T34" fmla="*/ 959 w 3463"/>
                <a:gd name="T35" fmla="*/ 1508 h 1790"/>
                <a:gd name="T36" fmla="*/ 1050 w 3463"/>
                <a:gd name="T37" fmla="*/ 1356 h 1790"/>
                <a:gd name="T38" fmla="*/ 1025 w 3463"/>
                <a:gd name="T39" fmla="*/ 1236 h 1790"/>
                <a:gd name="T40" fmla="*/ 933 w 3463"/>
                <a:gd name="T41" fmla="*/ 1149 h 1790"/>
                <a:gd name="T42" fmla="*/ 1290 w 3463"/>
                <a:gd name="T43" fmla="*/ 1240 h 1790"/>
                <a:gd name="T44" fmla="*/ 1344 w 3463"/>
                <a:gd name="T45" fmla="*/ 1517 h 1790"/>
                <a:gd name="T46" fmla="*/ 1307 w 3463"/>
                <a:gd name="T47" fmla="*/ 1552 h 1790"/>
                <a:gd name="T48" fmla="*/ 1336 w 3463"/>
                <a:gd name="T49" fmla="*/ 1685 h 1790"/>
                <a:gd name="T50" fmla="*/ 1379 w 3463"/>
                <a:gd name="T51" fmla="*/ 1657 h 1790"/>
                <a:gd name="T52" fmla="*/ 1390 w 3463"/>
                <a:gd name="T53" fmla="*/ 1657 h 1790"/>
                <a:gd name="T54" fmla="*/ 1433 w 3463"/>
                <a:gd name="T55" fmla="*/ 1685 h 1790"/>
                <a:gd name="T56" fmla="*/ 1461 w 3463"/>
                <a:gd name="T57" fmla="*/ 1552 h 1790"/>
                <a:gd name="T58" fmla="*/ 1426 w 3463"/>
                <a:gd name="T59" fmla="*/ 1517 h 1790"/>
                <a:gd name="T60" fmla="*/ 1493 w 3463"/>
                <a:gd name="T61" fmla="*/ 1473 h 1790"/>
                <a:gd name="T62" fmla="*/ 1669 w 3463"/>
                <a:gd name="T63" fmla="*/ 1532 h 1790"/>
                <a:gd name="T64" fmla="*/ 1684 w 3463"/>
                <a:gd name="T65" fmla="*/ 1623 h 1790"/>
                <a:gd name="T66" fmla="*/ 1662 w 3463"/>
                <a:gd name="T67" fmla="*/ 1761 h 1790"/>
                <a:gd name="T68" fmla="*/ 1705 w 3463"/>
                <a:gd name="T69" fmla="*/ 1789 h 1790"/>
                <a:gd name="T70" fmla="*/ 1734 w 3463"/>
                <a:gd name="T71" fmla="*/ 1747 h 1790"/>
                <a:gd name="T72" fmla="*/ 1754 w 3463"/>
                <a:gd name="T73" fmla="*/ 1779 h 1790"/>
                <a:gd name="T74" fmla="*/ 1805 w 3463"/>
                <a:gd name="T75" fmla="*/ 1779 h 1790"/>
                <a:gd name="T76" fmla="*/ 1809 w 3463"/>
                <a:gd name="T77" fmla="*/ 1636 h 1790"/>
                <a:gd name="T78" fmla="*/ 1766 w 3463"/>
                <a:gd name="T79" fmla="*/ 1535 h 1790"/>
                <a:gd name="T80" fmla="*/ 1920 w 3463"/>
                <a:gd name="T81" fmla="*/ 1497 h 1790"/>
                <a:gd name="T82" fmla="*/ 2050 w 3463"/>
                <a:gd name="T83" fmla="*/ 1519 h 1790"/>
                <a:gd name="T84" fmla="*/ 2006 w 3463"/>
                <a:gd name="T85" fmla="*/ 1533 h 1790"/>
                <a:gd name="T86" fmla="*/ 2011 w 3463"/>
                <a:gd name="T87" fmla="*/ 1675 h 1790"/>
                <a:gd name="T88" fmla="*/ 2061 w 3463"/>
                <a:gd name="T89" fmla="*/ 1675 h 1790"/>
                <a:gd name="T90" fmla="*/ 2082 w 3463"/>
                <a:gd name="T91" fmla="*/ 1644 h 1790"/>
                <a:gd name="T92" fmla="*/ 2110 w 3463"/>
                <a:gd name="T93" fmla="*/ 1685 h 1790"/>
                <a:gd name="T94" fmla="*/ 2153 w 3463"/>
                <a:gd name="T95" fmla="*/ 1657 h 1790"/>
                <a:gd name="T96" fmla="*/ 2132 w 3463"/>
                <a:gd name="T97" fmla="*/ 1519 h 1790"/>
                <a:gd name="T98" fmla="*/ 2156 w 3463"/>
                <a:gd name="T99" fmla="*/ 1274 h 1790"/>
                <a:gd name="T100" fmla="*/ 2201 w 3463"/>
                <a:gd name="T101" fmla="*/ 1130 h 1790"/>
                <a:gd name="T102" fmla="*/ 2461 w 3463"/>
                <a:gd name="T103" fmla="*/ 1201 h 1790"/>
                <a:gd name="T104" fmla="*/ 2412 w 3463"/>
                <a:gd name="T105" fmla="*/ 1321 h 1790"/>
                <a:gd name="T106" fmla="*/ 2458 w 3463"/>
                <a:gd name="T107" fmla="*/ 1468 h 1790"/>
                <a:gd name="T108" fmla="*/ 2619 w 3463"/>
                <a:gd name="T109" fmla="*/ 1544 h 1790"/>
                <a:gd name="T110" fmla="*/ 2766 w 3463"/>
                <a:gd name="T111" fmla="*/ 1483 h 1790"/>
                <a:gd name="T112" fmla="*/ 2827 w 3463"/>
                <a:gd name="T113" fmla="*/ 1336 h 1790"/>
                <a:gd name="T114" fmla="*/ 2770 w 3463"/>
                <a:gd name="T115" fmla="*/ 1193 h 1790"/>
                <a:gd name="T116" fmla="*/ 3412 w 3463"/>
                <a:gd name="T117" fmla="*/ 1077 h 1790"/>
                <a:gd name="T118" fmla="*/ 3463 w 3463"/>
                <a:gd name="T119" fmla="*/ 1027 h 1790"/>
                <a:gd name="T120" fmla="*/ 3422 w 3463"/>
                <a:gd name="T121" fmla="*/ 975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63" h="1790">
                  <a:moveTo>
                    <a:pt x="3412" y="974"/>
                  </a:moveTo>
                  <a:lnTo>
                    <a:pt x="2198" y="974"/>
                  </a:lnTo>
                  <a:lnTo>
                    <a:pt x="2198" y="974"/>
                  </a:lnTo>
                  <a:lnTo>
                    <a:pt x="2191" y="940"/>
                  </a:lnTo>
                  <a:lnTo>
                    <a:pt x="2181" y="907"/>
                  </a:lnTo>
                  <a:lnTo>
                    <a:pt x="2169" y="874"/>
                  </a:lnTo>
                  <a:lnTo>
                    <a:pt x="2154" y="843"/>
                  </a:lnTo>
                  <a:lnTo>
                    <a:pt x="2137" y="814"/>
                  </a:lnTo>
                  <a:lnTo>
                    <a:pt x="2119" y="784"/>
                  </a:lnTo>
                  <a:lnTo>
                    <a:pt x="2098" y="757"/>
                  </a:lnTo>
                  <a:lnTo>
                    <a:pt x="2075" y="732"/>
                  </a:lnTo>
                  <a:lnTo>
                    <a:pt x="2051" y="708"/>
                  </a:lnTo>
                  <a:lnTo>
                    <a:pt x="2025" y="686"/>
                  </a:lnTo>
                  <a:lnTo>
                    <a:pt x="1998" y="667"/>
                  </a:lnTo>
                  <a:lnTo>
                    <a:pt x="1968" y="648"/>
                  </a:lnTo>
                  <a:lnTo>
                    <a:pt x="1939" y="632"/>
                  </a:lnTo>
                  <a:lnTo>
                    <a:pt x="1907" y="618"/>
                  </a:lnTo>
                  <a:lnTo>
                    <a:pt x="1874" y="607"/>
                  </a:lnTo>
                  <a:lnTo>
                    <a:pt x="1841" y="597"/>
                  </a:lnTo>
                  <a:lnTo>
                    <a:pt x="2325" y="474"/>
                  </a:lnTo>
                  <a:lnTo>
                    <a:pt x="2325" y="474"/>
                  </a:lnTo>
                  <a:lnTo>
                    <a:pt x="2330" y="473"/>
                  </a:lnTo>
                  <a:lnTo>
                    <a:pt x="2334" y="471"/>
                  </a:lnTo>
                  <a:lnTo>
                    <a:pt x="2338" y="467"/>
                  </a:lnTo>
                  <a:lnTo>
                    <a:pt x="2342" y="463"/>
                  </a:lnTo>
                  <a:lnTo>
                    <a:pt x="2344" y="458"/>
                  </a:lnTo>
                  <a:lnTo>
                    <a:pt x="2345" y="453"/>
                  </a:lnTo>
                  <a:lnTo>
                    <a:pt x="2347" y="447"/>
                  </a:lnTo>
                  <a:lnTo>
                    <a:pt x="2345" y="442"/>
                  </a:lnTo>
                  <a:lnTo>
                    <a:pt x="2345" y="440"/>
                  </a:lnTo>
                  <a:lnTo>
                    <a:pt x="2345" y="440"/>
                  </a:lnTo>
                  <a:lnTo>
                    <a:pt x="2344" y="435"/>
                  </a:lnTo>
                  <a:lnTo>
                    <a:pt x="2342" y="430"/>
                  </a:lnTo>
                  <a:lnTo>
                    <a:pt x="2338" y="427"/>
                  </a:lnTo>
                  <a:lnTo>
                    <a:pt x="2334" y="423"/>
                  </a:lnTo>
                  <a:lnTo>
                    <a:pt x="2330" y="420"/>
                  </a:lnTo>
                  <a:lnTo>
                    <a:pt x="2325" y="419"/>
                  </a:lnTo>
                  <a:lnTo>
                    <a:pt x="2319" y="418"/>
                  </a:lnTo>
                  <a:lnTo>
                    <a:pt x="2314" y="419"/>
                  </a:lnTo>
                  <a:lnTo>
                    <a:pt x="1783" y="521"/>
                  </a:lnTo>
                  <a:lnTo>
                    <a:pt x="1753" y="31"/>
                  </a:lnTo>
                  <a:lnTo>
                    <a:pt x="1753" y="31"/>
                  </a:lnTo>
                  <a:lnTo>
                    <a:pt x="1753" y="25"/>
                  </a:lnTo>
                  <a:lnTo>
                    <a:pt x="1750" y="19"/>
                  </a:lnTo>
                  <a:lnTo>
                    <a:pt x="1748" y="14"/>
                  </a:lnTo>
                  <a:lnTo>
                    <a:pt x="1744" y="10"/>
                  </a:lnTo>
                  <a:lnTo>
                    <a:pt x="1739" y="5"/>
                  </a:lnTo>
                  <a:lnTo>
                    <a:pt x="1734" y="3"/>
                  </a:lnTo>
                  <a:lnTo>
                    <a:pt x="1728" y="1"/>
                  </a:lnTo>
                  <a:lnTo>
                    <a:pt x="1722" y="0"/>
                  </a:lnTo>
                  <a:lnTo>
                    <a:pt x="1721" y="0"/>
                  </a:lnTo>
                  <a:lnTo>
                    <a:pt x="1721" y="0"/>
                  </a:lnTo>
                  <a:lnTo>
                    <a:pt x="1715" y="1"/>
                  </a:lnTo>
                  <a:lnTo>
                    <a:pt x="1709" y="3"/>
                  </a:lnTo>
                  <a:lnTo>
                    <a:pt x="1704" y="5"/>
                  </a:lnTo>
                  <a:lnTo>
                    <a:pt x="1699" y="10"/>
                  </a:lnTo>
                  <a:lnTo>
                    <a:pt x="1695" y="14"/>
                  </a:lnTo>
                  <a:lnTo>
                    <a:pt x="1693" y="19"/>
                  </a:lnTo>
                  <a:lnTo>
                    <a:pt x="1690" y="25"/>
                  </a:lnTo>
                  <a:lnTo>
                    <a:pt x="1690" y="31"/>
                  </a:lnTo>
                  <a:lnTo>
                    <a:pt x="1668" y="522"/>
                  </a:lnTo>
                  <a:lnTo>
                    <a:pt x="1129" y="419"/>
                  </a:lnTo>
                  <a:lnTo>
                    <a:pt x="1129" y="419"/>
                  </a:lnTo>
                  <a:lnTo>
                    <a:pt x="1123" y="418"/>
                  </a:lnTo>
                  <a:lnTo>
                    <a:pt x="1118" y="419"/>
                  </a:lnTo>
                  <a:lnTo>
                    <a:pt x="1113" y="420"/>
                  </a:lnTo>
                  <a:lnTo>
                    <a:pt x="1108" y="423"/>
                  </a:lnTo>
                  <a:lnTo>
                    <a:pt x="1105" y="427"/>
                  </a:lnTo>
                  <a:lnTo>
                    <a:pt x="1101" y="430"/>
                  </a:lnTo>
                  <a:lnTo>
                    <a:pt x="1099" y="435"/>
                  </a:lnTo>
                  <a:lnTo>
                    <a:pt x="1097" y="440"/>
                  </a:lnTo>
                  <a:lnTo>
                    <a:pt x="1096" y="442"/>
                  </a:lnTo>
                  <a:lnTo>
                    <a:pt x="1096" y="442"/>
                  </a:lnTo>
                  <a:lnTo>
                    <a:pt x="1096" y="447"/>
                  </a:lnTo>
                  <a:lnTo>
                    <a:pt x="1096" y="453"/>
                  </a:lnTo>
                  <a:lnTo>
                    <a:pt x="1099" y="458"/>
                  </a:lnTo>
                  <a:lnTo>
                    <a:pt x="1101" y="463"/>
                  </a:lnTo>
                  <a:lnTo>
                    <a:pt x="1105" y="467"/>
                  </a:lnTo>
                  <a:lnTo>
                    <a:pt x="1108" y="471"/>
                  </a:lnTo>
                  <a:lnTo>
                    <a:pt x="1113" y="473"/>
                  </a:lnTo>
                  <a:lnTo>
                    <a:pt x="1118" y="474"/>
                  </a:lnTo>
                  <a:lnTo>
                    <a:pt x="1611" y="599"/>
                  </a:lnTo>
                  <a:lnTo>
                    <a:pt x="1611" y="599"/>
                  </a:lnTo>
                  <a:lnTo>
                    <a:pt x="1579" y="609"/>
                  </a:lnTo>
                  <a:lnTo>
                    <a:pt x="1547" y="621"/>
                  </a:lnTo>
                  <a:lnTo>
                    <a:pt x="1516" y="636"/>
                  </a:lnTo>
                  <a:lnTo>
                    <a:pt x="1487" y="652"/>
                  </a:lnTo>
                  <a:lnTo>
                    <a:pt x="1459" y="670"/>
                  </a:lnTo>
                  <a:lnTo>
                    <a:pt x="1432" y="690"/>
                  </a:lnTo>
                  <a:lnTo>
                    <a:pt x="1406" y="712"/>
                  </a:lnTo>
                  <a:lnTo>
                    <a:pt x="1383" y="735"/>
                  </a:lnTo>
                  <a:lnTo>
                    <a:pt x="1361" y="761"/>
                  </a:lnTo>
                  <a:lnTo>
                    <a:pt x="1341" y="788"/>
                  </a:lnTo>
                  <a:lnTo>
                    <a:pt x="1323" y="816"/>
                  </a:lnTo>
                  <a:lnTo>
                    <a:pt x="1307" y="846"/>
                  </a:lnTo>
                  <a:lnTo>
                    <a:pt x="1292" y="876"/>
                  </a:lnTo>
                  <a:lnTo>
                    <a:pt x="1280" y="908"/>
                  </a:lnTo>
                  <a:lnTo>
                    <a:pt x="1270" y="940"/>
                  </a:lnTo>
                  <a:lnTo>
                    <a:pt x="1263" y="974"/>
                  </a:lnTo>
                  <a:lnTo>
                    <a:pt x="49" y="974"/>
                  </a:lnTo>
                  <a:lnTo>
                    <a:pt x="49" y="974"/>
                  </a:lnTo>
                  <a:lnTo>
                    <a:pt x="39" y="975"/>
                  </a:lnTo>
                  <a:lnTo>
                    <a:pt x="29" y="978"/>
                  </a:lnTo>
                  <a:lnTo>
                    <a:pt x="21" y="983"/>
                  </a:lnTo>
                  <a:lnTo>
                    <a:pt x="13" y="989"/>
                  </a:lnTo>
                  <a:lnTo>
                    <a:pt x="8" y="996"/>
                  </a:lnTo>
                  <a:lnTo>
                    <a:pt x="4" y="1005"/>
                  </a:lnTo>
                  <a:lnTo>
                    <a:pt x="0" y="1013"/>
                  </a:lnTo>
                  <a:lnTo>
                    <a:pt x="0" y="1024"/>
                  </a:lnTo>
                  <a:lnTo>
                    <a:pt x="0" y="1027"/>
                  </a:lnTo>
                  <a:lnTo>
                    <a:pt x="0" y="1027"/>
                  </a:lnTo>
                  <a:lnTo>
                    <a:pt x="0" y="1037"/>
                  </a:lnTo>
                  <a:lnTo>
                    <a:pt x="4" y="1046"/>
                  </a:lnTo>
                  <a:lnTo>
                    <a:pt x="8" y="1055"/>
                  </a:lnTo>
                  <a:lnTo>
                    <a:pt x="13" y="1062"/>
                  </a:lnTo>
                  <a:lnTo>
                    <a:pt x="21" y="1068"/>
                  </a:lnTo>
                  <a:lnTo>
                    <a:pt x="29" y="1073"/>
                  </a:lnTo>
                  <a:lnTo>
                    <a:pt x="39" y="1076"/>
                  </a:lnTo>
                  <a:lnTo>
                    <a:pt x="49" y="1077"/>
                  </a:lnTo>
                  <a:lnTo>
                    <a:pt x="805" y="1110"/>
                  </a:lnTo>
                  <a:lnTo>
                    <a:pt x="794" y="1133"/>
                  </a:lnTo>
                  <a:lnTo>
                    <a:pt x="794" y="1133"/>
                  </a:lnTo>
                  <a:lnTo>
                    <a:pt x="776" y="1138"/>
                  </a:lnTo>
                  <a:lnTo>
                    <a:pt x="761" y="1144"/>
                  </a:lnTo>
                  <a:lnTo>
                    <a:pt x="745" y="1152"/>
                  </a:lnTo>
                  <a:lnTo>
                    <a:pt x="730" y="1162"/>
                  </a:lnTo>
                  <a:lnTo>
                    <a:pt x="716" y="1171"/>
                  </a:lnTo>
                  <a:lnTo>
                    <a:pt x="703" y="1181"/>
                  </a:lnTo>
                  <a:lnTo>
                    <a:pt x="691" y="1193"/>
                  </a:lnTo>
                  <a:lnTo>
                    <a:pt x="680" y="1207"/>
                  </a:lnTo>
                  <a:lnTo>
                    <a:pt x="670" y="1220"/>
                  </a:lnTo>
                  <a:lnTo>
                    <a:pt x="661" y="1235"/>
                  </a:lnTo>
                  <a:lnTo>
                    <a:pt x="654" y="1250"/>
                  </a:lnTo>
                  <a:lnTo>
                    <a:pt x="647" y="1266"/>
                  </a:lnTo>
                  <a:lnTo>
                    <a:pt x="642" y="1283"/>
                  </a:lnTo>
                  <a:lnTo>
                    <a:pt x="638" y="1300"/>
                  </a:lnTo>
                  <a:lnTo>
                    <a:pt x="636" y="1317"/>
                  </a:lnTo>
                  <a:lnTo>
                    <a:pt x="634" y="1336"/>
                  </a:lnTo>
                  <a:lnTo>
                    <a:pt x="634" y="1336"/>
                  </a:lnTo>
                  <a:lnTo>
                    <a:pt x="636" y="1356"/>
                  </a:lnTo>
                  <a:lnTo>
                    <a:pt x="639" y="1377"/>
                  </a:lnTo>
                  <a:lnTo>
                    <a:pt x="644" y="1398"/>
                  </a:lnTo>
                  <a:lnTo>
                    <a:pt x="651" y="1416"/>
                  </a:lnTo>
                  <a:lnTo>
                    <a:pt x="660" y="1435"/>
                  </a:lnTo>
                  <a:lnTo>
                    <a:pt x="670" y="1452"/>
                  </a:lnTo>
                  <a:lnTo>
                    <a:pt x="682" y="1468"/>
                  </a:lnTo>
                  <a:lnTo>
                    <a:pt x="696" y="1483"/>
                  </a:lnTo>
                  <a:lnTo>
                    <a:pt x="710" y="1496"/>
                  </a:lnTo>
                  <a:lnTo>
                    <a:pt x="726" y="1508"/>
                  </a:lnTo>
                  <a:lnTo>
                    <a:pt x="743" y="1518"/>
                  </a:lnTo>
                  <a:lnTo>
                    <a:pt x="762" y="1527"/>
                  </a:lnTo>
                  <a:lnTo>
                    <a:pt x="781" y="1534"/>
                  </a:lnTo>
                  <a:lnTo>
                    <a:pt x="801" y="1539"/>
                  </a:lnTo>
                  <a:lnTo>
                    <a:pt x="822" y="1543"/>
                  </a:lnTo>
                  <a:lnTo>
                    <a:pt x="843" y="1544"/>
                  </a:lnTo>
                  <a:lnTo>
                    <a:pt x="843" y="1544"/>
                  </a:lnTo>
                  <a:lnTo>
                    <a:pt x="863" y="1543"/>
                  </a:lnTo>
                  <a:lnTo>
                    <a:pt x="884" y="1539"/>
                  </a:lnTo>
                  <a:lnTo>
                    <a:pt x="905" y="1534"/>
                  </a:lnTo>
                  <a:lnTo>
                    <a:pt x="923" y="1527"/>
                  </a:lnTo>
                  <a:lnTo>
                    <a:pt x="942" y="1518"/>
                  </a:lnTo>
                  <a:lnTo>
                    <a:pt x="959" y="1508"/>
                  </a:lnTo>
                  <a:lnTo>
                    <a:pt x="975" y="1496"/>
                  </a:lnTo>
                  <a:lnTo>
                    <a:pt x="990" y="1483"/>
                  </a:lnTo>
                  <a:lnTo>
                    <a:pt x="1003" y="1468"/>
                  </a:lnTo>
                  <a:lnTo>
                    <a:pt x="1015" y="1452"/>
                  </a:lnTo>
                  <a:lnTo>
                    <a:pt x="1025" y="1435"/>
                  </a:lnTo>
                  <a:lnTo>
                    <a:pt x="1034" y="1416"/>
                  </a:lnTo>
                  <a:lnTo>
                    <a:pt x="1041" y="1398"/>
                  </a:lnTo>
                  <a:lnTo>
                    <a:pt x="1046" y="1377"/>
                  </a:lnTo>
                  <a:lnTo>
                    <a:pt x="1050" y="1356"/>
                  </a:lnTo>
                  <a:lnTo>
                    <a:pt x="1051" y="1336"/>
                  </a:lnTo>
                  <a:lnTo>
                    <a:pt x="1051" y="1336"/>
                  </a:lnTo>
                  <a:lnTo>
                    <a:pt x="1050" y="1321"/>
                  </a:lnTo>
                  <a:lnTo>
                    <a:pt x="1048" y="1305"/>
                  </a:lnTo>
                  <a:lnTo>
                    <a:pt x="1046" y="1290"/>
                  </a:lnTo>
                  <a:lnTo>
                    <a:pt x="1042" y="1277"/>
                  </a:lnTo>
                  <a:lnTo>
                    <a:pt x="1037" y="1263"/>
                  </a:lnTo>
                  <a:lnTo>
                    <a:pt x="1031" y="1250"/>
                  </a:lnTo>
                  <a:lnTo>
                    <a:pt x="1025" y="1236"/>
                  </a:lnTo>
                  <a:lnTo>
                    <a:pt x="1018" y="1224"/>
                  </a:lnTo>
                  <a:lnTo>
                    <a:pt x="1010" y="1212"/>
                  </a:lnTo>
                  <a:lnTo>
                    <a:pt x="1001" y="1201"/>
                  </a:lnTo>
                  <a:lnTo>
                    <a:pt x="991" y="1191"/>
                  </a:lnTo>
                  <a:lnTo>
                    <a:pt x="981" y="1181"/>
                  </a:lnTo>
                  <a:lnTo>
                    <a:pt x="970" y="1171"/>
                  </a:lnTo>
                  <a:lnTo>
                    <a:pt x="959" y="1163"/>
                  </a:lnTo>
                  <a:lnTo>
                    <a:pt x="947" y="1155"/>
                  </a:lnTo>
                  <a:lnTo>
                    <a:pt x="933" y="1149"/>
                  </a:lnTo>
                  <a:lnTo>
                    <a:pt x="933" y="1115"/>
                  </a:lnTo>
                  <a:lnTo>
                    <a:pt x="1260" y="1130"/>
                  </a:lnTo>
                  <a:lnTo>
                    <a:pt x="1260" y="1130"/>
                  </a:lnTo>
                  <a:lnTo>
                    <a:pt x="1263" y="1148"/>
                  </a:lnTo>
                  <a:lnTo>
                    <a:pt x="1268" y="1168"/>
                  </a:lnTo>
                  <a:lnTo>
                    <a:pt x="1271" y="1186"/>
                  </a:lnTo>
                  <a:lnTo>
                    <a:pt x="1277" y="1204"/>
                  </a:lnTo>
                  <a:lnTo>
                    <a:pt x="1284" y="1223"/>
                  </a:lnTo>
                  <a:lnTo>
                    <a:pt x="1290" y="1240"/>
                  </a:lnTo>
                  <a:lnTo>
                    <a:pt x="1297" y="1257"/>
                  </a:lnTo>
                  <a:lnTo>
                    <a:pt x="1306" y="1274"/>
                  </a:lnTo>
                  <a:lnTo>
                    <a:pt x="1197" y="1353"/>
                  </a:lnTo>
                  <a:lnTo>
                    <a:pt x="1257" y="1435"/>
                  </a:lnTo>
                  <a:lnTo>
                    <a:pt x="1357" y="1363"/>
                  </a:lnTo>
                  <a:lnTo>
                    <a:pt x="1357" y="1519"/>
                  </a:lnTo>
                  <a:lnTo>
                    <a:pt x="1357" y="1519"/>
                  </a:lnTo>
                  <a:lnTo>
                    <a:pt x="1351" y="1518"/>
                  </a:lnTo>
                  <a:lnTo>
                    <a:pt x="1344" y="1517"/>
                  </a:lnTo>
                  <a:lnTo>
                    <a:pt x="1344" y="1517"/>
                  </a:lnTo>
                  <a:lnTo>
                    <a:pt x="1336" y="1518"/>
                  </a:lnTo>
                  <a:lnTo>
                    <a:pt x="1329" y="1519"/>
                  </a:lnTo>
                  <a:lnTo>
                    <a:pt x="1323" y="1523"/>
                  </a:lnTo>
                  <a:lnTo>
                    <a:pt x="1318" y="1528"/>
                  </a:lnTo>
                  <a:lnTo>
                    <a:pt x="1313" y="1533"/>
                  </a:lnTo>
                  <a:lnTo>
                    <a:pt x="1310" y="1539"/>
                  </a:lnTo>
                  <a:lnTo>
                    <a:pt x="1308" y="1545"/>
                  </a:lnTo>
                  <a:lnTo>
                    <a:pt x="1307" y="1552"/>
                  </a:lnTo>
                  <a:lnTo>
                    <a:pt x="1307" y="1650"/>
                  </a:lnTo>
                  <a:lnTo>
                    <a:pt x="1307" y="1650"/>
                  </a:lnTo>
                  <a:lnTo>
                    <a:pt x="1308" y="1657"/>
                  </a:lnTo>
                  <a:lnTo>
                    <a:pt x="1310" y="1664"/>
                  </a:lnTo>
                  <a:lnTo>
                    <a:pt x="1313" y="1670"/>
                  </a:lnTo>
                  <a:lnTo>
                    <a:pt x="1318" y="1675"/>
                  </a:lnTo>
                  <a:lnTo>
                    <a:pt x="1323" y="1680"/>
                  </a:lnTo>
                  <a:lnTo>
                    <a:pt x="1329" y="1684"/>
                  </a:lnTo>
                  <a:lnTo>
                    <a:pt x="1336" y="1685"/>
                  </a:lnTo>
                  <a:lnTo>
                    <a:pt x="1344" y="1686"/>
                  </a:lnTo>
                  <a:lnTo>
                    <a:pt x="1344" y="1686"/>
                  </a:lnTo>
                  <a:lnTo>
                    <a:pt x="1351" y="1685"/>
                  </a:lnTo>
                  <a:lnTo>
                    <a:pt x="1357" y="1684"/>
                  </a:lnTo>
                  <a:lnTo>
                    <a:pt x="1363" y="1680"/>
                  </a:lnTo>
                  <a:lnTo>
                    <a:pt x="1369" y="1675"/>
                  </a:lnTo>
                  <a:lnTo>
                    <a:pt x="1373" y="1670"/>
                  </a:lnTo>
                  <a:lnTo>
                    <a:pt x="1377" y="1664"/>
                  </a:lnTo>
                  <a:lnTo>
                    <a:pt x="1379" y="1657"/>
                  </a:lnTo>
                  <a:lnTo>
                    <a:pt x="1379" y="1650"/>
                  </a:lnTo>
                  <a:lnTo>
                    <a:pt x="1379" y="1644"/>
                  </a:lnTo>
                  <a:lnTo>
                    <a:pt x="1379" y="1644"/>
                  </a:lnTo>
                  <a:lnTo>
                    <a:pt x="1384" y="1644"/>
                  </a:lnTo>
                  <a:lnTo>
                    <a:pt x="1384" y="1644"/>
                  </a:lnTo>
                  <a:lnTo>
                    <a:pt x="1389" y="1644"/>
                  </a:lnTo>
                  <a:lnTo>
                    <a:pt x="1389" y="1650"/>
                  </a:lnTo>
                  <a:lnTo>
                    <a:pt x="1389" y="1650"/>
                  </a:lnTo>
                  <a:lnTo>
                    <a:pt x="1390" y="1657"/>
                  </a:lnTo>
                  <a:lnTo>
                    <a:pt x="1393" y="1664"/>
                  </a:lnTo>
                  <a:lnTo>
                    <a:pt x="1395" y="1670"/>
                  </a:lnTo>
                  <a:lnTo>
                    <a:pt x="1400" y="1675"/>
                  </a:lnTo>
                  <a:lnTo>
                    <a:pt x="1405" y="1680"/>
                  </a:lnTo>
                  <a:lnTo>
                    <a:pt x="1411" y="1684"/>
                  </a:lnTo>
                  <a:lnTo>
                    <a:pt x="1418" y="1685"/>
                  </a:lnTo>
                  <a:lnTo>
                    <a:pt x="1426" y="1686"/>
                  </a:lnTo>
                  <a:lnTo>
                    <a:pt x="1426" y="1686"/>
                  </a:lnTo>
                  <a:lnTo>
                    <a:pt x="1433" y="1685"/>
                  </a:lnTo>
                  <a:lnTo>
                    <a:pt x="1439" y="1684"/>
                  </a:lnTo>
                  <a:lnTo>
                    <a:pt x="1445" y="1680"/>
                  </a:lnTo>
                  <a:lnTo>
                    <a:pt x="1451" y="1675"/>
                  </a:lnTo>
                  <a:lnTo>
                    <a:pt x="1455" y="1670"/>
                  </a:lnTo>
                  <a:lnTo>
                    <a:pt x="1459" y="1664"/>
                  </a:lnTo>
                  <a:lnTo>
                    <a:pt x="1461" y="1657"/>
                  </a:lnTo>
                  <a:lnTo>
                    <a:pt x="1461" y="1650"/>
                  </a:lnTo>
                  <a:lnTo>
                    <a:pt x="1461" y="1552"/>
                  </a:lnTo>
                  <a:lnTo>
                    <a:pt x="1461" y="1552"/>
                  </a:lnTo>
                  <a:lnTo>
                    <a:pt x="1461" y="1545"/>
                  </a:lnTo>
                  <a:lnTo>
                    <a:pt x="1459" y="1539"/>
                  </a:lnTo>
                  <a:lnTo>
                    <a:pt x="1455" y="1533"/>
                  </a:lnTo>
                  <a:lnTo>
                    <a:pt x="1451" y="1528"/>
                  </a:lnTo>
                  <a:lnTo>
                    <a:pt x="1445" y="1523"/>
                  </a:lnTo>
                  <a:lnTo>
                    <a:pt x="1439" y="1519"/>
                  </a:lnTo>
                  <a:lnTo>
                    <a:pt x="1433" y="1518"/>
                  </a:lnTo>
                  <a:lnTo>
                    <a:pt x="1426" y="1517"/>
                  </a:lnTo>
                  <a:lnTo>
                    <a:pt x="1426" y="1517"/>
                  </a:lnTo>
                  <a:lnTo>
                    <a:pt x="1418" y="1518"/>
                  </a:lnTo>
                  <a:lnTo>
                    <a:pt x="1411" y="1519"/>
                  </a:lnTo>
                  <a:lnTo>
                    <a:pt x="1411" y="1413"/>
                  </a:lnTo>
                  <a:lnTo>
                    <a:pt x="1411" y="1413"/>
                  </a:lnTo>
                  <a:lnTo>
                    <a:pt x="1427" y="1426"/>
                  </a:lnTo>
                  <a:lnTo>
                    <a:pt x="1443" y="1438"/>
                  </a:lnTo>
                  <a:lnTo>
                    <a:pt x="1459" y="1451"/>
                  </a:lnTo>
                  <a:lnTo>
                    <a:pt x="1476" y="1462"/>
                  </a:lnTo>
                  <a:lnTo>
                    <a:pt x="1493" y="1473"/>
                  </a:lnTo>
                  <a:lnTo>
                    <a:pt x="1511" y="1483"/>
                  </a:lnTo>
                  <a:lnTo>
                    <a:pt x="1530" y="1491"/>
                  </a:lnTo>
                  <a:lnTo>
                    <a:pt x="1548" y="1500"/>
                  </a:lnTo>
                  <a:lnTo>
                    <a:pt x="1568" y="1507"/>
                  </a:lnTo>
                  <a:lnTo>
                    <a:pt x="1587" y="1514"/>
                  </a:lnTo>
                  <a:lnTo>
                    <a:pt x="1607" y="1519"/>
                  </a:lnTo>
                  <a:lnTo>
                    <a:pt x="1628" y="1524"/>
                  </a:lnTo>
                  <a:lnTo>
                    <a:pt x="1649" y="1529"/>
                  </a:lnTo>
                  <a:lnTo>
                    <a:pt x="1669" y="1532"/>
                  </a:lnTo>
                  <a:lnTo>
                    <a:pt x="1690" y="1534"/>
                  </a:lnTo>
                  <a:lnTo>
                    <a:pt x="1712" y="1535"/>
                  </a:lnTo>
                  <a:lnTo>
                    <a:pt x="1712" y="1623"/>
                  </a:lnTo>
                  <a:lnTo>
                    <a:pt x="1712" y="1623"/>
                  </a:lnTo>
                  <a:lnTo>
                    <a:pt x="1705" y="1621"/>
                  </a:lnTo>
                  <a:lnTo>
                    <a:pt x="1698" y="1620"/>
                  </a:lnTo>
                  <a:lnTo>
                    <a:pt x="1698" y="1620"/>
                  </a:lnTo>
                  <a:lnTo>
                    <a:pt x="1690" y="1621"/>
                  </a:lnTo>
                  <a:lnTo>
                    <a:pt x="1684" y="1623"/>
                  </a:lnTo>
                  <a:lnTo>
                    <a:pt x="1678" y="1626"/>
                  </a:lnTo>
                  <a:lnTo>
                    <a:pt x="1672" y="1631"/>
                  </a:lnTo>
                  <a:lnTo>
                    <a:pt x="1668" y="1636"/>
                  </a:lnTo>
                  <a:lnTo>
                    <a:pt x="1664" y="1642"/>
                  </a:lnTo>
                  <a:lnTo>
                    <a:pt x="1662" y="1649"/>
                  </a:lnTo>
                  <a:lnTo>
                    <a:pt x="1662" y="1657"/>
                  </a:lnTo>
                  <a:lnTo>
                    <a:pt x="1662" y="1753"/>
                  </a:lnTo>
                  <a:lnTo>
                    <a:pt x="1662" y="1753"/>
                  </a:lnTo>
                  <a:lnTo>
                    <a:pt x="1662" y="1761"/>
                  </a:lnTo>
                  <a:lnTo>
                    <a:pt x="1664" y="1767"/>
                  </a:lnTo>
                  <a:lnTo>
                    <a:pt x="1668" y="1774"/>
                  </a:lnTo>
                  <a:lnTo>
                    <a:pt x="1672" y="1779"/>
                  </a:lnTo>
                  <a:lnTo>
                    <a:pt x="1678" y="1783"/>
                  </a:lnTo>
                  <a:lnTo>
                    <a:pt x="1684" y="1786"/>
                  </a:lnTo>
                  <a:lnTo>
                    <a:pt x="1690" y="1789"/>
                  </a:lnTo>
                  <a:lnTo>
                    <a:pt x="1698" y="1790"/>
                  </a:lnTo>
                  <a:lnTo>
                    <a:pt x="1698" y="1790"/>
                  </a:lnTo>
                  <a:lnTo>
                    <a:pt x="1705" y="1789"/>
                  </a:lnTo>
                  <a:lnTo>
                    <a:pt x="1712" y="1786"/>
                  </a:lnTo>
                  <a:lnTo>
                    <a:pt x="1718" y="1783"/>
                  </a:lnTo>
                  <a:lnTo>
                    <a:pt x="1723" y="1779"/>
                  </a:lnTo>
                  <a:lnTo>
                    <a:pt x="1728" y="1774"/>
                  </a:lnTo>
                  <a:lnTo>
                    <a:pt x="1731" y="1767"/>
                  </a:lnTo>
                  <a:lnTo>
                    <a:pt x="1733" y="1761"/>
                  </a:lnTo>
                  <a:lnTo>
                    <a:pt x="1734" y="1753"/>
                  </a:lnTo>
                  <a:lnTo>
                    <a:pt x="1734" y="1747"/>
                  </a:lnTo>
                  <a:lnTo>
                    <a:pt x="1734" y="1747"/>
                  </a:lnTo>
                  <a:lnTo>
                    <a:pt x="1739" y="1748"/>
                  </a:lnTo>
                  <a:lnTo>
                    <a:pt x="1739" y="1748"/>
                  </a:lnTo>
                  <a:lnTo>
                    <a:pt x="1743" y="1747"/>
                  </a:lnTo>
                  <a:lnTo>
                    <a:pt x="1743" y="1753"/>
                  </a:lnTo>
                  <a:lnTo>
                    <a:pt x="1743" y="1753"/>
                  </a:lnTo>
                  <a:lnTo>
                    <a:pt x="1744" y="1761"/>
                  </a:lnTo>
                  <a:lnTo>
                    <a:pt x="1747" y="1767"/>
                  </a:lnTo>
                  <a:lnTo>
                    <a:pt x="1750" y="1774"/>
                  </a:lnTo>
                  <a:lnTo>
                    <a:pt x="1754" y="1779"/>
                  </a:lnTo>
                  <a:lnTo>
                    <a:pt x="1760" y="1783"/>
                  </a:lnTo>
                  <a:lnTo>
                    <a:pt x="1766" y="1786"/>
                  </a:lnTo>
                  <a:lnTo>
                    <a:pt x="1772" y="1789"/>
                  </a:lnTo>
                  <a:lnTo>
                    <a:pt x="1780" y="1790"/>
                  </a:lnTo>
                  <a:lnTo>
                    <a:pt x="1780" y="1790"/>
                  </a:lnTo>
                  <a:lnTo>
                    <a:pt x="1787" y="1789"/>
                  </a:lnTo>
                  <a:lnTo>
                    <a:pt x="1793" y="1786"/>
                  </a:lnTo>
                  <a:lnTo>
                    <a:pt x="1799" y="1783"/>
                  </a:lnTo>
                  <a:lnTo>
                    <a:pt x="1805" y="1779"/>
                  </a:lnTo>
                  <a:lnTo>
                    <a:pt x="1809" y="1774"/>
                  </a:lnTo>
                  <a:lnTo>
                    <a:pt x="1813" y="1767"/>
                  </a:lnTo>
                  <a:lnTo>
                    <a:pt x="1815" y="1761"/>
                  </a:lnTo>
                  <a:lnTo>
                    <a:pt x="1816" y="1753"/>
                  </a:lnTo>
                  <a:lnTo>
                    <a:pt x="1816" y="1657"/>
                  </a:lnTo>
                  <a:lnTo>
                    <a:pt x="1816" y="1657"/>
                  </a:lnTo>
                  <a:lnTo>
                    <a:pt x="1815" y="1649"/>
                  </a:lnTo>
                  <a:lnTo>
                    <a:pt x="1813" y="1642"/>
                  </a:lnTo>
                  <a:lnTo>
                    <a:pt x="1809" y="1636"/>
                  </a:lnTo>
                  <a:lnTo>
                    <a:pt x="1805" y="1631"/>
                  </a:lnTo>
                  <a:lnTo>
                    <a:pt x="1799" y="1626"/>
                  </a:lnTo>
                  <a:lnTo>
                    <a:pt x="1793" y="1623"/>
                  </a:lnTo>
                  <a:lnTo>
                    <a:pt x="1787" y="1621"/>
                  </a:lnTo>
                  <a:lnTo>
                    <a:pt x="1780" y="1620"/>
                  </a:lnTo>
                  <a:lnTo>
                    <a:pt x="1780" y="1620"/>
                  </a:lnTo>
                  <a:lnTo>
                    <a:pt x="1772" y="1621"/>
                  </a:lnTo>
                  <a:lnTo>
                    <a:pt x="1766" y="1623"/>
                  </a:lnTo>
                  <a:lnTo>
                    <a:pt x="1766" y="1535"/>
                  </a:lnTo>
                  <a:lnTo>
                    <a:pt x="1766" y="1535"/>
                  </a:lnTo>
                  <a:lnTo>
                    <a:pt x="1786" y="1533"/>
                  </a:lnTo>
                  <a:lnTo>
                    <a:pt x="1807" y="1530"/>
                  </a:lnTo>
                  <a:lnTo>
                    <a:pt x="1826" y="1527"/>
                  </a:lnTo>
                  <a:lnTo>
                    <a:pt x="1846" y="1522"/>
                  </a:lnTo>
                  <a:lnTo>
                    <a:pt x="1864" y="1517"/>
                  </a:lnTo>
                  <a:lnTo>
                    <a:pt x="1884" y="1511"/>
                  </a:lnTo>
                  <a:lnTo>
                    <a:pt x="1902" y="1505"/>
                  </a:lnTo>
                  <a:lnTo>
                    <a:pt x="1920" y="1497"/>
                  </a:lnTo>
                  <a:lnTo>
                    <a:pt x="1938" y="1489"/>
                  </a:lnTo>
                  <a:lnTo>
                    <a:pt x="1955" y="1480"/>
                  </a:lnTo>
                  <a:lnTo>
                    <a:pt x="1972" y="1470"/>
                  </a:lnTo>
                  <a:lnTo>
                    <a:pt x="1989" y="1461"/>
                  </a:lnTo>
                  <a:lnTo>
                    <a:pt x="2005" y="1450"/>
                  </a:lnTo>
                  <a:lnTo>
                    <a:pt x="2021" y="1437"/>
                  </a:lnTo>
                  <a:lnTo>
                    <a:pt x="2036" y="1425"/>
                  </a:lnTo>
                  <a:lnTo>
                    <a:pt x="2050" y="1413"/>
                  </a:lnTo>
                  <a:lnTo>
                    <a:pt x="2050" y="1519"/>
                  </a:lnTo>
                  <a:lnTo>
                    <a:pt x="2050" y="1519"/>
                  </a:lnTo>
                  <a:lnTo>
                    <a:pt x="2043" y="1518"/>
                  </a:lnTo>
                  <a:lnTo>
                    <a:pt x="2036" y="1517"/>
                  </a:lnTo>
                  <a:lnTo>
                    <a:pt x="2036" y="1517"/>
                  </a:lnTo>
                  <a:lnTo>
                    <a:pt x="2028" y="1518"/>
                  </a:lnTo>
                  <a:lnTo>
                    <a:pt x="2022" y="1519"/>
                  </a:lnTo>
                  <a:lnTo>
                    <a:pt x="2016" y="1523"/>
                  </a:lnTo>
                  <a:lnTo>
                    <a:pt x="2011" y="1528"/>
                  </a:lnTo>
                  <a:lnTo>
                    <a:pt x="2006" y="1533"/>
                  </a:lnTo>
                  <a:lnTo>
                    <a:pt x="2003" y="1539"/>
                  </a:lnTo>
                  <a:lnTo>
                    <a:pt x="2000" y="1545"/>
                  </a:lnTo>
                  <a:lnTo>
                    <a:pt x="2000" y="1552"/>
                  </a:lnTo>
                  <a:lnTo>
                    <a:pt x="2000" y="1650"/>
                  </a:lnTo>
                  <a:lnTo>
                    <a:pt x="2000" y="1650"/>
                  </a:lnTo>
                  <a:lnTo>
                    <a:pt x="2000" y="1657"/>
                  </a:lnTo>
                  <a:lnTo>
                    <a:pt x="2003" y="1664"/>
                  </a:lnTo>
                  <a:lnTo>
                    <a:pt x="2006" y="1670"/>
                  </a:lnTo>
                  <a:lnTo>
                    <a:pt x="2011" y="1675"/>
                  </a:lnTo>
                  <a:lnTo>
                    <a:pt x="2016" y="1680"/>
                  </a:lnTo>
                  <a:lnTo>
                    <a:pt x="2022" y="1684"/>
                  </a:lnTo>
                  <a:lnTo>
                    <a:pt x="2028" y="1685"/>
                  </a:lnTo>
                  <a:lnTo>
                    <a:pt x="2036" y="1686"/>
                  </a:lnTo>
                  <a:lnTo>
                    <a:pt x="2036" y="1686"/>
                  </a:lnTo>
                  <a:lnTo>
                    <a:pt x="2043" y="1685"/>
                  </a:lnTo>
                  <a:lnTo>
                    <a:pt x="2050" y="1684"/>
                  </a:lnTo>
                  <a:lnTo>
                    <a:pt x="2056" y="1680"/>
                  </a:lnTo>
                  <a:lnTo>
                    <a:pt x="2061" y="1675"/>
                  </a:lnTo>
                  <a:lnTo>
                    <a:pt x="2066" y="1670"/>
                  </a:lnTo>
                  <a:lnTo>
                    <a:pt x="2070" y="1664"/>
                  </a:lnTo>
                  <a:lnTo>
                    <a:pt x="2071" y="1657"/>
                  </a:lnTo>
                  <a:lnTo>
                    <a:pt x="2072" y="1650"/>
                  </a:lnTo>
                  <a:lnTo>
                    <a:pt x="2072" y="1644"/>
                  </a:lnTo>
                  <a:lnTo>
                    <a:pt x="2072" y="1644"/>
                  </a:lnTo>
                  <a:lnTo>
                    <a:pt x="2077" y="1644"/>
                  </a:lnTo>
                  <a:lnTo>
                    <a:pt x="2077" y="1644"/>
                  </a:lnTo>
                  <a:lnTo>
                    <a:pt x="2082" y="1644"/>
                  </a:lnTo>
                  <a:lnTo>
                    <a:pt x="2082" y="1650"/>
                  </a:lnTo>
                  <a:lnTo>
                    <a:pt x="2082" y="1650"/>
                  </a:lnTo>
                  <a:lnTo>
                    <a:pt x="2082" y="1657"/>
                  </a:lnTo>
                  <a:lnTo>
                    <a:pt x="2085" y="1664"/>
                  </a:lnTo>
                  <a:lnTo>
                    <a:pt x="2088" y="1670"/>
                  </a:lnTo>
                  <a:lnTo>
                    <a:pt x="2092" y="1675"/>
                  </a:lnTo>
                  <a:lnTo>
                    <a:pt x="2098" y="1680"/>
                  </a:lnTo>
                  <a:lnTo>
                    <a:pt x="2104" y="1684"/>
                  </a:lnTo>
                  <a:lnTo>
                    <a:pt x="2110" y="1685"/>
                  </a:lnTo>
                  <a:lnTo>
                    <a:pt x="2118" y="1686"/>
                  </a:lnTo>
                  <a:lnTo>
                    <a:pt x="2118" y="1686"/>
                  </a:lnTo>
                  <a:lnTo>
                    <a:pt x="2125" y="1685"/>
                  </a:lnTo>
                  <a:lnTo>
                    <a:pt x="2132" y="1684"/>
                  </a:lnTo>
                  <a:lnTo>
                    <a:pt x="2138" y="1680"/>
                  </a:lnTo>
                  <a:lnTo>
                    <a:pt x="2143" y="1675"/>
                  </a:lnTo>
                  <a:lnTo>
                    <a:pt x="2148" y="1670"/>
                  </a:lnTo>
                  <a:lnTo>
                    <a:pt x="2151" y="1664"/>
                  </a:lnTo>
                  <a:lnTo>
                    <a:pt x="2153" y="1657"/>
                  </a:lnTo>
                  <a:lnTo>
                    <a:pt x="2154" y="1650"/>
                  </a:lnTo>
                  <a:lnTo>
                    <a:pt x="2154" y="1552"/>
                  </a:lnTo>
                  <a:lnTo>
                    <a:pt x="2154" y="1552"/>
                  </a:lnTo>
                  <a:lnTo>
                    <a:pt x="2153" y="1545"/>
                  </a:lnTo>
                  <a:lnTo>
                    <a:pt x="2151" y="1539"/>
                  </a:lnTo>
                  <a:lnTo>
                    <a:pt x="2148" y="1533"/>
                  </a:lnTo>
                  <a:lnTo>
                    <a:pt x="2143" y="1528"/>
                  </a:lnTo>
                  <a:lnTo>
                    <a:pt x="2138" y="1523"/>
                  </a:lnTo>
                  <a:lnTo>
                    <a:pt x="2132" y="1519"/>
                  </a:lnTo>
                  <a:lnTo>
                    <a:pt x="2125" y="1518"/>
                  </a:lnTo>
                  <a:lnTo>
                    <a:pt x="2118" y="1517"/>
                  </a:lnTo>
                  <a:lnTo>
                    <a:pt x="2118" y="1517"/>
                  </a:lnTo>
                  <a:lnTo>
                    <a:pt x="2110" y="1518"/>
                  </a:lnTo>
                  <a:lnTo>
                    <a:pt x="2104" y="1519"/>
                  </a:lnTo>
                  <a:lnTo>
                    <a:pt x="2104" y="1363"/>
                  </a:lnTo>
                  <a:lnTo>
                    <a:pt x="2205" y="1435"/>
                  </a:lnTo>
                  <a:lnTo>
                    <a:pt x="2265" y="1353"/>
                  </a:lnTo>
                  <a:lnTo>
                    <a:pt x="2156" y="1274"/>
                  </a:lnTo>
                  <a:lnTo>
                    <a:pt x="2156" y="1274"/>
                  </a:lnTo>
                  <a:lnTo>
                    <a:pt x="2164" y="1257"/>
                  </a:lnTo>
                  <a:lnTo>
                    <a:pt x="2172" y="1240"/>
                  </a:lnTo>
                  <a:lnTo>
                    <a:pt x="2178" y="1223"/>
                  </a:lnTo>
                  <a:lnTo>
                    <a:pt x="2184" y="1204"/>
                  </a:lnTo>
                  <a:lnTo>
                    <a:pt x="2190" y="1186"/>
                  </a:lnTo>
                  <a:lnTo>
                    <a:pt x="2195" y="1168"/>
                  </a:lnTo>
                  <a:lnTo>
                    <a:pt x="2198" y="1148"/>
                  </a:lnTo>
                  <a:lnTo>
                    <a:pt x="2201" y="1130"/>
                  </a:lnTo>
                  <a:lnTo>
                    <a:pt x="2528" y="1115"/>
                  </a:lnTo>
                  <a:lnTo>
                    <a:pt x="2528" y="1149"/>
                  </a:lnTo>
                  <a:lnTo>
                    <a:pt x="2528" y="1149"/>
                  </a:lnTo>
                  <a:lnTo>
                    <a:pt x="2514" y="1155"/>
                  </a:lnTo>
                  <a:lnTo>
                    <a:pt x="2503" y="1163"/>
                  </a:lnTo>
                  <a:lnTo>
                    <a:pt x="2491" y="1171"/>
                  </a:lnTo>
                  <a:lnTo>
                    <a:pt x="2480" y="1181"/>
                  </a:lnTo>
                  <a:lnTo>
                    <a:pt x="2470" y="1191"/>
                  </a:lnTo>
                  <a:lnTo>
                    <a:pt x="2461" y="1201"/>
                  </a:lnTo>
                  <a:lnTo>
                    <a:pt x="2452" y="1212"/>
                  </a:lnTo>
                  <a:lnTo>
                    <a:pt x="2443" y="1224"/>
                  </a:lnTo>
                  <a:lnTo>
                    <a:pt x="2436" y="1236"/>
                  </a:lnTo>
                  <a:lnTo>
                    <a:pt x="2430" y="1250"/>
                  </a:lnTo>
                  <a:lnTo>
                    <a:pt x="2424" y="1263"/>
                  </a:lnTo>
                  <a:lnTo>
                    <a:pt x="2419" y="1277"/>
                  </a:lnTo>
                  <a:lnTo>
                    <a:pt x="2415" y="1290"/>
                  </a:lnTo>
                  <a:lnTo>
                    <a:pt x="2413" y="1305"/>
                  </a:lnTo>
                  <a:lnTo>
                    <a:pt x="2412" y="1321"/>
                  </a:lnTo>
                  <a:lnTo>
                    <a:pt x="2410" y="1336"/>
                  </a:lnTo>
                  <a:lnTo>
                    <a:pt x="2410" y="1336"/>
                  </a:lnTo>
                  <a:lnTo>
                    <a:pt x="2412" y="1356"/>
                  </a:lnTo>
                  <a:lnTo>
                    <a:pt x="2415" y="1377"/>
                  </a:lnTo>
                  <a:lnTo>
                    <a:pt x="2420" y="1398"/>
                  </a:lnTo>
                  <a:lnTo>
                    <a:pt x="2428" y="1416"/>
                  </a:lnTo>
                  <a:lnTo>
                    <a:pt x="2436" y="1435"/>
                  </a:lnTo>
                  <a:lnTo>
                    <a:pt x="2446" y="1452"/>
                  </a:lnTo>
                  <a:lnTo>
                    <a:pt x="2458" y="1468"/>
                  </a:lnTo>
                  <a:lnTo>
                    <a:pt x="2472" y="1483"/>
                  </a:lnTo>
                  <a:lnTo>
                    <a:pt x="2486" y="1496"/>
                  </a:lnTo>
                  <a:lnTo>
                    <a:pt x="2502" y="1508"/>
                  </a:lnTo>
                  <a:lnTo>
                    <a:pt x="2519" y="1518"/>
                  </a:lnTo>
                  <a:lnTo>
                    <a:pt x="2538" y="1527"/>
                  </a:lnTo>
                  <a:lnTo>
                    <a:pt x="2557" y="1534"/>
                  </a:lnTo>
                  <a:lnTo>
                    <a:pt x="2577" y="1539"/>
                  </a:lnTo>
                  <a:lnTo>
                    <a:pt x="2598" y="1543"/>
                  </a:lnTo>
                  <a:lnTo>
                    <a:pt x="2619" y="1544"/>
                  </a:lnTo>
                  <a:lnTo>
                    <a:pt x="2619" y="1544"/>
                  </a:lnTo>
                  <a:lnTo>
                    <a:pt x="2639" y="1543"/>
                  </a:lnTo>
                  <a:lnTo>
                    <a:pt x="2660" y="1539"/>
                  </a:lnTo>
                  <a:lnTo>
                    <a:pt x="2680" y="1534"/>
                  </a:lnTo>
                  <a:lnTo>
                    <a:pt x="2699" y="1527"/>
                  </a:lnTo>
                  <a:lnTo>
                    <a:pt x="2718" y="1518"/>
                  </a:lnTo>
                  <a:lnTo>
                    <a:pt x="2735" y="1508"/>
                  </a:lnTo>
                  <a:lnTo>
                    <a:pt x="2751" y="1496"/>
                  </a:lnTo>
                  <a:lnTo>
                    <a:pt x="2766" y="1483"/>
                  </a:lnTo>
                  <a:lnTo>
                    <a:pt x="2779" y="1468"/>
                  </a:lnTo>
                  <a:lnTo>
                    <a:pt x="2791" y="1452"/>
                  </a:lnTo>
                  <a:lnTo>
                    <a:pt x="2801" y="1435"/>
                  </a:lnTo>
                  <a:lnTo>
                    <a:pt x="2810" y="1416"/>
                  </a:lnTo>
                  <a:lnTo>
                    <a:pt x="2817" y="1398"/>
                  </a:lnTo>
                  <a:lnTo>
                    <a:pt x="2822" y="1377"/>
                  </a:lnTo>
                  <a:lnTo>
                    <a:pt x="2826" y="1356"/>
                  </a:lnTo>
                  <a:lnTo>
                    <a:pt x="2827" y="1336"/>
                  </a:lnTo>
                  <a:lnTo>
                    <a:pt x="2827" y="1336"/>
                  </a:lnTo>
                  <a:lnTo>
                    <a:pt x="2826" y="1317"/>
                  </a:lnTo>
                  <a:lnTo>
                    <a:pt x="2823" y="1300"/>
                  </a:lnTo>
                  <a:lnTo>
                    <a:pt x="2819" y="1283"/>
                  </a:lnTo>
                  <a:lnTo>
                    <a:pt x="2815" y="1266"/>
                  </a:lnTo>
                  <a:lnTo>
                    <a:pt x="2808" y="1250"/>
                  </a:lnTo>
                  <a:lnTo>
                    <a:pt x="2800" y="1235"/>
                  </a:lnTo>
                  <a:lnTo>
                    <a:pt x="2791" y="1220"/>
                  </a:lnTo>
                  <a:lnTo>
                    <a:pt x="2782" y="1207"/>
                  </a:lnTo>
                  <a:lnTo>
                    <a:pt x="2770" y="1193"/>
                  </a:lnTo>
                  <a:lnTo>
                    <a:pt x="2758" y="1181"/>
                  </a:lnTo>
                  <a:lnTo>
                    <a:pt x="2745" y="1171"/>
                  </a:lnTo>
                  <a:lnTo>
                    <a:pt x="2731" y="1162"/>
                  </a:lnTo>
                  <a:lnTo>
                    <a:pt x="2717" y="1152"/>
                  </a:lnTo>
                  <a:lnTo>
                    <a:pt x="2701" y="1144"/>
                  </a:lnTo>
                  <a:lnTo>
                    <a:pt x="2685" y="1138"/>
                  </a:lnTo>
                  <a:lnTo>
                    <a:pt x="2668" y="1133"/>
                  </a:lnTo>
                  <a:lnTo>
                    <a:pt x="2657" y="1110"/>
                  </a:lnTo>
                  <a:lnTo>
                    <a:pt x="3412" y="1077"/>
                  </a:lnTo>
                  <a:lnTo>
                    <a:pt x="3412" y="1077"/>
                  </a:lnTo>
                  <a:lnTo>
                    <a:pt x="3422" y="1076"/>
                  </a:lnTo>
                  <a:lnTo>
                    <a:pt x="3432" y="1073"/>
                  </a:lnTo>
                  <a:lnTo>
                    <a:pt x="3440" y="1068"/>
                  </a:lnTo>
                  <a:lnTo>
                    <a:pt x="3448" y="1062"/>
                  </a:lnTo>
                  <a:lnTo>
                    <a:pt x="3454" y="1055"/>
                  </a:lnTo>
                  <a:lnTo>
                    <a:pt x="3458" y="1046"/>
                  </a:lnTo>
                  <a:lnTo>
                    <a:pt x="3461" y="1037"/>
                  </a:lnTo>
                  <a:lnTo>
                    <a:pt x="3463" y="1027"/>
                  </a:lnTo>
                  <a:lnTo>
                    <a:pt x="3463" y="1024"/>
                  </a:lnTo>
                  <a:lnTo>
                    <a:pt x="3463" y="1024"/>
                  </a:lnTo>
                  <a:lnTo>
                    <a:pt x="3461" y="1013"/>
                  </a:lnTo>
                  <a:lnTo>
                    <a:pt x="3458" y="1005"/>
                  </a:lnTo>
                  <a:lnTo>
                    <a:pt x="3454" y="996"/>
                  </a:lnTo>
                  <a:lnTo>
                    <a:pt x="3448" y="989"/>
                  </a:lnTo>
                  <a:lnTo>
                    <a:pt x="3440" y="983"/>
                  </a:lnTo>
                  <a:lnTo>
                    <a:pt x="3432" y="978"/>
                  </a:lnTo>
                  <a:lnTo>
                    <a:pt x="3422" y="975"/>
                  </a:lnTo>
                  <a:lnTo>
                    <a:pt x="3412" y="974"/>
                  </a:lnTo>
                  <a:lnTo>
                    <a:pt x="3412" y="974"/>
                  </a:lnTo>
                  <a:close/>
                </a:path>
              </a:pathLst>
            </a:custGeom>
            <a:solidFill>
              <a:srgbClr val="7EB1C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458" name="Group 457"/>
            <p:cNvGrpSpPr/>
            <p:nvPr/>
          </p:nvGrpSpPr>
          <p:grpSpPr>
            <a:xfrm>
              <a:off x="2134665" y="2618410"/>
              <a:ext cx="910108" cy="252757"/>
              <a:chOff x="2135575" y="2618410"/>
              <a:chExt cx="910108" cy="252757"/>
            </a:xfrm>
            <a:solidFill>
              <a:schemeClr val="tx2">
                <a:lumMod val="50000"/>
              </a:schemeClr>
            </a:solidFill>
          </p:grpSpPr>
          <p:sp>
            <p:nvSpPr>
              <p:cNvPr id="428" name="Freeform 83"/>
              <p:cNvSpPr>
                <a:spLocks/>
              </p:cNvSpPr>
              <p:nvPr/>
            </p:nvSpPr>
            <p:spPr bwMode="auto">
              <a:xfrm>
                <a:off x="2135575" y="2767518"/>
                <a:ext cx="103649" cy="103649"/>
              </a:xfrm>
              <a:custGeom>
                <a:avLst/>
                <a:gdLst>
                  <a:gd name="T0" fmla="*/ 229 w 229"/>
                  <a:gd name="T1" fmla="*/ 114 h 228"/>
                  <a:gd name="T2" fmla="*/ 227 w 229"/>
                  <a:gd name="T3" fmla="*/ 90 h 228"/>
                  <a:gd name="T4" fmla="*/ 219 w 229"/>
                  <a:gd name="T5" fmla="*/ 69 h 228"/>
                  <a:gd name="T6" fmla="*/ 210 w 229"/>
                  <a:gd name="T7" fmla="*/ 50 h 228"/>
                  <a:gd name="T8" fmla="*/ 195 w 229"/>
                  <a:gd name="T9" fmla="*/ 33 h 228"/>
                  <a:gd name="T10" fmla="*/ 178 w 229"/>
                  <a:gd name="T11" fmla="*/ 19 h 228"/>
                  <a:gd name="T12" fmla="*/ 159 w 229"/>
                  <a:gd name="T13" fmla="*/ 8 h 228"/>
                  <a:gd name="T14" fmla="*/ 137 w 229"/>
                  <a:gd name="T15" fmla="*/ 2 h 228"/>
                  <a:gd name="T16" fmla="*/ 114 w 229"/>
                  <a:gd name="T17" fmla="*/ 0 h 228"/>
                  <a:gd name="T18" fmla="*/ 103 w 229"/>
                  <a:gd name="T19" fmla="*/ 0 h 228"/>
                  <a:gd name="T20" fmla="*/ 80 w 229"/>
                  <a:gd name="T21" fmla="*/ 5 h 228"/>
                  <a:gd name="T22" fmla="*/ 60 w 229"/>
                  <a:gd name="T23" fmla="*/ 13 h 228"/>
                  <a:gd name="T24" fmla="*/ 42 w 229"/>
                  <a:gd name="T25" fmla="*/ 25 h 228"/>
                  <a:gd name="T26" fmla="*/ 26 w 229"/>
                  <a:gd name="T27" fmla="*/ 41 h 228"/>
                  <a:gd name="T28" fmla="*/ 14 w 229"/>
                  <a:gd name="T29" fmla="*/ 60 h 228"/>
                  <a:gd name="T30" fmla="*/ 5 w 229"/>
                  <a:gd name="T31" fmla="*/ 79 h 228"/>
                  <a:gd name="T32" fmla="*/ 0 w 229"/>
                  <a:gd name="T33" fmla="*/ 103 h 228"/>
                  <a:gd name="T34" fmla="*/ 0 w 229"/>
                  <a:gd name="T35" fmla="*/ 114 h 228"/>
                  <a:gd name="T36" fmla="*/ 3 w 229"/>
                  <a:gd name="T37" fmla="*/ 137 h 228"/>
                  <a:gd name="T38" fmla="*/ 9 w 229"/>
                  <a:gd name="T39" fmla="*/ 158 h 228"/>
                  <a:gd name="T40" fmla="*/ 20 w 229"/>
                  <a:gd name="T41" fmla="*/ 177 h 228"/>
                  <a:gd name="T42" fmla="*/ 33 w 229"/>
                  <a:gd name="T43" fmla="*/ 194 h 228"/>
                  <a:gd name="T44" fmla="*/ 50 w 229"/>
                  <a:gd name="T45" fmla="*/ 208 h 228"/>
                  <a:gd name="T46" fmla="*/ 70 w 229"/>
                  <a:gd name="T47" fmla="*/ 219 h 228"/>
                  <a:gd name="T48" fmla="*/ 91 w 229"/>
                  <a:gd name="T49" fmla="*/ 225 h 228"/>
                  <a:gd name="T50" fmla="*/ 114 w 229"/>
                  <a:gd name="T51" fmla="*/ 228 h 228"/>
                  <a:gd name="T52" fmla="*/ 126 w 229"/>
                  <a:gd name="T53" fmla="*/ 228 h 228"/>
                  <a:gd name="T54" fmla="*/ 148 w 229"/>
                  <a:gd name="T55" fmla="*/ 223 h 228"/>
                  <a:gd name="T56" fmla="*/ 169 w 229"/>
                  <a:gd name="T57" fmla="*/ 214 h 228"/>
                  <a:gd name="T58" fmla="*/ 188 w 229"/>
                  <a:gd name="T59" fmla="*/ 202 h 228"/>
                  <a:gd name="T60" fmla="*/ 202 w 229"/>
                  <a:gd name="T61" fmla="*/ 186 h 228"/>
                  <a:gd name="T62" fmla="*/ 214 w 229"/>
                  <a:gd name="T63" fmla="*/ 169 h 228"/>
                  <a:gd name="T64" fmla="*/ 223 w 229"/>
                  <a:gd name="T65" fmla="*/ 148 h 228"/>
                  <a:gd name="T66" fmla="*/ 228 w 229"/>
                  <a:gd name="T67" fmla="*/ 126 h 228"/>
                  <a:gd name="T68" fmla="*/ 229 w 229"/>
                  <a:gd name="T69" fmla="*/ 11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9" h="228">
                    <a:moveTo>
                      <a:pt x="229" y="114"/>
                    </a:moveTo>
                    <a:lnTo>
                      <a:pt x="229" y="114"/>
                    </a:lnTo>
                    <a:lnTo>
                      <a:pt x="228" y="103"/>
                    </a:lnTo>
                    <a:lnTo>
                      <a:pt x="227" y="90"/>
                    </a:lnTo>
                    <a:lnTo>
                      <a:pt x="223" y="79"/>
                    </a:lnTo>
                    <a:lnTo>
                      <a:pt x="219" y="69"/>
                    </a:lnTo>
                    <a:lnTo>
                      <a:pt x="214" y="60"/>
                    </a:lnTo>
                    <a:lnTo>
                      <a:pt x="210" y="50"/>
                    </a:lnTo>
                    <a:lnTo>
                      <a:pt x="202" y="41"/>
                    </a:lnTo>
                    <a:lnTo>
                      <a:pt x="195" y="33"/>
                    </a:lnTo>
                    <a:lnTo>
                      <a:pt x="188" y="25"/>
                    </a:lnTo>
                    <a:lnTo>
                      <a:pt x="178" y="19"/>
                    </a:lnTo>
                    <a:lnTo>
                      <a:pt x="169" y="13"/>
                    </a:lnTo>
                    <a:lnTo>
                      <a:pt x="159" y="8"/>
                    </a:lnTo>
                    <a:lnTo>
                      <a:pt x="148" y="5"/>
                    </a:lnTo>
                    <a:lnTo>
                      <a:pt x="137" y="2"/>
                    </a:lnTo>
                    <a:lnTo>
                      <a:pt x="126" y="0"/>
                    </a:lnTo>
                    <a:lnTo>
                      <a:pt x="114" y="0"/>
                    </a:lnTo>
                    <a:lnTo>
                      <a:pt x="114" y="0"/>
                    </a:lnTo>
                    <a:lnTo>
                      <a:pt x="103" y="0"/>
                    </a:lnTo>
                    <a:lnTo>
                      <a:pt x="91" y="2"/>
                    </a:lnTo>
                    <a:lnTo>
                      <a:pt x="80" y="5"/>
                    </a:lnTo>
                    <a:lnTo>
                      <a:pt x="70" y="8"/>
                    </a:lnTo>
                    <a:lnTo>
                      <a:pt x="60" y="13"/>
                    </a:lnTo>
                    <a:lnTo>
                      <a:pt x="50" y="19"/>
                    </a:lnTo>
                    <a:lnTo>
                      <a:pt x="42" y="25"/>
                    </a:lnTo>
                    <a:lnTo>
                      <a:pt x="33" y="33"/>
                    </a:lnTo>
                    <a:lnTo>
                      <a:pt x="26" y="41"/>
                    </a:lnTo>
                    <a:lnTo>
                      <a:pt x="20" y="50"/>
                    </a:lnTo>
                    <a:lnTo>
                      <a:pt x="14" y="60"/>
                    </a:lnTo>
                    <a:lnTo>
                      <a:pt x="9" y="69"/>
                    </a:lnTo>
                    <a:lnTo>
                      <a:pt x="5" y="79"/>
                    </a:lnTo>
                    <a:lnTo>
                      <a:pt x="3" y="90"/>
                    </a:lnTo>
                    <a:lnTo>
                      <a:pt x="0" y="103"/>
                    </a:lnTo>
                    <a:lnTo>
                      <a:pt x="0" y="114"/>
                    </a:lnTo>
                    <a:lnTo>
                      <a:pt x="0" y="114"/>
                    </a:lnTo>
                    <a:lnTo>
                      <a:pt x="0" y="126"/>
                    </a:lnTo>
                    <a:lnTo>
                      <a:pt x="3" y="137"/>
                    </a:lnTo>
                    <a:lnTo>
                      <a:pt x="5" y="148"/>
                    </a:lnTo>
                    <a:lnTo>
                      <a:pt x="9" y="158"/>
                    </a:lnTo>
                    <a:lnTo>
                      <a:pt x="14" y="169"/>
                    </a:lnTo>
                    <a:lnTo>
                      <a:pt x="20" y="177"/>
                    </a:lnTo>
                    <a:lnTo>
                      <a:pt x="26" y="186"/>
                    </a:lnTo>
                    <a:lnTo>
                      <a:pt x="33" y="194"/>
                    </a:lnTo>
                    <a:lnTo>
                      <a:pt x="42" y="202"/>
                    </a:lnTo>
                    <a:lnTo>
                      <a:pt x="50" y="208"/>
                    </a:lnTo>
                    <a:lnTo>
                      <a:pt x="60" y="214"/>
                    </a:lnTo>
                    <a:lnTo>
                      <a:pt x="70" y="219"/>
                    </a:lnTo>
                    <a:lnTo>
                      <a:pt x="80" y="223"/>
                    </a:lnTo>
                    <a:lnTo>
                      <a:pt x="91" y="225"/>
                    </a:lnTo>
                    <a:lnTo>
                      <a:pt x="103" y="228"/>
                    </a:lnTo>
                    <a:lnTo>
                      <a:pt x="114" y="228"/>
                    </a:lnTo>
                    <a:lnTo>
                      <a:pt x="114" y="228"/>
                    </a:lnTo>
                    <a:lnTo>
                      <a:pt x="126" y="228"/>
                    </a:lnTo>
                    <a:lnTo>
                      <a:pt x="137" y="225"/>
                    </a:lnTo>
                    <a:lnTo>
                      <a:pt x="148" y="223"/>
                    </a:lnTo>
                    <a:lnTo>
                      <a:pt x="159" y="219"/>
                    </a:lnTo>
                    <a:lnTo>
                      <a:pt x="169" y="214"/>
                    </a:lnTo>
                    <a:lnTo>
                      <a:pt x="178" y="208"/>
                    </a:lnTo>
                    <a:lnTo>
                      <a:pt x="188" y="202"/>
                    </a:lnTo>
                    <a:lnTo>
                      <a:pt x="195" y="194"/>
                    </a:lnTo>
                    <a:lnTo>
                      <a:pt x="202" y="186"/>
                    </a:lnTo>
                    <a:lnTo>
                      <a:pt x="210" y="177"/>
                    </a:lnTo>
                    <a:lnTo>
                      <a:pt x="214" y="169"/>
                    </a:lnTo>
                    <a:lnTo>
                      <a:pt x="219" y="158"/>
                    </a:lnTo>
                    <a:lnTo>
                      <a:pt x="223" y="148"/>
                    </a:lnTo>
                    <a:lnTo>
                      <a:pt x="227" y="137"/>
                    </a:lnTo>
                    <a:lnTo>
                      <a:pt x="228" y="126"/>
                    </a:lnTo>
                    <a:lnTo>
                      <a:pt x="229" y="114"/>
                    </a:lnTo>
                    <a:lnTo>
                      <a:pt x="229"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9" name="Freeform 84"/>
              <p:cNvSpPr>
                <a:spLocks/>
              </p:cNvSpPr>
              <p:nvPr/>
            </p:nvSpPr>
            <p:spPr bwMode="auto">
              <a:xfrm>
                <a:off x="2942943" y="2767518"/>
                <a:ext cx="102740" cy="103649"/>
              </a:xfrm>
              <a:custGeom>
                <a:avLst/>
                <a:gdLst>
                  <a:gd name="T0" fmla="*/ 0 w 228"/>
                  <a:gd name="T1" fmla="*/ 114 h 228"/>
                  <a:gd name="T2" fmla="*/ 3 w 228"/>
                  <a:gd name="T3" fmla="*/ 90 h 228"/>
                  <a:gd name="T4" fmla="*/ 9 w 228"/>
                  <a:gd name="T5" fmla="*/ 69 h 228"/>
                  <a:gd name="T6" fmla="*/ 20 w 228"/>
                  <a:gd name="T7" fmla="*/ 50 h 228"/>
                  <a:gd name="T8" fmla="*/ 33 w 228"/>
                  <a:gd name="T9" fmla="*/ 33 h 228"/>
                  <a:gd name="T10" fmla="*/ 50 w 228"/>
                  <a:gd name="T11" fmla="*/ 19 h 228"/>
                  <a:gd name="T12" fmla="*/ 70 w 228"/>
                  <a:gd name="T13" fmla="*/ 8 h 228"/>
                  <a:gd name="T14" fmla="*/ 91 w 228"/>
                  <a:gd name="T15" fmla="*/ 2 h 228"/>
                  <a:gd name="T16" fmla="*/ 114 w 228"/>
                  <a:gd name="T17" fmla="*/ 0 h 228"/>
                  <a:gd name="T18" fmla="*/ 126 w 228"/>
                  <a:gd name="T19" fmla="*/ 0 h 228"/>
                  <a:gd name="T20" fmla="*/ 148 w 228"/>
                  <a:gd name="T21" fmla="*/ 5 h 228"/>
                  <a:gd name="T22" fmla="*/ 169 w 228"/>
                  <a:gd name="T23" fmla="*/ 13 h 228"/>
                  <a:gd name="T24" fmla="*/ 186 w 228"/>
                  <a:gd name="T25" fmla="*/ 25 h 228"/>
                  <a:gd name="T26" fmla="*/ 202 w 228"/>
                  <a:gd name="T27" fmla="*/ 41 h 228"/>
                  <a:gd name="T28" fmla="*/ 214 w 228"/>
                  <a:gd name="T29" fmla="*/ 60 h 228"/>
                  <a:gd name="T30" fmla="*/ 223 w 228"/>
                  <a:gd name="T31" fmla="*/ 79 h 228"/>
                  <a:gd name="T32" fmla="*/ 228 w 228"/>
                  <a:gd name="T33" fmla="*/ 103 h 228"/>
                  <a:gd name="T34" fmla="*/ 228 w 228"/>
                  <a:gd name="T35" fmla="*/ 114 h 228"/>
                  <a:gd name="T36" fmla="*/ 227 w 228"/>
                  <a:gd name="T37" fmla="*/ 137 h 228"/>
                  <a:gd name="T38" fmla="*/ 219 w 228"/>
                  <a:gd name="T39" fmla="*/ 158 h 228"/>
                  <a:gd name="T40" fmla="*/ 208 w 228"/>
                  <a:gd name="T41" fmla="*/ 177 h 228"/>
                  <a:gd name="T42" fmla="*/ 195 w 228"/>
                  <a:gd name="T43" fmla="*/ 194 h 228"/>
                  <a:gd name="T44" fmla="*/ 178 w 228"/>
                  <a:gd name="T45" fmla="*/ 208 h 228"/>
                  <a:gd name="T46" fmla="*/ 158 w 228"/>
                  <a:gd name="T47" fmla="*/ 219 h 228"/>
                  <a:gd name="T48" fmla="*/ 137 w 228"/>
                  <a:gd name="T49" fmla="*/ 225 h 228"/>
                  <a:gd name="T50" fmla="*/ 114 w 228"/>
                  <a:gd name="T51" fmla="*/ 228 h 228"/>
                  <a:gd name="T52" fmla="*/ 103 w 228"/>
                  <a:gd name="T53" fmla="*/ 228 h 228"/>
                  <a:gd name="T54" fmla="*/ 80 w 228"/>
                  <a:gd name="T55" fmla="*/ 223 h 228"/>
                  <a:gd name="T56" fmla="*/ 60 w 228"/>
                  <a:gd name="T57" fmla="*/ 214 h 228"/>
                  <a:gd name="T58" fmla="*/ 42 w 228"/>
                  <a:gd name="T59" fmla="*/ 202 h 228"/>
                  <a:gd name="T60" fmla="*/ 26 w 228"/>
                  <a:gd name="T61" fmla="*/ 186 h 228"/>
                  <a:gd name="T62" fmla="*/ 14 w 228"/>
                  <a:gd name="T63" fmla="*/ 169 h 228"/>
                  <a:gd name="T64" fmla="*/ 5 w 228"/>
                  <a:gd name="T65" fmla="*/ 148 h 228"/>
                  <a:gd name="T66" fmla="*/ 0 w 228"/>
                  <a:gd name="T67" fmla="*/ 126 h 228"/>
                  <a:gd name="T68" fmla="*/ 0 w 228"/>
                  <a:gd name="T69" fmla="*/ 11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8" h="228">
                    <a:moveTo>
                      <a:pt x="0" y="114"/>
                    </a:moveTo>
                    <a:lnTo>
                      <a:pt x="0" y="114"/>
                    </a:lnTo>
                    <a:lnTo>
                      <a:pt x="0" y="103"/>
                    </a:lnTo>
                    <a:lnTo>
                      <a:pt x="3" y="90"/>
                    </a:lnTo>
                    <a:lnTo>
                      <a:pt x="5" y="79"/>
                    </a:lnTo>
                    <a:lnTo>
                      <a:pt x="9" y="69"/>
                    </a:lnTo>
                    <a:lnTo>
                      <a:pt x="14" y="60"/>
                    </a:lnTo>
                    <a:lnTo>
                      <a:pt x="20" y="50"/>
                    </a:lnTo>
                    <a:lnTo>
                      <a:pt x="26" y="41"/>
                    </a:lnTo>
                    <a:lnTo>
                      <a:pt x="33" y="33"/>
                    </a:lnTo>
                    <a:lnTo>
                      <a:pt x="42" y="25"/>
                    </a:lnTo>
                    <a:lnTo>
                      <a:pt x="50" y="19"/>
                    </a:lnTo>
                    <a:lnTo>
                      <a:pt x="60" y="13"/>
                    </a:lnTo>
                    <a:lnTo>
                      <a:pt x="70" y="8"/>
                    </a:lnTo>
                    <a:lnTo>
                      <a:pt x="80" y="5"/>
                    </a:lnTo>
                    <a:lnTo>
                      <a:pt x="91" y="2"/>
                    </a:lnTo>
                    <a:lnTo>
                      <a:pt x="103" y="0"/>
                    </a:lnTo>
                    <a:lnTo>
                      <a:pt x="114" y="0"/>
                    </a:lnTo>
                    <a:lnTo>
                      <a:pt x="114" y="0"/>
                    </a:lnTo>
                    <a:lnTo>
                      <a:pt x="126" y="0"/>
                    </a:lnTo>
                    <a:lnTo>
                      <a:pt x="137" y="2"/>
                    </a:lnTo>
                    <a:lnTo>
                      <a:pt x="148" y="5"/>
                    </a:lnTo>
                    <a:lnTo>
                      <a:pt x="158" y="8"/>
                    </a:lnTo>
                    <a:lnTo>
                      <a:pt x="169" y="13"/>
                    </a:lnTo>
                    <a:lnTo>
                      <a:pt x="178" y="19"/>
                    </a:lnTo>
                    <a:lnTo>
                      <a:pt x="186" y="25"/>
                    </a:lnTo>
                    <a:lnTo>
                      <a:pt x="195" y="33"/>
                    </a:lnTo>
                    <a:lnTo>
                      <a:pt x="202" y="41"/>
                    </a:lnTo>
                    <a:lnTo>
                      <a:pt x="208" y="50"/>
                    </a:lnTo>
                    <a:lnTo>
                      <a:pt x="214" y="60"/>
                    </a:lnTo>
                    <a:lnTo>
                      <a:pt x="219" y="69"/>
                    </a:lnTo>
                    <a:lnTo>
                      <a:pt x="223" y="79"/>
                    </a:lnTo>
                    <a:lnTo>
                      <a:pt x="227" y="90"/>
                    </a:lnTo>
                    <a:lnTo>
                      <a:pt x="228" y="103"/>
                    </a:lnTo>
                    <a:lnTo>
                      <a:pt x="228" y="114"/>
                    </a:lnTo>
                    <a:lnTo>
                      <a:pt x="228" y="114"/>
                    </a:lnTo>
                    <a:lnTo>
                      <a:pt x="228" y="126"/>
                    </a:lnTo>
                    <a:lnTo>
                      <a:pt x="227" y="137"/>
                    </a:lnTo>
                    <a:lnTo>
                      <a:pt x="223" y="148"/>
                    </a:lnTo>
                    <a:lnTo>
                      <a:pt x="219" y="158"/>
                    </a:lnTo>
                    <a:lnTo>
                      <a:pt x="214" y="169"/>
                    </a:lnTo>
                    <a:lnTo>
                      <a:pt x="208" y="177"/>
                    </a:lnTo>
                    <a:lnTo>
                      <a:pt x="202" y="186"/>
                    </a:lnTo>
                    <a:lnTo>
                      <a:pt x="195" y="194"/>
                    </a:lnTo>
                    <a:lnTo>
                      <a:pt x="186" y="202"/>
                    </a:lnTo>
                    <a:lnTo>
                      <a:pt x="178" y="208"/>
                    </a:lnTo>
                    <a:lnTo>
                      <a:pt x="169" y="214"/>
                    </a:lnTo>
                    <a:lnTo>
                      <a:pt x="158" y="219"/>
                    </a:lnTo>
                    <a:lnTo>
                      <a:pt x="148" y="223"/>
                    </a:lnTo>
                    <a:lnTo>
                      <a:pt x="137" y="225"/>
                    </a:lnTo>
                    <a:lnTo>
                      <a:pt x="126" y="228"/>
                    </a:lnTo>
                    <a:lnTo>
                      <a:pt x="114" y="228"/>
                    </a:lnTo>
                    <a:lnTo>
                      <a:pt x="114" y="228"/>
                    </a:lnTo>
                    <a:lnTo>
                      <a:pt x="103" y="228"/>
                    </a:lnTo>
                    <a:lnTo>
                      <a:pt x="91" y="225"/>
                    </a:lnTo>
                    <a:lnTo>
                      <a:pt x="80" y="223"/>
                    </a:lnTo>
                    <a:lnTo>
                      <a:pt x="70" y="219"/>
                    </a:lnTo>
                    <a:lnTo>
                      <a:pt x="60" y="214"/>
                    </a:lnTo>
                    <a:lnTo>
                      <a:pt x="50" y="208"/>
                    </a:lnTo>
                    <a:lnTo>
                      <a:pt x="42" y="202"/>
                    </a:lnTo>
                    <a:lnTo>
                      <a:pt x="33" y="194"/>
                    </a:lnTo>
                    <a:lnTo>
                      <a:pt x="26" y="186"/>
                    </a:lnTo>
                    <a:lnTo>
                      <a:pt x="20" y="177"/>
                    </a:lnTo>
                    <a:lnTo>
                      <a:pt x="14" y="169"/>
                    </a:lnTo>
                    <a:lnTo>
                      <a:pt x="9" y="158"/>
                    </a:lnTo>
                    <a:lnTo>
                      <a:pt x="5" y="148"/>
                    </a:lnTo>
                    <a:lnTo>
                      <a:pt x="3" y="137"/>
                    </a:lnTo>
                    <a:lnTo>
                      <a:pt x="0" y="126"/>
                    </a:lnTo>
                    <a:lnTo>
                      <a:pt x="0" y="114"/>
                    </a:lnTo>
                    <a:lnTo>
                      <a:pt x="0"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0" name="Freeform 85"/>
              <p:cNvSpPr>
                <a:spLocks/>
              </p:cNvSpPr>
              <p:nvPr/>
            </p:nvSpPr>
            <p:spPr bwMode="auto">
              <a:xfrm>
                <a:off x="2552897" y="2708420"/>
                <a:ext cx="75464" cy="74554"/>
              </a:xfrm>
              <a:custGeom>
                <a:avLst/>
                <a:gdLst>
                  <a:gd name="T0" fmla="*/ 164 w 164"/>
                  <a:gd name="T1" fmla="*/ 82 h 164"/>
                  <a:gd name="T2" fmla="*/ 163 w 164"/>
                  <a:gd name="T3" fmla="*/ 66 h 164"/>
                  <a:gd name="T4" fmla="*/ 158 w 164"/>
                  <a:gd name="T5" fmla="*/ 50 h 164"/>
                  <a:gd name="T6" fmla="*/ 151 w 164"/>
                  <a:gd name="T7" fmla="*/ 37 h 164"/>
                  <a:gd name="T8" fmla="*/ 141 w 164"/>
                  <a:gd name="T9" fmla="*/ 24 h 164"/>
                  <a:gd name="T10" fmla="*/ 129 w 164"/>
                  <a:gd name="T11" fmla="*/ 14 h 164"/>
                  <a:gd name="T12" fmla="*/ 114 w 164"/>
                  <a:gd name="T13" fmla="*/ 6 h 164"/>
                  <a:gd name="T14" fmla="*/ 99 w 164"/>
                  <a:gd name="T15" fmla="*/ 2 h 164"/>
                  <a:gd name="T16" fmla="*/ 82 w 164"/>
                  <a:gd name="T17" fmla="*/ 0 h 164"/>
                  <a:gd name="T18" fmla="*/ 73 w 164"/>
                  <a:gd name="T19" fmla="*/ 1 h 164"/>
                  <a:gd name="T20" fmla="*/ 58 w 164"/>
                  <a:gd name="T21" fmla="*/ 3 h 164"/>
                  <a:gd name="T22" fmla="*/ 43 w 164"/>
                  <a:gd name="T23" fmla="*/ 10 h 164"/>
                  <a:gd name="T24" fmla="*/ 31 w 164"/>
                  <a:gd name="T25" fmla="*/ 18 h 164"/>
                  <a:gd name="T26" fmla="*/ 18 w 164"/>
                  <a:gd name="T27" fmla="*/ 30 h 164"/>
                  <a:gd name="T28" fmla="*/ 10 w 164"/>
                  <a:gd name="T29" fmla="*/ 43 h 164"/>
                  <a:gd name="T30" fmla="*/ 4 w 164"/>
                  <a:gd name="T31" fmla="*/ 57 h 164"/>
                  <a:gd name="T32" fmla="*/ 1 w 164"/>
                  <a:gd name="T33" fmla="*/ 73 h 164"/>
                  <a:gd name="T34" fmla="*/ 0 w 164"/>
                  <a:gd name="T35" fmla="*/ 82 h 164"/>
                  <a:gd name="T36" fmla="*/ 2 w 164"/>
                  <a:gd name="T37" fmla="*/ 99 h 164"/>
                  <a:gd name="T38" fmla="*/ 6 w 164"/>
                  <a:gd name="T39" fmla="*/ 114 h 164"/>
                  <a:gd name="T40" fmla="*/ 15 w 164"/>
                  <a:gd name="T41" fmla="*/ 128 h 164"/>
                  <a:gd name="T42" fmla="*/ 24 w 164"/>
                  <a:gd name="T43" fmla="*/ 141 h 164"/>
                  <a:gd name="T44" fmla="*/ 37 w 164"/>
                  <a:gd name="T45" fmla="*/ 150 h 164"/>
                  <a:gd name="T46" fmla="*/ 50 w 164"/>
                  <a:gd name="T47" fmla="*/ 158 h 164"/>
                  <a:gd name="T48" fmla="*/ 66 w 164"/>
                  <a:gd name="T49" fmla="*/ 163 h 164"/>
                  <a:gd name="T50" fmla="*/ 82 w 164"/>
                  <a:gd name="T51" fmla="*/ 164 h 164"/>
                  <a:gd name="T52" fmla="*/ 91 w 164"/>
                  <a:gd name="T53" fmla="*/ 164 h 164"/>
                  <a:gd name="T54" fmla="*/ 107 w 164"/>
                  <a:gd name="T55" fmla="*/ 160 h 164"/>
                  <a:gd name="T56" fmla="*/ 121 w 164"/>
                  <a:gd name="T57" fmla="*/ 154 h 164"/>
                  <a:gd name="T58" fmla="*/ 135 w 164"/>
                  <a:gd name="T59" fmla="*/ 146 h 164"/>
                  <a:gd name="T60" fmla="*/ 146 w 164"/>
                  <a:gd name="T61" fmla="*/ 135 h 164"/>
                  <a:gd name="T62" fmla="*/ 154 w 164"/>
                  <a:gd name="T63" fmla="*/ 121 h 164"/>
                  <a:gd name="T64" fmla="*/ 160 w 164"/>
                  <a:gd name="T65" fmla="*/ 106 h 164"/>
                  <a:gd name="T66" fmla="*/ 164 w 164"/>
                  <a:gd name="T67" fmla="*/ 90 h 164"/>
                  <a:gd name="T68" fmla="*/ 164 w 164"/>
                  <a:gd name="T69" fmla="*/ 8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164">
                    <a:moveTo>
                      <a:pt x="164" y="82"/>
                    </a:moveTo>
                    <a:lnTo>
                      <a:pt x="164" y="82"/>
                    </a:lnTo>
                    <a:lnTo>
                      <a:pt x="164" y="73"/>
                    </a:lnTo>
                    <a:lnTo>
                      <a:pt x="163" y="66"/>
                    </a:lnTo>
                    <a:lnTo>
                      <a:pt x="160" y="57"/>
                    </a:lnTo>
                    <a:lnTo>
                      <a:pt x="158" y="50"/>
                    </a:lnTo>
                    <a:lnTo>
                      <a:pt x="154" y="43"/>
                    </a:lnTo>
                    <a:lnTo>
                      <a:pt x="151" y="37"/>
                    </a:lnTo>
                    <a:lnTo>
                      <a:pt x="146" y="30"/>
                    </a:lnTo>
                    <a:lnTo>
                      <a:pt x="141" y="24"/>
                    </a:lnTo>
                    <a:lnTo>
                      <a:pt x="135" y="18"/>
                    </a:lnTo>
                    <a:lnTo>
                      <a:pt x="129" y="14"/>
                    </a:lnTo>
                    <a:lnTo>
                      <a:pt x="121" y="10"/>
                    </a:lnTo>
                    <a:lnTo>
                      <a:pt x="114" y="6"/>
                    </a:lnTo>
                    <a:lnTo>
                      <a:pt x="107" y="3"/>
                    </a:lnTo>
                    <a:lnTo>
                      <a:pt x="99" y="2"/>
                    </a:lnTo>
                    <a:lnTo>
                      <a:pt x="91" y="1"/>
                    </a:lnTo>
                    <a:lnTo>
                      <a:pt x="82" y="0"/>
                    </a:lnTo>
                    <a:lnTo>
                      <a:pt x="82" y="0"/>
                    </a:lnTo>
                    <a:lnTo>
                      <a:pt x="73" y="1"/>
                    </a:lnTo>
                    <a:lnTo>
                      <a:pt x="66" y="2"/>
                    </a:lnTo>
                    <a:lnTo>
                      <a:pt x="58" y="3"/>
                    </a:lnTo>
                    <a:lnTo>
                      <a:pt x="50" y="6"/>
                    </a:lnTo>
                    <a:lnTo>
                      <a:pt x="43" y="10"/>
                    </a:lnTo>
                    <a:lnTo>
                      <a:pt x="37" y="14"/>
                    </a:lnTo>
                    <a:lnTo>
                      <a:pt x="31" y="18"/>
                    </a:lnTo>
                    <a:lnTo>
                      <a:pt x="24" y="24"/>
                    </a:lnTo>
                    <a:lnTo>
                      <a:pt x="18" y="30"/>
                    </a:lnTo>
                    <a:lnTo>
                      <a:pt x="15" y="37"/>
                    </a:lnTo>
                    <a:lnTo>
                      <a:pt x="10" y="43"/>
                    </a:lnTo>
                    <a:lnTo>
                      <a:pt x="6" y="50"/>
                    </a:lnTo>
                    <a:lnTo>
                      <a:pt x="4" y="57"/>
                    </a:lnTo>
                    <a:lnTo>
                      <a:pt x="2" y="66"/>
                    </a:lnTo>
                    <a:lnTo>
                      <a:pt x="1" y="73"/>
                    </a:lnTo>
                    <a:lnTo>
                      <a:pt x="0" y="82"/>
                    </a:lnTo>
                    <a:lnTo>
                      <a:pt x="0" y="82"/>
                    </a:lnTo>
                    <a:lnTo>
                      <a:pt x="1" y="90"/>
                    </a:lnTo>
                    <a:lnTo>
                      <a:pt x="2" y="99"/>
                    </a:lnTo>
                    <a:lnTo>
                      <a:pt x="4" y="106"/>
                    </a:lnTo>
                    <a:lnTo>
                      <a:pt x="6" y="114"/>
                    </a:lnTo>
                    <a:lnTo>
                      <a:pt x="10" y="121"/>
                    </a:lnTo>
                    <a:lnTo>
                      <a:pt x="15" y="128"/>
                    </a:lnTo>
                    <a:lnTo>
                      <a:pt x="18" y="135"/>
                    </a:lnTo>
                    <a:lnTo>
                      <a:pt x="24" y="141"/>
                    </a:lnTo>
                    <a:lnTo>
                      <a:pt x="31" y="146"/>
                    </a:lnTo>
                    <a:lnTo>
                      <a:pt x="37" y="150"/>
                    </a:lnTo>
                    <a:lnTo>
                      <a:pt x="43" y="154"/>
                    </a:lnTo>
                    <a:lnTo>
                      <a:pt x="50" y="158"/>
                    </a:lnTo>
                    <a:lnTo>
                      <a:pt x="58" y="160"/>
                    </a:lnTo>
                    <a:lnTo>
                      <a:pt x="66" y="163"/>
                    </a:lnTo>
                    <a:lnTo>
                      <a:pt x="73" y="164"/>
                    </a:lnTo>
                    <a:lnTo>
                      <a:pt x="82" y="164"/>
                    </a:lnTo>
                    <a:lnTo>
                      <a:pt x="82" y="164"/>
                    </a:lnTo>
                    <a:lnTo>
                      <a:pt x="91" y="164"/>
                    </a:lnTo>
                    <a:lnTo>
                      <a:pt x="99" y="163"/>
                    </a:lnTo>
                    <a:lnTo>
                      <a:pt x="107" y="160"/>
                    </a:lnTo>
                    <a:lnTo>
                      <a:pt x="114" y="158"/>
                    </a:lnTo>
                    <a:lnTo>
                      <a:pt x="121" y="154"/>
                    </a:lnTo>
                    <a:lnTo>
                      <a:pt x="129" y="150"/>
                    </a:lnTo>
                    <a:lnTo>
                      <a:pt x="135" y="146"/>
                    </a:lnTo>
                    <a:lnTo>
                      <a:pt x="141" y="141"/>
                    </a:lnTo>
                    <a:lnTo>
                      <a:pt x="146" y="135"/>
                    </a:lnTo>
                    <a:lnTo>
                      <a:pt x="151" y="128"/>
                    </a:lnTo>
                    <a:lnTo>
                      <a:pt x="154" y="121"/>
                    </a:lnTo>
                    <a:lnTo>
                      <a:pt x="158" y="114"/>
                    </a:lnTo>
                    <a:lnTo>
                      <a:pt x="160" y="106"/>
                    </a:lnTo>
                    <a:lnTo>
                      <a:pt x="163" y="99"/>
                    </a:lnTo>
                    <a:lnTo>
                      <a:pt x="164" y="90"/>
                    </a:lnTo>
                    <a:lnTo>
                      <a:pt x="164" y="82"/>
                    </a:lnTo>
                    <a:lnTo>
                      <a:pt x="164"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1" name="Freeform 86"/>
              <p:cNvSpPr>
                <a:spLocks/>
              </p:cNvSpPr>
              <p:nvPr/>
            </p:nvSpPr>
            <p:spPr bwMode="auto">
              <a:xfrm>
                <a:off x="2442884" y="2618410"/>
                <a:ext cx="30913" cy="30003"/>
              </a:xfrm>
              <a:custGeom>
                <a:avLst/>
                <a:gdLst>
                  <a:gd name="T0" fmla="*/ 52 w 69"/>
                  <a:gd name="T1" fmla="*/ 3 h 66"/>
                  <a:gd name="T2" fmla="*/ 52 w 69"/>
                  <a:gd name="T3" fmla="*/ 3 h 66"/>
                  <a:gd name="T4" fmla="*/ 48 w 69"/>
                  <a:gd name="T5" fmla="*/ 1 h 66"/>
                  <a:gd name="T6" fmla="*/ 44 w 69"/>
                  <a:gd name="T7" fmla="*/ 0 h 66"/>
                  <a:gd name="T8" fmla="*/ 36 w 69"/>
                  <a:gd name="T9" fmla="*/ 1 h 66"/>
                  <a:gd name="T10" fmla="*/ 28 w 69"/>
                  <a:gd name="T11" fmla="*/ 5 h 66"/>
                  <a:gd name="T12" fmla="*/ 25 w 69"/>
                  <a:gd name="T13" fmla="*/ 7 h 66"/>
                  <a:gd name="T14" fmla="*/ 22 w 69"/>
                  <a:gd name="T15" fmla="*/ 10 h 66"/>
                  <a:gd name="T16" fmla="*/ 4 w 69"/>
                  <a:gd name="T17" fmla="*/ 33 h 66"/>
                  <a:gd name="T18" fmla="*/ 4 w 69"/>
                  <a:gd name="T19" fmla="*/ 33 h 66"/>
                  <a:gd name="T20" fmla="*/ 3 w 69"/>
                  <a:gd name="T21" fmla="*/ 36 h 66"/>
                  <a:gd name="T22" fmla="*/ 1 w 69"/>
                  <a:gd name="T23" fmla="*/ 39 h 66"/>
                  <a:gd name="T24" fmla="*/ 0 w 69"/>
                  <a:gd name="T25" fmla="*/ 43 h 66"/>
                  <a:gd name="T26" fmla="*/ 1 w 69"/>
                  <a:gd name="T27" fmla="*/ 47 h 66"/>
                  <a:gd name="T28" fmla="*/ 3 w 69"/>
                  <a:gd name="T29" fmla="*/ 49 h 66"/>
                  <a:gd name="T30" fmla="*/ 4 w 69"/>
                  <a:gd name="T31" fmla="*/ 53 h 66"/>
                  <a:gd name="T32" fmla="*/ 6 w 69"/>
                  <a:gd name="T33" fmla="*/ 55 h 66"/>
                  <a:gd name="T34" fmla="*/ 10 w 69"/>
                  <a:gd name="T35" fmla="*/ 56 h 66"/>
                  <a:gd name="T36" fmla="*/ 27 w 69"/>
                  <a:gd name="T37" fmla="*/ 65 h 66"/>
                  <a:gd name="T38" fmla="*/ 27 w 69"/>
                  <a:gd name="T39" fmla="*/ 65 h 66"/>
                  <a:gd name="T40" fmla="*/ 31 w 69"/>
                  <a:gd name="T41" fmla="*/ 66 h 66"/>
                  <a:gd name="T42" fmla="*/ 35 w 69"/>
                  <a:gd name="T43" fmla="*/ 66 h 66"/>
                  <a:gd name="T44" fmla="*/ 42 w 69"/>
                  <a:gd name="T45" fmla="*/ 65 h 66"/>
                  <a:gd name="T46" fmla="*/ 49 w 69"/>
                  <a:gd name="T47" fmla="*/ 61 h 66"/>
                  <a:gd name="T48" fmla="*/ 52 w 69"/>
                  <a:gd name="T49" fmla="*/ 59 h 66"/>
                  <a:gd name="T50" fmla="*/ 54 w 69"/>
                  <a:gd name="T51" fmla="*/ 55 h 66"/>
                  <a:gd name="T52" fmla="*/ 66 w 69"/>
                  <a:gd name="T53" fmla="*/ 31 h 66"/>
                  <a:gd name="T54" fmla="*/ 66 w 69"/>
                  <a:gd name="T55" fmla="*/ 31 h 66"/>
                  <a:gd name="T56" fmla="*/ 68 w 69"/>
                  <a:gd name="T57" fmla="*/ 27 h 66"/>
                  <a:gd name="T58" fmla="*/ 69 w 69"/>
                  <a:gd name="T59" fmla="*/ 23 h 66"/>
                  <a:gd name="T60" fmla="*/ 69 w 69"/>
                  <a:gd name="T61" fmla="*/ 20 h 66"/>
                  <a:gd name="T62" fmla="*/ 68 w 69"/>
                  <a:gd name="T63" fmla="*/ 16 h 66"/>
                  <a:gd name="T64" fmla="*/ 66 w 69"/>
                  <a:gd name="T65" fmla="*/ 12 h 66"/>
                  <a:gd name="T66" fmla="*/ 64 w 69"/>
                  <a:gd name="T67" fmla="*/ 10 h 66"/>
                  <a:gd name="T68" fmla="*/ 61 w 69"/>
                  <a:gd name="T69" fmla="*/ 7 h 66"/>
                  <a:gd name="T70" fmla="*/ 58 w 69"/>
                  <a:gd name="T71" fmla="*/ 5 h 66"/>
                  <a:gd name="T72" fmla="*/ 52 w 69"/>
                  <a:gd name="T73" fmla="*/ 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 h="66">
                    <a:moveTo>
                      <a:pt x="52" y="3"/>
                    </a:moveTo>
                    <a:lnTo>
                      <a:pt x="52" y="3"/>
                    </a:lnTo>
                    <a:lnTo>
                      <a:pt x="48" y="1"/>
                    </a:lnTo>
                    <a:lnTo>
                      <a:pt x="44" y="0"/>
                    </a:lnTo>
                    <a:lnTo>
                      <a:pt x="36" y="1"/>
                    </a:lnTo>
                    <a:lnTo>
                      <a:pt x="28" y="5"/>
                    </a:lnTo>
                    <a:lnTo>
                      <a:pt x="25" y="7"/>
                    </a:lnTo>
                    <a:lnTo>
                      <a:pt x="22" y="10"/>
                    </a:lnTo>
                    <a:lnTo>
                      <a:pt x="4" y="33"/>
                    </a:lnTo>
                    <a:lnTo>
                      <a:pt x="4" y="33"/>
                    </a:lnTo>
                    <a:lnTo>
                      <a:pt x="3" y="36"/>
                    </a:lnTo>
                    <a:lnTo>
                      <a:pt x="1" y="39"/>
                    </a:lnTo>
                    <a:lnTo>
                      <a:pt x="0" y="43"/>
                    </a:lnTo>
                    <a:lnTo>
                      <a:pt x="1" y="47"/>
                    </a:lnTo>
                    <a:lnTo>
                      <a:pt x="3" y="49"/>
                    </a:lnTo>
                    <a:lnTo>
                      <a:pt x="4" y="53"/>
                    </a:lnTo>
                    <a:lnTo>
                      <a:pt x="6" y="55"/>
                    </a:lnTo>
                    <a:lnTo>
                      <a:pt x="10" y="56"/>
                    </a:lnTo>
                    <a:lnTo>
                      <a:pt x="27" y="65"/>
                    </a:lnTo>
                    <a:lnTo>
                      <a:pt x="27" y="65"/>
                    </a:lnTo>
                    <a:lnTo>
                      <a:pt x="31" y="66"/>
                    </a:lnTo>
                    <a:lnTo>
                      <a:pt x="35" y="66"/>
                    </a:lnTo>
                    <a:lnTo>
                      <a:pt x="42" y="65"/>
                    </a:lnTo>
                    <a:lnTo>
                      <a:pt x="49" y="61"/>
                    </a:lnTo>
                    <a:lnTo>
                      <a:pt x="52" y="59"/>
                    </a:lnTo>
                    <a:lnTo>
                      <a:pt x="54" y="55"/>
                    </a:lnTo>
                    <a:lnTo>
                      <a:pt x="66" y="31"/>
                    </a:lnTo>
                    <a:lnTo>
                      <a:pt x="66" y="31"/>
                    </a:lnTo>
                    <a:lnTo>
                      <a:pt x="68" y="27"/>
                    </a:lnTo>
                    <a:lnTo>
                      <a:pt x="69" y="23"/>
                    </a:lnTo>
                    <a:lnTo>
                      <a:pt x="69" y="20"/>
                    </a:lnTo>
                    <a:lnTo>
                      <a:pt x="68" y="16"/>
                    </a:lnTo>
                    <a:lnTo>
                      <a:pt x="66" y="12"/>
                    </a:lnTo>
                    <a:lnTo>
                      <a:pt x="64" y="10"/>
                    </a:lnTo>
                    <a:lnTo>
                      <a:pt x="61" y="7"/>
                    </a:lnTo>
                    <a:lnTo>
                      <a:pt x="58" y="5"/>
                    </a:ln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2" name="Freeform 87"/>
              <p:cNvSpPr>
                <a:spLocks/>
              </p:cNvSpPr>
              <p:nvPr/>
            </p:nvSpPr>
            <p:spPr bwMode="auto">
              <a:xfrm>
                <a:off x="2479252" y="2628410"/>
                <a:ext cx="40005" cy="30913"/>
              </a:xfrm>
              <a:custGeom>
                <a:avLst/>
                <a:gdLst>
                  <a:gd name="T0" fmla="*/ 3 w 87"/>
                  <a:gd name="T1" fmla="*/ 41 h 69"/>
                  <a:gd name="T2" fmla="*/ 3 w 87"/>
                  <a:gd name="T3" fmla="*/ 41 h 69"/>
                  <a:gd name="T4" fmla="*/ 1 w 87"/>
                  <a:gd name="T5" fmla="*/ 44 h 69"/>
                  <a:gd name="T6" fmla="*/ 0 w 87"/>
                  <a:gd name="T7" fmla="*/ 48 h 69"/>
                  <a:gd name="T8" fmla="*/ 0 w 87"/>
                  <a:gd name="T9" fmla="*/ 52 h 69"/>
                  <a:gd name="T10" fmla="*/ 1 w 87"/>
                  <a:gd name="T11" fmla="*/ 54 h 69"/>
                  <a:gd name="T12" fmla="*/ 4 w 87"/>
                  <a:gd name="T13" fmla="*/ 57 h 69"/>
                  <a:gd name="T14" fmla="*/ 6 w 87"/>
                  <a:gd name="T15" fmla="*/ 59 h 69"/>
                  <a:gd name="T16" fmla="*/ 9 w 87"/>
                  <a:gd name="T17" fmla="*/ 60 h 69"/>
                  <a:gd name="T18" fmla="*/ 12 w 87"/>
                  <a:gd name="T19" fmla="*/ 62 h 69"/>
                  <a:gd name="T20" fmla="*/ 67 w 87"/>
                  <a:gd name="T21" fmla="*/ 69 h 69"/>
                  <a:gd name="T22" fmla="*/ 67 w 87"/>
                  <a:gd name="T23" fmla="*/ 69 h 69"/>
                  <a:gd name="T24" fmla="*/ 71 w 87"/>
                  <a:gd name="T25" fmla="*/ 69 h 69"/>
                  <a:gd name="T26" fmla="*/ 75 w 87"/>
                  <a:gd name="T27" fmla="*/ 69 h 69"/>
                  <a:gd name="T28" fmla="*/ 78 w 87"/>
                  <a:gd name="T29" fmla="*/ 68 h 69"/>
                  <a:gd name="T30" fmla="*/ 81 w 87"/>
                  <a:gd name="T31" fmla="*/ 65 h 69"/>
                  <a:gd name="T32" fmla="*/ 83 w 87"/>
                  <a:gd name="T33" fmla="*/ 63 h 69"/>
                  <a:gd name="T34" fmla="*/ 85 w 87"/>
                  <a:gd name="T35" fmla="*/ 59 h 69"/>
                  <a:gd name="T36" fmla="*/ 86 w 87"/>
                  <a:gd name="T37" fmla="*/ 55 h 69"/>
                  <a:gd name="T38" fmla="*/ 87 w 87"/>
                  <a:gd name="T39" fmla="*/ 52 h 69"/>
                  <a:gd name="T40" fmla="*/ 87 w 87"/>
                  <a:gd name="T41" fmla="*/ 24 h 69"/>
                  <a:gd name="T42" fmla="*/ 87 w 87"/>
                  <a:gd name="T43" fmla="*/ 24 h 69"/>
                  <a:gd name="T44" fmla="*/ 86 w 87"/>
                  <a:gd name="T45" fmla="*/ 20 h 69"/>
                  <a:gd name="T46" fmla="*/ 85 w 87"/>
                  <a:gd name="T47" fmla="*/ 15 h 69"/>
                  <a:gd name="T48" fmla="*/ 81 w 87"/>
                  <a:gd name="T49" fmla="*/ 9 h 69"/>
                  <a:gd name="T50" fmla="*/ 75 w 87"/>
                  <a:gd name="T51" fmla="*/ 4 h 69"/>
                  <a:gd name="T52" fmla="*/ 71 w 87"/>
                  <a:gd name="T53" fmla="*/ 3 h 69"/>
                  <a:gd name="T54" fmla="*/ 66 w 87"/>
                  <a:gd name="T55" fmla="*/ 2 h 69"/>
                  <a:gd name="T56" fmla="*/ 44 w 87"/>
                  <a:gd name="T57" fmla="*/ 0 h 69"/>
                  <a:gd name="T58" fmla="*/ 44 w 87"/>
                  <a:gd name="T59" fmla="*/ 0 h 69"/>
                  <a:gd name="T60" fmla="*/ 36 w 87"/>
                  <a:gd name="T61" fmla="*/ 0 h 69"/>
                  <a:gd name="T62" fmla="*/ 28 w 87"/>
                  <a:gd name="T63" fmla="*/ 4 h 69"/>
                  <a:gd name="T64" fmla="*/ 21 w 87"/>
                  <a:gd name="T65" fmla="*/ 9 h 69"/>
                  <a:gd name="T66" fmla="*/ 16 w 87"/>
                  <a:gd name="T67" fmla="*/ 16 h 69"/>
                  <a:gd name="T68" fmla="*/ 3 w 87"/>
                  <a:gd name="T69" fmla="*/ 4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 h="69">
                    <a:moveTo>
                      <a:pt x="3" y="41"/>
                    </a:moveTo>
                    <a:lnTo>
                      <a:pt x="3" y="41"/>
                    </a:lnTo>
                    <a:lnTo>
                      <a:pt x="1" y="44"/>
                    </a:lnTo>
                    <a:lnTo>
                      <a:pt x="0" y="48"/>
                    </a:lnTo>
                    <a:lnTo>
                      <a:pt x="0" y="52"/>
                    </a:lnTo>
                    <a:lnTo>
                      <a:pt x="1" y="54"/>
                    </a:lnTo>
                    <a:lnTo>
                      <a:pt x="4" y="57"/>
                    </a:lnTo>
                    <a:lnTo>
                      <a:pt x="6" y="59"/>
                    </a:lnTo>
                    <a:lnTo>
                      <a:pt x="9" y="60"/>
                    </a:lnTo>
                    <a:lnTo>
                      <a:pt x="12" y="62"/>
                    </a:lnTo>
                    <a:lnTo>
                      <a:pt x="67" y="69"/>
                    </a:lnTo>
                    <a:lnTo>
                      <a:pt x="67" y="69"/>
                    </a:lnTo>
                    <a:lnTo>
                      <a:pt x="71" y="69"/>
                    </a:lnTo>
                    <a:lnTo>
                      <a:pt x="75" y="69"/>
                    </a:lnTo>
                    <a:lnTo>
                      <a:pt x="78" y="68"/>
                    </a:lnTo>
                    <a:lnTo>
                      <a:pt x="81" y="65"/>
                    </a:lnTo>
                    <a:lnTo>
                      <a:pt x="83" y="63"/>
                    </a:lnTo>
                    <a:lnTo>
                      <a:pt x="85" y="59"/>
                    </a:lnTo>
                    <a:lnTo>
                      <a:pt x="86" y="55"/>
                    </a:lnTo>
                    <a:lnTo>
                      <a:pt x="87" y="52"/>
                    </a:lnTo>
                    <a:lnTo>
                      <a:pt x="87" y="24"/>
                    </a:lnTo>
                    <a:lnTo>
                      <a:pt x="87" y="24"/>
                    </a:lnTo>
                    <a:lnTo>
                      <a:pt x="86" y="20"/>
                    </a:lnTo>
                    <a:lnTo>
                      <a:pt x="85" y="15"/>
                    </a:lnTo>
                    <a:lnTo>
                      <a:pt x="81" y="9"/>
                    </a:lnTo>
                    <a:lnTo>
                      <a:pt x="75" y="4"/>
                    </a:lnTo>
                    <a:lnTo>
                      <a:pt x="71" y="3"/>
                    </a:lnTo>
                    <a:lnTo>
                      <a:pt x="66" y="2"/>
                    </a:lnTo>
                    <a:lnTo>
                      <a:pt x="44" y="0"/>
                    </a:lnTo>
                    <a:lnTo>
                      <a:pt x="44" y="0"/>
                    </a:lnTo>
                    <a:lnTo>
                      <a:pt x="36" y="0"/>
                    </a:lnTo>
                    <a:lnTo>
                      <a:pt x="28" y="4"/>
                    </a:lnTo>
                    <a:lnTo>
                      <a:pt x="21" y="9"/>
                    </a:lnTo>
                    <a:lnTo>
                      <a:pt x="16" y="16"/>
                    </a:lnTo>
                    <a:lnTo>
                      <a:pt x="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3" name="Freeform 88"/>
              <p:cNvSpPr>
                <a:spLocks/>
              </p:cNvSpPr>
              <p:nvPr/>
            </p:nvSpPr>
            <p:spPr bwMode="auto">
              <a:xfrm>
                <a:off x="2532895" y="2631138"/>
                <a:ext cx="50915" cy="30913"/>
              </a:xfrm>
              <a:custGeom>
                <a:avLst/>
                <a:gdLst>
                  <a:gd name="T0" fmla="*/ 0 w 110"/>
                  <a:gd name="T1" fmla="*/ 49 h 69"/>
                  <a:gd name="T2" fmla="*/ 0 w 110"/>
                  <a:gd name="T3" fmla="*/ 49 h 69"/>
                  <a:gd name="T4" fmla="*/ 0 w 110"/>
                  <a:gd name="T5" fmla="*/ 53 h 69"/>
                  <a:gd name="T6" fmla="*/ 1 w 110"/>
                  <a:gd name="T7" fmla="*/ 57 h 69"/>
                  <a:gd name="T8" fmla="*/ 2 w 110"/>
                  <a:gd name="T9" fmla="*/ 60 h 69"/>
                  <a:gd name="T10" fmla="*/ 5 w 110"/>
                  <a:gd name="T11" fmla="*/ 63 h 69"/>
                  <a:gd name="T12" fmla="*/ 8 w 110"/>
                  <a:gd name="T13" fmla="*/ 65 h 69"/>
                  <a:gd name="T14" fmla="*/ 12 w 110"/>
                  <a:gd name="T15" fmla="*/ 68 h 69"/>
                  <a:gd name="T16" fmla="*/ 16 w 110"/>
                  <a:gd name="T17" fmla="*/ 69 h 69"/>
                  <a:gd name="T18" fmla="*/ 19 w 110"/>
                  <a:gd name="T19" fmla="*/ 69 h 69"/>
                  <a:gd name="T20" fmla="*/ 91 w 110"/>
                  <a:gd name="T21" fmla="*/ 69 h 69"/>
                  <a:gd name="T22" fmla="*/ 91 w 110"/>
                  <a:gd name="T23" fmla="*/ 69 h 69"/>
                  <a:gd name="T24" fmla="*/ 94 w 110"/>
                  <a:gd name="T25" fmla="*/ 69 h 69"/>
                  <a:gd name="T26" fmla="*/ 98 w 110"/>
                  <a:gd name="T27" fmla="*/ 68 h 69"/>
                  <a:gd name="T28" fmla="*/ 102 w 110"/>
                  <a:gd name="T29" fmla="*/ 65 h 69"/>
                  <a:gd name="T30" fmla="*/ 104 w 110"/>
                  <a:gd name="T31" fmla="*/ 63 h 69"/>
                  <a:gd name="T32" fmla="*/ 106 w 110"/>
                  <a:gd name="T33" fmla="*/ 60 h 69"/>
                  <a:gd name="T34" fmla="*/ 109 w 110"/>
                  <a:gd name="T35" fmla="*/ 57 h 69"/>
                  <a:gd name="T36" fmla="*/ 110 w 110"/>
                  <a:gd name="T37" fmla="*/ 53 h 69"/>
                  <a:gd name="T38" fmla="*/ 110 w 110"/>
                  <a:gd name="T39" fmla="*/ 49 h 69"/>
                  <a:gd name="T40" fmla="*/ 110 w 110"/>
                  <a:gd name="T41" fmla="*/ 22 h 69"/>
                  <a:gd name="T42" fmla="*/ 110 w 110"/>
                  <a:gd name="T43" fmla="*/ 22 h 69"/>
                  <a:gd name="T44" fmla="*/ 110 w 110"/>
                  <a:gd name="T45" fmla="*/ 19 h 69"/>
                  <a:gd name="T46" fmla="*/ 109 w 110"/>
                  <a:gd name="T47" fmla="*/ 14 h 69"/>
                  <a:gd name="T48" fmla="*/ 104 w 110"/>
                  <a:gd name="T49" fmla="*/ 8 h 69"/>
                  <a:gd name="T50" fmla="*/ 98 w 110"/>
                  <a:gd name="T51" fmla="*/ 4 h 69"/>
                  <a:gd name="T52" fmla="*/ 94 w 110"/>
                  <a:gd name="T53" fmla="*/ 3 h 69"/>
                  <a:gd name="T54" fmla="*/ 91 w 110"/>
                  <a:gd name="T55" fmla="*/ 1 h 69"/>
                  <a:gd name="T56" fmla="*/ 19 w 110"/>
                  <a:gd name="T57" fmla="*/ 0 h 69"/>
                  <a:gd name="T58" fmla="*/ 19 w 110"/>
                  <a:gd name="T59" fmla="*/ 0 h 69"/>
                  <a:gd name="T60" fmla="*/ 16 w 110"/>
                  <a:gd name="T61" fmla="*/ 1 h 69"/>
                  <a:gd name="T62" fmla="*/ 12 w 110"/>
                  <a:gd name="T63" fmla="*/ 1 h 69"/>
                  <a:gd name="T64" fmla="*/ 8 w 110"/>
                  <a:gd name="T65" fmla="*/ 4 h 69"/>
                  <a:gd name="T66" fmla="*/ 5 w 110"/>
                  <a:gd name="T67" fmla="*/ 6 h 69"/>
                  <a:gd name="T68" fmla="*/ 2 w 110"/>
                  <a:gd name="T69" fmla="*/ 9 h 69"/>
                  <a:gd name="T70" fmla="*/ 1 w 110"/>
                  <a:gd name="T71" fmla="*/ 13 h 69"/>
                  <a:gd name="T72" fmla="*/ 0 w 110"/>
                  <a:gd name="T73" fmla="*/ 16 h 69"/>
                  <a:gd name="T74" fmla="*/ 0 w 110"/>
                  <a:gd name="T75" fmla="*/ 20 h 69"/>
                  <a:gd name="T76" fmla="*/ 0 w 110"/>
                  <a:gd name="T77"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0" h="69">
                    <a:moveTo>
                      <a:pt x="0" y="49"/>
                    </a:moveTo>
                    <a:lnTo>
                      <a:pt x="0" y="49"/>
                    </a:lnTo>
                    <a:lnTo>
                      <a:pt x="0" y="53"/>
                    </a:lnTo>
                    <a:lnTo>
                      <a:pt x="1" y="57"/>
                    </a:lnTo>
                    <a:lnTo>
                      <a:pt x="2" y="60"/>
                    </a:lnTo>
                    <a:lnTo>
                      <a:pt x="5" y="63"/>
                    </a:lnTo>
                    <a:lnTo>
                      <a:pt x="8" y="65"/>
                    </a:lnTo>
                    <a:lnTo>
                      <a:pt x="12" y="68"/>
                    </a:lnTo>
                    <a:lnTo>
                      <a:pt x="16" y="69"/>
                    </a:lnTo>
                    <a:lnTo>
                      <a:pt x="19" y="69"/>
                    </a:lnTo>
                    <a:lnTo>
                      <a:pt x="91" y="69"/>
                    </a:lnTo>
                    <a:lnTo>
                      <a:pt x="91" y="69"/>
                    </a:lnTo>
                    <a:lnTo>
                      <a:pt x="94" y="69"/>
                    </a:lnTo>
                    <a:lnTo>
                      <a:pt x="98" y="68"/>
                    </a:lnTo>
                    <a:lnTo>
                      <a:pt x="102" y="65"/>
                    </a:lnTo>
                    <a:lnTo>
                      <a:pt x="104" y="63"/>
                    </a:lnTo>
                    <a:lnTo>
                      <a:pt x="106" y="60"/>
                    </a:lnTo>
                    <a:lnTo>
                      <a:pt x="109" y="57"/>
                    </a:lnTo>
                    <a:lnTo>
                      <a:pt x="110" y="53"/>
                    </a:lnTo>
                    <a:lnTo>
                      <a:pt x="110" y="49"/>
                    </a:lnTo>
                    <a:lnTo>
                      <a:pt x="110" y="22"/>
                    </a:lnTo>
                    <a:lnTo>
                      <a:pt x="110" y="22"/>
                    </a:lnTo>
                    <a:lnTo>
                      <a:pt x="110" y="19"/>
                    </a:lnTo>
                    <a:lnTo>
                      <a:pt x="109" y="14"/>
                    </a:lnTo>
                    <a:lnTo>
                      <a:pt x="104" y="8"/>
                    </a:lnTo>
                    <a:lnTo>
                      <a:pt x="98" y="4"/>
                    </a:lnTo>
                    <a:lnTo>
                      <a:pt x="94" y="3"/>
                    </a:lnTo>
                    <a:lnTo>
                      <a:pt x="91" y="1"/>
                    </a:lnTo>
                    <a:lnTo>
                      <a:pt x="19" y="0"/>
                    </a:lnTo>
                    <a:lnTo>
                      <a:pt x="19" y="0"/>
                    </a:lnTo>
                    <a:lnTo>
                      <a:pt x="16" y="1"/>
                    </a:lnTo>
                    <a:lnTo>
                      <a:pt x="12" y="1"/>
                    </a:lnTo>
                    <a:lnTo>
                      <a:pt x="8" y="4"/>
                    </a:lnTo>
                    <a:lnTo>
                      <a:pt x="5" y="6"/>
                    </a:lnTo>
                    <a:lnTo>
                      <a:pt x="2" y="9"/>
                    </a:lnTo>
                    <a:lnTo>
                      <a:pt x="1" y="13"/>
                    </a:lnTo>
                    <a:lnTo>
                      <a:pt x="0" y="16"/>
                    </a:lnTo>
                    <a:lnTo>
                      <a:pt x="0" y="20"/>
                    </a:lnTo>
                    <a:lnTo>
                      <a:pt x="0"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4" name="Freeform 89"/>
              <p:cNvSpPr>
                <a:spLocks/>
              </p:cNvSpPr>
              <p:nvPr/>
            </p:nvSpPr>
            <p:spPr bwMode="auto">
              <a:xfrm>
                <a:off x="2708370" y="2618410"/>
                <a:ext cx="30004" cy="30003"/>
              </a:xfrm>
              <a:custGeom>
                <a:avLst/>
                <a:gdLst>
                  <a:gd name="T0" fmla="*/ 47 w 68"/>
                  <a:gd name="T1" fmla="*/ 10 h 66"/>
                  <a:gd name="T2" fmla="*/ 47 w 68"/>
                  <a:gd name="T3" fmla="*/ 10 h 66"/>
                  <a:gd name="T4" fmla="*/ 43 w 68"/>
                  <a:gd name="T5" fmla="*/ 7 h 66"/>
                  <a:gd name="T6" fmla="*/ 41 w 68"/>
                  <a:gd name="T7" fmla="*/ 5 h 66"/>
                  <a:gd name="T8" fmla="*/ 32 w 68"/>
                  <a:gd name="T9" fmla="*/ 1 h 66"/>
                  <a:gd name="T10" fmla="*/ 25 w 68"/>
                  <a:gd name="T11" fmla="*/ 0 h 66"/>
                  <a:gd name="T12" fmla="*/ 20 w 68"/>
                  <a:gd name="T13" fmla="*/ 1 h 66"/>
                  <a:gd name="T14" fmla="*/ 16 w 68"/>
                  <a:gd name="T15" fmla="*/ 3 h 66"/>
                  <a:gd name="T16" fmla="*/ 12 w 68"/>
                  <a:gd name="T17" fmla="*/ 5 h 66"/>
                  <a:gd name="T18" fmla="*/ 12 w 68"/>
                  <a:gd name="T19" fmla="*/ 5 h 66"/>
                  <a:gd name="T20" fmla="*/ 8 w 68"/>
                  <a:gd name="T21" fmla="*/ 7 h 66"/>
                  <a:gd name="T22" fmla="*/ 4 w 68"/>
                  <a:gd name="T23" fmla="*/ 10 h 66"/>
                  <a:gd name="T24" fmla="*/ 3 w 68"/>
                  <a:gd name="T25" fmla="*/ 12 h 66"/>
                  <a:gd name="T26" fmla="*/ 0 w 68"/>
                  <a:gd name="T27" fmla="*/ 16 h 66"/>
                  <a:gd name="T28" fmla="*/ 0 w 68"/>
                  <a:gd name="T29" fmla="*/ 20 h 66"/>
                  <a:gd name="T30" fmla="*/ 0 w 68"/>
                  <a:gd name="T31" fmla="*/ 23 h 66"/>
                  <a:gd name="T32" fmla="*/ 0 w 68"/>
                  <a:gd name="T33" fmla="*/ 27 h 66"/>
                  <a:gd name="T34" fmla="*/ 2 w 68"/>
                  <a:gd name="T35" fmla="*/ 31 h 66"/>
                  <a:gd name="T36" fmla="*/ 15 w 68"/>
                  <a:gd name="T37" fmla="*/ 55 h 66"/>
                  <a:gd name="T38" fmla="*/ 15 w 68"/>
                  <a:gd name="T39" fmla="*/ 55 h 66"/>
                  <a:gd name="T40" fmla="*/ 16 w 68"/>
                  <a:gd name="T41" fmla="*/ 59 h 66"/>
                  <a:gd name="T42" fmla="*/ 20 w 68"/>
                  <a:gd name="T43" fmla="*/ 61 h 66"/>
                  <a:gd name="T44" fmla="*/ 26 w 68"/>
                  <a:gd name="T45" fmla="*/ 65 h 66"/>
                  <a:gd name="T46" fmla="*/ 34 w 68"/>
                  <a:gd name="T47" fmla="*/ 66 h 66"/>
                  <a:gd name="T48" fmla="*/ 38 w 68"/>
                  <a:gd name="T49" fmla="*/ 66 h 66"/>
                  <a:gd name="T50" fmla="*/ 42 w 68"/>
                  <a:gd name="T51" fmla="*/ 65 h 66"/>
                  <a:gd name="T52" fmla="*/ 58 w 68"/>
                  <a:gd name="T53" fmla="*/ 56 h 66"/>
                  <a:gd name="T54" fmla="*/ 58 w 68"/>
                  <a:gd name="T55" fmla="*/ 56 h 66"/>
                  <a:gd name="T56" fmla="*/ 62 w 68"/>
                  <a:gd name="T57" fmla="*/ 55 h 66"/>
                  <a:gd name="T58" fmla="*/ 64 w 68"/>
                  <a:gd name="T59" fmla="*/ 53 h 66"/>
                  <a:gd name="T60" fmla="*/ 67 w 68"/>
                  <a:gd name="T61" fmla="*/ 49 h 66"/>
                  <a:gd name="T62" fmla="*/ 68 w 68"/>
                  <a:gd name="T63" fmla="*/ 47 h 66"/>
                  <a:gd name="T64" fmla="*/ 68 w 68"/>
                  <a:gd name="T65" fmla="*/ 43 h 66"/>
                  <a:gd name="T66" fmla="*/ 68 w 68"/>
                  <a:gd name="T67" fmla="*/ 39 h 66"/>
                  <a:gd name="T68" fmla="*/ 67 w 68"/>
                  <a:gd name="T69" fmla="*/ 36 h 66"/>
                  <a:gd name="T70" fmla="*/ 64 w 68"/>
                  <a:gd name="T71" fmla="*/ 33 h 66"/>
                  <a:gd name="T72" fmla="*/ 47 w 68"/>
                  <a:gd name="T73"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 h="66">
                    <a:moveTo>
                      <a:pt x="47" y="10"/>
                    </a:moveTo>
                    <a:lnTo>
                      <a:pt x="47" y="10"/>
                    </a:lnTo>
                    <a:lnTo>
                      <a:pt x="43" y="7"/>
                    </a:lnTo>
                    <a:lnTo>
                      <a:pt x="41" y="5"/>
                    </a:lnTo>
                    <a:lnTo>
                      <a:pt x="32" y="1"/>
                    </a:lnTo>
                    <a:lnTo>
                      <a:pt x="25" y="0"/>
                    </a:lnTo>
                    <a:lnTo>
                      <a:pt x="20" y="1"/>
                    </a:lnTo>
                    <a:lnTo>
                      <a:pt x="16" y="3"/>
                    </a:lnTo>
                    <a:lnTo>
                      <a:pt x="12" y="5"/>
                    </a:lnTo>
                    <a:lnTo>
                      <a:pt x="12" y="5"/>
                    </a:lnTo>
                    <a:lnTo>
                      <a:pt x="8" y="7"/>
                    </a:lnTo>
                    <a:lnTo>
                      <a:pt x="4" y="10"/>
                    </a:lnTo>
                    <a:lnTo>
                      <a:pt x="3" y="12"/>
                    </a:lnTo>
                    <a:lnTo>
                      <a:pt x="0" y="16"/>
                    </a:lnTo>
                    <a:lnTo>
                      <a:pt x="0" y="20"/>
                    </a:lnTo>
                    <a:lnTo>
                      <a:pt x="0" y="23"/>
                    </a:lnTo>
                    <a:lnTo>
                      <a:pt x="0" y="27"/>
                    </a:lnTo>
                    <a:lnTo>
                      <a:pt x="2" y="31"/>
                    </a:lnTo>
                    <a:lnTo>
                      <a:pt x="15" y="55"/>
                    </a:lnTo>
                    <a:lnTo>
                      <a:pt x="15" y="55"/>
                    </a:lnTo>
                    <a:lnTo>
                      <a:pt x="16" y="59"/>
                    </a:lnTo>
                    <a:lnTo>
                      <a:pt x="20" y="61"/>
                    </a:lnTo>
                    <a:lnTo>
                      <a:pt x="26" y="65"/>
                    </a:lnTo>
                    <a:lnTo>
                      <a:pt x="34" y="66"/>
                    </a:lnTo>
                    <a:lnTo>
                      <a:pt x="38" y="66"/>
                    </a:lnTo>
                    <a:lnTo>
                      <a:pt x="42" y="65"/>
                    </a:lnTo>
                    <a:lnTo>
                      <a:pt x="58" y="56"/>
                    </a:lnTo>
                    <a:lnTo>
                      <a:pt x="58" y="56"/>
                    </a:lnTo>
                    <a:lnTo>
                      <a:pt x="62" y="55"/>
                    </a:lnTo>
                    <a:lnTo>
                      <a:pt x="64" y="53"/>
                    </a:lnTo>
                    <a:lnTo>
                      <a:pt x="67" y="49"/>
                    </a:lnTo>
                    <a:lnTo>
                      <a:pt x="68" y="47"/>
                    </a:lnTo>
                    <a:lnTo>
                      <a:pt x="68" y="43"/>
                    </a:lnTo>
                    <a:lnTo>
                      <a:pt x="68" y="39"/>
                    </a:lnTo>
                    <a:lnTo>
                      <a:pt x="67" y="36"/>
                    </a:lnTo>
                    <a:lnTo>
                      <a:pt x="64" y="33"/>
                    </a:lnTo>
                    <a:lnTo>
                      <a:pt x="47"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5" name="Freeform 90"/>
              <p:cNvSpPr>
                <a:spLocks/>
              </p:cNvSpPr>
              <p:nvPr/>
            </p:nvSpPr>
            <p:spPr bwMode="auto">
              <a:xfrm>
                <a:off x="2662910" y="2628410"/>
                <a:ext cx="39096" cy="30913"/>
              </a:xfrm>
              <a:custGeom>
                <a:avLst/>
                <a:gdLst>
                  <a:gd name="T0" fmla="*/ 20 w 86"/>
                  <a:gd name="T1" fmla="*/ 2 h 69"/>
                  <a:gd name="T2" fmla="*/ 20 w 86"/>
                  <a:gd name="T3" fmla="*/ 2 h 69"/>
                  <a:gd name="T4" fmla="*/ 16 w 86"/>
                  <a:gd name="T5" fmla="*/ 3 h 69"/>
                  <a:gd name="T6" fmla="*/ 13 w 86"/>
                  <a:gd name="T7" fmla="*/ 4 h 69"/>
                  <a:gd name="T8" fmla="*/ 5 w 86"/>
                  <a:gd name="T9" fmla="*/ 9 h 69"/>
                  <a:gd name="T10" fmla="*/ 1 w 86"/>
                  <a:gd name="T11" fmla="*/ 15 h 69"/>
                  <a:gd name="T12" fmla="*/ 0 w 86"/>
                  <a:gd name="T13" fmla="*/ 20 h 69"/>
                  <a:gd name="T14" fmla="*/ 0 w 86"/>
                  <a:gd name="T15" fmla="*/ 24 h 69"/>
                  <a:gd name="T16" fmla="*/ 0 w 86"/>
                  <a:gd name="T17" fmla="*/ 52 h 69"/>
                  <a:gd name="T18" fmla="*/ 0 w 86"/>
                  <a:gd name="T19" fmla="*/ 52 h 69"/>
                  <a:gd name="T20" fmla="*/ 0 w 86"/>
                  <a:gd name="T21" fmla="*/ 55 h 69"/>
                  <a:gd name="T22" fmla="*/ 1 w 86"/>
                  <a:gd name="T23" fmla="*/ 59 h 69"/>
                  <a:gd name="T24" fmla="*/ 3 w 86"/>
                  <a:gd name="T25" fmla="*/ 63 h 69"/>
                  <a:gd name="T26" fmla="*/ 5 w 86"/>
                  <a:gd name="T27" fmla="*/ 65 h 69"/>
                  <a:gd name="T28" fmla="*/ 9 w 86"/>
                  <a:gd name="T29" fmla="*/ 68 h 69"/>
                  <a:gd name="T30" fmla="*/ 11 w 86"/>
                  <a:gd name="T31" fmla="*/ 69 h 69"/>
                  <a:gd name="T32" fmla="*/ 15 w 86"/>
                  <a:gd name="T33" fmla="*/ 69 h 69"/>
                  <a:gd name="T34" fmla="*/ 20 w 86"/>
                  <a:gd name="T35" fmla="*/ 69 h 69"/>
                  <a:gd name="T36" fmla="*/ 74 w 86"/>
                  <a:gd name="T37" fmla="*/ 62 h 69"/>
                  <a:gd name="T38" fmla="*/ 74 w 86"/>
                  <a:gd name="T39" fmla="*/ 62 h 69"/>
                  <a:gd name="T40" fmla="*/ 77 w 86"/>
                  <a:gd name="T41" fmla="*/ 60 h 69"/>
                  <a:gd name="T42" fmla="*/ 81 w 86"/>
                  <a:gd name="T43" fmla="*/ 59 h 69"/>
                  <a:gd name="T44" fmla="*/ 84 w 86"/>
                  <a:gd name="T45" fmla="*/ 57 h 69"/>
                  <a:gd name="T46" fmla="*/ 85 w 86"/>
                  <a:gd name="T47" fmla="*/ 54 h 69"/>
                  <a:gd name="T48" fmla="*/ 86 w 86"/>
                  <a:gd name="T49" fmla="*/ 52 h 69"/>
                  <a:gd name="T50" fmla="*/ 86 w 86"/>
                  <a:gd name="T51" fmla="*/ 48 h 69"/>
                  <a:gd name="T52" fmla="*/ 86 w 86"/>
                  <a:gd name="T53" fmla="*/ 44 h 69"/>
                  <a:gd name="T54" fmla="*/ 85 w 86"/>
                  <a:gd name="T55" fmla="*/ 41 h 69"/>
                  <a:gd name="T56" fmla="*/ 71 w 86"/>
                  <a:gd name="T57" fmla="*/ 16 h 69"/>
                  <a:gd name="T58" fmla="*/ 71 w 86"/>
                  <a:gd name="T59" fmla="*/ 16 h 69"/>
                  <a:gd name="T60" fmla="*/ 66 w 86"/>
                  <a:gd name="T61" fmla="*/ 9 h 69"/>
                  <a:gd name="T62" fmla="*/ 59 w 86"/>
                  <a:gd name="T63" fmla="*/ 4 h 69"/>
                  <a:gd name="T64" fmla="*/ 50 w 86"/>
                  <a:gd name="T65" fmla="*/ 0 h 69"/>
                  <a:gd name="T66" fmla="*/ 42 w 86"/>
                  <a:gd name="T67" fmla="*/ 0 h 69"/>
                  <a:gd name="T68" fmla="*/ 20 w 86"/>
                  <a:gd name="T69" fmla="*/ 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 h="69">
                    <a:moveTo>
                      <a:pt x="20" y="2"/>
                    </a:moveTo>
                    <a:lnTo>
                      <a:pt x="20" y="2"/>
                    </a:lnTo>
                    <a:lnTo>
                      <a:pt x="16" y="3"/>
                    </a:lnTo>
                    <a:lnTo>
                      <a:pt x="13" y="4"/>
                    </a:lnTo>
                    <a:lnTo>
                      <a:pt x="5" y="9"/>
                    </a:lnTo>
                    <a:lnTo>
                      <a:pt x="1" y="15"/>
                    </a:lnTo>
                    <a:lnTo>
                      <a:pt x="0" y="20"/>
                    </a:lnTo>
                    <a:lnTo>
                      <a:pt x="0" y="24"/>
                    </a:lnTo>
                    <a:lnTo>
                      <a:pt x="0" y="52"/>
                    </a:lnTo>
                    <a:lnTo>
                      <a:pt x="0" y="52"/>
                    </a:lnTo>
                    <a:lnTo>
                      <a:pt x="0" y="55"/>
                    </a:lnTo>
                    <a:lnTo>
                      <a:pt x="1" y="59"/>
                    </a:lnTo>
                    <a:lnTo>
                      <a:pt x="3" y="63"/>
                    </a:lnTo>
                    <a:lnTo>
                      <a:pt x="5" y="65"/>
                    </a:lnTo>
                    <a:lnTo>
                      <a:pt x="9" y="68"/>
                    </a:lnTo>
                    <a:lnTo>
                      <a:pt x="11" y="69"/>
                    </a:lnTo>
                    <a:lnTo>
                      <a:pt x="15" y="69"/>
                    </a:lnTo>
                    <a:lnTo>
                      <a:pt x="20" y="69"/>
                    </a:lnTo>
                    <a:lnTo>
                      <a:pt x="74" y="62"/>
                    </a:lnTo>
                    <a:lnTo>
                      <a:pt x="74" y="62"/>
                    </a:lnTo>
                    <a:lnTo>
                      <a:pt x="77" y="60"/>
                    </a:lnTo>
                    <a:lnTo>
                      <a:pt x="81" y="59"/>
                    </a:lnTo>
                    <a:lnTo>
                      <a:pt x="84" y="57"/>
                    </a:lnTo>
                    <a:lnTo>
                      <a:pt x="85" y="54"/>
                    </a:lnTo>
                    <a:lnTo>
                      <a:pt x="86" y="52"/>
                    </a:lnTo>
                    <a:lnTo>
                      <a:pt x="86" y="48"/>
                    </a:lnTo>
                    <a:lnTo>
                      <a:pt x="86" y="44"/>
                    </a:lnTo>
                    <a:lnTo>
                      <a:pt x="85" y="41"/>
                    </a:lnTo>
                    <a:lnTo>
                      <a:pt x="71" y="16"/>
                    </a:lnTo>
                    <a:lnTo>
                      <a:pt x="71" y="16"/>
                    </a:lnTo>
                    <a:lnTo>
                      <a:pt x="66" y="9"/>
                    </a:lnTo>
                    <a:lnTo>
                      <a:pt x="59" y="4"/>
                    </a:lnTo>
                    <a:lnTo>
                      <a:pt x="50" y="0"/>
                    </a:lnTo>
                    <a:lnTo>
                      <a:pt x="42" y="0"/>
                    </a:lnTo>
                    <a:lnTo>
                      <a:pt x="2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36" name="Freeform 91"/>
              <p:cNvSpPr>
                <a:spLocks/>
              </p:cNvSpPr>
              <p:nvPr/>
            </p:nvSpPr>
            <p:spPr bwMode="auto">
              <a:xfrm>
                <a:off x="2597447" y="2631138"/>
                <a:ext cx="50915" cy="30913"/>
              </a:xfrm>
              <a:custGeom>
                <a:avLst/>
                <a:gdLst>
                  <a:gd name="T0" fmla="*/ 0 w 111"/>
                  <a:gd name="T1" fmla="*/ 49 h 69"/>
                  <a:gd name="T2" fmla="*/ 0 w 111"/>
                  <a:gd name="T3" fmla="*/ 49 h 69"/>
                  <a:gd name="T4" fmla="*/ 0 w 111"/>
                  <a:gd name="T5" fmla="*/ 53 h 69"/>
                  <a:gd name="T6" fmla="*/ 1 w 111"/>
                  <a:gd name="T7" fmla="*/ 57 h 69"/>
                  <a:gd name="T8" fmla="*/ 4 w 111"/>
                  <a:gd name="T9" fmla="*/ 60 h 69"/>
                  <a:gd name="T10" fmla="*/ 6 w 111"/>
                  <a:gd name="T11" fmla="*/ 63 h 69"/>
                  <a:gd name="T12" fmla="*/ 9 w 111"/>
                  <a:gd name="T13" fmla="*/ 65 h 69"/>
                  <a:gd name="T14" fmla="*/ 12 w 111"/>
                  <a:gd name="T15" fmla="*/ 68 h 69"/>
                  <a:gd name="T16" fmla="*/ 16 w 111"/>
                  <a:gd name="T17" fmla="*/ 69 h 69"/>
                  <a:gd name="T18" fmla="*/ 20 w 111"/>
                  <a:gd name="T19" fmla="*/ 69 h 69"/>
                  <a:gd name="T20" fmla="*/ 91 w 111"/>
                  <a:gd name="T21" fmla="*/ 69 h 69"/>
                  <a:gd name="T22" fmla="*/ 91 w 111"/>
                  <a:gd name="T23" fmla="*/ 69 h 69"/>
                  <a:gd name="T24" fmla="*/ 95 w 111"/>
                  <a:gd name="T25" fmla="*/ 69 h 69"/>
                  <a:gd name="T26" fmla="*/ 99 w 111"/>
                  <a:gd name="T27" fmla="*/ 68 h 69"/>
                  <a:gd name="T28" fmla="*/ 102 w 111"/>
                  <a:gd name="T29" fmla="*/ 65 h 69"/>
                  <a:gd name="T30" fmla="*/ 105 w 111"/>
                  <a:gd name="T31" fmla="*/ 63 h 69"/>
                  <a:gd name="T32" fmla="*/ 108 w 111"/>
                  <a:gd name="T33" fmla="*/ 60 h 69"/>
                  <a:gd name="T34" fmla="*/ 109 w 111"/>
                  <a:gd name="T35" fmla="*/ 57 h 69"/>
                  <a:gd name="T36" fmla="*/ 110 w 111"/>
                  <a:gd name="T37" fmla="*/ 53 h 69"/>
                  <a:gd name="T38" fmla="*/ 111 w 111"/>
                  <a:gd name="T39" fmla="*/ 49 h 69"/>
                  <a:gd name="T40" fmla="*/ 111 w 111"/>
                  <a:gd name="T41" fmla="*/ 20 h 69"/>
                  <a:gd name="T42" fmla="*/ 111 w 111"/>
                  <a:gd name="T43" fmla="*/ 20 h 69"/>
                  <a:gd name="T44" fmla="*/ 110 w 111"/>
                  <a:gd name="T45" fmla="*/ 16 h 69"/>
                  <a:gd name="T46" fmla="*/ 109 w 111"/>
                  <a:gd name="T47" fmla="*/ 13 h 69"/>
                  <a:gd name="T48" fmla="*/ 108 w 111"/>
                  <a:gd name="T49" fmla="*/ 9 h 69"/>
                  <a:gd name="T50" fmla="*/ 105 w 111"/>
                  <a:gd name="T51" fmla="*/ 6 h 69"/>
                  <a:gd name="T52" fmla="*/ 102 w 111"/>
                  <a:gd name="T53" fmla="*/ 4 h 69"/>
                  <a:gd name="T54" fmla="*/ 99 w 111"/>
                  <a:gd name="T55" fmla="*/ 1 h 69"/>
                  <a:gd name="T56" fmla="*/ 95 w 111"/>
                  <a:gd name="T57" fmla="*/ 1 h 69"/>
                  <a:gd name="T58" fmla="*/ 91 w 111"/>
                  <a:gd name="T59" fmla="*/ 0 h 69"/>
                  <a:gd name="T60" fmla="*/ 20 w 111"/>
                  <a:gd name="T61" fmla="*/ 1 h 69"/>
                  <a:gd name="T62" fmla="*/ 20 w 111"/>
                  <a:gd name="T63" fmla="*/ 1 h 69"/>
                  <a:gd name="T64" fmla="*/ 16 w 111"/>
                  <a:gd name="T65" fmla="*/ 3 h 69"/>
                  <a:gd name="T66" fmla="*/ 12 w 111"/>
                  <a:gd name="T67" fmla="*/ 4 h 69"/>
                  <a:gd name="T68" fmla="*/ 6 w 111"/>
                  <a:gd name="T69" fmla="*/ 8 h 69"/>
                  <a:gd name="T70" fmla="*/ 1 w 111"/>
                  <a:gd name="T71" fmla="*/ 14 h 69"/>
                  <a:gd name="T72" fmla="*/ 0 w 111"/>
                  <a:gd name="T73" fmla="*/ 19 h 69"/>
                  <a:gd name="T74" fmla="*/ 0 w 111"/>
                  <a:gd name="T75" fmla="*/ 22 h 69"/>
                  <a:gd name="T76" fmla="*/ 0 w 111"/>
                  <a:gd name="T77"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1" h="69">
                    <a:moveTo>
                      <a:pt x="0" y="49"/>
                    </a:moveTo>
                    <a:lnTo>
                      <a:pt x="0" y="49"/>
                    </a:lnTo>
                    <a:lnTo>
                      <a:pt x="0" y="53"/>
                    </a:lnTo>
                    <a:lnTo>
                      <a:pt x="1" y="57"/>
                    </a:lnTo>
                    <a:lnTo>
                      <a:pt x="4" y="60"/>
                    </a:lnTo>
                    <a:lnTo>
                      <a:pt x="6" y="63"/>
                    </a:lnTo>
                    <a:lnTo>
                      <a:pt x="9" y="65"/>
                    </a:lnTo>
                    <a:lnTo>
                      <a:pt x="12" y="68"/>
                    </a:lnTo>
                    <a:lnTo>
                      <a:pt x="16" y="69"/>
                    </a:lnTo>
                    <a:lnTo>
                      <a:pt x="20" y="69"/>
                    </a:lnTo>
                    <a:lnTo>
                      <a:pt x="91" y="69"/>
                    </a:lnTo>
                    <a:lnTo>
                      <a:pt x="91" y="69"/>
                    </a:lnTo>
                    <a:lnTo>
                      <a:pt x="95" y="69"/>
                    </a:lnTo>
                    <a:lnTo>
                      <a:pt x="99" y="68"/>
                    </a:lnTo>
                    <a:lnTo>
                      <a:pt x="102" y="65"/>
                    </a:lnTo>
                    <a:lnTo>
                      <a:pt x="105" y="63"/>
                    </a:lnTo>
                    <a:lnTo>
                      <a:pt x="108" y="60"/>
                    </a:lnTo>
                    <a:lnTo>
                      <a:pt x="109" y="57"/>
                    </a:lnTo>
                    <a:lnTo>
                      <a:pt x="110" y="53"/>
                    </a:lnTo>
                    <a:lnTo>
                      <a:pt x="111" y="49"/>
                    </a:lnTo>
                    <a:lnTo>
                      <a:pt x="111" y="20"/>
                    </a:lnTo>
                    <a:lnTo>
                      <a:pt x="111" y="20"/>
                    </a:lnTo>
                    <a:lnTo>
                      <a:pt x="110" y="16"/>
                    </a:lnTo>
                    <a:lnTo>
                      <a:pt x="109" y="13"/>
                    </a:lnTo>
                    <a:lnTo>
                      <a:pt x="108" y="9"/>
                    </a:lnTo>
                    <a:lnTo>
                      <a:pt x="105" y="6"/>
                    </a:lnTo>
                    <a:lnTo>
                      <a:pt x="102" y="4"/>
                    </a:lnTo>
                    <a:lnTo>
                      <a:pt x="99" y="1"/>
                    </a:lnTo>
                    <a:lnTo>
                      <a:pt x="95" y="1"/>
                    </a:lnTo>
                    <a:lnTo>
                      <a:pt x="91" y="0"/>
                    </a:lnTo>
                    <a:lnTo>
                      <a:pt x="20" y="1"/>
                    </a:lnTo>
                    <a:lnTo>
                      <a:pt x="20" y="1"/>
                    </a:lnTo>
                    <a:lnTo>
                      <a:pt x="16" y="3"/>
                    </a:lnTo>
                    <a:lnTo>
                      <a:pt x="12" y="4"/>
                    </a:lnTo>
                    <a:lnTo>
                      <a:pt x="6" y="8"/>
                    </a:lnTo>
                    <a:lnTo>
                      <a:pt x="1" y="14"/>
                    </a:lnTo>
                    <a:lnTo>
                      <a:pt x="0" y="19"/>
                    </a:lnTo>
                    <a:lnTo>
                      <a:pt x="0" y="22"/>
                    </a:lnTo>
                    <a:lnTo>
                      <a:pt x="0"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500" name="Group 499"/>
          <p:cNvGrpSpPr/>
          <p:nvPr/>
        </p:nvGrpSpPr>
        <p:grpSpPr>
          <a:xfrm>
            <a:off x="3491384" y="2612590"/>
            <a:ext cx="108968" cy="47816"/>
            <a:chOff x="3489000" y="2676763"/>
            <a:chExt cx="119864" cy="57858"/>
          </a:xfrm>
        </p:grpSpPr>
        <p:sp>
          <p:nvSpPr>
            <p:cNvPr id="438" name="Rectangle 92"/>
            <p:cNvSpPr>
              <a:spLocks noChangeArrowheads="1"/>
            </p:cNvSpPr>
            <p:nvPr/>
          </p:nvSpPr>
          <p:spPr bwMode="auto">
            <a:xfrm>
              <a:off x="3489000" y="2676763"/>
              <a:ext cx="119864" cy="57858"/>
            </a:xfrm>
            <a:prstGeom prst="rect">
              <a:avLst/>
            </a:prstGeom>
            <a:solidFill>
              <a:schemeClr val="tx2">
                <a:lumMod val="50000"/>
              </a:schemeClr>
            </a:solidFill>
            <a:ln w="2">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40" name="Freeform 94"/>
            <p:cNvSpPr>
              <a:spLocks/>
            </p:cNvSpPr>
            <p:nvPr/>
          </p:nvSpPr>
          <p:spPr bwMode="auto">
            <a:xfrm>
              <a:off x="3532056" y="2697982"/>
              <a:ext cx="42831" cy="24547"/>
            </a:xfrm>
            <a:custGeom>
              <a:avLst/>
              <a:gdLst>
                <a:gd name="T0" fmla="*/ 114 w 115"/>
                <a:gd name="T1" fmla="*/ 6 h 54"/>
                <a:gd name="T2" fmla="*/ 112 w 115"/>
                <a:gd name="T3" fmla="*/ 0 h 54"/>
                <a:gd name="T4" fmla="*/ 107 w 115"/>
                <a:gd name="T5" fmla="*/ 0 h 54"/>
                <a:gd name="T6" fmla="*/ 104 w 115"/>
                <a:gd name="T7" fmla="*/ 0 h 54"/>
                <a:gd name="T8" fmla="*/ 99 w 115"/>
                <a:gd name="T9" fmla="*/ 2 h 54"/>
                <a:gd name="T10" fmla="*/ 98 w 115"/>
                <a:gd name="T11" fmla="*/ 7 h 54"/>
                <a:gd name="T12" fmla="*/ 98 w 115"/>
                <a:gd name="T13" fmla="*/ 18 h 54"/>
                <a:gd name="T14" fmla="*/ 95 w 115"/>
                <a:gd name="T15" fmla="*/ 28 h 54"/>
                <a:gd name="T16" fmla="*/ 86 w 115"/>
                <a:gd name="T17" fmla="*/ 33 h 54"/>
                <a:gd name="T18" fmla="*/ 74 w 115"/>
                <a:gd name="T19" fmla="*/ 37 h 54"/>
                <a:gd name="T20" fmla="*/ 58 w 115"/>
                <a:gd name="T21" fmla="*/ 38 h 54"/>
                <a:gd name="T22" fmla="*/ 35 w 115"/>
                <a:gd name="T23" fmla="*/ 35 h 54"/>
                <a:gd name="T24" fmla="*/ 25 w 115"/>
                <a:gd name="T25" fmla="*/ 30 h 54"/>
                <a:gd name="T26" fmla="*/ 19 w 115"/>
                <a:gd name="T27" fmla="*/ 23 h 54"/>
                <a:gd name="T28" fmla="*/ 17 w 115"/>
                <a:gd name="T29" fmla="*/ 18 h 54"/>
                <a:gd name="T30" fmla="*/ 16 w 115"/>
                <a:gd name="T31" fmla="*/ 7 h 54"/>
                <a:gd name="T32" fmla="*/ 14 w 115"/>
                <a:gd name="T33" fmla="*/ 0 h 54"/>
                <a:gd name="T34" fmla="*/ 9 w 115"/>
                <a:gd name="T35" fmla="*/ 0 h 54"/>
                <a:gd name="T36" fmla="*/ 6 w 115"/>
                <a:gd name="T37" fmla="*/ 0 h 54"/>
                <a:gd name="T38" fmla="*/ 3 w 115"/>
                <a:gd name="T39" fmla="*/ 1 h 54"/>
                <a:gd name="T40" fmla="*/ 1 w 115"/>
                <a:gd name="T41" fmla="*/ 6 h 54"/>
                <a:gd name="T42" fmla="*/ 0 w 115"/>
                <a:gd name="T43" fmla="*/ 22 h 54"/>
                <a:gd name="T44" fmla="*/ 4 w 115"/>
                <a:gd name="T45" fmla="*/ 37 h 54"/>
                <a:gd name="T46" fmla="*/ 15 w 115"/>
                <a:gd name="T47" fmla="*/ 46 h 54"/>
                <a:gd name="T48" fmla="*/ 31 w 115"/>
                <a:gd name="T49" fmla="*/ 51 h 54"/>
                <a:gd name="T50" fmla="*/ 50 w 115"/>
                <a:gd name="T51" fmla="*/ 54 h 54"/>
                <a:gd name="T52" fmla="*/ 59 w 115"/>
                <a:gd name="T53" fmla="*/ 54 h 54"/>
                <a:gd name="T54" fmla="*/ 65 w 115"/>
                <a:gd name="T55" fmla="*/ 54 h 54"/>
                <a:gd name="T56" fmla="*/ 85 w 115"/>
                <a:gd name="T57" fmla="*/ 51 h 54"/>
                <a:gd name="T58" fmla="*/ 101 w 115"/>
                <a:gd name="T59" fmla="*/ 46 h 54"/>
                <a:gd name="T60" fmla="*/ 112 w 115"/>
                <a:gd name="T61" fmla="*/ 37 h 54"/>
                <a:gd name="T62" fmla="*/ 115 w 115"/>
                <a:gd name="T63" fmla="*/ 22 h 54"/>
                <a:gd name="T64" fmla="*/ 114 w 115"/>
                <a:gd name="T6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 h="54">
                  <a:moveTo>
                    <a:pt x="114" y="6"/>
                  </a:moveTo>
                  <a:lnTo>
                    <a:pt x="114" y="6"/>
                  </a:lnTo>
                  <a:lnTo>
                    <a:pt x="113" y="1"/>
                  </a:lnTo>
                  <a:lnTo>
                    <a:pt x="112" y="0"/>
                  </a:lnTo>
                  <a:lnTo>
                    <a:pt x="109" y="0"/>
                  </a:lnTo>
                  <a:lnTo>
                    <a:pt x="107" y="0"/>
                  </a:lnTo>
                  <a:lnTo>
                    <a:pt x="107" y="0"/>
                  </a:lnTo>
                  <a:lnTo>
                    <a:pt x="104" y="0"/>
                  </a:lnTo>
                  <a:lnTo>
                    <a:pt x="102" y="0"/>
                  </a:lnTo>
                  <a:lnTo>
                    <a:pt x="99" y="2"/>
                  </a:lnTo>
                  <a:lnTo>
                    <a:pt x="98" y="7"/>
                  </a:lnTo>
                  <a:lnTo>
                    <a:pt x="98" y="7"/>
                  </a:lnTo>
                  <a:lnTo>
                    <a:pt x="98" y="18"/>
                  </a:lnTo>
                  <a:lnTo>
                    <a:pt x="98" y="18"/>
                  </a:lnTo>
                  <a:lnTo>
                    <a:pt x="97" y="23"/>
                  </a:lnTo>
                  <a:lnTo>
                    <a:pt x="95" y="28"/>
                  </a:lnTo>
                  <a:lnTo>
                    <a:pt x="91" y="30"/>
                  </a:lnTo>
                  <a:lnTo>
                    <a:pt x="86" y="33"/>
                  </a:lnTo>
                  <a:lnTo>
                    <a:pt x="80" y="35"/>
                  </a:lnTo>
                  <a:lnTo>
                    <a:pt x="74" y="37"/>
                  </a:lnTo>
                  <a:lnTo>
                    <a:pt x="58" y="38"/>
                  </a:lnTo>
                  <a:lnTo>
                    <a:pt x="58" y="38"/>
                  </a:lnTo>
                  <a:lnTo>
                    <a:pt x="42" y="37"/>
                  </a:lnTo>
                  <a:lnTo>
                    <a:pt x="35" y="35"/>
                  </a:lnTo>
                  <a:lnTo>
                    <a:pt x="30" y="33"/>
                  </a:lnTo>
                  <a:lnTo>
                    <a:pt x="25" y="30"/>
                  </a:lnTo>
                  <a:lnTo>
                    <a:pt x="20" y="28"/>
                  </a:lnTo>
                  <a:lnTo>
                    <a:pt x="19" y="23"/>
                  </a:lnTo>
                  <a:lnTo>
                    <a:pt x="17" y="18"/>
                  </a:lnTo>
                  <a:lnTo>
                    <a:pt x="17" y="18"/>
                  </a:lnTo>
                  <a:lnTo>
                    <a:pt x="16" y="7"/>
                  </a:lnTo>
                  <a:lnTo>
                    <a:pt x="16" y="7"/>
                  </a:lnTo>
                  <a:lnTo>
                    <a:pt x="15" y="2"/>
                  </a:lnTo>
                  <a:lnTo>
                    <a:pt x="14" y="0"/>
                  </a:lnTo>
                  <a:lnTo>
                    <a:pt x="11" y="0"/>
                  </a:lnTo>
                  <a:lnTo>
                    <a:pt x="9" y="0"/>
                  </a:lnTo>
                  <a:lnTo>
                    <a:pt x="9" y="0"/>
                  </a:lnTo>
                  <a:lnTo>
                    <a:pt x="6" y="0"/>
                  </a:lnTo>
                  <a:lnTo>
                    <a:pt x="4" y="0"/>
                  </a:lnTo>
                  <a:lnTo>
                    <a:pt x="3" y="1"/>
                  </a:lnTo>
                  <a:lnTo>
                    <a:pt x="1" y="6"/>
                  </a:lnTo>
                  <a:lnTo>
                    <a:pt x="1" y="6"/>
                  </a:lnTo>
                  <a:lnTo>
                    <a:pt x="0" y="22"/>
                  </a:lnTo>
                  <a:lnTo>
                    <a:pt x="0" y="22"/>
                  </a:lnTo>
                  <a:lnTo>
                    <a:pt x="1" y="29"/>
                  </a:lnTo>
                  <a:lnTo>
                    <a:pt x="4" y="37"/>
                  </a:lnTo>
                  <a:lnTo>
                    <a:pt x="9" y="41"/>
                  </a:lnTo>
                  <a:lnTo>
                    <a:pt x="15" y="46"/>
                  </a:lnTo>
                  <a:lnTo>
                    <a:pt x="22" y="49"/>
                  </a:lnTo>
                  <a:lnTo>
                    <a:pt x="31" y="51"/>
                  </a:lnTo>
                  <a:lnTo>
                    <a:pt x="41" y="54"/>
                  </a:lnTo>
                  <a:lnTo>
                    <a:pt x="50" y="54"/>
                  </a:lnTo>
                  <a:lnTo>
                    <a:pt x="57" y="54"/>
                  </a:lnTo>
                  <a:lnTo>
                    <a:pt x="59" y="54"/>
                  </a:lnTo>
                  <a:lnTo>
                    <a:pt x="65" y="54"/>
                  </a:lnTo>
                  <a:lnTo>
                    <a:pt x="65" y="54"/>
                  </a:lnTo>
                  <a:lnTo>
                    <a:pt x="75" y="54"/>
                  </a:lnTo>
                  <a:lnTo>
                    <a:pt x="85" y="51"/>
                  </a:lnTo>
                  <a:lnTo>
                    <a:pt x="93" y="49"/>
                  </a:lnTo>
                  <a:lnTo>
                    <a:pt x="101" y="46"/>
                  </a:lnTo>
                  <a:lnTo>
                    <a:pt x="107" y="41"/>
                  </a:lnTo>
                  <a:lnTo>
                    <a:pt x="112" y="37"/>
                  </a:lnTo>
                  <a:lnTo>
                    <a:pt x="114" y="29"/>
                  </a:lnTo>
                  <a:lnTo>
                    <a:pt x="115" y="22"/>
                  </a:lnTo>
                  <a:lnTo>
                    <a:pt x="115" y="22"/>
                  </a:lnTo>
                  <a:lnTo>
                    <a:pt x="114" y="6"/>
                  </a:lnTo>
                  <a:lnTo>
                    <a:pt x="114" y="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496" name="Group 495"/>
          <p:cNvGrpSpPr/>
          <p:nvPr/>
        </p:nvGrpSpPr>
        <p:grpSpPr>
          <a:xfrm>
            <a:off x="2843703" y="2931977"/>
            <a:ext cx="1275883" cy="336586"/>
            <a:chOff x="3120753" y="2842269"/>
            <a:chExt cx="1275883" cy="336586"/>
          </a:xfrm>
        </p:grpSpPr>
        <p:grpSp>
          <p:nvGrpSpPr>
            <p:cNvPr id="886" name="Group 885"/>
            <p:cNvGrpSpPr/>
            <p:nvPr/>
          </p:nvGrpSpPr>
          <p:grpSpPr>
            <a:xfrm flipH="1">
              <a:off x="4128816" y="3090997"/>
              <a:ext cx="218281" cy="73277"/>
              <a:chOff x="2081943" y="2152669"/>
              <a:chExt cx="671513" cy="225425"/>
            </a:xfrm>
            <a:solidFill>
              <a:srgbClr val="7EB1C7"/>
            </a:solidFill>
          </p:grpSpPr>
          <p:sp>
            <p:nvSpPr>
              <p:cNvPr id="894" name="Freeform 505"/>
              <p:cNvSpPr>
                <a:spLocks noEditPoints="1"/>
              </p:cNvSpPr>
              <p:nvPr/>
            </p:nvSpPr>
            <p:spPr bwMode="auto">
              <a:xfrm>
                <a:off x="2081943" y="2184416"/>
                <a:ext cx="190503" cy="188915"/>
              </a:xfrm>
              <a:custGeom>
                <a:avLst/>
                <a:gdLst>
                  <a:gd name="T0" fmla="*/ 267 w 596"/>
                  <a:gd name="T1" fmla="*/ 145 h 596"/>
                  <a:gd name="T2" fmla="*/ 210 w 596"/>
                  <a:gd name="T3" fmla="*/ 169 h 596"/>
                  <a:gd name="T4" fmla="*/ 168 w 596"/>
                  <a:gd name="T5" fmla="*/ 212 h 596"/>
                  <a:gd name="T6" fmla="*/ 145 w 596"/>
                  <a:gd name="T7" fmla="*/ 267 h 596"/>
                  <a:gd name="T8" fmla="*/ 145 w 596"/>
                  <a:gd name="T9" fmla="*/ 331 h 596"/>
                  <a:gd name="T10" fmla="*/ 168 w 596"/>
                  <a:gd name="T11" fmla="*/ 386 h 596"/>
                  <a:gd name="T12" fmla="*/ 210 w 596"/>
                  <a:gd name="T13" fmla="*/ 428 h 596"/>
                  <a:gd name="T14" fmla="*/ 267 w 596"/>
                  <a:gd name="T15" fmla="*/ 452 h 596"/>
                  <a:gd name="T16" fmla="*/ 330 w 596"/>
                  <a:gd name="T17" fmla="*/ 452 h 596"/>
                  <a:gd name="T18" fmla="*/ 386 w 596"/>
                  <a:gd name="T19" fmla="*/ 428 h 596"/>
                  <a:gd name="T20" fmla="*/ 428 w 596"/>
                  <a:gd name="T21" fmla="*/ 386 h 596"/>
                  <a:gd name="T22" fmla="*/ 452 w 596"/>
                  <a:gd name="T23" fmla="*/ 331 h 596"/>
                  <a:gd name="T24" fmla="*/ 452 w 596"/>
                  <a:gd name="T25" fmla="*/ 267 h 596"/>
                  <a:gd name="T26" fmla="*/ 428 w 596"/>
                  <a:gd name="T27" fmla="*/ 212 h 596"/>
                  <a:gd name="T28" fmla="*/ 386 w 596"/>
                  <a:gd name="T29" fmla="*/ 169 h 596"/>
                  <a:gd name="T30" fmla="*/ 330 w 596"/>
                  <a:gd name="T31" fmla="*/ 145 h 596"/>
                  <a:gd name="T32" fmla="*/ 298 w 596"/>
                  <a:gd name="T33" fmla="*/ 0 h 596"/>
                  <a:gd name="T34" fmla="*/ 392 w 596"/>
                  <a:gd name="T35" fmla="*/ 15 h 596"/>
                  <a:gd name="T36" fmla="*/ 475 w 596"/>
                  <a:gd name="T37" fmla="*/ 58 h 596"/>
                  <a:gd name="T38" fmla="*/ 539 w 596"/>
                  <a:gd name="T39" fmla="*/ 123 h 596"/>
                  <a:gd name="T40" fmla="*/ 581 w 596"/>
                  <a:gd name="T41" fmla="*/ 204 h 596"/>
                  <a:gd name="T42" fmla="*/ 596 w 596"/>
                  <a:gd name="T43" fmla="*/ 298 h 596"/>
                  <a:gd name="T44" fmla="*/ 581 w 596"/>
                  <a:gd name="T45" fmla="*/ 392 h 596"/>
                  <a:gd name="T46" fmla="*/ 539 w 596"/>
                  <a:gd name="T47" fmla="*/ 475 h 596"/>
                  <a:gd name="T48" fmla="*/ 475 w 596"/>
                  <a:gd name="T49" fmla="*/ 540 h 596"/>
                  <a:gd name="T50" fmla="*/ 392 w 596"/>
                  <a:gd name="T51" fmla="*/ 582 h 596"/>
                  <a:gd name="T52" fmla="*/ 298 w 596"/>
                  <a:gd name="T53" fmla="*/ 596 h 596"/>
                  <a:gd name="T54" fmla="*/ 204 w 596"/>
                  <a:gd name="T55" fmla="*/ 582 h 596"/>
                  <a:gd name="T56" fmla="*/ 123 w 596"/>
                  <a:gd name="T57" fmla="*/ 540 h 596"/>
                  <a:gd name="T58" fmla="*/ 57 w 596"/>
                  <a:gd name="T59" fmla="*/ 475 h 596"/>
                  <a:gd name="T60" fmla="*/ 15 w 596"/>
                  <a:gd name="T61" fmla="*/ 392 h 596"/>
                  <a:gd name="T62" fmla="*/ 0 w 596"/>
                  <a:gd name="T63" fmla="*/ 298 h 596"/>
                  <a:gd name="T64" fmla="*/ 15 w 596"/>
                  <a:gd name="T65" fmla="*/ 204 h 596"/>
                  <a:gd name="T66" fmla="*/ 57 w 596"/>
                  <a:gd name="T67" fmla="*/ 123 h 596"/>
                  <a:gd name="T68" fmla="*/ 123 w 596"/>
                  <a:gd name="T69" fmla="*/ 58 h 596"/>
                  <a:gd name="T70" fmla="*/ 204 w 596"/>
                  <a:gd name="T71" fmla="*/ 15 h 596"/>
                  <a:gd name="T72" fmla="*/ 298 w 596"/>
                  <a:gd name="T73"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6" h="596">
                    <a:moveTo>
                      <a:pt x="298" y="143"/>
                    </a:moveTo>
                    <a:lnTo>
                      <a:pt x="267" y="145"/>
                    </a:lnTo>
                    <a:lnTo>
                      <a:pt x="238" y="155"/>
                    </a:lnTo>
                    <a:lnTo>
                      <a:pt x="210" y="169"/>
                    </a:lnTo>
                    <a:lnTo>
                      <a:pt x="188" y="188"/>
                    </a:lnTo>
                    <a:lnTo>
                      <a:pt x="168" y="212"/>
                    </a:lnTo>
                    <a:lnTo>
                      <a:pt x="155" y="238"/>
                    </a:lnTo>
                    <a:lnTo>
                      <a:pt x="145" y="267"/>
                    </a:lnTo>
                    <a:lnTo>
                      <a:pt x="142" y="298"/>
                    </a:lnTo>
                    <a:lnTo>
                      <a:pt x="145" y="331"/>
                    </a:lnTo>
                    <a:lnTo>
                      <a:pt x="155" y="359"/>
                    </a:lnTo>
                    <a:lnTo>
                      <a:pt x="168" y="386"/>
                    </a:lnTo>
                    <a:lnTo>
                      <a:pt x="188" y="408"/>
                    </a:lnTo>
                    <a:lnTo>
                      <a:pt x="210" y="428"/>
                    </a:lnTo>
                    <a:lnTo>
                      <a:pt x="238" y="443"/>
                    </a:lnTo>
                    <a:lnTo>
                      <a:pt x="267" y="452"/>
                    </a:lnTo>
                    <a:lnTo>
                      <a:pt x="298" y="455"/>
                    </a:lnTo>
                    <a:lnTo>
                      <a:pt x="330" y="452"/>
                    </a:lnTo>
                    <a:lnTo>
                      <a:pt x="359" y="443"/>
                    </a:lnTo>
                    <a:lnTo>
                      <a:pt x="386" y="428"/>
                    </a:lnTo>
                    <a:lnTo>
                      <a:pt x="408" y="408"/>
                    </a:lnTo>
                    <a:lnTo>
                      <a:pt x="428" y="386"/>
                    </a:lnTo>
                    <a:lnTo>
                      <a:pt x="443" y="359"/>
                    </a:lnTo>
                    <a:lnTo>
                      <a:pt x="452" y="331"/>
                    </a:lnTo>
                    <a:lnTo>
                      <a:pt x="454" y="298"/>
                    </a:lnTo>
                    <a:lnTo>
                      <a:pt x="452" y="267"/>
                    </a:lnTo>
                    <a:lnTo>
                      <a:pt x="443" y="238"/>
                    </a:lnTo>
                    <a:lnTo>
                      <a:pt x="428" y="212"/>
                    </a:lnTo>
                    <a:lnTo>
                      <a:pt x="408" y="188"/>
                    </a:lnTo>
                    <a:lnTo>
                      <a:pt x="386" y="169"/>
                    </a:lnTo>
                    <a:lnTo>
                      <a:pt x="359" y="155"/>
                    </a:lnTo>
                    <a:lnTo>
                      <a:pt x="330" y="145"/>
                    </a:lnTo>
                    <a:lnTo>
                      <a:pt x="298" y="143"/>
                    </a:lnTo>
                    <a:close/>
                    <a:moveTo>
                      <a:pt x="298" y="0"/>
                    </a:moveTo>
                    <a:lnTo>
                      <a:pt x="346" y="4"/>
                    </a:lnTo>
                    <a:lnTo>
                      <a:pt x="392" y="15"/>
                    </a:lnTo>
                    <a:lnTo>
                      <a:pt x="435" y="34"/>
                    </a:lnTo>
                    <a:lnTo>
                      <a:pt x="475" y="58"/>
                    </a:lnTo>
                    <a:lnTo>
                      <a:pt x="510" y="88"/>
                    </a:lnTo>
                    <a:lnTo>
                      <a:pt x="539" y="123"/>
                    </a:lnTo>
                    <a:lnTo>
                      <a:pt x="563" y="161"/>
                    </a:lnTo>
                    <a:lnTo>
                      <a:pt x="581" y="204"/>
                    </a:lnTo>
                    <a:lnTo>
                      <a:pt x="593" y="250"/>
                    </a:lnTo>
                    <a:lnTo>
                      <a:pt x="596" y="298"/>
                    </a:lnTo>
                    <a:lnTo>
                      <a:pt x="593" y="347"/>
                    </a:lnTo>
                    <a:lnTo>
                      <a:pt x="581" y="392"/>
                    </a:lnTo>
                    <a:lnTo>
                      <a:pt x="563" y="436"/>
                    </a:lnTo>
                    <a:lnTo>
                      <a:pt x="539" y="475"/>
                    </a:lnTo>
                    <a:lnTo>
                      <a:pt x="510" y="510"/>
                    </a:lnTo>
                    <a:lnTo>
                      <a:pt x="475" y="540"/>
                    </a:lnTo>
                    <a:lnTo>
                      <a:pt x="435" y="563"/>
                    </a:lnTo>
                    <a:lnTo>
                      <a:pt x="392" y="582"/>
                    </a:lnTo>
                    <a:lnTo>
                      <a:pt x="346" y="593"/>
                    </a:lnTo>
                    <a:lnTo>
                      <a:pt x="298" y="596"/>
                    </a:lnTo>
                    <a:lnTo>
                      <a:pt x="250" y="593"/>
                    </a:lnTo>
                    <a:lnTo>
                      <a:pt x="204" y="582"/>
                    </a:lnTo>
                    <a:lnTo>
                      <a:pt x="161" y="563"/>
                    </a:lnTo>
                    <a:lnTo>
                      <a:pt x="123" y="540"/>
                    </a:lnTo>
                    <a:lnTo>
                      <a:pt x="88" y="510"/>
                    </a:lnTo>
                    <a:lnTo>
                      <a:pt x="57" y="475"/>
                    </a:lnTo>
                    <a:lnTo>
                      <a:pt x="34" y="436"/>
                    </a:lnTo>
                    <a:lnTo>
                      <a:pt x="15" y="392"/>
                    </a:lnTo>
                    <a:lnTo>
                      <a:pt x="4" y="347"/>
                    </a:lnTo>
                    <a:lnTo>
                      <a:pt x="0" y="298"/>
                    </a:lnTo>
                    <a:lnTo>
                      <a:pt x="4" y="250"/>
                    </a:lnTo>
                    <a:lnTo>
                      <a:pt x="15" y="204"/>
                    </a:lnTo>
                    <a:lnTo>
                      <a:pt x="34" y="161"/>
                    </a:lnTo>
                    <a:lnTo>
                      <a:pt x="57" y="123"/>
                    </a:lnTo>
                    <a:lnTo>
                      <a:pt x="88" y="88"/>
                    </a:lnTo>
                    <a:lnTo>
                      <a:pt x="123" y="58"/>
                    </a:lnTo>
                    <a:lnTo>
                      <a:pt x="161" y="34"/>
                    </a:lnTo>
                    <a:lnTo>
                      <a:pt x="204" y="15"/>
                    </a:lnTo>
                    <a:lnTo>
                      <a:pt x="250" y="4"/>
                    </a:lnTo>
                    <a:lnTo>
                      <a:pt x="298" y="0"/>
                    </a:lnTo>
                    <a:close/>
                  </a:path>
                </a:pathLst>
              </a:custGeom>
              <a:grp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5" name="Freeform 506"/>
              <p:cNvSpPr>
                <a:spLocks noEditPoints="1"/>
              </p:cNvSpPr>
              <p:nvPr/>
            </p:nvSpPr>
            <p:spPr bwMode="auto">
              <a:xfrm>
                <a:off x="2526443" y="2152669"/>
                <a:ext cx="227013" cy="225425"/>
              </a:xfrm>
              <a:custGeom>
                <a:avLst/>
                <a:gdLst>
                  <a:gd name="T0" fmla="*/ 318 w 711"/>
                  <a:gd name="T1" fmla="*/ 173 h 711"/>
                  <a:gd name="T2" fmla="*/ 251 w 711"/>
                  <a:gd name="T3" fmla="*/ 201 h 711"/>
                  <a:gd name="T4" fmla="*/ 202 w 711"/>
                  <a:gd name="T5" fmla="*/ 251 h 711"/>
                  <a:gd name="T6" fmla="*/ 173 w 711"/>
                  <a:gd name="T7" fmla="*/ 318 h 711"/>
                  <a:gd name="T8" fmla="*/ 173 w 711"/>
                  <a:gd name="T9" fmla="*/ 393 h 711"/>
                  <a:gd name="T10" fmla="*/ 202 w 711"/>
                  <a:gd name="T11" fmla="*/ 460 h 711"/>
                  <a:gd name="T12" fmla="*/ 251 w 711"/>
                  <a:gd name="T13" fmla="*/ 509 h 711"/>
                  <a:gd name="T14" fmla="*/ 318 w 711"/>
                  <a:gd name="T15" fmla="*/ 538 h 711"/>
                  <a:gd name="T16" fmla="*/ 393 w 711"/>
                  <a:gd name="T17" fmla="*/ 538 h 711"/>
                  <a:gd name="T18" fmla="*/ 460 w 711"/>
                  <a:gd name="T19" fmla="*/ 509 h 711"/>
                  <a:gd name="T20" fmla="*/ 510 w 711"/>
                  <a:gd name="T21" fmla="*/ 460 h 711"/>
                  <a:gd name="T22" fmla="*/ 538 w 711"/>
                  <a:gd name="T23" fmla="*/ 393 h 711"/>
                  <a:gd name="T24" fmla="*/ 538 w 711"/>
                  <a:gd name="T25" fmla="*/ 318 h 711"/>
                  <a:gd name="T26" fmla="*/ 510 w 711"/>
                  <a:gd name="T27" fmla="*/ 251 h 711"/>
                  <a:gd name="T28" fmla="*/ 460 w 711"/>
                  <a:gd name="T29" fmla="*/ 201 h 711"/>
                  <a:gd name="T30" fmla="*/ 393 w 711"/>
                  <a:gd name="T31" fmla="*/ 173 h 711"/>
                  <a:gd name="T32" fmla="*/ 355 w 711"/>
                  <a:gd name="T33" fmla="*/ 0 h 711"/>
                  <a:gd name="T34" fmla="*/ 458 w 711"/>
                  <a:gd name="T35" fmla="*/ 15 h 711"/>
                  <a:gd name="T36" fmla="*/ 549 w 711"/>
                  <a:gd name="T37" fmla="*/ 57 h 711"/>
                  <a:gd name="T38" fmla="*/ 623 w 711"/>
                  <a:gd name="T39" fmla="*/ 122 h 711"/>
                  <a:gd name="T40" fmla="*/ 678 w 711"/>
                  <a:gd name="T41" fmla="*/ 205 h 711"/>
                  <a:gd name="T42" fmla="*/ 708 w 711"/>
                  <a:gd name="T43" fmla="*/ 303 h 711"/>
                  <a:gd name="T44" fmla="*/ 708 w 711"/>
                  <a:gd name="T45" fmla="*/ 408 h 711"/>
                  <a:gd name="T46" fmla="*/ 678 w 711"/>
                  <a:gd name="T47" fmla="*/ 506 h 711"/>
                  <a:gd name="T48" fmla="*/ 623 w 711"/>
                  <a:gd name="T49" fmla="*/ 589 h 711"/>
                  <a:gd name="T50" fmla="*/ 549 w 711"/>
                  <a:gd name="T51" fmla="*/ 654 h 711"/>
                  <a:gd name="T52" fmla="*/ 458 w 711"/>
                  <a:gd name="T53" fmla="*/ 696 h 711"/>
                  <a:gd name="T54" fmla="*/ 355 w 711"/>
                  <a:gd name="T55" fmla="*/ 711 h 711"/>
                  <a:gd name="T56" fmla="*/ 254 w 711"/>
                  <a:gd name="T57" fmla="*/ 696 h 711"/>
                  <a:gd name="T58" fmla="*/ 162 w 711"/>
                  <a:gd name="T59" fmla="*/ 654 h 711"/>
                  <a:gd name="T60" fmla="*/ 88 w 711"/>
                  <a:gd name="T61" fmla="*/ 589 h 711"/>
                  <a:gd name="T62" fmla="*/ 34 w 711"/>
                  <a:gd name="T63" fmla="*/ 506 h 711"/>
                  <a:gd name="T64" fmla="*/ 4 w 711"/>
                  <a:gd name="T65" fmla="*/ 408 h 711"/>
                  <a:gd name="T66" fmla="*/ 4 w 711"/>
                  <a:gd name="T67" fmla="*/ 303 h 711"/>
                  <a:gd name="T68" fmla="*/ 34 w 711"/>
                  <a:gd name="T69" fmla="*/ 205 h 711"/>
                  <a:gd name="T70" fmla="*/ 88 w 711"/>
                  <a:gd name="T71" fmla="*/ 122 h 711"/>
                  <a:gd name="T72" fmla="*/ 162 w 711"/>
                  <a:gd name="T73" fmla="*/ 57 h 711"/>
                  <a:gd name="T74" fmla="*/ 254 w 711"/>
                  <a:gd name="T75" fmla="*/ 15 h 711"/>
                  <a:gd name="T76" fmla="*/ 355 w 711"/>
                  <a:gd name="T77"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1" h="711">
                    <a:moveTo>
                      <a:pt x="355" y="169"/>
                    </a:moveTo>
                    <a:lnTo>
                      <a:pt x="318" y="173"/>
                    </a:lnTo>
                    <a:lnTo>
                      <a:pt x="283" y="184"/>
                    </a:lnTo>
                    <a:lnTo>
                      <a:pt x="251" y="201"/>
                    </a:lnTo>
                    <a:lnTo>
                      <a:pt x="224" y="224"/>
                    </a:lnTo>
                    <a:lnTo>
                      <a:pt x="202" y="251"/>
                    </a:lnTo>
                    <a:lnTo>
                      <a:pt x="184" y="283"/>
                    </a:lnTo>
                    <a:lnTo>
                      <a:pt x="173" y="318"/>
                    </a:lnTo>
                    <a:lnTo>
                      <a:pt x="170" y="355"/>
                    </a:lnTo>
                    <a:lnTo>
                      <a:pt x="173" y="393"/>
                    </a:lnTo>
                    <a:lnTo>
                      <a:pt x="184" y="428"/>
                    </a:lnTo>
                    <a:lnTo>
                      <a:pt x="202" y="460"/>
                    </a:lnTo>
                    <a:lnTo>
                      <a:pt x="224" y="487"/>
                    </a:lnTo>
                    <a:lnTo>
                      <a:pt x="251" y="509"/>
                    </a:lnTo>
                    <a:lnTo>
                      <a:pt x="283" y="527"/>
                    </a:lnTo>
                    <a:lnTo>
                      <a:pt x="318" y="538"/>
                    </a:lnTo>
                    <a:lnTo>
                      <a:pt x="355" y="542"/>
                    </a:lnTo>
                    <a:lnTo>
                      <a:pt x="393" y="538"/>
                    </a:lnTo>
                    <a:lnTo>
                      <a:pt x="428" y="527"/>
                    </a:lnTo>
                    <a:lnTo>
                      <a:pt x="460" y="509"/>
                    </a:lnTo>
                    <a:lnTo>
                      <a:pt x="487" y="487"/>
                    </a:lnTo>
                    <a:lnTo>
                      <a:pt x="510" y="460"/>
                    </a:lnTo>
                    <a:lnTo>
                      <a:pt x="527" y="428"/>
                    </a:lnTo>
                    <a:lnTo>
                      <a:pt x="538" y="393"/>
                    </a:lnTo>
                    <a:lnTo>
                      <a:pt x="542" y="355"/>
                    </a:lnTo>
                    <a:lnTo>
                      <a:pt x="538" y="318"/>
                    </a:lnTo>
                    <a:lnTo>
                      <a:pt x="527" y="283"/>
                    </a:lnTo>
                    <a:lnTo>
                      <a:pt x="510" y="251"/>
                    </a:lnTo>
                    <a:lnTo>
                      <a:pt x="487" y="224"/>
                    </a:lnTo>
                    <a:lnTo>
                      <a:pt x="460" y="201"/>
                    </a:lnTo>
                    <a:lnTo>
                      <a:pt x="428" y="184"/>
                    </a:lnTo>
                    <a:lnTo>
                      <a:pt x="393" y="173"/>
                    </a:lnTo>
                    <a:lnTo>
                      <a:pt x="355" y="169"/>
                    </a:lnTo>
                    <a:close/>
                    <a:moveTo>
                      <a:pt x="355" y="0"/>
                    </a:moveTo>
                    <a:lnTo>
                      <a:pt x="408" y="4"/>
                    </a:lnTo>
                    <a:lnTo>
                      <a:pt x="458" y="15"/>
                    </a:lnTo>
                    <a:lnTo>
                      <a:pt x="505" y="33"/>
                    </a:lnTo>
                    <a:lnTo>
                      <a:pt x="549" y="57"/>
                    </a:lnTo>
                    <a:lnTo>
                      <a:pt x="589" y="88"/>
                    </a:lnTo>
                    <a:lnTo>
                      <a:pt x="623" y="122"/>
                    </a:lnTo>
                    <a:lnTo>
                      <a:pt x="653" y="162"/>
                    </a:lnTo>
                    <a:lnTo>
                      <a:pt x="678" y="205"/>
                    </a:lnTo>
                    <a:lnTo>
                      <a:pt x="696" y="253"/>
                    </a:lnTo>
                    <a:lnTo>
                      <a:pt x="708" y="303"/>
                    </a:lnTo>
                    <a:lnTo>
                      <a:pt x="711" y="355"/>
                    </a:lnTo>
                    <a:lnTo>
                      <a:pt x="708" y="408"/>
                    </a:lnTo>
                    <a:lnTo>
                      <a:pt x="696" y="457"/>
                    </a:lnTo>
                    <a:lnTo>
                      <a:pt x="678" y="506"/>
                    </a:lnTo>
                    <a:lnTo>
                      <a:pt x="653" y="549"/>
                    </a:lnTo>
                    <a:lnTo>
                      <a:pt x="623" y="589"/>
                    </a:lnTo>
                    <a:lnTo>
                      <a:pt x="589" y="623"/>
                    </a:lnTo>
                    <a:lnTo>
                      <a:pt x="549" y="654"/>
                    </a:lnTo>
                    <a:lnTo>
                      <a:pt x="505" y="678"/>
                    </a:lnTo>
                    <a:lnTo>
                      <a:pt x="458" y="696"/>
                    </a:lnTo>
                    <a:lnTo>
                      <a:pt x="408" y="707"/>
                    </a:lnTo>
                    <a:lnTo>
                      <a:pt x="355" y="711"/>
                    </a:lnTo>
                    <a:lnTo>
                      <a:pt x="303" y="707"/>
                    </a:lnTo>
                    <a:lnTo>
                      <a:pt x="254" y="696"/>
                    </a:lnTo>
                    <a:lnTo>
                      <a:pt x="205" y="678"/>
                    </a:lnTo>
                    <a:lnTo>
                      <a:pt x="162" y="654"/>
                    </a:lnTo>
                    <a:lnTo>
                      <a:pt x="123" y="623"/>
                    </a:lnTo>
                    <a:lnTo>
                      <a:pt x="88" y="589"/>
                    </a:lnTo>
                    <a:lnTo>
                      <a:pt x="57" y="549"/>
                    </a:lnTo>
                    <a:lnTo>
                      <a:pt x="34" y="506"/>
                    </a:lnTo>
                    <a:lnTo>
                      <a:pt x="15" y="457"/>
                    </a:lnTo>
                    <a:lnTo>
                      <a:pt x="4" y="408"/>
                    </a:lnTo>
                    <a:lnTo>
                      <a:pt x="0" y="355"/>
                    </a:lnTo>
                    <a:lnTo>
                      <a:pt x="4" y="303"/>
                    </a:lnTo>
                    <a:lnTo>
                      <a:pt x="15" y="253"/>
                    </a:lnTo>
                    <a:lnTo>
                      <a:pt x="34" y="205"/>
                    </a:lnTo>
                    <a:lnTo>
                      <a:pt x="57" y="162"/>
                    </a:lnTo>
                    <a:lnTo>
                      <a:pt x="88" y="122"/>
                    </a:lnTo>
                    <a:lnTo>
                      <a:pt x="123" y="88"/>
                    </a:lnTo>
                    <a:lnTo>
                      <a:pt x="162" y="57"/>
                    </a:lnTo>
                    <a:lnTo>
                      <a:pt x="205" y="33"/>
                    </a:lnTo>
                    <a:lnTo>
                      <a:pt x="254" y="15"/>
                    </a:lnTo>
                    <a:lnTo>
                      <a:pt x="303" y="4"/>
                    </a:lnTo>
                    <a:lnTo>
                      <a:pt x="355" y="0"/>
                    </a:lnTo>
                    <a:close/>
                  </a:path>
                </a:pathLst>
              </a:custGeom>
              <a:grp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887" name="Freeform 507"/>
            <p:cNvSpPr>
              <a:spLocks noEditPoints="1"/>
            </p:cNvSpPr>
            <p:nvPr/>
          </p:nvSpPr>
          <p:spPr bwMode="auto">
            <a:xfrm flipH="1">
              <a:off x="4074116" y="2842269"/>
              <a:ext cx="322520" cy="302397"/>
            </a:xfrm>
            <a:custGeom>
              <a:avLst/>
              <a:gdLst>
                <a:gd name="T0" fmla="*/ 1272 w 3126"/>
                <a:gd name="T1" fmla="*/ 165 h 2933"/>
                <a:gd name="T2" fmla="*/ 1079 w 3126"/>
                <a:gd name="T3" fmla="*/ 264 h 2933"/>
                <a:gd name="T4" fmla="*/ 912 w 3126"/>
                <a:gd name="T5" fmla="*/ 435 h 2933"/>
                <a:gd name="T6" fmla="*/ 801 w 3126"/>
                <a:gd name="T7" fmla="*/ 670 h 2933"/>
                <a:gd name="T8" fmla="*/ 749 w 3126"/>
                <a:gd name="T9" fmla="*/ 852 h 2933"/>
                <a:gd name="T10" fmla="*/ 672 w 3126"/>
                <a:gd name="T11" fmla="*/ 1121 h 2933"/>
                <a:gd name="T12" fmla="*/ 577 w 3126"/>
                <a:gd name="T13" fmla="*/ 1449 h 2933"/>
                <a:gd name="T14" fmla="*/ 476 w 3126"/>
                <a:gd name="T15" fmla="*/ 1801 h 2933"/>
                <a:gd name="T16" fmla="*/ 1563 w 3126"/>
                <a:gd name="T17" fmla="*/ 1585 h 2933"/>
                <a:gd name="T18" fmla="*/ 1417 w 3126"/>
                <a:gd name="T19" fmla="*/ 0 h 2933"/>
                <a:gd name="T20" fmla="*/ 3126 w 3126"/>
                <a:gd name="T21" fmla="*/ 2594 h 2933"/>
                <a:gd name="T22" fmla="*/ 3109 w 3126"/>
                <a:gd name="T23" fmla="*/ 2636 h 2933"/>
                <a:gd name="T24" fmla="*/ 3058 w 3126"/>
                <a:gd name="T25" fmla="*/ 2723 h 2933"/>
                <a:gd name="T26" fmla="*/ 2965 w 3126"/>
                <a:gd name="T27" fmla="*/ 2819 h 2933"/>
                <a:gd name="T28" fmla="*/ 2823 w 3126"/>
                <a:gd name="T29" fmla="*/ 2877 h 2933"/>
                <a:gd name="T30" fmla="*/ 2709 w 3126"/>
                <a:gd name="T31" fmla="*/ 2796 h 2933"/>
                <a:gd name="T32" fmla="*/ 2711 w 3126"/>
                <a:gd name="T33" fmla="*/ 2713 h 2933"/>
                <a:gd name="T34" fmla="*/ 2686 w 3126"/>
                <a:gd name="T35" fmla="*/ 2567 h 2933"/>
                <a:gd name="T36" fmla="*/ 2603 w 3126"/>
                <a:gd name="T37" fmla="*/ 2414 h 2933"/>
                <a:gd name="T38" fmla="*/ 2452 w 3126"/>
                <a:gd name="T39" fmla="*/ 2312 h 2933"/>
                <a:gd name="T40" fmla="*/ 2238 w 3126"/>
                <a:gd name="T41" fmla="*/ 2279 h 2933"/>
                <a:gd name="T42" fmla="*/ 2035 w 3126"/>
                <a:gd name="T43" fmla="*/ 2312 h 2933"/>
                <a:gd name="T44" fmla="*/ 1888 w 3126"/>
                <a:gd name="T45" fmla="*/ 2412 h 2933"/>
                <a:gd name="T46" fmla="*/ 1800 w 3126"/>
                <a:gd name="T47" fmla="*/ 2572 h 2933"/>
                <a:gd name="T48" fmla="*/ 1772 w 3126"/>
                <a:gd name="T49" fmla="*/ 2730 h 2933"/>
                <a:gd name="T50" fmla="*/ 1772 w 3126"/>
                <a:gd name="T51" fmla="*/ 2835 h 2933"/>
                <a:gd name="T52" fmla="*/ 1149 w 3126"/>
                <a:gd name="T53" fmla="*/ 2932 h 2933"/>
                <a:gd name="T54" fmla="*/ 1145 w 3126"/>
                <a:gd name="T55" fmla="*/ 2837 h 2933"/>
                <a:gd name="T56" fmla="*/ 1130 w 3126"/>
                <a:gd name="T57" fmla="*/ 2755 h 2933"/>
                <a:gd name="T58" fmla="*/ 1094 w 3126"/>
                <a:gd name="T59" fmla="*/ 2646 h 2933"/>
                <a:gd name="T60" fmla="*/ 1022 w 3126"/>
                <a:gd name="T61" fmla="*/ 2539 h 2933"/>
                <a:gd name="T62" fmla="*/ 906 w 3126"/>
                <a:gd name="T63" fmla="*/ 2462 h 2933"/>
                <a:gd name="T64" fmla="*/ 729 w 3126"/>
                <a:gd name="T65" fmla="*/ 2445 h 2933"/>
                <a:gd name="T66" fmla="*/ 566 w 3126"/>
                <a:gd name="T67" fmla="*/ 2495 h 2933"/>
                <a:gd name="T68" fmla="*/ 463 w 3126"/>
                <a:gd name="T69" fmla="*/ 2589 h 2933"/>
                <a:gd name="T70" fmla="*/ 408 w 3126"/>
                <a:gd name="T71" fmla="*/ 2699 h 2933"/>
                <a:gd name="T72" fmla="*/ 384 w 3126"/>
                <a:gd name="T73" fmla="*/ 2797 h 2933"/>
                <a:gd name="T74" fmla="*/ 379 w 3126"/>
                <a:gd name="T75" fmla="*/ 2854 h 2933"/>
                <a:gd name="T76" fmla="*/ 27 w 3126"/>
                <a:gd name="T77" fmla="*/ 2842 h 2933"/>
                <a:gd name="T78" fmla="*/ 44 w 3126"/>
                <a:gd name="T79" fmla="*/ 2778 h 2933"/>
                <a:gd name="T80" fmla="*/ 91 w 3126"/>
                <a:gd name="T81" fmla="*/ 2619 h 2933"/>
                <a:gd name="T82" fmla="*/ 159 w 3126"/>
                <a:gd name="T83" fmla="*/ 2385 h 2933"/>
                <a:gd name="T84" fmla="*/ 242 w 3126"/>
                <a:gd name="T85" fmla="*/ 2099 h 2933"/>
                <a:gd name="T86" fmla="*/ 332 w 3126"/>
                <a:gd name="T87" fmla="*/ 1785 h 2933"/>
                <a:gd name="T88" fmla="*/ 425 w 3126"/>
                <a:gd name="T89" fmla="*/ 1465 h 2933"/>
                <a:gd name="T90" fmla="*/ 513 w 3126"/>
                <a:gd name="T91" fmla="*/ 1163 h 2933"/>
                <a:gd name="T92" fmla="*/ 588 w 3126"/>
                <a:gd name="T93" fmla="*/ 900 h 2933"/>
                <a:gd name="T94" fmla="*/ 644 w 3126"/>
                <a:gd name="T95" fmla="*/ 701 h 2933"/>
                <a:gd name="T96" fmla="*/ 714 w 3126"/>
                <a:gd name="T97" fmla="*/ 496 h 2933"/>
                <a:gd name="T98" fmla="*/ 862 w 3126"/>
                <a:gd name="T99" fmla="*/ 269 h 2933"/>
                <a:gd name="T100" fmla="*/ 1053 w 3126"/>
                <a:gd name="T101" fmla="*/ 111 h 2933"/>
                <a:gd name="T102" fmla="*/ 1262 w 3126"/>
                <a:gd name="T103" fmla="*/ 21 h 2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26" h="2933">
                  <a:moveTo>
                    <a:pt x="1417" y="142"/>
                  </a:moveTo>
                  <a:lnTo>
                    <a:pt x="1370" y="144"/>
                  </a:lnTo>
                  <a:lnTo>
                    <a:pt x="1322" y="153"/>
                  </a:lnTo>
                  <a:lnTo>
                    <a:pt x="1272" y="165"/>
                  </a:lnTo>
                  <a:lnTo>
                    <a:pt x="1224" y="183"/>
                  </a:lnTo>
                  <a:lnTo>
                    <a:pt x="1174" y="206"/>
                  </a:lnTo>
                  <a:lnTo>
                    <a:pt x="1126" y="233"/>
                  </a:lnTo>
                  <a:lnTo>
                    <a:pt x="1079" y="264"/>
                  </a:lnTo>
                  <a:lnTo>
                    <a:pt x="1035" y="301"/>
                  </a:lnTo>
                  <a:lnTo>
                    <a:pt x="990" y="341"/>
                  </a:lnTo>
                  <a:lnTo>
                    <a:pt x="949" y="387"/>
                  </a:lnTo>
                  <a:lnTo>
                    <a:pt x="912" y="435"/>
                  </a:lnTo>
                  <a:lnTo>
                    <a:pt x="878" y="488"/>
                  </a:lnTo>
                  <a:lnTo>
                    <a:pt x="848" y="545"/>
                  </a:lnTo>
                  <a:lnTo>
                    <a:pt x="822" y="606"/>
                  </a:lnTo>
                  <a:lnTo>
                    <a:pt x="801" y="670"/>
                  </a:lnTo>
                  <a:lnTo>
                    <a:pt x="791" y="706"/>
                  </a:lnTo>
                  <a:lnTo>
                    <a:pt x="779" y="748"/>
                  </a:lnTo>
                  <a:lnTo>
                    <a:pt x="765" y="797"/>
                  </a:lnTo>
                  <a:lnTo>
                    <a:pt x="749" y="852"/>
                  </a:lnTo>
                  <a:lnTo>
                    <a:pt x="732" y="912"/>
                  </a:lnTo>
                  <a:lnTo>
                    <a:pt x="713" y="978"/>
                  </a:lnTo>
                  <a:lnTo>
                    <a:pt x="693" y="1047"/>
                  </a:lnTo>
                  <a:lnTo>
                    <a:pt x="672" y="1121"/>
                  </a:lnTo>
                  <a:lnTo>
                    <a:pt x="650" y="1199"/>
                  </a:lnTo>
                  <a:lnTo>
                    <a:pt x="627" y="1280"/>
                  </a:lnTo>
                  <a:lnTo>
                    <a:pt x="602" y="1364"/>
                  </a:lnTo>
                  <a:lnTo>
                    <a:pt x="577" y="1449"/>
                  </a:lnTo>
                  <a:lnTo>
                    <a:pt x="552" y="1536"/>
                  </a:lnTo>
                  <a:lnTo>
                    <a:pt x="526" y="1625"/>
                  </a:lnTo>
                  <a:lnTo>
                    <a:pt x="502" y="1712"/>
                  </a:lnTo>
                  <a:lnTo>
                    <a:pt x="476" y="1801"/>
                  </a:lnTo>
                  <a:lnTo>
                    <a:pt x="450" y="1890"/>
                  </a:lnTo>
                  <a:lnTo>
                    <a:pt x="424" y="1978"/>
                  </a:lnTo>
                  <a:lnTo>
                    <a:pt x="1563" y="1978"/>
                  </a:lnTo>
                  <a:lnTo>
                    <a:pt x="1563" y="1585"/>
                  </a:lnTo>
                  <a:lnTo>
                    <a:pt x="2351" y="1585"/>
                  </a:lnTo>
                  <a:lnTo>
                    <a:pt x="2351" y="142"/>
                  </a:lnTo>
                  <a:lnTo>
                    <a:pt x="1417" y="142"/>
                  </a:lnTo>
                  <a:close/>
                  <a:moveTo>
                    <a:pt x="1417" y="0"/>
                  </a:moveTo>
                  <a:lnTo>
                    <a:pt x="2493" y="0"/>
                  </a:lnTo>
                  <a:lnTo>
                    <a:pt x="2493" y="1590"/>
                  </a:lnTo>
                  <a:lnTo>
                    <a:pt x="3126" y="1590"/>
                  </a:lnTo>
                  <a:lnTo>
                    <a:pt x="3126" y="2594"/>
                  </a:lnTo>
                  <a:lnTo>
                    <a:pt x="3121" y="2607"/>
                  </a:lnTo>
                  <a:lnTo>
                    <a:pt x="3120" y="2611"/>
                  </a:lnTo>
                  <a:lnTo>
                    <a:pt x="3116" y="2621"/>
                  </a:lnTo>
                  <a:lnTo>
                    <a:pt x="3109" y="2636"/>
                  </a:lnTo>
                  <a:lnTo>
                    <a:pt x="3100" y="2654"/>
                  </a:lnTo>
                  <a:lnTo>
                    <a:pt x="3089" y="2675"/>
                  </a:lnTo>
                  <a:lnTo>
                    <a:pt x="3075" y="2698"/>
                  </a:lnTo>
                  <a:lnTo>
                    <a:pt x="3058" y="2723"/>
                  </a:lnTo>
                  <a:lnTo>
                    <a:pt x="3039" y="2748"/>
                  </a:lnTo>
                  <a:lnTo>
                    <a:pt x="3017" y="2772"/>
                  </a:lnTo>
                  <a:lnTo>
                    <a:pt x="2992" y="2797"/>
                  </a:lnTo>
                  <a:lnTo>
                    <a:pt x="2965" y="2819"/>
                  </a:lnTo>
                  <a:lnTo>
                    <a:pt x="2934" y="2839"/>
                  </a:lnTo>
                  <a:lnTo>
                    <a:pt x="2900" y="2856"/>
                  </a:lnTo>
                  <a:lnTo>
                    <a:pt x="2863" y="2870"/>
                  </a:lnTo>
                  <a:lnTo>
                    <a:pt x="2823" y="2877"/>
                  </a:lnTo>
                  <a:lnTo>
                    <a:pt x="2780" y="2881"/>
                  </a:lnTo>
                  <a:lnTo>
                    <a:pt x="2698" y="2881"/>
                  </a:lnTo>
                  <a:lnTo>
                    <a:pt x="2709" y="2801"/>
                  </a:lnTo>
                  <a:lnTo>
                    <a:pt x="2709" y="2796"/>
                  </a:lnTo>
                  <a:lnTo>
                    <a:pt x="2711" y="2785"/>
                  </a:lnTo>
                  <a:lnTo>
                    <a:pt x="2711" y="2766"/>
                  </a:lnTo>
                  <a:lnTo>
                    <a:pt x="2712" y="2741"/>
                  </a:lnTo>
                  <a:lnTo>
                    <a:pt x="2711" y="2713"/>
                  </a:lnTo>
                  <a:lnTo>
                    <a:pt x="2708" y="2681"/>
                  </a:lnTo>
                  <a:lnTo>
                    <a:pt x="2703" y="2645"/>
                  </a:lnTo>
                  <a:lnTo>
                    <a:pt x="2696" y="2607"/>
                  </a:lnTo>
                  <a:lnTo>
                    <a:pt x="2686" y="2567"/>
                  </a:lnTo>
                  <a:lnTo>
                    <a:pt x="2672" y="2527"/>
                  </a:lnTo>
                  <a:lnTo>
                    <a:pt x="2654" y="2488"/>
                  </a:lnTo>
                  <a:lnTo>
                    <a:pt x="2630" y="2449"/>
                  </a:lnTo>
                  <a:lnTo>
                    <a:pt x="2603" y="2414"/>
                  </a:lnTo>
                  <a:lnTo>
                    <a:pt x="2571" y="2381"/>
                  </a:lnTo>
                  <a:lnTo>
                    <a:pt x="2535" y="2354"/>
                  </a:lnTo>
                  <a:lnTo>
                    <a:pt x="2495" y="2331"/>
                  </a:lnTo>
                  <a:lnTo>
                    <a:pt x="2452" y="2312"/>
                  </a:lnTo>
                  <a:lnTo>
                    <a:pt x="2404" y="2297"/>
                  </a:lnTo>
                  <a:lnTo>
                    <a:pt x="2353" y="2287"/>
                  </a:lnTo>
                  <a:lnTo>
                    <a:pt x="2297" y="2280"/>
                  </a:lnTo>
                  <a:lnTo>
                    <a:pt x="2238" y="2279"/>
                  </a:lnTo>
                  <a:lnTo>
                    <a:pt x="2182" y="2280"/>
                  </a:lnTo>
                  <a:lnTo>
                    <a:pt x="2129" y="2287"/>
                  </a:lnTo>
                  <a:lnTo>
                    <a:pt x="2081" y="2297"/>
                  </a:lnTo>
                  <a:lnTo>
                    <a:pt x="2035" y="2312"/>
                  </a:lnTo>
                  <a:lnTo>
                    <a:pt x="1993" y="2331"/>
                  </a:lnTo>
                  <a:lnTo>
                    <a:pt x="1955" y="2354"/>
                  </a:lnTo>
                  <a:lnTo>
                    <a:pt x="1919" y="2380"/>
                  </a:lnTo>
                  <a:lnTo>
                    <a:pt x="1888" y="2412"/>
                  </a:lnTo>
                  <a:lnTo>
                    <a:pt x="1860" y="2449"/>
                  </a:lnTo>
                  <a:lnTo>
                    <a:pt x="1835" y="2489"/>
                  </a:lnTo>
                  <a:lnTo>
                    <a:pt x="1816" y="2530"/>
                  </a:lnTo>
                  <a:lnTo>
                    <a:pt x="1800" y="2572"/>
                  </a:lnTo>
                  <a:lnTo>
                    <a:pt x="1789" y="2614"/>
                  </a:lnTo>
                  <a:lnTo>
                    <a:pt x="1780" y="2655"/>
                  </a:lnTo>
                  <a:lnTo>
                    <a:pt x="1776" y="2693"/>
                  </a:lnTo>
                  <a:lnTo>
                    <a:pt x="1772" y="2730"/>
                  </a:lnTo>
                  <a:lnTo>
                    <a:pt x="1769" y="2764"/>
                  </a:lnTo>
                  <a:lnTo>
                    <a:pt x="1769" y="2793"/>
                  </a:lnTo>
                  <a:lnTo>
                    <a:pt x="1771" y="2817"/>
                  </a:lnTo>
                  <a:lnTo>
                    <a:pt x="1772" y="2835"/>
                  </a:lnTo>
                  <a:lnTo>
                    <a:pt x="1772" y="2848"/>
                  </a:lnTo>
                  <a:lnTo>
                    <a:pt x="1773" y="2851"/>
                  </a:lnTo>
                  <a:lnTo>
                    <a:pt x="1783" y="2932"/>
                  </a:lnTo>
                  <a:lnTo>
                    <a:pt x="1149" y="2932"/>
                  </a:lnTo>
                  <a:lnTo>
                    <a:pt x="1146" y="2863"/>
                  </a:lnTo>
                  <a:lnTo>
                    <a:pt x="1146" y="2859"/>
                  </a:lnTo>
                  <a:lnTo>
                    <a:pt x="1146" y="2849"/>
                  </a:lnTo>
                  <a:lnTo>
                    <a:pt x="1145" y="2837"/>
                  </a:lnTo>
                  <a:lnTo>
                    <a:pt x="1142" y="2820"/>
                  </a:lnTo>
                  <a:lnTo>
                    <a:pt x="1140" y="2801"/>
                  </a:lnTo>
                  <a:lnTo>
                    <a:pt x="1136" y="2778"/>
                  </a:lnTo>
                  <a:lnTo>
                    <a:pt x="1130" y="2755"/>
                  </a:lnTo>
                  <a:lnTo>
                    <a:pt x="1124" y="2729"/>
                  </a:lnTo>
                  <a:lnTo>
                    <a:pt x="1115" y="2702"/>
                  </a:lnTo>
                  <a:lnTo>
                    <a:pt x="1105" y="2675"/>
                  </a:lnTo>
                  <a:lnTo>
                    <a:pt x="1094" y="2646"/>
                  </a:lnTo>
                  <a:lnTo>
                    <a:pt x="1079" y="2618"/>
                  </a:lnTo>
                  <a:lnTo>
                    <a:pt x="1063" y="2590"/>
                  </a:lnTo>
                  <a:lnTo>
                    <a:pt x="1043" y="2564"/>
                  </a:lnTo>
                  <a:lnTo>
                    <a:pt x="1022" y="2539"/>
                  </a:lnTo>
                  <a:lnTo>
                    <a:pt x="998" y="2516"/>
                  </a:lnTo>
                  <a:lnTo>
                    <a:pt x="970" y="2495"/>
                  </a:lnTo>
                  <a:lnTo>
                    <a:pt x="939" y="2477"/>
                  </a:lnTo>
                  <a:lnTo>
                    <a:pt x="906" y="2462"/>
                  </a:lnTo>
                  <a:lnTo>
                    <a:pt x="868" y="2451"/>
                  </a:lnTo>
                  <a:lnTo>
                    <a:pt x="827" y="2445"/>
                  </a:lnTo>
                  <a:lnTo>
                    <a:pt x="781" y="2442"/>
                  </a:lnTo>
                  <a:lnTo>
                    <a:pt x="729" y="2445"/>
                  </a:lnTo>
                  <a:lnTo>
                    <a:pt x="682" y="2451"/>
                  </a:lnTo>
                  <a:lnTo>
                    <a:pt x="639" y="2462"/>
                  </a:lnTo>
                  <a:lnTo>
                    <a:pt x="601" y="2477"/>
                  </a:lnTo>
                  <a:lnTo>
                    <a:pt x="566" y="2495"/>
                  </a:lnTo>
                  <a:lnTo>
                    <a:pt x="535" y="2515"/>
                  </a:lnTo>
                  <a:lnTo>
                    <a:pt x="508" y="2539"/>
                  </a:lnTo>
                  <a:lnTo>
                    <a:pt x="484" y="2563"/>
                  </a:lnTo>
                  <a:lnTo>
                    <a:pt x="463" y="2589"/>
                  </a:lnTo>
                  <a:lnTo>
                    <a:pt x="446" y="2616"/>
                  </a:lnTo>
                  <a:lnTo>
                    <a:pt x="431" y="2644"/>
                  </a:lnTo>
                  <a:lnTo>
                    <a:pt x="418" y="2672"/>
                  </a:lnTo>
                  <a:lnTo>
                    <a:pt x="408" y="2699"/>
                  </a:lnTo>
                  <a:lnTo>
                    <a:pt x="399" y="2726"/>
                  </a:lnTo>
                  <a:lnTo>
                    <a:pt x="393" y="2751"/>
                  </a:lnTo>
                  <a:lnTo>
                    <a:pt x="388" y="2776"/>
                  </a:lnTo>
                  <a:lnTo>
                    <a:pt x="384" y="2797"/>
                  </a:lnTo>
                  <a:lnTo>
                    <a:pt x="382" y="2817"/>
                  </a:lnTo>
                  <a:lnTo>
                    <a:pt x="380" y="2833"/>
                  </a:lnTo>
                  <a:lnTo>
                    <a:pt x="379" y="2845"/>
                  </a:lnTo>
                  <a:lnTo>
                    <a:pt x="379" y="2854"/>
                  </a:lnTo>
                  <a:lnTo>
                    <a:pt x="379" y="2859"/>
                  </a:lnTo>
                  <a:lnTo>
                    <a:pt x="379" y="2929"/>
                  </a:lnTo>
                  <a:lnTo>
                    <a:pt x="0" y="2933"/>
                  </a:lnTo>
                  <a:lnTo>
                    <a:pt x="27" y="2842"/>
                  </a:lnTo>
                  <a:lnTo>
                    <a:pt x="28" y="2835"/>
                  </a:lnTo>
                  <a:lnTo>
                    <a:pt x="32" y="2823"/>
                  </a:lnTo>
                  <a:lnTo>
                    <a:pt x="37" y="2804"/>
                  </a:lnTo>
                  <a:lnTo>
                    <a:pt x="44" y="2778"/>
                  </a:lnTo>
                  <a:lnTo>
                    <a:pt x="54" y="2748"/>
                  </a:lnTo>
                  <a:lnTo>
                    <a:pt x="64" y="2709"/>
                  </a:lnTo>
                  <a:lnTo>
                    <a:pt x="76" y="2667"/>
                  </a:lnTo>
                  <a:lnTo>
                    <a:pt x="91" y="2619"/>
                  </a:lnTo>
                  <a:lnTo>
                    <a:pt x="106" y="2567"/>
                  </a:lnTo>
                  <a:lnTo>
                    <a:pt x="122" y="2510"/>
                  </a:lnTo>
                  <a:lnTo>
                    <a:pt x="141" y="2449"/>
                  </a:lnTo>
                  <a:lnTo>
                    <a:pt x="159" y="2385"/>
                  </a:lnTo>
                  <a:lnTo>
                    <a:pt x="178" y="2318"/>
                  </a:lnTo>
                  <a:lnTo>
                    <a:pt x="199" y="2248"/>
                  </a:lnTo>
                  <a:lnTo>
                    <a:pt x="220" y="2175"/>
                  </a:lnTo>
                  <a:lnTo>
                    <a:pt x="242" y="2099"/>
                  </a:lnTo>
                  <a:lnTo>
                    <a:pt x="264" y="2023"/>
                  </a:lnTo>
                  <a:lnTo>
                    <a:pt x="287" y="1945"/>
                  </a:lnTo>
                  <a:lnTo>
                    <a:pt x="309" y="1866"/>
                  </a:lnTo>
                  <a:lnTo>
                    <a:pt x="332" y="1785"/>
                  </a:lnTo>
                  <a:lnTo>
                    <a:pt x="356" y="1705"/>
                  </a:lnTo>
                  <a:lnTo>
                    <a:pt x="379" y="1625"/>
                  </a:lnTo>
                  <a:lnTo>
                    <a:pt x="402" y="1545"/>
                  </a:lnTo>
                  <a:lnTo>
                    <a:pt x="425" y="1465"/>
                  </a:lnTo>
                  <a:lnTo>
                    <a:pt x="447" y="1387"/>
                  </a:lnTo>
                  <a:lnTo>
                    <a:pt x="470" y="1310"/>
                  </a:lnTo>
                  <a:lnTo>
                    <a:pt x="492" y="1236"/>
                  </a:lnTo>
                  <a:lnTo>
                    <a:pt x="513" y="1163"/>
                  </a:lnTo>
                  <a:lnTo>
                    <a:pt x="533" y="1093"/>
                  </a:lnTo>
                  <a:lnTo>
                    <a:pt x="552" y="1025"/>
                  </a:lnTo>
                  <a:lnTo>
                    <a:pt x="570" y="961"/>
                  </a:lnTo>
                  <a:lnTo>
                    <a:pt x="588" y="900"/>
                  </a:lnTo>
                  <a:lnTo>
                    <a:pt x="604" y="844"/>
                  </a:lnTo>
                  <a:lnTo>
                    <a:pt x="619" y="791"/>
                  </a:lnTo>
                  <a:lnTo>
                    <a:pt x="633" y="744"/>
                  </a:lnTo>
                  <a:lnTo>
                    <a:pt x="644" y="701"/>
                  </a:lnTo>
                  <a:lnTo>
                    <a:pt x="655" y="664"/>
                  </a:lnTo>
                  <a:lnTo>
                    <a:pt x="664" y="632"/>
                  </a:lnTo>
                  <a:lnTo>
                    <a:pt x="686" y="561"/>
                  </a:lnTo>
                  <a:lnTo>
                    <a:pt x="714" y="496"/>
                  </a:lnTo>
                  <a:lnTo>
                    <a:pt x="745" y="432"/>
                  </a:lnTo>
                  <a:lnTo>
                    <a:pt x="781" y="374"/>
                  </a:lnTo>
                  <a:lnTo>
                    <a:pt x="820" y="320"/>
                  </a:lnTo>
                  <a:lnTo>
                    <a:pt x="862" y="269"/>
                  </a:lnTo>
                  <a:lnTo>
                    <a:pt x="906" y="223"/>
                  </a:lnTo>
                  <a:lnTo>
                    <a:pt x="954" y="181"/>
                  </a:lnTo>
                  <a:lnTo>
                    <a:pt x="1003" y="144"/>
                  </a:lnTo>
                  <a:lnTo>
                    <a:pt x="1053" y="111"/>
                  </a:lnTo>
                  <a:lnTo>
                    <a:pt x="1105" y="81"/>
                  </a:lnTo>
                  <a:lnTo>
                    <a:pt x="1157" y="56"/>
                  </a:lnTo>
                  <a:lnTo>
                    <a:pt x="1210" y="37"/>
                  </a:lnTo>
                  <a:lnTo>
                    <a:pt x="1262" y="21"/>
                  </a:lnTo>
                  <a:lnTo>
                    <a:pt x="1315" y="9"/>
                  </a:lnTo>
                  <a:lnTo>
                    <a:pt x="1366" y="2"/>
                  </a:lnTo>
                  <a:lnTo>
                    <a:pt x="1417" y="0"/>
                  </a:lnTo>
                  <a:close/>
                </a:path>
              </a:pathLst>
            </a:custGeom>
            <a:solidFill>
              <a:srgbClr val="008DB5"/>
            </a:solidFill>
            <a:ln w="0">
              <a:solidFill>
                <a:srgbClr val="008DB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1" name="Rectangle 890"/>
            <p:cNvSpPr/>
            <p:nvPr/>
          </p:nvSpPr>
          <p:spPr bwMode="auto">
            <a:xfrm flipH="1">
              <a:off x="3120753" y="2865042"/>
              <a:ext cx="433497" cy="272417"/>
            </a:xfrm>
            <a:custGeom>
              <a:avLst/>
              <a:gdLst/>
              <a:ahLst/>
              <a:cxnLst/>
              <a:rect l="l" t="t" r="r" b="b"/>
              <a:pathLst>
                <a:path w="433497" h="272417">
                  <a:moveTo>
                    <a:pt x="399068" y="29925"/>
                  </a:moveTo>
                  <a:lnTo>
                    <a:pt x="399068" y="225012"/>
                  </a:lnTo>
                  <a:lnTo>
                    <a:pt x="26692" y="225012"/>
                  </a:lnTo>
                  <a:lnTo>
                    <a:pt x="26692" y="29925"/>
                  </a:lnTo>
                  <a:close/>
                  <a:moveTo>
                    <a:pt x="433497" y="0"/>
                  </a:moveTo>
                  <a:lnTo>
                    <a:pt x="0" y="0"/>
                  </a:lnTo>
                  <a:lnTo>
                    <a:pt x="0" y="272417"/>
                  </a:lnTo>
                  <a:lnTo>
                    <a:pt x="433497" y="272417"/>
                  </a:lnTo>
                  <a:close/>
                </a:path>
              </a:pathLst>
            </a:cu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5" name="Rectangle 890"/>
            <p:cNvSpPr/>
            <p:nvPr/>
          </p:nvSpPr>
          <p:spPr bwMode="auto">
            <a:xfrm flipH="1">
              <a:off x="3593210" y="2861409"/>
              <a:ext cx="433497" cy="272417"/>
            </a:xfrm>
            <a:custGeom>
              <a:avLst/>
              <a:gdLst/>
              <a:ahLst/>
              <a:cxnLst/>
              <a:rect l="l" t="t" r="r" b="b"/>
              <a:pathLst>
                <a:path w="433497" h="272417">
                  <a:moveTo>
                    <a:pt x="399068" y="29925"/>
                  </a:moveTo>
                  <a:lnTo>
                    <a:pt x="399068" y="225012"/>
                  </a:lnTo>
                  <a:lnTo>
                    <a:pt x="26692" y="225012"/>
                  </a:lnTo>
                  <a:lnTo>
                    <a:pt x="26692" y="29925"/>
                  </a:lnTo>
                  <a:close/>
                  <a:moveTo>
                    <a:pt x="433497" y="0"/>
                  </a:moveTo>
                  <a:lnTo>
                    <a:pt x="0" y="0"/>
                  </a:lnTo>
                  <a:lnTo>
                    <a:pt x="0" y="272417"/>
                  </a:lnTo>
                  <a:lnTo>
                    <a:pt x="433497" y="272417"/>
                  </a:lnTo>
                  <a:close/>
                </a:path>
              </a:pathLst>
            </a:cu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490" name="Group 489"/>
            <p:cNvGrpSpPr/>
            <p:nvPr/>
          </p:nvGrpSpPr>
          <p:grpSpPr>
            <a:xfrm>
              <a:off x="3427975" y="3092971"/>
              <a:ext cx="546090" cy="85884"/>
              <a:chOff x="3427975" y="3092971"/>
              <a:chExt cx="546090" cy="85884"/>
            </a:xfrm>
          </p:grpSpPr>
          <p:sp>
            <p:nvSpPr>
              <p:cNvPr id="1168" name="Oval 1167"/>
              <p:cNvSpPr/>
              <p:nvPr/>
            </p:nvSpPr>
            <p:spPr bwMode="auto">
              <a:xfrm>
                <a:off x="3427975" y="3095629"/>
                <a:ext cx="83226" cy="83226"/>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9" name="Oval 1168"/>
              <p:cNvSpPr/>
              <p:nvPr/>
            </p:nvSpPr>
            <p:spPr bwMode="auto">
              <a:xfrm>
                <a:off x="3643490" y="3095629"/>
                <a:ext cx="83226" cy="83226"/>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9" name="Oval 1178"/>
              <p:cNvSpPr/>
              <p:nvPr/>
            </p:nvSpPr>
            <p:spPr bwMode="auto">
              <a:xfrm>
                <a:off x="3890839" y="3092971"/>
                <a:ext cx="83226" cy="83226"/>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466" name="Oval 465"/>
            <p:cNvSpPr/>
            <p:nvPr/>
          </p:nvSpPr>
          <p:spPr bwMode="auto">
            <a:xfrm>
              <a:off x="3182431" y="3094819"/>
              <a:ext cx="83226" cy="83226"/>
            </a:xfrm>
            <a:prstGeom prst="ellipse">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489" name="Group 488"/>
            <p:cNvGrpSpPr/>
            <p:nvPr/>
          </p:nvGrpSpPr>
          <p:grpSpPr>
            <a:xfrm>
              <a:off x="3183490" y="3096563"/>
              <a:ext cx="782995" cy="75935"/>
              <a:chOff x="3179773" y="3092846"/>
              <a:chExt cx="782995" cy="75935"/>
            </a:xfrm>
          </p:grpSpPr>
          <p:sp>
            <p:nvSpPr>
              <p:cNvPr id="889" name="Freeform 506"/>
              <p:cNvSpPr>
                <a:spLocks noEditPoints="1"/>
              </p:cNvSpPr>
              <p:nvPr/>
            </p:nvSpPr>
            <p:spPr bwMode="auto">
              <a:xfrm flipH="1">
                <a:off x="3888975" y="3092846"/>
                <a:ext cx="73793" cy="73277"/>
              </a:xfrm>
              <a:custGeom>
                <a:avLst/>
                <a:gdLst>
                  <a:gd name="T0" fmla="*/ 318 w 711"/>
                  <a:gd name="T1" fmla="*/ 173 h 711"/>
                  <a:gd name="T2" fmla="*/ 251 w 711"/>
                  <a:gd name="T3" fmla="*/ 201 h 711"/>
                  <a:gd name="T4" fmla="*/ 202 w 711"/>
                  <a:gd name="T5" fmla="*/ 251 h 711"/>
                  <a:gd name="T6" fmla="*/ 173 w 711"/>
                  <a:gd name="T7" fmla="*/ 318 h 711"/>
                  <a:gd name="T8" fmla="*/ 173 w 711"/>
                  <a:gd name="T9" fmla="*/ 393 h 711"/>
                  <a:gd name="T10" fmla="*/ 202 w 711"/>
                  <a:gd name="T11" fmla="*/ 460 h 711"/>
                  <a:gd name="T12" fmla="*/ 251 w 711"/>
                  <a:gd name="T13" fmla="*/ 509 h 711"/>
                  <a:gd name="T14" fmla="*/ 318 w 711"/>
                  <a:gd name="T15" fmla="*/ 538 h 711"/>
                  <a:gd name="T16" fmla="*/ 393 w 711"/>
                  <a:gd name="T17" fmla="*/ 538 h 711"/>
                  <a:gd name="T18" fmla="*/ 460 w 711"/>
                  <a:gd name="T19" fmla="*/ 509 h 711"/>
                  <a:gd name="T20" fmla="*/ 510 w 711"/>
                  <a:gd name="T21" fmla="*/ 460 h 711"/>
                  <a:gd name="T22" fmla="*/ 538 w 711"/>
                  <a:gd name="T23" fmla="*/ 393 h 711"/>
                  <a:gd name="T24" fmla="*/ 538 w 711"/>
                  <a:gd name="T25" fmla="*/ 318 h 711"/>
                  <a:gd name="T26" fmla="*/ 510 w 711"/>
                  <a:gd name="T27" fmla="*/ 251 h 711"/>
                  <a:gd name="T28" fmla="*/ 460 w 711"/>
                  <a:gd name="T29" fmla="*/ 201 h 711"/>
                  <a:gd name="T30" fmla="*/ 393 w 711"/>
                  <a:gd name="T31" fmla="*/ 173 h 711"/>
                  <a:gd name="T32" fmla="*/ 355 w 711"/>
                  <a:gd name="T33" fmla="*/ 0 h 711"/>
                  <a:gd name="T34" fmla="*/ 458 w 711"/>
                  <a:gd name="T35" fmla="*/ 15 h 711"/>
                  <a:gd name="T36" fmla="*/ 549 w 711"/>
                  <a:gd name="T37" fmla="*/ 57 h 711"/>
                  <a:gd name="T38" fmla="*/ 623 w 711"/>
                  <a:gd name="T39" fmla="*/ 122 h 711"/>
                  <a:gd name="T40" fmla="*/ 678 w 711"/>
                  <a:gd name="T41" fmla="*/ 205 h 711"/>
                  <a:gd name="T42" fmla="*/ 708 w 711"/>
                  <a:gd name="T43" fmla="*/ 303 h 711"/>
                  <a:gd name="T44" fmla="*/ 708 w 711"/>
                  <a:gd name="T45" fmla="*/ 408 h 711"/>
                  <a:gd name="T46" fmla="*/ 678 w 711"/>
                  <a:gd name="T47" fmla="*/ 506 h 711"/>
                  <a:gd name="T48" fmla="*/ 623 w 711"/>
                  <a:gd name="T49" fmla="*/ 589 h 711"/>
                  <a:gd name="T50" fmla="*/ 549 w 711"/>
                  <a:gd name="T51" fmla="*/ 654 h 711"/>
                  <a:gd name="T52" fmla="*/ 458 w 711"/>
                  <a:gd name="T53" fmla="*/ 696 h 711"/>
                  <a:gd name="T54" fmla="*/ 355 w 711"/>
                  <a:gd name="T55" fmla="*/ 711 h 711"/>
                  <a:gd name="T56" fmla="*/ 254 w 711"/>
                  <a:gd name="T57" fmla="*/ 696 h 711"/>
                  <a:gd name="T58" fmla="*/ 162 w 711"/>
                  <a:gd name="T59" fmla="*/ 654 h 711"/>
                  <a:gd name="T60" fmla="*/ 88 w 711"/>
                  <a:gd name="T61" fmla="*/ 589 h 711"/>
                  <a:gd name="T62" fmla="*/ 34 w 711"/>
                  <a:gd name="T63" fmla="*/ 506 h 711"/>
                  <a:gd name="T64" fmla="*/ 4 w 711"/>
                  <a:gd name="T65" fmla="*/ 408 h 711"/>
                  <a:gd name="T66" fmla="*/ 4 w 711"/>
                  <a:gd name="T67" fmla="*/ 303 h 711"/>
                  <a:gd name="T68" fmla="*/ 34 w 711"/>
                  <a:gd name="T69" fmla="*/ 205 h 711"/>
                  <a:gd name="T70" fmla="*/ 88 w 711"/>
                  <a:gd name="T71" fmla="*/ 122 h 711"/>
                  <a:gd name="T72" fmla="*/ 162 w 711"/>
                  <a:gd name="T73" fmla="*/ 57 h 711"/>
                  <a:gd name="T74" fmla="*/ 254 w 711"/>
                  <a:gd name="T75" fmla="*/ 15 h 711"/>
                  <a:gd name="T76" fmla="*/ 355 w 711"/>
                  <a:gd name="T77"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1" h="711">
                    <a:moveTo>
                      <a:pt x="355" y="169"/>
                    </a:moveTo>
                    <a:lnTo>
                      <a:pt x="318" y="173"/>
                    </a:lnTo>
                    <a:lnTo>
                      <a:pt x="283" y="184"/>
                    </a:lnTo>
                    <a:lnTo>
                      <a:pt x="251" y="201"/>
                    </a:lnTo>
                    <a:lnTo>
                      <a:pt x="224" y="224"/>
                    </a:lnTo>
                    <a:lnTo>
                      <a:pt x="202" y="251"/>
                    </a:lnTo>
                    <a:lnTo>
                      <a:pt x="184" y="283"/>
                    </a:lnTo>
                    <a:lnTo>
                      <a:pt x="173" y="318"/>
                    </a:lnTo>
                    <a:lnTo>
                      <a:pt x="170" y="355"/>
                    </a:lnTo>
                    <a:lnTo>
                      <a:pt x="173" y="393"/>
                    </a:lnTo>
                    <a:lnTo>
                      <a:pt x="184" y="428"/>
                    </a:lnTo>
                    <a:lnTo>
                      <a:pt x="202" y="460"/>
                    </a:lnTo>
                    <a:lnTo>
                      <a:pt x="224" y="487"/>
                    </a:lnTo>
                    <a:lnTo>
                      <a:pt x="251" y="509"/>
                    </a:lnTo>
                    <a:lnTo>
                      <a:pt x="283" y="527"/>
                    </a:lnTo>
                    <a:lnTo>
                      <a:pt x="318" y="538"/>
                    </a:lnTo>
                    <a:lnTo>
                      <a:pt x="355" y="542"/>
                    </a:lnTo>
                    <a:lnTo>
                      <a:pt x="393" y="538"/>
                    </a:lnTo>
                    <a:lnTo>
                      <a:pt x="428" y="527"/>
                    </a:lnTo>
                    <a:lnTo>
                      <a:pt x="460" y="509"/>
                    </a:lnTo>
                    <a:lnTo>
                      <a:pt x="487" y="487"/>
                    </a:lnTo>
                    <a:lnTo>
                      <a:pt x="510" y="460"/>
                    </a:lnTo>
                    <a:lnTo>
                      <a:pt x="527" y="428"/>
                    </a:lnTo>
                    <a:lnTo>
                      <a:pt x="538" y="393"/>
                    </a:lnTo>
                    <a:lnTo>
                      <a:pt x="542" y="355"/>
                    </a:lnTo>
                    <a:lnTo>
                      <a:pt x="538" y="318"/>
                    </a:lnTo>
                    <a:lnTo>
                      <a:pt x="527" y="283"/>
                    </a:lnTo>
                    <a:lnTo>
                      <a:pt x="510" y="251"/>
                    </a:lnTo>
                    <a:lnTo>
                      <a:pt x="487" y="224"/>
                    </a:lnTo>
                    <a:lnTo>
                      <a:pt x="460" y="201"/>
                    </a:lnTo>
                    <a:lnTo>
                      <a:pt x="428" y="184"/>
                    </a:lnTo>
                    <a:lnTo>
                      <a:pt x="393" y="173"/>
                    </a:lnTo>
                    <a:lnTo>
                      <a:pt x="355" y="169"/>
                    </a:lnTo>
                    <a:close/>
                    <a:moveTo>
                      <a:pt x="355" y="0"/>
                    </a:moveTo>
                    <a:lnTo>
                      <a:pt x="408" y="4"/>
                    </a:lnTo>
                    <a:lnTo>
                      <a:pt x="458" y="15"/>
                    </a:lnTo>
                    <a:lnTo>
                      <a:pt x="505" y="33"/>
                    </a:lnTo>
                    <a:lnTo>
                      <a:pt x="549" y="57"/>
                    </a:lnTo>
                    <a:lnTo>
                      <a:pt x="589" y="88"/>
                    </a:lnTo>
                    <a:lnTo>
                      <a:pt x="623" y="122"/>
                    </a:lnTo>
                    <a:lnTo>
                      <a:pt x="653" y="162"/>
                    </a:lnTo>
                    <a:lnTo>
                      <a:pt x="678" y="205"/>
                    </a:lnTo>
                    <a:lnTo>
                      <a:pt x="696" y="253"/>
                    </a:lnTo>
                    <a:lnTo>
                      <a:pt x="708" y="303"/>
                    </a:lnTo>
                    <a:lnTo>
                      <a:pt x="711" y="355"/>
                    </a:lnTo>
                    <a:lnTo>
                      <a:pt x="708" y="408"/>
                    </a:lnTo>
                    <a:lnTo>
                      <a:pt x="696" y="457"/>
                    </a:lnTo>
                    <a:lnTo>
                      <a:pt x="678" y="506"/>
                    </a:lnTo>
                    <a:lnTo>
                      <a:pt x="653" y="549"/>
                    </a:lnTo>
                    <a:lnTo>
                      <a:pt x="623" y="589"/>
                    </a:lnTo>
                    <a:lnTo>
                      <a:pt x="589" y="623"/>
                    </a:lnTo>
                    <a:lnTo>
                      <a:pt x="549" y="654"/>
                    </a:lnTo>
                    <a:lnTo>
                      <a:pt x="505" y="678"/>
                    </a:lnTo>
                    <a:lnTo>
                      <a:pt x="458" y="696"/>
                    </a:lnTo>
                    <a:lnTo>
                      <a:pt x="408" y="707"/>
                    </a:lnTo>
                    <a:lnTo>
                      <a:pt x="355" y="711"/>
                    </a:lnTo>
                    <a:lnTo>
                      <a:pt x="303" y="707"/>
                    </a:lnTo>
                    <a:lnTo>
                      <a:pt x="254" y="696"/>
                    </a:lnTo>
                    <a:lnTo>
                      <a:pt x="205" y="678"/>
                    </a:lnTo>
                    <a:lnTo>
                      <a:pt x="162" y="654"/>
                    </a:lnTo>
                    <a:lnTo>
                      <a:pt x="123" y="623"/>
                    </a:lnTo>
                    <a:lnTo>
                      <a:pt x="88" y="589"/>
                    </a:lnTo>
                    <a:lnTo>
                      <a:pt x="57" y="549"/>
                    </a:lnTo>
                    <a:lnTo>
                      <a:pt x="34" y="506"/>
                    </a:lnTo>
                    <a:lnTo>
                      <a:pt x="15" y="457"/>
                    </a:lnTo>
                    <a:lnTo>
                      <a:pt x="4" y="408"/>
                    </a:lnTo>
                    <a:lnTo>
                      <a:pt x="0" y="355"/>
                    </a:lnTo>
                    <a:lnTo>
                      <a:pt x="4" y="303"/>
                    </a:lnTo>
                    <a:lnTo>
                      <a:pt x="15" y="253"/>
                    </a:lnTo>
                    <a:lnTo>
                      <a:pt x="34" y="205"/>
                    </a:lnTo>
                    <a:lnTo>
                      <a:pt x="57" y="162"/>
                    </a:lnTo>
                    <a:lnTo>
                      <a:pt x="88" y="122"/>
                    </a:lnTo>
                    <a:lnTo>
                      <a:pt x="123" y="88"/>
                    </a:lnTo>
                    <a:lnTo>
                      <a:pt x="162" y="57"/>
                    </a:lnTo>
                    <a:lnTo>
                      <a:pt x="205" y="33"/>
                    </a:lnTo>
                    <a:lnTo>
                      <a:pt x="254" y="15"/>
                    </a:lnTo>
                    <a:lnTo>
                      <a:pt x="303" y="4"/>
                    </a:lnTo>
                    <a:lnTo>
                      <a:pt x="355" y="0"/>
                    </a:lnTo>
                    <a:close/>
                  </a:path>
                </a:pathLst>
              </a:custGeom>
              <a:solidFill>
                <a:srgbClr val="7EB1C7"/>
              </a:solid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0" name="Freeform 506"/>
              <p:cNvSpPr>
                <a:spLocks noEditPoints="1"/>
              </p:cNvSpPr>
              <p:nvPr/>
            </p:nvSpPr>
            <p:spPr bwMode="auto">
              <a:xfrm flipH="1">
                <a:off x="3639773" y="3092846"/>
                <a:ext cx="73793" cy="73277"/>
              </a:xfrm>
              <a:custGeom>
                <a:avLst/>
                <a:gdLst>
                  <a:gd name="T0" fmla="*/ 318 w 711"/>
                  <a:gd name="T1" fmla="*/ 173 h 711"/>
                  <a:gd name="T2" fmla="*/ 251 w 711"/>
                  <a:gd name="T3" fmla="*/ 201 h 711"/>
                  <a:gd name="T4" fmla="*/ 202 w 711"/>
                  <a:gd name="T5" fmla="*/ 251 h 711"/>
                  <a:gd name="T6" fmla="*/ 173 w 711"/>
                  <a:gd name="T7" fmla="*/ 318 h 711"/>
                  <a:gd name="T8" fmla="*/ 173 w 711"/>
                  <a:gd name="T9" fmla="*/ 393 h 711"/>
                  <a:gd name="T10" fmla="*/ 202 w 711"/>
                  <a:gd name="T11" fmla="*/ 460 h 711"/>
                  <a:gd name="T12" fmla="*/ 251 w 711"/>
                  <a:gd name="T13" fmla="*/ 509 h 711"/>
                  <a:gd name="T14" fmla="*/ 318 w 711"/>
                  <a:gd name="T15" fmla="*/ 538 h 711"/>
                  <a:gd name="T16" fmla="*/ 393 w 711"/>
                  <a:gd name="T17" fmla="*/ 538 h 711"/>
                  <a:gd name="T18" fmla="*/ 460 w 711"/>
                  <a:gd name="T19" fmla="*/ 509 h 711"/>
                  <a:gd name="T20" fmla="*/ 510 w 711"/>
                  <a:gd name="T21" fmla="*/ 460 h 711"/>
                  <a:gd name="T22" fmla="*/ 538 w 711"/>
                  <a:gd name="T23" fmla="*/ 393 h 711"/>
                  <a:gd name="T24" fmla="*/ 538 w 711"/>
                  <a:gd name="T25" fmla="*/ 318 h 711"/>
                  <a:gd name="T26" fmla="*/ 510 w 711"/>
                  <a:gd name="T27" fmla="*/ 251 h 711"/>
                  <a:gd name="T28" fmla="*/ 460 w 711"/>
                  <a:gd name="T29" fmla="*/ 201 h 711"/>
                  <a:gd name="T30" fmla="*/ 393 w 711"/>
                  <a:gd name="T31" fmla="*/ 173 h 711"/>
                  <a:gd name="T32" fmla="*/ 355 w 711"/>
                  <a:gd name="T33" fmla="*/ 0 h 711"/>
                  <a:gd name="T34" fmla="*/ 458 w 711"/>
                  <a:gd name="T35" fmla="*/ 15 h 711"/>
                  <a:gd name="T36" fmla="*/ 549 w 711"/>
                  <a:gd name="T37" fmla="*/ 57 h 711"/>
                  <a:gd name="T38" fmla="*/ 623 w 711"/>
                  <a:gd name="T39" fmla="*/ 122 h 711"/>
                  <a:gd name="T40" fmla="*/ 678 w 711"/>
                  <a:gd name="T41" fmla="*/ 205 h 711"/>
                  <a:gd name="T42" fmla="*/ 708 w 711"/>
                  <a:gd name="T43" fmla="*/ 303 h 711"/>
                  <a:gd name="T44" fmla="*/ 708 w 711"/>
                  <a:gd name="T45" fmla="*/ 408 h 711"/>
                  <a:gd name="T46" fmla="*/ 678 w 711"/>
                  <a:gd name="T47" fmla="*/ 506 h 711"/>
                  <a:gd name="T48" fmla="*/ 623 w 711"/>
                  <a:gd name="T49" fmla="*/ 589 h 711"/>
                  <a:gd name="T50" fmla="*/ 549 w 711"/>
                  <a:gd name="T51" fmla="*/ 654 h 711"/>
                  <a:gd name="T52" fmla="*/ 458 w 711"/>
                  <a:gd name="T53" fmla="*/ 696 h 711"/>
                  <a:gd name="T54" fmla="*/ 355 w 711"/>
                  <a:gd name="T55" fmla="*/ 711 h 711"/>
                  <a:gd name="T56" fmla="*/ 254 w 711"/>
                  <a:gd name="T57" fmla="*/ 696 h 711"/>
                  <a:gd name="T58" fmla="*/ 162 w 711"/>
                  <a:gd name="T59" fmla="*/ 654 h 711"/>
                  <a:gd name="T60" fmla="*/ 88 w 711"/>
                  <a:gd name="T61" fmla="*/ 589 h 711"/>
                  <a:gd name="T62" fmla="*/ 34 w 711"/>
                  <a:gd name="T63" fmla="*/ 506 h 711"/>
                  <a:gd name="T64" fmla="*/ 4 w 711"/>
                  <a:gd name="T65" fmla="*/ 408 h 711"/>
                  <a:gd name="T66" fmla="*/ 4 w 711"/>
                  <a:gd name="T67" fmla="*/ 303 h 711"/>
                  <a:gd name="T68" fmla="*/ 34 w 711"/>
                  <a:gd name="T69" fmla="*/ 205 h 711"/>
                  <a:gd name="T70" fmla="*/ 88 w 711"/>
                  <a:gd name="T71" fmla="*/ 122 h 711"/>
                  <a:gd name="T72" fmla="*/ 162 w 711"/>
                  <a:gd name="T73" fmla="*/ 57 h 711"/>
                  <a:gd name="T74" fmla="*/ 254 w 711"/>
                  <a:gd name="T75" fmla="*/ 15 h 711"/>
                  <a:gd name="T76" fmla="*/ 355 w 711"/>
                  <a:gd name="T77"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1" h="711">
                    <a:moveTo>
                      <a:pt x="355" y="169"/>
                    </a:moveTo>
                    <a:lnTo>
                      <a:pt x="318" y="173"/>
                    </a:lnTo>
                    <a:lnTo>
                      <a:pt x="283" y="184"/>
                    </a:lnTo>
                    <a:lnTo>
                      <a:pt x="251" y="201"/>
                    </a:lnTo>
                    <a:lnTo>
                      <a:pt x="224" y="224"/>
                    </a:lnTo>
                    <a:lnTo>
                      <a:pt x="202" y="251"/>
                    </a:lnTo>
                    <a:lnTo>
                      <a:pt x="184" y="283"/>
                    </a:lnTo>
                    <a:lnTo>
                      <a:pt x="173" y="318"/>
                    </a:lnTo>
                    <a:lnTo>
                      <a:pt x="170" y="355"/>
                    </a:lnTo>
                    <a:lnTo>
                      <a:pt x="173" y="393"/>
                    </a:lnTo>
                    <a:lnTo>
                      <a:pt x="184" y="428"/>
                    </a:lnTo>
                    <a:lnTo>
                      <a:pt x="202" y="460"/>
                    </a:lnTo>
                    <a:lnTo>
                      <a:pt x="224" y="487"/>
                    </a:lnTo>
                    <a:lnTo>
                      <a:pt x="251" y="509"/>
                    </a:lnTo>
                    <a:lnTo>
                      <a:pt x="283" y="527"/>
                    </a:lnTo>
                    <a:lnTo>
                      <a:pt x="318" y="538"/>
                    </a:lnTo>
                    <a:lnTo>
                      <a:pt x="355" y="542"/>
                    </a:lnTo>
                    <a:lnTo>
                      <a:pt x="393" y="538"/>
                    </a:lnTo>
                    <a:lnTo>
                      <a:pt x="428" y="527"/>
                    </a:lnTo>
                    <a:lnTo>
                      <a:pt x="460" y="509"/>
                    </a:lnTo>
                    <a:lnTo>
                      <a:pt x="487" y="487"/>
                    </a:lnTo>
                    <a:lnTo>
                      <a:pt x="510" y="460"/>
                    </a:lnTo>
                    <a:lnTo>
                      <a:pt x="527" y="428"/>
                    </a:lnTo>
                    <a:lnTo>
                      <a:pt x="538" y="393"/>
                    </a:lnTo>
                    <a:lnTo>
                      <a:pt x="542" y="355"/>
                    </a:lnTo>
                    <a:lnTo>
                      <a:pt x="538" y="318"/>
                    </a:lnTo>
                    <a:lnTo>
                      <a:pt x="527" y="283"/>
                    </a:lnTo>
                    <a:lnTo>
                      <a:pt x="510" y="251"/>
                    </a:lnTo>
                    <a:lnTo>
                      <a:pt x="487" y="224"/>
                    </a:lnTo>
                    <a:lnTo>
                      <a:pt x="460" y="201"/>
                    </a:lnTo>
                    <a:lnTo>
                      <a:pt x="428" y="184"/>
                    </a:lnTo>
                    <a:lnTo>
                      <a:pt x="393" y="173"/>
                    </a:lnTo>
                    <a:lnTo>
                      <a:pt x="355" y="169"/>
                    </a:lnTo>
                    <a:close/>
                    <a:moveTo>
                      <a:pt x="355" y="0"/>
                    </a:moveTo>
                    <a:lnTo>
                      <a:pt x="408" y="4"/>
                    </a:lnTo>
                    <a:lnTo>
                      <a:pt x="458" y="15"/>
                    </a:lnTo>
                    <a:lnTo>
                      <a:pt x="505" y="33"/>
                    </a:lnTo>
                    <a:lnTo>
                      <a:pt x="549" y="57"/>
                    </a:lnTo>
                    <a:lnTo>
                      <a:pt x="589" y="88"/>
                    </a:lnTo>
                    <a:lnTo>
                      <a:pt x="623" y="122"/>
                    </a:lnTo>
                    <a:lnTo>
                      <a:pt x="653" y="162"/>
                    </a:lnTo>
                    <a:lnTo>
                      <a:pt x="678" y="205"/>
                    </a:lnTo>
                    <a:lnTo>
                      <a:pt x="696" y="253"/>
                    </a:lnTo>
                    <a:lnTo>
                      <a:pt x="708" y="303"/>
                    </a:lnTo>
                    <a:lnTo>
                      <a:pt x="711" y="355"/>
                    </a:lnTo>
                    <a:lnTo>
                      <a:pt x="708" y="408"/>
                    </a:lnTo>
                    <a:lnTo>
                      <a:pt x="696" y="457"/>
                    </a:lnTo>
                    <a:lnTo>
                      <a:pt x="678" y="506"/>
                    </a:lnTo>
                    <a:lnTo>
                      <a:pt x="653" y="549"/>
                    </a:lnTo>
                    <a:lnTo>
                      <a:pt x="623" y="589"/>
                    </a:lnTo>
                    <a:lnTo>
                      <a:pt x="589" y="623"/>
                    </a:lnTo>
                    <a:lnTo>
                      <a:pt x="549" y="654"/>
                    </a:lnTo>
                    <a:lnTo>
                      <a:pt x="505" y="678"/>
                    </a:lnTo>
                    <a:lnTo>
                      <a:pt x="458" y="696"/>
                    </a:lnTo>
                    <a:lnTo>
                      <a:pt x="408" y="707"/>
                    </a:lnTo>
                    <a:lnTo>
                      <a:pt x="355" y="711"/>
                    </a:lnTo>
                    <a:lnTo>
                      <a:pt x="303" y="707"/>
                    </a:lnTo>
                    <a:lnTo>
                      <a:pt x="254" y="696"/>
                    </a:lnTo>
                    <a:lnTo>
                      <a:pt x="205" y="678"/>
                    </a:lnTo>
                    <a:lnTo>
                      <a:pt x="162" y="654"/>
                    </a:lnTo>
                    <a:lnTo>
                      <a:pt x="123" y="623"/>
                    </a:lnTo>
                    <a:lnTo>
                      <a:pt x="88" y="589"/>
                    </a:lnTo>
                    <a:lnTo>
                      <a:pt x="57" y="549"/>
                    </a:lnTo>
                    <a:lnTo>
                      <a:pt x="34" y="506"/>
                    </a:lnTo>
                    <a:lnTo>
                      <a:pt x="15" y="457"/>
                    </a:lnTo>
                    <a:lnTo>
                      <a:pt x="4" y="408"/>
                    </a:lnTo>
                    <a:lnTo>
                      <a:pt x="0" y="355"/>
                    </a:lnTo>
                    <a:lnTo>
                      <a:pt x="4" y="303"/>
                    </a:lnTo>
                    <a:lnTo>
                      <a:pt x="15" y="253"/>
                    </a:lnTo>
                    <a:lnTo>
                      <a:pt x="34" y="205"/>
                    </a:lnTo>
                    <a:lnTo>
                      <a:pt x="57" y="162"/>
                    </a:lnTo>
                    <a:lnTo>
                      <a:pt x="88" y="122"/>
                    </a:lnTo>
                    <a:lnTo>
                      <a:pt x="123" y="88"/>
                    </a:lnTo>
                    <a:lnTo>
                      <a:pt x="162" y="57"/>
                    </a:lnTo>
                    <a:lnTo>
                      <a:pt x="205" y="33"/>
                    </a:lnTo>
                    <a:lnTo>
                      <a:pt x="254" y="15"/>
                    </a:lnTo>
                    <a:lnTo>
                      <a:pt x="303" y="4"/>
                    </a:lnTo>
                    <a:lnTo>
                      <a:pt x="355" y="0"/>
                    </a:lnTo>
                    <a:close/>
                  </a:path>
                </a:pathLst>
              </a:custGeom>
              <a:solidFill>
                <a:srgbClr val="7EB1C7"/>
              </a:solid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2" name="Freeform 506"/>
              <p:cNvSpPr>
                <a:spLocks noEditPoints="1"/>
              </p:cNvSpPr>
              <p:nvPr/>
            </p:nvSpPr>
            <p:spPr bwMode="auto">
              <a:xfrm flipH="1">
                <a:off x="3428975" y="3095504"/>
                <a:ext cx="73793" cy="73277"/>
              </a:xfrm>
              <a:custGeom>
                <a:avLst/>
                <a:gdLst>
                  <a:gd name="T0" fmla="*/ 318 w 711"/>
                  <a:gd name="T1" fmla="*/ 173 h 711"/>
                  <a:gd name="T2" fmla="*/ 251 w 711"/>
                  <a:gd name="T3" fmla="*/ 201 h 711"/>
                  <a:gd name="T4" fmla="*/ 202 w 711"/>
                  <a:gd name="T5" fmla="*/ 251 h 711"/>
                  <a:gd name="T6" fmla="*/ 173 w 711"/>
                  <a:gd name="T7" fmla="*/ 318 h 711"/>
                  <a:gd name="T8" fmla="*/ 173 w 711"/>
                  <a:gd name="T9" fmla="*/ 393 h 711"/>
                  <a:gd name="T10" fmla="*/ 202 w 711"/>
                  <a:gd name="T11" fmla="*/ 460 h 711"/>
                  <a:gd name="T12" fmla="*/ 251 w 711"/>
                  <a:gd name="T13" fmla="*/ 509 h 711"/>
                  <a:gd name="T14" fmla="*/ 318 w 711"/>
                  <a:gd name="T15" fmla="*/ 538 h 711"/>
                  <a:gd name="T16" fmla="*/ 393 w 711"/>
                  <a:gd name="T17" fmla="*/ 538 h 711"/>
                  <a:gd name="T18" fmla="*/ 460 w 711"/>
                  <a:gd name="T19" fmla="*/ 509 h 711"/>
                  <a:gd name="T20" fmla="*/ 510 w 711"/>
                  <a:gd name="T21" fmla="*/ 460 h 711"/>
                  <a:gd name="T22" fmla="*/ 538 w 711"/>
                  <a:gd name="T23" fmla="*/ 393 h 711"/>
                  <a:gd name="T24" fmla="*/ 538 w 711"/>
                  <a:gd name="T25" fmla="*/ 318 h 711"/>
                  <a:gd name="T26" fmla="*/ 510 w 711"/>
                  <a:gd name="T27" fmla="*/ 251 h 711"/>
                  <a:gd name="T28" fmla="*/ 460 w 711"/>
                  <a:gd name="T29" fmla="*/ 201 h 711"/>
                  <a:gd name="T30" fmla="*/ 393 w 711"/>
                  <a:gd name="T31" fmla="*/ 173 h 711"/>
                  <a:gd name="T32" fmla="*/ 355 w 711"/>
                  <a:gd name="T33" fmla="*/ 0 h 711"/>
                  <a:gd name="T34" fmla="*/ 458 w 711"/>
                  <a:gd name="T35" fmla="*/ 15 h 711"/>
                  <a:gd name="T36" fmla="*/ 549 w 711"/>
                  <a:gd name="T37" fmla="*/ 57 h 711"/>
                  <a:gd name="T38" fmla="*/ 623 w 711"/>
                  <a:gd name="T39" fmla="*/ 122 h 711"/>
                  <a:gd name="T40" fmla="*/ 678 w 711"/>
                  <a:gd name="T41" fmla="*/ 205 h 711"/>
                  <a:gd name="T42" fmla="*/ 708 w 711"/>
                  <a:gd name="T43" fmla="*/ 303 h 711"/>
                  <a:gd name="T44" fmla="*/ 708 w 711"/>
                  <a:gd name="T45" fmla="*/ 408 h 711"/>
                  <a:gd name="T46" fmla="*/ 678 w 711"/>
                  <a:gd name="T47" fmla="*/ 506 h 711"/>
                  <a:gd name="T48" fmla="*/ 623 w 711"/>
                  <a:gd name="T49" fmla="*/ 589 h 711"/>
                  <a:gd name="T50" fmla="*/ 549 w 711"/>
                  <a:gd name="T51" fmla="*/ 654 h 711"/>
                  <a:gd name="T52" fmla="*/ 458 w 711"/>
                  <a:gd name="T53" fmla="*/ 696 h 711"/>
                  <a:gd name="T54" fmla="*/ 355 w 711"/>
                  <a:gd name="T55" fmla="*/ 711 h 711"/>
                  <a:gd name="T56" fmla="*/ 254 w 711"/>
                  <a:gd name="T57" fmla="*/ 696 h 711"/>
                  <a:gd name="T58" fmla="*/ 162 w 711"/>
                  <a:gd name="T59" fmla="*/ 654 h 711"/>
                  <a:gd name="T60" fmla="*/ 88 w 711"/>
                  <a:gd name="T61" fmla="*/ 589 h 711"/>
                  <a:gd name="T62" fmla="*/ 34 w 711"/>
                  <a:gd name="T63" fmla="*/ 506 h 711"/>
                  <a:gd name="T64" fmla="*/ 4 w 711"/>
                  <a:gd name="T65" fmla="*/ 408 h 711"/>
                  <a:gd name="T66" fmla="*/ 4 w 711"/>
                  <a:gd name="T67" fmla="*/ 303 h 711"/>
                  <a:gd name="T68" fmla="*/ 34 w 711"/>
                  <a:gd name="T69" fmla="*/ 205 h 711"/>
                  <a:gd name="T70" fmla="*/ 88 w 711"/>
                  <a:gd name="T71" fmla="*/ 122 h 711"/>
                  <a:gd name="T72" fmla="*/ 162 w 711"/>
                  <a:gd name="T73" fmla="*/ 57 h 711"/>
                  <a:gd name="T74" fmla="*/ 254 w 711"/>
                  <a:gd name="T75" fmla="*/ 15 h 711"/>
                  <a:gd name="T76" fmla="*/ 355 w 711"/>
                  <a:gd name="T77"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1" h="711">
                    <a:moveTo>
                      <a:pt x="355" y="169"/>
                    </a:moveTo>
                    <a:lnTo>
                      <a:pt x="318" y="173"/>
                    </a:lnTo>
                    <a:lnTo>
                      <a:pt x="283" y="184"/>
                    </a:lnTo>
                    <a:lnTo>
                      <a:pt x="251" y="201"/>
                    </a:lnTo>
                    <a:lnTo>
                      <a:pt x="224" y="224"/>
                    </a:lnTo>
                    <a:lnTo>
                      <a:pt x="202" y="251"/>
                    </a:lnTo>
                    <a:lnTo>
                      <a:pt x="184" y="283"/>
                    </a:lnTo>
                    <a:lnTo>
                      <a:pt x="173" y="318"/>
                    </a:lnTo>
                    <a:lnTo>
                      <a:pt x="170" y="355"/>
                    </a:lnTo>
                    <a:lnTo>
                      <a:pt x="173" y="393"/>
                    </a:lnTo>
                    <a:lnTo>
                      <a:pt x="184" y="428"/>
                    </a:lnTo>
                    <a:lnTo>
                      <a:pt x="202" y="460"/>
                    </a:lnTo>
                    <a:lnTo>
                      <a:pt x="224" y="487"/>
                    </a:lnTo>
                    <a:lnTo>
                      <a:pt x="251" y="509"/>
                    </a:lnTo>
                    <a:lnTo>
                      <a:pt x="283" y="527"/>
                    </a:lnTo>
                    <a:lnTo>
                      <a:pt x="318" y="538"/>
                    </a:lnTo>
                    <a:lnTo>
                      <a:pt x="355" y="542"/>
                    </a:lnTo>
                    <a:lnTo>
                      <a:pt x="393" y="538"/>
                    </a:lnTo>
                    <a:lnTo>
                      <a:pt x="428" y="527"/>
                    </a:lnTo>
                    <a:lnTo>
                      <a:pt x="460" y="509"/>
                    </a:lnTo>
                    <a:lnTo>
                      <a:pt x="487" y="487"/>
                    </a:lnTo>
                    <a:lnTo>
                      <a:pt x="510" y="460"/>
                    </a:lnTo>
                    <a:lnTo>
                      <a:pt x="527" y="428"/>
                    </a:lnTo>
                    <a:lnTo>
                      <a:pt x="538" y="393"/>
                    </a:lnTo>
                    <a:lnTo>
                      <a:pt x="542" y="355"/>
                    </a:lnTo>
                    <a:lnTo>
                      <a:pt x="538" y="318"/>
                    </a:lnTo>
                    <a:lnTo>
                      <a:pt x="527" y="283"/>
                    </a:lnTo>
                    <a:lnTo>
                      <a:pt x="510" y="251"/>
                    </a:lnTo>
                    <a:lnTo>
                      <a:pt x="487" y="224"/>
                    </a:lnTo>
                    <a:lnTo>
                      <a:pt x="460" y="201"/>
                    </a:lnTo>
                    <a:lnTo>
                      <a:pt x="428" y="184"/>
                    </a:lnTo>
                    <a:lnTo>
                      <a:pt x="393" y="173"/>
                    </a:lnTo>
                    <a:lnTo>
                      <a:pt x="355" y="169"/>
                    </a:lnTo>
                    <a:close/>
                    <a:moveTo>
                      <a:pt x="355" y="0"/>
                    </a:moveTo>
                    <a:lnTo>
                      <a:pt x="408" y="4"/>
                    </a:lnTo>
                    <a:lnTo>
                      <a:pt x="458" y="15"/>
                    </a:lnTo>
                    <a:lnTo>
                      <a:pt x="505" y="33"/>
                    </a:lnTo>
                    <a:lnTo>
                      <a:pt x="549" y="57"/>
                    </a:lnTo>
                    <a:lnTo>
                      <a:pt x="589" y="88"/>
                    </a:lnTo>
                    <a:lnTo>
                      <a:pt x="623" y="122"/>
                    </a:lnTo>
                    <a:lnTo>
                      <a:pt x="653" y="162"/>
                    </a:lnTo>
                    <a:lnTo>
                      <a:pt x="678" y="205"/>
                    </a:lnTo>
                    <a:lnTo>
                      <a:pt x="696" y="253"/>
                    </a:lnTo>
                    <a:lnTo>
                      <a:pt x="708" y="303"/>
                    </a:lnTo>
                    <a:lnTo>
                      <a:pt x="711" y="355"/>
                    </a:lnTo>
                    <a:lnTo>
                      <a:pt x="708" y="408"/>
                    </a:lnTo>
                    <a:lnTo>
                      <a:pt x="696" y="457"/>
                    </a:lnTo>
                    <a:lnTo>
                      <a:pt x="678" y="506"/>
                    </a:lnTo>
                    <a:lnTo>
                      <a:pt x="653" y="549"/>
                    </a:lnTo>
                    <a:lnTo>
                      <a:pt x="623" y="589"/>
                    </a:lnTo>
                    <a:lnTo>
                      <a:pt x="589" y="623"/>
                    </a:lnTo>
                    <a:lnTo>
                      <a:pt x="549" y="654"/>
                    </a:lnTo>
                    <a:lnTo>
                      <a:pt x="505" y="678"/>
                    </a:lnTo>
                    <a:lnTo>
                      <a:pt x="458" y="696"/>
                    </a:lnTo>
                    <a:lnTo>
                      <a:pt x="408" y="707"/>
                    </a:lnTo>
                    <a:lnTo>
                      <a:pt x="355" y="711"/>
                    </a:lnTo>
                    <a:lnTo>
                      <a:pt x="303" y="707"/>
                    </a:lnTo>
                    <a:lnTo>
                      <a:pt x="254" y="696"/>
                    </a:lnTo>
                    <a:lnTo>
                      <a:pt x="205" y="678"/>
                    </a:lnTo>
                    <a:lnTo>
                      <a:pt x="162" y="654"/>
                    </a:lnTo>
                    <a:lnTo>
                      <a:pt x="123" y="623"/>
                    </a:lnTo>
                    <a:lnTo>
                      <a:pt x="88" y="589"/>
                    </a:lnTo>
                    <a:lnTo>
                      <a:pt x="57" y="549"/>
                    </a:lnTo>
                    <a:lnTo>
                      <a:pt x="34" y="506"/>
                    </a:lnTo>
                    <a:lnTo>
                      <a:pt x="15" y="457"/>
                    </a:lnTo>
                    <a:lnTo>
                      <a:pt x="4" y="408"/>
                    </a:lnTo>
                    <a:lnTo>
                      <a:pt x="0" y="355"/>
                    </a:lnTo>
                    <a:lnTo>
                      <a:pt x="4" y="303"/>
                    </a:lnTo>
                    <a:lnTo>
                      <a:pt x="15" y="253"/>
                    </a:lnTo>
                    <a:lnTo>
                      <a:pt x="34" y="205"/>
                    </a:lnTo>
                    <a:lnTo>
                      <a:pt x="57" y="162"/>
                    </a:lnTo>
                    <a:lnTo>
                      <a:pt x="88" y="122"/>
                    </a:lnTo>
                    <a:lnTo>
                      <a:pt x="123" y="88"/>
                    </a:lnTo>
                    <a:lnTo>
                      <a:pt x="162" y="57"/>
                    </a:lnTo>
                    <a:lnTo>
                      <a:pt x="205" y="33"/>
                    </a:lnTo>
                    <a:lnTo>
                      <a:pt x="254" y="15"/>
                    </a:lnTo>
                    <a:lnTo>
                      <a:pt x="303" y="4"/>
                    </a:lnTo>
                    <a:lnTo>
                      <a:pt x="355" y="0"/>
                    </a:lnTo>
                    <a:close/>
                  </a:path>
                </a:pathLst>
              </a:custGeom>
              <a:solidFill>
                <a:srgbClr val="7EB1C7"/>
              </a:solid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893" name="Freeform 506"/>
              <p:cNvSpPr>
                <a:spLocks noEditPoints="1"/>
              </p:cNvSpPr>
              <p:nvPr/>
            </p:nvSpPr>
            <p:spPr bwMode="auto">
              <a:xfrm flipH="1">
                <a:off x="3179773" y="3092846"/>
                <a:ext cx="73793" cy="73277"/>
              </a:xfrm>
              <a:custGeom>
                <a:avLst/>
                <a:gdLst>
                  <a:gd name="T0" fmla="*/ 318 w 711"/>
                  <a:gd name="T1" fmla="*/ 173 h 711"/>
                  <a:gd name="T2" fmla="*/ 251 w 711"/>
                  <a:gd name="T3" fmla="*/ 201 h 711"/>
                  <a:gd name="T4" fmla="*/ 202 w 711"/>
                  <a:gd name="T5" fmla="*/ 251 h 711"/>
                  <a:gd name="T6" fmla="*/ 173 w 711"/>
                  <a:gd name="T7" fmla="*/ 318 h 711"/>
                  <a:gd name="T8" fmla="*/ 173 w 711"/>
                  <a:gd name="T9" fmla="*/ 393 h 711"/>
                  <a:gd name="T10" fmla="*/ 202 w 711"/>
                  <a:gd name="T11" fmla="*/ 460 h 711"/>
                  <a:gd name="T12" fmla="*/ 251 w 711"/>
                  <a:gd name="T13" fmla="*/ 509 h 711"/>
                  <a:gd name="T14" fmla="*/ 318 w 711"/>
                  <a:gd name="T15" fmla="*/ 538 h 711"/>
                  <a:gd name="T16" fmla="*/ 393 w 711"/>
                  <a:gd name="T17" fmla="*/ 538 h 711"/>
                  <a:gd name="T18" fmla="*/ 460 w 711"/>
                  <a:gd name="T19" fmla="*/ 509 h 711"/>
                  <a:gd name="T20" fmla="*/ 510 w 711"/>
                  <a:gd name="T21" fmla="*/ 460 h 711"/>
                  <a:gd name="T22" fmla="*/ 538 w 711"/>
                  <a:gd name="T23" fmla="*/ 393 h 711"/>
                  <a:gd name="T24" fmla="*/ 538 w 711"/>
                  <a:gd name="T25" fmla="*/ 318 h 711"/>
                  <a:gd name="T26" fmla="*/ 510 w 711"/>
                  <a:gd name="T27" fmla="*/ 251 h 711"/>
                  <a:gd name="T28" fmla="*/ 460 w 711"/>
                  <a:gd name="T29" fmla="*/ 201 h 711"/>
                  <a:gd name="T30" fmla="*/ 393 w 711"/>
                  <a:gd name="T31" fmla="*/ 173 h 711"/>
                  <a:gd name="T32" fmla="*/ 355 w 711"/>
                  <a:gd name="T33" fmla="*/ 0 h 711"/>
                  <a:gd name="T34" fmla="*/ 458 w 711"/>
                  <a:gd name="T35" fmla="*/ 15 h 711"/>
                  <a:gd name="T36" fmla="*/ 549 w 711"/>
                  <a:gd name="T37" fmla="*/ 57 h 711"/>
                  <a:gd name="T38" fmla="*/ 623 w 711"/>
                  <a:gd name="T39" fmla="*/ 122 h 711"/>
                  <a:gd name="T40" fmla="*/ 678 w 711"/>
                  <a:gd name="T41" fmla="*/ 205 h 711"/>
                  <a:gd name="T42" fmla="*/ 708 w 711"/>
                  <a:gd name="T43" fmla="*/ 303 h 711"/>
                  <a:gd name="T44" fmla="*/ 708 w 711"/>
                  <a:gd name="T45" fmla="*/ 408 h 711"/>
                  <a:gd name="T46" fmla="*/ 678 w 711"/>
                  <a:gd name="T47" fmla="*/ 506 h 711"/>
                  <a:gd name="T48" fmla="*/ 623 w 711"/>
                  <a:gd name="T49" fmla="*/ 589 h 711"/>
                  <a:gd name="T50" fmla="*/ 549 w 711"/>
                  <a:gd name="T51" fmla="*/ 654 h 711"/>
                  <a:gd name="T52" fmla="*/ 458 w 711"/>
                  <a:gd name="T53" fmla="*/ 696 h 711"/>
                  <a:gd name="T54" fmla="*/ 355 w 711"/>
                  <a:gd name="T55" fmla="*/ 711 h 711"/>
                  <a:gd name="T56" fmla="*/ 254 w 711"/>
                  <a:gd name="T57" fmla="*/ 696 h 711"/>
                  <a:gd name="T58" fmla="*/ 162 w 711"/>
                  <a:gd name="T59" fmla="*/ 654 h 711"/>
                  <a:gd name="T60" fmla="*/ 88 w 711"/>
                  <a:gd name="T61" fmla="*/ 589 h 711"/>
                  <a:gd name="T62" fmla="*/ 34 w 711"/>
                  <a:gd name="T63" fmla="*/ 506 h 711"/>
                  <a:gd name="T64" fmla="*/ 4 w 711"/>
                  <a:gd name="T65" fmla="*/ 408 h 711"/>
                  <a:gd name="T66" fmla="*/ 4 w 711"/>
                  <a:gd name="T67" fmla="*/ 303 h 711"/>
                  <a:gd name="T68" fmla="*/ 34 w 711"/>
                  <a:gd name="T69" fmla="*/ 205 h 711"/>
                  <a:gd name="T70" fmla="*/ 88 w 711"/>
                  <a:gd name="T71" fmla="*/ 122 h 711"/>
                  <a:gd name="T72" fmla="*/ 162 w 711"/>
                  <a:gd name="T73" fmla="*/ 57 h 711"/>
                  <a:gd name="T74" fmla="*/ 254 w 711"/>
                  <a:gd name="T75" fmla="*/ 15 h 711"/>
                  <a:gd name="T76" fmla="*/ 355 w 711"/>
                  <a:gd name="T77"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1" h="711">
                    <a:moveTo>
                      <a:pt x="355" y="169"/>
                    </a:moveTo>
                    <a:lnTo>
                      <a:pt x="318" y="173"/>
                    </a:lnTo>
                    <a:lnTo>
                      <a:pt x="283" y="184"/>
                    </a:lnTo>
                    <a:lnTo>
                      <a:pt x="251" y="201"/>
                    </a:lnTo>
                    <a:lnTo>
                      <a:pt x="224" y="224"/>
                    </a:lnTo>
                    <a:lnTo>
                      <a:pt x="202" y="251"/>
                    </a:lnTo>
                    <a:lnTo>
                      <a:pt x="184" y="283"/>
                    </a:lnTo>
                    <a:lnTo>
                      <a:pt x="173" y="318"/>
                    </a:lnTo>
                    <a:lnTo>
                      <a:pt x="170" y="355"/>
                    </a:lnTo>
                    <a:lnTo>
                      <a:pt x="173" y="393"/>
                    </a:lnTo>
                    <a:lnTo>
                      <a:pt x="184" y="428"/>
                    </a:lnTo>
                    <a:lnTo>
                      <a:pt x="202" y="460"/>
                    </a:lnTo>
                    <a:lnTo>
                      <a:pt x="224" y="487"/>
                    </a:lnTo>
                    <a:lnTo>
                      <a:pt x="251" y="509"/>
                    </a:lnTo>
                    <a:lnTo>
                      <a:pt x="283" y="527"/>
                    </a:lnTo>
                    <a:lnTo>
                      <a:pt x="318" y="538"/>
                    </a:lnTo>
                    <a:lnTo>
                      <a:pt x="355" y="542"/>
                    </a:lnTo>
                    <a:lnTo>
                      <a:pt x="393" y="538"/>
                    </a:lnTo>
                    <a:lnTo>
                      <a:pt x="428" y="527"/>
                    </a:lnTo>
                    <a:lnTo>
                      <a:pt x="460" y="509"/>
                    </a:lnTo>
                    <a:lnTo>
                      <a:pt x="487" y="487"/>
                    </a:lnTo>
                    <a:lnTo>
                      <a:pt x="510" y="460"/>
                    </a:lnTo>
                    <a:lnTo>
                      <a:pt x="527" y="428"/>
                    </a:lnTo>
                    <a:lnTo>
                      <a:pt x="538" y="393"/>
                    </a:lnTo>
                    <a:lnTo>
                      <a:pt x="542" y="355"/>
                    </a:lnTo>
                    <a:lnTo>
                      <a:pt x="538" y="318"/>
                    </a:lnTo>
                    <a:lnTo>
                      <a:pt x="527" y="283"/>
                    </a:lnTo>
                    <a:lnTo>
                      <a:pt x="510" y="251"/>
                    </a:lnTo>
                    <a:lnTo>
                      <a:pt x="487" y="224"/>
                    </a:lnTo>
                    <a:lnTo>
                      <a:pt x="460" y="201"/>
                    </a:lnTo>
                    <a:lnTo>
                      <a:pt x="428" y="184"/>
                    </a:lnTo>
                    <a:lnTo>
                      <a:pt x="393" y="173"/>
                    </a:lnTo>
                    <a:lnTo>
                      <a:pt x="355" y="169"/>
                    </a:lnTo>
                    <a:close/>
                    <a:moveTo>
                      <a:pt x="355" y="0"/>
                    </a:moveTo>
                    <a:lnTo>
                      <a:pt x="408" y="4"/>
                    </a:lnTo>
                    <a:lnTo>
                      <a:pt x="458" y="15"/>
                    </a:lnTo>
                    <a:lnTo>
                      <a:pt x="505" y="33"/>
                    </a:lnTo>
                    <a:lnTo>
                      <a:pt x="549" y="57"/>
                    </a:lnTo>
                    <a:lnTo>
                      <a:pt x="589" y="88"/>
                    </a:lnTo>
                    <a:lnTo>
                      <a:pt x="623" y="122"/>
                    </a:lnTo>
                    <a:lnTo>
                      <a:pt x="653" y="162"/>
                    </a:lnTo>
                    <a:lnTo>
                      <a:pt x="678" y="205"/>
                    </a:lnTo>
                    <a:lnTo>
                      <a:pt x="696" y="253"/>
                    </a:lnTo>
                    <a:lnTo>
                      <a:pt x="708" y="303"/>
                    </a:lnTo>
                    <a:lnTo>
                      <a:pt x="711" y="355"/>
                    </a:lnTo>
                    <a:lnTo>
                      <a:pt x="708" y="408"/>
                    </a:lnTo>
                    <a:lnTo>
                      <a:pt x="696" y="457"/>
                    </a:lnTo>
                    <a:lnTo>
                      <a:pt x="678" y="506"/>
                    </a:lnTo>
                    <a:lnTo>
                      <a:pt x="653" y="549"/>
                    </a:lnTo>
                    <a:lnTo>
                      <a:pt x="623" y="589"/>
                    </a:lnTo>
                    <a:lnTo>
                      <a:pt x="589" y="623"/>
                    </a:lnTo>
                    <a:lnTo>
                      <a:pt x="549" y="654"/>
                    </a:lnTo>
                    <a:lnTo>
                      <a:pt x="505" y="678"/>
                    </a:lnTo>
                    <a:lnTo>
                      <a:pt x="458" y="696"/>
                    </a:lnTo>
                    <a:lnTo>
                      <a:pt x="408" y="707"/>
                    </a:lnTo>
                    <a:lnTo>
                      <a:pt x="355" y="711"/>
                    </a:lnTo>
                    <a:lnTo>
                      <a:pt x="303" y="707"/>
                    </a:lnTo>
                    <a:lnTo>
                      <a:pt x="254" y="696"/>
                    </a:lnTo>
                    <a:lnTo>
                      <a:pt x="205" y="678"/>
                    </a:lnTo>
                    <a:lnTo>
                      <a:pt x="162" y="654"/>
                    </a:lnTo>
                    <a:lnTo>
                      <a:pt x="123" y="623"/>
                    </a:lnTo>
                    <a:lnTo>
                      <a:pt x="88" y="589"/>
                    </a:lnTo>
                    <a:lnTo>
                      <a:pt x="57" y="549"/>
                    </a:lnTo>
                    <a:lnTo>
                      <a:pt x="34" y="506"/>
                    </a:lnTo>
                    <a:lnTo>
                      <a:pt x="15" y="457"/>
                    </a:lnTo>
                    <a:lnTo>
                      <a:pt x="4" y="408"/>
                    </a:lnTo>
                    <a:lnTo>
                      <a:pt x="0" y="355"/>
                    </a:lnTo>
                    <a:lnTo>
                      <a:pt x="4" y="303"/>
                    </a:lnTo>
                    <a:lnTo>
                      <a:pt x="15" y="253"/>
                    </a:lnTo>
                    <a:lnTo>
                      <a:pt x="34" y="205"/>
                    </a:lnTo>
                    <a:lnTo>
                      <a:pt x="57" y="162"/>
                    </a:lnTo>
                    <a:lnTo>
                      <a:pt x="88" y="122"/>
                    </a:lnTo>
                    <a:lnTo>
                      <a:pt x="123" y="88"/>
                    </a:lnTo>
                    <a:lnTo>
                      <a:pt x="162" y="57"/>
                    </a:lnTo>
                    <a:lnTo>
                      <a:pt x="205" y="33"/>
                    </a:lnTo>
                    <a:lnTo>
                      <a:pt x="254" y="15"/>
                    </a:lnTo>
                    <a:lnTo>
                      <a:pt x="303" y="4"/>
                    </a:lnTo>
                    <a:lnTo>
                      <a:pt x="355" y="0"/>
                    </a:lnTo>
                    <a:close/>
                  </a:path>
                </a:pathLst>
              </a:custGeom>
              <a:solidFill>
                <a:srgbClr val="7EB1C7"/>
              </a:solid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871" name="Group 870"/>
          <p:cNvGrpSpPr/>
          <p:nvPr/>
        </p:nvGrpSpPr>
        <p:grpSpPr>
          <a:xfrm>
            <a:off x="3892270" y="2815409"/>
            <a:ext cx="105786" cy="174933"/>
            <a:chOff x="1431982" y="3952664"/>
            <a:chExt cx="235376" cy="389231"/>
          </a:xfrm>
        </p:grpSpPr>
        <p:sp>
          <p:nvSpPr>
            <p:cNvPr id="872" name="Oval 871"/>
            <p:cNvSpPr/>
            <p:nvPr/>
          </p:nvSpPr>
          <p:spPr bwMode="auto">
            <a:xfrm>
              <a:off x="1455850" y="3982329"/>
              <a:ext cx="180319" cy="18031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73" name="Freeform 224"/>
            <p:cNvSpPr>
              <a:spLocks/>
            </p:cNvSpPr>
            <p:nvPr/>
          </p:nvSpPr>
          <p:spPr bwMode="auto">
            <a:xfrm>
              <a:off x="1431982" y="3952664"/>
              <a:ext cx="235376" cy="389231"/>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3"/>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499" name="Group 498"/>
          <p:cNvGrpSpPr/>
          <p:nvPr/>
        </p:nvGrpSpPr>
        <p:grpSpPr>
          <a:xfrm>
            <a:off x="3379145" y="2996297"/>
            <a:ext cx="141680" cy="163149"/>
            <a:chOff x="3401747" y="2991458"/>
            <a:chExt cx="141680" cy="163149"/>
          </a:xfrm>
        </p:grpSpPr>
        <p:sp>
          <p:nvSpPr>
            <p:cNvPr id="498" name="Rectangle 497"/>
            <p:cNvSpPr/>
            <p:nvPr/>
          </p:nvSpPr>
          <p:spPr bwMode="auto">
            <a:xfrm>
              <a:off x="3407814" y="3120257"/>
              <a:ext cx="124973" cy="34350"/>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6" name="Rectangle 1205"/>
            <p:cNvSpPr/>
            <p:nvPr/>
          </p:nvSpPr>
          <p:spPr bwMode="auto">
            <a:xfrm>
              <a:off x="3415247" y="3079349"/>
              <a:ext cx="124973" cy="3435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7" name="Rectangle 1206"/>
            <p:cNvSpPr/>
            <p:nvPr/>
          </p:nvSpPr>
          <p:spPr bwMode="auto">
            <a:xfrm>
              <a:off x="3401747" y="3035485"/>
              <a:ext cx="124973" cy="34350"/>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09" name="Rectangle 1208"/>
            <p:cNvSpPr/>
            <p:nvPr/>
          </p:nvSpPr>
          <p:spPr bwMode="auto">
            <a:xfrm>
              <a:off x="3418454" y="2991458"/>
              <a:ext cx="124973" cy="3435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10" name="Group 1209"/>
          <p:cNvGrpSpPr/>
          <p:nvPr/>
        </p:nvGrpSpPr>
        <p:grpSpPr>
          <a:xfrm flipV="1">
            <a:off x="3550449" y="3037568"/>
            <a:ext cx="133018" cy="119583"/>
            <a:chOff x="3407990" y="2991458"/>
            <a:chExt cx="133018" cy="119583"/>
          </a:xfrm>
        </p:grpSpPr>
        <p:sp>
          <p:nvSpPr>
            <p:cNvPr id="1216" name="Rectangle 1215"/>
            <p:cNvSpPr/>
            <p:nvPr/>
          </p:nvSpPr>
          <p:spPr bwMode="auto">
            <a:xfrm>
              <a:off x="3407990" y="3076691"/>
              <a:ext cx="124973" cy="34350"/>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2" name="Rectangle 1221"/>
            <p:cNvSpPr/>
            <p:nvPr/>
          </p:nvSpPr>
          <p:spPr bwMode="auto">
            <a:xfrm>
              <a:off x="3411423" y="3032827"/>
              <a:ext cx="124973" cy="343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3" name="Rectangle 1222"/>
            <p:cNvSpPr/>
            <p:nvPr/>
          </p:nvSpPr>
          <p:spPr bwMode="auto">
            <a:xfrm>
              <a:off x="3416035" y="2991458"/>
              <a:ext cx="124973" cy="3435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24" name="Group 1223"/>
          <p:cNvGrpSpPr/>
          <p:nvPr/>
        </p:nvGrpSpPr>
        <p:grpSpPr>
          <a:xfrm flipV="1">
            <a:off x="2910155" y="3000822"/>
            <a:ext cx="313664" cy="163792"/>
            <a:chOff x="3224379" y="2991458"/>
            <a:chExt cx="313664" cy="163792"/>
          </a:xfrm>
        </p:grpSpPr>
        <p:sp>
          <p:nvSpPr>
            <p:cNvPr id="1226" name="Rectangle 1225"/>
            <p:cNvSpPr/>
            <p:nvPr/>
          </p:nvSpPr>
          <p:spPr bwMode="auto">
            <a:xfrm>
              <a:off x="3407990" y="3076691"/>
              <a:ext cx="124973" cy="3435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7" name="Rectangle 1226"/>
            <p:cNvSpPr/>
            <p:nvPr/>
          </p:nvSpPr>
          <p:spPr bwMode="auto">
            <a:xfrm>
              <a:off x="3411423" y="3035485"/>
              <a:ext cx="124973" cy="34350"/>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28" name="Rectangle 1227"/>
            <p:cNvSpPr/>
            <p:nvPr/>
          </p:nvSpPr>
          <p:spPr bwMode="auto">
            <a:xfrm>
              <a:off x="3401521" y="2991458"/>
              <a:ext cx="124973" cy="34350"/>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30" name="Rectangle 1229"/>
            <p:cNvSpPr/>
            <p:nvPr/>
          </p:nvSpPr>
          <p:spPr bwMode="auto">
            <a:xfrm>
              <a:off x="3413070" y="3120900"/>
              <a:ext cx="124973" cy="34350"/>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39" name="Rectangle 1238"/>
            <p:cNvSpPr/>
            <p:nvPr/>
          </p:nvSpPr>
          <p:spPr bwMode="auto">
            <a:xfrm>
              <a:off x="3233813" y="2991821"/>
              <a:ext cx="124973" cy="343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41" name="Rectangle 1240"/>
            <p:cNvSpPr/>
            <p:nvPr/>
          </p:nvSpPr>
          <p:spPr bwMode="auto">
            <a:xfrm>
              <a:off x="3224379" y="3036030"/>
              <a:ext cx="124973" cy="343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242" name="Group 1241"/>
          <p:cNvGrpSpPr/>
          <p:nvPr/>
        </p:nvGrpSpPr>
        <p:grpSpPr>
          <a:xfrm>
            <a:off x="3508656" y="2554425"/>
            <a:ext cx="74427" cy="35925"/>
            <a:chOff x="3483007" y="2673870"/>
            <a:chExt cx="131851" cy="63644"/>
          </a:xfrm>
        </p:grpSpPr>
        <p:sp>
          <p:nvSpPr>
            <p:cNvPr id="1246" name="Rectangle 92"/>
            <p:cNvSpPr>
              <a:spLocks noChangeArrowheads="1"/>
            </p:cNvSpPr>
            <p:nvPr/>
          </p:nvSpPr>
          <p:spPr bwMode="auto">
            <a:xfrm>
              <a:off x="3483007" y="2673870"/>
              <a:ext cx="131851" cy="63644"/>
            </a:xfrm>
            <a:prstGeom prst="rect">
              <a:avLst/>
            </a:prstGeom>
            <a:solidFill>
              <a:schemeClr val="bg2">
                <a:lumMod val="90000"/>
              </a:schemeClr>
            </a:solidFill>
            <a:ln w="2">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48" name="Freeform 94"/>
            <p:cNvSpPr>
              <a:spLocks/>
            </p:cNvSpPr>
            <p:nvPr/>
          </p:nvSpPr>
          <p:spPr bwMode="auto">
            <a:xfrm>
              <a:off x="3527558" y="2703744"/>
              <a:ext cx="51825" cy="24548"/>
            </a:xfrm>
            <a:custGeom>
              <a:avLst/>
              <a:gdLst>
                <a:gd name="T0" fmla="*/ 114 w 115"/>
                <a:gd name="T1" fmla="*/ 6 h 54"/>
                <a:gd name="T2" fmla="*/ 112 w 115"/>
                <a:gd name="T3" fmla="*/ 0 h 54"/>
                <a:gd name="T4" fmla="*/ 107 w 115"/>
                <a:gd name="T5" fmla="*/ 0 h 54"/>
                <a:gd name="T6" fmla="*/ 104 w 115"/>
                <a:gd name="T7" fmla="*/ 0 h 54"/>
                <a:gd name="T8" fmla="*/ 99 w 115"/>
                <a:gd name="T9" fmla="*/ 2 h 54"/>
                <a:gd name="T10" fmla="*/ 98 w 115"/>
                <a:gd name="T11" fmla="*/ 7 h 54"/>
                <a:gd name="T12" fmla="*/ 98 w 115"/>
                <a:gd name="T13" fmla="*/ 18 h 54"/>
                <a:gd name="T14" fmla="*/ 95 w 115"/>
                <a:gd name="T15" fmla="*/ 28 h 54"/>
                <a:gd name="T16" fmla="*/ 86 w 115"/>
                <a:gd name="T17" fmla="*/ 33 h 54"/>
                <a:gd name="T18" fmla="*/ 74 w 115"/>
                <a:gd name="T19" fmla="*/ 37 h 54"/>
                <a:gd name="T20" fmla="*/ 58 w 115"/>
                <a:gd name="T21" fmla="*/ 38 h 54"/>
                <a:gd name="T22" fmla="*/ 35 w 115"/>
                <a:gd name="T23" fmla="*/ 35 h 54"/>
                <a:gd name="T24" fmla="*/ 25 w 115"/>
                <a:gd name="T25" fmla="*/ 30 h 54"/>
                <a:gd name="T26" fmla="*/ 19 w 115"/>
                <a:gd name="T27" fmla="*/ 23 h 54"/>
                <a:gd name="T28" fmla="*/ 17 w 115"/>
                <a:gd name="T29" fmla="*/ 18 h 54"/>
                <a:gd name="T30" fmla="*/ 16 w 115"/>
                <a:gd name="T31" fmla="*/ 7 h 54"/>
                <a:gd name="T32" fmla="*/ 14 w 115"/>
                <a:gd name="T33" fmla="*/ 0 h 54"/>
                <a:gd name="T34" fmla="*/ 9 w 115"/>
                <a:gd name="T35" fmla="*/ 0 h 54"/>
                <a:gd name="T36" fmla="*/ 6 w 115"/>
                <a:gd name="T37" fmla="*/ 0 h 54"/>
                <a:gd name="T38" fmla="*/ 3 w 115"/>
                <a:gd name="T39" fmla="*/ 1 h 54"/>
                <a:gd name="T40" fmla="*/ 1 w 115"/>
                <a:gd name="T41" fmla="*/ 6 h 54"/>
                <a:gd name="T42" fmla="*/ 0 w 115"/>
                <a:gd name="T43" fmla="*/ 22 h 54"/>
                <a:gd name="T44" fmla="*/ 4 w 115"/>
                <a:gd name="T45" fmla="*/ 37 h 54"/>
                <a:gd name="T46" fmla="*/ 15 w 115"/>
                <a:gd name="T47" fmla="*/ 46 h 54"/>
                <a:gd name="T48" fmla="*/ 31 w 115"/>
                <a:gd name="T49" fmla="*/ 51 h 54"/>
                <a:gd name="T50" fmla="*/ 50 w 115"/>
                <a:gd name="T51" fmla="*/ 54 h 54"/>
                <a:gd name="T52" fmla="*/ 59 w 115"/>
                <a:gd name="T53" fmla="*/ 54 h 54"/>
                <a:gd name="T54" fmla="*/ 65 w 115"/>
                <a:gd name="T55" fmla="*/ 54 h 54"/>
                <a:gd name="T56" fmla="*/ 85 w 115"/>
                <a:gd name="T57" fmla="*/ 51 h 54"/>
                <a:gd name="T58" fmla="*/ 101 w 115"/>
                <a:gd name="T59" fmla="*/ 46 h 54"/>
                <a:gd name="T60" fmla="*/ 112 w 115"/>
                <a:gd name="T61" fmla="*/ 37 h 54"/>
                <a:gd name="T62" fmla="*/ 115 w 115"/>
                <a:gd name="T63" fmla="*/ 22 h 54"/>
                <a:gd name="T64" fmla="*/ 114 w 115"/>
                <a:gd name="T6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 h="54">
                  <a:moveTo>
                    <a:pt x="114" y="6"/>
                  </a:moveTo>
                  <a:lnTo>
                    <a:pt x="114" y="6"/>
                  </a:lnTo>
                  <a:lnTo>
                    <a:pt x="113" y="1"/>
                  </a:lnTo>
                  <a:lnTo>
                    <a:pt x="112" y="0"/>
                  </a:lnTo>
                  <a:lnTo>
                    <a:pt x="109" y="0"/>
                  </a:lnTo>
                  <a:lnTo>
                    <a:pt x="107" y="0"/>
                  </a:lnTo>
                  <a:lnTo>
                    <a:pt x="107" y="0"/>
                  </a:lnTo>
                  <a:lnTo>
                    <a:pt x="104" y="0"/>
                  </a:lnTo>
                  <a:lnTo>
                    <a:pt x="102" y="0"/>
                  </a:lnTo>
                  <a:lnTo>
                    <a:pt x="99" y="2"/>
                  </a:lnTo>
                  <a:lnTo>
                    <a:pt x="98" y="7"/>
                  </a:lnTo>
                  <a:lnTo>
                    <a:pt x="98" y="7"/>
                  </a:lnTo>
                  <a:lnTo>
                    <a:pt x="98" y="18"/>
                  </a:lnTo>
                  <a:lnTo>
                    <a:pt x="98" y="18"/>
                  </a:lnTo>
                  <a:lnTo>
                    <a:pt x="97" y="23"/>
                  </a:lnTo>
                  <a:lnTo>
                    <a:pt x="95" y="28"/>
                  </a:lnTo>
                  <a:lnTo>
                    <a:pt x="91" y="30"/>
                  </a:lnTo>
                  <a:lnTo>
                    <a:pt x="86" y="33"/>
                  </a:lnTo>
                  <a:lnTo>
                    <a:pt x="80" y="35"/>
                  </a:lnTo>
                  <a:lnTo>
                    <a:pt x="74" y="37"/>
                  </a:lnTo>
                  <a:lnTo>
                    <a:pt x="58" y="38"/>
                  </a:lnTo>
                  <a:lnTo>
                    <a:pt x="58" y="38"/>
                  </a:lnTo>
                  <a:lnTo>
                    <a:pt x="42" y="37"/>
                  </a:lnTo>
                  <a:lnTo>
                    <a:pt x="35" y="35"/>
                  </a:lnTo>
                  <a:lnTo>
                    <a:pt x="30" y="33"/>
                  </a:lnTo>
                  <a:lnTo>
                    <a:pt x="25" y="30"/>
                  </a:lnTo>
                  <a:lnTo>
                    <a:pt x="20" y="28"/>
                  </a:lnTo>
                  <a:lnTo>
                    <a:pt x="19" y="23"/>
                  </a:lnTo>
                  <a:lnTo>
                    <a:pt x="17" y="18"/>
                  </a:lnTo>
                  <a:lnTo>
                    <a:pt x="17" y="18"/>
                  </a:lnTo>
                  <a:lnTo>
                    <a:pt x="16" y="7"/>
                  </a:lnTo>
                  <a:lnTo>
                    <a:pt x="16" y="7"/>
                  </a:lnTo>
                  <a:lnTo>
                    <a:pt x="15" y="2"/>
                  </a:lnTo>
                  <a:lnTo>
                    <a:pt x="14" y="0"/>
                  </a:lnTo>
                  <a:lnTo>
                    <a:pt x="11" y="0"/>
                  </a:lnTo>
                  <a:lnTo>
                    <a:pt x="9" y="0"/>
                  </a:lnTo>
                  <a:lnTo>
                    <a:pt x="9" y="0"/>
                  </a:lnTo>
                  <a:lnTo>
                    <a:pt x="6" y="0"/>
                  </a:lnTo>
                  <a:lnTo>
                    <a:pt x="4" y="0"/>
                  </a:lnTo>
                  <a:lnTo>
                    <a:pt x="3" y="1"/>
                  </a:lnTo>
                  <a:lnTo>
                    <a:pt x="1" y="6"/>
                  </a:lnTo>
                  <a:lnTo>
                    <a:pt x="1" y="6"/>
                  </a:lnTo>
                  <a:lnTo>
                    <a:pt x="0" y="22"/>
                  </a:lnTo>
                  <a:lnTo>
                    <a:pt x="0" y="22"/>
                  </a:lnTo>
                  <a:lnTo>
                    <a:pt x="1" y="29"/>
                  </a:lnTo>
                  <a:lnTo>
                    <a:pt x="4" y="37"/>
                  </a:lnTo>
                  <a:lnTo>
                    <a:pt x="9" y="41"/>
                  </a:lnTo>
                  <a:lnTo>
                    <a:pt x="15" y="46"/>
                  </a:lnTo>
                  <a:lnTo>
                    <a:pt x="22" y="49"/>
                  </a:lnTo>
                  <a:lnTo>
                    <a:pt x="31" y="51"/>
                  </a:lnTo>
                  <a:lnTo>
                    <a:pt x="41" y="54"/>
                  </a:lnTo>
                  <a:lnTo>
                    <a:pt x="50" y="54"/>
                  </a:lnTo>
                  <a:lnTo>
                    <a:pt x="57" y="54"/>
                  </a:lnTo>
                  <a:lnTo>
                    <a:pt x="59" y="54"/>
                  </a:lnTo>
                  <a:lnTo>
                    <a:pt x="65" y="54"/>
                  </a:lnTo>
                  <a:lnTo>
                    <a:pt x="65" y="54"/>
                  </a:lnTo>
                  <a:lnTo>
                    <a:pt x="75" y="54"/>
                  </a:lnTo>
                  <a:lnTo>
                    <a:pt x="85" y="51"/>
                  </a:lnTo>
                  <a:lnTo>
                    <a:pt x="93" y="49"/>
                  </a:lnTo>
                  <a:lnTo>
                    <a:pt x="101" y="46"/>
                  </a:lnTo>
                  <a:lnTo>
                    <a:pt x="107" y="41"/>
                  </a:lnTo>
                  <a:lnTo>
                    <a:pt x="112" y="37"/>
                  </a:lnTo>
                  <a:lnTo>
                    <a:pt x="114" y="29"/>
                  </a:lnTo>
                  <a:lnTo>
                    <a:pt x="115" y="22"/>
                  </a:lnTo>
                  <a:lnTo>
                    <a:pt x="115" y="22"/>
                  </a:lnTo>
                  <a:lnTo>
                    <a:pt x="114" y="6"/>
                  </a:lnTo>
                  <a:lnTo>
                    <a:pt x="114" y="6"/>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252" name="Group 1251"/>
          <p:cNvGrpSpPr/>
          <p:nvPr/>
        </p:nvGrpSpPr>
        <p:grpSpPr>
          <a:xfrm>
            <a:off x="3473351" y="2686124"/>
            <a:ext cx="145037" cy="57858"/>
            <a:chOff x="3489000" y="2676763"/>
            <a:chExt cx="119864" cy="57858"/>
          </a:xfrm>
        </p:grpSpPr>
        <p:sp>
          <p:nvSpPr>
            <p:cNvPr id="1253" name="Rectangle 92"/>
            <p:cNvSpPr>
              <a:spLocks noChangeArrowheads="1"/>
            </p:cNvSpPr>
            <p:nvPr/>
          </p:nvSpPr>
          <p:spPr bwMode="auto">
            <a:xfrm>
              <a:off x="3489000" y="2676763"/>
              <a:ext cx="119864" cy="57858"/>
            </a:xfrm>
            <a:prstGeom prst="rect">
              <a:avLst/>
            </a:prstGeom>
            <a:solidFill>
              <a:schemeClr val="accent1"/>
            </a:solidFill>
            <a:ln w="2">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54" name="Freeform 94"/>
            <p:cNvSpPr>
              <a:spLocks/>
            </p:cNvSpPr>
            <p:nvPr/>
          </p:nvSpPr>
          <p:spPr bwMode="auto">
            <a:xfrm>
              <a:off x="3532055" y="2697982"/>
              <a:ext cx="42830" cy="24547"/>
            </a:xfrm>
            <a:custGeom>
              <a:avLst/>
              <a:gdLst>
                <a:gd name="T0" fmla="*/ 114 w 115"/>
                <a:gd name="T1" fmla="*/ 6 h 54"/>
                <a:gd name="T2" fmla="*/ 112 w 115"/>
                <a:gd name="T3" fmla="*/ 0 h 54"/>
                <a:gd name="T4" fmla="*/ 107 w 115"/>
                <a:gd name="T5" fmla="*/ 0 h 54"/>
                <a:gd name="T6" fmla="*/ 104 w 115"/>
                <a:gd name="T7" fmla="*/ 0 h 54"/>
                <a:gd name="T8" fmla="*/ 99 w 115"/>
                <a:gd name="T9" fmla="*/ 2 h 54"/>
                <a:gd name="T10" fmla="*/ 98 w 115"/>
                <a:gd name="T11" fmla="*/ 7 h 54"/>
                <a:gd name="T12" fmla="*/ 98 w 115"/>
                <a:gd name="T13" fmla="*/ 18 h 54"/>
                <a:gd name="T14" fmla="*/ 95 w 115"/>
                <a:gd name="T15" fmla="*/ 28 h 54"/>
                <a:gd name="T16" fmla="*/ 86 w 115"/>
                <a:gd name="T17" fmla="*/ 33 h 54"/>
                <a:gd name="T18" fmla="*/ 74 w 115"/>
                <a:gd name="T19" fmla="*/ 37 h 54"/>
                <a:gd name="T20" fmla="*/ 58 w 115"/>
                <a:gd name="T21" fmla="*/ 38 h 54"/>
                <a:gd name="T22" fmla="*/ 35 w 115"/>
                <a:gd name="T23" fmla="*/ 35 h 54"/>
                <a:gd name="T24" fmla="*/ 25 w 115"/>
                <a:gd name="T25" fmla="*/ 30 h 54"/>
                <a:gd name="T26" fmla="*/ 19 w 115"/>
                <a:gd name="T27" fmla="*/ 23 h 54"/>
                <a:gd name="T28" fmla="*/ 17 w 115"/>
                <a:gd name="T29" fmla="*/ 18 h 54"/>
                <a:gd name="T30" fmla="*/ 16 w 115"/>
                <a:gd name="T31" fmla="*/ 7 h 54"/>
                <a:gd name="T32" fmla="*/ 14 w 115"/>
                <a:gd name="T33" fmla="*/ 0 h 54"/>
                <a:gd name="T34" fmla="*/ 9 w 115"/>
                <a:gd name="T35" fmla="*/ 0 h 54"/>
                <a:gd name="T36" fmla="*/ 6 w 115"/>
                <a:gd name="T37" fmla="*/ 0 h 54"/>
                <a:gd name="T38" fmla="*/ 3 w 115"/>
                <a:gd name="T39" fmla="*/ 1 h 54"/>
                <a:gd name="T40" fmla="*/ 1 w 115"/>
                <a:gd name="T41" fmla="*/ 6 h 54"/>
                <a:gd name="T42" fmla="*/ 0 w 115"/>
                <a:gd name="T43" fmla="*/ 22 h 54"/>
                <a:gd name="T44" fmla="*/ 4 w 115"/>
                <a:gd name="T45" fmla="*/ 37 h 54"/>
                <a:gd name="T46" fmla="*/ 15 w 115"/>
                <a:gd name="T47" fmla="*/ 46 h 54"/>
                <a:gd name="T48" fmla="*/ 31 w 115"/>
                <a:gd name="T49" fmla="*/ 51 h 54"/>
                <a:gd name="T50" fmla="*/ 50 w 115"/>
                <a:gd name="T51" fmla="*/ 54 h 54"/>
                <a:gd name="T52" fmla="*/ 59 w 115"/>
                <a:gd name="T53" fmla="*/ 54 h 54"/>
                <a:gd name="T54" fmla="*/ 65 w 115"/>
                <a:gd name="T55" fmla="*/ 54 h 54"/>
                <a:gd name="T56" fmla="*/ 85 w 115"/>
                <a:gd name="T57" fmla="*/ 51 h 54"/>
                <a:gd name="T58" fmla="*/ 101 w 115"/>
                <a:gd name="T59" fmla="*/ 46 h 54"/>
                <a:gd name="T60" fmla="*/ 112 w 115"/>
                <a:gd name="T61" fmla="*/ 37 h 54"/>
                <a:gd name="T62" fmla="*/ 115 w 115"/>
                <a:gd name="T63" fmla="*/ 22 h 54"/>
                <a:gd name="T64" fmla="*/ 114 w 115"/>
                <a:gd name="T6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 h="54">
                  <a:moveTo>
                    <a:pt x="114" y="6"/>
                  </a:moveTo>
                  <a:lnTo>
                    <a:pt x="114" y="6"/>
                  </a:lnTo>
                  <a:lnTo>
                    <a:pt x="113" y="1"/>
                  </a:lnTo>
                  <a:lnTo>
                    <a:pt x="112" y="0"/>
                  </a:lnTo>
                  <a:lnTo>
                    <a:pt x="109" y="0"/>
                  </a:lnTo>
                  <a:lnTo>
                    <a:pt x="107" y="0"/>
                  </a:lnTo>
                  <a:lnTo>
                    <a:pt x="107" y="0"/>
                  </a:lnTo>
                  <a:lnTo>
                    <a:pt x="104" y="0"/>
                  </a:lnTo>
                  <a:lnTo>
                    <a:pt x="102" y="0"/>
                  </a:lnTo>
                  <a:lnTo>
                    <a:pt x="99" y="2"/>
                  </a:lnTo>
                  <a:lnTo>
                    <a:pt x="98" y="7"/>
                  </a:lnTo>
                  <a:lnTo>
                    <a:pt x="98" y="7"/>
                  </a:lnTo>
                  <a:lnTo>
                    <a:pt x="98" y="18"/>
                  </a:lnTo>
                  <a:lnTo>
                    <a:pt x="98" y="18"/>
                  </a:lnTo>
                  <a:lnTo>
                    <a:pt x="97" y="23"/>
                  </a:lnTo>
                  <a:lnTo>
                    <a:pt x="95" y="28"/>
                  </a:lnTo>
                  <a:lnTo>
                    <a:pt x="91" y="30"/>
                  </a:lnTo>
                  <a:lnTo>
                    <a:pt x="86" y="33"/>
                  </a:lnTo>
                  <a:lnTo>
                    <a:pt x="80" y="35"/>
                  </a:lnTo>
                  <a:lnTo>
                    <a:pt x="74" y="37"/>
                  </a:lnTo>
                  <a:lnTo>
                    <a:pt x="58" y="38"/>
                  </a:lnTo>
                  <a:lnTo>
                    <a:pt x="58" y="38"/>
                  </a:lnTo>
                  <a:lnTo>
                    <a:pt x="42" y="37"/>
                  </a:lnTo>
                  <a:lnTo>
                    <a:pt x="35" y="35"/>
                  </a:lnTo>
                  <a:lnTo>
                    <a:pt x="30" y="33"/>
                  </a:lnTo>
                  <a:lnTo>
                    <a:pt x="25" y="30"/>
                  </a:lnTo>
                  <a:lnTo>
                    <a:pt x="20" y="28"/>
                  </a:lnTo>
                  <a:lnTo>
                    <a:pt x="19" y="23"/>
                  </a:lnTo>
                  <a:lnTo>
                    <a:pt x="17" y="18"/>
                  </a:lnTo>
                  <a:lnTo>
                    <a:pt x="17" y="18"/>
                  </a:lnTo>
                  <a:lnTo>
                    <a:pt x="16" y="7"/>
                  </a:lnTo>
                  <a:lnTo>
                    <a:pt x="16" y="7"/>
                  </a:lnTo>
                  <a:lnTo>
                    <a:pt x="15" y="2"/>
                  </a:lnTo>
                  <a:lnTo>
                    <a:pt x="14" y="0"/>
                  </a:lnTo>
                  <a:lnTo>
                    <a:pt x="11" y="0"/>
                  </a:lnTo>
                  <a:lnTo>
                    <a:pt x="9" y="0"/>
                  </a:lnTo>
                  <a:lnTo>
                    <a:pt x="9" y="0"/>
                  </a:lnTo>
                  <a:lnTo>
                    <a:pt x="6" y="0"/>
                  </a:lnTo>
                  <a:lnTo>
                    <a:pt x="4" y="0"/>
                  </a:lnTo>
                  <a:lnTo>
                    <a:pt x="3" y="1"/>
                  </a:lnTo>
                  <a:lnTo>
                    <a:pt x="1" y="6"/>
                  </a:lnTo>
                  <a:lnTo>
                    <a:pt x="1" y="6"/>
                  </a:lnTo>
                  <a:lnTo>
                    <a:pt x="0" y="22"/>
                  </a:lnTo>
                  <a:lnTo>
                    <a:pt x="0" y="22"/>
                  </a:lnTo>
                  <a:lnTo>
                    <a:pt x="1" y="29"/>
                  </a:lnTo>
                  <a:lnTo>
                    <a:pt x="4" y="37"/>
                  </a:lnTo>
                  <a:lnTo>
                    <a:pt x="9" y="41"/>
                  </a:lnTo>
                  <a:lnTo>
                    <a:pt x="15" y="46"/>
                  </a:lnTo>
                  <a:lnTo>
                    <a:pt x="22" y="49"/>
                  </a:lnTo>
                  <a:lnTo>
                    <a:pt x="31" y="51"/>
                  </a:lnTo>
                  <a:lnTo>
                    <a:pt x="41" y="54"/>
                  </a:lnTo>
                  <a:lnTo>
                    <a:pt x="50" y="54"/>
                  </a:lnTo>
                  <a:lnTo>
                    <a:pt x="57" y="54"/>
                  </a:lnTo>
                  <a:lnTo>
                    <a:pt x="59" y="54"/>
                  </a:lnTo>
                  <a:lnTo>
                    <a:pt x="65" y="54"/>
                  </a:lnTo>
                  <a:lnTo>
                    <a:pt x="65" y="54"/>
                  </a:lnTo>
                  <a:lnTo>
                    <a:pt x="75" y="54"/>
                  </a:lnTo>
                  <a:lnTo>
                    <a:pt x="85" y="51"/>
                  </a:lnTo>
                  <a:lnTo>
                    <a:pt x="93" y="49"/>
                  </a:lnTo>
                  <a:lnTo>
                    <a:pt x="101" y="46"/>
                  </a:lnTo>
                  <a:lnTo>
                    <a:pt x="107" y="41"/>
                  </a:lnTo>
                  <a:lnTo>
                    <a:pt x="112" y="37"/>
                  </a:lnTo>
                  <a:lnTo>
                    <a:pt x="114" y="29"/>
                  </a:lnTo>
                  <a:lnTo>
                    <a:pt x="115" y="22"/>
                  </a:lnTo>
                  <a:lnTo>
                    <a:pt x="115" y="22"/>
                  </a:lnTo>
                  <a:lnTo>
                    <a:pt x="114" y="6"/>
                  </a:lnTo>
                  <a:lnTo>
                    <a:pt x="114" y="6"/>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89" name="Group 1388"/>
          <p:cNvGrpSpPr/>
          <p:nvPr/>
        </p:nvGrpSpPr>
        <p:grpSpPr>
          <a:xfrm>
            <a:off x="4405250" y="2543748"/>
            <a:ext cx="146884" cy="180935"/>
            <a:chOff x="6345777" y="3372131"/>
            <a:chExt cx="264692" cy="326053"/>
          </a:xfrm>
        </p:grpSpPr>
        <p:sp>
          <p:nvSpPr>
            <p:cNvPr id="1123" name="Freeform 5"/>
            <p:cNvSpPr>
              <a:spLocks/>
            </p:cNvSpPr>
            <p:nvPr/>
          </p:nvSpPr>
          <p:spPr bwMode="auto">
            <a:xfrm>
              <a:off x="6357957" y="3372131"/>
              <a:ext cx="240488" cy="159401"/>
            </a:xfrm>
            <a:custGeom>
              <a:avLst/>
              <a:gdLst>
                <a:gd name="T0" fmla="*/ 59 w 3437"/>
                <a:gd name="T1" fmla="*/ 1988 h 2071"/>
                <a:gd name="T2" fmla="*/ 186 w 3437"/>
                <a:gd name="T3" fmla="*/ 1895 h 2071"/>
                <a:gd name="T4" fmla="*/ 253 w 3437"/>
                <a:gd name="T5" fmla="*/ 1872 h 2071"/>
                <a:gd name="T6" fmla="*/ 582 w 3437"/>
                <a:gd name="T7" fmla="*/ 1066 h 2071"/>
                <a:gd name="T8" fmla="*/ 679 w 3437"/>
                <a:gd name="T9" fmla="*/ 967 h 2071"/>
                <a:gd name="T10" fmla="*/ 811 w 3437"/>
                <a:gd name="T11" fmla="*/ 896 h 2071"/>
                <a:gd name="T12" fmla="*/ 1718 w 3437"/>
                <a:gd name="T13" fmla="*/ 875 h 2071"/>
                <a:gd name="T14" fmla="*/ 2626 w 3437"/>
                <a:gd name="T15" fmla="*/ 896 h 2071"/>
                <a:gd name="T16" fmla="*/ 2758 w 3437"/>
                <a:gd name="T17" fmla="*/ 967 h 2071"/>
                <a:gd name="T18" fmla="*/ 2855 w 3437"/>
                <a:gd name="T19" fmla="*/ 1066 h 2071"/>
                <a:gd name="T20" fmla="*/ 3182 w 3437"/>
                <a:gd name="T21" fmla="*/ 1872 h 2071"/>
                <a:gd name="T22" fmla="*/ 3251 w 3437"/>
                <a:gd name="T23" fmla="*/ 1895 h 2071"/>
                <a:gd name="T24" fmla="*/ 3378 w 3437"/>
                <a:gd name="T25" fmla="*/ 1988 h 2071"/>
                <a:gd name="T26" fmla="*/ 3433 w 3437"/>
                <a:gd name="T27" fmla="*/ 2071 h 2071"/>
                <a:gd name="T28" fmla="*/ 3435 w 3437"/>
                <a:gd name="T29" fmla="*/ 1317 h 2071"/>
                <a:gd name="T30" fmla="*/ 3437 w 3437"/>
                <a:gd name="T31" fmla="*/ 598 h 2071"/>
                <a:gd name="T32" fmla="*/ 3431 w 3437"/>
                <a:gd name="T33" fmla="*/ 490 h 2071"/>
                <a:gd name="T34" fmla="*/ 3411 w 3437"/>
                <a:gd name="T35" fmla="*/ 397 h 2071"/>
                <a:gd name="T36" fmla="*/ 3378 w 3437"/>
                <a:gd name="T37" fmla="*/ 318 h 2071"/>
                <a:gd name="T38" fmla="*/ 3332 w 3437"/>
                <a:gd name="T39" fmla="*/ 253 h 2071"/>
                <a:gd name="T40" fmla="*/ 3271 w 3437"/>
                <a:gd name="T41" fmla="*/ 197 h 2071"/>
                <a:gd name="T42" fmla="*/ 3196 w 3437"/>
                <a:gd name="T43" fmla="*/ 152 h 2071"/>
                <a:gd name="T44" fmla="*/ 3107 w 3437"/>
                <a:gd name="T45" fmla="*/ 115 h 2071"/>
                <a:gd name="T46" fmla="*/ 3003 w 3437"/>
                <a:gd name="T47" fmla="*/ 83 h 2071"/>
                <a:gd name="T48" fmla="*/ 2932 w 3437"/>
                <a:gd name="T49" fmla="*/ 73 h 2071"/>
                <a:gd name="T50" fmla="*/ 2695 w 3437"/>
                <a:gd name="T51" fmla="*/ 45 h 2071"/>
                <a:gd name="T52" fmla="*/ 2355 w 3437"/>
                <a:gd name="T53" fmla="*/ 18 h 2071"/>
                <a:gd name="T54" fmla="*/ 2018 w 3437"/>
                <a:gd name="T55" fmla="*/ 4 h 2071"/>
                <a:gd name="T56" fmla="*/ 1718 w 3437"/>
                <a:gd name="T57" fmla="*/ 0 h 2071"/>
                <a:gd name="T58" fmla="*/ 1575 w 3437"/>
                <a:gd name="T59" fmla="*/ 0 h 2071"/>
                <a:gd name="T60" fmla="*/ 1254 w 3437"/>
                <a:gd name="T61" fmla="*/ 10 h 2071"/>
                <a:gd name="T62" fmla="*/ 910 w 3437"/>
                <a:gd name="T63" fmla="*/ 32 h 2071"/>
                <a:gd name="T64" fmla="*/ 580 w 3437"/>
                <a:gd name="T65" fmla="*/ 63 h 2071"/>
                <a:gd name="T66" fmla="*/ 434 w 3437"/>
                <a:gd name="T67" fmla="*/ 83 h 2071"/>
                <a:gd name="T68" fmla="*/ 379 w 3437"/>
                <a:gd name="T69" fmla="*/ 99 h 2071"/>
                <a:gd name="T70" fmla="*/ 282 w 3437"/>
                <a:gd name="T71" fmla="*/ 132 h 2071"/>
                <a:gd name="T72" fmla="*/ 201 w 3437"/>
                <a:gd name="T73" fmla="*/ 172 h 2071"/>
                <a:gd name="T74" fmla="*/ 132 w 3437"/>
                <a:gd name="T75" fmla="*/ 223 h 2071"/>
                <a:gd name="T76" fmla="*/ 79 w 3437"/>
                <a:gd name="T77" fmla="*/ 284 h 2071"/>
                <a:gd name="T78" fmla="*/ 39 w 3437"/>
                <a:gd name="T79" fmla="*/ 355 h 2071"/>
                <a:gd name="T80" fmla="*/ 14 w 3437"/>
                <a:gd name="T81" fmla="*/ 442 h 2071"/>
                <a:gd name="T82" fmla="*/ 0 w 3437"/>
                <a:gd name="T83" fmla="*/ 543 h 2071"/>
                <a:gd name="T84" fmla="*/ 0 w 3437"/>
                <a:gd name="T85" fmla="*/ 598 h 2071"/>
                <a:gd name="T86" fmla="*/ 2 w 3437"/>
                <a:gd name="T87" fmla="*/ 2071 h 2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37" h="2071">
                  <a:moveTo>
                    <a:pt x="8" y="2061"/>
                  </a:moveTo>
                  <a:lnTo>
                    <a:pt x="59" y="1988"/>
                  </a:lnTo>
                  <a:lnTo>
                    <a:pt x="122" y="1937"/>
                  </a:lnTo>
                  <a:lnTo>
                    <a:pt x="186" y="1895"/>
                  </a:lnTo>
                  <a:lnTo>
                    <a:pt x="245" y="1876"/>
                  </a:lnTo>
                  <a:lnTo>
                    <a:pt x="253" y="1872"/>
                  </a:lnTo>
                  <a:lnTo>
                    <a:pt x="525" y="1179"/>
                  </a:lnTo>
                  <a:lnTo>
                    <a:pt x="582" y="1066"/>
                  </a:lnTo>
                  <a:lnTo>
                    <a:pt x="626" y="1009"/>
                  </a:lnTo>
                  <a:lnTo>
                    <a:pt x="679" y="967"/>
                  </a:lnTo>
                  <a:lnTo>
                    <a:pt x="738" y="928"/>
                  </a:lnTo>
                  <a:lnTo>
                    <a:pt x="811" y="896"/>
                  </a:lnTo>
                  <a:lnTo>
                    <a:pt x="896" y="875"/>
                  </a:lnTo>
                  <a:lnTo>
                    <a:pt x="1718" y="875"/>
                  </a:lnTo>
                  <a:lnTo>
                    <a:pt x="2541" y="875"/>
                  </a:lnTo>
                  <a:lnTo>
                    <a:pt x="2626" y="896"/>
                  </a:lnTo>
                  <a:lnTo>
                    <a:pt x="2697" y="928"/>
                  </a:lnTo>
                  <a:lnTo>
                    <a:pt x="2758" y="967"/>
                  </a:lnTo>
                  <a:lnTo>
                    <a:pt x="2809" y="1009"/>
                  </a:lnTo>
                  <a:lnTo>
                    <a:pt x="2855" y="1066"/>
                  </a:lnTo>
                  <a:lnTo>
                    <a:pt x="2912" y="1179"/>
                  </a:lnTo>
                  <a:lnTo>
                    <a:pt x="3182" y="1872"/>
                  </a:lnTo>
                  <a:lnTo>
                    <a:pt x="3192" y="1876"/>
                  </a:lnTo>
                  <a:lnTo>
                    <a:pt x="3251" y="1895"/>
                  </a:lnTo>
                  <a:lnTo>
                    <a:pt x="3315" y="1937"/>
                  </a:lnTo>
                  <a:lnTo>
                    <a:pt x="3378" y="1988"/>
                  </a:lnTo>
                  <a:lnTo>
                    <a:pt x="3427" y="2061"/>
                  </a:lnTo>
                  <a:lnTo>
                    <a:pt x="3433" y="2071"/>
                  </a:lnTo>
                  <a:lnTo>
                    <a:pt x="3433" y="2071"/>
                  </a:lnTo>
                  <a:lnTo>
                    <a:pt x="3435" y="1317"/>
                  </a:lnTo>
                  <a:lnTo>
                    <a:pt x="3437" y="598"/>
                  </a:lnTo>
                  <a:lnTo>
                    <a:pt x="3437" y="598"/>
                  </a:lnTo>
                  <a:lnTo>
                    <a:pt x="3435" y="543"/>
                  </a:lnTo>
                  <a:lnTo>
                    <a:pt x="3431" y="490"/>
                  </a:lnTo>
                  <a:lnTo>
                    <a:pt x="3423" y="442"/>
                  </a:lnTo>
                  <a:lnTo>
                    <a:pt x="3411" y="397"/>
                  </a:lnTo>
                  <a:lnTo>
                    <a:pt x="3396" y="355"/>
                  </a:lnTo>
                  <a:lnTo>
                    <a:pt x="3378" y="318"/>
                  </a:lnTo>
                  <a:lnTo>
                    <a:pt x="3356" y="284"/>
                  </a:lnTo>
                  <a:lnTo>
                    <a:pt x="3332" y="253"/>
                  </a:lnTo>
                  <a:lnTo>
                    <a:pt x="3303" y="223"/>
                  </a:lnTo>
                  <a:lnTo>
                    <a:pt x="3271" y="197"/>
                  </a:lnTo>
                  <a:lnTo>
                    <a:pt x="3236" y="172"/>
                  </a:lnTo>
                  <a:lnTo>
                    <a:pt x="3196" y="152"/>
                  </a:lnTo>
                  <a:lnTo>
                    <a:pt x="3153" y="132"/>
                  </a:lnTo>
                  <a:lnTo>
                    <a:pt x="3107" y="115"/>
                  </a:lnTo>
                  <a:lnTo>
                    <a:pt x="3056" y="99"/>
                  </a:lnTo>
                  <a:lnTo>
                    <a:pt x="3003" y="83"/>
                  </a:lnTo>
                  <a:lnTo>
                    <a:pt x="3003" y="83"/>
                  </a:lnTo>
                  <a:lnTo>
                    <a:pt x="2932" y="73"/>
                  </a:lnTo>
                  <a:lnTo>
                    <a:pt x="2855" y="63"/>
                  </a:lnTo>
                  <a:lnTo>
                    <a:pt x="2695" y="45"/>
                  </a:lnTo>
                  <a:lnTo>
                    <a:pt x="2527" y="32"/>
                  </a:lnTo>
                  <a:lnTo>
                    <a:pt x="2355" y="18"/>
                  </a:lnTo>
                  <a:lnTo>
                    <a:pt x="2183" y="10"/>
                  </a:lnTo>
                  <a:lnTo>
                    <a:pt x="2018" y="4"/>
                  </a:lnTo>
                  <a:lnTo>
                    <a:pt x="1862" y="0"/>
                  </a:lnTo>
                  <a:lnTo>
                    <a:pt x="1718" y="0"/>
                  </a:lnTo>
                  <a:lnTo>
                    <a:pt x="1718" y="0"/>
                  </a:lnTo>
                  <a:lnTo>
                    <a:pt x="1575" y="0"/>
                  </a:lnTo>
                  <a:lnTo>
                    <a:pt x="1419" y="4"/>
                  </a:lnTo>
                  <a:lnTo>
                    <a:pt x="1254" y="10"/>
                  </a:lnTo>
                  <a:lnTo>
                    <a:pt x="1082" y="18"/>
                  </a:lnTo>
                  <a:lnTo>
                    <a:pt x="910" y="32"/>
                  </a:lnTo>
                  <a:lnTo>
                    <a:pt x="740" y="45"/>
                  </a:lnTo>
                  <a:lnTo>
                    <a:pt x="580" y="63"/>
                  </a:lnTo>
                  <a:lnTo>
                    <a:pt x="505" y="73"/>
                  </a:lnTo>
                  <a:lnTo>
                    <a:pt x="434" y="83"/>
                  </a:lnTo>
                  <a:lnTo>
                    <a:pt x="434" y="83"/>
                  </a:lnTo>
                  <a:lnTo>
                    <a:pt x="379" y="99"/>
                  </a:lnTo>
                  <a:lnTo>
                    <a:pt x="330" y="115"/>
                  </a:lnTo>
                  <a:lnTo>
                    <a:pt x="282" y="132"/>
                  </a:lnTo>
                  <a:lnTo>
                    <a:pt x="241" y="152"/>
                  </a:lnTo>
                  <a:lnTo>
                    <a:pt x="201" y="172"/>
                  </a:lnTo>
                  <a:lnTo>
                    <a:pt x="166" y="197"/>
                  </a:lnTo>
                  <a:lnTo>
                    <a:pt x="132" y="223"/>
                  </a:lnTo>
                  <a:lnTo>
                    <a:pt x="105" y="253"/>
                  </a:lnTo>
                  <a:lnTo>
                    <a:pt x="79" y="284"/>
                  </a:lnTo>
                  <a:lnTo>
                    <a:pt x="57" y="318"/>
                  </a:lnTo>
                  <a:lnTo>
                    <a:pt x="39" y="355"/>
                  </a:lnTo>
                  <a:lnTo>
                    <a:pt x="26" y="397"/>
                  </a:lnTo>
                  <a:lnTo>
                    <a:pt x="14" y="442"/>
                  </a:lnTo>
                  <a:lnTo>
                    <a:pt x="6" y="490"/>
                  </a:lnTo>
                  <a:lnTo>
                    <a:pt x="0" y="543"/>
                  </a:lnTo>
                  <a:lnTo>
                    <a:pt x="0" y="598"/>
                  </a:lnTo>
                  <a:lnTo>
                    <a:pt x="0" y="598"/>
                  </a:lnTo>
                  <a:lnTo>
                    <a:pt x="0" y="1317"/>
                  </a:lnTo>
                  <a:lnTo>
                    <a:pt x="2" y="2071"/>
                  </a:lnTo>
                  <a:lnTo>
                    <a:pt x="8" y="2061"/>
                  </a:lnTo>
                  <a:close/>
                </a:path>
              </a:pathLst>
            </a:custGeom>
            <a:solidFill>
              <a:schemeClr val="accent1"/>
            </a:solid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87" name="Rectangle 1386"/>
            <p:cNvSpPr/>
            <p:nvPr/>
          </p:nvSpPr>
          <p:spPr bwMode="auto">
            <a:xfrm>
              <a:off x="6356171" y="3551710"/>
              <a:ext cx="245751" cy="71311"/>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9" name="Rectangle 1148"/>
            <p:cNvSpPr/>
            <p:nvPr/>
          </p:nvSpPr>
          <p:spPr bwMode="auto">
            <a:xfrm>
              <a:off x="6395494" y="3456646"/>
              <a:ext cx="165748" cy="78489"/>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8" name="Freeform 6"/>
            <p:cNvSpPr>
              <a:spLocks noEditPoints="1"/>
            </p:cNvSpPr>
            <p:nvPr/>
          </p:nvSpPr>
          <p:spPr bwMode="auto">
            <a:xfrm>
              <a:off x="6345777" y="3439110"/>
              <a:ext cx="264692" cy="259074"/>
            </a:xfrm>
            <a:custGeom>
              <a:avLst/>
              <a:gdLst>
                <a:gd name="T0" fmla="*/ 3423 w 3439"/>
                <a:gd name="T1" fmla="*/ 1287 h 3366"/>
                <a:gd name="T2" fmla="*/ 3123 w 3439"/>
                <a:gd name="T3" fmla="*/ 977 h 3366"/>
                <a:gd name="T4" fmla="*/ 2602 w 3439"/>
                <a:gd name="T5" fmla="*/ 17 h 3366"/>
                <a:gd name="T6" fmla="*/ 908 w 3439"/>
                <a:gd name="T7" fmla="*/ 0 h 3366"/>
                <a:gd name="T8" fmla="*/ 598 w 3439"/>
                <a:gd name="T9" fmla="*/ 258 h 3366"/>
                <a:gd name="T10" fmla="*/ 43 w 3439"/>
                <a:gd name="T11" fmla="*/ 1210 h 3366"/>
                <a:gd name="T12" fmla="*/ 2 w 3439"/>
                <a:gd name="T13" fmla="*/ 2215 h 3366"/>
                <a:gd name="T14" fmla="*/ 24 w 3439"/>
                <a:gd name="T15" fmla="*/ 2436 h 3366"/>
                <a:gd name="T16" fmla="*/ 111 w 3439"/>
                <a:gd name="T17" fmla="*/ 2614 h 3366"/>
                <a:gd name="T18" fmla="*/ 223 w 3439"/>
                <a:gd name="T19" fmla="*/ 3186 h 3366"/>
                <a:gd name="T20" fmla="*/ 284 w 3439"/>
                <a:gd name="T21" fmla="*/ 3309 h 3366"/>
                <a:gd name="T22" fmla="*/ 411 w 3439"/>
                <a:gd name="T23" fmla="*/ 3366 h 3366"/>
                <a:gd name="T24" fmla="*/ 600 w 3439"/>
                <a:gd name="T25" fmla="*/ 3350 h 3366"/>
                <a:gd name="T26" fmla="*/ 703 w 3439"/>
                <a:gd name="T27" fmla="*/ 3261 h 3366"/>
                <a:gd name="T28" fmla="*/ 1720 w 3439"/>
                <a:gd name="T29" fmla="*/ 2776 h 3366"/>
                <a:gd name="T30" fmla="*/ 2728 w 3439"/>
                <a:gd name="T31" fmla="*/ 3244 h 3366"/>
                <a:gd name="T32" fmla="*/ 2821 w 3439"/>
                <a:gd name="T33" fmla="*/ 3342 h 3366"/>
                <a:gd name="T34" fmla="*/ 3009 w 3439"/>
                <a:gd name="T35" fmla="*/ 3366 h 3366"/>
                <a:gd name="T36" fmla="*/ 3141 w 3439"/>
                <a:gd name="T37" fmla="*/ 3321 h 3366"/>
                <a:gd name="T38" fmla="*/ 3214 w 3439"/>
                <a:gd name="T39" fmla="*/ 3206 h 3366"/>
                <a:gd name="T40" fmla="*/ 3313 w 3439"/>
                <a:gd name="T41" fmla="*/ 2632 h 3366"/>
                <a:gd name="T42" fmla="*/ 3407 w 3439"/>
                <a:gd name="T43" fmla="*/ 2466 h 3366"/>
                <a:gd name="T44" fmla="*/ 3439 w 3439"/>
                <a:gd name="T45" fmla="*/ 2215 h 3366"/>
                <a:gd name="T46" fmla="*/ 379 w 3439"/>
                <a:gd name="T47" fmla="*/ 2146 h 3366"/>
                <a:gd name="T48" fmla="*/ 261 w 3439"/>
                <a:gd name="T49" fmla="*/ 2043 h 3366"/>
                <a:gd name="T50" fmla="*/ 233 w 3439"/>
                <a:gd name="T51" fmla="*/ 1909 h 3366"/>
                <a:gd name="T52" fmla="*/ 302 w 3439"/>
                <a:gd name="T53" fmla="*/ 1769 h 3366"/>
                <a:gd name="T54" fmla="*/ 448 w 3439"/>
                <a:gd name="T55" fmla="*/ 1704 h 3366"/>
                <a:gd name="T56" fmla="*/ 586 w 3439"/>
                <a:gd name="T57" fmla="*/ 1729 h 3366"/>
                <a:gd name="T58" fmla="*/ 693 w 3439"/>
                <a:gd name="T59" fmla="*/ 1842 h 3366"/>
                <a:gd name="T60" fmla="*/ 707 w 3439"/>
                <a:gd name="T61" fmla="*/ 1978 h 3366"/>
                <a:gd name="T62" fmla="*/ 624 w 3439"/>
                <a:gd name="T63" fmla="*/ 2110 h 3366"/>
                <a:gd name="T64" fmla="*/ 472 w 3439"/>
                <a:gd name="T65" fmla="*/ 2164 h 3366"/>
                <a:gd name="T66" fmla="*/ 2335 w 3439"/>
                <a:gd name="T67" fmla="*/ 2148 h 3366"/>
                <a:gd name="T68" fmla="*/ 1157 w 3439"/>
                <a:gd name="T69" fmla="*/ 2168 h 3366"/>
                <a:gd name="T70" fmla="*/ 1086 w 3439"/>
                <a:gd name="T71" fmla="*/ 2112 h 3366"/>
                <a:gd name="T72" fmla="*/ 1106 w 3439"/>
                <a:gd name="T73" fmla="*/ 2017 h 3366"/>
                <a:gd name="T74" fmla="*/ 2282 w 3439"/>
                <a:gd name="T75" fmla="*/ 1996 h 3366"/>
                <a:gd name="T76" fmla="*/ 2355 w 3439"/>
                <a:gd name="T77" fmla="*/ 2053 h 3366"/>
                <a:gd name="T78" fmla="*/ 2343 w 3439"/>
                <a:gd name="T79" fmla="*/ 1842 h 3366"/>
                <a:gd name="T80" fmla="*/ 1157 w 3439"/>
                <a:gd name="T81" fmla="*/ 1873 h 3366"/>
                <a:gd name="T82" fmla="*/ 1090 w 3439"/>
                <a:gd name="T83" fmla="*/ 1830 h 3366"/>
                <a:gd name="T84" fmla="*/ 1096 w 3439"/>
                <a:gd name="T85" fmla="*/ 1733 h 3366"/>
                <a:gd name="T86" fmla="*/ 2282 w 3439"/>
                <a:gd name="T87" fmla="*/ 1702 h 3366"/>
                <a:gd name="T88" fmla="*/ 2351 w 3439"/>
                <a:gd name="T89" fmla="*/ 1745 h 3366"/>
                <a:gd name="T90" fmla="*/ 847 w 3439"/>
                <a:gd name="T91" fmla="*/ 343 h 3366"/>
                <a:gd name="T92" fmla="*/ 2464 w 3439"/>
                <a:gd name="T93" fmla="*/ 266 h 3366"/>
                <a:gd name="T94" fmla="*/ 2833 w 3439"/>
                <a:gd name="T95" fmla="*/ 977 h 3366"/>
                <a:gd name="T96" fmla="*/ 2874 w 3439"/>
                <a:gd name="T97" fmla="*/ 2146 h 3366"/>
                <a:gd name="T98" fmla="*/ 2758 w 3439"/>
                <a:gd name="T99" fmla="*/ 2043 h 3366"/>
                <a:gd name="T100" fmla="*/ 2730 w 3439"/>
                <a:gd name="T101" fmla="*/ 1909 h 3366"/>
                <a:gd name="T102" fmla="*/ 2799 w 3439"/>
                <a:gd name="T103" fmla="*/ 1769 h 3366"/>
                <a:gd name="T104" fmla="*/ 2943 w 3439"/>
                <a:gd name="T105" fmla="*/ 1704 h 3366"/>
                <a:gd name="T106" fmla="*/ 3084 w 3439"/>
                <a:gd name="T107" fmla="*/ 1729 h 3366"/>
                <a:gd name="T108" fmla="*/ 3190 w 3439"/>
                <a:gd name="T109" fmla="*/ 1842 h 3366"/>
                <a:gd name="T110" fmla="*/ 3204 w 3439"/>
                <a:gd name="T111" fmla="*/ 1978 h 3366"/>
                <a:gd name="T112" fmla="*/ 3121 w 3439"/>
                <a:gd name="T113" fmla="*/ 2110 h 3366"/>
                <a:gd name="T114" fmla="*/ 2969 w 3439"/>
                <a:gd name="T115" fmla="*/ 2164 h 3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39" h="3366">
                  <a:moveTo>
                    <a:pt x="3439" y="2215"/>
                  </a:moveTo>
                  <a:lnTo>
                    <a:pt x="3439" y="2215"/>
                  </a:lnTo>
                  <a:lnTo>
                    <a:pt x="3437" y="2069"/>
                  </a:lnTo>
                  <a:lnTo>
                    <a:pt x="3435" y="1885"/>
                  </a:lnTo>
                  <a:lnTo>
                    <a:pt x="3435" y="1435"/>
                  </a:lnTo>
                  <a:lnTo>
                    <a:pt x="3431" y="1356"/>
                  </a:lnTo>
                  <a:lnTo>
                    <a:pt x="3423" y="1287"/>
                  </a:lnTo>
                  <a:lnTo>
                    <a:pt x="3398" y="1210"/>
                  </a:lnTo>
                  <a:lnTo>
                    <a:pt x="3364" y="1149"/>
                  </a:lnTo>
                  <a:lnTo>
                    <a:pt x="3321" y="1090"/>
                  </a:lnTo>
                  <a:lnTo>
                    <a:pt x="3269" y="1046"/>
                  </a:lnTo>
                  <a:lnTo>
                    <a:pt x="3218" y="1013"/>
                  </a:lnTo>
                  <a:lnTo>
                    <a:pt x="3167" y="995"/>
                  </a:lnTo>
                  <a:lnTo>
                    <a:pt x="3123" y="977"/>
                  </a:lnTo>
                  <a:lnTo>
                    <a:pt x="2841" y="258"/>
                  </a:lnTo>
                  <a:lnTo>
                    <a:pt x="2815" y="207"/>
                  </a:lnTo>
                  <a:lnTo>
                    <a:pt x="2789" y="154"/>
                  </a:lnTo>
                  <a:lnTo>
                    <a:pt x="2756" y="112"/>
                  </a:lnTo>
                  <a:lnTo>
                    <a:pt x="2713" y="77"/>
                  </a:lnTo>
                  <a:lnTo>
                    <a:pt x="2661" y="43"/>
                  </a:lnTo>
                  <a:lnTo>
                    <a:pt x="2602" y="17"/>
                  </a:lnTo>
                  <a:lnTo>
                    <a:pt x="2533" y="0"/>
                  </a:lnTo>
                  <a:lnTo>
                    <a:pt x="2456" y="0"/>
                  </a:lnTo>
                  <a:lnTo>
                    <a:pt x="2053" y="0"/>
                  </a:lnTo>
                  <a:lnTo>
                    <a:pt x="1720" y="0"/>
                  </a:lnTo>
                  <a:lnTo>
                    <a:pt x="1386" y="0"/>
                  </a:lnTo>
                  <a:lnTo>
                    <a:pt x="985" y="0"/>
                  </a:lnTo>
                  <a:lnTo>
                    <a:pt x="908" y="0"/>
                  </a:lnTo>
                  <a:lnTo>
                    <a:pt x="839" y="17"/>
                  </a:lnTo>
                  <a:lnTo>
                    <a:pt x="778" y="43"/>
                  </a:lnTo>
                  <a:lnTo>
                    <a:pt x="726" y="77"/>
                  </a:lnTo>
                  <a:lnTo>
                    <a:pt x="685" y="112"/>
                  </a:lnTo>
                  <a:lnTo>
                    <a:pt x="650" y="154"/>
                  </a:lnTo>
                  <a:lnTo>
                    <a:pt x="624" y="207"/>
                  </a:lnTo>
                  <a:lnTo>
                    <a:pt x="598" y="258"/>
                  </a:lnTo>
                  <a:lnTo>
                    <a:pt x="316" y="977"/>
                  </a:lnTo>
                  <a:lnTo>
                    <a:pt x="274" y="995"/>
                  </a:lnTo>
                  <a:lnTo>
                    <a:pt x="223" y="1013"/>
                  </a:lnTo>
                  <a:lnTo>
                    <a:pt x="172" y="1046"/>
                  </a:lnTo>
                  <a:lnTo>
                    <a:pt x="120" y="1090"/>
                  </a:lnTo>
                  <a:lnTo>
                    <a:pt x="77" y="1149"/>
                  </a:lnTo>
                  <a:lnTo>
                    <a:pt x="43" y="1210"/>
                  </a:lnTo>
                  <a:lnTo>
                    <a:pt x="18" y="1287"/>
                  </a:lnTo>
                  <a:lnTo>
                    <a:pt x="10" y="1356"/>
                  </a:lnTo>
                  <a:lnTo>
                    <a:pt x="6" y="1435"/>
                  </a:lnTo>
                  <a:lnTo>
                    <a:pt x="6" y="1435"/>
                  </a:lnTo>
                  <a:lnTo>
                    <a:pt x="4" y="1885"/>
                  </a:lnTo>
                  <a:lnTo>
                    <a:pt x="4" y="2069"/>
                  </a:lnTo>
                  <a:lnTo>
                    <a:pt x="2" y="2215"/>
                  </a:lnTo>
                  <a:lnTo>
                    <a:pt x="2" y="2215"/>
                  </a:lnTo>
                  <a:lnTo>
                    <a:pt x="0" y="2256"/>
                  </a:lnTo>
                  <a:lnTo>
                    <a:pt x="2" y="2296"/>
                  </a:lnTo>
                  <a:lnTo>
                    <a:pt x="6" y="2333"/>
                  </a:lnTo>
                  <a:lnTo>
                    <a:pt x="10" y="2371"/>
                  </a:lnTo>
                  <a:lnTo>
                    <a:pt x="16" y="2404"/>
                  </a:lnTo>
                  <a:lnTo>
                    <a:pt x="24" y="2436"/>
                  </a:lnTo>
                  <a:lnTo>
                    <a:pt x="32" y="2466"/>
                  </a:lnTo>
                  <a:lnTo>
                    <a:pt x="41" y="2495"/>
                  </a:lnTo>
                  <a:lnTo>
                    <a:pt x="53" y="2521"/>
                  </a:lnTo>
                  <a:lnTo>
                    <a:pt x="65" y="2547"/>
                  </a:lnTo>
                  <a:lnTo>
                    <a:pt x="79" y="2570"/>
                  </a:lnTo>
                  <a:lnTo>
                    <a:pt x="95" y="2592"/>
                  </a:lnTo>
                  <a:lnTo>
                    <a:pt x="111" y="2614"/>
                  </a:lnTo>
                  <a:lnTo>
                    <a:pt x="128" y="2632"/>
                  </a:lnTo>
                  <a:lnTo>
                    <a:pt x="146" y="2649"/>
                  </a:lnTo>
                  <a:lnTo>
                    <a:pt x="166" y="2665"/>
                  </a:lnTo>
                  <a:lnTo>
                    <a:pt x="223" y="2701"/>
                  </a:lnTo>
                  <a:lnTo>
                    <a:pt x="223" y="3167"/>
                  </a:lnTo>
                  <a:lnTo>
                    <a:pt x="223" y="3167"/>
                  </a:lnTo>
                  <a:lnTo>
                    <a:pt x="223" y="3186"/>
                  </a:lnTo>
                  <a:lnTo>
                    <a:pt x="227" y="3206"/>
                  </a:lnTo>
                  <a:lnTo>
                    <a:pt x="231" y="3226"/>
                  </a:lnTo>
                  <a:lnTo>
                    <a:pt x="239" y="3244"/>
                  </a:lnTo>
                  <a:lnTo>
                    <a:pt x="249" y="3261"/>
                  </a:lnTo>
                  <a:lnTo>
                    <a:pt x="259" y="3279"/>
                  </a:lnTo>
                  <a:lnTo>
                    <a:pt x="270" y="3293"/>
                  </a:lnTo>
                  <a:lnTo>
                    <a:pt x="284" y="3309"/>
                  </a:lnTo>
                  <a:lnTo>
                    <a:pt x="298" y="3321"/>
                  </a:lnTo>
                  <a:lnTo>
                    <a:pt x="314" y="3332"/>
                  </a:lnTo>
                  <a:lnTo>
                    <a:pt x="332" y="3342"/>
                  </a:lnTo>
                  <a:lnTo>
                    <a:pt x="349" y="3350"/>
                  </a:lnTo>
                  <a:lnTo>
                    <a:pt x="369" y="3358"/>
                  </a:lnTo>
                  <a:lnTo>
                    <a:pt x="389" y="3362"/>
                  </a:lnTo>
                  <a:lnTo>
                    <a:pt x="411" y="3366"/>
                  </a:lnTo>
                  <a:lnTo>
                    <a:pt x="430" y="3366"/>
                  </a:lnTo>
                  <a:lnTo>
                    <a:pt x="519" y="3366"/>
                  </a:lnTo>
                  <a:lnTo>
                    <a:pt x="519" y="3366"/>
                  </a:lnTo>
                  <a:lnTo>
                    <a:pt x="541" y="3366"/>
                  </a:lnTo>
                  <a:lnTo>
                    <a:pt x="563" y="3362"/>
                  </a:lnTo>
                  <a:lnTo>
                    <a:pt x="582" y="3358"/>
                  </a:lnTo>
                  <a:lnTo>
                    <a:pt x="600" y="3350"/>
                  </a:lnTo>
                  <a:lnTo>
                    <a:pt x="620" y="3342"/>
                  </a:lnTo>
                  <a:lnTo>
                    <a:pt x="636" y="3332"/>
                  </a:lnTo>
                  <a:lnTo>
                    <a:pt x="651" y="3321"/>
                  </a:lnTo>
                  <a:lnTo>
                    <a:pt x="667" y="3309"/>
                  </a:lnTo>
                  <a:lnTo>
                    <a:pt x="681" y="3293"/>
                  </a:lnTo>
                  <a:lnTo>
                    <a:pt x="693" y="3279"/>
                  </a:lnTo>
                  <a:lnTo>
                    <a:pt x="703" y="3261"/>
                  </a:lnTo>
                  <a:lnTo>
                    <a:pt x="713" y="3244"/>
                  </a:lnTo>
                  <a:lnTo>
                    <a:pt x="719" y="3226"/>
                  </a:lnTo>
                  <a:lnTo>
                    <a:pt x="725" y="3206"/>
                  </a:lnTo>
                  <a:lnTo>
                    <a:pt x="726" y="3186"/>
                  </a:lnTo>
                  <a:lnTo>
                    <a:pt x="728" y="3167"/>
                  </a:lnTo>
                  <a:lnTo>
                    <a:pt x="728" y="2776"/>
                  </a:lnTo>
                  <a:lnTo>
                    <a:pt x="1720" y="2776"/>
                  </a:lnTo>
                  <a:lnTo>
                    <a:pt x="2713" y="2776"/>
                  </a:lnTo>
                  <a:lnTo>
                    <a:pt x="2713" y="3167"/>
                  </a:lnTo>
                  <a:lnTo>
                    <a:pt x="2713" y="3167"/>
                  </a:lnTo>
                  <a:lnTo>
                    <a:pt x="2713" y="3186"/>
                  </a:lnTo>
                  <a:lnTo>
                    <a:pt x="2716" y="3206"/>
                  </a:lnTo>
                  <a:lnTo>
                    <a:pt x="2720" y="3226"/>
                  </a:lnTo>
                  <a:lnTo>
                    <a:pt x="2728" y="3244"/>
                  </a:lnTo>
                  <a:lnTo>
                    <a:pt x="2736" y="3261"/>
                  </a:lnTo>
                  <a:lnTo>
                    <a:pt x="2748" y="3279"/>
                  </a:lnTo>
                  <a:lnTo>
                    <a:pt x="2760" y="3293"/>
                  </a:lnTo>
                  <a:lnTo>
                    <a:pt x="2774" y="3309"/>
                  </a:lnTo>
                  <a:lnTo>
                    <a:pt x="2788" y="3321"/>
                  </a:lnTo>
                  <a:lnTo>
                    <a:pt x="2803" y="3332"/>
                  </a:lnTo>
                  <a:lnTo>
                    <a:pt x="2821" y="3342"/>
                  </a:lnTo>
                  <a:lnTo>
                    <a:pt x="2839" y="3350"/>
                  </a:lnTo>
                  <a:lnTo>
                    <a:pt x="2859" y="3358"/>
                  </a:lnTo>
                  <a:lnTo>
                    <a:pt x="2878" y="3362"/>
                  </a:lnTo>
                  <a:lnTo>
                    <a:pt x="2900" y="3366"/>
                  </a:lnTo>
                  <a:lnTo>
                    <a:pt x="2920" y="3366"/>
                  </a:lnTo>
                  <a:lnTo>
                    <a:pt x="3009" y="3366"/>
                  </a:lnTo>
                  <a:lnTo>
                    <a:pt x="3009" y="3366"/>
                  </a:lnTo>
                  <a:lnTo>
                    <a:pt x="3030" y="3366"/>
                  </a:lnTo>
                  <a:lnTo>
                    <a:pt x="3052" y="3362"/>
                  </a:lnTo>
                  <a:lnTo>
                    <a:pt x="3072" y="3358"/>
                  </a:lnTo>
                  <a:lnTo>
                    <a:pt x="3090" y="3350"/>
                  </a:lnTo>
                  <a:lnTo>
                    <a:pt x="3109" y="3342"/>
                  </a:lnTo>
                  <a:lnTo>
                    <a:pt x="3125" y="3332"/>
                  </a:lnTo>
                  <a:lnTo>
                    <a:pt x="3141" y="3321"/>
                  </a:lnTo>
                  <a:lnTo>
                    <a:pt x="3157" y="3309"/>
                  </a:lnTo>
                  <a:lnTo>
                    <a:pt x="3171" y="3293"/>
                  </a:lnTo>
                  <a:lnTo>
                    <a:pt x="3182" y="3279"/>
                  </a:lnTo>
                  <a:lnTo>
                    <a:pt x="3192" y="3261"/>
                  </a:lnTo>
                  <a:lnTo>
                    <a:pt x="3202" y="3244"/>
                  </a:lnTo>
                  <a:lnTo>
                    <a:pt x="3208" y="3226"/>
                  </a:lnTo>
                  <a:lnTo>
                    <a:pt x="3214" y="3206"/>
                  </a:lnTo>
                  <a:lnTo>
                    <a:pt x="3216" y="3186"/>
                  </a:lnTo>
                  <a:lnTo>
                    <a:pt x="3218" y="3167"/>
                  </a:lnTo>
                  <a:lnTo>
                    <a:pt x="3218" y="2701"/>
                  </a:lnTo>
                  <a:lnTo>
                    <a:pt x="3275" y="2665"/>
                  </a:lnTo>
                  <a:lnTo>
                    <a:pt x="3275" y="2665"/>
                  </a:lnTo>
                  <a:lnTo>
                    <a:pt x="3295" y="2649"/>
                  </a:lnTo>
                  <a:lnTo>
                    <a:pt x="3313" y="2632"/>
                  </a:lnTo>
                  <a:lnTo>
                    <a:pt x="3330" y="2614"/>
                  </a:lnTo>
                  <a:lnTo>
                    <a:pt x="3346" y="2592"/>
                  </a:lnTo>
                  <a:lnTo>
                    <a:pt x="3360" y="2570"/>
                  </a:lnTo>
                  <a:lnTo>
                    <a:pt x="3374" y="2547"/>
                  </a:lnTo>
                  <a:lnTo>
                    <a:pt x="3388" y="2521"/>
                  </a:lnTo>
                  <a:lnTo>
                    <a:pt x="3398" y="2495"/>
                  </a:lnTo>
                  <a:lnTo>
                    <a:pt x="3407" y="2466"/>
                  </a:lnTo>
                  <a:lnTo>
                    <a:pt x="3417" y="2436"/>
                  </a:lnTo>
                  <a:lnTo>
                    <a:pt x="3425" y="2404"/>
                  </a:lnTo>
                  <a:lnTo>
                    <a:pt x="3431" y="2371"/>
                  </a:lnTo>
                  <a:lnTo>
                    <a:pt x="3435" y="2333"/>
                  </a:lnTo>
                  <a:lnTo>
                    <a:pt x="3437" y="2296"/>
                  </a:lnTo>
                  <a:lnTo>
                    <a:pt x="3439" y="2256"/>
                  </a:lnTo>
                  <a:lnTo>
                    <a:pt x="3439" y="2215"/>
                  </a:lnTo>
                  <a:lnTo>
                    <a:pt x="3439" y="2215"/>
                  </a:lnTo>
                  <a:close/>
                  <a:moveTo>
                    <a:pt x="472" y="2164"/>
                  </a:moveTo>
                  <a:lnTo>
                    <a:pt x="472" y="2164"/>
                  </a:lnTo>
                  <a:lnTo>
                    <a:pt x="448" y="2162"/>
                  </a:lnTo>
                  <a:lnTo>
                    <a:pt x="424" y="2158"/>
                  </a:lnTo>
                  <a:lnTo>
                    <a:pt x="401" y="2154"/>
                  </a:lnTo>
                  <a:lnTo>
                    <a:pt x="379" y="2146"/>
                  </a:lnTo>
                  <a:lnTo>
                    <a:pt x="357" y="2136"/>
                  </a:lnTo>
                  <a:lnTo>
                    <a:pt x="338" y="2124"/>
                  </a:lnTo>
                  <a:lnTo>
                    <a:pt x="320" y="2110"/>
                  </a:lnTo>
                  <a:lnTo>
                    <a:pt x="302" y="2096"/>
                  </a:lnTo>
                  <a:lnTo>
                    <a:pt x="286" y="2079"/>
                  </a:lnTo>
                  <a:lnTo>
                    <a:pt x="272" y="2061"/>
                  </a:lnTo>
                  <a:lnTo>
                    <a:pt x="261" y="2043"/>
                  </a:lnTo>
                  <a:lnTo>
                    <a:pt x="251" y="2021"/>
                  </a:lnTo>
                  <a:lnTo>
                    <a:pt x="243" y="2002"/>
                  </a:lnTo>
                  <a:lnTo>
                    <a:pt x="237" y="1978"/>
                  </a:lnTo>
                  <a:lnTo>
                    <a:pt x="233" y="1956"/>
                  </a:lnTo>
                  <a:lnTo>
                    <a:pt x="233" y="1933"/>
                  </a:lnTo>
                  <a:lnTo>
                    <a:pt x="233" y="1933"/>
                  </a:lnTo>
                  <a:lnTo>
                    <a:pt x="233" y="1909"/>
                  </a:lnTo>
                  <a:lnTo>
                    <a:pt x="237" y="1885"/>
                  </a:lnTo>
                  <a:lnTo>
                    <a:pt x="243" y="1863"/>
                  </a:lnTo>
                  <a:lnTo>
                    <a:pt x="251" y="1842"/>
                  </a:lnTo>
                  <a:lnTo>
                    <a:pt x="261" y="1822"/>
                  </a:lnTo>
                  <a:lnTo>
                    <a:pt x="272" y="1802"/>
                  </a:lnTo>
                  <a:lnTo>
                    <a:pt x="286" y="1785"/>
                  </a:lnTo>
                  <a:lnTo>
                    <a:pt x="302" y="1769"/>
                  </a:lnTo>
                  <a:lnTo>
                    <a:pt x="320" y="1755"/>
                  </a:lnTo>
                  <a:lnTo>
                    <a:pt x="338" y="1741"/>
                  </a:lnTo>
                  <a:lnTo>
                    <a:pt x="357" y="1729"/>
                  </a:lnTo>
                  <a:lnTo>
                    <a:pt x="379" y="1719"/>
                  </a:lnTo>
                  <a:lnTo>
                    <a:pt x="401" y="1711"/>
                  </a:lnTo>
                  <a:lnTo>
                    <a:pt x="424" y="1706"/>
                  </a:lnTo>
                  <a:lnTo>
                    <a:pt x="448" y="1704"/>
                  </a:lnTo>
                  <a:lnTo>
                    <a:pt x="472" y="1702"/>
                  </a:lnTo>
                  <a:lnTo>
                    <a:pt x="472" y="1702"/>
                  </a:lnTo>
                  <a:lnTo>
                    <a:pt x="497" y="1704"/>
                  </a:lnTo>
                  <a:lnTo>
                    <a:pt x="521" y="1706"/>
                  </a:lnTo>
                  <a:lnTo>
                    <a:pt x="543" y="1711"/>
                  </a:lnTo>
                  <a:lnTo>
                    <a:pt x="565" y="1719"/>
                  </a:lnTo>
                  <a:lnTo>
                    <a:pt x="586" y="1729"/>
                  </a:lnTo>
                  <a:lnTo>
                    <a:pt x="606" y="1741"/>
                  </a:lnTo>
                  <a:lnTo>
                    <a:pt x="624" y="1755"/>
                  </a:lnTo>
                  <a:lnTo>
                    <a:pt x="642" y="1769"/>
                  </a:lnTo>
                  <a:lnTo>
                    <a:pt x="657" y="1785"/>
                  </a:lnTo>
                  <a:lnTo>
                    <a:pt x="671" y="1802"/>
                  </a:lnTo>
                  <a:lnTo>
                    <a:pt x="683" y="1822"/>
                  </a:lnTo>
                  <a:lnTo>
                    <a:pt x="693" y="1842"/>
                  </a:lnTo>
                  <a:lnTo>
                    <a:pt x="701" y="1863"/>
                  </a:lnTo>
                  <a:lnTo>
                    <a:pt x="707" y="1885"/>
                  </a:lnTo>
                  <a:lnTo>
                    <a:pt x="711" y="1909"/>
                  </a:lnTo>
                  <a:lnTo>
                    <a:pt x="713" y="1933"/>
                  </a:lnTo>
                  <a:lnTo>
                    <a:pt x="713" y="1933"/>
                  </a:lnTo>
                  <a:lnTo>
                    <a:pt x="711" y="1956"/>
                  </a:lnTo>
                  <a:lnTo>
                    <a:pt x="707" y="1978"/>
                  </a:lnTo>
                  <a:lnTo>
                    <a:pt x="701" y="2002"/>
                  </a:lnTo>
                  <a:lnTo>
                    <a:pt x="693" y="2021"/>
                  </a:lnTo>
                  <a:lnTo>
                    <a:pt x="683" y="2043"/>
                  </a:lnTo>
                  <a:lnTo>
                    <a:pt x="671" y="2061"/>
                  </a:lnTo>
                  <a:lnTo>
                    <a:pt x="657" y="2079"/>
                  </a:lnTo>
                  <a:lnTo>
                    <a:pt x="642" y="2096"/>
                  </a:lnTo>
                  <a:lnTo>
                    <a:pt x="624" y="2110"/>
                  </a:lnTo>
                  <a:lnTo>
                    <a:pt x="606" y="2124"/>
                  </a:lnTo>
                  <a:lnTo>
                    <a:pt x="586" y="2136"/>
                  </a:lnTo>
                  <a:lnTo>
                    <a:pt x="565" y="2146"/>
                  </a:lnTo>
                  <a:lnTo>
                    <a:pt x="543" y="2154"/>
                  </a:lnTo>
                  <a:lnTo>
                    <a:pt x="521" y="2158"/>
                  </a:lnTo>
                  <a:lnTo>
                    <a:pt x="497" y="2162"/>
                  </a:lnTo>
                  <a:lnTo>
                    <a:pt x="472" y="2164"/>
                  </a:lnTo>
                  <a:lnTo>
                    <a:pt x="472" y="2164"/>
                  </a:lnTo>
                  <a:close/>
                  <a:moveTo>
                    <a:pt x="2357" y="2096"/>
                  </a:moveTo>
                  <a:lnTo>
                    <a:pt x="2357" y="2096"/>
                  </a:lnTo>
                  <a:lnTo>
                    <a:pt x="2355" y="2112"/>
                  </a:lnTo>
                  <a:lnTo>
                    <a:pt x="2351" y="2124"/>
                  </a:lnTo>
                  <a:lnTo>
                    <a:pt x="2343" y="2136"/>
                  </a:lnTo>
                  <a:lnTo>
                    <a:pt x="2335" y="2148"/>
                  </a:lnTo>
                  <a:lnTo>
                    <a:pt x="2324" y="2156"/>
                  </a:lnTo>
                  <a:lnTo>
                    <a:pt x="2312" y="2162"/>
                  </a:lnTo>
                  <a:lnTo>
                    <a:pt x="2298" y="2166"/>
                  </a:lnTo>
                  <a:lnTo>
                    <a:pt x="2282" y="2168"/>
                  </a:lnTo>
                  <a:lnTo>
                    <a:pt x="1720" y="2168"/>
                  </a:lnTo>
                  <a:lnTo>
                    <a:pt x="1157" y="2168"/>
                  </a:lnTo>
                  <a:lnTo>
                    <a:pt x="1157" y="2168"/>
                  </a:lnTo>
                  <a:lnTo>
                    <a:pt x="1143" y="2166"/>
                  </a:lnTo>
                  <a:lnTo>
                    <a:pt x="1129" y="2162"/>
                  </a:lnTo>
                  <a:lnTo>
                    <a:pt x="1115" y="2156"/>
                  </a:lnTo>
                  <a:lnTo>
                    <a:pt x="1106" y="2148"/>
                  </a:lnTo>
                  <a:lnTo>
                    <a:pt x="1096" y="2136"/>
                  </a:lnTo>
                  <a:lnTo>
                    <a:pt x="1090" y="2124"/>
                  </a:lnTo>
                  <a:lnTo>
                    <a:pt x="1086" y="2112"/>
                  </a:lnTo>
                  <a:lnTo>
                    <a:pt x="1084" y="2096"/>
                  </a:lnTo>
                  <a:lnTo>
                    <a:pt x="1084" y="2067"/>
                  </a:lnTo>
                  <a:lnTo>
                    <a:pt x="1084" y="2067"/>
                  </a:lnTo>
                  <a:lnTo>
                    <a:pt x="1086" y="2053"/>
                  </a:lnTo>
                  <a:lnTo>
                    <a:pt x="1090" y="2039"/>
                  </a:lnTo>
                  <a:lnTo>
                    <a:pt x="1096" y="2027"/>
                  </a:lnTo>
                  <a:lnTo>
                    <a:pt x="1106" y="2017"/>
                  </a:lnTo>
                  <a:lnTo>
                    <a:pt x="1115" y="2010"/>
                  </a:lnTo>
                  <a:lnTo>
                    <a:pt x="1129" y="2002"/>
                  </a:lnTo>
                  <a:lnTo>
                    <a:pt x="1143" y="1998"/>
                  </a:lnTo>
                  <a:lnTo>
                    <a:pt x="1157" y="1996"/>
                  </a:lnTo>
                  <a:lnTo>
                    <a:pt x="1720" y="1996"/>
                  </a:lnTo>
                  <a:lnTo>
                    <a:pt x="2282" y="1996"/>
                  </a:lnTo>
                  <a:lnTo>
                    <a:pt x="2282" y="1996"/>
                  </a:lnTo>
                  <a:lnTo>
                    <a:pt x="2298" y="1998"/>
                  </a:lnTo>
                  <a:lnTo>
                    <a:pt x="2312" y="2002"/>
                  </a:lnTo>
                  <a:lnTo>
                    <a:pt x="2324" y="2010"/>
                  </a:lnTo>
                  <a:lnTo>
                    <a:pt x="2335" y="2017"/>
                  </a:lnTo>
                  <a:lnTo>
                    <a:pt x="2343" y="2027"/>
                  </a:lnTo>
                  <a:lnTo>
                    <a:pt x="2351" y="2039"/>
                  </a:lnTo>
                  <a:lnTo>
                    <a:pt x="2355" y="2053"/>
                  </a:lnTo>
                  <a:lnTo>
                    <a:pt x="2357" y="2067"/>
                  </a:lnTo>
                  <a:lnTo>
                    <a:pt x="2357" y="2096"/>
                  </a:lnTo>
                  <a:close/>
                  <a:moveTo>
                    <a:pt x="2357" y="1802"/>
                  </a:moveTo>
                  <a:lnTo>
                    <a:pt x="2357" y="1802"/>
                  </a:lnTo>
                  <a:lnTo>
                    <a:pt x="2355" y="1816"/>
                  </a:lnTo>
                  <a:lnTo>
                    <a:pt x="2351" y="1830"/>
                  </a:lnTo>
                  <a:lnTo>
                    <a:pt x="2343" y="1842"/>
                  </a:lnTo>
                  <a:lnTo>
                    <a:pt x="2335" y="1852"/>
                  </a:lnTo>
                  <a:lnTo>
                    <a:pt x="2324" y="1860"/>
                  </a:lnTo>
                  <a:lnTo>
                    <a:pt x="2312" y="1867"/>
                  </a:lnTo>
                  <a:lnTo>
                    <a:pt x="2298" y="1871"/>
                  </a:lnTo>
                  <a:lnTo>
                    <a:pt x="2282" y="1873"/>
                  </a:lnTo>
                  <a:lnTo>
                    <a:pt x="1720" y="1873"/>
                  </a:lnTo>
                  <a:lnTo>
                    <a:pt x="1157" y="1873"/>
                  </a:lnTo>
                  <a:lnTo>
                    <a:pt x="1157" y="1873"/>
                  </a:lnTo>
                  <a:lnTo>
                    <a:pt x="1143" y="1871"/>
                  </a:lnTo>
                  <a:lnTo>
                    <a:pt x="1129" y="1867"/>
                  </a:lnTo>
                  <a:lnTo>
                    <a:pt x="1115" y="1860"/>
                  </a:lnTo>
                  <a:lnTo>
                    <a:pt x="1106" y="1852"/>
                  </a:lnTo>
                  <a:lnTo>
                    <a:pt x="1096" y="1842"/>
                  </a:lnTo>
                  <a:lnTo>
                    <a:pt x="1090" y="1830"/>
                  </a:lnTo>
                  <a:lnTo>
                    <a:pt x="1086" y="1816"/>
                  </a:lnTo>
                  <a:lnTo>
                    <a:pt x="1084" y="1802"/>
                  </a:lnTo>
                  <a:lnTo>
                    <a:pt x="1084" y="1773"/>
                  </a:lnTo>
                  <a:lnTo>
                    <a:pt x="1084" y="1773"/>
                  </a:lnTo>
                  <a:lnTo>
                    <a:pt x="1086" y="1757"/>
                  </a:lnTo>
                  <a:lnTo>
                    <a:pt x="1090" y="1745"/>
                  </a:lnTo>
                  <a:lnTo>
                    <a:pt x="1096" y="1733"/>
                  </a:lnTo>
                  <a:lnTo>
                    <a:pt x="1106" y="1721"/>
                  </a:lnTo>
                  <a:lnTo>
                    <a:pt x="1115" y="1713"/>
                  </a:lnTo>
                  <a:lnTo>
                    <a:pt x="1129" y="1707"/>
                  </a:lnTo>
                  <a:lnTo>
                    <a:pt x="1143" y="1704"/>
                  </a:lnTo>
                  <a:lnTo>
                    <a:pt x="1157" y="1702"/>
                  </a:lnTo>
                  <a:lnTo>
                    <a:pt x="1720" y="1702"/>
                  </a:lnTo>
                  <a:lnTo>
                    <a:pt x="2282" y="1702"/>
                  </a:lnTo>
                  <a:lnTo>
                    <a:pt x="2282" y="1702"/>
                  </a:lnTo>
                  <a:lnTo>
                    <a:pt x="2298" y="1704"/>
                  </a:lnTo>
                  <a:lnTo>
                    <a:pt x="2312" y="1707"/>
                  </a:lnTo>
                  <a:lnTo>
                    <a:pt x="2324" y="1713"/>
                  </a:lnTo>
                  <a:lnTo>
                    <a:pt x="2335" y="1721"/>
                  </a:lnTo>
                  <a:lnTo>
                    <a:pt x="2343" y="1733"/>
                  </a:lnTo>
                  <a:lnTo>
                    <a:pt x="2351" y="1745"/>
                  </a:lnTo>
                  <a:lnTo>
                    <a:pt x="2355" y="1757"/>
                  </a:lnTo>
                  <a:lnTo>
                    <a:pt x="2357" y="1773"/>
                  </a:lnTo>
                  <a:lnTo>
                    <a:pt x="2357" y="1802"/>
                  </a:lnTo>
                  <a:close/>
                  <a:moveTo>
                    <a:pt x="1720" y="977"/>
                  </a:moveTo>
                  <a:lnTo>
                    <a:pt x="608" y="977"/>
                  </a:lnTo>
                  <a:lnTo>
                    <a:pt x="821" y="402"/>
                  </a:lnTo>
                  <a:lnTo>
                    <a:pt x="847" y="343"/>
                  </a:lnTo>
                  <a:lnTo>
                    <a:pt x="873" y="300"/>
                  </a:lnTo>
                  <a:lnTo>
                    <a:pt x="898" y="284"/>
                  </a:lnTo>
                  <a:lnTo>
                    <a:pt x="916" y="274"/>
                  </a:lnTo>
                  <a:lnTo>
                    <a:pt x="950" y="266"/>
                  </a:lnTo>
                  <a:lnTo>
                    <a:pt x="975" y="266"/>
                  </a:lnTo>
                  <a:lnTo>
                    <a:pt x="1720" y="266"/>
                  </a:lnTo>
                  <a:lnTo>
                    <a:pt x="2464" y="266"/>
                  </a:lnTo>
                  <a:lnTo>
                    <a:pt x="2489" y="266"/>
                  </a:lnTo>
                  <a:lnTo>
                    <a:pt x="2525" y="274"/>
                  </a:lnTo>
                  <a:lnTo>
                    <a:pt x="2541" y="284"/>
                  </a:lnTo>
                  <a:lnTo>
                    <a:pt x="2568" y="300"/>
                  </a:lnTo>
                  <a:lnTo>
                    <a:pt x="2594" y="343"/>
                  </a:lnTo>
                  <a:lnTo>
                    <a:pt x="2620" y="402"/>
                  </a:lnTo>
                  <a:lnTo>
                    <a:pt x="2833" y="977"/>
                  </a:lnTo>
                  <a:lnTo>
                    <a:pt x="1720" y="977"/>
                  </a:lnTo>
                  <a:close/>
                  <a:moveTo>
                    <a:pt x="2969" y="2164"/>
                  </a:moveTo>
                  <a:lnTo>
                    <a:pt x="2969" y="2164"/>
                  </a:lnTo>
                  <a:lnTo>
                    <a:pt x="2943" y="2162"/>
                  </a:lnTo>
                  <a:lnTo>
                    <a:pt x="2920" y="2158"/>
                  </a:lnTo>
                  <a:lnTo>
                    <a:pt x="2896" y="2154"/>
                  </a:lnTo>
                  <a:lnTo>
                    <a:pt x="2874" y="2146"/>
                  </a:lnTo>
                  <a:lnTo>
                    <a:pt x="2855" y="2136"/>
                  </a:lnTo>
                  <a:lnTo>
                    <a:pt x="2835" y="2124"/>
                  </a:lnTo>
                  <a:lnTo>
                    <a:pt x="2815" y="2110"/>
                  </a:lnTo>
                  <a:lnTo>
                    <a:pt x="2799" y="2096"/>
                  </a:lnTo>
                  <a:lnTo>
                    <a:pt x="2784" y="2079"/>
                  </a:lnTo>
                  <a:lnTo>
                    <a:pt x="2770" y="2061"/>
                  </a:lnTo>
                  <a:lnTo>
                    <a:pt x="2758" y="2043"/>
                  </a:lnTo>
                  <a:lnTo>
                    <a:pt x="2748" y="2021"/>
                  </a:lnTo>
                  <a:lnTo>
                    <a:pt x="2738" y="2002"/>
                  </a:lnTo>
                  <a:lnTo>
                    <a:pt x="2732" y="1978"/>
                  </a:lnTo>
                  <a:lnTo>
                    <a:pt x="2730" y="1956"/>
                  </a:lnTo>
                  <a:lnTo>
                    <a:pt x="2728" y="1933"/>
                  </a:lnTo>
                  <a:lnTo>
                    <a:pt x="2728" y="1933"/>
                  </a:lnTo>
                  <a:lnTo>
                    <a:pt x="2730" y="1909"/>
                  </a:lnTo>
                  <a:lnTo>
                    <a:pt x="2732" y="1885"/>
                  </a:lnTo>
                  <a:lnTo>
                    <a:pt x="2738" y="1863"/>
                  </a:lnTo>
                  <a:lnTo>
                    <a:pt x="2748" y="1842"/>
                  </a:lnTo>
                  <a:lnTo>
                    <a:pt x="2758" y="1822"/>
                  </a:lnTo>
                  <a:lnTo>
                    <a:pt x="2770" y="1802"/>
                  </a:lnTo>
                  <a:lnTo>
                    <a:pt x="2784" y="1785"/>
                  </a:lnTo>
                  <a:lnTo>
                    <a:pt x="2799" y="1769"/>
                  </a:lnTo>
                  <a:lnTo>
                    <a:pt x="2815" y="1755"/>
                  </a:lnTo>
                  <a:lnTo>
                    <a:pt x="2835" y="1741"/>
                  </a:lnTo>
                  <a:lnTo>
                    <a:pt x="2855" y="1729"/>
                  </a:lnTo>
                  <a:lnTo>
                    <a:pt x="2874" y="1719"/>
                  </a:lnTo>
                  <a:lnTo>
                    <a:pt x="2896" y="1711"/>
                  </a:lnTo>
                  <a:lnTo>
                    <a:pt x="2920" y="1706"/>
                  </a:lnTo>
                  <a:lnTo>
                    <a:pt x="2943" y="1704"/>
                  </a:lnTo>
                  <a:lnTo>
                    <a:pt x="2969" y="1702"/>
                  </a:lnTo>
                  <a:lnTo>
                    <a:pt x="2969" y="1702"/>
                  </a:lnTo>
                  <a:lnTo>
                    <a:pt x="2993" y="1704"/>
                  </a:lnTo>
                  <a:lnTo>
                    <a:pt x="3017" y="1706"/>
                  </a:lnTo>
                  <a:lnTo>
                    <a:pt x="3040" y="1711"/>
                  </a:lnTo>
                  <a:lnTo>
                    <a:pt x="3062" y="1719"/>
                  </a:lnTo>
                  <a:lnTo>
                    <a:pt x="3084" y="1729"/>
                  </a:lnTo>
                  <a:lnTo>
                    <a:pt x="3103" y="1741"/>
                  </a:lnTo>
                  <a:lnTo>
                    <a:pt x="3121" y="1755"/>
                  </a:lnTo>
                  <a:lnTo>
                    <a:pt x="3139" y="1769"/>
                  </a:lnTo>
                  <a:lnTo>
                    <a:pt x="3153" y="1785"/>
                  </a:lnTo>
                  <a:lnTo>
                    <a:pt x="3167" y="1802"/>
                  </a:lnTo>
                  <a:lnTo>
                    <a:pt x="3178" y="1822"/>
                  </a:lnTo>
                  <a:lnTo>
                    <a:pt x="3190" y="1842"/>
                  </a:lnTo>
                  <a:lnTo>
                    <a:pt x="3198" y="1863"/>
                  </a:lnTo>
                  <a:lnTo>
                    <a:pt x="3204" y="1885"/>
                  </a:lnTo>
                  <a:lnTo>
                    <a:pt x="3208" y="1909"/>
                  </a:lnTo>
                  <a:lnTo>
                    <a:pt x="3208" y="1933"/>
                  </a:lnTo>
                  <a:lnTo>
                    <a:pt x="3208" y="1933"/>
                  </a:lnTo>
                  <a:lnTo>
                    <a:pt x="3208" y="1956"/>
                  </a:lnTo>
                  <a:lnTo>
                    <a:pt x="3204" y="1978"/>
                  </a:lnTo>
                  <a:lnTo>
                    <a:pt x="3198" y="2002"/>
                  </a:lnTo>
                  <a:lnTo>
                    <a:pt x="3190" y="2021"/>
                  </a:lnTo>
                  <a:lnTo>
                    <a:pt x="3178" y="2043"/>
                  </a:lnTo>
                  <a:lnTo>
                    <a:pt x="3167" y="2061"/>
                  </a:lnTo>
                  <a:lnTo>
                    <a:pt x="3153" y="2079"/>
                  </a:lnTo>
                  <a:lnTo>
                    <a:pt x="3139" y="2096"/>
                  </a:lnTo>
                  <a:lnTo>
                    <a:pt x="3121" y="2110"/>
                  </a:lnTo>
                  <a:lnTo>
                    <a:pt x="3103" y="2124"/>
                  </a:lnTo>
                  <a:lnTo>
                    <a:pt x="3084" y="2136"/>
                  </a:lnTo>
                  <a:lnTo>
                    <a:pt x="3062" y="2146"/>
                  </a:lnTo>
                  <a:lnTo>
                    <a:pt x="3040" y="2154"/>
                  </a:lnTo>
                  <a:lnTo>
                    <a:pt x="3017" y="2158"/>
                  </a:lnTo>
                  <a:lnTo>
                    <a:pt x="2993" y="2162"/>
                  </a:lnTo>
                  <a:lnTo>
                    <a:pt x="2969" y="2164"/>
                  </a:lnTo>
                  <a:lnTo>
                    <a:pt x="2969" y="2164"/>
                  </a:lnTo>
                  <a:close/>
                </a:path>
              </a:pathLst>
            </a:custGeom>
            <a:solidFill>
              <a:schemeClr val="accent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256" name="Group 1255"/>
          <p:cNvGrpSpPr/>
          <p:nvPr/>
        </p:nvGrpSpPr>
        <p:grpSpPr>
          <a:xfrm>
            <a:off x="4448720" y="2465352"/>
            <a:ext cx="59714" cy="98745"/>
            <a:chOff x="1431982" y="3952664"/>
            <a:chExt cx="235376" cy="389231"/>
          </a:xfrm>
        </p:grpSpPr>
        <p:sp>
          <p:nvSpPr>
            <p:cNvPr id="1257" name="Oval 1256"/>
            <p:cNvSpPr/>
            <p:nvPr/>
          </p:nvSpPr>
          <p:spPr bwMode="auto">
            <a:xfrm>
              <a:off x="1455850" y="3982329"/>
              <a:ext cx="180319" cy="18031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58" name="Freeform 224"/>
            <p:cNvSpPr>
              <a:spLocks/>
            </p:cNvSpPr>
            <p:nvPr/>
          </p:nvSpPr>
          <p:spPr bwMode="auto">
            <a:xfrm>
              <a:off x="1431982" y="3952664"/>
              <a:ext cx="235376" cy="389231"/>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3"/>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265" name="Freeform 30"/>
          <p:cNvSpPr>
            <a:spLocks/>
          </p:cNvSpPr>
          <p:nvPr/>
        </p:nvSpPr>
        <p:spPr bwMode="auto">
          <a:xfrm flipH="1">
            <a:off x="1625369" y="1920796"/>
            <a:ext cx="1403375" cy="185844"/>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chemeClr val="accent6">
              <a:lumMod val="75000"/>
              <a:alpha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67" name="Freeform 30"/>
          <p:cNvSpPr>
            <a:spLocks/>
          </p:cNvSpPr>
          <p:nvPr/>
        </p:nvSpPr>
        <p:spPr bwMode="auto">
          <a:xfrm flipH="1">
            <a:off x="228805" y="1928240"/>
            <a:ext cx="1403375" cy="165638"/>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chemeClr val="accent6">
              <a:lumMod val="75000"/>
              <a:alpha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3" name="Rectangle 14"/>
          <p:cNvSpPr>
            <a:spLocks noChangeArrowheads="1"/>
          </p:cNvSpPr>
          <p:nvPr/>
        </p:nvSpPr>
        <p:spPr bwMode="auto">
          <a:xfrm>
            <a:off x="1287637" y="1755487"/>
            <a:ext cx="196048" cy="84100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4" name="Rectangle 15"/>
          <p:cNvSpPr>
            <a:spLocks noChangeArrowheads="1"/>
          </p:cNvSpPr>
          <p:nvPr/>
        </p:nvSpPr>
        <p:spPr bwMode="auto">
          <a:xfrm>
            <a:off x="1349748" y="1755487"/>
            <a:ext cx="72736" cy="841009"/>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509" name="Group 508"/>
          <p:cNvGrpSpPr/>
          <p:nvPr/>
        </p:nvGrpSpPr>
        <p:grpSpPr>
          <a:xfrm>
            <a:off x="1197003" y="1371603"/>
            <a:ext cx="378227" cy="370966"/>
            <a:chOff x="1361678" y="1324099"/>
            <a:chExt cx="378227" cy="370966"/>
          </a:xfrm>
        </p:grpSpPr>
        <p:sp>
          <p:nvSpPr>
            <p:cNvPr id="1405" name="Freeform 16"/>
            <p:cNvSpPr>
              <a:spLocks/>
            </p:cNvSpPr>
            <p:nvPr/>
          </p:nvSpPr>
          <p:spPr bwMode="auto">
            <a:xfrm>
              <a:off x="1361678" y="1522304"/>
              <a:ext cx="378227" cy="172761"/>
            </a:xfrm>
            <a:custGeom>
              <a:avLst/>
              <a:gdLst>
                <a:gd name="T0" fmla="*/ 735 w 830"/>
                <a:gd name="T1" fmla="*/ 527 h 527"/>
                <a:gd name="T2" fmla="*/ 95 w 830"/>
                <a:gd name="T3" fmla="*/ 527 h 527"/>
                <a:gd name="T4" fmla="*/ 0 w 830"/>
                <a:gd name="T5" fmla="*/ 0 h 527"/>
                <a:gd name="T6" fmla="*/ 830 w 830"/>
                <a:gd name="T7" fmla="*/ 0 h 527"/>
                <a:gd name="T8" fmla="*/ 735 w 830"/>
                <a:gd name="T9" fmla="*/ 527 h 527"/>
              </a:gdLst>
              <a:ahLst/>
              <a:cxnLst>
                <a:cxn ang="0">
                  <a:pos x="T0" y="T1"/>
                </a:cxn>
                <a:cxn ang="0">
                  <a:pos x="T2" y="T3"/>
                </a:cxn>
                <a:cxn ang="0">
                  <a:pos x="T4" y="T5"/>
                </a:cxn>
                <a:cxn ang="0">
                  <a:pos x="T6" y="T7"/>
                </a:cxn>
                <a:cxn ang="0">
                  <a:pos x="T8" y="T9"/>
                </a:cxn>
              </a:cxnLst>
              <a:rect l="0" t="0" r="r" b="b"/>
              <a:pathLst>
                <a:path w="830" h="527">
                  <a:moveTo>
                    <a:pt x="735" y="527"/>
                  </a:moveTo>
                  <a:lnTo>
                    <a:pt x="95" y="527"/>
                  </a:lnTo>
                  <a:lnTo>
                    <a:pt x="0" y="0"/>
                  </a:lnTo>
                  <a:lnTo>
                    <a:pt x="830" y="0"/>
                  </a:lnTo>
                  <a:lnTo>
                    <a:pt x="735" y="527"/>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6" name="Freeform 17"/>
            <p:cNvSpPr>
              <a:spLocks/>
            </p:cNvSpPr>
            <p:nvPr/>
          </p:nvSpPr>
          <p:spPr bwMode="auto">
            <a:xfrm>
              <a:off x="1361678" y="1324099"/>
              <a:ext cx="378227" cy="99102"/>
            </a:xfrm>
            <a:custGeom>
              <a:avLst/>
              <a:gdLst>
                <a:gd name="T0" fmla="*/ 798 w 830"/>
                <a:gd name="T1" fmla="*/ 218 h 218"/>
                <a:gd name="T2" fmla="*/ 32 w 830"/>
                <a:gd name="T3" fmla="*/ 218 h 218"/>
                <a:gd name="T4" fmla="*/ 0 w 830"/>
                <a:gd name="T5" fmla="*/ 0 h 218"/>
                <a:gd name="T6" fmla="*/ 830 w 830"/>
                <a:gd name="T7" fmla="*/ 0 h 218"/>
                <a:gd name="T8" fmla="*/ 798 w 830"/>
                <a:gd name="T9" fmla="*/ 218 h 218"/>
              </a:gdLst>
              <a:ahLst/>
              <a:cxnLst>
                <a:cxn ang="0">
                  <a:pos x="T0" y="T1"/>
                </a:cxn>
                <a:cxn ang="0">
                  <a:pos x="T2" y="T3"/>
                </a:cxn>
                <a:cxn ang="0">
                  <a:pos x="T4" y="T5"/>
                </a:cxn>
                <a:cxn ang="0">
                  <a:pos x="T6" y="T7"/>
                </a:cxn>
                <a:cxn ang="0">
                  <a:pos x="T8" y="T9"/>
                </a:cxn>
              </a:cxnLst>
              <a:rect l="0" t="0" r="r" b="b"/>
              <a:pathLst>
                <a:path w="830" h="218">
                  <a:moveTo>
                    <a:pt x="798" y="218"/>
                  </a:moveTo>
                  <a:lnTo>
                    <a:pt x="32" y="218"/>
                  </a:lnTo>
                  <a:lnTo>
                    <a:pt x="0" y="0"/>
                  </a:lnTo>
                  <a:lnTo>
                    <a:pt x="830" y="0"/>
                  </a:lnTo>
                  <a:lnTo>
                    <a:pt x="798" y="218"/>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407" name="Rectangle 18"/>
            <p:cNvSpPr>
              <a:spLocks noChangeArrowheads="1"/>
            </p:cNvSpPr>
            <p:nvPr/>
          </p:nvSpPr>
          <p:spPr bwMode="auto">
            <a:xfrm>
              <a:off x="1361678" y="1418656"/>
              <a:ext cx="378227" cy="103649"/>
            </a:xfrm>
            <a:prstGeom prst="rect">
              <a:avLst/>
            </a:prstGeom>
            <a:solidFill>
              <a:srgbClr val="0060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0" name="Rectangle 75"/>
            <p:cNvSpPr>
              <a:spLocks noChangeArrowheads="1"/>
            </p:cNvSpPr>
            <p:nvPr/>
          </p:nvSpPr>
          <p:spPr bwMode="auto">
            <a:xfrm>
              <a:off x="1390773" y="1442721"/>
              <a:ext cx="29094" cy="45460"/>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1" name="Rectangle 76"/>
            <p:cNvSpPr>
              <a:spLocks noChangeArrowheads="1"/>
            </p:cNvSpPr>
            <p:nvPr/>
          </p:nvSpPr>
          <p:spPr bwMode="auto">
            <a:xfrm>
              <a:off x="1438960" y="1442721"/>
              <a:ext cx="29094" cy="45460"/>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2" name="Rectangle 77"/>
            <p:cNvSpPr>
              <a:spLocks noChangeArrowheads="1"/>
            </p:cNvSpPr>
            <p:nvPr/>
          </p:nvSpPr>
          <p:spPr bwMode="auto">
            <a:xfrm>
              <a:off x="1487148" y="1442721"/>
              <a:ext cx="28185" cy="45460"/>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3" name="Rectangle 78"/>
            <p:cNvSpPr>
              <a:spLocks noChangeArrowheads="1"/>
            </p:cNvSpPr>
            <p:nvPr/>
          </p:nvSpPr>
          <p:spPr bwMode="auto">
            <a:xfrm>
              <a:off x="1534426" y="1442721"/>
              <a:ext cx="29094" cy="45460"/>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4" name="Rectangle 79"/>
            <p:cNvSpPr>
              <a:spLocks noChangeArrowheads="1"/>
            </p:cNvSpPr>
            <p:nvPr/>
          </p:nvSpPr>
          <p:spPr bwMode="auto">
            <a:xfrm>
              <a:off x="1582613" y="1442721"/>
              <a:ext cx="29094" cy="45460"/>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5" name="Rectangle 80"/>
            <p:cNvSpPr>
              <a:spLocks noChangeArrowheads="1"/>
            </p:cNvSpPr>
            <p:nvPr/>
          </p:nvSpPr>
          <p:spPr bwMode="auto">
            <a:xfrm>
              <a:off x="1630801" y="1442721"/>
              <a:ext cx="28185" cy="45460"/>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26" name="Rectangle 81"/>
            <p:cNvSpPr>
              <a:spLocks noChangeArrowheads="1"/>
            </p:cNvSpPr>
            <p:nvPr/>
          </p:nvSpPr>
          <p:spPr bwMode="auto">
            <a:xfrm>
              <a:off x="1678079" y="1442721"/>
              <a:ext cx="29094" cy="45460"/>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268" name="Group 1267"/>
          <p:cNvGrpSpPr>
            <a:grpSpLocks noChangeAspect="1"/>
          </p:cNvGrpSpPr>
          <p:nvPr/>
        </p:nvGrpSpPr>
        <p:grpSpPr>
          <a:xfrm>
            <a:off x="4326220" y="2575709"/>
            <a:ext cx="54908" cy="140524"/>
            <a:chOff x="-3051175" y="-1057275"/>
            <a:chExt cx="2679700" cy="6858000"/>
          </a:xfrm>
        </p:grpSpPr>
        <p:sp>
          <p:nvSpPr>
            <p:cNvPr id="1269"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70" name="Freeform 20"/>
            <p:cNvSpPr>
              <a:spLocks/>
            </p:cNvSpPr>
            <p:nvPr/>
          </p:nvSpPr>
          <p:spPr bwMode="auto">
            <a:xfrm>
              <a:off x="-3051175" y="158751"/>
              <a:ext cx="2679700" cy="5641974"/>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506" name="Group 505"/>
          <p:cNvGrpSpPr/>
          <p:nvPr/>
        </p:nvGrpSpPr>
        <p:grpSpPr>
          <a:xfrm>
            <a:off x="449990" y="2198967"/>
            <a:ext cx="801104" cy="396457"/>
            <a:chOff x="614666" y="2198966"/>
            <a:chExt cx="801104" cy="396457"/>
          </a:xfrm>
        </p:grpSpPr>
        <p:sp>
          <p:nvSpPr>
            <p:cNvPr id="505" name="Rectangle 504"/>
            <p:cNvSpPr/>
            <p:nvPr/>
          </p:nvSpPr>
          <p:spPr bwMode="auto">
            <a:xfrm>
              <a:off x="1121655" y="2220815"/>
              <a:ext cx="267042" cy="323646"/>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271" name="Rectangle 1270"/>
            <p:cNvSpPr/>
            <p:nvPr/>
          </p:nvSpPr>
          <p:spPr bwMode="auto">
            <a:xfrm>
              <a:off x="676543" y="2316623"/>
              <a:ext cx="445112" cy="106308"/>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7" name="Rounded Rectangle 147"/>
            <p:cNvSpPr/>
            <p:nvPr/>
          </p:nvSpPr>
          <p:spPr bwMode="auto">
            <a:xfrm flipH="1">
              <a:off x="614666" y="2198966"/>
              <a:ext cx="801104" cy="396457"/>
            </a:xfrm>
            <a:custGeom>
              <a:avLst/>
              <a:gdLst>
                <a:gd name="connsiteX0" fmla="*/ 765573 w 3219450"/>
                <a:gd name="connsiteY0" fmla="*/ 2049008 h 2667019"/>
                <a:gd name="connsiteX1" fmla="*/ 719138 w 3219450"/>
                <a:gd name="connsiteY1" fmla="*/ 2095443 h 2667019"/>
                <a:gd name="connsiteX2" fmla="*/ 719138 w 3219450"/>
                <a:gd name="connsiteY2" fmla="*/ 2281180 h 2667019"/>
                <a:gd name="connsiteX3" fmla="*/ 765573 w 3219450"/>
                <a:gd name="connsiteY3" fmla="*/ 2327615 h 2667019"/>
                <a:gd name="connsiteX4" fmla="*/ 1060847 w 3219450"/>
                <a:gd name="connsiteY4" fmla="*/ 2327615 h 2667019"/>
                <a:gd name="connsiteX5" fmla="*/ 1107282 w 3219450"/>
                <a:gd name="connsiteY5" fmla="*/ 2281180 h 2667019"/>
                <a:gd name="connsiteX6" fmla="*/ 1107282 w 3219450"/>
                <a:gd name="connsiteY6" fmla="*/ 2095443 h 2667019"/>
                <a:gd name="connsiteX7" fmla="*/ 1060847 w 3219450"/>
                <a:gd name="connsiteY7" fmla="*/ 2049008 h 2667019"/>
                <a:gd name="connsiteX8" fmla="*/ 765573 w 3219450"/>
                <a:gd name="connsiteY8" fmla="*/ 2049008 h 2667019"/>
                <a:gd name="connsiteX9" fmla="*/ 248842 w 3219450"/>
                <a:gd name="connsiteY9" fmla="*/ 2049008 h 2667019"/>
                <a:gd name="connsiteX10" fmla="*/ 202407 w 3219450"/>
                <a:gd name="connsiteY10" fmla="*/ 2095443 h 2667019"/>
                <a:gd name="connsiteX11" fmla="*/ 202407 w 3219450"/>
                <a:gd name="connsiteY11" fmla="*/ 2281180 h 2667019"/>
                <a:gd name="connsiteX12" fmla="*/ 248842 w 3219450"/>
                <a:gd name="connsiteY12" fmla="*/ 2327615 h 2667019"/>
                <a:gd name="connsiteX13" fmla="*/ 544116 w 3219450"/>
                <a:gd name="connsiteY13" fmla="*/ 2327615 h 2667019"/>
                <a:gd name="connsiteX14" fmla="*/ 590551 w 3219450"/>
                <a:gd name="connsiteY14" fmla="*/ 2281180 h 2667019"/>
                <a:gd name="connsiteX15" fmla="*/ 590551 w 3219450"/>
                <a:gd name="connsiteY15" fmla="*/ 2095443 h 2667019"/>
                <a:gd name="connsiteX16" fmla="*/ 544116 w 3219450"/>
                <a:gd name="connsiteY16" fmla="*/ 2049008 h 2667019"/>
                <a:gd name="connsiteX17" fmla="*/ 248842 w 3219450"/>
                <a:gd name="connsiteY17" fmla="*/ 2049008 h 2667019"/>
                <a:gd name="connsiteX18" fmla="*/ 1338060 w 3219450"/>
                <a:gd name="connsiteY18" fmla="*/ 1819699 h 2667019"/>
                <a:gd name="connsiteX19" fmla="*/ 1285875 w 3219450"/>
                <a:gd name="connsiteY19" fmla="*/ 1871884 h 2667019"/>
                <a:gd name="connsiteX20" fmla="*/ 1338060 w 3219450"/>
                <a:gd name="connsiteY20" fmla="*/ 1924068 h 2667019"/>
                <a:gd name="connsiteX21" fmla="*/ 2791714 w 3219450"/>
                <a:gd name="connsiteY21" fmla="*/ 1924069 h 2667019"/>
                <a:gd name="connsiteX22" fmla="*/ 2843899 w 3219450"/>
                <a:gd name="connsiteY22" fmla="*/ 1871884 h 2667019"/>
                <a:gd name="connsiteX23" fmla="*/ 2843900 w 3219450"/>
                <a:gd name="connsiteY23" fmla="*/ 1871884 h 2667019"/>
                <a:gd name="connsiteX24" fmla="*/ 2791715 w 3219450"/>
                <a:gd name="connsiteY24" fmla="*/ 1819699 h 2667019"/>
                <a:gd name="connsiteX25" fmla="*/ 1338060 w 3219450"/>
                <a:gd name="connsiteY25" fmla="*/ 1819699 h 2667019"/>
                <a:gd name="connsiteX26" fmla="*/ 1338060 w 3219450"/>
                <a:gd name="connsiteY26" fmla="*/ 1598243 h 2667019"/>
                <a:gd name="connsiteX27" fmla="*/ 1285875 w 3219450"/>
                <a:gd name="connsiteY27" fmla="*/ 1650428 h 2667019"/>
                <a:gd name="connsiteX28" fmla="*/ 1338060 w 3219450"/>
                <a:gd name="connsiteY28" fmla="*/ 1702612 h 2667019"/>
                <a:gd name="connsiteX29" fmla="*/ 2791714 w 3219450"/>
                <a:gd name="connsiteY29" fmla="*/ 1702613 h 2667019"/>
                <a:gd name="connsiteX30" fmla="*/ 2843899 w 3219450"/>
                <a:gd name="connsiteY30" fmla="*/ 1650428 h 2667019"/>
                <a:gd name="connsiteX31" fmla="*/ 2843900 w 3219450"/>
                <a:gd name="connsiteY31" fmla="*/ 1650428 h 2667019"/>
                <a:gd name="connsiteX32" fmla="*/ 2791715 w 3219450"/>
                <a:gd name="connsiteY32" fmla="*/ 1598243 h 2667019"/>
                <a:gd name="connsiteX33" fmla="*/ 1338060 w 3219450"/>
                <a:gd name="connsiteY33" fmla="*/ 1598243 h 2667019"/>
                <a:gd name="connsiteX34" fmla="*/ 765573 w 3219450"/>
                <a:gd name="connsiteY34" fmla="*/ 1593276 h 2667019"/>
                <a:gd name="connsiteX35" fmla="*/ 719138 w 3219450"/>
                <a:gd name="connsiteY35" fmla="*/ 1639711 h 2667019"/>
                <a:gd name="connsiteX36" fmla="*/ 719138 w 3219450"/>
                <a:gd name="connsiteY36" fmla="*/ 1825448 h 2667019"/>
                <a:gd name="connsiteX37" fmla="*/ 765573 w 3219450"/>
                <a:gd name="connsiteY37" fmla="*/ 1871883 h 2667019"/>
                <a:gd name="connsiteX38" fmla="*/ 1060847 w 3219450"/>
                <a:gd name="connsiteY38" fmla="*/ 1871883 h 2667019"/>
                <a:gd name="connsiteX39" fmla="*/ 1107282 w 3219450"/>
                <a:gd name="connsiteY39" fmla="*/ 1825448 h 2667019"/>
                <a:gd name="connsiteX40" fmla="*/ 1107282 w 3219450"/>
                <a:gd name="connsiteY40" fmla="*/ 1639711 h 2667019"/>
                <a:gd name="connsiteX41" fmla="*/ 1060847 w 3219450"/>
                <a:gd name="connsiteY41" fmla="*/ 1593276 h 2667019"/>
                <a:gd name="connsiteX42" fmla="*/ 765573 w 3219450"/>
                <a:gd name="connsiteY42" fmla="*/ 1593276 h 2667019"/>
                <a:gd name="connsiteX43" fmla="*/ 248842 w 3219450"/>
                <a:gd name="connsiteY43" fmla="*/ 1593276 h 2667019"/>
                <a:gd name="connsiteX44" fmla="*/ 202407 w 3219450"/>
                <a:gd name="connsiteY44" fmla="*/ 1639711 h 2667019"/>
                <a:gd name="connsiteX45" fmla="*/ 202407 w 3219450"/>
                <a:gd name="connsiteY45" fmla="*/ 1825448 h 2667019"/>
                <a:gd name="connsiteX46" fmla="*/ 248842 w 3219450"/>
                <a:gd name="connsiteY46" fmla="*/ 1871883 h 2667019"/>
                <a:gd name="connsiteX47" fmla="*/ 544116 w 3219450"/>
                <a:gd name="connsiteY47" fmla="*/ 1871883 h 2667019"/>
                <a:gd name="connsiteX48" fmla="*/ 590551 w 3219450"/>
                <a:gd name="connsiteY48" fmla="*/ 1825448 h 2667019"/>
                <a:gd name="connsiteX49" fmla="*/ 590551 w 3219450"/>
                <a:gd name="connsiteY49" fmla="*/ 1639711 h 2667019"/>
                <a:gd name="connsiteX50" fmla="*/ 544116 w 3219450"/>
                <a:gd name="connsiteY50" fmla="*/ 1593276 h 2667019"/>
                <a:gd name="connsiteX51" fmla="*/ 248842 w 3219450"/>
                <a:gd name="connsiteY51" fmla="*/ 1593276 h 2667019"/>
                <a:gd name="connsiteX52" fmla="*/ 765573 w 3219450"/>
                <a:gd name="connsiteY52" fmla="*/ 1107300 h 2667019"/>
                <a:gd name="connsiteX53" fmla="*/ 719138 w 3219450"/>
                <a:gd name="connsiteY53" fmla="*/ 1153735 h 2667019"/>
                <a:gd name="connsiteX54" fmla="*/ 719138 w 3219450"/>
                <a:gd name="connsiteY54" fmla="*/ 1339472 h 2667019"/>
                <a:gd name="connsiteX55" fmla="*/ 765573 w 3219450"/>
                <a:gd name="connsiteY55" fmla="*/ 1385907 h 2667019"/>
                <a:gd name="connsiteX56" fmla="*/ 1060847 w 3219450"/>
                <a:gd name="connsiteY56" fmla="*/ 1385907 h 2667019"/>
                <a:gd name="connsiteX57" fmla="*/ 1107282 w 3219450"/>
                <a:gd name="connsiteY57" fmla="*/ 1339472 h 2667019"/>
                <a:gd name="connsiteX58" fmla="*/ 1107282 w 3219450"/>
                <a:gd name="connsiteY58" fmla="*/ 1153735 h 2667019"/>
                <a:gd name="connsiteX59" fmla="*/ 1060847 w 3219450"/>
                <a:gd name="connsiteY59" fmla="*/ 1107300 h 2667019"/>
                <a:gd name="connsiteX60" fmla="*/ 765573 w 3219450"/>
                <a:gd name="connsiteY60" fmla="*/ 1107300 h 2667019"/>
                <a:gd name="connsiteX61" fmla="*/ 248842 w 3219450"/>
                <a:gd name="connsiteY61" fmla="*/ 1107300 h 2667019"/>
                <a:gd name="connsiteX62" fmla="*/ 202407 w 3219450"/>
                <a:gd name="connsiteY62" fmla="*/ 1153735 h 2667019"/>
                <a:gd name="connsiteX63" fmla="*/ 202407 w 3219450"/>
                <a:gd name="connsiteY63" fmla="*/ 1339472 h 2667019"/>
                <a:gd name="connsiteX64" fmla="*/ 248842 w 3219450"/>
                <a:gd name="connsiteY64" fmla="*/ 1385907 h 2667019"/>
                <a:gd name="connsiteX65" fmla="*/ 544116 w 3219450"/>
                <a:gd name="connsiteY65" fmla="*/ 1385907 h 2667019"/>
                <a:gd name="connsiteX66" fmla="*/ 590551 w 3219450"/>
                <a:gd name="connsiteY66" fmla="*/ 1339472 h 2667019"/>
                <a:gd name="connsiteX67" fmla="*/ 590551 w 3219450"/>
                <a:gd name="connsiteY67" fmla="*/ 1153735 h 2667019"/>
                <a:gd name="connsiteX68" fmla="*/ 544116 w 3219450"/>
                <a:gd name="connsiteY68" fmla="*/ 1107300 h 2667019"/>
                <a:gd name="connsiteX69" fmla="*/ 248842 w 3219450"/>
                <a:gd name="connsiteY69" fmla="*/ 1107300 h 2667019"/>
                <a:gd name="connsiteX70" fmla="*/ 1086336 w 3219450"/>
                <a:gd name="connsiteY70" fmla="*/ 402872 h 2667019"/>
                <a:gd name="connsiteX71" fmla="*/ 1152525 w 3219450"/>
                <a:gd name="connsiteY71" fmla="*/ 914419 h 2667019"/>
                <a:gd name="connsiteX72" fmla="*/ 1285875 w 3219450"/>
                <a:gd name="connsiteY72" fmla="*/ 914419 h 2667019"/>
                <a:gd name="connsiteX73" fmla="*/ 1285875 w 3219450"/>
                <a:gd name="connsiteY73" fmla="*/ 1228744 h 2667019"/>
                <a:gd name="connsiteX74" fmla="*/ 3219450 w 3219450"/>
                <a:gd name="connsiteY74" fmla="*/ 1228744 h 2667019"/>
                <a:gd name="connsiteX75" fmla="*/ 3219450 w 3219450"/>
                <a:gd name="connsiteY75" fmla="*/ 2667019 h 2667019"/>
                <a:gd name="connsiteX76" fmla="*/ 1695450 w 3219450"/>
                <a:gd name="connsiteY76" fmla="*/ 2667019 h 2667019"/>
                <a:gd name="connsiteX77" fmla="*/ 1695450 w 3219450"/>
                <a:gd name="connsiteY77" fmla="*/ 2019319 h 2667019"/>
                <a:gd name="connsiteX78" fmla="*/ 1276350 w 3219450"/>
                <a:gd name="connsiteY78" fmla="*/ 2019319 h 2667019"/>
                <a:gd name="connsiteX79" fmla="*/ 1276350 w 3219450"/>
                <a:gd name="connsiteY79" fmla="*/ 2657494 h 2667019"/>
                <a:gd name="connsiteX80" fmla="*/ 0 w 3219450"/>
                <a:gd name="connsiteY80" fmla="*/ 2657494 h 2667019"/>
                <a:gd name="connsiteX81" fmla="*/ 0 w 3219450"/>
                <a:gd name="connsiteY81" fmla="*/ 923944 h 2667019"/>
                <a:gd name="connsiteX82" fmla="*/ 723900 w 3219450"/>
                <a:gd name="connsiteY82" fmla="*/ 933469 h 2667019"/>
                <a:gd name="connsiteX83" fmla="*/ 790575 w 3219450"/>
                <a:gd name="connsiteY83" fmla="*/ 19 h 2667019"/>
                <a:gd name="connsiteX84" fmla="*/ 1086336 w 3219450"/>
                <a:gd name="connsiteY84" fmla="*/ 402872 h 2667019"/>
                <a:gd name="connsiteX0" fmla="*/ 765573 w 3219450"/>
                <a:gd name="connsiteY0" fmla="*/ 1646136 h 2264147"/>
                <a:gd name="connsiteX1" fmla="*/ 719138 w 3219450"/>
                <a:gd name="connsiteY1" fmla="*/ 1692571 h 2264147"/>
                <a:gd name="connsiteX2" fmla="*/ 719138 w 3219450"/>
                <a:gd name="connsiteY2" fmla="*/ 1878308 h 2264147"/>
                <a:gd name="connsiteX3" fmla="*/ 765573 w 3219450"/>
                <a:gd name="connsiteY3" fmla="*/ 1924743 h 2264147"/>
                <a:gd name="connsiteX4" fmla="*/ 1060847 w 3219450"/>
                <a:gd name="connsiteY4" fmla="*/ 1924743 h 2264147"/>
                <a:gd name="connsiteX5" fmla="*/ 1107282 w 3219450"/>
                <a:gd name="connsiteY5" fmla="*/ 1878308 h 2264147"/>
                <a:gd name="connsiteX6" fmla="*/ 1107282 w 3219450"/>
                <a:gd name="connsiteY6" fmla="*/ 1692571 h 2264147"/>
                <a:gd name="connsiteX7" fmla="*/ 1060847 w 3219450"/>
                <a:gd name="connsiteY7" fmla="*/ 1646136 h 2264147"/>
                <a:gd name="connsiteX8" fmla="*/ 765573 w 3219450"/>
                <a:gd name="connsiteY8" fmla="*/ 1646136 h 2264147"/>
                <a:gd name="connsiteX9" fmla="*/ 248842 w 3219450"/>
                <a:gd name="connsiteY9" fmla="*/ 1646136 h 2264147"/>
                <a:gd name="connsiteX10" fmla="*/ 202407 w 3219450"/>
                <a:gd name="connsiteY10" fmla="*/ 1692571 h 2264147"/>
                <a:gd name="connsiteX11" fmla="*/ 202407 w 3219450"/>
                <a:gd name="connsiteY11" fmla="*/ 1878308 h 2264147"/>
                <a:gd name="connsiteX12" fmla="*/ 248842 w 3219450"/>
                <a:gd name="connsiteY12" fmla="*/ 1924743 h 2264147"/>
                <a:gd name="connsiteX13" fmla="*/ 544116 w 3219450"/>
                <a:gd name="connsiteY13" fmla="*/ 1924743 h 2264147"/>
                <a:gd name="connsiteX14" fmla="*/ 590551 w 3219450"/>
                <a:gd name="connsiteY14" fmla="*/ 1878308 h 2264147"/>
                <a:gd name="connsiteX15" fmla="*/ 590551 w 3219450"/>
                <a:gd name="connsiteY15" fmla="*/ 1692571 h 2264147"/>
                <a:gd name="connsiteX16" fmla="*/ 544116 w 3219450"/>
                <a:gd name="connsiteY16" fmla="*/ 1646136 h 2264147"/>
                <a:gd name="connsiteX17" fmla="*/ 248842 w 3219450"/>
                <a:gd name="connsiteY17" fmla="*/ 1646136 h 2264147"/>
                <a:gd name="connsiteX18" fmla="*/ 1338060 w 3219450"/>
                <a:gd name="connsiteY18" fmla="*/ 1416827 h 2264147"/>
                <a:gd name="connsiteX19" fmla="*/ 1285875 w 3219450"/>
                <a:gd name="connsiteY19" fmla="*/ 1469012 h 2264147"/>
                <a:gd name="connsiteX20" fmla="*/ 1338060 w 3219450"/>
                <a:gd name="connsiteY20" fmla="*/ 1521196 h 2264147"/>
                <a:gd name="connsiteX21" fmla="*/ 2791714 w 3219450"/>
                <a:gd name="connsiteY21" fmla="*/ 1521197 h 2264147"/>
                <a:gd name="connsiteX22" fmla="*/ 2843899 w 3219450"/>
                <a:gd name="connsiteY22" fmla="*/ 1469012 h 2264147"/>
                <a:gd name="connsiteX23" fmla="*/ 2843900 w 3219450"/>
                <a:gd name="connsiteY23" fmla="*/ 1469012 h 2264147"/>
                <a:gd name="connsiteX24" fmla="*/ 2791715 w 3219450"/>
                <a:gd name="connsiteY24" fmla="*/ 1416827 h 2264147"/>
                <a:gd name="connsiteX25" fmla="*/ 1338060 w 3219450"/>
                <a:gd name="connsiteY25" fmla="*/ 1416827 h 2264147"/>
                <a:gd name="connsiteX26" fmla="*/ 1338060 w 3219450"/>
                <a:gd name="connsiteY26" fmla="*/ 1195371 h 2264147"/>
                <a:gd name="connsiteX27" fmla="*/ 1285875 w 3219450"/>
                <a:gd name="connsiteY27" fmla="*/ 1247556 h 2264147"/>
                <a:gd name="connsiteX28" fmla="*/ 1338060 w 3219450"/>
                <a:gd name="connsiteY28" fmla="*/ 1299740 h 2264147"/>
                <a:gd name="connsiteX29" fmla="*/ 2791714 w 3219450"/>
                <a:gd name="connsiteY29" fmla="*/ 1299741 h 2264147"/>
                <a:gd name="connsiteX30" fmla="*/ 2843899 w 3219450"/>
                <a:gd name="connsiteY30" fmla="*/ 1247556 h 2264147"/>
                <a:gd name="connsiteX31" fmla="*/ 2843900 w 3219450"/>
                <a:gd name="connsiteY31" fmla="*/ 1247556 h 2264147"/>
                <a:gd name="connsiteX32" fmla="*/ 2791715 w 3219450"/>
                <a:gd name="connsiteY32" fmla="*/ 1195371 h 2264147"/>
                <a:gd name="connsiteX33" fmla="*/ 1338060 w 3219450"/>
                <a:gd name="connsiteY33" fmla="*/ 1195371 h 2264147"/>
                <a:gd name="connsiteX34" fmla="*/ 765573 w 3219450"/>
                <a:gd name="connsiteY34" fmla="*/ 1190404 h 2264147"/>
                <a:gd name="connsiteX35" fmla="*/ 719138 w 3219450"/>
                <a:gd name="connsiteY35" fmla="*/ 1236839 h 2264147"/>
                <a:gd name="connsiteX36" fmla="*/ 719138 w 3219450"/>
                <a:gd name="connsiteY36" fmla="*/ 1422576 h 2264147"/>
                <a:gd name="connsiteX37" fmla="*/ 765573 w 3219450"/>
                <a:gd name="connsiteY37" fmla="*/ 1469011 h 2264147"/>
                <a:gd name="connsiteX38" fmla="*/ 1060847 w 3219450"/>
                <a:gd name="connsiteY38" fmla="*/ 1469011 h 2264147"/>
                <a:gd name="connsiteX39" fmla="*/ 1107282 w 3219450"/>
                <a:gd name="connsiteY39" fmla="*/ 1422576 h 2264147"/>
                <a:gd name="connsiteX40" fmla="*/ 1107282 w 3219450"/>
                <a:gd name="connsiteY40" fmla="*/ 1236839 h 2264147"/>
                <a:gd name="connsiteX41" fmla="*/ 1060847 w 3219450"/>
                <a:gd name="connsiteY41" fmla="*/ 1190404 h 2264147"/>
                <a:gd name="connsiteX42" fmla="*/ 765573 w 3219450"/>
                <a:gd name="connsiteY42" fmla="*/ 1190404 h 2264147"/>
                <a:gd name="connsiteX43" fmla="*/ 248842 w 3219450"/>
                <a:gd name="connsiteY43" fmla="*/ 1190404 h 2264147"/>
                <a:gd name="connsiteX44" fmla="*/ 202407 w 3219450"/>
                <a:gd name="connsiteY44" fmla="*/ 1236839 h 2264147"/>
                <a:gd name="connsiteX45" fmla="*/ 202407 w 3219450"/>
                <a:gd name="connsiteY45" fmla="*/ 1422576 h 2264147"/>
                <a:gd name="connsiteX46" fmla="*/ 248842 w 3219450"/>
                <a:gd name="connsiteY46" fmla="*/ 1469011 h 2264147"/>
                <a:gd name="connsiteX47" fmla="*/ 544116 w 3219450"/>
                <a:gd name="connsiteY47" fmla="*/ 1469011 h 2264147"/>
                <a:gd name="connsiteX48" fmla="*/ 590551 w 3219450"/>
                <a:gd name="connsiteY48" fmla="*/ 1422576 h 2264147"/>
                <a:gd name="connsiteX49" fmla="*/ 590551 w 3219450"/>
                <a:gd name="connsiteY49" fmla="*/ 1236839 h 2264147"/>
                <a:gd name="connsiteX50" fmla="*/ 544116 w 3219450"/>
                <a:gd name="connsiteY50" fmla="*/ 1190404 h 2264147"/>
                <a:gd name="connsiteX51" fmla="*/ 248842 w 3219450"/>
                <a:gd name="connsiteY51" fmla="*/ 1190404 h 2264147"/>
                <a:gd name="connsiteX52" fmla="*/ 765573 w 3219450"/>
                <a:gd name="connsiteY52" fmla="*/ 704428 h 2264147"/>
                <a:gd name="connsiteX53" fmla="*/ 719138 w 3219450"/>
                <a:gd name="connsiteY53" fmla="*/ 750863 h 2264147"/>
                <a:gd name="connsiteX54" fmla="*/ 719138 w 3219450"/>
                <a:gd name="connsiteY54" fmla="*/ 936600 h 2264147"/>
                <a:gd name="connsiteX55" fmla="*/ 765573 w 3219450"/>
                <a:gd name="connsiteY55" fmla="*/ 983035 h 2264147"/>
                <a:gd name="connsiteX56" fmla="*/ 1060847 w 3219450"/>
                <a:gd name="connsiteY56" fmla="*/ 983035 h 2264147"/>
                <a:gd name="connsiteX57" fmla="*/ 1107282 w 3219450"/>
                <a:gd name="connsiteY57" fmla="*/ 936600 h 2264147"/>
                <a:gd name="connsiteX58" fmla="*/ 1107282 w 3219450"/>
                <a:gd name="connsiteY58" fmla="*/ 750863 h 2264147"/>
                <a:gd name="connsiteX59" fmla="*/ 1060847 w 3219450"/>
                <a:gd name="connsiteY59" fmla="*/ 704428 h 2264147"/>
                <a:gd name="connsiteX60" fmla="*/ 765573 w 3219450"/>
                <a:gd name="connsiteY60" fmla="*/ 704428 h 2264147"/>
                <a:gd name="connsiteX61" fmla="*/ 248842 w 3219450"/>
                <a:gd name="connsiteY61" fmla="*/ 704428 h 2264147"/>
                <a:gd name="connsiteX62" fmla="*/ 202407 w 3219450"/>
                <a:gd name="connsiteY62" fmla="*/ 750863 h 2264147"/>
                <a:gd name="connsiteX63" fmla="*/ 202407 w 3219450"/>
                <a:gd name="connsiteY63" fmla="*/ 936600 h 2264147"/>
                <a:gd name="connsiteX64" fmla="*/ 248842 w 3219450"/>
                <a:gd name="connsiteY64" fmla="*/ 983035 h 2264147"/>
                <a:gd name="connsiteX65" fmla="*/ 544116 w 3219450"/>
                <a:gd name="connsiteY65" fmla="*/ 983035 h 2264147"/>
                <a:gd name="connsiteX66" fmla="*/ 590551 w 3219450"/>
                <a:gd name="connsiteY66" fmla="*/ 936600 h 2264147"/>
                <a:gd name="connsiteX67" fmla="*/ 590551 w 3219450"/>
                <a:gd name="connsiteY67" fmla="*/ 750863 h 2264147"/>
                <a:gd name="connsiteX68" fmla="*/ 544116 w 3219450"/>
                <a:gd name="connsiteY68" fmla="*/ 704428 h 2264147"/>
                <a:gd name="connsiteX69" fmla="*/ 248842 w 3219450"/>
                <a:gd name="connsiteY69" fmla="*/ 704428 h 2264147"/>
                <a:gd name="connsiteX70" fmla="*/ 1086336 w 3219450"/>
                <a:gd name="connsiteY70" fmla="*/ 0 h 2264147"/>
                <a:gd name="connsiteX71" fmla="*/ 1152525 w 3219450"/>
                <a:gd name="connsiteY71" fmla="*/ 511547 h 2264147"/>
                <a:gd name="connsiteX72" fmla="*/ 1285875 w 3219450"/>
                <a:gd name="connsiteY72" fmla="*/ 511547 h 2264147"/>
                <a:gd name="connsiteX73" fmla="*/ 1285875 w 3219450"/>
                <a:gd name="connsiteY73" fmla="*/ 825872 h 2264147"/>
                <a:gd name="connsiteX74" fmla="*/ 3219450 w 3219450"/>
                <a:gd name="connsiteY74" fmla="*/ 825872 h 2264147"/>
                <a:gd name="connsiteX75" fmla="*/ 3219450 w 3219450"/>
                <a:gd name="connsiteY75" fmla="*/ 2264147 h 2264147"/>
                <a:gd name="connsiteX76" fmla="*/ 1695450 w 3219450"/>
                <a:gd name="connsiteY76" fmla="*/ 2264147 h 2264147"/>
                <a:gd name="connsiteX77" fmla="*/ 1695450 w 3219450"/>
                <a:gd name="connsiteY77" fmla="*/ 1616447 h 2264147"/>
                <a:gd name="connsiteX78" fmla="*/ 1276350 w 3219450"/>
                <a:gd name="connsiteY78" fmla="*/ 1616447 h 2264147"/>
                <a:gd name="connsiteX79" fmla="*/ 1276350 w 3219450"/>
                <a:gd name="connsiteY79" fmla="*/ 2254622 h 2264147"/>
                <a:gd name="connsiteX80" fmla="*/ 0 w 3219450"/>
                <a:gd name="connsiteY80" fmla="*/ 2254622 h 2264147"/>
                <a:gd name="connsiteX81" fmla="*/ 0 w 3219450"/>
                <a:gd name="connsiteY81" fmla="*/ 521072 h 2264147"/>
                <a:gd name="connsiteX82" fmla="*/ 723900 w 3219450"/>
                <a:gd name="connsiteY82" fmla="*/ 530597 h 2264147"/>
                <a:gd name="connsiteX83" fmla="*/ 756210 w 3219450"/>
                <a:gd name="connsiteY83" fmla="*/ 9524 h 2264147"/>
                <a:gd name="connsiteX84" fmla="*/ 1086336 w 3219450"/>
                <a:gd name="connsiteY84" fmla="*/ 0 h 2264147"/>
                <a:gd name="connsiteX0" fmla="*/ 765573 w 3219450"/>
                <a:gd name="connsiteY0" fmla="*/ 1636612 h 2254623"/>
                <a:gd name="connsiteX1" fmla="*/ 719138 w 3219450"/>
                <a:gd name="connsiteY1" fmla="*/ 1683047 h 2254623"/>
                <a:gd name="connsiteX2" fmla="*/ 719138 w 3219450"/>
                <a:gd name="connsiteY2" fmla="*/ 1868784 h 2254623"/>
                <a:gd name="connsiteX3" fmla="*/ 765573 w 3219450"/>
                <a:gd name="connsiteY3" fmla="*/ 1915219 h 2254623"/>
                <a:gd name="connsiteX4" fmla="*/ 1060847 w 3219450"/>
                <a:gd name="connsiteY4" fmla="*/ 1915219 h 2254623"/>
                <a:gd name="connsiteX5" fmla="*/ 1107282 w 3219450"/>
                <a:gd name="connsiteY5" fmla="*/ 1868784 h 2254623"/>
                <a:gd name="connsiteX6" fmla="*/ 1107282 w 3219450"/>
                <a:gd name="connsiteY6" fmla="*/ 1683047 h 2254623"/>
                <a:gd name="connsiteX7" fmla="*/ 1060847 w 3219450"/>
                <a:gd name="connsiteY7" fmla="*/ 1636612 h 2254623"/>
                <a:gd name="connsiteX8" fmla="*/ 765573 w 3219450"/>
                <a:gd name="connsiteY8" fmla="*/ 1636612 h 2254623"/>
                <a:gd name="connsiteX9" fmla="*/ 248842 w 3219450"/>
                <a:gd name="connsiteY9" fmla="*/ 1636612 h 2254623"/>
                <a:gd name="connsiteX10" fmla="*/ 202407 w 3219450"/>
                <a:gd name="connsiteY10" fmla="*/ 1683047 h 2254623"/>
                <a:gd name="connsiteX11" fmla="*/ 202407 w 3219450"/>
                <a:gd name="connsiteY11" fmla="*/ 1868784 h 2254623"/>
                <a:gd name="connsiteX12" fmla="*/ 248842 w 3219450"/>
                <a:gd name="connsiteY12" fmla="*/ 1915219 h 2254623"/>
                <a:gd name="connsiteX13" fmla="*/ 544116 w 3219450"/>
                <a:gd name="connsiteY13" fmla="*/ 1915219 h 2254623"/>
                <a:gd name="connsiteX14" fmla="*/ 590551 w 3219450"/>
                <a:gd name="connsiteY14" fmla="*/ 1868784 h 2254623"/>
                <a:gd name="connsiteX15" fmla="*/ 590551 w 3219450"/>
                <a:gd name="connsiteY15" fmla="*/ 1683047 h 2254623"/>
                <a:gd name="connsiteX16" fmla="*/ 544116 w 3219450"/>
                <a:gd name="connsiteY16" fmla="*/ 1636612 h 2254623"/>
                <a:gd name="connsiteX17" fmla="*/ 248842 w 3219450"/>
                <a:gd name="connsiteY17" fmla="*/ 1636612 h 2254623"/>
                <a:gd name="connsiteX18" fmla="*/ 1338060 w 3219450"/>
                <a:gd name="connsiteY18" fmla="*/ 1407303 h 2254623"/>
                <a:gd name="connsiteX19" fmla="*/ 1285875 w 3219450"/>
                <a:gd name="connsiteY19" fmla="*/ 1459488 h 2254623"/>
                <a:gd name="connsiteX20" fmla="*/ 1338060 w 3219450"/>
                <a:gd name="connsiteY20" fmla="*/ 1511672 h 2254623"/>
                <a:gd name="connsiteX21" fmla="*/ 2791714 w 3219450"/>
                <a:gd name="connsiteY21" fmla="*/ 1511673 h 2254623"/>
                <a:gd name="connsiteX22" fmla="*/ 2843899 w 3219450"/>
                <a:gd name="connsiteY22" fmla="*/ 1459488 h 2254623"/>
                <a:gd name="connsiteX23" fmla="*/ 2843900 w 3219450"/>
                <a:gd name="connsiteY23" fmla="*/ 1459488 h 2254623"/>
                <a:gd name="connsiteX24" fmla="*/ 2791715 w 3219450"/>
                <a:gd name="connsiteY24" fmla="*/ 1407303 h 2254623"/>
                <a:gd name="connsiteX25" fmla="*/ 1338060 w 3219450"/>
                <a:gd name="connsiteY25" fmla="*/ 1407303 h 2254623"/>
                <a:gd name="connsiteX26" fmla="*/ 1338060 w 3219450"/>
                <a:gd name="connsiteY26" fmla="*/ 1185847 h 2254623"/>
                <a:gd name="connsiteX27" fmla="*/ 1285875 w 3219450"/>
                <a:gd name="connsiteY27" fmla="*/ 1238032 h 2254623"/>
                <a:gd name="connsiteX28" fmla="*/ 1338060 w 3219450"/>
                <a:gd name="connsiteY28" fmla="*/ 1290216 h 2254623"/>
                <a:gd name="connsiteX29" fmla="*/ 2791714 w 3219450"/>
                <a:gd name="connsiteY29" fmla="*/ 1290217 h 2254623"/>
                <a:gd name="connsiteX30" fmla="*/ 2843899 w 3219450"/>
                <a:gd name="connsiteY30" fmla="*/ 1238032 h 2254623"/>
                <a:gd name="connsiteX31" fmla="*/ 2843900 w 3219450"/>
                <a:gd name="connsiteY31" fmla="*/ 1238032 h 2254623"/>
                <a:gd name="connsiteX32" fmla="*/ 2791715 w 3219450"/>
                <a:gd name="connsiteY32" fmla="*/ 1185847 h 2254623"/>
                <a:gd name="connsiteX33" fmla="*/ 1338060 w 3219450"/>
                <a:gd name="connsiteY33" fmla="*/ 1185847 h 2254623"/>
                <a:gd name="connsiteX34" fmla="*/ 765573 w 3219450"/>
                <a:gd name="connsiteY34" fmla="*/ 1180880 h 2254623"/>
                <a:gd name="connsiteX35" fmla="*/ 719138 w 3219450"/>
                <a:gd name="connsiteY35" fmla="*/ 1227315 h 2254623"/>
                <a:gd name="connsiteX36" fmla="*/ 719138 w 3219450"/>
                <a:gd name="connsiteY36" fmla="*/ 1413052 h 2254623"/>
                <a:gd name="connsiteX37" fmla="*/ 765573 w 3219450"/>
                <a:gd name="connsiteY37" fmla="*/ 1459487 h 2254623"/>
                <a:gd name="connsiteX38" fmla="*/ 1060847 w 3219450"/>
                <a:gd name="connsiteY38" fmla="*/ 1459487 h 2254623"/>
                <a:gd name="connsiteX39" fmla="*/ 1107282 w 3219450"/>
                <a:gd name="connsiteY39" fmla="*/ 1413052 h 2254623"/>
                <a:gd name="connsiteX40" fmla="*/ 1107282 w 3219450"/>
                <a:gd name="connsiteY40" fmla="*/ 1227315 h 2254623"/>
                <a:gd name="connsiteX41" fmla="*/ 1060847 w 3219450"/>
                <a:gd name="connsiteY41" fmla="*/ 1180880 h 2254623"/>
                <a:gd name="connsiteX42" fmla="*/ 765573 w 3219450"/>
                <a:gd name="connsiteY42" fmla="*/ 1180880 h 2254623"/>
                <a:gd name="connsiteX43" fmla="*/ 248842 w 3219450"/>
                <a:gd name="connsiteY43" fmla="*/ 1180880 h 2254623"/>
                <a:gd name="connsiteX44" fmla="*/ 202407 w 3219450"/>
                <a:gd name="connsiteY44" fmla="*/ 1227315 h 2254623"/>
                <a:gd name="connsiteX45" fmla="*/ 202407 w 3219450"/>
                <a:gd name="connsiteY45" fmla="*/ 1413052 h 2254623"/>
                <a:gd name="connsiteX46" fmla="*/ 248842 w 3219450"/>
                <a:gd name="connsiteY46" fmla="*/ 1459487 h 2254623"/>
                <a:gd name="connsiteX47" fmla="*/ 544116 w 3219450"/>
                <a:gd name="connsiteY47" fmla="*/ 1459487 h 2254623"/>
                <a:gd name="connsiteX48" fmla="*/ 590551 w 3219450"/>
                <a:gd name="connsiteY48" fmla="*/ 1413052 h 2254623"/>
                <a:gd name="connsiteX49" fmla="*/ 590551 w 3219450"/>
                <a:gd name="connsiteY49" fmla="*/ 1227315 h 2254623"/>
                <a:gd name="connsiteX50" fmla="*/ 544116 w 3219450"/>
                <a:gd name="connsiteY50" fmla="*/ 1180880 h 2254623"/>
                <a:gd name="connsiteX51" fmla="*/ 248842 w 3219450"/>
                <a:gd name="connsiteY51" fmla="*/ 1180880 h 2254623"/>
                <a:gd name="connsiteX52" fmla="*/ 765573 w 3219450"/>
                <a:gd name="connsiteY52" fmla="*/ 694904 h 2254623"/>
                <a:gd name="connsiteX53" fmla="*/ 719138 w 3219450"/>
                <a:gd name="connsiteY53" fmla="*/ 741339 h 2254623"/>
                <a:gd name="connsiteX54" fmla="*/ 719138 w 3219450"/>
                <a:gd name="connsiteY54" fmla="*/ 927076 h 2254623"/>
                <a:gd name="connsiteX55" fmla="*/ 765573 w 3219450"/>
                <a:gd name="connsiteY55" fmla="*/ 973511 h 2254623"/>
                <a:gd name="connsiteX56" fmla="*/ 1060847 w 3219450"/>
                <a:gd name="connsiteY56" fmla="*/ 973511 h 2254623"/>
                <a:gd name="connsiteX57" fmla="*/ 1107282 w 3219450"/>
                <a:gd name="connsiteY57" fmla="*/ 927076 h 2254623"/>
                <a:gd name="connsiteX58" fmla="*/ 1107282 w 3219450"/>
                <a:gd name="connsiteY58" fmla="*/ 741339 h 2254623"/>
                <a:gd name="connsiteX59" fmla="*/ 1060847 w 3219450"/>
                <a:gd name="connsiteY59" fmla="*/ 694904 h 2254623"/>
                <a:gd name="connsiteX60" fmla="*/ 765573 w 3219450"/>
                <a:gd name="connsiteY60" fmla="*/ 694904 h 2254623"/>
                <a:gd name="connsiteX61" fmla="*/ 248842 w 3219450"/>
                <a:gd name="connsiteY61" fmla="*/ 694904 h 2254623"/>
                <a:gd name="connsiteX62" fmla="*/ 202407 w 3219450"/>
                <a:gd name="connsiteY62" fmla="*/ 741339 h 2254623"/>
                <a:gd name="connsiteX63" fmla="*/ 202407 w 3219450"/>
                <a:gd name="connsiteY63" fmla="*/ 927076 h 2254623"/>
                <a:gd name="connsiteX64" fmla="*/ 248842 w 3219450"/>
                <a:gd name="connsiteY64" fmla="*/ 973511 h 2254623"/>
                <a:gd name="connsiteX65" fmla="*/ 544116 w 3219450"/>
                <a:gd name="connsiteY65" fmla="*/ 973511 h 2254623"/>
                <a:gd name="connsiteX66" fmla="*/ 590551 w 3219450"/>
                <a:gd name="connsiteY66" fmla="*/ 927076 h 2254623"/>
                <a:gd name="connsiteX67" fmla="*/ 590551 w 3219450"/>
                <a:gd name="connsiteY67" fmla="*/ 741339 h 2254623"/>
                <a:gd name="connsiteX68" fmla="*/ 544116 w 3219450"/>
                <a:gd name="connsiteY68" fmla="*/ 694904 h 2254623"/>
                <a:gd name="connsiteX69" fmla="*/ 248842 w 3219450"/>
                <a:gd name="connsiteY69" fmla="*/ 694904 h 2254623"/>
                <a:gd name="connsiteX70" fmla="*/ 1086335 w 3219450"/>
                <a:gd name="connsiteY70" fmla="*/ 23684 h 2254623"/>
                <a:gd name="connsiteX71" fmla="*/ 1152525 w 3219450"/>
                <a:gd name="connsiteY71" fmla="*/ 502023 h 2254623"/>
                <a:gd name="connsiteX72" fmla="*/ 1285875 w 3219450"/>
                <a:gd name="connsiteY72" fmla="*/ 502023 h 2254623"/>
                <a:gd name="connsiteX73" fmla="*/ 1285875 w 3219450"/>
                <a:gd name="connsiteY73" fmla="*/ 816348 h 2254623"/>
                <a:gd name="connsiteX74" fmla="*/ 3219450 w 3219450"/>
                <a:gd name="connsiteY74" fmla="*/ 816348 h 2254623"/>
                <a:gd name="connsiteX75" fmla="*/ 3219450 w 3219450"/>
                <a:gd name="connsiteY75" fmla="*/ 2254623 h 2254623"/>
                <a:gd name="connsiteX76" fmla="*/ 1695450 w 3219450"/>
                <a:gd name="connsiteY76" fmla="*/ 2254623 h 2254623"/>
                <a:gd name="connsiteX77" fmla="*/ 1695450 w 3219450"/>
                <a:gd name="connsiteY77" fmla="*/ 1606923 h 2254623"/>
                <a:gd name="connsiteX78" fmla="*/ 1276350 w 3219450"/>
                <a:gd name="connsiteY78" fmla="*/ 1606923 h 2254623"/>
                <a:gd name="connsiteX79" fmla="*/ 1276350 w 3219450"/>
                <a:gd name="connsiteY79" fmla="*/ 2245098 h 2254623"/>
                <a:gd name="connsiteX80" fmla="*/ 0 w 3219450"/>
                <a:gd name="connsiteY80" fmla="*/ 2245098 h 2254623"/>
                <a:gd name="connsiteX81" fmla="*/ 0 w 3219450"/>
                <a:gd name="connsiteY81" fmla="*/ 511548 h 2254623"/>
                <a:gd name="connsiteX82" fmla="*/ 723900 w 3219450"/>
                <a:gd name="connsiteY82" fmla="*/ 521073 h 2254623"/>
                <a:gd name="connsiteX83" fmla="*/ 756210 w 3219450"/>
                <a:gd name="connsiteY83" fmla="*/ 0 h 2254623"/>
                <a:gd name="connsiteX84" fmla="*/ 1086335 w 3219450"/>
                <a:gd name="connsiteY84" fmla="*/ 23684 h 2254623"/>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723900 w 3219450"/>
                <a:gd name="connsiteY82" fmla="*/ 504469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723900 w 3219450"/>
                <a:gd name="connsiteY82" fmla="*/ 504469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674092 w 3219450"/>
                <a:gd name="connsiteY82" fmla="*/ 498934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624283 w 3219450"/>
                <a:gd name="connsiteY82" fmla="*/ 487867 h 2238019"/>
                <a:gd name="connsiteX83" fmla="*/ 756209 w 3219450"/>
                <a:gd name="connsiteY83" fmla="*/ 0 h 2238019"/>
                <a:gd name="connsiteX84" fmla="*/ 1086335 w 3219450"/>
                <a:gd name="connsiteY84" fmla="*/ 7080 h 2238019"/>
                <a:gd name="connsiteX0" fmla="*/ 765573 w 3219450"/>
                <a:gd name="connsiteY0" fmla="*/ 1612987 h 2230998"/>
                <a:gd name="connsiteX1" fmla="*/ 719138 w 3219450"/>
                <a:gd name="connsiteY1" fmla="*/ 1659422 h 2230998"/>
                <a:gd name="connsiteX2" fmla="*/ 719138 w 3219450"/>
                <a:gd name="connsiteY2" fmla="*/ 1845159 h 2230998"/>
                <a:gd name="connsiteX3" fmla="*/ 765573 w 3219450"/>
                <a:gd name="connsiteY3" fmla="*/ 1891594 h 2230998"/>
                <a:gd name="connsiteX4" fmla="*/ 1060847 w 3219450"/>
                <a:gd name="connsiteY4" fmla="*/ 1891594 h 2230998"/>
                <a:gd name="connsiteX5" fmla="*/ 1107282 w 3219450"/>
                <a:gd name="connsiteY5" fmla="*/ 1845159 h 2230998"/>
                <a:gd name="connsiteX6" fmla="*/ 1107282 w 3219450"/>
                <a:gd name="connsiteY6" fmla="*/ 1659422 h 2230998"/>
                <a:gd name="connsiteX7" fmla="*/ 1060847 w 3219450"/>
                <a:gd name="connsiteY7" fmla="*/ 1612987 h 2230998"/>
                <a:gd name="connsiteX8" fmla="*/ 765573 w 3219450"/>
                <a:gd name="connsiteY8" fmla="*/ 1612987 h 2230998"/>
                <a:gd name="connsiteX9" fmla="*/ 248842 w 3219450"/>
                <a:gd name="connsiteY9" fmla="*/ 1612987 h 2230998"/>
                <a:gd name="connsiteX10" fmla="*/ 202407 w 3219450"/>
                <a:gd name="connsiteY10" fmla="*/ 1659422 h 2230998"/>
                <a:gd name="connsiteX11" fmla="*/ 202407 w 3219450"/>
                <a:gd name="connsiteY11" fmla="*/ 1845159 h 2230998"/>
                <a:gd name="connsiteX12" fmla="*/ 248842 w 3219450"/>
                <a:gd name="connsiteY12" fmla="*/ 1891594 h 2230998"/>
                <a:gd name="connsiteX13" fmla="*/ 544116 w 3219450"/>
                <a:gd name="connsiteY13" fmla="*/ 1891594 h 2230998"/>
                <a:gd name="connsiteX14" fmla="*/ 590551 w 3219450"/>
                <a:gd name="connsiteY14" fmla="*/ 1845159 h 2230998"/>
                <a:gd name="connsiteX15" fmla="*/ 590551 w 3219450"/>
                <a:gd name="connsiteY15" fmla="*/ 1659422 h 2230998"/>
                <a:gd name="connsiteX16" fmla="*/ 544116 w 3219450"/>
                <a:gd name="connsiteY16" fmla="*/ 1612987 h 2230998"/>
                <a:gd name="connsiteX17" fmla="*/ 248842 w 3219450"/>
                <a:gd name="connsiteY17" fmla="*/ 1612987 h 2230998"/>
                <a:gd name="connsiteX18" fmla="*/ 1338060 w 3219450"/>
                <a:gd name="connsiteY18" fmla="*/ 1383678 h 2230998"/>
                <a:gd name="connsiteX19" fmla="*/ 1285875 w 3219450"/>
                <a:gd name="connsiteY19" fmla="*/ 1435863 h 2230998"/>
                <a:gd name="connsiteX20" fmla="*/ 1338060 w 3219450"/>
                <a:gd name="connsiteY20" fmla="*/ 1488047 h 2230998"/>
                <a:gd name="connsiteX21" fmla="*/ 2791714 w 3219450"/>
                <a:gd name="connsiteY21" fmla="*/ 1488048 h 2230998"/>
                <a:gd name="connsiteX22" fmla="*/ 2843899 w 3219450"/>
                <a:gd name="connsiteY22" fmla="*/ 1435863 h 2230998"/>
                <a:gd name="connsiteX23" fmla="*/ 2843900 w 3219450"/>
                <a:gd name="connsiteY23" fmla="*/ 1435863 h 2230998"/>
                <a:gd name="connsiteX24" fmla="*/ 2791715 w 3219450"/>
                <a:gd name="connsiteY24" fmla="*/ 1383678 h 2230998"/>
                <a:gd name="connsiteX25" fmla="*/ 1338060 w 3219450"/>
                <a:gd name="connsiteY25" fmla="*/ 1383678 h 2230998"/>
                <a:gd name="connsiteX26" fmla="*/ 1338060 w 3219450"/>
                <a:gd name="connsiteY26" fmla="*/ 1162222 h 2230998"/>
                <a:gd name="connsiteX27" fmla="*/ 1285875 w 3219450"/>
                <a:gd name="connsiteY27" fmla="*/ 1214407 h 2230998"/>
                <a:gd name="connsiteX28" fmla="*/ 1338060 w 3219450"/>
                <a:gd name="connsiteY28" fmla="*/ 1266591 h 2230998"/>
                <a:gd name="connsiteX29" fmla="*/ 2791714 w 3219450"/>
                <a:gd name="connsiteY29" fmla="*/ 1266592 h 2230998"/>
                <a:gd name="connsiteX30" fmla="*/ 2843899 w 3219450"/>
                <a:gd name="connsiteY30" fmla="*/ 1214407 h 2230998"/>
                <a:gd name="connsiteX31" fmla="*/ 2843900 w 3219450"/>
                <a:gd name="connsiteY31" fmla="*/ 1214407 h 2230998"/>
                <a:gd name="connsiteX32" fmla="*/ 2791715 w 3219450"/>
                <a:gd name="connsiteY32" fmla="*/ 1162222 h 2230998"/>
                <a:gd name="connsiteX33" fmla="*/ 1338060 w 3219450"/>
                <a:gd name="connsiteY33" fmla="*/ 1162222 h 2230998"/>
                <a:gd name="connsiteX34" fmla="*/ 765573 w 3219450"/>
                <a:gd name="connsiteY34" fmla="*/ 1157255 h 2230998"/>
                <a:gd name="connsiteX35" fmla="*/ 719138 w 3219450"/>
                <a:gd name="connsiteY35" fmla="*/ 1203690 h 2230998"/>
                <a:gd name="connsiteX36" fmla="*/ 719138 w 3219450"/>
                <a:gd name="connsiteY36" fmla="*/ 1389427 h 2230998"/>
                <a:gd name="connsiteX37" fmla="*/ 765573 w 3219450"/>
                <a:gd name="connsiteY37" fmla="*/ 1435862 h 2230998"/>
                <a:gd name="connsiteX38" fmla="*/ 1060847 w 3219450"/>
                <a:gd name="connsiteY38" fmla="*/ 1435862 h 2230998"/>
                <a:gd name="connsiteX39" fmla="*/ 1107282 w 3219450"/>
                <a:gd name="connsiteY39" fmla="*/ 1389427 h 2230998"/>
                <a:gd name="connsiteX40" fmla="*/ 1107282 w 3219450"/>
                <a:gd name="connsiteY40" fmla="*/ 1203690 h 2230998"/>
                <a:gd name="connsiteX41" fmla="*/ 1060847 w 3219450"/>
                <a:gd name="connsiteY41" fmla="*/ 1157255 h 2230998"/>
                <a:gd name="connsiteX42" fmla="*/ 765573 w 3219450"/>
                <a:gd name="connsiteY42" fmla="*/ 1157255 h 2230998"/>
                <a:gd name="connsiteX43" fmla="*/ 248842 w 3219450"/>
                <a:gd name="connsiteY43" fmla="*/ 1157255 h 2230998"/>
                <a:gd name="connsiteX44" fmla="*/ 202407 w 3219450"/>
                <a:gd name="connsiteY44" fmla="*/ 1203690 h 2230998"/>
                <a:gd name="connsiteX45" fmla="*/ 202407 w 3219450"/>
                <a:gd name="connsiteY45" fmla="*/ 1389427 h 2230998"/>
                <a:gd name="connsiteX46" fmla="*/ 248842 w 3219450"/>
                <a:gd name="connsiteY46" fmla="*/ 1435862 h 2230998"/>
                <a:gd name="connsiteX47" fmla="*/ 544116 w 3219450"/>
                <a:gd name="connsiteY47" fmla="*/ 1435862 h 2230998"/>
                <a:gd name="connsiteX48" fmla="*/ 590551 w 3219450"/>
                <a:gd name="connsiteY48" fmla="*/ 1389427 h 2230998"/>
                <a:gd name="connsiteX49" fmla="*/ 590551 w 3219450"/>
                <a:gd name="connsiteY49" fmla="*/ 1203690 h 2230998"/>
                <a:gd name="connsiteX50" fmla="*/ 544116 w 3219450"/>
                <a:gd name="connsiteY50" fmla="*/ 1157255 h 2230998"/>
                <a:gd name="connsiteX51" fmla="*/ 248842 w 3219450"/>
                <a:gd name="connsiteY51" fmla="*/ 1157255 h 2230998"/>
                <a:gd name="connsiteX52" fmla="*/ 765573 w 3219450"/>
                <a:gd name="connsiteY52" fmla="*/ 671279 h 2230998"/>
                <a:gd name="connsiteX53" fmla="*/ 719138 w 3219450"/>
                <a:gd name="connsiteY53" fmla="*/ 717714 h 2230998"/>
                <a:gd name="connsiteX54" fmla="*/ 719138 w 3219450"/>
                <a:gd name="connsiteY54" fmla="*/ 903451 h 2230998"/>
                <a:gd name="connsiteX55" fmla="*/ 765573 w 3219450"/>
                <a:gd name="connsiteY55" fmla="*/ 949886 h 2230998"/>
                <a:gd name="connsiteX56" fmla="*/ 1060847 w 3219450"/>
                <a:gd name="connsiteY56" fmla="*/ 949886 h 2230998"/>
                <a:gd name="connsiteX57" fmla="*/ 1107282 w 3219450"/>
                <a:gd name="connsiteY57" fmla="*/ 903451 h 2230998"/>
                <a:gd name="connsiteX58" fmla="*/ 1107282 w 3219450"/>
                <a:gd name="connsiteY58" fmla="*/ 717714 h 2230998"/>
                <a:gd name="connsiteX59" fmla="*/ 1060847 w 3219450"/>
                <a:gd name="connsiteY59" fmla="*/ 671279 h 2230998"/>
                <a:gd name="connsiteX60" fmla="*/ 765573 w 3219450"/>
                <a:gd name="connsiteY60" fmla="*/ 671279 h 2230998"/>
                <a:gd name="connsiteX61" fmla="*/ 248842 w 3219450"/>
                <a:gd name="connsiteY61" fmla="*/ 671279 h 2230998"/>
                <a:gd name="connsiteX62" fmla="*/ 202407 w 3219450"/>
                <a:gd name="connsiteY62" fmla="*/ 717714 h 2230998"/>
                <a:gd name="connsiteX63" fmla="*/ 202407 w 3219450"/>
                <a:gd name="connsiteY63" fmla="*/ 903451 h 2230998"/>
                <a:gd name="connsiteX64" fmla="*/ 248842 w 3219450"/>
                <a:gd name="connsiteY64" fmla="*/ 949886 h 2230998"/>
                <a:gd name="connsiteX65" fmla="*/ 544116 w 3219450"/>
                <a:gd name="connsiteY65" fmla="*/ 949886 h 2230998"/>
                <a:gd name="connsiteX66" fmla="*/ 590551 w 3219450"/>
                <a:gd name="connsiteY66" fmla="*/ 903451 h 2230998"/>
                <a:gd name="connsiteX67" fmla="*/ 590551 w 3219450"/>
                <a:gd name="connsiteY67" fmla="*/ 717714 h 2230998"/>
                <a:gd name="connsiteX68" fmla="*/ 544116 w 3219450"/>
                <a:gd name="connsiteY68" fmla="*/ 671279 h 2230998"/>
                <a:gd name="connsiteX69" fmla="*/ 248842 w 3219450"/>
                <a:gd name="connsiteY69" fmla="*/ 671279 h 2230998"/>
                <a:gd name="connsiteX70" fmla="*/ 1086335 w 3219450"/>
                <a:gd name="connsiteY70" fmla="*/ 59 h 2230998"/>
                <a:gd name="connsiteX71" fmla="*/ 1152525 w 3219450"/>
                <a:gd name="connsiteY71" fmla="*/ 478398 h 2230998"/>
                <a:gd name="connsiteX72" fmla="*/ 1285875 w 3219450"/>
                <a:gd name="connsiteY72" fmla="*/ 478398 h 2230998"/>
                <a:gd name="connsiteX73" fmla="*/ 1285875 w 3219450"/>
                <a:gd name="connsiteY73" fmla="*/ 792723 h 2230998"/>
                <a:gd name="connsiteX74" fmla="*/ 3219450 w 3219450"/>
                <a:gd name="connsiteY74" fmla="*/ 792723 h 2230998"/>
                <a:gd name="connsiteX75" fmla="*/ 3219450 w 3219450"/>
                <a:gd name="connsiteY75" fmla="*/ 2230998 h 2230998"/>
                <a:gd name="connsiteX76" fmla="*/ 1695450 w 3219450"/>
                <a:gd name="connsiteY76" fmla="*/ 2230998 h 2230998"/>
                <a:gd name="connsiteX77" fmla="*/ 1695450 w 3219450"/>
                <a:gd name="connsiteY77" fmla="*/ 1583298 h 2230998"/>
                <a:gd name="connsiteX78" fmla="*/ 1276350 w 3219450"/>
                <a:gd name="connsiteY78" fmla="*/ 1583298 h 2230998"/>
                <a:gd name="connsiteX79" fmla="*/ 1276350 w 3219450"/>
                <a:gd name="connsiteY79" fmla="*/ 2221473 h 2230998"/>
                <a:gd name="connsiteX80" fmla="*/ 0 w 3219450"/>
                <a:gd name="connsiteY80" fmla="*/ 2221473 h 2230998"/>
                <a:gd name="connsiteX81" fmla="*/ 0 w 3219450"/>
                <a:gd name="connsiteY81" fmla="*/ 487923 h 2230998"/>
                <a:gd name="connsiteX82" fmla="*/ 624283 w 3219450"/>
                <a:gd name="connsiteY82" fmla="*/ 480846 h 2230998"/>
                <a:gd name="connsiteX83" fmla="*/ 756209 w 3219450"/>
                <a:gd name="connsiteY83" fmla="*/ 9583 h 2230998"/>
                <a:gd name="connsiteX84" fmla="*/ 1086335 w 3219450"/>
                <a:gd name="connsiteY84" fmla="*/ 59 h 2230998"/>
                <a:gd name="connsiteX0" fmla="*/ 765573 w 3219450"/>
                <a:gd name="connsiteY0" fmla="*/ 1613329 h 2231340"/>
                <a:gd name="connsiteX1" fmla="*/ 719138 w 3219450"/>
                <a:gd name="connsiteY1" fmla="*/ 1659764 h 2231340"/>
                <a:gd name="connsiteX2" fmla="*/ 719138 w 3219450"/>
                <a:gd name="connsiteY2" fmla="*/ 1845501 h 2231340"/>
                <a:gd name="connsiteX3" fmla="*/ 765573 w 3219450"/>
                <a:gd name="connsiteY3" fmla="*/ 1891936 h 2231340"/>
                <a:gd name="connsiteX4" fmla="*/ 1060847 w 3219450"/>
                <a:gd name="connsiteY4" fmla="*/ 1891936 h 2231340"/>
                <a:gd name="connsiteX5" fmla="*/ 1107282 w 3219450"/>
                <a:gd name="connsiteY5" fmla="*/ 1845501 h 2231340"/>
                <a:gd name="connsiteX6" fmla="*/ 1107282 w 3219450"/>
                <a:gd name="connsiteY6" fmla="*/ 1659764 h 2231340"/>
                <a:gd name="connsiteX7" fmla="*/ 1060847 w 3219450"/>
                <a:gd name="connsiteY7" fmla="*/ 1613329 h 2231340"/>
                <a:gd name="connsiteX8" fmla="*/ 765573 w 3219450"/>
                <a:gd name="connsiteY8" fmla="*/ 1613329 h 2231340"/>
                <a:gd name="connsiteX9" fmla="*/ 248842 w 3219450"/>
                <a:gd name="connsiteY9" fmla="*/ 1613329 h 2231340"/>
                <a:gd name="connsiteX10" fmla="*/ 202407 w 3219450"/>
                <a:gd name="connsiteY10" fmla="*/ 1659764 h 2231340"/>
                <a:gd name="connsiteX11" fmla="*/ 202407 w 3219450"/>
                <a:gd name="connsiteY11" fmla="*/ 1845501 h 2231340"/>
                <a:gd name="connsiteX12" fmla="*/ 248842 w 3219450"/>
                <a:gd name="connsiteY12" fmla="*/ 1891936 h 2231340"/>
                <a:gd name="connsiteX13" fmla="*/ 544116 w 3219450"/>
                <a:gd name="connsiteY13" fmla="*/ 1891936 h 2231340"/>
                <a:gd name="connsiteX14" fmla="*/ 590551 w 3219450"/>
                <a:gd name="connsiteY14" fmla="*/ 1845501 h 2231340"/>
                <a:gd name="connsiteX15" fmla="*/ 590551 w 3219450"/>
                <a:gd name="connsiteY15" fmla="*/ 1659764 h 2231340"/>
                <a:gd name="connsiteX16" fmla="*/ 544116 w 3219450"/>
                <a:gd name="connsiteY16" fmla="*/ 1613329 h 2231340"/>
                <a:gd name="connsiteX17" fmla="*/ 248842 w 3219450"/>
                <a:gd name="connsiteY17" fmla="*/ 1613329 h 2231340"/>
                <a:gd name="connsiteX18" fmla="*/ 1338060 w 3219450"/>
                <a:gd name="connsiteY18" fmla="*/ 1384020 h 2231340"/>
                <a:gd name="connsiteX19" fmla="*/ 1285875 w 3219450"/>
                <a:gd name="connsiteY19" fmla="*/ 1436205 h 2231340"/>
                <a:gd name="connsiteX20" fmla="*/ 1338060 w 3219450"/>
                <a:gd name="connsiteY20" fmla="*/ 1488389 h 2231340"/>
                <a:gd name="connsiteX21" fmla="*/ 2791714 w 3219450"/>
                <a:gd name="connsiteY21" fmla="*/ 1488390 h 2231340"/>
                <a:gd name="connsiteX22" fmla="*/ 2843899 w 3219450"/>
                <a:gd name="connsiteY22" fmla="*/ 1436205 h 2231340"/>
                <a:gd name="connsiteX23" fmla="*/ 2843900 w 3219450"/>
                <a:gd name="connsiteY23" fmla="*/ 1436205 h 2231340"/>
                <a:gd name="connsiteX24" fmla="*/ 2791715 w 3219450"/>
                <a:gd name="connsiteY24" fmla="*/ 1384020 h 2231340"/>
                <a:gd name="connsiteX25" fmla="*/ 1338060 w 3219450"/>
                <a:gd name="connsiteY25" fmla="*/ 1384020 h 2231340"/>
                <a:gd name="connsiteX26" fmla="*/ 1338060 w 3219450"/>
                <a:gd name="connsiteY26" fmla="*/ 1162564 h 2231340"/>
                <a:gd name="connsiteX27" fmla="*/ 1285875 w 3219450"/>
                <a:gd name="connsiteY27" fmla="*/ 1214749 h 2231340"/>
                <a:gd name="connsiteX28" fmla="*/ 1338060 w 3219450"/>
                <a:gd name="connsiteY28" fmla="*/ 1266933 h 2231340"/>
                <a:gd name="connsiteX29" fmla="*/ 2791714 w 3219450"/>
                <a:gd name="connsiteY29" fmla="*/ 1266934 h 2231340"/>
                <a:gd name="connsiteX30" fmla="*/ 2843899 w 3219450"/>
                <a:gd name="connsiteY30" fmla="*/ 1214749 h 2231340"/>
                <a:gd name="connsiteX31" fmla="*/ 2843900 w 3219450"/>
                <a:gd name="connsiteY31" fmla="*/ 1214749 h 2231340"/>
                <a:gd name="connsiteX32" fmla="*/ 2791715 w 3219450"/>
                <a:gd name="connsiteY32" fmla="*/ 1162564 h 2231340"/>
                <a:gd name="connsiteX33" fmla="*/ 1338060 w 3219450"/>
                <a:gd name="connsiteY33" fmla="*/ 1162564 h 2231340"/>
                <a:gd name="connsiteX34" fmla="*/ 765573 w 3219450"/>
                <a:gd name="connsiteY34" fmla="*/ 1157597 h 2231340"/>
                <a:gd name="connsiteX35" fmla="*/ 719138 w 3219450"/>
                <a:gd name="connsiteY35" fmla="*/ 1204032 h 2231340"/>
                <a:gd name="connsiteX36" fmla="*/ 719138 w 3219450"/>
                <a:gd name="connsiteY36" fmla="*/ 1389769 h 2231340"/>
                <a:gd name="connsiteX37" fmla="*/ 765573 w 3219450"/>
                <a:gd name="connsiteY37" fmla="*/ 1436204 h 2231340"/>
                <a:gd name="connsiteX38" fmla="*/ 1060847 w 3219450"/>
                <a:gd name="connsiteY38" fmla="*/ 1436204 h 2231340"/>
                <a:gd name="connsiteX39" fmla="*/ 1107282 w 3219450"/>
                <a:gd name="connsiteY39" fmla="*/ 1389769 h 2231340"/>
                <a:gd name="connsiteX40" fmla="*/ 1107282 w 3219450"/>
                <a:gd name="connsiteY40" fmla="*/ 1204032 h 2231340"/>
                <a:gd name="connsiteX41" fmla="*/ 1060847 w 3219450"/>
                <a:gd name="connsiteY41" fmla="*/ 1157597 h 2231340"/>
                <a:gd name="connsiteX42" fmla="*/ 765573 w 3219450"/>
                <a:gd name="connsiteY42" fmla="*/ 1157597 h 2231340"/>
                <a:gd name="connsiteX43" fmla="*/ 248842 w 3219450"/>
                <a:gd name="connsiteY43" fmla="*/ 1157597 h 2231340"/>
                <a:gd name="connsiteX44" fmla="*/ 202407 w 3219450"/>
                <a:gd name="connsiteY44" fmla="*/ 1204032 h 2231340"/>
                <a:gd name="connsiteX45" fmla="*/ 202407 w 3219450"/>
                <a:gd name="connsiteY45" fmla="*/ 1389769 h 2231340"/>
                <a:gd name="connsiteX46" fmla="*/ 248842 w 3219450"/>
                <a:gd name="connsiteY46" fmla="*/ 1436204 h 2231340"/>
                <a:gd name="connsiteX47" fmla="*/ 544116 w 3219450"/>
                <a:gd name="connsiteY47" fmla="*/ 1436204 h 2231340"/>
                <a:gd name="connsiteX48" fmla="*/ 590551 w 3219450"/>
                <a:gd name="connsiteY48" fmla="*/ 1389769 h 2231340"/>
                <a:gd name="connsiteX49" fmla="*/ 590551 w 3219450"/>
                <a:gd name="connsiteY49" fmla="*/ 1204032 h 2231340"/>
                <a:gd name="connsiteX50" fmla="*/ 544116 w 3219450"/>
                <a:gd name="connsiteY50" fmla="*/ 1157597 h 2231340"/>
                <a:gd name="connsiteX51" fmla="*/ 248842 w 3219450"/>
                <a:gd name="connsiteY51" fmla="*/ 1157597 h 2231340"/>
                <a:gd name="connsiteX52" fmla="*/ 765573 w 3219450"/>
                <a:gd name="connsiteY52" fmla="*/ 671621 h 2231340"/>
                <a:gd name="connsiteX53" fmla="*/ 719138 w 3219450"/>
                <a:gd name="connsiteY53" fmla="*/ 718056 h 2231340"/>
                <a:gd name="connsiteX54" fmla="*/ 719138 w 3219450"/>
                <a:gd name="connsiteY54" fmla="*/ 903793 h 2231340"/>
                <a:gd name="connsiteX55" fmla="*/ 765573 w 3219450"/>
                <a:gd name="connsiteY55" fmla="*/ 950228 h 2231340"/>
                <a:gd name="connsiteX56" fmla="*/ 1060847 w 3219450"/>
                <a:gd name="connsiteY56" fmla="*/ 950228 h 2231340"/>
                <a:gd name="connsiteX57" fmla="*/ 1107282 w 3219450"/>
                <a:gd name="connsiteY57" fmla="*/ 903793 h 2231340"/>
                <a:gd name="connsiteX58" fmla="*/ 1107282 w 3219450"/>
                <a:gd name="connsiteY58" fmla="*/ 718056 h 2231340"/>
                <a:gd name="connsiteX59" fmla="*/ 1060847 w 3219450"/>
                <a:gd name="connsiteY59" fmla="*/ 671621 h 2231340"/>
                <a:gd name="connsiteX60" fmla="*/ 765573 w 3219450"/>
                <a:gd name="connsiteY60" fmla="*/ 671621 h 2231340"/>
                <a:gd name="connsiteX61" fmla="*/ 248842 w 3219450"/>
                <a:gd name="connsiteY61" fmla="*/ 671621 h 2231340"/>
                <a:gd name="connsiteX62" fmla="*/ 202407 w 3219450"/>
                <a:gd name="connsiteY62" fmla="*/ 718056 h 2231340"/>
                <a:gd name="connsiteX63" fmla="*/ 202407 w 3219450"/>
                <a:gd name="connsiteY63" fmla="*/ 903793 h 2231340"/>
                <a:gd name="connsiteX64" fmla="*/ 248842 w 3219450"/>
                <a:gd name="connsiteY64" fmla="*/ 950228 h 2231340"/>
                <a:gd name="connsiteX65" fmla="*/ 544116 w 3219450"/>
                <a:gd name="connsiteY65" fmla="*/ 950228 h 2231340"/>
                <a:gd name="connsiteX66" fmla="*/ 590551 w 3219450"/>
                <a:gd name="connsiteY66" fmla="*/ 903793 h 2231340"/>
                <a:gd name="connsiteX67" fmla="*/ 590551 w 3219450"/>
                <a:gd name="connsiteY67" fmla="*/ 718056 h 2231340"/>
                <a:gd name="connsiteX68" fmla="*/ 544116 w 3219450"/>
                <a:gd name="connsiteY68" fmla="*/ 671621 h 2231340"/>
                <a:gd name="connsiteX69" fmla="*/ 248842 w 3219450"/>
                <a:gd name="connsiteY69" fmla="*/ 671621 h 2231340"/>
                <a:gd name="connsiteX70" fmla="*/ 1086335 w 3219450"/>
                <a:gd name="connsiteY70" fmla="*/ 401 h 2231340"/>
                <a:gd name="connsiteX71" fmla="*/ 1152525 w 3219450"/>
                <a:gd name="connsiteY71" fmla="*/ 478740 h 2231340"/>
                <a:gd name="connsiteX72" fmla="*/ 1285875 w 3219450"/>
                <a:gd name="connsiteY72" fmla="*/ 478740 h 2231340"/>
                <a:gd name="connsiteX73" fmla="*/ 1285875 w 3219450"/>
                <a:gd name="connsiteY73" fmla="*/ 793065 h 2231340"/>
                <a:gd name="connsiteX74" fmla="*/ 3219450 w 3219450"/>
                <a:gd name="connsiteY74" fmla="*/ 793065 h 2231340"/>
                <a:gd name="connsiteX75" fmla="*/ 3219450 w 3219450"/>
                <a:gd name="connsiteY75" fmla="*/ 2231340 h 2231340"/>
                <a:gd name="connsiteX76" fmla="*/ 1695450 w 3219450"/>
                <a:gd name="connsiteY76" fmla="*/ 2231340 h 2231340"/>
                <a:gd name="connsiteX77" fmla="*/ 1695450 w 3219450"/>
                <a:gd name="connsiteY77" fmla="*/ 1583640 h 2231340"/>
                <a:gd name="connsiteX78" fmla="*/ 1276350 w 3219450"/>
                <a:gd name="connsiteY78" fmla="*/ 1583640 h 2231340"/>
                <a:gd name="connsiteX79" fmla="*/ 1276350 w 3219450"/>
                <a:gd name="connsiteY79" fmla="*/ 2221815 h 2231340"/>
                <a:gd name="connsiteX80" fmla="*/ 0 w 3219450"/>
                <a:gd name="connsiteY80" fmla="*/ 2221815 h 2231340"/>
                <a:gd name="connsiteX81" fmla="*/ 0 w 3219450"/>
                <a:gd name="connsiteY81" fmla="*/ 488265 h 2231340"/>
                <a:gd name="connsiteX82" fmla="*/ 624283 w 3219450"/>
                <a:gd name="connsiteY82" fmla="*/ 481188 h 2231340"/>
                <a:gd name="connsiteX83" fmla="*/ 756209 w 3219450"/>
                <a:gd name="connsiteY83" fmla="*/ 9925 h 2231340"/>
                <a:gd name="connsiteX84" fmla="*/ 1086335 w 3219450"/>
                <a:gd name="connsiteY84" fmla="*/ 401 h 2231340"/>
                <a:gd name="connsiteX0" fmla="*/ 765573 w 3219450"/>
                <a:gd name="connsiteY0" fmla="*/ 1603886 h 2221897"/>
                <a:gd name="connsiteX1" fmla="*/ 719138 w 3219450"/>
                <a:gd name="connsiteY1" fmla="*/ 1650321 h 2221897"/>
                <a:gd name="connsiteX2" fmla="*/ 719138 w 3219450"/>
                <a:gd name="connsiteY2" fmla="*/ 1836058 h 2221897"/>
                <a:gd name="connsiteX3" fmla="*/ 765573 w 3219450"/>
                <a:gd name="connsiteY3" fmla="*/ 1882493 h 2221897"/>
                <a:gd name="connsiteX4" fmla="*/ 1060847 w 3219450"/>
                <a:gd name="connsiteY4" fmla="*/ 1882493 h 2221897"/>
                <a:gd name="connsiteX5" fmla="*/ 1107282 w 3219450"/>
                <a:gd name="connsiteY5" fmla="*/ 1836058 h 2221897"/>
                <a:gd name="connsiteX6" fmla="*/ 1107282 w 3219450"/>
                <a:gd name="connsiteY6" fmla="*/ 1650321 h 2221897"/>
                <a:gd name="connsiteX7" fmla="*/ 1060847 w 3219450"/>
                <a:gd name="connsiteY7" fmla="*/ 1603886 h 2221897"/>
                <a:gd name="connsiteX8" fmla="*/ 765573 w 3219450"/>
                <a:gd name="connsiteY8" fmla="*/ 1603886 h 2221897"/>
                <a:gd name="connsiteX9" fmla="*/ 248842 w 3219450"/>
                <a:gd name="connsiteY9" fmla="*/ 1603886 h 2221897"/>
                <a:gd name="connsiteX10" fmla="*/ 202407 w 3219450"/>
                <a:gd name="connsiteY10" fmla="*/ 1650321 h 2221897"/>
                <a:gd name="connsiteX11" fmla="*/ 202407 w 3219450"/>
                <a:gd name="connsiteY11" fmla="*/ 1836058 h 2221897"/>
                <a:gd name="connsiteX12" fmla="*/ 248842 w 3219450"/>
                <a:gd name="connsiteY12" fmla="*/ 1882493 h 2221897"/>
                <a:gd name="connsiteX13" fmla="*/ 544116 w 3219450"/>
                <a:gd name="connsiteY13" fmla="*/ 1882493 h 2221897"/>
                <a:gd name="connsiteX14" fmla="*/ 590551 w 3219450"/>
                <a:gd name="connsiteY14" fmla="*/ 1836058 h 2221897"/>
                <a:gd name="connsiteX15" fmla="*/ 590551 w 3219450"/>
                <a:gd name="connsiteY15" fmla="*/ 1650321 h 2221897"/>
                <a:gd name="connsiteX16" fmla="*/ 544116 w 3219450"/>
                <a:gd name="connsiteY16" fmla="*/ 1603886 h 2221897"/>
                <a:gd name="connsiteX17" fmla="*/ 248842 w 3219450"/>
                <a:gd name="connsiteY17" fmla="*/ 1603886 h 2221897"/>
                <a:gd name="connsiteX18" fmla="*/ 1338060 w 3219450"/>
                <a:gd name="connsiteY18" fmla="*/ 1374577 h 2221897"/>
                <a:gd name="connsiteX19" fmla="*/ 1285875 w 3219450"/>
                <a:gd name="connsiteY19" fmla="*/ 1426762 h 2221897"/>
                <a:gd name="connsiteX20" fmla="*/ 1338060 w 3219450"/>
                <a:gd name="connsiteY20" fmla="*/ 1478946 h 2221897"/>
                <a:gd name="connsiteX21" fmla="*/ 2791714 w 3219450"/>
                <a:gd name="connsiteY21" fmla="*/ 1478947 h 2221897"/>
                <a:gd name="connsiteX22" fmla="*/ 2843899 w 3219450"/>
                <a:gd name="connsiteY22" fmla="*/ 1426762 h 2221897"/>
                <a:gd name="connsiteX23" fmla="*/ 2843900 w 3219450"/>
                <a:gd name="connsiteY23" fmla="*/ 1426762 h 2221897"/>
                <a:gd name="connsiteX24" fmla="*/ 2791715 w 3219450"/>
                <a:gd name="connsiteY24" fmla="*/ 1374577 h 2221897"/>
                <a:gd name="connsiteX25" fmla="*/ 1338060 w 3219450"/>
                <a:gd name="connsiteY25" fmla="*/ 1374577 h 2221897"/>
                <a:gd name="connsiteX26" fmla="*/ 1338060 w 3219450"/>
                <a:gd name="connsiteY26" fmla="*/ 1153121 h 2221897"/>
                <a:gd name="connsiteX27" fmla="*/ 1285875 w 3219450"/>
                <a:gd name="connsiteY27" fmla="*/ 1205306 h 2221897"/>
                <a:gd name="connsiteX28" fmla="*/ 1338060 w 3219450"/>
                <a:gd name="connsiteY28" fmla="*/ 1257490 h 2221897"/>
                <a:gd name="connsiteX29" fmla="*/ 2791714 w 3219450"/>
                <a:gd name="connsiteY29" fmla="*/ 1257491 h 2221897"/>
                <a:gd name="connsiteX30" fmla="*/ 2843899 w 3219450"/>
                <a:gd name="connsiteY30" fmla="*/ 1205306 h 2221897"/>
                <a:gd name="connsiteX31" fmla="*/ 2843900 w 3219450"/>
                <a:gd name="connsiteY31" fmla="*/ 1205306 h 2221897"/>
                <a:gd name="connsiteX32" fmla="*/ 2791715 w 3219450"/>
                <a:gd name="connsiteY32" fmla="*/ 1153121 h 2221897"/>
                <a:gd name="connsiteX33" fmla="*/ 1338060 w 3219450"/>
                <a:gd name="connsiteY33" fmla="*/ 1153121 h 2221897"/>
                <a:gd name="connsiteX34" fmla="*/ 765573 w 3219450"/>
                <a:gd name="connsiteY34" fmla="*/ 1148154 h 2221897"/>
                <a:gd name="connsiteX35" fmla="*/ 719138 w 3219450"/>
                <a:gd name="connsiteY35" fmla="*/ 1194589 h 2221897"/>
                <a:gd name="connsiteX36" fmla="*/ 719138 w 3219450"/>
                <a:gd name="connsiteY36" fmla="*/ 1380326 h 2221897"/>
                <a:gd name="connsiteX37" fmla="*/ 765573 w 3219450"/>
                <a:gd name="connsiteY37" fmla="*/ 1426761 h 2221897"/>
                <a:gd name="connsiteX38" fmla="*/ 1060847 w 3219450"/>
                <a:gd name="connsiteY38" fmla="*/ 1426761 h 2221897"/>
                <a:gd name="connsiteX39" fmla="*/ 1107282 w 3219450"/>
                <a:gd name="connsiteY39" fmla="*/ 1380326 h 2221897"/>
                <a:gd name="connsiteX40" fmla="*/ 1107282 w 3219450"/>
                <a:gd name="connsiteY40" fmla="*/ 1194589 h 2221897"/>
                <a:gd name="connsiteX41" fmla="*/ 1060847 w 3219450"/>
                <a:gd name="connsiteY41" fmla="*/ 1148154 h 2221897"/>
                <a:gd name="connsiteX42" fmla="*/ 765573 w 3219450"/>
                <a:gd name="connsiteY42" fmla="*/ 1148154 h 2221897"/>
                <a:gd name="connsiteX43" fmla="*/ 248842 w 3219450"/>
                <a:gd name="connsiteY43" fmla="*/ 1148154 h 2221897"/>
                <a:gd name="connsiteX44" fmla="*/ 202407 w 3219450"/>
                <a:gd name="connsiteY44" fmla="*/ 1194589 h 2221897"/>
                <a:gd name="connsiteX45" fmla="*/ 202407 w 3219450"/>
                <a:gd name="connsiteY45" fmla="*/ 1380326 h 2221897"/>
                <a:gd name="connsiteX46" fmla="*/ 248842 w 3219450"/>
                <a:gd name="connsiteY46" fmla="*/ 1426761 h 2221897"/>
                <a:gd name="connsiteX47" fmla="*/ 544116 w 3219450"/>
                <a:gd name="connsiteY47" fmla="*/ 1426761 h 2221897"/>
                <a:gd name="connsiteX48" fmla="*/ 590551 w 3219450"/>
                <a:gd name="connsiteY48" fmla="*/ 1380326 h 2221897"/>
                <a:gd name="connsiteX49" fmla="*/ 590551 w 3219450"/>
                <a:gd name="connsiteY49" fmla="*/ 1194589 h 2221897"/>
                <a:gd name="connsiteX50" fmla="*/ 544116 w 3219450"/>
                <a:gd name="connsiteY50" fmla="*/ 1148154 h 2221897"/>
                <a:gd name="connsiteX51" fmla="*/ 248842 w 3219450"/>
                <a:gd name="connsiteY51" fmla="*/ 1148154 h 2221897"/>
                <a:gd name="connsiteX52" fmla="*/ 765573 w 3219450"/>
                <a:gd name="connsiteY52" fmla="*/ 662178 h 2221897"/>
                <a:gd name="connsiteX53" fmla="*/ 719138 w 3219450"/>
                <a:gd name="connsiteY53" fmla="*/ 708613 h 2221897"/>
                <a:gd name="connsiteX54" fmla="*/ 719138 w 3219450"/>
                <a:gd name="connsiteY54" fmla="*/ 894350 h 2221897"/>
                <a:gd name="connsiteX55" fmla="*/ 765573 w 3219450"/>
                <a:gd name="connsiteY55" fmla="*/ 940785 h 2221897"/>
                <a:gd name="connsiteX56" fmla="*/ 1060847 w 3219450"/>
                <a:gd name="connsiteY56" fmla="*/ 940785 h 2221897"/>
                <a:gd name="connsiteX57" fmla="*/ 1107282 w 3219450"/>
                <a:gd name="connsiteY57" fmla="*/ 894350 h 2221897"/>
                <a:gd name="connsiteX58" fmla="*/ 1107282 w 3219450"/>
                <a:gd name="connsiteY58" fmla="*/ 708613 h 2221897"/>
                <a:gd name="connsiteX59" fmla="*/ 1060847 w 3219450"/>
                <a:gd name="connsiteY59" fmla="*/ 662178 h 2221897"/>
                <a:gd name="connsiteX60" fmla="*/ 765573 w 3219450"/>
                <a:gd name="connsiteY60" fmla="*/ 662178 h 2221897"/>
                <a:gd name="connsiteX61" fmla="*/ 248842 w 3219450"/>
                <a:gd name="connsiteY61" fmla="*/ 662178 h 2221897"/>
                <a:gd name="connsiteX62" fmla="*/ 202407 w 3219450"/>
                <a:gd name="connsiteY62" fmla="*/ 708613 h 2221897"/>
                <a:gd name="connsiteX63" fmla="*/ 202407 w 3219450"/>
                <a:gd name="connsiteY63" fmla="*/ 894350 h 2221897"/>
                <a:gd name="connsiteX64" fmla="*/ 248842 w 3219450"/>
                <a:gd name="connsiteY64" fmla="*/ 940785 h 2221897"/>
                <a:gd name="connsiteX65" fmla="*/ 544116 w 3219450"/>
                <a:gd name="connsiteY65" fmla="*/ 940785 h 2221897"/>
                <a:gd name="connsiteX66" fmla="*/ 590551 w 3219450"/>
                <a:gd name="connsiteY66" fmla="*/ 894350 h 2221897"/>
                <a:gd name="connsiteX67" fmla="*/ 590551 w 3219450"/>
                <a:gd name="connsiteY67" fmla="*/ 708613 h 2221897"/>
                <a:gd name="connsiteX68" fmla="*/ 544116 w 3219450"/>
                <a:gd name="connsiteY68" fmla="*/ 662178 h 2221897"/>
                <a:gd name="connsiteX69" fmla="*/ 248842 w 3219450"/>
                <a:gd name="connsiteY69" fmla="*/ 662178 h 2221897"/>
                <a:gd name="connsiteX70" fmla="*/ 1080801 w 3219450"/>
                <a:gd name="connsiteY70" fmla="*/ 13097 h 2221897"/>
                <a:gd name="connsiteX71" fmla="*/ 1152525 w 3219450"/>
                <a:gd name="connsiteY71" fmla="*/ 469297 h 2221897"/>
                <a:gd name="connsiteX72" fmla="*/ 1285875 w 3219450"/>
                <a:gd name="connsiteY72" fmla="*/ 469297 h 2221897"/>
                <a:gd name="connsiteX73" fmla="*/ 1285875 w 3219450"/>
                <a:gd name="connsiteY73" fmla="*/ 783622 h 2221897"/>
                <a:gd name="connsiteX74" fmla="*/ 3219450 w 3219450"/>
                <a:gd name="connsiteY74" fmla="*/ 783622 h 2221897"/>
                <a:gd name="connsiteX75" fmla="*/ 3219450 w 3219450"/>
                <a:gd name="connsiteY75" fmla="*/ 2221897 h 2221897"/>
                <a:gd name="connsiteX76" fmla="*/ 1695450 w 3219450"/>
                <a:gd name="connsiteY76" fmla="*/ 2221897 h 2221897"/>
                <a:gd name="connsiteX77" fmla="*/ 1695450 w 3219450"/>
                <a:gd name="connsiteY77" fmla="*/ 1574197 h 2221897"/>
                <a:gd name="connsiteX78" fmla="*/ 1276350 w 3219450"/>
                <a:gd name="connsiteY78" fmla="*/ 1574197 h 2221897"/>
                <a:gd name="connsiteX79" fmla="*/ 1276350 w 3219450"/>
                <a:gd name="connsiteY79" fmla="*/ 2212372 h 2221897"/>
                <a:gd name="connsiteX80" fmla="*/ 0 w 3219450"/>
                <a:gd name="connsiteY80" fmla="*/ 2212372 h 2221897"/>
                <a:gd name="connsiteX81" fmla="*/ 0 w 3219450"/>
                <a:gd name="connsiteY81" fmla="*/ 478822 h 2221897"/>
                <a:gd name="connsiteX82" fmla="*/ 624283 w 3219450"/>
                <a:gd name="connsiteY82" fmla="*/ 471745 h 2221897"/>
                <a:gd name="connsiteX83" fmla="*/ 756209 w 3219450"/>
                <a:gd name="connsiteY83" fmla="*/ 482 h 2221897"/>
                <a:gd name="connsiteX84" fmla="*/ 1080801 w 3219450"/>
                <a:gd name="connsiteY84" fmla="*/ 13097 h 2221897"/>
                <a:gd name="connsiteX0" fmla="*/ 765573 w 3219450"/>
                <a:gd name="connsiteY0" fmla="*/ 1604939 h 2222950"/>
                <a:gd name="connsiteX1" fmla="*/ 719138 w 3219450"/>
                <a:gd name="connsiteY1" fmla="*/ 1651374 h 2222950"/>
                <a:gd name="connsiteX2" fmla="*/ 719138 w 3219450"/>
                <a:gd name="connsiteY2" fmla="*/ 1837111 h 2222950"/>
                <a:gd name="connsiteX3" fmla="*/ 765573 w 3219450"/>
                <a:gd name="connsiteY3" fmla="*/ 1883546 h 2222950"/>
                <a:gd name="connsiteX4" fmla="*/ 1060847 w 3219450"/>
                <a:gd name="connsiteY4" fmla="*/ 1883546 h 2222950"/>
                <a:gd name="connsiteX5" fmla="*/ 1107282 w 3219450"/>
                <a:gd name="connsiteY5" fmla="*/ 1837111 h 2222950"/>
                <a:gd name="connsiteX6" fmla="*/ 1107282 w 3219450"/>
                <a:gd name="connsiteY6" fmla="*/ 1651374 h 2222950"/>
                <a:gd name="connsiteX7" fmla="*/ 1060847 w 3219450"/>
                <a:gd name="connsiteY7" fmla="*/ 1604939 h 2222950"/>
                <a:gd name="connsiteX8" fmla="*/ 765573 w 3219450"/>
                <a:gd name="connsiteY8" fmla="*/ 1604939 h 2222950"/>
                <a:gd name="connsiteX9" fmla="*/ 248842 w 3219450"/>
                <a:gd name="connsiteY9" fmla="*/ 1604939 h 2222950"/>
                <a:gd name="connsiteX10" fmla="*/ 202407 w 3219450"/>
                <a:gd name="connsiteY10" fmla="*/ 1651374 h 2222950"/>
                <a:gd name="connsiteX11" fmla="*/ 202407 w 3219450"/>
                <a:gd name="connsiteY11" fmla="*/ 1837111 h 2222950"/>
                <a:gd name="connsiteX12" fmla="*/ 248842 w 3219450"/>
                <a:gd name="connsiteY12" fmla="*/ 1883546 h 2222950"/>
                <a:gd name="connsiteX13" fmla="*/ 544116 w 3219450"/>
                <a:gd name="connsiteY13" fmla="*/ 1883546 h 2222950"/>
                <a:gd name="connsiteX14" fmla="*/ 590551 w 3219450"/>
                <a:gd name="connsiteY14" fmla="*/ 1837111 h 2222950"/>
                <a:gd name="connsiteX15" fmla="*/ 590551 w 3219450"/>
                <a:gd name="connsiteY15" fmla="*/ 1651374 h 2222950"/>
                <a:gd name="connsiteX16" fmla="*/ 544116 w 3219450"/>
                <a:gd name="connsiteY16" fmla="*/ 1604939 h 2222950"/>
                <a:gd name="connsiteX17" fmla="*/ 248842 w 3219450"/>
                <a:gd name="connsiteY17" fmla="*/ 1604939 h 2222950"/>
                <a:gd name="connsiteX18" fmla="*/ 1338060 w 3219450"/>
                <a:gd name="connsiteY18" fmla="*/ 1375630 h 2222950"/>
                <a:gd name="connsiteX19" fmla="*/ 1285875 w 3219450"/>
                <a:gd name="connsiteY19" fmla="*/ 1427815 h 2222950"/>
                <a:gd name="connsiteX20" fmla="*/ 1338060 w 3219450"/>
                <a:gd name="connsiteY20" fmla="*/ 1479999 h 2222950"/>
                <a:gd name="connsiteX21" fmla="*/ 2791714 w 3219450"/>
                <a:gd name="connsiteY21" fmla="*/ 1480000 h 2222950"/>
                <a:gd name="connsiteX22" fmla="*/ 2843899 w 3219450"/>
                <a:gd name="connsiteY22" fmla="*/ 1427815 h 2222950"/>
                <a:gd name="connsiteX23" fmla="*/ 2843900 w 3219450"/>
                <a:gd name="connsiteY23" fmla="*/ 1427815 h 2222950"/>
                <a:gd name="connsiteX24" fmla="*/ 2791715 w 3219450"/>
                <a:gd name="connsiteY24" fmla="*/ 1375630 h 2222950"/>
                <a:gd name="connsiteX25" fmla="*/ 1338060 w 3219450"/>
                <a:gd name="connsiteY25" fmla="*/ 1375630 h 2222950"/>
                <a:gd name="connsiteX26" fmla="*/ 1338060 w 3219450"/>
                <a:gd name="connsiteY26" fmla="*/ 1154174 h 2222950"/>
                <a:gd name="connsiteX27" fmla="*/ 1285875 w 3219450"/>
                <a:gd name="connsiteY27" fmla="*/ 1206359 h 2222950"/>
                <a:gd name="connsiteX28" fmla="*/ 1338060 w 3219450"/>
                <a:gd name="connsiteY28" fmla="*/ 1258543 h 2222950"/>
                <a:gd name="connsiteX29" fmla="*/ 2791714 w 3219450"/>
                <a:gd name="connsiteY29" fmla="*/ 1258544 h 2222950"/>
                <a:gd name="connsiteX30" fmla="*/ 2843899 w 3219450"/>
                <a:gd name="connsiteY30" fmla="*/ 1206359 h 2222950"/>
                <a:gd name="connsiteX31" fmla="*/ 2843900 w 3219450"/>
                <a:gd name="connsiteY31" fmla="*/ 1206359 h 2222950"/>
                <a:gd name="connsiteX32" fmla="*/ 2791715 w 3219450"/>
                <a:gd name="connsiteY32" fmla="*/ 1154174 h 2222950"/>
                <a:gd name="connsiteX33" fmla="*/ 1338060 w 3219450"/>
                <a:gd name="connsiteY33" fmla="*/ 1154174 h 2222950"/>
                <a:gd name="connsiteX34" fmla="*/ 765573 w 3219450"/>
                <a:gd name="connsiteY34" fmla="*/ 1149207 h 2222950"/>
                <a:gd name="connsiteX35" fmla="*/ 719138 w 3219450"/>
                <a:gd name="connsiteY35" fmla="*/ 1195642 h 2222950"/>
                <a:gd name="connsiteX36" fmla="*/ 719138 w 3219450"/>
                <a:gd name="connsiteY36" fmla="*/ 1381379 h 2222950"/>
                <a:gd name="connsiteX37" fmla="*/ 765573 w 3219450"/>
                <a:gd name="connsiteY37" fmla="*/ 1427814 h 2222950"/>
                <a:gd name="connsiteX38" fmla="*/ 1060847 w 3219450"/>
                <a:gd name="connsiteY38" fmla="*/ 1427814 h 2222950"/>
                <a:gd name="connsiteX39" fmla="*/ 1107282 w 3219450"/>
                <a:gd name="connsiteY39" fmla="*/ 1381379 h 2222950"/>
                <a:gd name="connsiteX40" fmla="*/ 1107282 w 3219450"/>
                <a:gd name="connsiteY40" fmla="*/ 1195642 h 2222950"/>
                <a:gd name="connsiteX41" fmla="*/ 1060847 w 3219450"/>
                <a:gd name="connsiteY41" fmla="*/ 1149207 h 2222950"/>
                <a:gd name="connsiteX42" fmla="*/ 765573 w 3219450"/>
                <a:gd name="connsiteY42" fmla="*/ 1149207 h 2222950"/>
                <a:gd name="connsiteX43" fmla="*/ 248842 w 3219450"/>
                <a:gd name="connsiteY43" fmla="*/ 1149207 h 2222950"/>
                <a:gd name="connsiteX44" fmla="*/ 202407 w 3219450"/>
                <a:gd name="connsiteY44" fmla="*/ 1195642 h 2222950"/>
                <a:gd name="connsiteX45" fmla="*/ 202407 w 3219450"/>
                <a:gd name="connsiteY45" fmla="*/ 1381379 h 2222950"/>
                <a:gd name="connsiteX46" fmla="*/ 248842 w 3219450"/>
                <a:gd name="connsiteY46" fmla="*/ 1427814 h 2222950"/>
                <a:gd name="connsiteX47" fmla="*/ 544116 w 3219450"/>
                <a:gd name="connsiteY47" fmla="*/ 1427814 h 2222950"/>
                <a:gd name="connsiteX48" fmla="*/ 590551 w 3219450"/>
                <a:gd name="connsiteY48" fmla="*/ 1381379 h 2222950"/>
                <a:gd name="connsiteX49" fmla="*/ 590551 w 3219450"/>
                <a:gd name="connsiteY49" fmla="*/ 1195642 h 2222950"/>
                <a:gd name="connsiteX50" fmla="*/ 544116 w 3219450"/>
                <a:gd name="connsiteY50" fmla="*/ 1149207 h 2222950"/>
                <a:gd name="connsiteX51" fmla="*/ 248842 w 3219450"/>
                <a:gd name="connsiteY51" fmla="*/ 1149207 h 2222950"/>
                <a:gd name="connsiteX52" fmla="*/ 765573 w 3219450"/>
                <a:gd name="connsiteY52" fmla="*/ 663231 h 2222950"/>
                <a:gd name="connsiteX53" fmla="*/ 719138 w 3219450"/>
                <a:gd name="connsiteY53" fmla="*/ 709666 h 2222950"/>
                <a:gd name="connsiteX54" fmla="*/ 719138 w 3219450"/>
                <a:gd name="connsiteY54" fmla="*/ 895403 h 2222950"/>
                <a:gd name="connsiteX55" fmla="*/ 765573 w 3219450"/>
                <a:gd name="connsiteY55" fmla="*/ 941838 h 2222950"/>
                <a:gd name="connsiteX56" fmla="*/ 1060847 w 3219450"/>
                <a:gd name="connsiteY56" fmla="*/ 941838 h 2222950"/>
                <a:gd name="connsiteX57" fmla="*/ 1107282 w 3219450"/>
                <a:gd name="connsiteY57" fmla="*/ 895403 h 2222950"/>
                <a:gd name="connsiteX58" fmla="*/ 1107282 w 3219450"/>
                <a:gd name="connsiteY58" fmla="*/ 709666 h 2222950"/>
                <a:gd name="connsiteX59" fmla="*/ 1060847 w 3219450"/>
                <a:gd name="connsiteY59" fmla="*/ 663231 h 2222950"/>
                <a:gd name="connsiteX60" fmla="*/ 765573 w 3219450"/>
                <a:gd name="connsiteY60" fmla="*/ 663231 h 2222950"/>
                <a:gd name="connsiteX61" fmla="*/ 248842 w 3219450"/>
                <a:gd name="connsiteY61" fmla="*/ 663231 h 2222950"/>
                <a:gd name="connsiteX62" fmla="*/ 202407 w 3219450"/>
                <a:gd name="connsiteY62" fmla="*/ 709666 h 2222950"/>
                <a:gd name="connsiteX63" fmla="*/ 202407 w 3219450"/>
                <a:gd name="connsiteY63" fmla="*/ 895403 h 2222950"/>
                <a:gd name="connsiteX64" fmla="*/ 248842 w 3219450"/>
                <a:gd name="connsiteY64" fmla="*/ 941838 h 2222950"/>
                <a:gd name="connsiteX65" fmla="*/ 544116 w 3219450"/>
                <a:gd name="connsiteY65" fmla="*/ 941838 h 2222950"/>
                <a:gd name="connsiteX66" fmla="*/ 590551 w 3219450"/>
                <a:gd name="connsiteY66" fmla="*/ 895403 h 2222950"/>
                <a:gd name="connsiteX67" fmla="*/ 590551 w 3219450"/>
                <a:gd name="connsiteY67" fmla="*/ 709666 h 2222950"/>
                <a:gd name="connsiteX68" fmla="*/ 544116 w 3219450"/>
                <a:gd name="connsiteY68" fmla="*/ 663231 h 2222950"/>
                <a:gd name="connsiteX69" fmla="*/ 248842 w 3219450"/>
                <a:gd name="connsiteY69" fmla="*/ 663231 h 2222950"/>
                <a:gd name="connsiteX70" fmla="*/ 1086335 w 3219450"/>
                <a:gd name="connsiteY70" fmla="*/ 3080 h 2222950"/>
                <a:gd name="connsiteX71" fmla="*/ 1152525 w 3219450"/>
                <a:gd name="connsiteY71" fmla="*/ 470350 h 2222950"/>
                <a:gd name="connsiteX72" fmla="*/ 1285875 w 3219450"/>
                <a:gd name="connsiteY72" fmla="*/ 470350 h 2222950"/>
                <a:gd name="connsiteX73" fmla="*/ 1285875 w 3219450"/>
                <a:gd name="connsiteY73" fmla="*/ 784675 h 2222950"/>
                <a:gd name="connsiteX74" fmla="*/ 3219450 w 3219450"/>
                <a:gd name="connsiteY74" fmla="*/ 784675 h 2222950"/>
                <a:gd name="connsiteX75" fmla="*/ 3219450 w 3219450"/>
                <a:gd name="connsiteY75" fmla="*/ 2222950 h 2222950"/>
                <a:gd name="connsiteX76" fmla="*/ 1695450 w 3219450"/>
                <a:gd name="connsiteY76" fmla="*/ 2222950 h 2222950"/>
                <a:gd name="connsiteX77" fmla="*/ 1695450 w 3219450"/>
                <a:gd name="connsiteY77" fmla="*/ 1575250 h 2222950"/>
                <a:gd name="connsiteX78" fmla="*/ 1276350 w 3219450"/>
                <a:gd name="connsiteY78" fmla="*/ 1575250 h 2222950"/>
                <a:gd name="connsiteX79" fmla="*/ 1276350 w 3219450"/>
                <a:gd name="connsiteY79" fmla="*/ 2213425 h 2222950"/>
                <a:gd name="connsiteX80" fmla="*/ 0 w 3219450"/>
                <a:gd name="connsiteY80" fmla="*/ 2213425 h 2222950"/>
                <a:gd name="connsiteX81" fmla="*/ 0 w 3219450"/>
                <a:gd name="connsiteY81" fmla="*/ 479875 h 2222950"/>
                <a:gd name="connsiteX82" fmla="*/ 624283 w 3219450"/>
                <a:gd name="connsiteY82" fmla="*/ 472798 h 2222950"/>
                <a:gd name="connsiteX83" fmla="*/ 756209 w 3219450"/>
                <a:gd name="connsiteY83" fmla="*/ 1535 h 2222950"/>
                <a:gd name="connsiteX84" fmla="*/ 1086335 w 3219450"/>
                <a:gd name="connsiteY84" fmla="*/ 3080 h 2222950"/>
                <a:gd name="connsiteX0" fmla="*/ 765573 w 3219450"/>
                <a:gd name="connsiteY0" fmla="*/ 1601878 h 2219889"/>
                <a:gd name="connsiteX1" fmla="*/ 719138 w 3219450"/>
                <a:gd name="connsiteY1" fmla="*/ 1648313 h 2219889"/>
                <a:gd name="connsiteX2" fmla="*/ 719138 w 3219450"/>
                <a:gd name="connsiteY2" fmla="*/ 1834050 h 2219889"/>
                <a:gd name="connsiteX3" fmla="*/ 765573 w 3219450"/>
                <a:gd name="connsiteY3" fmla="*/ 1880485 h 2219889"/>
                <a:gd name="connsiteX4" fmla="*/ 1060847 w 3219450"/>
                <a:gd name="connsiteY4" fmla="*/ 1880485 h 2219889"/>
                <a:gd name="connsiteX5" fmla="*/ 1107282 w 3219450"/>
                <a:gd name="connsiteY5" fmla="*/ 1834050 h 2219889"/>
                <a:gd name="connsiteX6" fmla="*/ 1107282 w 3219450"/>
                <a:gd name="connsiteY6" fmla="*/ 1648313 h 2219889"/>
                <a:gd name="connsiteX7" fmla="*/ 1060847 w 3219450"/>
                <a:gd name="connsiteY7" fmla="*/ 1601878 h 2219889"/>
                <a:gd name="connsiteX8" fmla="*/ 765573 w 3219450"/>
                <a:gd name="connsiteY8" fmla="*/ 1601878 h 2219889"/>
                <a:gd name="connsiteX9" fmla="*/ 248842 w 3219450"/>
                <a:gd name="connsiteY9" fmla="*/ 1601878 h 2219889"/>
                <a:gd name="connsiteX10" fmla="*/ 202407 w 3219450"/>
                <a:gd name="connsiteY10" fmla="*/ 1648313 h 2219889"/>
                <a:gd name="connsiteX11" fmla="*/ 202407 w 3219450"/>
                <a:gd name="connsiteY11" fmla="*/ 1834050 h 2219889"/>
                <a:gd name="connsiteX12" fmla="*/ 248842 w 3219450"/>
                <a:gd name="connsiteY12" fmla="*/ 1880485 h 2219889"/>
                <a:gd name="connsiteX13" fmla="*/ 544116 w 3219450"/>
                <a:gd name="connsiteY13" fmla="*/ 1880485 h 2219889"/>
                <a:gd name="connsiteX14" fmla="*/ 590551 w 3219450"/>
                <a:gd name="connsiteY14" fmla="*/ 1834050 h 2219889"/>
                <a:gd name="connsiteX15" fmla="*/ 590551 w 3219450"/>
                <a:gd name="connsiteY15" fmla="*/ 1648313 h 2219889"/>
                <a:gd name="connsiteX16" fmla="*/ 544116 w 3219450"/>
                <a:gd name="connsiteY16" fmla="*/ 1601878 h 2219889"/>
                <a:gd name="connsiteX17" fmla="*/ 248842 w 3219450"/>
                <a:gd name="connsiteY17" fmla="*/ 1601878 h 2219889"/>
                <a:gd name="connsiteX18" fmla="*/ 1338060 w 3219450"/>
                <a:gd name="connsiteY18" fmla="*/ 1372569 h 2219889"/>
                <a:gd name="connsiteX19" fmla="*/ 1285875 w 3219450"/>
                <a:gd name="connsiteY19" fmla="*/ 1424754 h 2219889"/>
                <a:gd name="connsiteX20" fmla="*/ 1338060 w 3219450"/>
                <a:gd name="connsiteY20" fmla="*/ 1476938 h 2219889"/>
                <a:gd name="connsiteX21" fmla="*/ 2791714 w 3219450"/>
                <a:gd name="connsiteY21" fmla="*/ 1476939 h 2219889"/>
                <a:gd name="connsiteX22" fmla="*/ 2843899 w 3219450"/>
                <a:gd name="connsiteY22" fmla="*/ 1424754 h 2219889"/>
                <a:gd name="connsiteX23" fmla="*/ 2843900 w 3219450"/>
                <a:gd name="connsiteY23" fmla="*/ 1424754 h 2219889"/>
                <a:gd name="connsiteX24" fmla="*/ 2791715 w 3219450"/>
                <a:gd name="connsiteY24" fmla="*/ 1372569 h 2219889"/>
                <a:gd name="connsiteX25" fmla="*/ 1338060 w 3219450"/>
                <a:gd name="connsiteY25" fmla="*/ 1372569 h 2219889"/>
                <a:gd name="connsiteX26" fmla="*/ 1338060 w 3219450"/>
                <a:gd name="connsiteY26" fmla="*/ 1151113 h 2219889"/>
                <a:gd name="connsiteX27" fmla="*/ 1285875 w 3219450"/>
                <a:gd name="connsiteY27" fmla="*/ 1203298 h 2219889"/>
                <a:gd name="connsiteX28" fmla="*/ 1338060 w 3219450"/>
                <a:gd name="connsiteY28" fmla="*/ 1255482 h 2219889"/>
                <a:gd name="connsiteX29" fmla="*/ 2791714 w 3219450"/>
                <a:gd name="connsiteY29" fmla="*/ 1255483 h 2219889"/>
                <a:gd name="connsiteX30" fmla="*/ 2843899 w 3219450"/>
                <a:gd name="connsiteY30" fmla="*/ 1203298 h 2219889"/>
                <a:gd name="connsiteX31" fmla="*/ 2843900 w 3219450"/>
                <a:gd name="connsiteY31" fmla="*/ 1203298 h 2219889"/>
                <a:gd name="connsiteX32" fmla="*/ 2791715 w 3219450"/>
                <a:gd name="connsiteY32" fmla="*/ 1151113 h 2219889"/>
                <a:gd name="connsiteX33" fmla="*/ 1338060 w 3219450"/>
                <a:gd name="connsiteY33" fmla="*/ 1151113 h 2219889"/>
                <a:gd name="connsiteX34" fmla="*/ 765573 w 3219450"/>
                <a:gd name="connsiteY34" fmla="*/ 1146146 h 2219889"/>
                <a:gd name="connsiteX35" fmla="*/ 719138 w 3219450"/>
                <a:gd name="connsiteY35" fmla="*/ 1192581 h 2219889"/>
                <a:gd name="connsiteX36" fmla="*/ 719138 w 3219450"/>
                <a:gd name="connsiteY36" fmla="*/ 1378318 h 2219889"/>
                <a:gd name="connsiteX37" fmla="*/ 765573 w 3219450"/>
                <a:gd name="connsiteY37" fmla="*/ 1424753 h 2219889"/>
                <a:gd name="connsiteX38" fmla="*/ 1060847 w 3219450"/>
                <a:gd name="connsiteY38" fmla="*/ 1424753 h 2219889"/>
                <a:gd name="connsiteX39" fmla="*/ 1107282 w 3219450"/>
                <a:gd name="connsiteY39" fmla="*/ 1378318 h 2219889"/>
                <a:gd name="connsiteX40" fmla="*/ 1107282 w 3219450"/>
                <a:gd name="connsiteY40" fmla="*/ 1192581 h 2219889"/>
                <a:gd name="connsiteX41" fmla="*/ 1060847 w 3219450"/>
                <a:gd name="connsiteY41" fmla="*/ 1146146 h 2219889"/>
                <a:gd name="connsiteX42" fmla="*/ 765573 w 3219450"/>
                <a:gd name="connsiteY42" fmla="*/ 1146146 h 2219889"/>
                <a:gd name="connsiteX43" fmla="*/ 248842 w 3219450"/>
                <a:gd name="connsiteY43" fmla="*/ 1146146 h 2219889"/>
                <a:gd name="connsiteX44" fmla="*/ 202407 w 3219450"/>
                <a:gd name="connsiteY44" fmla="*/ 1192581 h 2219889"/>
                <a:gd name="connsiteX45" fmla="*/ 202407 w 3219450"/>
                <a:gd name="connsiteY45" fmla="*/ 1378318 h 2219889"/>
                <a:gd name="connsiteX46" fmla="*/ 248842 w 3219450"/>
                <a:gd name="connsiteY46" fmla="*/ 1424753 h 2219889"/>
                <a:gd name="connsiteX47" fmla="*/ 544116 w 3219450"/>
                <a:gd name="connsiteY47" fmla="*/ 1424753 h 2219889"/>
                <a:gd name="connsiteX48" fmla="*/ 590551 w 3219450"/>
                <a:gd name="connsiteY48" fmla="*/ 1378318 h 2219889"/>
                <a:gd name="connsiteX49" fmla="*/ 590551 w 3219450"/>
                <a:gd name="connsiteY49" fmla="*/ 1192581 h 2219889"/>
                <a:gd name="connsiteX50" fmla="*/ 544116 w 3219450"/>
                <a:gd name="connsiteY50" fmla="*/ 1146146 h 2219889"/>
                <a:gd name="connsiteX51" fmla="*/ 248842 w 3219450"/>
                <a:gd name="connsiteY51" fmla="*/ 1146146 h 2219889"/>
                <a:gd name="connsiteX52" fmla="*/ 765573 w 3219450"/>
                <a:gd name="connsiteY52" fmla="*/ 660170 h 2219889"/>
                <a:gd name="connsiteX53" fmla="*/ 719138 w 3219450"/>
                <a:gd name="connsiteY53" fmla="*/ 706605 h 2219889"/>
                <a:gd name="connsiteX54" fmla="*/ 719138 w 3219450"/>
                <a:gd name="connsiteY54" fmla="*/ 892342 h 2219889"/>
                <a:gd name="connsiteX55" fmla="*/ 765573 w 3219450"/>
                <a:gd name="connsiteY55" fmla="*/ 938777 h 2219889"/>
                <a:gd name="connsiteX56" fmla="*/ 1060847 w 3219450"/>
                <a:gd name="connsiteY56" fmla="*/ 938777 h 2219889"/>
                <a:gd name="connsiteX57" fmla="*/ 1107282 w 3219450"/>
                <a:gd name="connsiteY57" fmla="*/ 892342 h 2219889"/>
                <a:gd name="connsiteX58" fmla="*/ 1107282 w 3219450"/>
                <a:gd name="connsiteY58" fmla="*/ 706605 h 2219889"/>
                <a:gd name="connsiteX59" fmla="*/ 1060847 w 3219450"/>
                <a:gd name="connsiteY59" fmla="*/ 660170 h 2219889"/>
                <a:gd name="connsiteX60" fmla="*/ 765573 w 3219450"/>
                <a:gd name="connsiteY60" fmla="*/ 660170 h 2219889"/>
                <a:gd name="connsiteX61" fmla="*/ 248842 w 3219450"/>
                <a:gd name="connsiteY61" fmla="*/ 660170 h 2219889"/>
                <a:gd name="connsiteX62" fmla="*/ 202407 w 3219450"/>
                <a:gd name="connsiteY62" fmla="*/ 706605 h 2219889"/>
                <a:gd name="connsiteX63" fmla="*/ 202407 w 3219450"/>
                <a:gd name="connsiteY63" fmla="*/ 892342 h 2219889"/>
                <a:gd name="connsiteX64" fmla="*/ 248842 w 3219450"/>
                <a:gd name="connsiteY64" fmla="*/ 938777 h 2219889"/>
                <a:gd name="connsiteX65" fmla="*/ 544116 w 3219450"/>
                <a:gd name="connsiteY65" fmla="*/ 938777 h 2219889"/>
                <a:gd name="connsiteX66" fmla="*/ 590551 w 3219450"/>
                <a:gd name="connsiteY66" fmla="*/ 892342 h 2219889"/>
                <a:gd name="connsiteX67" fmla="*/ 590551 w 3219450"/>
                <a:gd name="connsiteY67" fmla="*/ 706605 h 2219889"/>
                <a:gd name="connsiteX68" fmla="*/ 544116 w 3219450"/>
                <a:gd name="connsiteY68" fmla="*/ 660170 h 2219889"/>
                <a:gd name="connsiteX69" fmla="*/ 248842 w 3219450"/>
                <a:gd name="connsiteY69" fmla="*/ 660170 h 2219889"/>
                <a:gd name="connsiteX70" fmla="*/ 1086335 w 3219450"/>
                <a:gd name="connsiteY70" fmla="*/ 19 h 2219889"/>
                <a:gd name="connsiteX71" fmla="*/ 1152525 w 3219450"/>
                <a:gd name="connsiteY71" fmla="*/ 467289 h 2219889"/>
                <a:gd name="connsiteX72" fmla="*/ 1285875 w 3219450"/>
                <a:gd name="connsiteY72" fmla="*/ 467289 h 2219889"/>
                <a:gd name="connsiteX73" fmla="*/ 1285875 w 3219450"/>
                <a:gd name="connsiteY73" fmla="*/ 781614 h 2219889"/>
                <a:gd name="connsiteX74" fmla="*/ 3219450 w 3219450"/>
                <a:gd name="connsiteY74" fmla="*/ 781614 h 2219889"/>
                <a:gd name="connsiteX75" fmla="*/ 3219450 w 3219450"/>
                <a:gd name="connsiteY75" fmla="*/ 2219889 h 2219889"/>
                <a:gd name="connsiteX76" fmla="*/ 1695450 w 3219450"/>
                <a:gd name="connsiteY76" fmla="*/ 2219889 h 2219889"/>
                <a:gd name="connsiteX77" fmla="*/ 1695450 w 3219450"/>
                <a:gd name="connsiteY77" fmla="*/ 1572189 h 2219889"/>
                <a:gd name="connsiteX78" fmla="*/ 1276350 w 3219450"/>
                <a:gd name="connsiteY78" fmla="*/ 1572189 h 2219889"/>
                <a:gd name="connsiteX79" fmla="*/ 1276350 w 3219450"/>
                <a:gd name="connsiteY79" fmla="*/ 2210364 h 2219889"/>
                <a:gd name="connsiteX80" fmla="*/ 0 w 3219450"/>
                <a:gd name="connsiteY80" fmla="*/ 2210364 h 2219889"/>
                <a:gd name="connsiteX81" fmla="*/ 0 w 3219450"/>
                <a:gd name="connsiteY81" fmla="*/ 476814 h 2219889"/>
                <a:gd name="connsiteX82" fmla="*/ 624283 w 3219450"/>
                <a:gd name="connsiteY82" fmla="*/ 469737 h 2219889"/>
                <a:gd name="connsiteX83" fmla="*/ 639987 w 3219450"/>
                <a:gd name="connsiteY83" fmla="*/ 208779 h 2219889"/>
                <a:gd name="connsiteX84" fmla="*/ 1086335 w 3219450"/>
                <a:gd name="connsiteY84" fmla="*/ 19 h 2219889"/>
                <a:gd name="connsiteX0" fmla="*/ 765573 w 3219450"/>
                <a:gd name="connsiteY0" fmla="*/ 1393099 h 2011110"/>
                <a:gd name="connsiteX1" fmla="*/ 719138 w 3219450"/>
                <a:gd name="connsiteY1" fmla="*/ 1439534 h 2011110"/>
                <a:gd name="connsiteX2" fmla="*/ 719138 w 3219450"/>
                <a:gd name="connsiteY2" fmla="*/ 1625271 h 2011110"/>
                <a:gd name="connsiteX3" fmla="*/ 765573 w 3219450"/>
                <a:gd name="connsiteY3" fmla="*/ 1671706 h 2011110"/>
                <a:gd name="connsiteX4" fmla="*/ 1060847 w 3219450"/>
                <a:gd name="connsiteY4" fmla="*/ 1671706 h 2011110"/>
                <a:gd name="connsiteX5" fmla="*/ 1107282 w 3219450"/>
                <a:gd name="connsiteY5" fmla="*/ 1625271 h 2011110"/>
                <a:gd name="connsiteX6" fmla="*/ 1107282 w 3219450"/>
                <a:gd name="connsiteY6" fmla="*/ 1439534 h 2011110"/>
                <a:gd name="connsiteX7" fmla="*/ 1060847 w 3219450"/>
                <a:gd name="connsiteY7" fmla="*/ 1393099 h 2011110"/>
                <a:gd name="connsiteX8" fmla="*/ 765573 w 3219450"/>
                <a:gd name="connsiteY8" fmla="*/ 1393099 h 2011110"/>
                <a:gd name="connsiteX9" fmla="*/ 248842 w 3219450"/>
                <a:gd name="connsiteY9" fmla="*/ 1393099 h 2011110"/>
                <a:gd name="connsiteX10" fmla="*/ 202407 w 3219450"/>
                <a:gd name="connsiteY10" fmla="*/ 1439534 h 2011110"/>
                <a:gd name="connsiteX11" fmla="*/ 202407 w 3219450"/>
                <a:gd name="connsiteY11" fmla="*/ 1625271 h 2011110"/>
                <a:gd name="connsiteX12" fmla="*/ 248842 w 3219450"/>
                <a:gd name="connsiteY12" fmla="*/ 1671706 h 2011110"/>
                <a:gd name="connsiteX13" fmla="*/ 544116 w 3219450"/>
                <a:gd name="connsiteY13" fmla="*/ 1671706 h 2011110"/>
                <a:gd name="connsiteX14" fmla="*/ 590551 w 3219450"/>
                <a:gd name="connsiteY14" fmla="*/ 1625271 h 2011110"/>
                <a:gd name="connsiteX15" fmla="*/ 590551 w 3219450"/>
                <a:gd name="connsiteY15" fmla="*/ 1439534 h 2011110"/>
                <a:gd name="connsiteX16" fmla="*/ 544116 w 3219450"/>
                <a:gd name="connsiteY16" fmla="*/ 1393099 h 2011110"/>
                <a:gd name="connsiteX17" fmla="*/ 248842 w 3219450"/>
                <a:gd name="connsiteY17" fmla="*/ 1393099 h 2011110"/>
                <a:gd name="connsiteX18" fmla="*/ 1338060 w 3219450"/>
                <a:gd name="connsiteY18" fmla="*/ 1163790 h 2011110"/>
                <a:gd name="connsiteX19" fmla="*/ 1285875 w 3219450"/>
                <a:gd name="connsiteY19" fmla="*/ 1215975 h 2011110"/>
                <a:gd name="connsiteX20" fmla="*/ 1338060 w 3219450"/>
                <a:gd name="connsiteY20" fmla="*/ 1268159 h 2011110"/>
                <a:gd name="connsiteX21" fmla="*/ 2791714 w 3219450"/>
                <a:gd name="connsiteY21" fmla="*/ 1268160 h 2011110"/>
                <a:gd name="connsiteX22" fmla="*/ 2843899 w 3219450"/>
                <a:gd name="connsiteY22" fmla="*/ 1215975 h 2011110"/>
                <a:gd name="connsiteX23" fmla="*/ 2843900 w 3219450"/>
                <a:gd name="connsiteY23" fmla="*/ 1215975 h 2011110"/>
                <a:gd name="connsiteX24" fmla="*/ 2791715 w 3219450"/>
                <a:gd name="connsiteY24" fmla="*/ 1163790 h 2011110"/>
                <a:gd name="connsiteX25" fmla="*/ 1338060 w 3219450"/>
                <a:gd name="connsiteY25" fmla="*/ 1163790 h 2011110"/>
                <a:gd name="connsiteX26" fmla="*/ 1338060 w 3219450"/>
                <a:gd name="connsiteY26" fmla="*/ 942334 h 2011110"/>
                <a:gd name="connsiteX27" fmla="*/ 1285875 w 3219450"/>
                <a:gd name="connsiteY27" fmla="*/ 994519 h 2011110"/>
                <a:gd name="connsiteX28" fmla="*/ 1338060 w 3219450"/>
                <a:gd name="connsiteY28" fmla="*/ 1046703 h 2011110"/>
                <a:gd name="connsiteX29" fmla="*/ 2791714 w 3219450"/>
                <a:gd name="connsiteY29" fmla="*/ 1046704 h 2011110"/>
                <a:gd name="connsiteX30" fmla="*/ 2843899 w 3219450"/>
                <a:gd name="connsiteY30" fmla="*/ 994519 h 2011110"/>
                <a:gd name="connsiteX31" fmla="*/ 2843900 w 3219450"/>
                <a:gd name="connsiteY31" fmla="*/ 994519 h 2011110"/>
                <a:gd name="connsiteX32" fmla="*/ 2791715 w 3219450"/>
                <a:gd name="connsiteY32" fmla="*/ 942334 h 2011110"/>
                <a:gd name="connsiteX33" fmla="*/ 1338060 w 3219450"/>
                <a:gd name="connsiteY33" fmla="*/ 942334 h 2011110"/>
                <a:gd name="connsiteX34" fmla="*/ 765573 w 3219450"/>
                <a:gd name="connsiteY34" fmla="*/ 937367 h 2011110"/>
                <a:gd name="connsiteX35" fmla="*/ 719138 w 3219450"/>
                <a:gd name="connsiteY35" fmla="*/ 983802 h 2011110"/>
                <a:gd name="connsiteX36" fmla="*/ 719138 w 3219450"/>
                <a:gd name="connsiteY36" fmla="*/ 1169539 h 2011110"/>
                <a:gd name="connsiteX37" fmla="*/ 765573 w 3219450"/>
                <a:gd name="connsiteY37" fmla="*/ 1215974 h 2011110"/>
                <a:gd name="connsiteX38" fmla="*/ 1060847 w 3219450"/>
                <a:gd name="connsiteY38" fmla="*/ 1215974 h 2011110"/>
                <a:gd name="connsiteX39" fmla="*/ 1107282 w 3219450"/>
                <a:gd name="connsiteY39" fmla="*/ 1169539 h 2011110"/>
                <a:gd name="connsiteX40" fmla="*/ 1107282 w 3219450"/>
                <a:gd name="connsiteY40" fmla="*/ 983802 h 2011110"/>
                <a:gd name="connsiteX41" fmla="*/ 1060847 w 3219450"/>
                <a:gd name="connsiteY41" fmla="*/ 937367 h 2011110"/>
                <a:gd name="connsiteX42" fmla="*/ 765573 w 3219450"/>
                <a:gd name="connsiteY42" fmla="*/ 937367 h 2011110"/>
                <a:gd name="connsiteX43" fmla="*/ 248842 w 3219450"/>
                <a:gd name="connsiteY43" fmla="*/ 937367 h 2011110"/>
                <a:gd name="connsiteX44" fmla="*/ 202407 w 3219450"/>
                <a:gd name="connsiteY44" fmla="*/ 983802 h 2011110"/>
                <a:gd name="connsiteX45" fmla="*/ 202407 w 3219450"/>
                <a:gd name="connsiteY45" fmla="*/ 1169539 h 2011110"/>
                <a:gd name="connsiteX46" fmla="*/ 248842 w 3219450"/>
                <a:gd name="connsiteY46" fmla="*/ 1215974 h 2011110"/>
                <a:gd name="connsiteX47" fmla="*/ 544116 w 3219450"/>
                <a:gd name="connsiteY47" fmla="*/ 1215974 h 2011110"/>
                <a:gd name="connsiteX48" fmla="*/ 590551 w 3219450"/>
                <a:gd name="connsiteY48" fmla="*/ 1169539 h 2011110"/>
                <a:gd name="connsiteX49" fmla="*/ 590551 w 3219450"/>
                <a:gd name="connsiteY49" fmla="*/ 983802 h 2011110"/>
                <a:gd name="connsiteX50" fmla="*/ 544116 w 3219450"/>
                <a:gd name="connsiteY50" fmla="*/ 937367 h 2011110"/>
                <a:gd name="connsiteX51" fmla="*/ 248842 w 3219450"/>
                <a:gd name="connsiteY51" fmla="*/ 937367 h 2011110"/>
                <a:gd name="connsiteX52" fmla="*/ 765573 w 3219450"/>
                <a:gd name="connsiteY52" fmla="*/ 451391 h 2011110"/>
                <a:gd name="connsiteX53" fmla="*/ 719138 w 3219450"/>
                <a:gd name="connsiteY53" fmla="*/ 497826 h 2011110"/>
                <a:gd name="connsiteX54" fmla="*/ 719138 w 3219450"/>
                <a:gd name="connsiteY54" fmla="*/ 683563 h 2011110"/>
                <a:gd name="connsiteX55" fmla="*/ 765573 w 3219450"/>
                <a:gd name="connsiteY55" fmla="*/ 729998 h 2011110"/>
                <a:gd name="connsiteX56" fmla="*/ 1060847 w 3219450"/>
                <a:gd name="connsiteY56" fmla="*/ 729998 h 2011110"/>
                <a:gd name="connsiteX57" fmla="*/ 1107282 w 3219450"/>
                <a:gd name="connsiteY57" fmla="*/ 683563 h 2011110"/>
                <a:gd name="connsiteX58" fmla="*/ 1107282 w 3219450"/>
                <a:gd name="connsiteY58" fmla="*/ 497826 h 2011110"/>
                <a:gd name="connsiteX59" fmla="*/ 1060847 w 3219450"/>
                <a:gd name="connsiteY59" fmla="*/ 451391 h 2011110"/>
                <a:gd name="connsiteX60" fmla="*/ 765573 w 3219450"/>
                <a:gd name="connsiteY60" fmla="*/ 451391 h 2011110"/>
                <a:gd name="connsiteX61" fmla="*/ 248842 w 3219450"/>
                <a:gd name="connsiteY61" fmla="*/ 451391 h 2011110"/>
                <a:gd name="connsiteX62" fmla="*/ 202407 w 3219450"/>
                <a:gd name="connsiteY62" fmla="*/ 497826 h 2011110"/>
                <a:gd name="connsiteX63" fmla="*/ 202407 w 3219450"/>
                <a:gd name="connsiteY63" fmla="*/ 683563 h 2011110"/>
                <a:gd name="connsiteX64" fmla="*/ 248842 w 3219450"/>
                <a:gd name="connsiteY64" fmla="*/ 729998 h 2011110"/>
                <a:gd name="connsiteX65" fmla="*/ 544116 w 3219450"/>
                <a:gd name="connsiteY65" fmla="*/ 729998 h 2011110"/>
                <a:gd name="connsiteX66" fmla="*/ 590551 w 3219450"/>
                <a:gd name="connsiteY66" fmla="*/ 683563 h 2011110"/>
                <a:gd name="connsiteX67" fmla="*/ 590551 w 3219450"/>
                <a:gd name="connsiteY67" fmla="*/ 497826 h 2011110"/>
                <a:gd name="connsiteX68" fmla="*/ 544116 w 3219450"/>
                <a:gd name="connsiteY68" fmla="*/ 451391 h 2011110"/>
                <a:gd name="connsiteX69" fmla="*/ 248842 w 3219450"/>
                <a:gd name="connsiteY69" fmla="*/ 451391 h 2011110"/>
                <a:gd name="connsiteX70" fmla="*/ 1136144 w 3219450"/>
                <a:gd name="connsiteY70" fmla="*/ 7082 h 2011110"/>
                <a:gd name="connsiteX71" fmla="*/ 1152525 w 3219450"/>
                <a:gd name="connsiteY71" fmla="*/ 258510 h 2011110"/>
                <a:gd name="connsiteX72" fmla="*/ 1285875 w 3219450"/>
                <a:gd name="connsiteY72" fmla="*/ 258510 h 2011110"/>
                <a:gd name="connsiteX73" fmla="*/ 1285875 w 3219450"/>
                <a:gd name="connsiteY73" fmla="*/ 572835 h 2011110"/>
                <a:gd name="connsiteX74" fmla="*/ 3219450 w 3219450"/>
                <a:gd name="connsiteY74" fmla="*/ 572835 h 2011110"/>
                <a:gd name="connsiteX75" fmla="*/ 3219450 w 3219450"/>
                <a:gd name="connsiteY75" fmla="*/ 2011110 h 2011110"/>
                <a:gd name="connsiteX76" fmla="*/ 1695450 w 3219450"/>
                <a:gd name="connsiteY76" fmla="*/ 2011110 h 2011110"/>
                <a:gd name="connsiteX77" fmla="*/ 1695450 w 3219450"/>
                <a:gd name="connsiteY77" fmla="*/ 1363410 h 2011110"/>
                <a:gd name="connsiteX78" fmla="*/ 1276350 w 3219450"/>
                <a:gd name="connsiteY78" fmla="*/ 1363410 h 2011110"/>
                <a:gd name="connsiteX79" fmla="*/ 1276350 w 3219450"/>
                <a:gd name="connsiteY79" fmla="*/ 2001585 h 2011110"/>
                <a:gd name="connsiteX80" fmla="*/ 0 w 3219450"/>
                <a:gd name="connsiteY80" fmla="*/ 2001585 h 2011110"/>
                <a:gd name="connsiteX81" fmla="*/ 0 w 3219450"/>
                <a:gd name="connsiteY81" fmla="*/ 268035 h 2011110"/>
                <a:gd name="connsiteX82" fmla="*/ 624283 w 3219450"/>
                <a:gd name="connsiteY82" fmla="*/ 260958 h 2011110"/>
                <a:gd name="connsiteX83" fmla="*/ 639987 w 3219450"/>
                <a:gd name="connsiteY83" fmla="*/ 0 h 2011110"/>
                <a:gd name="connsiteX84" fmla="*/ 1136144 w 3219450"/>
                <a:gd name="connsiteY84" fmla="*/ 7082 h 2011110"/>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39987 w 3219450"/>
                <a:gd name="connsiteY83" fmla="*/ 15056 h 2004028"/>
                <a:gd name="connsiteX84" fmla="*/ 1136144 w 3219450"/>
                <a:gd name="connsiteY84" fmla="*/ 0 h 2004028"/>
                <a:gd name="connsiteX0" fmla="*/ 765573 w 3219450"/>
                <a:gd name="connsiteY0" fmla="*/ 1393099 h 2011110"/>
                <a:gd name="connsiteX1" fmla="*/ 719138 w 3219450"/>
                <a:gd name="connsiteY1" fmla="*/ 1439534 h 2011110"/>
                <a:gd name="connsiteX2" fmla="*/ 719138 w 3219450"/>
                <a:gd name="connsiteY2" fmla="*/ 1625271 h 2011110"/>
                <a:gd name="connsiteX3" fmla="*/ 765573 w 3219450"/>
                <a:gd name="connsiteY3" fmla="*/ 1671706 h 2011110"/>
                <a:gd name="connsiteX4" fmla="*/ 1060847 w 3219450"/>
                <a:gd name="connsiteY4" fmla="*/ 1671706 h 2011110"/>
                <a:gd name="connsiteX5" fmla="*/ 1107282 w 3219450"/>
                <a:gd name="connsiteY5" fmla="*/ 1625271 h 2011110"/>
                <a:gd name="connsiteX6" fmla="*/ 1107282 w 3219450"/>
                <a:gd name="connsiteY6" fmla="*/ 1439534 h 2011110"/>
                <a:gd name="connsiteX7" fmla="*/ 1060847 w 3219450"/>
                <a:gd name="connsiteY7" fmla="*/ 1393099 h 2011110"/>
                <a:gd name="connsiteX8" fmla="*/ 765573 w 3219450"/>
                <a:gd name="connsiteY8" fmla="*/ 1393099 h 2011110"/>
                <a:gd name="connsiteX9" fmla="*/ 248842 w 3219450"/>
                <a:gd name="connsiteY9" fmla="*/ 1393099 h 2011110"/>
                <a:gd name="connsiteX10" fmla="*/ 202407 w 3219450"/>
                <a:gd name="connsiteY10" fmla="*/ 1439534 h 2011110"/>
                <a:gd name="connsiteX11" fmla="*/ 202407 w 3219450"/>
                <a:gd name="connsiteY11" fmla="*/ 1625271 h 2011110"/>
                <a:gd name="connsiteX12" fmla="*/ 248842 w 3219450"/>
                <a:gd name="connsiteY12" fmla="*/ 1671706 h 2011110"/>
                <a:gd name="connsiteX13" fmla="*/ 544116 w 3219450"/>
                <a:gd name="connsiteY13" fmla="*/ 1671706 h 2011110"/>
                <a:gd name="connsiteX14" fmla="*/ 590551 w 3219450"/>
                <a:gd name="connsiteY14" fmla="*/ 1625271 h 2011110"/>
                <a:gd name="connsiteX15" fmla="*/ 590551 w 3219450"/>
                <a:gd name="connsiteY15" fmla="*/ 1439534 h 2011110"/>
                <a:gd name="connsiteX16" fmla="*/ 544116 w 3219450"/>
                <a:gd name="connsiteY16" fmla="*/ 1393099 h 2011110"/>
                <a:gd name="connsiteX17" fmla="*/ 248842 w 3219450"/>
                <a:gd name="connsiteY17" fmla="*/ 1393099 h 2011110"/>
                <a:gd name="connsiteX18" fmla="*/ 1338060 w 3219450"/>
                <a:gd name="connsiteY18" fmla="*/ 1163790 h 2011110"/>
                <a:gd name="connsiteX19" fmla="*/ 1285875 w 3219450"/>
                <a:gd name="connsiteY19" fmla="*/ 1215975 h 2011110"/>
                <a:gd name="connsiteX20" fmla="*/ 1338060 w 3219450"/>
                <a:gd name="connsiteY20" fmla="*/ 1268159 h 2011110"/>
                <a:gd name="connsiteX21" fmla="*/ 2791714 w 3219450"/>
                <a:gd name="connsiteY21" fmla="*/ 1268160 h 2011110"/>
                <a:gd name="connsiteX22" fmla="*/ 2843899 w 3219450"/>
                <a:gd name="connsiteY22" fmla="*/ 1215975 h 2011110"/>
                <a:gd name="connsiteX23" fmla="*/ 2843900 w 3219450"/>
                <a:gd name="connsiteY23" fmla="*/ 1215975 h 2011110"/>
                <a:gd name="connsiteX24" fmla="*/ 2791715 w 3219450"/>
                <a:gd name="connsiteY24" fmla="*/ 1163790 h 2011110"/>
                <a:gd name="connsiteX25" fmla="*/ 1338060 w 3219450"/>
                <a:gd name="connsiteY25" fmla="*/ 1163790 h 2011110"/>
                <a:gd name="connsiteX26" fmla="*/ 1338060 w 3219450"/>
                <a:gd name="connsiteY26" fmla="*/ 942334 h 2011110"/>
                <a:gd name="connsiteX27" fmla="*/ 1285875 w 3219450"/>
                <a:gd name="connsiteY27" fmla="*/ 994519 h 2011110"/>
                <a:gd name="connsiteX28" fmla="*/ 1338060 w 3219450"/>
                <a:gd name="connsiteY28" fmla="*/ 1046703 h 2011110"/>
                <a:gd name="connsiteX29" fmla="*/ 2791714 w 3219450"/>
                <a:gd name="connsiteY29" fmla="*/ 1046704 h 2011110"/>
                <a:gd name="connsiteX30" fmla="*/ 2843899 w 3219450"/>
                <a:gd name="connsiteY30" fmla="*/ 994519 h 2011110"/>
                <a:gd name="connsiteX31" fmla="*/ 2843900 w 3219450"/>
                <a:gd name="connsiteY31" fmla="*/ 994519 h 2011110"/>
                <a:gd name="connsiteX32" fmla="*/ 2791715 w 3219450"/>
                <a:gd name="connsiteY32" fmla="*/ 942334 h 2011110"/>
                <a:gd name="connsiteX33" fmla="*/ 1338060 w 3219450"/>
                <a:gd name="connsiteY33" fmla="*/ 942334 h 2011110"/>
                <a:gd name="connsiteX34" fmla="*/ 765573 w 3219450"/>
                <a:gd name="connsiteY34" fmla="*/ 937367 h 2011110"/>
                <a:gd name="connsiteX35" fmla="*/ 719138 w 3219450"/>
                <a:gd name="connsiteY35" fmla="*/ 983802 h 2011110"/>
                <a:gd name="connsiteX36" fmla="*/ 719138 w 3219450"/>
                <a:gd name="connsiteY36" fmla="*/ 1169539 h 2011110"/>
                <a:gd name="connsiteX37" fmla="*/ 765573 w 3219450"/>
                <a:gd name="connsiteY37" fmla="*/ 1215974 h 2011110"/>
                <a:gd name="connsiteX38" fmla="*/ 1060847 w 3219450"/>
                <a:gd name="connsiteY38" fmla="*/ 1215974 h 2011110"/>
                <a:gd name="connsiteX39" fmla="*/ 1107282 w 3219450"/>
                <a:gd name="connsiteY39" fmla="*/ 1169539 h 2011110"/>
                <a:gd name="connsiteX40" fmla="*/ 1107282 w 3219450"/>
                <a:gd name="connsiteY40" fmla="*/ 983802 h 2011110"/>
                <a:gd name="connsiteX41" fmla="*/ 1060847 w 3219450"/>
                <a:gd name="connsiteY41" fmla="*/ 937367 h 2011110"/>
                <a:gd name="connsiteX42" fmla="*/ 765573 w 3219450"/>
                <a:gd name="connsiteY42" fmla="*/ 937367 h 2011110"/>
                <a:gd name="connsiteX43" fmla="*/ 248842 w 3219450"/>
                <a:gd name="connsiteY43" fmla="*/ 937367 h 2011110"/>
                <a:gd name="connsiteX44" fmla="*/ 202407 w 3219450"/>
                <a:gd name="connsiteY44" fmla="*/ 983802 h 2011110"/>
                <a:gd name="connsiteX45" fmla="*/ 202407 w 3219450"/>
                <a:gd name="connsiteY45" fmla="*/ 1169539 h 2011110"/>
                <a:gd name="connsiteX46" fmla="*/ 248842 w 3219450"/>
                <a:gd name="connsiteY46" fmla="*/ 1215974 h 2011110"/>
                <a:gd name="connsiteX47" fmla="*/ 544116 w 3219450"/>
                <a:gd name="connsiteY47" fmla="*/ 1215974 h 2011110"/>
                <a:gd name="connsiteX48" fmla="*/ 590551 w 3219450"/>
                <a:gd name="connsiteY48" fmla="*/ 1169539 h 2011110"/>
                <a:gd name="connsiteX49" fmla="*/ 590551 w 3219450"/>
                <a:gd name="connsiteY49" fmla="*/ 983802 h 2011110"/>
                <a:gd name="connsiteX50" fmla="*/ 544116 w 3219450"/>
                <a:gd name="connsiteY50" fmla="*/ 937367 h 2011110"/>
                <a:gd name="connsiteX51" fmla="*/ 248842 w 3219450"/>
                <a:gd name="connsiteY51" fmla="*/ 937367 h 2011110"/>
                <a:gd name="connsiteX52" fmla="*/ 765573 w 3219450"/>
                <a:gd name="connsiteY52" fmla="*/ 451391 h 2011110"/>
                <a:gd name="connsiteX53" fmla="*/ 719138 w 3219450"/>
                <a:gd name="connsiteY53" fmla="*/ 497826 h 2011110"/>
                <a:gd name="connsiteX54" fmla="*/ 719138 w 3219450"/>
                <a:gd name="connsiteY54" fmla="*/ 683563 h 2011110"/>
                <a:gd name="connsiteX55" fmla="*/ 765573 w 3219450"/>
                <a:gd name="connsiteY55" fmla="*/ 729998 h 2011110"/>
                <a:gd name="connsiteX56" fmla="*/ 1060847 w 3219450"/>
                <a:gd name="connsiteY56" fmla="*/ 729998 h 2011110"/>
                <a:gd name="connsiteX57" fmla="*/ 1107282 w 3219450"/>
                <a:gd name="connsiteY57" fmla="*/ 683563 h 2011110"/>
                <a:gd name="connsiteX58" fmla="*/ 1107282 w 3219450"/>
                <a:gd name="connsiteY58" fmla="*/ 497826 h 2011110"/>
                <a:gd name="connsiteX59" fmla="*/ 1060847 w 3219450"/>
                <a:gd name="connsiteY59" fmla="*/ 451391 h 2011110"/>
                <a:gd name="connsiteX60" fmla="*/ 765573 w 3219450"/>
                <a:gd name="connsiteY60" fmla="*/ 451391 h 2011110"/>
                <a:gd name="connsiteX61" fmla="*/ 248842 w 3219450"/>
                <a:gd name="connsiteY61" fmla="*/ 451391 h 2011110"/>
                <a:gd name="connsiteX62" fmla="*/ 202407 w 3219450"/>
                <a:gd name="connsiteY62" fmla="*/ 497826 h 2011110"/>
                <a:gd name="connsiteX63" fmla="*/ 202407 w 3219450"/>
                <a:gd name="connsiteY63" fmla="*/ 683563 h 2011110"/>
                <a:gd name="connsiteX64" fmla="*/ 248842 w 3219450"/>
                <a:gd name="connsiteY64" fmla="*/ 729998 h 2011110"/>
                <a:gd name="connsiteX65" fmla="*/ 544116 w 3219450"/>
                <a:gd name="connsiteY65" fmla="*/ 729998 h 2011110"/>
                <a:gd name="connsiteX66" fmla="*/ 590551 w 3219450"/>
                <a:gd name="connsiteY66" fmla="*/ 683563 h 2011110"/>
                <a:gd name="connsiteX67" fmla="*/ 590551 w 3219450"/>
                <a:gd name="connsiteY67" fmla="*/ 497826 h 2011110"/>
                <a:gd name="connsiteX68" fmla="*/ 544116 w 3219450"/>
                <a:gd name="connsiteY68" fmla="*/ 451391 h 2011110"/>
                <a:gd name="connsiteX69" fmla="*/ 248842 w 3219450"/>
                <a:gd name="connsiteY69" fmla="*/ 451391 h 2011110"/>
                <a:gd name="connsiteX70" fmla="*/ 1136144 w 3219450"/>
                <a:gd name="connsiteY70" fmla="*/ 7082 h 2011110"/>
                <a:gd name="connsiteX71" fmla="*/ 1152525 w 3219450"/>
                <a:gd name="connsiteY71" fmla="*/ 258510 h 2011110"/>
                <a:gd name="connsiteX72" fmla="*/ 1285875 w 3219450"/>
                <a:gd name="connsiteY72" fmla="*/ 258510 h 2011110"/>
                <a:gd name="connsiteX73" fmla="*/ 1285875 w 3219450"/>
                <a:gd name="connsiteY73" fmla="*/ 572835 h 2011110"/>
                <a:gd name="connsiteX74" fmla="*/ 3219450 w 3219450"/>
                <a:gd name="connsiteY74" fmla="*/ 572835 h 2011110"/>
                <a:gd name="connsiteX75" fmla="*/ 3219450 w 3219450"/>
                <a:gd name="connsiteY75" fmla="*/ 2011110 h 2011110"/>
                <a:gd name="connsiteX76" fmla="*/ 1695450 w 3219450"/>
                <a:gd name="connsiteY76" fmla="*/ 2011110 h 2011110"/>
                <a:gd name="connsiteX77" fmla="*/ 1695450 w 3219450"/>
                <a:gd name="connsiteY77" fmla="*/ 1363410 h 2011110"/>
                <a:gd name="connsiteX78" fmla="*/ 1276350 w 3219450"/>
                <a:gd name="connsiteY78" fmla="*/ 1363410 h 2011110"/>
                <a:gd name="connsiteX79" fmla="*/ 1276350 w 3219450"/>
                <a:gd name="connsiteY79" fmla="*/ 2001585 h 2011110"/>
                <a:gd name="connsiteX80" fmla="*/ 0 w 3219450"/>
                <a:gd name="connsiteY80" fmla="*/ 2001585 h 2011110"/>
                <a:gd name="connsiteX81" fmla="*/ 0 w 3219450"/>
                <a:gd name="connsiteY81" fmla="*/ 268035 h 2011110"/>
                <a:gd name="connsiteX82" fmla="*/ 624283 w 3219450"/>
                <a:gd name="connsiteY82" fmla="*/ 260958 h 2011110"/>
                <a:gd name="connsiteX83" fmla="*/ 634453 w 3219450"/>
                <a:gd name="connsiteY83" fmla="*/ 0 h 2011110"/>
                <a:gd name="connsiteX84" fmla="*/ 1136144 w 3219450"/>
                <a:gd name="connsiteY84" fmla="*/ 7082 h 2011110"/>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7565 h 2005576"/>
                <a:gd name="connsiteX1" fmla="*/ 719138 w 3219450"/>
                <a:gd name="connsiteY1" fmla="*/ 1434000 h 2005576"/>
                <a:gd name="connsiteX2" fmla="*/ 719138 w 3219450"/>
                <a:gd name="connsiteY2" fmla="*/ 1619737 h 2005576"/>
                <a:gd name="connsiteX3" fmla="*/ 765573 w 3219450"/>
                <a:gd name="connsiteY3" fmla="*/ 1666172 h 2005576"/>
                <a:gd name="connsiteX4" fmla="*/ 1060847 w 3219450"/>
                <a:gd name="connsiteY4" fmla="*/ 1666172 h 2005576"/>
                <a:gd name="connsiteX5" fmla="*/ 1107282 w 3219450"/>
                <a:gd name="connsiteY5" fmla="*/ 1619737 h 2005576"/>
                <a:gd name="connsiteX6" fmla="*/ 1107282 w 3219450"/>
                <a:gd name="connsiteY6" fmla="*/ 1434000 h 2005576"/>
                <a:gd name="connsiteX7" fmla="*/ 1060847 w 3219450"/>
                <a:gd name="connsiteY7" fmla="*/ 1387565 h 2005576"/>
                <a:gd name="connsiteX8" fmla="*/ 765573 w 3219450"/>
                <a:gd name="connsiteY8" fmla="*/ 1387565 h 2005576"/>
                <a:gd name="connsiteX9" fmla="*/ 248842 w 3219450"/>
                <a:gd name="connsiteY9" fmla="*/ 1387565 h 2005576"/>
                <a:gd name="connsiteX10" fmla="*/ 202407 w 3219450"/>
                <a:gd name="connsiteY10" fmla="*/ 1434000 h 2005576"/>
                <a:gd name="connsiteX11" fmla="*/ 202407 w 3219450"/>
                <a:gd name="connsiteY11" fmla="*/ 1619737 h 2005576"/>
                <a:gd name="connsiteX12" fmla="*/ 248842 w 3219450"/>
                <a:gd name="connsiteY12" fmla="*/ 1666172 h 2005576"/>
                <a:gd name="connsiteX13" fmla="*/ 544116 w 3219450"/>
                <a:gd name="connsiteY13" fmla="*/ 1666172 h 2005576"/>
                <a:gd name="connsiteX14" fmla="*/ 590551 w 3219450"/>
                <a:gd name="connsiteY14" fmla="*/ 1619737 h 2005576"/>
                <a:gd name="connsiteX15" fmla="*/ 590551 w 3219450"/>
                <a:gd name="connsiteY15" fmla="*/ 1434000 h 2005576"/>
                <a:gd name="connsiteX16" fmla="*/ 544116 w 3219450"/>
                <a:gd name="connsiteY16" fmla="*/ 1387565 h 2005576"/>
                <a:gd name="connsiteX17" fmla="*/ 248842 w 3219450"/>
                <a:gd name="connsiteY17" fmla="*/ 1387565 h 2005576"/>
                <a:gd name="connsiteX18" fmla="*/ 1338060 w 3219450"/>
                <a:gd name="connsiteY18" fmla="*/ 1158256 h 2005576"/>
                <a:gd name="connsiteX19" fmla="*/ 1285875 w 3219450"/>
                <a:gd name="connsiteY19" fmla="*/ 1210441 h 2005576"/>
                <a:gd name="connsiteX20" fmla="*/ 1338060 w 3219450"/>
                <a:gd name="connsiteY20" fmla="*/ 1262625 h 2005576"/>
                <a:gd name="connsiteX21" fmla="*/ 2791714 w 3219450"/>
                <a:gd name="connsiteY21" fmla="*/ 1262626 h 2005576"/>
                <a:gd name="connsiteX22" fmla="*/ 2843899 w 3219450"/>
                <a:gd name="connsiteY22" fmla="*/ 1210441 h 2005576"/>
                <a:gd name="connsiteX23" fmla="*/ 2843900 w 3219450"/>
                <a:gd name="connsiteY23" fmla="*/ 1210441 h 2005576"/>
                <a:gd name="connsiteX24" fmla="*/ 2791715 w 3219450"/>
                <a:gd name="connsiteY24" fmla="*/ 1158256 h 2005576"/>
                <a:gd name="connsiteX25" fmla="*/ 1338060 w 3219450"/>
                <a:gd name="connsiteY25" fmla="*/ 1158256 h 2005576"/>
                <a:gd name="connsiteX26" fmla="*/ 1338060 w 3219450"/>
                <a:gd name="connsiteY26" fmla="*/ 936800 h 2005576"/>
                <a:gd name="connsiteX27" fmla="*/ 1285875 w 3219450"/>
                <a:gd name="connsiteY27" fmla="*/ 988985 h 2005576"/>
                <a:gd name="connsiteX28" fmla="*/ 1338060 w 3219450"/>
                <a:gd name="connsiteY28" fmla="*/ 1041169 h 2005576"/>
                <a:gd name="connsiteX29" fmla="*/ 2791714 w 3219450"/>
                <a:gd name="connsiteY29" fmla="*/ 1041170 h 2005576"/>
                <a:gd name="connsiteX30" fmla="*/ 2843899 w 3219450"/>
                <a:gd name="connsiteY30" fmla="*/ 988985 h 2005576"/>
                <a:gd name="connsiteX31" fmla="*/ 2843900 w 3219450"/>
                <a:gd name="connsiteY31" fmla="*/ 988985 h 2005576"/>
                <a:gd name="connsiteX32" fmla="*/ 2791715 w 3219450"/>
                <a:gd name="connsiteY32" fmla="*/ 936800 h 2005576"/>
                <a:gd name="connsiteX33" fmla="*/ 1338060 w 3219450"/>
                <a:gd name="connsiteY33" fmla="*/ 936800 h 2005576"/>
                <a:gd name="connsiteX34" fmla="*/ 765573 w 3219450"/>
                <a:gd name="connsiteY34" fmla="*/ 931833 h 2005576"/>
                <a:gd name="connsiteX35" fmla="*/ 719138 w 3219450"/>
                <a:gd name="connsiteY35" fmla="*/ 978268 h 2005576"/>
                <a:gd name="connsiteX36" fmla="*/ 719138 w 3219450"/>
                <a:gd name="connsiteY36" fmla="*/ 1164005 h 2005576"/>
                <a:gd name="connsiteX37" fmla="*/ 765573 w 3219450"/>
                <a:gd name="connsiteY37" fmla="*/ 1210440 h 2005576"/>
                <a:gd name="connsiteX38" fmla="*/ 1060847 w 3219450"/>
                <a:gd name="connsiteY38" fmla="*/ 1210440 h 2005576"/>
                <a:gd name="connsiteX39" fmla="*/ 1107282 w 3219450"/>
                <a:gd name="connsiteY39" fmla="*/ 1164005 h 2005576"/>
                <a:gd name="connsiteX40" fmla="*/ 1107282 w 3219450"/>
                <a:gd name="connsiteY40" fmla="*/ 978268 h 2005576"/>
                <a:gd name="connsiteX41" fmla="*/ 1060847 w 3219450"/>
                <a:gd name="connsiteY41" fmla="*/ 931833 h 2005576"/>
                <a:gd name="connsiteX42" fmla="*/ 765573 w 3219450"/>
                <a:gd name="connsiteY42" fmla="*/ 931833 h 2005576"/>
                <a:gd name="connsiteX43" fmla="*/ 248842 w 3219450"/>
                <a:gd name="connsiteY43" fmla="*/ 931833 h 2005576"/>
                <a:gd name="connsiteX44" fmla="*/ 202407 w 3219450"/>
                <a:gd name="connsiteY44" fmla="*/ 978268 h 2005576"/>
                <a:gd name="connsiteX45" fmla="*/ 202407 w 3219450"/>
                <a:gd name="connsiteY45" fmla="*/ 1164005 h 2005576"/>
                <a:gd name="connsiteX46" fmla="*/ 248842 w 3219450"/>
                <a:gd name="connsiteY46" fmla="*/ 1210440 h 2005576"/>
                <a:gd name="connsiteX47" fmla="*/ 544116 w 3219450"/>
                <a:gd name="connsiteY47" fmla="*/ 1210440 h 2005576"/>
                <a:gd name="connsiteX48" fmla="*/ 590551 w 3219450"/>
                <a:gd name="connsiteY48" fmla="*/ 1164005 h 2005576"/>
                <a:gd name="connsiteX49" fmla="*/ 590551 w 3219450"/>
                <a:gd name="connsiteY49" fmla="*/ 978268 h 2005576"/>
                <a:gd name="connsiteX50" fmla="*/ 544116 w 3219450"/>
                <a:gd name="connsiteY50" fmla="*/ 931833 h 2005576"/>
                <a:gd name="connsiteX51" fmla="*/ 248842 w 3219450"/>
                <a:gd name="connsiteY51" fmla="*/ 931833 h 2005576"/>
                <a:gd name="connsiteX52" fmla="*/ 765573 w 3219450"/>
                <a:gd name="connsiteY52" fmla="*/ 445857 h 2005576"/>
                <a:gd name="connsiteX53" fmla="*/ 719138 w 3219450"/>
                <a:gd name="connsiteY53" fmla="*/ 492292 h 2005576"/>
                <a:gd name="connsiteX54" fmla="*/ 719138 w 3219450"/>
                <a:gd name="connsiteY54" fmla="*/ 678029 h 2005576"/>
                <a:gd name="connsiteX55" fmla="*/ 765573 w 3219450"/>
                <a:gd name="connsiteY55" fmla="*/ 724464 h 2005576"/>
                <a:gd name="connsiteX56" fmla="*/ 1060847 w 3219450"/>
                <a:gd name="connsiteY56" fmla="*/ 724464 h 2005576"/>
                <a:gd name="connsiteX57" fmla="*/ 1107282 w 3219450"/>
                <a:gd name="connsiteY57" fmla="*/ 678029 h 2005576"/>
                <a:gd name="connsiteX58" fmla="*/ 1107282 w 3219450"/>
                <a:gd name="connsiteY58" fmla="*/ 492292 h 2005576"/>
                <a:gd name="connsiteX59" fmla="*/ 1060847 w 3219450"/>
                <a:gd name="connsiteY59" fmla="*/ 445857 h 2005576"/>
                <a:gd name="connsiteX60" fmla="*/ 765573 w 3219450"/>
                <a:gd name="connsiteY60" fmla="*/ 445857 h 2005576"/>
                <a:gd name="connsiteX61" fmla="*/ 248842 w 3219450"/>
                <a:gd name="connsiteY61" fmla="*/ 445857 h 2005576"/>
                <a:gd name="connsiteX62" fmla="*/ 202407 w 3219450"/>
                <a:gd name="connsiteY62" fmla="*/ 492292 h 2005576"/>
                <a:gd name="connsiteX63" fmla="*/ 202407 w 3219450"/>
                <a:gd name="connsiteY63" fmla="*/ 678029 h 2005576"/>
                <a:gd name="connsiteX64" fmla="*/ 248842 w 3219450"/>
                <a:gd name="connsiteY64" fmla="*/ 724464 h 2005576"/>
                <a:gd name="connsiteX65" fmla="*/ 544116 w 3219450"/>
                <a:gd name="connsiteY65" fmla="*/ 724464 h 2005576"/>
                <a:gd name="connsiteX66" fmla="*/ 590551 w 3219450"/>
                <a:gd name="connsiteY66" fmla="*/ 678029 h 2005576"/>
                <a:gd name="connsiteX67" fmla="*/ 590551 w 3219450"/>
                <a:gd name="connsiteY67" fmla="*/ 492292 h 2005576"/>
                <a:gd name="connsiteX68" fmla="*/ 544116 w 3219450"/>
                <a:gd name="connsiteY68" fmla="*/ 445857 h 2005576"/>
                <a:gd name="connsiteX69" fmla="*/ 248842 w 3219450"/>
                <a:gd name="connsiteY69" fmla="*/ 445857 h 2005576"/>
                <a:gd name="connsiteX70" fmla="*/ 1136144 w 3219450"/>
                <a:gd name="connsiteY70" fmla="*/ 1548 h 2005576"/>
                <a:gd name="connsiteX71" fmla="*/ 1152525 w 3219450"/>
                <a:gd name="connsiteY71" fmla="*/ 252976 h 2005576"/>
                <a:gd name="connsiteX72" fmla="*/ 1285875 w 3219450"/>
                <a:gd name="connsiteY72" fmla="*/ 252976 h 2005576"/>
                <a:gd name="connsiteX73" fmla="*/ 1285875 w 3219450"/>
                <a:gd name="connsiteY73" fmla="*/ 567301 h 2005576"/>
                <a:gd name="connsiteX74" fmla="*/ 3219450 w 3219450"/>
                <a:gd name="connsiteY74" fmla="*/ 567301 h 2005576"/>
                <a:gd name="connsiteX75" fmla="*/ 3219450 w 3219450"/>
                <a:gd name="connsiteY75" fmla="*/ 2005576 h 2005576"/>
                <a:gd name="connsiteX76" fmla="*/ 1695450 w 3219450"/>
                <a:gd name="connsiteY76" fmla="*/ 2005576 h 2005576"/>
                <a:gd name="connsiteX77" fmla="*/ 1695450 w 3219450"/>
                <a:gd name="connsiteY77" fmla="*/ 1357876 h 2005576"/>
                <a:gd name="connsiteX78" fmla="*/ 1276350 w 3219450"/>
                <a:gd name="connsiteY78" fmla="*/ 1357876 h 2005576"/>
                <a:gd name="connsiteX79" fmla="*/ 1276350 w 3219450"/>
                <a:gd name="connsiteY79" fmla="*/ 1996051 h 2005576"/>
                <a:gd name="connsiteX80" fmla="*/ 0 w 3219450"/>
                <a:gd name="connsiteY80" fmla="*/ 1996051 h 2005576"/>
                <a:gd name="connsiteX81" fmla="*/ 0 w 3219450"/>
                <a:gd name="connsiteY81" fmla="*/ 262501 h 2005576"/>
                <a:gd name="connsiteX82" fmla="*/ 624283 w 3219450"/>
                <a:gd name="connsiteY82" fmla="*/ 255424 h 2005576"/>
                <a:gd name="connsiteX83" fmla="*/ 645523 w 3219450"/>
                <a:gd name="connsiteY83" fmla="*/ 0 h 2005576"/>
                <a:gd name="connsiteX84" fmla="*/ 1136144 w 3219450"/>
                <a:gd name="connsiteY84" fmla="*/ 1548 h 2005576"/>
                <a:gd name="connsiteX0" fmla="*/ 765573 w 3219450"/>
                <a:gd name="connsiteY0" fmla="*/ 1389543 h 2007554"/>
                <a:gd name="connsiteX1" fmla="*/ 719138 w 3219450"/>
                <a:gd name="connsiteY1" fmla="*/ 1435978 h 2007554"/>
                <a:gd name="connsiteX2" fmla="*/ 719138 w 3219450"/>
                <a:gd name="connsiteY2" fmla="*/ 1621715 h 2007554"/>
                <a:gd name="connsiteX3" fmla="*/ 765573 w 3219450"/>
                <a:gd name="connsiteY3" fmla="*/ 1668150 h 2007554"/>
                <a:gd name="connsiteX4" fmla="*/ 1060847 w 3219450"/>
                <a:gd name="connsiteY4" fmla="*/ 1668150 h 2007554"/>
                <a:gd name="connsiteX5" fmla="*/ 1107282 w 3219450"/>
                <a:gd name="connsiteY5" fmla="*/ 1621715 h 2007554"/>
                <a:gd name="connsiteX6" fmla="*/ 1107282 w 3219450"/>
                <a:gd name="connsiteY6" fmla="*/ 1435978 h 2007554"/>
                <a:gd name="connsiteX7" fmla="*/ 1060847 w 3219450"/>
                <a:gd name="connsiteY7" fmla="*/ 1389543 h 2007554"/>
                <a:gd name="connsiteX8" fmla="*/ 765573 w 3219450"/>
                <a:gd name="connsiteY8" fmla="*/ 1389543 h 2007554"/>
                <a:gd name="connsiteX9" fmla="*/ 248842 w 3219450"/>
                <a:gd name="connsiteY9" fmla="*/ 1389543 h 2007554"/>
                <a:gd name="connsiteX10" fmla="*/ 202407 w 3219450"/>
                <a:gd name="connsiteY10" fmla="*/ 1435978 h 2007554"/>
                <a:gd name="connsiteX11" fmla="*/ 202407 w 3219450"/>
                <a:gd name="connsiteY11" fmla="*/ 1621715 h 2007554"/>
                <a:gd name="connsiteX12" fmla="*/ 248842 w 3219450"/>
                <a:gd name="connsiteY12" fmla="*/ 1668150 h 2007554"/>
                <a:gd name="connsiteX13" fmla="*/ 544116 w 3219450"/>
                <a:gd name="connsiteY13" fmla="*/ 1668150 h 2007554"/>
                <a:gd name="connsiteX14" fmla="*/ 590551 w 3219450"/>
                <a:gd name="connsiteY14" fmla="*/ 1621715 h 2007554"/>
                <a:gd name="connsiteX15" fmla="*/ 590551 w 3219450"/>
                <a:gd name="connsiteY15" fmla="*/ 1435978 h 2007554"/>
                <a:gd name="connsiteX16" fmla="*/ 544116 w 3219450"/>
                <a:gd name="connsiteY16" fmla="*/ 1389543 h 2007554"/>
                <a:gd name="connsiteX17" fmla="*/ 248842 w 3219450"/>
                <a:gd name="connsiteY17" fmla="*/ 1389543 h 2007554"/>
                <a:gd name="connsiteX18" fmla="*/ 1338060 w 3219450"/>
                <a:gd name="connsiteY18" fmla="*/ 1160234 h 2007554"/>
                <a:gd name="connsiteX19" fmla="*/ 1285875 w 3219450"/>
                <a:gd name="connsiteY19" fmla="*/ 1212419 h 2007554"/>
                <a:gd name="connsiteX20" fmla="*/ 1338060 w 3219450"/>
                <a:gd name="connsiteY20" fmla="*/ 1264603 h 2007554"/>
                <a:gd name="connsiteX21" fmla="*/ 2791714 w 3219450"/>
                <a:gd name="connsiteY21" fmla="*/ 1264604 h 2007554"/>
                <a:gd name="connsiteX22" fmla="*/ 2843899 w 3219450"/>
                <a:gd name="connsiteY22" fmla="*/ 1212419 h 2007554"/>
                <a:gd name="connsiteX23" fmla="*/ 2843900 w 3219450"/>
                <a:gd name="connsiteY23" fmla="*/ 1212419 h 2007554"/>
                <a:gd name="connsiteX24" fmla="*/ 2791715 w 3219450"/>
                <a:gd name="connsiteY24" fmla="*/ 1160234 h 2007554"/>
                <a:gd name="connsiteX25" fmla="*/ 1338060 w 3219450"/>
                <a:gd name="connsiteY25" fmla="*/ 1160234 h 2007554"/>
                <a:gd name="connsiteX26" fmla="*/ 1338060 w 3219450"/>
                <a:gd name="connsiteY26" fmla="*/ 938778 h 2007554"/>
                <a:gd name="connsiteX27" fmla="*/ 1285875 w 3219450"/>
                <a:gd name="connsiteY27" fmla="*/ 990963 h 2007554"/>
                <a:gd name="connsiteX28" fmla="*/ 1338060 w 3219450"/>
                <a:gd name="connsiteY28" fmla="*/ 1043147 h 2007554"/>
                <a:gd name="connsiteX29" fmla="*/ 2791714 w 3219450"/>
                <a:gd name="connsiteY29" fmla="*/ 1043148 h 2007554"/>
                <a:gd name="connsiteX30" fmla="*/ 2843899 w 3219450"/>
                <a:gd name="connsiteY30" fmla="*/ 990963 h 2007554"/>
                <a:gd name="connsiteX31" fmla="*/ 2843900 w 3219450"/>
                <a:gd name="connsiteY31" fmla="*/ 990963 h 2007554"/>
                <a:gd name="connsiteX32" fmla="*/ 2791715 w 3219450"/>
                <a:gd name="connsiteY32" fmla="*/ 938778 h 2007554"/>
                <a:gd name="connsiteX33" fmla="*/ 1338060 w 3219450"/>
                <a:gd name="connsiteY33" fmla="*/ 938778 h 2007554"/>
                <a:gd name="connsiteX34" fmla="*/ 765573 w 3219450"/>
                <a:gd name="connsiteY34" fmla="*/ 933811 h 2007554"/>
                <a:gd name="connsiteX35" fmla="*/ 719138 w 3219450"/>
                <a:gd name="connsiteY35" fmla="*/ 980246 h 2007554"/>
                <a:gd name="connsiteX36" fmla="*/ 719138 w 3219450"/>
                <a:gd name="connsiteY36" fmla="*/ 1165983 h 2007554"/>
                <a:gd name="connsiteX37" fmla="*/ 765573 w 3219450"/>
                <a:gd name="connsiteY37" fmla="*/ 1212418 h 2007554"/>
                <a:gd name="connsiteX38" fmla="*/ 1060847 w 3219450"/>
                <a:gd name="connsiteY38" fmla="*/ 1212418 h 2007554"/>
                <a:gd name="connsiteX39" fmla="*/ 1107282 w 3219450"/>
                <a:gd name="connsiteY39" fmla="*/ 1165983 h 2007554"/>
                <a:gd name="connsiteX40" fmla="*/ 1107282 w 3219450"/>
                <a:gd name="connsiteY40" fmla="*/ 980246 h 2007554"/>
                <a:gd name="connsiteX41" fmla="*/ 1060847 w 3219450"/>
                <a:gd name="connsiteY41" fmla="*/ 933811 h 2007554"/>
                <a:gd name="connsiteX42" fmla="*/ 765573 w 3219450"/>
                <a:gd name="connsiteY42" fmla="*/ 933811 h 2007554"/>
                <a:gd name="connsiteX43" fmla="*/ 248842 w 3219450"/>
                <a:gd name="connsiteY43" fmla="*/ 933811 h 2007554"/>
                <a:gd name="connsiteX44" fmla="*/ 202407 w 3219450"/>
                <a:gd name="connsiteY44" fmla="*/ 980246 h 2007554"/>
                <a:gd name="connsiteX45" fmla="*/ 202407 w 3219450"/>
                <a:gd name="connsiteY45" fmla="*/ 1165983 h 2007554"/>
                <a:gd name="connsiteX46" fmla="*/ 248842 w 3219450"/>
                <a:gd name="connsiteY46" fmla="*/ 1212418 h 2007554"/>
                <a:gd name="connsiteX47" fmla="*/ 544116 w 3219450"/>
                <a:gd name="connsiteY47" fmla="*/ 1212418 h 2007554"/>
                <a:gd name="connsiteX48" fmla="*/ 590551 w 3219450"/>
                <a:gd name="connsiteY48" fmla="*/ 1165983 h 2007554"/>
                <a:gd name="connsiteX49" fmla="*/ 590551 w 3219450"/>
                <a:gd name="connsiteY49" fmla="*/ 980246 h 2007554"/>
                <a:gd name="connsiteX50" fmla="*/ 544116 w 3219450"/>
                <a:gd name="connsiteY50" fmla="*/ 933811 h 2007554"/>
                <a:gd name="connsiteX51" fmla="*/ 248842 w 3219450"/>
                <a:gd name="connsiteY51" fmla="*/ 933811 h 2007554"/>
                <a:gd name="connsiteX52" fmla="*/ 765573 w 3219450"/>
                <a:gd name="connsiteY52" fmla="*/ 447835 h 2007554"/>
                <a:gd name="connsiteX53" fmla="*/ 719138 w 3219450"/>
                <a:gd name="connsiteY53" fmla="*/ 494270 h 2007554"/>
                <a:gd name="connsiteX54" fmla="*/ 719138 w 3219450"/>
                <a:gd name="connsiteY54" fmla="*/ 680007 h 2007554"/>
                <a:gd name="connsiteX55" fmla="*/ 765573 w 3219450"/>
                <a:gd name="connsiteY55" fmla="*/ 726442 h 2007554"/>
                <a:gd name="connsiteX56" fmla="*/ 1060847 w 3219450"/>
                <a:gd name="connsiteY56" fmla="*/ 726442 h 2007554"/>
                <a:gd name="connsiteX57" fmla="*/ 1107282 w 3219450"/>
                <a:gd name="connsiteY57" fmla="*/ 680007 h 2007554"/>
                <a:gd name="connsiteX58" fmla="*/ 1107282 w 3219450"/>
                <a:gd name="connsiteY58" fmla="*/ 494270 h 2007554"/>
                <a:gd name="connsiteX59" fmla="*/ 1060847 w 3219450"/>
                <a:gd name="connsiteY59" fmla="*/ 447835 h 2007554"/>
                <a:gd name="connsiteX60" fmla="*/ 765573 w 3219450"/>
                <a:gd name="connsiteY60" fmla="*/ 447835 h 2007554"/>
                <a:gd name="connsiteX61" fmla="*/ 248842 w 3219450"/>
                <a:gd name="connsiteY61" fmla="*/ 447835 h 2007554"/>
                <a:gd name="connsiteX62" fmla="*/ 202407 w 3219450"/>
                <a:gd name="connsiteY62" fmla="*/ 494270 h 2007554"/>
                <a:gd name="connsiteX63" fmla="*/ 202407 w 3219450"/>
                <a:gd name="connsiteY63" fmla="*/ 680007 h 2007554"/>
                <a:gd name="connsiteX64" fmla="*/ 248842 w 3219450"/>
                <a:gd name="connsiteY64" fmla="*/ 726442 h 2007554"/>
                <a:gd name="connsiteX65" fmla="*/ 544116 w 3219450"/>
                <a:gd name="connsiteY65" fmla="*/ 726442 h 2007554"/>
                <a:gd name="connsiteX66" fmla="*/ 590551 w 3219450"/>
                <a:gd name="connsiteY66" fmla="*/ 680007 h 2007554"/>
                <a:gd name="connsiteX67" fmla="*/ 590551 w 3219450"/>
                <a:gd name="connsiteY67" fmla="*/ 494270 h 2007554"/>
                <a:gd name="connsiteX68" fmla="*/ 544116 w 3219450"/>
                <a:gd name="connsiteY68" fmla="*/ 447835 h 2007554"/>
                <a:gd name="connsiteX69" fmla="*/ 248842 w 3219450"/>
                <a:gd name="connsiteY69" fmla="*/ 447835 h 2007554"/>
                <a:gd name="connsiteX70" fmla="*/ 1136144 w 3219450"/>
                <a:gd name="connsiteY70" fmla="*/ 3526 h 2007554"/>
                <a:gd name="connsiteX71" fmla="*/ 1152525 w 3219450"/>
                <a:gd name="connsiteY71" fmla="*/ 254954 h 2007554"/>
                <a:gd name="connsiteX72" fmla="*/ 1285875 w 3219450"/>
                <a:gd name="connsiteY72" fmla="*/ 254954 h 2007554"/>
                <a:gd name="connsiteX73" fmla="*/ 1285875 w 3219450"/>
                <a:gd name="connsiteY73" fmla="*/ 569279 h 2007554"/>
                <a:gd name="connsiteX74" fmla="*/ 3219450 w 3219450"/>
                <a:gd name="connsiteY74" fmla="*/ 569279 h 2007554"/>
                <a:gd name="connsiteX75" fmla="*/ 3219450 w 3219450"/>
                <a:gd name="connsiteY75" fmla="*/ 2007554 h 2007554"/>
                <a:gd name="connsiteX76" fmla="*/ 1695450 w 3219450"/>
                <a:gd name="connsiteY76" fmla="*/ 2007554 h 2007554"/>
                <a:gd name="connsiteX77" fmla="*/ 1695450 w 3219450"/>
                <a:gd name="connsiteY77" fmla="*/ 1359854 h 2007554"/>
                <a:gd name="connsiteX78" fmla="*/ 1276350 w 3219450"/>
                <a:gd name="connsiteY78" fmla="*/ 1359854 h 2007554"/>
                <a:gd name="connsiteX79" fmla="*/ 1276350 w 3219450"/>
                <a:gd name="connsiteY79" fmla="*/ 1998029 h 2007554"/>
                <a:gd name="connsiteX80" fmla="*/ 0 w 3219450"/>
                <a:gd name="connsiteY80" fmla="*/ 1998029 h 2007554"/>
                <a:gd name="connsiteX81" fmla="*/ 0 w 3219450"/>
                <a:gd name="connsiteY81" fmla="*/ 264479 h 2007554"/>
                <a:gd name="connsiteX82" fmla="*/ 624283 w 3219450"/>
                <a:gd name="connsiteY82" fmla="*/ 257402 h 2007554"/>
                <a:gd name="connsiteX83" fmla="*/ 645523 w 3219450"/>
                <a:gd name="connsiteY83" fmla="*/ 1978 h 2007554"/>
                <a:gd name="connsiteX84" fmla="*/ 1136144 w 3219450"/>
                <a:gd name="connsiteY84" fmla="*/ 3526 h 2007554"/>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1136144 w 3219450"/>
                <a:gd name="connsiteY83" fmla="*/ 0 h 2004028"/>
                <a:gd name="connsiteX0" fmla="*/ 765573 w 3219450"/>
                <a:gd name="connsiteY0" fmla="*/ 1134589 h 1752600"/>
                <a:gd name="connsiteX1" fmla="*/ 719138 w 3219450"/>
                <a:gd name="connsiteY1" fmla="*/ 1181024 h 1752600"/>
                <a:gd name="connsiteX2" fmla="*/ 719138 w 3219450"/>
                <a:gd name="connsiteY2" fmla="*/ 1366761 h 1752600"/>
                <a:gd name="connsiteX3" fmla="*/ 765573 w 3219450"/>
                <a:gd name="connsiteY3" fmla="*/ 1413196 h 1752600"/>
                <a:gd name="connsiteX4" fmla="*/ 1060847 w 3219450"/>
                <a:gd name="connsiteY4" fmla="*/ 1413196 h 1752600"/>
                <a:gd name="connsiteX5" fmla="*/ 1107282 w 3219450"/>
                <a:gd name="connsiteY5" fmla="*/ 1366761 h 1752600"/>
                <a:gd name="connsiteX6" fmla="*/ 1107282 w 3219450"/>
                <a:gd name="connsiteY6" fmla="*/ 1181024 h 1752600"/>
                <a:gd name="connsiteX7" fmla="*/ 1060847 w 3219450"/>
                <a:gd name="connsiteY7" fmla="*/ 1134589 h 1752600"/>
                <a:gd name="connsiteX8" fmla="*/ 765573 w 3219450"/>
                <a:gd name="connsiteY8" fmla="*/ 1134589 h 1752600"/>
                <a:gd name="connsiteX9" fmla="*/ 248842 w 3219450"/>
                <a:gd name="connsiteY9" fmla="*/ 1134589 h 1752600"/>
                <a:gd name="connsiteX10" fmla="*/ 202407 w 3219450"/>
                <a:gd name="connsiteY10" fmla="*/ 1181024 h 1752600"/>
                <a:gd name="connsiteX11" fmla="*/ 202407 w 3219450"/>
                <a:gd name="connsiteY11" fmla="*/ 1366761 h 1752600"/>
                <a:gd name="connsiteX12" fmla="*/ 248842 w 3219450"/>
                <a:gd name="connsiteY12" fmla="*/ 1413196 h 1752600"/>
                <a:gd name="connsiteX13" fmla="*/ 544116 w 3219450"/>
                <a:gd name="connsiteY13" fmla="*/ 1413196 h 1752600"/>
                <a:gd name="connsiteX14" fmla="*/ 590551 w 3219450"/>
                <a:gd name="connsiteY14" fmla="*/ 1366761 h 1752600"/>
                <a:gd name="connsiteX15" fmla="*/ 590551 w 3219450"/>
                <a:gd name="connsiteY15" fmla="*/ 1181024 h 1752600"/>
                <a:gd name="connsiteX16" fmla="*/ 544116 w 3219450"/>
                <a:gd name="connsiteY16" fmla="*/ 1134589 h 1752600"/>
                <a:gd name="connsiteX17" fmla="*/ 248842 w 3219450"/>
                <a:gd name="connsiteY17" fmla="*/ 1134589 h 1752600"/>
                <a:gd name="connsiteX18" fmla="*/ 1338060 w 3219450"/>
                <a:gd name="connsiteY18" fmla="*/ 905280 h 1752600"/>
                <a:gd name="connsiteX19" fmla="*/ 1285875 w 3219450"/>
                <a:gd name="connsiteY19" fmla="*/ 957465 h 1752600"/>
                <a:gd name="connsiteX20" fmla="*/ 1338060 w 3219450"/>
                <a:gd name="connsiteY20" fmla="*/ 1009649 h 1752600"/>
                <a:gd name="connsiteX21" fmla="*/ 2791714 w 3219450"/>
                <a:gd name="connsiteY21" fmla="*/ 1009650 h 1752600"/>
                <a:gd name="connsiteX22" fmla="*/ 2843899 w 3219450"/>
                <a:gd name="connsiteY22" fmla="*/ 957465 h 1752600"/>
                <a:gd name="connsiteX23" fmla="*/ 2843900 w 3219450"/>
                <a:gd name="connsiteY23" fmla="*/ 957465 h 1752600"/>
                <a:gd name="connsiteX24" fmla="*/ 2791715 w 3219450"/>
                <a:gd name="connsiteY24" fmla="*/ 905280 h 1752600"/>
                <a:gd name="connsiteX25" fmla="*/ 1338060 w 3219450"/>
                <a:gd name="connsiteY25" fmla="*/ 905280 h 1752600"/>
                <a:gd name="connsiteX26" fmla="*/ 1338060 w 3219450"/>
                <a:gd name="connsiteY26" fmla="*/ 683824 h 1752600"/>
                <a:gd name="connsiteX27" fmla="*/ 1285875 w 3219450"/>
                <a:gd name="connsiteY27" fmla="*/ 736009 h 1752600"/>
                <a:gd name="connsiteX28" fmla="*/ 1338060 w 3219450"/>
                <a:gd name="connsiteY28" fmla="*/ 788193 h 1752600"/>
                <a:gd name="connsiteX29" fmla="*/ 2791714 w 3219450"/>
                <a:gd name="connsiteY29" fmla="*/ 788194 h 1752600"/>
                <a:gd name="connsiteX30" fmla="*/ 2843899 w 3219450"/>
                <a:gd name="connsiteY30" fmla="*/ 736009 h 1752600"/>
                <a:gd name="connsiteX31" fmla="*/ 2843900 w 3219450"/>
                <a:gd name="connsiteY31" fmla="*/ 736009 h 1752600"/>
                <a:gd name="connsiteX32" fmla="*/ 2791715 w 3219450"/>
                <a:gd name="connsiteY32" fmla="*/ 683824 h 1752600"/>
                <a:gd name="connsiteX33" fmla="*/ 1338060 w 3219450"/>
                <a:gd name="connsiteY33" fmla="*/ 683824 h 1752600"/>
                <a:gd name="connsiteX34" fmla="*/ 765573 w 3219450"/>
                <a:gd name="connsiteY34" fmla="*/ 678857 h 1752600"/>
                <a:gd name="connsiteX35" fmla="*/ 719138 w 3219450"/>
                <a:gd name="connsiteY35" fmla="*/ 725292 h 1752600"/>
                <a:gd name="connsiteX36" fmla="*/ 719138 w 3219450"/>
                <a:gd name="connsiteY36" fmla="*/ 911029 h 1752600"/>
                <a:gd name="connsiteX37" fmla="*/ 765573 w 3219450"/>
                <a:gd name="connsiteY37" fmla="*/ 957464 h 1752600"/>
                <a:gd name="connsiteX38" fmla="*/ 1060847 w 3219450"/>
                <a:gd name="connsiteY38" fmla="*/ 957464 h 1752600"/>
                <a:gd name="connsiteX39" fmla="*/ 1107282 w 3219450"/>
                <a:gd name="connsiteY39" fmla="*/ 911029 h 1752600"/>
                <a:gd name="connsiteX40" fmla="*/ 1107282 w 3219450"/>
                <a:gd name="connsiteY40" fmla="*/ 725292 h 1752600"/>
                <a:gd name="connsiteX41" fmla="*/ 1060847 w 3219450"/>
                <a:gd name="connsiteY41" fmla="*/ 678857 h 1752600"/>
                <a:gd name="connsiteX42" fmla="*/ 765573 w 3219450"/>
                <a:gd name="connsiteY42" fmla="*/ 678857 h 1752600"/>
                <a:gd name="connsiteX43" fmla="*/ 248842 w 3219450"/>
                <a:gd name="connsiteY43" fmla="*/ 678857 h 1752600"/>
                <a:gd name="connsiteX44" fmla="*/ 202407 w 3219450"/>
                <a:gd name="connsiteY44" fmla="*/ 725292 h 1752600"/>
                <a:gd name="connsiteX45" fmla="*/ 202407 w 3219450"/>
                <a:gd name="connsiteY45" fmla="*/ 911029 h 1752600"/>
                <a:gd name="connsiteX46" fmla="*/ 248842 w 3219450"/>
                <a:gd name="connsiteY46" fmla="*/ 957464 h 1752600"/>
                <a:gd name="connsiteX47" fmla="*/ 544116 w 3219450"/>
                <a:gd name="connsiteY47" fmla="*/ 957464 h 1752600"/>
                <a:gd name="connsiteX48" fmla="*/ 590551 w 3219450"/>
                <a:gd name="connsiteY48" fmla="*/ 911029 h 1752600"/>
                <a:gd name="connsiteX49" fmla="*/ 590551 w 3219450"/>
                <a:gd name="connsiteY49" fmla="*/ 725292 h 1752600"/>
                <a:gd name="connsiteX50" fmla="*/ 544116 w 3219450"/>
                <a:gd name="connsiteY50" fmla="*/ 678857 h 1752600"/>
                <a:gd name="connsiteX51" fmla="*/ 248842 w 3219450"/>
                <a:gd name="connsiteY51" fmla="*/ 678857 h 1752600"/>
                <a:gd name="connsiteX52" fmla="*/ 765573 w 3219450"/>
                <a:gd name="connsiteY52" fmla="*/ 192881 h 1752600"/>
                <a:gd name="connsiteX53" fmla="*/ 719138 w 3219450"/>
                <a:gd name="connsiteY53" fmla="*/ 239316 h 1752600"/>
                <a:gd name="connsiteX54" fmla="*/ 719138 w 3219450"/>
                <a:gd name="connsiteY54" fmla="*/ 425053 h 1752600"/>
                <a:gd name="connsiteX55" fmla="*/ 765573 w 3219450"/>
                <a:gd name="connsiteY55" fmla="*/ 471488 h 1752600"/>
                <a:gd name="connsiteX56" fmla="*/ 1060847 w 3219450"/>
                <a:gd name="connsiteY56" fmla="*/ 471488 h 1752600"/>
                <a:gd name="connsiteX57" fmla="*/ 1107282 w 3219450"/>
                <a:gd name="connsiteY57" fmla="*/ 425053 h 1752600"/>
                <a:gd name="connsiteX58" fmla="*/ 1107282 w 3219450"/>
                <a:gd name="connsiteY58" fmla="*/ 239316 h 1752600"/>
                <a:gd name="connsiteX59" fmla="*/ 1060847 w 3219450"/>
                <a:gd name="connsiteY59" fmla="*/ 192881 h 1752600"/>
                <a:gd name="connsiteX60" fmla="*/ 765573 w 3219450"/>
                <a:gd name="connsiteY60" fmla="*/ 192881 h 1752600"/>
                <a:gd name="connsiteX61" fmla="*/ 248842 w 3219450"/>
                <a:gd name="connsiteY61" fmla="*/ 192881 h 1752600"/>
                <a:gd name="connsiteX62" fmla="*/ 202407 w 3219450"/>
                <a:gd name="connsiteY62" fmla="*/ 239316 h 1752600"/>
                <a:gd name="connsiteX63" fmla="*/ 202407 w 3219450"/>
                <a:gd name="connsiteY63" fmla="*/ 425053 h 1752600"/>
                <a:gd name="connsiteX64" fmla="*/ 248842 w 3219450"/>
                <a:gd name="connsiteY64" fmla="*/ 471488 h 1752600"/>
                <a:gd name="connsiteX65" fmla="*/ 544116 w 3219450"/>
                <a:gd name="connsiteY65" fmla="*/ 471488 h 1752600"/>
                <a:gd name="connsiteX66" fmla="*/ 590551 w 3219450"/>
                <a:gd name="connsiteY66" fmla="*/ 425053 h 1752600"/>
                <a:gd name="connsiteX67" fmla="*/ 590551 w 3219450"/>
                <a:gd name="connsiteY67" fmla="*/ 239316 h 1752600"/>
                <a:gd name="connsiteX68" fmla="*/ 544116 w 3219450"/>
                <a:gd name="connsiteY68" fmla="*/ 192881 h 1752600"/>
                <a:gd name="connsiteX69" fmla="*/ 248842 w 3219450"/>
                <a:gd name="connsiteY69" fmla="*/ 192881 h 1752600"/>
                <a:gd name="connsiteX70" fmla="*/ 624283 w 3219450"/>
                <a:gd name="connsiteY70" fmla="*/ 2448 h 1752600"/>
                <a:gd name="connsiteX71" fmla="*/ 1152525 w 3219450"/>
                <a:gd name="connsiteY71" fmla="*/ 0 h 1752600"/>
                <a:gd name="connsiteX72" fmla="*/ 1285875 w 3219450"/>
                <a:gd name="connsiteY72" fmla="*/ 0 h 1752600"/>
                <a:gd name="connsiteX73" fmla="*/ 1285875 w 3219450"/>
                <a:gd name="connsiteY73" fmla="*/ 314325 h 1752600"/>
                <a:gd name="connsiteX74" fmla="*/ 3219450 w 3219450"/>
                <a:gd name="connsiteY74" fmla="*/ 314325 h 1752600"/>
                <a:gd name="connsiteX75" fmla="*/ 3219450 w 3219450"/>
                <a:gd name="connsiteY75" fmla="*/ 1752600 h 1752600"/>
                <a:gd name="connsiteX76" fmla="*/ 1695450 w 3219450"/>
                <a:gd name="connsiteY76" fmla="*/ 1752600 h 1752600"/>
                <a:gd name="connsiteX77" fmla="*/ 1695450 w 3219450"/>
                <a:gd name="connsiteY77" fmla="*/ 1104900 h 1752600"/>
                <a:gd name="connsiteX78" fmla="*/ 1276350 w 3219450"/>
                <a:gd name="connsiteY78" fmla="*/ 1104900 h 1752600"/>
                <a:gd name="connsiteX79" fmla="*/ 1276350 w 3219450"/>
                <a:gd name="connsiteY79" fmla="*/ 1743075 h 1752600"/>
                <a:gd name="connsiteX80" fmla="*/ 0 w 3219450"/>
                <a:gd name="connsiteY80" fmla="*/ 1743075 h 1752600"/>
                <a:gd name="connsiteX81" fmla="*/ 0 w 3219450"/>
                <a:gd name="connsiteY81" fmla="*/ 9525 h 1752600"/>
                <a:gd name="connsiteX82" fmla="*/ 624283 w 3219450"/>
                <a:gd name="connsiteY82" fmla="*/ 2448 h 175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219450" h="1752600">
                  <a:moveTo>
                    <a:pt x="765573" y="1134589"/>
                  </a:moveTo>
                  <a:cubicBezTo>
                    <a:pt x="739928" y="1134589"/>
                    <a:pt x="719138" y="1155379"/>
                    <a:pt x="719138" y="1181024"/>
                  </a:cubicBezTo>
                  <a:lnTo>
                    <a:pt x="719138" y="1366761"/>
                  </a:lnTo>
                  <a:cubicBezTo>
                    <a:pt x="719138" y="1392406"/>
                    <a:pt x="739928" y="1413196"/>
                    <a:pt x="765573" y="1413196"/>
                  </a:cubicBezTo>
                  <a:lnTo>
                    <a:pt x="1060847" y="1413196"/>
                  </a:lnTo>
                  <a:cubicBezTo>
                    <a:pt x="1086492" y="1413196"/>
                    <a:pt x="1107282" y="1392406"/>
                    <a:pt x="1107282" y="1366761"/>
                  </a:cubicBezTo>
                  <a:lnTo>
                    <a:pt x="1107282" y="1181024"/>
                  </a:lnTo>
                  <a:cubicBezTo>
                    <a:pt x="1107282" y="1155379"/>
                    <a:pt x="1086492" y="1134589"/>
                    <a:pt x="1060847" y="1134589"/>
                  </a:cubicBezTo>
                  <a:lnTo>
                    <a:pt x="765573" y="1134589"/>
                  </a:lnTo>
                  <a:close/>
                  <a:moveTo>
                    <a:pt x="248842" y="1134589"/>
                  </a:moveTo>
                  <a:cubicBezTo>
                    <a:pt x="223197" y="1134589"/>
                    <a:pt x="202407" y="1155379"/>
                    <a:pt x="202407" y="1181024"/>
                  </a:cubicBezTo>
                  <a:lnTo>
                    <a:pt x="202407" y="1366761"/>
                  </a:lnTo>
                  <a:cubicBezTo>
                    <a:pt x="202407" y="1392406"/>
                    <a:pt x="223197" y="1413196"/>
                    <a:pt x="248842" y="1413196"/>
                  </a:cubicBezTo>
                  <a:lnTo>
                    <a:pt x="544116" y="1413196"/>
                  </a:lnTo>
                  <a:cubicBezTo>
                    <a:pt x="569761" y="1413196"/>
                    <a:pt x="590551" y="1392406"/>
                    <a:pt x="590551" y="1366761"/>
                  </a:cubicBezTo>
                  <a:lnTo>
                    <a:pt x="590551" y="1181024"/>
                  </a:lnTo>
                  <a:cubicBezTo>
                    <a:pt x="590551" y="1155379"/>
                    <a:pt x="569761" y="1134589"/>
                    <a:pt x="544116" y="1134589"/>
                  </a:cubicBezTo>
                  <a:lnTo>
                    <a:pt x="248842" y="1134589"/>
                  </a:lnTo>
                  <a:close/>
                  <a:moveTo>
                    <a:pt x="1338060" y="905280"/>
                  </a:moveTo>
                  <a:cubicBezTo>
                    <a:pt x="1309239" y="905280"/>
                    <a:pt x="1285875" y="928644"/>
                    <a:pt x="1285875" y="957465"/>
                  </a:cubicBezTo>
                  <a:cubicBezTo>
                    <a:pt x="1285875" y="986285"/>
                    <a:pt x="1309239" y="1009649"/>
                    <a:pt x="1338060" y="1009649"/>
                  </a:cubicBezTo>
                  <a:lnTo>
                    <a:pt x="2791714" y="1009650"/>
                  </a:lnTo>
                  <a:cubicBezTo>
                    <a:pt x="2820535" y="1009650"/>
                    <a:pt x="2843899" y="986286"/>
                    <a:pt x="2843899" y="957465"/>
                  </a:cubicBezTo>
                  <a:lnTo>
                    <a:pt x="2843900" y="957465"/>
                  </a:lnTo>
                  <a:cubicBezTo>
                    <a:pt x="2843900" y="928644"/>
                    <a:pt x="2820536" y="905280"/>
                    <a:pt x="2791715" y="905280"/>
                  </a:cubicBezTo>
                  <a:lnTo>
                    <a:pt x="1338060" y="905280"/>
                  </a:lnTo>
                  <a:close/>
                  <a:moveTo>
                    <a:pt x="1338060" y="683824"/>
                  </a:moveTo>
                  <a:cubicBezTo>
                    <a:pt x="1309239" y="683824"/>
                    <a:pt x="1285875" y="707188"/>
                    <a:pt x="1285875" y="736009"/>
                  </a:cubicBezTo>
                  <a:cubicBezTo>
                    <a:pt x="1285875" y="764829"/>
                    <a:pt x="1309239" y="788193"/>
                    <a:pt x="1338060" y="788193"/>
                  </a:cubicBezTo>
                  <a:lnTo>
                    <a:pt x="2791714" y="788194"/>
                  </a:lnTo>
                  <a:cubicBezTo>
                    <a:pt x="2820535" y="788194"/>
                    <a:pt x="2843899" y="764830"/>
                    <a:pt x="2843899" y="736009"/>
                  </a:cubicBezTo>
                  <a:lnTo>
                    <a:pt x="2843900" y="736009"/>
                  </a:lnTo>
                  <a:cubicBezTo>
                    <a:pt x="2843900" y="707188"/>
                    <a:pt x="2820536" y="683824"/>
                    <a:pt x="2791715" y="683824"/>
                  </a:cubicBezTo>
                  <a:lnTo>
                    <a:pt x="1338060" y="683824"/>
                  </a:lnTo>
                  <a:close/>
                  <a:moveTo>
                    <a:pt x="765573" y="678857"/>
                  </a:moveTo>
                  <a:cubicBezTo>
                    <a:pt x="739928" y="678857"/>
                    <a:pt x="719138" y="699647"/>
                    <a:pt x="719138" y="725292"/>
                  </a:cubicBezTo>
                  <a:lnTo>
                    <a:pt x="719138" y="911029"/>
                  </a:lnTo>
                  <a:cubicBezTo>
                    <a:pt x="719138" y="936674"/>
                    <a:pt x="739928" y="957464"/>
                    <a:pt x="765573" y="957464"/>
                  </a:cubicBezTo>
                  <a:lnTo>
                    <a:pt x="1060847" y="957464"/>
                  </a:lnTo>
                  <a:cubicBezTo>
                    <a:pt x="1086492" y="957464"/>
                    <a:pt x="1107282" y="936674"/>
                    <a:pt x="1107282" y="911029"/>
                  </a:cubicBezTo>
                  <a:lnTo>
                    <a:pt x="1107282" y="725292"/>
                  </a:lnTo>
                  <a:cubicBezTo>
                    <a:pt x="1107282" y="699647"/>
                    <a:pt x="1086492" y="678857"/>
                    <a:pt x="1060847" y="678857"/>
                  </a:cubicBezTo>
                  <a:lnTo>
                    <a:pt x="765573" y="678857"/>
                  </a:lnTo>
                  <a:close/>
                  <a:moveTo>
                    <a:pt x="248842" y="678857"/>
                  </a:moveTo>
                  <a:cubicBezTo>
                    <a:pt x="223197" y="678857"/>
                    <a:pt x="202407" y="699647"/>
                    <a:pt x="202407" y="725292"/>
                  </a:cubicBezTo>
                  <a:lnTo>
                    <a:pt x="202407" y="911029"/>
                  </a:lnTo>
                  <a:cubicBezTo>
                    <a:pt x="202407" y="936674"/>
                    <a:pt x="223197" y="957464"/>
                    <a:pt x="248842" y="957464"/>
                  </a:cubicBezTo>
                  <a:lnTo>
                    <a:pt x="544116" y="957464"/>
                  </a:lnTo>
                  <a:cubicBezTo>
                    <a:pt x="569761" y="957464"/>
                    <a:pt x="590551" y="936674"/>
                    <a:pt x="590551" y="911029"/>
                  </a:cubicBezTo>
                  <a:lnTo>
                    <a:pt x="590551" y="725292"/>
                  </a:lnTo>
                  <a:cubicBezTo>
                    <a:pt x="590551" y="699647"/>
                    <a:pt x="569761" y="678857"/>
                    <a:pt x="544116" y="678857"/>
                  </a:cubicBezTo>
                  <a:lnTo>
                    <a:pt x="248842" y="678857"/>
                  </a:lnTo>
                  <a:close/>
                  <a:moveTo>
                    <a:pt x="765573" y="192881"/>
                  </a:moveTo>
                  <a:cubicBezTo>
                    <a:pt x="739928" y="192881"/>
                    <a:pt x="719138" y="213671"/>
                    <a:pt x="719138" y="239316"/>
                  </a:cubicBezTo>
                  <a:lnTo>
                    <a:pt x="719138" y="425053"/>
                  </a:lnTo>
                  <a:cubicBezTo>
                    <a:pt x="719138" y="450698"/>
                    <a:pt x="739928" y="471488"/>
                    <a:pt x="765573" y="471488"/>
                  </a:cubicBezTo>
                  <a:lnTo>
                    <a:pt x="1060847" y="471488"/>
                  </a:lnTo>
                  <a:cubicBezTo>
                    <a:pt x="1086492" y="471488"/>
                    <a:pt x="1107282" y="450698"/>
                    <a:pt x="1107282" y="425053"/>
                  </a:cubicBezTo>
                  <a:lnTo>
                    <a:pt x="1107282" y="239316"/>
                  </a:lnTo>
                  <a:cubicBezTo>
                    <a:pt x="1107282" y="213671"/>
                    <a:pt x="1086492" y="192881"/>
                    <a:pt x="1060847" y="192881"/>
                  </a:cubicBezTo>
                  <a:lnTo>
                    <a:pt x="765573" y="192881"/>
                  </a:lnTo>
                  <a:close/>
                  <a:moveTo>
                    <a:pt x="248842" y="192881"/>
                  </a:moveTo>
                  <a:cubicBezTo>
                    <a:pt x="223197" y="192881"/>
                    <a:pt x="202407" y="213671"/>
                    <a:pt x="202407" y="239316"/>
                  </a:cubicBezTo>
                  <a:lnTo>
                    <a:pt x="202407" y="425053"/>
                  </a:lnTo>
                  <a:cubicBezTo>
                    <a:pt x="202407" y="450698"/>
                    <a:pt x="223197" y="471488"/>
                    <a:pt x="248842" y="471488"/>
                  </a:cubicBezTo>
                  <a:lnTo>
                    <a:pt x="544116" y="471488"/>
                  </a:lnTo>
                  <a:cubicBezTo>
                    <a:pt x="569761" y="471488"/>
                    <a:pt x="590551" y="450698"/>
                    <a:pt x="590551" y="425053"/>
                  </a:cubicBezTo>
                  <a:lnTo>
                    <a:pt x="590551" y="239316"/>
                  </a:lnTo>
                  <a:cubicBezTo>
                    <a:pt x="590551" y="213671"/>
                    <a:pt x="569761" y="192881"/>
                    <a:pt x="544116" y="192881"/>
                  </a:cubicBezTo>
                  <a:lnTo>
                    <a:pt x="248842" y="192881"/>
                  </a:lnTo>
                  <a:close/>
                  <a:moveTo>
                    <a:pt x="624283" y="2448"/>
                  </a:moveTo>
                  <a:lnTo>
                    <a:pt x="1152525" y="0"/>
                  </a:lnTo>
                  <a:lnTo>
                    <a:pt x="1285875" y="0"/>
                  </a:lnTo>
                  <a:lnTo>
                    <a:pt x="1285875" y="314325"/>
                  </a:lnTo>
                  <a:lnTo>
                    <a:pt x="3219450" y="314325"/>
                  </a:lnTo>
                  <a:lnTo>
                    <a:pt x="3219450" y="1752600"/>
                  </a:lnTo>
                  <a:lnTo>
                    <a:pt x="1695450" y="1752600"/>
                  </a:lnTo>
                  <a:lnTo>
                    <a:pt x="1695450" y="1104900"/>
                  </a:lnTo>
                  <a:lnTo>
                    <a:pt x="1276350" y="1104900"/>
                  </a:lnTo>
                  <a:lnTo>
                    <a:pt x="1276350" y="1743075"/>
                  </a:lnTo>
                  <a:lnTo>
                    <a:pt x="0" y="1743075"/>
                  </a:lnTo>
                  <a:lnTo>
                    <a:pt x="0" y="9525"/>
                  </a:lnTo>
                  <a:lnTo>
                    <a:pt x="624283" y="2448"/>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1B3B41"/>
                </a:solidFill>
                <a:effectLst/>
                <a:uLnTx/>
                <a:uFillTx/>
              </a:endParaRPr>
            </a:p>
          </p:txBody>
        </p:sp>
      </p:grpSp>
      <p:grpSp>
        <p:nvGrpSpPr>
          <p:cNvPr id="2" name="Group 1"/>
          <p:cNvGrpSpPr/>
          <p:nvPr/>
        </p:nvGrpSpPr>
        <p:grpSpPr>
          <a:xfrm>
            <a:off x="8103376" y="2800029"/>
            <a:ext cx="1585232" cy="203321"/>
            <a:chOff x="5748573" y="4921272"/>
            <a:chExt cx="3398085" cy="327450"/>
          </a:xfrm>
        </p:grpSpPr>
        <p:cxnSp>
          <p:nvCxnSpPr>
            <p:cNvPr id="123" name="Straight Connector 122"/>
            <p:cNvCxnSpPr/>
            <p:nvPr/>
          </p:nvCxnSpPr>
          <p:spPr>
            <a:xfrm>
              <a:off x="7921307" y="4921272"/>
              <a:ext cx="95244" cy="327450"/>
            </a:xfrm>
            <a:prstGeom prst="line">
              <a:avLst/>
            </a:prstGeom>
            <a:solidFill>
              <a:srgbClr val="006682"/>
            </a:solidFill>
            <a:ln w="190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8897173" y="4921272"/>
              <a:ext cx="249485" cy="327450"/>
            </a:xfrm>
            <a:prstGeom prst="line">
              <a:avLst/>
            </a:prstGeom>
            <a:solidFill>
              <a:srgbClr val="006682"/>
            </a:solidFill>
            <a:ln w="190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5989902" y="4921272"/>
              <a:ext cx="2917645" cy="0"/>
            </a:xfrm>
            <a:prstGeom prst="line">
              <a:avLst/>
            </a:prstGeom>
            <a:solidFill>
              <a:srgbClr val="006682"/>
            </a:solidFill>
            <a:ln w="190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flipH="1">
              <a:off x="6800819" y="4921272"/>
              <a:ext cx="117150" cy="327450"/>
            </a:xfrm>
            <a:prstGeom prst="line">
              <a:avLst/>
            </a:prstGeom>
            <a:solidFill>
              <a:srgbClr val="006682"/>
            </a:solidFill>
            <a:ln w="190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flipH="1">
              <a:off x="5748573" y="4921272"/>
              <a:ext cx="249485" cy="327450"/>
            </a:xfrm>
            <a:prstGeom prst="line">
              <a:avLst/>
            </a:prstGeom>
            <a:solidFill>
              <a:srgbClr val="006682"/>
            </a:solidFill>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7576802" y="2668014"/>
            <a:ext cx="773312" cy="580192"/>
            <a:chOff x="7763704" y="2748052"/>
            <a:chExt cx="625985" cy="469658"/>
          </a:xfrm>
        </p:grpSpPr>
        <p:grpSp>
          <p:nvGrpSpPr>
            <p:cNvPr id="600" name="Group 599"/>
            <p:cNvGrpSpPr>
              <a:grpSpLocks noChangeAspect="1"/>
            </p:cNvGrpSpPr>
            <p:nvPr/>
          </p:nvGrpSpPr>
          <p:grpSpPr>
            <a:xfrm flipH="1">
              <a:off x="7763704" y="2890264"/>
              <a:ext cx="625985" cy="327446"/>
              <a:chOff x="10071101" y="5541969"/>
              <a:chExt cx="1993903" cy="1042989"/>
            </a:xfrm>
          </p:grpSpPr>
          <p:sp>
            <p:nvSpPr>
              <p:cNvPr id="601" name="Freeform 15"/>
              <p:cNvSpPr>
                <a:spLocks/>
              </p:cNvSpPr>
              <p:nvPr/>
            </p:nvSpPr>
            <p:spPr bwMode="auto">
              <a:xfrm flipH="1">
                <a:off x="10079050" y="5541969"/>
                <a:ext cx="1327151" cy="615951"/>
              </a:xfrm>
              <a:custGeom>
                <a:avLst/>
                <a:gdLst>
                  <a:gd name="T0" fmla="*/ 22 w 3343"/>
                  <a:gd name="T1" fmla="*/ 0 h 1552"/>
                  <a:gd name="T2" fmla="*/ 22 w 3343"/>
                  <a:gd name="T3" fmla="*/ 0 h 1552"/>
                  <a:gd name="T4" fmla="*/ 3343 w 3343"/>
                  <a:gd name="T5" fmla="*/ 0 h 1552"/>
                  <a:gd name="T6" fmla="*/ 3343 w 3343"/>
                  <a:gd name="T7" fmla="*/ 1552 h 1552"/>
                  <a:gd name="T8" fmla="*/ 3343 w 3343"/>
                  <a:gd name="T9" fmla="*/ 1552 h 1552"/>
                  <a:gd name="T10" fmla="*/ 0 w 3343"/>
                  <a:gd name="T11" fmla="*/ 1552 h 1552"/>
                  <a:gd name="T12" fmla="*/ 0 w 3343"/>
                  <a:gd name="T13" fmla="*/ 1552 h 1552"/>
                  <a:gd name="T14" fmla="*/ 0 w 3343"/>
                  <a:gd name="T15" fmla="*/ 31 h 1552"/>
                  <a:gd name="T16" fmla="*/ 0 w 3343"/>
                  <a:gd name="T17" fmla="*/ 31 h 1552"/>
                  <a:gd name="T18" fmla="*/ 0 w 3343"/>
                  <a:gd name="T19" fmla="*/ 25 h 1552"/>
                  <a:gd name="T20" fmla="*/ 1 w 3343"/>
                  <a:gd name="T21" fmla="*/ 19 h 1552"/>
                  <a:gd name="T22" fmla="*/ 3 w 3343"/>
                  <a:gd name="T23" fmla="*/ 14 h 1552"/>
                  <a:gd name="T24" fmla="*/ 6 w 3343"/>
                  <a:gd name="T25" fmla="*/ 11 h 1552"/>
                  <a:gd name="T26" fmla="*/ 8 w 3343"/>
                  <a:gd name="T27" fmla="*/ 7 h 1552"/>
                  <a:gd name="T28" fmla="*/ 12 w 3343"/>
                  <a:gd name="T29" fmla="*/ 4 h 1552"/>
                  <a:gd name="T30" fmla="*/ 22 w 3343"/>
                  <a:gd name="T31" fmla="*/ 0 h 1552"/>
                  <a:gd name="T32" fmla="*/ 22 w 3343"/>
                  <a:gd name="T33" fmla="*/ 0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3" h="1552">
                    <a:moveTo>
                      <a:pt x="22" y="0"/>
                    </a:moveTo>
                    <a:lnTo>
                      <a:pt x="22" y="0"/>
                    </a:lnTo>
                    <a:lnTo>
                      <a:pt x="3343" y="0"/>
                    </a:lnTo>
                    <a:lnTo>
                      <a:pt x="3343" y="1552"/>
                    </a:lnTo>
                    <a:lnTo>
                      <a:pt x="3343" y="1552"/>
                    </a:lnTo>
                    <a:lnTo>
                      <a:pt x="0" y="1552"/>
                    </a:lnTo>
                    <a:lnTo>
                      <a:pt x="0" y="1552"/>
                    </a:lnTo>
                    <a:lnTo>
                      <a:pt x="0" y="31"/>
                    </a:lnTo>
                    <a:lnTo>
                      <a:pt x="0" y="31"/>
                    </a:lnTo>
                    <a:lnTo>
                      <a:pt x="0" y="25"/>
                    </a:lnTo>
                    <a:lnTo>
                      <a:pt x="1" y="19"/>
                    </a:lnTo>
                    <a:lnTo>
                      <a:pt x="3" y="14"/>
                    </a:lnTo>
                    <a:lnTo>
                      <a:pt x="6" y="11"/>
                    </a:lnTo>
                    <a:lnTo>
                      <a:pt x="8" y="7"/>
                    </a:lnTo>
                    <a:lnTo>
                      <a:pt x="12" y="4"/>
                    </a:lnTo>
                    <a:lnTo>
                      <a:pt x="22" y="0"/>
                    </a:lnTo>
                    <a:lnTo>
                      <a:pt x="22" y="0"/>
                    </a:lnTo>
                    <a:close/>
                  </a:path>
                </a:pathLst>
              </a:custGeom>
              <a:solidFill>
                <a:schemeClr val="accent1">
                  <a:lumMod val="75000"/>
                </a:schemeClr>
              </a:solidFill>
              <a:ln w="9525">
                <a:noFill/>
                <a:round/>
                <a:headEnd/>
                <a:tailEn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02" name="Freeform 16"/>
              <p:cNvSpPr>
                <a:spLocks/>
              </p:cNvSpPr>
              <p:nvPr/>
            </p:nvSpPr>
            <p:spPr bwMode="auto">
              <a:xfrm flipH="1">
                <a:off x="11634800" y="6330958"/>
                <a:ext cx="254000" cy="254000"/>
              </a:xfrm>
              <a:custGeom>
                <a:avLst/>
                <a:gdLst>
                  <a:gd name="T0" fmla="*/ 304 w 642"/>
                  <a:gd name="T1" fmla="*/ 641 h 641"/>
                  <a:gd name="T2" fmla="*/ 257 w 642"/>
                  <a:gd name="T3" fmla="*/ 635 h 641"/>
                  <a:gd name="T4" fmla="*/ 211 w 642"/>
                  <a:gd name="T5" fmla="*/ 622 h 641"/>
                  <a:gd name="T6" fmla="*/ 168 w 642"/>
                  <a:gd name="T7" fmla="*/ 602 h 641"/>
                  <a:gd name="T8" fmla="*/ 129 w 642"/>
                  <a:gd name="T9" fmla="*/ 577 h 641"/>
                  <a:gd name="T10" fmla="*/ 94 w 642"/>
                  <a:gd name="T11" fmla="*/ 547 h 641"/>
                  <a:gd name="T12" fmla="*/ 64 w 642"/>
                  <a:gd name="T13" fmla="*/ 512 h 641"/>
                  <a:gd name="T14" fmla="*/ 39 w 642"/>
                  <a:gd name="T15" fmla="*/ 473 h 641"/>
                  <a:gd name="T16" fmla="*/ 20 w 642"/>
                  <a:gd name="T17" fmla="*/ 431 h 641"/>
                  <a:gd name="T18" fmla="*/ 7 w 642"/>
                  <a:gd name="T19" fmla="*/ 385 h 641"/>
                  <a:gd name="T20" fmla="*/ 1 w 642"/>
                  <a:gd name="T21" fmla="*/ 337 h 641"/>
                  <a:gd name="T22" fmla="*/ 1 w 642"/>
                  <a:gd name="T23" fmla="*/ 304 h 641"/>
                  <a:gd name="T24" fmla="*/ 7 w 642"/>
                  <a:gd name="T25" fmla="*/ 256 h 641"/>
                  <a:gd name="T26" fmla="*/ 20 w 642"/>
                  <a:gd name="T27" fmla="*/ 210 h 641"/>
                  <a:gd name="T28" fmla="*/ 39 w 642"/>
                  <a:gd name="T29" fmla="*/ 168 h 641"/>
                  <a:gd name="T30" fmla="*/ 64 w 642"/>
                  <a:gd name="T31" fmla="*/ 129 h 641"/>
                  <a:gd name="T32" fmla="*/ 94 w 642"/>
                  <a:gd name="T33" fmla="*/ 94 h 641"/>
                  <a:gd name="T34" fmla="*/ 129 w 642"/>
                  <a:gd name="T35" fmla="*/ 64 h 641"/>
                  <a:gd name="T36" fmla="*/ 168 w 642"/>
                  <a:gd name="T37" fmla="*/ 39 h 641"/>
                  <a:gd name="T38" fmla="*/ 211 w 642"/>
                  <a:gd name="T39" fmla="*/ 20 h 641"/>
                  <a:gd name="T40" fmla="*/ 257 w 642"/>
                  <a:gd name="T41" fmla="*/ 6 h 641"/>
                  <a:gd name="T42" fmla="*/ 304 w 642"/>
                  <a:gd name="T43" fmla="*/ 0 h 641"/>
                  <a:gd name="T44" fmla="*/ 338 w 642"/>
                  <a:gd name="T45" fmla="*/ 0 h 641"/>
                  <a:gd name="T46" fmla="*/ 385 w 642"/>
                  <a:gd name="T47" fmla="*/ 6 h 641"/>
                  <a:gd name="T48" fmla="*/ 431 w 642"/>
                  <a:gd name="T49" fmla="*/ 20 h 641"/>
                  <a:gd name="T50" fmla="*/ 474 w 642"/>
                  <a:gd name="T51" fmla="*/ 39 h 641"/>
                  <a:gd name="T52" fmla="*/ 513 w 642"/>
                  <a:gd name="T53" fmla="*/ 64 h 641"/>
                  <a:gd name="T54" fmla="*/ 548 w 642"/>
                  <a:gd name="T55" fmla="*/ 94 h 641"/>
                  <a:gd name="T56" fmla="*/ 578 w 642"/>
                  <a:gd name="T57" fmla="*/ 129 h 641"/>
                  <a:gd name="T58" fmla="*/ 603 w 642"/>
                  <a:gd name="T59" fmla="*/ 168 h 641"/>
                  <a:gd name="T60" fmla="*/ 621 w 642"/>
                  <a:gd name="T61" fmla="*/ 210 h 641"/>
                  <a:gd name="T62" fmla="*/ 635 w 642"/>
                  <a:gd name="T63" fmla="*/ 256 h 641"/>
                  <a:gd name="T64" fmla="*/ 641 w 642"/>
                  <a:gd name="T65" fmla="*/ 304 h 641"/>
                  <a:gd name="T66" fmla="*/ 641 w 642"/>
                  <a:gd name="T67" fmla="*/ 337 h 641"/>
                  <a:gd name="T68" fmla="*/ 635 w 642"/>
                  <a:gd name="T69" fmla="*/ 385 h 641"/>
                  <a:gd name="T70" fmla="*/ 621 w 642"/>
                  <a:gd name="T71" fmla="*/ 431 h 641"/>
                  <a:gd name="T72" fmla="*/ 603 w 642"/>
                  <a:gd name="T73" fmla="*/ 473 h 641"/>
                  <a:gd name="T74" fmla="*/ 578 w 642"/>
                  <a:gd name="T75" fmla="*/ 512 h 641"/>
                  <a:gd name="T76" fmla="*/ 548 w 642"/>
                  <a:gd name="T77" fmla="*/ 547 h 641"/>
                  <a:gd name="T78" fmla="*/ 513 w 642"/>
                  <a:gd name="T79" fmla="*/ 577 h 641"/>
                  <a:gd name="T80" fmla="*/ 474 w 642"/>
                  <a:gd name="T81" fmla="*/ 602 h 641"/>
                  <a:gd name="T82" fmla="*/ 431 w 642"/>
                  <a:gd name="T83" fmla="*/ 622 h 641"/>
                  <a:gd name="T84" fmla="*/ 385 w 642"/>
                  <a:gd name="T85" fmla="*/ 635 h 641"/>
                  <a:gd name="T86" fmla="*/ 338 w 642"/>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2" h="641">
                    <a:moveTo>
                      <a:pt x="321" y="641"/>
                    </a:moveTo>
                    <a:lnTo>
                      <a:pt x="321" y="641"/>
                    </a:lnTo>
                    <a:lnTo>
                      <a:pt x="304" y="641"/>
                    </a:lnTo>
                    <a:lnTo>
                      <a:pt x="288" y="640"/>
                    </a:lnTo>
                    <a:lnTo>
                      <a:pt x="273" y="637"/>
                    </a:lnTo>
                    <a:lnTo>
                      <a:pt x="257" y="635"/>
                    </a:lnTo>
                    <a:lnTo>
                      <a:pt x="241" y="631"/>
                    </a:lnTo>
                    <a:lnTo>
                      <a:pt x="226" y="627"/>
                    </a:lnTo>
                    <a:lnTo>
                      <a:pt x="211" y="622"/>
                    </a:lnTo>
                    <a:lnTo>
                      <a:pt x="197" y="616"/>
                    </a:lnTo>
                    <a:lnTo>
                      <a:pt x="182" y="610"/>
                    </a:lnTo>
                    <a:lnTo>
                      <a:pt x="168" y="602"/>
                    </a:lnTo>
                    <a:lnTo>
                      <a:pt x="154" y="595"/>
                    </a:lnTo>
                    <a:lnTo>
                      <a:pt x="142" y="587"/>
                    </a:lnTo>
                    <a:lnTo>
                      <a:pt x="129" y="577"/>
                    </a:lnTo>
                    <a:lnTo>
                      <a:pt x="117" y="567"/>
                    </a:lnTo>
                    <a:lnTo>
                      <a:pt x="105" y="558"/>
                    </a:lnTo>
                    <a:lnTo>
                      <a:pt x="94" y="547"/>
                    </a:lnTo>
                    <a:lnTo>
                      <a:pt x="83" y="536"/>
                    </a:lnTo>
                    <a:lnTo>
                      <a:pt x="74" y="524"/>
                    </a:lnTo>
                    <a:lnTo>
                      <a:pt x="64" y="512"/>
                    </a:lnTo>
                    <a:lnTo>
                      <a:pt x="55" y="500"/>
                    </a:lnTo>
                    <a:lnTo>
                      <a:pt x="47" y="487"/>
                    </a:lnTo>
                    <a:lnTo>
                      <a:pt x="39" y="473"/>
                    </a:lnTo>
                    <a:lnTo>
                      <a:pt x="32" y="460"/>
                    </a:lnTo>
                    <a:lnTo>
                      <a:pt x="25" y="446"/>
                    </a:lnTo>
                    <a:lnTo>
                      <a:pt x="20" y="431"/>
                    </a:lnTo>
                    <a:lnTo>
                      <a:pt x="14" y="415"/>
                    </a:lnTo>
                    <a:lnTo>
                      <a:pt x="11" y="401"/>
                    </a:lnTo>
                    <a:lnTo>
                      <a:pt x="7" y="385"/>
                    </a:lnTo>
                    <a:lnTo>
                      <a:pt x="4" y="370"/>
                    </a:lnTo>
                    <a:lnTo>
                      <a:pt x="2" y="354"/>
                    </a:lnTo>
                    <a:lnTo>
                      <a:pt x="1" y="337"/>
                    </a:lnTo>
                    <a:lnTo>
                      <a:pt x="0" y="320"/>
                    </a:lnTo>
                    <a:lnTo>
                      <a:pt x="0" y="320"/>
                    </a:lnTo>
                    <a:lnTo>
                      <a:pt x="1" y="304"/>
                    </a:lnTo>
                    <a:lnTo>
                      <a:pt x="2" y="287"/>
                    </a:lnTo>
                    <a:lnTo>
                      <a:pt x="4" y="272"/>
                    </a:lnTo>
                    <a:lnTo>
                      <a:pt x="7" y="256"/>
                    </a:lnTo>
                    <a:lnTo>
                      <a:pt x="11" y="240"/>
                    </a:lnTo>
                    <a:lnTo>
                      <a:pt x="14" y="226"/>
                    </a:lnTo>
                    <a:lnTo>
                      <a:pt x="20" y="210"/>
                    </a:lnTo>
                    <a:lnTo>
                      <a:pt x="25" y="196"/>
                    </a:lnTo>
                    <a:lnTo>
                      <a:pt x="32" y="181"/>
                    </a:lnTo>
                    <a:lnTo>
                      <a:pt x="39" y="168"/>
                    </a:lnTo>
                    <a:lnTo>
                      <a:pt x="47" y="155"/>
                    </a:lnTo>
                    <a:lnTo>
                      <a:pt x="55" y="141"/>
                    </a:lnTo>
                    <a:lnTo>
                      <a:pt x="64" y="129"/>
                    </a:lnTo>
                    <a:lnTo>
                      <a:pt x="74" y="117"/>
                    </a:lnTo>
                    <a:lnTo>
                      <a:pt x="83" y="105"/>
                    </a:lnTo>
                    <a:lnTo>
                      <a:pt x="94" y="94"/>
                    </a:lnTo>
                    <a:lnTo>
                      <a:pt x="105" y="84"/>
                    </a:lnTo>
                    <a:lnTo>
                      <a:pt x="117" y="74"/>
                    </a:lnTo>
                    <a:lnTo>
                      <a:pt x="129" y="64"/>
                    </a:lnTo>
                    <a:lnTo>
                      <a:pt x="142" y="55"/>
                    </a:lnTo>
                    <a:lnTo>
                      <a:pt x="154" y="46"/>
                    </a:lnTo>
                    <a:lnTo>
                      <a:pt x="168" y="39"/>
                    </a:lnTo>
                    <a:lnTo>
                      <a:pt x="182" y="32"/>
                    </a:lnTo>
                    <a:lnTo>
                      <a:pt x="197" y="26"/>
                    </a:lnTo>
                    <a:lnTo>
                      <a:pt x="211" y="20"/>
                    </a:lnTo>
                    <a:lnTo>
                      <a:pt x="226" y="15"/>
                    </a:lnTo>
                    <a:lnTo>
                      <a:pt x="241" y="10"/>
                    </a:lnTo>
                    <a:lnTo>
                      <a:pt x="257" y="6"/>
                    </a:lnTo>
                    <a:lnTo>
                      <a:pt x="273" y="4"/>
                    </a:lnTo>
                    <a:lnTo>
                      <a:pt x="288" y="1"/>
                    </a:lnTo>
                    <a:lnTo>
                      <a:pt x="304" y="0"/>
                    </a:lnTo>
                    <a:lnTo>
                      <a:pt x="321" y="0"/>
                    </a:lnTo>
                    <a:lnTo>
                      <a:pt x="321" y="0"/>
                    </a:lnTo>
                    <a:lnTo>
                      <a:pt x="338" y="0"/>
                    </a:lnTo>
                    <a:lnTo>
                      <a:pt x="354" y="1"/>
                    </a:lnTo>
                    <a:lnTo>
                      <a:pt x="369" y="4"/>
                    </a:lnTo>
                    <a:lnTo>
                      <a:pt x="385" y="6"/>
                    </a:lnTo>
                    <a:lnTo>
                      <a:pt x="401" y="10"/>
                    </a:lnTo>
                    <a:lnTo>
                      <a:pt x="416" y="15"/>
                    </a:lnTo>
                    <a:lnTo>
                      <a:pt x="431" y="20"/>
                    </a:lnTo>
                    <a:lnTo>
                      <a:pt x="445" y="26"/>
                    </a:lnTo>
                    <a:lnTo>
                      <a:pt x="460" y="32"/>
                    </a:lnTo>
                    <a:lnTo>
                      <a:pt x="474" y="39"/>
                    </a:lnTo>
                    <a:lnTo>
                      <a:pt x="487" y="46"/>
                    </a:lnTo>
                    <a:lnTo>
                      <a:pt x="500" y="55"/>
                    </a:lnTo>
                    <a:lnTo>
                      <a:pt x="513" y="64"/>
                    </a:lnTo>
                    <a:lnTo>
                      <a:pt x="525" y="74"/>
                    </a:lnTo>
                    <a:lnTo>
                      <a:pt x="537" y="84"/>
                    </a:lnTo>
                    <a:lnTo>
                      <a:pt x="548" y="94"/>
                    </a:lnTo>
                    <a:lnTo>
                      <a:pt x="559" y="105"/>
                    </a:lnTo>
                    <a:lnTo>
                      <a:pt x="568" y="117"/>
                    </a:lnTo>
                    <a:lnTo>
                      <a:pt x="578" y="129"/>
                    </a:lnTo>
                    <a:lnTo>
                      <a:pt x="586" y="141"/>
                    </a:lnTo>
                    <a:lnTo>
                      <a:pt x="595" y="155"/>
                    </a:lnTo>
                    <a:lnTo>
                      <a:pt x="603" y="168"/>
                    </a:lnTo>
                    <a:lnTo>
                      <a:pt x="609" y="181"/>
                    </a:lnTo>
                    <a:lnTo>
                      <a:pt x="617" y="196"/>
                    </a:lnTo>
                    <a:lnTo>
                      <a:pt x="621" y="210"/>
                    </a:lnTo>
                    <a:lnTo>
                      <a:pt x="627" y="226"/>
                    </a:lnTo>
                    <a:lnTo>
                      <a:pt x="631" y="240"/>
                    </a:lnTo>
                    <a:lnTo>
                      <a:pt x="635" y="256"/>
                    </a:lnTo>
                    <a:lnTo>
                      <a:pt x="638" y="272"/>
                    </a:lnTo>
                    <a:lnTo>
                      <a:pt x="640" y="287"/>
                    </a:lnTo>
                    <a:lnTo>
                      <a:pt x="641" y="304"/>
                    </a:lnTo>
                    <a:lnTo>
                      <a:pt x="642" y="320"/>
                    </a:lnTo>
                    <a:lnTo>
                      <a:pt x="642" y="320"/>
                    </a:lnTo>
                    <a:lnTo>
                      <a:pt x="641" y="337"/>
                    </a:lnTo>
                    <a:lnTo>
                      <a:pt x="640" y="354"/>
                    </a:lnTo>
                    <a:lnTo>
                      <a:pt x="638" y="370"/>
                    </a:lnTo>
                    <a:lnTo>
                      <a:pt x="635" y="385"/>
                    </a:lnTo>
                    <a:lnTo>
                      <a:pt x="631" y="401"/>
                    </a:lnTo>
                    <a:lnTo>
                      <a:pt x="627" y="415"/>
                    </a:lnTo>
                    <a:lnTo>
                      <a:pt x="621" y="431"/>
                    </a:lnTo>
                    <a:lnTo>
                      <a:pt x="617" y="446"/>
                    </a:lnTo>
                    <a:lnTo>
                      <a:pt x="609" y="460"/>
                    </a:lnTo>
                    <a:lnTo>
                      <a:pt x="603" y="473"/>
                    </a:lnTo>
                    <a:lnTo>
                      <a:pt x="595" y="487"/>
                    </a:lnTo>
                    <a:lnTo>
                      <a:pt x="586" y="500"/>
                    </a:lnTo>
                    <a:lnTo>
                      <a:pt x="578" y="512"/>
                    </a:lnTo>
                    <a:lnTo>
                      <a:pt x="568" y="524"/>
                    </a:lnTo>
                    <a:lnTo>
                      <a:pt x="559" y="536"/>
                    </a:lnTo>
                    <a:lnTo>
                      <a:pt x="548" y="547"/>
                    </a:lnTo>
                    <a:lnTo>
                      <a:pt x="537" y="558"/>
                    </a:lnTo>
                    <a:lnTo>
                      <a:pt x="525" y="567"/>
                    </a:lnTo>
                    <a:lnTo>
                      <a:pt x="513" y="577"/>
                    </a:lnTo>
                    <a:lnTo>
                      <a:pt x="500" y="587"/>
                    </a:lnTo>
                    <a:lnTo>
                      <a:pt x="487" y="595"/>
                    </a:lnTo>
                    <a:lnTo>
                      <a:pt x="474" y="602"/>
                    </a:lnTo>
                    <a:lnTo>
                      <a:pt x="460" y="610"/>
                    </a:lnTo>
                    <a:lnTo>
                      <a:pt x="445" y="616"/>
                    </a:lnTo>
                    <a:lnTo>
                      <a:pt x="431" y="622"/>
                    </a:lnTo>
                    <a:lnTo>
                      <a:pt x="416" y="627"/>
                    </a:lnTo>
                    <a:lnTo>
                      <a:pt x="401" y="631"/>
                    </a:lnTo>
                    <a:lnTo>
                      <a:pt x="385" y="635"/>
                    </a:lnTo>
                    <a:lnTo>
                      <a:pt x="369" y="637"/>
                    </a:lnTo>
                    <a:lnTo>
                      <a:pt x="354" y="640"/>
                    </a:lnTo>
                    <a:lnTo>
                      <a:pt x="338"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06" name="Freeform 17"/>
              <p:cNvSpPr>
                <a:spLocks/>
              </p:cNvSpPr>
              <p:nvPr/>
            </p:nvSpPr>
            <p:spPr bwMode="auto">
              <a:xfrm flipH="1">
                <a:off x="11688774" y="6386520"/>
                <a:ext cx="146050" cy="142876"/>
              </a:xfrm>
              <a:custGeom>
                <a:avLst/>
                <a:gdLst>
                  <a:gd name="T0" fmla="*/ 182 w 364"/>
                  <a:gd name="T1" fmla="*/ 363 h 363"/>
                  <a:gd name="T2" fmla="*/ 146 w 364"/>
                  <a:gd name="T3" fmla="*/ 360 h 363"/>
                  <a:gd name="T4" fmla="*/ 111 w 364"/>
                  <a:gd name="T5" fmla="*/ 349 h 363"/>
                  <a:gd name="T6" fmla="*/ 81 w 364"/>
                  <a:gd name="T7" fmla="*/ 332 h 363"/>
                  <a:gd name="T8" fmla="*/ 54 w 364"/>
                  <a:gd name="T9" fmla="*/ 310 h 363"/>
                  <a:gd name="T10" fmla="*/ 31 w 364"/>
                  <a:gd name="T11" fmla="*/ 284 h 363"/>
                  <a:gd name="T12" fmla="*/ 14 w 364"/>
                  <a:gd name="T13" fmla="*/ 252 h 363"/>
                  <a:gd name="T14" fmla="*/ 3 w 364"/>
                  <a:gd name="T15" fmla="*/ 218 h 363"/>
                  <a:gd name="T16" fmla="*/ 0 w 364"/>
                  <a:gd name="T17" fmla="*/ 181 h 363"/>
                  <a:gd name="T18" fmla="*/ 1 w 364"/>
                  <a:gd name="T19" fmla="*/ 163 h 363"/>
                  <a:gd name="T20" fmla="*/ 8 w 364"/>
                  <a:gd name="T21" fmla="*/ 128 h 363"/>
                  <a:gd name="T22" fmla="*/ 23 w 364"/>
                  <a:gd name="T23" fmla="*/ 95 h 363"/>
                  <a:gd name="T24" fmla="*/ 42 w 364"/>
                  <a:gd name="T25" fmla="*/ 66 h 363"/>
                  <a:gd name="T26" fmla="*/ 66 w 364"/>
                  <a:gd name="T27" fmla="*/ 41 h 363"/>
                  <a:gd name="T28" fmla="*/ 95 w 364"/>
                  <a:gd name="T29" fmla="*/ 22 h 363"/>
                  <a:gd name="T30" fmla="*/ 128 w 364"/>
                  <a:gd name="T31" fmla="*/ 8 h 363"/>
                  <a:gd name="T32" fmla="*/ 164 w 364"/>
                  <a:gd name="T33" fmla="*/ 1 h 363"/>
                  <a:gd name="T34" fmla="*/ 182 w 364"/>
                  <a:gd name="T35" fmla="*/ 0 h 363"/>
                  <a:gd name="T36" fmla="*/ 218 w 364"/>
                  <a:gd name="T37" fmla="*/ 4 h 363"/>
                  <a:gd name="T38" fmla="*/ 253 w 364"/>
                  <a:gd name="T39" fmla="*/ 15 h 363"/>
                  <a:gd name="T40" fmla="*/ 283 w 364"/>
                  <a:gd name="T41" fmla="*/ 31 h 363"/>
                  <a:gd name="T42" fmla="*/ 310 w 364"/>
                  <a:gd name="T43" fmla="*/ 53 h 363"/>
                  <a:gd name="T44" fmla="*/ 333 w 364"/>
                  <a:gd name="T45" fmla="*/ 80 h 363"/>
                  <a:gd name="T46" fmla="*/ 350 w 364"/>
                  <a:gd name="T47" fmla="*/ 111 h 363"/>
                  <a:gd name="T48" fmla="*/ 361 w 364"/>
                  <a:gd name="T49" fmla="*/ 145 h 363"/>
                  <a:gd name="T50" fmla="*/ 364 w 364"/>
                  <a:gd name="T51" fmla="*/ 181 h 363"/>
                  <a:gd name="T52" fmla="*/ 363 w 364"/>
                  <a:gd name="T53" fmla="*/ 200 h 363"/>
                  <a:gd name="T54" fmla="*/ 356 w 364"/>
                  <a:gd name="T55" fmla="*/ 235 h 363"/>
                  <a:gd name="T56" fmla="*/ 341 w 364"/>
                  <a:gd name="T57" fmla="*/ 268 h 363"/>
                  <a:gd name="T58" fmla="*/ 322 w 364"/>
                  <a:gd name="T59" fmla="*/ 297 h 363"/>
                  <a:gd name="T60" fmla="*/ 298 w 364"/>
                  <a:gd name="T61" fmla="*/ 322 h 363"/>
                  <a:gd name="T62" fmla="*/ 269 w 364"/>
                  <a:gd name="T63" fmla="*/ 342 h 363"/>
                  <a:gd name="T64" fmla="*/ 236 w 364"/>
                  <a:gd name="T65" fmla="*/ 355 h 363"/>
                  <a:gd name="T66" fmla="*/ 200 w 364"/>
                  <a:gd name="T67" fmla="*/ 362 h 363"/>
                  <a:gd name="T68" fmla="*/ 182 w 364"/>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4" h="363">
                    <a:moveTo>
                      <a:pt x="182" y="363"/>
                    </a:moveTo>
                    <a:lnTo>
                      <a:pt x="182" y="363"/>
                    </a:lnTo>
                    <a:lnTo>
                      <a:pt x="164" y="362"/>
                    </a:lnTo>
                    <a:lnTo>
                      <a:pt x="146" y="360"/>
                    </a:lnTo>
                    <a:lnTo>
                      <a:pt x="128" y="355"/>
                    </a:lnTo>
                    <a:lnTo>
                      <a:pt x="111" y="349"/>
                    </a:lnTo>
                    <a:lnTo>
                      <a:pt x="95" y="342"/>
                    </a:lnTo>
                    <a:lnTo>
                      <a:pt x="81" y="332"/>
                    </a:lnTo>
                    <a:lnTo>
                      <a:pt x="66" y="322"/>
                    </a:lnTo>
                    <a:lnTo>
                      <a:pt x="54" y="310"/>
                    </a:lnTo>
                    <a:lnTo>
                      <a:pt x="42" y="297"/>
                    </a:lnTo>
                    <a:lnTo>
                      <a:pt x="31" y="284"/>
                    </a:lnTo>
                    <a:lnTo>
                      <a:pt x="23" y="268"/>
                    </a:lnTo>
                    <a:lnTo>
                      <a:pt x="14" y="252"/>
                    </a:lnTo>
                    <a:lnTo>
                      <a:pt x="8" y="235"/>
                    </a:lnTo>
                    <a:lnTo>
                      <a:pt x="3" y="218"/>
                    </a:lnTo>
                    <a:lnTo>
                      <a:pt x="1" y="200"/>
                    </a:lnTo>
                    <a:lnTo>
                      <a:pt x="0" y="181"/>
                    </a:lnTo>
                    <a:lnTo>
                      <a:pt x="0" y="181"/>
                    </a:lnTo>
                    <a:lnTo>
                      <a:pt x="1" y="163"/>
                    </a:lnTo>
                    <a:lnTo>
                      <a:pt x="3" y="145"/>
                    </a:lnTo>
                    <a:lnTo>
                      <a:pt x="8" y="128"/>
                    </a:lnTo>
                    <a:lnTo>
                      <a:pt x="14" y="111"/>
                    </a:lnTo>
                    <a:lnTo>
                      <a:pt x="23" y="95"/>
                    </a:lnTo>
                    <a:lnTo>
                      <a:pt x="31" y="80"/>
                    </a:lnTo>
                    <a:lnTo>
                      <a:pt x="42" y="66"/>
                    </a:lnTo>
                    <a:lnTo>
                      <a:pt x="54" y="53"/>
                    </a:lnTo>
                    <a:lnTo>
                      <a:pt x="66" y="41"/>
                    </a:lnTo>
                    <a:lnTo>
                      <a:pt x="81" y="31"/>
                    </a:lnTo>
                    <a:lnTo>
                      <a:pt x="95" y="22"/>
                    </a:lnTo>
                    <a:lnTo>
                      <a:pt x="111" y="15"/>
                    </a:lnTo>
                    <a:lnTo>
                      <a:pt x="128" y="8"/>
                    </a:lnTo>
                    <a:lnTo>
                      <a:pt x="146" y="4"/>
                    </a:lnTo>
                    <a:lnTo>
                      <a:pt x="164" y="1"/>
                    </a:lnTo>
                    <a:lnTo>
                      <a:pt x="182" y="0"/>
                    </a:lnTo>
                    <a:lnTo>
                      <a:pt x="182" y="0"/>
                    </a:lnTo>
                    <a:lnTo>
                      <a:pt x="200" y="1"/>
                    </a:lnTo>
                    <a:lnTo>
                      <a:pt x="218" y="4"/>
                    </a:lnTo>
                    <a:lnTo>
                      <a:pt x="236" y="8"/>
                    </a:lnTo>
                    <a:lnTo>
                      <a:pt x="253" y="15"/>
                    </a:lnTo>
                    <a:lnTo>
                      <a:pt x="269" y="22"/>
                    </a:lnTo>
                    <a:lnTo>
                      <a:pt x="283" y="31"/>
                    </a:lnTo>
                    <a:lnTo>
                      <a:pt x="298" y="41"/>
                    </a:lnTo>
                    <a:lnTo>
                      <a:pt x="310" y="53"/>
                    </a:lnTo>
                    <a:lnTo>
                      <a:pt x="322" y="66"/>
                    </a:lnTo>
                    <a:lnTo>
                      <a:pt x="333" y="80"/>
                    </a:lnTo>
                    <a:lnTo>
                      <a:pt x="341" y="95"/>
                    </a:lnTo>
                    <a:lnTo>
                      <a:pt x="350" y="111"/>
                    </a:lnTo>
                    <a:lnTo>
                      <a:pt x="356" y="128"/>
                    </a:lnTo>
                    <a:lnTo>
                      <a:pt x="361" y="145"/>
                    </a:lnTo>
                    <a:lnTo>
                      <a:pt x="363" y="163"/>
                    </a:lnTo>
                    <a:lnTo>
                      <a:pt x="364" y="181"/>
                    </a:lnTo>
                    <a:lnTo>
                      <a:pt x="364" y="181"/>
                    </a:lnTo>
                    <a:lnTo>
                      <a:pt x="363" y="200"/>
                    </a:lnTo>
                    <a:lnTo>
                      <a:pt x="361" y="218"/>
                    </a:lnTo>
                    <a:lnTo>
                      <a:pt x="356" y="235"/>
                    </a:lnTo>
                    <a:lnTo>
                      <a:pt x="350" y="252"/>
                    </a:lnTo>
                    <a:lnTo>
                      <a:pt x="341" y="268"/>
                    </a:lnTo>
                    <a:lnTo>
                      <a:pt x="333" y="284"/>
                    </a:lnTo>
                    <a:lnTo>
                      <a:pt x="322" y="297"/>
                    </a:lnTo>
                    <a:lnTo>
                      <a:pt x="310" y="310"/>
                    </a:lnTo>
                    <a:lnTo>
                      <a:pt x="298" y="322"/>
                    </a:lnTo>
                    <a:lnTo>
                      <a:pt x="283" y="332"/>
                    </a:lnTo>
                    <a:lnTo>
                      <a:pt x="269" y="342"/>
                    </a:lnTo>
                    <a:lnTo>
                      <a:pt x="253" y="349"/>
                    </a:lnTo>
                    <a:lnTo>
                      <a:pt x="236" y="355"/>
                    </a:lnTo>
                    <a:lnTo>
                      <a:pt x="218"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09" name="Freeform 18"/>
              <p:cNvSpPr>
                <a:spLocks/>
              </p:cNvSpPr>
              <p:nvPr/>
            </p:nvSpPr>
            <p:spPr bwMode="auto">
              <a:xfrm flipH="1">
                <a:off x="10691824" y="6330958"/>
                <a:ext cx="254000" cy="254000"/>
              </a:xfrm>
              <a:custGeom>
                <a:avLst/>
                <a:gdLst>
                  <a:gd name="T0" fmla="*/ 304 w 641"/>
                  <a:gd name="T1" fmla="*/ 641 h 641"/>
                  <a:gd name="T2" fmla="*/ 256 w 641"/>
                  <a:gd name="T3" fmla="*/ 635 h 641"/>
                  <a:gd name="T4" fmla="*/ 210 w 641"/>
                  <a:gd name="T5" fmla="*/ 622 h 641"/>
                  <a:gd name="T6" fmla="*/ 168 w 641"/>
                  <a:gd name="T7" fmla="*/ 602 h 641"/>
                  <a:gd name="T8" fmla="*/ 129 w 641"/>
                  <a:gd name="T9" fmla="*/ 577 h 641"/>
                  <a:gd name="T10" fmla="*/ 94 w 641"/>
                  <a:gd name="T11" fmla="*/ 547 h 641"/>
                  <a:gd name="T12" fmla="*/ 64 w 641"/>
                  <a:gd name="T13" fmla="*/ 512 h 641"/>
                  <a:gd name="T14" fmla="*/ 39 w 641"/>
                  <a:gd name="T15" fmla="*/ 473 h 641"/>
                  <a:gd name="T16" fmla="*/ 20 w 641"/>
                  <a:gd name="T17" fmla="*/ 431 h 641"/>
                  <a:gd name="T18" fmla="*/ 8 w 641"/>
                  <a:gd name="T19" fmla="*/ 385 h 641"/>
                  <a:gd name="T20" fmla="*/ 0 w 641"/>
                  <a:gd name="T21" fmla="*/ 337 h 641"/>
                  <a:gd name="T22" fmla="*/ 0 w 641"/>
                  <a:gd name="T23" fmla="*/ 304 h 641"/>
                  <a:gd name="T24" fmla="*/ 8 w 641"/>
                  <a:gd name="T25" fmla="*/ 256 h 641"/>
                  <a:gd name="T26" fmla="*/ 20 w 641"/>
                  <a:gd name="T27" fmla="*/ 210 h 641"/>
                  <a:gd name="T28" fmla="*/ 39 w 641"/>
                  <a:gd name="T29" fmla="*/ 168 h 641"/>
                  <a:gd name="T30" fmla="*/ 64 w 641"/>
                  <a:gd name="T31" fmla="*/ 129 h 641"/>
                  <a:gd name="T32" fmla="*/ 94 w 641"/>
                  <a:gd name="T33" fmla="*/ 94 h 641"/>
                  <a:gd name="T34" fmla="*/ 129 w 641"/>
                  <a:gd name="T35" fmla="*/ 64 h 641"/>
                  <a:gd name="T36" fmla="*/ 168 w 641"/>
                  <a:gd name="T37" fmla="*/ 39 h 641"/>
                  <a:gd name="T38" fmla="*/ 210 w 641"/>
                  <a:gd name="T39" fmla="*/ 20 h 641"/>
                  <a:gd name="T40" fmla="*/ 256 w 641"/>
                  <a:gd name="T41" fmla="*/ 6 h 641"/>
                  <a:gd name="T42" fmla="*/ 304 w 641"/>
                  <a:gd name="T43" fmla="*/ 0 h 641"/>
                  <a:gd name="T44" fmla="*/ 337 w 641"/>
                  <a:gd name="T45" fmla="*/ 0 h 641"/>
                  <a:gd name="T46" fmla="*/ 385 w 641"/>
                  <a:gd name="T47" fmla="*/ 6 h 641"/>
                  <a:gd name="T48" fmla="*/ 431 w 641"/>
                  <a:gd name="T49" fmla="*/ 20 h 641"/>
                  <a:gd name="T50" fmla="*/ 473 w 641"/>
                  <a:gd name="T51" fmla="*/ 39 h 641"/>
                  <a:gd name="T52" fmla="*/ 513 w 641"/>
                  <a:gd name="T53" fmla="*/ 64 h 641"/>
                  <a:gd name="T54" fmla="*/ 547 w 641"/>
                  <a:gd name="T55" fmla="*/ 94 h 641"/>
                  <a:gd name="T56" fmla="*/ 578 w 641"/>
                  <a:gd name="T57" fmla="*/ 129 h 641"/>
                  <a:gd name="T58" fmla="*/ 603 w 641"/>
                  <a:gd name="T59" fmla="*/ 168 h 641"/>
                  <a:gd name="T60" fmla="*/ 622 w 641"/>
                  <a:gd name="T61" fmla="*/ 210 h 641"/>
                  <a:gd name="T62" fmla="*/ 635 w 641"/>
                  <a:gd name="T63" fmla="*/ 256 h 641"/>
                  <a:gd name="T64" fmla="*/ 641 w 641"/>
                  <a:gd name="T65" fmla="*/ 304 h 641"/>
                  <a:gd name="T66" fmla="*/ 641 w 641"/>
                  <a:gd name="T67" fmla="*/ 337 h 641"/>
                  <a:gd name="T68" fmla="*/ 635 w 641"/>
                  <a:gd name="T69" fmla="*/ 385 h 641"/>
                  <a:gd name="T70" fmla="*/ 622 w 641"/>
                  <a:gd name="T71" fmla="*/ 431 h 641"/>
                  <a:gd name="T72" fmla="*/ 603 w 641"/>
                  <a:gd name="T73" fmla="*/ 473 h 641"/>
                  <a:gd name="T74" fmla="*/ 578 w 641"/>
                  <a:gd name="T75" fmla="*/ 512 h 641"/>
                  <a:gd name="T76" fmla="*/ 547 w 641"/>
                  <a:gd name="T77" fmla="*/ 547 h 641"/>
                  <a:gd name="T78" fmla="*/ 513 w 641"/>
                  <a:gd name="T79" fmla="*/ 577 h 641"/>
                  <a:gd name="T80" fmla="*/ 473 w 641"/>
                  <a:gd name="T81" fmla="*/ 602 h 641"/>
                  <a:gd name="T82" fmla="*/ 431 w 641"/>
                  <a:gd name="T83" fmla="*/ 622 h 641"/>
                  <a:gd name="T84" fmla="*/ 385 w 641"/>
                  <a:gd name="T85" fmla="*/ 635 h 641"/>
                  <a:gd name="T86" fmla="*/ 337 w 641"/>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321" y="641"/>
                    </a:moveTo>
                    <a:lnTo>
                      <a:pt x="321" y="641"/>
                    </a:lnTo>
                    <a:lnTo>
                      <a:pt x="304" y="641"/>
                    </a:lnTo>
                    <a:lnTo>
                      <a:pt x="289" y="640"/>
                    </a:lnTo>
                    <a:lnTo>
                      <a:pt x="272" y="637"/>
                    </a:lnTo>
                    <a:lnTo>
                      <a:pt x="256" y="635"/>
                    </a:lnTo>
                    <a:lnTo>
                      <a:pt x="241" y="631"/>
                    </a:lnTo>
                    <a:lnTo>
                      <a:pt x="226" y="627"/>
                    </a:lnTo>
                    <a:lnTo>
                      <a:pt x="210" y="622"/>
                    </a:lnTo>
                    <a:lnTo>
                      <a:pt x="196" y="616"/>
                    </a:lnTo>
                    <a:lnTo>
                      <a:pt x="183" y="610"/>
                    </a:lnTo>
                    <a:lnTo>
                      <a:pt x="168" y="602"/>
                    </a:lnTo>
                    <a:lnTo>
                      <a:pt x="155" y="595"/>
                    </a:lnTo>
                    <a:lnTo>
                      <a:pt x="142" y="587"/>
                    </a:lnTo>
                    <a:lnTo>
                      <a:pt x="129" y="577"/>
                    </a:lnTo>
                    <a:lnTo>
                      <a:pt x="117" y="567"/>
                    </a:lnTo>
                    <a:lnTo>
                      <a:pt x="105" y="558"/>
                    </a:lnTo>
                    <a:lnTo>
                      <a:pt x="94" y="547"/>
                    </a:lnTo>
                    <a:lnTo>
                      <a:pt x="84" y="536"/>
                    </a:lnTo>
                    <a:lnTo>
                      <a:pt x="74" y="524"/>
                    </a:lnTo>
                    <a:lnTo>
                      <a:pt x="64" y="512"/>
                    </a:lnTo>
                    <a:lnTo>
                      <a:pt x="56" y="500"/>
                    </a:lnTo>
                    <a:lnTo>
                      <a:pt x="47" y="487"/>
                    </a:lnTo>
                    <a:lnTo>
                      <a:pt x="39" y="473"/>
                    </a:lnTo>
                    <a:lnTo>
                      <a:pt x="32" y="460"/>
                    </a:lnTo>
                    <a:lnTo>
                      <a:pt x="26" y="446"/>
                    </a:lnTo>
                    <a:lnTo>
                      <a:pt x="20" y="431"/>
                    </a:lnTo>
                    <a:lnTo>
                      <a:pt x="15" y="415"/>
                    </a:lnTo>
                    <a:lnTo>
                      <a:pt x="10" y="401"/>
                    </a:lnTo>
                    <a:lnTo>
                      <a:pt x="8" y="385"/>
                    </a:lnTo>
                    <a:lnTo>
                      <a:pt x="4" y="370"/>
                    </a:lnTo>
                    <a:lnTo>
                      <a:pt x="2" y="354"/>
                    </a:lnTo>
                    <a:lnTo>
                      <a:pt x="0" y="337"/>
                    </a:lnTo>
                    <a:lnTo>
                      <a:pt x="0" y="320"/>
                    </a:lnTo>
                    <a:lnTo>
                      <a:pt x="0" y="320"/>
                    </a:lnTo>
                    <a:lnTo>
                      <a:pt x="0" y="304"/>
                    </a:lnTo>
                    <a:lnTo>
                      <a:pt x="2" y="287"/>
                    </a:lnTo>
                    <a:lnTo>
                      <a:pt x="4" y="272"/>
                    </a:lnTo>
                    <a:lnTo>
                      <a:pt x="8" y="256"/>
                    </a:lnTo>
                    <a:lnTo>
                      <a:pt x="10" y="240"/>
                    </a:lnTo>
                    <a:lnTo>
                      <a:pt x="15" y="226"/>
                    </a:lnTo>
                    <a:lnTo>
                      <a:pt x="20" y="210"/>
                    </a:lnTo>
                    <a:lnTo>
                      <a:pt x="26" y="196"/>
                    </a:lnTo>
                    <a:lnTo>
                      <a:pt x="32" y="181"/>
                    </a:lnTo>
                    <a:lnTo>
                      <a:pt x="39" y="168"/>
                    </a:lnTo>
                    <a:lnTo>
                      <a:pt x="47" y="155"/>
                    </a:lnTo>
                    <a:lnTo>
                      <a:pt x="56" y="141"/>
                    </a:lnTo>
                    <a:lnTo>
                      <a:pt x="64" y="129"/>
                    </a:lnTo>
                    <a:lnTo>
                      <a:pt x="74" y="117"/>
                    </a:lnTo>
                    <a:lnTo>
                      <a:pt x="84" y="105"/>
                    </a:lnTo>
                    <a:lnTo>
                      <a:pt x="94" y="94"/>
                    </a:lnTo>
                    <a:lnTo>
                      <a:pt x="105" y="84"/>
                    </a:lnTo>
                    <a:lnTo>
                      <a:pt x="117" y="74"/>
                    </a:lnTo>
                    <a:lnTo>
                      <a:pt x="129" y="64"/>
                    </a:lnTo>
                    <a:lnTo>
                      <a:pt x="142" y="55"/>
                    </a:lnTo>
                    <a:lnTo>
                      <a:pt x="155" y="46"/>
                    </a:lnTo>
                    <a:lnTo>
                      <a:pt x="168" y="39"/>
                    </a:lnTo>
                    <a:lnTo>
                      <a:pt x="183" y="32"/>
                    </a:lnTo>
                    <a:lnTo>
                      <a:pt x="196" y="26"/>
                    </a:lnTo>
                    <a:lnTo>
                      <a:pt x="210" y="20"/>
                    </a:lnTo>
                    <a:lnTo>
                      <a:pt x="226" y="15"/>
                    </a:lnTo>
                    <a:lnTo>
                      <a:pt x="241" y="10"/>
                    </a:lnTo>
                    <a:lnTo>
                      <a:pt x="256" y="6"/>
                    </a:lnTo>
                    <a:lnTo>
                      <a:pt x="272" y="4"/>
                    </a:lnTo>
                    <a:lnTo>
                      <a:pt x="289" y="1"/>
                    </a:lnTo>
                    <a:lnTo>
                      <a:pt x="304" y="0"/>
                    </a:lnTo>
                    <a:lnTo>
                      <a:pt x="321" y="0"/>
                    </a:lnTo>
                    <a:lnTo>
                      <a:pt x="321" y="0"/>
                    </a:lnTo>
                    <a:lnTo>
                      <a:pt x="337" y="0"/>
                    </a:lnTo>
                    <a:lnTo>
                      <a:pt x="354" y="1"/>
                    </a:lnTo>
                    <a:lnTo>
                      <a:pt x="370" y="4"/>
                    </a:lnTo>
                    <a:lnTo>
                      <a:pt x="385" y="6"/>
                    </a:lnTo>
                    <a:lnTo>
                      <a:pt x="401" y="10"/>
                    </a:lnTo>
                    <a:lnTo>
                      <a:pt x="417" y="15"/>
                    </a:lnTo>
                    <a:lnTo>
                      <a:pt x="431" y="20"/>
                    </a:lnTo>
                    <a:lnTo>
                      <a:pt x="446" y="26"/>
                    </a:lnTo>
                    <a:lnTo>
                      <a:pt x="460" y="32"/>
                    </a:lnTo>
                    <a:lnTo>
                      <a:pt x="473" y="39"/>
                    </a:lnTo>
                    <a:lnTo>
                      <a:pt x="487" y="46"/>
                    </a:lnTo>
                    <a:lnTo>
                      <a:pt x="500" y="55"/>
                    </a:lnTo>
                    <a:lnTo>
                      <a:pt x="513" y="64"/>
                    </a:lnTo>
                    <a:lnTo>
                      <a:pt x="525" y="74"/>
                    </a:lnTo>
                    <a:lnTo>
                      <a:pt x="536" y="84"/>
                    </a:lnTo>
                    <a:lnTo>
                      <a:pt x="547" y="94"/>
                    </a:lnTo>
                    <a:lnTo>
                      <a:pt x="558" y="105"/>
                    </a:lnTo>
                    <a:lnTo>
                      <a:pt x="569" y="117"/>
                    </a:lnTo>
                    <a:lnTo>
                      <a:pt x="578" y="129"/>
                    </a:lnTo>
                    <a:lnTo>
                      <a:pt x="587" y="141"/>
                    </a:lnTo>
                    <a:lnTo>
                      <a:pt x="595" y="155"/>
                    </a:lnTo>
                    <a:lnTo>
                      <a:pt x="603" y="168"/>
                    </a:lnTo>
                    <a:lnTo>
                      <a:pt x="610" y="181"/>
                    </a:lnTo>
                    <a:lnTo>
                      <a:pt x="616" y="196"/>
                    </a:lnTo>
                    <a:lnTo>
                      <a:pt x="622" y="210"/>
                    </a:lnTo>
                    <a:lnTo>
                      <a:pt x="627" y="226"/>
                    </a:lnTo>
                    <a:lnTo>
                      <a:pt x="632" y="240"/>
                    </a:lnTo>
                    <a:lnTo>
                      <a:pt x="635" y="256"/>
                    </a:lnTo>
                    <a:lnTo>
                      <a:pt x="638" y="272"/>
                    </a:lnTo>
                    <a:lnTo>
                      <a:pt x="640" y="287"/>
                    </a:lnTo>
                    <a:lnTo>
                      <a:pt x="641" y="304"/>
                    </a:lnTo>
                    <a:lnTo>
                      <a:pt x="641" y="320"/>
                    </a:lnTo>
                    <a:lnTo>
                      <a:pt x="641" y="320"/>
                    </a:lnTo>
                    <a:lnTo>
                      <a:pt x="641" y="337"/>
                    </a:lnTo>
                    <a:lnTo>
                      <a:pt x="640" y="354"/>
                    </a:lnTo>
                    <a:lnTo>
                      <a:pt x="638" y="370"/>
                    </a:lnTo>
                    <a:lnTo>
                      <a:pt x="635" y="385"/>
                    </a:lnTo>
                    <a:lnTo>
                      <a:pt x="632" y="401"/>
                    </a:lnTo>
                    <a:lnTo>
                      <a:pt x="627" y="415"/>
                    </a:lnTo>
                    <a:lnTo>
                      <a:pt x="622" y="431"/>
                    </a:lnTo>
                    <a:lnTo>
                      <a:pt x="616" y="446"/>
                    </a:lnTo>
                    <a:lnTo>
                      <a:pt x="610" y="460"/>
                    </a:lnTo>
                    <a:lnTo>
                      <a:pt x="603" y="473"/>
                    </a:lnTo>
                    <a:lnTo>
                      <a:pt x="595" y="487"/>
                    </a:lnTo>
                    <a:lnTo>
                      <a:pt x="587" y="500"/>
                    </a:lnTo>
                    <a:lnTo>
                      <a:pt x="578" y="512"/>
                    </a:lnTo>
                    <a:lnTo>
                      <a:pt x="569" y="524"/>
                    </a:lnTo>
                    <a:lnTo>
                      <a:pt x="558" y="536"/>
                    </a:lnTo>
                    <a:lnTo>
                      <a:pt x="547" y="547"/>
                    </a:lnTo>
                    <a:lnTo>
                      <a:pt x="536" y="558"/>
                    </a:lnTo>
                    <a:lnTo>
                      <a:pt x="525" y="567"/>
                    </a:lnTo>
                    <a:lnTo>
                      <a:pt x="513" y="577"/>
                    </a:lnTo>
                    <a:lnTo>
                      <a:pt x="500" y="587"/>
                    </a:lnTo>
                    <a:lnTo>
                      <a:pt x="487" y="595"/>
                    </a:lnTo>
                    <a:lnTo>
                      <a:pt x="473" y="602"/>
                    </a:lnTo>
                    <a:lnTo>
                      <a:pt x="460" y="610"/>
                    </a:lnTo>
                    <a:lnTo>
                      <a:pt x="446" y="616"/>
                    </a:lnTo>
                    <a:lnTo>
                      <a:pt x="431" y="622"/>
                    </a:lnTo>
                    <a:lnTo>
                      <a:pt x="417" y="627"/>
                    </a:lnTo>
                    <a:lnTo>
                      <a:pt x="401" y="631"/>
                    </a:lnTo>
                    <a:lnTo>
                      <a:pt x="385" y="635"/>
                    </a:lnTo>
                    <a:lnTo>
                      <a:pt x="370" y="637"/>
                    </a:lnTo>
                    <a:lnTo>
                      <a:pt x="354" y="640"/>
                    </a:lnTo>
                    <a:lnTo>
                      <a:pt x="337"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11" name="Freeform 19"/>
              <p:cNvSpPr>
                <a:spLocks/>
              </p:cNvSpPr>
              <p:nvPr/>
            </p:nvSpPr>
            <p:spPr bwMode="auto">
              <a:xfrm flipH="1">
                <a:off x="10745798" y="6386520"/>
                <a:ext cx="144463" cy="142876"/>
              </a:xfrm>
              <a:custGeom>
                <a:avLst/>
                <a:gdLst>
                  <a:gd name="T0" fmla="*/ 182 w 363"/>
                  <a:gd name="T1" fmla="*/ 363 h 363"/>
                  <a:gd name="T2" fmla="*/ 145 w 363"/>
                  <a:gd name="T3" fmla="*/ 360 h 363"/>
                  <a:gd name="T4" fmla="*/ 111 w 363"/>
                  <a:gd name="T5" fmla="*/ 349 h 363"/>
                  <a:gd name="T6" fmla="*/ 81 w 363"/>
                  <a:gd name="T7" fmla="*/ 332 h 363"/>
                  <a:gd name="T8" fmla="*/ 53 w 363"/>
                  <a:gd name="T9" fmla="*/ 310 h 363"/>
                  <a:gd name="T10" fmla="*/ 32 w 363"/>
                  <a:gd name="T11" fmla="*/ 284 h 363"/>
                  <a:gd name="T12" fmla="*/ 15 w 363"/>
                  <a:gd name="T13" fmla="*/ 252 h 363"/>
                  <a:gd name="T14" fmla="*/ 4 w 363"/>
                  <a:gd name="T15" fmla="*/ 218 h 363"/>
                  <a:gd name="T16" fmla="*/ 0 w 363"/>
                  <a:gd name="T17" fmla="*/ 181 h 363"/>
                  <a:gd name="T18" fmla="*/ 1 w 363"/>
                  <a:gd name="T19" fmla="*/ 163 h 363"/>
                  <a:gd name="T20" fmla="*/ 9 w 363"/>
                  <a:gd name="T21" fmla="*/ 128 h 363"/>
                  <a:gd name="T22" fmla="*/ 22 w 363"/>
                  <a:gd name="T23" fmla="*/ 95 h 363"/>
                  <a:gd name="T24" fmla="*/ 42 w 363"/>
                  <a:gd name="T25" fmla="*/ 66 h 363"/>
                  <a:gd name="T26" fmla="*/ 67 w 363"/>
                  <a:gd name="T27" fmla="*/ 41 h 363"/>
                  <a:gd name="T28" fmla="*/ 95 w 363"/>
                  <a:gd name="T29" fmla="*/ 22 h 363"/>
                  <a:gd name="T30" fmla="*/ 128 w 363"/>
                  <a:gd name="T31" fmla="*/ 8 h 363"/>
                  <a:gd name="T32" fmla="*/ 163 w 363"/>
                  <a:gd name="T33" fmla="*/ 1 h 363"/>
                  <a:gd name="T34" fmla="*/ 182 w 363"/>
                  <a:gd name="T35" fmla="*/ 0 h 363"/>
                  <a:gd name="T36" fmla="*/ 219 w 363"/>
                  <a:gd name="T37" fmla="*/ 4 h 363"/>
                  <a:gd name="T38" fmla="*/ 252 w 363"/>
                  <a:gd name="T39" fmla="*/ 15 h 363"/>
                  <a:gd name="T40" fmla="*/ 284 w 363"/>
                  <a:gd name="T41" fmla="*/ 31 h 363"/>
                  <a:gd name="T42" fmla="*/ 310 w 363"/>
                  <a:gd name="T43" fmla="*/ 53 h 363"/>
                  <a:gd name="T44" fmla="*/ 333 w 363"/>
                  <a:gd name="T45" fmla="*/ 80 h 363"/>
                  <a:gd name="T46" fmla="*/ 350 w 363"/>
                  <a:gd name="T47" fmla="*/ 111 h 363"/>
                  <a:gd name="T48" fmla="*/ 360 w 363"/>
                  <a:gd name="T49" fmla="*/ 145 h 363"/>
                  <a:gd name="T50" fmla="*/ 363 w 363"/>
                  <a:gd name="T51" fmla="*/ 181 h 363"/>
                  <a:gd name="T52" fmla="*/ 363 w 363"/>
                  <a:gd name="T53" fmla="*/ 200 h 363"/>
                  <a:gd name="T54" fmla="*/ 356 w 363"/>
                  <a:gd name="T55" fmla="*/ 235 h 363"/>
                  <a:gd name="T56" fmla="*/ 342 w 363"/>
                  <a:gd name="T57" fmla="*/ 268 h 363"/>
                  <a:gd name="T58" fmla="*/ 322 w 363"/>
                  <a:gd name="T59" fmla="*/ 297 h 363"/>
                  <a:gd name="T60" fmla="*/ 298 w 363"/>
                  <a:gd name="T61" fmla="*/ 322 h 363"/>
                  <a:gd name="T62" fmla="*/ 268 w 363"/>
                  <a:gd name="T63" fmla="*/ 342 h 363"/>
                  <a:gd name="T64" fmla="*/ 235 w 363"/>
                  <a:gd name="T65" fmla="*/ 355 h 363"/>
                  <a:gd name="T66" fmla="*/ 200 w 363"/>
                  <a:gd name="T67" fmla="*/ 362 h 363"/>
                  <a:gd name="T68" fmla="*/ 182 w 363"/>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182" y="363"/>
                    </a:moveTo>
                    <a:lnTo>
                      <a:pt x="182" y="363"/>
                    </a:lnTo>
                    <a:lnTo>
                      <a:pt x="163" y="362"/>
                    </a:lnTo>
                    <a:lnTo>
                      <a:pt x="145" y="360"/>
                    </a:lnTo>
                    <a:lnTo>
                      <a:pt x="128" y="355"/>
                    </a:lnTo>
                    <a:lnTo>
                      <a:pt x="111" y="349"/>
                    </a:lnTo>
                    <a:lnTo>
                      <a:pt x="95" y="342"/>
                    </a:lnTo>
                    <a:lnTo>
                      <a:pt x="81" y="332"/>
                    </a:lnTo>
                    <a:lnTo>
                      <a:pt x="67" y="322"/>
                    </a:lnTo>
                    <a:lnTo>
                      <a:pt x="53" y="310"/>
                    </a:lnTo>
                    <a:lnTo>
                      <a:pt x="42" y="297"/>
                    </a:lnTo>
                    <a:lnTo>
                      <a:pt x="32" y="284"/>
                    </a:lnTo>
                    <a:lnTo>
                      <a:pt x="22" y="268"/>
                    </a:lnTo>
                    <a:lnTo>
                      <a:pt x="15" y="252"/>
                    </a:lnTo>
                    <a:lnTo>
                      <a:pt x="9" y="235"/>
                    </a:lnTo>
                    <a:lnTo>
                      <a:pt x="4" y="218"/>
                    </a:lnTo>
                    <a:lnTo>
                      <a:pt x="1" y="200"/>
                    </a:lnTo>
                    <a:lnTo>
                      <a:pt x="0" y="181"/>
                    </a:lnTo>
                    <a:lnTo>
                      <a:pt x="0" y="181"/>
                    </a:lnTo>
                    <a:lnTo>
                      <a:pt x="1" y="163"/>
                    </a:lnTo>
                    <a:lnTo>
                      <a:pt x="4" y="145"/>
                    </a:lnTo>
                    <a:lnTo>
                      <a:pt x="9" y="128"/>
                    </a:lnTo>
                    <a:lnTo>
                      <a:pt x="15" y="111"/>
                    </a:lnTo>
                    <a:lnTo>
                      <a:pt x="22" y="95"/>
                    </a:lnTo>
                    <a:lnTo>
                      <a:pt x="32" y="80"/>
                    </a:lnTo>
                    <a:lnTo>
                      <a:pt x="42" y="66"/>
                    </a:lnTo>
                    <a:lnTo>
                      <a:pt x="53" y="53"/>
                    </a:lnTo>
                    <a:lnTo>
                      <a:pt x="67" y="41"/>
                    </a:lnTo>
                    <a:lnTo>
                      <a:pt x="81" y="31"/>
                    </a:lnTo>
                    <a:lnTo>
                      <a:pt x="95" y="22"/>
                    </a:lnTo>
                    <a:lnTo>
                      <a:pt x="111" y="15"/>
                    </a:lnTo>
                    <a:lnTo>
                      <a:pt x="128" y="8"/>
                    </a:lnTo>
                    <a:lnTo>
                      <a:pt x="145" y="4"/>
                    </a:lnTo>
                    <a:lnTo>
                      <a:pt x="163" y="1"/>
                    </a:lnTo>
                    <a:lnTo>
                      <a:pt x="182" y="0"/>
                    </a:lnTo>
                    <a:lnTo>
                      <a:pt x="182" y="0"/>
                    </a:lnTo>
                    <a:lnTo>
                      <a:pt x="200" y="1"/>
                    </a:lnTo>
                    <a:lnTo>
                      <a:pt x="219" y="4"/>
                    </a:lnTo>
                    <a:lnTo>
                      <a:pt x="235" y="8"/>
                    </a:lnTo>
                    <a:lnTo>
                      <a:pt x="252" y="15"/>
                    </a:lnTo>
                    <a:lnTo>
                      <a:pt x="268" y="22"/>
                    </a:lnTo>
                    <a:lnTo>
                      <a:pt x="284" y="31"/>
                    </a:lnTo>
                    <a:lnTo>
                      <a:pt x="298" y="41"/>
                    </a:lnTo>
                    <a:lnTo>
                      <a:pt x="310" y="53"/>
                    </a:lnTo>
                    <a:lnTo>
                      <a:pt x="322" y="66"/>
                    </a:lnTo>
                    <a:lnTo>
                      <a:pt x="333" y="80"/>
                    </a:lnTo>
                    <a:lnTo>
                      <a:pt x="342" y="95"/>
                    </a:lnTo>
                    <a:lnTo>
                      <a:pt x="350" y="111"/>
                    </a:lnTo>
                    <a:lnTo>
                      <a:pt x="356" y="128"/>
                    </a:lnTo>
                    <a:lnTo>
                      <a:pt x="360" y="145"/>
                    </a:lnTo>
                    <a:lnTo>
                      <a:pt x="363" y="163"/>
                    </a:lnTo>
                    <a:lnTo>
                      <a:pt x="363" y="181"/>
                    </a:lnTo>
                    <a:lnTo>
                      <a:pt x="363" y="181"/>
                    </a:lnTo>
                    <a:lnTo>
                      <a:pt x="363" y="200"/>
                    </a:lnTo>
                    <a:lnTo>
                      <a:pt x="360" y="218"/>
                    </a:lnTo>
                    <a:lnTo>
                      <a:pt x="356" y="235"/>
                    </a:lnTo>
                    <a:lnTo>
                      <a:pt x="350" y="252"/>
                    </a:lnTo>
                    <a:lnTo>
                      <a:pt x="342" y="268"/>
                    </a:lnTo>
                    <a:lnTo>
                      <a:pt x="333" y="284"/>
                    </a:lnTo>
                    <a:lnTo>
                      <a:pt x="322" y="297"/>
                    </a:lnTo>
                    <a:lnTo>
                      <a:pt x="310" y="310"/>
                    </a:lnTo>
                    <a:lnTo>
                      <a:pt x="298" y="322"/>
                    </a:lnTo>
                    <a:lnTo>
                      <a:pt x="284" y="332"/>
                    </a:lnTo>
                    <a:lnTo>
                      <a:pt x="268" y="342"/>
                    </a:lnTo>
                    <a:lnTo>
                      <a:pt x="252" y="349"/>
                    </a:lnTo>
                    <a:lnTo>
                      <a:pt x="235" y="355"/>
                    </a:lnTo>
                    <a:lnTo>
                      <a:pt x="219"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12" name="Freeform 20"/>
              <p:cNvSpPr>
                <a:spLocks/>
              </p:cNvSpPr>
              <p:nvPr/>
            </p:nvSpPr>
            <p:spPr bwMode="auto">
              <a:xfrm flipH="1">
                <a:off x="10287011" y="6330958"/>
                <a:ext cx="254000" cy="254000"/>
              </a:xfrm>
              <a:custGeom>
                <a:avLst/>
                <a:gdLst>
                  <a:gd name="T0" fmla="*/ 304 w 641"/>
                  <a:gd name="T1" fmla="*/ 641 h 641"/>
                  <a:gd name="T2" fmla="*/ 256 w 641"/>
                  <a:gd name="T3" fmla="*/ 635 h 641"/>
                  <a:gd name="T4" fmla="*/ 210 w 641"/>
                  <a:gd name="T5" fmla="*/ 622 h 641"/>
                  <a:gd name="T6" fmla="*/ 168 w 641"/>
                  <a:gd name="T7" fmla="*/ 602 h 641"/>
                  <a:gd name="T8" fmla="*/ 129 w 641"/>
                  <a:gd name="T9" fmla="*/ 577 h 641"/>
                  <a:gd name="T10" fmla="*/ 94 w 641"/>
                  <a:gd name="T11" fmla="*/ 547 h 641"/>
                  <a:gd name="T12" fmla="*/ 64 w 641"/>
                  <a:gd name="T13" fmla="*/ 512 h 641"/>
                  <a:gd name="T14" fmla="*/ 39 w 641"/>
                  <a:gd name="T15" fmla="*/ 473 h 641"/>
                  <a:gd name="T16" fmla="*/ 19 w 641"/>
                  <a:gd name="T17" fmla="*/ 431 h 641"/>
                  <a:gd name="T18" fmla="*/ 6 w 641"/>
                  <a:gd name="T19" fmla="*/ 385 h 641"/>
                  <a:gd name="T20" fmla="*/ 0 w 641"/>
                  <a:gd name="T21" fmla="*/ 337 h 641"/>
                  <a:gd name="T22" fmla="*/ 0 w 641"/>
                  <a:gd name="T23" fmla="*/ 304 h 641"/>
                  <a:gd name="T24" fmla="*/ 6 w 641"/>
                  <a:gd name="T25" fmla="*/ 256 h 641"/>
                  <a:gd name="T26" fmla="*/ 19 w 641"/>
                  <a:gd name="T27" fmla="*/ 210 h 641"/>
                  <a:gd name="T28" fmla="*/ 39 w 641"/>
                  <a:gd name="T29" fmla="*/ 168 h 641"/>
                  <a:gd name="T30" fmla="*/ 64 w 641"/>
                  <a:gd name="T31" fmla="*/ 129 h 641"/>
                  <a:gd name="T32" fmla="*/ 94 w 641"/>
                  <a:gd name="T33" fmla="*/ 94 h 641"/>
                  <a:gd name="T34" fmla="*/ 129 w 641"/>
                  <a:gd name="T35" fmla="*/ 64 h 641"/>
                  <a:gd name="T36" fmla="*/ 168 w 641"/>
                  <a:gd name="T37" fmla="*/ 39 h 641"/>
                  <a:gd name="T38" fmla="*/ 210 w 641"/>
                  <a:gd name="T39" fmla="*/ 20 h 641"/>
                  <a:gd name="T40" fmla="*/ 256 w 641"/>
                  <a:gd name="T41" fmla="*/ 6 h 641"/>
                  <a:gd name="T42" fmla="*/ 304 w 641"/>
                  <a:gd name="T43" fmla="*/ 0 h 641"/>
                  <a:gd name="T44" fmla="*/ 337 w 641"/>
                  <a:gd name="T45" fmla="*/ 0 h 641"/>
                  <a:gd name="T46" fmla="*/ 385 w 641"/>
                  <a:gd name="T47" fmla="*/ 6 h 641"/>
                  <a:gd name="T48" fmla="*/ 431 w 641"/>
                  <a:gd name="T49" fmla="*/ 20 h 641"/>
                  <a:gd name="T50" fmla="*/ 473 w 641"/>
                  <a:gd name="T51" fmla="*/ 39 h 641"/>
                  <a:gd name="T52" fmla="*/ 512 w 641"/>
                  <a:gd name="T53" fmla="*/ 64 h 641"/>
                  <a:gd name="T54" fmla="*/ 547 w 641"/>
                  <a:gd name="T55" fmla="*/ 94 h 641"/>
                  <a:gd name="T56" fmla="*/ 577 w 641"/>
                  <a:gd name="T57" fmla="*/ 129 h 641"/>
                  <a:gd name="T58" fmla="*/ 602 w 641"/>
                  <a:gd name="T59" fmla="*/ 168 h 641"/>
                  <a:gd name="T60" fmla="*/ 622 w 641"/>
                  <a:gd name="T61" fmla="*/ 210 h 641"/>
                  <a:gd name="T62" fmla="*/ 635 w 641"/>
                  <a:gd name="T63" fmla="*/ 256 h 641"/>
                  <a:gd name="T64" fmla="*/ 641 w 641"/>
                  <a:gd name="T65" fmla="*/ 304 h 641"/>
                  <a:gd name="T66" fmla="*/ 641 w 641"/>
                  <a:gd name="T67" fmla="*/ 337 h 641"/>
                  <a:gd name="T68" fmla="*/ 635 w 641"/>
                  <a:gd name="T69" fmla="*/ 385 h 641"/>
                  <a:gd name="T70" fmla="*/ 622 w 641"/>
                  <a:gd name="T71" fmla="*/ 431 h 641"/>
                  <a:gd name="T72" fmla="*/ 602 w 641"/>
                  <a:gd name="T73" fmla="*/ 473 h 641"/>
                  <a:gd name="T74" fmla="*/ 577 w 641"/>
                  <a:gd name="T75" fmla="*/ 512 h 641"/>
                  <a:gd name="T76" fmla="*/ 547 w 641"/>
                  <a:gd name="T77" fmla="*/ 547 h 641"/>
                  <a:gd name="T78" fmla="*/ 512 w 641"/>
                  <a:gd name="T79" fmla="*/ 577 h 641"/>
                  <a:gd name="T80" fmla="*/ 473 w 641"/>
                  <a:gd name="T81" fmla="*/ 602 h 641"/>
                  <a:gd name="T82" fmla="*/ 431 w 641"/>
                  <a:gd name="T83" fmla="*/ 622 h 641"/>
                  <a:gd name="T84" fmla="*/ 385 w 641"/>
                  <a:gd name="T85" fmla="*/ 635 h 641"/>
                  <a:gd name="T86" fmla="*/ 337 w 641"/>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321" y="641"/>
                    </a:moveTo>
                    <a:lnTo>
                      <a:pt x="321" y="641"/>
                    </a:lnTo>
                    <a:lnTo>
                      <a:pt x="304" y="641"/>
                    </a:lnTo>
                    <a:lnTo>
                      <a:pt x="287" y="640"/>
                    </a:lnTo>
                    <a:lnTo>
                      <a:pt x="272" y="637"/>
                    </a:lnTo>
                    <a:lnTo>
                      <a:pt x="256" y="635"/>
                    </a:lnTo>
                    <a:lnTo>
                      <a:pt x="240" y="631"/>
                    </a:lnTo>
                    <a:lnTo>
                      <a:pt x="226" y="627"/>
                    </a:lnTo>
                    <a:lnTo>
                      <a:pt x="210" y="622"/>
                    </a:lnTo>
                    <a:lnTo>
                      <a:pt x="196" y="616"/>
                    </a:lnTo>
                    <a:lnTo>
                      <a:pt x="181" y="610"/>
                    </a:lnTo>
                    <a:lnTo>
                      <a:pt x="168" y="602"/>
                    </a:lnTo>
                    <a:lnTo>
                      <a:pt x="155" y="595"/>
                    </a:lnTo>
                    <a:lnTo>
                      <a:pt x="141" y="587"/>
                    </a:lnTo>
                    <a:lnTo>
                      <a:pt x="129" y="577"/>
                    </a:lnTo>
                    <a:lnTo>
                      <a:pt x="117" y="567"/>
                    </a:lnTo>
                    <a:lnTo>
                      <a:pt x="105" y="558"/>
                    </a:lnTo>
                    <a:lnTo>
                      <a:pt x="94" y="547"/>
                    </a:lnTo>
                    <a:lnTo>
                      <a:pt x="83" y="536"/>
                    </a:lnTo>
                    <a:lnTo>
                      <a:pt x="74" y="524"/>
                    </a:lnTo>
                    <a:lnTo>
                      <a:pt x="64" y="512"/>
                    </a:lnTo>
                    <a:lnTo>
                      <a:pt x="54" y="500"/>
                    </a:lnTo>
                    <a:lnTo>
                      <a:pt x="46" y="487"/>
                    </a:lnTo>
                    <a:lnTo>
                      <a:pt x="39" y="473"/>
                    </a:lnTo>
                    <a:lnTo>
                      <a:pt x="31" y="460"/>
                    </a:lnTo>
                    <a:lnTo>
                      <a:pt x="25" y="446"/>
                    </a:lnTo>
                    <a:lnTo>
                      <a:pt x="19" y="431"/>
                    </a:lnTo>
                    <a:lnTo>
                      <a:pt x="15" y="415"/>
                    </a:lnTo>
                    <a:lnTo>
                      <a:pt x="10" y="401"/>
                    </a:lnTo>
                    <a:lnTo>
                      <a:pt x="6" y="385"/>
                    </a:lnTo>
                    <a:lnTo>
                      <a:pt x="4" y="370"/>
                    </a:lnTo>
                    <a:lnTo>
                      <a:pt x="1" y="354"/>
                    </a:lnTo>
                    <a:lnTo>
                      <a:pt x="0" y="337"/>
                    </a:lnTo>
                    <a:lnTo>
                      <a:pt x="0" y="320"/>
                    </a:lnTo>
                    <a:lnTo>
                      <a:pt x="0" y="320"/>
                    </a:lnTo>
                    <a:lnTo>
                      <a:pt x="0" y="304"/>
                    </a:lnTo>
                    <a:lnTo>
                      <a:pt x="1" y="287"/>
                    </a:lnTo>
                    <a:lnTo>
                      <a:pt x="4" y="272"/>
                    </a:lnTo>
                    <a:lnTo>
                      <a:pt x="6" y="256"/>
                    </a:lnTo>
                    <a:lnTo>
                      <a:pt x="10" y="240"/>
                    </a:lnTo>
                    <a:lnTo>
                      <a:pt x="15" y="226"/>
                    </a:lnTo>
                    <a:lnTo>
                      <a:pt x="19" y="210"/>
                    </a:lnTo>
                    <a:lnTo>
                      <a:pt x="25" y="196"/>
                    </a:lnTo>
                    <a:lnTo>
                      <a:pt x="31" y="181"/>
                    </a:lnTo>
                    <a:lnTo>
                      <a:pt x="39" y="168"/>
                    </a:lnTo>
                    <a:lnTo>
                      <a:pt x="46" y="155"/>
                    </a:lnTo>
                    <a:lnTo>
                      <a:pt x="54" y="141"/>
                    </a:lnTo>
                    <a:lnTo>
                      <a:pt x="64" y="129"/>
                    </a:lnTo>
                    <a:lnTo>
                      <a:pt x="74" y="117"/>
                    </a:lnTo>
                    <a:lnTo>
                      <a:pt x="83" y="105"/>
                    </a:lnTo>
                    <a:lnTo>
                      <a:pt x="94" y="94"/>
                    </a:lnTo>
                    <a:lnTo>
                      <a:pt x="105" y="84"/>
                    </a:lnTo>
                    <a:lnTo>
                      <a:pt x="117" y="74"/>
                    </a:lnTo>
                    <a:lnTo>
                      <a:pt x="129" y="64"/>
                    </a:lnTo>
                    <a:lnTo>
                      <a:pt x="141" y="55"/>
                    </a:lnTo>
                    <a:lnTo>
                      <a:pt x="155" y="46"/>
                    </a:lnTo>
                    <a:lnTo>
                      <a:pt x="168" y="39"/>
                    </a:lnTo>
                    <a:lnTo>
                      <a:pt x="181" y="32"/>
                    </a:lnTo>
                    <a:lnTo>
                      <a:pt x="196" y="26"/>
                    </a:lnTo>
                    <a:lnTo>
                      <a:pt x="210" y="20"/>
                    </a:lnTo>
                    <a:lnTo>
                      <a:pt x="226" y="15"/>
                    </a:lnTo>
                    <a:lnTo>
                      <a:pt x="240" y="10"/>
                    </a:lnTo>
                    <a:lnTo>
                      <a:pt x="256" y="6"/>
                    </a:lnTo>
                    <a:lnTo>
                      <a:pt x="272" y="4"/>
                    </a:lnTo>
                    <a:lnTo>
                      <a:pt x="287" y="1"/>
                    </a:lnTo>
                    <a:lnTo>
                      <a:pt x="304" y="0"/>
                    </a:lnTo>
                    <a:lnTo>
                      <a:pt x="321" y="0"/>
                    </a:lnTo>
                    <a:lnTo>
                      <a:pt x="321" y="0"/>
                    </a:lnTo>
                    <a:lnTo>
                      <a:pt x="337" y="0"/>
                    </a:lnTo>
                    <a:lnTo>
                      <a:pt x="354" y="1"/>
                    </a:lnTo>
                    <a:lnTo>
                      <a:pt x="369" y="4"/>
                    </a:lnTo>
                    <a:lnTo>
                      <a:pt x="385" y="6"/>
                    </a:lnTo>
                    <a:lnTo>
                      <a:pt x="401" y="10"/>
                    </a:lnTo>
                    <a:lnTo>
                      <a:pt x="415" y="15"/>
                    </a:lnTo>
                    <a:lnTo>
                      <a:pt x="431" y="20"/>
                    </a:lnTo>
                    <a:lnTo>
                      <a:pt x="445" y="26"/>
                    </a:lnTo>
                    <a:lnTo>
                      <a:pt x="460" y="32"/>
                    </a:lnTo>
                    <a:lnTo>
                      <a:pt x="473" y="39"/>
                    </a:lnTo>
                    <a:lnTo>
                      <a:pt x="486" y="46"/>
                    </a:lnTo>
                    <a:lnTo>
                      <a:pt x="500" y="55"/>
                    </a:lnTo>
                    <a:lnTo>
                      <a:pt x="512" y="64"/>
                    </a:lnTo>
                    <a:lnTo>
                      <a:pt x="524" y="74"/>
                    </a:lnTo>
                    <a:lnTo>
                      <a:pt x="536" y="84"/>
                    </a:lnTo>
                    <a:lnTo>
                      <a:pt x="547" y="94"/>
                    </a:lnTo>
                    <a:lnTo>
                      <a:pt x="558" y="105"/>
                    </a:lnTo>
                    <a:lnTo>
                      <a:pt x="567" y="117"/>
                    </a:lnTo>
                    <a:lnTo>
                      <a:pt x="577" y="129"/>
                    </a:lnTo>
                    <a:lnTo>
                      <a:pt x="587" y="141"/>
                    </a:lnTo>
                    <a:lnTo>
                      <a:pt x="595" y="155"/>
                    </a:lnTo>
                    <a:lnTo>
                      <a:pt x="602" y="168"/>
                    </a:lnTo>
                    <a:lnTo>
                      <a:pt x="610" y="181"/>
                    </a:lnTo>
                    <a:lnTo>
                      <a:pt x="616" y="196"/>
                    </a:lnTo>
                    <a:lnTo>
                      <a:pt x="622" y="210"/>
                    </a:lnTo>
                    <a:lnTo>
                      <a:pt x="626" y="226"/>
                    </a:lnTo>
                    <a:lnTo>
                      <a:pt x="631" y="240"/>
                    </a:lnTo>
                    <a:lnTo>
                      <a:pt x="635" y="256"/>
                    </a:lnTo>
                    <a:lnTo>
                      <a:pt x="637" y="272"/>
                    </a:lnTo>
                    <a:lnTo>
                      <a:pt x="640" y="287"/>
                    </a:lnTo>
                    <a:lnTo>
                      <a:pt x="641" y="304"/>
                    </a:lnTo>
                    <a:lnTo>
                      <a:pt x="641" y="320"/>
                    </a:lnTo>
                    <a:lnTo>
                      <a:pt x="641" y="320"/>
                    </a:lnTo>
                    <a:lnTo>
                      <a:pt x="641" y="337"/>
                    </a:lnTo>
                    <a:lnTo>
                      <a:pt x="640" y="354"/>
                    </a:lnTo>
                    <a:lnTo>
                      <a:pt x="637" y="370"/>
                    </a:lnTo>
                    <a:lnTo>
                      <a:pt x="635" y="385"/>
                    </a:lnTo>
                    <a:lnTo>
                      <a:pt x="631" y="401"/>
                    </a:lnTo>
                    <a:lnTo>
                      <a:pt x="626" y="415"/>
                    </a:lnTo>
                    <a:lnTo>
                      <a:pt x="622" y="431"/>
                    </a:lnTo>
                    <a:lnTo>
                      <a:pt x="616" y="446"/>
                    </a:lnTo>
                    <a:lnTo>
                      <a:pt x="610" y="460"/>
                    </a:lnTo>
                    <a:lnTo>
                      <a:pt x="602" y="473"/>
                    </a:lnTo>
                    <a:lnTo>
                      <a:pt x="595" y="487"/>
                    </a:lnTo>
                    <a:lnTo>
                      <a:pt x="587" y="500"/>
                    </a:lnTo>
                    <a:lnTo>
                      <a:pt x="577" y="512"/>
                    </a:lnTo>
                    <a:lnTo>
                      <a:pt x="567" y="524"/>
                    </a:lnTo>
                    <a:lnTo>
                      <a:pt x="558" y="536"/>
                    </a:lnTo>
                    <a:lnTo>
                      <a:pt x="547" y="547"/>
                    </a:lnTo>
                    <a:lnTo>
                      <a:pt x="536" y="558"/>
                    </a:lnTo>
                    <a:lnTo>
                      <a:pt x="524" y="567"/>
                    </a:lnTo>
                    <a:lnTo>
                      <a:pt x="512" y="577"/>
                    </a:lnTo>
                    <a:lnTo>
                      <a:pt x="500" y="587"/>
                    </a:lnTo>
                    <a:lnTo>
                      <a:pt x="486" y="595"/>
                    </a:lnTo>
                    <a:lnTo>
                      <a:pt x="473" y="602"/>
                    </a:lnTo>
                    <a:lnTo>
                      <a:pt x="460" y="610"/>
                    </a:lnTo>
                    <a:lnTo>
                      <a:pt x="445" y="616"/>
                    </a:lnTo>
                    <a:lnTo>
                      <a:pt x="431" y="622"/>
                    </a:lnTo>
                    <a:lnTo>
                      <a:pt x="415" y="627"/>
                    </a:lnTo>
                    <a:lnTo>
                      <a:pt x="401" y="631"/>
                    </a:lnTo>
                    <a:lnTo>
                      <a:pt x="385" y="635"/>
                    </a:lnTo>
                    <a:lnTo>
                      <a:pt x="369" y="637"/>
                    </a:lnTo>
                    <a:lnTo>
                      <a:pt x="354" y="640"/>
                    </a:lnTo>
                    <a:lnTo>
                      <a:pt x="337"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14" name="Freeform 21"/>
              <p:cNvSpPr>
                <a:spLocks/>
              </p:cNvSpPr>
              <p:nvPr/>
            </p:nvSpPr>
            <p:spPr bwMode="auto">
              <a:xfrm flipH="1">
                <a:off x="10340985" y="6386520"/>
                <a:ext cx="144463" cy="142876"/>
              </a:xfrm>
              <a:custGeom>
                <a:avLst/>
                <a:gdLst>
                  <a:gd name="T0" fmla="*/ 182 w 363"/>
                  <a:gd name="T1" fmla="*/ 363 h 363"/>
                  <a:gd name="T2" fmla="*/ 145 w 363"/>
                  <a:gd name="T3" fmla="*/ 360 h 363"/>
                  <a:gd name="T4" fmla="*/ 111 w 363"/>
                  <a:gd name="T5" fmla="*/ 349 h 363"/>
                  <a:gd name="T6" fmla="*/ 80 w 363"/>
                  <a:gd name="T7" fmla="*/ 332 h 363"/>
                  <a:gd name="T8" fmla="*/ 53 w 363"/>
                  <a:gd name="T9" fmla="*/ 310 h 363"/>
                  <a:gd name="T10" fmla="*/ 31 w 363"/>
                  <a:gd name="T11" fmla="*/ 284 h 363"/>
                  <a:gd name="T12" fmla="*/ 14 w 363"/>
                  <a:gd name="T13" fmla="*/ 252 h 363"/>
                  <a:gd name="T14" fmla="*/ 4 w 363"/>
                  <a:gd name="T15" fmla="*/ 218 h 363"/>
                  <a:gd name="T16" fmla="*/ 0 w 363"/>
                  <a:gd name="T17" fmla="*/ 181 h 363"/>
                  <a:gd name="T18" fmla="*/ 1 w 363"/>
                  <a:gd name="T19" fmla="*/ 163 h 363"/>
                  <a:gd name="T20" fmla="*/ 8 w 363"/>
                  <a:gd name="T21" fmla="*/ 128 h 363"/>
                  <a:gd name="T22" fmla="*/ 22 w 363"/>
                  <a:gd name="T23" fmla="*/ 95 h 363"/>
                  <a:gd name="T24" fmla="*/ 41 w 363"/>
                  <a:gd name="T25" fmla="*/ 66 h 363"/>
                  <a:gd name="T26" fmla="*/ 66 w 363"/>
                  <a:gd name="T27" fmla="*/ 41 h 363"/>
                  <a:gd name="T28" fmla="*/ 95 w 363"/>
                  <a:gd name="T29" fmla="*/ 22 h 363"/>
                  <a:gd name="T30" fmla="*/ 128 w 363"/>
                  <a:gd name="T31" fmla="*/ 8 h 363"/>
                  <a:gd name="T32" fmla="*/ 163 w 363"/>
                  <a:gd name="T33" fmla="*/ 1 h 363"/>
                  <a:gd name="T34" fmla="*/ 182 w 363"/>
                  <a:gd name="T35" fmla="*/ 0 h 363"/>
                  <a:gd name="T36" fmla="*/ 218 w 363"/>
                  <a:gd name="T37" fmla="*/ 4 h 363"/>
                  <a:gd name="T38" fmla="*/ 252 w 363"/>
                  <a:gd name="T39" fmla="*/ 15 h 363"/>
                  <a:gd name="T40" fmla="*/ 283 w 363"/>
                  <a:gd name="T41" fmla="*/ 31 h 363"/>
                  <a:gd name="T42" fmla="*/ 310 w 363"/>
                  <a:gd name="T43" fmla="*/ 53 h 363"/>
                  <a:gd name="T44" fmla="*/ 332 w 363"/>
                  <a:gd name="T45" fmla="*/ 80 h 363"/>
                  <a:gd name="T46" fmla="*/ 349 w 363"/>
                  <a:gd name="T47" fmla="*/ 111 h 363"/>
                  <a:gd name="T48" fmla="*/ 360 w 363"/>
                  <a:gd name="T49" fmla="*/ 145 h 363"/>
                  <a:gd name="T50" fmla="*/ 363 w 363"/>
                  <a:gd name="T51" fmla="*/ 181 h 363"/>
                  <a:gd name="T52" fmla="*/ 362 w 363"/>
                  <a:gd name="T53" fmla="*/ 200 h 363"/>
                  <a:gd name="T54" fmla="*/ 355 w 363"/>
                  <a:gd name="T55" fmla="*/ 235 h 363"/>
                  <a:gd name="T56" fmla="*/ 341 w 363"/>
                  <a:gd name="T57" fmla="*/ 268 h 363"/>
                  <a:gd name="T58" fmla="*/ 322 w 363"/>
                  <a:gd name="T59" fmla="*/ 297 h 363"/>
                  <a:gd name="T60" fmla="*/ 297 w 363"/>
                  <a:gd name="T61" fmla="*/ 322 h 363"/>
                  <a:gd name="T62" fmla="*/ 268 w 363"/>
                  <a:gd name="T63" fmla="*/ 342 h 363"/>
                  <a:gd name="T64" fmla="*/ 235 w 363"/>
                  <a:gd name="T65" fmla="*/ 355 h 363"/>
                  <a:gd name="T66" fmla="*/ 200 w 363"/>
                  <a:gd name="T67" fmla="*/ 362 h 363"/>
                  <a:gd name="T68" fmla="*/ 182 w 363"/>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182" y="363"/>
                    </a:moveTo>
                    <a:lnTo>
                      <a:pt x="182" y="363"/>
                    </a:lnTo>
                    <a:lnTo>
                      <a:pt x="163" y="362"/>
                    </a:lnTo>
                    <a:lnTo>
                      <a:pt x="145" y="360"/>
                    </a:lnTo>
                    <a:lnTo>
                      <a:pt x="128" y="355"/>
                    </a:lnTo>
                    <a:lnTo>
                      <a:pt x="111" y="349"/>
                    </a:lnTo>
                    <a:lnTo>
                      <a:pt x="95" y="342"/>
                    </a:lnTo>
                    <a:lnTo>
                      <a:pt x="80" y="332"/>
                    </a:lnTo>
                    <a:lnTo>
                      <a:pt x="66" y="322"/>
                    </a:lnTo>
                    <a:lnTo>
                      <a:pt x="53" y="310"/>
                    </a:lnTo>
                    <a:lnTo>
                      <a:pt x="41" y="297"/>
                    </a:lnTo>
                    <a:lnTo>
                      <a:pt x="31" y="284"/>
                    </a:lnTo>
                    <a:lnTo>
                      <a:pt x="22" y="268"/>
                    </a:lnTo>
                    <a:lnTo>
                      <a:pt x="14" y="252"/>
                    </a:lnTo>
                    <a:lnTo>
                      <a:pt x="8" y="235"/>
                    </a:lnTo>
                    <a:lnTo>
                      <a:pt x="4" y="218"/>
                    </a:lnTo>
                    <a:lnTo>
                      <a:pt x="1" y="200"/>
                    </a:lnTo>
                    <a:lnTo>
                      <a:pt x="0" y="181"/>
                    </a:lnTo>
                    <a:lnTo>
                      <a:pt x="0" y="181"/>
                    </a:lnTo>
                    <a:lnTo>
                      <a:pt x="1" y="163"/>
                    </a:lnTo>
                    <a:lnTo>
                      <a:pt x="4" y="145"/>
                    </a:lnTo>
                    <a:lnTo>
                      <a:pt x="8" y="128"/>
                    </a:lnTo>
                    <a:lnTo>
                      <a:pt x="14" y="111"/>
                    </a:lnTo>
                    <a:lnTo>
                      <a:pt x="22" y="95"/>
                    </a:lnTo>
                    <a:lnTo>
                      <a:pt x="31" y="80"/>
                    </a:lnTo>
                    <a:lnTo>
                      <a:pt x="41" y="66"/>
                    </a:lnTo>
                    <a:lnTo>
                      <a:pt x="53" y="53"/>
                    </a:lnTo>
                    <a:lnTo>
                      <a:pt x="66" y="41"/>
                    </a:lnTo>
                    <a:lnTo>
                      <a:pt x="80" y="31"/>
                    </a:lnTo>
                    <a:lnTo>
                      <a:pt x="95" y="22"/>
                    </a:lnTo>
                    <a:lnTo>
                      <a:pt x="111" y="15"/>
                    </a:lnTo>
                    <a:lnTo>
                      <a:pt x="128" y="8"/>
                    </a:lnTo>
                    <a:lnTo>
                      <a:pt x="145" y="4"/>
                    </a:lnTo>
                    <a:lnTo>
                      <a:pt x="163" y="1"/>
                    </a:lnTo>
                    <a:lnTo>
                      <a:pt x="182" y="0"/>
                    </a:lnTo>
                    <a:lnTo>
                      <a:pt x="182" y="0"/>
                    </a:lnTo>
                    <a:lnTo>
                      <a:pt x="200" y="1"/>
                    </a:lnTo>
                    <a:lnTo>
                      <a:pt x="218" y="4"/>
                    </a:lnTo>
                    <a:lnTo>
                      <a:pt x="235" y="8"/>
                    </a:lnTo>
                    <a:lnTo>
                      <a:pt x="252" y="15"/>
                    </a:lnTo>
                    <a:lnTo>
                      <a:pt x="268" y="22"/>
                    </a:lnTo>
                    <a:lnTo>
                      <a:pt x="283" y="31"/>
                    </a:lnTo>
                    <a:lnTo>
                      <a:pt x="297" y="41"/>
                    </a:lnTo>
                    <a:lnTo>
                      <a:pt x="310" y="53"/>
                    </a:lnTo>
                    <a:lnTo>
                      <a:pt x="322" y="66"/>
                    </a:lnTo>
                    <a:lnTo>
                      <a:pt x="332" y="80"/>
                    </a:lnTo>
                    <a:lnTo>
                      <a:pt x="341" y="95"/>
                    </a:lnTo>
                    <a:lnTo>
                      <a:pt x="349" y="111"/>
                    </a:lnTo>
                    <a:lnTo>
                      <a:pt x="355" y="128"/>
                    </a:lnTo>
                    <a:lnTo>
                      <a:pt x="360" y="145"/>
                    </a:lnTo>
                    <a:lnTo>
                      <a:pt x="362" y="163"/>
                    </a:lnTo>
                    <a:lnTo>
                      <a:pt x="363" y="181"/>
                    </a:lnTo>
                    <a:lnTo>
                      <a:pt x="363" y="181"/>
                    </a:lnTo>
                    <a:lnTo>
                      <a:pt x="362" y="200"/>
                    </a:lnTo>
                    <a:lnTo>
                      <a:pt x="360" y="218"/>
                    </a:lnTo>
                    <a:lnTo>
                      <a:pt x="355" y="235"/>
                    </a:lnTo>
                    <a:lnTo>
                      <a:pt x="349" y="252"/>
                    </a:lnTo>
                    <a:lnTo>
                      <a:pt x="341" y="268"/>
                    </a:lnTo>
                    <a:lnTo>
                      <a:pt x="332" y="284"/>
                    </a:lnTo>
                    <a:lnTo>
                      <a:pt x="322" y="297"/>
                    </a:lnTo>
                    <a:lnTo>
                      <a:pt x="310" y="310"/>
                    </a:lnTo>
                    <a:lnTo>
                      <a:pt x="297" y="322"/>
                    </a:lnTo>
                    <a:lnTo>
                      <a:pt x="283" y="332"/>
                    </a:lnTo>
                    <a:lnTo>
                      <a:pt x="268" y="342"/>
                    </a:lnTo>
                    <a:lnTo>
                      <a:pt x="252" y="349"/>
                    </a:lnTo>
                    <a:lnTo>
                      <a:pt x="235" y="355"/>
                    </a:lnTo>
                    <a:lnTo>
                      <a:pt x="218"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18" name="Freeform 22"/>
              <p:cNvSpPr>
                <a:spLocks/>
              </p:cNvSpPr>
              <p:nvPr/>
            </p:nvSpPr>
            <p:spPr bwMode="auto">
              <a:xfrm flipH="1">
                <a:off x="10071101" y="5761035"/>
                <a:ext cx="1993903" cy="681037"/>
              </a:xfrm>
              <a:custGeom>
                <a:avLst/>
                <a:gdLst>
                  <a:gd name="T0" fmla="*/ 1502 w 5024"/>
                  <a:gd name="T1" fmla="*/ 719 h 1716"/>
                  <a:gd name="T2" fmla="*/ 1488 w 5024"/>
                  <a:gd name="T3" fmla="*/ 0 h 1716"/>
                  <a:gd name="T4" fmla="*/ 1210 w 5024"/>
                  <a:gd name="T5" fmla="*/ 16 h 1716"/>
                  <a:gd name="T6" fmla="*/ 866 w 5024"/>
                  <a:gd name="T7" fmla="*/ 70 h 1716"/>
                  <a:gd name="T8" fmla="*/ 580 w 5024"/>
                  <a:gd name="T9" fmla="*/ 183 h 1716"/>
                  <a:gd name="T10" fmla="*/ 447 w 5024"/>
                  <a:gd name="T11" fmla="*/ 286 h 1716"/>
                  <a:gd name="T12" fmla="*/ 309 w 5024"/>
                  <a:gd name="T13" fmla="*/ 447 h 1716"/>
                  <a:gd name="T14" fmla="*/ 197 w 5024"/>
                  <a:gd name="T15" fmla="*/ 638 h 1716"/>
                  <a:gd name="T16" fmla="*/ 95 w 5024"/>
                  <a:gd name="T17" fmla="*/ 883 h 1716"/>
                  <a:gd name="T18" fmla="*/ 14 w 5024"/>
                  <a:gd name="T19" fmla="*/ 1205 h 1716"/>
                  <a:gd name="T20" fmla="*/ 13 w 5024"/>
                  <a:gd name="T21" fmla="*/ 1280 h 1716"/>
                  <a:gd name="T22" fmla="*/ 54 w 5024"/>
                  <a:gd name="T23" fmla="*/ 1279 h 1716"/>
                  <a:gd name="T24" fmla="*/ 136 w 5024"/>
                  <a:gd name="T25" fmla="*/ 1225 h 1716"/>
                  <a:gd name="T26" fmla="*/ 206 w 5024"/>
                  <a:gd name="T27" fmla="*/ 1210 h 1716"/>
                  <a:gd name="T28" fmla="*/ 252 w 5024"/>
                  <a:gd name="T29" fmla="*/ 1232 h 1716"/>
                  <a:gd name="T30" fmla="*/ 273 w 5024"/>
                  <a:gd name="T31" fmla="*/ 1269 h 1716"/>
                  <a:gd name="T32" fmla="*/ 267 w 5024"/>
                  <a:gd name="T33" fmla="*/ 1355 h 1716"/>
                  <a:gd name="T34" fmla="*/ 258 w 5024"/>
                  <a:gd name="T35" fmla="*/ 1392 h 1716"/>
                  <a:gd name="T36" fmla="*/ 1 w 5024"/>
                  <a:gd name="T37" fmla="*/ 1401 h 1716"/>
                  <a:gd name="T38" fmla="*/ 268 w 5024"/>
                  <a:gd name="T39" fmla="*/ 1486 h 1716"/>
                  <a:gd name="T40" fmla="*/ 286 w 5024"/>
                  <a:gd name="T41" fmla="*/ 1512 h 1716"/>
                  <a:gd name="T42" fmla="*/ 278 w 5024"/>
                  <a:gd name="T43" fmla="*/ 1553 h 1716"/>
                  <a:gd name="T44" fmla="*/ 5 w 5024"/>
                  <a:gd name="T45" fmla="*/ 1561 h 1716"/>
                  <a:gd name="T46" fmla="*/ 16 w 5024"/>
                  <a:gd name="T47" fmla="*/ 1653 h 1716"/>
                  <a:gd name="T48" fmla="*/ 54 w 5024"/>
                  <a:gd name="T49" fmla="*/ 1695 h 1716"/>
                  <a:gd name="T50" fmla="*/ 170 w 5024"/>
                  <a:gd name="T51" fmla="*/ 1716 h 1716"/>
                  <a:gd name="T52" fmla="*/ 366 w 5024"/>
                  <a:gd name="T53" fmla="*/ 1711 h 1716"/>
                  <a:gd name="T54" fmla="*/ 392 w 5024"/>
                  <a:gd name="T55" fmla="*/ 1603 h 1716"/>
                  <a:gd name="T56" fmla="*/ 447 w 5024"/>
                  <a:gd name="T57" fmla="*/ 1509 h 1716"/>
                  <a:gd name="T58" fmla="*/ 523 w 5024"/>
                  <a:gd name="T59" fmla="*/ 1433 h 1716"/>
                  <a:gd name="T60" fmla="*/ 618 w 5024"/>
                  <a:gd name="T61" fmla="*/ 1380 h 1716"/>
                  <a:gd name="T62" fmla="*/ 725 w 5024"/>
                  <a:gd name="T63" fmla="*/ 1355 h 1716"/>
                  <a:gd name="T64" fmla="*/ 821 w 5024"/>
                  <a:gd name="T65" fmla="*/ 1357 h 1716"/>
                  <a:gd name="T66" fmla="*/ 928 w 5024"/>
                  <a:gd name="T67" fmla="*/ 1389 h 1716"/>
                  <a:gd name="T68" fmla="*/ 1020 w 5024"/>
                  <a:gd name="T69" fmla="*/ 1445 h 1716"/>
                  <a:gd name="T70" fmla="*/ 1092 w 5024"/>
                  <a:gd name="T71" fmla="*/ 1525 h 1716"/>
                  <a:gd name="T72" fmla="*/ 1142 w 5024"/>
                  <a:gd name="T73" fmla="*/ 1622 h 1716"/>
                  <a:gd name="T74" fmla="*/ 1162 w 5024"/>
                  <a:gd name="T75" fmla="*/ 1713 h 1716"/>
                  <a:gd name="T76" fmla="*/ 2758 w 5024"/>
                  <a:gd name="T77" fmla="*/ 1640 h 1716"/>
                  <a:gd name="T78" fmla="*/ 2802 w 5024"/>
                  <a:gd name="T79" fmla="*/ 1539 h 1716"/>
                  <a:gd name="T80" fmla="*/ 2872 w 5024"/>
                  <a:gd name="T81" fmla="*/ 1457 h 1716"/>
                  <a:gd name="T82" fmla="*/ 2960 w 5024"/>
                  <a:gd name="T83" fmla="*/ 1396 h 1716"/>
                  <a:gd name="T84" fmla="*/ 3065 w 5024"/>
                  <a:gd name="T85" fmla="*/ 1361 h 1716"/>
                  <a:gd name="T86" fmla="*/ 3161 w 5024"/>
                  <a:gd name="T87" fmla="*/ 1354 h 1716"/>
                  <a:gd name="T88" fmla="*/ 3270 w 5024"/>
                  <a:gd name="T89" fmla="*/ 1374 h 1716"/>
                  <a:gd name="T90" fmla="*/ 3368 w 5024"/>
                  <a:gd name="T91" fmla="*/ 1424 h 1716"/>
                  <a:gd name="T92" fmla="*/ 3448 w 5024"/>
                  <a:gd name="T93" fmla="*/ 1496 h 1716"/>
                  <a:gd name="T94" fmla="*/ 3506 w 5024"/>
                  <a:gd name="T95" fmla="*/ 1588 h 1716"/>
                  <a:gd name="T96" fmla="*/ 3537 w 5024"/>
                  <a:gd name="T97" fmla="*/ 1694 h 1716"/>
                  <a:gd name="T98" fmla="*/ 3768 w 5024"/>
                  <a:gd name="T99" fmla="*/ 1676 h 1716"/>
                  <a:gd name="T100" fmla="*/ 3804 w 5024"/>
                  <a:gd name="T101" fmla="*/ 1571 h 1716"/>
                  <a:gd name="T102" fmla="*/ 3865 w 5024"/>
                  <a:gd name="T103" fmla="*/ 1483 h 1716"/>
                  <a:gd name="T104" fmla="*/ 3949 w 5024"/>
                  <a:gd name="T105" fmla="*/ 1414 h 1716"/>
                  <a:gd name="T106" fmla="*/ 4049 w 5024"/>
                  <a:gd name="T107" fmla="*/ 1369 h 1716"/>
                  <a:gd name="T108" fmla="*/ 4161 w 5024"/>
                  <a:gd name="T109" fmla="*/ 1354 h 1716"/>
                  <a:gd name="T110" fmla="*/ 4255 w 5024"/>
                  <a:gd name="T111" fmla="*/ 1365 h 1716"/>
                  <a:gd name="T112" fmla="*/ 4357 w 5024"/>
                  <a:gd name="T113" fmla="*/ 1404 h 1716"/>
                  <a:gd name="T114" fmla="*/ 4444 w 5024"/>
                  <a:gd name="T115" fmla="*/ 1469 h 1716"/>
                  <a:gd name="T116" fmla="*/ 4509 w 5024"/>
                  <a:gd name="T117" fmla="*/ 1555 h 1716"/>
                  <a:gd name="T118" fmla="*/ 4550 w 5024"/>
                  <a:gd name="T119" fmla="*/ 1658 h 1716"/>
                  <a:gd name="T120" fmla="*/ 4796 w 5024"/>
                  <a:gd name="T121" fmla="*/ 1713 h 1716"/>
                  <a:gd name="T122" fmla="*/ 4812 w 5024"/>
                  <a:gd name="T123" fmla="*/ 1595 h 1716"/>
                  <a:gd name="T124" fmla="*/ 4926 w 5024"/>
                  <a:gd name="T125" fmla="*/ 1309 h 1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24" h="1716">
                    <a:moveTo>
                      <a:pt x="5024" y="1126"/>
                    </a:moveTo>
                    <a:lnTo>
                      <a:pt x="1499" y="1123"/>
                    </a:lnTo>
                    <a:lnTo>
                      <a:pt x="1499" y="1123"/>
                    </a:lnTo>
                    <a:lnTo>
                      <a:pt x="1500" y="1007"/>
                    </a:lnTo>
                    <a:lnTo>
                      <a:pt x="1501" y="878"/>
                    </a:lnTo>
                    <a:lnTo>
                      <a:pt x="1502" y="719"/>
                    </a:lnTo>
                    <a:lnTo>
                      <a:pt x="1502" y="539"/>
                    </a:lnTo>
                    <a:lnTo>
                      <a:pt x="1500" y="352"/>
                    </a:lnTo>
                    <a:lnTo>
                      <a:pt x="1498" y="259"/>
                    </a:lnTo>
                    <a:lnTo>
                      <a:pt x="1495" y="169"/>
                    </a:lnTo>
                    <a:lnTo>
                      <a:pt x="1493" y="82"/>
                    </a:lnTo>
                    <a:lnTo>
                      <a:pt x="1488" y="0"/>
                    </a:lnTo>
                    <a:lnTo>
                      <a:pt x="1488" y="0"/>
                    </a:lnTo>
                    <a:lnTo>
                      <a:pt x="1478" y="0"/>
                    </a:lnTo>
                    <a:lnTo>
                      <a:pt x="1478" y="0"/>
                    </a:lnTo>
                    <a:lnTo>
                      <a:pt x="1341" y="7"/>
                    </a:lnTo>
                    <a:lnTo>
                      <a:pt x="1274" y="11"/>
                    </a:lnTo>
                    <a:lnTo>
                      <a:pt x="1210" y="16"/>
                    </a:lnTo>
                    <a:lnTo>
                      <a:pt x="1149" y="22"/>
                    </a:lnTo>
                    <a:lnTo>
                      <a:pt x="1089" y="29"/>
                    </a:lnTo>
                    <a:lnTo>
                      <a:pt x="1031" y="37"/>
                    </a:lnTo>
                    <a:lnTo>
                      <a:pt x="974" y="46"/>
                    </a:lnTo>
                    <a:lnTo>
                      <a:pt x="920" y="57"/>
                    </a:lnTo>
                    <a:lnTo>
                      <a:pt x="866" y="70"/>
                    </a:lnTo>
                    <a:lnTo>
                      <a:pt x="815" y="83"/>
                    </a:lnTo>
                    <a:lnTo>
                      <a:pt x="765" y="99"/>
                    </a:lnTo>
                    <a:lnTo>
                      <a:pt x="717" y="117"/>
                    </a:lnTo>
                    <a:lnTo>
                      <a:pt x="670" y="137"/>
                    </a:lnTo>
                    <a:lnTo>
                      <a:pt x="625" y="159"/>
                    </a:lnTo>
                    <a:lnTo>
                      <a:pt x="580" y="183"/>
                    </a:lnTo>
                    <a:lnTo>
                      <a:pt x="580" y="183"/>
                    </a:lnTo>
                    <a:lnTo>
                      <a:pt x="553" y="201"/>
                    </a:lnTo>
                    <a:lnTo>
                      <a:pt x="525" y="221"/>
                    </a:lnTo>
                    <a:lnTo>
                      <a:pt x="498" y="241"/>
                    </a:lnTo>
                    <a:lnTo>
                      <a:pt x="472" y="263"/>
                    </a:lnTo>
                    <a:lnTo>
                      <a:pt x="447" y="286"/>
                    </a:lnTo>
                    <a:lnTo>
                      <a:pt x="422" y="310"/>
                    </a:lnTo>
                    <a:lnTo>
                      <a:pt x="398" y="335"/>
                    </a:lnTo>
                    <a:lnTo>
                      <a:pt x="375" y="362"/>
                    </a:lnTo>
                    <a:lnTo>
                      <a:pt x="352" y="390"/>
                    </a:lnTo>
                    <a:lnTo>
                      <a:pt x="331" y="419"/>
                    </a:lnTo>
                    <a:lnTo>
                      <a:pt x="309" y="447"/>
                    </a:lnTo>
                    <a:lnTo>
                      <a:pt x="288" y="478"/>
                    </a:lnTo>
                    <a:lnTo>
                      <a:pt x="269" y="508"/>
                    </a:lnTo>
                    <a:lnTo>
                      <a:pt x="250" y="540"/>
                    </a:lnTo>
                    <a:lnTo>
                      <a:pt x="232" y="572"/>
                    </a:lnTo>
                    <a:lnTo>
                      <a:pt x="214" y="606"/>
                    </a:lnTo>
                    <a:lnTo>
                      <a:pt x="197" y="638"/>
                    </a:lnTo>
                    <a:lnTo>
                      <a:pt x="180" y="672"/>
                    </a:lnTo>
                    <a:lnTo>
                      <a:pt x="164" y="707"/>
                    </a:lnTo>
                    <a:lnTo>
                      <a:pt x="150" y="742"/>
                    </a:lnTo>
                    <a:lnTo>
                      <a:pt x="135" y="777"/>
                    </a:lnTo>
                    <a:lnTo>
                      <a:pt x="121" y="812"/>
                    </a:lnTo>
                    <a:lnTo>
                      <a:pt x="95" y="883"/>
                    </a:lnTo>
                    <a:lnTo>
                      <a:pt x="72" y="954"/>
                    </a:lnTo>
                    <a:lnTo>
                      <a:pt x="53" y="1027"/>
                    </a:lnTo>
                    <a:lnTo>
                      <a:pt x="35" y="1098"/>
                    </a:lnTo>
                    <a:lnTo>
                      <a:pt x="19" y="1168"/>
                    </a:lnTo>
                    <a:lnTo>
                      <a:pt x="19" y="1168"/>
                    </a:lnTo>
                    <a:lnTo>
                      <a:pt x="14" y="1205"/>
                    </a:lnTo>
                    <a:lnTo>
                      <a:pt x="11" y="1226"/>
                    </a:lnTo>
                    <a:lnTo>
                      <a:pt x="10" y="1245"/>
                    </a:lnTo>
                    <a:lnTo>
                      <a:pt x="8" y="1263"/>
                    </a:lnTo>
                    <a:lnTo>
                      <a:pt x="10" y="1270"/>
                    </a:lnTo>
                    <a:lnTo>
                      <a:pt x="11" y="1276"/>
                    </a:lnTo>
                    <a:lnTo>
                      <a:pt x="13" y="1280"/>
                    </a:lnTo>
                    <a:lnTo>
                      <a:pt x="17" y="1284"/>
                    </a:lnTo>
                    <a:lnTo>
                      <a:pt x="22" y="1284"/>
                    </a:lnTo>
                    <a:lnTo>
                      <a:pt x="28" y="1282"/>
                    </a:lnTo>
                    <a:lnTo>
                      <a:pt x="28" y="1282"/>
                    </a:lnTo>
                    <a:lnTo>
                      <a:pt x="42" y="1281"/>
                    </a:lnTo>
                    <a:lnTo>
                      <a:pt x="54" y="1279"/>
                    </a:lnTo>
                    <a:lnTo>
                      <a:pt x="65" y="1275"/>
                    </a:lnTo>
                    <a:lnTo>
                      <a:pt x="76" y="1268"/>
                    </a:lnTo>
                    <a:lnTo>
                      <a:pt x="88" y="1261"/>
                    </a:lnTo>
                    <a:lnTo>
                      <a:pt x="101" y="1251"/>
                    </a:lnTo>
                    <a:lnTo>
                      <a:pt x="136" y="1225"/>
                    </a:lnTo>
                    <a:lnTo>
                      <a:pt x="136" y="1225"/>
                    </a:lnTo>
                    <a:lnTo>
                      <a:pt x="142" y="1221"/>
                    </a:lnTo>
                    <a:lnTo>
                      <a:pt x="150" y="1217"/>
                    </a:lnTo>
                    <a:lnTo>
                      <a:pt x="164" y="1212"/>
                    </a:lnTo>
                    <a:lnTo>
                      <a:pt x="181" y="1209"/>
                    </a:lnTo>
                    <a:lnTo>
                      <a:pt x="198" y="1209"/>
                    </a:lnTo>
                    <a:lnTo>
                      <a:pt x="206" y="1210"/>
                    </a:lnTo>
                    <a:lnTo>
                      <a:pt x="215" y="1212"/>
                    </a:lnTo>
                    <a:lnTo>
                      <a:pt x="223" y="1215"/>
                    </a:lnTo>
                    <a:lnTo>
                      <a:pt x="232" y="1217"/>
                    </a:lnTo>
                    <a:lnTo>
                      <a:pt x="239" y="1221"/>
                    </a:lnTo>
                    <a:lnTo>
                      <a:pt x="246" y="1226"/>
                    </a:lnTo>
                    <a:lnTo>
                      <a:pt x="252" y="1232"/>
                    </a:lnTo>
                    <a:lnTo>
                      <a:pt x="258" y="1238"/>
                    </a:lnTo>
                    <a:lnTo>
                      <a:pt x="258" y="1238"/>
                    </a:lnTo>
                    <a:lnTo>
                      <a:pt x="264" y="1245"/>
                    </a:lnTo>
                    <a:lnTo>
                      <a:pt x="268" y="1252"/>
                    </a:lnTo>
                    <a:lnTo>
                      <a:pt x="272" y="1261"/>
                    </a:lnTo>
                    <a:lnTo>
                      <a:pt x="273" y="1269"/>
                    </a:lnTo>
                    <a:lnTo>
                      <a:pt x="274" y="1278"/>
                    </a:lnTo>
                    <a:lnTo>
                      <a:pt x="275" y="1286"/>
                    </a:lnTo>
                    <a:lnTo>
                      <a:pt x="274" y="1303"/>
                    </a:lnTo>
                    <a:lnTo>
                      <a:pt x="272" y="1321"/>
                    </a:lnTo>
                    <a:lnTo>
                      <a:pt x="269" y="1338"/>
                    </a:lnTo>
                    <a:lnTo>
                      <a:pt x="267" y="1355"/>
                    </a:lnTo>
                    <a:lnTo>
                      <a:pt x="267" y="1372"/>
                    </a:lnTo>
                    <a:lnTo>
                      <a:pt x="267" y="1372"/>
                    </a:lnTo>
                    <a:lnTo>
                      <a:pt x="266" y="1378"/>
                    </a:lnTo>
                    <a:lnTo>
                      <a:pt x="264" y="1383"/>
                    </a:lnTo>
                    <a:lnTo>
                      <a:pt x="261" y="1387"/>
                    </a:lnTo>
                    <a:lnTo>
                      <a:pt x="258" y="1392"/>
                    </a:lnTo>
                    <a:lnTo>
                      <a:pt x="253" y="1396"/>
                    </a:lnTo>
                    <a:lnTo>
                      <a:pt x="249" y="1398"/>
                    </a:lnTo>
                    <a:lnTo>
                      <a:pt x="244" y="1400"/>
                    </a:lnTo>
                    <a:lnTo>
                      <a:pt x="238" y="1401"/>
                    </a:lnTo>
                    <a:lnTo>
                      <a:pt x="1" y="1401"/>
                    </a:lnTo>
                    <a:lnTo>
                      <a:pt x="1" y="1401"/>
                    </a:lnTo>
                    <a:lnTo>
                      <a:pt x="0" y="1445"/>
                    </a:lnTo>
                    <a:lnTo>
                      <a:pt x="0" y="1484"/>
                    </a:lnTo>
                    <a:lnTo>
                      <a:pt x="257" y="1484"/>
                    </a:lnTo>
                    <a:lnTo>
                      <a:pt x="257" y="1484"/>
                    </a:lnTo>
                    <a:lnTo>
                      <a:pt x="263" y="1484"/>
                    </a:lnTo>
                    <a:lnTo>
                      <a:pt x="268" y="1486"/>
                    </a:lnTo>
                    <a:lnTo>
                      <a:pt x="273" y="1489"/>
                    </a:lnTo>
                    <a:lnTo>
                      <a:pt x="278" y="1492"/>
                    </a:lnTo>
                    <a:lnTo>
                      <a:pt x="281" y="1496"/>
                    </a:lnTo>
                    <a:lnTo>
                      <a:pt x="284" y="1501"/>
                    </a:lnTo>
                    <a:lnTo>
                      <a:pt x="285" y="1507"/>
                    </a:lnTo>
                    <a:lnTo>
                      <a:pt x="286" y="1512"/>
                    </a:lnTo>
                    <a:lnTo>
                      <a:pt x="286" y="1532"/>
                    </a:lnTo>
                    <a:lnTo>
                      <a:pt x="286" y="1532"/>
                    </a:lnTo>
                    <a:lnTo>
                      <a:pt x="285" y="1538"/>
                    </a:lnTo>
                    <a:lnTo>
                      <a:pt x="284" y="1544"/>
                    </a:lnTo>
                    <a:lnTo>
                      <a:pt x="281" y="1549"/>
                    </a:lnTo>
                    <a:lnTo>
                      <a:pt x="278" y="1553"/>
                    </a:lnTo>
                    <a:lnTo>
                      <a:pt x="273" y="1556"/>
                    </a:lnTo>
                    <a:lnTo>
                      <a:pt x="268" y="1559"/>
                    </a:lnTo>
                    <a:lnTo>
                      <a:pt x="263" y="1561"/>
                    </a:lnTo>
                    <a:lnTo>
                      <a:pt x="257" y="1561"/>
                    </a:lnTo>
                    <a:lnTo>
                      <a:pt x="5" y="1561"/>
                    </a:lnTo>
                    <a:lnTo>
                      <a:pt x="5" y="1561"/>
                    </a:lnTo>
                    <a:lnTo>
                      <a:pt x="8" y="1601"/>
                    </a:lnTo>
                    <a:lnTo>
                      <a:pt x="10" y="1617"/>
                    </a:lnTo>
                    <a:lnTo>
                      <a:pt x="10" y="1631"/>
                    </a:lnTo>
                    <a:lnTo>
                      <a:pt x="10" y="1631"/>
                    </a:lnTo>
                    <a:lnTo>
                      <a:pt x="12" y="1642"/>
                    </a:lnTo>
                    <a:lnTo>
                      <a:pt x="16" y="1653"/>
                    </a:lnTo>
                    <a:lnTo>
                      <a:pt x="21" y="1661"/>
                    </a:lnTo>
                    <a:lnTo>
                      <a:pt x="25" y="1670"/>
                    </a:lnTo>
                    <a:lnTo>
                      <a:pt x="31" y="1678"/>
                    </a:lnTo>
                    <a:lnTo>
                      <a:pt x="39" y="1684"/>
                    </a:lnTo>
                    <a:lnTo>
                      <a:pt x="46" y="1690"/>
                    </a:lnTo>
                    <a:lnTo>
                      <a:pt x="54" y="1695"/>
                    </a:lnTo>
                    <a:lnTo>
                      <a:pt x="64" y="1700"/>
                    </a:lnTo>
                    <a:lnTo>
                      <a:pt x="74" y="1704"/>
                    </a:lnTo>
                    <a:lnTo>
                      <a:pt x="94" y="1710"/>
                    </a:lnTo>
                    <a:lnTo>
                      <a:pt x="118" y="1713"/>
                    </a:lnTo>
                    <a:lnTo>
                      <a:pt x="144" y="1716"/>
                    </a:lnTo>
                    <a:lnTo>
                      <a:pt x="170" y="1716"/>
                    </a:lnTo>
                    <a:lnTo>
                      <a:pt x="197" y="1716"/>
                    </a:lnTo>
                    <a:lnTo>
                      <a:pt x="255" y="1713"/>
                    </a:lnTo>
                    <a:lnTo>
                      <a:pt x="311" y="1711"/>
                    </a:lnTo>
                    <a:lnTo>
                      <a:pt x="339" y="1710"/>
                    </a:lnTo>
                    <a:lnTo>
                      <a:pt x="366" y="1711"/>
                    </a:lnTo>
                    <a:lnTo>
                      <a:pt x="366" y="1711"/>
                    </a:lnTo>
                    <a:lnTo>
                      <a:pt x="368" y="1692"/>
                    </a:lnTo>
                    <a:lnTo>
                      <a:pt x="372" y="1673"/>
                    </a:lnTo>
                    <a:lnTo>
                      <a:pt x="375" y="1655"/>
                    </a:lnTo>
                    <a:lnTo>
                      <a:pt x="380" y="1637"/>
                    </a:lnTo>
                    <a:lnTo>
                      <a:pt x="386" y="1620"/>
                    </a:lnTo>
                    <a:lnTo>
                      <a:pt x="392" y="1603"/>
                    </a:lnTo>
                    <a:lnTo>
                      <a:pt x="399" y="1587"/>
                    </a:lnTo>
                    <a:lnTo>
                      <a:pt x="408" y="1570"/>
                    </a:lnTo>
                    <a:lnTo>
                      <a:pt x="416" y="1554"/>
                    </a:lnTo>
                    <a:lnTo>
                      <a:pt x="426" y="1538"/>
                    </a:lnTo>
                    <a:lnTo>
                      <a:pt x="436" y="1524"/>
                    </a:lnTo>
                    <a:lnTo>
                      <a:pt x="447" y="1509"/>
                    </a:lnTo>
                    <a:lnTo>
                      <a:pt x="459" y="1495"/>
                    </a:lnTo>
                    <a:lnTo>
                      <a:pt x="469" y="1482"/>
                    </a:lnTo>
                    <a:lnTo>
                      <a:pt x="483" y="1468"/>
                    </a:lnTo>
                    <a:lnTo>
                      <a:pt x="496" y="1456"/>
                    </a:lnTo>
                    <a:lnTo>
                      <a:pt x="509" y="1444"/>
                    </a:lnTo>
                    <a:lnTo>
                      <a:pt x="523" y="1433"/>
                    </a:lnTo>
                    <a:lnTo>
                      <a:pt x="538" y="1424"/>
                    </a:lnTo>
                    <a:lnTo>
                      <a:pt x="553" y="1413"/>
                    </a:lnTo>
                    <a:lnTo>
                      <a:pt x="568" y="1404"/>
                    </a:lnTo>
                    <a:lnTo>
                      <a:pt x="584" y="1396"/>
                    </a:lnTo>
                    <a:lnTo>
                      <a:pt x="601" y="1387"/>
                    </a:lnTo>
                    <a:lnTo>
                      <a:pt x="618" y="1380"/>
                    </a:lnTo>
                    <a:lnTo>
                      <a:pt x="635" y="1374"/>
                    </a:lnTo>
                    <a:lnTo>
                      <a:pt x="653" y="1369"/>
                    </a:lnTo>
                    <a:lnTo>
                      <a:pt x="670" y="1365"/>
                    </a:lnTo>
                    <a:lnTo>
                      <a:pt x="688" y="1360"/>
                    </a:lnTo>
                    <a:lnTo>
                      <a:pt x="707" y="1357"/>
                    </a:lnTo>
                    <a:lnTo>
                      <a:pt x="725" y="1355"/>
                    </a:lnTo>
                    <a:lnTo>
                      <a:pt x="745" y="1354"/>
                    </a:lnTo>
                    <a:lnTo>
                      <a:pt x="764" y="1354"/>
                    </a:lnTo>
                    <a:lnTo>
                      <a:pt x="764" y="1354"/>
                    </a:lnTo>
                    <a:lnTo>
                      <a:pt x="783" y="1354"/>
                    </a:lnTo>
                    <a:lnTo>
                      <a:pt x="803" y="1355"/>
                    </a:lnTo>
                    <a:lnTo>
                      <a:pt x="821" y="1357"/>
                    </a:lnTo>
                    <a:lnTo>
                      <a:pt x="840" y="1361"/>
                    </a:lnTo>
                    <a:lnTo>
                      <a:pt x="858" y="1365"/>
                    </a:lnTo>
                    <a:lnTo>
                      <a:pt x="876" y="1369"/>
                    </a:lnTo>
                    <a:lnTo>
                      <a:pt x="893" y="1374"/>
                    </a:lnTo>
                    <a:lnTo>
                      <a:pt x="911" y="1381"/>
                    </a:lnTo>
                    <a:lnTo>
                      <a:pt x="928" y="1389"/>
                    </a:lnTo>
                    <a:lnTo>
                      <a:pt x="944" y="1396"/>
                    </a:lnTo>
                    <a:lnTo>
                      <a:pt x="961" y="1404"/>
                    </a:lnTo>
                    <a:lnTo>
                      <a:pt x="976" y="1414"/>
                    </a:lnTo>
                    <a:lnTo>
                      <a:pt x="991" y="1424"/>
                    </a:lnTo>
                    <a:lnTo>
                      <a:pt x="1005" y="1434"/>
                    </a:lnTo>
                    <a:lnTo>
                      <a:pt x="1020" y="1445"/>
                    </a:lnTo>
                    <a:lnTo>
                      <a:pt x="1033" y="1457"/>
                    </a:lnTo>
                    <a:lnTo>
                      <a:pt x="1046" y="1469"/>
                    </a:lnTo>
                    <a:lnTo>
                      <a:pt x="1058" y="1483"/>
                    </a:lnTo>
                    <a:lnTo>
                      <a:pt x="1070" y="1496"/>
                    </a:lnTo>
                    <a:lnTo>
                      <a:pt x="1083" y="1511"/>
                    </a:lnTo>
                    <a:lnTo>
                      <a:pt x="1092" y="1525"/>
                    </a:lnTo>
                    <a:lnTo>
                      <a:pt x="1103" y="1539"/>
                    </a:lnTo>
                    <a:lnTo>
                      <a:pt x="1111" y="1555"/>
                    </a:lnTo>
                    <a:lnTo>
                      <a:pt x="1121" y="1571"/>
                    </a:lnTo>
                    <a:lnTo>
                      <a:pt x="1128" y="1588"/>
                    </a:lnTo>
                    <a:lnTo>
                      <a:pt x="1136" y="1605"/>
                    </a:lnTo>
                    <a:lnTo>
                      <a:pt x="1142" y="1622"/>
                    </a:lnTo>
                    <a:lnTo>
                      <a:pt x="1148" y="1640"/>
                    </a:lnTo>
                    <a:lnTo>
                      <a:pt x="1153" y="1658"/>
                    </a:lnTo>
                    <a:lnTo>
                      <a:pt x="1157" y="1676"/>
                    </a:lnTo>
                    <a:lnTo>
                      <a:pt x="1160" y="1694"/>
                    </a:lnTo>
                    <a:lnTo>
                      <a:pt x="1162" y="1713"/>
                    </a:lnTo>
                    <a:lnTo>
                      <a:pt x="1162" y="1713"/>
                    </a:lnTo>
                    <a:lnTo>
                      <a:pt x="2743" y="1713"/>
                    </a:lnTo>
                    <a:lnTo>
                      <a:pt x="2743" y="1713"/>
                    </a:lnTo>
                    <a:lnTo>
                      <a:pt x="2746" y="1694"/>
                    </a:lnTo>
                    <a:lnTo>
                      <a:pt x="2748" y="1676"/>
                    </a:lnTo>
                    <a:lnTo>
                      <a:pt x="2753" y="1658"/>
                    </a:lnTo>
                    <a:lnTo>
                      <a:pt x="2758" y="1640"/>
                    </a:lnTo>
                    <a:lnTo>
                      <a:pt x="2762" y="1622"/>
                    </a:lnTo>
                    <a:lnTo>
                      <a:pt x="2770" y="1605"/>
                    </a:lnTo>
                    <a:lnTo>
                      <a:pt x="2777" y="1588"/>
                    </a:lnTo>
                    <a:lnTo>
                      <a:pt x="2784" y="1571"/>
                    </a:lnTo>
                    <a:lnTo>
                      <a:pt x="2793" y="1555"/>
                    </a:lnTo>
                    <a:lnTo>
                      <a:pt x="2802" y="1539"/>
                    </a:lnTo>
                    <a:lnTo>
                      <a:pt x="2812" y="1525"/>
                    </a:lnTo>
                    <a:lnTo>
                      <a:pt x="2823" y="1511"/>
                    </a:lnTo>
                    <a:lnTo>
                      <a:pt x="2835" y="1496"/>
                    </a:lnTo>
                    <a:lnTo>
                      <a:pt x="2846" y="1483"/>
                    </a:lnTo>
                    <a:lnTo>
                      <a:pt x="2859" y="1469"/>
                    </a:lnTo>
                    <a:lnTo>
                      <a:pt x="2872" y="1457"/>
                    </a:lnTo>
                    <a:lnTo>
                      <a:pt x="2886" y="1445"/>
                    </a:lnTo>
                    <a:lnTo>
                      <a:pt x="2900" y="1434"/>
                    </a:lnTo>
                    <a:lnTo>
                      <a:pt x="2914" y="1424"/>
                    </a:lnTo>
                    <a:lnTo>
                      <a:pt x="2929" y="1414"/>
                    </a:lnTo>
                    <a:lnTo>
                      <a:pt x="2945" y="1404"/>
                    </a:lnTo>
                    <a:lnTo>
                      <a:pt x="2960" y="1396"/>
                    </a:lnTo>
                    <a:lnTo>
                      <a:pt x="2977" y="1389"/>
                    </a:lnTo>
                    <a:lnTo>
                      <a:pt x="2994" y="1381"/>
                    </a:lnTo>
                    <a:lnTo>
                      <a:pt x="3011" y="1374"/>
                    </a:lnTo>
                    <a:lnTo>
                      <a:pt x="3029" y="1369"/>
                    </a:lnTo>
                    <a:lnTo>
                      <a:pt x="3047" y="1365"/>
                    </a:lnTo>
                    <a:lnTo>
                      <a:pt x="3065" y="1361"/>
                    </a:lnTo>
                    <a:lnTo>
                      <a:pt x="3083" y="1357"/>
                    </a:lnTo>
                    <a:lnTo>
                      <a:pt x="3103" y="1355"/>
                    </a:lnTo>
                    <a:lnTo>
                      <a:pt x="3122" y="1354"/>
                    </a:lnTo>
                    <a:lnTo>
                      <a:pt x="3141" y="1354"/>
                    </a:lnTo>
                    <a:lnTo>
                      <a:pt x="3141" y="1354"/>
                    </a:lnTo>
                    <a:lnTo>
                      <a:pt x="3161" y="1354"/>
                    </a:lnTo>
                    <a:lnTo>
                      <a:pt x="3180" y="1355"/>
                    </a:lnTo>
                    <a:lnTo>
                      <a:pt x="3198" y="1357"/>
                    </a:lnTo>
                    <a:lnTo>
                      <a:pt x="3217" y="1361"/>
                    </a:lnTo>
                    <a:lnTo>
                      <a:pt x="3235" y="1365"/>
                    </a:lnTo>
                    <a:lnTo>
                      <a:pt x="3254" y="1369"/>
                    </a:lnTo>
                    <a:lnTo>
                      <a:pt x="3270" y="1374"/>
                    </a:lnTo>
                    <a:lnTo>
                      <a:pt x="3287" y="1381"/>
                    </a:lnTo>
                    <a:lnTo>
                      <a:pt x="3304" y="1389"/>
                    </a:lnTo>
                    <a:lnTo>
                      <a:pt x="3321" y="1396"/>
                    </a:lnTo>
                    <a:lnTo>
                      <a:pt x="3337" y="1404"/>
                    </a:lnTo>
                    <a:lnTo>
                      <a:pt x="3353" y="1414"/>
                    </a:lnTo>
                    <a:lnTo>
                      <a:pt x="3368" y="1424"/>
                    </a:lnTo>
                    <a:lnTo>
                      <a:pt x="3383" y="1434"/>
                    </a:lnTo>
                    <a:lnTo>
                      <a:pt x="3397" y="1445"/>
                    </a:lnTo>
                    <a:lnTo>
                      <a:pt x="3410" y="1457"/>
                    </a:lnTo>
                    <a:lnTo>
                      <a:pt x="3424" y="1469"/>
                    </a:lnTo>
                    <a:lnTo>
                      <a:pt x="3436" y="1483"/>
                    </a:lnTo>
                    <a:lnTo>
                      <a:pt x="3448" y="1496"/>
                    </a:lnTo>
                    <a:lnTo>
                      <a:pt x="3459" y="1511"/>
                    </a:lnTo>
                    <a:lnTo>
                      <a:pt x="3470" y="1525"/>
                    </a:lnTo>
                    <a:lnTo>
                      <a:pt x="3479" y="1539"/>
                    </a:lnTo>
                    <a:lnTo>
                      <a:pt x="3489" y="1555"/>
                    </a:lnTo>
                    <a:lnTo>
                      <a:pt x="3497" y="1571"/>
                    </a:lnTo>
                    <a:lnTo>
                      <a:pt x="3506" y="1588"/>
                    </a:lnTo>
                    <a:lnTo>
                      <a:pt x="3513" y="1605"/>
                    </a:lnTo>
                    <a:lnTo>
                      <a:pt x="3519" y="1622"/>
                    </a:lnTo>
                    <a:lnTo>
                      <a:pt x="3525" y="1640"/>
                    </a:lnTo>
                    <a:lnTo>
                      <a:pt x="3530" y="1658"/>
                    </a:lnTo>
                    <a:lnTo>
                      <a:pt x="3534" y="1676"/>
                    </a:lnTo>
                    <a:lnTo>
                      <a:pt x="3537" y="1694"/>
                    </a:lnTo>
                    <a:lnTo>
                      <a:pt x="3540" y="1713"/>
                    </a:lnTo>
                    <a:lnTo>
                      <a:pt x="3540" y="1713"/>
                    </a:lnTo>
                    <a:lnTo>
                      <a:pt x="3762" y="1713"/>
                    </a:lnTo>
                    <a:lnTo>
                      <a:pt x="3762" y="1713"/>
                    </a:lnTo>
                    <a:lnTo>
                      <a:pt x="3764" y="1694"/>
                    </a:lnTo>
                    <a:lnTo>
                      <a:pt x="3768" y="1676"/>
                    </a:lnTo>
                    <a:lnTo>
                      <a:pt x="3771" y="1658"/>
                    </a:lnTo>
                    <a:lnTo>
                      <a:pt x="3776" y="1640"/>
                    </a:lnTo>
                    <a:lnTo>
                      <a:pt x="3782" y="1622"/>
                    </a:lnTo>
                    <a:lnTo>
                      <a:pt x="3788" y="1605"/>
                    </a:lnTo>
                    <a:lnTo>
                      <a:pt x="3795" y="1588"/>
                    </a:lnTo>
                    <a:lnTo>
                      <a:pt x="3804" y="1571"/>
                    </a:lnTo>
                    <a:lnTo>
                      <a:pt x="3812" y="1555"/>
                    </a:lnTo>
                    <a:lnTo>
                      <a:pt x="3822" y="1539"/>
                    </a:lnTo>
                    <a:lnTo>
                      <a:pt x="3832" y="1525"/>
                    </a:lnTo>
                    <a:lnTo>
                      <a:pt x="3843" y="1511"/>
                    </a:lnTo>
                    <a:lnTo>
                      <a:pt x="3853" y="1496"/>
                    </a:lnTo>
                    <a:lnTo>
                      <a:pt x="3865" y="1483"/>
                    </a:lnTo>
                    <a:lnTo>
                      <a:pt x="3879" y="1469"/>
                    </a:lnTo>
                    <a:lnTo>
                      <a:pt x="3891" y="1457"/>
                    </a:lnTo>
                    <a:lnTo>
                      <a:pt x="3905" y="1445"/>
                    </a:lnTo>
                    <a:lnTo>
                      <a:pt x="3919" y="1434"/>
                    </a:lnTo>
                    <a:lnTo>
                      <a:pt x="3933" y="1424"/>
                    </a:lnTo>
                    <a:lnTo>
                      <a:pt x="3949" y="1414"/>
                    </a:lnTo>
                    <a:lnTo>
                      <a:pt x="3964" y="1404"/>
                    </a:lnTo>
                    <a:lnTo>
                      <a:pt x="3980" y="1396"/>
                    </a:lnTo>
                    <a:lnTo>
                      <a:pt x="3997" y="1389"/>
                    </a:lnTo>
                    <a:lnTo>
                      <a:pt x="4014" y="1381"/>
                    </a:lnTo>
                    <a:lnTo>
                      <a:pt x="4031" y="1374"/>
                    </a:lnTo>
                    <a:lnTo>
                      <a:pt x="4049" y="1369"/>
                    </a:lnTo>
                    <a:lnTo>
                      <a:pt x="4067" y="1365"/>
                    </a:lnTo>
                    <a:lnTo>
                      <a:pt x="4085" y="1361"/>
                    </a:lnTo>
                    <a:lnTo>
                      <a:pt x="4103" y="1357"/>
                    </a:lnTo>
                    <a:lnTo>
                      <a:pt x="4123" y="1355"/>
                    </a:lnTo>
                    <a:lnTo>
                      <a:pt x="4142" y="1354"/>
                    </a:lnTo>
                    <a:lnTo>
                      <a:pt x="4161" y="1354"/>
                    </a:lnTo>
                    <a:lnTo>
                      <a:pt x="4161" y="1354"/>
                    </a:lnTo>
                    <a:lnTo>
                      <a:pt x="4180" y="1354"/>
                    </a:lnTo>
                    <a:lnTo>
                      <a:pt x="4199" y="1355"/>
                    </a:lnTo>
                    <a:lnTo>
                      <a:pt x="4218" y="1357"/>
                    </a:lnTo>
                    <a:lnTo>
                      <a:pt x="4236" y="1361"/>
                    </a:lnTo>
                    <a:lnTo>
                      <a:pt x="4255" y="1365"/>
                    </a:lnTo>
                    <a:lnTo>
                      <a:pt x="4272" y="1369"/>
                    </a:lnTo>
                    <a:lnTo>
                      <a:pt x="4290" y="1374"/>
                    </a:lnTo>
                    <a:lnTo>
                      <a:pt x="4307" y="1381"/>
                    </a:lnTo>
                    <a:lnTo>
                      <a:pt x="4324" y="1389"/>
                    </a:lnTo>
                    <a:lnTo>
                      <a:pt x="4341" y="1396"/>
                    </a:lnTo>
                    <a:lnTo>
                      <a:pt x="4357" y="1404"/>
                    </a:lnTo>
                    <a:lnTo>
                      <a:pt x="4372" y="1414"/>
                    </a:lnTo>
                    <a:lnTo>
                      <a:pt x="4388" y="1424"/>
                    </a:lnTo>
                    <a:lnTo>
                      <a:pt x="4402" y="1434"/>
                    </a:lnTo>
                    <a:lnTo>
                      <a:pt x="4416" y="1445"/>
                    </a:lnTo>
                    <a:lnTo>
                      <a:pt x="4430" y="1457"/>
                    </a:lnTo>
                    <a:lnTo>
                      <a:pt x="4444" y="1469"/>
                    </a:lnTo>
                    <a:lnTo>
                      <a:pt x="4456" y="1483"/>
                    </a:lnTo>
                    <a:lnTo>
                      <a:pt x="4468" y="1496"/>
                    </a:lnTo>
                    <a:lnTo>
                      <a:pt x="4479" y="1511"/>
                    </a:lnTo>
                    <a:lnTo>
                      <a:pt x="4489" y="1525"/>
                    </a:lnTo>
                    <a:lnTo>
                      <a:pt x="4499" y="1539"/>
                    </a:lnTo>
                    <a:lnTo>
                      <a:pt x="4509" y="1555"/>
                    </a:lnTo>
                    <a:lnTo>
                      <a:pt x="4517" y="1571"/>
                    </a:lnTo>
                    <a:lnTo>
                      <a:pt x="4526" y="1588"/>
                    </a:lnTo>
                    <a:lnTo>
                      <a:pt x="4533" y="1605"/>
                    </a:lnTo>
                    <a:lnTo>
                      <a:pt x="4539" y="1622"/>
                    </a:lnTo>
                    <a:lnTo>
                      <a:pt x="4545" y="1640"/>
                    </a:lnTo>
                    <a:lnTo>
                      <a:pt x="4550" y="1658"/>
                    </a:lnTo>
                    <a:lnTo>
                      <a:pt x="4553" y="1676"/>
                    </a:lnTo>
                    <a:lnTo>
                      <a:pt x="4557" y="1694"/>
                    </a:lnTo>
                    <a:lnTo>
                      <a:pt x="4559" y="1713"/>
                    </a:lnTo>
                    <a:lnTo>
                      <a:pt x="4559" y="1713"/>
                    </a:lnTo>
                    <a:lnTo>
                      <a:pt x="4796" y="1713"/>
                    </a:lnTo>
                    <a:lnTo>
                      <a:pt x="4796" y="1713"/>
                    </a:lnTo>
                    <a:lnTo>
                      <a:pt x="4796" y="1696"/>
                    </a:lnTo>
                    <a:lnTo>
                      <a:pt x="4796" y="1678"/>
                    </a:lnTo>
                    <a:lnTo>
                      <a:pt x="4798" y="1659"/>
                    </a:lnTo>
                    <a:lnTo>
                      <a:pt x="4802" y="1638"/>
                    </a:lnTo>
                    <a:lnTo>
                      <a:pt x="4806" y="1617"/>
                    </a:lnTo>
                    <a:lnTo>
                      <a:pt x="4812" y="1595"/>
                    </a:lnTo>
                    <a:lnTo>
                      <a:pt x="4825" y="1549"/>
                    </a:lnTo>
                    <a:lnTo>
                      <a:pt x="4842" y="1501"/>
                    </a:lnTo>
                    <a:lnTo>
                      <a:pt x="4861" y="1451"/>
                    </a:lnTo>
                    <a:lnTo>
                      <a:pt x="4883" y="1402"/>
                    </a:lnTo>
                    <a:lnTo>
                      <a:pt x="4905" y="1355"/>
                    </a:lnTo>
                    <a:lnTo>
                      <a:pt x="4926" y="1309"/>
                    </a:lnTo>
                    <a:lnTo>
                      <a:pt x="4948" y="1266"/>
                    </a:lnTo>
                    <a:lnTo>
                      <a:pt x="4987" y="1193"/>
                    </a:lnTo>
                    <a:lnTo>
                      <a:pt x="5014" y="1144"/>
                    </a:lnTo>
                    <a:lnTo>
                      <a:pt x="5024" y="1126"/>
                    </a:lnTo>
                    <a:lnTo>
                      <a:pt x="5024" y="1126"/>
                    </a:lnTo>
                    <a:close/>
                  </a:path>
                </a:pathLst>
              </a:custGeom>
              <a:solidFill>
                <a:srgbClr val="7EB1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9" name="Freeform 23"/>
              <p:cNvSpPr>
                <a:spLocks/>
              </p:cNvSpPr>
              <p:nvPr/>
            </p:nvSpPr>
            <p:spPr bwMode="auto">
              <a:xfrm flipH="1">
                <a:off x="11525250" y="5819775"/>
                <a:ext cx="425451" cy="249237"/>
              </a:xfrm>
              <a:custGeom>
                <a:avLst/>
                <a:gdLst>
                  <a:gd name="T0" fmla="*/ 1074 w 1075"/>
                  <a:gd name="T1" fmla="*/ 629 h 629"/>
                  <a:gd name="T2" fmla="*/ 1074 w 1075"/>
                  <a:gd name="T3" fmla="*/ 629 h 629"/>
                  <a:gd name="T4" fmla="*/ 1075 w 1075"/>
                  <a:gd name="T5" fmla="*/ 471 h 629"/>
                  <a:gd name="T6" fmla="*/ 1075 w 1075"/>
                  <a:gd name="T7" fmla="*/ 312 h 629"/>
                  <a:gd name="T8" fmla="*/ 1074 w 1075"/>
                  <a:gd name="T9" fmla="*/ 155 h 629"/>
                  <a:gd name="T10" fmla="*/ 1072 w 1075"/>
                  <a:gd name="T11" fmla="*/ 77 h 629"/>
                  <a:gd name="T12" fmla="*/ 1070 w 1075"/>
                  <a:gd name="T13" fmla="*/ 0 h 629"/>
                  <a:gd name="T14" fmla="*/ 1070 w 1075"/>
                  <a:gd name="T15" fmla="*/ 0 h 629"/>
                  <a:gd name="T16" fmla="*/ 958 w 1075"/>
                  <a:gd name="T17" fmla="*/ 8 h 629"/>
                  <a:gd name="T18" fmla="*/ 905 w 1075"/>
                  <a:gd name="T19" fmla="*/ 13 h 629"/>
                  <a:gd name="T20" fmla="*/ 853 w 1075"/>
                  <a:gd name="T21" fmla="*/ 18 h 629"/>
                  <a:gd name="T22" fmla="*/ 804 w 1075"/>
                  <a:gd name="T23" fmla="*/ 24 h 629"/>
                  <a:gd name="T24" fmla="*/ 757 w 1075"/>
                  <a:gd name="T25" fmla="*/ 31 h 629"/>
                  <a:gd name="T26" fmla="*/ 711 w 1075"/>
                  <a:gd name="T27" fmla="*/ 38 h 629"/>
                  <a:gd name="T28" fmla="*/ 666 w 1075"/>
                  <a:gd name="T29" fmla="*/ 47 h 629"/>
                  <a:gd name="T30" fmla="*/ 624 w 1075"/>
                  <a:gd name="T31" fmla="*/ 56 h 629"/>
                  <a:gd name="T32" fmla="*/ 583 w 1075"/>
                  <a:gd name="T33" fmla="*/ 67 h 629"/>
                  <a:gd name="T34" fmla="*/ 543 w 1075"/>
                  <a:gd name="T35" fmla="*/ 79 h 629"/>
                  <a:gd name="T36" fmla="*/ 506 w 1075"/>
                  <a:gd name="T37" fmla="*/ 93 h 629"/>
                  <a:gd name="T38" fmla="*/ 468 w 1075"/>
                  <a:gd name="T39" fmla="*/ 107 h 629"/>
                  <a:gd name="T40" fmla="*/ 433 w 1075"/>
                  <a:gd name="T41" fmla="*/ 123 h 629"/>
                  <a:gd name="T42" fmla="*/ 399 w 1075"/>
                  <a:gd name="T43" fmla="*/ 140 h 629"/>
                  <a:gd name="T44" fmla="*/ 366 w 1075"/>
                  <a:gd name="T45" fmla="*/ 158 h 629"/>
                  <a:gd name="T46" fmla="*/ 366 w 1075"/>
                  <a:gd name="T47" fmla="*/ 158 h 629"/>
                  <a:gd name="T48" fmla="*/ 337 w 1075"/>
                  <a:gd name="T49" fmla="*/ 177 h 629"/>
                  <a:gd name="T50" fmla="*/ 309 w 1075"/>
                  <a:gd name="T51" fmla="*/ 198 h 629"/>
                  <a:gd name="T52" fmla="*/ 281 w 1075"/>
                  <a:gd name="T53" fmla="*/ 219 h 629"/>
                  <a:gd name="T54" fmla="*/ 255 w 1075"/>
                  <a:gd name="T55" fmla="*/ 243 h 629"/>
                  <a:gd name="T56" fmla="*/ 229 w 1075"/>
                  <a:gd name="T57" fmla="*/ 269 h 629"/>
                  <a:gd name="T58" fmla="*/ 204 w 1075"/>
                  <a:gd name="T59" fmla="*/ 296 h 629"/>
                  <a:gd name="T60" fmla="*/ 180 w 1075"/>
                  <a:gd name="T61" fmla="*/ 324 h 629"/>
                  <a:gd name="T62" fmla="*/ 157 w 1075"/>
                  <a:gd name="T63" fmla="*/ 354 h 629"/>
                  <a:gd name="T64" fmla="*/ 134 w 1075"/>
                  <a:gd name="T65" fmla="*/ 386 h 629"/>
                  <a:gd name="T66" fmla="*/ 112 w 1075"/>
                  <a:gd name="T67" fmla="*/ 418 h 629"/>
                  <a:gd name="T68" fmla="*/ 92 w 1075"/>
                  <a:gd name="T69" fmla="*/ 451 h 629"/>
                  <a:gd name="T70" fmla="*/ 72 w 1075"/>
                  <a:gd name="T71" fmla="*/ 486 h 629"/>
                  <a:gd name="T72" fmla="*/ 53 w 1075"/>
                  <a:gd name="T73" fmla="*/ 521 h 629"/>
                  <a:gd name="T74" fmla="*/ 35 w 1075"/>
                  <a:gd name="T75" fmla="*/ 556 h 629"/>
                  <a:gd name="T76" fmla="*/ 17 w 1075"/>
                  <a:gd name="T77" fmla="*/ 592 h 629"/>
                  <a:gd name="T78" fmla="*/ 0 w 1075"/>
                  <a:gd name="T79" fmla="*/ 629 h 629"/>
                  <a:gd name="T80" fmla="*/ 1074 w 1075"/>
                  <a:gd name="T81" fmla="*/ 629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5" h="629">
                    <a:moveTo>
                      <a:pt x="1074" y="629"/>
                    </a:moveTo>
                    <a:lnTo>
                      <a:pt x="1074" y="629"/>
                    </a:lnTo>
                    <a:lnTo>
                      <a:pt x="1075" y="471"/>
                    </a:lnTo>
                    <a:lnTo>
                      <a:pt x="1075" y="312"/>
                    </a:lnTo>
                    <a:lnTo>
                      <a:pt x="1074" y="155"/>
                    </a:lnTo>
                    <a:lnTo>
                      <a:pt x="1072" y="77"/>
                    </a:lnTo>
                    <a:lnTo>
                      <a:pt x="1070" y="0"/>
                    </a:lnTo>
                    <a:lnTo>
                      <a:pt x="1070" y="0"/>
                    </a:lnTo>
                    <a:lnTo>
                      <a:pt x="958" y="8"/>
                    </a:lnTo>
                    <a:lnTo>
                      <a:pt x="905" y="13"/>
                    </a:lnTo>
                    <a:lnTo>
                      <a:pt x="853" y="18"/>
                    </a:lnTo>
                    <a:lnTo>
                      <a:pt x="804" y="24"/>
                    </a:lnTo>
                    <a:lnTo>
                      <a:pt x="757" y="31"/>
                    </a:lnTo>
                    <a:lnTo>
                      <a:pt x="711" y="38"/>
                    </a:lnTo>
                    <a:lnTo>
                      <a:pt x="666" y="47"/>
                    </a:lnTo>
                    <a:lnTo>
                      <a:pt x="624" y="56"/>
                    </a:lnTo>
                    <a:lnTo>
                      <a:pt x="583" y="67"/>
                    </a:lnTo>
                    <a:lnTo>
                      <a:pt x="543" y="79"/>
                    </a:lnTo>
                    <a:lnTo>
                      <a:pt x="506" y="93"/>
                    </a:lnTo>
                    <a:lnTo>
                      <a:pt x="468" y="107"/>
                    </a:lnTo>
                    <a:lnTo>
                      <a:pt x="433" y="123"/>
                    </a:lnTo>
                    <a:lnTo>
                      <a:pt x="399" y="140"/>
                    </a:lnTo>
                    <a:lnTo>
                      <a:pt x="366" y="158"/>
                    </a:lnTo>
                    <a:lnTo>
                      <a:pt x="366" y="158"/>
                    </a:lnTo>
                    <a:lnTo>
                      <a:pt x="337" y="177"/>
                    </a:lnTo>
                    <a:lnTo>
                      <a:pt x="309" y="198"/>
                    </a:lnTo>
                    <a:lnTo>
                      <a:pt x="281" y="219"/>
                    </a:lnTo>
                    <a:lnTo>
                      <a:pt x="255" y="243"/>
                    </a:lnTo>
                    <a:lnTo>
                      <a:pt x="229" y="269"/>
                    </a:lnTo>
                    <a:lnTo>
                      <a:pt x="204" y="296"/>
                    </a:lnTo>
                    <a:lnTo>
                      <a:pt x="180" y="324"/>
                    </a:lnTo>
                    <a:lnTo>
                      <a:pt x="157" y="354"/>
                    </a:lnTo>
                    <a:lnTo>
                      <a:pt x="134" y="386"/>
                    </a:lnTo>
                    <a:lnTo>
                      <a:pt x="112" y="418"/>
                    </a:lnTo>
                    <a:lnTo>
                      <a:pt x="92" y="451"/>
                    </a:lnTo>
                    <a:lnTo>
                      <a:pt x="72" y="486"/>
                    </a:lnTo>
                    <a:lnTo>
                      <a:pt x="53" y="521"/>
                    </a:lnTo>
                    <a:lnTo>
                      <a:pt x="35" y="556"/>
                    </a:lnTo>
                    <a:lnTo>
                      <a:pt x="17" y="592"/>
                    </a:lnTo>
                    <a:lnTo>
                      <a:pt x="0" y="629"/>
                    </a:lnTo>
                    <a:lnTo>
                      <a:pt x="1074" y="629"/>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620" name="Group 619"/>
            <p:cNvGrpSpPr/>
            <p:nvPr/>
          </p:nvGrpSpPr>
          <p:grpSpPr>
            <a:xfrm flipH="1">
              <a:off x="8101209" y="2748052"/>
              <a:ext cx="133760" cy="221193"/>
              <a:chOff x="1431982" y="3952664"/>
              <a:chExt cx="235376" cy="389231"/>
            </a:xfrm>
          </p:grpSpPr>
          <p:sp>
            <p:nvSpPr>
              <p:cNvPr id="637" name="Oval 636"/>
              <p:cNvSpPr/>
              <p:nvPr/>
            </p:nvSpPr>
            <p:spPr bwMode="auto">
              <a:xfrm>
                <a:off x="1455850" y="3982329"/>
                <a:ext cx="180319" cy="18031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39" name="Freeform 224"/>
              <p:cNvSpPr>
                <a:spLocks/>
              </p:cNvSpPr>
              <p:nvPr/>
            </p:nvSpPr>
            <p:spPr bwMode="auto">
              <a:xfrm>
                <a:off x="1431982" y="3952664"/>
                <a:ext cx="235376" cy="389231"/>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3"/>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715" name="Rectangle 818"/>
          <p:cNvSpPr/>
          <p:nvPr/>
        </p:nvSpPr>
        <p:spPr bwMode="auto">
          <a:xfrm>
            <a:off x="198972" y="1148861"/>
            <a:ext cx="9675102" cy="5361070"/>
          </a:xfrm>
          <a:custGeom>
            <a:avLst/>
            <a:gdLst/>
            <a:ahLst/>
            <a:cxnLst/>
            <a:rect l="l" t="t" r="r" b="b"/>
            <a:pathLst>
              <a:path w="9675102" h="5361070">
                <a:moveTo>
                  <a:pt x="5068127" y="0"/>
                </a:moveTo>
                <a:lnTo>
                  <a:pt x="9675102" y="8099"/>
                </a:lnTo>
                <a:lnTo>
                  <a:pt x="9675102" y="5361070"/>
                </a:lnTo>
                <a:lnTo>
                  <a:pt x="0" y="5361070"/>
                </a:lnTo>
                <a:lnTo>
                  <a:pt x="1678" y="2765328"/>
                </a:lnTo>
                <a:lnTo>
                  <a:pt x="5068127" y="2765328"/>
                </a:lnTo>
                <a:close/>
              </a:path>
            </a:pathLst>
          </a:cu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44" name="Group 1243"/>
          <p:cNvGrpSpPr/>
          <p:nvPr/>
        </p:nvGrpSpPr>
        <p:grpSpPr>
          <a:xfrm>
            <a:off x="3841306" y="3990726"/>
            <a:ext cx="974462" cy="543518"/>
            <a:chOff x="2280054" y="3320069"/>
            <a:chExt cx="1211551" cy="675757"/>
          </a:xfrm>
        </p:grpSpPr>
        <p:sp>
          <p:nvSpPr>
            <p:cNvPr id="722" name="Rectangle 721"/>
            <p:cNvSpPr/>
            <p:nvPr/>
          </p:nvSpPr>
          <p:spPr bwMode="auto">
            <a:xfrm>
              <a:off x="2364609" y="3521755"/>
              <a:ext cx="1113939" cy="193034"/>
            </a:xfrm>
            <a:custGeom>
              <a:avLst/>
              <a:gdLst>
                <a:gd name="connsiteX0" fmla="*/ 0 w 877466"/>
                <a:gd name="connsiteY0" fmla="*/ 0 h 155259"/>
                <a:gd name="connsiteX1" fmla="*/ 877466 w 877466"/>
                <a:gd name="connsiteY1" fmla="*/ 0 h 155259"/>
                <a:gd name="connsiteX2" fmla="*/ 877466 w 877466"/>
                <a:gd name="connsiteY2" fmla="*/ 155259 h 155259"/>
                <a:gd name="connsiteX3" fmla="*/ 0 w 877466"/>
                <a:gd name="connsiteY3" fmla="*/ 155259 h 155259"/>
                <a:gd name="connsiteX4" fmla="*/ 0 w 877466"/>
                <a:gd name="connsiteY4" fmla="*/ 0 h 155259"/>
                <a:gd name="connsiteX0" fmla="*/ 47065 w 877466"/>
                <a:gd name="connsiteY0" fmla="*/ 0 h 155259"/>
                <a:gd name="connsiteX1" fmla="*/ 877466 w 877466"/>
                <a:gd name="connsiteY1" fmla="*/ 0 h 155259"/>
                <a:gd name="connsiteX2" fmla="*/ 877466 w 877466"/>
                <a:gd name="connsiteY2" fmla="*/ 155259 h 155259"/>
                <a:gd name="connsiteX3" fmla="*/ 0 w 877466"/>
                <a:gd name="connsiteY3" fmla="*/ 155259 h 155259"/>
                <a:gd name="connsiteX4" fmla="*/ 47065 w 877466"/>
                <a:gd name="connsiteY4" fmla="*/ 0 h 15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466" h="155259">
                  <a:moveTo>
                    <a:pt x="47065" y="0"/>
                  </a:moveTo>
                  <a:lnTo>
                    <a:pt x="877466" y="0"/>
                  </a:lnTo>
                  <a:lnTo>
                    <a:pt x="877466" y="155259"/>
                  </a:lnTo>
                  <a:lnTo>
                    <a:pt x="0" y="155259"/>
                  </a:lnTo>
                  <a:lnTo>
                    <a:pt x="47065" y="0"/>
                  </a:lnTo>
                  <a:close/>
                </a:path>
              </a:pathLst>
            </a:custGeom>
            <a:solidFill>
              <a:schemeClr val="tx1"/>
            </a:solidFill>
            <a:ln w="19050">
              <a:solidFill>
                <a:schemeClr val="tx1">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25" name="Freeform 207"/>
            <p:cNvSpPr>
              <a:spLocks noEditPoints="1"/>
            </p:cNvSpPr>
            <p:nvPr/>
          </p:nvSpPr>
          <p:spPr bwMode="auto">
            <a:xfrm>
              <a:off x="2280054" y="3444049"/>
              <a:ext cx="148609" cy="90067"/>
            </a:xfrm>
            <a:custGeom>
              <a:avLst/>
              <a:gdLst>
                <a:gd name="T0" fmla="*/ 106 w 198"/>
                <a:gd name="T1" fmla="*/ 106 h 120"/>
                <a:gd name="T2" fmla="*/ 104 w 198"/>
                <a:gd name="T3" fmla="*/ 106 h 120"/>
                <a:gd name="T4" fmla="*/ 100 w 198"/>
                <a:gd name="T5" fmla="*/ 100 h 120"/>
                <a:gd name="T6" fmla="*/ 127 w 198"/>
                <a:gd name="T7" fmla="*/ 80 h 120"/>
                <a:gd name="T8" fmla="*/ 131 w 198"/>
                <a:gd name="T9" fmla="*/ 79 h 120"/>
                <a:gd name="T10" fmla="*/ 134 w 198"/>
                <a:gd name="T11" fmla="*/ 71 h 120"/>
                <a:gd name="T12" fmla="*/ 112 w 198"/>
                <a:gd name="T13" fmla="*/ 7 h 120"/>
                <a:gd name="T14" fmla="*/ 110 w 198"/>
                <a:gd name="T15" fmla="*/ 3 h 120"/>
                <a:gd name="T16" fmla="*/ 102 w 198"/>
                <a:gd name="T17" fmla="*/ 0 h 120"/>
                <a:gd name="T18" fmla="*/ 27 w 198"/>
                <a:gd name="T19" fmla="*/ 25 h 120"/>
                <a:gd name="T20" fmla="*/ 23 w 198"/>
                <a:gd name="T21" fmla="*/ 27 h 120"/>
                <a:gd name="T22" fmla="*/ 19 w 198"/>
                <a:gd name="T23" fmla="*/ 35 h 120"/>
                <a:gd name="T24" fmla="*/ 24 w 198"/>
                <a:gd name="T25" fmla="*/ 54 h 120"/>
                <a:gd name="T26" fmla="*/ 14 w 198"/>
                <a:gd name="T27" fmla="*/ 55 h 120"/>
                <a:gd name="T28" fmla="*/ 12 w 198"/>
                <a:gd name="T29" fmla="*/ 54 h 120"/>
                <a:gd name="T30" fmla="*/ 7 w 198"/>
                <a:gd name="T31" fmla="*/ 51 h 120"/>
                <a:gd name="T32" fmla="*/ 4 w 198"/>
                <a:gd name="T33" fmla="*/ 51 h 120"/>
                <a:gd name="T34" fmla="*/ 0 w 198"/>
                <a:gd name="T35" fmla="*/ 55 h 120"/>
                <a:gd name="T36" fmla="*/ 0 w 198"/>
                <a:gd name="T37" fmla="*/ 60 h 120"/>
                <a:gd name="T38" fmla="*/ 12 w 198"/>
                <a:gd name="T39" fmla="*/ 95 h 120"/>
                <a:gd name="T40" fmla="*/ 16 w 198"/>
                <a:gd name="T41" fmla="*/ 99 h 120"/>
                <a:gd name="T42" fmla="*/ 22 w 198"/>
                <a:gd name="T43" fmla="*/ 99 h 120"/>
                <a:gd name="T44" fmla="*/ 24 w 198"/>
                <a:gd name="T45" fmla="*/ 98 h 120"/>
                <a:gd name="T46" fmla="*/ 27 w 198"/>
                <a:gd name="T47" fmla="*/ 94 h 120"/>
                <a:gd name="T48" fmla="*/ 26 w 198"/>
                <a:gd name="T49" fmla="*/ 88 h 120"/>
                <a:gd name="T50" fmla="*/ 35 w 198"/>
                <a:gd name="T51" fmla="*/ 84 h 120"/>
                <a:gd name="T52" fmla="*/ 40 w 198"/>
                <a:gd name="T53" fmla="*/ 99 h 120"/>
                <a:gd name="T54" fmla="*/ 47 w 198"/>
                <a:gd name="T55" fmla="*/ 104 h 120"/>
                <a:gd name="T56" fmla="*/ 55 w 198"/>
                <a:gd name="T57" fmla="*/ 106 h 120"/>
                <a:gd name="T58" fmla="*/ 87 w 198"/>
                <a:gd name="T59" fmla="*/ 112 h 120"/>
                <a:gd name="T60" fmla="*/ 90 w 198"/>
                <a:gd name="T61" fmla="*/ 115 h 120"/>
                <a:gd name="T62" fmla="*/ 95 w 198"/>
                <a:gd name="T63" fmla="*/ 119 h 120"/>
                <a:gd name="T64" fmla="*/ 198 w 198"/>
                <a:gd name="T65" fmla="*/ 120 h 120"/>
                <a:gd name="T66" fmla="*/ 90 w 198"/>
                <a:gd name="T67" fmla="*/ 23 h 120"/>
                <a:gd name="T68" fmla="*/ 90 w 198"/>
                <a:gd name="T69" fmla="*/ 20 h 120"/>
                <a:gd name="T70" fmla="*/ 94 w 198"/>
                <a:gd name="T71" fmla="*/ 17 h 120"/>
                <a:gd name="T72" fmla="*/ 96 w 198"/>
                <a:gd name="T73" fmla="*/ 16 h 120"/>
                <a:gd name="T74" fmla="*/ 102 w 198"/>
                <a:gd name="T75" fmla="*/ 19 h 120"/>
                <a:gd name="T76" fmla="*/ 103 w 198"/>
                <a:gd name="T77" fmla="*/ 23 h 120"/>
                <a:gd name="T78" fmla="*/ 103 w 198"/>
                <a:gd name="T79" fmla="*/ 27 h 120"/>
                <a:gd name="T80" fmla="*/ 99 w 198"/>
                <a:gd name="T81" fmla="*/ 29 h 120"/>
                <a:gd name="T82" fmla="*/ 96 w 198"/>
                <a:gd name="T83" fmla="*/ 31 h 120"/>
                <a:gd name="T84" fmla="*/ 91 w 198"/>
                <a:gd name="T85" fmla="*/ 28 h 120"/>
                <a:gd name="T86" fmla="*/ 90 w 198"/>
                <a:gd name="T87"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 h="120">
                  <a:moveTo>
                    <a:pt x="198" y="106"/>
                  </a:moveTo>
                  <a:lnTo>
                    <a:pt x="106" y="106"/>
                  </a:lnTo>
                  <a:lnTo>
                    <a:pt x="106" y="106"/>
                  </a:lnTo>
                  <a:lnTo>
                    <a:pt x="104" y="106"/>
                  </a:lnTo>
                  <a:lnTo>
                    <a:pt x="103" y="104"/>
                  </a:lnTo>
                  <a:lnTo>
                    <a:pt x="100" y="100"/>
                  </a:lnTo>
                  <a:lnTo>
                    <a:pt x="98" y="91"/>
                  </a:lnTo>
                  <a:lnTo>
                    <a:pt x="127" y="80"/>
                  </a:lnTo>
                  <a:lnTo>
                    <a:pt x="127" y="80"/>
                  </a:lnTo>
                  <a:lnTo>
                    <a:pt x="131" y="79"/>
                  </a:lnTo>
                  <a:lnTo>
                    <a:pt x="132" y="75"/>
                  </a:lnTo>
                  <a:lnTo>
                    <a:pt x="134" y="71"/>
                  </a:lnTo>
                  <a:lnTo>
                    <a:pt x="134" y="66"/>
                  </a:lnTo>
                  <a:lnTo>
                    <a:pt x="112" y="7"/>
                  </a:lnTo>
                  <a:lnTo>
                    <a:pt x="112" y="7"/>
                  </a:lnTo>
                  <a:lnTo>
                    <a:pt x="110" y="3"/>
                  </a:lnTo>
                  <a:lnTo>
                    <a:pt x="107" y="1"/>
                  </a:lnTo>
                  <a:lnTo>
                    <a:pt x="102" y="0"/>
                  </a:lnTo>
                  <a:lnTo>
                    <a:pt x="98" y="0"/>
                  </a:lnTo>
                  <a:lnTo>
                    <a:pt x="27" y="25"/>
                  </a:lnTo>
                  <a:lnTo>
                    <a:pt x="27" y="25"/>
                  </a:lnTo>
                  <a:lnTo>
                    <a:pt x="23" y="27"/>
                  </a:lnTo>
                  <a:lnTo>
                    <a:pt x="20" y="31"/>
                  </a:lnTo>
                  <a:lnTo>
                    <a:pt x="19" y="35"/>
                  </a:lnTo>
                  <a:lnTo>
                    <a:pt x="20" y="40"/>
                  </a:lnTo>
                  <a:lnTo>
                    <a:pt x="24" y="54"/>
                  </a:lnTo>
                  <a:lnTo>
                    <a:pt x="14" y="56"/>
                  </a:lnTo>
                  <a:lnTo>
                    <a:pt x="14" y="55"/>
                  </a:lnTo>
                  <a:lnTo>
                    <a:pt x="14" y="55"/>
                  </a:lnTo>
                  <a:lnTo>
                    <a:pt x="12" y="54"/>
                  </a:lnTo>
                  <a:lnTo>
                    <a:pt x="10" y="51"/>
                  </a:lnTo>
                  <a:lnTo>
                    <a:pt x="7" y="51"/>
                  </a:lnTo>
                  <a:lnTo>
                    <a:pt x="4" y="51"/>
                  </a:lnTo>
                  <a:lnTo>
                    <a:pt x="4" y="51"/>
                  </a:lnTo>
                  <a:lnTo>
                    <a:pt x="2" y="52"/>
                  </a:lnTo>
                  <a:lnTo>
                    <a:pt x="0" y="55"/>
                  </a:lnTo>
                  <a:lnTo>
                    <a:pt x="0" y="58"/>
                  </a:lnTo>
                  <a:lnTo>
                    <a:pt x="0" y="60"/>
                  </a:lnTo>
                  <a:lnTo>
                    <a:pt x="12" y="95"/>
                  </a:lnTo>
                  <a:lnTo>
                    <a:pt x="12" y="95"/>
                  </a:lnTo>
                  <a:lnTo>
                    <a:pt x="15" y="98"/>
                  </a:lnTo>
                  <a:lnTo>
                    <a:pt x="16" y="99"/>
                  </a:lnTo>
                  <a:lnTo>
                    <a:pt x="19" y="100"/>
                  </a:lnTo>
                  <a:lnTo>
                    <a:pt x="22" y="99"/>
                  </a:lnTo>
                  <a:lnTo>
                    <a:pt x="22" y="99"/>
                  </a:lnTo>
                  <a:lnTo>
                    <a:pt x="24" y="98"/>
                  </a:lnTo>
                  <a:lnTo>
                    <a:pt x="26" y="96"/>
                  </a:lnTo>
                  <a:lnTo>
                    <a:pt x="27" y="94"/>
                  </a:lnTo>
                  <a:lnTo>
                    <a:pt x="26" y="91"/>
                  </a:lnTo>
                  <a:lnTo>
                    <a:pt x="26" y="88"/>
                  </a:lnTo>
                  <a:lnTo>
                    <a:pt x="30" y="86"/>
                  </a:lnTo>
                  <a:lnTo>
                    <a:pt x="35" y="84"/>
                  </a:lnTo>
                  <a:lnTo>
                    <a:pt x="40" y="99"/>
                  </a:lnTo>
                  <a:lnTo>
                    <a:pt x="40" y="99"/>
                  </a:lnTo>
                  <a:lnTo>
                    <a:pt x="43" y="103"/>
                  </a:lnTo>
                  <a:lnTo>
                    <a:pt x="47" y="104"/>
                  </a:lnTo>
                  <a:lnTo>
                    <a:pt x="51" y="106"/>
                  </a:lnTo>
                  <a:lnTo>
                    <a:pt x="55" y="106"/>
                  </a:lnTo>
                  <a:lnTo>
                    <a:pt x="83" y="95"/>
                  </a:lnTo>
                  <a:lnTo>
                    <a:pt x="87" y="112"/>
                  </a:lnTo>
                  <a:lnTo>
                    <a:pt x="87" y="112"/>
                  </a:lnTo>
                  <a:lnTo>
                    <a:pt x="90" y="115"/>
                  </a:lnTo>
                  <a:lnTo>
                    <a:pt x="92" y="118"/>
                  </a:lnTo>
                  <a:lnTo>
                    <a:pt x="95" y="119"/>
                  </a:lnTo>
                  <a:lnTo>
                    <a:pt x="99" y="120"/>
                  </a:lnTo>
                  <a:lnTo>
                    <a:pt x="198" y="120"/>
                  </a:lnTo>
                  <a:lnTo>
                    <a:pt x="198" y="106"/>
                  </a:lnTo>
                  <a:close/>
                  <a:moveTo>
                    <a:pt x="90" y="23"/>
                  </a:moveTo>
                  <a:lnTo>
                    <a:pt x="90" y="23"/>
                  </a:lnTo>
                  <a:lnTo>
                    <a:pt x="90" y="20"/>
                  </a:lnTo>
                  <a:lnTo>
                    <a:pt x="91" y="19"/>
                  </a:lnTo>
                  <a:lnTo>
                    <a:pt x="94" y="17"/>
                  </a:lnTo>
                  <a:lnTo>
                    <a:pt x="96" y="16"/>
                  </a:lnTo>
                  <a:lnTo>
                    <a:pt x="96" y="16"/>
                  </a:lnTo>
                  <a:lnTo>
                    <a:pt x="99" y="17"/>
                  </a:lnTo>
                  <a:lnTo>
                    <a:pt x="102" y="19"/>
                  </a:lnTo>
                  <a:lnTo>
                    <a:pt x="103" y="20"/>
                  </a:lnTo>
                  <a:lnTo>
                    <a:pt x="103" y="23"/>
                  </a:lnTo>
                  <a:lnTo>
                    <a:pt x="103" y="23"/>
                  </a:lnTo>
                  <a:lnTo>
                    <a:pt x="103" y="27"/>
                  </a:lnTo>
                  <a:lnTo>
                    <a:pt x="102" y="28"/>
                  </a:lnTo>
                  <a:lnTo>
                    <a:pt x="99" y="29"/>
                  </a:lnTo>
                  <a:lnTo>
                    <a:pt x="96" y="31"/>
                  </a:lnTo>
                  <a:lnTo>
                    <a:pt x="96" y="31"/>
                  </a:lnTo>
                  <a:lnTo>
                    <a:pt x="94" y="29"/>
                  </a:lnTo>
                  <a:lnTo>
                    <a:pt x="91" y="28"/>
                  </a:lnTo>
                  <a:lnTo>
                    <a:pt x="90" y="27"/>
                  </a:lnTo>
                  <a:lnTo>
                    <a:pt x="90" y="23"/>
                  </a:lnTo>
                  <a:lnTo>
                    <a:pt x="90" y="23"/>
                  </a:lnTo>
                  <a:close/>
                </a:path>
              </a:pathLst>
            </a:custGeom>
            <a:solidFill>
              <a:schemeClr val="bg2">
                <a:lumMod val="7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6" name="Freeform 7"/>
            <p:cNvSpPr>
              <a:spLocks/>
            </p:cNvSpPr>
            <p:nvPr/>
          </p:nvSpPr>
          <p:spPr bwMode="auto">
            <a:xfrm>
              <a:off x="2427407" y="3814955"/>
              <a:ext cx="182975" cy="180871"/>
            </a:xfrm>
            <a:custGeom>
              <a:avLst/>
              <a:gdLst>
                <a:gd name="T0" fmla="*/ 130 w 260"/>
                <a:gd name="T1" fmla="*/ 258 h 258"/>
                <a:gd name="T2" fmla="*/ 130 w 260"/>
                <a:gd name="T3" fmla="*/ 258 h 258"/>
                <a:gd name="T4" fmla="*/ 130 w 260"/>
                <a:gd name="T5" fmla="*/ 258 h 258"/>
                <a:gd name="T6" fmla="*/ 103 w 260"/>
                <a:gd name="T7" fmla="*/ 256 h 258"/>
                <a:gd name="T8" fmla="*/ 79 w 260"/>
                <a:gd name="T9" fmla="*/ 249 h 258"/>
                <a:gd name="T10" fmla="*/ 58 w 260"/>
                <a:gd name="T11" fmla="*/ 237 h 258"/>
                <a:gd name="T12" fmla="*/ 39 w 260"/>
                <a:gd name="T13" fmla="*/ 221 h 258"/>
                <a:gd name="T14" fmla="*/ 23 w 260"/>
                <a:gd name="T15" fmla="*/ 202 h 258"/>
                <a:gd name="T16" fmla="*/ 11 w 260"/>
                <a:gd name="T17" fmla="*/ 179 h 258"/>
                <a:gd name="T18" fmla="*/ 3 w 260"/>
                <a:gd name="T19" fmla="*/ 155 h 258"/>
                <a:gd name="T20" fmla="*/ 0 w 260"/>
                <a:gd name="T21" fmla="*/ 130 h 258"/>
                <a:gd name="T22" fmla="*/ 0 w 260"/>
                <a:gd name="T23" fmla="*/ 130 h 258"/>
                <a:gd name="T24" fmla="*/ 0 w 260"/>
                <a:gd name="T25" fmla="*/ 127 h 258"/>
                <a:gd name="T26" fmla="*/ 2 w 260"/>
                <a:gd name="T27" fmla="*/ 115 h 258"/>
                <a:gd name="T28" fmla="*/ 7 w 260"/>
                <a:gd name="T29" fmla="*/ 90 h 258"/>
                <a:gd name="T30" fmla="*/ 17 w 260"/>
                <a:gd name="T31" fmla="*/ 67 h 258"/>
                <a:gd name="T32" fmla="*/ 31 w 260"/>
                <a:gd name="T33" fmla="*/ 47 h 258"/>
                <a:gd name="T34" fmla="*/ 49 w 260"/>
                <a:gd name="T35" fmla="*/ 30 h 258"/>
                <a:gd name="T36" fmla="*/ 69 w 260"/>
                <a:gd name="T37" fmla="*/ 15 h 258"/>
                <a:gd name="T38" fmla="*/ 93 w 260"/>
                <a:gd name="T39" fmla="*/ 6 h 258"/>
                <a:gd name="T40" fmla="*/ 117 w 260"/>
                <a:gd name="T41" fmla="*/ 0 h 258"/>
                <a:gd name="T42" fmla="*/ 130 w 260"/>
                <a:gd name="T43" fmla="*/ 0 h 258"/>
                <a:gd name="T44" fmla="*/ 143 w 260"/>
                <a:gd name="T45" fmla="*/ 0 h 258"/>
                <a:gd name="T46" fmla="*/ 169 w 260"/>
                <a:gd name="T47" fmla="*/ 6 h 258"/>
                <a:gd name="T48" fmla="*/ 192 w 260"/>
                <a:gd name="T49" fmla="*/ 15 h 258"/>
                <a:gd name="T50" fmla="*/ 213 w 260"/>
                <a:gd name="T51" fmla="*/ 30 h 258"/>
                <a:gd name="T52" fmla="*/ 230 w 260"/>
                <a:gd name="T53" fmla="*/ 47 h 258"/>
                <a:gd name="T54" fmla="*/ 244 w 260"/>
                <a:gd name="T55" fmla="*/ 67 h 258"/>
                <a:gd name="T56" fmla="*/ 253 w 260"/>
                <a:gd name="T57" fmla="*/ 91 h 258"/>
                <a:gd name="T58" fmla="*/ 258 w 260"/>
                <a:gd name="T59" fmla="*/ 117 h 258"/>
                <a:gd name="T60" fmla="*/ 260 w 260"/>
                <a:gd name="T61" fmla="*/ 129 h 258"/>
                <a:gd name="T62" fmla="*/ 260 w 260"/>
                <a:gd name="T63" fmla="*/ 130 h 258"/>
                <a:gd name="T64" fmla="*/ 260 w 260"/>
                <a:gd name="T65" fmla="*/ 130 h 258"/>
                <a:gd name="T66" fmla="*/ 257 w 260"/>
                <a:gd name="T67" fmla="*/ 155 h 258"/>
                <a:gd name="T68" fmla="*/ 249 w 260"/>
                <a:gd name="T69" fmla="*/ 179 h 258"/>
                <a:gd name="T70" fmla="*/ 237 w 260"/>
                <a:gd name="T71" fmla="*/ 202 h 258"/>
                <a:gd name="T72" fmla="*/ 221 w 260"/>
                <a:gd name="T73" fmla="*/ 221 h 258"/>
                <a:gd name="T74" fmla="*/ 202 w 260"/>
                <a:gd name="T75" fmla="*/ 237 h 258"/>
                <a:gd name="T76" fmla="*/ 181 w 260"/>
                <a:gd name="T77" fmla="*/ 249 h 258"/>
                <a:gd name="T78" fmla="*/ 157 w 260"/>
                <a:gd name="T79" fmla="*/ 256 h 258"/>
                <a:gd name="T80" fmla="*/ 130 w 260"/>
                <a:gd name="T81" fmla="*/ 258 h 258"/>
                <a:gd name="T82" fmla="*/ 130 w 260"/>
                <a:gd name="T83"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0" h="258">
                  <a:moveTo>
                    <a:pt x="130" y="258"/>
                  </a:moveTo>
                  <a:lnTo>
                    <a:pt x="130" y="258"/>
                  </a:lnTo>
                  <a:lnTo>
                    <a:pt x="130" y="258"/>
                  </a:lnTo>
                  <a:lnTo>
                    <a:pt x="130" y="258"/>
                  </a:lnTo>
                  <a:lnTo>
                    <a:pt x="130" y="258"/>
                  </a:lnTo>
                  <a:lnTo>
                    <a:pt x="130" y="258"/>
                  </a:lnTo>
                  <a:lnTo>
                    <a:pt x="117" y="258"/>
                  </a:lnTo>
                  <a:lnTo>
                    <a:pt x="103" y="256"/>
                  </a:lnTo>
                  <a:lnTo>
                    <a:pt x="91" y="253"/>
                  </a:lnTo>
                  <a:lnTo>
                    <a:pt x="79" y="249"/>
                  </a:lnTo>
                  <a:lnTo>
                    <a:pt x="69" y="242"/>
                  </a:lnTo>
                  <a:lnTo>
                    <a:pt x="58" y="237"/>
                  </a:lnTo>
                  <a:lnTo>
                    <a:pt x="49" y="229"/>
                  </a:lnTo>
                  <a:lnTo>
                    <a:pt x="39" y="221"/>
                  </a:lnTo>
                  <a:lnTo>
                    <a:pt x="30" y="211"/>
                  </a:lnTo>
                  <a:lnTo>
                    <a:pt x="23" y="202"/>
                  </a:lnTo>
                  <a:lnTo>
                    <a:pt x="17" y="191"/>
                  </a:lnTo>
                  <a:lnTo>
                    <a:pt x="11" y="179"/>
                  </a:lnTo>
                  <a:lnTo>
                    <a:pt x="7" y="167"/>
                  </a:lnTo>
                  <a:lnTo>
                    <a:pt x="3" y="155"/>
                  </a:lnTo>
                  <a:lnTo>
                    <a:pt x="2" y="142"/>
                  </a:lnTo>
                  <a:lnTo>
                    <a:pt x="0" y="130"/>
                  </a:lnTo>
                  <a:lnTo>
                    <a:pt x="0" y="130"/>
                  </a:lnTo>
                  <a:lnTo>
                    <a:pt x="0" y="130"/>
                  </a:lnTo>
                  <a:lnTo>
                    <a:pt x="0" y="127"/>
                  </a:lnTo>
                  <a:lnTo>
                    <a:pt x="0" y="127"/>
                  </a:lnTo>
                  <a:lnTo>
                    <a:pt x="0" y="127"/>
                  </a:lnTo>
                  <a:lnTo>
                    <a:pt x="2" y="115"/>
                  </a:lnTo>
                  <a:lnTo>
                    <a:pt x="4" y="102"/>
                  </a:lnTo>
                  <a:lnTo>
                    <a:pt x="7" y="90"/>
                  </a:lnTo>
                  <a:lnTo>
                    <a:pt x="11" y="78"/>
                  </a:lnTo>
                  <a:lnTo>
                    <a:pt x="17" y="67"/>
                  </a:lnTo>
                  <a:lnTo>
                    <a:pt x="23" y="56"/>
                  </a:lnTo>
                  <a:lnTo>
                    <a:pt x="31" y="47"/>
                  </a:lnTo>
                  <a:lnTo>
                    <a:pt x="39" y="38"/>
                  </a:lnTo>
                  <a:lnTo>
                    <a:pt x="49" y="30"/>
                  </a:lnTo>
                  <a:lnTo>
                    <a:pt x="58" y="22"/>
                  </a:lnTo>
                  <a:lnTo>
                    <a:pt x="69" y="15"/>
                  </a:lnTo>
                  <a:lnTo>
                    <a:pt x="81" y="10"/>
                  </a:lnTo>
                  <a:lnTo>
                    <a:pt x="93" y="6"/>
                  </a:lnTo>
                  <a:lnTo>
                    <a:pt x="105" y="3"/>
                  </a:lnTo>
                  <a:lnTo>
                    <a:pt x="117" y="0"/>
                  </a:lnTo>
                  <a:lnTo>
                    <a:pt x="130" y="0"/>
                  </a:lnTo>
                  <a:lnTo>
                    <a:pt x="130" y="0"/>
                  </a:lnTo>
                  <a:lnTo>
                    <a:pt x="130" y="0"/>
                  </a:lnTo>
                  <a:lnTo>
                    <a:pt x="143" y="0"/>
                  </a:lnTo>
                  <a:lnTo>
                    <a:pt x="157" y="3"/>
                  </a:lnTo>
                  <a:lnTo>
                    <a:pt x="169" y="6"/>
                  </a:lnTo>
                  <a:lnTo>
                    <a:pt x="181" y="10"/>
                  </a:lnTo>
                  <a:lnTo>
                    <a:pt x="192" y="15"/>
                  </a:lnTo>
                  <a:lnTo>
                    <a:pt x="202" y="22"/>
                  </a:lnTo>
                  <a:lnTo>
                    <a:pt x="213" y="30"/>
                  </a:lnTo>
                  <a:lnTo>
                    <a:pt x="221" y="38"/>
                  </a:lnTo>
                  <a:lnTo>
                    <a:pt x="230" y="47"/>
                  </a:lnTo>
                  <a:lnTo>
                    <a:pt x="237" y="56"/>
                  </a:lnTo>
                  <a:lnTo>
                    <a:pt x="244" y="67"/>
                  </a:lnTo>
                  <a:lnTo>
                    <a:pt x="249" y="79"/>
                  </a:lnTo>
                  <a:lnTo>
                    <a:pt x="253" y="91"/>
                  </a:lnTo>
                  <a:lnTo>
                    <a:pt x="257" y="103"/>
                  </a:lnTo>
                  <a:lnTo>
                    <a:pt x="258" y="117"/>
                  </a:lnTo>
                  <a:lnTo>
                    <a:pt x="260" y="129"/>
                  </a:lnTo>
                  <a:lnTo>
                    <a:pt x="260" y="129"/>
                  </a:lnTo>
                  <a:lnTo>
                    <a:pt x="260" y="129"/>
                  </a:lnTo>
                  <a:lnTo>
                    <a:pt x="260" y="130"/>
                  </a:lnTo>
                  <a:lnTo>
                    <a:pt x="260" y="130"/>
                  </a:lnTo>
                  <a:lnTo>
                    <a:pt x="260" y="130"/>
                  </a:lnTo>
                  <a:lnTo>
                    <a:pt x="258" y="143"/>
                  </a:lnTo>
                  <a:lnTo>
                    <a:pt x="257" y="155"/>
                  </a:lnTo>
                  <a:lnTo>
                    <a:pt x="253" y="167"/>
                  </a:lnTo>
                  <a:lnTo>
                    <a:pt x="249" y="179"/>
                  </a:lnTo>
                  <a:lnTo>
                    <a:pt x="244" y="191"/>
                  </a:lnTo>
                  <a:lnTo>
                    <a:pt x="237" y="202"/>
                  </a:lnTo>
                  <a:lnTo>
                    <a:pt x="230" y="211"/>
                  </a:lnTo>
                  <a:lnTo>
                    <a:pt x="221" y="221"/>
                  </a:lnTo>
                  <a:lnTo>
                    <a:pt x="213" y="229"/>
                  </a:lnTo>
                  <a:lnTo>
                    <a:pt x="202" y="237"/>
                  </a:lnTo>
                  <a:lnTo>
                    <a:pt x="192" y="244"/>
                  </a:lnTo>
                  <a:lnTo>
                    <a:pt x="181" y="249"/>
                  </a:lnTo>
                  <a:lnTo>
                    <a:pt x="169" y="253"/>
                  </a:lnTo>
                  <a:lnTo>
                    <a:pt x="157" y="256"/>
                  </a:lnTo>
                  <a:lnTo>
                    <a:pt x="143" y="258"/>
                  </a:lnTo>
                  <a:lnTo>
                    <a:pt x="130" y="258"/>
                  </a:lnTo>
                  <a:lnTo>
                    <a:pt x="130" y="258"/>
                  </a:lnTo>
                  <a:lnTo>
                    <a:pt x="130" y="2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28" name="Freeform 88"/>
            <p:cNvSpPr>
              <a:spLocks/>
            </p:cNvSpPr>
            <p:nvPr/>
          </p:nvSpPr>
          <p:spPr bwMode="auto">
            <a:xfrm>
              <a:off x="2326456" y="3461625"/>
              <a:ext cx="1165149" cy="471107"/>
            </a:xfrm>
            <a:custGeom>
              <a:avLst/>
              <a:gdLst>
                <a:gd name="T0" fmla="*/ 160 w 1664"/>
                <a:gd name="T1" fmla="*/ 1 h 672"/>
                <a:gd name="T2" fmla="*/ 147 w 1664"/>
                <a:gd name="T3" fmla="*/ 2 h 672"/>
                <a:gd name="T4" fmla="*/ 137 w 1664"/>
                <a:gd name="T5" fmla="*/ 9 h 672"/>
                <a:gd name="T6" fmla="*/ 129 w 1664"/>
                <a:gd name="T7" fmla="*/ 18 h 672"/>
                <a:gd name="T8" fmla="*/ 4 w 1664"/>
                <a:gd name="T9" fmla="*/ 335 h 672"/>
                <a:gd name="T10" fmla="*/ 0 w 1664"/>
                <a:gd name="T11" fmla="*/ 508 h 672"/>
                <a:gd name="T12" fmla="*/ 0 w 1664"/>
                <a:gd name="T13" fmla="*/ 623 h 672"/>
                <a:gd name="T14" fmla="*/ 4 w 1664"/>
                <a:gd name="T15" fmla="*/ 643 h 672"/>
                <a:gd name="T16" fmla="*/ 14 w 1664"/>
                <a:gd name="T17" fmla="*/ 657 h 672"/>
                <a:gd name="T18" fmla="*/ 29 w 1664"/>
                <a:gd name="T19" fmla="*/ 665 h 672"/>
                <a:gd name="T20" fmla="*/ 45 w 1664"/>
                <a:gd name="T21" fmla="*/ 669 h 672"/>
                <a:gd name="T22" fmla="*/ 133 w 1664"/>
                <a:gd name="T23" fmla="*/ 669 h 672"/>
                <a:gd name="T24" fmla="*/ 129 w 1664"/>
                <a:gd name="T25" fmla="*/ 633 h 672"/>
                <a:gd name="T26" fmla="*/ 129 w 1664"/>
                <a:gd name="T27" fmla="*/ 632 h 672"/>
                <a:gd name="T28" fmla="*/ 131 w 1664"/>
                <a:gd name="T29" fmla="*/ 617 h 672"/>
                <a:gd name="T30" fmla="*/ 136 w 1664"/>
                <a:gd name="T31" fmla="*/ 589 h 672"/>
                <a:gd name="T32" fmla="*/ 147 w 1664"/>
                <a:gd name="T33" fmla="*/ 562 h 672"/>
                <a:gd name="T34" fmla="*/ 163 w 1664"/>
                <a:gd name="T35" fmla="*/ 540 h 672"/>
                <a:gd name="T36" fmla="*/ 183 w 1664"/>
                <a:gd name="T37" fmla="*/ 520 h 672"/>
                <a:gd name="T38" fmla="*/ 206 w 1664"/>
                <a:gd name="T39" fmla="*/ 505 h 672"/>
                <a:gd name="T40" fmla="*/ 232 w 1664"/>
                <a:gd name="T41" fmla="*/ 494 h 672"/>
                <a:gd name="T42" fmla="*/ 260 w 1664"/>
                <a:gd name="T43" fmla="*/ 488 h 672"/>
                <a:gd name="T44" fmla="*/ 275 w 1664"/>
                <a:gd name="T45" fmla="*/ 488 h 672"/>
                <a:gd name="T46" fmla="*/ 305 w 1664"/>
                <a:gd name="T47" fmla="*/ 490 h 672"/>
                <a:gd name="T48" fmla="*/ 333 w 1664"/>
                <a:gd name="T49" fmla="*/ 498 h 672"/>
                <a:gd name="T50" fmla="*/ 357 w 1664"/>
                <a:gd name="T51" fmla="*/ 512 h 672"/>
                <a:gd name="T52" fmla="*/ 378 w 1664"/>
                <a:gd name="T53" fmla="*/ 530 h 672"/>
                <a:gd name="T54" fmla="*/ 397 w 1664"/>
                <a:gd name="T55" fmla="*/ 552 h 672"/>
                <a:gd name="T56" fmla="*/ 410 w 1664"/>
                <a:gd name="T57" fmla="*/ 576 h 672"/>
                <a:gd name="T58" fmla="*/ 418 w 1664"/>
                <a:gd name="T59" fmla="*/ 604 h 672"/>
                <a:gd name="T60" fmla="*/ 421 w 1664"/>
                <a:gd name="T61" fmla="*/ 633 h 672"/>
                <a:gd name="T62" fmla="*/ 421 w 1664"/>
                <a:gd name="T63" fmla="*/ 633 h 672"/>
                <a:gd name="T64" fmla="*/ 417 w 1664"/>
                <a:gd name="T65" fmla="*/ 669 h 672"/>
                <a:gd name="T66" fmla="*/ 1105 w 1664"/>
                <a:gd name="T67" fmla="*/ 669 h 672"/>
                <a:gd name="T68" fmla="*/ 1101 w 1664"/>
                <a:gd name="T69" fmla="*/ 652 h 672"/>
                <a:gd name="T70" fmla="*/ 1101 w 1664"/>
                <a:gd name="T71" fmla="*/ 633 h 672"/>
                <a:gd name="T72" fmla="*/ 1104 w 1664"/>
                <a:gd name="T73" fmla="*/ 604 h 672"/>
                <a:gd name="T74" fmla="*/ 1112 w 1664"/>
                <a:gd name="T75" fmla="*/ 576 h 672"/>
                <a:gd name="T76" fmla="*/ 1125 w 1664"/>
                <a:gd name="T77" fmla="*/ 552 h 672"/>
                <a:gd name="T78" fmla="*/ 1144 w 1664"/>
                <a:gd name="T79" fmla="*/ 530 h 672"/>
                <a:gd name="T80" fmla="*/ 1165 w 1664"/>
                <a:gd name="T81" fmla="*/ 512 h 672"/>
                <a:gd name="T82" fmla="*/ 1189 w 1664"/>
                <a:gd name="T83" fmla="*/ 498 h 672"/>
                <a:gd name="T84" fmla="*/ 1217 w 1664"/>
                <a:gd name="T85" fmla="*/ 490 h 672"/>
                <a:gd name="T86" fmla="*/ 1247 w 1664"/>
                <a:gd name="T87" fmla="*/ 488 h 672"/>
                <a:gd name="T88" fmla="*/ 1262 w 1664"/>
                <a:gd name="T89" fmla="*/ 488 h 672"/>
                <a:gd name="T90" fmla="*/ 1290 w 1664"/>
                <a:gd name="T91" fmla="*/ 494 h 672"/>
                <a:gd name="T92" fmla="*/ 1316 w 1664"/>
                <a:gd name="T93" fmla="*/ 505 h 672"/>
                <a:gd name="T94" fmla="*/ 1339 w 1664"/>
                <a:gd name="T95" fmla="*/ 521 h 672"/>
                <a:gd name="T96" fmla="*/ 1359 w 1664"/>
                <a:gd name="T97" fmla="*/ 540 h 672"/>
                <a:gd name="T98" fmla="*/ 1375 w 1664"/>
                <a:gd name="T99" fmla="*/ 564 h 672"/>
                <a:gd name="T100" fmla="*/ 1386 w 1664"/>
                <a:gd name="T101" fmla="*/ 589 h 672"/>
                <a:gd name="T102" fmla="*/ 1391 w 1664"/>
                <a:gd name="T103" fmla="*/ 619 h 672"/>
                <a:gd name="T104" fmla="*/ 1393 w 1664"/>
                <a:gd name="T105" fmla="*/ 633 h 672"/>
                <a:gd name="T106" fmla="*/ 1387 w 1664"/>
                <a:gd name="T107" fmla="*/ 671 h 672"/>
                <a:gd name="T108" fmla="*/ 1664 w 1664"/>
                <a:gd name="T109" fmla="*/ 104 h 672"/>
                <a:gd name="T110" fmla="*/ 1663 w 1664"/>
                <a:gd name="T111" fmla="*/ 95 h 672"/>
                <a:gd name="T112" fmla="*/ 1657 w 1664"/>
                <a:gd name="T113" fmla="*/ 75 h 672"/>
                <a:gd name="T114" fmla="*/ 1646 w 1664"/>
                <a:gd name="T115" fmla="*/ 56 h 672"/>
                <a:gd name="T116" fmla="*/ 1633 w 1664"/>
                <a:gd name="T117" fmla="*/ 38 h 672"/>
                <a:gd name="T118" fmla="*/ 1616 w 1664"/>
                <a:gd name="T119" fmla="*/ 24 h 672"/>
                <a:gd name="T120" fmla="*/ 1596 w 1664"/>
                <a:gd name="T121" fmla="*/ 12 h 672"/>
                <a:gd name="T122" fmla="*/ 1576 w 1664"/>
                <a:gd name="T123" fmla="*/ 4 h 672"/>
                <a:gd name="T124" fmla="*/ 1554 w 1664"/>
                <a:gd name="T125" fmla="*/ 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4" h="672">
                  <a:moveTo>
                    <a:pt x="160" y="1"/>
                  </a:moveTo>
                  <a:lnTo>
                    <a:pt x="160" y="1"/>
                  </a:lnTo>
                  <a:lnTo>
                    <a:pt x="152" y="1"/>
                  </a:lnTo>
                  <a:lnTo>
                    <a:pt x="147" y="2"/>
                  </a:lnTo>
                  <a:lnTo>
                    <a:pt x="141" y="5"/>
                  </a:lnTo>
                  <a:lnTo>
                    <a:pt x="137" y="9"/>
                  </a:lnTo>
                  <a:lnTo>
                    <a:pt x="133" y="13"/>
                  </a:lnTo>
                  <a:lnTo>
                    <a:pt x="129" y="18"/>
                  </a:lnTo>
                  <a:lnTo>
                    <a:pt x="124" y="30"/>
                  </a:lnTo>
                  <a:lnTo>
                    <a:pt x="4" y="335"/>
                  </a:lnTo>
                  <a:lnTo>
                    <a:pt x="0" y="358"/>
                  </a:lnTo>
                  <a:lnTo>
                    <a:pt x="0" y="508"/>
                  </a:lnTo>
                  <a:lnTo>
                    <a:pt x="0" y="623"/>
                  </a:lnTo>
                  <a:lnTo>
                    <a:pt x="0" y="623"/>
                  </a:lnTo>
                  <a:lnTo>
                    <a:pt x="1" y="633"/>
                  </a:lnTo>
                  <a:lnTo>
                    <a:pt x="4" y="643"/>
                  </a:lnTo>
                  <a:lnTo>
                    <a:pt x="8" y="651"/>
                  </a:lnTo>
                  <a:lnTo>
                    <a:pt x="14" y="657"/>
                  </a:lnTo>
                  <a:lnTo>
                    <a:pt x="21" y="663"/>
                  </a:lnTo>
                  <a:lnTo>
                    <a:pt x="29" y="665"/>
                  </a:lnTo>
                  <a:lnTo>
                    <a:pt x="37" y="668"/>
                  </a:lnTo>
                  <a:lnTo>
                    <a:pt x="45" y="669"/>
                  </a:lnTo>
                  <a:lnTo>
                    <a:pt x="133" y="669"/>
                  </a:lnTo>
                  <a:lnTo>
                    <a:pt x="133" y="669"/>
                  </a:lnTo>
                  <a:lnTo>
                    <a:pt x="131" y="652"/>
                  </a:lnTo>
                  <a:lnTo>
                    <a:pt x="129" y="633"/>
                  </a:lnTo>
                  <a:lnTo>
                    <a:pt x="129" y="633"/>
                  </a:lnTo>
                  <a:lnTo>
                    <a:pt x="129" y="632"/>
                  </a:lnTo>
                  <a:lnTo>
                    <a:pt x="129" y="632"/>
                  </a:lnTo>
                  <a:lnTo>
                    <a:pt x="131" y="617"/>
                  </a:lnTo>
                  <a:lnTo>
                    <a:pt x="132" y="602"/>
                  </a:lnTo>
                  <a:lnTo>
                    <a:pt x="136" y="589"/>
                  </a:lnTo>
                  <a:lnTo>
                    <a:pt x="141" y="576"/>
                  </a:lnTo>
                  <a:lnTo>
                    <a:pt x="147" y="562"/>
                  </a:lnTo>
                  <a:lnTo>
                    <a:pt x="155" y="550"/>
                  </a:lnTo>
                  <a:lnTo>
                    <a:pt x="163" y="540"/>
                  </a:lnTo>
                  <a:lnTo>
                    <a:pt x="172" y="529"/>
                  </a:lnTo>
                  <a:lnTo>
                    <a:pt x="183" y="520"/>
                  </a:lnTo>
                  <a:lnTo>
                    <a:pt x="194" y="512"/>
                  </a:lnTo>
                  <a:lnTo>
                    <a:pt x="206" y="505"/>
                  </a:lnTo>
                  <a:lnTo>
                    <a:pt x="219" y="498"/>
                  </a:lnTo>
                  <a:lnTo>
                    <a:pt x="232" y="494"/>
                  </a:lnTo>
                  <a:lnTo>
                    <a:pt x="246" y="490"/>
                  </a:lnTo>
                  <a:lnTo>
                    <a:pt x="260" y="488"/>
                  </a:lnTo>
                  <a:lnTo>
                    <a:pt x="275" y="488"/>
                  </a:lnTo>
                  <a:lnTo>
                    <a:pt x="275" y="488"/>
                  </a:lnTo>
                  <a:lnTo>
                    <a:pt x="290" y="488"/>
                  </a:lnTo>
                  <a:lnTo>
                    <a:pt x="305" y="490"/>
                  </a:lnTo>
                  <a:lnTo>
                    <a:pt x="319" y="494"/>
                  </a:lnTo>
                  <a:lnTo>
                    <a:pt x="333" y="498"/>
                  </a:lnTo>
                  <a:lnTo>
                    <a:pt x="345" y="505"/>
                  </a:lnTo>
                  <a:lnTo>
                    <a:pt x="357" y="512"/>
                  </a:lnTo>
                  <a:lnTo>
                    <a:pt x="367" y="521"/>
                  </a:lnTo>
                  <a:lnTo>
                    <a:pt x="378" y="530"/>
                  </a:lnTo>
                  <a:lnTo>
                    <a:pt x="387" y="540"/>
                  </a:lnTo>
                  <a:lnTo>
                    <a:pt x="397" y="552"/>
                  </a:lnTo>
                  <a:lnTo>
                    <a:pt x="403" y="564"/>
                  </a:lnTo>
                  <a:lnTo>
                    <a:pt x="410" y="576"/>
                  </a:lnTo>
                  <a:lnTo>
                    <a:pt x="414" y="589"/>
                  </a:lnTo>
                  <a:lnTo>
                    <a:pt x="418" y="604"/>
                  </a:lnTo>
                  <a:lnTo>
                    <a:pt x="421" y="619"/>
                  </a:lnTo>
                  <a:lnTo>
                    <a:pt x="421" y="633"/>
                  </a:lnTo>
                  <a:lnTo>
                    <a:pt x="421" y="633"/>
                  </a:lnTo>
                  <a:lnTo>
                    <a:pt x="421" y="633"/>
                  </a:lnTo>
                  <a:lnTo>
                    <a:pt x="419" y="652"/>
                  </a:lnTo>
                  <a:lnTo>
                    <a:pt x="417" y="669"/>
                  </a:lnTo>
                  <a:lnTo>
                    <a:pt x="1037" y="669"/>
                  </a:lnTo>
                  <a:lnTo>
                    <a:pt x="1105" y="669"/>
                  </a:lnTo>
                  <a:lnTo>
                    <a:pt x="1105" y="669"/>
                  </a:lnTo>
                  <a:lnTo>
                    <a:pt x="1101" y="652"/>
                  </a:lnTo>
                  <a:lnTo>
                    <a:pt x="1101" y="633"/>
                  </a:lnTo>
                  <a:lnTo>
                    <a:pt x="1101" y="633"/>
                  </a:lnTo>
                  <a:lnTo>
                    <a:pt x="1101" y="619"/>
                  </a:lnTo>
                  <a:lnTo>
                    <a:pt x="1104" y="604"/>
                  </a:lnTo>
                  <a:lnTo>
                    <a:pt x="1106" y="590"/>
                  </a:lnTo>
                  <a:lnTo>
                    <a:pt x="1112" y="576"/>
                  </a:lnTo>
                  <a:lnTo>
                    <a:pt x="1119" y="564"/>
                  </a:lnTo>
                  <a:lnTo>
                    <a:pt x="1125" y="552"/>
                  </a:lnTo>
                  <a:lnTo>
                    <a:pt x="1133" y="541"/>
                  </a:lnTo>
                  <a:lnTo>
                    <a:pt x="1144" y="530"/>
                  </a:lnTo>
                  <a:lnTo>
                    <a:pt x="1153" y="521"/>
                  </a:lnTo>
                  <a:lnTo>
                    <a:pt x="1165" y="512"/>
                  </a:lnTo>
                  <a:lnTo>
                    <a:pt x="1177" y="505"/>
                  </a:lnTo>
                  <a:lnTo>
                    <a:pt x="1189" y="498"/>
                  </a:lnTo>
                  <a:lnTo>
                    <a:pt x="1203" y="494"/>
                  </a:lnTo>
                  <a:lnTo>
                    <a:pt x="1217" y="490"/>
                  </a:lnTo>
                  <a:lnTo>
                    <a:pt x="1232" y="488"/>
                  </a:lnTo>
                  <a:lnTo>
                    <a:pt x="1247" y="488"/>
                  </a:lnTo>
                  <a:lnTo>
                    <a:pt x="1247" y="488"/>
                  </a:lnTo>
                  <a:lnTo>
                    <a:pt x="1262" y="488"/>
                  </a:lnTo>
                  <a:lnTo>
                    <a:pt x="1276" y="490"/>
                  </a:lnTo>
                  <a:lnTo>
                    <a:pt x="1290" y="494"/>
                  </a:lnTo>
                  <a:lnTo>
                    <a:pt x="1303" y="498"/>
                  </a:lnTo>
                  <a:lnTo>
                    <a:pt x="1316" y="505"/>
                  </a:lnTo>
                  <a:lnTo>
                    <a:pt x="1328" y="512"/>
                  </a:lnTo>
                  <a:lnTo>
                    <a:pt x="1339" y="521"/>
                  </a:lnTo>
                  <a:lnTo>
                    <a:pt x="1350" y="530"/>
                  </a:lnTo>
                  <a:lnTo>
                    <a:pt x="1359" y="540"/>
                  </a:lnTo>
                  <a:lnTo>
                    <a:pt x="1367" y="552"/>
                  </a:lnTo>
                  <a:lnTo>
                    <a:pt x="1375" y="564"/>
                  </a:lnTo>
                  <a:lnTo>
                    <a:pt x="1380" y="576"/>
                  </a:lnTo>
                  <a:lnTo>
                    <a:pt x="1386" y="589"/>
                  </a:lnTo>
                  <a:lnTo>
                    <a:pt x="1390" y="604"/>
                  </a:lnTo>
                  <a:lnTo>
                    <a:pt x="1391" y="619"/>
                  </a:lnTo>
                  <a:lnTo>
                    <a:pt x="1393" y="633"/>
                  </a:lnTo>
                  <a:lnTo>
                    <a:pt x="1393" y="633"/>
                  </a:lnTo>
                  <a:lnTo>
                    <a:pt x="1391" y="652"/>
                  </a:lnTo>
                  <a:lnTo>
                    <a:pt x="1387" y="671"/>
                  </a:lnTo>
                  <a:lnTo>
                    <a:pt x="1661" y="672"/>
                  </a:lnTo>
                  <a:lnTo>
                    <a:pt x="1664" y="104"/>
                  </a:lnTo>
                  <a:lnTo>
                    <a:pt x="1664" y="104"/>
                  </a:lnTo>
                  <a:lnTo>
                    <a:pt x="1663" y="95"/>
                  </a:lnTo>
                  <a:lnTo>
                    <a:pt x="1661" y="84"/>
                  </a:lnTo>
                  <a:lnTo>
                    <a:pt x="1657" y="75"/>
                  </a:lnTo>
                  <a:lnTo>
                    <a:pt x="1653" y="65"/>
                  </a:lnTo>
                  <a:lnTo>
                    <a:pt x="1646" y="56"/>
                  </a:lnTo>
                  <a:lnTo>
                    <a:pt x="1640" y="48"/>
                  </a:lnTo>
                  <a:lnTo>
                    <a:pt x="1633" y="38"/>
                  </a:lnTo>
                  <a:lnTo>
                    <a:pt x="1624" y="32"/>
                  </a:lnTo>
                  <a:lnTo>
                    <a:pt x="1616" y="24"/>
                  </a:lnTo>
                  <a:lnTo>
                    <a:pt x="1605" y="18"/>
                  </a:lnTo>
                  <a:lnTo>
                    <a:pt x="1596" y="12"/>
                  </a:lnTo>
                  <a:lnTo>
                    <a:pt x="1585" y="8"/>
                  </a:lnTo>
                  <a:lnTo>
                    <a:pt x="1576" y="4"/>
                  </a:lnTo>
                  <a:lnTo>
                    <a:pt x="1565" y="1"/>
                  </a:lnTo>
                  <a:lnTo>
                    <a:pt x="1554" y="0"/>
                  </a:lnTo>
                  <a:lnTo>
                    <a:pt x="15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0" name="Freeform 195"/>
            <p:cNvSpPr>
              <a:spLocks/>
            </p:cNvSpPr>
            <p:nvPr/>
          </p:nvSpPr>
          <p:spPr bwMode="auto">
            <a:xfrm>
              <a:off x="2763912" y="3594124"/>
              <a:ext cx="52579" cy="50476"/>
            </a:xfrm>
            <a:custGeom>
              <a:avLst/>
              <a:gdLst>
                <a:gd name="T0" fmla="*/ 23 w 74"/>
                <a:gd name="T1" fmla="*/ 2 h 72"/>
                <a:gd name="T2" fmla="*/ 27 w 74"/>
                <a:gd name="T3" fmla="*/ 1 h 72"/>
                <a:gd name="T4" fmla="*/ 32 w 74"/>
                <a:gd name="T5" fmla="*/ 0 h 72"/>
                <a:gd name="T6" fmla="*/ 36 w 74"/>
                <a:gd name="T7" fmla="*/ 0 h 72"/>
                <a:gd name="T8" fmla="*/ 42 w 74"/>
                <a:gd name="T9" fmla="*/ 0 h 72"/>
                <a:gd name="T10" fmla="*/ 46 w 74"/>
                <a:gd name="T11" fmla="*/ 1 h 72"/>
                <a:gd name="T12" fmla="*/ 54 w 74"/>
                <a:gd name="T13" fmla="*/ 4 h 72"/>
                <a:gd name="T14" fmla="*/ 62 w 74"/>
                <a:gd name="T15" fmla="*/ 9 h 72"/>
                <a:gd name="T16" fmla="*/ 67 w 74"/>
                <a:gd name="T17" fmla="*/ 16 h 72"/>
                <a:gd name="T18" fmla="*/ 70 w 74"/>
                <a:gd name="T19" fmla="*/ 20 h 72"/>
                <a:gd name="T20" fmla="*/ 72 w 74"/>
                <a:gd name="T21" fmla="*/ 24 h 72"/>
                <a:gd name="T22" fmla="*/ 74 w 74"/>
                <a:gd name="T23" fmla="*/ 28 h 72"/>
                <a:gd name="T24" fmla="*/ 74 w 74"/>
                <a:gd name="T25" fmla="*/ 33 h 72"/>
                <a:gd name="T26" fmla="*/ 74 w 74"/>
                <a:gd name="T27" fmla="*/ 37 h 72"/>
                <a:gd name="T28" fmla="*/ 74 w 74"/>
                <a:gd name="T29" fmla="*/ 40 h 72"/>
                <a:gd name="T30" fmla="*/ 72 w 74"/>
                <a:gd name="T31" fmla="*/ 45 h 72"/>
                <a:gd name="T32" fmla="*/ 71 w 74"/>
                <a:gd name="T33" fmla="*/ 50 h 72"/>
                <a:gd name="T34" fmla="*/ 70 w 74"/>
                <a:gd name="T35" fmla="*/ 54 h 72"/>
                <a:gd name="T36" fmla="*/ 66 w 74"/>
                <a:gd name="T37" fmla="*/ 58 h 72"/>
                <a:gd name="T38" fmla="*/ 63 w 74"/>
                <a:gd name="T39" fmla="*/ 62 h 72"/>
                <a:gd name="T40" fmla="*/ 59 w 74"/>
                <a:gd name="T41" fmla="*/ 65 h 72"/>
                <a:gd name="T42" fmla="*/ 54 w 74"/>
                <a:gd name="T43" fmla="*/ 68 h 72"/>
                <a:gd name="T44" fmla="*/ 50 w 74"/>
                <a:gd name="T45" fmla="*/ 69 h 72"/>
                <a:gd name="T46" fmla="*/ 44 w 74"/>
                <a:gd name="T47" fmla="*/ 70 h 72"/>
                <a:gd name="T48" fmla="*/ 40 w 74"/>
                <a:gd name="T49" fmla="*/ 72 h 72"/>
                <a:gd name="T50" fmla="*/ 35 w 74"/>
                <a:gd name="T51" fmla="*/ 72 h 72"/>
                <a:gd name="T52" fmla="*/ 30 w 74"/>
                <a:gd name="T53" fmla="*/ 70 h 72"/>
                <a:gd name="T54" fmla="*/ 24 w 74"/>
                <a:gd name="T55" fmla="*/ 69 h 72"/>
                <a:gd name="T56" fmla="*/ 20 w 74"/>
                <a:gd name="T57" fmla="*/ 68 h 72"/>
                <a:gd name="T58" fmla="*/ 16 w 74"/>
                <a:gd name="T59" fmla="*/ 65 h 72"/>
                <a:gd name="T60" fmla="*/ 14 w 74"/>
                <a:gd name="T61" fmla="*/ 64 h 72"/>
                <a:gd name="T62" fmla="*/ 10 w 74"/>
                <a:gd name="T63" fmla="*/ 60 h 72"/>
                <a:gd name="T64" fmla="*/ 7 w 74"/>
                <a:gd name="T65" fmla="*/ 57 h 72"/>
                <a:gd name="T66" fmla="*/ 4 w 74"/>
                <a:gd name="T67" fmla="*/ 53 h 72"/>
                <a:gd name="T68" fmla="*/ 3 w 74"/>
                <a:gd name="T69" fmla="*/ 49 h 72"/>
                <a:gd name="T70" fmla="*/ 2 w 74"/>
                <a:gd name="T71" fmla="*/ 44 h 72"/>
                <a:gd name="T72" fmla="*/ 0 w 74"/>
                <a:gd name="T73" fmla="*/ 40 h 72"/>
                <a:gd name="T74" fmla="*/ 0 w 74"/>
                <a:gd name="T75" fmla="*/ 30 h 72"/>
                <a:gd name="T76" fmla="*/ 3 w 74"/>
                <a:gd name="T77" fmla="*/ 24 h 72"/>
                <a:gd name="T78" fmla="*/ 4 w 74"/>
                <a:gd name="T79" fmla="*/ 18 h 72"/>
                <a:gd name="T80" fmla="*/ 7 w 74"/>
                <a:gd name="T81" fmla="*/ 14 h 72"/>
                <a:gd name="T82" fmla="*/ 10 w 74"/>
                <a:gd name="T83" fmla="*/ 12 h 72"/>
                <a:gd name="T84" fmla="*/ 12 w 74"/>
                <a:gd name="T85" fmla="*/ 8 h 72"/>
                <a:gd name="T86" fmla="*/ 16 w 74"/>
                <a:gd name="T87" fmla="*/ 5 h 72"/>
                <a:gd name="T88" fmla="*/ 20 w 74"/>
                <a:gd name="T89" fmla="*/ 4 h 72"/>
                <a:gd name="T90" fmla="*/ 23 w 7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72">
                  <a:moveTo>
                    <a:pt x="23" y="2"/>
                  </a:moveTo>
                  <a:lnTo>
                    <a:pt x="23" y="2"/>
                  </a:lnTo>
                  <a:lnTo>
                    <a:pt x="26" y="1"/>
                  </a:lnTo>
                  <a:lnTo>
                    <a:pt x="27" y="1"/>
                  </a:lnTo>
                  <a:lnTo>
                    <a:pt x="30" y="0"/>
                  </a:lnTo>
                  <a:lnTo>
                    <a:pt x="32" y="0"/>
                  </a:lnTo>
                  <a:lnTo>
                    <a:pt x="35" y="0"/>
                  </a:lnTo>
                  <a:lnTo>
                    <a:pt x="36" y="0"/>
                  </a:lnTo>
                  <a:lnTo>
                    <a:pt x="39" y="0"/>
                  </a:lnTo>
                  <a:lnTo>
                    <a:pt x="42" y="0"/>
                  </a:lnTo>
                  <a:lnTo>
                    <a:pt x="43" y="0"/>
                  </a:lnTo>
                  <a:lnTo>
                    <a:pt x="46" y="1"/>
                  </a:lnTo>
                  <a:lnTo>
                    <a:pt x="50" y="2"/>
                  </a:lnTo>
                  <a:lnTo>
                    <a:pt x="54" y="4"/>
                  </a:lnTo>
                  <a:lnTo>
                    <a:pt x="58" y="6"/>
                  </a:lnTo>
                  <a:lnTo>
                    <a:pt x="62" y="9"/>
                  </a:lnTo>
                  <a:lnTo>
                    <a:pt x="64" y="12"/>
                  </a:lnTo>
                  <a:lnTo>
                    <a:pt x="67" y="16"/>
                  </a:lnTo>
                  <a:lnTo>
                    <a:pt x="68" y="17"/>
                  </a:lnTo>
                  <a:lnTo>
                    <a:pt x="70" y="20"/>
                  </a:lnTo>
                  <a:lnTo>
                    <a:pt x="71" y="21"/>
                  </a:lnTo>
                  <a:lnTo>
                    <a:pt x="72" y="24"/>
                  </a:lnTo>
                  <a:lnTo>
                    <a:pt x="72" y="26"/>
                  </a:lnTo>
                  <a:lnTo>
                    <a:pt x="74" y="28"/>
                  </a:lnTo>
                  <a:lnTo>
                    <a:pt x="74" y="30"/>
                  </a:lnTo>
                  <a:lnTo>
                    <a:pt x="74" y="33"/>
                  </a:lnTo>
                  <a:lnTo>
                    <a:pt x="74" y="34"/>
                  </a:lnTo>
                  <a:lnTo>
                    <a:pt x="74" y="37"/>
                  </a:lnTo>
                  <a:lnTo>
                    <a:pt x="74" y="37"/>
                  </a:lnTo>
                  <a:lnTo>
                    <a:pt x="74" y="40"/>
                  </a:lnTo>
                  <a:lnTo>
                    <a:pt x="74" y="42"/>
                  </a:lnTo>
                  <a:lnTo>
                    <a:pt x="72" y="45"/>
                  </a:lnTo>
                  <a:lnTo>
                    <a:pt x="72" y="48"/>
                  </a:lnTo>
                  <a:lnTo>
                    <a:pt x="71" y="50"/>
                  </a:lnTo>
                  <a:lnTo>
                    <a:pt x="71" y="52"/>
                  </a:lnTo>
                  <a:lnTo>
                    <a:pt x="70" y="54"/>
                  </a:lnTo>
                  <a:lnTo>
                    <a:pt x="68" y="56"/>
                  </a:lnTo>
                  <a:lnTo>
                    <a:pt x="66" y="58"/>
                  </a:lnTo>
                  <a:lnTo>
                    <a:pt x="64" y="60"/>
                  </a:lnTo>
                  <a:lnTo>
                    <a:pt x="63" y="62"/>
                  </a:lnTo>
                  <a:lnTo>
                    <a:pt x="60" y="64"/>
                  </a:lnTo>
                  <a:lnTo>
                    <a:pt x="59" y="65"/>
                  </a:lnTo>
                  <a:lnTo>
                    <a:pt x="56" y="66"/>
                  </a:lnTo>
                  <a:lnTo>
                    <a:pt x="54" y="68"/>
                  </a:lnTo>
                  <a:lnTo>
                    <a:pt x="52" y="68"/>
                  </a:lnTo>
                  <a:lnTo>
                    <a:pt x="50" y="69"/>
                  </a:lnTo>
                  <a:lnTo>
                    <a:pt x="47" y="70"/>
                  </a:lnTo>
                  <a:lnTo>
                    <a:pt x="44" y="70"/>
                  </a:lnTo>
                  <a:lnTo>
                    <a:pt x="42" y="72"/>
                  </a:lnTo>
                  <a:lnTo>
                    <a:pt x="40" y="72"/>
                  </a:lnTo>
                  <a:lnTo>
                    <a:pt x="38" y="72"/>
                  </a:lnTo>
                  <a:lnTo>
                    <a:pt x="35" y="72"/>
                  </a:lnTo>
                  <a:lnTo>
                    <a:pt x="32" y="72"/>
                  </a:lnTo>
                  <a:lnTo>
                    <a:pt x="30" y="70"/>
                  </a:lnTo>
                  <a:lnTo>
                    <a:pt x="27" y="70"/>
                  </a:lnTo>
                  <a:lnTo>
                    <a:pt x="24" y="69"/>
                  </a:lnTo>
                  <a:lnTo>
                    <a:pt x="22" y="69"/>
                  </a:lnTo>
                  <a:lnTo>
                    <a:pt x="20" y="68"/>
                  </a:lnTo>
                  <a:lnTo>
                    <a:pt x="18" y="66"/>
                  </a:lnTo>
                  <a:lnTo>
                    <a:pt x="16" y="65"/>
                  </a:lnTo>
                  <a:lnTo>
                    <a:pt x="14" y="64"/>
                  </a:lnTo>
                  <a:lnTo>
                    <a:pt x="14" y="64"/>
                  </a:lnTo>
                  <a:lnTo>
                    <a:pt x="12" y="62"/>
                  </a:lnTo>
                  <a:lnTo>
                    <a:pt x="10" y="60"/>
                  </a:lnTo>
                  <a:lnTo>
                    <a:pt x="8" y="58"/>
                  </a:lnTo>
                  <a:lnTo>
                    <a:pt x="7" y="57"/>
                  </a:lnTo>
                  <a:lnTo>
                    <a:pt x="6" y="54"/>
                  </a:lnTo>
                  <a:lnTo>
                    <a:pt x="4" y="53"/>
                  </a:lnTo>
                  <a:lnTo>
                    <a:pt x="3" y="50"/>
                  </a:lnTo>
                  <a:lnTo>
                    <a:pt x="3" y="49"/>
                  </a:lnTo>
                  <a:lnTo>
                    <a:pt x="2" y="46"/>
                  </a:lnTo>
                  <a:lnTo>
                    <a:pt x="2" y="44"/>
                  </a:lnTo>
                  <a:lnTo>
                    <a:pt x="0" y="41"/>
                  </a:lnTo>
                  <a:lnTo>
                    <a:pt x="0" y="40"/>
                  </a:lnTo>
                  <a:lnTo>
                    <a:pt x="0" y="34"/>
                  </a:lnTo>
                  <a:lnTo>
                    <a:pt x="0" y="30"/>
                  </a:lnTo>
                  <a:lnTo>
                    <a:pt x="2" y="25"/>
                  </a:lnTo>
                  <a:lnTo>
                    <a:pt x="3" y="24"/>
                  </a:lnTo>
                  <a:lnTo>
                    <a:pt x="3" y="21"/>
                  </a:lnTo>
                  <a:lnTo>
                    <a:pt x="4" y="18"/>
                  </a:lnTo>
                  <a:lnTo>
                    <a:pt x="6" y="17"/>
                  </a:lnTo>
                  <a:lnTo>
                    <a:pt x="7" y="14"/>
                  </a:lnTo>
                  <a:lnTo>
                    <a:pt x="8" y="13"/>
                  </a:lnTo>
                  <a:lnTo>
                    <a:pt x="10" y="12"/>
                  </a:lnTo>
                  <a:lnTo>
                    <a:pt x="11" y="9"/>
                  </a:lnTo>
                  <a:lnTo>
                    <a:pt x="12" y="8"/>
                  </a:lnTo>
                  <a:lnTo>
                    <a:pt x="15" y="6"/>
                  </a:lnTo>
                  <a:lnTo>
                    <a:pt x="16" y="5"/>
                  </a:lnTo>
                  <a:lnTo>
                    <a:pt x="19" y="4"/>
                  </a:lnTo>
                  <a:lnTo>
                    <a:pt x="20" y="4"/>
                  </a:lnTo>
                  <a:lnTo>
                    <a:pt x="23" y="2"/>
                  </a:lnTo>
                  <a:lnTo>
                    <a:pt x="23" y="2"/>
                  </a:lnTo>
                  <a:lnTo>
                    <a:pt x="23"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1" name="Freeform 196"/>
            <p:cNvSpPr>
              <a:spLocks/>
            </p:cNvSpPr>
            <p:nvPr/>
          </p:nvSpPr>
          <p:spPr bwMode="auto">
            <a:xfrm>
              <a:off x="2740777" y="3653012"/>
              <a:ext cx="98849" cy="37857"/>
            </a:xfrm>
            <a:custGeom>
              <a:avLst/>
              <a:gdLst>
                <a:gd name="T0" fmla="*/ 143 w 143"/>
                <a:gd name="T1" fmla="*/ 45 h 55"/>
                <a:gd name="T2" fmla="*/ 141 w 143"/>
                <a:gd name="T3" fmla="*/ 38 h 55"/>
                <a:gd name="T4" fmla="*/ 141 w 143"/>
                <a:gd name="T5" fmla="*/ 36 h 55"/>
                <a:gd name="T6" fmla="*/ 140 w 143"/>
                <a:gd name="T7" fmla="*/ 32 h 55"/>
                <a:gd name="T8" fmla="*/ 139 w 143"/>
                <a:gd name="T9" fmla="*/ 29 h 55"/>
                <a:gd name="T10" fmla="*/ 137 w 143"/>
                <a:gd name="T11" fmla="*/ 26 h 55"/>
                <a:gd name="T12" fmla="*/ 136 w 143"/>
                <a:gd name="T13" fmla="*/ 22 h 55"/>
                <a:gd name="T14" fmla="*/ 135 w 143"/>
                <a:gd name="T15" fmla="*/ 20 h 55"/>
                <a:gd name="T16" fmla="*/ 133 w 143"/>
                <a:gd name="T17" fmla="*/ 17 h 55"/>
                <a:gd name="T18" fmla="*/ 132 w 143"/>
                <a:gd name="T19" fmla="*/ 14 h 55"/>
                <a:gd name="T20" fmla="*/ 129 w 143"/>
                <a:gd name="T21" fmla="*/ 13 h 55"/>
                <a:gd name="T22" fmla="*/ 127 w 143"/>
                <a:gd name="T23" fmla="*/ 10 h 55"/>
                <a:gd name="T24" fmla="*/ 124 w 143"/>
                <a:gd name="T25" fmla="*/ 9 h 55"/>
                <a:gd name="T26" fmla="*/ 121 w 143"/>
                <a:gd name="T27" fmla="*/ 8 h 55"/>
                <a:gd name="T28" fmla="*/ 116 w 143"/>
                <a:gd name="T29" fmla="*/ 5 h 55"/>
                <a:gd name="T30" fmla="*/ 110 w 143"/>
                <a:gd name="T31" fmla="*/ 4 h 55"/>
                <a:gd name="T32" fmla="*/ 105 w 143"/>
                <a:gd name="T33" fmla="*/ 2 h 55"/>
                <a:gd name="T34" fmla="*/ 100 w 143"/>
                <a:gd name="T35" fmla="*/ 1 h 55"/>
                <a:gd name="T36" fmla="*/ 94 w 143"/>
                <a:gd name="T37" fmla="*/ 1 h 55"/>
                <a:gd name="T38" fmla="*/ 82 w 143"/>
                <a:gd name="T39" fmla="*/ 0 h 55"/>
                <a:gd name="T40" fmla="*/ 60 w 143"/>
                <a:gd name="T41" fmla="*/ 0 h 55"/>
                <a:gd name="T42" fmla="*/ 48 w 143"/>
                <a:gd name="T43" fmla="*/ 1 h 55"/>
                <a:gd name="T44" fmla="*/ 42 w 143"/>
                <a:gd name="T45" fmla="*/ 1 h 55"/>
                <a:gd name="T46" fmla="*/ 37 w 143"/>
                <a:gd name="T47" fmla="*/ 2 h 55"/>
                <a:gd name="T48" fmla="*/ 32 w 143"/>
                <a:gd name="T49" fmla="*/ 4 h 55"/>
                <a:gd name="T50" fmla="*/ 26 w 143"/>
                <a:gd name="T51" fmla="*/ 5 h 55"/>
                <a:gd name="T52" fmla="*/ 21 w 143"/>
                <a:gd name="T53" fmla="*/ 8 h 55"/>
                <a:gd name="T54" fmla="*/ 18 w 143"/>
                <a:gd name="T55" fmla="*/ 9 h 55"/>
                <a:gd name="T56" fmla="*/ 16 w 143"/>
                <a:gd name="T57" fmla="*/ 10 h 55"/>
                <a:gd name="T58" fmla="*/ 13 w 143"/>
                <a:gd name="T59" fmla="*/ 13 h 55"/>
                <a:gd name="T60" fmla="*/ 12 w 143"/>
                <a:gd name="T61" fmla="*/ 14 h 55"/>
                <a:gd name="T62" fmla="*/ 9 w 143"/>
                <a:gd name="T63" fmla="*/ 17 h 55"/>
                <a:gd name="T64" fmla="*/ 8 w 143"/>
                <a:gd name="T65" fmla="*/ 20 h 55"/>
                <a:gd name="T66" fmla="*/ 6 w 143"/>
                <a:gd name="T67" fmla="*/ 22 h 55"/>
                <a:gd name="T68" fmla="*/ 5 w 143"/>
                <a:gd name="T69" fmla="*/ 26 h 55"/>
                <a:gd name="T70" fmla="*/ 4 w 143"/>
                <a:gd name="T71" fmla="*/ 29 h 55"/>
                <a:gd name="T72" fmla="*/ 2 w 143"/>
                <a:gd name="T73" fmla="*/ 32 h 55"/>
                <a:gd name="T74" fmla="*/ 2 w 143"/>
                <a:gd name="T75" fmla="*/ 36 h 55"/>
                <a:gd name="T76" fmla="*/ 1 w 143"/>
                <a:gd name="T77" fmla="*/ 38 h 55"/>
                <a:gd name="T78" fmla="*/ 0 w 143"/>
                <a:gd name="T79" fmla="*/ 45 h 55"/>
                <a:gd name="T80" fmla="*/ 0 w 143"/>
                <a:gd name="T81" fmla="*/ 52 h 55"/>
                <a:gd name="T82" fmla="*/ 0 w 143"/>
                <a:gd name="T83" fmla="*/ 55 h 55"/>
                <a:gd name="T84" fmla="*/ 50 w 143"/>
                <a:gd name="T85" fmla="*/ 55 h 55"/>
                <a:gd name="T86" fmla="*/ 92 w 143"/>
                <a:gd name="T87" fmla="*/ 55 h 55"/>
                <a:gd name="T88" fmla="*/ 143 w 143"/>
                <a:gd name="T89" fmla="*/ 55 h 55"/>
                <a:gd name="T90" fmla="*/ 143 w 143"/>
                <a:gd name="T91" fmla="*/ 52 h 55"/>
                <a:gd name="T92" fmla="*/ 143 w 143"/>
                <a:gd name="T9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3" y="45"/>
                  </a:moveTo>
                  <a:lnTo>
                    <a:pt x="141" y="38"/>
                  </a:lnTo>
                  <a:lnTo>
                    <a:pt x="141" y="36"/>
                  </a:lnTo>
                  <a:lnTo>
                    <a:pt x="140" y="32"/>
                  </a:lnTo>
                  <a:lnTo>
                    <a:pt x="139" y="29"/>
                  </a:lnTo>
                  <a:lnTo>
                    <a:pt x="137" y="26"/>
                  </a:lnTo>
                  <a:lnTo>
                    <a:pt x="136" y="22"/>
                  </a:lnTo>
                  <a:lnTo>
                    <a:pt x="135" y="20"/>
                  </a:lnTo>
                  <a:lnTo>
                    <a:pt x="133" y="17"/>
                  </a:lnTo>
                  <a:lnTo>
                    <a:pt x="132" y="14"/>
                  </a:lnTo>
                  <a:lnTo>
                    <a:pt x="129" y="13"/>
                  </a:lnTo>
                  <a:lnTo>
                    <a:pt x="127" y="10"/>
                  </a:lnTo>
                  <a:lnTo>
                    <a:pt x="124" y="9"/>
                  </a:lnTo>
                  <a:lnTo>
                    <a:pt x="121" y="8"/>
                  </a:lnTo>
                  <a:lnTo>
                    <a:pt x="116" y="5"/>
                  </a:lnTo>
                  <a:lnTo>
                    <a:pt x="110" y="4"/>
                  </a:lnTo>
                  <a:lnTo>
                    <a:pt x="105" y="2"/>
                  </a:lnTo>
                  <a:lnTo>
                    <a:pt x="100" y="1"/>
                  </a:lnTo>
                  <a:lnTo>
                    <a:pt x="94" y="1"/>
                  </a:lnTo>
                  <a:lnTo>
                    <a:pt x="82" y="0"/>
                  </a:lnTo>
                  <a:lnTo>
                    <a:pt x="60" y="0"/>
                  </a:lnTo>
                  <a:lnTo>
                    <a:pt x="48" y="1"/>
                  </a:lnTo>
                  <a:lnTo>
                    <a:pt x="42" y="1"/>
                  </a:lnTo>
                  <a:lnTo>
                    <a:pt x="37" y="2"/>
                  </a:lnTo>
                  <a:lnTo>
                    <a:pt x="32" y="4"/>
                  </a:lnTo>
                  <a:lnTo>
                    <a:pt x="26" y="5"/>
                  </a:lnTo>
                  <a:lnTo>
                    <a:pt x="21" y="8"/>
                  </a:lnTo>
                  <a:lnTo>
                    <a:pt x="18" y="9"/>
                  </a:lnTo>
                  <a:lnTo>
                    <a:pt x="16" y="10"/>
                  </a:lnTo>
                  <a:lnTo>
                    <a:pt x="13" y="13"/>
                  </a:lnTo>
                  <a:lnTo>
                    <a:pt x="12" y="14"/>
                  </a:lnTo>
                  <a:lnTo>
                    <a:pt x="9" y="17"/>
                  </a:lnTo>
                  <a:lnTo>
                    <a:pt x="8" y="20"/>
                  </a:lnTo>
                  <a:lnTo>
                    <a:pt x="6" y="22"/>
                  </a:lnTo>
                  <a:lnTo>
                    <a:pt x="5" y="26"/>
                  </a:lnTo>
                  <a:lnTo>
                    <a:pt x="4" y="29"/>
                  </a:lnTo>
                  <a:lnTo>
                    <a:pt x="2" y="32"/>
                  </a:lnTo>
                  <a:lnTo>
                    <a:pt x="2" y="36"/>
                  </a:lnTo>
                  <a:lnTo>
                    <a:pt x="1" y="38"/>
                  </a:lnTo>
                  <a:lnTo>
                    <a:pt x="0" y="45"/>
                  </a:lnTo>
                  <a:lnTo>
                    <a:pt x="0" y="52"/>
                  </a:lnTo>
                  <a:lnTo>
                    <a:pt x="0" y="55"/>
                  </a:lnTo>
                  <a:lnTo>
                    <a:pt x="50" y="55"/>
                  </a:lnTo>
                  <a:lnTo>
                    <a:pt x="92" y="55"/>
                  </a:lnTo>
                  <a:lnTo>
                    <a:pt x="143" y="55"/>
                  </a:lnTo>
                  <a:lnTo>
                    <a:pt x="143" y="52"/>
                  </a:lnTo>
                  <a:lnTo>
                    <a:pt x="143" y="4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2" name="Freeform 197"/>
            <p:cNvSpPr>
              <a:spLocks/>
            </p:cNvSpPr>
            <p:nvPr/>
          </p:nvSpPr>
          <p:spPr bwMode="auto">
            <a:xfrm>
              <a:off x="3165615" y="3594124"/>
              <a:ext cx="50476" cy="50476"/>
            </a:xfrm>
            <a:custGeom>
              <a:avLst/>
              <a:gdLst>
                <a:gd name="T0" fmla="*/ 23 w 74"/>
                <a:gd name="T1" fmla="*/ 2 h 72"/>
                <a:gd name="T2" fmla="*/ 28 w 74"/>
                <a:gd name="T3" fmla="*/ 1 h 72"/>
                <a:gd name="T4" fmla="*/ 32 w 74"/>
                <a:gd name="T5" fmla="*/ 0 h 72"/>
                <a:gd name="T6" fmla="*/ 38 w 74"/>
                <a:gd name="T7" fmla="*/ 0 h 72"/>
                <a:gd name="T8" fmla="*/ 42 w 74"/>
                <a:gd name="T9" fmla="*/ 0 h 72"/>
                <a:gd name="T10" fmla="*/ 46 w 74"/>
                <a:gd name="T11" fmla="*/ 1 h 72"/>
                <a:gd name="T12" fmla="*/ 55 w 74"/>
                <a:gd name="T13" fmla="*/ 4 h 72"/>
                <a:gd name="T14" fmla="*/ 62 w 74"/>
                <a:gd name="T15" fmla="*/ 9 h 72"/>
                <a:gd name="T16" fmla="*/ 69 w 74"/>
                <a:gd name="T17" fmla="*/ 16 h 72"/>
                <a:gd name="T18" fmla="*/ 70 w 74"/>
                <a:gd name="T19" fmla="*/ 20 h 72"/>
                <a:gd name="T20" fmla="*/ 73 w 74"/>
                <a:gd name="T21" fmla="*/ 24 h 72"/>
                <a:gd name="T22" fmla="*/ 74 w 74"/>
                <a:gd name="T23" fmla="*/ 28 h 72"/>
                <a:gd name="T24" fmla="*/ 74 w 74"/>
                <a:gd name="T25" fmla="*/ 33 h 72"/>
                <a:gd name="T26" fmla="*/ 74 w 74"/>
                <a:gd name="T27" fmla="*/ 37 h 72"/>
                <a:gd name="T28" fmla="*/ 74 w 74"/>
                <a:gd name="T29" fmla="*/ 40 h 72"/>
                <a:gd name="T30" fmla="*/ 74 w 74"/>
                <a:gd name="T31" fmla="*/ 45 h 72"/>
                <a:gd name="T32" fmla="*/ 73 w 74"/>
                <a:gd name="T33" fmla="*/ 50 h 72"/>
                <a:gd name="T34" fmla="*/ 70 w 74"/>
                <a:gd name="T35" fmla="*/ 54 h 72"/>
                <a:gd name="T36" fmla="*/ 67 w 74"/>
                <a:gd name="T37" fmla="*/ 58 h 72"/>
                <a:gd name="T38" fmla="*/ 63 w 74"/>
                <a:gd name="T39" fmla="*/ 62 h 72"/>
                <a:gd name="T40" fmla="*/ 59 w 74"/>
                <a:gd name="T41" fmla="*/ 65 h 72"/>
                <a:gd name="T42" fmla="*/ 55 w 74"/>
                <a:gd name="T43" fmla="*/ 68 h 72"/>
                <a:gd name="T44" fmla="*/ 50 w 74"/>
                <a:gd name="T45" fmla="*/ 69 h 72"/>
                <a:gd name="T46" fmla="*/ 46 w 74"/>
                <a:gd name="T47" fmla="*/ 70 h 72"/>
                <a:gd name="T48" fmla="*/ 40 w 74"/>
                <a:gd name="T49" fmla="*/ 72 h 72"/>
                <a:gd name="T50" fmla="*/ 35 w 74"/>
                <a:gd name="T51" fmla="*/ 72 h 72"/>
                <a:gd name="T52" fmla="*/ 30 w 74"/>
                <a:gd name="T53" fmla="*/ 70 h 72"/>
                <a:gd name="T54" fmla="*/ 24 w 74"/>
                <a:gd name="T55" fmla="*/ 69 h 72"/>
                <a:gd name="T56" fmla="*/ 20 w 74"/>
                <a:gd name="T57" fmla="*/ 68 h 72"/>
                <a:gd name="T58" fmla="*/ 16 w 74"/>
                <a:gd name="T59" fmla="*/ 65 h 72"/>
                <a:gd name="T60" fmla="*/ 14 w 74"/>
                <a:gd name="T61" fmla="*/ 64 h 72"/>
                <a:gd name="T62" fmla="*/ 10 w 74"/>
                <a:gd name="T63" fmla="*/ 60 h 72"/>
                <a:gd name="T64" fmla="*/ 7 w 74"/>
                <a:gd name="T65" fmla="*/ 57 h 72"/>
                <a:gd name="T66" fmla="*/ 4 w 74"/>
                <a:gd name="T67" fmla="*/ 53 h 72"/>
                <a:gd name="T68" fmla="*/ 3 w 74"/>
                <a:gd name="T69" fmla="*/ 49 h 72"/>
                <a:gd name="T70" fmla="*/ 2 w 74"/>
                <a:gd name="T71" fmla="*/ 44 h 72"/>
                <a:gd name="T72" fmla="*/ 2 w 74"/>
                <a:gd name="T73" fmla="*/ 40 h 72"/>
                <a:gd name="T74" fmla="*/ 2 w 74"/>
                <a:gd name="T75" fmla="*/ 30 h 72"/>
                <a:gd name="T76" fmla="*/ 3 w 74"/>
                <a:gd name="T77" fmla="*/ 24 h 72"/>
                <a:gd name="T78" fmla="*/ 4 w 74"/>
                <a:gd name="T79" fmla="*/ 18 h 72"/>
                <a:gd name="T80" fmla="*/ 7 w 74"/>
                <a:gd name="T81" fmla="*/ 14 h 72"/>
                <a:gd name="T82" fmla="*/ 10 w 74"/>
                <a:gd name="T83" fmla="*/ 12 h 72"/>
                <a:gd name="T84" fmla="*/ 14 w 74"/>
                <a:gd name="T85" fmla="*/ 8 h 72"/>
                <a:gd name="T86" fmla="*/ 18 w 74"/>
                <a:gd name="T87" fmla="*/ 5 h 72"/>
                <a:gd name="T88" fmla="*/ 22 w 74"/>
                <a:gd name="T89" fmla="*/ 4 h 72"/>
                <a:gd name="T90" fmla="*/ 23 w 7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72">
                  <a:moveTo>
                    <a:pt x="23" y="2"/>
                  </a:moveTo>
                  <a:lnTo>
                    <a:pt x="23" y="2"/>
                  </a:lnTo>
                  <a:lnTo>
                    <a:pt x="26" y="1"/>
                  </a:lnTo>
                  <a:lnTo>
                    <a:pt x="28" y="1"/>
                  </a:lnTo>
                  <a:lnTo>
                    <a:pt x="30" y="0"/>
                  </a:lnTo>
                  <a:lnTo>
                    <a:pt x="32" y="0"/>
                  </a:lnTo>
                  <a:lnTo>
                    <a:pt x="35" y="0"/>
                  </a:lnTo>
                  <a:lnTo>
                    <a:pt x="38" y="0"/>
                  </a:lnTo>
                  <a:lnTo>
                    <a:pt x="39" y="0"/>
                  </a:lnTo>
                  <a:lnTo>
                    <a:pt x="42" y="0"/>
                  </a:lnTo>
                  <a:lnTo>
                    <a:pt x="43" y="0"/>
                  </a:lnTo>
                  <a:lnTo>
                    <a:pt x="46" y="1"/>
                  </a:lnTo>
                  <a:lnTo>
                    <a:pt x="50" y="2"/>
                  </a:lnTo>
                  <a:lnTo>
                    <a:pt x="55" y="4"/>
                  </a:lnTo>
                  <a:lnTo>
                    <a:pt x="59" y="6"/>
                  </a:lnTo>
                  <a:lnTo>
                    <a:pt x="62" y="9"/>
                  </a:lnTo>
                  <a:lnTo>
                    <a:pt x="66" y="12"/>
                  </a:lnTo>
                  <a:lnTo>
                    <a:pt x="69" y="16"/>
                  </a:lnTo>
                  <a:lnTo>
                    <a:pt x="70" y="17"/>
                  </a:lnTo>
                  <a:lnTo>
                    <a:pt x="70" y="20"/>
                  </a:lnTo>
                  <a:lnTo>
                    <a:pt x="71" y="21"/>
                  </a:lnTo>
                  <a:lnTo>
                    <a:pt x="73" y="24"/>
                  </a:lnTo>
                  <a:lnTo>
                    <a:pt x="73" y="26"/>
                  </a:lnTo>
                  <a:lnTo>
                    <a:pt x="74" y="28"/>
                  </a:lnTo>
                  <a:lnTo>
                    <a:pt x="74" y="30"/>
                  </a:lnTo>
                  <a:lnTo>
                    <a:pt x="74" y="33"/>
                  </a:lnTo>
                  <a:lnTo>
                    <a:pt x="74" y="34"/>
                  </a:lnTo>
                  <a:lnTo>
                    <a:pt x="74" y="37"/>
                  </a:lnTo>
                  <a:lnTo>
                    <a:pt x="74" y="37"/>
                  </a:lnTo>
                  <a:lnTo>
                    <a:pt x="74" y="40"/>
                  </a:lnTo>
                  <a:lnTo>
                    <a:pt x="74" y="42"/>
                  </a:lnTo>
                  <a:lnTo>
                    <a:pt x="74" y="45"/>
                  </a:lnTo>
                  <a:lnTo>
                    <a:pt x="73" y="48"/>
                  </a:lnTo>
                  <a:lnTo>
                    <a:pt x="73" y="50"/>
                  </a:lnTo>
                  <a:lnTo>
                    <a:pt x="71" y="52"/>
                  </a:lnTo>
                  <a:lnTo>
                    <a:pt x="70" y="54"/>
                  </a:lnTo>
                  <a:lnTo>
                    <a:pt x="69" y="56"/>
                  </a:lnTo>
                  <a:lnTo>
                    <a:pt x="67" y="58"/>
                  </a:lnTo>
                  <a:lnTo>
                    <a:pt x="65" y="60"/>
                  </a:lnTo>
                  <a:lnTo>
                    <a:pt x="63" y="62"/>
                  </a:lnTo>
                  <a:lnTo>
                    <a:pt x="62" y="64"/>
                  </a:lnTo>
                  <a:lnTo>
                    <a:pt x="59" y="65"/>
                  </a:lnTo>
                  <a:lnTo>
                    <a:pt x="57" y="66"/>
                  </a:lnTo>
                  <a:lnTo>
                    <a:pt x="55" y="68"/>
                  </a:lnTo>
                  <a:lnTo>
                    <a:pt x="53" y="68"/>
                  </a:lnTo>
                  <a:lnTo>
                    <a:pt x="50" y="69"/>
                  </a:lnTo>
                  <a:lnTo>
                    <a:pt x="47" y="70"/>
                  </a:lnTo>
                  <a:lnTo>
                    <a:pt x="46" y="70"/>
                  </a:lnTo>
                  <a:lnTo>
                    <a:pt x="43" y="72"/>
                  </a:lnTo>
                  <a:lnTo>
                    <a:pt x="40" y="72"/>
                  </a:lnTo>
                  <a:lnTo>
                    <a:pt x="38" y="72"/>
                  </a:lnTo>
                  <a:lnTo>
                    <a:pt x="35" y="72"/>
                  </a:lnTo>
                  <a:lnTo>
                    <a:pt x="32" y="72"/>
                  </a:lnTo>
                  <a:lnTo>
                    <a:pt x="30" y="70"/>
                  </a:lnTo>
                  <a:lnTo>
                    <a:pt x="27" y="70"/>
                  </a:lnTo>
                  <a:lnTo>
                    <a:pt x="24" y="69"/>
                  </a:lnTo>
                  <a:lnTo>
                    <a:pt x="23" y="69"/>
                  </a:lnTo>
                  <a:lnTo>
                    <a:pt x="20" y="68"/>
                  </a:lnTo>
                  <a:lnTo>
                    <a:pt x="18" y="66"/>
                  </a:lnTo>
                  <a:lnTo>
                    <a:pt x="16" y="65"/>
                  </a:lnTo>
                  <a:lnTo>
                    <a:pt x="14" y="64"/>
                  </a:lnTo>
                  <a:lnTo>
                    <a:pt x="14" y="64"/>
                  </a:lnTo>
                  <a:lnTo>
                    <a:pt x="12" y="62"/>
                  </a:lnTo>
                  <a:lnTo>
                    <a:pt x="10" y="60"/>
                  </a:lnTo>
                  <a:lnTo>
                    <a:pt x="8" y="58"/>
                  </a:lnTo>
                  <a:lnTo>
                    <a:pt x="7" y="57"/>
                  </a:lnTo>
                  <a:lnTo>
                    <a:pt x="6" y="54"/>
                  </a:lnTo>
                  <a:lnTo>
                    <a:pt x="4" y="53"/>
                  </a:lnTo>
                  <a:lnTo>
                    <a:pt x="4" y="50"/>
                  </a:lnTo>
                  <a:lnTo>
                    <a:pt x="3" y="49"/>
                  </a:lnTo>
                  <a:lnTo>
                    <a:pt x="2" y="46"/>
                  </a:lnTo>
                  <a:lnTo>
                    <a:pt x="2" y="44"/>
                  </a:lnTo>
                  <a:lnTo>
                    <a:pt x="2" y="41"/>
                  </a:lnTo>
                  <a:lnTo>
                    <a:pt x="2" y="40"/>
                  </a:lnTo>
                  <a:lnTo>
                    <a:pt x="0" y="34"/>
                  </a:lnTo>
                  <a:lnTo>
                    <a:pt x="2" y="30"/>
                  </a:lnTo>
                  <a:lnTo>
                    <a:pt x="2" y="25"/>
                  </a:lnTo>
                  <a:lnTo>
                    <a:pt x="3" y="24"/>
                  </a:lnTo>
                  <a:lnTo>
                    <a:pt x="4" y="21"/>
                  </a:lnTo>
                  <a:lnTo>
                    <a:pt x="4" y="18"/>
                  </a:lnTo>
                  <a:lnTo>
                    <a:pt x="6" y="17"/>
                  </a:lnTo>
                  <a:lnTo>
                    <a:pt x="7" y="14"/>
                  </a:lnTo>
                  <a:lnTo>
                    <a:pt x="8" y="13"/>
                  </a:lnTo>
                  <a:lnTo>
                    <a:pt x="10" y="12"/>
                  </a:lnTo>
                  <a:lnTo>
                    <a:pt x="11" y="9"/>
                  </a:lnTo>
                  <a:lnTo>
                    <a:pt x="14" y="8"/>
                  </a:lnTo>
                  <a:lnTo>
                    <a:pt x="15" y="6"/>
                  </a:lnTo>
                  <a:lnTo>
                    <a:pt x="18" y="5"/>
                  </a:lnTo>
                  <a:lnTo>
                    <a:pt x="19" y="4"/>
                  </a:lnTo>
                  <a:lnTo>
                    <a:pt x="22" y="4"/>
                  </a:lnTo>
                  <a:lnTo>
                    <a:pt x="23" y="2"/>
                  </a:lnTo>
                  <a:lnTo>
                    <a:pt x="23" y="2"/>
                  </a:lnTo>
                  <a:lnTo>
                    <a:pt x="23"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3" name="Freeform 198"/>
            <p:cNvSpPr>
              <a:spLocks/>
            </p:cNvSpPr>
            <p:nvPr/>
          </p:nvSpPr>
          <p:spPr bwMode="auto">
            <a:xfrm>
              <a:off x="3140377" y="3653012"/>
              <a:ext cx="100951" cy="37857"/>
            </a:xfrm>
            <a:custGeom>
              <a:avLst/>
              <a:gdLst>
                <a:gd name="T0" fmla="*/ 143 w 143"/>
                <a:gd name="T1" fmla="*/ 45 h 55"/>
                <a:gd name="T2" fmla="*/ 141 w 143"/>
                <a:gd name="T3" fmla="*/ 38 h 55"/>
                <a:gd name="T4" fmla="*/ 141 w 143"/>
                <a:gd name="T5" fmla="*/ 36 h 55"/>
                <a:gd name="T6" fmla="*/ 140 w 143"/>
                <a:gd name="T7" fmla="*/ 32 h 55"/>
                <a:gd name="T8" fmla="*/ 139 w 143"/>
                <a:gd name="T9" fmla="*/ 29 h 55"/>
                <a:gd name="T10" fmla="*/ 139 w 143"/>
                <a:gd name="T11" fmla="*/ 26 h 55"/>
                <a:gd name="T12" fmla="*/ 137 w 143"/>
                <a:gd name="T13" fmla="*/ 22 h 55"/>
                <a:gd name="T14" fmla="*/ 135 w 143"/>
                <a:gd name="T15" fmla="*/ 20 h 55"/>
                <a:gd name="T16" fmla="*/ 133 w 143"/>
                <a:gd name="T17" fmla="*/ 17 h 55"/>
                <a:gd name="T18" fmla="*/ 132 w 143"/>
                <a:gd name="T19" fmla="*/ 14 h 55"/>
                <a:gd name="T20" fmla="*/ 129 w 143"/>
                <a:gd name="T21" fmla="*/ 13 h 55"/>
                <a:gd name="T22" fmla="*/ 127 w 143"/>
                <a:gd name="T23" fmla="*/ 10 h 55"/>
                <a:gd name="T24" fmla="*/ 124 w 143"/>
                <a:gd name="T25" fmla="*/ 9 h 55"/>
                <a:gd name="T26" fmla="*/ 121 w 143"/>
                <a:gd name="T27" fmla="*/ 8 h 55"/>
                <a:gd name="T28" fmla="*/ 116 w 143"/>
                <a:gd name="T29" fmla="*/ 5 h 55"/>
                <a:gd name="T30" fmla="*/ 111 w 143"/>
                <a:gd name="T31" fmla="*/ 4 h 55"/>
                <a:gd name="T32" fmla="*/ 105 w 143"/>
                <a:gd name="T33" fmla="*/ 2 h 55"/>
                <a:gd name="T34" fmla="*/ 100 w 143"/>
                <a:gd name="T35" fmla="*/ 1 h 55"/>
                <a:gd name="T36" fmla="*/ 95 w 143"/>
                <a:gd name="T37" fmla="*/ 1 h 55"/>
                <a:gd name="T38" fmla="*/ 82 w 143"/>
                <a:gd name="T39" fmla="*/ 0 h 55"/>
                <a:gd name="T40" fmla="*/ 60 w 143"/>
                <a:gd name="T41" fmla="*/ 0 h 55"/>
                <a:gd name="T42" fmla="*/ 48 w 143"/>
                <a:gd name="T43" fmla="*/ 1 h 55"/>
                <a:gd name="T44" fmla="*/ 42 w 143"/>
                <a:gd name="T45" fmla="*/ 1 h 55"/>
                <a:gd name="T46" fmla="*/ 37 w 143"/>
                <a:gd name="T47" fmla="*/ 2 h 55"/>
                <a:gd name="T48" fmla="*/ 33 w 143"/>
                <a:gd name="T49" fmla="*/ 4 h 55"/>
                <a:gd name="T50" fmla="*/ 28 w 143"/>
                <a:gd name="T51" fmla="*/ 5 h 55"/>
                <a:gd name="T52" fmla="*/ 22 w 143"/>
                <a:gd name="T53" fmla="*/ 8 h 55"/>
                <a:gd name="T54" fmla="*/ 18 w 143"/>
                <a:gd name="T55" fmla="*/ 9 h 55"/>
                <a:gd name="T56" fmla="*/ 16 w 143"/>
                <a:gd name="T57" fmla="*/ 10 h 55"/>
                <a:gd name="T58" fmla="*/ 14 w 143"/>
                <a:gd name="T59" fmla="*/ 13 h 55"/>
                <a:gd name="T60" fmla="*/ 12 w 143"/>
                <a:gd name="T61" fmla="*/ 14 h 55"/>
                <a:gd name="T62" fmla="*/ 9 w 143"/>
                <a:gd name="T63" fmla="*/ 17 h 55"/>
                <a:gd name="T64" fmla="*/ 8 w 143"/>
                <a:gd name="T65" fmla="*/ 20 h 55"/>
                <a:gd name="T66" fmla="*/ 6 w 143"/>
                <a:gd name="T67" fmla="*/ 22 h 55"/>
                <a:gd name="T68" fmla="*/ 5 w 143"/>
                <a:gd name="T69" fmla="*/ 26 h 55"/>
                <a:gd name="T70" fmla="*/ 4 w 143"/>
                <a:gd name="T71" fmla="*/ 29 h 55"/>
                <a:gd name="T72" fmla="*/ 4 w 143"/>
                <a:gd name="T73" fmla="*/ 32 h 55"/>
                <a:gd name="T74" fmla="*/ 2 w 143"/>
                <a:gd name="T75" fmla="*/ 36 h 55"/>
                <a:gd name="T76" fmla="*/ 1 w 143"/>
                <a:gd name="T77" fmla="*/ 38 h 55"/>
                <a:gd name="T78" fmla="*/ 1 w 143"/>
                <a:gd name="T79" fmla="*/ 45 h 55"/>
                <a:gd name="T80" fmla="*/ 0 w 143"/>
                <a:gd name="T81" fmla="*/ 52 h 55"/>
                <a:gd name="T82" fmla="*/ 0 w 143"/>
                <a:gd name="T83" fmla="*/ 55 h 55"/>
                <a:gd name="T84" fmla="*/ 50 w 143"/>
                <a:gd name="T85" fmla="*/ 55 h 55"/>
                <a:gd name="T86" fmla="*/ 92 w 143"/>
                <a:gd name="T87" fmla="*/ 55 h 55"/>
                <a:gd name="T88" fmla="*/ 143 w 143"/>
                <a:gd name="T89" fmla="*/ 55 h 55"/>
                <a:gd name="T90" fmla="*/ 143 w 143"/>
                <a:gd name="T91" fmla="*/ 52 h 55"/>
                <a:gd name="T92" fmla="*/ 143 w 143"/>
                <a:gd name="T9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3" y="45"/>
                  </a:moveTo>
                  <a:lnTo>
                    <a:pt x="141" y="38"/>
                  </a:lnTo>
                  <a:lnTo>
                    <a:pt x="141" y="36"/>
                  </a:lnTo>
                  <a:lnTo>
                    <a:pt x="140" y="32"/>
                  </a:lnTo>
                  <a:lnTo>
                    <a:pt x="139" y="29"/>
                  </a:lnTo>
                  <a:lnTo>
                    <a:pt x="139" y="26"/>
                  </a:lnTo>
                  <a:lnTo>
                    <a:pt x="137" y="22"/>
                  </a:lnTo>
                  <a:lnTo>
                    <a:pt x="135" y="20"/>
                  </a:lnTo>
                  <a:lnTo>
                    <a:pt x="133" y="17"/>
                  </a:lnTo>
                  <a:lnTo>
                    <a:pt x="132" y="14"/>
                  </a:lnTo>
                  <a:lnTo>
                    <a:pt x="129" y="13"/>
                  </a:lnTo>
                  <a:lnTo>
                    <a:pt x="127" y="10"/>
                  </a:lnTo>
                  <a:lnTo>
                    <a:pt x="124" y="9"/>
                  </a:lnTo>
                  <a:lnTo>
                    <a:pt x="121" y="8"/>
                  </a:lnTo>
                  <a:lnTo>
                    <a:pt x="116" y="5"/>
                  </a:lnTo>
                  <a:lnTo>
                    <a:pt x="111" y="4"/>
                  </a:lnTo>
                  <a:lnTo>
                    <a:pt x="105" y="2"/>
                  </a:lnTo>
                  <a:lnTo>
                    <a:pt x="100" y="1"/>
                  </a:lnTo>
                  <a:lnTo>
                    <a:pt x="95" y="1"/>
                  </a:lnTo>
                  <a:lnTo>
                    <a:pt x="82" y="0"/>
                  </a:lnTo>
                  <a:lnTo>
                    <a:pt x="60" y="0"/>
                  </a:lnTo>
                  <a:lnTo>
                    <a:pt x="48" y="1"/>
                  </a:lnTo>
                  <a:lnTo>
                    <a:pt x="42" y="1"/>
                  </a:lnTo>
                  <a:lnTo>
                    <a:pt x="37" y="2"/>
                  </a:lnTo>
                  <a:lnTo>
                    <a:pt x="33" y="4"/>
                  </a:lnTo>
                  <a:lnTo>
                    <a:pt x="28" y="5"/>
                  </a:lnTo>
                  <a:lnTo>
                    <a:pt x="22" y="8"/>
                  </a:lnTo>
                  <a:lnTo>
                    <a:pt x="18" y="9"/>
                  </a:lnTo>
                  <a:lnTo>
                    <a:pt x="16" y="10"/>
                  </a:lnTo>
                  <a:lnTo>
                    <a:pt x="14" y="13"/>
                  </a:lnTo>
                  <a:lnTo>
                    <a:pt x="12" y="14"/>
                  </a:lnTo>
                  <a:lnTo>
                    <a:pt x="9" y="17"/>
                  </a:lnTo>
                  <a:lnTo>
                    <a:pt x="8" y="20"/>
                  </a:lnTo>
                  <a:lnTo>
                    <a:pt x="6" y="22"/>
                  </a:lnTo>
                  <a:lnTo>
                    <a:pt x="5" y="26"/>
                  </a:lnTo>
                  <a:lnTo>
                    <a:pt x="4" y="29"/>
                  </a:lnTo>
                  <a:lnTo>
                    <a:pt x="4" y="32"/>
                  </a:lnTo>
                  <a:lnTo>
                    <a:pt x="2" y="36"/>
                  </a:lnTo>
                  <a:lnTo>
                    <a:pt x="1" y="38"/>
                  </a:lnTo>
                  <a:lnTo>
                    <a:pt x="1" y="45"/>
                  </a:lnTo>
                  <a:lnTo>
                    <a:pt x="0" y="52"/>
                  </a:lnTo>
                  <a:lnTo>
                    <a:pt x="0" y="55"/>
                  </a:lnTo>
                  <a:lnTo>
                    <a:pt x="50" y="55"/>
                  </a:lnTo>
                  <a:lnTo>
                    <a:pt x="92" y="55"/>
                  </a:lnTo>
                  <a:lnTo>
                    <a:pt x="143" y="55"/>
                  </a:lnTo>
                  <a:lnTo>
                    <a:pt x="143" y="52"/>
                  </a:lnTo>
                  <a:lnTo>
                    <a:pt x="143" y="4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4" name="Freeform 199"/>
            <p:cNvSpPr>
              <a:spLocks/>
            </p:cNvSpPr>
            <p:nvPr/>
          </p:nvSpPr>
          <p:spPr bwMode="auto">
            <a:xfrm>
              <a:off x="2473676" y="3581505"/>
              <a:ext cx="50476" cy="52579"/>
            </a:xfrm>
            <a:custGeom>
              <a:avLst/>
              <a:gdLst>
                <a:gd name="T0" fmla="*/ 22 w 73"/>
                <a:gd name="T1" fmla="*/ 3 h 73"/>
                <a:gd name="T2" fmla="*/ 26 w 73"/>
                <a:gd name="T3" fmla="*/ 2 h 73"/>
                <a:gd name="T4" fmla="*/ 32 w 73"/>
                <a:gd name="T5" fmla="*/ 2 h 73"/>
                <a:gd name="T6" fmla="*/ 36 w 73"/>
                <a:gd name="T7" fmla="*/ 0 h 73"/>
                <a:gd name="T8" fmla="*/ 41 w 73"/>
                <a:gd name="T9" fmla="*/ 2 h 73"/>
                <a:gd name="T10" fmla="*/ 45 w 73"/>
                <a:gd name="T11" fmla="*/ 2 h 73"/>
                <a:gd name="T12" fmla="*/ 53 w 73"/>
                <a:gd name="T13" fmla="*/ 6 h 73"/>
                <a:gd name="T14" fmla="*/ 61 w 73"/>
                <a:gd name="T15" fmla="*/ 11 h 73"/>
                <a:gd name="T16" fmla="*/ 66 w 73"/>
                <a:gd name="T17" fmla="*/ 18 h 73"/>
                <a:gd name="T18" fmla="*/ 69 w 73"/>
                <a:gd name="T19" fmla="*/ 21 h 73"/>
                <a:gd name="T20" fmla="*/ 72 w 73"/>
                <a:gd name="T21" fmla="*/ 26 h 73"/>
                <a:gd name="T22" fmla="*/ 73 w 73"/>
                <a:gd name="T23" fmla="*/ 30 h 73"/>
                <a:gd name="T24" fmla="*/ 73 w 73"/>
                <a:gd name="T25" fmla="*/ 34 h 73"/>
                <a:gd name="T26" fmla="*/ 73 w 73"/>
                <a:gd name="T27" fmla="*/ 39 h 73"/>
                <a:gd name="T28" fmla="*/ 73 w 73"/>
                <a:gd name="T29" fmla="*/ 42 h 73"/>
                <a:gd name="T30" fmla="*/ 72 w 73"/>
                <a:gd name="T31" fmla="*/ 47 h 73"/>
                <a:gd name="T32" fmla="*/ 70 w 73"/>
                <a:gd name="T33" fmla="*/ 51 h 73"/>
                <a:gd name="T34" fmla="*/ 69 w 73"/>
                <a:gd name="T35" fmla="*/ 57 h 73"/>
                <a:gd name="T36" fmla="*/ 65 w 73"/>
                <a:gd name="T37" fmla="*/ 61 h 73"/>
                <a:gd name="T38" fmla="*/ 62 w 73"/>
                <a:gd name="T39" fmla="*/ 63 h 73"/>
                <a:gd name="T40" fmla="*/ 58 w 73"/>
                <a:gd name="T41" fmla="*/ 66 h 73"/>
                <a:gd name="T42" fmla="*/ 53 w 73"/>
                <a:gd name="T43" fmla="*/ 69 h 73"/>
                <a:gd name="T44" fmla="*/ 49 w 73"/>
                <a:gd name="T45" fmla="*/ 71 h 73"/>
                <a:gd name="T46" fmla="*/ 44 w 73"/>
                <a:gd name="T47" fmla="*/ 73 h 73"/>
                <a:gd name="T48" fmla="*/ 40 w 73"/>
                <a:gd name="T49" fmla="*/ 73 h 73"/>
                <a:gd name="T50" fmla="*/ 34 w 73"/>
                <a:gd name="T51" fmla="*/ 73 h 73"/>
                <a:gd name="T52" fmla="*/ 29 w 73"/>
                <a:gd name="T53" fmla="*/ 73 h 73"/>
                <a:gd name="T54" fmla="*/ 24 w 73"/>
                <a:gd name="T55" fmla="*/ 71 h 73"/>
                <a:gd name="T56" fmla="*/ 20 w 73"/>
                <a:gd name="T57" fmla="*/ 70 h 73"/>
                <a:gd name="T58" fmla="*/ 16 w 73"/>
                <a:gd name="T59" fmla="*/ 67 h 73"/>
                <a:gd name="T60" fmla="*/ 13 w 73"/>
                <a:gd name="T61" fmla="*/ 65 h 73"/>
                <a:gd name="T62" fmla="*/ 9 w 73"/>
                <a:gd name="T63" fmla="*/ 62 h 73"/>
                <a:gd name="T64" fmla="*/ 6 w 73"/>
                <a:gd name="T65" fmla="*/ 58 h 73"/>
                <a:gd name="T66" fmla="*/ 4 w 73"/>
                <a:gd name="T67" fmla="*/ 54 h 73"/>
                <a:gd name="T68" fmla="*/ 2 w 73"/>
                <a:gd name="T69" fmla="*/ 50 h 73"/>
                <a:gd name="T70" fmla="*/ 1 w 73"/>
                <a:gd name="T71" fmla="*/ 46 h 73"/>
                <a:gd name="T72" fmla="*/ 0 w 73"/>
                <a:gd name="T73" fmla="*/ 41 h 73"/>
                <a:gd name="T74" fmla="*/ 0 w 73"/>
                <a:gd name="T75" fmla="*/ 31 h 73"/>
                <a:gd name="T76" fmla="*/ 2 w 73"/>
                <a:gd name="T77" fmla="*/ 25 h 73"/>
                <a:gd name="T78" fmla="*/ 4 w 73"/>
                <a:gd name="T79" fmla="*/ 21 h 73"/>
                <a:gd name="T80" fmla="*/ 6 w 73"/>
                <a:gd name="T81" fmla="*/ 17 h 73"/>
                <a:gd name="T82" fmla="*/ 9 w 73"/>
                <a:gd name="T83" fmla="*/ 13 h 73"/>
                <a:gd name="T84" fmla="*/ 12 w 73"/>
                <a:gd name="T85" fmla="*/ 10 h 73"/>
                <a:gd name="T86" fmla="*/ 16 w 73"/>
                <a:gd name="T87" fmla="*/ 7 h 73"/>
                <a:gd name="T88" fmla="*/ 20 w 73"/>
                <a:gd name="T89" fmla="*/ 4 h 73"/>
                <a:gd name="T90" fmla="*/ 22 w 73"/>
                <a:gd name="T91"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3">
                  <a:moveTo>
                    <a:pt x="22" y="3"/>
                  </a:moveTo>
                  <a:lnTo>
                    <a:pt x="22" y="3"/>
                  </a:lnTo>
                  <a:lnTo>
                    <a:pt x="25" y="3"/>
                  </a:lnTo>
                  <a:lnTo>
                    <a:pt x="26" y="2"/>
                  </a:lnTo>
                  <a:lnTo>
                    <a:pt x="29" y="2"/>
                  </a:lnTo>
                  <a:lnTo>
                    <a:pt x="32" y="2"/>
                  </a:lnTo>
                  <a:lnTo>
                    <a:pt x="34" y="0"/>
                  </a:lnTo>
                  <a:lnTo>
                    <a:pt x="36" y="0"/>
                  </a:lnTo>
                  <a:lnTo>
                    <a:pt x="38" y="0"/>
                  </a:lnTo>
                  <a:lnTo>
                    <a:pt x="41" y="2"/>
                  </a:lnTo>
                  <a:lnTo>
                    <a:pt x="42" y="2"/>
                  </a:lnTo>
                  <a:lnTo>
                    <a:pt x="45" y="2"/>
                  </a:lnTo>
                  <a:lnTo>
                    <a:pt x="49" y="3"/>
                  </a:lnTo>
                  <a:lnTo>
                    <a:pt x="53" y="6"/>
                  </a:lnTo>
                  <a:lnTo>
                    <a:pt x="57" y="7"/>
                  </a:lnTo>
                  <a:lnTo>
                    <a:pt x="61" y="11"/>
                  </a:lnTo>
                  <a:lnTo>
                    <a:pt x="64" y="14"/>
                  </a:lnTo>
                  <a:lnTo>
                    <a:pt x="66" y="18"/>
                  </a:lnTo>
                  <a:lnTo>
                    <a:pt x="68" y="19"/>
                  </a:lnTo>
                  <a:lnTo>
                    <a:pt x="69" y="21"/>
                  </a:lnTo>
                  <a:lnTo>
                    <a:pt x="70" y="23"/>
                  </a:lnTo>
                  <a:lnTo>
                    <a:pt x="72" y="26"/>
                  </a:lnTo>
                  <a:lnTo>
                    <a:pt x="72" y="27"/>
                  </a:lnTo>
                  <a:lnTo>
                    <a:pt x="73" y="30"/>
                  </a:lnTo>
                  <a:lnTo>
                    <a:pt x="73" y="31"/>
                  </a:lnTo>
                  <a:lnTo>
                    <a:pt x="73" y="34"/>
                  </a:lnTo>
                  <a:lnTo>
                    <a:pt x="73" y="37"/>
                  </a:lnTo>
                  <a:lnTo>
                    <a:pt x="73" y="39"/>
                  </a:lnTo>
                  <a:lnTo>
                    <a:pt x="73" y="39"/>
                  </a:lnTo>
                  <a:lnTo>
                    <a:pt x="73" y="42"/>
                  </a:lnTo>
                  <a:lnTo>
                    <a:pt x="73" y="45"/>
                  </a:lnTo>
                  <a:lnTo>
                    <a:pt x="72" y="47"/>
                  </a:lnTo>
                  <a:lnTo>
                    <a:pt x="72" y="50"/>
                  </a:lnTo>
                  <a:lnTo>
                    <a:pt x="70" y="51"/>
                  </a:lnTo>
                  <a:lnTo>
                    <a:pt x="69" y="54"/>
                  </a:lnTo>
                  <a:lnTo>
                    <a:pt x="69" y="57"/>
                  </a:lnTo>
                  <a:lnTo>
                    <a:pt x="68" y="58"/>
                  </a:lnTo>
                  <a:lnTo>
                    <a:pt x="65" y="61"/>
                  </a:lnTo>
                  <a:lnTo>
                    <a:pt x="64" y="62"/>
                  </a:lnTo>
                  <a:lnTo>
                    <a:pt x="62" y="63"/>
                  </a:lnTo>
                  <a:lnTo>
                    <a:pt x="60" y="65"/>
                  </a:lnTo>
                  <a:lnTo>
                    <a:pt x="58" y="66"/>
                  </a:lnTo>
                  <a:lnTo>
                    <a:pt x="56" y="67"/>
                  </a:lnTo>
                  <a:lnTo>
                    <a:pt x="53" y="69"/>
                  </a:lnTo>
                  <a:lnTo>
                    <a:pt x="52" y="70"/>
                  </a:lnTo>
                  <a:lnTo>
                    <a:pt x="49" y="71"/>
                  </a:lnTo>
                  <a:lnTo>
                    <a:pt x="46" y="71"/>
                  </a:lnTo>
                  <a:lnTo>
                    <a:pt x="44" y="73"/>
                  </a:lnTo>
                  <a:lnTo>
                    <a:pt x="41" y="73"/>
                  </a:lnTo>
                  <a:lnTo>
                    <a:pt x="40" y="73"/>
                  </a:lnTo>
                  <a:lnTo>
                    <a:pt x="37" y="73"/>
                  </a:lnTo>
                  <a:lnTo>
                    <a:pt x="34" y="73"/>
                  </a:lnTo>
                  <a:lnTo>
                    <a:pt x="32" y="73"/>
                  </a:lnTo>
                  <a:lnTo>
                    <a:pt x="29" y="73"/>
                  </a:lnTo>
                  <a:lnTo>
                    <a:pt x="26" y="73"/>
                  </a:lnTo>
                  <a:lnTo>
                    <a:pt x="24" y="71"/>
                  </a:lnTo>
                  <a:lnTo>
                    <a:pt x="21" y="70"/>
                  </a:lnTo>
                  <a:lnTo>
                    <a:pt x="20" y="70"/>
                  </a:lnTo>
                  <a:lnTo>
                    <a:pt x="17" y="69"/>
                  </a:lnTo>
                  <a:lnTo>
                    <a:pt x="16" y="67"/>
                  </a:lnTo>
                  <a:lnTo>
                    <a:pt x="13" y="65"/>
                  </a:lnTo>
                  <a:lnTo>
                    <a:pt x="13" y="65"/>
                  </a:lnTo>
                  <a:lnTo>
                    <a:pt x="12" y="63"/>
                  </a:lnTo>
                  <a:lnTo>
                    <a:pt x="9" y="62"/>
                  </a:lnTo>
                  <a:lnTo>
                    <a:pt x="8" y="61"/>
                  </a:lnTo>
                  <a:lnTo>
                    <a:pt x="6" y="58"/>
                  </a:lnTo>
                  <a:lnTo>
                    <a:pt x="5" y="57"/>
                  </a:lnTo>
                  <a:lnTo>
                    <a:pt x="4" y="54"/>
                  </a:lnTo>
                  <a:lnTo>
                    <a:pt x="2" y="53"/>
                  </a:lnTo>
                  <a:lnTo>
                    <a:pt x="2" y="50"/>
                  </a:lnTo>
                  <a:lnTo>
                    <a:pt x="1" y="47"/>
                  </a:lnTo>
                  <a:lnTo>
                    <a:pt x="1" y="46"/>
                  </a:lnTo>
                  <a:lnTo>
                    <a:pt x="0" y="43"/>
                  </a:lnTo>
                  <a:lnTo>
                    <a:pt x="0" y="41"/>
                  </a:lnTo>
                  <a:lnTo>
                    <a:pt x="0" y="37"/>
                  </a:lnTo>
                  <a:lnTo>
                    <a:pt x="0" y="31"/>
                  </a:lnTo>
                  <a:lnTo>
                    <a:pt x="1" y="27"/>
                  </a:lnTo>
                  <a:lnTo>
                    <a:pt x="2" y="25"/>
                  </a:lnTo>
                  <a:lnTo>
                    <a:pt x="2" y="23"/>
                  </a:lnTo>
                  <a:lnTo>
                    <a:pt x="4" y="21"/>
                  </a:lnTo>
                  <a:lnTo>
                    <a:pt x="5" y="19"/>
                  </a:lnTo>
                  <a:lnTo>
                    <a:pt x="6" y="17"/>
                  </a:lnTo>
                  <a:lnTo>
                    <a:pt x="8" y="15"/>
                  </a:lnTo>
                  <a:lnTo>
                    <a:pt x="9" y="13"/>
                  </a:lnTo>
                  <a:lnTo>
                    <a:pt x="10" y="11"/>
                  </a:lnTo>
                  <a:lnTo>
                    <a:pt x="12" y="10"/>
                  </a:lnTo>
                  <a:lnTo>
                    <a:pt x="14" y="9"/>
                  </a:lnTo>
                  <a:lnTo>
                    <a:pt x="16" y="7"/>
                  </a:lnTo>
                  <a:lnTo>
                    <a:pt x="18" y="6"/>
                  </a:lnTo>
                  <a:lnTo>
                    <a:pt x="20" y="4"/>
                  </a:lnTo>
                  <a:lnTo>
                    <a:pt x="22" y="3"/>
                  </a:lnTo>
                  <a:lnTo>
                    <a:pt x="22" y="3"/>
                  </a:lnTo>
                  <a:lnTo>
                    <a:pt x="22" y="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5" name="Freeform 200"/>
            <p:cNvSpPr>
              <a:spLocks/>
            </p:cNvSpPr>
            <p:nvPr/>
          </p:nvSpPr>
          <p:spPr bwMode="auto">
            <a:xfrm>
              <a:off x="2448438" y="3642497"/>
              <a:ext cx="100951" cy="37857"/>
            </a:xfrm>
            <a:custGeom>
              <a:avLst/>
              <a:gdLst>
                <a:gd name="T0" fmla="*/ 143 w 143"/>
                <a:gd name="T1" fmla="*/ 45 h 55"/>
                <a:gd name="T2" fmla="*/ 142 w 143"/>
                <a:gd name="T3" fmla="*/ 39 h 55"/>
                <a:gd name="T4" fmla="*/ 142 w 143"/>
                <a:gd name="T5" fmla="*/ 35 h 55"/>
                <a:gd name="T6" fmla="*/ 140 w 143"/>
                <a:gd name="T7" fmla="*/ 32 h 55"/>
                <a:gd name="T8" fmla="*/ 139 w 143"/>
                <a:gd name="T9" fmla="*/ 29 h 55"/>
                <a:gd name="T10" fmla="*/ 138 w 143"/>
                <a:gd name="T11" fmla="*/ 25 h 55"/>
                <a:gd name="T12" fmla="*/ 136 w 143"/>
                <a:gd name="T13" fmla="*/ 23 h 55"/>
                <a:gd name="T14" fmla="*/ 135 w 143"/>
                <a:gd name="T15" fmla="*/ 20 h 55"/>
                <a:gd name="T16" fmla="*/ 134 w 143"/>
                <a:gd name="T17" fmla="*/ 17 h 55"/>
                <a:gd name="T18" fmla="*/ 132 w 143"/>
                <a:gd name="T19" fmla="*/ 15 h 55"/>
                <a:gd name="T20" fmla="*/ 130 w 143"/>
                <a:gd name="T21" fmla="*/ 12 h 55"/>
                <a:gd name="T22" fmla="*/ 127 w 143"/>
                <a:gd name="T23" fmla="*/ 11 h 55"/>
                <a:gd name="T24" fmla="*/ 124 w 143"/>
                <a:gd name="T25" fmla="*/ 8 h 55"/>
                <a:gd name="T26" fmla="*/ 122 w 143"/>
                <a:gd name="T27" fmla="*/ 7 h 55"/>
                <a:gd name="T28" fmla="*/ 116 w 143"/>
                <a:gd name="T29" fmla="*/ 5 h 55"/>
                <a:gd name="T30" fmla="*/ 111 w 143"/>
                <a:gd name="T31" fmla="*/ 4 h 55"/>
                <a:gd name="T32" fmla="*/ 105 w 143"/>
                <a:gd name="T33" fmla="*/ 3 h 55"/>
                <a:gd name="T34" fmla="*/ 100 w 143"/>
                <a:gd name="T35" fmla="*/ 1 h 55"/>
                <a:gd name="T36" fmla="*/ 95 w 143"/>
                <a:gd name="T37" fmla="*/ 0 h 55"/>
                <a:gd name="T38" fmla="*/ 83 w 143"/>
                <a:gd name="T39" fmla="*/ 0 h 55"/>
                <a:gd name="T40" fmla="*/ 60 w 143"/>
                <a:gd name="T41" fmla="*/ 0 h 55"/>
                <a:gd name="T42" fmla="*/ 48 w 143"/>
                <a:gd name="T43" fmla="*/ 0 h 55"/>
                <a:gd name="T44" fmla="*/ 43 w 143"/>
                <a:gd name="T45" fmla="*/ 1 h 55"/>
                <a:gd name="T46" fmla="*/ 37 w 143"/>
                <a:gd name="T47" fmla="*/ 3 h 55"/>
                <a:gd name="T48" fmla="*/ 32 w 143"/>
                <a:gd name="T49" fmla="*/ 4 h 55"/>
                <a:gd name="T50" fmla="*/ 27 w 143"/>
                <a:gd name="T51" fmla="*/ 5 h 55"/>
                <a:gd name="T52" fmla="*/ 21 w 143"/>
                <a:gd name="T53" fmla="*/ 7 h 55"/>
                <a:gd name="T54" fmla="*/ 19 w 143"/>
                <a:gd name="T55" fmla="*/ 8 h 55"/>
                <a:gd name="T56" fmla="*/ 16 w 143"/>
                <a:gd name="T57" fmla="*/ 11 h 55"/>
                <a:gd name="T58" fmla="*/ 13 w 143"/>
                <a:gd name="T59" fmla="*/ 12 h 55"/>
                <a:gd name="T60" fmla="*/ 12 w 143"/>
                <a:gd name="T61" fmla="*/ 15 h 55"/>
                <a:gd name="T62" fmla="*/ 9 w 143"/>
                <a:gd name="T63" fmla="*/ 17 h 55"/>
                <a:gd name="T64" fmla="*/ 8 w 143"/>
                <a:gd name="T65" fmla="*/ 20 h 55"/>
                <a:gd name="T66" fmla="*/ 7 w 143"/>
                <a:gd name="T67" fmla="*/ 23 h 55"/>
                <a:gd name="T68" fmla="*/ 5 w 143"/>
                <a:gd name="T69" fmla="*/ 25 h 55"/>
                <a:gd name="T70" fmla="*/ 4 w 143"/>
                <a:gd name="T71" fmla="*/ 29 h 55"/>
                <a:gd name="T72" fmla="*/ 3 w 143"/>
                <a:gd name="T73" fmla="*/ 32 h 55"/>
                <a:gd name="T74" fmla="*/ 3 w 143"/>
                <a:gd name="T75" fmla="*/ 35 h 55"/>
                <a:gd name="T76" fmla="*/ 1 w 143"/>
                <a:gd name="T77" fmla="*/ 39 h 55"/>
                <a:gd name="T78" fmla="*/ 0 w 143"/>
                <a:gd name="T79" fmla="*/ 45 h 55"/>
                <a:gd name="T80" fmla="*/ 0 w 143"/>
                <a:gd name="T81" fmla="*/ 51 h 55"/>
                <a:gd name="T82" fmla="*/ 0 w 143"/>
                <a:gd name="T83" fmla="*/ 55 h 55"/>
                <a:gd name="T84" fmla="*/ 51 w 143"/>
                <a:gd name="T85" fmla="*/ 55 h 55"/>
                <a:gd name="T86" fmla="*/ 92 w 143"/>
                <a:gd name="T87" fmla="*/ 55 h 55"/>
                <a:gd name="T88" fmla="*/ 143 w 143"/>
                <a:gd name="T89" fmla="*/ 55 h 55"/>
                <a:gd name="T90" fmla="*/ 143 w 143"/>
                <a:gd name="T91" fmla="*/ 51 h 55"/>
                <a:gd name="T92" fmla="*/ 143 w 143"/>
                <a:gd name="T9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3" y="45"/>
                  </a:moveTo>
                  <a:lnTo>
                    <a:pt x="142" y="39"/>
                  </a:lnTo>
                  <a:lnTo>
                    <a:pt x="142" y="35"/>
                  </a:lnTo>
                  <a:lnTo>
                    <a:pt x="140" y="32"/>
                  </a:lnTo>
                  <a:lnTo>
                    <a:pt x="139" y="29"/>
                  </a:lnTo>
                  <a:lnTo>
                    <a:pt x="138" y="25"/>
                  </a:lnTo>
                  <a:lnTo>
                    <a:pt x="136" y="23"/>
                  </a:lnTo>
                  <a:lnTo>
                    <a:pt x="135" y="20"/>
                  </a:lnTo>
                  <a:lnTo>
                    <a:pt x="134" y="17"/>
                  </a:lnTo>
                  <a:lnTo>
                    <a:pt x="132" y="15"/>
                  </a:lnTo>
                  <a:lnTo>
                    <a:pt x="130" y="12"/>
                  </a:lnTo>
                  <a:lnTo>
                    <a:pt x="127" y="11"/>
                  </a:lnTo>
                  <a:lnTo>
                    <a:pt x="124" y="8"/>
                  </a:lnTo>
                  <a:lnTo>
                    <a:pt x="122" y="7"/>
                  </a:lnTo>
                  <a:lnTo>
                    <a:pt x="116" y="5"/>
                  </a:lnTo>
                  <a:lnTo>
                    <a:pt x="111" y="4"/>
                  </a:lnTo>
                  <a:lnTo>
                    <a:pt x="105" y="3"/>
                  </a:lnTo>
                  <a:lnTo>
                    <a:pt x="100" y="1"/>
                  </a:lnTo>
                  <a:lnTo>
                    <a:pt x="95" y="0"/>
                  </a:lnTo>
                  <a:lnTo>
                    <a:pt x="83" y="0"/>
                  </a:lnTo>
                  <a:lnTo>
                    <a:pt x="60" y="0"/>
                  </a:lnTo>
                  <a:lnTo>
                    <a:pt x="48" y="0"/>
                  </a:lnTo>
                  <a:lnTo>
                    <a:pt x="43" y="1"/>
                  </a:lnTo>
                  <a:lnTo>
                    <a:pt x="37" y="3"/>
                  </a:lnTo>
                  <a:lnTo>
                    <a:pt x="32" y="4"/>
                  </a:lnTo>
                  <a:lnTo>
                    <a:pt x="27" y="5"/>
                  </a:lnTo>
                  <a:lnTo>
                    <a:pt x="21" y="7"/>
                  </a:lnTo>
                  <a:lnTo>
                    <a:pt x="19" y="8"/>
                  </a:lnTo>
                  <a:lnTo>
                    <a:pt x="16" y="11"/>
                  </a:lnTo>
                  <a:lnTo>
                    <a:pt x="13" y="12"/>
                  </a:lnTo>
                  <a:lnTo>
                    <a:pt x="12" y="15"/>
                  </a:lnTo>
                  <a:lnTo>
                    <a:pt x="9" y="17"/>
                  </a:lnTo>
                  <a:lnTo>
                    <a:pt x="8" y="20"/>
                  </a:lnTo>
                  <a:lnTo>
                    <a:pt x="7" y="23"/>
                  </a:lnTo>
                  <a:lnTo>
                    <a:pt x="5" y="25"/>
                  </a:lnTo>
                  <a:lnTo>
                    <a:pt x="4" y="29"/>
                  </a:lnTo>
                  <a:lnTo>
                    <a:pt x="3" y="32"/>
                  </a:lnTo>
                  <a:lnTo>
                    <a:pt x="3" y="35"/>
                  </a:lnTo>
                  <a:lnTo>
                    <a:pt x="1" y="39"/>
                  </a:lnTo>
                  <a:lnTo>
                    <a:pt x="0" y="45"/>
                  </a:lnTo>
                  <a:lnTo>
                    <a:pt x="0" y="51"/>
                  </a:lnTo>
                  <a:lnTo>
                    <a:pt x="0" y="55"/>
                  </a:lnTo>
                  <a:lnTo>
                    <a:pt x="51" y="55"/>
                  </a:lnTo>
                  <a:lnTo>
                    <a:pt x="92" y="55"/>
                  </a:lnTo>
                  <a:lnTo>
                    <a:pt x="143" y="55"/>
                  </a:lnTo>
                  <a:lnTo>
                    <a:pt x="143" y="51"/>
                  </a:lnTo>
                  <a:lnTo>
                    <a:pt x="143" y="4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6" name="Freeform 201"/>
            <p:cNvSpPr>
              <a:spLocks/>
            </p:cNvSpPr>
            <p:nvPr/>
          </p:nvSpPr>
          <p:spPr bwMode="auto">
            <a:xfrm>
              <a:off x="2465263" y="3573092"/>
              <a:ext cx="58888" cy="21032"/>
            </a:xfrm>
            <a:custGeom>
              <a:avLst/>
              <a:gdLst>
                <a:gd name="T0" fmla="*/ 66 w 83"/>
                <a:gd name="T1" fmla="*/ 26 h 30"/>
                <a:gd name="T2" fmla="*/ 76 w 83"/>
                <a:gd name="T3" fmla="*/ 26 h 30"/>
                <a:gd name="T4" fmla="*/ 79 w 83"/>
                <a:gd name="T5" fmla="*/ 17 h 30"/>
                <a:gd name="T6" fmla="*/ 79 w 83"/>
                <a:gd name="T7" fmla="*/ 17 h 30"/>
                <a:gd name="T8" fmla="*/ 82 w 83"/>
                <a:gd name="T9" fmla="*/ 12 h 30"/>
                <a:gd name="T10" fmla="*/ 83 w 83"/>
                <a:gd name="T11" fmla="*/ 8 h 30"/>
                <a:gd name="T12" fmla="*/ 83 w 83"/>
                <a:gd name="T13" fmla="*/ 8 h 30"/>
                <a:gd name="T14" fmla="*/ 83 w 83"/>
                <a:gd name="T15" fmla="*/ 4 h 30"/>
                <a:gd name="T16" fmla="*/ 80 w 83"/>
                <a:gd name="T17" fmla="*/ 3 h 30"/>
                <a:gd name="T18" fmla="*/ 76 w 83"/>
                <a:gd name="T19" fmla="*/ 1 h 30"/>
                <a:gd name="T20" fmla="*/ 72 w 83"/>
                <a:gd name="T21" fmla="*/ 0 h 30"/>
                <a:gd name="T22" fmla="*/ 46 w 83"/>
                <a:gd name="T23" fmla="*/ 1 h 30"/>
                <a:gd name="T24" fmla="*/ 46 w 83"/>
                <a:gd name="T25" fmla="*/ 1 h 30"/>
                <a:gd name="T26" fmla="*/ 18 w 83"/>
                <a:gd name="T27" fmla="*/ 0 h 30"/>
                <a:gd name="T28" fmla="*/ 14 w 83"/>
                <a:gd name="T29" fmla="*/ 1 h 30"/>
                <a:gd name="T30" fmla="*/ 10 w 83"/>
                <a:gd name="T31" fmla="*/ 3 h 30"/>
                <a:gd name="T32" fmla="*/ 8 w 83"/>
                <a:gd name="T33" fmla="*/ 4 h 30"/>
                <a:gd name="T34" fmla="*/ 7 w 83"/>
                <a:gd name="T35" fmla="*/ 8 h 30"/>
                <a:gd name="T36" fmla="*/ 7 w 83"/>
                <a:gd name="T37" fmla="*/ 8 h 30"/>
                <a:gd name="T38" fmla="*/ 8 w 83"/>
                <a:gd name="T39" fmla="*/ 13 h 30"/>
                <a:gd name="T40" fmla="*/ 12 w 83"/>
                <a:gd name="T41" fmla="*/ 17 h 30"/>
                <a:gd name="T42" fmla="*/ 12 w 83"/>
                <a:gd name="T43" fmla="*/ 17 h 30"/>
                <a:gd name="T44" fmla="*/ 12 w 83"/>
                <a:gd name="T45" fmla="*/ 17 h 30"/>
                <a:gd name="T46" fmla="*/ 12 w 83"/>
                <a:gd name="T47" fmla="*/ 17 h 30"/>
                <a:gd name="T48" fmla="*/ 6 w 83"/>
                <a:gd name="T49" fmla="*/ 22 h 30"/>
                <a:gd name="T50" fmla="*/ 2 w 83"/>
                <a:gd name="T51" fmla="*/ 23 h 30"/>
                <a:gd name="T52" fmla="*/ 0 w 83"/>
                <a:gd name="T53" fmla="*/ 27 h 30"/>
                <a:gd name="T54" fmla="*/ 0 w 83"/>
                <a:gd name="T55" fmla="*/ 27 h 30"/>
                <a:gd name="T56" fmla="*/ 3 w 83"/>
                <a:gd name="T57" fmla="*/ 28 h 30"/>
                <a:gd name="T58" fmla="*/ 6 w 83"/>
                <a:gd name="T59" fmla="*/ 30 h 30"/>
                <a:gd name="T60" fmla="*/ 66 w 83"/>
                <a:gd name="T61"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3" h="30">
                  <a:moveTo>
                    <a:pt x="66" y="26"/>
                  </a:moveTo>
                  <a:lnTo>
                    <a:pt x="76" y="26"/>
                  </a:lnTo>
                  <a:lnTo>
                    <a:pt x="79" y="17"/>
                  </a:lnTo>
                  <a:lnTo>
                    <a:pt x="79" y="17"/>
                  </a:lnTo>
                  <a:lnTo>
                    <a:pt x="82" y="12"/>
                  </a:lnTo>
                  <a:lnTo>
                    <a:pt x="83" y="8"/>
                  </a:lnTo>
                  <a:lnTo>
                    <a:pt x="83" y="8"/>
                  </a:lnTo>
                  <a:lnTo>
                    <a:pt x="83" y="4"/>
                  </a:lnTo>
                  <a:lnTo>
                    <a:pt x="80" y="3"/>
                  </a:lnTo>
                  <a:lnTo>
                    <a:pt x="76" y="1"/>
                  </a:lnTo>
                  <a:lnTo>
                    <a:pt x="72" y="0"/>
                  </a:lnTo>
                  <a:lnTo>
                    <a:pt x="46" y="1"/>
                  </a:lnTo>
                  <a:lnTo>
                    <a:pt x="46" y="1"/>
                  </a:lnTo>
                  <a:lnTo>
                    <a:pt x="18" y="0"/>
                  </a:lnTo>
                  <a:lnTo>
                    <a:pt x="14" y="1"/>
                  </a:lnTo>
                  <a:lnTo>
                    <a:pt x="10" y="3"/>
                  </a:lnTo>
                  <a:lnTo>
                    <a:pt x="8" y="4"/>
                  </a:lnTo>
                  <a:lnTo>
                    <a:pt x="7" y="8"/>
                  </a:lnTo>
                  <a:lnTo>
                    <a:pt x="7" y="8"/>
                  </a:lnTo>
                  <a:lnTo>
                    <a:pt x="8" y="13"/>
                  </a:lnTo>
                  <a:lnTo>
                    <a:pt x="12" y="17"/>
                  </a:lnTo>
                  <a:lnTo>
                    <a:pt x="12" y="17"/>
                  </a:lnTo>
                  <a:lnTo>
                    <a:pt x="12" y="17"/>
                  </a:lnTo>
                  <a:lnTo>
                    <a:pt x="12" y="17"/>
                  </a:lnTo>
                  <a:lnTo>
                    <a:pt x="6" y="22"/>
                  </a:lnTo>
                  <a:lnTo>
                    <a:pt x="2" y="23"/>
                  </a:lnTo>
                  <a:lnTo>
                    <a:pt x="0" y="27"/>
                  </a:lnTo>
                  <a:lnTo>
                    <a:pt x="0" y="27"/>
                  </a:lnTo>
                  <a:lnTo>
                    <a:pt x="3" y="28"/>
                  </a:lnTo>
                  <a:lnTo>
                    <a:pt x="6" y="30"/>
                  </a:lnTo>
                  <a:lnTo>
                    <a:pt x="66" y="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7" name="Freeform 202"/>
            <p:cNvSpPr>
              <a:spLocks/>
            </p:cNvSpPr>
            <p:nvPr/>
          </p:nvSpPr>
          <p:spPr bwMode="auto">
            <a:xfrm>
              <a:off x="3205575" y="3596226"/>
              <a:ext cx="39961" cy="37857"/>
            </a:xfrm>
            <a:custGeom>
              <a:avLst/>
              <a:gdLst>
                <a:gd name="T0" fmla="*/ 14 w 55"/>
                <a:gd name="T1" fmla="*/ 0 h 54"/>
                <a:gd name="T2" fmla="*/ 14 w 55"/>
                <a:gd name="T3" fmla="*/ 0 h 54"/>
                <a:gd name="T4" fmla="*/ 7 w 55"/>
                <a:gd name="T5" fmla="*/ 0 h 54"/>
                <a:gd name="T6" fmla="*/ 4 w 55"/>
                <a:gd name="T7" fmla="*/ 0 h 54"/>
                <a:gd name="T8" fmla="*/ 3 w 55"/>
                <a:gd name="T9" fmla="*/ 1 h 54"/>
                <a:gd name="T10" fmla="*/ 0 w 55"/>
                <a:gd name="T11" fmla="*/ 5 h 54"/>
                <a:gd name="T12" fmla="*/ 0 w 55"/>
                <a:gd name="T13" fmla="*/ 12 h 54"/>
                <a:gd name="T14" fmla="*/ 3 w 55"/>
                <a:gd name="T15" fmla="*/ 18 h 54"/>
                <a:gd name="T16" fmla="*/ 7 w 55"/>
                <a:gd name="T17" fmla="*/ 26 h 54"/>
                <a:gd name="T18" fmla="*/ 12 w 55"/>
                <a:gd name="T19" fmla="*/ 34 h 54"/>
                <a:gd name="T20" fmla="*/ 18 w 55"/>
                <a:gd name="T21" fmla="*/ 44 h 54"/>
                <a:gd name="T22" fmla="*/ 18 w 55"/>
                <a:gd name="T23" fmla="*/ 44 h 54"/>
                <a:gd name="T24" fmla="*/ 24 w 55"/>
                <a:gd name="T25" fmla="*/ 50 h 54"/>
                <a:gd name="T26" fmla="*/ 31 w 55"/>
                <a:gd name="T27" fmla="*/ 53 h 54"/>
                <a:gd name="T28" fmla="*/ 38 w 55"/>
                <a:gd name="T29" fmla="*/ 54 h 54"/>
                <a:gd name="T30" fmla="*/ 43 w 55"/>
                <a:gd name="T31" fmla="*/ 54 h 54"/>
                <a:gd name="T32" fmla="*/ 48 w 55"/>
                <a:gd name="T33" fmla="*/ 53 h 54"/>
                <a:gd name="T34" fmla="*/ 52 w 55"/>
                <a:gd name="T35" fmla="*/ 52 h 54"/>
                <a:gd name="T36" fmla="*/ 55 w 55"/>
                <a:gd name="T37" fmla="*/ 49 h 54"/>
                <a:gd name="T38" fmla="*/ 55 w 55"/>
                <a:gd name="T39" fmla="*/ 49 h 54"/>
                <a:gd name="T40" fmla="*/ 52 w 55"/>
                <a:gd name="T41" fmla="*/ 50 h 54"/>
                <a:gd name="T42" fmla="*/ 47 w 55"/>
                <a:gd name="T43" fmla="*/ 49 h 54"/>
                <a:gd name="T44" fmla="*/ 43 w 55"/>
                <a:gd name="T45" fmla="*/ 48 h 54"/>
                <a:gd name="T46" fmla="*/ 39 w 55"/>
                <a:gd name="T47" fmla="*/ 45 h 54"/>
                <a:gd name="T48" fmla="*/ 35 w 55"/>
                <a:gd name="T49" fmla="*/ 41 h 54"/>
                <a:gd name="T50" fmla="*/ 32 w 55"/>
                <a:gd name="T51" fmla="*/ 36 h 54"/>
                <a:gd name="T52" fmla="*/ 32 w 55"/>
                <a:gd name="T53" fmla="*/ 36 h 54"/>
                <a:gd name="T54" fmla="*/ 30 w 55"/>
                <a:gd name="T55" fmla="*/ 26 h 54"/>
                <a:gd name="T56" fmla="*/ 27 w 55"/>
                <a:gd name="T57" fmla="*/ 16 h 54"/>
                <a:gd name="T58" fmla="*/ 24 w 55"/>
                <a:gd name="T59" fmla="*/ 10 h 54"/>
                <a:gd name="T60" fmla="*/ 22 w 55"/>
                <a:gd name="T61" fmla="*/ 5 h 54"/>
                <a:gd name="T62" fmla="*/ 19 w 55"/>
                <a:gd name="T63" fmla="*/ 2 h 54"/>
                <a:gd name="T64" fmla="*/ 14 w 55"/>
                <a:gd name="T65" fmla="*/ 0 h 54"/>
                <a:gd name="T66" fmla="*/ 14 w 55"/>
                <a:gd name="T6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4">
                  <a:moveTo>
                    <a:pt x="14" y="0"/>
                  </a:moveTo>
                  <a:lnTo>
                    <a:pt x="14" y="0"/>
                  </a:lnTo>
                  <a:lnTo>
                    <a:pt x="7" y="0"/>
                  </a:lnTo>
                  <a:lnTo>
                    <a:pt x="4" y="0"/>
                  </a:lnTo>
                  <a:lnTo>
                    <a:pt x="3" y="1"/>
                  </a:lnTo>
                  <a:lnTo>
                    <a:pt x="0" y="5"/>
                  </a:lnTo>
                  <a:lnTo>
                    <a:pt x="0" y="12"/>
                  </a:lnTo>
                  <a:lnTo>
                    <a:pt x="3" y="18"/>
                  </a:lnTo>
                  <a:lnTo>
                    <a:pt x="7" y="26"/>
                  </a:lnTo>
                  <a:lnTo>
                    <a:pt x="12" y="34"/>
                  </a:lnTo>
                  <a:lnTo>
                    <a:pt x="18" y="44"/>
                  </a:lnTo>
                  <a:lnTo>
                    <a:pt x="18" y="44"/>
                  </a:lnTo>
                  <a:lnTo>
                    <a:pt x="24" y="50"/>
                  </a:lnTo>
                  <a:lnTo>
                    <a:pt x="31" y="53"/>
                  </a:lnTo>
                  <a:lnTo>
                    <a:pt x="38" y="54"/>
                  </a:lnTo>
                  <a:lnTo>
                    <a:pt x="43" y="54"/>
                  </a:lnTo>
                  <a:lnTo>
                    <a:pt x="48" y="53"/>
                  </a:lnTo>
                  <a:lnTo>
                    <a:pt x="52" y="52"/>
                  </a:lnTo>
                  <a:lnTo>
                    <a:pt x="55" y="49"/>
                  </a:lnTo>
                  <a:lnTo>
                    <a:pt x="55" y="49"/>
                  </a:lnTo>
                  <a:lnTo>
                    <a:pt x="52" y="50"/>
                  </a:lnTo>
                  <a:lnTo>
                    <a:pt x="47" y="49"/>
                  </a:lnTo>
                  <a:lnTo>
                    <a:pt x="43" y="48"/>
                  </a:lnTo>
                  <a:lnTo>
                    <a:pt x="39" y="45"/>
                  </a:lnTo>
                  <a:lnTo>
                    <a:pt x="35" y="41"/>
                  </a:lnTo>
                  <a:lnTo>
                    <a:pt x="32" y="36"/>
                  </a:lnTo>
                  <a:lnTo>
                    <a:pt x="32" y="36"/>
                  </a:lnTo>
                  <a:lnTo>
                    <a:pt x="30" y="26"/>
                  </a:lnTo>
                  <a:lnTo>
                    <a:pt x="27" y="16"/>
                  </a:lnTo>
                  <a:lnTo>
                    <a:pt x="24" y="10"/>
                  </a:lnTo>
                  <a:lnTo>
                    <a:pt x="22" y="5"/>
                  </a:lnTo>
                  <a:lnTo>
                    <a:pt x="19" y="2"/>
                  </a:lnTo>
                  <a:lnTo>
                    <a:pt x="14" y="0"/>
                  </a:lnTo>
                  <a:lnTo>
                    <a:pt x="1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8" name="Freeform 203"/>
            <p:cNvSpPr>
              <a:spLocks/>
            </p:cNvSpPr>
            <p:nvPr/>
          </p:nvSpPr>
          <p:spPr bwMode="auto">
            <a:xfrm>
              <a:off x="3354898" y="3594124"/>
              <a:ext cx="52579" cy="50476"/>
            </a:xfrm>
            <a:custGeom>
              <a:avLst/>
              <a:gdLst>
                <a:gd name="T0" fmla="*/ 22 w 73"/>
                <a:gd name="T1" fmla="*/ 2 h 72"/>
                <a:gd name="T2" fmla="*/ 26 w 73"/>
                <a:gd name="T3" fmla="*/ 1 h 72"/>
                <a:gd name="T4" fmla="*/ 32 w 73"/>
                <a:gd name="T5" fmla="*/ 0 h 72"/>
                <a:gd name="T6" fmla="*/ 36 w 73"/>
                <a:gd name="T7" fmla="*/ 0 h 72"/>
                <a:gd name="T8" fmla="*/ 41 w 73"/>
                <a:gd name="T9" fmla="*/ 0 h 72"/>
                <a:gd name="T10" fmla="*/ 45 w 73"/>
                <a:gd name="T11" fmla="*/ 1 h 72"/>
                <a:gd name="T12" fmla="*/ 53 w 73"/>
                <a:gd name="T13" fmla="*/ 4 h 72"/>
                <a:gd name="T14" fmla="*/ 61 w 73"/>
                <a:gd name="T15" fmla="*/ 9 h 72"/>
                <a:gd name="T16" fmla="*/ 67 w 73"/>
                <a:gd name="T17" fmla="*/ 16 h 72"/>
                <a:gd name="T18" fmla="*/ 69 w 73"/>
                <a:gd name="T19" fmla="*/ 20 h 72"/>
                <a:gd name="T20" fmla="*/ 72 w 73"/>
                <a:gd name="T21" fmla="*/ 24 h 72"/>
                <a:gd name="T22" fmla="*/ 73 w 73"/>
                <a:gd name="T23" fmla="*/ 28 h 72"/>
                <a:gd name="T24" fmla="*/ 73 w 73"/>
                <a:gd name="T25" fmla="*/ 33 h 72"/>
                <a:gd name="T26" fmla="*/ 73 w 73"/>
                <a:gd name="T27" fmla="*/ 37 h 72"/>
                <a:gd name="T28" fmla="*/ 73 w 73"/>
                <a:gd name="T29" fmla="*/ 40 h 72"/>
                <a:gd name="T30" fmla="*/ 72 w 73"/>
                <a:gd name="T31" fmla="*/ 45 h 72"/>
                <a:gd name="T32" fmla="*/ 71 w 73"/>
                <a:gd name="T33" fmla="*/ 50 h 72"/>
                <a:gd name="T34" fmla="*/ 69 w 73"/>
                <a:gd name="T35" fmla="*/ 54 h 72"/>
                <a:gd name="T36" fmla="*/ 65 w 73"/>
                <a:gd name="T37" fmla="*/ 58 h 72"/>
                <a:gd name="T38" fmla="*/ 63 w 73"/>
                <a:gd name="T39" fmla="*/ 62 h 72"/>
                <a:gd name="T40" fmla="*/ 59 w 73"/>
                <a:gd name="T41" fmla="*/ 65 h 72"/>
                <a:gd name="T42" fmla="*/ 53 w 73"/>
                <a:gd name="T43" fmla="*/ 68 h 72"/>
                <a:gd name="T44" fmla="*/ 49 w 73"/>
                <a:gd name="T45" fmla="*/ 69 h 72"/>
                <a:gd name="T46" fmla="*/ 44 w 73"/>
                <a:gd name="T47" fmla="*/ 70 h 72"/>
                <a:gd name="T48" fmla="*/ 40 w 73"/>
                <a:gd name="T49" fmla="*/ 72 h 72"/>
                <a:gd name="T50" fmla="*/ 34 w 73"/>
                <a:gd name="T51" fmla="*/ 72 h 72"/>
                <a:gd name="T52" fmla="*/ 29 w 73"/>
                <a:gd name="T53" fmla="*/ 70 h 72"/>
                <a:gd name="T54" fmla="*/ 24 w 73"/>
                <a:gd name="T55" fmla="*/ 69 h 72"/>
                <a:gd name="T56" fmla="*/ 20 w 73"/>
                <a:gd name="T57" fmla="*/ 68 h 72"/>
                <a:gd name="T58" fmla="*/ 16 w 73"/>
                <a:gd name="T59" fmla="*/ 65 h 72"/>
                <a:gd name="T60" fmla="*/ 13 w 73"/>
                <a:gd name="T61" fmla="*/ 64 h 72"/>
                <a:gd name="T62" fmla="*/ 9 w 73"/>
                <a:gd name="T63" fmla="*/ 60 h 72"/>
                <a:gd name="T64" fmla="*/ 6 w 73"/>
                <a:gd name="T65" fmla="*/ 57 h 72"/>
                <a:gd name="T66" fmla="*/ 4 w 73"/>
                <a:gd name="T67" fmla="*/ 53 h 72"/>
                <a:gd name="T68" fmla="*/ 2 w 73"/>
                <a:gd name="T69" fmla="*/ 49 h 72"/>
                <a:gd name="T70" fmla="*/ 1 w 73"/>
                <a:gd name="T71" fmla="*/ 44 h 72"/>
                <a:gd name="T72" fmla="*/ 0 w 73"/>
                <a:gd name="T73" fmla="*/ 40 h 72"/>
                <a:gd name="T74" fmla="*/ 1 w 73"/>
                <a:gd name="T75" fmla="*/ 30 h 72"/>
                <a:gd name="T76" fmla="*/ 2 w 73"/>
                <a:gd name="T77" fmla="*/ 24 h 72"/>
                <a:gd name="T78" fmla="*/ 4 w 73"/>
                <a:gd name="T79" fmla="*/ 18 h 72"/>
                <a:gd name="T80" fmla="*/ 6 w 73"/>
                <a:gd name="T81" fmla="*/ 14 h 72"/>
                <a:gd name="T82" fmla="*/ 9 w 73"/>
                <a:gd name="T83" fmla="*/ 12 h 72"/>
                <a:gd name="T84" fmla="*/ 12 w 73"/>
                <a:gd name="T85" fmla="*/ 8 h 72"/>
                <a:gd name="T86" fmla="*/ 16 w 73"/>
                <a:gd name="T87" fmla="*/ 5 h 72"/>
                <a:gd name="T88" fmla="*/ 20 w 73"/>
                <a:gd name="T89" fmla="*/ 4 h 72"/>
                <a:gd name="T90" fmla="*/ 22 w 73"/>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72">
                  <a:moveTo>
                    <a:pt x="22" y="2"/>
                  </a:moveTo>
                  <a:lnTo>
                    <a:pt x="22" y="2"/>
                  </a:lnTo>
                  <a:lnTo>
                    <a:pt x="25" y="1"/>
                  </a:lnTo>
                  <a:lnTo>
                    <a:pt x="26" y="1"/>
                  </a:lnTo>
                  <a:lnTo>
                    <a:pt x="29" y="0"/>
                  </a:lnTo>
                  <a:lnTo>
                    <a:pt x="32" y="0"/>
                  </a:lnTo>
                  <a:lnTo>
                    <a:pt x="34" y="0"/>
                  </a:lnTo>
                  <a:lnTo>
                    <a:pt x="36" y="0"/>
                  </a:lnTo>
                  <a:lnTo>
                    <a:pt x="38" y="0"/>
                  </a:lnTo>
                  <a:lnTo>
                    <a:pt x="41" y="0"/>
                  </a:lnTo>
                  <a:lnTo>
                    <a:pt x="42" y="0"/>
                  </a:lnTo>
                  <a:lnTo>
                    <a:pt x="45" y="1"/>
                  </a:lnTo>
                  <a:lnTo>
                    <a:pt x="49" y="2"/>
                  </a:lnTo>
                  <a:lnTo>
                    <a:pt x="53" y="4"/>
                  </a:lnTo>
                  <a:lnTo>
                    <a:pt x="57" y="6"/>
                  </a:lnTo>
                  <a:lnTo>
                    <a:pt x="61" y="9"/>
                  </a:lnTo>
                  <a:lnTo>
                    <a:pt x="64" y="12"/>
                  </a:lnTo>
                  <a:lnTo>
                    <a:pt x="67" y="16"/>
                  </a:lnTo>
                  <a:lnTo>
                    <a:pt x="68" y="17"/>
                  </a:lnTo>
                  <a:lnTo>
                    <a:pt x="69" y="20"/>
                  </a:lnTo>
                  <a:lnTo>
                    <a:pt x="71" y="21"/>
                  </a:lnTo>
                  <a:lnTo>
                    <a:pt x="72" y="24"/>
                  </a:lnTo>
                  <a:lnTo>
                    <a:pt x="72" y="26"/>
                  </a:lnTo>
                  <a:lnTo>
                    <a:pt x="73" y="28"/>
                  </a:lnTo>
                  <a:lnTo>
                    <a:pt x="73" y="30"/>
                  </a:lnTo>
                  <a:lnTo>
                    <a:pt x="73" y="33"/>
                  </a:lnTo>
                  <a:lnTo>
                    <a:pt x="73" y="34"/>
                  </a:lnTo>
                  <a:lnTo>
                    <a:pt x="73" y="37"/>
                  </a:lnTo>
                  <a:lnTo>
                    <a:pt x="73" y="37"/>
                  </a:lnTo>
                  <a:lnTo>
                    <a:pt x="73" y="40"/>
                  </a:lnTo>
                  <a:lnTo>
                    <a:pt x="73" y="42"/>
                  </a:lnTo>
                  <a:lnTo>
                    <a:pt x="72" y="45"/>
                  </a:lnTo>
                  <a:lnTo>
                    <a:pt x="72" y="48"/>
                  </a:lnTo>
                  <a:lnTo>
                    <a:pt x="71" y="50"/>
                  </a:lnTo>
                  <a:lnTo>
                    <a:pt x="71" y="52"/>
                  </a:lnTo>
                  <a:lnTo>
                    <a:pt x="69" y="54"/>
                  </a:lnTo>
                  <a:lnTo>
                    <a:pt x="68" y="56"/>
                  </a:lnTo>
                  <a:lnTo>
                    <a:pt x="65" y="58"/>
                  </a:lnTo>
                  <a:lnTo>
                    <a:pt x="64" y="60"/>
                  </a:lnTo>
                  <a:lnTo>
                    <a:pt x="63" y="62"/>
                  </a:lnTo>
                  <a:lnTo>
                    <a:pt x="60" y="64"/>
                  </a:lnTo>
                  <a:lnTo>
                    <a:pt x="59" y="65"/>
                  </a:lnTo>
                  <a:lnTo>
                    <a:pt x="56" y="66"/>
                  </a:lnTo>
                  <a:lnTo>
                    <a:pt x="53" y="68"/>
                  </a:lnTo>
                  <a:lnTo>
                    <a:pt x="52" y="68"/>
                  </a:lnTo>
                  <a:lnTo>
                    <a:pt x="49" y="69"/>
                  </a:lnTo>
                  <a:lnTo>
                    <a:pt x="46" y="70"/>
                  </a:lnTo>
                  <a:lnTo>
                    <a:pt x="44" y="70"/>
                  </a:lnTo>
                  <a:lnTo>
                    <a:pt x="42" y="72"/>
                  </a:lnTo>
                  <a:lnTo>
                    <a:pt x="40" y="72"/>
                  </a:lnTo>
                  <a:lnTo>
                    <a:pt x="37" y="72"/>
                  </a:lnTo>
                  <a:lnTo>
                    <a:pt x="34" y="72"/>
                  </a:lnTo>
                  <a:lnTo>
                    <a:pt x="32" y="72"/>
                  </a:lnTo>
                  <a:lnTo>
                    <a:pt x="29" y="70"/>
                  </a:lnTo>
                  <a:lnTo>
                    <a:pt x="26" y="70"/>
                  </a:lnTo>
                  <a:lnTo>
                    <a:pt x="24" y="69"/>
                  </a:lnTo>
                  <a:lnTo>
                    <a:pt x="21" y="69"/>
                  </a:lnTo>
                  <a:lnTo>
                    <a:pt x="20" y="68"/>
                  </a:lnTo>
                  <a:lnTo>
                    <a:pt x="17" y="66"/>
                  </a:lnTo>
                  <a:lnTo>
                    <a:pt x="16" y="65"/>
                  </a:lnTo>
                  <a:lnTo>
                    <a:pt x="13" y="64"/>
                  </a:lnTo>
                  <a:lnTo>
                    <a:pt x="13" y="64"/>
                  </a:lnTo>
                  <a:lnTo>
                    <a:pt x="12" y="62"/>
                  </a:lnTo>
                  <a:lnTo>
                    <a:pt x="9" y="60"/>
                  </a:lnTo>
                  <a:lnTo>
                    <a:pt x="8" y="58"/>
                  </a:lnTo>
                  <a:lnTo>
                    <a:pt x="6" y="57"/>
                  </a:lnTo>
                  <a:lnTo>
                    <a:pt x="5" y="54"/>
                  </a:lnTo>
                  <a:lnTo>
                    <a:pt x="4" y="53"/>
                  </a:lnTo>
                  <a:lnTo>
                    <a:pt x="2" y="50"/>
                  </a:lnTo>
                  <a:lnTo>
                    <a:pt x="2" y="49"/>
                  </a:lnTo>
                  <a:lnTo>
                    <a:pt x="1" y="46"/>
                  </a:lnTo>
                  <a:lnTo>
                    <a:pt x="1" y="44"/>
                  </a:lnTo>
                  <a:lnTo>
                    <a:pt x="1" y="41"/>
                  </a:lnTo>
                  <a:lnTo>
                    <a:pt x="0" y="40"/>
                  </a:lnTo>
                  <a:lnTo>
                    <a:pt x="0" y="34"/>
                  </a:lnTo>
                  <a:lnTo>
                    <a:pt x="1" y="30"/>
                  </a:lnTo>
                  <a:lnTo>
                    <a:pt x="1" y="25"/>
                  </a:lnTo>
                  <a:lnTo>
                    <a:pt x="2" y="24"/>
                  </a:lnTo>
                  <a:lnTo>
                    <a:pt x="2" y="21"/>
                  </a:lnTo>
                  <a:lnTo>
                    <a:pt x="4" y="18"/>
                  </a:lnTo>
                  <a:lnTo>
                    <a:pt x="5" y="17"/>
                  </a:lnTo>
                  <a:lnTo>
                    <a:pt x="6" y="14"/>
                  </a:lnTo>
                  <a:lnTo>
                    <a:pt x="8" y="13"/>
                  </a:lnTo>
                  <a:lnTo>
                    <a:pt x="9" y="12"/>
                  </a:lnTo>
                  <a:lnTo>
                    <a:pt x="10" y="9"/>
                  </a:lnTo>
                  <a:lnTo>
                    <a:pt x="12" y="8"/>
                  </a:lnTo>
                  <a:lnTo>
                    <a:pt x="14" y="6"/>
                  </a:lnTo>
                  <a:lnTo>
                    <a:pt x="16" y="5"/>
                  </a:lnTo>
                  <a:lnTo>
                    <a:pt x="18" y="4"/>
                  </a:lnTo>
                  <a:lnTo>
                    <a:pt x="20" y="4"/>
                  </a:lnTo>
                  <a:lnTo>
                    <a:pt x="22" y="2"/>
                  </a:lnTo>
                  <a:lnTo>
                    <a:pt x="22" y="2"/>
                  </a:lnTo>
                  <a:lnTo>
                    <a:pt x="22"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59" name="Freeform 204"/>
            <p:cNvSpPr>
              <a:spLocks/>
            </p:cNvSpPr>
            <p:nvPr/>
          </p:nvSpPr>
          <p:spPr bwMode="auto">
            <a:xfrm>
              <a:off x="3331764" y="3653012"/>
              <a:ext cx="98849" cy="37857"/>
            </a:xfrm>
            <a:custGeom>
              <a:avLst/>
              <a:gdLst>
                <a:gd name="T0" fmla="*/ 143 w 143"/>
                <a:gd name="T1" fmla="*/ 45 h 55"/>
                <a:gd name="T2" fmla="*/ 142 w 143"/>
                <a:gd name="T3" fmla="*/ 38 h 55"/>
                <a:gd name="T4" fmla="*/ 142 w 143"/>
                <a:gd name="T5" fmla="*/ 36 h 55"/>
                <a:gd name="T6" fmla="*/ 140 w 143"/>
                <a:gd name="T7" fmla="*/ 32 h 55"/>
                <a:gd name="T8" fmla="*/ 139 w 143"/>
                <a:gd name="T9" fmla="*/ 29 h 55"/>
                <a:gd name="T10" fmla="*/ 138 w 143"/>
                <a:gd name="T11" fmla="*/ 26 h 55"/>
                <a:gd name="T12" fmla="*/ 136 w 143"/>
                <a:gd name="T13" fmla="*/ 22 h 55"/>
                <a:gd name="T14" fmla="*/ 135 w 143"/>
                <a:gd name="T15" fmla="*/ 20 h 55"/>
                <a:gd name="T16" fmla="*/ 134 w 143"/>
                <a:gd name="T17" fmla="*/ 17 h 55"/>
                <a:gd name="T18" fmla="*/ 132 w 143"/>
                <a:gd name="T19" fmla="*/ 14 h 55"/>
                <a:gd name="T20" fmla="*/ 130 w 143"/>
                <a:gd name="T21" fmla="*/ 13 h 55"/>
                <a:gd name="T22" fmla="*/ 127 w 143"/>
                <a:gd name="T23" fmla="*/ 10 h 55"/>
                <a:gd name="T24" fmla="*/ 124 w 143"/>
                <a:gd name="T25" fmla="*/ 9 h 55"/>
                <a:gd name="T26" fmla="*/ 122 w 143"/>
                <a:gd name="T27" fmla="*/ 8 h 55"/>
                <a:gd name="T28" fmla="*/ 116 w 143"/>
                <a:gd name="T29" fmla="*/ 5 h 55"/>
                <a:gd name="T30" fmla="*/ 111 w 143"/>
                <a:gd name="T31" fmla="*/ 4 h 55"/>
                <a:gd name="T32" fmla="*/ 106 w 143"/>
                <a:gd name="T33" fmla="*/ 2 h 55"/>
                <a:gd name="T34" fmla="*/ 100 w 143"/>
                <a:gd name="T35" fmla="*/ 1 h 55"/>
                <a:gd name="T36" fmla="*/ 95 w 143"/>
                <a:gd name="T37" fmla="*/ 1 h 55"/>
                <a:gd name="T38" fmla="*/ 83 w 143"/>
                <a:gd name="T39" fmla="*/ 0 h 55"/>
                <a:gd name="T40" fmla="*/ 60 w 143"/>
                <a:gd name="T41" fmla="*/ 0 h 55"/>
                <a:gd name="T42" fmla="*/ 48 w 143"/>
                <a:gd name="T43" fmla="*/ 1 h 55"/>
                <a:gd name="T44" fmla="*/ 43 w 143"/>
                <a:gd name="T45" fmla="*/ 1 h 55"/>
                <a:gd name="T46" fmla="*/ 37 w 143"/>
                <a:gd name="T47" fmla="*/ 2 h 55"/>
                <a:gd name="T48" fmla="*/ 32 w 143"/>
                <a:gd name="T49" fmla="*/ 4 h 55"/>
                <a:gd name="T50" fmla="*/ 27 w 143"/>
                <a:gd name="T51" fmla="*/ 5 h 55"/>
                <a:gd name="T52" fmla="*/ 21 w 143"/>
                <a:gd name="T53" fmla="*/ 8 h 55"/>
                <a:gd name="T54" fmla="*/ 19 w 143"/>
                <a:gd name="T55" fmla="*/ 9 h 55"/>
                <a:gd name="T56" fmla="*/ 16 w 143"/>
                <a:gd name="T57" fmla="*/ 10 h 55"/>
                <a:gd name="T58" fmla="*/ 13 w 143"/>
                <a:gd name="T59" fmla="*/ 13 h 55"/>
                <a:gd name="T60" fmla="*/ 12 w 143"/>
                <a:gd name="T61" fmla="*/ 14 h 55"/>
                <a:gd name="T62" fmla="*/ 9 w 143"/>
                <a:gd name="T63" fmla="*/ 17 h 55"/>
                <a:gd name="T64" fmla="*/ 8 w 143"/>
                <a:gd name="T65" fmla="*/ 20 h 55"/>
                <a:gd name="T66" fmla="*/ 7 w 143"/>
                <a:gd name="T67" fmla="*/ 22 h 55"/>
                <a:gd name="T68" fmla="*/ 5 w 143"/>
                <a:gd name="T69" fmla="*/ 26 h 55"/>
                <a:gd name="T70" fmla="*/ 4 w 143"/>
                <a:gd name="T71" fmla="*/ 29 h 55"/>
                <a:gd name="T72" fmla="*/ 3 w 143"/>
                <a:gd name="T73" fmla="*/ 32 h 55"/>
                <a:gd name="T74" fmla="*/ 3 w 143"/>
                <a:gd name="T75" fmla="*/ 36 h 55"/>
                <a:gd name="T76" fmla="*/ 1 w 143"/>
                <a:gd name="T77" fmla="*/ 38 h 55"/>
                <a:gd name="T78" fmla="*/ 0 w 143"/>
                <a:gd name="T79" fmla="*/ 45 h 55"/>
                <a:gd name="T80" fmla="*/ 0 w 143"/>
                <a:gd name="T81" fmla="*/ 52 h 55"/>
                <a:gd name="T82" fmla="*/ 0 w 143"/>
                <a:gd name="T83" fmla="*/ 55 h 55"/>
                <a:gd name="T84" fmla="*/ 51 w 143"/>
                <a:gd name="T85" fmla="*/ 55 h 55"/>
                <a:gd name="T86" fmla="*/ 92 w 143"/>
                <a:gd name="T87" fmla="*/ 55 h 55"/>
                <a:gd name="T88" fmla="*/ 143 w 143"/>
                <a:gd name="T89" fmla="*/ 55 h 55"/>
                <a:gd name="T90" fmla="*/ 143 w 143"/>
                <a:gd name="T91" fmla="*/ 52 h 55"/>
                <a:gd name="T92" fmla="*/ 143 w 143"/>
                <a:gd name="T9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3" y="45"/>
                  </a:moveTo>
                  <a:lnTo>
                    <a:pt x="142" y="38"/>
                  </a:lnTo>
                  <a:lnTo>
                    <a:pt x="142" y="36"/>
                  </a:lnTo>
                  <a:lnTo>
                    <a:pt x="140" y="32"/>
                  </a:lnTo>
                  <a:lnTo>
                    <a:pt x="139" y="29"/>
                  </a:lnTo>
                  <a:lnTo>
                    <a:pt x="138" y="26"/>
                  </a:lnTo>
                  <a:lnTo>
                    <a:pt x="136" y="22"/>
                  </a:lnTo>
                  <a:lnTo>
                    <a:pt x="135" y="20"/>
                  </a:lnTo>
                  <a:lnTo>
                    <a:pt x="134" y="17"/>
                  </a:lnTo>
                  <a:lnTo>
                    <a:pt x="132" y="14"/>
                  </a:lnTo>
                  <a:lnTo>
                    <a:pt x="130" y="13"/>
                  </a:lnTo>
                  <a:lnTo>
                    <a:pt x="127" y="10"/>
                  </a:lnTo>
                  <a:lnTo>
                    <a:pt x="124" y="9"/>
                  </a:lnTo>
                  <a:lnTo>
                    <a:pt x="122" y="8"/>
                  </a:lnTo>
                  <a:lnTo>
                    <a:pt x="116" y="5"/>
                  </a:lnTo>
                  <a:lnTo>
                    <a:pt x="111" y="4"/>
                  </a:lnTo>
                  <a:lnTo>
                    <a:pt x="106" y="2"/>
                  </a:lnTo>
                  <a:lnTo>
                    <a:pt x="100" y="1"/>
                  </a:lnTo>
                  <a:lnTo>
                    <a:pt x="95" y="1"/>
                  </a:lnTo>
                  <a:lnTo>
                    <a:pt x="83" y="0"/>
                  </a:lnTo>
                  <a:lnTo>
                    <a:pt x="60" y="0"/>
                  </a:lnTo>
                  <a:lnTo>
                    <a:pt x="48" y="1"/>
                  </a:lnTo>
                  <a:lnTo>
                    <a:pt x="43" y="1"/>
                  </a:lnTo>
                  <a:lnTo>
                    <a:pt x="37" y="2"/>
                  </a:lnTo>
                  <a:lnTo>
                    <a:pt x="32" y="4"/>
                  </a:lnTo>
                  <a:lnTo>
                    <a:pt x="27" y="5"/>
                  </a:lnTo>
                  <a:lnTo>
                    <a:pt x="21" y="8"/>
                  </a:lnTo>
                  <a:lnTo>
                    <a:pt x="19" y="9"/>
                  </a:lnTo>
                  <a:lnTo>
                    <a:pt x="16" y="10"/>
                  </a:lnTo>
                  <a:lnTo>
                    <a:pt x="13" y="13"/>
                  </a:lnTo>
                  <a:lnTo>
                    <a:pt x="12" y="14"/>
                  </a:lnTo>
                  <a:lnTo>
                    <a:pt x="9" y="17"/>
                  </a:lnTo>
                  <a:lnTo>
                    <a:pt x="8" y="20"/>
                  </a:lnTo>
                  <a:lnTo>
                    <a:pt x="7" y="22"/>
                  </a:lnTo>
                  <a:lnTo>
                    <a:pt x="5" y="26"/>
                  </a:lnTo>
                  <a:lnTo>
                    <a:pt x="4" y="29"/>
                  </a:lnTo>
                  <a:lnTo>
                    <a:pt x="3" y="32"/>
                  </a:lnTo>
                  <a:lnTo>
                    <a:pt x="3" y="36"/>
                  </a:lnTo>
                  <a:lnTo>
                    <a:pt x="1" y="38"/>
                  </a:lnTo>
                  <a:lnTo>
                    <a:pt x="0" y="45"/>
                  </a:lnTo>
                  <a:lnTo>
                    <a:pt x="0" y="52"/>
                  </a:lnTo>
                  <a:lnTo>
                    <a:pt x="0" y="55"/>
                  </a:lnTo>
                  <a:lnTo>
                    <a:pt x="51" y="55"/>
                  </a:lnTo>
                  <a:lnTo>
                    <a:pt x="92" y="55"/>
                  </a:lnTo>
                  <a:lnTo>
                    <a:pt x="143" y="55"/>
                  </a:lnTo>
                  <a:lnTo>
                    <a:pt x="143" y="52"/>
                  </a:lnTo>
                  <a:lnTo>
                    <a:pt x="143" y="4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60" name="Freeform 205"/>
            <p:cNvSpPr>
              <a:spLocks/>
            </p:cNvSpPr>
            <p:nvPr/>
          </p:nvSpPr>
          <p:spPr bwMode="auto">
            <a:xfrm>
              <a:off x="2801768" y="3596226"/>
              <a:ext cx="37857" cy="37857"/>
            </a:xfrm>
            <a:custGeom>
              <a:avLst/>
              <a:gdLst>
                <a:gd name="T0" fmla="*/ 13 w 55"/>
                <a:gd name="T1" fmla="*/ 0 h 54"/>
                <a:gd name="T2" fmla="*/ 13 w 55"/>
                <a:gd name="T3" fmla="*/ 0 h 54"/>
                <a:gd name="T4" fmla="*/ 6 w 55"/>
                <a:gd name="T5" fmla="*/ 0 h 54"/>
                <a:gd name="T6" fmla="*/ 4 w 55"/>
                <a:gd name="T7" fmla="*/ 0 h 54"/>
                <a:gd name="T8" fmla="*/ 1 w 55"/>
                <a:gd name="T9" fmla="*/ 1 h 54"/>
                <a:gd name="T10" fmla="*/ 0 w 55"/>
                <a:gd name="T11" fmla="*/ 5 h 54"/>
                <a:gd name="T12" fmla="*/ 0 w 55"/>
                <a:gd name="T13" fmla="*/ 12 h 54"/>
                <a:gd name="T14" fmla="*/ 2 w 55"/>
                <a:gd name="T15" fmla="*/ 18 h 54"/>
                <a:gd name="T16" fmla="*/ 6 w 55"/>
                <a:gd name="T17" fmla="*/ 26 h 54"/>
                <a:gd name="T18" fmla="*/ 10 w 55"/>
                <a:gd name="T19" fmla="*/ 34 h 54"/>
                <a:gd name="T20" fmla="*/ 17 w 55"/>
                <a:gd name="T21" fmla="*/ 44 h 54"/>
                <a:gd name="T22" fmla="*/ 17 w 55"/>
                <a:gd name="T23" fmla="*/ 44 h 54"/>
                <a:gd name="T24" fmla="*/ 24 w 55"/>
                <a:gd name="T25" fmla="*/ 50 h 54"/>
                <a:gd name="T26" fmla="*/ 31 w 55"/>
                <a:gd name="T27" fmla="*/ 53 h 54"/>
                <a:gd name="T28" fmla="*/ 36 w 55"/>
                <a:gd name="T29" fmla="*/ 54 h 54"/>
                <a:gd name="T30" fmla="*/ 43 w 55"/>
                <a:gd name="T31" fmla="*/ 54 h 54"/>
                <a:gd name="T32" fmla="*/ 47 w 55"/>
                <a:gd name="T33" fmla="*/ 53 h 54"/>
                <a:gd name="T34" fmla="*/ 51 w 55"/>
                <a:gd name="T35" fmla="*/ 52 h 54"/>
                <a:gd name="T36" fmla="*/ 55 w 55"/>
                <a:gd name="T37" fmla="*/ 49 h 54"/>
                <a:gd name="T38" fmla="*/ 55 w 55"/>
                <a:gd name="T39" fmla="*/ 49 h 54"/>
                <a:gd name="T40" fmla="*/ 52 w 55"/>
                <a:gd name="T41" fmla="*/ 50 h 54"/>
                <a:gd name="T42" fmla="*/ 47 w 55"/>
                <a:gd name="T43" fmla="*/ 49 h 54"/>
                <a:gd name="T44" fmla="*/ 43 w 55"/>
                <a:gd name="T45" fmla="*/ 48 h 54"/>
                <a:gd name="T46" fmla="*/ 39 w 55"/>
                <a:gd name="T47" fmla="*/ 45 h 54"/>
                <a:gd name="T48" fmla="*/ 35 w 55"/>
                <a:gd name="T49" fmla="*/ 41 h 54"/>
                <a:gd name="T50" fmla="*/ 31 w 55"/>
                <a:gd name="T51" fmla="*/ 36 h 54"/>
                <a:gd name="T52" fmla="*/ 31 w 55"/>
                <a:gd name="T53" fmla="*/ 36 h 54"/>
                <a:gd name="T54" fmla="*/ 28 w 55"/>
                <a:gd name="T55" fmla="*/ 26 h 54"/>
                <a:gd name="T56" fmla="*/ 27 w 55"/>
                <a:gd name="T57" fmla="*/ 16 h 54"/>
                <a:gd name="T58" fmla="*/ 24 w 55"/>
                <a:gd name="T59" fmla="*/ 10 h 54"/>
                <a:gd name="T60" fmla="*/ 21 w 55"/>
                <a:gd name="T61" fmla="*/ 5 h 54"/>
                <a:gd name="T62" fmla="*/ 17 w 55"/>
                <a:gd name="T63" fmla="*/ 2 h 54"/>
                <a:gd name="T64" fmla="*/ 13 w 55"/>
                <a:gd name="T65" fmla="*/ 0 h 54"/>
                <a:gd name="T66" fmla="*/ 13 w 55"/>
                <a:gd name="T6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4">
                  <a:moveTo>
                    <a:pt x="13" y="0"/>
                  </a:moveTo>
                  <a:lnTo>
                    <a:pt x="13" y="0"/>
                  </a:lnTo>
                  <a:lnTo>
                    <a:pt x="6" y="0"/>
                  </a:lnTo>
                  <a:lnTo>
                    <a:pt x="4" y="0"/>
                  </a:lnTo>
                  <a:lnTo>
                    <a:pt x="1" y="1"/>
                  </a:lnTo>
                  <a:lnTo>
                    <a:pt x="0" y="5"/>
                  </a:lnTo>
                  <a:lnTo>
                    <a:pt x="0" y="12"/>
                  </a:lnTo>
                  <a:lnTo>
                    <a:pt x="2" y="18"/>
                  </a:lnTo>
                  <a:lnTo>
                    <a:pt x="6" y="26"/>
                  </a:lnTo>
                  <a:lnTo>
                    <a:pt x="10" y="34"/>
                  </a:lnTo>
                  <a:lnTo>
                    <a:pt x="17" y="44"/>
                  </a:lnTo>
                  <a:lnTo>
                    <a:pt x="17" y="44"/>
                  </a:lnTo>
                  <a:lnTo>
                    <a:pt x="24" y="50"/>
                  </a:lnTo>
                  <a:lnTo>
                    <a:pt x="31" y="53"/>
                  </a:lnTo>
                  <a:lnTo>
                    <a:pt x="36" y="54"/>
                  </a:lnTo>
                  <a:lnTo>
                    <a:pt x="43" y="54"/>
                  </a:lnTo>
                  <a:lnTo>
                    <a:pt x="47" y="53"/>
                  </a:lnTo>
                  <a:lnTo>
                    <a:pt x="51" y="52"/>
                  </a:lnTo>
                  <a:lnTo>
                    <a:pt x="55" y="49"/>
                  </a:lnTo>
                  <a:lnTo>
                    <a:pt x="55" y="49"/>
                  </a:lnTo>
                  <a:lnTo>
                    <a:pt x="52" y="50"/>
                  </a:lnTo>
                  <a:lnTo>
                    <a:pt x="47" y="49"/>
                  </a:lnTo>
                  <a:lnTo>
                    <a:pt x="43" y="48"/>
                  </a:lnTo>
                  <a:lnTo>
                    <a:pt x="39" y="45"/>
                  </a:lnTo>
                  <a:lnTo>
                    <a:pt x="35" y="41"/>
                  </a:lnTo>
                  <a:lnTo>
                    <a:pt x="31" y="36"/>
                  </a:lnTo>
                  <a:lnTo>
                    <a:pt x="31" y="36"/>
                  </a:lnTo>
                  <a:lnTo>
                    <a:pt x="28" y="26"/>
                  </a:lnTo>
                  <a:lnTo>
                    <a:pt x="27" y="16"/>
                  </a:lnTo>
                  <a:lnTo>
                    <a:pt x="24" y="10"/>
                  </a:lnTo>
                  <a:lnTo>
                    <a:pt x="21" y="5"/>
                  </a:lnTo>
                  <a:lnTo>
                    <a:pt x="17" y="2"/>
                  </a:lnTo>
                  <a:lnTo>
                    <a:pt x="13" y="0"/>
                  </a:lnTo>
                  <a:lnTo>
                    <a:pt x="1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35" name="Freeform 239"/>
            <p:cNvSpPr>
              <a:spLocks/>
            </p:cNvSpPr>
            <p:nvPr/>
          </p:nvSpPr>
          <p:spPr bwMode="auto">
            <a:xfrm>
              <a:off x="3108769" y="3814938"/>
              <a:ext cx="180871" cy="180871"/>
            </a:xfrm>
            <a:custGeom>
              <a:avLst/>
              <a:gdLst>
                <a:gd name="T0" fmla="*/ 128 w 258"/>
                <a:gd name="T1" fmla="*/ 258 h 258"/>
                <a:gd name="T2" fmla="*/ 128 w 258"/>
                <a:gd name="T3" fmla="*/ 258 h 258"/>
                <a:gd name="T4" fmla="*/ 128 w 258"/>
                <a:gd name="T5" fmla="*/ 258 h 258"/>
                <a:gd name="T6" fmla="*/ 103 w 258"/>
                <a:gd name="T7" fmla="*/ 256 h 258"/>
                <a:gd name="T8" fmla="*/ 79 w 258"/>
                <a:gd name="T9" fmla="*/ 249 h 258"/>
                <a:gd name="T10" fmla="*/ 56 w 258"/>
                <a:gd name="T11" fmla="*/ 237 h 258"/>
                <a:gd name="T12" fmla="*/ 37 w 258"/>
                <a:gd name="T13" fmla="*/ 221 h 258"/>
                <a:gd name="T14" fmla="*/ 21 w 258"/>
                <a:gd name="T15" fmla="*/ 202 h 258"/>
                <a:gd name="T16" fmla="*/ 9 w 258"/>
                <a:gd name="T17" fmla="*/ 179 h 258"/>
                <a:gd name="T18" fmla="*/ 3 w 258"/>
                <a:gd name="T19" fmla="*/ 155 h 258"/>
                <a:gd name="T20" fmla="*/ 0 w 258"/>
                <a:gd name="T21" fmla="*/ 130 h 258"/>
                <a:gd name="T22" fmla="*/ 0 w 258"/>
                <a:gd name="T23" fmla="*/ 130 h 258"/>
                <a:gd name="T24" fmla="*/ 0 w 258"/>
                <a:gd name="T25" fmla="*/ 127 h 258"/>
                <a:gd name="T26" fmla="*/ 0 w 258"/>
                <a:gd name="T27" fmla="*/ 115 h 258"/>
                <a:gd name="T28" fmla="*/ 5 w 258"/>
                <a:gd name="T29" fmla="*/ 90 h 258"/>
                <a:gd name="T30" fmla="*/ 16 w 258"/>
                <a:gd name="T31" fmla="*/ 67 h 258"/>
                <a:gd name="T32" fmla="*/ 29 w 258"/>
                <a:gd name="T33" fmla="*/ 47 h 258"/>
                <a:gd name="T34" fmla="*/ 47 w 258"/>
                <a:gd name="T35" fmla="*/ 30 h 258"/>
                <a:gd name="T36" fmla="*/ 68 w 258"/>
                <a:gd name="T37" fmla="*/ 15 h 258"/>
                <a:gd name="T38" fmla="*/ 91 w 258"/>
                <a:gd name="T39" fmla="*/ 6 h 258"/>
                <a:gd name="T40" fmla="*/ 116 w 258"/>
                <a:gd name="T41" fmla="*/ 0 h 258"/>
                <a:gd name="T42" fmla="*/ 128 w 258"/>
                <a:gd name="T43" fmla="*/ 0 h 258"/>
                <a:gd name="T44" fmla="*/ 142 w 258"/>
                <a:gd name="T45" fmla="*/ 0 h 258"/>
                <a:gd name="T46" fmla="*/ 167 w 258"/>
                <a:gd name="T47" fmla="*/ 6 h 258"/>
                <a:gd name="T48" fmla="*/ 190 w 258"/>
                <a:gd name="T49" fmla="*/ 15 h 258"/>
                <a:gd name="T50" fmla="*/ 211 w 258"/>
                <a:gd name="T51" fmla="*/ 30 h 258"/>
                <a:gd name="T52" fmla="*/ 228 w 258"/>
                <a:gd name="T53" fmla="*/ 47 h 258"/>
                <a:gd name="T54" fmla="*/ 242 w 258"/>
                <a:gd name="T55" fmla="*/ 67 h 258"/>
                <a:gd name="T56" fmla="*/ 252 w 258"/>
                <a:gd name="T57" fmla="*/ 91 h 258"/>
                <a:gd name="T58" fmla="*/ 258 w 258"/>
                <a:gd name="T59" fmla="*/ 117 h 258"/>
                <a:gd name="T60" fmla="*/ 258 w 258"/>
                <a:gd name="T61" fmla="*/ 129 h 258"/>
                <a:gd name="T62" fmla="*/ 258 w 258"/>
                <a:gd name="T63" fmla="*/ 130 h 258"/>
                <a:gd name="T64" fmla="*/ 258 w 258"/>
                <a:gd name="T65" fmla="*/ 130 h 258"/>
                <a:gd name="T66" fmla="*/ 255 w 258"/>
                <a:gd name="T67" fmla="*/ 155 h 258"/>
                <a:gd name="T68" fmla="*/ 247 w 258"/>
                <a:gd name="T69" fmla="*/ 179 h 258"/>
                <a:gd name="T70" fmla="*/ 235 w 258"/>
                <a:gd name="T71" fmla="*/ 202 h 258"/>
                <a:gd name="T72" fmla="*/ 220 w 258"/>
                <a:gd name="T73" fmla="*/ 221 h 258"/>
                <a:gd name="T74" fmla="*/ 200 w 258"/>
                <a:gd name="T75" fmla="*/ 237 h 258"/>
                <a:gd name="T76" fmla="*/ 179 w 258"/>
                <a:gd name="T77" fmla="*/ 249 h 258"/>
                <a:gd name="T78" fmla="*/ 155 w 258"/>
                <a:gd name="T79" fmla="*/ 256 h 258"/>
                <a:gd name="T80" fmla="*/ 128 w 258"/>
                <a:gd name="T81" fmla="*/ 258 h 258"/>
                <a:gd name="T82" fmla="*/ 128 w 258"/>
                <a:gd name="T83"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8" h="258">
                  <a:moveTo>
                    <a:pt x="128" y="258"/>
                  </a:moveTo>
                  <a:lnTo>
                    <a:pt x="128" y="258"/>
                  </a:lnTo>
                  <a:lnTo>
                    <a:pt x="128" y="258"/>
                  </a:lnTo>
                  <a:lnTo>
                    <a:pt x="128" y="258"/>
                  </a:lnTo>
                  <a:lnTo>
                    <a:pt x="128" y="258"/>
                  </a:lnTo>
                  <a:lnTo>
                    <a:pt x="128" y="258"/>
                  </a:lnTo>
                  <a:lnTo>
                    <a:pt x="115" y="258"/>
                  </a:lnTo>
                  <a:lnTo>
                    <a:pt x="103" y="256"/>
                  </a:lnTo>
                  <a:lnTo>
                    <a:pt x="89" y="253"/>
                  </a:lnTo>
                  <a:lnTo>
                    <a:pt x="79" y="249"/>
                  </a:lnTo>
                  <a:lnTo>
                    <a:pt x="67" y="242"/>
                  </a:lnTo>
                  <a:lnTo>
                    <a:pt x="56" y="237"/>
                  </a:lnTo>
                  <a:lnTo>
                    <a:pt x="47" y="229"/>
                  </a:lnTo>
                  <a:lnTo>
                    <a:pt x="37" y="221"/>
                  </a:lnTo>
                  <a:lnTo>
                    <a:pt x="29" y="211"/>
                  </a:lnTo>
                  <a:lnTo>
                    <a:pt x="21" y="202"/>
                  </a:lnTo>
                  <a:lnTo>
                    <a:pt x="15" y="191"/>
                  </a:lnTo>
                  <a:lnTo>
                    <a:pt x="9" y="179"/>
                  </a:lnTo>
                  <a:lnTo>
                    <a:pt x="5" y="167"/>
                  </a:lnTo>
                  <a:lnTo>
                    <a:pt x="3" y="155"/>
                  </a:lnTo>
                  <a:lnTo>
                    <a:pt x="0" y="142"/>
                  </a:lnTo>
                  <a:lnTo>
                    <a:pt x="0" y="130"/>
                  </a:lnTo>
                  <a:lnTo>
                    <a:pt x="0" y="130"/>
                  </a:lnTo>
                  <a:lnTo>
                    <a:pt x="0" y="130"/>
                  </a:lnTo>
                  <a:lnTo>
                    <a:pt x="0" y="127"/>
                  </a:lnTo>
                  <a:lnTo>
                    <a:pt x="0" y="127"/>
                  </a:lnTo>
                  <a:lnTo>
                    <a:pt x="0" y="127"/>
                  </a:lnTo>
                  <a:lnTo>
                    <a:pt x="0" y="115"/>
                  </a:lnTo>
                  <a:lnTo>
                    <a:pt x="3" y="102"/>
                  </a:lnTo>
                  <a:lnTo>
                    <a:pt x="5" y="90"/>
                  </a:lnTo>
                  <a:lnTo>
                    <a:pt x="11" y="78"/>
                  </a:lnTo>
                  <a:lnTo>
                    <a:pt x="16" y="67"/>
                  </a:lnTo>
                  <a:lnTo>
                    <a:pt x="23" y="56"/>
                  </a:lnTo>
                  <a:lnTo>
                    <a:pt x="29" y="47"/>
                  </a:lnTo>
                  <a:lnTo>
                    <a:pt x="37" y="38"/>
                  </a:lnTo>
                  <a:lnTo>
                    <a:pt x="47" y="30"/>
                  </a:lnTo>
                  <a:lnTo>
                    <a:pt x="57" y="22"/>
                  </a:lnTo>
                  <a:lnTo>
                    <a:pt x="68" y="15"/>
                  </a:lnTo>
                  <a:lnTo>
                    <a:pt x="79" y="10"/>
                  </a:lnTo>
                  <a:lnTo>
                    <a:pt x="91" y="6"/>
                  </a:lnTo>
                  <a:lnTo>
                    <a:pt x="103" y="3"/>
                  </a:lnTo>
                  <a:lnTo>
                    <a:pt x="116" y="0"/>
                  </a:lnTo>
                  <a:lnTo>
                    <a:pt x="128" y="0"/>
                  </a:lnTo>
                  <a:lnTo>
                    <a:pt x="128" y="0"/>
                  </a:lnTo>
                  <a:lnTo>
                    <a:pt x="128" y="0"/>
                  </a:lnTo>
                  <a:lnTo>
                    <a:pt x="142" y="0"/>
                  </a:lnTo>
                  <a:lnTo>
                    <a:pt x="155" y="3"/>
                  </a:lnTo>
                  <a:lnTo>
                    <a:pt x="167" y="6"/>
                  </a:lnTo>
                  <a:lnTo>
                    <a:pt x="179" y="10"/>
                  </a:lnTo>
                  <a:lnTo>
                    <a:pt x="190" y="15"/>
                  </a:lnTo>
                  <a:lnTo>
                    <a:pt x="200" y="22"/>
                  </a:lnTo>
                  <a:lnTo>
                    <a:pt x="211" y="30"/>
                  </a:lnTo>
                  <a:lnTo>
                    <a:pt x="220" y="38"/>
                  </a:lnTo>
                  <a:lnTo>
                    <a:pt x="228" y="47"/>
                  </a:lnTo>
                  <a:lnTo>
                    <a:pt x="236" y="56"/>
                  </a:lnTo>
                  <a:lnTo>
                    <a:pt x="242" y="67"/>
                  </a:lnTo>
                  <a:lnTo>
                    <a:pt x="247" y="79"/>
                  </a:lnTo>
                  <a:lnTo>
                    <a:pt x="252" y="91"/>
                  </a:lnTo>
                  <a:lnTo>
                    <a:pt x="255" y="103"/>
                  </a:lnTo>
                  <a:lnTo>
                    <a:pt x="258" y="117"/>
                  </a:lnTo>
                  <a:lnTo>
                    <a:pt x="258" y="129"/>
                  </a:lnTo>
                  <a:lnTo>
                    <a:pt x="258" y="129"/>
                  </a:lnTo>
                  <a:lnTo>
                    <a:pt x="258" y="129"/>
                  </a:lnTo>
                  <a:lnTo>
                    <a:pt x="258" y="130"/>
                  </a:lnTo>
                  <a:lnTo>
                    <a:pt x="258" y="130"/>
                  </a:lnTo>
                  <a:lnTo>
                    <a:pt x="258" y="130"/>
                  </a:lnTo>
                  <a:lnTo>
                    <a:pt x="258" y="143"/>
                  </a:lnTo>
                  <a:lnTo>
                    <a:pt x="255" y="155"/>
                  </a:lnTo>
                  <a:lnTo>
                    <a:pt x="252" y="167"/>
                  </a:lnTo>
                  <a:lnTo>
                    <a:pt x="247" y="179"/>
                  </a:lnTo>
                  <a:lnTo>
                    <a:pt x="242" y="191"/>
                  </a:lnTo>
                  <a:lnTo>
                    <a:pt x="235" y="202"/>
                  </a:lnTo>
                  <a:lnTo>
                    <a:pt x="228" y="211"/>
                  </a:lnTo>
                  <a:lnTo>
                    <a:pt x="220" y="221"/>
                  </a:lnTo>
                  <a:lnTo>
                    <a:pt x="211" y="229"/>
                  </a:lnTo>
                  <a:lnTo>
                    <a:pt x="200" y="237"/>
                  </a:lnTo>
                  <a:lnTo>
                    <a:pt x="190" y="244"/>
                  </a:lnTo>
                  <a:lnTo>
                    <a:pt x="179" y="249"/>
                  </a:lnTo>
                  <a:lnTo>
                    <a:pt x="167" y="253"/>
                  </a:lnTo>
                  <a:lnTo>
                    <a:pt x="155" y="256"/>
                  </a:lnTo>
                  <a:lnTo>
                    <a:pt x="142" y="258"/>
                  </a:lnTo>
                  <a:lnTo>
                    <a:pt x="128" y="258"/>
                  </a:lnTo>
                  <a:lnTo>
                    <a:pt x="128" y="258"/>
                  </a:lnTo>
                  <a:lnTo>
                    <a:pt x="128" y="2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42" name="Freeform 87"/>
            <p:cNvSpPr>
              <a:spLocks noEditPoints="1"/>
            </p:cNvSpPr>
            <p:nvPr/>
          </p:nvSpPr>
          <p:spPr bwMode="auto">
            <a:xfrm>
              <a:off x="2326456" y="3461625"/>
              <a:ext cx="1165149" cy="471107"/>
            </a:xfrm>
            <a:custGeom>
              <a:avLst/>
              <a:gdLst>
                <a:gd name="T0" fmla="*/ 137 w 1664"/>
                <a:gd name="T1" fmla="*/ 9 h 672"/>
                <a:gd name="T2" fmla="*/ 0 w 1664"/>
                <a:gd name="T3" fmla="*/ 508 h 672"/>
                <a:gd name="T4" fmla="*/ 14 w 1664"/>
                <a:gd name="T5" fmla="*/ 657 h 672"/>
                <a:gd name="T6" fmla="*/ 133 w 1664"/>
                <a:gd name="T7" fmla="*/ 669 h 672"/>
                <a:gd name="T8" fmla="*/ 131 w 1664"/>
                <a:gd name="T9" fmla="*/ 617 h 672"/>
                <a:gd name="T10" fmla="*/ 163 w 1664"/>
                <a:gd name="T11" fmla="*/ 540 h 672"/>
                <a:gd name="T12" fmla="*/ 232 w 1664"/>
                <a:gd name="T13" fmla="*/ 494 h 672"/>
                <a:gd name="T14" fmla="*/ 305 w 1664"/>
                <a:gd name="T15" fmla="*/ 490 h 672"/>
                <a:gd name="T16" fmla="*/ 378 w 1664"/>
                <a:gd name="T17" fmla="*/ 530 h 672"/>
                <a:gd name="T18" fmla="*/ 418 w 1664"/>
                <a:gd name="T19" fmla="*/ 604 h 672"/>
                <a:gd name="T20" fmla="*/ 417 w 1664"/>
                <a:gd name="T21" fmla="*/ 669 h 672"/>
                <a:gd name="T22" fmla="*/ 1101 w 1664"/>
                <a:gd name="T23" fmla="*/ 633 h 672"/>
                <a:gd name="T24" fmla="*/ 1125 w 1664"/>
                <a:gd name="T25" fmla="*/ 552 h 672"/>
                <a:gd name="T26" fmla="*/ 1189 w 1664"/>
                <a:gd name="T27" fmla="*/ 498 h 672"/>
                <a:gd name="T28" fmla="*/ 1262 w 1664"/>
                <a:gd name="T29" fmla="*/ 488 h 672"/>
                <a:gd name="T30" fmla="*/ 1339 w 1664"/>
                <a:gd name="T31" fmla="*/ 521 h 672"/>
                <a:gd name="T32" fmla="*/ 1386 w 1664"/>
                <a:gd name="T33" fmla="*/ 589 h 672"/>
                <a:gd name="T34" fmla="*/ 1387 w 1664"/>
                <a:gd name="T35" fmla="*/ 671 h 672"/>
                <a:gd name="T36" fmla="*/ 1657 w 1664"/>
                <a:gd name="T37" fmla="*/ 75 h 672"/>
                <a:gd name="T38" fmla="*/ 1616 w 1664"/>
                <a:gd name="T39" fmla="*/ 24 h 672"/>
                <a:gd name="T40" fmla="*/ 1554 w 1664"/>
                <a:gd name="T41" fmla="*/ 0 h 672"/>
                <a:gd name="T42" fmla="*/ 346 w 1664"/>
                <a:gd name="T43" fmla="*/ 294 h 672"/>
                <a:gd name="T44" fmla="*/ 314 w 1664"/>
                <a:gd name="T45" fmla="*/ 312 h 672"/>
                <a:gd name="T46" fmla="*/ 97 w 1664"/>
                <a:gd name="T47" fmla="*/ 304 h 672"/>
                <a:gd name="T48" fmla="*/ 144 w 1664"/>
                <a:gd name="T49" fmla="*/ 147 h 672"/>
                <a:gd name="T50" fmla="*/ 172 w 1664"/>
                <a:gd name="T51" fmla="*/ 115 h 672"/>
                <a:gd name="T52" fmla="*/ 334 w 1664"/>
                <a:gd name="T53" fmla="*/ 120 h 672"/>
                <a:gd name="T54" fmla="*/ 349 w 1664"/>
                <a:gd name="T55" fmla="*/ 280 h 672"/>
                <a:gd name="T56" fmla="*/ 751 w 1664"/>
                <a:gd name="T57" fmla="*/ 308 h 672"/>
                <a:gd name="T58" fmla="*/ 540 w 1664"/>
                <a:gd name="T59" fmla="*/ 318 h 672"/>
                <a:gd name="T60" fmla="*/ 508 w 1664"/>
                <a:gd name="T61" fmla="*/ 296 h 672"/>
                <a:gd name="T62" fmla="*/ 508 w 1664"/>
                <a:gd name="T63" fmla="*/ 131 h 672"/>
                <a:gd name="T64" fmla="*/ 540 w 1664"/>
                <a:gd name="T65" fmla="*/ 111 h 672"/>
                <a:gd name="T66" fmla="*/ 751 w 1664"/>
                <a:gd name="T67" fmla="*/ 120 h 672"/>
                <a:gd name="T68" fmla="*/ 1048 w 1664"/>
                <a:gd name="T69" fmla="*/ 283 h 672"/>
                <a:gd name="T70" fmla="*/ 1032 w 1664"/>
                <a:gd name="T71" fmla="*/ 312 h 672"/>
                <a:gd name="T72" fmla="*/ 819 w 1664"/>
                <a:gd name="T73" fmla="*/ 316 h 672"/>
                <a:gd name="T74" fmla="*/ 792 w 1664"/>
                <a:gd name="T75" fmla="*/ 291 h 672"/>
                <a:gd name="T76" fmla="*/ 798 w 1664"/>
                <a:gd name="T77" fmla="*/ 125 h 672"/>
                <a:gd name="T78" fmla="*/ 1013 w 1664"/>
                <a:gd name="T79" fmla="*/ 111 h 672"/>
                <a:gd name="T80" fmla="*/ 1041 w 1664"/>
                <a:gd name="T81" fmla="*/ 125 h 672"/>
                <a:gd name="T82" fmla="*/ 1334 w 1664"/>
                <a:gd name="T83" fmla="*/ 283 h 672"/>
                <a:gd name="T84" fmla="*/ 1312 w 1664"/>
                <a:gd name="T85" fmla="*/ 315 h 672"/>
                <a:gd name="T86" fmla="*/ 1098 w 1664"/>
                <a:gd name="T87" fmla="*/ 315 h 672"/>
                <a:gd name="T88" fmla="*/ 1077 w 1664"/>
                <a:gd name="T89" fmla="*/ 283 h 672"/>
                <a:gd name="T90" fmla="*/ 1088 w 1664"/>
                <a:gd name="T91" fmla="*/ 120 h 672"/>
                <a:gd name="T92" fmla="*/ 1299 w 1664"/>
                <a:gd name="T93" fmla="*/ 111 h 672"/>
                <a:gd name="T94" fmla="*/ 1331 w 1664"/>
                <a:gd name="T95" fmla="*/ 131 h 672"/>
                <a:gd name="T96" fmla="*/ 1618 w 1664"/>
                <a:gd name="T97" fmla="*/ 291 h 672"/>
                <a:gd name="T98" fmla="*/ 1592 w 1664"/>
                <a:gd name="T99" fmla="*/ 316 h 672"/>
                <a:gd name="T100" fmla="*/ 1378 w 1664"/>
                <a:gd name="T101" fmla="*/ 312 h 672"/>
                <a:gd name="T102" fmla="*/ 1363 w 1664"/>
                <a:gd name="T103" fmla="*/ 144 h 672"/>
                <a:gd name="T104" fmla="*/ 1378 w 1664"/>
                <a:gd name="T105" fmla="*/ 116 h 672"/>
                <a:gd name="T106" fmla="*/ 1592 w 1664"/>
                <a:gd name="T107" fmla="*/ 111 h 672"/>
                <a:gd name="T108" fmla="*/ 1618 w 1664"/>
                <a:gd name="T109" fmla="*/ 137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4" h="672">
                  <a:moveTo>
                    <a:pt x="160" y="1"/>
                  </a:moveTo>
                  <a:lnTo>
                    <a:pt x="160" y="1"/>
                  </a:lnTo>
                  <a:lnTo>
                    <a:pt x="152" y="1"/>
                  </a:lnTo>
                  <a:lnTo>
                    <a:pt x="147" y="2"/>
                  </a:lnTo>
                  <a:lnTo>
                    <a:pt x="141" y="5"/>
                  </a:lnTo>
                  <a:lnTo>
                    <a:pt x="137" y="9"/>
                  </a:lnTo>
                  <a:lnTo>
                    <a:pt x="133" y="13"/>
                  </a:lnTo>
                  <a:lnTo>
                    <a:pt x="129" y="18"/>
                  </a:lnTo>
                  <a:lnTo>
                    <a:pt x="124" y="30"/>
                  </a:lnTo>
                  <a:lnTo>
                    <a:pt x="4" y="335"/>
                  </a:lnTo>
                  <a:lnTo>
                    <a:pt x="0" y="358"/>
                  </a:lnTo>
                  <a:lnTo>
                    <a:pt x="0" y="508"/>
                  </a:lnTo>
                  <a:lnTo>
                    <a:pt x="0" y="623"/>
                  </a:lnTo>
                  <a:lnTo>
                    <a:pt x="0" y="623"/>
                  </a:lnTo>
                  <a:lnTo>
                    <a:pt x="1" y="633"/>
                  </a:lnTo>
                  <a:lnTo>
                    <a:pt x="4" y="643"/>
                  </a:lnTo>
                  <a:lnTo>
                    <a:pt x="8" y="651"/>
                  </a:lnTo>
                  <a:lnTo>
                    <a:pt x="14" y="657"/>
                  </a:lnTo>
                  <a:lnTo>
                    <a:pt x="21" y="663"/>
                  </a:lnTo>
                  <a:lnTo>
                    <a:pt x="29" y="665"/>
                  </a:lnTo>
                  <a:lnTo>
                    <a:pt x="37" y="668"/>
                  </a:lnTo>
                  <a:lnTo>
                    <a:pt x="45" y="669"/>
                  </a:lnTo>
                  <a:lnTo>
                    <a:pt x="133" y="669"/>
                  </a:lnTo>
                  <a:lnTo>
                    <a:pt x="133" y="669"/>
                  </a:lnTo>
                  <a:lnTo>
                    <a:pt x="131" y="652"/>
                  </a:lnTo>
                  <a:lnTo>
                    <a:pt x="129" y="633"/>
                  </a:lnTo>
                  <a:lnTo>
                    <a:pt x="129" y="633"/>
                  </a:lnTo>
                  <a:lnTo>
                    <a:pt x="129" y="632"/>
                  </a:lnTo>
                  <a:lnTo>
                    <a:pt x="129" y="632"/>
                  </a:lnTo>
                  <a:lnTo>
                    <a:pt x="131" y="617"/>
                  </a:lnTo>
                  <a:lnTo>
                    <a:pt x="132" y="602"/>
                  </a:lnTo>
                  <a:lnTo>
                    <a:pt x="136" y="589"/>
                  </a:lnTo>
                  <a:lnTo>
                    <a:pt x="141" y="576"/>
                  </a:lnTo>
                  <a:lnTo>
                    <a:pt x="147" y="562"/>
                  </a:lnTo>
                  <a:lnTo>
                    <a:pt x="155" y="550"/>
                  </a:lnTo>
                  <a:lnTo>
                    <a:pt x="163" y="540"/>
                  </a:lnTo>
                  <a:lnTo>
                    <a:pt x="172" y="529"/>
                  </a:lnTo>
                  <a:lnTo>
                    <a:pt x="183" y="520"/>
                  </a:lnTo>
                  <a:lnTo>
                    <a:pt x="194" y="512"/>
                  </a:lnTo>
                  <a:lnTo>
                    <a:pt x="206" y="505"/>
                  </a:lnTo>
                  <a:lnTo>
                    <a:pt x="219" y="498"/>
                  </a:lnTo>
                  <a:lnTo>
                    <a:pt x="232" y="494"/>
                  </a:lnTo>
                  <a:lnTo>
                    <a:pt x="246" y="490"/>
                  </a:lnTo>
                  <a:lnTo>
                    <a:pt x="260" y="488"/>
                  </a:lnTo>
                  <a:lnTo>
                    <a:pt x="275" y="488"/>
                  </a:lnTo>
                  <a:lnTo>
                    <a:pt x="275" y="488"/>
                  </a:lnTo>
                  <a:lnTo>
                    <a:pt x="290" y="488"/>
                  </a:lnTo>
                  <a:lnTo>
                    <a:pt x="305" y="490"/>
                  </a:lnTo>
                  <a:lnTo>
                    <a:pt x="319" y="494"/>
                  </a:lnTo>
                  <a:lnTo>
                    <a:pt x="333" y="498"/>
                  </a:lnTo>
                  <a:lnTo>
                    <a:pt x="345" y="505"/>
                  </a:lnTo>
                  <a:lnTo>
                    <a:pt x="357" y="512"/>
                  </a:lnTo>
                  <a:lnTo>
                    <a:pt x="367" y="521"/>
                  </a:lnTo>
                  <a:lnTo>
                    <a:pt x="378" y="530"/>
                  </a:lnTo>
                  <a:lnTo>
                    <a:pt x="387" y="540"/>
                  </a:lnTo>
                  <a:lnTo>
                    <a:pt x="397" y="552"/>
                  </a:lnTo>
                  <a:lnTo>
                    <a:pt x="403" y="564"/>
                  </a:lnTo>
                  <a:lnTo>
                    <a:pt x="410" y="576"/>
                  </a:lnTo>
                  <a:lnTo>
                    <a:pt x="414" y="589"/>
                  </a:lnTo>
                  <a:lnTo>
                    <a:pt x="418" y="604"/>
                  </a:lnTo>
                  <a:lnTo>
                    <a:pt x="421" y="619"/>
                  </a:lnTo>
                  <a:lnTo>
                    <a:pt x="421" y="633"/>
                  </a:lnTo>
                  <a:lnTo>
                    <a:pt x="421" y="633"/>
                  </a:lnTo>
                  <a:lnTo>
                    <a:pt x="421" y="633"/>
                  </a:lnTo>
                  <a:lnTo>
                    <a:pt x="419" y="652"/>
                  </a:lnTo>
                  <a:lnTo>
                    <a:pt x="417" y="669"/>
                  </a:lnTo>
                  <a:lnTo>
                    <a:pt x="1037" y="669"/>
                  </a:lnTo>
                  <a:lnTo>
                    <a:pt x="1105" y="669"/>
                  </a:lnTo>
                  <a:lnTo>
                    <a:pt x="1105" y="669"/>
                  </a:lnTo>
                  <a:lnTo>
                    <a:pt x="1101" y="652"/>
                  </a:lnTo>
                  <a:lnTo>
                    <a:pt x="1101" y="633"/>
                  </a:lnTo>
                  <a:lnTo>
                    <a:pt x="1101" y="633"/>
                  </a:lnTo>
                  <a:lnTo>
                    <a:pt x="1101" y="619"/>
                  </a:lnTo>
                  <a:lnTo>
                    <a:pt x="1104" y="604"/>
                  </a:lnTo>
                  <a:lnTo>
                    <a:pt x="1106" y="590"/>
                  </a:lnTo>
                  <a:lnTo>
                    <a:pt x="1112" y="576"/>
                  </a:lnTo>
                  <a:lnTo>
                    <a:pt x="1119" y="564"/>
                  </a:lnTo>
                  <a:lnTo>
                    <a:pt x="1125" y="552"/>
                  </a:lnTo>
                  <a:lnTo>
                    <a:pt x="1133" y="541"/>
                  </a:lnTo>
                  <a:lnTo>
                    <a:pt x="1144" y="530"/>
                  </a:lnTo>
                  <a:lnTo>
                    <a:pt x="1153" y="521"/>
                  </a:lnTo>
                  <a:lnTo>
                    <a:pt x="1165" y="512"/>
                  </a:lnTo>
                  <a:lnTo>
                    <a:pt x="1177" y="505"/>
                  </a:lnTo>
                  <a:lnTo>
                    <a:pt x="1189" y="498"/>
                  </a:lnTo>
                  <a:lnTo>
                    <a:pt x="1203" y="494"/>
                  </a:lnTo>
                  <a:lnTo>
                    <a:pt x="1217" y="490"/>
                  </a:lnTo>
                  <a:lnTo>
                    <a:pt x="1232" y="488"/>
                  </a:lnTo>
                  <a:lnTo>
                    <a:pt x="1247" y="488"/>
                  </a:lnTo>
                  <a:lnTo>
                    <a:pt x="1247" y="488"/>
                  </a:lnTo>
                  <a:lnTo>
                    <a:pt x="1262" y="488"/>
                  </a:lnTo>
                  <a:lnTo>
                    <a:pt x="1276" y="490"/>
                  </a:lnTo>
                  <a:lnTo>
                    <a:pt x="1290" y="494"/>
                  </a:lnTo>
                  <a:lnTo>
                    <a:pt x="1303" y="498"/>
                  </a:lnTo>
                  <a:lnTo>
                    <a:pt x="1316" y="505"/>
                  </a:lnTo>
                  <a:lnTo>
                    <a:pt x="1328" y="512"/>
                  </a:lnTo>
                  <a:lnTo>
                    <a:pt x="1339" y="521"/>
                  </a:lnTo>
                  <a:lnTo>
                    <a:pt x="1350" y="530"/>
                  </a:lnTo>
                  <a:lnTo>
                    <a:pt x="1359" y="540"/>
                  </a:lnTo>
                  <a:lnTo>
                    <a:pt x="1367" y="552"/>
                  </a:lnTo>
                  <a:lnTo>
                    <a:pt x="1375" y="564"/>
                  </a:lnTo>
                  <a:lnTo>
                    <a:pt x="1380" y="576"/>
                  </a:lnTo>
                  <a:lnTo>
                    <a:pt x="1386" y="589"/>
                  </a:lnTo>
                  <a:lnTo>
                    <a:pt x="1390" y="604"/>
                  </a:lnTo>
                  <a:lnTo>
                    <a:pt x="1391" y="619"/>
                  </a:lnTo>
                  <a:lnTo>
                    <a:pt x="1393" y="633"/>
                  </a:lnTo>
                  <a:lnTo>
                    <a:pt x="1393" y="633"/>
                  </a:lnTo>
                  <a:lnTo>
                    <a:pt x="1391" y="652"/>
                  </a:lnTo>
                  <a:lnTo>
                    <a:pt x="1387" y="671"/>
                  </a:lnTo>
                  <a:lnTo>
                    <a:pt x="1661" y="672"/>
                  </a:lnTo>
                  <a:lnTo>
                    <a:pt x="1664" y="104"/>
                  </a:lnTo>
                  <a:lnTo>
                    <a:pt x="1664" y="104"/>
                  </a:lnTo>
                  <a:lnTo>
                    <a:pt x="1663" y="95"/>
                  </a:lnTo>
                  <a:lnTo>
                    <a:pt x="1661" y="84"/>
                  </a:lnTo>
                  <a:lnTo>
                    <a:pt x="1657" y="75"/>
                  </a:lnTo>
                  <a:lnTo>
                    <a:pt x="1653" y="65"/>
                  </a:lnTo>
                  <a:lnTo>
                    <a:pt x="1646" y="56"/>
                  </a:lnTo>
                  <a:lnTo>
                    <a:pt x="1640" y="48"/>
                  </a:lnTo>
                  <a:lnTo>
                    <a:pt x="1633" y="38"/>
                  </a:lnTo>
                  <a:lnTo>
                    <a:pt x="1624" y="32"/>
                  </a:lnTo>
                  <a:lnTo>
                    <a:pt x="1616" y="24"/>
                  </a:lnTo>
                  <a:lnTo>
                    <a:pt x="1605" y="18"/>
                  </a:lnTo>
                  <a:lnTo>
                    <a:pt x="1596" y="12"/>
                  </a:lnTo>
                  <a:lnTo>
                    <a:pt x="1585" y="8"/>
                  </a:lnTo>
                  <a:lnTo>
                    <a:pt x="1576" y="4"/>
                  </a:lnTo>
                  <a:lnTo>
                    <a:pt x="1565" y="1"/>
                  </a:lnTo>
                  <a:lnTo>
                    <a:pt x="1554" y="0"/>
                  </a:lnTo>
                  <a:lnTo>
                    <a:pt x="1544" y="0"/>
                  </a:lnTo>
                  <a:lnTo>
                    <a:pt x="160" y="1"/>
                  </a:lnTo>
                  <a:close/>
                  <a:moveTo>
                    <a:pt x="349" y="280"/>
                  </a:moveTo>
                  <a:lnTo>
                    <a:pt x="349" y="280"/>
                  </a:lnTo>
                  <a:lnTo>
                    <a:pt x="349" y="287"/>
                  </a:lnTo>
                  <a:lnTo>
                    <a:pt x="346" y="294"/>
                  </a:lnTo>
                  <a:lnTo>
                    <a:pt x="343" y="299"/>
                  </a:lnTo>
                  <a:lnTo>
                    <a:pt x="338" y="303"/>
                  </a:lnTo>
                  <a:lnTo>
                    <a:pt x="334" y="307"/>
                  </a:lnTo>
                  <a:lnTo>
                    <a:pt x="327" y="311"/>
                  </a:lnTo>
                  <a:lnTo>
                    <a:pt x="321" y="312"/>
                  </a:lnTo>
                  <a:lnTo>
                    <a:pt x="314" y="312"/>
                  </a:lnTo>
                  <a:lnTo>
                    <a:pt x="125" y="312"/>
                  </a:lnTo>
                  <a:lnTo>
                    <a:pt x="125" y="312"/>
                  </a:lnTo>
                  <a:lnTo>
                    <a:pt x="119" y="312"/>
                  </a:lnTo>
                  <a:lnTo>
                    <a:pt x="111" y="311"/>
                  </a:lnTo>
                  <a:lnTo>
                    <a:pt x="104" y="308"/>
                  </a:lnTo>
                  <a:lnTo>
                    <a:pt x="97" y="304"/>
                  </a:lnTo>
                  <a:lnTo>
                    <a:pt x="92" y="300"/>
                  </a:lnTo>
                  <a:lnTo>
                    <a:pt x="89" y="294"/>
                  </a:lnTo>
                  <a:lnTo>
                    <a:pt x="89" y="284"/>
                  </a:lnTo>
                  <a:lnTo>
                    <a:pt x="93" y="275"/>
                  </a:lnTo>
                  <a:lnTo>
                    <a:pt x="144" y="147"/>
                  </a:lnTo>
                  <a:lnTo>
                    <a:pt x="144" y="147"/>
                  </a:lnTo>
                  <a:lnTo>
                    <a:pt x="149" y="133"/>
                  </a:lnTo>
                  <a:lnTo>
                    <a:pt x="153" y="128"/>
                  </a:lnTo>
                  <a:lnTo>
                    <a:pt x="157" y="124"/>
                  </a:lnTo>
                  <a:lnTo>
                    <a:pt x="162" y="120"/>
                  </a:lnTo>
                  <a:lnTo>
                    <a:pt x="167" y="117"/>
                  </a:lnTo>
                  <a:lnTo>
                    <a:pt x="172" y="115"/>
                  </a:lnTo>
                  <a:lnTo>
                    <a:pt x="179" y="115"/>
                  </a:lnTo>
                  <a:lnTo>
                    <a:pt x="314" y="115"/>
                  </a:lnTo>
                  <a:lnTo>
                    <a:pt x="314" y="115"/>
                  </a:lnTo>
                  <a:lnTo>
                    <a:pt x="321" y="116"/>
                  </a:lnTo>
                  <a:lnTo>
                    <a:pt x="327" y="117"/>
                  </a:lnTo>
                  <a:lnTo>
                    <a:pt x="334" y="120"/>
                  </a:lnTo>
                  <a:lnTo>
                    <a:pt x="338" y="124"/>
                  </a:lnTo>
                  <a:lnTo>
                    <a:pt x="343" y="129"/>
                  </a:lnTo>
                  <a:lnTo>
                    <a:pt x="346" y="135"/>
                  </a:lnTo>
                  <a:lnTo>
                    <a:pt x="349" y="140"/>
                  </a:lnTo>
                  <a:lnTo>
                    <a:pt x="349" y="147"/>
                  </a:lnTo>
                  <a:lnTo>
                    <a:pt x="349" y="280"/>
                  </a:lnTo>
                  <a:close/>
                  <a:moveTo>
                    <a:pt x="762" y="283"/>
                  </a:moveTo>
                  <a:lnTo>
                    <a:pt x="762" y="283"/>
                  </a:lnTo>
                  <a:lnTo>
                    <a:pt x="760" y="291"/>
                  </a:lnTo>
                  <a:lnTo>
                    <a:pt x="759" y="296"/>
                  </a:lnTo>
                  <a:lnTo>
                    <a:pt x="756" y="303"/>
                  </a:lnTo>
                  <a:lnTo>
                    <a:pt x="751" y="308"/>
                  </a:lnTo>
                  <a:lnTo>
                    <a:pt x="747" y="312"/>
                  </a:lnTo>
                  <a:lnTo>
                    <a:pt x="740" y="315"/>
                  </a:lnTo>
                  <a:lnTo>
                    <a:pt x="734" y="316"/>
                  </a:lnTo>
                  <a:lnTo>
                    <a:pt x="727" y="318"/>
                  </a:lnTo>
                  <a:lnTo>
                    <a:pt x="540" y="318"/>
                  </a:lnTo>
                  <a:lnTo>
                    <a:pt x="540" y="318"/>
                  </a:lnTo>
                  <a:lnTo>
                    <a:pt x="533" y="316"/>
                  </a:lnTo>
                  <a:lnTo>
                    <a:pt x="526" y="315"/>
                  </a:lnTo>
                  <a:lnTo>
                    <a:pt x="521" y="312"/>
                  </a:lnTo>
                  <a:lnTo>
                    <a:pt x="516" y="308"/>
                  </a:lnTo>
                  <a:lnTo>
                    <a:pt x="512" y="303"/>
                  </a:lnTo>
                  <a:lnTo>
                    <a:pt x="508" y="296"/>
                  </a:lnTo>
                  <a:lnTo>
                    <a:pt x="506" y="291"/>
                  </a:lnTo>
                  <a:lnTo>
                    <a:pt x="505" y="283"/>
                  </a:lnTo>
                  <a:lnTo>
                    <a:pt x="505" y="144"/>
                  </a:lnTo>
                  <a:lnTo>
                    <a:pt x="505" y="144"/>
                  </a:lnTo>
                  <a:lnTo>
                    <a:pt x="506" y="137"/>
                  </a:lnTo>
                  <a:lnTo>
                    <a:pt x="508" y="131"/>
                  </a:lnTo>
                  <a:lnTo>
                    <a:pt x="512" y="125"/>
                  </a:lnTo>
                  <a:lnTo>
                    <a:pt x="516" y="120"/>
                  </a:lnTo>
                  <a:lnTo>
                    <a:pt x="521" y="116"/>
                  </a:lnTo>
                  <a:lnTo>
                    <a:pt x="526" y="113"/>
                  </a:lnTo>
                  <a:lnTo>
                    <a:pt x="533" y="111"/>
                  </a:lnTo>
                  <a:lnTo>
                    <a:pt x="540" y="111"/>
                  </a:lnTo>
                  <a:lnTo>
                    <a:pt x="727" y="111"/>
                  </a:lnTo>
                  <a:lnTo>
                    <a:pt x="727" y="111"/>
                  </a:lnTo>
                  <a:lnTo>
                    <a:pt x="734" y="111"/>
                  </a:lnTo>
                  <a:lnTo>
                    <a:pt x="740" y="113"/>
                  </a:lnTo>
                  <a:lnTo>
                    <a:pt x="747" y="116"/>
                  </a:lnTo>
                  <a:lnTo>
                    <a:pt x="751" y="120"/>
                  </a:lnTo>
                  <a:lnTo>
                    <a:pt x="756" y="125"/>
                  </a:lnTo>
                  <a:lnTo>
                    <a:pt x="759" y="131"/>
                  </a:lnTo>
                  <a:lnTo>
                    <a:pt x="760" y="137"/>
                  </a:lnTo>
                  <a:lnTo>
                    <a:pt x="762" y="144"/>
                  </a:lnTo>
                  <a:lnTo>
                    <a:pt x="762" y="283"/>
                  </a:lnTo>
                  <a:close/>
                  <a:moveTo>
                    <a:pt x="1048" y="283"/>
                  </a:moveTo>
                  <a:lnTo>
                    <a:pt x="1048" y="283"/>
                  </a:lnTo>
                  <a:lnTo>
                    <a:pt x="1046" y="291"/>
                  </a:lnTo>
                  <a:lnTo>
                    <a:pt x="1045" y="296"/>
                  </a:lnTo>
                  <a:lnTo>
                    <a:pt x="1041" y="303"/>
                  </a:lnTo>
                  <a:lnTo>
                    <a:pt x="1037" y="308"/>
                  </a:lnTo>
                  <a:lnTo>
                    <a:pt x="1032" y="312"/>
                  </a:lnTo>
                  <a:lnTo>
                    <a:pt x="1026" y="315"/>
                  </a:lnTo>
                  <a:lnTo>
                    <a:pt x="1020" y="316"/>
                  </a:lnTo>
                  <a:lnTo>
                    <a:pt x="1013" y="318"/>
                  </a:lnTo>
                  <a:lnTo>
                    <a:pt x="826" y="318"/>
                  </a:lnTo>
                  <a:lnTo>
                    <a:pt x="826" y="318"/>
                  </a:lnTo>
                  <a:lnTo>
                    <a:pt x="819" y="316"/>
                  </a:lnTo>
                  <a:lnTo>
                    <a:pt x="812" y="315"/>
                  </a:lnTo>
                  <a:lnTo>
                    <a:pt x="807" y="312"/>
                  </a:lnTo>
                  <a:lnTo>
                    <a:pt x="802" y="308"/>
                  </a:lnTo>
                  <a:lnTo>
                    <a:pt x="798" y="303"/>
                  </a:lnTo>
                  <a:lnTo>
                    <a:pt x="794" y="296"/>
                  </a:lnTo>
                  <a:lnTo>
                    <a:pt x="792" y="291"/>
                  </a:lnTo>
                  <a:lnTo>
                    <a:pt x="791" y="283"/>
                  </a:lnTo>
                  <a:lnTo>
                    <a:pt x="791" y="144"/>
                  </a:lnTo>
                  <a:lnTo>
                    <a:pt x="791" y="144"/>
                  </a:lnTo>
                  <a:lnTo>
                    <a:pt x="792" y="137"/>
                  </a:lnTo>
                  <a:lnTo>
                    <a:pt x="794" y="131"/>
                  </a:lnTo>
                  <a:lnTo>
                    <a:pt x="798" y="125"/>
                  </a:lnTo>
                  <a:lnTo>
                    <a:pt x="802" y="120"/>
                  </a:lnTo>
                  <a:lnTo>
                    <a:pt x="807" y="116"/>
                  </a:lnTo>
                  <a:lnTo>
                    <a:pt x="812" y="113"/>
                  </a:lnTo>
                  <a:lnTo>
                    <a:pt x="819" y="111"/>
                  </a:lnTo>
                  <a:lnTo>
                    <a:pt x="826" y="111"/>
                  </a:lnTo>
                  <a:lnTo>
                    <a:pt x="1013" y="111"/>
                  </a:lnTo>
                  <a:lnTo>
                    <a:pt x="1013" y="111"/>
                  </a:lnTo>
                  <a:lnTo>
                    <a:pt x="1020" y="111"/>
                  </a:lnTo>
                  <a:lnTo>
                    <a:pt x="1026" y="113"/>
                  </a:lnTo>
                  <a:lnTo>
                    <a:pt x="1032" y="116"/>
                  </a:lnTo>
                  <a:lnTo>
                    <a:pt x="1037" y="120"/>
                  </a:lnTo>
                  <a:lnTo>
                    <a:pt x="1041" y="125"/>
                  </a:lnTo>
                  <a:lnTo>
                    <a:pt x="1045" y="131"/>
                  </a:lnTo>
                  <a:lnTo>
                    <a:pt x="1046" y="137"/>
                  </a:lnTo>
                  <a:lnTo>
                    <a:pt x="1048" y="144"/>
                  </a:lnTo>
                  <a:lnTo>
                    <a:pt x="1048" y="283"/>
                  </a:lnTo>
                  <a:close/>
                  <a:moveTo>
                    <a:pt x="1334" y="283"/>
                  </a:moveTo>
                  <a:lnTo>
                    <a:pt x="1334" y="283"/>
                  </a:lnTo>
                  <a:lnTo>
                    <a:pt x="1332" y="291"/>
                  </a:lnTo>
                  <a:lnTo>
                    <a:pt x="1331" y="296"/>
                  </a:lnTo>
                  <a:lnTo>
                    <a:pt x="1327" y="303"/>
                  </a:lnTo>
                  <a:lnTo>
                    <a:pt x="1323" y="308"/>
                  </a:lnTo>
                  <a:lnTo>
                    <a:pt x="1318" y="312"/>
                  </a:lnTo>
                  <a:lnTo>
                    <a:pt x="1312" y="315"/>
                  </a:lnTo>
                  <a:lnTo>
                    <a:pt x="1306" y="316"/>
                  </a:lnTo>
                  <a:lnTo>
                    <a:pt x="1299" y="318"/>
                  </a:lnTo>
                  <a:lnTo>
                    <a:pt x="1112" y="318"/>
                  </a:lnTo>
                  <a:lnTo>
                    <a:pt x="1112" y="318"/>
                  </a:lnTo>
                  <a:lnTo>
                    <a:pt x="1105" y="316"/>
                  </a:lnTo>
                  <a:lnTo>
                    <a:pt x="1098" y="315"/>
                  </a:lnTo>
                  <a:lnTo>
                    <a:pt x="1092" y="312"/>
                  </a:lnTo>
                  <a:lnTo>
                    <a:pt x="1088" y="308"/>
                  </a:lnTo>
                  <a:lnTo>
                    <a:pt x="1082" y="303"/>
                  </a:lnTo>
                  <a:lnTo>
                    <a:pt x="1080" y="296"/>
                  </a:lnTo>
                  <a:lnTo>
                    <a:pt x="1078" y="291"/>
                  </a:lnTo>
                  <a:lnTo>
                    <a:pt x="1077" y="283"/>
                  </a:lnTo>
                  <a:lnTo>
                    <a:pt x="1077" y="144"/>
                  </a:lnTo>
                  <a:lnTo>
                    <a:pt x="1077" y="144"/>
                  </a:lnTo>
                  <a:lnTo>
                    <a:pt x="1078" y="137"/>
                  </a:lnTo>
                  <a:lnTo>
                    <a:pt x="1080" y="131"/>
                  </a:lnTo>
                  <a:lnTo>
                    <a:pt x="1082" y="125"/>
                  </a:lnTo>
                  <a:lnTo>
                    <a:pt x="1088" y="120"/>
                  </a:lnTo>
                  <a:lnTo>
                    <a:pt x="1092" y="116"/>
                  </a:lnTo>
                  <a:lnTo>
                    <a:pt x="1098" y="113"/>
                  </a:lnTo>
                  <a:lnTo>
                    <a:pt x="1105" y="111"/>
                  </a:lnTo>
                  <a:lnTo>
                    <a:pt x="1112" y="111"/>
                  </a:lnTo>
                  <a:lnTo>
                    <a:pt x="1299" y="111"/>
                  </a:lnTo>
                  <a:lnTo>
                    <a:pt x="1299" y="111"/>
                  </a:lnTo>
                  <a:lnTo>
                    <a:pt x="1306" y="111"/>
                  </a:lnTo>
                  <a:lnTo>
                    <a:pt x="1312" y="113"/>
                  </a:lnTo>
                  <a:lnTo>
                    <a:pt x="1318" y="116"/>
                  </a:lnTo>
                  <a:lnTo>
                    <a:pt x="1323" y="120"/>
                  </a:lnTo>
                  <a:lnTo>
                    <a:pt x="1327" y="125"/>
                  </a:lnTo>
                  <a:lnTo>
                    <a:pt x="1331" y="131"/>
                  </a:lnTo>
                  <a:lnTo>
                    <a:pt x="1332" y="137"/>
                  </a:lnTo>
                  <a:lnTo>
                    <a:pt x="1334" y="144"/>
                  </a:lnTo>
                  <a:lnTo>
                    <a:pt x="1334" y="283"/>
                  </a:lnTo>
                  <a:close/>
                  <a:moveTo>
                    <a:pt x="1618" y="283"/>
                  </a:moveTo>
                  <a:lnTo>
                    <a:pt x="1618" y="283"/>
                  </a:lnTo>
                  <a:lnTo>
                    <a:pt x="1618" y="291"/>
                  </a:lnTo>
                  <a:lnTo>
                    <a:pt x="1616" y="296"/>
                  </a:lnTo>
                  <a:lnTo>
                    <a:pt x="1613" y="303"/>
                  </a:lnTo>
                  <a:lnTo>
                    <a:pt x="1609" y="308"/>
                  </a:lnTo>
                  <a:lnTo>
                    <a:pt x="1604" y="312"/>
                  </a:lnTo>
                  <a:lnTo>
                    <a:pt x="1597" y="315"/>
                  </a:lnTo>
                  <a:lnTo>
                    <a:pt x="1592" y="316"/>
                  </a:lnTo>
                  <a:lnTo>
                    <a:pt x="1584" y="318"/>
                  </a:lnTo>
                  <a:lnTo>
                    <a:pt x="1398" y="318"/>
                  </a:lnTo>
                  <a:lnTo>
                    <a:pt x="1398" y="318"/>
                  </a:lnTo>
                  <a:lnTo>
                    <a:pt x="1391" y="316"/>
                  </a:lnTo>
                  <a:lnTo>
                    <a:pt x="1385" y="315"/>
                  </a:lnTo>
                  <a:lnTo>
                    <a:pt x="1378" y="312"/>
                  </a:lnTo>
                  <a:lnTo>
                    <a:pt x="1372" y="308"/>
                  </a:lnTo>
                  <a:lnTo>
                    <a:pt x="1368" y="303"/>
                  </a:lnTo>
                  <a:lnTo>
                    <a:pt x="1366" y="296"/>
                  </a:lnTo>
                  <a:lnTo>
                    <a:pt x="1363" y="291"/>
                  </a:lnTo>
                  <a:lnTo>
                    <a:pt x="1363" y="283"/>
                  </a:lnTo>
                  <a:lnTo>
                    <a:pt x="1363" y="144"/>
                  </a:lnTo>
                  <a:lnTo>
                    <a:pt x="1363" y="144"/>
                  </a:lnTo>
                  <a:lnTo>
                    <a:pt x="1363" y="137"/>
                  </a:lnTo>
                  <a:lnTo>
                    <a:pt x="1366" y="131"/>
                  </a:lnTo>
                  <a:lnTo>
                    <a:pt x="1368" y="125"/>
                  </a:lnTo>
                  <a:lnTo>
                    <a:pt x="1372" y="120"/>
                  </a:lnTo>
                  <a:lnTo>
                    <a:pt x="1378" y="116"/>
                  </a:lnTo>
                  <a:lnTo>
                    <a:pt x="1385" y="113"/>
                  </a:lnTo>
                  <a:lnTo>
                    <a:pt x="1391" y="111"/>
                  </a:lnTo>
                  <a:lnTo>
                    <a:pt x="1398" y="111"/>
                  </a:lnTo>
                  <a:lnTo>
                    <a:pt x="1584" y="111"/>
                  </a:lnTo>
                  <a:lnTo>
                    <a:pt x="1584" y="111"/>
                  </a:lnTo>
                  <a:lnTo>
                    <a:pt x="1592" y="111"/>
                  </a:lnTo>
                  <a:lnTo>
                    <a:pt x="1597" y="113"/>
                  </a:lnTo>
                  <a:lnTo>
                    <a:pt x="1604" y="116"/>
                  </a:lnTo>
                  <a:lnTo>
                    <a:pt x="1609" y="120"/>
                  </a:lnTo>
                  <a:lnTo>
                    <a:pt x="1613" y="125"/>
                  </a:lnTo>
                  <a:lnTo>
                    <a:pt x="1616" y="131"/>
                  </a:lnTo>
                  <a:lnTo>
                    <a:pt x="1618" y="137"/>
                  </a:lnTo>
                  <a:lnTo>
                    <a:pt x="1618" y="144"/>
                  </a:lnTo>
                  <a:lnTo>
                    <a:pt x="1618" y="283"/>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4" name="Rectangle 252"/>
            <p:cNvSpPr>
              <a:spLocks noChangeArrowheads="1"/>
            </p:cNvSpPr>
            <p:nvPr/>
          </p:nvSpPr>
          <p:spPr bwMode="auto">
            <a:xfrm>
              <a:off x="2810122" y="3842278"/>
              <a:ext cx="250016" cy="2103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720" name="Oval 719"/>
            <p:cNvSpPr/>
            <p:nvPr/>
          </p:nvSpPr>
          <p:spPr bwMode="auto">
            <a:xfrm>
              <a:off x="2571161" y="3373176"/>
              <a:ext cx="101786" cy="10178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21" name="Freeform 224"/>
            <p:cNvSpPr>
              <a:spLocks/>
            </p:cNvSpPr>
            <p:nvPr/>
          </p:nvSpPr>
          <p:spPr bwMode="auto">
            <a:xfrm>
              <a:off x="2535699" y="3320069"/>
              <a:ext cx="176842" cy="292435"/>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3"/>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243" name="Oval 1242"/>
            <p:cNvSpPr/>
            <p:nvPr/>
          </p:nvSpPr>
          <p:spPr bwMode="auto">
            <a:xfrm>
              <a:off x="2465994" y="3854443"/>
              <a:ext cx="100938" cy="100938"/>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761" name="Oval 760"/>
            <p:cNvSpPr/>
            <p:nvPr/>
          </p:nvSpPr>
          <p:spPr bwMode="auto">
            <a:xfrm>
              <a:off x="3148735" y="3854443"/>
              <a:ext cx="100938" cy="100938"/>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grpSp>
      <p:grpSp>
        <p:nvGrpSpPr>
          <p:cNvPr id="762" name="Group 761"/>
          <p:cNvGrpSpPr/>
          <p:nvPr/>
        </p:nvGrpSpPr>
        <p:grpSpPr>
          <a:xfrm>
            <a:off x="2414294" y="3964831"/>
            <a:ext cx="721502" cy="448363"/>
            <a:chOff x="4922092" y="3998755"/>
            <a:chExt cx="1104197" cy="686180"/>
          </a:xfrm>
        </p:grpSpPr>
        <p:sp>
          <p:nvSpPr>
            <p:cNvPr id="763" name="Freeform 66"/>
            <p:cNvSpPr>
              <a:spLocks/>
            </p:cNvSpPr>
            <p:nvPr/>
          </p:nvSpPr>
          <p:spPr bwMode="auto">
            <a:xfrm>
              <a:off x="5177866" y="4312189"/>
              <a:ext cx="188712" cy="190272"/>
            </a:xfrm>
            <a:custGeom>
              <a:avLst/>
              <a:gdLst>
                <a:gd name="T0" fmla="*/ 333 w 365"/>
                <a:gd name="T1" fmla="*/ 0 h 364"/>
                <a:gd name="T2" fmla="*/ 32 w 365"/>
                <a:gd name="T3" fmla="*/ 0 h 364"/>
                <a:gd name="T4" fmla="*/ 32 w 365"/>
                <a:gd name="T5" fmla="*/ 0 h 364"/>
                <a:gd name="T6" fmla="*/ 26 w 365"/>
                <a:gd name="T7" fmla="*/ 1 h 364"/>
                <a:gd name="T8" fmla="*/ 20 w 365"/>
                <a:gd name="T9" fmla="*/ 3 h 364"/>
                <a:gd name="T10" fmla="*/ 15 w 365"/>
                <a:gd name="T11" fmla="*/ 5 h 364"/>
                <a:gd name="T12" fmla="*/ 10 w 365"/>
                <a:gd name="T13" fmla="*/ 9 h 364"/>
                <a:gd name="T14" fmla="*/ 6 w 365"/>
                <a:gd name="T15" fmla="*/ 15 h 364"/>
                <a:gd name="T16" fmla="*/ 3 w 365"/>
                <a:gd name="T17" fmla="*/ 20 h 364"/>
                <a:gd name="T18" fmla="*/ 2 w 365"/>
                <a:gd name="T19" fmla="*/ 25 h 364"/>
                <a:gd name="T20" fmla="*/ 0 w 365"/>
                <a:gd name="T21" fmla="*/ 32 h 364"/>
                <a:gd name="T22" fmla="*/ 0 w 365"/>
                <a:gd name="T23" fmla="*/ 333 h 364"/>
                <a:gd name="T24" fmla="*/ 0 w 365"/>
                <a:gd name="T25" fmla="*/ 333 h 364"/>
                <a:gd name="T26" fmla="*/ 2 w 365"/>
                <a:gd name="T27" fmla="*/ 339 h 364"/>
                <a:gd name="T28" fmla="*/ 3 w 365"/>
                <a:gd name="T29" fmla="*/ 345 h 364"/>
                <a:gd name="T30" fmla="*/ 6 w 365"/>
                <a:gd name="T31" fmla="*/ 350 h 364"/>
                <a:gd name="T32" fmla="*/ 10 w 365"/>
                <a:gd name="T33" fmla="*/ 354 h 364"/>
                <a:gd name="T34" fmla="*/ 15 w 365"/>
                <a:gd name="T35" fmla="*/ 358 h 364"/>
                <a:gd name="T36" fmla="*/ 20 w 365"/>
                <a:gd name="T37" fmla="*/ 361 h 364"/>
                <a:gd name="T38" fmla="*/ 26 w 365"/>
                <a:gd name="T39" fmla="*/ 364 h 364"/>
                <a:gd name="T40" fmla="*/ 32 w 365"/>
                <a:gd name="T41" fmla="*/ 364 h 364"/>
                <a:gd name="T42" fmla="*/ 333 w 365"/>
                <a:gd name="T43" fmla="*/ 364 h 364"/>
                <a:gd name="T44" fmla="*/ 333 w 365"/>
                <a:gd name="T45" fmla="*/ 364 h 364"/>
                <a:gd name="T46" fmla="*/ 340 w 365"/>
                <a:gd name="T47" fmla="*/ 364 h 364"/>
                <a:gd name="T48" fmla="*/ 345 w 365"/>
                <a:gd name="T49" fmla="*/ 361 h 364"/>
                <a:gd name="T50" fmla="*/ 350 w 365"/>
                <a:gd name="T51" fmla="*/ 358 h 364"/>
                <a:gd name="T52" fmla="*/ 356 w 365"/>
                <a:gd name="T53" fmla="*/ 354 h 364"/>
                <a:gd name="T54" fmla="*/ 358 w 365"/>
                <a:gd name="T55" fmla="*/ 350 h 364"/>
                <a:gd name="T56" fmla="*/ 362 w 365"/>
                <a:gd name="T57" fmla="*/ 345 h 364"/>
                <a:gd name="T58" fmla="*/ 364 w 365"/>
                <a:gd name="T59" fmla="*/ 339 h 364"/>
                <a:gd name="T60" fmla="*/ 365 w 365"/>
                <a:gd name="T61" fmla="*/ 333 h 364"/>
                <a:gd name="T62" fmla="*/ 365 w 365"/>
                <a:gd name="T63" fmla="*/ 32 h 364"/>
                <a:gd name="T64" fmla="*/ 365 w 365"/>
                <a:gd name="T65" fmla="*/ 32 h 364"/>
                <a:gd name="T66" fmla="*/ 364 w 365"/>
                <a:gd name="T67" fmla="*/ 25 h 364"/>
                <a:gd name="T68" fmla="*/ 362 w 365"/>
                <a:gd name="T69" fmla="*/ 20 h 364"/>
                <a:gd name="T70" fmla="*/ 358 w 365"/>
                <a:gd name="T71" fmla="*/ 15 h 364"/>
                <a:gd name="T72" fmla="*/ 356 w 365"/>
                <a:gd name="T73" fmla="*/ 9 h 364"/>
                <a:gd name="T74" fmla="*/ 350 w 365"/>
                <a:gd name="T75" fmla="*/ 5 h 364"/>
                <a:gd name="T76" fmla="*/ 345 w 365"/>
                <a:gd name="T77" fmla="*/ 3 h 364"/>
                <a:gd name="T78" fmla="*/ 340 w 365"/>
                <a:gd name="T79" fmla="*/ 1 h 364"/>
                <a:gd name="T80" fmla="*/ 333 w 365"/>
                <a:gd name="T81" fmla="*/ 0 h 364"/>
                <a:gd name="T82" fmla="*/ 333 w 365"/>
                <a:gd name="T8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5" h="364">
                  <a:moveTo>
                    <a:pt x="333" y="0"/>
                  </a:moveTo>
                  <a:lnTo>
                    <a:pt x="32" y="0"/>
                  </a:lnTo>
                  <a:lnTo>
                    <a:pt x="32" y="0"/>
                  </a:lnTo>
                  <a:lnTo>
                    <a:pt x="26" y="1"/>
                  </a:lnTo>
                  <a:lnTo>
                    <a:pt x="20" y="3"/>
                  </a:lnTo>
                  <a:lnTo>
                    <a:pt x="15" y="5"/>
                  </a:lnTo>
                  <a:lnTo>
                    <a:pt x="10" y="9"/>
                  </a:lnTo>
                  <a:lnTo>
                    <a:pt x="6" y="15"/>
                  </a:lnTo>
                  <a:lnTo>
                    <a:pt x="3" y="20"/>
                  </a:lnTo>
                  <a:lnTo>
                    <a:pt x="2" y="25"/>
                  </a:lnTo>
                  <a:lnTo>
                    <a:pt x="0" y="32"/>
                  </a:lnTo>
                  <a:lnTo>
                    <a:pt x="0" y="333"/>
                  </a:lnTo>
                  <a:lnTo>
                    <a:pt x="0" y="333"/>
                  </a:lnTo>
                  <a:lnTo>
                    <a:pt x="2" y="339"/>
                  </a:lnTo>
                  <a:lnTo>
                    <a:pt x="3" y="345"/>
                  </a:lnTo>
                  <a:lnTo>
                    <a:pt x="6" y="350"/>
                  </a:lnTo>
                  <a:lnTo>
                    <a:pt x="10" y="354"/>
                  </a:lnTo>
                  <a:lnTo>
                    <a:pt x="15" y="358"/>
                  </a:lnTo>
                  <a:lnTo>
                    <a:pt x="20" y="361"/>
                  </a:lnTo>
                  <a:lnTo>
                    <a:pt x="26" y="364"/>
                  </a:lnTo>
                  <a:lnTo>
                    <a:pt x="32" y="364"/>
                  </a:lnTo>
                  <a:lnTo>
                    <a:pt x="333" y="364"/>
                  </a:lnTo>
                  <a:lnTo>
                    <a:pt x="333" y="364"/>
                  </a:lnTo>
                  <a:lnTo>
                    <a:pt x="340" y="364"/>
                  </a:lnTo>
                  <a:lnTo>
                    <a:pt x="345" y="361"/>
                  </a:lnTo>
                  <a:lnTo>
                    <a:pt x="350" y="358"/>
                  </a:lnTo>
                  <a:lnTo>
                    <a:pt x="356" y="354"/>
                  </a:lnTo>
                  <a:lnTo>
                    <a:pt x="358" y="350"/>
                  </a:lnTo>
                  <a:lnTo>
                    <a:pt x="362" y="345"/>
                  </a:lnTo>
                  <a:lnTo>
                    <a:pt x="364" y="339"/>
                  </a:lnTo>
                  <a:lnTo>
                    <a:pt x="365" y="333"/>
                  </a:lnTo>
                  <a:lnTo>
                    <a:pt x="365" y="32"/>
                  </a:lnTo>
                  <a:lnTo>
                    <a:pt x="365" y="32"/>
                  </a:lnTo>
                  <a:lnTo>
                    <a:pt x="364" y="25"/>
                  </a:lnTo>
                  <a:lnTo>
                    <a:pt x="362" y="20"/>
                  </a:lnTo>
                  <a:lnTo>
                    <a:pt x="358" y="15"/>
                  </a:lnTo>
                  <a:lnTo>
                    <a:pt x="356" y="9"/>
                  </a:lnTo>
                  <a:lnTo>
                    <a:pt x="350" y="5"/>
                  </a:lnTo>
                  <a:lnTo>
                    <a:pt x="345" y="3"/>
                  </a:lnTo>
                  <a:lnTo>
                    <a:pt x="340" y="1"/>
                  </a:lnTo>
                  <a:lnTo>
                    <a:pt x="333" y="0"/>
                  </a:lnTo>
                  <a:lnTo>
                    <a:pt x="333" y="0"/>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4" name="Freeform 67"/>
            <p:cNvSpPr>
              <a:spLocks/>
            </p:cNvSpPr>
            <p:nvPr/>
          </p:nvSpPr>
          <p:spPr bwMode="auto">
            <a:xfrm>
              <a:off x="5379055" y="4312189"/>
              <a:ext cx="190272" cy="190272"/>
            </a:xfrm>
            <a:custGeom>
              <a:avLst/>
              <a:gdLst>
                <a:gd name="T0" fmla="*/ 332 w 364"/>
                <a:gd name="T1" fmla="*/ 0 h 364"/>
                <a:gd name="T2" fmla="*/ 31 w 364"/>
                <a:gd name="T3" fmla="*/ 0 h 364"/>
                <a:gd name="T4" fmla="*/ 31 w 364"/>
                <a:gd name="T5" fmla="*/ 0 h 364"/>
                <a:gd name="T6" fmla="*/ 26 w 364"/>
                <a:gd name="T7" fmla="*/ 1 h 364"/>
                <a:gd name="T8" fmla="*/ 19 w 364"/>
                <a:gd name="T9" fmla="*/ 3 h 364"/>
                <a:gd name="T10" fmla="*/ 14 w 364"/>
                <a:gd name="T11" fmla="*/ 5 h 364"/>
                <a:gd name="T12" fmla="*/ 10 w 364"/>
                <a:gd name="T13" fmla="*/ 9 h 364"/>
                <a:gd name="T14" fmla="*/ 5 w 364"/>
                <a:gd name="T15" fmla="*/ 15 h 364"/>
                <a:gd name="T16" fmla="*/ 3 w 364"/>
                <a:gd name="T17" fmla="*/ 20 h 364"/>
                <a:gd name="T18" fmla="*/ 0 w 364"/>
                <a:gd name="T19" fmla="*/ 25 h 364"/>
                <a:gd name="T20" fmla="*/ 0 w 364"/>
                <a:gd name="T21" fmla="*/ 32 h 364"/>
                <a:gd name="T22" fmla="*/ 0 w 364"/>
                <a:gd name="T23" fmla="*/ 333 h 364"/>
                <a:gd name="T24" fmla="*/ 0 w 364"/>
                <a:gd name="T25" fmla="*/ 333 h 364"/>
                <a:gd name="T26" fmla="*/ 0 w 364"/>
                <a:gd name="T27" fmla="*/ 339 h 364"/>
                <a:gd name="T28" fmla="*/ 3 w 364"/>
                <a:gd name="T29" fmla="*/ 345 h 364"/>
                <a:gd name="T30" fmla="*/ 5 w 364"/>
                <a:gd name="T31" fmla="*/ 350 h 364"/>
                <a:gd name="T32" fmla="*/ 10 w 364"/>
                <a:gd name="T33" fmla="*/ 354 h 364"/>
                <a:gd name="T34" fmla="*/ 14 w 364"/>
                <a:gd name="T35" fmla="*/ 358 h 364"/>
                <a:gd name="T36" fmla="*/ 19 w 364"/>
                <a:gd name="T37" fmla="*/ 361 h 364"/>
                <a:gd name="T38" fmla="*/ 26 w 364"/>
                <a:gd name="T39" fmla="*/ 364 h 364"/>
                <a:gd name="T40" fmla="*/ 31 w 364"/>
                <a:gd name="T41" fmla="*/ 364 h 364"/>
                <a:gd name="T42" fmla="*/ 332 w 364"/>
                <a:gd name="T43" fmla="*/ 364 h 364"/>
                <a:gd name="T44" fmla="*/ 332 w 364"/>
                <a:gd name="T45" fmla="*/ 364 h 364"/>
                <a:gd name="T46" fmla="*/ 338 w 364"/>
                <a:gd name="T47" fmla="*/ 364 h 364"/>
                <a:gd name="T48" fmla="*/ 344 w 364"/>
                <a:gd name="T49" fmla="*/ 361 h 364"/>
                <a:gd name="T50" fmla="*/ 349 w 364"/>
                <a:gd name="T51" fmla="*/ 358 h 364"/>
                <a:gd name="T52" fmla="*/ 354 w 364"/>
                <a:gd name="T53" fmla="*/ 354 h 364"/>
                <a:gd name="T54" fmla="*/ 358 w 364"/>
                <a:gd name="T55" fmla="*/ 350 h 364"/>
                <a:gd name="T56" fmla="*/ 361 w 364"/>
                <a:gd name="T57" fmla="*/ 345 h 364"/>
                <a:gd name="T58" fmla="*/ 362 w 364"/>
                <a:gd name="T59" fmla="*/ 339 h 364"/>
                <a:gd name="T60" fmla="*/ 364 w 364"/>
                <a:gd name="T61" fmla="*/ 333 h 364"/>
                <a:gd name="T62" fmla="*/ 364 w 364"/>
                <a:gd name="T63" fmla="*/ 32 h 364"/>
                <a:gd name="T64" fmla="*/ 364 w 364"/>
                <a:gd name="T65" fmla="*/ 32 h 364"/>
                <a:gd name="T66" fmla="*/ 362 w 364"/>
                <a:gd name="T67" fmla="*/ 25 h 364"/>
                <a:gd name="T68" fmla="*/ 361 w 364"/>
                <a:gd name="T69" fmla="*/ 20 h 364"/>
                <a:gd name="T70" fmla="*/ 358 w 364"/>
                <a:gd name="T71" fmla="*/ 15 h 364"/>
                <a:gd name="T72" fmla="*/ 354 w 364"/>
                <a:gd name="T73" fmla="*/ 9 h 364"/>
                <a:gd name="T74" fmla="*/ 349 w 364"/>
                <a:gd name="T75" fmla="*/ 5 h 364"/>
                <a:gd name="T76" fmla="*/ 344 w 364"/>
                <a:gd name="T77" fmla="*/ 3 h 364"/>
                <a:gd name="T78" fmla="*/ 338 w 364"/>
                <a:gd name="T79" fmla="*/ 1 h 364"/>
                <a:gd name="T80" fmla="*/ 332 w 364"/>
                <a:gd name="T81" fmla="*/ 0 h 364"/>
                <a:gd name="T82" fmla="*/ 332 w 364"/>
                <a:gd name="T8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4" h="364">
                  <a:moveTo>
                    <a:pt x="332" y="0"/>
                  </a:moveTo>
                  <a:lnTo>
                    <a:pt x="31" y="0"/>
                  </a:lnTo>
                  <a:lnTo>
                    <a:pt x="31" y="0"/>
                  </a:lnTo>
                  <a:lnTo>
                    <a:pt x="26" y="1"/>
                  </a:lnTo>
                  <a:lnTo>
                    <a:pt x="19" y="3"/>
                  </a:lnTo>
                  <a:lnTo>
                    <a:pt x="14" y="5"/>
                  </a:lnTo>
                  <a:lnTo>
                    <a:pt x="10" y="9"/>
                  </a:lnTo>
                  <a:lnTo>
                    <a:pt x="5" y="15"/>
                  </a:lnTo>
                  <a:lnTo>
                    <a:pt x="3" y="20"/>
                  </a:lnTo>
                  <a:lnTo>
                    <a:pt x="0" y="25"/>
                  </a:lnTo>
                  <a:lnTo>
                    <a:pt x="0" y="32"/>
                  </a:lnTo>
                  <a:lnTo>
                    <a:pt x="0" y="333"/>
                  </a:lnTo>
                  <a:lnTo>
                    <a:pt x="0" y="333"/>
                  </a:lnTo>
                  <a:lnTo>
                    <a:pt x="0" y="339"/>
                  </a:lnTo>
                  <a:lnTo>
                    <a:pt x="3" y="345"/>
                  </a:lnTo>
                  <a:lnTo>
                    <a:pt x="5" y="350"/>
                  </a:lnTo>
                  <a:lnTo>
                    <a:pt x="10" y="354"/>
                  </a:lnTo>
                  <a:lnTo>
                    <a:pt x="14" y="358"/>
                  </a:lnTo>
                  <a:lnTo>
                    <a:pt x="19" y="361"/>
                  </a:lnTo>
                  <a:lnTo>
                    <a:pt x="26" y="364"/>
                  </a:lnTo>
                  <a:lnTo>
                    <a:pt x="31" y="364"/>
                  </a:lnTo>
                  <a:lnTo>
                    <a:pt x="332" y="364"/>
                  </a:lnTo>
                  <a:lnTo>
                    <a:pt x="332" y="364"/>
                  </a:lnTo>
                  <a:lnTo>
                    <a:pt x="338" y="364"/>
                  </a:lnTo>
                  <a:lnTo>
                    <a:pt x="344" y="361"/>
                  </a:lnTo>
                  <a:lnTo>
                    <a:pt x="349" y="358"/>
                  </a:lnTo>
                  <a:lnTo>
                    <a:pt x="354" y="354"/>
                  </a:lnTo>
                  <a:lnTo>
                    <a:pt x="358" y="350"/>
                  </a:lnTo>
                  <a:lnTo>
                    <a:pt x="361" y="345"/>
                  </a:lnTo>
                  <a:lnTo>
                    <a:pt x="362" y="339"/>
                  </a:lnTo>
                  <a:lnTo>
                    <a:pt x="364" y="333"/>
                  </a:lnTo>
                  <a:lnTo>
                    <a:pt x="364" y="32"/>
                  </a:lnTo>
                  <a:lnTo>
                    <a:pt x="364" y="32"/>
                  </a:lnTo>
                  <a:lnTo>
                    <a:pt x="362" y="25"/>
                  </a:lnTo>
                  <a:lnTo>
                    <a:pt x="361" y="20"/>
                  </a:lnTo>
                  <a:lnTo>
                    <a:pt x="358" y="15"/>
                  </a:lnTo>
                  <a:lnTo>
                    <a:pt x="354" y="9"/>
                  </a:lnTo>
                  <a:lnTo>
                    <a:pt x="349" y="5"/>
                  </a:lnTo>
                  <a:lnTo>
                    <a:pt x="344" y="3"/>
                  </a:lnTo>
                  <a:lnTo>
                    <a:pt x="338" y="1"/>
                  </a:lnTo>
                  <a:lnTo>
                    <a:pt x="332" y="0"/>
                  </a:lnTo>
                  <a:lnTo>
                    <a:pt x="332" y="0"/>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5" name="Freeform 68"/>
            <p:cNvSpPr>
              <a:spLocks/>
            </p:cNvSpPr>
            <p:nvPr/>
          </p:nvSpPr>
          <p:spPr bwMode="auto">
            <a:xfrm>
              <a:off x="5581802" y="4312189"/>
              <a:ext cx="188712" cy="190272"/>
            </a:xfrm>
            <a:custGeom>
              <a:avLst/>
              <a:gdLst>
                <a:gd name="T0" fmla="*/ 32 w 363"/>
                <a:gd name="T1" fmla="*/ 364 h 364"/>
                <a:gd name="T2" fmla="*/ 333 w 363"/>
                <a:gd name="T3" fmla="*/ 364 h 364"/>
                <a:gd name="T4" fmla="*/ 333 w 363"/>
                <a:gd name="T5" fmla="*/ 364 h 364"/>
                <a:gd name="T6" fmla="*/ 338 w 363"/>
                <a:gd name="T7" fmla="*/ 364 h 364"/>
                <a:gd name="T8" fmla="*/ 345 w 363"/>
                <a:gd name="T9" fmla="*/ 361 h 364"/>
                <a:gd name="T10" fmla="*/ 350 w 363"/>
                <a:gd name="T11" fmla="*/ 358 h 364"/>
                <a:gd name="T12" fmla="*/ 354 w 363"/>
                <a:gd name="T13" fmla="*/ 354 h 364"/>
                <a:gd name="T14" fmla="*/ 358 w 363"/>
                <a:gd name="T15" fmla="*/ 350 h 364"/>
                <a:gd name="T16" fmla="*/ 361 w 363"/>
                <a:gd name="T17" fmla="*/ 345 h 364"/>
                <a:gd name="T18" fmla="*/ 363 w 363"/>
                <a:gd name="T19" fmla="*/ 339 h 364"/>
                <a:gd name="T20" fmla="*/ 363 w 363"/>
                <a:gd name="T21" fmla="*/ 333 h 364"/>
                <a:gd name="T22" fmla="*/ 363 w 363"/>
                <a:gd name="T23" fmla="*/ 32 h 364"/>
                <a:gd name="T24" fmla="*/ 363 w 363"/>
                <a:gd name="T25" fmla="*/ 32 h 364"/>
                <a:gd name="T26" fmla="*/ 363 w 363"/>
                <a:gd name="T27" fmla="*/ 25 h 364"/>
                <a:gd name="T28" fmla="*/ 361 w 363"/>
                <a:gd name="T29" fmla="*/ 20 h 364"/>
                <a:gd name="T30" fmla="*/ 358 w 363"/>
                <a:gd name="T31" fmla="*/ 15 h 364"/>
                <a:gd name="T32" fmla="*/ 354 w 363"/>
                <a:gd name="T33" fmla="*/ 9 h 364"/>
                <a:gd name="T34" fmla="*/ 350 w 363"/>
                <a:gd name="T35" fmla="*/ 5 h 364"/>
                <a:gd name="T36" fmla="*/ 345 w 363"/>
                <a:gd name="T37" fmla="*/ 3 h 364"/>
                <a:gd name="T38" fmla="*/ 338 w 363"/>
                <a:gd name="T39" fmla="*/ 1 h 364"/>
                <a:gd name="T40" fmla="*/ 333 w 363"/>
                <a:gd name="T41" fmla="*/ 0 h 364"/>
                <a:gd name="T42" fmla="*/ 32 w 363"/>
                <a:gd name="T43" fmla="*/ 0 h 364"/>
                <a:gd name="T44" fmla="*/ 32 w 363"/>
                <a:gd name="T45" fmla="*/ 0 h 364"/>
                <a:gd name="T46" fmla="*/ 25 w 363"/>
                <a:gd name="T47" fmla="*/ 1 h 364"/>
                <a:gd name="T48" fmla="*/ 20 w 363"/>
                <a:gd name="T49" fmla="*/ 3 h 364"/>
                <a:gd name="T50" fmla="*/ 14 w 363"/>
                <a:gd name="T51" fmla="*/ 5 h 364"/>
                <a:gd name="T52" fmla="*/ 9 w 363"/>
                <a:gd name="T53" fmla="*/ 9 h 364"/>
                <a:gd name="T54" fmla="*/ 5 w 363"/>
                <a:gd name="T55" fmla="*/ 15 h 364"/>
                <a:gd name="T56" fmla="*/ 2 w 363"/>
                <a:gd name="T57" fmla="*/ 20 h 364"/>
                <a:gd name="T58" fmla="*/ 1 w 363"/>
                <a:gd name="T59" fmla="*/ 25 h 364"/>
                <a:gd name="T60" fmla="*/ 0 w 363"/>
                <a:gd name="T61" fmla="*/ 32 h 364"/>
                <a:gd name="T62" fmla="*/ 0 w 363"/>
                <a:gd name="T63" fmla="*/ 333 h 364"/>
                <a:gd name="T64" fmla="*/ 0 w 363"/>
                <a:gd name="T65" fmla="*/ 333 h 364"/>
                <a:gd name="T66" fmla="*/ 1 w 363"/>
                <a:gd name="T67" fmla="*/ 339 h 364"/>
                <a:gd name="T68" fmla="*/ 2 w 363"/>
                <a:gd name="T69" fmla="*/ 345 h 364"/>
                <a:gd name="T70" fmla="*/ 5 w 363"/>
                <a:gd name="T71" fmla="*/ 350 h 364"/>
                <a:gd name="T72" fmla="*/ 9 w 363"/>
                <a:gd name="T73" fmla="*/ 354 h 364"/>
                <a:gd name="T74" fmla="*/ 14 w 363"/>
                <a:gd name="T75" fmla="*/ 358 h 364"/>
                <a:gd name="T76" fmla="*/ 20 w 363"/>
                <a:gd name="T77" fmla="*/ 361 h 364"/>
                <a:gd name="T78" fmla="*/ 25 w 363"/>
                <a:gd name="T79" fmla="*/ 364 h 364"/>
                <a:gd name="T80" fmla="*/ 32 w 363"/>
                <a:gd name="T81" fmla="*/ 364 h 364"/>
                <a:gd name="T82" fmla="*/ 32 w 363"/>
                <a:gd name="T83"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3" h="364">
                  <a:moveTo>
                    <a:pt x="32" y="364"/>
                  </a:moveTo>
                  <a:lnTo>
                    <a:pt x="333" y="364"/>
                  </a:lnTo>
                  <a:lnTo>
                    <a:pt x="333" y="364"/>
                  </a:lnTo>
                  <a:lnTo>
                    <a:pt x="338" y="364"/>
                  </a:lnTo>
                  <a:lnTo>
                    <a:pt x="345" y="361"/>
                  </a:lnTo>
                  <a:lnTo>
                    <a:pt x="350" y="358"/>
                  </a:lnTo>
                  <a:lnTo>
                    <a:pt x="354" y="354"/>
                  </a:lnTo>
                  <a:lnTo>
                    <a:pt x="358" y="350"/>
                  </a:lnTo>
                  <a:lnTo>
                    <a:pt x="361" y="345"/>
                  </a:lnTo>
                  <a:lnTo>
                    <a:pt x="363" y="339"/>
                  </a:lnTo>
                  <a:lnTo>
                    <a:pt x="363" y="333"/>
                  </a:lnTo>
                  <a:lnTo>
                    <a:pt x="363" y="32"/>
                  </a:lnTo>
                  <a:lnTo>
                    <a:pt x="363" y="32"/>
                  </a:lnTo>
                  <a:lnTo>
                    <a:pt x="363" y="25"/>
                  </a:lnTo>
                  <a:lnTo>
                    <a:pt x="361" y="20"/>
                  </a:lnTo>
                  <a:lnTo>
                    <a:pt x="358" y="15"/>
                  </a:lnTo>
                  <a:lnTo>
                    <a:pt x="354" y="9"/>
                  </a:lnTo>
                  <a:lnTo>
                    <a:pt x="350" y="5"/>
                  </a:lnTo>
                  <a:lnTo>
                    <a:pt x="345" y="3"/>
                  </a:lnTo>
                  <a:lnTo>
                    <a:pt x="338" y="1"/>
                  </a:lnTo>
                  <a:lnTo>
                    <a:pt x="333" y="0"/>
                  </a:lnTo>
                  <a:lnTo>
                    <a:pt x="32" y="0"/>
                  </a:lnTo>
                  <a:lnTo>
                    <a:pt x="32" y="0"/>
                  </a:lnTo>
                  <a:lnTo>
                    <a:pt x="25" y="1"/>
                  </a:lnTo>
                  <a:lnTo>
                    <a:pt x="20" y="3"/>
                  </a:lnTo>
                  <a:lnTo>
                    <a:pt x="14" y="5"/>
                  </a:lnTo>
                  <a:lnTo>
                    <a:pt x="9" y="9"/>
                  </a:lnTo>
                  <a:lnTo>
                    <a:pt x="5" y="15"/>
                  </a:lnTo>
                  <a:lnTo>
                    <a:pt x="2" y="20"/>
                  </a:lnTo>
                  <a:lnTo>
                    <a:pt x="1" y="25"/>
                  </a:lnTo>
                  <a:lnTo>
                    <a:pt x="0" y="32"/>
                  </a:lnTo>
                  <a:lnTo>
                    <a:pt x="0" y="333"/>
                  </a:lnTo>
                  <a:lnTo>
                    <a:pt x="0" y="333"/>
                  </a:lnTo>
                  <a:lnTo>
                    <a:pt x="1" y="339"/>
                  </a:lnTo>
                  <a:lnTo>
                    <a:pt x="2" y="345"/>
                  </a:lnTo>
                  <a:lnTo>
                    <a:pt x="5" y="350"/>
                  </a:lnTo>
                  <a:lnTo>
                    <a:pt x="9" y="354"/>
                  </a:lnTo>
                  <a:lnTo>
                    <a:pt x="14" y="358"/>
                  </a:lnTo>
                  <a:lnTo>
                    <a:pt x="20" y="361"/>
                  </a:lnTo>
                  <a:lnTo>
                    <a:pt x="25" y="364"/>
                  </a:lnTo>
                  <a:lnTo>
                    <a:pt x="32" y="364"/>
                  </a:lnTo>
                  <a:lnTo>
                    <a:pt x="32" y="364"/>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6" name="Freeform 69"/>
            <p:cNvSpPr>
              <a:spLocks/>
            </p:cNvSpPr>
            <p:nvPr/>
          </p:nvSpPr>
          <p:spPr bwMode="auto">
            <a:xfrm>
              <a:off x="5151353" y="4510259"/>
              <a:ext cx="215225" cy="165317"/>
            </a:xfrm>
            <a:custGeom>
              <a:avLst/>
              <a:gdLst>
                <a:gd name="T0" fmla="*/ 384 w 416"/>
                <a:gd name="T1" fmla="*/ 0 h 317"/>
                <a:gd name="T2" fmla="*/ 83 w 416"/>
                <a:gd name="T3" fmla="*/ 0 h 317"/>
                <a:gd name="T4" fmla="*/ 83 w 416"/>
                <a:gd name="T5" fmla="*/ 0 h 317"/>
                <a:gd name="T6" fmla="*/ 71 w 416"/>
                <a:gd name="T7" fmla="*/ 1 h 317"/>
                <a:gd name="T8" fmla="*/ 61 w 416"/>
                <a:gd name="T9" fmla="*/ 3 h 317"/>
                <a:gd name="T10" fmla="*/ 54 w 416"/>
                <a:gd name="T11" fmla="*/ 5 h 317"/>
                <a:gd name="T12" fmla="*/ 53 w 416"/>
                <a:gd name="T13" fmla="*/ 7 h 317"/>
                <a:gd name="T14" fmla="*/ 51 w 416"/>
                <a:gd name="T15" fmla="*/ 8 h 317"/>
                <a:gd name="T16" fmla="*/ 20 w 416"/>
                <a:gd name="T17" fmla="*/ 73 h 317"/>
                <a:gd name="T18" fmla="*/ 20 w 416"/>
                <a:gd name="T19" fmla="*/ 73 h 317"/>
                <a:gd name="T20" fmla="*/ 22 w 416"/>
                <a:gd name="T21" fmla="*/ 76 h 317"/>
                <a:gd name="T22" fmla="*/ 24 w 416"/>
                <a:gd name="T23" fmla="*/ 79 h 317"/>
                <a:gd name="T24" fmla="*/ 31 w 416"/>
                <a:gd name="T25" fmla="*/ 80 h 317"/>
                <a:gd name="T26" fmla="*/ 42 w 416"/>
                <a:gd name="T27" fmla="*/ 81 h 317"/>
                <a:gd name="T28" fmla="*/ 70 w 416"/>
                <a:gd name="T29" fmla="*/ 81 h 317"/>
                <a:gd name="T30" fmla="*/ 70 w 416"/>
                <a:gd name="T31" fmla="*/ 289 h 317"/>
                <a:gd name="T32" fmla="*/ 0 w 416"/>
                <a:gd name="T33" fmla="*/ 289 h 317"/>
                <a:gd name="T34" fmla="*/ 0 w 416"/>
                <a:gd name="T35" fmla="*/ 317 h 317"/>
                <a:gd name="T36" fmla="*/ 166 w 416"/>
                <a:gd name="T37" fmla="*/ 317 h 317"/>
                <a:gd name="T38" fmla="*/ 166 w 416"/>
                <a:gd name="T39" fmla="*/ 289 h 317"/>
                <a:gd name="T40" fmla="*/ 97 w 416"/>
                <a:gd name="T41" fmla="*/ 289 h 317"/>
                <a:gd name="T42" fmla="*/ 97 w 416"/>
                <a:gd name="T43" fmla="*/ 81 h 317"/>
                <a:gd name="T44" fmla="*/ 384 w 416"/>
                <a:gd name="T45" fmla="*/ 81 h 317"/>
                <a:gd name="T46" fmla="*/ 384 w 416"/>
                <a:gd name="T47" fmla="*/ 81 h 317"/>
                <a:gd name="T48" fmla="*/ 396 w 416"/>
                <a:gd name="T49" fmla="*/ 80 h 317"/>
                <a:gd name="T50" fmla="*/ 407 w 416"/>
                <a:gd name="T51" fmla="*/ 79 h 317"/>
                <a:gd name="T52" fmla="*/ 413 w 416"/>
                <a:gd name="T53" fmla="*/ 76 h 317"/>
                <a:gd name="T54" fmla="*/ 415 w 416"/>
                <a:gd name="T55" fmla="*/ 75 h 317"/>
                <a:gd name="T56" fmla="*/ 416 w 416"/>
                <a:gd name="T57" fmla="*/ 73 h 317"/>
                <a:gd name="T58" fmla="*/ 416 w 416"/>
                <a:gd name="T59" fmla="*/ 8 h 317"/>
                <a:gd name="T60" fmla="*/ 416 w 416"/>
                <a:gd name="T61" fmla="*/ 8 h 317"/>
                <a:gd name="T62" fmla="*/ 415 w 416"/>
                <a:gd name="T63" fmla="*/ 7 h 317"/>
                <a:gd name="T64" fmla="*/ 413 w 416"/>
                <a:gd name="T65" fmla="*/ 5 h 317"/>
                <a:gd name="T66" fmla="*/ 407 w 416"/>
                <a:gd name="T67" fmla="*/ 3 h 317"/>
                <a:gd name="T68" fmla="*/ 396 w 416"/>
                <a:gd name="T69" fmla="*/ 1 h 317"/>
                <a:gd name="T70" fmla="*/ 384 w 416"/>
                <a:gd name="T71" fmla="*/ 0 h 317"/>
                <a:gd name="T72" fmla="*/ 384 w 416"/>
                <a:gd name="T73"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6" h="317">
                  <a:moveTo>
                    <a:pt x="384" y="0"/>
                  </a:moveTo>
                  <a:lnTo>
                    <a:pt x="83" y="0"/>
                  </a:lnTo>
                  <a:lnTo>
                    <a:pt x="83" y="0"/>
                  </a:lnTo>
                  <a:lnTo>
                    <a:pt x="71" y="1"/>
                  </a:lnTo>
                  <a:lnTo>
                    <a:pt x="61" y="3"/>
                  </a:lnTo>
                  <a:lnTo>
                    <a:pt x="54" y="5"/>
                  </a:lnTo>
                  <a:lnTo>
                    <a:pt x="53" y="7"/>
                  </a:lnTo>
                  <a:lnTo>
                    <a:pt x="51" y="8"/>
                  </a:lnTo>
                  <a:lnTo>
                    <a:pt x="20" y="73"/>
                  </a:lnTo>
                  <a:lnTo>
                    <a:pt x="20" y="73"/>
                  </a:lnTo>
                  <a:lnTo>
                    <a:pt x="22" y="76"/>
                  </a:lnTo>
                  <a:lnTo>
                    <a:pt x="24" y="79"/>
                  </a:lnTo>
                  <a:lnTo>
                    <a:pt x="31" y="80"/>
                  </a:lnTo>
                  <a:lnTo>
                    <a:pt x="42" y="81"/>
                  </a:lnTo>
                  <a:lnTo>
                    <a:pt x="70" y="81"/>
                  </a:lnTo>
                  <a:lnTo>
                    <a:pt x="70" y="289"/>
                  </a:lnTo>
                  <a:lnTo>
                    <a:pt x="0" y="289"/>
                  </a:lnTo>
                  <a:lnTo>
                    <a:pt x="0" y="317"/>
                  </a:lnTo>
                  <a:lnTo>
                    <a:pt x="166" y="317"/>
                  </a:lnTo>
                  <a:lnTo>
                    <a:pt x="166" y="289"/>
                  </a:lnTo>
                  <a:lnTo>
                    <a:pt x="97" y="289"/>
                  </a:lnTo>
                  <a:lnTo>
                    <a:pt x="97" y="81"/>
                  </a:lnTo>
                  <a:lnTo>
                    <a:pt x="384" y="81"/>
                  </a:lnTo>
                  <a:lnTo>
                    <a:pt x="384" y="81"/>
                  </a:lnTo>
                  <a:lnTo>
                    <a:pt x="396" y="80"/>
                  </a:lnTo>
                  <a:lnTo>
                    <a:pt x="407" y="79"/>
                  </a:lnTo>
                  <a:lnTo>
                    <a:pt x="413" y="76"/>
                  </a:lnTo>
                  <a:lnTo>
                    <a:pt x="415" y="75"/>
                  </a:lnTo>
                  <a:lnTo>
                    <a:pt x="416" y="73"/>
                  </a:lnTo>
                  <a:lnTo>
                    <a:pt x="416" y="8"/>
                  </a:lnTo>
                  <a:lnTo>
                    <a:pt x="416" y="8"/>
                  </a:lnTo>
                  <a:lnTo>
                    <a:pt x="415" y="7"/>
                  </a:lnTo>
                  <a:lnTo>
                    <a:pt x="413" y="5"/>
                  </a:lnTo>
                  <a:lnTo>
                    <a:pt x="407" y="3"/>
                  </a:lnTo>
                  <a:lnTo>
                    <a:pt x="396" y="1"/>
                  </a:lnTo>
                  <a:lnTo>
                    <a:pt x="384" y="0"/>
                  </a:lnTo>
                  <a:lnTo>
                    <a:pt x="384" y="0"/>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7" name="Freeform 70"/>
            <p:cNvSpPr>
              <a:spLocks/>
            </p:cNvSpPr>
            <p:nvPr/>
          </p:nvSpPr>
          <p:spPr bwMode="auto">
            <a:xfrm>
              <a:off x="5379055" y="4510259"/>
              <a:ext cx="190272" cy="42110"/>
            </a:xfrm>
            <a:custGeom>
              <a:avLst/>
              <a:gdLst>
                <a:gd name="T0" fmla="*/ 332 w 364"/>
                <a:gd name="T1" fmla="*/ 0 h 81"/>
                <a:gd name="T2" fmla="*/ 31 w 364"/>
                <a:gd name="T3" fmla="*/ 0 h 81"/>
                <a:gd name="T4" fmla="*/ 31 w 364"/>
                <a:gd name="T5" fmla="*/ 0 h 81"/>
                <a:gd name="T6" fmla="*/ 19 w 364"/>
                <a:gd name="T7" fmla="*/ 1 h 81"/>
                <a:gd name="T8" fmla="*/ 10 w 364"/>
                <a:gd name="T9" fmla="*/ 3 h 81"/>
                <a:gd name="T10" fmla="*/ 3 w 364"/>
                <a:gd name="T11" fmla="*/ 5 h 81"/>
                <a:gd name="T12" fmla="*/ 0 w 364"/>
                <a:gd name="T13" fmla="*/ 7 h 81"/>
                <a:gd name="T14" fmla="*/ 0 w 364"/>
                <a:gd name="T15" fmla="*/ 8 h 81"/>
                <a:gd name="T16" fmla="*/ 0 w 364"/>
                <a:gd name="T17" fmla="*/ 73 h 81"/>
                <a:gd name="T18" fmla="*/ 0 w 364"/>
                <a:gd name="T19" fmla="*/ 73 h 81"/>
                <a:gd name="T20" fmla="*/ 0 w 364"/>
                <a:gd name="T21" fmla="*/ 75 h 81"/>
                <a:gd name="T22" fmla="*/ 3 w 364"/>
                <a:gd name="T23" fmla="*/ 76 h 81"/>
                <a:gd name="T24" fmla="*/ 10 w 364"/>
                <a:gd name="T25" fmla="*/ 79 h 81"/>
                <a:gd name="T26" fmla="*/ 19 w 364"/>
                <a:gd name="T27" fmla="*/ 80 h 81"/>
                <a:gd name="T28" fmla="*/ 31 w 364"/>
                <a:gd name="T29" fmla="*/ 81 h 81"/>
                <a:gd name="T30" fmla="*/ 332 w 364"/>
                <a:gd name="T31" fmla="*/ 81 h 81"/>
                <a:gd name="T32" fmla="*/ 332 w 364"/>
                <a:gd name="T33" fmla="*/ 81 h 81"/>
                <a:gd name="T34" fmla="*/ 344 w 364"/>
                <a:gd name="T35" fmla="*/ 80 h 81"/>
                <a:gd name="T36" fmla="*/ 354 w 364"/>
                <a:gd name="T37" fmla="*/ 79 h 81"/>
                <a:gd name="T38" fmla="*/ 361 w 364"/>
                <a:gd name="T39" fmla="*/ 76 h 81"/>
                <a:gd name="T40" fmla="*/ 362 w 364"/>
                <a:gd name="T41" fmla="*/ 75 h 81"/>
                <a:gd name="T42" fmla="*/ 364 w 364"/>
                <a:gd name="T43" fmla="*/ 73 h 81"/>
                <a:gd name="T44" fmla="*/ 364 w 364"/>
                <a:gd name="T45" fmla="*/ 8 h 81"/>
                <a:gd name="T46" fmla="*/ 364 w 364"/>
                <a:gd name="T47" fmla="*/ 8 h 81"/>
                <a:gd name="T48" fmla="*/ 362 w 364"/>
                <a:gd name="T49" fmla="*/ 7 h 81"/>
                <a:gd name="T50" fmla="*/ 361 w 364"/>
                <a:gd name="T51" fmla="*/ 5 h 81"/>
                <a:gd name="T52" fmla="*/ 354 w 364"/>
                <a:gd name="T53" fmla="*/ 3 h 81"/>
                <a:gd name="T54" fmla="*/ 344 w 364"/>
                <a:gd name="T55" fmla="*/ 1 h 81"/>
                <a:gd name="T56" fmla="*/ 332 w 364"/>
                <a:gd name="T57" fmla="*/ 0 h 81"/>
                <a:gd name="T58" fmla="*/ 332 w 364"/>
                <a:gd name="T5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4" h="81">
                  <a:moveTo>
                    <a:pt x="332" y="0"/>
                  </a:moveTo>
                  <a:lnTo>
                    <a:pt x="31" y="0"/>
                  </a:lnTo>
                  <a:lnTo>
                    <a:pt x="31" y="0"/>
                  </a:lnTo>
                  <a:lnTo>
                    <a:pt x="19" y="1"/>
                  </a:lnTo>
                  <a:lnTo>
                    <a:pt x="10" y="3"/>
                  </a:lnTo>
                  <a:lnTo>
                    <a:pt x="3" y="5"/>
                  </a:lnTo>
                  <a:lnTo>
                    <a:pt x="0" y="7"/>
                  </a:lnTo>
                  <a:lnTo>
                    <a:pt x="0" y="8"/>
                  </a:lnTo>
                  <a:lnTo>
                    <a:pt x="0" y="73"/>
                  </a:lnTo>
                  <a:lnTo>
                    <a:pt x="0" y="73"/>
                  </a:lnTo>
                  <a:lnTo>
                    <a:pt x="0" y="75"/>
                  </a:lnTo>
                  <a:lnTo>
                    <a:pt x="3" y="76"/>
                  </a:lnTo>
                  <a:lnTo>
                    <a:pt x="10" y="79"/>
                  </a:lnTo>
                  <a:lnTo>
                    <a:pt x="19" y="80"/>
                  </a:lnTo>
                  <a:lnTo>
                    <a:pt x="31" y="81"/>
                  </a:lnTo>
                  <a:lnTo>
                    <a:pt x="332" y="81"/>
                  </a:lnTo>
                  <a:lnTo>
                    <a:pt x="332" y="81"/>
                  </a:lnTo>
                  <a:lnTo>
                    <a:pt x="344" y="80"/>
                  </a:lnTo>
                  <a:lnTo>
                    <a:pt x="354" y="79"/>
                  </a:lnTo>
                  <a:lnTo>
                    <a:pt x="361" y="76"/>
                  </a:lnTo>
                  <a:lnTo>
                    <a:pt x="362" y="75"/>
                  </a:lnTo>
                  <a:lnTo>
                    <a:pt x="364" y="73"/>
                  </a:lnTo>
                  <a:lnTo>
                    <a:pt x="364" y="8"/>
                  </a:lnTo>
                  <a:lnTo>
                    <a:pt x="364" y="8"/>
                  </a:lnTo>
                  <a:lnTo>
                    <a:pt x="362" y="7"/>
                  </a:lnTo>
                  <a:lnTo>
                    <a:pt x="361" y="5"/>
                  </a:lnTo>
                  <a:lnTo>
                    <a:pt x="354" y="3"/>
                  </a:lnTo>
                  <a:lnTo>
                    <a:pt x="344" y="1"/>
                  </a:lnTo>
                  <a:lnTo>
                    <a:pt x="332" y="0"/>
                  </a:lnTo>
                  <a:lnTo>
                    <a:pt x="332" y="0"/>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8" name="Freeform 71"/>
            <p:cNvSpPr>
              <a:spLocks/>
            </p:cNvSpPr>
            <p:nvPr/>
          </p:nvSpPr>
          <p:spPr bwMode="auto">
            <a:xfrm>
              <a:off x="5581802" y="4510259"/>
              <a:ext cx="224583" cy="165317"/>
            </a:xfrm>
            <a:custGeom>
              <a:avLst/>
              <a:gdLst>
                <a:gd name="T0" fmla="*/ 363 w 433"/>
                <a:gd name="T1" fmla="*/ 289 h 317"/>
                <a:gd name="T2" fmla="*/ 363 w 433"/>
                <a:gd name="T3" fmla="*/ 81 h 317"/>
                <a:gd name="T4" fmla="*/ 374 w 433"/>
                <a:gd name="T5" fmla="*/ 81 h 317"/>
                <a:gd name="T6" fmla="*/ 374 w 433"/>
                <a:gd name="T7" fmla="*/ 81 h 317"/>
                <a:gd name="T8" fmla="*/ 385 w 433"/>
                <a:gd name="T9" fmla="*/ 80 h 317"/>
                <a:gd name="T10" fmla="*/ 391 w 433"/>
                <a:gd name="T11" fmla="*/ 79 h 317"/>
                <a:gd name="T12" fmla="*/ 394 w 433"/>
                <a:gd name="T13" fmla="*/ 76 h 317"/>
                <a:gd name="T14" fmla="*/ 395 w 433"/>
                <a:gd name="T15" fmla="*/ 73 h 317"/>
                <a:gd name="T16" fmla="*/ 363 w 433"/>
                <a:gd name="T17" fmla="*/ 8 h 317"/>
                <a:gd name="T18" fmla="*/ 363 w 433"/>
                <a:gd name="T19" fmla="*/ 8 h 317"/>
                <a:gd name="T20" fmla="*/ 363 w 433"/>
                <a:gd name="T21" fmla="*/ 7 h 317"/>
                <a:gd name="T22" fmla="*/ 361 w 433"/>
                <a:gd name="T23" fmla="*/ 5 h 317"/>
                <a:gd name="T24" fmla="*/ 354 w 433"/>
                <a:gd name="T25" fmla="*/ 3 h 317"/>
                <a:gd name="T26" fmla="*/ 345 w 433"/>
                <a:gd name="T27" fmla="*/ 1 h 317"/>
                <a:gd name="T28" fmla="*/ 333 w 433"/>
                <a:gd name="T29" fmla="*/ 0 h 317"/>
                <a:gd name="T30" fmla="*/ 32 w 433"/>
                <a:gd name="T31" fmla="*/ 0 h 317"/>
                <a:gd name="T32" fmla="*/ 32 w 433"/>
                <a:gd name="T33" fmla="*/ 0 h 317"/>
                <a:gd name="T34" fmla="*/ 20 w 433"/>
                <a:gd name="T35" fmla="*/ 1 h 317"/>
                <a:gd name="T36" fmla="*/ 9 w 433"/>
                <a:gd name="T37" fmla="*/ 3 h 317"/>
                <a:gd name="T38" fmla="*/ 2 w 433"/>
                <a:gd name="T39" fmla="*/ 5 h 317"/>
                <a:gd name="T40" fmla="*/ 1 w 433"/>
                <a:gd name="T41" fmla="*/ 7 h 317"/>
                <a:gd name="T42" fmla="*/ 0 w 433"/>
                <a:gd name="T43" fmla="*/ 8 h 317"/>
                <a:gd name="T44" fmla="*/ 0 w 433"/>
                <a:gd name="T45" fmla="*/ 73 h 317"/>
                <a:gd name="T46" fmla="*/ 0 w 433"/>
                <a:gd name="T47" fmla="*/ 73 h 317"/>
                <a:gd name="T48" fmla="*/ 1 w 433"/>
                <a:gd name="T49" fmla="*/ 75 h 317"/>
                <a:gd name="T50" fmla="*/ 2 w 433"/>
                <a:gd name="T51" fmla="*/ 76 h 317"/>
                <a:gd name="T52" fmla="*/ 9 w 433"/>
                <a:gd name="T53" fmla="*/ 79 h 317"/>
                <a:gd name="T54" fmla="*/ 20 w 433"/>
                <a:gd name="T55" fmla="*/ 80 h 317"/>
                <a:gd name="T56" fmla="*/ 32 w 433"/>
                <a:gd name="T57" fmla="*/ 81 h 317"/>
                <a:gd name="T58" fmla="*/ 335 w 433"/>
                <a:gd name="T59" fmla="*/ 81 h 317"/>
                <a:gd name="T60" fmla="*/ 335 w 433"/>
                <a:gd name="T61" fmla="*/ 289 h 317"/>
                <a:gd name="T62" fmla="*/ 267 w 433"/>
                <a:gd name="T63" fmla="*/ 289 h 317"/>
                <a:gd name="T64" fmla="*/ 267 w 433"/>
                <a:gd name="T65" fmla="*/ 317 h 317"/>
                <a:gd name="T66" fmla="*/ 433 w 433"/>
                <a:gd name="T67" fmla="*/ 317 h 317"/>
                <a:gd name="T68" fmla="*/ 433 w 433"/>
                <a:gd name="T69" fmla="*/ 289 h 317"/>
                <a:gd name="T70" fmla="*/ 363 w 433"/>
                <a:gd name="T71" fmla="*/ 28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3" h="317">
                  <a:moveTo>
                    <a:pt x="363" y="289"/>
                  </a:moveTo>
                  <a:lnTo>
                    <a:pt x="363" y="81"/>
                  </a:lnTo>
                  <a:lnTo>
                    <a:pt x="374" y="81"/>
                  </a:lnTo>
                  <a:lnTo>
                    <a:pt x="374" y="81"/>
                  </a:lnTo>
                  <a:lnTo>
                    <a:pt x="385" y="80"/>
                  </a:lnTo>
                  <a:lnTo>
                    <a:pt x="391" y="79"/>
                  </a:lnTo>
                  <a:lnTo>
                    <a:pt x="394" y="76"/>
                  </a:lnTo>
                  <a:lnTo>
                    <a:pt x="395" y="73"/>
                  </a:lnTo>
                  <a:lnTo>
                    <a:pt x="363" y="8"/>
                  </a:lnTo>
                  <a:lnTo>
                    <a:pt x="363" y="8"/>
                  </a:lnTo>
                  <a:lnTo>
                    <a:pt x="363" y="7"/>
                  </a:lnTo>
                  <a:lnTo>
                    <a:pt x="361" y="5"/>
                  </a:lnTo>
                  <a:lnTo>
                    <a:pt x="354" y="3"/>
                  </a:lnTo>
                  <a:lnTo>
                    <a:pt x="345" y="1"/>
                  </a:lnTo>
                  <a:lnTo>
                    <a:pt x="333" y="0"/>
                  </a:lnTo>
                  <a:lnTo>
                    <a:pt x="32" y="0"/>
                  </a:lnTo>
                  <a:lnTo>
                    <a:pt x="32" y="0"/>
                  </a:lnTo>
                  <a:lnTo>
                    <a:pt x="20" y="1"/>
                  </a:lnTo>
                  <a:lnTo>
                    <a:pt x="9" y="3"/>
                  </a:lnTo>
                  <a:lnTo>
                    <a:pt x="2" y="5"/>
                  </a:lnTo>
                  <a:lnTo>
                    <a:pt x="1" y="7"/>
                  </a:lnTo>
                  <a:lnTo>
                    <a:pt x="0" y="8"/>
                  </a:lnTo>
                  <a:lnTo>
                    <a:pt x="0" y="73"/>
                  </a:lnTo>
                  <a:lnTo>
                    <a:pt x="0" y="73"/>
                  </a:lnTo>
                  <a:lnTo>
                    <a:pt x="1" y="75"/>
                  </a:lnTo>
                  <a:lnTo>
                    <a:pt x="2" y="76"/>
                  </a:lnTo>
                  <a:lnTo>
                    <a:pt x="9" y="79"/>
                  </a:lnTo>
                  <a:lnTo>
                    <a:pt x="20" y="80"/>
                  </a:lnTo>
                  <a:lnTo>
                    <a:pt x="32" y="81"/>
                  </a:lnTo>
                  <a:lnTo>
                    <a:pt x="335" y="81"/>
                  </a:lnTo>
                  <a:lnTo>
                    <a:pt x="335" y="289"/>
                  </a:lnTo>
                  <a:lnTo>
                    <a:pt x="267" y="289"/>
                  </a:lnTo>
                  <a:lnTo>
                    <a:pt x="267" y="317"/>
                  </a:lnTo>
                  <a:lnTo>
                    <a:pt x="433" y="317"/>
                  </a:lnTo>
                  <a:lnTo>
                    <a:pt x="433" y="289"/>
                  </a:lnTo>
                  <a:lnTo>
                    <a:pt x="363" y="289"/>
                  </a:lnTo>
                  <a:close/>
                </a:path>
              </a:pathLst>
            </a:cu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69" name="Rectangle 128"/>
            <p:cNvSpPr>
              <a:spLocks noChangeArrowheads="1"/>
            </p:cNvSpPr>
            <p:nvPr/>
          </p:nvSpPr>
          <p:spPr bwMode="auto">
            <a:xfrm>
              <a:off x="4978237" y="4139074"/>
              <a:ext cx="37430" cy="536502"/>
            </a:xfrm>
            <a:prstGeom prst="rect">
              <a:avLst/>
            </a:pr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70" name="Rectangle 129"/>
            <p:cNvSpPr>
              <a:spLocks noChangeArrowheads="1"/>
            </p:cNvSpPr>
            <p:nvPr/>
          </p:nvSpPr>
          <p:spPr bwMode="auto">
            <a:xfrm>
              <a:off x="4951724" y="4661540"/>
              <a:ext cx="90457" cy="23395"/>
            </a:xfrm>
            <a:prstGeom prst="rect">
              <a:avLst/>
            </a:pr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71" name="Rectangle 130"/>
            <p:cNvSpPr>
              <a:spLocks noChangeArrowheads="1"/>
            </p:cNvSpPr>
            <p:nvPr/>
          </p:nvSpPr>
          <p:spPr bwMode="auto">
            <a:xfrm>
              <a:off x="5913998" y="4139074"/>
              <a:ext cx="37430" cy="536502"/>
            </a:xfrm>
            <a:prstGeom prst="rect">
              <a:avLst/>
            </a:pr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72" name="Rectangle 131"/>
            <p:cNvSpPr>
              <a:spLocks noChangeArrowheads="1"/>
            </p:cNvSpPr>
            <p:nvPr/>
          </p:nvSpPr>
          <p:spPr bwMode="auto">
            <a:xfrm>
              <a:off x="5887484" y="4661540"/>
              <a:ext cx="90457" cy="23395"/>
            </a:xfrm>
            <a:prstGeom prst="rect">
              <a:avLst/>
            </a:prstGeom>
            <a:solidFill>
              <a:srgbClr val="4BA3B5"/>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73" name="Freeform 127"/>
            <p:cNvSpPr>
              <a:spLocks/>
            </p:cNvSpPr>
            <p:nvPr/>
          </p:nvSpPr>
          <p:spPr bwMode="auto">
            <a:xfrm>
              <a:off x="4922092" y="3998755"/>
              <a:ext cx="1104197" cy="152841"/>
            </a:xfrm>
            <a:custGeom>
              <a:avLst/>
              <a:gdLst>
                <a:gd name="T0" fmla="*/ 1883 w 2122"/>
                <a:gd name="T1" fmla="*/ 0 h 296"/>
                <a:gd name="T2" fmla="*/ 239 w 2122"/>
                <a:gd name="T3" fmla="*/ 0 h 296"/>
                <a:gd name="T4" fmla="*/ 0 w 2122"/>
                <a:gd name="T5" fmla="*/ 296 h 296"/>
                <a:gd name="T6" fmla="*/ 2122 w 2122"/>
                <a:gd name="T7" fmla="*/ 296 h 296"/>
                <a:gd name="T8" fmla="*/ 1883 w 2122"/>
                <a:gd name="T9" fmla="*/ 0 h 296"/>
              </a:gdLst>
              <a:ahLst/>
              <a:cxnLst>
                <a:cxn ang="0">
                  <a:pos x="T0" y="T1"/>
                </a:cxn>
                <a:cxn ang="0">
                  <a:pos x="T2" y="T3"/>
                </a:cxn>
                <a:cxn ang="0">
                  <a:pos x="T4" y="T5"/>
                </a:cxn>
                <a:cxn ang="0">
                  <a:pos x="T6" y="T7"/>
                </a:cxn>
                <a:cxn ang="0">
                  <a:pos x="T8" y="T9"/>
                </a:cxn>
              </a:cxnLst>
              <a:rect l="0" t="0" r="r" b="b"/>
              <a:pathLst>
                <a:path w="2122" h="296">
                  <a:moveTo>
                    <a:pt x="1883" y="0"/>
                  </a:moveTo>
                  <a:lnTo>
                    <a:pt x="239" y="0"/>
                  </a:lnTo>
                  <a:lnTo>
                    <a:pt x="0" y="296"/>
                  </a:lnTo>
                  <a:lnTo>
                    <a:pt x="2122" y="296"/>
                  </a:lnTo>
                  <a:lnTo>
                    <a:pt x="1883" y="0"/>
                  </a:lnTo>
                  <a:close/>
                </a:path>
              </a:pathLst>
            </a:custGeom>
            <a:solidFill>
              <a:schemeClr val="tx1"/>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3" name="Rectangle 102"/>
          <p:cNvSpPr/>
          <p:nvPr/>
        </p:nvSpPr>
        <p:spPr bwMode="auto">
          <a:xfrm>
            <a:off x="379190" y="3973612"/>
            <a:ext cx="1948900" cy="413966"/>
          </a:xfrm>
          <a:prstGeom prst="rect">
            <a:avLst/>
          </a:prstGeom>
          <a:solidFill>
            <a:srgbClr val="0040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738" name="Freeform 7"/>
          <p:cNvSpPr>
            <a:spLocks noEditPoints="1"/>
          </p:cNvSpPr>
          <p:nvPr/>
        </p:nvSpPr>
        <p:spPr bwMode="auto">
          <a:xfrm flipH="1">
            <a:off x="1411881" y="4133013"/>
            <a:ext cx="220075" cy="225716"/>
          </a:xfrm>
          <a:custGeom>
            <a:avLst/>
            <a:gdLst>
              <a:gd name="T0" fmla="*/ 780 w 780"/>
              <a:gd name="T1" fmla="*/ 96 h 800"/>
              <a:gd name="T2" fmla="*/ 702 w 780"/>
              <a:gd name="T3" fmla="*/ 96 h 800"/>
              <a:gd name="T4" fmla="*/ 658 w 780"/>
              <a:gd name="T5" fmla="*/ 152 h 800"/>
              <a:gd name="T6" fmla="*/ 638 w 780"/>
              <a:gd name="T7" fmla="*/ 226 h 800"/>
              <a:gd name="T8" fmla="*/ 632 w 780"/>
              <a:gd name="T9" fmla="*/ 342 h 800"/>
              <a:gd name="T10" fmla="*/ 650 w 780"/>
              <a:gd name="T11" fmla="*/ 462 h 800"/>
              <a:gd name="T12" fmla="*/ 678 w 780"/>
              <a:gd name="T13" fmla="*/ 540 h 800"/>
              <a:gd name="T14" fmla="*/ 690 w 780"/>
              <a:gd name="T15" fmla="*/ 628 h 800"/>
              <a:gd name="T16" fmla="*/ 676 w 780"/>
              <a:gd name="T17" fmla="*/ 702 h 800"/>
              <a:gd name="T18" fmla="*/ 636 w 780"/>
              <a:gd name="T19" fmla="*/ 742 h 800"/>
              <a:gd name="T20" fmla="*/ 572 w 780"/>
              <a:gd name="T21" fmla="*/ 748 h 800"/>
              <a:gd name="T22" fmla="*/ 514 w 780"/>
              <a:gd name="T23" fmla="*/ 704 h 800"/>
              <a:gd name="T24" fmla="*/ 498 w 780"/>
              <a:gd name="T25" fmla="*/ 634 h 800"/>
              <a:gd name="T26" fmla="*/ 516 w 780"/>
              <a:gd name="T27" fmla="*/ 512 h 800"/>
              <a:gd name="T28" fmla="*/ 538 w 780"/>
              <a:gd name="T29" fmla="*/ 396 h 800"/>
              <a:gd name="T30" fmla="*/ 530 w 780"/>
              <a:gd name="T31" fmla="*/ 316 h 800"/>
              <a:gd name="T32" fmla="*/ 510 w 780"/>
              <a:gd name="T33" fmla="*/ 292 h 800"/>
              <a:gd name="T34" fmla="*/ 456 w 780"/>
              <a:gd name="T35" fmla="*/ 276 h 800"/>
              <a:gd name="T36" fmla="*/ 424 w 780"/>
              <a:gd name="T37" fmla="*/ 36 h 800"/>
              <a:gd name="T38" fmla="*/ 414 w 780"/>
              <a:gd name="T39" fmla="*/ 10 h 800"/>
              <a:gd name="T40" fmla="*/ 388 w 780"/>
              <a:gd name="T41" fmla="*/ 0 h 800"/>
              <a:gd name="T42" fmla="*/ 24 w 780"/>
              <a:gd name="T43" fmla="*/ 2 h 800"/>
              <a:gd name="T44" fmla="*/ 4 w 780"/>
              <a:gd name="T45" fmla="*/ 22 h 800"/>
              <a:gd name="T46" fmla="*/ 424 w 780"/>
              <a:gd name="T47" fmla="*/ 786 h 800"/>
              <a:gd name="T48" fmla="*/ 462 w 780"/>
              <a:gd name="T49" fmla="*/ 328 h 800"/>
              <a:gd name="T50" fmla="*/ 482 w 780"/>
              <a:gd name="T51" fmla="*/ 334 h 800"/>
              <a:gd name="T52" fmla="*/ 488 w 780"/>
              <a:gd name="T53" fmla="*/ 390 h 800"/>
              <a:gd name="T54" fmla="*/ 468 w 780"/>
              <a:gd name="T55" fmla="*/ 502 h 800"/>
              <a:gd name="T56" fmla="*/ 448 w 780"/>
              <a:gd name="T57" fmla="*/ 604 h 800"/>
              <a:gd name="T58" fmla="*/ 452 w 780"/>
              <a:gd name="T59" fmla="*/ 672 h 800"/>
              <a:gd name="T60" fmla="*/ 474 w 780"/>
              <a:gd name="T61" fmla="*/ 734 h 800"/>
              <a:gd name="T62" fmla="*/ 510 w 780"/>
              <a:gd name="T63" fmla="*/ 776 h 800"/>
              <a:gd name="T64" fmla="*/ 562 w 780"/>
              <a:gd name="T65" fmla="*/ 798 h 800"/>
              <a:gd name="T66" fmla="*/ 610 w 780"/>
              <a:gd name="T67" fmla="*/ 800 h 800"/>
              <a:gd name="T68" fmla="*/ 668 w 780"/>
              <a:gd name="T69" fmla="*/ 782 h 800"/>
              <a:gd name="T70" fmla="*/ 710 w 780"/>
              <a:gd name="T71" fmla="*/ 742 h 800"/>
              <a:gd name="T72" fmla="*/ 734 w 780"/>
              <a:gd name="T73" fmla="*/ 684 h 800"/>
              <a:gd name="T74" fmla="*/ 740 w 780"/>
              <a:gd name="T75" fmla="*/ 628 h 800"/>
              <a:gd name="T76" fmla="*/ 726 w 780"/>
              <a:gd name="T77" fmla="*/ 528 h 800"/>
              <a:gd name="T78" fmla="*/ 698 w 780"/>
              <a:gd name="T79" fmla="*/ 444 h 800"/>
              <a:gd name="T80" fmla="*/ 684 w 780"/>
              <a:gd name="T81" fmla="*/ 350 h 800"/>
              <a:gd name="T82" fmla="*/ 742 w 780"/>
              <a:gd name="T83" fmla="*/ 346 h 800"/>
              <a:gd name="T84" fmla="*/ 762 w 780"/>
              <a:gd name="T85" fmla="*/ 330 h 800"/>
              <a:gd name="T86" fmla="*/ 770 w 780"/>
              <a:gd name="T87" fmla="*/ 260 h 800"/>
              <a:gd name="T88" fmla="*/ 768 w 780"/>
              <a:gd name="T89" fmla="*/ 204 h 800"/>
              <a:gd name="T90" fmla="*/ 748 w 780"/>
              <a:gd name="T91" fmla="*/ 152 h 800"/>
              <a:gd name="T92" fmla="*/ 372 w 780"/>
              <a:gd name="T93" fmla="*/ 280 h 800"/>
              <a:gd name="T94" fmla="*/ 372 w 780"/>
              <a:gd name="T95" fmla="*/ 280 h 800"/>
              <a:gd name="T96" fmla="*/ 718 w 780"/>
              <a:gd name="T97" fmla="*/ 298 h 800"/>
              <a:gd name="T98" fmla="*/ 686 w 780"/>
              <a:gd name="T99" fmla="*/ 250 h 800"/>
              <a:gd name="T100" fmla="*/ 698 w 780"/>
              <a:gd name="T101" fmla="*/ 188 h 800"/>
              <a:gd name="T102" fmla="*/ 714 w 780"/>
              <a:gd name="T103" fmla="*/ 19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0" h="800">
                <a:moveTo>
                  <a:pt x="734" y="136"/>
                </a:moveTo>
                <a:lnTo>
                  <a:pt x="734" y="136"/>
                </a:lnTo>
                <a:lnTo>
                  <a:pt x="768" y="106"/>
                </a:lnTo>
                <a:lnTo>
                  <a:pt x="780" y="96"/>
                </a:lnTo>
                <a:lnTo>
                  <a:pt x="746" y="58"/>
                </a:lnTo>
                <a:lnTo>
                  <a:pt x="734" y="68"/>
                </a:lnTo>
                <a:lnTo>
                  <a:pt x="734" y="68"/>
                </a:lnTo>
                <a:lnTo>
                  <a:pt x="702" y="96"/>
                </a:lnTo>
                <a:lnTo>
                  <a:pt x="688" y="110"/>
                </a:lnTo>
                <a:lnTo>
                  <a:pt x="678" y="124"/>
                </a:lnTo>
                <a:lnTo>
                  <a:pt x="666" y="138"/>
                </a:lnTo>
                <a:lnTo>
                  <a:pt x="658" y="152"/>
                </a:lnTo>
                <a:lnTo>
                  <a:pt x="652" y="170"/>
                </a:lnTo>
                <a:lnTo>
                  <a:pt x="646" y="188"/>
                </a:lnTo>
                <a:lnTo>
                  <a:pt x="646" y="188"/>
                </a:lnTo>
                <a:lnTo>
                  <a:pt x="638" y="226"/>
                </a:lnTo>
                <a:lnTo>
                  <a:pt x="634" y="266"/>
                </a:lnTo>
                <a:lnTo>
                  <a:pt x="632" y="304"/>
                </a:lnTo>
                <a:lnTo>
                  <a:pt x="632" y="342"/>
                </a:lnTo>
                <a:lnTo>
                  <a:pt x="632" y="342"/>
                </a:lnTo>
                <a:lnTo>
                  <a:pt x="634" y="376"/>
                </a:lnTo>
                <a:lnTo>
                  <a:pt x="636" y="406"/>
                </a:lnTo>
                <a:lnTo>
                  <a:pt x="642" y="434"/>
                </a:lnTo>
                <a:lnTo>
                  <a:pt x="650" y="462"/>
                </a:lnTo>
                <a:lnTo>
                  <a:pt x="656" y="476"/>
                </a:lnTo>
                <a:lnTo>
                  <a:pt x="656" y="476"/>
                </a:lnTo>
                <a:lnTo>
                  <a:pt x="666" y="504"/>
                </a:lnTo>
                <a:lnTo>
                  <a:pt x="678" y="540"/>
                </a:lnTo>
                <a:lnTo>
                  <a:pt x="682" y="560"/>
                </a:lnTo>
                <a:lnTo>
                  <a:pt x="686" y="582"/>
                </a:lnTo>
                <a:lnTo>
                  <a:pt x="688" y="604"/>
                </a:lnTo>
                <a:lnTo>
                  <a:pt x="690" y="628"/>
                </a:lnTo>
                <a:lnTo>
                  <a:pt x="690" y="628"/>
                </a:lnTo>
                <a:lnTo>
                  <a:pt x="688" y="656"/>
                </a:lnTo>
                <a:lnTo>
                  <a:pt x="684" y="680"/>
                </a:lnTo>
                <a:lnTo>
                  <a:pt x="676" y="702"/>
                </a:lnTo>
                <a:lnTo>
                  <a:pt x="666" y="718"/>
                </a:lnTo>
                <a:lnTo>
                  <a:pt x="658" y="726"/>
                </a:lnTo>
                <a:lnTo>
                  <a:pt x="652" y="732"/>
                </a:lnTo>
                <a:lnTo>
                  <a:pt x="636" y="742"/>
                </a:lnTo>
                <a:lnTo>
                  <a:pt x="616" y="748"/>
                </a:lnTo>
                <a:lnTo>
                  <a:pt x="592" y="750"/>
                </a:lnTo>
                <a:lnTo>
                  <a:pt x="592" y="750"/>
                </a:lnTo>
                <a:lnTo>
                  <a:pt x="572" y="748"/>
                </a:lnTo>
                <a:lnTo>
                  <a:pt x="554" y="742"/>
                </a:lnTo>
                <a:lnTo>
                  <a:pt x="538" y="732"/>
                </a:lnTo>
                <a:lnTo>
                  <a:pt x="526" y="720"/>
                </a:lnTo>
                <a:lnTo>
                  <a:pt x="514" y="704"/>
                </a:lnTo>
                <a:lnTo>
                  <a:pt x="506" y="684"/>
                </a:lnTo>
                <a:lnTo>
                  <a:pt x="502" y="660"/>
                </a:lnTo>
                <a:lnTo>
                  <a:pt x="498" y="634"/>
                </a:lnTo>
                <a:lnTo>
                  <a:pt x="498" y="634"/>
                </a:lnTo>
                <a:lnTo>
                  <a:pt x="500" y="606"/>
                </a:lnTo>
                <a:lnTo>
                  <a:pt x="504" y="576"/>
                </a:lnTo>
                <a:lnTo>
                  <a:pt x="516" y="512"/>
                </a:lnTo>
                <a:lnTo>
                  <a:pt x="516" y="512"/>
                </a:lnTo>
                <a:lnTo>
                  <a:pt x="530" y="456"/>
                </a:lnTo>
                <a:lnTo>
                  <a:pt x="534" y="426"/>
                </a:lnTo>
                <a:lnTo>
                  <a:pt x="538" y="396"/>
                </a:lnTo>
                <a:lnTo>
                  <a:pt x="538" y="396"/>
                </a:lnTo>
                <a:lnTo>
                  <a:pt x="540" y="364"/>
                </a:lnTo>
                <a:lnTo>
                  <a:pt x="538" y="338"/>
                </a:lnTo>
                <a:lnTo>
                  <a:pt x="534" y="326"/>
                </a:lnTo>
                <a:lnTo>
                  <a:pt x="530" y="316"/>
                </a:lnTo>
                <a:lnTo>
                  <a:pt x="526" y="308"/>
                </a:lnTo>
                <a:lnTo>
                  <a:pt x="520" y="300"/>
                </a:lnTo>
                <a:lnTo>
                  <a:pt x="520" y="300"/>
                </a:lnTo>
                <a:lnTo>
                  <a:pt x="510" y="292"/>
                </a:lnTo>
                <a:lnTo>
                  <a:pt x="500" y="286"/>
                </a:lnTo>
                <a:lnTo>
                  <a:pt x="490" y="282"/>
                </a:lnTo>
                <a:lnTo>
                  <a:pt x="478" y="278"/>
                </a:lnTo>
                <a:lnTo>
                  <a:pt x="456" y="276"/>
                </a:lnTo>
                <a:lnTo>
                  <a:pt x="432" y="276"/>
                </a:lnTo>
                <a:lnTo>
                  <a:pt x="424" y="276"/>
                </a:lnTo>
                <a:lnTo>
                  <a:pt x="424" y="36"/>
                </a:lnTo>
                <a:lnTo>
                  <a:pt x="424" y="36"/>
                </a:lnTo>
                <a:lnTo>
                  <a:pt x="424" y="30"/>
                </a:lnTo>
                <a:lnTo>
                  <a:pt x="422" y="22"/>
                </a:lnTo>
                <a:lnTo>
                  <a:pt x="418" y="16"/>
                </a:lnTo>
                <a:lnTo>
                  <a:pt x="414" y="10"/>
                </a:lnTo>
                <a:lnTo>
                  <a:pt x="408" y="6"/>
                </a:lnTo>
                <a:lnTo>
                  <a:pt x="402" y="2"/>
                </a:lnTo>
                <a:lnTo>
                  <a:pt x="396" y="0"/>
                </a:lnTo>
                <a:lnTo>
                  <a:pt x="388" y="0"/>
                </a:lnTo>
                <a:lnTo>
                  <a:pt x="38" y="0"/>
                </a:lnTo>
                <a:lnTo>
                  <a:pt x="38" y="0"/>
                </a:lnTo>
                <a:lnTo>
                  <a:pt x="30" y="0"/>
                </a:lnTo>
                <a:lnTo>
                  <a:pt x="24" y="2"/>
                </a:lnTo>
                <a:lnTo>
                  <a:pt x="16" y="6"/>
                </a:lnTo>
                <a:lnTo>
                  <a:pt x="12" y="10"/>
                </a:lnTo>
                <a:lnTo>
                  <a:pt x="8" y="16"/>
                </a:lnTo>
                <a:lnTo>
                  <a:pt x="4" y="22"/>
                </a:lnTo>
                <a:lnTo>
                  <a:pt x="2" y="30"/>
                </a:lnTo>
                <a:lnTo>
                  <a:pt x="0" y="36"/>
                </a:lnTo>
                <a:lnTo>
                  <a:pt x="0" y="786"/>
                </a:lnTo>
                <a:lnTo>
                  <a:pt x="424" y="786"/>
                </a:lnTo>
                <a:lnTo>
                  <a:pt x="424" y="326"/>
                </a:lnTo>
                <a:lnTo>
                  <a:pt x="432" y="326"/>
                </a:lnTo>
                <a:lnTo>
                  <a:pt x="432" y="326"/>
                </a:lnTo>
                <a:lnTo>
                  <a:pt x="462" y="328"/>
                </a:lnTo>
                <a:lnTo>
                  <a:pt x="474" y="330"/>
                </a:lnTo>
                <a:lnTo>
                  <a:pt x="478" y="332"/>
                </a:lnTo>
                <a:lnTo>
                  <a:pt x="482" y="334"/>
                </a:lnTo>
                <a:lnTo>
                  <a:pt x="482" y="334"/>
                </a:lnTo>
                <a:lnTo>
                  <a:pt x="486" y="340"/>
                </a:lnTo>
                <a:lnTo>
                  <a:pt x="488" y="350"/>
                </a:lnTo>
                <a:lnTo>
                  <a:pt x="490" y="366"/>
                </a:lnTo>
                <a:lnTo>
                  <a:pt x="488" y="390"/>
                </a:lnTo>
                <a:lnTo>
                  <a:pt x="488" y="390"/>
                </a:lnTo>
                <a:lnTo>
                  <a:pt x="484" y="418"/>
                </a:lnTo>
                <a:lnTo>
                  <a:pt x="480" y="446"/>
                </a:lnTo>
                <a:lnTo>
                  <a:pt x="468" y="502"/>
                </a:lnTo>
                <a:lnTo>
                  <a:pt x="468" y="502"/>
                </a:lnTo>
                <a:lnTo>
                  <a:pt x="460" y="536"/>
                </a:lnTo>
                <a:lnTo>
                  <a:pt x="452" y="572"/>
                </a:lnTo>
                <a:lnTo>
                  <a:pt x="448" y="604"/>
                </a:lnTo>
                <a:lnTo>
                  <a:pt x="448" y="636"/>
                </a:lnTo>
                <a:lnTo>
                  <a:pt x="448" y="636"/>
                </a:lnTo>
                <a:lnTo>
                  <a:pt x="450" y="654"/>
                </a:lnTo>
                <a:lnTo>
                  <a:pt x="452" y="672"/>
                </a:lnTo>
                <a:lnTo>
                  <a:pt x="456" y="690"/>
                </a:lnTo>
                <a:lnTo>
                  <a:pt x="460" y="706"/>
                </a:lnTo>
                <a:lnTo>
                  <a:pt x="466" y="720"/>
                </a:lnTo>
                <a:lnTo>
                  <a:pt x="474" y="734"/>
                </a:lnTo>
                <a:lnTo>
                  <a:pt x="480" y="746"/>
                </a:lnTo>
                <a:lnTo>
                  <a:pt x="490" y="758"/>
                </a:lnTo>
                <a:lnTo>
                  <a:pt x="500" y="766"/>
                </a:lnTo>
                <a:lnTo>
                  <a:pt x="510" y="776"/>
                </a:lnTo>
                <a:lnTo>
                  <a:pt x="522" y="782"/>
                </a:lnTo>
                <a:lnTo>
                  <a:pt x="534" y="790"/>
                </a:lnTo>
                <a:lnTo>
                  <a:pt x="548" y="794"/>
                </a:lnTo>
                <a:lnTo>
                  <a:pt x="562" y="798"/>
                </a:lnTo>
                <a:lnTo>
                  <a:pt x="576" y="800"/>
                </a:lnTo>
                <a:lnTo>
                  <a:pt x="592" y="800"/>
                </a:lnTo>
                <a:lnTo>
                  <a:pt x="592" y="800"/>
                </a:lnTo>
                <a:lnTo>
                  <a:pt x="610" y="800"/>
                </a:lnTo>
                <a:lnTo>
                  <a:pt x="626" y="798"/>
                </a:lnTo>
                <a:lnTo>
                  <a:pt x="640" y="794"/>
                </a:lnTo>
                <a:lnTo>
                  <a:pt x="654" y="788"/>
                </a:lnTo>
                <a:lnTo>
                  <a:pt x="668" y="782"/>
                </a:lnTo>
                <a:lnTo>
                  <a:pt x="680" y="774"/>
                </a:lnTo>
                <a:lnTo>
                  <a:pt x="692" y="764"/>
                </a:lnTo>
                <a:lnTo>
                  <a:pt x="702" y="754"/>
                </a:lnTo>
                <a:lnTo>
                  <a:pt x="710" y="742"/>
                </a:lnTo>
                <a:lnTo>
                  <a:pt x="718" y="730"/>
                </a:lnTo>
                <a:lnTo>
                  <a:pt x="724" y="716"/>
                </a:lnTo>
                <a:lnTo>
                  <a:pt x="730" y="700"/>
                </a:lnTo>
                <a:lnTo>
                  <a:pt x="734" y="684"/>
                </a:lnTo>
                <a:lnTo>
                  <a:pt x="738" y="666"/>
                </a:lnTo>
                <a:lnTo>
                  <a:pt x="740" y="648"/>
                </a:lnTo>
                <a:lnTo>
                  <a:pt x="740" y="628"/>
                </a:lnTo>
                <a:lnTo>
                  <a:pt x="740" y="628"/>
                </a:lnTo>
                <a:lnTo>
                  <a:pt x="740" y="600"/>
                </a:lnTo>
                <a:lnTo>
                  <a:pt x="736" y="574"/>
                </a:lnTo>
                <a:lnTo>
                  <a:pt x="732" y="550"/>
                </a:lnTo>
                <a:lnTo>
                  <a:pt x="726" y="528"/>
                </a:lnTo>
                <a:lnTo>
                  <a:pt x="714" y="488"/>
                </a:lnTo>
                <a:lnTo>
                  <a:pt x="702" y="458"/>
                </a:lnTo>
                <a:lnTo>
                  <a:pt x="698" y="444"/>
                </a:lnTo>
                <a:lnTo>
                  <a:pt x="698" y="444"/>
                </a:lnTo>
                <a:lnTo>
                  <a:pt x="692" y="424"/>
                </a:lnTo>
                <a:lnTo>
                  <a:pt x="688" y="402"/>
                </a:lnTo>
                <a:lnTo>
                  <a:pt x="686" y="378"/>
                </a:lnTo>
                <a:lnTo>
                  <a:pt x="684" y="350"/>
                </a:lnTo>
                <a:lnTo>
                  <a:pt x="684" y="350"/>
                </a:lnTo>
                <a:lnTo>
                  <a:pt x="728" y="348"/>
                </a:lnTo>
                <a:lnTo>
                  <a:pt x="728" y="348"/>
                </a:lnTo>
                <a:lnTo>
                  <a:pt x="742" y="346"/>
                </a:lnTo>
                <a:lnTo>
                  <a:pt x="748" y="344"/>
                </a:lnTo>
                <a:lnTo>
                  <a:pt x="754" y="340"/>
                </a:lnTo>
                <a:lnTo>
                  <a:pt x="758" y="336"/>
                </a:lnTo>
                <a:lnTo>
                  <a:pt x="762" y="330"/>
                </a:lnTo>
                <a:lnTo>
                  <a:pt x="768" y="316"/>
                </a:lnTo>
                <a:lnTo>
                  <a:pt x="768" y="316"/>
                </a:lnTo>
                <a:lnTo>
                  <a:pt x="770" y="294"/>
                </a:lnTo>
                <a:lnTo>
                  <a:pt x="770" y="260"/>
                </a:lnTo>
                <a:lnTo>
                  <a:pt x="770" y="252"/>
                </a:lnTo>
                <a:lnTo>
                  <a:pt x="770" y="252"/>
                </a:lnTo>
                <a:lnTo>
                  <a:pt x="770" y="226"/>
                </a:lnTo>
                <a:lnTo>
                  <a:pt x="768" y="204"/>
                </a:lnTo>
                <a:lnTo>
                  <a:pt x="764" y="188"/>
                </a:lnTo>
                <a:lnTo>
                  <a:pt x="760" y="174"/>
                </a:lnTo>
                <a:lnTo>
                  <a:pt x="754" y="162"/>
                </a:lnTo>
                <a:lnTo>
                  <a:pt x="748" y="152"/>
                </a:lnTo>
                <a:lnTo>
                  <a:pt x="742" y="144"/>
                </a:lnTo>
                <a:lnTo>
                  <a:pt x="734" y="136"/>
                </a:lnTo>
                <a:lnTo>
                  <a:pt x="734" y="136"/>
                </a:lnTo>
                <a:close/>
                <a:moveTo>
                  <a:pt x="372" y="280"/>
                </a:moveTo>
                <a:lnTo>
                  <a:pt x="54" y="280"/>
                </a:lnTo>
                <a:lnTo>
                  <a:pt x="54" y="72"/>
                </a:lnTo>
                <a:lnTo>
                  <a:pt x="372" y="72"/>
                </a:lnTo>
                <a:lnTo>
                  <a:pt x="372" y="280"/>
                </a:lnTo>
                <a:close/>
                <a:moveTo>
                  <a:pt x="720" y="260"/>
                </a:moveTo>
                <a:lnTo>
                  <a:pt x="720" y="260"/>
                </a:lnTo>
                <a:lnTo>
                  <a:pt x="718" y="298"/>
                </a:lnTo>
                <a:lnTo>
                  <a:pt x="718" y="298"/>
                </a:lnTo>
                <a:lnTo>
                  <a:pt x="682" y="298"/>
                </a:lnTo>
                <a:lnTo>
                  <a:pt x="682" y="298"/>
                </a:lnTo>
                <a:lnTo>
                  <a:pt x="684" y="274"/>
                </a:lnTo>
                <a:lnTo>
                  <a:pt x="686" y="250"/>
                </a:lnTo>
                <a:lnTo>
                  <a:pt x="690" y="224"/>
                </a:lnTo>
                <a:lnTo>
                  <a:pt x="694" y="200"/>
                </a:lnTo>
                <a:lnTo>
                  <a:pt x="694" y="200"/>
                </a:lnTo>
                <a:lnTo>
                  <a:pt x="698" y="188"/>
                </a:lnTo>
                <a:lnTo>
                  <a:pt x="702" y="178"/>
                </a:lnTo>
                <a:lnTo>
                  <a:pt x="702" y="178"/>
                </a:lnTo>
                <a:lnTo>
                  <a:pt x="710" y="186"/>
                </a:lnTo>
                <a:lnTo>
                  <a:pt x="714" y="198"/>
                </a:lnTo>
                <a:lnTo>
                  <a:pt x="718" y="220"/>
                </a:lnTo>
                <a:lnTo>
                  <a:pt x="720" y="252"/>
                </a:lnTo>
                <a:lnTo>
                  <a:pt x="720" y="260"/>
                </a:lnTo>
                <a:close/>
              </a:path>
            </a:pathLst>
          </a:custGeom>
          <a:solidFill>
            <a:srgbClr val="3A7E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38" name="Group 1237"/>
          <p:cNvGrpSpPr/>
          <p:nvPr/>
        </p:nvGrpSpPr>
        <p:grpSpPr>
          <a:xfrm>
            <a:off x="295438" y="3752090"/>
            <a:ext cx="2105549" cy="641201"/>
            <a:chOff x="359684" y="2984297"/>
            <a:chExt cx="2267031" cy="690377"/>
          </a:xfrm>
        </p:grpSpPr>
        <p:grpSp>
          <p:nvGrpSpPr>
            <p:cNvPr id="598" name="Group 597"/>
            <p:cNvGrpSpPr/>
            <p:nvPr/>
          </p:nvGrpSpPr>
          <p:grpSpPr>
            <a:xfrm>
              <a:off x="359684" y="2984297"/>
              <a:ext cx="2267031" cy="682742"/>
              <a:chOff x="512496" y="2984297"/>
              <a:chExt cx="2267031" cy="682742"/>
            </a:xfrm>
          </p:grpSpPr>
          <p:grpSp>
            <p:nvGrpSpPr>
              <p:cNvPr id="597" name="Group 596"/>
              <p:cNvGrpSpPr/>
              <p:nvPr/>
            </p:nvGrpSpPr>
            <p:grpSpPr>
              <a:xfrm>
                <a:off x="589053" y="3154960"/>
                <a:ext cx="2113917" cy="512079"/>
                <a:chOff x="640727" y="3242384"/>
                <a:chExt cx="2113917" cy="465526"/>
              </a:xfrm>
            </p:grpSpPr>
            <p:sp>
              <p:nvSpPr>
                <p:cNvPr id="593" name="Rectangle 592"/>
                <p:cNvSpPr/>
                <p:nvPr/>
              </p:nvSpPr>
              <p:spPr bwMode="auto">
                <a:xfrm>
                  <a:off x="640727"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94" name="Rectangle 593"/>
                <p:cNvSpPr/>
                <p:nvPr/>
              </p:nvSpPr>
              <p:spPr bwMode="auto">
                <a:xfrm>
                  <a:off x="1231247"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95" name="Rectangle 594"/>
                <p:cNvSpPr/>
                <p:nvPr/>
              </p:nvSpPr>
              <p:spPr bwMode="auto">
                <a:xfrm>
                  <a:off x="2036575"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96" name="Rectangle 595"/>
                <p:cNvSpPr/>
                <p:nvPr/>
              </p:nvSpPr>
              <p:spPr bwMode="auto">
                <a:xfrm>
                  <a:off x="2627095" y="3242384"/>
                  <a:ext cx="127549" cy="465526"/>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99" name="Rectangle 598"/>
                <p:cNvSpPr/>
                <p:nvPr/>
              </p:nvSpPr>
              <p:spPr bwMode="auto">
                <a:xfrm>
                  <a:off x="654346" y="3281270"/>
                  <a:ext cx="2029469" cy="77250"/>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592" name="Trapezoid 591"/>
              <p:cNvSpPr/>
              <p:nvPr/>
            </p:nvSpPr>
            <p:spPr bwMode="auto">
              <a:xfrm>
                <a:off x="512496" y="3015836"/>
                <a:ext cx="2267031" cy="184444"/>
              </a:xfrm>
              <a:prstGeom prst="trapezoid">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591" name="Group 590"/>
              <p:cNvGrpSpPr/>
              <p:nvPr/>
            </p:nvGrpSpPr>
            <p:grpSpPr>
              <a:xfrm>
                <a:off x="1465877" y="2984297"/>
                <a:ext cx="360268" cy="277150"/>
                <a:chOff x="1467444" y="3002577"/>
                <a:chExt cx="479518" cy="368887"/>
              </a:xfrm>
            </p:grpSpPr>
            <p:sp>
              <p:nvSpPr>
                <p:cNvPr id="590" name="Rectangle 589"/>
                <p:cNvSpPr/>
                <p:nvPr/>
              </p:nvSpPr>
              <p:spPr bwMode="auto">
                <a:xfrm>
                  <a:off x="1467444" y="3002577"/>
                  <a:ext cx="479518" cy="368887"/>
                </a:xfrm>
                <a:prstGeom prst="rect">
                  <a:avLst/>
                </a:prstGeom>
                <a:solidFill>
                  <a:srgbClr val="4BA3B5"/>
                </a:solidFill>
                <a:ln w="19050">
                  <a:solidFill>
                    <a:schemeClr val="tx1">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589" name="Freeform 146"/>
                <p:cNvSpPr>
                  <a:spLocks/>
                </p:cNvSpPr>
                <p:nvPr/>
              </p:nvSpPr>
              <p:spPr bwMode="auto">
                <a:xfrm>
                  <a:off x="1553724" y="3057897"/>
                  <a:ext cx="267741" cy="267741"/>
                </a:xfrm>
                <a:custGeom>
                  <a:avLst/>
                  <a:gdLst>
                    <a:gd name="T0" fmla="*/ 282 w 495"/>
                    <a:gd name="T1" fmla="*/ 380 h 495"/>
                    <a:gd name="T2" fmla="*/ 376 w 495"/>
                    <a:gd name="T3" fmla="*/ 475 h 495"/>
                    <a:gd name="T4" fmla="*/ 376 w 495"/>
                    <a:gd name="T5" fmla="*/ 475 h 495"/>
                    <a:gd name="T6" fmla="*/ 382 w 495"/>
                    <a:gd name="T7" fmla="*/ 480 h 495"/>
                    <a:gd name="T8" fmla="*/ 387 w 495"/>
                    <a:gd name="T9" fmla="*/ 484 h 495"/>
                    <a:gd name="T10" fmla="*/ 393 w 495"/>
                    <a:gd name="T11" fmla="*/ 487 h 495"/>
                    <a:gd name="T12" fmla="*/ 399 w 495"/>
                    <a:gd name="T13" fmla="*/ 490 h 495"/>
                    <a:gd name="T14" fmla="*/ 405 w 495"/>
                    <a:gd name="T15" fmla="*/ 493 h 495"/>
                    <a:gd name="T16" fmla="*/ 412 w 495"/>
                    <a:gd name="T17" fmla="*/ 494 h 495"/>
                    <a:gd name="T18" fmla="*/ 418 w 495"/>
                    <a:gd name="T19" fmla="*/ 495 h 495"/>
                    <a:gd name="T20" fmla="*/ 425 w 495"/>
                    <a:gd name="T21" fmla="*/ 495 h 495"/>
                    <a:gd name="T22" fmla="*/ 431 w 495"/>
                    <a:gd name="T23" fmla="*/ 495 h 495"/>
                    <a:gd name="T24" fmla="*/ 438 w 495"/>
                    <a:gd name="T25" fmla="*/ 494 h 495"/>
                    <a:gd name="T26" fmla="*/ 444 w 495"/>
                    <a:gd name="T27" fmla="*/ 493 h 495"/>
                    <a:gd name="T28" fmla="*/ 451 w 495"/>
                    <a:gd name="T29" fmla="*/ 490 h 495"/>
                    <a:gd name="T30" fmla="*/ 457 w 495"/>
                    <a:gd name="T31" fmla="*/ 488 h 495"/>
                    <a:gd name="T32" fmla="*/ 463 w 495"/>
                    <a:gd name="T33" fmla="*/ 484 h 495"/>
                    <a:gd name="T34" fmla="*/ 468 w 495"/>
                    <a:gd name="T35" fmla="*/ 480 h 495"/>
                    <a:gd name="T36" fmla="*/ 474 w 495"/>
                    <a:gd name="T37" fmla="*/ 475 h 495"/>
                    <a:gd name="T38" fmla="*/ 474 w 495"/>
                    <a:gd name="T39" fmla="*/ 475 h 495"/>
                    <a:gd name="T40" fmla="*/ 478 w 495"/>
                    <a:gd name="T41" fmla="*/ 470 h 495"/>
                    <a:gd name="T42" fmla="*/ 482 w 495"/>
                    <a:gd name="T43" fmla="*/ 465 h 495"/>
                    <a:gd name="T44" fmla="*/ 487 w 495"/>
                    <a:gd name="T45" fmla="*/ 459 h 495"/>
                    <a:gd name="T46" fmla="*/ 490 w 495"/>
                    <a:gd name="T47" fmla="*/ 453 h 495"/>
                    <a:gd name="T48" fmla="*/ 492 w 495"/>
                    <a:gd name="T49" fmla="*/ 446 h 495"/>
                    <a:gd name="T50" fmla="*/ 493 w 495"/>
                    <a:gd name="T51" fmla="*/ 439 h 495"/>
                    <a:gd name="T52" fmla="*/ 494 w 495"/>
                    <a:gd name="T53" fmla="*/ 432 h 495"/>
                    <a:gd name="T54" fmla="*/ 495 w 495"/>
                    <a:gd name="T55" fmla="*/ 426 h 495"/>
                    <a:gd name="T56" fmla="*/ 494 w 495"/>
                    <a:gd name="T57" fmla="*/ 419 h 495"/>
                    <a:gd name="T58" fmla="*/ 493 w 495"/>
                    <a:gd name="T59" fmla="*/ 413 h 495"/>
                    <a:gd name="T60" fmla="*/ 492 w 495"/>
                    <a:gd name="T61" fmla="*/ 406 h 495"/>
                    <a:gd name="T62" fmla="*/ 490 w 495"/>
                    <a:gd name="T63" fmla="*/ 400 h 495"/>
                    <a:gd name="T64" fmla="*/ 487 w 495"/>
                    <a:gd name="T65" fmla="*/ 394 h 495"/>
                    <a:gd name="T66" fmla="*/ 482 w 495"/>
                    <a:gd name="T67" fmla="*/ 388 h 495"/>
                    <a:gd name="T68" fmla="*/ 478 w 495"/>
                    <a:gd name="T69" fmla="*/ 382 h 495"/>
                    <a:gd name="T70" fmla="*/ 473 w 495"/>
                    <a:gd name="T71" fmla="*/ 377 h 495"/>
                    <a:gd name="T72" fmla="*/ 379 w 495"/>
                    <a:gd name="T73" fmla="*/ 283 h 495"/>
                    <a:gd name="T74" fmla="*/ 379 w 495"/>
                    <a:gd name="T75" fmla="*/ 283 h 495"/>
                    <a:gd name="T76" fmla="*/ 376 w 495"/>
                    <a:gd name="T77" fmla="*/ 280 h 495"/>
                    <a:gd name="T78" fmla="*/ 315 w 495"/>
                    <a:gd name="T79" fmla="*/ 218 h 495"/>
                    <a:gd name="T80" fmla="*/ 315 w 495"/>
                    <a:gd name="T81" fmla="*/ 91 h 495"/>
                    <a:gd name="T82" fmla="*/ 225 w 495"/>
                    <a:gd name="T83" fmla="*/ 0 h 495"/>
                    <a:gd name="T84" fmla="*/ 97 w 495"/>
                    <a:gd name="T85" fmla="*/ 6 h 495"/>
                    <a:gd name="T86" fmla="*/ 219 w 495"/>
                    <a:gd name="T87" fmla="*/ 128 h 495"/>
                    <a:gd name="T88" fmla="*/ 219 w 495"/>
                    <a:gd name="T89" fmla="*/ 180 h 495"/>
                    <a:gd name="T90" fmla="*/ 179 w 495"/>
                    <a:gd name="T91" fmla="*/ 220 h 495"/>
                    <a:gd name="T92" fmla="*/ 128 w 495"/>
                    <a:gd name="T93" fmla="*/ 220 h 495"/>
                    <a:gd name="T94" fmla="*/ 5 w 495"/>
                    <a:gd name="T95" fmla="*/ 98 h 495"/>
                    <a:gd name="T96" fmla="*/ 0 w 495"/>
                    <a:gd name="T97" fmla="*/ 225 h 495"/>
                    <a:gd name="T98" fmla="*/ 90 w 495"/>
                    <a:gd name="T99" fmla="*/ 316 h 495"/>
                    <a:gd name="T100" fmla="*/ 217 w 495"/>
                    <a:gd name="T101" fmla="*/ 316 h 495"/>
                    <a:gd name="T102" fmla="*/ 282 w 495"/>
                    <a:gd name="T103" fmla="*/ 38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5" h="495">
                      <a:moveTo>
                        <a:pt x="282" y="380"/>
                      </a:moveTo>
                      <a:lnTo>
                        <a:pt x="376" y="475"/>
                      </a:lnTo>
                      <a:lnTo>
                        <a:pt x="376" y="475"/>
                      </a:lnTo>
                      <a:lnTo>
                        <a:pt x="382" y="480"/>
                      </a:lnTo>
                      <a:lnTo>
                        <a:pt x="387" y="484"/>
                      </a:lnTo>
                      <a:lnTo>
                        <a:pt x="393" y="487"/>
                      </a:lnTo>
                      <a:lnTo>
                        <a:pt x="399" y="490"/>
                      </a:lnTo>
                      <a:lnTo>
                        <a:pt x="405" y="493"/>
                      </a:lnTo>
                      <a:lnTo>
                        <a:pt x="412" y="494"/>
                      </a:lnTo>
                      <a:lnTo>
                        <a:pt x="418" y="495"/>
                      </a:lnTo>
                      <a:lnTo>
                        <a:pt x="425" y="495"/>
                      </a:lnTo>
                      <a:lnTo>
                        <a:pt x="431" y="495"/>
                      </a:lnTo>
                      <a:lnTo>
                        <a:pt x="438" y="494"/>
                      </a:lnTo>
                      <a:lnTo>
                        <a:pt x="444" y="493"/>
                      </a:lnTo>
                      <a:lnTo>
                        <a:pt x="451" y="490"/>
                      </a:lnTo>
                      <a:lnTo>
                        <a:pt x="457" y="488"/>
                      </a:lnTo>
                      <a:lnTo>
                        <a:pt x="463" y="484"/>
                      </a:lnTo>
                      <a:lnTo>
                        <a:pt x="468" y="480"/>
                      </a:lnTo>
                      <a:lnTo>
                        <a:pt x="474" y="475"/>
                      </a:lnTo>
                      <a:lnTo>
                        <a:pt x="474" y="475"/>
                      </a:lnTo>
                      <a:lnTo>
                        <a:pt x="478" y="470"/>
                      </a:lnTo>
                      <a:lnTo>
                        <a:pt x="482" y="465"/>
                      </a:lnTo>
                      <a:lnTo>
                        <a:pt x="487" y="459"/>
                      </a:lnTo>
                      <a:lnTo>
                        <a:pt x="490" y="453"/>
                      </a:lnTo>
                      <a:lnTo>
                        <a:pt x="492" y="446"/>
                      </a:lnTo>
                      <a:lnTo>
                        <a:pt x="493" y="439"/>
                      </a:lnTo>
                      <a:lnTo>
                        <a:pt x="494" y="432"/>
                      </a:lnTo>
                      <a:lnTo>
                        <a:pt x="495" y="426"/>
                      </a:lnTo>
                      <a:lnTo>
                        <a:pt x="494" y="419"/>
                      </a:lnTo>
                      <a:lnTo>
                        <a:pt x="493" y="413"/>
                      </a:lnTo>
                      <a:lnTo>
                        <a:pt x="492" y="406"/>
                      </a:lnTo>
                      <a:lnTo>
                        <a:pt x="490" y="400"/>
                      </a:lnTo>
                      <a:lnTo>
                        <a:pt x="487" y="394"/>
                      </a:lnTo>
                      <a:lnTo>
                        <a:pt x="482" y="388"/>
                      </a:lnTo>
                      <a:lnTo>
                        <a:pt x="478" y="382"/>
                      </a:lnTo>
                      <a:lnTo>
                        <a:pt x="473" y="377"/>
                      </a:lnTo>
                      <a:lnTo>
                        <a:pt x="379" y="283"/>
                      </a:lnTo>
                      <a:lnTo>
                        <a:pt x="379" y="283"/>
                      </a:lnTo>
                      <a:lnTo>
                        <a:pt x="376" y="280"/>
                      </a:lnTo>
                      <a:lnTo>
                        <a:pt x="315" y="218"/>
                      </a:lnTo>
                      <a:lnTo>
                        <a:pt x="315" y="91"/>
                      </a:lnTo>
                      <a:lnTo>
                        <a:pt x="225" y="0"/>
                      </a:lnTo>
                      <a:lnTo>
                        <a:pt x="97" y="6"/>
                      </a:lnTo>
                      <a:lnTo>
                        <a:pt x="219" y="128"/>
                      </a:lnTo>
                      <a:lnTo>
                        <a:pt x="219" y="180"/>
                      </a:lnTo>
                      <a:lnTo>
                        <a:pt x="179" y="220"/>
                      </a:lnTo>
                      <a:lnTo>
                        <a:pt x="128" y="220"/>
                      </a:lnTo>
                      <a:lnTo>
                        <a:pt x="5" y="98"/>
                      </a:lnTo>
                      <a:lnTo>
                        <a:pt x="0" y="225"/>
                      </a:lnTo>
                      <a:lnTo>
                        <a:pt x="90" y="316"/>
                      </a:lnTo>
                      <a:lnTo>
                        <a:pt x="217" y="316"/>
                      </a:lnTo>
                      <a:lnTo>
                        <a:pt x="282" y="38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604" name="Freeform 35"/>
            <p:cNvSpPr>
              <a:spLocks noChangeAspect="1" noEditPoints="1"/>
            </p:cNvSpPr>
            <p:nvPr/>
          </p:nvSpPr>
          <p:spPr bwMode="auto">
            <a:xfrm>
              <a:off x="643966" y="3328970"/>
              <a:ext cx="282125" cy="345704"/>
            </a:xfrm>
            <a:custGeom>
              <a:avLst/>
              <a:gdLst>
                <a:gd name="T0" fmla="*/ 2642 w 2840"/>
                <a:gd name="T1" fmla="*/ 364 h 3480"/>
                <a:gd name="T2" fmla="*/ 2484 w 2840"/>
                <a:gd name="T3" fmla="*/ 228 h 3480"/>
                <a:gd name="T4" fmla="*/ 2230 w 2840"/>
                <a:gd name="T5" fmla="*/ 126 h 3480"/>
                <a:gd name="T6" fmla="*/ 1610 w 2840"/>
                <a:gd name="T7" fmla="*/ 10 h 3480"/>
                <a:gd name="T8" fmla="*/ 1230 w 2840"/>
                <a:gd name="T9" fmla="*/ 10 h 3480"/>
                <a:gd name="T10" fmla="*/ 610 w 2840"/>
                <a:gd name="T11" fmla="*/ 126 h 3480"/>
                <a:gd name="T12" fmla="*/ 356 w 2840"/>
                <a:gd name="T13" fmla="*/ 228 h 3480"/>
                <a:gd name="T14" fmla="*/ 198 w 2840"/>
                <a:gd name="T15" fmla="*/ 364 h 3480"/>
                <a:gd name="T16" fmla="*/ 0 w 2840"/>
                <a:gd name="T17" fmla="*/ 3040 h 3480"/>
                <a:gd name="T18" fmla="*/ 256 w 2840"/>
                <a:gd name="T19" fmla="*/ 3362 h 3480"/>
                <a:gd name="T20" fmla="*/ 350 w 2840"/>
                <a:gd name="T21" fmla="*/ 3460 h 3480"/>
                <a:gd name="T22" fmla="*/ 480 w 2840"/>
                <a:gd name="T23" fmla="*/ 3476 h 3480"/>
                <a:gd name="T24" fmla="*/ 598 w 2840"/>
                <a:gd name="T25" fmla="*/ 3414 h 3480"/>
                <a:gd name="T26" fmla="*/ 648 w 2840"/>
                <a:gd name="T27" fmla="*/ 3270 h 3480"/>
                <a:gd name="T28" fmla="*/ 2194 w 2840"/>
                <a:gd name="T29" fmla="*/ 3296 h 3480"/>
                <a:gd name="T30" fmla="*/ 2256 w 2840"/>
                <a:gd name="T31" fmla="*/ 3428 h 3480"/>
                <a:gd name="T32" fmla="*/ 2378 w 2840"/>
                <a:gd name="T33" fmla="*/ 3480 h 3480"/>
                <a:gd name="T34" fmla="*/ 2508 w 2840"/>
                <a:gd name="T35" fmla="*/ 3450 h 3480"/>
                <a:gd name="T36" fmla="*/ 2592 w 2840"/>
                <a:gd name="T37" fmla="*/ 3342 h 3480"/>
                <a:gd name="T38" fmla="*/ 2702 w 2840"/>
                <a:gd name="T39" fmla="*/ 514 h 3480"/>
                <a:gd name="T40" fmla="*/ 2056 w 2840"/>
                <a:gd name="T41" fmla="*/ 284 h 3480"/>
                <a:gd name="T42" fmla="*/ 2086 w 2840"/>
                <a:gd name="T43" fmla="*/ 386 h 3480"/>
                <a:gd name="T44" fmla="*/ 1404 w 2840"/>
                <a:gd name="T45" fmla="*/ 440 h 3480"/>
                <a:gd name="T46" fmla="*/ 762 w 2840"/>
                <a:gd name="T47" fmla="*/ 400 h 3480"/>
                <a:gd name="T48" fmla="*/ 772 w 2840"/>
                <a:gd name="T49" fmla="*/ 296 h 3480"/>
                <a:gd name="T50" fmla="*/ 442 w 2840"/>
                <a:gd name="T51" fmla="*/ 2582 h 3480"/>
                <a:gd name="T52" fmla="*/ 318 w 2840"/>
                <a:gd name="T53" fmla="*/ 2536 h 3480"/>
                <a:gd name="T54" fmla="*/ 250 w 2840"/>
                <a:gd name="T55" fmla="*/ 2424 h 3480"/>
                <a:gd name="T56" fmla="*/ 262 w 2840"/>
                <a:gd name="T57" fmla="*/ 2308 h 3480"/>
                <a:gd name="T58" fmla="*/ 348 w 2840"/>
                <a:gd name="T59" fmla="*/ 2212 h 3480"/>
                <a:gd name="T60" fmla="*/ 462 w 2840"/>
                <a:gd name="T61" fmla="*/ 2190 h 3480"/>
                <a:gd name="T62" fmla="*/ 582 w 2840"/>
                <a:gd name="T63" fmla="*/ 2246 h 3480"/>
                <a:gd name="T64" fmla="*/ 638 w 2840"/>
                <a:gd name="T65" fmla="*/ 2364 h 3480"/>
                <a:gd name="T66" fmla="*/ 616 w 2840"/>
                <a:gd name="T67" fmla="*/ 2478 h 3480"/>
                <a:gd name="T68" fmla="*/ 520 w 2840"/>
                <a:gd name="T69" fmla="*/ 2566 h 3480"/>
                <a:gd name="T70" fmla="*/ 364 w 2840"/>
                <a:gd name="T71" fmla="*/ 1688 h 3480"/>
                <a:gd name="T72" fmla="*/ 280 w 2840"/>
                <a:gd name="T73" fmla="*/ 1662 h 3480"/>
                <a:gd name="T74" fmla="*/ 248 w 2840"/>
                <a:gd name="T75" fmla="*/ 1568 h 3480"/>
                <a:gd name="T76" fmla="*/ 386 w 2840"/>
                <a:gd name="T77" fmla="*/ 680 h 3480"/>
                <a:gd name="T78" fmla="*/ 466 w 2840"/>
                <a:gd name="T79" fmla="*/ 622 h 3480"/>
                <a:gd name="T80" fmla="*/ 2336 w 2840"/>
                <a:gd name="T81" fmla="*/ 616 h 3480"/>
                <a:gd name="T82" fmla="*/ 2438 w 2840"/>
                <a:gd name="T83" fmla="*/ 658 h 3480"/>
                <a:gd name="T84" fmla="*/ 2590 w 2840"/>
                <a:gd name="T85" fmla="*/ 1542 h 3480"/>
                <a:gd name="T86" fmla="*/ 2576 w 2840"/>
                <a:gd name="T87" fmla="*/ 1642 h 3480"/>
                <a:gd name="T88" fmla="*/ 2494 w 2840"/>
                <a:gd name="T89" fmla="*/ 1688 h 3480"/>
                <a:gd name="T90" fmla="*/ 2338 w 2840"/>
                <a:gd name="T91" fmla="*/ 2572 h 3480"/>
                <a:gd name="T92" fmla="*/ 2234 w 2840"/>
                <a:gd name="T93" fmla="*/ 2494 h 3480"/>
                <a:gd name="T94" fmla="*/ 2200 w 2840"/>
                <a:gd name="T95" fmla="*/ 2384 h 3480"/>
                <a:gd name="T96" fmla="*/ 2246 w 2840"/>
                <a:gd name="T97" fmla="*/ 2260 h 3480"/>
                <a:gd name="T98" fmla="*/ 2358 w 2840"/>
                <a:gd name="T99" fmla="*/ 2192 h 3480"/>
                <a:gd name="T100" fmla="*/ 2474 w 2840"/>
                <a:gd name="T101" fmla="*/ 2204 h 3480"/>
                <a:gd name="T102" fmla="*/ 2570 w 2840"/>
                <a:gd name="T103" fmla="*/ 2292 h 3480"/>
                <a:gd name="T104" fmla="*/ 2592 w 2840"/>
                <a:gd name="T105" fmla="*/ 2406 h 3480"/>
                <a:gd name="T106" fmla="*/ 2536 w 2840"/>
                <a:gd name="T107" fmla="*/ 2524 h 3480"/>
                <a:gd name="T108" fmla="*/ 2418 w 2840"/>
                <a:gd name="T109" fmla="*/ 2580 h 3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0" h="3480">
                  <a:moveTo>
                    <a:pt x="2702" y="514"/>
                  </a:moveTo>
                  <a:lnTo>
                    <a:pt x="2702" y="514"/>
                  </a:lnTo>
                  <a:lnTo>
                    <a:pt x="2694" y="478"/>
                  </a:lnTo>
                  <a:lnTo>
                    <a:pt x="2684" y="446"/>
                  </a:lnTo>
                  <a:lnTo>
                    <a:pt x="2672" y="418"/>
                  </a:lnTo>
                  <a:lnTo>
                    <a:pt x="2658" y="390"/>
                  </a:lnTo>
                  <a:lnTo>
                    <a:pt x="2642" y="364"/>
                  </a:lnTo>
                  <a:lnTo>
                    <a:pt x="2624" y="340"/>
                  </a:lnTo>
                  <a:lnTo>
                    <a:pt x="2606" y="318"/>
                  </a:lnTo>
                  <a:lnTo>
                    <a:pt x="2584" y="298"/>
                  </a:lnTo>
                  <a:lnTo>
                    <a:pt x="2562" y="278"/>
                  </a:lnTo>
                  <a:lnTo>
                    <a:pt x="2536" y="260"/>
                  </a:lnTo>
                  <a:lnTo>
                    <a:pt x="2510" y="244"/>
                  </a:lnTo>
                  <a:lnTo>
                    <a:pt x="2484" y="228"/>
                  </a:lnTo>
                  <a:lnTo>
                    <a:pt x="2454" y="212"/>
                  </a:lnTo>
                  <a:lnTo>
                    <a:pt x="2424" y="198"/>
                  </a:lnTo>
                  <a:lnTo>
                    <a:pt x="2358" y="168"/>
                  </a:lnTo>
                  <a:lnTo>
                    <a:pt x="2358" y="168"/>
                  </a:lnTo>
                  <a:lnTo>
                    <a:pt x="2320" y="154"/>
                  </a:lnTo>
                  <a:lnTo>
                    <a:pt x="2278" y="140"/>
                  </a:lnTo>
                  <a:lnTo>
                    <a:pt x="2230" y="126"/>
                  </a:lnTo>
                  <a:lnTo>
                    <a:pt x="2180" y="110"/>
                  </a:lnTo>
                  <a:lnTo>
                    <a:pt x="2066" y="82"/>
                  </a:lnTo>
                  <a:lnTo>
                    <a:pt x="1940" y="56"/>
                  </a:lnTo>
                  <a:lnTo>
                    <a:pt x="1810" y="34"/>
                  </a:lnTo>
                  <a:lnTo>
                    <a:pt x="1742" y="24"/>
                  </a:lnTo>
                  <a:lnTo>
                    <a:pt x="1676" y="16"/>
                  </a:lnTo>
                  <a:lnTo>
                    <a:pt x="1610" y="10"/>
                  </a:lnTo>
                  <a:lnTo>
                    <a:pt x="1544" y="4"/>
                  </a:lnTo>
                  <a:lnTo>
                    <a:pt x="1482" y="2"/>
                  </a:lnTo>
                  <a:lnTo>
                    <a:pt x="1420" y="0"/>
                  </a:lnTo>
                  <a:lnTo>
                    <a:pt x="1420" y="0"/>
                  </a:lnTo>
                  <a:lnTo>
                    <a:pt x="1358" y="2"/>
                  </a:lnTo>
                  <a:lnTo>
                    <a:pt x="1296" y="4"/>
                  </a:lnTo>
                  <a:lnTo>
                    <a:pt x="1230" y="10"/>
                  </a:lnTo>
                  <a:lnTo>
                    <a:pt x="1164" y="16"/>
                  </a:lnTo>
                  <a:lnTo>
                    <a:pt x="1098" y="24"/>
                  </a:lnTo>
                  <a:lnTo>
                    <a:pt x="1030" y="34"/>
                  </a:lnTo>
                  <a:lnTo>
                    <a:pt x="900" y="56"/>
                  </a:lnTo>
                  <a:lnTo>
                    <a:pt x="774" y="82"/>
                  </a:lnTo>
                  <a:lnTo>
                    <a:pt x="660" y="110"/>
                  </a:lnTo>
                  <a:lnTo>
                    <a:pt x="610" y="126"/>
                  </a:lnTo>
                  <a:lnTo>
                    <a:pt x="562" y="140"/>
                  </a:lnTo>
                  <a:lnTo>
                    <a:pt x="520" y="154"/>
                  </a:lnTo>
                  <a:lnTo>
                    <a:pt x="482" y="168"/>
                  </a:lnTo>
                  <a:lnTo>
                    <a:pt x="482" y="168"/>
                  </a:lnTo>
                  <a:lnTo>
                    <a:pt x="416" y="198"/>
                  </a:lnTo>
                  <a:lnTo>
                    <a:pt x="386" y="212"/>
                  </a:lnTo>
                  <a:lnTo>
                    <a:pt x="356" y="228"/>
                  </a:lnTo>
                  <a:lnTo>
                    <a:pt x="330" y="244"/>
                  </a:lnTo>
                  <a:lnTo>
                    <a:pt x="304" y="260"/>
                  </a:lnTo>
                  <a:lnTo>
                    <a:pt x="278" y="278"/>
                  </a:lnTo>
                  <a:lnTo>
                    <a:pt x="256" y="298"/>
                  </a:lnTo>
                  <a:lnTo>
                    <a:pt x="234" y="318"/>
                  </a:lnTo>
                  <a:lnTo>
                    <a:pt x="216" y="340"/>
                  </a:lnTo>
                  <a:lnTo>
                    <a:pt x="198" y="364"/>
                  </a:lnTo>
                  <a:lnTo>
                    <a:pt x="182" y="390"/>
                  </a:lnTo>
                  <a:lnTo>
                    <a:pt x="168" y="418"/>
                  </a:lnTo>
                  <a:lnTo>
                    <a:pt x="156" y="446"/>
                  </a:lnTo>
                  <a:lnTo>
                    <a:pt x="146" y="478"/>
                  </a:lnTo>
                  <a:lnTo>
                    <a:pt x="138" y="514"/>
                  </a:lnTo>
                  <a:lnTo>
                    <a:pt x="0" y="1576"/>
                  </a:lnTo>
                  <a:lnTo>
                    <a:pt x="0" y="3040"/>
                  </a:lnTo>
                  <a:lnTo>
                    <a:pt x="238" y="3040"/>
                  </a:lnTo>
                  <a:lnTo>
                    <a:pt x="238" y="3270"/>
                  </a:lnTo>
                  <a:lnTo>
                    <a:pt x="238" y="3270"/>
                  </a:lnTo>
                  <a:lnTo>
                    <a:pt x="238" y="3296"/>
                  </a:lnTo>
                  <a:lnTo>
                    <a:pt x="242" y="3320"/>
                  </a:lnTo>
                  <a:lnTo>
                    <a:pt x="248" y="3342"/>
                  </a:lnTo>
                  <a:lnTo>
                    <a:pt x="256" y="3362"/>
                  </a:lnTo>
                  <a:lnTo>
                    <a:pt x="264" y="3380"/>
                  </a:lnTo>
                  <a:lnTo>
                    <a:pt x="276" y="3398"/>
                  </a:lnTo>
                  <a:lnTo>
                    <a:pt x="288" y="3414"/>
                  </a:lnTo>
                  <a:lnTo>
                    <a:pt x="302" y="3428"/>
                  </a:lnTo>
                  <a:lnTo>
                    <a:pt x="316" y="3440"/>
                  </a:lnTo>
                  <a:lnTo>
                    <a:pt x="332" y="3450"/>
                  </a:lnTo>
                  <a:lnTo>
                    <a:pt x="350" y="3460"/>
                  </a:lnTo>
                  <a:lnTo>
                    <a:pt x="368" y="3468"/>
                  </a:lnTo>
                  <a:lnTo>
                    <a:pt x="386" y="3472"/>
                  </a:lnTo>
                  <a:lnTo>
                    <a:pt x="404" y="3476"/>
                  </a:lnTo>
                  <a:lnTo>
                    <a:pt x="424" y="3480"/>
                  </a:lnTo>
                  <a:lnTo>
                    <a:pt x="442" y="3480"/>
                  </a:lnTo>
                  <a:lnTo>
                    <a:pt x="462" y="3480"/>
                  </a:lnTo>
                  <a:lnTo>
                    <a:pt x="480" y="3476"/>
                  </a:lnTo>
                  <a:lnTo>
                    <a:pt x="500" y="3472"/>
                  </a:lnTo>
                  <a:lnTo>
                    <a:pt x="518" y="3468"/>
                  </a:lnTo>
                  <a:lnTo>
                    <a:pt x="536" y="3460"/>
                  </a:lnTo>
                  <a:lnTo>
                    <a:pt x="552" y="3450"/>
                  </a:lnTo>
                  <a:lnTo>
                    <a:pt x="568" y="3440"/>
                  </a:lnTo>
                  <a:lnTo>
                    <a:pt x="584" y="3428"/>
                  </a:lnTo>
                  <a:lnTo>
                    <a:pt x="598" y="3414"/>
                  </a:lnTo>
                  <a:lnTo>
                    <a:pt x="610" y="3398"/>
                  </a:lnTo>
                  <a:lnTo>
                    <a:pt x="620" y="3380"/>
                  </a:lnTo>
                  <a:lnTo>
                    <a:pt x="630" y="3362"/>
                  </a:lnTo>
                  <a:lnTo>
                    <a:pt x="638" y="3342"/>
                  </a:lnTo>
                  <a:lnTo>
                    <a:pt x="642" y="3320"/>
                  </a:lnTo>
                  <a:lnTo>
                    <a:pt x="646" y="3296"/>
                  </a:lnTo>
                  <a:lnTo>
                    <a:pt x="648" y="3270"/>
                  </a:lnTo>
                  <a:lnTo>
                    <a:pt x="648" y="3040"/>
                  </a:lnTo>
                  <a:lnTo>
                    <a:pt x="1404" y="3040"/>
                  </a:lnTo>
                  <a:lnTo>
                    <a:pt x="1406" y="3040"/>
                  </a:lnTo>
                  <a:lnTo>
                    <a:pt x="2192" y="3040"/>
                  </a:lnTo>
                  <a:lnTo>
                    <a:pt x="2192" y="3270"/>
                  </a:lnTo>
                  <a:lnTo>
                    <a:pt x="2192" y="3270"/>
                  </a:lnTo>
                  <a:lnTo>
                    <a:pt x="2194" y="3296"/>
                  </a:lnTo>
                  <a:lnTo>
                    <a:pt x="2198" y="3320"/>
                  </a:lnTo>
                  <a:lnTo>
                    <a:pt x="2202" y="3342"/>
                  </a:lnTo>
                  <a:lnTo>
                    <a:pt x="2210" y="3362"/>
                  </a:lnTo>
                  <a:lnTo>
                    <a:pt x="2220" y="3380"/>
                  </a:lnTo>
                  <a:lnTo>
                    <a:pt x="2230" y="3398"/>
                  </a:lnTo>
                  <a:lnTo>
                    <a:pt x="2242" y="3414"/>
                  </a:lnTo>
                  <a:lnTo>
                    <a:pt x="2256" y="3428"/>
                  </a:lnTo>
                  <a:lnTo>
                    <a:pt x="2272" y="3440"/>
                  </a:lnTo>
                  <a:lnTo>
                    <a:pt x="2288" y="3450"/>
                  </a:lnTo>
                  <a:lnTo>
                    <a:pt x="2304" y="3460"/>
                  </a:lnTo>
                  <a:lnTo>
                    <a:pt x="2322" y="3468"/>
                  </a:lnTo>
                  <a:lnTo>
                    <a:pt x="2340" y="3472"/>
                  </a:lnTo>
                  <a:lnTo>
                    <a:pt x="2360" y="3476"/>
                  </a:lnTo>
                  <a:lnTo>
                    <a:pt x="2378" y="3480"/>
                  </a:lnTo>
                  <a:lnTo>
                    <a:pt x="2398" y="3480"/>
                  </a:lnTo>
                  <a:lnTo>
                    <a:pt x="2416" y="3480"/>
                  </a:lnTo>
                  <a:lnTo>
                    <a:pt x="2436" y="3476"/>
                  </a:lnTo>
                  <a:lnTo>
                    <a:pt x="2454" y="3472"/>
                  </a:lnTo>
                  <a:lnTo>
                    <a:pt x="2472" y="3468"/>
                  </a:lnTo>
                  <a:lnTo>
                    <a:pt x="2490" y="3460"/>
                  </a:lnTo>
                  <a:lnTo>
                    <a:pt x="2508" y="3450"/>
                  </a:lnTo>
                  <a:lnTo>
                    <a:pt x="2524" y="3440"/>
                  </a:lnTo>
                  <a:lnTo>
                    <a:pt x="2538" y="3428"/>
                  </a:lnTo>
                  <a:lnTo>
                    <a:pt x="2552" y="3414"/>
                  </a:lnTo>
                  <a:lnTo>
                    <a:pt x="2564" y="3398"/>
                  </a:lnTo>
                  <a:lnTo>
                    <a:pt x="2576" y="3380"/>
                  </a:lnTo>
                  <a:lnTo>
                    <a:pt x="2584" y="3362"/>
                  </a:lnTo>
                  <a:lnTo>
                    <a:pt x="2592" y="3342"/>
                  </a:lnTo>
                  <a:lnTo>
                    <a:pt x="2598" y="3320"/>
                  </a:lnTo>
                  <a:lnTo>
                    <a:pt x="2602" y="3296"/>
                  </a:lnTo>
                  <a:lnTo>
                    <a:pt x="2602" y="3270"/>
                  </a:lnTo>
                  <a:lnTo>
                    <a:pt x="2602" y="3040"/>
                  </a:lnTo>
                  <a:lnTo>
                    <a:pt x="2840" y="3040"/>
                  </a:lnTo>
                  <a:lnTo>
                    <a:pt x="2840" y="1576"/>
                  </a:lnTo>
                  <a:lnTo>
                    <a:pt x="2702" y="514"/>
                  </a:lnTo>
                  <a:close/>
                  <a:moveTo>
                    <a:pt x="836" y="268"/>
                  </a:moveTo>
                  <a:lnTo>
                    <a:pt x="1406" y="268"/>
                  </a:lnTo>
                  <a:lnTo>
                    <a:pt x="2004" y="268"/>
                  </a:lnTo>
                  <a:lnTo>
                    <a:pt x="2004" y="268"/>
                  </a:lnTo>
                  <a:lnTo>
                    <a:pt x="2024" y="270"/>
                  </a:lnTo>
                  <a:lnTo>
                    <a:pt x="2042" y="276"/>
                  </a:lnTo>
                  <a:lnTo>
                    <a:pt x="2056" y="284"/>
                  </a:lnTo>
                  <a:lnTo>
                    <a:pt x="2068" y="296"/>
                  </a:lnTo>
                  <a:lnTo>
                    <a:pt x="2078" y="308"/>
                  </a:lnTo>
                  <a:lnTo>
                    <a:pt x="2086" y="322"/>
                  </a:lnTo>
                  <a:lnTo>
                    <a:pt x="2090" y="338"/>
                  </a:lnTo>
                  <a:lnTo>
                    <a:pt x="2090" y="354"/>
                  </a:lnTo>
                  <a:lnTo>
                    <a:pt x="2090" y="370"/>
                  </a:lnTo>
                  <a:lnTo>
                    <a:pt x="2086" y="386"/>
                  </a:lnTo>
                  <a:lnTo>
                    <a:pt x="2078" y="400"/>
                  </a:lnTo>
                  <a:lnTo>
                    <a:pt x="2068" y="414"/>
                  </a:lnTo>
                  <a:lnTo>
                    <a:pt x="2056" y="424"/>
                  </a:lnTo>
                  <a:lnTo>
                    <a:pt x="2042" y="434"/>
                  </a:lnTo>
                  <a:lnTo>
                    <a:pt x="2024" y="438"/>
                  </a:lnTo>
                  <a:lnTo>
                    <a:pt x="2004" y="440"/>
                  </a:lnTo>
                  <a:lnTo>
                    <a:pt x="1404" y="440"/>
                  </a:lnTo>
                  <a:lnTo>
                    <a:pt x="836" y="440"/>
                  </a:lnTo>
                  <a:lnTo>
                    <a:pt x="836" y="440"/>
                  </a:lnTo>
                  <a:lnTo>
                    <a:pt x="816" y="438"/>
                  </a:lnTo>
                  <a:lnTo>
                    <a:pt x="798" y="434"/>
                  </a:lnTo>
                  <a:lnTo>
                    <a:pt x="784" y="424"/>
                  </a:lnTo>
                  <a:lnTo>
                    <a:pt x="772" y="414"/>
                  </a:lnTo>
                  <a:lnTo>
                    <a:pt x="762" y="400"/>
                  </a:lnTo>
                  <a:lnTo>
                    <a:pt x="754" y="386"/>
                  </a:lnTo>
                  <a:lnTo>
                    <a:pt x="750" y="370"/>
                  </a:lnTo>
                  <a:lnTo>
                    <a:pt x="750" y="354"/>
                  </a:lnTo>
                  <a:lnTo>
                    <a:pt x="750" y="338"/>
                  </a:lnTo>
                  <a:lnTo>
                    <a:pt x="754" y="322"/>
                  </a:lnTo>
                  <a:lnTo>
                    <a:pt x="762" y="308"/>
                  </a:lnTo>
                  <a:lnTo>
                    <a:pt x="772" y="296"/>
                  </a:lnTo>
                  <a:lnTo>
                    <a:pt x="784" y="284"/>
                  </a:lnTo>
                  <a:lnTo>
                    <a:pt x="798" y="276"/>
                  </a:lnTo>
                  <a:lnTo>
                    <a:pt x="816" y="270"/>
                  </a:lnTo>
                  <a:lnTo>
                    <a:pt x="836" y="268"/>
                  </a:lnTo>
                  <a:lnTo>
                    <a:pt x="836" y="268"/>
                  </a:lnTo>
                  <a:close/>
                  <a:moveTo>
                    <a:pt x="442" y="2582"/>
                  </a:moveTo>
                  <a:lnTo>
                    <a:pt x="442" y="2582"/>
                  </a:lnTo>
                  <a:lnTo>
                    <a:pt x="422" y="2580"/>
                  </a:lnTo>
                  <a:lnTo>
                    <a:pt x="404" y="2578"/>
                  </a:lnTo>
                  <a:lnTo>
                    <a:pt x="384" y="2572"/>
                  </a:lnTo>
                  <a:lnTo>
                    <a:pt x="366" y="2566"/>
                  </a:lnTo>
                  <a:lnTo>
                    <a:pt x="348" y="2558"/>
                  </a:lnTo>
                  <a:lnTo>
                    <a:pt x="332" y="2548"/>
                  </a:lnTo>
                  <a:lnTo>
                    <a:pt x="318" y="2536"/>
                  </a:lnTo>
                  <a:lnTo>
                    <a:pt x="304" y="2524"/>
                  </a:lnTo>
                  <a:lnTo>
                    <a:pt x="290" y="2510"/>
                  </a:lnTo>
                  <a:lnTo>
                    <a:pt x="280" y="2494"/>
                  </a:lnTo>
                  <a:lnTo>
                    <a:pt x="270" y="2478"/>
                  </a:lnTo>
                  <a:lnTo>
                    <a:pt x="262" y="2462"/>
                  </a:lnTo>
                  <a:lnTo>
                    <a:pt x="254" y="2444"/>
                  </a:lnTo>
                  <a:lnTo>
                    <a:pt x="250" y="2424"/>
                  </a:lnTo>
                  <a:lnTo>
                    <a:pt x="248" y="2406"/>
                  </a:lnTo>
                  <a:lnTo>
                    <a:pt x="246" y="2384"/>
                  </a:lnTo>
                  <a:lnTo>
                    <a:pt x="246" y="2384"/>
                  </a:lnTo>
                  <a:lnTo>
                    <a:pt x="248" y="2364"/>
                  </a:lnTo>
                  <a:lnTo>
                    <a:pt x="250" y="2346"/>
                  </a:lnTo>
                  <a:lnTo>
                    <a:pt x="254" y="2326"/>
                  </a:lnTo>
                  <a:lnTo>
                    <a:pt x="262" y="2308"/>
                  </a:lnTo>
                  <a:lnTo>
                    <a:pt x="270" y="2292"/>
                  </a:lnTo>
                  <a:lnTo>
                    <a:pt x="280" y="2276"/>
                  </a:lnTo>
                  <a:lnTo>
                    <a:pt x="290" y="2260"/>
                  </a:lnTo>
                  <a:lnTo>
                    <a:pt x="304" y="2246"/>
                  </a:lnTo>
                  <a:lnTo>
                    <a:pt x="318" y="2234"/>
                  </a:lnTo>
                  <a:lnTo>
                    <a:pt x="332" y="2222"/>
                  </a:lnTo>
                  <a:lnTo>
                    <a:pt x="348" y="2212"/>
                  </a:lnTo>
                  <a:lnTo>
                    <a:pt x="366" y="2204"/>
                  </a:lnTo>
                  <a:lnTo>
                    <a:pt x="384" y="2198"/>
                  </a:lnTo>
                  <a:lnTo>
                    <a:pt x="404" y="2192"/>
                  </a:lnTo>
                  <a:lnTo>
                    <a:pt x="422" y="2190"/>
                  </a:lnTo>
                  <a:lnTo>
                    <a:pt x="442" y="2188"/>
                  </a:lnTo>
                  <a:lnTo>
                    <a:pt x="442" y="2188"/>
                  </a:lnTo>
                  <a:lnTo>
                    <a:pt x="462" y="2190"/>
                  </a:lnTo>
                  <a:lnTo>
                    <a:pt x="482" y="2192"/>
                  </a:lnTo>
                  <a:lnTo>
                    <a:pt x="502" y="2198"/>
                  </a:lnTo>
                  <a:lnTo>
                    <a:pt x="520" y="2204"/>
                  </a:lnTo>
                  <a:lnTo>
                    <a:pt x="536" y="2212"/>
                  </a:lnTo>
                  <a:lnTo>
                    <a:pt x="552" y="2222"/>
                  </a:lnTo>
                  <a:lnTo>
                    <a:pt x="568" y="2234"/>
                  </a:lnTo>
                  <a:lnTo>
                    <a:pt x="582" y="2246"/>
                  </a:lnTo>
                  <a:lnTo>
                    <a:pt x="594" y="2260"/>
                  </a:lnTo>
                  <a:lnTo>
                    <a:pt x="606" y="2276"/>
                  </a:lnTo>
                  <a:lnTo>
                    <a:pt x="616" y="2292"/>
                  </a:lnTo>
                  <a:lnTo>
                    <a:pt x="624" y="2308"/>
                  </a:lnTo>
                  <a:lnTo>
                    <a:pt x="630" y="2326"/>
                  </a:lnTo>
                  <a:lnTo>
                    <a:pt x="636" y="2346"/>
                  </a:lnTo>
                  <a:lnTo>
                    <a:pt x="638" y="2364"/>
                  </a:lnTo>
                  <a:lnTo>
                    <a:pt x="640" y="2384"/>
                  </a:lnTo>
                  <a:lnTo>
                    <a:pt x="640" y="2384"/>
                  </a:lnTo>
                  <a:lnTo>
                    <a:pt x="638" y="2406"/>
                  </a:lnTo>
                  <a:lnTo>
                    <a:pt x="636" y="2424"/>
                  </a:lnTo>
                  <a:lnTo>
                    <a:pt x="630" y="2444"/>
                  </a:lnTo>
                  <a:lnTo>
                    <a:pt x="624" y="2462"/>
                  </a:lnTo>
                  <a:lnTo>
                    <a:pt x="616" y="2478"/>
                  </a:lnTo>
                  <a:lnTo>
                    <a:pt x="606" y="2494"/>
                  </a:lnTo>
                  <a:lnTo>
                    <a:pt x="594" y="2510"/>
                  </a:lnTo>
                  <a:lnTo>
                    <a:pt x="582" y="2524"/>
                  </a:lnTo>
                  <a:lnTo>
                    <a:pt x="568" y="2536"/>
                  </a:lnTo>
                  <a:lnTo>
                    <a:pt x="552" y="2548"/>
                  </a:lnTo>
                  <a:lnTo>
                    <a:pt x="536" y="2558"/>
                  </a:lnTo>
                  <a:lnTo>
                    <a:pt x="520" y="2566"/>
                  </a:lnTo>
                  <a:lnTo>
                    <a:pt x="502" y="2572"/>
                  </a:lnTo>
                  <a:lnTo>
                    <a:pt x="482" y="2578"/>
                  </a:lnTo>
                  <a:lnTo>
                    <a:pt x="462" y="2580"/>
                  </a:lnTo>
                  <a:lnTo>
                    <a:pt x="442" y="2582"/>
                  </a:lnTo>
                  <a:lnTo>
                    <a:pt x="442" y="2582"/>
                  </a:lnTo>
                  <a:close/>
                  <a:moveTo>
                    <a:pt x="1406" y="1688"/>
                  </a:moveTo>
                  <a:lnTo>
                    <a:pt x="364" y="1688"/>
                  </a:lnTo>
                  <a:lnTo>
                    <a:pt x="364" y="1688"/>
                  </a:lnTo>
                  <a:lnTo>
                    <a:pt x="346" y="1688"/>
                  </a:lnTo>
                  <a:lnTo>
                    <a:pt x="330" y="1684"/>
                  </a:lnTo>
                  <a:lnTo>
                    <a:pt x="314" y="1680"/>
                  </a:lnTo>
                  <a:lnTo>
                    <a:pt x="302" y="1676"/>
                  </a:lnTo>
                  <a:lnTo>
                    <a:pt x="290" y="1668"/>
                  </a:lnTo>
                  <a:lnTo>
                    <a:pt x="280" y="1662"/>
                  </a:lnTo>
                  <a:lnTo>
                    <a:pt x="272" y="1652"/>
                  </a:lnTo>
                  <a:lnTo>
                    <a:pt x="264" y="1642"/>
                  </a:lnTo>
                  <a:lnTo>
                    <a:pt x="260" y="1632"/>
                  </a:lnTo>
                  <a:lnTo>
                    <a:pt x="254" y="1620"/>
                  </a:lnTo>
                  <a:lnTo>
                    <a:pt x="252" y="1608"/>
                  </a:lnTo>
                  <a:lnTo>
                    <a:pt x="250" y="1596"/>
                  </a:lnTo>
                  <a:lnTo>
                    <a:pt x="248" y="1568"/>
                  </a:lnTo>
                  <a:lnTo>
                    <a:pt x="250" y="1542"/>
                  </a:lnTo>
                  <a:lnTo>
                    <a:pt x="358" y="770"/>
                  </a:lnTo>
                  <a:lnTo>
                    <a:pt x="358" y="770"/>
                  </a:lnTo>
                  <a:lnTo>
                    <a:pt x="364" y="736"/>
                  </a:lnTo>
                  <a:lnTo>
                    <a:pt x="374" y="706"/>
                  </a:lnTo>
                  <a:lnTo>
                    <a:pt x="378" y="692"/>
                  </a:lnTo>
                  <a:lnTo>
                    <a:pt x="386" y="680"/>
                  </a:lnTo>
                  <a:lnTo>
                    <a:pt x="392" y="668"/>
                  </a:lnTo>
                  <a:lnTo>
                    <a:pt x="402" y="658"/>
                  </a:lnTo>
                  <a:lnTo>
                    <a:pt x="412" y="648"/>
                  </a:lnTo>
                  <a:lnTo>
                    <a:pt x="422" y="640"/>
                  </a:lnTo>
                  <a:lnTo>
                    <a:pt x="436" y="632"/>
                  </a:lnTo>
                  <a:lnTo>
                    <a:pt x="450" y="626"/>
                  </a:lnTo>
                  <a:lnTo>
                    <a:pt x="466" y="622"/>
                  </a:lnTo>
                  <a:lnTo>
                    <a:pt x="484" y="618"/>
                  </a:lnTo>
                  <a:lnTo>
                    <a:pt x="504" y="616"/>
                  </a:lnTo>
                  <a:lnTo>
                    <a:pt x="526" y="614"/>
                  </a:lnTo>
                  <a:lnTo>
                    <a:pt x="1404" y="614"/>
                  </a:lnTo>
                  <a:lnTo>
                    <a:pt x="2314" y="614"/>
                  </a:lnTo>
                  <a:lnTo>
                    <a:pt x="2314" y="614"/>
                  </a:lnTo>
                  <a:lnTo>
                    <a:pt x="2336" y="616"/>
                  </a:lnTo>
                  <a:lnTo>
                    <a:pt x="2356" y="618"/>
                  </a:lnTo>
                  <a:lnTo>
                    <a:pt x="2374" y="622"/>
                  </a:lnTo>
                  <a:lnTo>
                    <a:pt x="2390" y="626"/>
                  </a:lnTo>
                  <a:lnTo>
                    <a:pt x="2404" y="632"/>
                  </a:lnTo>
                  <a:lnTo>
                    <a:pt x="2418" y="640"/>
                  </a:lnTo>
                  <a:lnTo>
                    <a:pt x="2428" y="648"/>
                  </a:lnTo>
                  <a:lnTo>
                    <a:pt x="2438" y="658"/>
                  </a:lnTo>
                  <a:lnTo>
                    <a:pt x="2448" y="668"/>
                  </a:lnTo>
                  <a:lnTo>
                    <a:pt x="2454" y="680"/>
                  </a:lnTo>
                  <a:lnTo>
                    <a:pt x="2462" y="692"/>
                  </a:lnTo>
                  <a:lnTo>
                    <a:pt x="2466" y="706"/>
                  </a:lnTo>
                  <a:lnTo>
                    <a:pt x="2476" y="736"/>
                  </a:lnTo>
                  <a:lnTo>
                    <a:pt x="2482" y="770"/>
                  </a:lnTo>
                  <a:lnTo>
                    <a:pt x="2590" y="1542"/>
                  </a:lnTo>
                  <a:lnTo>
                    <a:pt x="2590" y="1542"/>
                  </a:lnTo>
                  <a:lnTo>
                    <a:pt x="2592" y="1568"/>
                  </a:lnTo>
                  <a:lnTo>
                    <a:pt x="2590" y="1596"/>
                  </a:lnTo>
                  <a:lnTo>
                    <a:pt x="2588" y="1608"/>
                  </a:lnTo>
                  <a:lnTo>
                    <a:pt x="2586" y="1620"/>
                  </a:lnTo>
                  <a:lnTo>
                    <a:pt x="2580" y="1632"/>
                  </a:lnTo>
                  <a:lnTo>
                    <a:pt x="2576" y="1642"/>
                  </a:lnTo>
                  <a:lnTo>
                    <a:pt x="2568" y="1652"/>
                  </a:lnTo>
                  <a:lnTo>
                    <a:pt x="2560" y="1662"/>
                  </a:lnTo>
                  <a:lnTo>
                    <a:pt x="2550" y="1668"/>
                  </a:lnTo>
                  <a:lnTo>
                    <a:pt x="2538" y="1676"/>
                  </a:lnTo>
                  <a:lnTo>
                    <a:pt x="2526" y="1680"/>
                  </a:lnTo>
                  <a:lnTo>
                    <a:pt x="2510" y="1684"/>
                  </a:lnTo>
                  <a:lnTo>
                    <a:pt x="2494" y="1688"/>
                  </a:lnTo>
                  <a:lnTo>
                    <a:pt x="2476" y="1688"/>
                  </a:lnTo>
                  <a:lnTo>
                    <a:pt x="1406" y="1688"/>
                  </a:lnTo>
                  <a:close/>
                  <a:moveTo>
                    <a:pt x="2398" y="2582"/>
                  </a:moveTo>
                  <a:lnTo>
                    <a:pt x="2398" y="2582"/>
                  </a:lnTo>
                  <a:lnTo>
                    <a:pt x="2378" y="2580"/>
                  </a:lnTo>
                  <a:lnTo>
                    <a:pt x="2358" y="2578"/>
                  </a:lnTo>
                  <a:lnTo>
                    <a:pt x="2338" y="2572"/>
                  </a:lnTo>
                  <a:lnTo>
                    <a:pt x="2320" y="2566"/>
                  </a:lnTo>
                  <a:lnTo>
                    <a:pt x="2304" y="2558"/>
                  </a:lnTo>
                  <a:lnTo>
                    <a:pt x="2288" y="2548"/>
                  </a:lnTo>
                  <a:lnTo>
                    <a:pt x="2272" y="2536"/>
                  </a:lnTo>
                  <a:lnTo>
                    <a:pt x="2258" y="2524"/>
                  </a:lnTo>
                  <a:lnTo>
                    <a:pt x="2246" y="2510"/>
                  </a:lnTo>
                  <a:lnTo>
                    <a:pt x="2234" y="2494"/>
                  </a:lnTo>
                  <a:lnTo>
                    <a:pt x="2224" y="2478"/>
                  </a:lnTo>
                  <a:lnTo>
                    <a:pt x="2216" y="2462"/>
                  </a:lnTo>
                  <a:lnTo>
                    <a:pt x="2210" y="2444"/>
                  </a:lnTo>
                  <a:lnTo>
                    <a:pt x="2204" y="2424"/>
                  </a:lnTo>
                  <a:lnTo>
                    <a:pt x="2202" y="2406"/>
                  </a:lnTo>
                  <a:lnTo>
                    <a:pt x="2200" y="2384"/>
                  </a:lnTo>
                  <a:lnTo>
                    <a:pt x="2200" y="2384"/>
                  </a:lnTo>
                  <a:lnTo>
                    <a:pt x="2202" y="2364"/>
                  </a:lnTo>
                  <a:lnTo>
                    <a:pt x="2204" y="2346"/>
                  </a:lnTo>
                  <a:lnTo>
                    <a:pt x="2210" y="2326"/>
                  </a:lnTo>
                  <a:lnTo>
                    <a:pt x="2216" y="2308"/>
                  </a:lnTo>
                  <a:lnTo>
                    <a:pt x="2224" y="2292"/>
                  </a:lnTo>
                  <a:lnTo>
                    <a:pt x="2234" y="2276"/>
                  </a:lnTo>
                  <a:lnTo>
                    <a:pt x="2246" y="2260"/>
                  </a:lnTo>
                  <a:lnTo>
                    <a:pt x="2258" y="2246"/>
                  </a:lnTo>
                  <a:lnTo>
                    <a:pt x="2272" y="2234"/>
                  </a:lnTo>
                  <a:lnTo>
                    <a:pt x="2288" y="2222"/>
                  </a:lnTo>
                  <a:lnTo>
                    <a:pt x="2304" y="2212"/>
                  </a:lnTo>
                  <a:lnTo>
                    <a:pt x="2320" y="2204"/>
                  </a:lnTo>
                  <a:lnTo>
                    <a:pt x="2338" y="2198"/>
                  </a:lnTo>
                  <a:lnTo>
                    <a:pt x="2358" y="2192"/>
                  </a:lnTo>
                  <a:lnTo>
                    <a:pt x="2378" y="2190"/>
                  </a:lnTo>
                  <a:lnTo>
                    <a:pt x="2398" y="2188"/>
                  </a:lnTo>
                  <a:lnTo>
                    <a:pt x="2398" y="2188"/>
                  </a:lnTo>
                  <a:lnTo>
                    <a:pt x="2418" y="2190"/>
                  </a:lnTo>
                  <a:lnTo>
                    <a:pt x="2436" y="2192"/>
                  </a:lnTo>
                  <a:lnTo>
                    <a:pt x="2456" y="2198"/>
                  </a:lnTo>
                  <a:lnTo>
                    <a:pt x="2474" y="2204"/>
                  </a:lnTo>
                  <a:lnTo>
                    <a:pt x="2492" y="2212"/>
                  </a:lnTo>
                  <a:lnTo>
                    <a:pt x="2508" y="2222"/>
                  </a:lnTo>
                  <a:lnTo>
                    <a:pt x="2522" y="2234"/>
                  </a:lnTo>
                  <a:lnTo>
                    <a:pt x="2536" y="2246"/>
                  </a:lnTo>
                  <a:lnTo>
                    <a:pt x="2550" y="2260"/>
                  </a:lnTo>
                  <a:lnTo>
                    <a:pt x="2560" y="2276"/>
                  </a:lnTo>
                  <a:lnTo>
                    <a:pt x="2570" y="2292"/>
                  </a:lnTo>
                  <a:lnTo>
                    <a:pt x="2578" y="2308"/>
                  </a:lnTo>
                  <a:lnTo>
                    <a:pt x="2586" y="2326"/>
                  </a:lnTo>
                  <a:lnTo>
                    <a:pt x="2590" y="2346"/>
                  </a:lnTo>
                  <a:lnTo>
                    <a:pt x="2592" y="2364"/>
                  </a:lnTo>
                  <a:lnTo>
                    <a:pt x="2594" y="2384"/>
                  </a:lnTo>
                  <a:lnTo>
                    <a:pt x="2594" y="2384"/>
                  </a:lnTo>
                  <a:lnTo>
                    <a:pt x="2592" y="2406"/>
                  </a:lnTo>
                  <a:lnTo>
                    <a:pt x="2590" y="2424"/>
                  </a:lnTo>
                  <a:lnTo>
                    <a:pt x="2586" y="2444"/>
                  </a:lnTo>
                  <a:lnTo>
                    <a:pt x="2578" y="2462"/>
                  </a:lnTo>
                  <a:lnTo>
                    <a:pt x="2570" y="2478"/>
                  </a:lnTo>
                  <a:lnTo>
                    <a:pt x="2560" y="2494"/>
                  </a:lnTo>
                  <a:lnTo>
                    <a:pt x="2550" y="2510"/>
                  </a:lnTo>
                  <a:lnTo>
                    <a:pt x="2536" y="2524"/>
                  </a:lnTo>
                  <a:lnTo>
                    <a:pt x="2522" y="2536"/>
                  </a:lnTo>
                  <a:lnTo>
                    <a:pt x="2508" y="2548"/>
                  </a:lnTo>
                  <a:lnTo>
                    <a:pt x="2492" y="2558"/>
                  </a:lnTo>
                  <a:lnTo>
                    <a:pt x="2474" y="2566"/>
                  </a:lnTo>
                  <a:lnTo>
                    <a:pt x="2456" y="2572"/>
                  </a:lnTo>
                  <a:lnTo>
                    <a:pt x="2436" y="2578"/>
                  </a:lnTo>
                  <a:lnTo>
                    <a:pt x="2418" y="2580"/>
                  </a:lnTo>
                  <a:lnTo>
                    <a:pt x="2398" y="2582"/>
                  </a:lnTo>
                  <a:lnTo>
                    <a:pt x="2398" y="2582"/>
                  </a:lnTo>
                  <a:close/>
                </a:path>
              </a:pathLst>
            </a:custGeom>
            <a:solidFill>
              <a:srgbClr val="7EB1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5" name="Freeform 35"/>
            <p:cNvSpPr>
              <a:spLocks noChangeAspect="1" noEditPoints="1"/>
            </p:cNvSpPr>
            <p:nvPr/>
          </p:nvSpPr>
          <p:spPr bwMode="auto">
            <a:xfrm>
              <a:off x="1212771" y="3321335"/>
              <a:ext cx="282125" cy="345704"/>
            </a:xfrm>
            <a:custGeom>
              <a:avLst/>
              <a:gdLst>
                <a:gd name="T0" fmla="*/ 2642 w 2840"/>
                <a:gd name="T1" fmla="*/ 364 h 3480"/>
                <a:gd name="T2" fmla="*/ 2484 w 2840"/>
                <a:gd name="T3" fmla="*/ 228 h 3480"/>
                <a:gd name="T4" fmla="*/ 2230 w 2840"/>
                <a:gd name="T5" fmla="*/ 126 h 3480"/>
                <a:gd name="T6" fmla="*/ 1610 w 2840"/>
                <a:gd name="T7" fmla="*/ 10 h 3480"/>
                <a:gd name="T8" fmla="*/ 1230 w 2840"/>
                <a:gd name="T9" fmla="*/ 10 h 3480"/>
                <a:gd name="T10" fmla="*/ 610 w 2840"/>
                <a:gd name="T11" fmla="*/ 126 h 3480"/>
                <a:gd name="T12" fmla="*/ 356 w 2840"/>
                <a:gd name="T13" fmla="*/ 228 h 3480"/>
                <a:gd name="T14" fmla="*/ 198 w 2840"/>
                <a:gd name="T15" fmla="*/ 364 h 3480"/>
                <a:gd name="T16" fmla="*/ 0 w 2840"/>
                <a:gd name="T17" fmla="*/ 3040 h 3480"/>
                <a:gd name="T18" fmla="*/ 256 w 2840"/>
                <a:gd name="T19" fmla="*/ 3362 h 3480"/>
                <a:gd name="T20" fmla="*/ 350 w 2840"/>
                <a:gd name="T21" fmla="*/ 3460 h 3480"/>
                <a:gd name="T22" fmla="*/ 480 w 2840"/>
                <a:gd name="T23" fmla="*/ 3476 h 3480"/>
                <a:gd name="T24" fmla="*/ 598 w 2840"/>
                <a:gd name="T25" fmla="*/ 3414 h 3480"/>
                <a:gd name="T26" fmla="*/ 648 w 2840"/>
                <a:gd name="T27" fmla="*/ 3270 h 3480"/>
                <a:gd name="T28" fmla="*/ 2194 w 2840"/>
                <a:gd name="T29" fmla="*/ 3296 h 3480"/>
                <a:gd name="T30" fmla="*/ 2256 w 2840"/>
                <a:gd name="T31" fmla="*/ 3428 h 3480"/>
                <a:gd name="T32" fmla="*/ 2378 w 2840"/>
                <a:gd name="T33" fmla="*/ 3480 h 3480"/>
                <a:gd name="T34" fmla="*/ 2508 w 2840"/>
                <a:gd name="T35" fmla="*/ 3450 h 3480"/>
                <a:gd name="T36" fmla="*/ 2592 w 2840"/>
                <a:gd name="T37" fmla="*/ 3342 h 3480"/>
                <a:gd name="T38" fmla="*/ 2702 w 2840"/>
                <a:gd name="T39" fmla="*/ 514 h 3480"/>
                <a:gd name="T40" fmla="*/ 2056 w 2840"/>
                <a:gd name="T41" fmla="*/ 284 h 3480"/>
                <a:gd name="T42" fmla="*/ 2086 w 2840"/>
                <a:gd name="T43" fmla="*/ 386 h 3480"/>
                <a:gd name="T44" fmla="*/ 1404 w 2840"/>
                <a:gd name="T45" fmla="*/ 440 h 3480"/>
                <a:gd name="T46" fmla="*/ 762 w 2840"/>
                <a:gd name="T47" fmla="*/ 400 h 3480"/>
                <a:gd name="T48" fmla="*/ 772 w 2840"/>
                <a:gd name="T49" fmla="*/ 296 h 3480"/>
                <a:gd name="T50" fmla="*/ 442 w 2840"/>
                <a:gd name="T51" fmla="*/ 2582 h 3480"/>
                <a:gd name="T52" fmla="*/ 318 w 2840"/>
                <a:gd name="T53" fmla="*/ 2536 h 3480"/>
                <a:gd name="T54" fmla="*/ 250 w 2840"/>
                <a:gd name="T55" fmla="*/ 2424 h 3480"/>
                <a:gd name="T56" fmla="*/ 262 w 2840"/>
                <a:gd name="T57" fmla="*/ 2308 h 3480"/>
                <a:gd name="T58" fmla="*/ 348 w 2840"/>
                <a:gd name="T59" fmla="*/ 2212 h 3480"/>
                <a:gd name="T60" fmla="*/ 462 w 2840"/>
                <a:gd name="T61" fmla="*/ 2190 h 3480"/>
                <a:gd name="T62" fmla="*/ 582 w 2840"/>
                <a:gd name="T63" fmla="*/ 2246 h 3480"/>
                <a:gd name="T64" fmla="*/ 638 w 2840"/>
                <a:gd name="T65" fmla="*/ 2364 h 3480"/>
                <a:gd name="T66" fmla="*/ 616 w 2840"/>
                <a:gd name="T67" fmla="*/ 2478 h 3480"/>
                <a:gd name="T68" fmla="*/ 520 w 2840"/>
                <a:gd name="T69" fmla="*/ 2566 h 3480"/>
                <a:gd name="T70" fmla="*/ 364 w 2840"/>
                <a:gd name="T71" fmla="*/ 1688 h 3480"/>
                <a:gd name="T72" fmla="*/ 280 w 2840"/>
                <a:gd name="T73" fmla="*/ 1662 h 3480"/>
                <a:gd name="T74" fmla="*/ 248 w 2840"/>
                <a:gd name="T75" fmla="*/ 1568 h 3480"/>
                <a:gd name="T76" fmla="*/ 386 w 2840"/>
                <a:gd name="T77" fmla="*/ 680 h 3480"/>
                <a:gd name="T78" fmla="*/ 466 w 2840"/>
                <a:gd name="T79" fmla="*/ 622 h 3480"/>
                <a:gd name="T80" fmla="*/ 2336 w 2840"/>
                <a:gd name="T81" fmla="*/ 616 h 3480"/>
                <a:gd name="T82" fmla="*/ 2438 w 2840"/>
                <a:gd name="T83" fmla="*/ 658 h 3480"/>
                <a:gd name="T84" fmla="*/ 2590 w 2840"/>
                <a:gd name="T85" fmla="*/ 1542 h 3480"/>
                <a:gd name="T86" fmla="*/ 2576 w 2840"/>
                <a:gd name="T87" fmla="*/ 1642 h 3480"/>
                <a:gd name="T88" fmla="*/ 2494 w 2840"/>
                <a:gd name="T89" fmla="*/ 1688 h 3480"/>
                <a:gd name="T90" fmla="*/ 2338 w 2840"/>
                <a:gd name="T91" fmla="*/ 2572 h 3480"/>
                <a:gd name="T92" fmla="*/ 2234 w 2840"/>
                <a:gd name="T93" fmla="*/ 2494 h 3480"/>
                <a:gd name="T94" fmla="*/ 2200 w 2840"/>
                <a:gd name="T95" fmla="*/ 2384 h 3480"/>
                <a:gd name="T96" fmla="*/ 2246 w 2840"/>
                <a:gd name="T97" fmla="*/ 2260 h 3480"/>
                <a:gd name="T98" fmla="*/ 2358 w 2840"/>
                <a:gd name="T99" fmla="*/ 2192 h 3480"/>
                <a:gd name="T100" fmla="*/ 2474 w 2840"/>
                <a:gd name="T101" fmla="*/ 2204 h 3480"/>
                <a:gd name="T102" fmla="*/ 2570 w 2840"/>
                <a:gd name="T103" fmla="*/ 2292 h 3480"/>
                <a:gd name="T104" fmla="*/ 2592 w 2840"/>
                <a:gd name="T105" fmla="*/ 2406 h 3480"/>
                <a:gd name="T106" fmla="*/ 2536 w 2840"/>
                <a:gd name="T107" fmla="*/ 2524 h 3480"/>
                <a:gd name="T108" fmla="*/ 2418 w 2840"/>
                <a:gd name="T109" fmla="*/ 2580 h 3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0" h="3480">
                  <a:moveTo>
                    <a:pt x="2702" y="514"/>
                  </a:moveTo>
                  <a:lnTo>
                    <a:pt x="2702" y="514"/>
                  </a:lnTo>
                  <a:lnTo>
                    <a:pt x="2694" y="478"/>
                  </a:lnTo>
                  <a:lnTo>
                    <a:pt x="2684" y="446"/>
                  </a:lnTo>
                  <a:lnTo>
                    <a:pt x="2672" y="418"/>
                  </a:lnTo>
                  <a:lnTo>
                    <a:pt x="2658" y="390"/>
                  </a:lnTo>
                  <a:lnTo>
                    <a:pt x="2642" y="364"/>
                  </a:lnTo>
                  <a:lnTo>
                    <a:pt x="2624" y="340"/>
                  </a:lnTo>
                  <a:lnTo>
                    <a:pt x="2606" y="318"/>
                  </a:lnTo>
                  <a:lnTo>
                    <a:pt x="2584" y="298"/>
                  </a:lnTo>
                  <a:lnTo>
                    <a:pt x="2562" y="278"/>
                  </a:lnTo>
                  <a:lnTo>
                    <a:pt x="2536" y="260"/>
                  </a:lnTo>
                  <a:lnTo>
                    <a:pt x="2510" y="244"/>
                  </a:lnTo>
                  <a:lnTo>
                    <a:pt x="2484" y="228"/>
                  </a:lnTo>
                  <a:lnTo>
                    <a:pt x="2454" y="212"/>
                  </a:lnTo>
                  <a:lnTo>
                    <a:pt x="2424" y="198"/>
                  </a:lnTo>
                  <a:lnTo>
                    <a:pt x="2358" y="168"/>
                  </a:lnTo>
                  <a:lnTo>
                    <a:pt x="2358" y="168"/>
                  </a:lnTo>
                  <a:lnTo>
                    <a:pt x="2320" y="154"/>
                  </a:lnTo>
                  <a:lnTo>
                    <a:pt x="2278" y="140"/>
                  </a:lnTo>
                  <a:lnTo>
                    <a:pt x="2230" y="126"/>
                  </a:lnTo>
                  <a:lnTo>
                    <a:pt x="2180" y="110"/>
                  </a:lnTo>
                  <a:lnTo>
                    <a:pt x="2066" y="82"/>
                  </a:lnTo>
                  <a:lnTo>
                    <a:pt x="1940" y="56"/>
                  </a:lnTo>
                  <a:lnTo>
                    <a:pt x="1810" y="34"/>
                  </a:lnTo>
                  <a:lnTo>
                    <a:pt x="1742" y="24"/>
                  </a:lnTo>
                  <a:lnTo>
                    <a:pt x="1676" y="16"/>
                  </a:lnTo>
                  <a:lnTo>
                    <a:pt x="1610" y="10"/>
                  </a:lnTo>
                  <a:lnTo>
                    <a:pt x="1544" y="4"/>
                  </a:lnTo>
                  <a:lnTo>
                    <a:pt x="1482" y="2"/>
                  </a:lnTo>
                  <a:lnTo>
                    <a:pt x="1420" y="0"/>
                  </a:lnTo>
                  <a:lnTo>
                    <a:pt x="1420" y="0"/>
                  </a:lnTo>
                  <a:lnTo>
                    <a:pt x="1358" y="2"/>
                  </a:lnTo>
                  <a:lnTo>
                    <a:pt x="1296" y="4"/>
                  </a:lnTo>
                  <a:lnTo>
                    <a:pt x="1230" y="10"/>
                  </a:lnTo>
                  <a:lnTo>
                    <a:pt x="1164" y="16"/>
                  </a:lnTo>
                  <a:lnTo>
                    <a:pt x="1098" y="24"/>
                  </a:lnTo>
                  <a:lnTo>
                    <a:pt x="1030" y="34"/>
                  </a:lnTo>
                  <a:lnTo>
                    <a:pt x="900" y="56"/>
                  </a:lnTo>
                  <a:lnTo>
                    <a:pt x="774" y="82"/>
                  </a:lnTo>
                  <a:lnTo>
                    <a:pt x="660" y="110"/>
                  </a:lnTo>
                  <a:lnTo>
                    <a:pt x="610" y="126"/>
                  </a:lnTo>
                  <a:lnTo>
                    <a:pt x="562" y="140"/>
                  </a:lnTo>
                  <a:lnTo>
                    <a:pt x="520" y="154"/>
                  </a:lnTo>
                  <a:lnTo>
                    <a:pt x="482" y="168"/>
                  </a:lnTo>
                  <a:lnTo>
                    <a:pt x="482" y="168"/>
                  </a:lnTo>
                  <a:lnTo>
                    <a:pt x="416" y="198"/>
                  </a:lnTo>
                  <a:lnTo>
                    <a:pt x="386" y="212"/>
                  </a:lnTo>
                  <a:lnTo>
                    <a:pt x="356" y="228"/>
                  </a:lnTo>
                  <a:lnTo>
                    <a:pt x="330" y="244"/>
                  </a:lnTo>
                  <a:lnTo>
                    <a:pt x="304" y="260"/>
                  </a:lnTo>
                  <a:lnTo>
                    <a:pt x="278" y="278"/>
                  </a:lnTo>
                  <a:lnTo>
                    <a:pt x="256" y="298"/>
                  </a:lnTo>
                  <a:lnTo>
                    <a:pt x="234" y="318"/>
                  </a:lnTo>
                  <a:lnTo>
                    <a:pt x="216" y="340"/>
                  </a:lnTo>
                  <a:lnTo>
                    <a:pt x="198" y="364"/>
                  </a:lnTo>
                  <a:lnTo>
                    <a:pt x="182" y="390"/>
                  </a:lnTo>
                  <a:lnTo>
                    <a:pt x="168" y="418"/>
                  </a:lnTo>
                  <a:lnTo>
                    <a:pt x="156" y="446"/>
                  </a:lnTo>
                  <a:lnTo>
                    <a:pt x="146" y="478"/>
                  </a:lnTo>
                  <a:lnTo>
                    <a:pt x="138" y="514"/>
                  </a:lnTo>
                  <a:lnTo>
                    <a:pt x="0" y="1576"/>
                  </a:lnTo>
                  <a:lnTo>
                    <a:pt x="0" y="3040"/>
                  </a:lnTo>
                  <a:lnTo>
                    <a:pt x="238" y="3040"/>
                  </a:lnTo>
                  <a:lnTo>
                    <a:pt x="238" y="3270"/>
                  </a:lnTo>
                  <a:lnTo>
                    <a:pt x="238" y="3270"/>
                  </a:lnTo>
                  <a:lnTo>
                    <a:pt x="238" y="3296"/>
                  </a:lnTo>
                  <a:lnTo>
                    <a:pt x="242" y="3320"/>
                  </a:lnTo>
                  <a:lnTo>
                    <a:pt x="248" y="3342"/>
                  </a:lnTo>
                  <a:lnTo>
                    <a:pt x="256" y="3362"/>
                  </a:lnTo>
                  <a:lnTo>
                    <a:pt x="264" y="3380"/>
                  </a:lnTo>
                  <a:lnTo>
                    <a:pt x="276" y="3398"/>
                  </a:lnTo>
                  <a:lnTo>
                    <a:pt x="288" y="3414"/>
                  </a:lnTo>
                  <a:lnTo>
                    <a:pt x="302" y="3428"/>
                  </a:lnTo>
                  <a:lnTo>
                    <a:pt x="316" y="3440"/>
                  </a:lnTo>
                  <a:lnTo>
                    <a:pt x="332" y="3450"/>
                  </a:lnTo>
                  <a:lnTo>
                    <a:pt x="350" y="3460"/>
                  </a:lnTo>
                  <a:lnTo>
                    <a:pt x="368" y="3468"/>
                  </a:lnTo>
                  <a:lnTo>
                    <a:pt x="386" y="3472"/>
                  </a:lnTo>
                  <a:lnTo>
                    <a:pt x="404" y="3476"/>
                  </a:lnTo>
                  <a:lnTo>
                    <a:pt x="424" y="3480"/>
                  </a:lnTo>
                  <a:lnTo>
                    <a:pt x="442" y="3480"/>
                  </a:lnTo>
                  <a:lnTo>
                    <a:pt x="462" y="3480"/>
                  </a:lnTo>
                  <a:lnTo>
                    <a:pt x="480" y="3476"/>
                  </a:lnTo>
                  <a:lnTo>
                    <a:pt x="500" y="3472"/>
                  </a:lnTo>
                  <a:lnTo>
                    <a:pt x="518" y="3468"/>
                  </a:lnTo>
                  <a:lnTo>
                    <a:pt x="536" y="3460"/>
                  </a:lnTo>
                  <a:lnTo>
                    <a:pt x="552" y="3450"/>
                  </a:lnTo>
                  <a:lnTo>
                    <a:pt x="568" y="3440"/>
                  </a:lnTo>
                  <a:lnTo>
                    <a:pt x="584" y="3428"/>
                  </a:lnTo>
                  <a:lnTo>
                    <a:pt x="598" y="3414"/>
                  </a:lnTo>
                  <a:lnTo>
                    <a:pt x="610" y="3398"/>
                  </a:lnTo>
                  <a:lnTo>
                    <a:pt x="620" y="3380"/>
                  </a:lnTo>
                  <a:lnTo>
                    <a:pt x="630" y="3362"/>
                  </a:lnTo>
                  <a:lnTo>
                    <a:pt x="638" y="3342"/>
                  </a:lnTo>
                  <a:lnTo>
                    <a:pt x="642" y="3320"/>
                  </a:lnTo>
                  <a:lnTo>
                    <a:pt x="646" y="3296"/>
                  </a:lnTo>
                  <a:lnTo>
                    <a:pt x="648" y="3270"/>
                  </a:lnTo>
                  <a:lnTo>
                    <a:pt x="648" y="3040"/>
                  </a:lnTo>
                  <a:lnTo>
                    <a:pt x="1404" y="3040"/>
                  </a:lnTo>
                  <a:lnTo>
                    <a:pt x="1406" y="3040"/>
                  </a:lnTo>
                  <a:lnTo>
                    <a:pt x="2192" y="3040"/>
                  </a:lnTo>
                  <a:lnTo>
                    <a:pt x="2192" y="3270"/>
                  </a:lnTo>
                  <a:lnTo>
                    <a:pt x="2192" y="3270"/>
                  </a:lnTo>
                  <a:lnTo>
                    <a:pt x="2194" y="3296"/>
                  </a:lnTo>
                  <a:lnTo>
                    <a:pt x="2198" y="3320"/>
                  </a:lnTo>
                  <a:lnTo>
                    <a:pt x="2202" y="3342"/>
                  </a:lnTo>
                  <a:lnTo>
                    <a:pt x="2210" y="3362"/>
                  </a:lnTo>
                  <a:lnTo>
                    <a:pt x="2220" y="3380"/>
                  </a:lnTo>
                  <a:lnTo>
                    <a:pt x="2230" y="3398"/>
                  </a:lnTo>
                  <a:lnTo>
                    <a:pt x="2242" y="3414"/>
                  </a:lnTo>
                  <a:lnTo>
                    <a:pt x="2256" y="3428"/>
                  </a:lnTo>
                  <a:lnTo>
                    <a:pt x="2272" y="3440"/>
                  </a:lnTo>
                  <a:lnTo>
                    <a:pt x="2288" y="3450"/>
                  </a:lnTo>
                  <a:lnTo>
                    <a:pt x="2304" y="3460"/>
                  </a:lnTo>
                  <a:lnTo>
                    <a:pt x="2322" y="3468"/>
                  </a:lnTo>
                  <a:lnTo>
                    <a:pt x="2340" y="3472"/>
                  </a:lnTo>
                  <a:lnTo>
                    <a:pt x="2360" y="3476"/>
                  </a:lnTo>
                  <a:lnTo>
                    <a:pt x="2378" y="3480"/>
                  </a:lnTo>
                  <a:lnTo>
                    <a:pt x="2398" y="3480"/>
                  </a:lnTo>
                  <a:lnTo>
                    <a:pt x="2416" y="3480"/>
                  </a:lnTo>
                  <a:lnTo>
                    <a:pt x="2436" y="3476"/>
                  </a:lnTo>
                  <a:lnTo>
                    <a:pt x="2454" y="3472"/>
                  </a:lnTo>
                  <a:lnTo>
                    <a:pt x="2472" y="3468"/>
                  </a:lnTo>
                  <a:lnTo>
                    <a:pt x="2490" y="3460"/>
                  </a:lnTo>
                  <a:lnTo>
                    <a:pt x="2508" y="3450"/>
                  </a:lnTo>
                  <a:lnTo>
                    <a:pt x="2524" y="3440"/>
                  </a:lnTo>
                  <a:lnTo>
                    <a:pt x="2538" y="3428"/>
                  </a:lnTo>
                  <a:lnTo>
                    <a:pt x="2552" y="3414"/>
                  </a:lnTo>
                  <a:lnTo>
                    <a:pt x="2564" y="3398"/>
                  </a:lnTo>
                  <a:lnTo>
                    <a:pt x="2576" y="3380"/>
                  </a:lnTo>
                  <a:lnTo>
                    <a:pt x="2584" y="3362"/>
                  </a:lnTo>
                  <a:lnTo>
                    <a:pt x="2592" y="3342"/>
                  </a:lnTo>
                  <a:lnTo>
                    <a:pt x="2598" y="3320"/>
                  </a:lnTo>
                  <a:lnTo>
                    <a:pt x="2602" y="3296"/>
                  </a:lnTo>
                  <a:lnTo>
                    <a:pt x="2602" y="3270"/>
                  </a:lnTo>
                  <a:lnTo>
                    <a:pt x="2602" y="3040"/>
                  </a:lnTo>
                  <a:lnTo>
                    <a:pt x="2840" y="3040"/>
                  </a:lnTo>
                  <a:lnTo>
                    <a:pt x="2840" y="1576"/>
                  </a:lnTo>
                  <a:lnTo>
                    <a:pt x="2702" y="514"/>
                  </a:lnTo>
                  <a:close/>
                  <a:moveTo>
                    <a:pt x="836" y="268"/>
                  </a:moveTo>
                  <a:lnTo>
                    <a:pt x="1406" y="268"/>
                  </a:lnTo>
                  <a:lnTo>
                    <a:pt x="2004" y="268"/>
                  </a:lnTo>
                  <a:lnTo>
                    <a:pt x="2004" y="268"/>
                  </a:lnTo>
                  <a:lnTo>
                    <a:pt x="2024" y="270"/>
                  </a:lnTo>
                  <a:lnTo>
                    <a:pt x="2042" y="276"/>
                  </a:lnTo>
                  <a:lnTo>
                    <a:pt x="2056" y="284"/>
                  </a:lnTo>
                  <a:lnTo>
                    <a:pt x="2068" y="296"/>
                  </a:lnTo>
                  <a:lnTo>
                    <a:pt x="2078" y="308"/>
                  </a:lnTo>
                  <a:lnTo>
                    <a:pt x="2086" y="322"/>
                  </a:lnTo>
                  <a:lnTo>
                    <a:pt x="2090" y="338"/>
                  </a:lnTo>
                  <a:lnTo>
                    <a:pt x="2090" y="354"/>
                  </a:lnTo>
                  <a:lnTo>
                    <a:pt x="2090" y="370"/>
                  </a:lnTo>
                  <a:lnTo>
                    <a:pt x="2086" y="386"/>
                  </a:lnTo>
                  <a:lnTo>
                    <a:pt x="2078" y="400"/>
                  </a:lnTo>
                  <a:lnTo>
                    <a:pt x="2068" y="414"/>
                  </a:lnTo>
                  <a:lnTo>
                    <a:pt x="2056" y="424"/>
                  </a:lnTo>
                  <a:lnTo>
                    <a:pt x="2042" y="434"/>
                  </a:lnTo>
                  <a:lnTo>
                    <a:pt x="2024" y="438"/>
                  </a:lnTo>
                  <a:lnTo>
                    <a:pt x="2004" y="440"/>
                  </a:lnTo>
                  <a:lnTo>
                    <a:pt x="1404" y="440"/>
                  </a:lnTo>
                  <a:lnTo>
                    <a:pt x="836" y="440"/>
                  </a:lnTo>
                  <a:lnTo>
                    <a:pt x="836" y="440"/>
                  </a:lnTo>
                  <a:lnTo>
                    <a:pt x="816" y="438"/>
                  </a:lnTo>
                  <a:lnTo>
                    <a:pt x="798" y="434"/>
                  </a:lnTo>
                  <a:lnTo>
                    <a:pt x="784" y="424"/>
                  </a:lnTo>
                  <a:lnTo>
                    <a:pt x="772" y="414"/>
                  </a:lnTo>
                  <a:lnTo>
                    <a:pt x="762" y="400"/>
                  </a:lnTo>
                  <a:lnTo>
                    <a:pt x="754" y="386"/>
                  </a:lnTo>
                  <a:lnTo>
                    <a:pt x="750" y="370"/>
                  </a:lnTo>
                  <a:lnTo>
                    <a:pt x="750" y="354"/>
                  </a:lnTo>
                  <a:lnTo>
                    <a:pt x="750" y="338"/>
                  </a:lnTo>
                  <a:lnTo>
                    <a:pt x="754" y="322"/>
                  </a:lnTo>
                  <a:lnTo>
                    <a:pt x="762" y="308"/>
                  </a:lnTo>
                  <a:lnTo>
                    <a:pt x="772" y="296"/>
                  </a:lnTo>
                  <a:lnTo>
                    <a:pt x="784" y="284"/>
                  </a:lnTo>
                  <a:lnTo>
                    <a:pt x="798" y="276"/>
                  </a:lnTo>
                  <a:lnTo>
                    <a:pt x="816" y="270"/>
                  </a:lnTo>
                  <a:lnTo>
                    <a:pt x="836" y="268"/>
                  </a:lnTo>
                  <a:lnTo>
                    <a:pt x="836" y="268"/>
                  </a:lnTo>
                  <a:close/>
                  <a:moveTo>
                    <a:pt x="442" y="2582"/>
                  </a:moveTo>
                  <a:lnTo>
                    <a:pt x="442" y="2582"/>
                  </a:lnTo>
                  <a:lnTo>
                    <a:pt x="422" y="2580"/>
                  </a:lnTo>
                  <a:lnTo>
                    <a:pt x="404" y="2578"/>
                  </a:lnTo>
                  <a:lnTo>
                    <a:pt x="384" y="2572"/>
                  </a:lnTo>
                  <a:lnTo>
                    <a:pt x="366" y="2566"/>
                  </a:lnTo>
                  <a:lnTo>
                    <a:pt x="348" y="2558"/>
                  </a:lnTo>
                  <a:lnTo>
                    <a:pt x="332" y="2548"/>
                  </a:lnTo>
                  <a:lnTo>
                    <a:pt x="318" y="2536"/>
                  </a:lnTo>
                  <a:lnTo>
                    <a:pt x="304" y="2524"/>
                  </a:lnTo>
                  <a:lnTo>
                    <a:pt x="290" y="2510"/>
                  </a:lnTo>
                  <a:lnTo>
                    <a:pt x="280" y="2494"/>
                  </a:lnTo>
                  <a:lnTo>
                    <a:pt x="270" y="2478"/>
                  </a:lnTo>
                  <a:lnTo>
                    <a:pt x="262" y="2462"/>
                  </a:lnTo>
                  <a:lnTo>
                    <a:pt x="254" y="2444"/>
                  </a:lnTo>
                  <a:lnTo>
                    <a:pt x="250" y="2424"/>
                  </a:lnTo>
                  <a:lnTo>
                    <a:pt x="248" y="2406"/>
                  </a:lnTo>
                  <a:lnTo>
                    <a:pt x="246" y="2384"/>
                  </a:lnTo>
                  <a:lnTo>
                    <a:pt x="246" y="2384"/>
                  </a:lnTo>
                  <a:lnTo>
                    <a:pt x="248" y="2364"/>
                  </a:lnTo>
                  <a:lnTo>
                    <a:pt x="250" y="2346"/>
                  </a:lnTo>
                  <a:lnTo>
                    <a:pt x="254" y="2326"/>
                  </a:lnTo>
                  <a:lnTo>
                    <a:pt x="262" y="2308"/>
                  </a:lnTo>
                  <a:lnTo>
                    <a:pt x="270" y="2292"/>
                  </a:lnTo>
                  <a:lnTo>
                    <a:pt x="280" y="2276"/>
                  </a:lnTo>
                  <a:lnTo>
                    <a:pt x="290" y="2260"/>
                  </a:lnTo>
                  <a:lnTo>
                    <a:pt x="304" y="2246"/>
                  </a:lnTo>
                  <a:lnTo>
                    <a:pt x="318" y="2234"/>
                  </a:lnTo>
                  <a:lnTo>
                    <a:pt x="332" y="2222"/>
                  </a:lnTo>
                  <a:lnTo>
                    <a:pt x="348" y="2212"/>
                  </a:lnTo>
                  <a:lnTo>
                    <a:pt x="366" y="2204"/>
                  </a:lnTo>
                  <a:lnTo>
                    <a:pt x="384" y="2198"/>
                  </a:lnTo>
                  <a:lnTo>
                    <a:pt x="404" y="2192"/>
                  </a:lnTo>
                  <a:lnTo>
                    <a:pt x="422" y="2190"/>
                  </a:lnTo>
                  <a:lnTo>
                    <a:pt x="442" y="2188"/>
                  </a:lnTo>
                  <a:lnTo>
                    <a:pt x="442" y="2188"/>
                  </a:lnTo>
                  <a:lnTo>
                    <a:pt x="462" y="2190"/>
                  </a:lnTo>
                  <a:lnTo>
                    <a:pt x="482" y="2192"/>
                  </a:lnTo>
                  <a:lnTo>
                    <a:pt x="502" y="2198"/>
                  </a:lnTo>
                  <a:lnTo>
                    <a:pt x="520" y="2204"/>
                  </a:lnTo>
                  <a:lnTo>
                    <a:pt x="536" y="2212"/>
                  </a:lnTo>
                  <a:lnTo>
                    <a:pt x="552" y="2222"/>
                  </a:lnTo>
                  <a:lnTo>
                    <a:pt x="568" y="2234"/>
                  </a:lnTo>
                  <a:lnTo>
                    <a:pt x="582" y="2246"/>
                  </a:lnTo>
                  <a:lnTo>
                    <a:pt x="594" y="2260"/>
                  </a:lnTo>
                  <a:lnTo>
                    <a:pt x="606" y="2276"/>
                  </a:lnTo>
                  <a:lnTo>
                    <a:pt x="616" y="2292"/>
                  </a:lnTo>
                  <a:lnTo>
                    <a:pt x="624" y="2308"/>
                  </a:lnTo>
                  <a:lnTo>
                    <a:pt x="630" y="2326"/>
                  </a:lnTo>
                  <a:lnTo>
                    <a:pt x="636" y="2346"/>
                  </a:lnTo>
                  <a:lnTo>
                    <a:pt x="638" y="2364"/>
                  </a:lnTo>
                  <a:lnTo>
                    <a:pt x="640" y="2384"/>
                  </a:lnTo>
                  <a:lnTo>
                    <a:pt x="640" y="2384"/>
                  </a:lnTo>
                  <a:lnTo>
                    <a:pt x="638" y="2406"/>
                  </a:lnTo>
                  <a:lnTo>
                    <a:pt x="636" y="2424"/>
                  </a:lnTo>
                  <a:lnTo>
                    <a:pt x="630" y="2444"/>
                  </a:lnTo>
                  <a:lnTo>
                    <a:pt x="624" y="2462"/>
                  </a:lnTo>
                  <a:lnTo>
                    <a:pt x="616" y="2478"/>
                  </a:lnTo>
                  <a:lnTo>
                    <a:pt x="606" y="2494"/>
                  </a:lnTo>
                  <a:lnTo>
                    <a:pt x="594" y="2510"/>
                  </a:lnTo>
                  <a:lnTo>
                    <a:pt x="582" y="2524"/>
                  </a:lnTo>
                  <a:lnTo>
                    <a:pt x="568" y="2536"/>
                  </a:lnTo>
                  <a:lnTo>
                    <a:pt x="552" y="2548"/>
                  </a:lnTo>
                  <a:lnTo>
                    <a:pt x="536" y="2558"/>
                  </a:lnTo>
                  <a:lnTo>
                    <a:pt x="520" y="2566"/>
                  </a:lnTo>
                  <a:lnTo>
                    <a:pt x="502" y="2572"/>
                  </a:lnTo>
                  <a:lnTo>
                    <a:pt x="482" y="2578"/>
                  </a:lnTo>
                  <a:lnTo>
                    <a:pt x="462" y="2580"/>
                  </a:lnTo>
                  <a:lnTo>
                    <a:pt x="442" y="2582"/>
                  </a:lnTo>
                  <a:lnTo>
                    <a:pt x="442" y="2582"/>
                  </a:lnTo>
                  <a:close/>
                  <a:moveTo>
                    <a:pt x="1406" y="1688"/>
                  </a:moveTo>
                  <a:lnTo>
                    <a:pt x="364" y="1688"/>
                  </a:lnTo>
                  <a:lnTo>
                    <a:pt x="364" y="1688"/>
                  </a:lnTo>
                  <a:lnTo>
                    <a:pt x="346" y="1688"/>
                  </a:lnTo>
                  <a:lnTo>
                    <a:pt x="330" y="1684"/>
                  </a:lnTo>
                  <a:lnTo>
                    <a:pt x="314" y="1680"/>
                  </a:lnTo>
                  <a:lnTo>
                    <a:pt x="302" y="1676"/>
                  </a:lnTo>
                  <a:lnTo>
                    <a:pt x="290" y="1668"/>
                  </a:lnTo>
                  <a:lnTo>
                    <a:pt x="280" y="1662"/>
                  </a:lnTo>
                  <a:lnTo>
                    <a:pt x="272" y="1652"/>
                  </a:lnTo>
                  <a:lnTo>
                    <a:pt x="264" y="1642"/>
                  </a:lnTo>
                  <a:lnTo>
                    <a:pt x="260" y="1632"/>
                  </a:lnTo>
                  <a:lnTo>
                    <a:pt x="254" y="1620"/>
                  </a:lnTo>
                  <a:lnTo>
                    <a:pt x="252" y="1608"/>
                  </a:lnTo>
                  <a:lnTo>
                    <a:pt x="250" y="1596"/>
                  </a:lnTo>
                  <a:lnTo>
                    <a:pt x="248" y="1568"/>
                  </a:lnTo>
                  <a:lnTo>
                    <a:pt x="250" y="1542"/>
                  </a:lnTo>
                  <a:lnTo>
                    <a:pt x="358" y="770"/>
                  </a:lnTo>
                  <a:lnTo>
                    <a:pt x="358" y="770"/>
                  </a:lnTo>
                  <a:lnTo>
                    <a:pt x="364" y="736"/>
                  </a:lnTo>
                  <a:lnTo>
                    <a:pt x="374" y="706"/>
                  </a:lnTo>
                  <a:lnTo>
                    <a:pt x="378" y="692"/>
                  </a:lnTo>
                  <a:lnTo>
                    <a:pt x="386" y="680"/>
                  </a:lnTo>
                  <a:lnTo>
                    <a:pt x="392" y="668"/>
                  </a:lnTo>
                  <a:lnTo>
                    <a:pt x="402" y="658"/>
                  </a:lnTo>
                  <a:lnTo>
                    <a:pt x="412" y="648"/>
                  </a:lnTo>
                  <a:lnTo>
                    <a:pt x="422" y="640"/>
                  </a:lnTo>
                  <a:lnTo>
                    <a:pt x="436" y="632"/>
                  </a:lnTo>
                  <a:lnTo>
                    <a:pt x="450" y="626"/>
                  </a:lnTo>
                  <a:lnTo>
                    <a:pt x="466" y="622"/>
                  </a:lnTo>
                  <a:lnTo>
                    <a:pt x="484" y="618"/>
                  </a:lnTo>
                  <a:lnTo>
                    <a:pt x="504" y="616"/>
                  </a:lnTo>
                  <a:lnTo>
                    <a:pt x="526" y="614"/>
                  </a:lnTo>
                  <a:lnTo>
                    <a:pt x="1404" y="614"/>
                  </a:lnTo>
                  <a:lnTo>
                    <a:pt x="2314" y="614"/>
                  </a:lnTo>
                  <a:lnTo>
                    <a:pt x="2314" y="614"/>
                  </a:lnTo>
                  <a:lnTo>
                    <a:pt x="2336" y="616"/>
                  </a:lnTo>
                  <a:lnTo>
                    <a:pt x="2356" y="618"/>
                  </a:lnTo>
                  <a:lnTo>
                    <a:pt x="2374" y="622"/>
                  </a:lnTo>
                  <a:lnTo>
                    <a:pt x="2390" y="626"/>
                  </a:lnTo>
                  <a:lnTo>
                    <a:pt x="2404" y="632"/>
                  </a:lnTo>
                  <a:lnTo>
                    <a:pt x="2418" y="640"/>
                  </a:lnTo>
                  <a:lnTo>
                    <a:pt x="2428" y="648"/>
                  </a:lnTo>
                  <a:lnTo>
                    <a:pt x="2438" y="658"/>
                  </a:lnTo>
                  <a:lnTo>
                    <a:pt x="2448" y="668"/>
                  </a:lnTo>
                  <a:lnTo>
                    <a:pt x="2454" y="680"/>
                  </a:lnTo>
                  <a:lnTo>
                    <a:pt x="2462" y="692"/>
                  </a:lnTo>
                  <a:lnTo>
                    <a:pt x="2466" y="706"/>
                  </a:lnTo>
                  <a:lnTo>
                    <a:pt x="2476" y="736"/>
                  </a:lnTo>
                  <a:lnTo>
                    <a:pt x="2482" y="770"/>
                  </a:lnTo>
                  <a:lnTo>
                    <a:pt x="2590" y="1542"/>
                  </a:lnTo>
                  <a:lnTo>
                    <a:pt x="2590" y="1542"/>
                  </a:lnTo>
                  <a:lnTo>
                    <a:pt x="2592" y="1568"/>
                  </a:lnTo>
                  <a:lnTo>
                    <a:pt x="2590" y="1596"/>
                  </a:lnTo>
                  <a:lnTo>
                    <a:pt x="2588" y="1608"/>
                  </a:lnTo>
                  <a:lnTo>
                    <a:pt x="2586" y="1620"/>
                  </a:lnTo>
                  <a:lnTo>
                    <a:pt x="2580" y="1632"/>
                  </a:lnTo>
                  <a:lnTo>
                    <a:pt x="2576" y="1642"/>
                  </a:lnTo>
                  <a:lnTo>
                    <a:pt x="2568" y="1652"/>
                  </a:lnTo>
                  <a:lnTo>
                    <a:pt x="2560" y="1662"/>
                  </a:lnTo>
                  <a:lnTo>
                    <a:pt x="2550" y="1668"/>
                  </a:lnTo>
                  <a:lnTo>
                    <a:pt x="2538" y="1676"/>
                  </a:lnTo>
                  <a:lnTo>
                    <a:pt x="2526" y="1680"/>
                  </a:lnTo>
                  <a:lnTo>
                    <a:pt x="2510" y="1684"/>
                  </a:lnTo>
                  <a:lnTo>
                    <a:pt x="2494" y="1688"/>
                  </a:lnTo>
                  <a:lnTo>
                    <a:pt x="2476" y="1688"/>
                  </a:lnTo>
                  <a:lnTo>
                    <a:pt x="1406" y="1688"/>
                  </a:lnTo>
                  <a:close/>
                  <a:moveTo>
                    <a:pt x="2398" y="2582"/>
                  </a:moveTo>
                  <a:lnTo>
                    <a:pt x="2398" y="2582"/>
                  </a:lnTo>
                  <a:lnTo>
                    <a:pt x="2378" y="2580"/>
                  </a:lnTo>
                  <a:lnTo>
                    <a:pt x="2358" y="2578"/>
                  </a:lnTo>
                  <a:lnTo>
                    <a:pt x="2338" y="2572"/>
                  </a:lnTo>
                  <a:lnTo>
                    <a:pt x="2320" y="2566"/>
                  </a:lnTo>
                  <a:lnTo>
                    <a:pt x="2304" y="2558"/>
                  </a:lnTo>
                  <a:lnTo>
                    <a:pt x="2288" y="2548"/>
                  </a:lnTo>
                  <a:lnTo>
                    <a:pt x="2272" y="2536"/>
                  </a:lnTo>
                  <a:lnTo>
                    <a:pt x="2258" y="2524"/>
                  </a:lnTo>
                  <a:lnTo>
                    <a:pt x="2246" y="2510"/>
                  </a:lnTo>
                  <a:lnTo>
                    <a:pt x="2234" y="2494"/>
                  </a:lnTo>
                  <a:lnTo>
                    <a:pt x="2224" y="2478"/>
                  </a:lnTo>
                  <a:lnTo>
                    <a:pt x="2216" y="2462"/>
                  </a:lnTo>
                  <a:lnTo>
                    <a:pt x="2210" y="2444"/>
                  </a:lnTo>
                  <a:lnTo>
                    <a:pt x="2204" y="2424"/>
                  </a:lnTo>
                  <a:lnTo>
                    <a:pt x="2202" y="2406"/>
                  </a:lnTo>
                  <a:lnTo>
                    <a:pt x="2200" y="2384"/>
                  </a:lnTo>
                  <a:lnTo>
                    <a:pt x="2200" y="2384"/>
                  </a:lnTo>
                  <a:lnTo>
                    <a:pt x="2202" y="2364"/>
                  </a:lnTo>
                  <a:lnTo>
                    <a:pt x="2204" y="2346"/>
                  </a:lnTo>
                  <a:lnTo>
                    <a:pt x="2210" y="2326"/>
                  </a:lnTo>
                  <a:lnTo>
                    <a:pt x="2216" y="2308"/>
                  </a:lnTo>
                  <a:lnTo>
                    <a:pt x="2224" y="2292"/>
                  </a:lnTo>
                  <a:lnTo>
                    <a:pt x="2234" y="2276"/>
                  </a:lnTo>
                  <a:lnTo>
                    <a:pt x="2246" y="2260"/>
                  </a:lnTo>
                  <a:lnTo>
                    <a:pt x="2258" y="2246"/>
                  </a:lnTo>
                  <a:lnTo>
                    <a:pt x="2272" y="2234"/>
                  </a:lnTo>
                  <a:lnTo>
                    <a:pt x="2288" y="2222"/>
                  </a:lnTo>
                  <a:lnTo>
                    <a:pt x="2304" y="2212"/>
                  </a:lnTo>
                  <a:lnTo>
                    <a:pt x="2320" y="2204"/>
                  </a:lnTo>
                  <a:lnTo>
                    <a:pt x="2338" y="2198"/>
                  </a:lnTo>
                  <a:lnTo>
                    <a:pt x="2358" y="2192"/>
                  </a:lnTo>
                  <a:lnTo>
                    <a:pt x="2378" y="2190"/>
                  </a:lnTo>
                  <a:lnTo>
                    <a:pt x="2398" y="2188"/>
                  </a:lnTo>
                  <a:lnTo>
                    <a:pt x="2398" y="2188"/>
                  </a:lnTo>
                  <a:lnTo>
                    <a:pt x="2418" y="2190"/>
                  </a:lnTo>
                  <a:lnTo>
                    <a:pt x="2436" y="2192"/>
                  </a:lnTo>
                  <a:lnTo>
                    <a:pt x="2456" y="2198"/>
                  </a:lnTo>
                  <a:lnTo>
                    <a:pt x="2474" y="2204"/>
                  </a:lnTo>
                  <a:lnTo>
                    <a:pt x="2492" y="2212"/>
                  </a:lnTo>
                  <a:lnTo>
                    <a:pt x="2508" y="2222"/>
                  </a:lnTo>
                  <a:lnTo>
                    <a:pt x="2522" y="2234"/>
                  </a:lnTo>
                  <a:lnTo>
                    <a:pt x="2536" y="2246"/>
                  </a:lnTo>
                  <a:lnTo>
                    <a:pt x="2550" y="2260"/>
                  </a:lnTo>
                  <a:lnTo>
                    <a:pt x="2560" y="2276"/>
                  </a:lnTo>
                  <a:lnTo>
                    <a:pt x="2570" y="2292"/>
                  </a:lnTo>
                  <a:lnTo>
                    <a:pt x="2578" y="2308"/>
                  </a:lnTo>
                  <a:lnTo>
                    <a:pt x="2586" y="2326"/>
                  </a:lnTo>
                  <a:lnTo>
                    <a:pt x="2590" y="2346"/>
                  </a:lnTo>
                  <a:lnTo>
                    <a:pt x="2592" y="2364"/>
                  </a:lnTo>
                  <a:lnTo>
                    <a:pt x="2594" y="2384"/>
                  </a:lnTo>
                  <a:lnTo>
                    <a:pt x="2594" y="2384"/>
                  </a:lnTo>
                  <a:lnTo>
                    <a:pt x="2592" y="2406"/>
                  </a:lnTo>
                  <a:lnTo>
                    <a:pt x="2590" y="2424"/>
                  </a:lnTo>
                  <a:lnTo>
                    <a:pt x="2586" y="2444"/>
                  </a:lnTo>
                  <a:lnTo>
                    <a:pt x="2578" y="2462"/>
                  </a:lnTo>
                  <a:lnTo>
                    <a:pt x="2570" y="2478"/>
                  </a:lnTo>
                  <a:lnTo>
                    <a:pt x="2560" y="2494"/>
                  </a:lnTo>
                  <a:lnTo>
                    <a:pt x="2550" y="2510"/>
                  </a:lnTo>
                  <a:lnTo>
                    <a:pt x="2536" y="2524"/>
                  </a:lnTo>
                  <a:lnTo>
                    <a:pt x="2522" y="2536"/>
                  </a:lnTo>
                  <a:lnTo>
                    <a:pt x="2508" y="2548"/>
                  </a:lnTo>
                  <a:lnTo>
                    <a:pt x="2492" y="2558"/>
                  </a:lnTo>
                  <a:lnTo>
                    <a:pt x="2474" y="2566"/>
                  </a:lnTo>
                  <a:lnTo>
                    <a:pt x="2456" y="2572"/>
                  </a:lnTo>
                  <a:lnTo>
                    <a:pt x="2436" y="2578"/>
                  </a:lnTo>
                  <a:lnTo>
                    <a:pt x="2418" y="2580"/>
                  </a:lnTo>
                  <a:lnTo>
                    <a:pt x="2398" y="2582"/>
                  </a:lnTo>
                  <a:lnTo>
                    <a:pt x="2398" y="2582"/>
                  </a:lnTo>
                  <a:close/>
                </a:path>
              </a:pathLst>
            </a:custGeom>
            <a:solidFill>
              <a:srgbClr val="7EB1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7" name="Freeform 35"/>
            <p:cNvSpPr>
              <a:spLocks noChangeAspect="1" noEditPoints="1"/>
            </p:cNvSpPr>
            <p:nvPr/>
          </p:nvSpPr>
          <p:spPr bwMode="auto">
            <a:xfrm>
              <a:off x="2041895" y="3321335"/>
              <a:ext cx="282125" cy="345704"/>
            </a:xfrm>
            <a:custGeom>
              <a:avLst/>
              <a:gdLst>
                <a:gd name="T0" fmla="*/ 2642 w 2840"/>
                <a:gd name="T1" fmla="*/ 364 h 3480"/>
                <a:gd name="T2" fmla="*/ 2484 w 2840"/>
                <a:gd name="T3" fmla="*/ 228 h 3480"/>
                <a:gd name="T4" fmla="*/ 2230 w 2840"/>
                <a:gd name="T5" fmla="*/ 126 h 3480"/>
                <a:gd name="T6" fmla="*/ 1610 w 2840"/>
                <a:gd name="T7" fmla="*/ 10 h 3480"/>
                <a:gd name="T8" fmla="*/ 1230 w 2840"/>
                <a:gd name="T9" fmla="*/ 10 h 3480"/>
                <a:gd name="T10" fmla="*/ 610 w 2840"/>
                <a:gd name="T11" fmla="*/ 126 h 3480"/>
                <a:gd name="T12" fmla="*/ 356 w 2840"/>
                <a:gd name="T13" fmla="*/ 228 h 3480"/>
                <a:gd name="T14" fmla="*/ 198 w 2840"/>
                <a:gd name="T15" fmla="*/ 364 h 3480"/>
                <a:gd name="T16" fmla="*/ 0 w 2840"/>
                <a:gd name="T17" fmla="*/ 3040 h 3480"/>
                <a:gd name="T18" fmla="*/ 256 w 2840"/>
                <a:gd name="T19" fmla="*/ 3362 h 3480"/>
                <a:gd name="T20" fmla="*/ 350 w 2840"/>
                <a:gd name="T21" fmla="*/ 3460 h 3480"/>
                <a:gd name="T22" fmla="*/ 480 w 2840"/>
                <a:gd name="T23" fmla="*/ 3476 h 3480"/>
                <a:gd name="T24" fmla="*/ 598 w 2840"/>
                <a:gd name="T25" fmla="*/ 3414 h 3480"/>
                <a:gd name="T26" fmla="*/ 648 w 2840"/>
                <a:gd name="T27" fmla="*/ 3270 h 3480"/>
                <a:gd name="T28" fmla="*/ 2194 w 2840"/>
                <a:gd name="T29" fmla="*/ 3296 h 3480"/>
                <a:gd name="T30" fmla="*/ 2256 w 2840"/>
                <a:gd name="T31" fmla="*/ 3428 h 3480"/>
                <a:gd name="T32" fmla="*/ 2378 w 2840"/>
                <a:gd name="T33" fmla="*/ 3480 h 3480"/>
                <a:gd name="T34" fmla="*/ 2508 w 2840"/>
                <a:gd name="T35" fmla="*/ 3450 h 3480"/>
                <a:gd name="T36" fmla="*/ 2592 w 2840"/>
                <a:gd name="T37" fmla="*/ 3342 h 3480"/>
                <a:gd name="T38" fmla="*/ 2702 w 2840"/>
                <a:gd name="T39" fmla="*/ 514 h 3480"/>
                <a:gd name="T40" fmla="*/ 2056 w 2840"/>
                <a:gd name="T41" fmla="*/ 284 h 3480"/>
                <a:gd name="T42" fmla="*/ 2086 w 2840"/>
                <a:gd name="T43" fmla="*/ 386 h 3480"/>
                <a:gd name="T44" fmla="*/ 1404 w 2840"/>
                <a:gd name="T45" fmla="*/ 440 h 3480"/>
                <a:gd name="T46" fmla="*/ 762 w 2840"/>
                <a:gd name="T47" fmla="*/ 400 h 3480"/>
                <a:gd name="T48" fmla="*/ 772 w 2840"/>
                <a:gd name="T49" fmla="*/ 296 h 3480"/>
                <a:gd name="T50" fmla="*/ 442 w 2840"/>
                <a:gd name="T51" fmla="*/ 2582 h 3480"/>
                <a:gd name="T52" fmla="*/ 318 w 2840"/>
                <a:gd name="T53" fmla="*/ 2536 h 3480"/>
                <a:gd name="T54" fmla="*/ 250 w 2840"/>
                <a:gd name="T55" fmla="*/ 2424 h 3480"/>
                <a:gd name="T56" fmla="*/ 262 w 2840"/>
                <a:gd name="T57" fmla="*/ 2308 h 3480"/>
                <a:gd name="T58" fmla="*/ 348 w 2840"/>
                <a:gd name="T59" fmla="*/ 2212 h 3480"/>
                <a:gd name="T60" fmla="*/ 462 w 2840"/>
                <a:gd name="T61" fmla="*/ 2190 h 3480"/>
                <a:gd name="T62" fmla="*/ 582 w 2840"/>
                <a:gd name="T63" fmla="*/ 2246 h 3480"/>
                <a:gd name="T64" fmla="*/ 638 w 2840"/>
                <a:gd name="T65" fmla="*/ 2364 h 3480"/>
                <a:gd name="T66" fmla="*/ 616 w 2840"/>
                <a:gd name="T67" fmla="*/ 2478 h 3480"/>
                <a:gd name="T68" fmla="*/ 520 w 2840"/>
                <a:gd name="T69" fmla="*/ 2566 h 3480"/>
                <a:gd name="T70" fmla="*/ 364 w 2840"/>
                <a:gd name="T71" fmla="*/ 1688 h 3480"/>
                <a:gd name="T72" fmla="*/ 280 w 2840"/>
                <a:gd name="T73" fmla="*/ 1662 h 3480"/>
                <a:gd name="T74" fmla="*/ 248 w 2840"/>
                <a:gd name="T75" fmla="*/ 1568 h 3480"/>
                <a:gd name="T76" fmla="*/ 386 w 2840"/>
                <a:gd name="T77" fmla="*/ 680 h 3480"/>
                <a:gd name="T78" fmla="*/ 466 w 2840"/>
                <a:gd name="T79" fmla="*/ 622 h 3480"/>
                <a:gd name="T80" fmla="*/ 2336 w 2840"/>
                <a:gd name="T81" fmla="*/ 616 h 3480"/>
                <a:gd name="T82" fmla="*/ 2438 w 2840"/>
                <a:gd name="T83" fmla="*/ 658 h 3480"/>
                <a:gd name="T84" fmla="*/ 2590 w 2840"/>
                <a:gd name="T85" fmla="*/ 1542 h 3480"/>
                <a:gd name="T86" fmla="*/ 2576 w 2840"/>
                <a:gd name="T87" fmla="*/ 1642 h 3480"/>
                <a:gd name="T88" fmla="*/ 2494 w 2840"/>
                <a:gd name="T89" fmla="*/ 1688 h 3480"/>
                <a:gd name="T90" fmla="*/ 2338 w 2840"/>
                <a:gd name="T91" fmla="*/ 2572 h 3480"/>
                <a:gd name="T92" fmla="*/ 2234 w 2840"/>
                <a:gd name="T93" fmla="*/ 2494 h 3480"/>
                <a:gd name="T94" fmla="*/ 2200 w 2840"/>
                <a:gd name="T95" fmla="*/ 2384 h 3480"/>
                <a:gd name="T96" fmla="*/ 2246 w 2840"/>
                <a:gd name="T97" fmla="*/ 2260 h 3480"/>
                <a:gd name="T98" fmla="*/ 2358 w 2840"/>
                <a:gd name="T99" fmla="*/ 2192 h 3480"/>
                <a:gd name="T100" fmla="*/ 2474 w 2840"/>
                <a:gd name="T101" fmla="*/ 2204 h 3480"/>
                <a:gd name="T102" fmla="*/ 2570 w 2840"/>
                <a:gd name="T103" fmla="*/ 2292 h 3480"/>
                <a:gd name="T104" fmla="*/ 2592 w 2840"/>
                <a:gd name="T105" fmla="*/ 2406 h 3480"/>
                <a:gd name="T106" fmla="*/ 2536 w 2840"/>
                <a:gd name="T107" fmla="*/ 2524 h 3480"/>
                <a:gd name="T108" fmla="*/ 2418 w 2840"/>
                <a:gd name="T109" fmla="*/ 2580 h 3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0" h="3480">
                  <a:moveTo>
                    <a:pt x="2702" y="514"/>
                  </a:moveTo>
                  <a:lnTo>
                    <a:pt x="2702" y="514"/>
                  </a:lnTo>
                  <a:lnTo>
                    <a:pt x="2694" y="478"/>
                  </a:lnTo>
                  <a:lnTo>
                    <a:pt x="2684" y="446"/>
                  </a:lnTo>
                  <a:lnTo>
                    <a:pt x="2672" y="418"/>
                  </a:lnTo>
                  <a:lnTo>
                    <a:pt x="2658" y="390"/>
                  </a:lnTo>
                  <a:lnTo>
                    <a:pt x="2642" y="364"/>
                  </a:lnTo>
                  <a:lnTo>
                    <a:pt x="2624" y="340"/>
                  </a:lnTo>
                  <a:lnTo>
                    <a:pt x="2606" y="318"/>
                  </a:lnTo>
                  <a:lnTo>
                    <a:pt x="2584" y="298"/>
                  </a:lnTo>
                  <a:lnTo>
                    <a:pt x="2562" y="278"/>
                  </a:lnTo>
                  <a:lnTo>
                    <a:pt x="2536" y="260"/>
                  </a:lnTo>
                  <a:lnTo>
                    <a:pt x="2510" y="244"/>
                  </a:lnTo>
                  <a:lnTo>
                    <a:pt x="2484" y="228"/>
                  </a:lnTo>
                  <a:lnTo>
                    <a:pt x="2454" y="212"/>
                  </a:lnTo>
                  <a:lnTo>
                    <a:pt x="2424" y="198"/>
                  </a:lnTo>
                  <a:lnTo>
                    <a:pt x="2358" y="168"/>
                  </a:lnTo>
                  <a:lnTo>
                    <a:pt x="2358" y="168"/>
                  </a:lnTo>
                  <a:lnTo>
                    <a:pt x="2320" y="154"/>
                  </a:lnTo>
                  <a:lnTo>
                    <a:pt x="2278" y="140"/>
                  </a:lnTo>
                  <a:lnTo>
                    <a:pt x="2230" y="126"/>
                  </a:lnTo>
                  <a:lnTo>
                    <a:pt x="2180" y="110"/>
                  </a:lnTo>
                  <a:lnTo>
                    <a:pt x="2066" y="82"/>
                  </a:lnTo>
                  <a:lnTo>
                    <a:pt x="1940" y="56"/>
                  </a:lnTo>
                  <a:lnTo>
                    <a:pt x="1810" y="34"/>
                  </a:lnTo>
                  <a:lnTo>
                    <a:pt x="1742" y="24"/>
                  </a:lnTo>
                  <a:lnTo>
                    <a:pt x="1676" y="16"/>
                  </a:lnTo>
                  <a:lnTo>
                    <a:pt x="1610" y="10"/>
                  </a:lnTo>
                  <a:lnTo>
                    <a:pt x="1544" y="4"/>
                  </a:lnTo>
                  <a:lnTo>
                    <a:pt x="1482" y="2"/>
                  </a:lnTo>
                  <a:lnTo>
                    <a:pt x="1420" y="0"/>
                  </a:lnTo>
                  <a:lnTo>
                    <a:pt x="1420" y="0"/>
                  </a:lnTo>
                  <a:lnTo>
                    <a:pt x="1358" y="2"/>
                  </a:lnTo>
                  <a:lnTo>
                    <a:pt x="1296" y="4"/>
                  </a:lnTo>
                  <a:lnTo>
                    <a:pt x="1230" y="10"/>
                  </a:lnTo>
                  <a:lnTo>
                    <a:pt x="1164" y="16"/>
                  </a:lnTo>
                  <a:lnTo>
                    <a:pt x="1098" y="24"/>
                  </a:lnTo>
                  <a:lnTo>
                    <a:pt x="1030" y="34"/>
                  </a:lnTo>
                  <a:lnTo>
                    <a:pt x="900" y="56"/>
                  </a:lnTo>
                  <a:lnTo>
                    <a:pt x="774" y="82"/>
                  </a:lnTo>
                  <a:lnTo>
                    <a:pt x="660" y="110"/>
                  </a:lnTo>
                  <a:lnTo>
                    <a:pt x="610" y="126"/>
                  </a:lnTo>
                  <a:lnTo>
                    <a:pt x="562" y="140"/>
                  </a:lnTo>
                  <a:lnTo>
                    <a:pt x="520" y="154"/>
                  </a:lnTo>
                  <a:lnTo>
                    <a:pt x="482" y="168"/>
                  </a:lnTo>
                  <a:lnTo>
                    <a:pt x="482" y="168"/>
                  </a:lnTo>
                  <a:lnTo>
                    <a:pt x="416" y="198"/>
                  </a:lnTo>
                  <a:lnTo>
                    <a:pt x="386" y="212"/>
                  </a:lnTo>
                  <a:lnTo>
                    <a:pt x="356" y="228"/>
                  </a:lnTo>
                  <a:lnTo>
                    <a:pt x="330" y="244"/>
                  </a:lnTo>
                  <a:lnTo>
                    <a:pt x="304" y="260"/>
                  </a:lnTo>
                  <a:lnTo>
                    <a:pt x="278" y="278"/>
                  </a:lnTo>
                  <a:lnTo>
                    <a:pt x="256" y="298"/>
                  </a:lnTo>
                  <a:lnTo>
                    <a:pt x="234" y="318"/>
                  </a:lnTo>
                  <a:lnTo>
                    <a:pt x="216" y="340"/>
                  </a:lnTo>
                  <a:lnTo>
                    <a:pt x="198" y="364"/>
                  </a:lnTo>
                  <a:lnTo>
                    <a:pt x="182" y="390"/>
                  </a:lnTo>
                  <a:lnTo>
                    <a:pt x="168" y="418"/>
                  </a:lnTo>
                  <a:lnTo>
                    <a:pt x="156" y="446"/>
                  </a:lnTo>
                  <a:lnTo>
                    <a:pt x="146" y="478"/>
                  </a:lnTo>
                  <a:lnTo>
                    <a:pt x="138" y="514"/>
                  </a:lnTo>
                  <a:lnTo>
                    <a:pt x="0" y="1576"/>
                  </a:lnTo>
                  <a:lnTo>
                    <a:pt x="0" y="3040"/>
                  </a:lnTo>
                  <a:lnTo>
                    <a:pt x="238" y="3040"/>
                  </a:lnTo>
                  <a:lnTo>
                    <a:pt x="238" y="3270"/>
                  </a:lnTo>
                  <a:lnTo>
                    <a:pt x="238" y="3270"/>
                  </a:lnTo>
                  <a:lnTo>
                    <a:pt x="238" y="3296"/>
                  </a:lnTo>
                  <a:lnTo>
                    <a:pt x="242" y="3320"/>
                  </a:lnTo>
                  <a:lnTo>
                    <a:pt x="248" y="3342"/>
                  </a:lnTo>
                  <a:lnTo>
                    <a:pt x="256" y="3362"/>
                  </a:lnTo>
                  <a:lnTo>
                    <a:pt x="264" y="3380"/>
                  </a:lnTo>
                  <a:lnTo>
                    <a:pt x="276" y="3398"/>
                  </a:lnTo>
                  <a:lnTo>
                    <a:pt x="288" y="3414"/>
                  </a:lnTo>
                  <a:lnTo>
                    <a:pt x="302" y="3428"/>
                  </a:lnTo>
                  <a:lnTo>
                    <a:pt x="316" y="3440"/>
                  </a:lnTo>
                  <a:lnTo>
                    <a:pt x="332" y="3450"/>
                  </a:lnTo>
                  <a:lnTo>
                    <a:pt x="350" y="3460"/>
                  </a:lnTo>
                  <a:lnTo>
                    <a:pt x="368" y="3468"/>
                  </a:lnTo>
                  <a:lnTo>
                    <a:pt x="386" y="3472"/>
                  </a:lnTo>
                  <a:lnTo>
                    <a:pt x="404" y="3476"/>
                  </a:lnTo>
                  <a:lnTo>
                    <a:pt x="424" y="3480"/>
                  </a:lnTo>
                  <a:lnTo>
                    <a:pt x="442" y="3480"/>
                  </a:lnTo>
                  <a:lnTo>
                    <a:pt x="462" y="3480"/>
                  </a:lnTo>
                  <a:lnTo>
                    <a:pt x="480" y="3476"/>
                  </a:lnTo>
                  <a:lnTo>
                    <a:pt x="500" y="3472"/>
                  </a:lnTo>
                  <a:lnTo>
                    <a:pt x="518" y="3468"/>
                  </a:lnTo>
                  <a:lnTo>
                    <a:pt x="536" y="3460"/>
                  </a:lnTo>
                  <a:lnTo>
                    <a:pt x="552" y="3450"/>
                  </a:lnTo>
                  <a:lnTo>
                    <a:pt x="568" y="3440"/>
                  </a:lnTo>
                  <a:lnTo>
                    <a:pt x="584" y="3428"/>
                  </a:lnTo>
                  <a:lnTo>
                    <a:pt x="598" y="3414"/>
                  </a:lnTo>
                  <a:lnTo>
                    <a:pt x="610" y="3398"/>
                  </a:lnTo>
                  <a:lnTo>
                    <a:pt x="620" y="3380"/>
                  </a:lnTo>
                  <a:lnTo>
                    <a:pt x="630" y="3362"/>
                  </a:lnTo>
                  <a:lnTo>
                    <a:pt x="638" y="3342"/>
                  </a:lnTo>
                  <a:lnTo>
                    <a:pt x="642" y="3320"/>
                  </a:lnTo>
                  <a:lnTo>
                    <a:pt x="646" y="3296"/>
                  </a:lnTo>
                  <a:lnTo>
                    <a:pt x="648" y="3270"/>
                  </a:lnTo>
                  <a:lnTo>
                    <a:pt x="648" y="3040"/>
                  </a:lnTo>
                  <a:lnTo>
                    <a:pt x="1404" y="3040"/>
                  </a:lnTo>
                  <a:lnTo>
                    <a:pt x="1406" y="3040"/>
                  </a:lnTo>
                  <a:lnTo>
                    <a:pt x="2192" y="3040"/>
                  </a:lnTo>
                  <a:lnTo>
                    <a:pt x="2192" y="3270"/>
                  </a:lnTo>
                  <a:lnTo>
                    <a:pt x="2192" y="3270"/>
                  </a:lnTo>
                  <a:lnTo>
                    <a:pt x="2194" y="3296"/>
                  </a:lnTo>
                  <a:lnTo>
                    <a:pt x="2198" y="3320"/>
                  </a:lnTo>
                  <a:lnTo>
                    <a:pt x="2202" y="3342"/>
                  </a:lnTo>
                  <a:lnTo>
                    <a:pt x="2210" y="3362"/>
                  </a:lnTo>
                  <a:lnTo>
                    <a:pt x="2220" y="3380"/>
                  </a:lnTo>
                  <a:lnTo>
                    <a:pt x="2230" y="3398"/>
                  </a:lnTo>
                  <a:lnTo>
                    <a:pt x="2242" y="3414"/>
                  </a:lnTo>
                  <a:lnTo>
                    <a:pt x="2256" y="3428"/>
                  </a:lnTo>
                  <a:lnTo>
                    <a:pt x="2272" y="3440"/>
                  </a:lnTo>
                  <a:lnTo>
                    <a:pt x="2288" y="3450"/>
                  </a:lnTo>
                  <a:lnTo>
                    <a:pt x="2304" y="3460"/>
                  </a:lnTo>
                  <a:lnTo>
                    <a:pt x="2322" y="3468"/>
                  </a:lnTo>
                  <a:lnTo>
                    <a:pt x="2340" y="3472"/>
                  </a:lnTo>
                  <a:lnTo>
                    <a:pt x="2360" y="3476"/>
                  </a:lnTo>
                  <a:lnTo>
                    <a:pt x="2378" y="3480"/>
                  </a:lnTo>
                  <a:lnTo>
                    <a:pt x="2398" y="3480"/>
                  </a:lnTo>
                  <a:lnTo>
                    <a:pt x="2416" y="3480"/>
                  </a:lnTo>
                  <a:lnTo>
                    <a:pt x="2436" y="3476"/>
                  </a:lnTo>
                  <a:lnTo>
                    <a:pt x="2454" y="3472"/>
                  </a:lnTo>
                  <a:lnTo>
                    <a:pt x="2472" y="3468"/>
                  </a:lnTo>
                  <a:lnTo>
                    <a:pt x="2490" y="3460"/>
                  </a:lnTo>
                  <a:lnTo>
                    <a:pt x="2508" y="3450"/>
                  </a:lnTo>
                  <a:lnTo>
                    <a:pt x="2524" y="3440"/>
                  </a:lnTo>
                  <a:lnTo>
                    <a:pt x="2538" y="3428"/>
                  </a:lnTo>
                  <a:lnTo>
                    <a:pt x="2552" y="3414"/>
                  </a:lnTo>
                  <a:lnTo>
                    <a:pt x="2564" y="3398"/>
                  </a:lnTo>
                  <a:lnTo>
                    <a:pt x="2576" y="3380"/>
                  </a:lnTo>
                  <a:lnTo>
                    <a:pt x="2584" y="3362"/>
                  </a:lnTo>
                  <a:lnTo>
                    <a:pt x="2592" y="3342"/>
                  </a:lnTo>
                  <a:lnTo>
                    <a:pt x="2598" y="3320"/>
                  </a:lnTo>
                  <a:lnTo>
                    <a:pt x="2602" y="3296"/>
                  </a:lnTo>
                  <a:lnTo>
                    <a:pt x="2602" y="3270"/>
                  </a:lnTo>
                  <a:lnTo>
                    <a:pt x="2602" y="3040"/>
                  </a:lnTo>
                  <a:lnTo>
                    <a:pt x="2840" y="3040"/>
                  </a:lnTo>
                  <a:lnTo>
                    <a:pt x="2840" y="1576"/>
                  </a:lnTo>
                  <a:lnTo>
                    <a:pt x="2702" y="514"/>
                  </a:lnTo>
                  <a:close/>
                  <a:moveTo>
                    <a:pt x="836" y="268"/>
                  </a:moveTo>
                  <a:lnTo>
                    <a:pt x="1406" y="268"/>
                  </a:lnTo>
                  <a:lnTo>
                    <a:pt x="2004" y="268"/>
                  </a:lnTo>
                  <a:lnTo>
                    <a:pt x="2004" y="268"/>
                  </a:lnTo>
                  <a:lnTo>
                    <a:pt x="2024" y="270"/>
                  </a:lnTo>
                  <a:lnTo>
                    <a:pt x="2042" y="276"/>
                  </a:lnTo>
                  <a:lnTo>
                    <a:pt x="2056" y="284"/>
                  </a:lnTo>
                  <a:lnTo>
                    <a:pt x="2068" y="296"/>
                  </a:lnTo>
                  <a:lnTo>
                    <a:pt x="2078" y="308"/>
                  </a:lnTo>
                  <a:lnTo>
                    <a:pt x="2086" y="322"/>
                  </a:lnTo>
                  <a:lnTo>
                    <a:pt x="2090" y="338"/>
                  </a:lnTo>
                  <a:lnTo>
                    <a:pt x="2090" y="354"/>
                  </a:lnTo>
                  <a:lnTo>
                    <a:pt x="2090" y="370"/>
                  </a:lnTo>
                  <a:lnTo>
                    <a:pt x="2086" y="386"/>
                  </a:lnTo>
                  <a:lnTo>
                    <a:pt x="2078" y="400"/>
                  </a:lnTo>
                  <a:lnTo>
                    <a:pt x="2068" y="414"/>
                  </a:lnTo>
                  <a:lnTo>
                    <a:pt x="2056" y="424"/>
                  </a:lnTo>
                  <a:lnTo>
                    <a:pt x="2042" y="434"/>
                  </a:lnTo>
                  <a:lnTo>
                    <a:pt x="2024" y="438"/>
                  </a:lnTo>
                  <a:lnTo>
                    <a:pt x="2004" y="440"/>
                  </a:lnTo>
                  <a:lnTo>
                    <a:pt x="1404" y="440"/>
                  </a:lnTo>
                  <a:lnTo>
                    <a:pt x="836" y="440"/>
                  </a:lnTo>
                  <a:lnTo>
                    <a:pt x="836" y="440"/>
                  </a:lnTo>
                  <a:lnTo>
                    <a:pt x="816" y="438"/>
                  </a:lnTo>
                  <a:lnTo>
                    <a:pt x="798" y="434"/>
                  </a:lnTo>
                  <a:lnTo>
                    <a:pt x="784" y="424"/>
                  </a:lnTo>
                  <a:lnTo>
                    <a:pt x="772" y="414"/>
                  </a:lnTo>
                  <a:lnTo>
                    <a:pt x="762" y="400"/>
                  </a:lnTo>
                  <a:lnTo>
                    <a:pt x="754" y="386"/>
                  </a:lnTo>
                  <a:lnTo>
                    <a:pt x="750" y="370"/>
                  </a:lnTo>
                  <a:lnTo>
                    <a:pt x="750" y="354"/>
                  </a:lnTo>
                  <a:lnTo>
                    <a:pt x="750" y="338"/>
                  </a:lnTo>
                  <a:lnTo>
                    <a:pt x="754" y="322"/>
                  </a:lnTo>
                  <a:lnTo>
                    <a:pt x="762" y="308"/>
                  </a:lnTo>
                  <a:lnTo>
                    <a:pt x="772" y="296"/>
                  </a:lnTo>
                  <a:lnTo>
                    <a:pt x="784" y="284"/>
                  </a:lnTo>
                  <a:lnTo>
                    <a:pt x="798" y="276"/>
                  </a:lnTo>
                  <a:lnTo>
                    <a:pt x="816" y="270"/>
                  </a:lnTo>
                  <a:lnTo>
                    <a:pt x="836" y="268"/>
                  </a:lnTo>
                  <a:lnTo>
                    <a:pt x="836" y="268"/>
                  </a:lnTo>
                  <a:close/>
                  <a:moveTo>
                    <a:pt x="442" y="2582"/>
                  </a:moveTo>
                  <a:lnTo>
                    <a:pt x="442" y="2582"/>
                  </a:lnTo>
                  <a:lnTo>
                    <a:pt x="422" y="2580"/>
                  </a:lnTo>
                  <a:lnTo>
                    <a:pt x="404" y="2578"/>
                  </a:lnTo>
                  <a:lnTo>
                    <a:pt x="384" y="2572"/>
                  </a:lnTo>
                  <a:lnTo>
                    <a:pt x="366" y="2566"/>
                  </a:lnTo>
                  <a:lnTo>
                    <a:pt x="348" y="2558"/>
                  </a:lnTo>
                  <a:lnTo>
                    <a:pt x="332" y="2548"/>
                  </a:lnTo>
                  <a:lnTo>
                    <a:pt x="318" y="2536"/>
                  </a:lnTo>
                  <a:lnTo>
                    <a:pt x="304" y="2524"/>
                  </a:lnTo>
                  <a:lnTo>
                    <a:pt x="290" y="2510"/>
                  </a:lnTo>
                  <a:lnTo>
                    <a:pt x="280" y="2494"/>
                  </a:lnTo>
                  <a:lnTo>
                    <a:pt x="270" y="2478"/>
                  </a:lnTo>
                  <a:lnTo>
                    <a:pt x="262" y="2462"/>
                  </a:lnTo>
                  <a:lnTo>
                    <a:pt x="254" y="2444"/>
                  </a:lnTo>
                  <a:lnTo>
                    <a:pt x="250" y="2424"/>
                  </a:lnTo>
                  <a:lnTo>
                    <a:pt x="248" y="2406"/>
                  </a:lnTo>
                  <a:lnTo>
                    <a:pt x="246" y="2384"/>
                  </a:lnTo>
                  <a:lnTo>
                    <a:pt x="246" y="2384"/>
                  </a:lnTo>
                  <a:lnTo>
                    <a:pt x="248" y="2364"/>
                  </a:lnTo>
                  <a:lnTo>
                    <a:pt x="250" y="2346"/>
                  </a:lnTo>
                  <a:lnTo>
                    <a:pt x="254" y="2326"/>
                  </a:lnTo>
                  <a:lnTo>
                    <a:pt x="262" y="2308"/>
                  </a:lnTo>
                  <a:lnTo>
                    <a:pt x="270" y="2292"/>
                  </a:lnTo>
                  <a:lnTo>
                    <a:pt x="280" y="2276"/>
                  </a:lnTo>
                  <a:lnTo>
                    <a:pt x="290" y="2260"/>
                  </a:lnTo>
                  <a:lnTo>
                    <a:pt x="304" y="2246"/>
                  </a:lnTo>
                  <a:lnTo>
                    <a:pt x="318" y="2234"/>
                  </a:lnTo>
                  <a:lnTo>
                    <a:pt x="332" y="2222"/>
                  </a:lnTo>
                  <a:lnTo>
                    <a:pt x="348" y="2212"/>
                  </a:lnTo>
                  <a:lnTo>
                    <a:pt x="366" y="2204"/>
                  </a:lnTo>
                  <a:lnTo>
                    <a:pt x="384" y="2198"/>
                  </a:lnTo>
                  <a:lnTo>
                    <a:pt x="404" y="2192"/>
                  </a:lnTo>
                  <a:lnTo>
                    <a:pt x="422" y="2190"/>
                  </a:lnTo>
                  <a:lnTo>
                    <a:pt x="442" y="2188"/>
                  </a:lnTo>
                  <a:lnTo>
                    <a:pt x="442" y="2188"/>
                  </a:lnTo>
                  <a:lnTo>
                    <a:pt x="462" y="2190"/>
                  </a:lnTo>
                  <a:lnTo>
                    <a:pt x="482" y="2192"/>
                  </a:lnTo>
                  <a:lnTo>
                    <a:pt x="502" y="2198"/>
                  </a:lnTo>
                  <a:lnTo>
                    <a:pt x="520" y="2204"/>
                  </a:lnTo>
                  <a:lnTo>
                    <a:pt x="536" y="2212"/>
                  </a:lnTo>
                  <a:lnTo>
                    <a:pt x="552" y="2222"/>
                  </a:lnTo>
                  <a:lnTo>
                    <a:pt x="568" y="2234"/>
                  </a:lnTo>
                  <a:lnTo>
                    <a:pt x="582" y="2246"/>
                  </a:lnTo>
                  <a:lnTo>
                    <a:pt x="594" y="2260"/>
                  </a:lnTo>
                  <a:lnTo>
                    <a:pt x="606" y="2276"/>
                  </a:lnTo>
                  <a:lnTo>
                    <a:pt x="616" y="2292"/>
                  </a:lnTo>
                  <a:lnTo>
                    <a:pt x="624" y="2308"/>
                  </a:lnTo>
                  <a:lnTo>
                    <a:pt x="630" y="2326"/>
                  </a:lnTo>
                  <a:lnTo>
                    <a:pt x="636" y="2346"/>
                  </a:lnTo>
                  <a:lnTo>
                    <a:pt x="638" y="2364"/>
                  </a:lnTo>
                  <a:lnTo>
                    <a:pt x="640" y="2384"/>
                  </a:lnTo>
                  <a:lnTo>
                    <a:pt x="640" y="2384"/>
                  </a:lnTo>
                  <a:lnTo>
                    <a:pt x="638" y="2406"/>
                  </a:lnTo>
                  <a:lnTo>
                    <a:pt x="636" y="2424"/>
                  </a:lnTo>
                  <a:lnTo>
                    <a:pt x="630" y="2444"/>
                  </a:lnTo>
                  <a:lnTo>
                    <a:pt x="624" y="2462"/>
                  </a:lnTo>
                  <a:lnTo>
                    <a:pt x="616" y="2478"/>
                  </a:lnTo>
                  <a:lnTo>
                    <a:pt x="606" y="2494"/>
                  </a:lnTo>
                  <a:lnTo>
                    <a:pt x="594" y="2510"/>
                  </a:lnTo>
                  <a:lnTo>
                    <a:pt x="582" y="2524"/>
                  </a:lnTo>
                  <a:lnTo>
                    <a:pt x="568" y="2536"/>
                  </a:lnTo>
                  <a:lnTo>
                    <a:pt x="552" y="2548"/>
                  </a:lnTo>
                  <a:lnTo>
                    <a:pt x="536" y="2558"/>
                  </a:lnTo>
                  <a:lnTo>
                    <a:pt x="520" y="2566"/>
                  </a:lnTo>
                  <a:lnTo>
                    <a:pt x="502" y="2572"/>
                  </a:lnTo>
                  <a:lnTo>
                    <a:pt x="482" y="2578"/>
                  </a:lnTo>
                  <a:lnTo>
                    <a:pt x="462" y="2580"/>
                  </a:lnTo>
                  <a:lnTo>
                    <a:pt x="442" y="2582"/>
                  </a:lnTo>
                  <a:lnTo>
                    <a:pt x="442" y="2582"/>
                  </a:lnTo>
                  <a:close/>
                  <a:moveTo>
                    <a:pt x="1406" y="1688"/>
                  </a:moveTo>
                  <a:lnTo>
                    <a:pt x="364" y="1688"/>
                  </a:lnTo>
                  <a:lnTo>
                    <a:pt x="364" y="1688"/>
                  </a:lnTo>
                  <a:lnTo>
                    <a:pt x="346" y="1688"/>
                  </a:lnTo>
                  <a:lnTo>
                    <a:pt x="330" y="1684"/>
                  </a:lnTo>
                  <a:lnTo>
                    <a:pt x="314" y="1680"/>
                  </a:lnTo>
                  <a:lnTo>
                    <a:pt x="302" y="1676"/>
                  </a:lnTo>
                  <a:lnTo>
                    <a:pt x="290" y="1668"/>
                  </a:lnTo>
                  <a:lnTo>
                    <a:pt x="280" y="1662"/>
                  </a:lnTo>
                  <a:lnTo>
                    <a:pt x="272" y="1652"/>
                  </a:lnTo>
                  <a:lnTo>
                    <a:pt x="264" y="1642"/>
                  </a:lnTo>
                  <a:lnTo>
                    <a:pt x="260" y="1632"/>
                  </a:lnTo>
                  <a:lnTo>
                    <a:pt x="254" y="1620"/>
                  </a:lnTo>
                  <a:lnTo>
                    <a:pt x="252" y="1608"/>
                  </a:lnTo>
                  <a:lnTo>
                    <a:pt x="250" y="1596"/>
                  </a:lnTo>
                  <a:lnTo>
                    <a:pt x="248" y="1568"/>
                  </a:lnTo>
                  <a:lnTo>
                    <a:pt x="250" y="1542"/>
                  </a:lnTo>
                  <a:lnTo>
                    <a:pt x="358" y="770"/>
                  </a:lnTo>
                  <a:lnTo>
                    <a:pt x="358" y="770"/>
                  </a:lnTo>
                  <a:lnTo>
                    <a:pt x="364" y="736"/>
                  </a:lnTo>
                  <a:lnTo>
                    <a:pt x="374" y="706"/>
                  </a:lnTo>
                  <a:lnTo>
                    <a:pt x="378" y="692"/>
                  </a:lnTo>
                  <a:lnTo>
                    <a:pt x="386" y="680"/>
                  </a:lnTo>
                  <a:lnTo>
                    <a:pt x="392" y="668"/>
                  </a:lnTo>
                  <a:lnTo>
                    <a:pt x="402" y="658"/>
                  </a:lnTo>
                  <a:lnTo>
                    <a:pt x="412" y="648"/>
                  </a:lnTo>
                  <a:lnTo>
                    <a:pt x="422" y="640"/>
                  </a:lnTo>
                  <a:lnTo>
                    <a:pt x="436" y="632"/>
                  </a:lnTo>
                  <a:lnTo>
                    <a:pt x="450" y="626"/>
                  </a:lnTo>
                  <a:lnTo>
                    <a:pt x="466" y="622"/>
                  </a:lnTo>
                  <a:lnTo>
                    <a:pt x="484" y="618"/>
                  </a:lnTo>
                  <a:lnTo>
                    <a:pt x="504" y="616"/>
                  </a:lnTo>
                  <a:lnTo>
                    <a:pt x="526" y="614"/>
                  </a:lnTo>
                  <a:lnTo>
                    <a:pt x="1404" y="614"/>
                  </a:lnTo>
                  <a:lnTo>
                    <a:pt x="2314" y="614"/>
                  </a:lnTo>
                  <a:lnTo>
                    <a:pt x="2314" y="614"/>
                  </a:lnTo>
                  <a:lnTo>
                    <a:pt x="2336" y="616"/>
                  </a:lnTo>
                  <a:lnTo>
                    <a:pt x="2356" y="618"/>
                  </a:lnTo>
                  <a:lnTo>
                    <a:pt x="2374" y="622"/>
                  </a:lnTo>
                  <a:lnTo>
                    <a:pt x="2390" y="626"/>
                  </a:lnTo>
                  <a:lnTo>
                    <a:pt x="2404" y="632"/>
                  </a:lnTo>
                  <a:lnTo>
                    <a:pt x="2418" y="640"/>
                  </a:lnTo>
                  <a:lnTo>
                    <a:pt x="2428" y="648"/>
                  </a:lnTo>
                  <a:lnTo>
                    <a:pt x="2438" y="658"/>
                  </a:lnTo>
                  <a:lnTo>
                    <a:pt x="2448" y="668"/>
                  </a:lnTo>
                  <a:lnTo>
                    <a:pt x="2454" y="680"/>
                  </a:lnTo>
                  <a:lnTo>
                    <a:pt x="2462" y="692"/>
                  </a:lnTo>
                  <a:lnTo>
                    <a:pt x="2466" y="706"/>
                  </a:lnTo>
                  <a:lnTo>
                    <a:pt x="2476" y="736"/>
                  </a:lnTo>
                  <a:lnTo>
                    <a:pt x="2482" y="770"/>
                  </a:lnTo>
                  <a:lnTo>
                    <a:pt x="2590" y="1542"/>
                  </a:lnTo>
                  <a:lnTo>
                    <a:pt x="2590" y="1542"/>
                  </a:lnTo>
                  <a:lnTo>
                    <a:pt x="2592" y="1568"/>
                  </a:lnTo>
                  <a:lnTo>
                    <a:pt x="2590" y="1596"/>
                  </a:lnTo>
                  <a:lnTo>
                    <a:pt x="2588" y="1608"/>
                  </a:lnTo>
                  <a:lnTo>
                    <a:pt x="2586" y="1620"/>
                  </a:lnTo>
                  <a:lnTo>
                    <a:pt x="2580" y="1632"/>
                  </a:lnTo>
                  <a:lnTo>
                    <a:pt x="2576" y="1642"/>
                  </a:lnTo>
                  <a:lnTo>
                    <a:pt x="2568" y="1652"/>
                  </a:lnTo>
                  <a:lnTo>
                    <a:pt x="2560" y="1662"/>
                  </a:lnTo>
                  <a:lnTo>
                    <a:pt x="2550" y="1668"/>
                  </a:lnTo>
                  <a:lnTo>
                    <a:pt x="2538" y="1676"/>
                  </a:lnTo>
                  <a:lnTo>
                    <a:pt x="2526" y="1680"/>
                  </a:lnTo>
                  <a:lnTo>
                    <a:pt x="2510" y="1684"/>
                  </a:lnTo>
                  <a:lnTo>
                    <a:pt x="2494" y="1688"/>
                  </a:lnTo>
                  <a:lnTo>
                    <a:pt x="2476" y="1688"/>
                  </a:lnTo>
                  <a:lnTo>
                    <a:pt x="1406" y="1688"/>
                  </a:lnTo>
                  <a:close/>
                  <a:moveTo>
                    <a:pt x="2398" y="2582"/>
                  </a:moveTo>
                  <a:lnTo>
                    <a:pt x="2398" y="2582"/>
                  </a:lnTo>
                  <a:lnTo>
                    <a:pt x="2378" y="2580"/>
                  </a:lnTo>
                  <a:lnTo>
                    <a:pt x="2358" y="2578"/>
                  </a:lnTo>
                  <a:lnTo>
                    <a:pt x="2338" y="2572"/>
                  </a:lnTo>
                  <a:lnTo>
                    <a:pt x="2320" y="2566"/>
                  </a:lnTo>
                  <a:lnTo>
                    <a:pt x="2304" y="2558"/>
                  </a:lnTo>
                  <a:lnTo>
                    <a:pt x="2288" y="2548"/>
                  </a:lnTo>
                  <a:lnTo>
                    <a:pt x="2272" y="2536"/>
                  </a:lnTo>
                  <a:lnTo>
                    <a:pt x="2258" y="2524"/>
                  </a:lnTo>
                  <a:lnTo>
                    <a:pt x="2246" y="2510"/>
                  </a:lnTo>
                  <a:lnTo>
                    <a:pt x="2234" y="2494"/>
                  </a:lnTo>
                  <a:lnTo>
                    <a:pt x="2224" y="2478"/>
                  </a:lnTo>
                  <a:lnTo>
                    <a:pt x="2216" y="2462"/>
                  </a:lnTo>
                  <a:lnTo>
                    <a:pt x="2210" y="2444"/>
                  </a:lnTo>
                  <a:lnTo>
                    <a:pt x="2204" y="2424"/>
                  </a:lnTo>
                  <a:lnTo>
                    <a:pt x="2202" y="2406"/>
                  </a:lnTo>
                  <a:lnTo>
                    <a:pt x="2200" y="2384"/>
                  </a:lnTo>
                  <a:lnTo>
                    <a:pt x="2200" y="2384"/>
                  </a:lnTo>
                  <a:lnTo>
                    <a:pt x="2202" y="2364"/>
                  </a:lnTo>
                  <a:lnTo>
                    <a:pt x="2204" y="2346"/>
                  </a:lnTo>
                  <a:lnTo>
                    <a:pt x="2210" y="2326"/>
                  </a:lnTo>
                  <a:lnTo>
                    <a:pt x="2216" y="2308"/>
                  </a:lnTo>
                  <a:lnTo>
                    <a:pt x="2224" y="2292"/>
                  </a:lnTo>
                  <a:lnTo>
                    <a:pt x="2234" y="2276"/>
                  </a:lnTo>
                  <a:lnTo>
                    <a:pt x="2246" y="2260"/>
                  </a:lnTo>
                  <a:lnTo>
                    <a:pt x="2258" y="2246"/>
                  </a:lnTo>
                  <a:lnTo>
                    <a:pt x="2272" y="2234"/>
                  </a:lnTo>
                  <a:lnTo>
                    <a:pt x="2288" y="2222"/>
                  </a:lnTo>
                  <a:lnTo>
                    <a:pt x="2304" y="2212"/>
                  </a:lnTo>
                  <a:lnTo>
                    <a:pt x="2320" y="2204"/>
                  </a:lnTo>
                  <a:lnTo>
                    <a:pt x="2338" y="2198"/>
                  </a:lnTo>
                  <a:lnTo>
                    <a:pt x="2358" y="2192"/>
                  </a:lnTo>
                  <a:lnTo>
                    <a:pt x="2378" y="2190"/>
                  </a:lnTo>
                  <a:lnTo>
                    <a:pt x="2398" y="2188"/>
                  </a:lnTo>
                  <a:lnTo>
                    <a:pt x="2398" y="2188"/>
                  </a:lnTo>
                  <a:lnTo>
                    <a:pt x="2418" y="2190"/>
                  </a:lnTo>
                  <a:lnTo>
                    <a:pt x="2436" y="2192"/>
                  </a:lnTo>
                  <a:lnTo>
                    <a:pt x="2456" y="2198"/>
                  </a:lnTo>
                  <a:lnTo>
                    <a:pt x="2474" y="2204"/>
                  </a:lnTo>
                  <a:lnTo>
                    <a:pt x="2492" y="2212"/>
                  </a:lnTo>
                  <a:lnTo>
                    <a:pt x="2508" y="2222"/>
                  </a:lnTo>
                  <a:lnTo>
                    <a:pt x="2522" y="2234"/>
                  </a:lnTo>
                  <a:lnTo>
                    <a:pt x="2536" y="2246"/>
                  </a:lnTo>
                  <a:lnTo>
                    <a:pt x="2550" y="2260"/>
                  </a:lnTo>
                  <a:lnTo>
                    <a:pt x="2560" y="2276"/>
                  </a:lnTo>
                  <a:lnTo>
                    <a:pt x="2570" y="2292"/>
                  </a:lnTo>
                  <a:lnTo>
                    <a:pt x="2578" y="2308"/>
                  </a:lnTo>
                  <a:lnTo>
                    <a:pt x="2586" y="2326"/>
                  </a:lnTo>
                  <a:lnTo>
                    <a:pt x="2590" y="2346"/>
                  </a:lnTo>
                  <a:lnTo>
                    <a:pt x="2592" y="2364"/>
                  </a:lnTo>
                  <a:lnTo>
                    <a:pt x="2594" y="2384"/>
                  </a:lnTo>
                  <a:lnTo>
                    <a:pt x="2594" y="2384"/>
                  </a:lnTo>
                  <a:lnTo>
                    <a:pt x="2592" y="2406"/>
                  </a:lnTo>
                  <a:lnTo>
                    <a:pt x="2590" y="2424"/>
                  </a:lnTo>
                  <a:lnTo>
                    <a:pt x="2586" y="2444"/>
                  </a:lnTo>
                  <a:lnTo>
                    <a:pt x="2578" y="2462"/>
                  </a:lnTo>
                  <a:lnTo>
                    <a:pt x="2570" y="2478"/>
                  </a:lnTo>
                  <a:lnTo>
                    <a:pt x="2560" y="2494"/>
                  </a:lnTo>
                  <a:lnTo>
                    <a:pt x="2550" y="2510"/>
                  </a:lnTo>
                  <a:lnTo>
                    <a:pt x="2536" y="2524"/>
                  </a:lnTo>
                  <a:lnTo>
                    <a:pt x="2522" y="2536"/>
                  </a:lnTo>
                  <a:lnTo>
                    <a:pt x="2508" y="2548"/>
                  </a:lnTo>
                  <a:lnTo>
                    <a:pt x="2492" y="2558"/>
                  </a:lnTo>
                  <a:lnTo>
                    <a:pt x="2474" y="2566"/>
                  </a:lnTo>
                  <a:lnTo>
                    <a:pt x="2456" y="2572"/>
                  </a:lnTo>
                  <a:lnTo>
                    <a:pt x="2436" y="2578"/>
                  </a:lnTo>
                  <a:lnTo>
                    <a:pt x="2418" y="2580"/>
                  </a:lnTo>
                  <a:lnTo>
                    <a:pt x="2398" y="2582"/>
                  </a:lnTo>
                  <a:lnTo>
                    <a:pt x="2398" y="2582"/>
                  </a:lnTo>
                  <a:close/>
                </a:path>
              </a:pathLst>
            </a:custGeom>
            <a:solidFill>
              <a:srgbClr val="7EB1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237" name="Group 1236"/>
          <p:cNvGrpSpPr/>
          <p:nvPr/>
        </p:nvGrpSpPr>
        <p:grpSpPr>
          <a:xfrm>
            <a:off x="7495733" y="5071013"/>
            <a:ext cx="919429" cy="339254"/>
            <a:chOff x="7057893" y="4732011"/>
            <a:chExt cx="1436818" cy="530162"/>
          </a:xfrm>
        </p:grpSpPr>
        <p:sp>
          <p:nvSpPr>
            <p:cNvPr id="1236" name="Rectangle 1235"/>
            <p:cNvSpPr/>
            <p:nvPr/>
          </p:nvSpPr>
          <p:spPr bwMode="auto">
            <a:xfrm>
              <a:off x="7360767" y="4756776"/>
              <a:ext cx="911364" cy="194233"/>
            </a:xfrm>
            <a:custGeom>
              <a:avLst/>
              <a:gdLst>
                <a:gd name="connsiteX0" fmla="*/ 0 w 841562"/>
                <a:gd name="connsiteY0" fmla="*/ 0 h 194233"/>
                <a:gd name="connsiteX1" fmla="*/ 841562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841562"/>
                <a:gd name="connsiteY0" fmla="*/ 0 h 194233"/>
                <a:gd name="connsiteX1" fmla="*/ 429733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0 w 911364"/>
                <a:gd name="connsiteY4" fmla="*/ 0 h 194233"/>
                <a:gd name="connsiteX0" fmla="*/ 4886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48861 w 911364"/>
                <a:gd name="connsiteY4" fmla="*/ 0 h 194233"/>
                <a:gd name="connsiteX0" fmla="*/ 7678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76781 w 911364"/>
                <a:gd name="connsiteY4" fmla="*/ 0 h 19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64" h="194233">
                  <a:moveTo>
                    <a:pt x="76781" y="0"/>
                  </a:moveTo>
                  <a:lnTo>
                    <a:pt x="429733" y="0"/>
                  </a:lnTo>
                  <a:lnTo>
                    <a:pt x="911364" y="194233"/>
                  </a:lnTo>
                  <a:lnTo>
                    <a:pt x="0" y="194233"/>
                  </a:lnTo>
                  <a:lnTo>
                    <a:pt x="76781" y="0"/>
                  </a:lnTo>
                  <a:close/>
                </a:path>
              </a:pathLst>
            </a:cu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208" name="Group 1207"/>
            <p:cNvGrpSpPr/>
            <p:nvPr/>
          </p:nvGrpSpPr>
          <p:grpSpPr>
            <a:xfrm>
              <a:off x="7057893" y="4732011"/>
              <a:ext cx="1436818" cy="530162"/>
              <a:chOff x="26353675" y="5217211"/>
              <a:chExt cx="1436818" cy="530162"/>
            </a:xfrm>
          </p:grpSpPr>
          <p:sp>
            <p:nvSpPr>
              <p:cNvPr id="1091" name="Freeform 94"/>
              <p:cNvSpPr>
                <a:spLocks noEditPoints="1"/>
              </p:cNvSpPr>
              <p:nvPr/>
            </p:nvSpPr>
            <p:spPr bwMode="auto">
              <a:xfrm>
                <a:off x="26463166" y="5526472"/>
                <a:ext cx="220901" cy="220901"/>
              </a:xfrm>
              <a:custGeom>
                <a:avLst/>
                <a:gdLst>
                  <a:gd name="T0" fmla="*/ 173 w 345"/>
                  <a:gd name="T1" fmla="*/ 0 h 343"/>
                  <a:gd name="T2" fmla="*/ 138 w 345"/>
                  <a:gd name="T3" fmla="*/ 2 h 343"/>
                  <a:gd name="T4" fmla="*/ 106 w 345"/>
                  <a:gd name="T5" fmla="*/ 13 h 343"/>
                  <a:gd name="T6" fmla="*/ 76 w 345"/>
                  <a:gd name="T7" fmla="*/ 29 h 343"/>
                  <a:gd name="T8" fmla="*/ 51 w 345"/>
                  <a:gd name="T9" fmla="*/ 49 h 343"/>
                  <a:gd name="T10" fmla="*/ 30 w 345"/>
                  <a:gd name="T11" fmla="*/ 75 h 343"/>
                  <a:gd name="T12" fmla="*/ 14 w 345"/>
                  <a:gd name="T13" fmla="*/ 104 h 343"/>
                  <a:gd name="T14" fmla="*/ 4 w 345"/>
                  <a:gd name="T15" fmla="*/ 137 h 343"/>
                  <a:gd name="T16" fmla="*/ 0 w 345"/>
                  <a:gd name="T17" fmla="*/ 172 h 343"/>
                  <a:gd name="T18" fmla="*/ 2 w 345"/>
                  <a:gd name="T19" fmla="*/ 190 h 343"/>
                  <a:gd name="T20" fmla="*/ 8 w 345"/>
                  <a:gd name="T21" fmla="*/ 223 h 343"/>
                  <a:gd name="T22" fmla="*/ 22 w 345"/>
                  <a:gd name="T23" fmla="*/ 254 h 343"/>
                  <a:gd name="T24" fmla="*/ 39 w 345"/>
                  <a:gd name="T25" fmla="*/ 280 h 343"/>
                  <a:gd name="T26" fmla="*/ 63 w 345"/>
                  <a:gd name="T27" fmla="*/ 305 h 343"/>
                  <a:gd name="T28" fmla="*/ 91 w 345"/>
                  <a:gd name="T29" fmla="*/ 323 h 343"/>
                  <a:gd name="T30" fmla="*/ 122 w 345"/>
                  <a:gd name="T31" fmla="*/ 337 h 343"/>
                  <a:gd name="T32" fmla="*/ 155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6 w 345"/>
                  <a:gd name="T45" fmla="*/ 268 h 343"/>
                  <a:gd name="T46" fmla="*/ 332 w 345"/>
                  <a:gd name="T47" fmla="*/ 239 h 343"/>
                  <a:gd name="T48" fmla="*/ 341 w 345"/>
                  <a:gd name="T49" fmla="*/ 206 h 343"/>
                  <a:gd name="T50" fmla="*/ 345 w 345"/>
                  <a:gd name="T51" fmla="*/ 172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3 w 345"/>
                  <a:gd name="T65" fmla="*/ 6 h 343"/>
                  <a:gd name="T66" fmla="*/ 190 w 345"/>
                  <a:gd name="T67" fmla="*/ 0 h 343"/>
                  <a:gd name="T68" fmla="*/ 173 w 345"/>
                  <a:gd name="T69" fmla="*/ 0 h 343"/>
                  <a:gd name="T70" fmla="*/ 173 w 345"/>
                  <a:gd name="T71" fmla="*/ 244 h 343"/>
                  <a:gd name="T72" fmla="*/ 145 w 345"/>
                  <a:gd name="T73" fmla="*/ 238 h 343"/>
                  <a:gd name="T74" fmla="*/ 121 w 345"/>
                  <a:gd name="T75" fmla="*/ 223 h 343"/>
                  <a:gd name="T76" fmla="*/ 106 w 345"/>
                  <a:gd name="T77" fmla="*/ 199 h 343"/>
                  <a:gd name="T78" fmla="*/ 101 w 345"/>
                  <a:gd name="T79" fmla="*/ 171 h 343"/>
                  <a:gd name="T80" fmla="*/ 102 w 345"/>
                  <a:gd name="T81" fmla="*/ 156 h 343"/>
                  <a:gd name="T82" fmla="*/ 113 w 345"/>
                  <a:gd name="T83" fmla="*/ 131 h 343"/>
                  <a:gd name="T84" fmla="*/ 133 w 345"/>
                  <a:gd name="T85" fmla="*/ 111 h 343"/>
                  <a:gd name="T86" fmla="*/ 158 w 345"/>
                  <a:gd name="T87" fmla="*/ 100 h 343"/>
                  <a:gd name="T88" fmla="*/ 173 w 345"/>
                  <a:gd name="T89" fmla="*/ 99 h 343"/>
                  <a:gd name="T90" fmla="*/ 201 w 345"/>
                  <a:gd name="T91" fmla="*/ 104 h 343"/>
                  <a:gd name="T92" fmla="*/ 223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5" y="0"/>
                    </a:lnTo>
                    <a:lnTo>
                      <a:pt x="138" y="2"/>
                    </a:lnTo>
                    <a:lnTo>
                      <a:pt x="122" y="6"/>
                    </a:lnTo>
                    <a:lnTo>
                      <a:pt x="106" y="13"/>
                    </a:lnTo>
                    <a:lnTo>
                      <a:pt x="91" y="20"/>
                    </a:lnTo>
                    <a:lnTo>
                      <a:pt x="76" y="29"/>
                    </a:lnTo>
                    <a:lnTo>
                      <a:pt x="63" y="39"/>
                    </a:lnTo>
                    <a:lnTo>
                      <a:pt x="51" y="49"/>
                    </a:lnTo>
                    <a:lnTo>
                      <a:pt x="39" y="63"/>
                    </a:lnTo>
                    <a:lnTo>
                      <a:pt x="30" y="75"/>
                    </a:lnTo>
                    <a:lnTo>
                      <a:pt x="22" y="89"/>
                    </a:lnTo>
                    <a:lnTo>
                      <a:pt x="14" y="104"/>
                    </a:lnTo>
                    <a:lnTo>
                      <a:pt x="8" y="120"/>
                    </a:lnTo>
                    <a:lnTo>
                      <a:pt x="4" y="137"/>
                    </a:lnTo>
                    <a:lnTo>
                      <a:pt x="2" y="153"/>
                    </a:lnTo>
                    <a:lnTo>
                      <a:pt x="0" y="172"/>
                    </a:lnTo>
                    <a:lnTo>
                      <a:pt x="0" y="172"/>
                    </a:lnTo>
                    <a:lnTo>
                      <a:pt x="2" y="190"/>
                    </a:lnTo>
                    <a:lnTo>
                      <a:pt x="4" y="206"/>
                    </a:lnTo>
                    <a:lnTo>
                      <a:pt x="8" y="223"/>
                    </a:lnTo>
                    <a:lnTo>
                      <a:pt x="14" y="239"/>
                    </a:lnTo>
                    <a:lnTo>
                      <a:pt x="22" y="254"/>
                    </a:lnTo>
                    <a:lnTo>
                      <a:pt x="30" y="268"/>
                    </a:lnTo>
                    <a:lnTo>
                      <a:pt x="39" y="280"/>
                    </a:lnTo>
                    <a:lnTo>
                      <a:pt x="51" y="294"/>
                    </a:lnTo>
                    <a:lnTo>
                      <a:pt x="63" y="305"/>
                    </a:lnTo>
                    <a:lnTo>
                      <a:pt x="76" y="314"/>
                    </a:lnTo>
                    <a:lnTo>
                      <a:pt x="91" y="323"/>
                    </a:lnTo>
                    <a:lnTo>
                      <a:pt x="106" y="330"/>
                    </a:lnTo>
                    <a:lnTo>
                      <a:pt x="122" y="337"/>
                    </a:lnTo>
                    <a:lnTo>
                      <a:pt x="138" y="341"/>
                    </a:lnTo>
                    <a:lnTo>
                      <a:pt x="155" y="343"/>
                    </a:lnTo>
                    <a:lnTo>
                      <a:pt x="173" y="343"/>
                    </a:lnTo>
                    <a:lnTo>
                      <a:pt x="173" y="343"/>
                    </a:lnTo>
                    <a:lnTo>
                      <a:pt x="190" y="343"/>
                    </a:lnTo>
                    <a:lnTo>
                      <a:pt x="207" y="341"/>
                    </a:lnTo>
                    <a:lnTo>
                      <a:pt x="223" y="337"/>
                    </a:lnTo>
                    <a:lnTo>
                      <a:pt x="240" y="330"/>
                    </a:lnTo>
                    <a:lnTo>
                      <a:pt x="254" y="323"/>
                    </a:lnTo>
                    <a:lnTo>
                      <a:pt x="269" y="314"/>
                    </a:lnTo>
                    <a:lnTo>
                      <a:pt x="282" y="305"/>
                    </a:lnTo>
                    <a:lnTo>
                      <a:pt x="294" y="294"/>
                    </a:lnTo>
                    <a:lnTo>
                      <a:pt x="305" y="280"/>
                    </a:lnTo>
                    <a:lnTo>
                      <a:pt x="316" y="268"/>
                    </a:lnTo>
                    <a:lnTo>
                      <a:pt x="324" y="254"/>
                    </a:lnTo>
                    <a:lnTo>
                      <a:pt x="332" y="239"/>
                    </a:lnTo>
                    <a:lnTo>
                      <a:pt x="337" y="223"/>
                    </a:lnTo>
                    <a:lnTo>
                      <a:pt x="341" y="206"/>
                    </a:lnTo>
                    <a:lnTo>
                      <a:pt x="344" y="190"/>
                    </a:lnTo>
                    <a:lnTo>
                      <a:pt x="345" y="172"/>
                    </a:lnTo>
                    <a:lnTo>
                      <a:pt x="345" y="172"/>
                    </a:lnTo>
                    <a:lnTo>
                      <a:pt x="344" y="153"/>
                    </a:lnTo>
                    <a:lnTo>
                      <a:pt x="341" y="137"/>
                    </a:lnTo>
                    <a:lnTo>
                      <a:pt x="337" y="120"/>
                    </a:lnTo>
                    <a:lnTo>
                      <a:pt x="332" y="104"/>
                    </a:lnTo>
                    <a:lnTo>
                      <a:pt x="324" y="89"/>
                    </a:lnTo>
                    <a:lnTo>
                      <a:pt x="316" y="75"/>
                    </a:lnTo>
                    <a:lnTo>
                      <a:pt x="305" y="63"/>
                    </a:lnTo>
                    <a:lnTo>
                      <a:pt x="294" y="49"/>
                    </a:lnTo>
                    <a:lnTo>
                      <a:pt x="282" y="39"/>
                    </a:lnTo>
                    <a:lnTo>
                      <a:pt x="269" y="29"/>
                    </a:lnTo>
                    <a:lnTo>
                      <a:pt x="254" y="20"/>
                    </a:lnTo>
                    <a:lnTo>
                      <a:pt x="240" y="13"/>
                    </a:lnTo>
                    <a:lnTo>
                      <a:pt x="223" y="6"/>
                    </a:lnTo>
                    <a:lnTo>
                      <a:pt x="207" y="2"/>
                    </a:lnTo>
                    <a:lnTo>
                      <a:pt x="190" y="0"/>
                    </a:lnTo>
                    <a:lnTo>
                      <a:pt x="173" y="0"/>
                    </a:lnTo>
                    <a:lnTo>
                      <a:pt x="173" y="0"/>
                    </a:lnTo>
                    <a:close/>
                    <a:moveTo>
                      <a:pt x="173" y="244"/>
                    </a:moveTo>
                    <a:lnTo>
                      <a:pt x="173" y="244"/>
                    </a:lnTo>
                    <a:lnTo>
                      <a:pt x="158" y="242"/>
                    </a:lnTo>
                    <a:lnTo>
                      <a:pt x="145" y="238"/>
                    </a:lnTo>
                    <a:lnTo>
                      <a:pt x="133" y="231"/>
                    </a:lnTo>
                    <a:lnTo>
                      <a:pt x="121" y="223"/>
                    </a:lnTo>
                    <a:lnTo>
                      <a:pt x="113" y="212"/>
                    </a:lnTo>
                    <a:lnTo>
                      <a:pt x="106" y="199"/>
                    </a:lnTo>
                    <a:lnTo>
                      <a:pt x="102" y="186"/>
                    </a:lnTo>
                    <a:lnTo>
                      <a:pt x="101" y="171"/>
                    </a:lnTo>
                    <a:lnTo>
                      <a:pt x="101" y="171"/>
                    </a:lnTo>
                    <a:lnTo>
                      <a:pt x="102" y="156"/>
                    </a:lnTo>
                    <a:lnTo>
                      <a:pt x="106" y="143"/>
                    </a:lnTo>
                    <a:lnTo>
                      <a:pt x="113" y="131"/>
                    </a:lnTo>
                    <a:lnTo>
                      <a:pt x="121" y="120"/>
                    </a:lnTo>
                    <a:lnTo>
                      <a:pt x="133" y="111"/>
                    </a:lnTo>
                    <a:lnTo>
                      <a:pt x="145" y="104"/>
                    </a:lnTo>
                    <a:lnTo>
                      <a:pt x="158" y="100"/>
                    </a:lnTo>
                    <a:lnTo>
                      <a:pt x="173" y="99"/>
                    </a:lnTo>
                    <a:lnTo>
                      <a:pt x="173" y="99"/>
                    </a:lnTo>
                    <a:lnTo>
                      <a:pt x="187" y="100"/>
                    </a:lnTo>
                    <a:lnTo>
                      <a:pt x="201" y="104"/>
                    </a:lnTo>
                    <a:lnTo>
                      <a:pt x="213" y="111"/>
                    </a:lnTo>
                    <a:lnTo>
                      <a:pt x="223" y="120"/>
                    </a:lnTo>
                    <a:lnTo>
                      <a:pt x="233" y="131"/>
                    </a:lnTo>
                    <a:lnTo>
                      <a:pt x="240" y="143"/>
                    </a:lnTo>
                    <a:lnTo>
                      <a:pt x="244" y="156"/>
                    </a:lnTo>
                    <a:lnTo>
                      <a:pt x="245" y="171"/>
                    </a:lnTo>
                    <a:lnTo>
                      <a:pt x="245" y="171"/>
                    </a:lnTo>
                    <a:lnTo>
                      <a:pt x="244" y="186"/>
                    </a:lnTo>
                    <a:lnTo>
                      <a:pt x="240" y="199"/>
                    </a:lnTo>
                    <a:lnTo>
                      <a:pt x="233" y="212"/>
                    </a:lnTo>
                    <a:lnTo>
                      <a:pt x="223"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92" name="Freeform 95"/>
              <p:cNvSpPr>
                <a:spLocks noEditPoints="1"/>
              </p:cNvSpPr>
              <p:nvPr/>
            </p:nvSpPr>
            <p:spPr bwMode="auto">
              <a:xfrm>
                <a:off x="27433211" y="5526472"/>
                <a:ext cx="220901" cy="220901"/>
              </a:xfrm>
              <a:custGeom>
                <a:avLst/>
                <a:gdLst>
                  <a:gd name="T0" fmla="*/ 173 w 345"/>
                  <a:gd name="T1" fmla="*/ 0 h 343"/>
                  <a:gd name="T2" fmla="*/ 138 w 345"/>
                  <a:gd name="T3" fmla="*/ 2 h 343"/>
                  <a:gd name="T4" fmla="*/ 105 w 345"/>
                  <a:gd name="T5" fmla="*/ 13 h 343"/>
                  <a:gd name="T6" fmla="*/ 76 w 345"/>
                  <a:gd name="T7" fmla="*/ 29 h 343"/>
                  <a:gd name="T8" fmla="*/ 50 w 345"/>
                  <a:gd name="T9" fmla="*/ 49 h 343"/>
                  <a:gd name="T10" fmla="*/ 30 w 345"/>
                  <a:gd name="T11" fmla="*/ 75 h 343"/>
                  <a:gd name="T12" fmla="*/ 14 w 345"/>
                  <a:gd name="T13" fmla="*/ 104 h 343"/>
                  <a:gd name="T14" fmla="*/ 3 w 345"/>
                  <a:gd name="T15" fmla="*/ 137 h 343"/>
                  <a:gd name="T16" fmla="*/ 0 w 345"/>
                  <a:gd name="T17" fmla="*/ 171 h 343"/>
                  <a:gd name="T18" fmla="*/ 0 w 345"/>
                  <a:gd name="T19" fmla="*/ 190 h 343"/>
                  <a:gd name="T20" fmla="*/ 8 w 345"/>
                  <a:gd name="T21" fmla="*/ 223 h 343"/>
                  <a:gd name="T22" fmla="*/ 20 w 345"/>
                  <a:gd name="T23" fmla="*/ 254 h 343"/>
                  <a:gd name="T24" fmla="*/ 39 w 345"/>
                  <a:gd name="T25" fmla="*/ 280 h 343"/>
                  <a:gd name="T26" fmla="*/ 63 w 345"/>
                  <a:gd name="T27" fmla="*/ 305 h 343"/>
                  <a:gd name="T28" fmla="*/ 90 w 345"/>
                  <a:gd name="T29" fmla="*/ 323 h 343"/>
                  <a:gd name="T30" fmla="*/ 121 w 345"/>
                  <a:gd name="T31" fmla="*/ 337 h 343"/>
                  <a:gd name="T32" fmla="*/ 154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4 w 345"/>
                  <a:gd name="T45" fmla="*/ 268 h 343"/>
                  <a:gd name="T46" fmla="*/ 330 w 345"/>
                  <a:gd name="T47" fmla="*/ 239 h 343"/>
                  <a:gd name="T48" fmla="*/ 341 w 345"/>
                  <a:gd name="T49" fmla="*/ 206 h 343"/>
                  <a:gd name="T50" fmla="*/ 345 w 345"/>
                  <a:gd name="T51" fmla="*/ 171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4 w 345"/>
                  <a:gd name="T65" fmla="*/ 6 h 343"/>
                  <a:gd name="T66" fmla="*/ 190 w 345"/>
                  <a:gd name="T67" fmla="*/ 0 h 343"/>
                  <a:gd name="T68" fmla="*/ 173 w 345"/>
                  <a:gd name="T69" fmla="*/ 0 h 343"/>
                  <a:gd name="T70" fmla="*/ 173 w 345"/>
                  <a:gd name="T71" fmla="*/ 244 h 343"/>
                  <a:gd name="T72" fmla="*/ 143 w 345"/>
                  <a:gd name="T73" fmla="*/ 238 h 343"/>
                  <a:gd name="T74" fmla="*/ 121 w 345"/>
                  <a:gd name="T75" fmla="*/ 223 h 343"/>
                  <a:gd name="T76" fmla="*/ 106 w 345"/>
                  <a:gd name="T77" fmla="*/ 199 h 343"/>
                  <a:gd name="T78" fmla="*/ 99 w 345"/>
                  <a:gd name="T79" fmla="*/ 171 h 343"/>
                  <a:gd name="T80" fmla="*/ 101 w 345"/>
                  <a:gd name="T81" fmla="*/ 156 h 343"/>
                  <a:gd name="T82" fmla="*/ 113 w 345"/>
                  <a:gd name="T83" fmla="*/ 131 h 343"/>
                  <a:gd name="T84" fmla="*/ 131 w 345"/>
                  <a:gd name="T85" fmla="*/ 111 h 343"/>
                  <a:gd name="T86" fmla="*/ 158 w 345"/>
                  <a:gd name="T87" fmla="*/ 100 h 343"/>
                  <a:gd name="T88" fmla="*/ 173 w 345"/>
                  <a:gd name="T89" fmla="*/ 99 h 343"/>
                  <a:gd name="T90" fmla="*/ 201 w 345"/>
                  <a:gd name="T91" fmla="*/ 104 h 343"/>
                  <a:gd name="T92" fmla="*/ 224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4" y="0"/>
                    </a:lnTo>
                    <a:lnTo>
                      <a:pt x="138" y="2"/>
                    </a:lnTo>
                    <a:lnTo>
                      <a:pt x="121" y="6"/>
                    </a:lnTo>
                    <a:lnTo>
                      <a:pt x="105" y="13"/>
                    </a:lnTo>
                    <a:lnTo>
                      <a:pt x="90" y="20"/>
                    </a:lnTo>
                    <a:lnTo>
                      <a:pt x="76" y="29"/>
                    </a:lnTo>
                    <a:lnTo>
                      <a:pt x="63" y="39"/>
                    </a:lnTo>
                    <a:lnTo>
                      <a:pt x="50" y="49"/>
                    </a:lnTo>
                    <a:lnTo>
                      <a:pt x="39" y="63"/>
                    </a:lnTo>
                    <a:lnTo>
                      <a:pt x="30" y="75"/>
                    </a:lnTo>
                    <a:lnTo>
                      <a:pt x="20" y="89"/>
                    </a:lnTo>
                    <a:lnTo>
                      <a:pt x="14" y="104"/>
                    </a:lnTo>
                    <a:lnTo>
                      <a:pt x="8" y="120"/>
                    </a:lnTo>
                    <a:lnTo>
                      <a:pt x="3" y="137"/>
                    </a:lnTo>
                    <a:lnTo>
                      <a:pt x="0" y="153"/>
                    </a:lnTo>
                    <a:lnTo>
                      <a:pt x="0" y="171"/>
                    </a:lnTo>
                    <a:lnTo>
                      <a:pt x="0" y="171"/>
                    </a:lnTo>
                    <a:lnTo>
                      <a:pt x="0" y="190"/>
                    </a:lnTo>
                    <a:lnTo>
                      <a:pt x="3" y="206"/>
                    </a:lnTo>
                    <a:lnTo>
                      <a:pt x="8" y="223"/>
                    </a:lnTo>
                    <a:lnTo>
                      <a:pt x="14" y="239"/>
                    </a:lnTo>
                    <a:lnTo>
                      <a:pt x="20" y="254"/>
                    </a:lnTo>
                    <a:lnTo>
                      <a:pt x="30" y="268"/>
                    </a:lnTo>
                    <a:lnTo>
                      <a:pt x="39" y="280"/>
                    </a:lnTo>
                    <a:lnTo>
                      <a:pt x="50" y="294"/>
                    </a:lnTo>
                    <a:lnTo>
                      <a:pt x="63" y="305"/>
                    </a:lnTo>
                    <a:lnTo>
                      <a:pt x="76" y="314"/>
                    </a:lnTo>
                    <a:lnTo>
                      <a:pt x="90" y="323"/>
                    </a:lnTo>
                    <a:lnTo>
                      <a:pt x="105" y="330"/>
                    </a:lnTo>
                    <a:lnTo>
                      <a:pt x="121" y="337"/>
                    </a:lnTo>
                    <a:lnTo>
                      <a:pt x="138" y="341"/>
                    </a:lnTo>
                    <a:lnTo>
                      <a:pt x="154" y="343"/>
                    </a:lnTo>
                    <a:lnTo>
                      <a:pt x="173" y="343"/>
                    </a:lnTo>
                    <a:lnTo>
                      <a:pt x="173" y="343"/>
                    </a:lnTo>
                    <a:lnTo>
                      <a:pt x="190" y="343"/>
                    </a:lnTo>
                    <a:lnTo>
                      <a:pt x="207" y="341"/>
                    </a:lnTo>
                    <a:lnTo>
                      <a:pt x="224" y="337"/>
                    </a:lnTo>
                    <a:lnTo>
                      <a:pt x="240" y="330"/>
                    </a:lnTo>
                    <a:lnTo>
                      <a:pt x="254" y="323"/>
                    </a:lnTo>
                    <a:lnTo>
                      <a:pt x="269" y="314"/>
                    </a:lnTo>
                    <a:lnTo>
                      <a:pt x="282" y="305"/>
                    </a:lnTo>
                    <a:lnTo>
                      <a:pt x="294" y="294"/>
                    </a:lnTo>
                    <a:lnTo>
                      <a:pt x="305" y="280"/>
                    </a:lnTo>
                    <a:lnTo>
                      <a:pt x="314" y="268"/>
                    </a:lnTo>
                    <a:lnTo>
                      <a:pt x="324" y="254"/>
                    </a:lnTo>
                    <a:lnTo>
                      <a:pt x="330" y="239"/>
                    </a:lnTo>
                    <a:lnTo>
                      <a:pt x="337" y="223"/>
                    </a:lnTo>
                    <a:lnTo>
                      <a:pt x="341" y="206"/>
                    </a:lnTo>
                    <a:lnTo>
                      <a:pt x="344" y="190"/>
                    </a:lnTo>
                    <a:lnTo>
                      <a:pt x="345" y="171"/>
                    </a:lnTo>
                    <a:lnTo>
                      <a:pt x="345" y="171"/>
                    </a:lnTo>
                    <a:lnTo>
                      <a:pt x="344" y="153"/>
                    </a:lnTo>
                    <a:lnTo>
                      <a:pt x="341" y="137"/>
                    </a:lnTo>
                    <a:lnTo>
                      <a:pt x="337" y="120"/>
                    </a:lnTo>
                    <a:lnTo>
                      <a:pt x="330" y="104"/>
                    </a:lnTo>
                    <a:lnTo>
                      <a:pt x="324" y="89"/>
                    </a:lnTo>
                    <a:lnTo>
                      <a:pt x="314" y="75"/>
                    </a:lnTo>
                    <a:lnTo>
                      <a:pt x="305" y="63"/>
                    </a:lnTo>
                    <a:lnTo>
                      <a:pt x="294" y="49"/>
                    </a:lnTo>
                    <a:lnTo>
                      <a:pt x="282" y="39"/>
                    </a:lnTo>
                    <a:lnTo>
                      <a:pt x="269" y="29"/>
                    </a:lnTo>
                    <a:lnTo>
                      <a:pt x="254" y="20"/>
                    </a:lnTo>
                    <a:lnTo>
                      <a:pt x="240" y="13"/>
                    </a:lnTo>
                    <a:lnTo>
                      <a:pt x="224" y="6"/>
                    </a:lnTo>
                    <a:lnTo>
                      <a:pt x="207" y="2"/>
                    </a:lnTo>
                    <a:lnTo>
                      <a:pt x="190" y="0"/>
                    </a:lnTo>
                    <a:lnTo>
                      <a:pt x="173" y="0"/>
                    </a:lnTo>
                    <a:lnTo>
                      <a:pt x="173" y="0"/>
                    </a:lnTo>
                    <a:close/>
                    <a:moveTo>
                      <a:pt x="173" y="244"/>
                    </a:moveTo>
                    <a:lnTo>
                      <a:pt x="173" y="244"/>
                    </a:lnTo>
                    <a:lnTo>
                      <a:pt x="158" y="242"/>
                    </a:lnTo>
                    <a:lnTo>
                      <a:pt x="143" y="238"/>
                    </a:lnTo>
                    <a:lnTo>
                      <a:pt x="131" y="231"/>
                    </a:lnTo>
                    <a:lnTo>
                      <a:pt x="121" y="223"/>
                    </a:lnTo>
                    <a:lnTo>
                      <a:pt x="113" y="212"/>
                    </a:lnTo>
                    <a:lnTo>
                      <a:pt x="106" y="199"/>
                    </a:lnTo>
                    <a:lnTo>
                      <a:pt x="101" y="186"/>
                    </a:lnTo>
                    <a:lnTo>
                      <a:pt x="99" y="171"/>
                    </a:lnTo>
                    <a:lnTo>
                      <a:pt x="99" y="171"/>
                    </a:lnTo>
                    <a:lnTo>
                      <a:pt x="101" y="156"/>
                    </a:lnTo>
                    <a:lnTo>
                      <a:pt x="105" y="143"/>
                    </a:lnTo>
                    <a:lnTo>
                      <a:pt x="113" y="131"/>
                    </a:lnTo>
                    <a:lnTo>
                      <a:pt x="121" y="120"/>
                    </a:lnTo>
                    <a:lnTo>
                      <a:pt x="131" y="111"/>
                    </a:lnTo>
                    <a:lnTo>
                      <a:pt x="143" y="104"/>
                    </a:lnTo>
                    <a:lnTo>
                      <a:pt x="158" y="100"/>
                    </a:lnTo>
                    <a:lnTo>
                      <a:pt x="173" y="99"/>
                    </a:lnTo>
                    <a:lnTo>
                      <a:pt x="173" y="99"/>
                    </a:lnTo>
                    <a:lnTo>
                      <a:pt x="187" y="100"/>
                    </a:lnTo>
                    <a:lnTo>
                      <a:pt x="201" y="104"/>
                    </a:lnTo>
                    <a:lnTo>
                      <a:pt x="213" y="111"/>
                    </a:lnTo>
                    <a:lnTo>
                      <a:pt x="224" y="120"/>
                    </a:lnTo>
                    <a:lnTo>
                      <a:pt x="233" y="131"/>
                    </a:lnTo>
                    <a:lnTo>
                      <a:pt x="240" y="143"/>
                    </a:lnTo>
                    <a:lnTo>
                      <a:pt x="244" y="156"/>
                    </a:lnTo>
                    <a:lnTo>
                      <a:pt x="245" y="171"/>
                    </a:lnTo>
                    <a:lnTo>
                      <a:pt x="245" y="171"/>
                    </a:lnTo>
                    <a:lnTo>
                      <a:pt x="244" y="186"/>
                    </a:lnTo>
                    <a:lnTo>
                      <a:pt x="240" y="199"/>
                    </a:lnTo>
                    <a:lnTo>
                      <a:pt x="233" y="212"/>
                    </a:lnTo>
                    <a:lnTo>
                      <a:pt x="224" y="223"/>
                    </a:lnTo>
                    <a:lnTo>
                      <a:pt x="213" y="231"/>
                    </a:lnTo>
                    <a:lnTo>
                      <a:pt x="201" y="238"/>
                    </a:lnTo>
                    <a:lnTo>
                      <a:pt x="187" y="242"/>
                    </a:lnTo>
                    <a:lnTo>
                      <a:pt x="173" y="244"/>
                    </a:lnTo>
                    <a:lnTo>
                      <a:pt x="173" y="2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93" name="Freeform 96"/>
              <p:cNvSpPr>
                <a:spLocks noEditPoints="1"/>
              </p:cNvSpPr>
              <p:nvPr/>
            </p:nvSpPr>
            <p:spPr bwMode="auto">
              <a:xfrm>
                <a:off x="26353675" y="5217211"/>
                <a:ext cx="1436818" cy="453328"/>
              </a:xfrm>
              <a:custGeom>
                <a:avLst/>
                <a:gdLst>
                  <a:gd name="T0" fmla="*/ 1617 w 2244"/>
                  <a:gd name="T1" fmla="*/ 175 h 707"/>
                  <a:gd name="T2" fmla="*/ 1302 w 2244"/>
                  <a:gd name="T3" fmla="*/ 44 h 707"/>
                  <a:gd name="T4" fmla="*/ 1200 w 2244"/>
                  <a:gd name="T5" fmla="*/ 12 h 707"/>
                  <a:gd name="T6" fmla="*/ 1049 w 2244"/>
                  <a:gd name="T7" fmla="*/ 0 h 707"/>
                  <a:gd name="T8" fmla="*/ 743 w 2244"/>
                  <a:gd name="T9" fmla="*/ 11 h 707"/>
                  <a:gd name="T10" fmla="*/ 591 w 2244"/>
                  <a:gd name="T11" fmla="*/ 28 h 707"/>
                  <a:gd name="T12" fmla="*/ 296 w 2244"/>
                  <a:gd name="T13" fmla="*/ 166 h 707"/>
                  <a:gd name="T14" fmla="*/ 0 w 2244"/>
                  <a:gd name="T15" fmla="*/ 553 h 707"/>
                  <a:gd name="T16" fmla="*/ 8 w 2244"/>
                  <a:gd name="T17" fmla="*/ 707 h 707"/>
                  <a:gd name="T18" fmla="*/ 137 w 2244"/>
                  <a:gd name="T19" fmla="*/ 635 h 707"/>
                  <a:gd name="T20" fmla="*/ 161 w 2244"/>
                  <a:gd name="T21" fmla="*/ 556 h 707"/>
                  <a:gd name="T22" fmla="*/ 211 w 2244"/>
                  <a:gd name="T23" fmla="*/ 494 h 707"/>
                  <a:gd name="T24" fmla="*/ 282 w 2244"/>
                  <a:gd name="T25" fmla="*/ 456 h 707"/>
                  <a:gd name="T26" fmla="*/ 344 w 2244"/>
                  <a:gd name="T27" fmla="*/ 446 h 707"/>
                  <a:gd name="T28" fmla="*/ 425 w 2244"/>
                  <a:gd name="T29" fmla="*/ 464 h 707"/>
                  <a:gd name="T30" fmla="*/ 491 w 2244"/>
                  <a:gd name="T31" fmla="*/ 508 h 707"/>
                  <a:gd name="T32" fmla="*/ 536 w 2244"/>
                  <a:gd name="T33" fmla="*/ 575 h 707"/>
                  <a:gd name="T34" fmla="*/ 552 w 2244"/>
                  <a:gd name="T35" fmla="*/ 656 h 707"/>
                  <a:gd name="T36" fmla="*/ 1648 w 2244"/>
                  <a:gd name="T37" fmla="*/ 643 h 707"/>
                  <a:gd name="T38" fmla="*/ 1663 w 2244"/>
                  <a:gd name="T39" fmla="*/ 563 h 707"/>
                  <a:gd name="T40" fmla="*/ 1706 w 2244"/>
                  <a:gd name="T41" fmla="*/ 500 h 707"/>
                  <a:gd name="T42" fmla="*/ 1770 w 2244"/>
                  <a:gd name="T43" fmla="*/ 457 h 707"/>
                  <a:gd name="T44" fmla="*/ 1850 w 2244"/>
                  <a:gd name="T45" fmla="*/ 442 h 707"/>
                  <a:gd name="T46" fmla="*/ 1913 w 2244"/>
                  <a:gd name="T47" fmla="*/ 450 h 707"/>
                  <a:gd name="T48" fmla="*/ 1985 w 2244"/>
                  <a:gd name="T49" fmla="*/ 486 h 707"/>
                  <a:gd name="T50" fmla="*/ 2039 w 2244"/>
                  <a:gd name="T51" fmla="*/ 545 h 707"/>
                  <a:gd name="T52" fmla="*/ 2064 w 2244"/>
                  <a:gd name="T53" fmla="*/ 621 h 707"/>
                  <a:gd name="T54" fmla="*/ 2091 w 2244"/>
                  <a:gd name="T55" fmla="*/ 703 h 707"/>
                  <a:gd name="T56" fmla="*/ 2223 w 2244"/>
                  <a:gd name="T57" fmla="*/ 698 h 707"/>
                  <a:gd name="T58" fmla="*/ 2244 w 2244"/>
                  <a:gd name="T59" fmla="*/ 658 h 707"/>
                  <a:gd name="T60" fmla="*/ 2234 w 2244"/>
                  <a:gd name="T61" fmla="*/ 523 h 707"/>
                  <a:gd name="T62" fmla="*/ 2204 w 2244"/>
                  <a:gd name="T63" fmla="*/ 428 h 707"/>
                  <a:gd name="T64" fmla="*/ 2178 w 2244"/>
                  <a:gd name="T65" fmla="*/ 392 h 707"/>
                  <a:gd name="T66" fmla="*/ 2111 w 2244"/>
                  <a:gd name="T67" fmla="*/ 346 h 707"/>
                  <a:gd name="T68" fmla="*/ 2017 w 2244"/>
                  <a:gd name="T69" fmla="*/ 306 h 707"/>
                  <a:gd name="T70" fmla="*/ 1759 w 2244"/>
                  <a:gd name="T71" fmla="*/ 239 h 707"/>
                  <a:gd name="T72" fmla="*/ 588 w 2244"/>
                  <a:gd name="T73" fmla="*/ 251 h 707"/>
                  <a:gd name="T74" fmla="*/ 648 w 2244"/>
                  <a:gd name="T75" fmla="*/ 156 h 707"/>
                  <a:gd name="T76" fmla="*/ 691 w 2244"/>
                  <a:gd name="T77" fmla="*/ 114 h 707"/>
                  <a:gd name="T78" fmla="*/ 733 w 2244"/>
                  <a:gd name="T79" fmla="*/ 96 h 707"/>
                  <a:gd name="T80" fmla="*/ 848 w 2244"/>
                  <a:gd name="T81" fmla="*/ 82 h 707"/>
                  <a:gd name="T82" fmla="*/ 980 w 2244"/>
                  <a:gd name="T83" fmla="*/ 297 h 707"/>
                  <a:gd name="T84" fmla="*/ 1039 w 2244"/>
                  <a:gd name="T85" fmla="*/ 78 h 707"/>
                  <a:gd name="T86" fmla="*/ 1158 w 2244"/>
                  <a:gd name="T87" fmla="*/ 84 h 707"/>
                  <a:gd name="T88" fmla="*/ 1317 w 2244"/>
                  <a:gd name="T89" fmla="*/ 123 h 707"/>
                  <a:gd name="T90" fmla="*/ 1464 w 2244"/>
                  <a:gd name="T91" fmla="*/ 180 h 707"/>
                  <a:gd name="T92" fmla="*/ 1616 w 2244"/>
                  <a:gd name="T93" fmla="*/ 259 h 707"/>
                  <a:gd name="T94" fmla="*/ 1672 w 2244"/>
                  <a:gd name="T95" fmla="*/ 302 h 707"/>
                  <a:gd name="T96" fmla="*/ 1670 w 2244"/>
                  <a:gd name="T97" fmla="*/ 318 h 707"/>
                  <a:gd name="T98" fmla="*/ 1630 w 2244"/>
                  <a:gd name="T99" fmla="*/ 323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4" h="707">
                    <a:moveTo>
                      <a:pt x="1759" y="239"/>
                    </a:moveTo>
                    <a:lnTo>
                      <a:pt x="1759" y="239"/>
                    </a:lnTo>
                    <a:lnTo>
                      <a:pt x="1691" y="207"/>
                    </a:lnTo>
                    <a:lnTo>
                      <a:pt x="1617" y="175"/>
                    </a:lnTo>
                    <a:lnTo>
                      <a:pt x="1531" y="136"/>
                    </a:lnTo>
                    <a:lnTo>
                      <a:pt x="1437" y="96"/>
                    </a:lnTo>
                    <a:lnTo>
                      <a:pt x="1345" y="60"/>
                    </a:lnTo>
                    <a:lnTo>
                      <a:pt x="1302" y="44"/>
                    </a:lnTo>
                    <a:lnTo>
                      <a:pt x="1263" y="31"/>
                    </a:lnTo>
                    <a:lnTo>
                      <a:pt x="1229" y="20"/>
                    </a:lnTo>
                    <a:lnTo>
                      <a:pt x="1200" y="12"/>
                    </a:lnTo>
                    <a:lnTo>
                      <a:pt x="1200" y="12"/>
                    </a:lnTo>
                    <a:lnTo>
                      <a:pt x="1171" y="8"/>
                    </a:lnTo>
                    <a:lnTo>
                      <a:pt x="1136" y="4"/>
                    </a:lnTo>
                    <a:lnTo>
                      <a:pt x="1095" y="1"/>
                    </a:lnTo>
                    <a:lnTo>
                      <a:pt x="1049" y="0"/>
                    </a:lnTo>
                    <a:lnTo>
                      <a:pt x="1000" y="0"/>
                    </a:lnTo>
                    <a:lnTo>
                      <a:pt x="949" y="0"/>
                    </a:lnTo>
                    <a:lnTo>
                      <a:pt x="844" y="4"/>
                    </a:lnTo>
                    <a:lnTo>
                      <a:pt x="743" y="11"/>
                    </a:lnTo>
                    <a:lnTo>
                      <a:pt x="698" y="13"/>
                    </a:lnTo>
                    <a:lnTo>
                      <a:pt x="656" y="19"/>
                    </a:lnTo>
                    <a:lnTo>
                      <a:pt x="620" y="23"/>
                    </a:lnTo>
                    <a:lnTo>
                      <a:pt x="591" y="28"/>
                    </a:lnTo>
                    <a:lnTo>
                      <a:pt x="568" y="33"/>
                    </a:lnTo>
                    <a:lnTo>
                      <a:pt x="562" y="36"/>
                    </a:lnTo>
                    <a:lnTo>
                      <a:pt x="556" y="39"/>
                    </a:lnTo>
                    <a:lnTo>
                      <a:pt x="296" y="166"/>
                    </a:lnTo>
                    <a:lnTo>
                      <a:pt x="42" y="290"/>
                    </a:lnTo>
                    <a:lnTo>
                      <a:pt x="0" y="531"/>
                    </a:lnTo>
                    <a:lnTo>
                      <a:pt x="0" y="531"/>
                    </a:lnTo>
                    <a:lnTo>
                      <a:pt x="0" y="553"/>
                    </a:lnTo>
                    <a:lnTo>
                      <a:pt x="0" y="607"/>
                    </a:lnTo>
                    <a:lnTo>
                      <a:pt x="3" y="666"/>
                    </a:lnTo>
                    <a:lnTo>
                      <a:pt x="6" y="690"/>
                    </a:lnTo>
                    <a:lnTo>
                      <a:pt x="8" y="707"/>
                    </a:lnTo>
                    <a:lnTo>
                      <a:pt x="134" y="707"/>
                    </a:lnTo>
                    <a:lnTo>
                      <a:pt x="135" y="656"/>
                    </a:lnTo>
                    <a:lnTo>
                      <a:pt x="135" y="656"/>
                    </a:lnTo>
                    <a:lnTo>
                      <a:pt x="137" y="635"/>
                    </a:lnTo>
                    <a:lnTo>
                      <a:pt x="139" y="613"/>
                    </a:lnTo>
                    <a:lnTo>
                      <a:pt x="145" y="593"/>
                    </a:lnTo>
                    <a:lnTo>
                      <a:pt x="151" y="575"/>
                    </a:lnTo>
                    <a:lnTo>
                      <a:pt x="161" y="556"/>
                    </a:lnTo>
                    <a:lnTo>
                      <a:pt x="171" y="539"/>
                    </a:lnTo>
                    <a:lnTo>
                      <a:pt x="183" y="523"/>
                    </a:lnTo>
                    <a:lnTo>
                      <a:pt x="197" y="508"/>
                    </a:lnTo>
                    <a:lnTo>
                      <a:pt x="211" y="494"/>
                    </a:lnTo>
                    <a:lnTo>
                      <a:pt x="227" y="482"/>
                    </a:lnTo>
                    <a:lnTo>
                      <a:pt x="245" y="472"/>
                    </a:lnTo>
                    <a:lnTo>
                      <a:pt x="262" y="464"/>
                    </a:lnTo>
                    <a:lnTo>
                      <a:pt x="282" y="456"/>
                    </a:lnTo>
                    <a:lnTo>
                      <a:pt x="302" y="452"/>
                    </a:lnTo>
                    <a:lnTo>
                      <a:pt x="322" y="448"/>
                    </a:lnTo>
                    <a:lnTo>
                      <a:pt x="344" y="446"/>
                    </a:lnTo>
                    <a:lnTo>
                      <a:pt x="344" y="446"/>
                    </a:lnTo>
                    <a:lnTo>
                      <a:pt x="365" y="448"/>
                    </a:lnTo>
                    <a:lnTo>
                      <a:pt x="385" y="452"/>
                    </a:lnTo>
                    <a:lnTo>
                      <a:pt x="405" y="456"/>
                    </a:lnTo>
                    <a:lnTo>
                      <a:pt x="425" y="464"/>
                    </a:lnTo>
                    <a:lnTo>
                      <a:pt x="443" y="472"/>
                    </a:lnTo>
                    <a:lnTo>
                      <a:pt x="460" y="482"/>
                    </a:lnTo>
                    <a:lnTo>
                      <a:pt x="476" y="494"/>
                    </a:lnTo>
                    <a:lnTo>
                      <a:pt x="491" y="508"/>
                    </a:lnTo>
                    <a:lnTo>
                      <a:pt x="504" y="523"/>
                    </a:lnTo>
                    <a:lnTo>
                      <a:pt x="516" y="539"/>
                    </a:lnTo>
                    <a:lnTo>
                      <a:pt x="527" y="556"/>
                    </a:lnTo>
                    <a:lnTo>
                      <a:pt x="536" y="575"/>
                    </a:lnTo>
                    <a:lnTo>
                      <a:pt x="543" y="593"/>
                    </a:lnTo>
                    <a:lnTo>
                      <a:pt x="548" y="613"/>
                    </a:lnTo>
                    <a:lnTo>
                      <a:pt x="551" y="635"/>
                    </a:lnTo>
                    <a:lnTo>
                      <a:pt x="552" y="656"/>
                    </a:lnTo>
                    <a:lnTo>
                      <a:pt x="556" y="707"/>
                    </a:lnTo>
                    <a:lnTo>
                      <a:pt x="1647" y="707"/>
                    </a:lnTo>
                    <a:lnTo>
                      <a:pt x="1648" y="643"/>
                    </a:lnTo>
                    <a:lnTo>
                      <a:pt x="1648" y="643"/>
                    </a:lnTo>
                    <a:lnTo>
                      <a:pt x="1648" y="621"/>
                    </a:lnTo>
                    <a:lnTo>
                      <a:pt x="1652" y="601"/>
                    </a:lnTo>
                    <a:lnTo>
                      <a:pt x="1656" y="581"/>
                    </a:lnTo>
                    <a:lnTo>
                      <a:pt x="1663" y="563"/>
                    </a:lnTo>
                    <a:lnTo>
                      <a:pt x="1671" y="545"/>
                    </a:lnTo>
                    <a:lnTo>
                      <a:pt x="1682" y="528"/>
                    </a:lnTo>
                    <a:lnTo>
                      <a:pt x="1692" y="513"/>
                    </a:lnTo>
                    <a:lnTo>
                      <a:pt x="1706" y="500"/>
                    </a:lnTo>
                    <a:lnTo>
                      <a:pt x="1720" y="486"/>
                    </a:lnTo>
                    <a:lnTo>
                      <a:pt x="1735" y="476"/>
                    </a:lnTo>
                    <a:lnTo>
                      <a:pt x="1752" y="465"/>
                    </a:lnTo>
                    <a:lnTo>
                      <a:pt x="1770" y="457"/>
                    </a:lnTo>
                    <a:lnTo>
                      <a:pt x="1789" y="450"/>
                    </a:lnTo>
                    <a:lnTo>
                      <a:pt x="1809" y="446"/>
                    </a:lnTo>
                    <a:lnTo>
                      <a:pt x="1829" y="444"/>
                    </a:lnTo>
                    <a:lnTo>
                      <a:pt x="1850" y="442"/>
                    </a:lnTo>
                    <a:lnTo>
                      <a:pt x="1850" y="442"/>
                    </a:lnTo>
                    <a:lnTo>
                      <a:pt x="1871" y="444"/>
                    </a:lnTo>
                    <a:lnTo>
                      <a:pt x="1893" y="446"/>
                    </a:lnTo>
                    <a:lnTo>
                      <a:pt x="1913" y="450"/>
                    </a:lnTo>
                    <a:lnTo>
                      <a:pt x="1932" y="457"/>
                    </a:lnTo>
                    <a:lnTo>
                      <a:pt x="1950" y="465"/>
                    </a:lnTo>
                    <a:lnTo>
                      <a:pt x="1969" y="476"/>
                    </a:lnTo>
                    <a:lnTo>
                      <a:pt x="1985" y="486"/>
                    </a:lnTo>
                    <a:lnTo>
                      <a:pt x="2001" y="500"/>
                    </a:lnTo>
                    <a:lnTo>
                      <a:pt x="2014" y="513"/>
                    </a:lnTo>
                    <a:lnTo>
                      <a:pt x="2028" y="528"/>
                    </a:lnTo>
                    <a:lnTo>
                      <a:pt x="2039" y="545"/>
                    </a:lnTo>
                    <a:lnTo>
                      <a:pt x="2048" y="563"/>
                    </a:lnTo>
                    <a:lnTo>
                      <a:pt x="2055" y="581"/>
                    </a:lnTo>
                    <a:lnTo>
                      <a:pt x="2060" y="601"/>
                    </a:lnTo>
                    <a:lnTo>
                      <a:pt x="2064" y="621"/>
                    </a:lnTo>
                    <a:lnTo>
                      <a:pt x="2065" y="643"/>
                    </a:lnTo>
                    <a:lnTo>
                      <a:pt x="2069" y="702"/>
                    </a:lnTo>
                    <a:lnTo>
                      <a:pt x="2069" y="702"/>
                    </a:lnTo>
                    <a:lnTo>
                      <a:pt x="2091" y="703"/>
                    </a:lnTo>
                    <a:lnTo>
                      <a:pt x="2140" y="703"/>
                    </a:lnTo>
                    <a:lnTo>
                      <a:pt x="2169" y="703"/>
                    </a:lnTo>
                    <a:lnTo>
                      <a:pt x="2198" y="702"/>
                    </a:lnTo>
                    <a:lnTo>
                      <a:pt x="2223" y="698"/>
                    </a:lnTo>
                    <a:lnTo>
                      <a:pt x="2234" y="696"/>
                    </a:lnTo>
                    <a:lnTo>
                      <a:pt x="2243" y="694"/>
                    </a:lnTo>
                    <a:lnTo>
                      <a:pt x="2243" y="694"/>
                    </a:lnTo>
                    <a:lnTo>
                      <a:pt x="2244" y="658"/>
                    </a:lnTo>
                    <a:lnTo>
                      <a:pt x="2243" y="619"/>
                    </a:lnTo>
                    <a:lnTo>
                      <a:pt x="2240" y="573"/>
                    </a:lnTo>
                    <a:lnTo>
                      <a:pt x="2238" y="548"/>
                    </a:lnTo>
                    <a:lnTo>
                      <a:pt x="2234" y="523"/>
                    </a:lnTo>
                    <a:lnTo>
                      <a:pt x="2228" y="497"/>
                    </a:lnTo>
                    <a:lnTo>
                      <a:pt x="2222" y="473"/>
                    </a:lnTo>
                    <a:lnTo>
                      <a:pt x="2214" y="449"/>
                    </a:lnTo>
                    <a:lnTo>
                      <a:pt x="2204" y="428"/>
                    </a:lnTo>
                    <a:lnTo>
                      <a:pt x="2192" y="409"/>
                    </a:lnTo>
                    <a:lnTo>
                      <a:pt x="2186" y="400"/>
                    </a:lnTo>
                    <a:lnTo>
                      <a:pt x="2178" y="392"/>
                    </a:lnTo>
                    <a:lnTo>
                      <a:pt x="2178" y="392"/>
                    </a:lnTo>
                    <a:lnTo>
                      <a:pt x="2164" y="380"/>
                    </a:lnTo>
                    <a:lnTo>
                      <a:pt x="2148" y="368"/>
                    </a:lnTo>
                    <a:lnTo>
                      <a:pt x="2129" y="357"/>
                    </a:lnTo>
                    <a:lnTo>
                      <a:pt x="2111" y="346"/>
                    </a:lnTo>
                    <a:lnTo>
                      <a:pt x="2089" y="335"/>
                    </a:lnTo>
                    <a:lnTo>
                      <a:pt x="2068" y="325"/>
                    </a:lnTo>
                    <a:lnTo>
                      <a:pt x="2044" y="315"/>
                    </a:lnTo>
                    <a:lnTo>
                      <a:pt x="2017" y="306"/>
                    </a:lnTo>
                    <a:lnTo>
                      <a:pt x="1962" y="289"/>
                    </a:lnTo>
                    <a:lnTo>
                      <a:pt x="1900" y="271"/>
                    </a:lnTo>
                    <a:lnTo>
                      <a:pt x="1833" y="255"/>
                    </a:lnTo>
                    <a:lnTo>
                      <a:pt x="1759" y="239"/>
                    </a:lnTo>
                    <a:lnTo>
                      <a:pt x="1759" y="239"/>
                    </a:lnTo>
                    <a:close/>
                    <a:moveTo>
                      <a:pt x="579" y="270"/>
                    </a:moveTo>
                    <a:lnTo>
                      <a:pt x="579" y="270"/>
                    </a:lnTo>
                    <a:lnTo>
                      <a:pt x="588" y="251"/>
                    </a:lnTo>
                    <a:lnTo>
                      <a:pt x="599" y="231"/>
                    </a:lnTo>
                    <a:lnTo>
                      <a:pt x="614" y="207"/>
                    </a:lnTo>
                    <a:lnTo>
                      <a:pt x="630" y="182"/>
                    </a:lnTo>
                    <a:lnTo>
                      <a:pt x="648" y="156"/>
                    </a:lnTo>
                    <a:lnTo>
                      <a:pt x="659" y="144"/>
                    </a:lnTo>
                    <a:lnTo>
                      <a:pt x="668" y="132"/>
                    </a:lnTo>
                    <a:lnTo>
                      <a:pt x="679" y="123"/>
                    </a:lnTo>
                    <a:lnTo>
                      <a:pt x="691" y="114"/>
                    </a:lnTo>
                    <a:lnTo>
                      <a:pt x="691" y="114"/>
                    </a:lnTo>
                    <a:lnTo>
                      <a:pt x="701" y="107"/>
                    </a:lnTo>
                    <a:lnTo>
                      <a:pt x="715" y="102"/>
                    </a:lnTo>
                    <a:lnTo>
                      <a:pt x="733" y="96"/>
                    </a:lnTo>
                    <a:lnTo>
                      <a:pt x="753" y="92"/>
                    </a:lnTo>
                    <a:lnTo>
                      <a:pt x="775" y="90"/>
                    </a:lnTo>
                    <a:lnTo>
                      <a:pt x="798" y="86"/>
                    </a:lnTo>
                    <a:lnTo>
                      <a:pt x="848" y="82"/>
                    </a:lnTo>
                    <a:lnTo>
                      <a:pt x="894" y="79"/>
                    </a:lnTo>
                    <a:lnTo>
                      <a:pt x="934" y="78"/>
                    </a:lnTo>
                    <a:lnTo>
                      <a:pt x="972" y="78"/>
                    </a:lnTo>
                    <a:lnTo>
                      <a:pt x="980" y="297"/>
                    </a:lnTo>
                    <a:lnTo>
                      <a:pt x="579" y="270"/>
                    </a:lnTo>
                    <a:close/>
                    <a:moveTo>
                      <a:pt x="1609" y="322"/>
                    </a:moveTo>
                    <a:lnTo>
                      <a:pt x="1052" y="299"/>
                    </a:lnTo>
                    <a:lnTo>
                      <a:pt x="1039" y="78"/>
                    </a:lnTo>
                    <a:lnTo>
                      <a:pt x="1039" y="78"/>
                    </a:lnTo>
                    <a:lnTo>
                      <a:pt x="1079" y="78"/>
                    </a:lnTo>
                    <a:lnTo>
                      <a:pt x="1118" y="80"/>
                    </a:lnTo>
                    <a:lnTo>
                      <a:pt x="1158" y="84"/>
                    </a:lnTo>
                    <a:lnTo>
                      <a:pt x="1198" y="91"/>
                    </a:lnTo>
                    <a:lnTo>
                      <a:pt x="1238" y="100"/>
                    </a:lnTo>
                    <a:lnTo>
                      <a:pt x="1277" y="111"/>
                    </a:lnTo>
                    <a:lnTo>
                      <a:pt x="1317" y="123"/>
                    </a:lnTo>
                    <a:lnTo>
                      <a:pt x="1354" y="136"/>
                    </a:lnTo>
                    <a:lnTo>
                      <a:pt x="1392" y="150"/>
                    </a:lnTo>
                    <a:lnTo>
                      <a:pt x="1429" y="164"/>
                    </a:lnTo>
                    <a:lnTo>
                      <a:pt x="1464" y="180"/>
                    </a:lnTo>
                    <a:lnTo>
                      <a:pt x="1499" y="196"/>
                    </a:lnTo>
                    <a:lnTo>
                      <a:pt x="1561" y="229"/>
                    </a:lnTo>
                    <a:lnTo>
                      <a:pt x="1616" y="259"/>
                    </a:lnTo>
                    <a:lnTo>
                      <a:pt x="1616" y="259"/>
                    </a:lnTo>
                    <a:lnTo>
                      <a:pt x="1639" y="273"/>
                    </a:lnTo>
                    <a:lnTo>
                      <a:pt x="1655" y="285"/>
                    </a:lnTo>
                    <a:lnTo>
                      <a:pt x="1666" y="294"/>
                    </a:lnTo>
                    <a:lnTo>
                      <a:pt x="1672" y="302"/>
                    </a:lnTo>
                    <a:lnTo>
                      <a:pt x="1675" y="309"/>
                    </a:lnTo>
                    <a:lnTo>
                      <a:pt x="1675" y="311"/>
                    </a:lnTo>
                    <a:lnTo>
                      <a:pt x="1674" y="314"/>
                    </a:lnTo>
                    <a:lnTo>
                      <a:pt x="1670" y="318"/>
                    </a:lnTo>
                    <a:lnTo>
                      <a:pt x="1664" y="321"/>
                    </a:lnTo>
                    <a:lnTo>
                      <a:pt x="1656" y="322"/>
                    </a:lnTo>
                    <a:lnTo>
                      <a:pt x="1647" y="323"/>
                    </a:lnTo>
                    <a:lnTo>
                      <a:pt x="1630" y="323"/>
                    </a:lnTo>
                    <a:lnTo>
                      <a:pt x="1609" y="322"/>
                    </a:lnTo>
                    <a:lnTo>
                      <a:pt x="1609" y="322"/>
                    </a:lnTo>
                    <a:close/>
                  </a:path>
                </a:pathLst>
              </a:custGeom>
              <a:solidFill>
                <a:srgbClr val="45A2C3"/>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387" name="Group 386"/>
          <p:cNvGrpSpPr/>
          <p:nvPr/>
        </p:nvGrpSpPr>
        <p:grpSpPr>
          <a:xfrm>
            <a:off x="9262848" y="2780740"/>
            <a:ext cx="233693" cy="211436"/>
            <a:chOff x="8970859" y="2626225"/>
            <a:chExt cx="414001" cy="374572"/>
          </a:xfrm>
        </p:grpSpPr>
        <p:sp>
          <p:nvSpPr>
            <p:cNvPr id="386" name="Rectangle 385"/>
            <p:cNvSpPr/>
            <p:nvPr/>
          </p:nvSpPr>
          <p:spPr bwMode="auto">
            <a:xfrm>
              <a:off x="9028548" y="2650137"/>
              <a:ext cx="307365" cy="104794"/>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485" name="Group 484"/>
            <p:cNvGrpSpPr/>
            <p:nvPr/>
          </p:nvGrpSpPr>
          <p:grpSpPr>
            <a:xfrm>
              <a:off x="8970859" y="2626225"/>
              <a:ext cx="414001" cy="374572"/>
              <a:chOff x="25455229" y="-39674"/>
              <a:chExt cx="806770" cy="729935"/>
            </a:xfrm>
          </p:grpSpPr>
          <p:sp>
            <p:nvSpPr>
              <p:cNvPr id="486" name="Freeform 61"/>
              <p:cNvSpPr>
                <a:spLocks noEditPoints="1"/>
              </p:cNvSpPr>
              <p:nvPr/>
            </p:nvSpPr>
            <p:spPr bwMode="auto">
              <a:xfrm>
                <a:off x="25455229" y="-39674"/>
                <a:ext cx="806770" cy="729935"/>
              </a:xfrm>
              <a:custGeom>
                <a:avLst/>
                <a:gdLst>
                  <a:gd name="T0" fmla="*/ 1108 w 1260"/>
                  <a:gd name="T1" fmla="*/ 100 h 1140"/>
                  <a:gd name="T2" fmla="*/ 1089 w 1260"/>
                  <a:gd name="T3" fmla="*/ 61 h 1140"/>
                  <a:gd name="T4" fmla="*/ 1067 w 1260"/>
                  <a:gd name="T5" fmla="*/ 36 h 1140"/>
                  <a:gd name="T6" fmla="*/ 1037 w 1260"/>
                  <a:gd name="T7" fmla="*/ 16 h 1140"/>
                  <a:gd name="T8" fmla="*/ 998 w 1260"/>
                  <a:gd name="T9" fmla="*/ 2 h 1140"/>
                  <a:gd name="T10" fmla="*/ 633 w 1260"/>
                  <a:gd name="T11" fmla="*/ 0 h 1140"/>
                  <a:gd name="T12" fmla="*/ 283 w 1260"/>
                  <a:gd name="T13" fmla="*/ 1 h 1140"/>
                  <a:gd name="T14" fmla="*/ 241 w 1260"/>
                  <a:gd name="T15" fmla="*/ 10 h 1140"/>
                  <a:gd name="T16" fmla="*/ 208 w 1260"/>
                  <a:gd name="T17" fmla="*/ 29 h 1140"/>
                  <a:gd name="T18" fmla="*/ 183 w 1260"/>
                  <a:gd name="T19" fmla="*/ 52 h 1140"/>
                  <a:gd name="T20" fmla="*/ 163 w 1260"/>
                  <a:gd name="T21" fmla="*/ 85 h 1140"/>
                  <a:gd name="T22" fmla="*/ 89 w 1260"/>
                  <a:gd name="T23" fmla="*/ 433 h 1140"/>
                  <a:gd name="T24" fmla="*/ 42 w 1260"/>
                  <a:gd name="T25" fmla="*/ 454 h 1140"/>
                  <a:gd name="T26" fmla="*/ 12 w 1260"/>
                  <a:gd name="T27" fmla="*/ 485 h 1140"/>
                  <a:gd name="T28" fmla="*/ 1 w 1260"/>
                  <a:gd name="T29" fmla="*/ 507 h 1140"/>
                  <a:gd name="T30" fmla="*/ 0 w 1260"/>
                  <a:gd name="T31" fmla="*/ 803 h 1140"/>
                  <a:gd name="T32" fmla="*/ 1 w 1260"/>
                  <a:gd name="T33" fmla="*/ 817 h 1140"/>
                  <a:gd name="T34" fmla="*/ 14 w 1260"/>
                  <a:gd name="T35" fmla="*/ 846 h 1140"/>
                  <a:gd name="T36" fmla="*/ 48 w 1260"/>
                  <a:gd name="T37" fmla="*/ 884 h 1140"/>
                  <a:gd name="T38" fmla="*/ 49 w 1260"/>
                  <a:gd name="T39" fmla="*/ 1094 h 1140"/>
                  <a:gd name="T40" fmla="*/ 89 w 1260"/>
                  <a:gd name="T41" fmla="*/ 1119 h 1140"/>
                  <a:gd name="T42" fmla="*/ 128 w 1260"/>
                  <a:gd name="T43" fmla="*/ 1136 h 1140"/>
                  <a:gd name="T44" fmla="*/ 155 w 1260"/>
                  <a:gd name="T45" fmla="*/ 1140 h 1140"/>
                  <a:gd name="T46" fmla="*/ 195 w 1260"/>
                  <a:gd name="T47" fmla="*/ 1132 h 1140"/>
                  <a:gd name="T48" fmla="*/ 236 w 1260"/>
                  <a:gd name="T49" fmla="*/ 1111 h 1140"/>
                  <a:gd name="T50" fmla="*/ 423 w 1260"/>
                  <a:gd name="T51" fmla="*/ 907 h 1140"/>
                  <a:gd name="T52" fmla="*/ 1007 w 1260"/>
                  <a:gd name="T53" fmla="*/ 899 h 1140"/>
                  <a:gd name="T54" fmla="*/ 1035 w 1260"/>
                  <a:gd name="T55" fmla="*/ 1111 h 1140"/>
                  <a:gd name="T56" fmla="*/ 1077 w 1260"/>
                  <a:gd name="T57" fmla="*/ 1132 h 1140"/>
                  <a:gd name="T58" fmla="*/ 1117 w 1260"/>
                  <a:gd name="T59" fmla="*/ 1140 h 1140"/>
                  <a:gd name="T60" fmla="*/ 1144 w 1260"/>
                  <a:gd name="T61" fmla="*/ 1136 h 1140"/>
                  <a:gd name="T62" fmla="*/ 1181 w 1260"/>
                  <a:gd name="T63" fmla="*/ 1119 h 1140"/>
                  <a:gd name="T64" fmla="*/ 1221 w 1260"/>
                  <a:gd name="T65" fmla="*/ 891 h 1140"/>
                  <a:gd name="T66" fmla="*/ 1228 w 1260"/>
                  <a:gd name="T67" fmla="*/ 878 h 1140"/>
                  <a:gd name="T68" fmla="*/ 1253 w 1260"/>
                  <a:gd name="T69" fmla="*/ 832 h 1140"/>
                  <a:gd name="T70" fmla="*/ 1260 w 1260"/>
                  <a:gd name="T71" fmla="*/ 803 h 1140"/>
                  <a:gd name="T72" fmla="*/ 1259 w 1260"/>
                  <a:gd name="T73" fmla="*/ 515 h 1140"/>
                  <a:gd name="T74" fmla="*/ 1252 w 1260"/>
                  <a:gd name="T75" fmla="*/ 491 h 1140"/>
                  <a:gd name="T76" fmla="*/ 1219 w 1260"/>
                  <a:gd name="T77" fmla="*/ 451 h 1140"/>
                  <a:gd name="T78" fmla="*/ 1173 w 1260"/>
                  <a:gd name="T79" fmla="*/ 429 h 1140"/>
                  <a:gd name="T80" fmla="*/ 633 w 1260"/>
                  <a:gd name="T81" fmla="*/ 362 h 1140"/>
                  <a:gd name="T82" fmla="*/ 245 w 1260"/>
                  <a:gd name="T83" fmla="*/ 378 h 1140"/>
                  <a:gd name="T84" fmla="*/ 209 w 1260"/>
                  <a:gd name="T85" fmla="*/ 370 h 1140"/>
                  <a:gd name="T86" fmla="*/ 191 w 1260"/>
                  <a:gd name="T87" fmla="*/ 358 h 1140"/>
                  <a:gd name="T88" fmla="*/ 180 w 1260"/>
                  <a:gd name="T89" fmla="*/ 338 h 1140"/>
                  <a:gd name="T90" fmla="*/ 179 w 1260"/>
                  <a:gd name="T91" fmla="*/ 310 h 1140"/>
                  <a:gd name="T92" fmla="*/ 197 w 1260"/>
                  <a:gd name="T93" fmla="*/ 204 h 1140"/>
                  <a:gd name="T94" fmla="*/ 219 w 1260"/>
                  <a:gd name="T95" fmla="*/ 153 h 1140"/>
                  <a:gd name="T96" fmla="*/ 256 w 1260"/>
                  <a:gd name="T97" fmla="*/ 120 h 1140"/>
                  <a:gd name="T98" fmla="*/ 304 w 1260"/>
                  <a:gd name="T99" fmla="*/ 101 h 1140"/>
                  <a:gd name="T100" fmla="*/ 360 w 1260"/>
                  <a:gd name="T101" fmla="*/ 92 h 1140"/>
                  <a:gd name="T102" fmla="*/ 633 w 1260"/>
                  <a:gd name="T103" fmla="*/ 88 h 1140"/>
                  <a:gd name="T104" fmla="*/ 863 w 1260"/>
                  <a:gd name="T105" fmla="*/ 89 h 1140"/>
                  <a:gd name="T106" fmla="*/ 943 w 1260"/>
                  <a:gd name="T107" fmla="*/ 97 h 1140"/>
                  <a:gd name="T108" fmla="*/ 995 w 1260"/>
                  <a:gd name="T109" fmla="*/ 113 h 1140"/>
                  <a:gd name="T110" fmla="*/ 1037 w 1260"/>
                  <a:gd name="T111" fmla="*/ 141 h 1140"/>
                  <a:gd name="T112" fmla="*/ 1063 w 1260"/>
                  <a:gd name="T113" fmla="*/ 185 h 1140"/>
                  <a:gd name="T114" fmla="*/ 1085 w 1260"/>
                  <a:gd name="T115" fmla="*/ 302 h 1140"/>
                  <a:gd name="T116" fmla="*/ 1086 w 1260"/>
                  <a:gd name="T117" fmla="*/ 331 h 1140"/>
                  <a:gd name="T118" fmla="*/ 1078 w 1260"/>
                  <a:gd name="T119" fmla="*/ 354 h 1140"/>
                  <a:gd name="T120" fmla="*/ 1063 w 1260"/>
                  <a:gd name="T121" fmla="*/ 367 h 1140"/>
                  <a:gd name="T122" fmla="*/ 1039 w 1260"/>
                  <a:gd name="T123" fmla="*/ 375 h 1140"/>
                  <a:gd name="T124" fmla="*/ 998 w 1260"/>
                  <a:gd name="T125" fmla="*/ 378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0" h="1140">
                    <a:moveTo>
                      <a:pt x="1173" y="429"/>
                    </a:moveTo>
                    <a:lnTo>
                      <a:pt x="1108" y="100"/>
                    </a:lnTo>
                    <a:lnTo>
                      <a:pt x="1108" y="100"/>
                    </a:lnTo>
                    <a:lnTo>
                      <a:pt x="1102" y="85"/>
                    </a:lnTo>
                    <a:lnTo>
                      <a:pt x="1094" y="69"/>
                    </a:lnTo>
                    <a:lnTo>
                      <a:pt x="1089" y="61"/>
                    </a:lnTo>
                    <a:lnTo>
                      <a:pt x="1082" y="52"/>
                    </a:lnTo>
                    <a:lnTo>
                      <a:pt x="1075" y="44"/>
                    </a:lnTo>
                    <a:lnTo>
                      <a:pt x="1067" y="36"/>
                    </a:lnTo>
                    <a:lnTo>
                      <a:pt x="1058" y="29"/>
                    </a:lnTo>
                    <a:lnTo>
                      <a:pt x="1047" y="22"/>
                    </a:lnTo>
                    <a:lnTo>
                      <a:pt x="1037" y="16"/>
                    </a:lnTo>
                    <a:lnTo>
                      <a:pt x="1025" y="10"/>
                    </a:lnTo>
                    <a:lnTo>
                      <a:pt x="1011" y="6"/>
                    </a:lnTo>
                    <a:lnTo>
                      <a:pt x="998" y="2"/>
                    </a:lnTo>
                    <a:lnTo>
                      <a:pt x="982" y="1"/>
                    </a:lnTo>
                    <a:lnTo>
                      <a:pt x="966" y="0"/>
                    </a:lnTo>
                    <a:lnTo>
                      <a:pt x="633" y="0"/>
                    </a:lnTo>
                    <a:lnTo>
                      <a:pt x="300" y="0"/>
                    </a:lnTo>
                    <a:lnTo>
                      <a:pt x="300" y="0"/>
                    </a:lnTo>
                    <a:lnTo>
                      <a:pt x="283" y="1"/>
                    </a:lnTo>
                    <a:lnTo>
                      <a:pt x="268" y="2"/>
                    </a:lnTo>
                    <a:lnTo>
                      <a:pt x="253" y="6"/>
                    </a:lnTo>
                    <a:lnTo>
                      <a:pt x="241" y="10"/>
                    </a:lnTo>
                    <a:lnTo>
                      <a:pt x="229" y="16"/>
                    </a:lnTo>
                    <a:lnTo>
                      <a:pt x="217" y="22"/>
                    </a:lnTo>
                    <a:lnTo>
                      <a:pt x="208" y="29"/>
                    </a:lnTo>
                    <a:lnTo>
                      <a:pt x="199" y="36"/>
                    </a:lnTo>
                    <a:lnTo>
                      <a:pt x="189" y="44"/>
                    </a:lnTo>
                    <a:lnTo>
                      <a:pt x="183" y="52"/>
                    </a:lnTo>
                    <a:lnTo>
                      <a:pt x="176" y="61"/>
                    </a:lnTo>
                    <a:lnTo>
                      <a:pt x="171" y="69"/>
                    </a:lnTo>
                    <a:lnTo>
                      <a:pt x="163" y="85"/>
                    </a:lnTo>
                    <a:lnTo>
                      <a:pt x="159" y="100"/>
                    </a:lnTo>
                    <a:lnTo>
                      <a:pt x="89" y="433"/>
                    </a:lnTo>
                    <a:lnTo>
                      <a:pt x="89" y="433"/>
                    </a:lnTo>
                    <a:lnTo>
                      <a:pt x="73" y="437"/>
                    </a:lnTo>
                    <a:lnTo>
                      <a:pt x="57" y="445"/>
                    </a:lnTo>
                    <a:lnTo>
                      <a:pt x="42" y="454"/>
                    </a:lnTo>
                    <a:lnTo>
                      <a:pt x="28" y="465"/>
                    </a:lnTo>
                    <a:lnTo>
                      <a:pt x="17" y="478"/>
                    </a:lnTo>
                    <a:lnTo>
                      <a:pt x="12" y="485"/>
                    </a:lnTo>
                    <a:lnTo>
                      <a:pt x="8" y="493"/>
                    </a:lnTo>
                    <a:lnTo>
                      <a:pt x="4" y="499"/>
                    </a:lnTo>
                    <a:lnTo>
                      <a:pt x="1" y="507"/>
                    </a:lnTo>
                    <a:lnTo>
                      <a:pt x="0" y="515"/>
                    </a:lnTo>
                    <a:lnTo>
                      <a:pt x="0" y="525"/>
                    </a:lnTo>
                    <a:lnTo>
                      <a:pt x="0" y="803"/>
                    </a:lnTo>
                    <a:lnTo>
                      <a:pt x="0" y="803"/>
                    </a:lnTo>
                    <a:lnTo>
                      <a:pt x="0" y="811"/>
                    </a:lnTo>
                    <a:lnTo>
                      <a:pt x="1" y="817"/>
                    </a:lnTo>
                    <a:lnTo>
                      <a:pt x="4" y="825"/>
                    </a:lnTo>
                    <a:lnTo>
                      <a:pt x="6" y="832"/>
                    </a:lnTo>
                    <a:lnTo>
                      <a:pt x="14" y="846"/>
                    </a:lnTo>
                    <a:lnTo>
                      <a:pt x="24" y="858"/>
                    </a:lnTo>
                    <a:lnTo>
                      <a:pt x="41" y="878"/>
                    </a:lnTo>
                    <a:lnTo>
                      <a:pt x="48" y="884"/>
                    </a:lnTo>
                    <a:lnTo>
                      <a:pt x="49" y="888"/>
                    </a:lnTo>
                    <a:lnTo>
                      <a:pt x="49" y="891"/>
                    </a:lnTo>
                    <a:lnTo>
                      <a:pt x="49" y="1094"/>
                    </a:lnTo>
                    <a:lnTo>
                      <a:pt x="49" y="1094"/>
                    </a:lnTo>
                    <a:lnTo>
                      <a:pt x="77" y="1113"/>
                    </a:lnTo>
                    <a:lnTo>
                      <a:pt x="89" y="1119"/>
                    </a:lnTo>
                    <a:lnTo>
                      <a:pt x="102" y="1126"/>
                    </a:lnTo>
                    <a:lnTo>
                      <a:pt x="114" y="1132"/>
                    </a:lnTo>
                    <a:lnTo>
                      <a:pt x="128" y="1136"/>
                    </a:lnTo>
                    <a:lnTo>
                      <a:pt x="140" y="1138"/>
                    </a:lnTo>
                    <a:lnTo>
                      <a:pt x="155" y="1140"/>
                    </a:lnTo>
                    <a:lnTo>
                      <a:pt x="155" y="1140"/>
                    </a:lnTo>
                    <a:lnTo>
                      <a:pt x="168" y="1138"/>
                    </a:lnTo>
                    <a:lnTo>
                      <a:pt x="181" y="1136"/>
                    </a:lnTo>
                    <a:lnTo>
                      <a:pt x="195" y="1132"/>
                    </a:lnTo>
                    <a:lnTo>
                      <a:pt x="208" y="1126"/>
                    </a:lnTo>
                    <a:lnTo>
                      <a:pt x="221" y="1119"/>
                    </a:lnTo>
                    <a:lnTo>
                      <a:pt x="236" y="1111"/>
                    </a:lnTo>
                    <a:lnTo>
                      <a:pt x="264" y="1094"/>
                    </a:lnTo>
                    <a:lnTo>
                      <a:pt x="264" y="899"/>
                    </a:lnTo>
                    <a:lnTo>
                      <a:pt x="423" y="907"/>
                    </a:lnTo>
                    <a:lnTo>
                      <a:pt x="633" y="907"/>
                    </a:lnTo>
                    <a:lnTo>
                      <a:pt x="843" y="907"/>
                    </a:lnTo>
                    <a:lnTo>
                      <a:pt x="1007" y="899"/>
                    </a:lnTo>
                    <a:lnTo>
                      <a:pt x="1007" y="1094"/>
                    </a:lnTo>
                    <a:lnTo>
                      <a:pt x="1007" y="1094"/>
                    </a:lnTo>
                    <a:lnTo>
                      <a:pt x="1035" y="1111"/>
                    </a:lnTo>
                    <a:lnTo>
                      <a:pt x="1049" y="1119"/>
                    </a:lnTo>
                    <a:lnTo>
                      <a:pt x="1063" y="1126"/>
                    </a:lnTo>
                    <a:lnTo>
                      <a:pt x="1077" y="1132"/>
                    </a:lnTo>
                    <a:lnTo>
                      <a:pt x="1090" y="1136"/>
                    </a:lnTo>
                    <a:lnTo>
                      <a:pt x="1104" y="1138"/>
                    </a:lnTo>
                    <a:lnTo>
                      <a:pt x="1117" y="1140"/>
                    </a:lnTo>
                    <a:lnTo>
                      <a:pt x="1117" y="1140"/>
                    </a:lnTo>
                    <a:lnTo>
                      <a:pt x="1130" y="1138"/>
                    </a:lnTo>
                    <a:lnTo>
                      <a:pt x="1144" y="1136"/>
                    </a:lnTo>
                    <a:lnTo>
                      <a:pt x="1156" y="1132"/>
                    </a:lnTo>
                    <a:lnTo>
                      <a:pt x="1169" y="1126"/>
                    </a:lnTo>
                    <a:lnTo>
                      <a:pt x="1181" y="1119"/>
                    </a:lnTo>
                    <a:lnTo>
                      <a:pt x="1194" y="1113"/>
                    </a:lnTo>
                    <a:lnTo>
                      <a:pt x="1221" y="1094"/>
                    </a:lnTo>
                    <a:lnTo>
                      <a:pt x="1221" y="891"/>
                    </a:lnTo>
                    <a:lnTo>
                      <a:pt x="1221" y="891"/>
                    </a:lnTo>
                    <a:lnTo>
                      <a:pt x="1223" y="884"/>
                    </a:lnTo>
                    <a:lnTo>
                      <a:pt x="1228" y="878"/>
                    </a:lnTo>
                    <a:lnTo>
                      <a:pt x="1240" y="858"/>
                    </a:lnTo>
                    <a:lnTo>
                      <a:pt x="1248" y="846"/>
                    </a:lnTo>
                    <a:lnTo>
                      <a:pt x="1253" y="832"/>
                    </a:lnTo>
                    <a:lnTo>
                      <a:pt x="1257" y="817"/>
                    </a:lnTo>
                    <a:lnTo>
                      <a:pt x="1259" y="811"/>
                    </a:lnTo>
                    <a:lnTo>
                      <a:pt x="1260" y="803"/>
                    </a:lnTo>
                    <a:lnTo>
                      <a:pt x="1260" y="525"/>
                    </a:lnTo>
                    <a:lnTo>
                      <a:pt x="1260" y="525"/>
                    </a:lnTo>
                    <a:lnTo>
                      <a:pt x="1259" y="515"/>
                    </a:lnTo>
                    <a:lnTo>
                      <a:pt x="1257" y="507"/>
                    </a:lnTo>
                    <a:lnTo>
                      <a:pt x="1255" y="499"/>
                    </a:lnTo>
                    <a:lnTo>
                      <a:pt x="1252" y="491"/>
                    </a:lnTo>
                    <a:lnTo>
                      <a:pt x="1243" y="477"/>
                    </a:lnTo>
                    <a:lnTo>
                      <a:pt x="1232" y="463"/>
                    </a:lnTo>
                    <a:lnTo>
                      <a:pt x="1219" y="451"/>
                    </a:lnTo>
                    <a:lnTo>
                      <a:pt x="1204" y="441"/>
                    </a:lnTo>
                    <a:lnTo>
                      <a:pt x="1188" y="434"/>
                    </a:lnTo>
                    <a:lnTo>
                      <a:pt x="1173" y="429"/>
                    </a:lnTo>
                    <a:lnTo>
                      <a:pt x="1173" y="429"/>
                    </a:lnTo>
                    <a:close/>
                    <a:moveTo>
                      <a:pt x="998" y="378"/>
                    </a:moveTo>
                    <a:lnTo>
                      <a:pt x="633" y="362"/>
                    </a:lnTo>
                    <a:lnTo>
                      <a:pt x="268" y="378"/>
                    </a:lnTo>
                    <a:lnTo>
                      <a:pt x="268" y="378"/>
                    </a:lnTo>
                    <a:lnTo>
                      <a:pt x="245" y="378"/>
                    </a:lnTo>
                    <a:lnTo>
                      <a:pt x="225" y="375"/>
                    </a:lnTo>
                    <a:lnTo>
                      <a:pt x="216" y="372"/>
                    </a:lnTo>
                    <a:lnTo>
                      <a:pt x="209" y="370"/>
                    </a:lnTo>
                    <a:lnTo>
                      <a:pt x="201" y="367"/>
                    </a:lnTo>
                    <a:lnTo>
                      <a:pt x="196" y="362"/>
                    </a:lnTo>
                    <a:lnTo>
                      <a:pt x="191" y="358"/>
                    </a:lnTo>
                    <a:lnTo>
                      <a:pt x="185" y="351"/>
                    </a:lnTo>
                    <a:lnTo>
                      <a:pt x="183" y="344"/>
                    </a:lnTo>
                    <a:lnTo>
                      <a:pt x="180" y="338"/>
                    </a:lnTo>
                    <a:lnTo>
                      <a:pt x="179" y="330"/>
                    </a:lnTo>
                    <a:lnTo>
                      <a:pt x="177" y="320"/>
                    </a:lnTo>
                    <a:lnTo>
                      <a:pt x="179" y="310"/>
                    </a:lnTo>
                    <a:lnTo>
                      <a:pt x="179" y="299"/>
                    </a:lnTo>
                    <a:lnTo>
                      <a:pt x="197" y="204"/>
                    </a:lnTo>
                    <a:lnTo>
                      <a:pt x="197" y="204"/>
                    </a:lnTo>
                    <a:lnTo>
                      <a:pt x="203" y="185"/>
                    </a:lnTo>
                    <a:lnTo>
                      <a:pt x="211" y="168"/>
                    </a:lnTo>
                    <a:lnTo>
                      <a:pt x="219" y="153"/>
                    </a:lnTo>
                    <a:lnTo>
                      <a:pt x="229" y="141"/>
                    </a:lnTo>
                    <a:lnTo>
                      <a:pt x="241" y="130"/>
                    </a:lnTo>
                    <a:lnTo>
                      <a:pt x="256" y="120"/>
                    </a:lnTo>
                    <a:lnTo>
                      <a:pt x="271" y="113"/>
                    </a:lnTo>
                    <a:lnTo>
                      <a:pt x="287" y="106"/>
                    </a:lnTo>
                    <a:lnTo>
                      <a:pt x="304" y="101"/>
                    </a:lnTo>
                    <a:lnTo>
                      <a:pt x="322" y="97"/>
                    </a:lnTo>
                    <a:lnTo>
                      <a:pt x="342" y="93"/>
                    </a:lnTo>
                    <a:lnTo>
                      <a:pt x="360" y="92"/>
                    </a:lnTo>
                    <a:lnTo>
                      <a:pt x="402" y="89"/>
                    </a:lnTo>
                    <a:lnTo>
                      <a:pt x="443" y="88"/>
                    </a:lnTo>
                    <a:lnTo>
                      <a:pt x="633" y="88"/>
                    </a:lnTo>
                    <a:lnTo>
                      <a:pt x="820" y="88"/>
                    </a:lnTo>
                    <a:lnTo>
                      <a:pt x="820" y="88"/>
                    </a:lnTo>
                    <a:lnTo>
                      <a:pt x="863" y="89"/>
                    </a:lnTo>
                    <a:lnTo>
                      <a:pt x="904" y="92"/>
                    </a:lnTo>
                    <a:lnTo>
                      <a:pt x="924" y="93"/>
                    </a:lnTo>
                    <a:lnTo>
                      <a:pt x="943" y="97"/>
                    </a:lnTo>
                    <a:lnTo>
                      <a:pt x="962" y="101"/>
                    </a:lnTo>
                    <a:lnTo>
                      <a:pt x="979" y="106"/>
                    </a:lnTo>
                    <a:lnTo>
                      <a:pt x="995" y="113"/>
                    </a:lnTo>
                    <a:lnTo>
                      <a:pt x="1010" y="120"/>
                    </a:lnTo>
                    <a:lnTo>
                      <a:pt x="1023" y="130"/>
                    </a:lnTo>
                    <a:lnTo>
                      <a:pt x="1037" y="141"/>
                    </a:lnTo>
                    <a:lnTo>
                      <a:pt x="1047" y="153"/>
                    </a:lnTo>
                    <a:lnTo>
                      <a:pt x="1055" y="168"/>
                    </a:lnTo>
                    <a:lnTo>
                      <a:pt x="1063" y="185"/>
                    </a:lnTo>
                    <a:lnTo>
                      <a:pt x="1067" y="204"/>
                    </a:lnTo>
                    <a:lnTo>
                      <a:pt x="1085" y="302"/>
                    </a:lnTo>
                    <a:lnTo>
                      <a:pt x="1085" y="302"/>
                    </a:lnTo>
                    <a:lnTo>
                      <a:pt x="1086" y="312"/>
                    </a:lnTo>
                    <a:lnTo>
                      <a:pt x="1086" y="323"/>
                    </a:lnTo>
                    <a:lnTo>
                      <a:pt x="1086" y="331"/>
                    </a:lnTo>
                    <a:lnTo>
                      <a:pt x="1085" y="339"/>
                    </a:lnTo>
                    <a:lnTo>
                      <a:pt x="1082" y="347"/>
                    </a:lnTo>
                    <a:lnTo>
                      <a:pt x="1078" y="354"/>
                    </a:lnTo>
                    <a:lnTo>
                      <a:pt x="1074" y="359"/>
                    </a:lnTo>
                    <a:lnTo>
                      <a:pt x="1069" y="363"/>
                    </a:lnTo>
                    <a:lnTo>
                      <a:pt x="1063" y="367"/>
                    </a:lnTo>
                    <a:lnTo>
                      <a:pt x="1055" y="371"/>
                    </a:lnTo>
                    <a:lnTo>
                      <a:pt x="1049" y="374"/>
                    </a:lnTo>
                    <a:lnTo>
                      <a:pt x="1039" y="375"/>
                    </a:lnTo>
                    <a:lnTo>
                      <a:pt x="1021" y="378"/>
                    </a:lnTo>
                    <a:lnTo>
                      <a:pt x="998" y="378"/>
                    </a:lnTo>
                    <a:lnTo>
                      <a:pt x="998" y="378"/>
                    </a:lnTo>
                    <a:close/>
                  </a:path>
                </a:pathLst>
              </a:custGeom>
              <a:solidFill>
                <a:srgbClr val="45A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87" name="Freeform 113"/>
              <p:cNvSpPr>
                <a:spLocks/>
              </p:cNvSpPr>
              <p:nvPr/>
            </p:nvSpPr>
            <p:spPr bwMode="auto">
              <a:xfrm>
                <a:off x="25528222" y="315688"/>
                <a:ext cx="151750" cy="88360"/>
              </a:xfrm>
              <a:custGeom>
                <a:avLst/>
                <a:gdLst>
                  <a:gd name="T0" fmla="*/ 232 w 237"/>
                  <a:gd name="T1" fmla="*/ 130 h 138"/>
                  <a:gd name="T2" fmla="*/ 232 w 237"/>
                  <a:gd name="T3" fmla="*/ 130 h 138"/>
                  <a:gd name="T4" fmla="*/ 234 w 237"/>
                  <a:gd name="T5" fmla="*/ 127 h 138"/>
                  <a:gd name="T6" fmla="*/ 236 w 237"/>
                  <a:gd name="T7" fmla="*/ 122 h 138"/>
                  <a:gd name="T8" fmla="*/ 236 w 237"/>
                  <a:gd name="T9" fmla="*/ 122 h 138"/>
                  <a:gd name="T10" fmla="*/ 237 w 237"/>
                  <a:gd name="T11" fmla="*/ 117 h 138"/>
                  <a:gd name="T12" fmla="*/ 237 w 237"/>
                  <a:gd name="T13" fmla="*/ 110 h 138"/>
                  <a:gd name="T14" fmla="*/ 234 w 237"/>
                  <a:gd name="T15" fmla="*/ 94 h 138"/>
                  <a:gd name="T16" fmla="*/ 230 w 237"/>
                  <a:gd name="T17" fmla="*/ 79 h 138"/>
                  <a:gd name="T18" fmla="*/ 225 w 237"/>
                  <a:gd name="T19" fmla="*/ 69 h 138"/>
                  <a:gd name="T20" fmla="*/ 225 w 237"/>
                  <a:gd name="T21" fmla="*/ 69 h 138"/>
                  <a:gd name="T22" fmla="*/ 221 w 237"/>
                  <a:gd name="T23" fmla="*/ 62 h 138"/>
                  <a:gd name="T24" fmla="*/ 217 w 237"/>
                  <a:gd name="T25" fmla="*/ 58 h 138"/>
                  <a:gd name="T26" fmla="*/ 212 w 237"/>
                  <a:gd name="T27" fmla="*/ 54 h 138"/>
                  <a:gd name="T28" fmla="*/ 208 w 237"/>
                  <a:gd name="T29" fmla="*/ 51 h 138"/>
                  <a:gd name="T30" fmla="*/ 197 w 237"/>
                  <a:gd name="T31" fmla="*/ 46 h 138"/>
                  <a:gd name="T32" fmla="*/ 186 w 237"/>
                  <a:gd name="T33" fmla="*/ 43 h 138"/>
                  <a:gd name="T34" fmla="*/ 186 w 237"/>
                  <a:gd name="T35" fmla="*/ 43 h 138"/>
                  <a:gd name="T36" fmla="*/ 54 w 237"/>
                  <a:gd name="T37" fmla="*/ 0 h 138"/>
                  <a:gd name="T38" fmla="*/ 54 w 237"/>
                  <a:gd name="T39" fmla="*/ 0 h 138"/>
                  <a:gd name="T40" fmla="*/ 47 w 237"/>
                  <a:gd name="T41" fmla="*/ 0 h 138"/>
                  <a:gd name="T42" fmla="*/ 39 w 237"/>
                  <a:gd name="T43" fmla="*/ 2 h 138"/>
                  <a:gd name="T44" fmla="*/ 33 w 237"/>
                  <a:gd name="T45" fmla="*/ 6 h 138"/>
                  <a:gd name="T46" fmla="*/ 26 w 237"/>
                  <a:gd name="T47" fmla="*/ 13 h 138"/>
                  <a:gd name="T48" fmla="*/ 19 w 237"/>
                  <a:gd name="T49" fmla="*/ 21 h 138"/>
                  <a:gd name="T50" fmla="*/ 14 w 237"/>
                  <a:gd name="T51" fmla="*/ 29 h 138"/>
                  <a:gd name="T52" fmla="*/ 10 w 237"/>
                  <a:gd name="T53" fmla="*/ 37 h 138"/>
                  <a:gd name="T54" fmla="*/ 7 w 237"/>
                  <a:gd name="T55" fmla="*/ 45 h 138"/>
                  <a:gd name="T56" fmla="*/ 7 w 237"/>
                  <a:gd name="T57" fmla="*/ 45 h 138"/>
                  <a:gd name="T58" fmla="*/ 3 w 237"/>
                  <a:gd name="T59" fmla="*/ 62 h 138"/>
                  <a:gd name="T60" fmla="*/ 0 w 237"/>
                  <a:gd name="T61" fmla="*/ 83 h 138"/>
                  <a:gd name="T62" fmla="*/ 0 w 237"/>
                  <a:gd name="T63" fmla="*/ 103 h 138"/>
                  <a:gd name="T64" fmla="*/ 2 w 237"/>
                  <a:gd name="T65" fmla="*/ 114 h 138"/>
                  <a:gd name="T66" fmla="*/ 3 w 237"/>
                  <a:gd name="T67" fmla="*/ 122 h 138"/>
                  <a:gd name="T68" fmla="*/ 3 w 237"/>
                  <a:gd name="T69" fmla="*/ 122 h 138"/>
                  <a:gd name="T70" fmla="*/ 6 w 237"/>
                  <a:gd name="T71" fmla="*/ 127 h 138"/>
                  <a:gd name="T72" fmla="*/ 10 w 237"/>
                  <a:gd name="T73" fmla="*/ 131 h 138"/>
                  <a:gd name="T74" fmla="*/ 14 w 237"/>
                  <a:gd name="T75" fmla="*/ 134 h 138"/>
                  <a:gd name="T76" fmla="*/ 18 w 237"/>
                  <a:gd name="T77" fmla="*/ 134 h 138"/>
                  <a:gd name="T78" fmla="*/ 29 w 237"/>
                  <a:gd name="T79" fmla="*/ 134 h 138"/>
                  <a:gd name="T80" fmla="*/ 38 w 237"/>
                  <a:gd name="T81" fmla="*/ 133 h 138"/>
                  <a:gd name="T82" fmla="*/ 38 w 237"/>
                  <a:gd name="T83" fmla="*/ 133 h 138"/>
                  <a:gd name="T84" fmla="*/ 78 w 237"/>
                  <a:gd name="T85" fmla="*/ 133 h 138"/>
                  <a:gd name="T86" fmla="*/ 78 w 237"/>
                  <a:gd name="T87" fmla="*/ 133 h 138"/>
                  <a:gd name="T88" fmla="*/ 129 w 237"/>
                  <a:gd name="T89" fmla="*/ 133 h 138"/>
                  <a:gd name="T90" fmla="*/ 181 w 237"/>
                  <a:gd name="T91" fmla="*/ 135 h 138"/>
                  <a:gd name="T92" fmla="*/ 181 w 237"/>
                  <a:gd name="T93" fmla="*/ 135 h 138"/>
                  <a:gd name="T94" fmla="*/ 193 w 237"/>
                  <a:gd name="T95" fmla="*/ 137 h 138"/>
                  <a:gd name="T96" fmla="*/ 208 w 237"/>
                  <a:gd name="T97" fmla="*/ 138 h 138"/>
                  <a:gd name="T98" fmla="*/ 214 w 237"/>
                  <a:gd name="T99" fmla="*/ 138 h 138"/>
                  <a:gd name="T100" fmla="*/ 221 w 237"/>
                  <a:gd name="T101" fmla="*/ 137 h 138"/>
                  <a:gd name="T102" fmla="*/ 228 w 237"/>
                  <a:gd name="T103" fmla="*/ 134 h 138"/>
                  <a:gd name="T104" fmla="*/ 232 w 237"/>
                  <a:gd name="T105" fmla="*/ 130 h 138"/>
                  <a:gd name="T106" fmla="*/ 232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232" y="130"/>
                    </a:moveTo>
                    <a:lnTo>
                      <a:pt x="232" y="130"/>
                    </a:lnTo>
                    <a:lnTo>
                      <a:pt x="234" y="127"/>
                    </a:lnTo>
                    <a:lnTo>
                      <a:pt x="236" y="122"/>
                    </a:lnTo>
                    <a:lnTo>
                      <a:pt x="236" y="122"/>
                    </a:lnTo>
                    <a:lnTo>
                      <a:pt x="237" y="117"/>
                    </a:lnTo>
                    <a:lnTo>
                      <a:pt x="237" y="110"/>
                    </a:lnTo>
                    <a:lnTo>
                      <a:pt x="234" y="94"/>
                    </a:lnTo>
                    <a:lnTo>
                      <a:pt x="230" y="79"/>
                    </a:lnTo>
                    <a:lnTo>
                      <a:pt x="225" y="69"/>
                    </a:lnTo>
                    <a:lnTo>
                      <a:pt x="225" y="69"/>
                    </a:lnTo>
                    <a:lnTo>
                      <a:pt x="221" y="62"/>
                    </a:lnTo>
                    <a:lnTo>
                      <a:pt x="217" y="58"/>
                    </a:lnTo>
                    <a:lnTo>
                      <a:pt x="212" y="54"/>
                    </a:lnTo>
                    <a:lnTo>
                      <a:pt x="208" y="51"/>
                    </a:lnTo>
                    <a:lnTo>
                      <a:pt x="197" y="46"/>
                    </a:lnTo>
                    <a:lnTo>
                      <a:pt x="186" y="43"/>
                    </a:lnTo>
                    <a:lnTo>
                      <a:pt x="186" y="43"/>
                    </a:lnTo>
                    <a:lnTo>
                      <a:pt x="54" y="0"/>
                    </a:lnTo>
                    <a:lnTo>
                      <a:pt x="54" y="0"/>
                    </a:lnTo>
                    <a:lnTo>
                      <a:pt x="47" y="0"/>
                    </a:lnTo>
                    <a:lnTo>
                      <a:pt x="39" y="2"/>
                    </a:lnTo>
                    <a:lnTo>
                      <a:pt x="33" y="6"/>
                    </a:lnTo>
                    <a:lnTo>
                      <a:pt x="26" y="13"/>
                    </a:lnTo>
                    <a:lnTo>
                      <a:pt x="19" y="21"/>
                    </a:lnTo>
                    <a:lnTo>
                      <a:pt x="14" y="29"/>
                    </a:lnTo>
                    <a:lnTo>
                      <a:pt x="10" y="37"/>
                    </a:lnTo>
                    <a:lnTo>
                      <a:pt x="7" y="45"/>
                    </a:lnTo>
                    <a:lnTo>
                      <a:pt x="7" y="45"/>
                    </a:lnTo>
                    <a:lnTo>
                      <a:pt x="3" y="62"/>
                    </a:lnTo>
                    <a:lnTo>
                      <a:pt x="0" y="83"/>
                    </a:lnTo>
                    <a:lnTo>
                      <a:pt x="0" y="103"/>
                    </a:lnTo>
                    <a:lnTo>
                      <a:pt x="2" y="114"/>
                    </a:lnTo>
                    <a:lnTo>
                      <a:pt x="3" y="122"/>
                    </a:lnTo>
                    <a:lnTo>
                      <a:pt x="3" y="122"/>
                    </a:lnTo>
                    <a:lnTo>
                      <a:pt x="6" y="127"/>
                    </a:lnTo>
                    <a:lnTo>
                      <a:pt x="10" y="131"/>
                    </a:lnTo>
                    <a:lnTo>
                      <a:pt x="14" y="134"/>
                    </a:lnTo>
                    <a:lnTo>
                      <a:pt x="18" y="134"/>
                    </a:lnTo>
                    <a:lnTo>
                      <a:pt x="29" y="134"/>
                    </a:lnTo>
                    <a:lnTo>
                      <a:pt x="38" y="133"/>
                    </a:lnTo>
                    <a:lnTo>
                      <a:pt x="38" y="133"/>
                    </a:lnTo>
                    <a:lnTo>
                      <a:pt x="78" y="133"/>
                    </a:lnTo>
                    <a:lnTo>
                      <a:pt x="78" y="133"/>
                    </a:lnTo>
                    <a:lnTo>
                      <a:pt x="129" y="133"/>
                    </a:lnTo>
                    <a:lnTo>
                      <a:pt x="181" y="135"/>
                    </a:lnTo>
                    <a:lnTo>
                      <a:pt x="181" y="135"/>
                    </a:lnTo>
                    <a:lnTo>
                      <a:pt x="193" y="137"/>
                    </a:lnTo>
                    <a:lnTo>
                      <a:pt x="208" y="138"/>
                    </a:lnTo>
                    <a:lnTo>
                      <a:pt x="214" y="138"/>
                    </a:lnTo>
                    <a:lnTo>
                      <a:pt x="221" y="137"/>
                    </a:lnTo>
                    <a:lnTo>
                      <a:pt x="228" y="134"/>
                    </a:lnTo>
                    <a:lnTo>
                      <a:pt x="232" y="130"/>
                    </a:lnTo>
                    <a:lnTo>
                      <a:pt x="23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488" name="Freeform 114"/>
              <p:cNvSpPr>
                <a:spLocks/>
              </p:cNvSpPr>
              <p:nvPr/>
            </p:nvSpPr>
            <p:spPr bwMode="auto">
              <a:xfrm>
                <a:off x="26035334" y="315688"/>
                <a:ext cx="151750" cy="88360"/>
              </a:xfrm>
              <a:custGeom>
                <a:avLst/>
                <a:gdLst>
                  <a:gd name="T0" fmla="*/ 5 w 237"/>
                  <a:gd name="T1" fmla="*/ 130 h 138"/>
                  <a:gd name="T2" fmla="*/ 5 w 237"/>
                  <a:gd name="T3" fmla="*/ 130 h 138"/>
                  <a:gd name="T4" fmla="*/ 3 w 237"/>
                  <a:gd name="T5" fmla="*/ 127 h 138"/>
                  <a:gd name="T6" fmla="*/ 1 w 237"/>
                  <a:gd name="T7" fmla="*/ 122 h 138"/>
                  <a:gd name="T8" fmla="*/ 1 w 237"/>
                  <a:gd name="T9" fmla="*/ 122 h 138"/>
                  <a:gd name="T10" fmla="*/ 0 w 237"/>
                  <a:gd name="T11" fmla="*/ 117 h 138"/>
                  <a:gd name="T12" fmla="*/ 0 w 237"/>
                  <a:gd name="T13" fmla="*/ 110 h 138"/>
                  <a:gd name="T14" fmla="*/ 3 w 237"/>
                  <a:gd name="T15" fmla="*/ 94 h 138"/>
                  <a:gd name="T16" fmla="*/ 7 w 237"/>
                  <a:gd name="T17" fmla="*/ 79 h 138"/>
                  <a:gd name="T18" fmla="*/ 12 w 237"/>
                  <a:gd name="T19" fmla="*/ 69 h 138"/>
                  <a:gd name="T20" fmla="*/ 12 w 237"/>
                  <a:gd name="T21" fmla="*/ 69 h 138"/>
                  <a:gd name="T22" fmla="*/ 16 w 237"/>
                  <a:gd name="T23" fmla="*/ 62 h 138"/>
                  <a:gd name="T24" fmla="*/ 20 w 237"/>
                  <a:gd name="T25" fmla="*/ 58 h 138"/>
                  <a:gd name="T26" fmla="*/ 25 w 237"/>
                  <a:gd name="T27" fmla="*/ 54 h 138"/>
                  <a:gd name="T28" fmla="*/ 29 w 237"/>
                  <a:gd name="T29" fmla="*/ 51 h 138"/>
                  <a:gd name="T30" fmla="*/ 40 w 237"/>
                  <a:gd name="T31" fmla="*/ 46 h 138"/>
                  <a:gd name="T32" fmla="*/ 52 w 237"/>
                  <a:gd name="T33" fmla="*/ 43 h 138"/>
                  <a:gd name="T34" fmla="*/ 52 w 237"/>
                  <a:gd name="T35" fmla="*/ 43 h 138"/>
                  <a:gd name="T36" fmla="*/ 183 w 237"/>
                  <a:gd name="T37" fmla="*/ 0 h 138"/>
                  <a:gd name="T38" fmla="*/ 183 w 237"/>
                  <a:gd name="T39" fmla="*/ 0 h 138"/>
                  <a:gd name="T40" fmla="*/ 191 w 237"/>
                  <a:gd name="T41" fmla="*/ 0 h 138"/>
                  <a:gd name="T42" fmla="*/ 198 w 237"/>
                  <a:gd name="T43" fmla="*/ 2 h 138"/>
                  <a:gd name="T44" fmla="*/ 205 w 237"/>
                  <a:gd name="T45" fmla="*/ 6 h 138"/>
                  <a:gd name="T46" fmla="*/ 211 w 237"/>
                  <a:gd name="T47" fmla="*/ 13 h 138"/>
                  <a:gd name="T48" fmla="*/ 218 w 237"/>
                  <a:gd name="T49" fmla="*/ 21 h 138"/>
                  <a:gd name="T50" fmla="*/ 223 w 237"/>
                  <a:gd name="T51" fmla="*/ 29 h 138"/>
                  <a:gd name="T52" fmla="*/ 227 w 237"/>
                  <a:gd name="T53" fmla="*/ 37 h 138"/>
                  <a:gd name="T54" fmla="*/ 230 w 237"/>
                  <a:gd name="T55" fmla="*/ 45 h 138"/>
                  <a:gd name="T56" fmla="*/ 230 w 237"/>
                  <a:gd name="T57" fmla="*/ 45 h 138"/>
                  <a:gd name="T58" fmla="*/ 234 w 237"/>
                  <a:gd name="T59" fmla="*/ 62 h 138"/>
                  <a:gd name="T60" fmla="*/ 237 w 237"/>
                  <a:gd name="T61" fmla="*/ 83 h 138"/>
                  <a:gd name="T62" fmla="*/ 237 w 237"/>
                  <a:gd name="T63" fmla="*/ 103 h 138"/>
                  <a:gd name="T64" fmla="*/ 237 w 237"/>
                  <a:gd name="T65" fmla="*/ 114 h 138"/>
                  <a:gd name="T66" fmla="*/ 234 w 237"/>
                  <a:gd name="T67" fmla="*/ 122 h 138"/>
                  <a:gd name="T68" fmla="*/ 234 w 237"/>
                  <a:gd name="T69" fmla="*/ 122 h 138"/>
                  <a:gd name="T70" fmla="*/ 231 w 237"/>
                  <a:gd name="T71" fmla="*/ 127 h 138"/>
                  <a:gd name="T72" fmla="*/ 227 w 237"/>
                  <a:gd name="T73" fmla="*/ 131 h 138"/>
                  <a:gd name="T74" fmla="*/ 223 w 237"/>
                  <a:gd name="T75" fmla="*/ 134 h 138"/>
                  <a:gd name="T76" fmla="*/ 219 w 237"/>
                  <a:gd name="T77" fmla="*/ 134 h 138"/>
                  <a:gd name="T78" fmla="*/ 209 w 237"/>
                  <a:gd name="T79" fmla="*/ 134 h 138"/>
                  <a:gd name="T80" fmla="*/ 199 w 237"/>
                  <a:gd name="T81" fmla="*/ 133 h 138"/>
                  <a:gd name="T82" fmla="*/ 199 w 237"/>
                  <a:gd name="T83" fmla="*/ 133 h 138"/>
                  <a:gd name="T84" fmla="*/ 159 w 237"/>
                  <a:gd name="T85" fmla="*/ 133 h 138"/>
                  <a:gd name="T86" fmla="*/ 159 w 237"/>
                  <a:gd name="T87" fmla="*/ 133 h 138"/>
                  <a:gd name="T88" fmla="*/ 108 w 237"/>
                  <a:gd name="T89" fmla="*/ 133 h 138"/>
                  <a:gd name="T90" fmla="*/ 56 w 237"/>
                  <a:gd name="T91" fmla="*/ 135 h 138"/>
                  <a:gd name="T92" fmla="*/ 56 w 237"/>
                  <a:gd name="T93" fmla="*/ 135 h 138"/>
                  <a:gd name="T94" fmla="*/ 44 w 237"/>
                  <a:gd name="T95" fmla="*/ 137 h 138"/>
                  <a:gd name="T96" fmla="*/ 29 w 237"/>
                  <a:gd name="T97" fmla="*/ 138 h 138"/>
                  <a:gd name="T98" fmla="*/ 23 w 237"/>
                  <a:gd name="T99" fmla="*/ 138 h 138"/>
                  <a:gd name="T100" fmla="*/ 16 w 237"/>
                  <a:gd name="T101" fmla="*/ 137 h 138"/>
                  <a:gd name="T102" fmla="*/ 9 w 237"/>
                  <a:gd name="T103" fmla="*/ 134 h 138"/>
                  <a:gd name="T104" fmla="*/ 5 w 237"/>
                  <a:gd name="T105" fmla="*/ 130 h 138"/>
                  <a:gd name="T106" fmla="*/ 5 w 237"/>
                  <a:gd name="T107" fmla="*/ 1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138">
                    <a:moveTo>
                      <a:pt x="5" y="130"/>
                    </a:moveTo>
                    <a:lnTo>
                      <a:pt x="5" y="130"/>
                    </a:lnTo>
                    <a:lnTo>
                      <a:pt x="3" y="127"/>
                    </a:lnTo>
                    <a:lnTo>
                      <a:pt x="1" y="122"/>
                    </a:lnTo>
                    <a:lnTo>
                      <a:pt x="1" y="122"/>
                    </a:lnTo>
                    <a:lnTo>
                      <a:pt x="0" y="117"/>
                    </a:lnTo>
                    <a:lnTo>
                      <a:pt x="0" y="110"/>
                    </a:lnTo>
                    <a:lnTo>
                      <a:pt x="3" y="94"/>
                    </a:lnTo>
                    <a:lnTo>
                      <a:pt x="7" y="79"/>
                    </a:lnTo>
                    <a:lnTo>
                      <a:pt x="12" y="69"/>
                    </a:lnTo>
                    <a:lnTo>
                      <a:pt x="12" y="69"/>
                    </a:lnTo>
                    <a:lnTo>
                      <a:pt x="16" y="62"/>
                    </a:lnTo>
                    <a:lnTo>
                      <a:pt x="20" y="58"/>
                    </a:lnTo>
                    <a:lnTo>
                      <a:pt x="25" y="54"/>
                    </a:lnTo>
                    <a:lnTo>
                      <a:pt x="29" y="51"/>
                    </a:lnTo>
                    <a:lnTo>
                      <a:pt x="40" y="46"/>
                    </a:lnTo>
                    <a:lnTo>
                      <a:pt x="52" y="43"/>
                    </a:lnTo>
                    <a:lnTo>
                      <a:pt x="52" y="43"/>
                    </a:lnTo>
                    <a:lnTo>
                      <a:pt x="183" y="0"/>
                    </a:lnTo>
                    <a:lnTo>
                      <a:pt x="183" y="0"/>
                    </a:lnTo>
                    <a:lnTo>
                      <a:pt x="191" y="0"/>
                    </a:lnTo>
                    <a:lnTo>
                      <a:pt x="198" y="2"/>
                    </a:lnTo>
                    <a:lnTo>
                      <a:pt x="205" y="6"/>
                    </a:lnTo>
                    <a:lnTo>
                      <a:pt x="211" y="13"/>
                    </a:lnTo>
                    <a:lnTo>
                      <a:pt x="218" y="21"/>
                    </a:lnTo>
                    <a:lnTo>
                      <a:pt x="223" y="29"/>
                    </a:lnTo>
                    <a:lnTo>
                      <a:pt x="227" y="37"/>
                    </a:lnTo>
                    <a:lnTo>
                      <a:pt x="230" y="45"/>
                    </a:lnTo>
                    <a:lnTo>
                      <a:pt x="230" y="45"/>
                    </a:lnTo>
                    <a:lnTo>
                      <a:pt x="234" y="62"/>
                    </a:lnTo>
                    <a:lnTo>
                      <a:pt x="237" y="83"/>
                    </a:lnTo>
                    <a:lnTo>
                      <a:pt x="237" y="103"/>
                    </a:lnTo>
                    <a:lnTo>
                      <a:pt x="237" y="114"/>
                    </a:lnTo>
                    <a:lnTo>
                      <a:pt x="234" y="122"/>
                    </a:lnTo>
                    <a:lnTo>
                      <a:pt x="234" y="122"/>
                    </a:lnTo>
                    <a:lnTo>
                      <a:pt x="231" y="127"/>
                    </a:lnTo>
                    <a:lnTo>
                      <a:pt x="227" y="131"/>
                    </a:lnTo>
                    <a:lnTo>
                      <a:pt x="223" y="134"/>
                    </a:lnTo>
                    <a:lnTo>
                      <a:pt x="219" y="134"/>
                    </a:lnTo>
                    <a:lnTo>
                      <a:pt x="209" y="134"/>
                    </a:lnTo>
                    <a:lnTo>
                      <a:pt x="199" y="133"/>
                    </a:lnTo>
                    <a:lnTo>
                      <a:pt x="199" y="133"/>
                    </a:lnTo>
                    <a:lnTo>
                      <a:pt x="159" y="133"/>
                    </a:lnTo>
                    <a:lnTo>
                      <a:pt x="159" y="133"/>
                    </a:lnTo>
                    <a:lnTo>
                      <a:pt x="108" y="133"/>
                    </a:lnTo>
                    <a:lnTo>
                      <a:pt x="56" y="135"/>
                    </a:lnTo>
                    <a:lnTo>
                      <a:pt x="56" y="135"/>
                    </a:lnTo>
                    <a:lnTo>
                      <a:pt x="44" y="137"/>
                    </a:lnTo>
                    <a:lnTo>
                      <a:pt x="29" y="138"/>
                    </a:lnTo>
                    <a:lnTo>
                      <a:pt x="23" y="138"/>
                    </a:lnTo>
                    <a:lnTo>
                      <a:pt x="16" y="137"/>
                    </a:lnTo>
                    <a:lnTo>
                      <a:pt x="9" y="134"/>
                    </a:lnTo>
                    <a:lnTo>
                      <a:pt x="5" y="130"/>
                    </a:lnTo>
                    <a:lnTo>
                      <a:pt x="5"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390" name="Group 389"/>
          <p:cNvGrpSpPr/>
          <p:nvPr/>
        </p:nvGrpSpPr>
        <p:grpSpPr>
          <a:xfrm>
            <a:off x="8740254" y="2772706"/>
            <a:ext cx="233693" cy="214218"/>
            <a:chOff x="8316853" y="2640409"/>
            <a:chExt cx="414001" cy="379500"/>
          </a:xfrm>
        </p:grpSpPr>
        <p:sp>
          <p:nvSpPr>
            <p:cNvPr id="389" name="Rectangle 388"/>
            <p:cNvSpPr/>
            <p:nvPr/>
          </p:nvSpPr>
          <p:spPr bwMode="auto">
            <a:xfrm>
              <a:off x="8335671" y="2803820"/>
              <a:ext cx="376365" cy="1202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88" name="Group 387"/>
            <p:cNvGrpSpPr/>
            <p:nvPr/>
          </p:nvGrpSpPr>
          <p:grpSpPr>
            <a:xfrm>
              <a:off x="8316853" y="2640409"/>
              <a:ext cx="414001" cy="379500"/>
              <a:chOff x="8316853" y="2640409"/>
              <a:chExt cx="414001" cy="379500"/>
            </a:xfrm>
          </p:grpSpPr>
          <p:sp>
            <p:nvSpPr>
              <p:cNvPr id="493" name="Rectangle 492"/>
              <p:cNvSpPr/>
              <p:nvPr/>
            </p:nvSpPr>
            <p:spPr bwMode="auto">
              <a:xfrm>
                <a:off x="8366141" y="2668299"/>
                <a:ext cx="307365" cy="104794"/>
              </a:xfrm>
              <a:prstGeom prst="rect">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484" name="Freeform 65"/>
              <p:cNvSpPr>
                <a:spLocks noEditPoints="1"/>
              </p:cNvSpPr>
              <p:nvPr/>
            </p:nvSpPr>
            <p:spPr bwMode="auto">
              <a:xfrm>
                <a:off x="8316853" y="2640409"/>
                <a:ext cx="414001" cy="379500"/>
              </a:xfrm>
              <a:custGeom>
                <a:avLst/>
                <a:gdLst>
                  <a:gd name="T0" fmla="*/ 1083 w 1261"/>
                  <a:gd name="T1" fmla="*/ 59 h 1154"/>
                  <a:gd name="T2" fmla="*/ 1025 w 1261"/>
                  <a:gd name="T3" fmla="*/ 13 h 1154"/>
                  <a:gd name="T4" fmla="*/ 296 w 1261"/>
                  <a:gd name="T5" fmla="*/ 0 h 1154"/>
                  <a:gd name="T6" fmla="*/ 223 w 1261"/>
                  <a:gd name="T7" fmla="*/ 19 h 1154"/>
                  <a:gd name="T8" fmla="*/ 165 w 1261"/>
                  <a:gd name="T9" fmla="*/ 78 h 1154"/>
                  <a:gd name="T10" fmla="*/ 56 w 1261"/>
                  <a:gd name="T11" fmla="*/ 457 h 1154"/>
                  <a:gd name="T12" fmla="*/ 3 w 1261"/>
                  <a:gd name="T13" fmla="*/ 523 h 1154"/>
                  <a:gd name="T14" fmla="*/ 3 w 1261"/>
                  <a:gd name="T15" fmla="*/ 833 h 1154"/>
                  <a:gd name="T16" fmla="*/ 52 w 1261"/>
                  <a:gd name="T17" fmla="*/ 906 h 1154"/>
                  <a:gd name="T18" fmla="*/ 108 w 1261"/>
                  <a:gd name="T19" fmla="*/ 1147 h 1154"/>
                  <a:gd name="T20" fmla="*/ 174 w 1261"/>
                  <a:gd name="T21" fmla="*/ 1150 h 1154"/>
                  <a:gd name="T22" fmla="*/ 246 w 1261"/>
                  <a:gd name="T23" fmla="*/ 1109 h 1154"/>
                  <a:gd name="T24" fmla="*/ 1016 w 1261"/>
                  <a:gd name="T25" fmla="*/ 1109 h 1154"/>
                  <a:gd name="T26" fmla="*/ 1075 w 1261"/>
                  <a:gd name="T27" fmla="*/ 1147 h 1154"/>
                  <a:gd name="T28" fmla="*/ 1142 w 1261"/>
                  <a:gd name="T29" fmla="*/ 1150 h 1154"/>
                  <a:gd name="T30" fmla="*/ 1206 w 1261"/>
                  <a:gd name="T31" fmla="*/ 1109 h 1154"/>
                  <a:gd name="T32" fmla="*/ 1249 w 1261"/>
                  <a:gd name="T33" fmla="*/ 861 h 1154"/>
                  <a:gd name="T34" fmla="*/ 1261 w 1261"/>
                  <a:gd name="T35" fmla="*/ 539 h 1154"/>
                  <a:gd name="T36" fmla="*/ 1234 w 1261"/>
                  <a:gd name="T37" fmla="*/ 479 h 1154"/>
                  <a:gd name="T38" fmla="*/ 157 w 1261"/>
                  <a:gd name="T39" fmla="*/ 682 h 1154"/>
                  <a:gd name="T40" fmla="*/ 116 w 1261"/>
                  <a:gd name="T41" fmla="*/ 671 h 1154"/>
                  <a:gd name="T42" fmla="*/ 78 w 1261"/>
                  <a:gd name="T43" fmla="*/ 628 h 1154"/>
                  <a:gd name="T44" fmla="*/ 71 w 1261"/>
                  <a:gd name="T45" fmla="*/ 584 h 1154"/>
                  <a:gd name="T46" fmla="*/ 96 w 1261"/>
                  <a:gd name="T47" fmla="*/ 531 h 1154"/>
                  <a:gd name="T48" fmla="*/ 139 w 1261"/>
                  <a:gd name="T49" fmla="*/ 507 h 1154"/>
                  <a:gd name="T50" fmla="*/ 183 w 1261"/>
                  <a:gd name="T51" fmla="*/ 509 h 1154"/>
                  <a:gd name="T52" fmla="*/ 229 w 1261"/>
                  <a:gd name="T53" fmla="*/ 544 h 1154"/>
                  <a:gd name="T54" fmla="*/ 243 w 1261"/>
                  <a:gd name="T55" fmla="*/ 594 h 1154"/>
                  <a:gd name="T56" fmla="*/ 233 w 1261"/>
                  <a:gd name="T57" fmla="*/ 636 h 1154"/>
                  <a:gd name="T58" fmla="*/ 190 w 1261"/>
                  <a:gd name="T59" fmla="*/ 675 h 1154"/>
                  <a:gd name="T60" fmla="*/ 952 w 1261"/>
                  <a:gd name="T61" fmla="*/ 827 h 1154"/>
                  <a:gd name="T62" fmla="*/ 631 w 1261"/>
                  <a:gd name="T63" fmla="*/ 789 h 1154"/>
                  <a:gd name="T64" fmla="*/ 308 w 1261"/>
                  <a:gd name="T65" fmla="*/ 739 h 1154"/>
                  <a:gd name="T66" fmla="*/ 308 w 1261"/>
                  <a:gd name="T67" fmla="*/ 638 h 1154"/>
                  <a:gd name="T68" fmla="*/ 952 w 1261"/>
                  <a:gd name="T69" fmla="*/ 638 h 1154"/>
                  <a:gd name="T70" fmla="*/ 263 w 1261"/>
                  <a:gd name="T71" fmla="*/ 393 h 1154"/>
                  <a:gd name="T72" fmla="*/ 191 w 1261"/>
                  <a:gd name="T73" fmla="*/ 377 h 1154"/>
                  <a:gd name="T74" fmla="*/ 171 w 1261"/>
                  <a:gd name="T75" fmla="*/ 336 h 1154"/>
                  <a:gd name="T76" fmla="*/ 203 w 1261"/>
                  <a:gd name="T77" fmla="*/ 178 h 1154"/>
                  <a:gd name="T78" fmla="*/ 282 w 1261"/>
                  <a:gd name="T79" fmla="*/ 115 h 1154"/>
                  <a:gd name="T80" fmla="*/ 441 w 1261"/>
                  <a:gd name="T81" fmla="*/ 94 h 1154"/>
                  <a:gd name="T82" fmla="*/ 925 w 1261"/>
                  <a:gd name="T83" fmla="*/ 100 h 1154"/>
                  <a:gd name="T84" fmla="*/ 1025 w 1261"/>
                  <a:gd name="T85" fmla="*/ 139 h 1154"/>
                  <a:gd name="T86" fmla="*/ 1087 w 1261"/>
                  <a:gd name="T87" fmla="*/ 316 h 1154"/>
                  <a:gd name="T88" fmla="*/ 1084 w 1261"/>
                  <a:gd name="T89" fmla="*/ 360 h 1154"/>
                  <a:gd name="T90" fmla="*/ 1049 w 1261"/>
                  <a:gd name="T91" fmla="*/ 388 h 1154"/>
                  <a:gd name="T92" fmla="*/ 1100 w 1261"/>
                  <a:gd name="T93" fmla="*/ 682 h 1154"/>
                  <a:gd name="T94" fmla="*/ 1052 w 1261"/>
                  <a:gd name="T95" fmla="*/ 667 h 1154"/>
                  <a:gd name="T96" fmla="*/ 1017 w 1261"/>
                  <a:gd name="T97" fmla="*/ 620 h 1154"/>
                  <a:gd name="T98" fmla="*/ 1016 w 1261"/>
                  <a:gd name="T99" fmla="*/ 576 h 1154"/>
                  <a:gd name="T100" fmla="*/ 1045 w 1261"/>
                  <a:gd name="T101" fmla="*/ 525 h 1154"/>
                  <a:gd name="T102" fmla="*/ 1091 w 1261"/>
                  <a:gd name="T103" fmla="*/ 505 h 1154"/>
                  <a:gd name="T104" fmla="*/ 1134 w 1261"/>
                  <a:gd name="T105" fmla="*/ 512 h 1154"/>
                  <a:gd name="T106" fmla="*/ 1175 w 1261"/>
                  <a:gd name="T107" fmla="*/ 551 h 1154"/>
                  <a:gd name="T108" fmla="*/ 1186 w 1261"/>
                  <a:gd name="T109" fmla="*/ 594 h 1154"/>
                  <a:gd name="T110" fmla="*/ 1171 w 1261"/>
                  <a:gd name="T111" fmla="*/ 643 h 1154"/>
                  <a:gd name="T112" fmla="*/ 1126 w 1261"/>
                  <a:gd name="T113" fmla="*/ 678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1" h="1154">
                    <a:moveTo>
                      <a:pt x="1175" y="445"/>
                    </a:moveTo>
                    <a:lnTo>
                      <a:pt x="1108" y="110"/>
                    </a:lnTo>
                    <a:lnTo>
                      <a:pt x="1108" y="110"/>
                    </a:lnTo>
                    <a:lnTo>
                      <a:pt x="1103" y="94"/>
                    </a:lnTo>
                    <a:lnTo>
                      <a:pt x="1095" y="78"/>
                    </a:lnTo>
                    <a:lnTo>
                      <a:pt x="1083" y="59"/>
                    </a:lnTo>
                    <a:lnTo>
                      <a:pt x="1076" y="51"/>
                    </a:lnTo>
                    <a:lnTo>
                      <a:pt x="1068" y="42"/>
                    </a:lnTo>
                    <a:lnTo>
                      <a:pt x="1059" y="34"/>
                    </a:lnTo>
                    <a:lnTo>
                      <a:pt x="1048" y="26"/>
                    </a:lnTo>
                    <a:lnTo>
                      <a:pt x="1037" y="19"/>
                    </a:lnTo>
                    <a:lnTo>
                      <a:pt x="1025" y="13"/>
                    </a:lnTo>
                    <a:lnTo>
                      <a:pt x="1012" y="8"/>
                    </a:lnTo>
                    <a:lnTo>
                      <a:pt x="999" y="4"/>
                    </a:lnTo>
                    <a:lnTo>
                      <a:pt x="983" y="1"/>
                    </a:lnTo>
                    <a:lnTo>
                      <a:pt x="967" y="0"/>
                    </a:lnTo>
                    <a:lnTo>
                      <a:pt x="631" y="0"/>
                    </a:lnTo>
                    <a:lnTo>
                      <a:pt x="296" y="0"/>
                    </a:lnTo>
                    <a:lnTo>
                      <a:pt x="296" y="0"/>
                    </a:lnTo>
                    <a:lnTo>
                      <a:pt x="278" y="1"/>
                    </a:lnTo>
                    <a:lnTo>
                      <a:pt x="263" y="4"/>
                    </a:lnTo>
                    <a:lnTo>
                      <a:pt x="249" y="8"/>
                    </a:lnTo>
                    <a:lnTo>
                      <a:pt x="235" y="13"/>
                    </a:lnTo>
                    <a:lnTo>
                      <a:pt x="223" y="19"/>
                    </a:lnTo>
                    <a:lnTo>
                      <a:pt x="211" y="26"/>
                    </a:lnTo>
                    <a:lnTo>
                      <a:pt x="202" y="34"/>
                    </a:lnTo>
                    <a:lnTo>
                      <a:pt x="193" y="42"/>
                    </a:lnTo>
                    <a:lnTo>
                      <a:pt x="185" y="51"/>
                    </a:lnTo>
                    <a:lnTo>
                      <a:pt x="177" y="59"/>
                    </a:lnTo>
                    <a:lnTo>
                      <a:pt x="165" y="78"/>
                    </a:lnTo>
                    <a:lnTo>
                      <a:pt x="157" y="94"/>
                    </a:lnTo>
                    <a:lnTo>
                      <a:pt x="151" y="110"/>
                    </a:lnTo>
                    <a:lnTo>
                      <a:pt x="87" y="445"/>
                    </a:lnTo>
                    <a:lnTo>
                      <a:pt x="87" y="445"/>
                    </a:lnTo>
                    <a:lnTo>
                      <a:pt x="71" y="449"/>
                    </a:lnTo>
                    <a:lnTo>
                      <a:pt x="56" y="457"/>
                    </a:lnTo>
                    <a:lnTo>
                      <a:pt x="42" y="467"/>
                    </a:lnTo>
                    <a:lnTo>
                      <a:pt x="28" y="479"/>
                    </a:lnTo>
                    <a:lnTo>
                      <a:pt x="18" y="492"/>
                    </a:lnTo>
                    <a:lnTo>
                      <a:pt x="8" y="507"/>
                    </a:lnTo>
                    <a:lnTo>
                      <a:pt x="5" y="515"/>
                    </a:lnTo>
                    <a:lnTo>
                      <a:pt x="3" y="523"/>
                    </a:lnTo>
                    <a:lnTo>
                      <a:pt x="1" y="531"/>
                    </a:lnTo>
                    <a:lnTo>
                      <a:pt x="0" y="539"/>
                    </a:lnTo>
                    <a:lnTo>
                      <a:pt x="0" y="818"/>
                    </a:lnTo>
                    <a:lnTo>
                      <a:pt x="0" y="818"/>
                    </a:lnTo>
                    <a:lnTo>
                      <a:pt x="1" y="825"/>
                    </a:lnTo>
                    <a:lnTo>
                      <a:pt x="3" y="833"/>
                    </a:lnTo>
                    <a:lnTo>
                      <a:pt x="7" y="847"/>
                    </a:lnTo>
                    <a:lnTo>
                      <a:pt x="14" y="861"/>
                    </a:lnTo>
                    <a:lnTo>
                      <a:pt x="22" y="873"/>
                    </a:lnTo>
                    <a:lnTo>
                      <a:pt x="30" y="884"/>
                    </a:lnTo>
                    <a:lnTo>
                      <a:pt x="38" y="893"/>
                    </a:lnTo>
                    <a:lnTo>
                      <a:pt x="52" y="906"/>
                    </a:lnTo>
                    <a:lnTo>
                      <a:pt x="52" y="1109"/>
                    </a:lnTo>
                    <a:lnTo>
                      <a:pt x="52" y="1109"/>
                    </a:lnTo>
                    <a:lnTo>
                      <a:pt x="75" y="1127"/>
                    </a:lnTo>
                    <a:lnTo>
                      <a:pt x="86" y="1135"/>
                    </a:lnTo>
                    <a:lnTo>
                      <a:pt x="96" y="1141"/>
                    </a:lnTo>
                    <a:lnTo>
                      <a:pt x="108" y="1147"/>
                    </a:lnTo>
                    <a:lnTo>
                      <a:pt x="120" y="1150"/>
                    </a:lnTo>
                    <a:lnTo>
                      <a:pt x="134" y="1152"/>
                    </a:lnTo>
                    <a:lnTo>
                      <a:pt x="147" y="1154"/>
                    </a:lnTo>
                    <a:lnTo>
                      <a:pt x="147" y="1154"/>
                    </a:lnTo>
                    <a:lnTo>
                      <a:pt x="161" y="1152"/>
                    </a:lnTo>
                    <a:lnTo>
                      <a:pt x="174" y="1150"/>
                    </a:lnTo>
                    <a:lnTo>
                      <a:pt x="187" y="1147"/>
                    </a:lnTo>
                    <a:lnTo>
                      <a:pt x="201" y="1141"/>
                    </a:lnTo>
                    <a:lnTo>
                      <a:pt x="214" y="1135"/>
                    </a:lnTo>
                    <a:lnTo>
                      <a:pt x="226" y="1127"/>
                    </a:lnTo>
                    <a:lnTo>
                      <a:pt x="237" y="1119"/>
                    </a:lnTo>
                    <a:lnTo>
                      <a:pt x="246" y="1109"/>
                    </a:lnTo>
                    <a:lnTo>
                      <a:pt x="246" y="914"/>
                    </a:lnTo>
                    <a:lnTo>
                      <a:pt x="420" y="926"/>
                    </a:lnTo>
                    <a:lnTo>
                      <a:pt x="631" y="926"/>
                    </a:lnTo>
                    <a:lnTo>
                      <a:pt x="842" y="926"/>
                    </a:lnTo>
                    <a:lnTo>
                      <a:pt x="1016" y="914"/>
                    </a:lnTo>
                    <a:lnTo>
                      <a:pt x="1016" y="1109"/>
                    </a:lnTo>
                    <a:lnTo>
                      <a:pt x="1016" y="1109"/>
                    </a:lnTo>
                    <a:lnTo>
                      <a:pt x="1025" y="1119"/>
                    </a:lnTo>
                    <a:lnTo>
                      <a:pt x="1036" y="1127"/>
                    </a:lnTo>
                    <a:lnTo>
                      <a:pt x="1048" y="1135"/>
                    </a:lnTo>
                    <a:lnTo>
                      <a:pt x="1061" y="1141"/>
                    </a:lnTo>
                    <a:lnTo>
                      <a:pt x="1075" y="1147"/>
                    </a:lnTo>
                    <a:lnTo>
                      <a:pt x="1088" y="1150"/>
                    </a:lnTo>
                    <a:lnTo>
                      <a:pt x="1102" y="1152"/>
                    </a:lnTo>
                    <a:lnTo>
                      <a:pt x="1115" y="1154"/>
                    </a:lnTo>
                    <a:lnTo>
                      <a:pt x="1115" y="1154"/>
                    </a:lnTo>
                    <a:lnTo>
                      <a:pt x="1128" y="1152"/>
                    </a:lnTo>
                    <a:lnTo>
                      <a:pt x="1142" y="1150"/>
                    </a:lnTo>
                    <a:lnTo>
                      <a:pt x="1154" y="1147"/>
                    </a:lnTo>
                    <a:lnTo>
                      <a:pt x="1164" y="1141"/>
                    </a:lnTo>
                    <a:lnTo>
                      <a:pt x="1176" y="1135"/>
                    </a:lnTo>
                    <a:lnTo>
                      <a:pt x="1186" y="1127"/>
                    </a:lnTo>
                    <a:lnTo>
                      <a:pt x="1196" y="1119"/>
                    </a:lnTo>
                    <a:lnTo>
                      <a:pt x="1206" y="1109"/>
                    </a:lnTo>
                    <a:lnTo>
                      <a:pt x="1206" y="906"/>
                    </a:lnTo>
                    <a:lnTo>
                      <a:pt x="1206" y="906"/>
                    </a:lnTo>
                    <a:lnTo>
                      <a:pt x="1223" y="893"/>
                    </a:lnTo>
                    <a:lnTo>
                      <a:pt x="1231" y="884"/>
                    </a:lnTo>
                    <a:lnTo>
                      <a:pt x="1241" y="873"/>
                    </a:lnTo>
                    <a:lnTo>
                      <a:pt x="1249" y="861"/>
                    </a:lnTo>
                    <a:lnTo>
                      <a:pt x="1255" y="847"/>
                    </a:lnTo>
                    <a:lnTo>
                      <a:pt x="1259" y="833"/>
                    </a:lnTo>
                    <a:lnTo>
                      <a:pt x="1261" y="825"/>
                    </a:lnTo>
                    <a:lnTo>
                      <a:pt x="1261" y="818"/>
                    </a:lnTo>
                    <a:lnTo>
                      <a:pt x="1261" y="539"/>
                    </a:lnTo>
                    <a:lnTo>
                      <a:pt x="1261" y="539"/>
                    </a:lnTo>
                    <a:lnTo>
                      <a:pt x="1261" y="531"/>
                    </a:lnTo>
                    <a:lnTo>
                      <a:pt x="1259" y="523"/>
                    </a:lnTo>
                    <a:lnTo>
                      <a:pt x="1257" y="515"/>
                    </a:lnTo>
                    <a:lnTo>
                      <a:pt x="1254" y="507"/>
                    </a:lnTo>
                    <a:lnTo>
                      <a:pt x="1245" y="492"/>
                    </a:lnTo>
                    <a:lnTo>
                      <a:pt x="1234" y="479"/>
                    </a:lnTo>
                    <a:lnTo>
                      <a:pt x="1220" y="467"/>
                    </a:lnTo>
                    <a:lnTo>
                      <a:pt x="1206" y="457"/>
                    </a:lnTo>
                    <a:lnTo>
                      <a:pt x="1191" y="449"/>
                    </a:lnTo>
                    <a:lnTo>
                      <a:pt x="1175" y="445"/>
                    </a:lnTo>
                    <a:lnTo>
                      <a:pt x="1175" y="445"/>
                    </a:lnTo>
                    <a:close/>
                    <a:moveTo>
                      <a:pt x="157" y="682"/>
                    </a:moveTo>
                    <a:lnTo>
                      <a:pt x="157" y="682"/>
                    </a:lnTo>
                    <a:lnTo>
                      <a:pt x="149" y="682"/>
                    </a:lnTo>
                    <a:lnTo>
                      <a:pt x="139" y="680"/>
                    </a:lnTo>
                    <a:lnTo>
                      <a:pt x="131" y="678"/>
                    </a:lnTo>
                    <a:lnTo>
                      <a:pt x="123" y="675"/>
                    </a:lnTo>
                    <a:lnTo>
                      <a:pt x="116" y="671"/>
                    </a:lnTo>
                    <a:lnTo>
                      <a:pt x="108" y="667"/>
                    </a:lnTo>
                    <a:lnTo>
                      <a:pt x="102" y="662"/>
                    </a:lnTo>
                    <a:lnTo>
                      <a:pt x="96" y="656"/>
                    </a:lnTo>
                    <a:lnTo>
                      <a:pt x="86" y="643"/>
                    </a:lnTo>
                    <a:lnTo>
                      <a:pt x="82" y="636"/>
                    </a:lnTo>
                    <a:lnTo>
                      <a:pt x="78" y="628"/>
                    </a:lnTo>
                    <a:lnTo>
                      <a:pt x="75" y="620"/>
                    </a:lnTo>
                    <a:lnTo>
                      <a:pt x="72" y="611"/>
                    </a:lnTo>
                    <a:lnTo>
                      <a:pt x="71" y="603"/>
                    </a:lnTo>
                    <a:lnTo>
                      <a:pt x="71" y="594"/>
                    </a:lnTo>
                    <a:lnTo>
                      <a:pt x="71" y="594"/>
                    </a:lnTo>
                    <a:lnTo>
                      <a:pt x="71" y="584"/>
                    </a:lnTo>
                    <a:lnTo>
                      <a:pt x="72" y="576"/>
                    </a:lnTo>
                    <a:lnTo>
                      <a:pt x="75" y="567"/>
                    </a:lnTo>
                    <a:lnTo>
                      <a:pt x="78" y="559"/>
                    </a:lnTo>
                    <a:lnTo>
                      <a:pt x="82" y="551"/>
                    </a:lnTo>
                    <a:lnTo>
                      <a:pt x="86" y="544"/>
                    </a:lnTo>
                    <a:lnTo>
                      <a:pt x="96" y="531"/>
                    </a:lnTo>
                    <a:lnTo>
                      <a:pt x="102" y="525"/>
                    </a:lnTo>
                    <a:lnTo>
                      <a:pt x="108" y="520"/>
                    </a:lnTo>
                    <a:lnTo>
                      <a:pt x="116" y="516"/>
                    </a:lnTo>
                    <a:lnTo>
                      <a:pt x="123" y="512"/>
                    </a:lnTo>
                    <a:lnTo>
                      <a:pt x="131" y="509"/>
                    </a:lnTo>
                    <a:lnTo>
                      <a:pt x="139" y="507"/>
                    </a:lnTo>
                    <a:lnTo>
                      <a:pt x="149" y="505"/>
                    </a:lnTo>
                    <a:lnTo>
                      <a:pt x="157" y="505"/>
                    </a:lnTo>
                    <a:lnTo>
                      <a:pt x="157" y="505"/>
                    </a:lnTo>
                    <a:lnTo>
                      <a:pt x="166" y="505"/>
                    </a:lnTo>
                    <a:lnTo>
                      <a:pt x="174" y="507"/>
                    </a:lnTo>
                    <a:lnTo>
                      <a:pt x="183" y="509"/>
                    </a:lnTo>
                    <a:lnTo>
                      <a:pt x="190" y="512"/>
                    </a:lnTo>
                    <a:lnTo>
                      <a:pt x="198" y="516"/>
                    </a:lnTo>
                    <a:lnTo>
                      <a:pt x="205" y="520"/>
                    </a:lnTo>
                    <a:lnTo>
                      <a:pt x="211" y="525"/>
                    </a:lnTo>
                    <a:lnTo>
                      <a:pt x="218" y="531"/>
                    </a:lnTo>
                    <a:lnTo>
                      <a:pt x="229" y="544"/>
                    </a:lnTo>
                    <a:lnTo>
                      <a:pt x="233" y="551"/>
                    </a:lnTo>
                    <a:lnTo>
                      <a:pt x="237" y="559"/>
                    </a:lnTo>
                    <a:lnTo>
                      <a:pt x="239" y="567"/>
                    </a:lnTo>
                    <a:lnTo>
                      <a:pt x="241" y="576"/>
                    </a:lnTo>
                    <a:lnTo>
                      <a:pt x="242" y="584"/>
                    </a:lnTo>
                    <a:lnTo>
                      <a:pt x="243" y="594"/>
                    </a:lnTo>
                    <a:lnTo>
                      <a:pt x="243" y="594"/>
                    </a:lnTo>
                    <a:lnTo>
                      <a:pt x="242" y="603"/>
                    </a:lnTo>
                    <a:lnTo>
                      <a:pt x="241" y="611"/>
                    </a:lnTo>
                    <a:lnTo>
                      <a:pt x="239" y="620"/>
                    </a:lnTo>
                    <a:lnTo>
                      <a:pt x="237" y="628"/>
                    </a:lnTo>
                    <a:lnTo>
                      <a:pt x="233" y="636"/>
                    </a:lnTo>
                    <a:lnTo>
                      <a:pt x="229" y="643"/>
                    </a:lnTo>
                    <a:lnTo>
                      <a:pt x="218" y="656"/>
                    </a:lnTo>
                    <a:lnTo>
                      <a:pt x="211" y="662"/>
                    </a:lnTo>
                    <a:lnTo>
                      <a:pt x="205" y="667"/>
                    </a:lnTo>
                    <a:lnTo>
                      <a:pt x="198" y="671"/>
                    </a:lnTo>
                    <a:lnTo>
                      <a:pt x="190" y="675"/>
                    </a:lnTo>
                    <a:lnTo>
                      <a:pt x="183" y="678"/>
                    </a:lnTo>
                    <a:lnTo>
                      <a:pt x="174" y="680"/>
                    </a:lnTo>
                    <a:lnTo>
                      <a:pt x="166" y="682"/>
                    </a:lnTo>
                    <a:lnTo>
                      <a:pt x="157" y="682"/>
                    </a:lnTo>
                    <a:lnTo>
                      <a:pt x="157" y="682"/>
                    </a:lnTo>
                    <a:close/>
                    <a:moveTo>
                      <a:pt x="952" y="827"/>
                    </a:moveTo>
                    <a:lnTo>
                      <a:pt x="751" y="838"/>
                    </a:lnTo>
                    <a:lnTo>
                      <a:pt x="631" y="838"/>
                    </a:lnTo>
                    <a:lnTo>
                      <a:pt x="511" y="838"/>
                    </a:lnTo>
                    <a:lnTo>
                      <a:pt x="308" y="827"/>
                    </a:lnTo>
                    <a:lnTo>
                      <a:pt x="308" y="789"/>
                    </a:lnTo>
                    <a:lnTo>
                      <a:pt x="631" y="789"/>
                    </a:lnTo>
                    <a:lnTo>
                      <a:pt x="952" y="789"/>
                    </a:lnTo>
                    <a:lnTo>
                      <a:pt x="952" y="827"/>
                    </a:lnTo>
                    <a:close/>
                    <a:moveTo>
                      <a:pt x="954" y="739"/>
                    </a:moveTo>
                    <a:lnTo>
                      <a:pt x="631" y="739"/>
                    </a:lnTo>
                    <a:lnTo>
                      <a:pt x="628" y="739"/>
                    </a:lnTo>
                    <a:lnTo>
                      <a:pt x="308" y="739"/>
                    </a:lnTo>
                    <a:lnTo>
                      <a:pt x="308" y="690"/>
                    </a:lnTo>
                    <a:lnTo>
                      <a:pt x="628" y="690"/>
                    </a:lnTo>
                    <a:lnTo>
                      <a:pt x="631" y="690"/>
                    </a:lnTo>
                    <a:lnTo>
                      <a:pt x="954" y="690"/>
                    </a:lnTo>
                    <a:lnTo>
                      <a:pt x="954" y="739"/>
                    </a:lnTo>
                    <a:close/>
                    <a:moveTo>
                      <a:pt x="308" y="638"/>
                    </a:moveTo>
                    <a:lnTo>
                      <a:pt x="308" y="602"/>
                    </a:lnTo>
                    <a:lnTo>
                      <a:pt x="511" y="588"/>
                    </a:lnTo>
                    <a:lnTo>
                      <a:pt x="631" y="588"/>
                    </a:lnTo>
                    <a:lnTo>
                      <a:pt x="751" y="588"/>
                    </a:lnTo>
                    <a:lnTo>
                      <a:pt x="952" y="602"/>
                    </a:lnTo>
                    <a:lnTo>
                      <a:pt x="952" y="638"/>
                    </a:lnTo>
                    <a:lnTo>
                      <a:pt x="631" y="638"/>
                    </a:lnTo>
                    <a:lnTo>
                      <a:pt x="308" y="638"/>
                    </a:lnTo>
                    <a:close/>
                    <a:moveTo>
                      <a:pt x="999" y="393"/>
                    </a:moveTo>
                    <a:lnTo>
                      <a:pt x="631" y="377"/>
                    </a:lnTo>
                    <a:lnTo>
                      <a:pt x="263" y="393"/>
                    </a:lnTo>
                    <a:lnTo>
                      <a:pt x="263" y="393"/>
                    </a:lnTo>
                    <a:lnTo>
                      <a:pt x="241" y="393"/>
                    </a:lnTo>
                    <a:lnTo>
                      <a:pt x="221" y="390"/>
                    </a:lnTo>
                    <a:lnTo>
                      <a:pt x="213" y="388"/>
                    </a:lnTo>
                    <a:lnTo>
                      <a:pt x="205" y="385"/>
                    </a:lnTo>
                    <a:lnTo>
                      <a:pt x="197" y="382"/>
                    </a:lnTo>
                    <a:lnTo>
                      <a:pt x="191" y="377"/>
                    </a:lnTo>
                    <a:lnTo>
                      <a:pt x="186" y="373"/>
                    </a:lnTo>
                    <a:lnTo>
                      <a:pt x="181" y="366"/>
                    </a:lnTo>
                    <a:lnTo>
                      <a:pt x="178" y="360"/>
                    </a:lnTo>
                    <a:lnTo>
                      <a:pt x="174" y="353"/>
                    </a:lnTo>
                    <a:lnTo>
                      <a:pt x="173" y="345"/>
                    </a:lnTo>
                    <a:lnTo>
                      <a:pt x="171" y="336"/>
                    </a:lnTo>
                    <a:lnTo>
                      <a:pt x="171" y="326"/>
                    </a:lnTo>
                    <a:lnTo>
                      <a:pt x="173" y="316"/>
                    </a:lnTo>
                    <a:lnTo>
                      <a:pt x="191" y="214"/>
                    </a:lnTo>
                    <a:lnTo>
                      <a:pt x="191" y="214"/>
                    </a:lnTo>
                    <a:lnTo>
                      <a:pt x="197" y="195"/>
                    </a:lnTo>
                    <a:lnTo>
                      <a:pt x="203" y="178"/>
                    </a:lnTo>
                    <a:lnTo>
                      <a:pt x="213" y="163"/>
                    </a:lnTo>
                    <a:lnTo>
                      <a:pt x="223" y="151"/>
                    </a:lnTo>
                    <a:lnTo>
                      <a:pt x="237" y="139"/>
                    </a:lnTo>
                    <a:lnTo>
                      <a:pt x="250" y="130"/>
                    </a:lnTo>
                    <a:lnTo>
                      <a:pt x="265" y="122"/>
                    </a:lnTo>
                    <a:lnTo>
                      <a:pt x="282" y="115"/>
                    </a:lnTo>
                    <a:lnTo>
                      <a:pt x="300" y="108"/>
                    </a:lnTo>
                    <a:lnTo>
                      <a:pt x="318" y="104"/>
                    </a:lnTo>
                    <a:lnTo>
                      <a:pt x="337" y="100"/>
                    </a:lnTo>
                    <a:lnTo>
                      <a:pt x="357" y="98"/>
                    </a:lnTo>
                    <a:lnTo>
                      <a:pt x="398" y="95"/>
                    </a:lnTo>
                    <a:lnTo>
                      <a:pt x="441" y="94"/>
                    </a:lnTo>
                    <a:lnTo>
                      <a:pt x="631" y="94"/>
                    </a:lnTo>
                    <a:lnTo>
                      <a:pt x="821" y="94"/>
                    </a:lnTo>
                    <a:lnTo>
                      <a:pt x="821" y="94"/>
                    </a:lnTo>
                    <a:lnTo>
                      <a:pt x="864" y="95"/>
                    </a:lnTo>
                    <a:lnTo>
                      <a:pt x="905" y="98"/>
                    </a:lnTo>
                    <a:lnTo>
                      <a:pt x="925" y="100"/>
                    </a:lnTo>
                    <a:lnTo>
                      <a:pt x="944" y="104"/>
                    </a:lnTo>
                    <a:lnTo>
                      <a:pt x="962" y="108"/>
                    </a:lnTo>
                    <a:lnTo>
                      <a:pt x="980" y="115"/>
                    </a:lnTo>
                    <a:lnTo>
                      <a:pt x="996" y="122"/>
                    </a:lnTo>
                    <a:lnTo>
                      <a:pt x="1012" y="130"/>
                    </a:lnTo>
                    <a:lnTo>
                      <a:pt x="1025" y="139"/>
                    </a:lnTo>
                    <a:lnTo>
                      <a:pt x="1037" y="151"/>
                    </a:lnTo>
                    <a:lnTo>
                      <a:pt x="1048" y="163"/>
                    </a:lnTo>
                    <a:lnTo>
                      <a:pt x="1056" y="178"/>
                    </a:lnTo>
                    <a:lnTo>
                      <a:pt x="1064" y="195"/>
                    </a:lnTo>
                    <a:lnTo>
                      <a:pt x="1068" y="214"/>
                    </a:lnTo>
                    <a:lnTo>
                      <a:pt x="1087" y="316"/>
                    </a:lnTo>
                    <a:lnTo>
                      <a:pt x="1087" y="316"/>
                    </a:lnTo>
                    <a:lnTo>
                      <a:pt x="1088" y="326"/>
                    </a:lnTo>
                    <a:lnTo>
                      <a:pt x="1088" y="336"/>
                    </a:lnTo>
                    <a:lnTo>
                      <a:pt x="1088" y="345"/>
                    </a:lnTo>
                    <a:lnTo>
                      <a:pt x="1087" y="353"/>
                    </a:lnTo>
                    <a:lnTo>
                      <a:pt x="1084" y="360"/>
                    </a:lnTo>
                    <a:lnTo>
                      <a:pt x="1080" y="366"/>
                    </a:lnTo>
                    <a:lnTo>
                      <a:pt x="1076" y="373"/>
                    </a:lnTo>
                    <a:lnTo>
                      <a:pt x="1071" y="377"/>
                    </a:lnTo>
                    <a:lnTo>
                      <a:pt x="1064" y="382"/>
                    </a:lnTo>
                    <a:lnTo>
                      <a:pt x="1057" y="385"/>
                    </a:lnTo>
                    <a:lnTo>
                      <a:pt x="1049" y="388"/>
                    </a:lnTo>
                    <a:lnTo>
                      <a:pt x="1041" y="390"/>
                    </a:lnTo>
                    <a:lnTo>
                      <a:pt x="1021" y="393"/>
                    </a:lnTo>
                    <a:lnTo>
                      <a:pt x="999" y="393"/>
                    </a:lnTo>
                    <a:lnTo>
                      <a:pt x="999" y="393"/>
                    </a:lnTo>
                    <a:close/>
                    <a:moveTo>
                      <a:pt x="1100" y="682"/>
                    </a:moveTo>
                    <a:lnTo>
                      <a:pt x="1100" y="682"/>
                    </a:lnTo>
                    <a:lnTo>
                      <a:pt x="1091" y="682"/>
                    </a:lnTo>
                    <a:lnTo>
                      <a:pt x="1083" y="680"/>
                    </a:lnTo>
                    <a:lnTo>
                      <a:pt x="1075" y="678"/>
                    </a:lnTo>
                    <a:lnTo>
                      <a:pt x="1067" y="675"/>
                    </a:lnTo>
                    <a:lnTo>
                      <a:pt x="1059" y="671"/>
                    </a:lnTo>
                    <a:lnTo>
                      <a:pt x="1052" y="667"/>
                    </a:lnTo>
                    <a:lnTo>
                      <a:pt x="1045" y="662"/>
                    </a:lnTo>
                    <a:lnTo>
                      <a:pt x="1039" y="656"/>
                    </a:lnTo>
                    <a:lnTo>
                      <a:pt x="1028" y="643"/>
                    </a:lnTo>
                    <a:lnTo>
                      <a:pt x="1024" y="636"/>
                    </a:lnTo>
                    <a:lnTo>
                      <a:pt x="1020" y="628"/>
                    </a:lnTo>
                    <a:lnTo>
                      <a:pt x="1017" y="620"/>
                    </a:lnTo>
                    <a:lnTo>
                      <a:pt x="1016" y="611"/>
                    </a:lnTo>
                    <a:lnTo>
                      <a:pt x="1015" y="603"/>
                    </a:lnTo>
                    <a:lnTo>
                      <a:pt x="1013" y="594"/>
                    </a:lnTo>
                    <a:lnTo>
                      <a:pt x="1013" y="594"/>
                    </a:lnTo>
                    <a:lnTo>
                      <a:pt x="1015" y="584"/>
                    </a:lnTo>
                    <a:lnTo>
                      <a:pt x="1016" y="576"/>
                    </a:lnTo>
                    <a:lnTo>
                      <a:pt x="1017" y="567"/>
                    </a:lnTo>
                    <a:lnTo>
                      <a:pt x="1020" y="559"/>
                    </a:lnTo>
                    <a:lnTo>
                      <a:pt x="1024" y="551"/>
                    </a:lnTo>
                    <a:lnTo>
                      <a:pt x="1028" y="544"/>
                    </a:lnTo>
                    <a:lnTo>
                      <a:pt x="1039" y="531"/>
                    </a:lnTo>
                    <a:lnTo>
                      <a:pt x="1045" y="525"/>
                    </a:lnTo>
                    <a:lnTo>
                      <a:pt x="1052" y="520"/>
                    </a:lnTo>
                    <a:lnTo>
                      <a:pt x="1059" y="516"/>
                    </a:lnTo>
                    <a:lnTo>
                      <a:pt x="1067" y="512"/>
                    </a:lnTo>
                    <a:lnTo>
                      <a:pt x="1075" y="509"/>
                    </a:lnTo>
                    <a:lnTo>
                      <a:pt x="1083" y="507"/>
                    </a:lnTo>
                    <a:lnTo>
                      <a:pt x="1091" y="505"/>
                    </a:lnTo>
                    <a:lnTo>
                      <a:pt x="1100" y="505"/>
                    </a:lnTo>
                    <a:lnTo>
                      <a:pt x="1100" y="505"/>
                    </a:lnTo>
                    <a:lnTo>
                      <a:pt x="1108" y="505"/>
                    </a:lnTo>
                    <a:lnTo>
                      <a:pt x="1118" y="507"/>
                    </a:lnTo>
                    <a:lnTo>
                      <a:pt x="1126" y="509"/>
                    </a:lnTo>
                    <a:lnTo>
                      <a:pt x="1134" y="512"/>
                    </a:lnTo>
                    <a:lnTo>
                      <a:pt x="1140" y="516"/>
                    </a:lnTo>
                    <a:lnTo>
                      <a:pt x="1148" y="520"/>
                    </a:lnTo>
                    <a:lnTo>
                      <a:pt x="1155" y="525"/>
                    </a:lnTo>
                    <a:lnTo>
                      <a:pt x="1160" y="531"/>
                    </a:lnTo>
                    <a:lnTo>
                      <a:pt x="1171" y="544"/>
                    </a:lnTo>
                    <a:lnTo>
                      <a:pt x="1175" y="551"/>
                    </a:lnTo>
                    <a:lnTo>
                      <a:pt x="1179" y="559"/>
                    </a:lnTo>
                    <a:lnTo>
                      <a:pt x="1182" y="567"/>
                    </a:lnTo>
                    <a:lnTo>
                      <a:pt x="1184" y="576"/>
                    </a:lnTo>
                    <a:lnTo>
                      <a:pt x="1186" y="584"/>
                    </a:lnTo>
                    <a:lnTo>
                      <a:pt x="1186" y="594"/>
                    </a:lnTo>
                    <a:lnTo>
                      <a:pt x="1186" y="594"/>
                    </a:lnTo>
                    <a:lnTo>
                      <a:pt x="1186" y="603"/>
                    </a:lnTo>
                    <a:lnTo>
                      <a:pt x="1184" y="611"/>
                    </a:lnTo>
                    <a:lnTo>
                      <a:pt x="1182" y="620"/>
                    </a:lnTo>
                    <a:lnTo>
                      <a:pt x="1179" y="628"/>
                    </a:lnTo>
                    <a:lnTo>
                      <a:pt x="1175" y="636"/>
                    </a:lnTo>
                    <a:lnTo>
                      <a:pt x="1171" y="643"/>
                    </a:lnTo>
                    <a:lnTo>
                      <a:pt x="1160" y="656"/>
                    </a:lnTo>
                    <a:lnTo>
                      <a:pt x="1155" y="662"/>
                    </a:lnTo>
                    <a:lnTo>
                      <a:pt x="1148" y="667"/>
                    </a:lnTo>
                    <a:lnTo>
                      <a:pt x="1140" y="671"/>
                    </a:lnTo>
                    <a:lnTo>
                      <a:pt x="1134" y="675"/>
                    </a:lnTo>
                    <a:lnTo>
                      <a:pt x="1126" y="678"/>
                    </a:lnTo>
                    <a:lnTo>
                      <a:pt x="1118" y="680"/>
                    </a:lnTo>
                    <a:lnTo>
                      <a:pt x="1108" y="682"/>
                    </a:lnTo>
                    <a:lnTo>
                      <a:pt x="1100" y="682"/>
                    </a:lnTo>
                    <a:lnTo>
                      <a:pt x="1100" y="682"/>
                    </a:lnTo>
                    <a:close/>
                  </a:path>
                </a:pathLst>
              </a:custGeom>
              <a:solidFill>
                <a:srgbClr val="45A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1225" name="Rectangle 1224"/>
          <p:cNvSpPr/>
          <p:nvPr/>
        </p:nvSpPr>
        <p:spPr bwMode="auto">
          <a:xfrm>
            <a:off x="9303899" y="4011528"/>
            <a:ext cx="537830" cy="43810"/>
          </a:xfrm>
          <a:prstGeom prst="rect">
            <a:avLst/>
          </a:prstGeom>
          <a:solidFill>
            <a:srgbClr val="00202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678" name="Group 1677"/>
          <p:cNvGrpSpPr/>
          <p:nvPr/>
        </p:nvGrpSpPr>
        <p:grpSpPr>
          <a:xfrm>
            <a:off x="1541076" y="2468672"/>
            <a:ext cx="227770" cy="105265"/>
            <a:chOff x="-1381125" y="3355975"/>
            <a:chExt cx="1195388" cy="552450"/>
          </a:xfrm>
        </p:grpSpPr>
        <p:sp>
          <p:nvSpPr>
            <p:cNvPr id="1533" name="Freeform 160"/>
            <p:cNvSpPr>
              <a:spLocks noEditPoints="1"/>
            </p:cNvSpPr>
            <p:nvPr/>
          </p:nvSpPr>
          <p:spPr bwMode="auto">
            <a:xfrm>
              <a:off x="-1320800" y="3698875"/>
              <a:ext cx="207963" cy="209550"/>
            </a:xfrm>
            <a:custGeom>
              <a:avLst/>
              <a:gdLst>
                <a:gd name="T0" fmla="*/ 177 w 394"/>
                <a:gd name="T1" fmla="*/ 2 h 395"/>
                <a:gd name="T2" fmla="*/ 121 w 394"/>
                <a:gd name="T3" fmla="*/ 16 h 395"/>
                <a:gd name="T4" fmla="*/ 72 w 394"/>
                <a:gd name="T5" fmla="*/ 46 h 395"/>
                <a:gd name="T6" fmla="*/ 34 w 394"/>
                <a:gd name="T7" fmla="*/ 87 h 395"/>
                <a:gd name="T8" fmla="*/ 10 w 394"/>
                <a:gd name="T9" fmla="*/ 139 h 395"/>
                <a:gd name="T10" fmla="*/ 0 w 394"/>
                <a:gd name="T11" fmla="*/ 198 h 395"/>
                <a:gd name="T12" fmla="*/ 4 w 394"/>
                <a:gd name="T13" fmla="*/ 237 h 395"/>
                <a:gd name="T14" fmla="*/ 24 w 394"/>
                <a:gd name="T15" fmla="*/ 292 h 395"/>
                <a:gd name="T16" fmla="*/ 58 w 394"/>
                <a:gd name="T17" fmla="*/ 337 h 395"/>
                <a:gd name="T18" fmla="*/ 103 w 394"/>
                <a:gd name="T19" fmla="*/ 371 h 395"/>
                <a:gd name="T20" fmla="*/ 158 w 394"/>
                <a:gd name="T21" fmla="*/ 391 h 395"/>
                <a:gd name="T22" fmla="*/ 197 w 394"/>
                <a:gd name="T23" fmla="*/ 395 h 395"/>
                <a:gd name="T24" fmla="*/ 256 w 394"/>
                <a:gd name="T25" fmla="*/ 385 h 395"/>
                <a:gd name="T26" fmla="*/ 308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8 w 394"/>
                <a:gd name="T41" fmla="*/ 35 h 395"/>
                <a:gd name="T42" fmla="*/ 256 w 394"/>
                <a:gd name="T43" fmla="*/ 10 h 395"/>
                <a:gd name="T44" fmla="*/ 197 w 394"/>
                <a:gd name="T45" fmla="*/ 0 h 395"/>
                <a:gd name="T46" fmla="*/ 197 w 394"/>
                <a:gd name="T47" fmla="*/ 300 h 395"/>
                <a:gd name="T48" fmla="*/ 166 w 394"/>
                <a:gd name="T49" fmla="*/ 296 h 395"/>
                <a:gd name="T50" fmla="*/ 139 w 394"/>
                <a:gd name="T51" fmla="*/ 282 h 395"/>
                <a:gd name="T52" fmla="*/ 117 w 394"/>
                <a:gd name="T53" fmla="*/ 262 h 395"/>
                <a:gd name="T54" fmla="*/ 100 w 394"/>
                <a:gd name="T55" fmla="*/ 237 h 395"/>
                <a:gd name="T56" fmla="*/ 92 w 394"/>
                <a:gd name="T57" fmla="*/ 208 h 395"/>
                <a:gd name="T58" fmla="*/ 92 w 394"/>
                <a:gd name="T59" fmla="*/ 187 h 395"/>
                <a:gd name="T60" fmla="*/ 100 w 394"/>
                <a:gd name="T61" fmla="*/ 158 h 395"/>
                <a:gd name="T62" fmla="*/ 117 w 394"/>
                <a:gd name="T63" fmla="*/ 133 h 395"/>
                <a:gd name="T64" fmla="*/ 139 w 394"/>
                <a:gd name="T65" fmla="*/ 113 h 395"/>
                <a:gd name="T66" fmla="*/ 166 w 394"/>
                <a:gd name="T67" fmla="*/ 101 h 395"/>
                <a:gd name="T68" fmla="*/ 197 w 394"/>
                <a:gd name="T69" fmla="*/ 95 h 395"/>
                <a:gd name="T70" fmla="*/ 218 w 394"/>
                <a:gd name="T71" fmla="*/ 98 h 395"/>
                <a:gd name="T72" fmla="*/ 247 w 394"/>
                <a:gd name="T73" fmla="*/ 107 h 395"/>
                <a:gd name="T74" fmla="*/ 272 w 394"/>
                <a:gd name="T75" fmla="*/ 126 h 395"/>
                <a:gd name="T76" fmla="*/ 290 w 394"/>
                <a:gd name="T77" fmla="*/ 149 h 395"/>
                <a:gd name="T78" fmla="*/ 300 w 394"/>
                <a:gd name="T79" fmla="*/ 177 h 395"/>
                <a:gd name="T80" fmla="*/ 302 w 394"/>
                <a:gd name="T81" fmla="*/ 198 h 395"/>
                <a:gd name="T82" fmla="*/ 297 w 394"/>
                <a:gd name="T83" fmla="*/ 228 h 395"/>
                <a:gd name="T84" fmla="*/ 285 w 394"/>
                <a:gd name="T85" fmla="*/ 254 h 395"/>
                <a:gd name="T86" fmla="*/ 264 w 394"/>
                <a:gd name="T87" fmla="*/ 277 h 395"/>
                <a:gd name="T88" fmla="*/ 238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7" y="0"/>
                  </a:moveTo>
                  <a:lnTo>
                    <a:pt x="197" y="0"/>
                  </a:lnTo>
                  <a:lnTo>
                    <a:pt x="177" y="2"/>
                  </a:lnTo>
                  <a:lnTo>
                    <a:pt x="158" y="4"/>
                  </a:lnTo>
                  <a:lnTo>
                    <a:pt x="139" y="10"/>
                  </a:lnTo>
                  <a:lnTo>
                    <a:pt x="121" y="16"/>
                  </a:lnTo>
                  <a:lnTo>
                    <a:pt x="103" y="24"/>
                  </a:lnTo>
                  <a:lnTo>
                    <a:pt x="87" y="35"/>
                  </a:lnTo>
                  <a:lnTo>
                    <a:pt x="72" y="46"/>
                  </a:lnTo>
                  <a:lnTo>
                    <a:pt x="58" y="59"/>
                  </a:lnTo>
                  <a:lnTo>
                    <a:pt x="46" y="73"/>
                  </a:lnTo>
                  <a:lnTo>
                    <a:pt x="34" y="87"/>
                  </a:lnTo>
                  <a:lnTo>
                    <a:pt x="24" y="103"/>
                  </a:lnTo>
                  <a:lnTo>
                    <a:pt x="16" y="121"/>
                  </a:lnTo>
                  <a:lnTo>
                    <a:pt x="10" y="139"/>
                  </a:lnTo>
                  <a:lnTo>
                    <a:pt x="4" y="158"/>
                  </a:lnTo>
                  <a:lnTo>
                    <a:pt x="2" y="178"/>
                  </a:lnTo>
                  <a:lnTo>
                    <a:pt x="0" y="198"/>
                  </a:lnTo>
                  <a:lnTo>
                    <a:pt x="0" y="198"/>
                  </a:lnTo>
                  <a:lnTo>
                    <a:pt x="2" y="218"/>
                  </a:lnTo>
                  <a:lnTo>
                    <a:pt x="4" y="237"/>
                  </a:lnTo>
                  <a:lnTo>
                    <a:pt x="10" y="256"/>
                  </a:lnTo>
                  <a:lnTo>
                    <a:pt x="16" y="274"/>
                  </a:lnTo>
                  <a:lnTo>
                    <a:pt x="24" y="292"/>
                  </a:lnTo>
                  <a:lnTo>
                    <a:pt x="34" y="308"/>
                  </a:lnTo>
                  <a:lnTo>
                    <a:pt x="46" y="322"/>
                  </a:lnTo>
                  <a:lnTo>
                    <a:pt x="58" y="337"/>
                  </a:lnTo>
                  <a:lnTo>
                    <a:pt x="72" y="349"/>
                  </a:lnTo>
                  <a:lnTo>
                    <a:pt x="87" y="361"/>
                  </a:lnTo>
                  <a:lnTo>
                    <a:pt x="103" y="371"/>
                  </a:lnTo>
                  <a:lnTo>
                    <a:pt x="121" y="379"/>
                  </a:lnTo>
                  <a:lnTo>
                    <a:pt x="139" y="385"/>
                  </a:lnTo>
                  <a:lnTo>
                    <a:pt x="158" y="391"/>
                  </a:lnTo>
                  <a:lnTo>
                    <a:pt x="177" y="393"/>
                  </a:lnTo>
                  <a:lnTo>
                    <a:pt x="197" y="395"/>
                  </a:lnTo>
                  <a:lnTo>
                    <a:pt x="197" y="395"/>
                  </a:lnTo>
                  <a:lnTo>
                    <a:pt x="218" y="393"/>
                  </a:lnTo>
                  <a:lnTo>
                    <a:pt x="237" y="391"/>
                  </a:lnTo>
                  <a:lnTo>
                    <a:pt x="256" y="385"/>
                  </a:lnTo>
                  <a:lnTo>
                    <a:pt x="274" y="379"/>
                  </a:lnTo>
                  <a:lnTo>
                    <a:pt x="292" y="371"/>
                  </a:lnTo>
                  <a:lnTo>
                    <a:pt x="308"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8" y="35"/>
                  </a:lnTo>
                  <a:lnTo>
                    <a:pt x="292" y="24"/>
                  </a:lnTo>
                  <a:lnTo>
                    <a:pt x="274" y="16"/>
                  </a:lnTo>
                  <a:lnTo>
                    <a:pt x="256" y="10"/>
                  </a:lnTo>
                  <a:lnTo>
                    <a:pt x="237" y="4"/>
                  </a:lnTo>
                  <a:lnTo>
                    <a:pt x="218" y="2"/>
                  </a:lnTo>
                  <a:lnTo>
                    <a:pt x="197" y="0"/>
                  </a:lnTo>
                  <a:lnTo>
                    <a:pt x="197" y="0"/>
                  </a:lnTo>
                  <a:close/>
                  <a:moveTo>
                    <a:pt x="197" y="300"/>
                  </a:moveTo>
                  <a:lnTo>
                    <a:pt x="197" y="300"/>
                  </a:lnTo>
                  <a:lnTo>
                    <a:pt x="186" y="300"/>
                  </a:lnTo>
                  <a:lnTo>
                    <a:pt x="177" y="298"/>
                  </a:lnTo>
                  <a:lnTo>
                    <a:pt x="166" y="296"/>
                  </a:lnTo>
                  <a:lnTo>
                    <a:pt x="157" y="292"/>
                  </a:lnTo>
                  <a:lnTo>
                    <a:pt x="147" y="288"/>
                  </a:lnTo>
                  <a:lnTo>
                    <a:pt x="139" y="282"/>
                  </a:lnTo>
                  <a:lnTo>
                    <a:pt x="130" y="277"/>
                  </a:lnTo>
                  <a:lnTo>
                    <a:pt x="123" y="270"/>
                  </a:lnTo>
                  <a:lnTo>
                    <a:pt x="117" y="262"/>
                  </a:lnTo>
                  <a:lnTo>
                    <a:pt x="110" y="254"/>
                  </a:lnTo>
                  <a:lnTo>
                    <a:pt x="104" y="246"/>
                  </a:lnTo>
                  <a:lnTo>
                    <a:pt x="100" y="237"/>
                  </a:lnTo>
                  <a:lnTo>
                    <a:pt x="96" y="228"/>
                  </a:lnTo>
                  <a:lnTo>
                    <a:pt x="94" y="218"/>
                  </a:lnTo>
                  <a:lnTo>
                    <a:pt x="92" y="208"/>
                  </a:lnTo>
                  <a:lnTo>
                    <a:pt x="92" y="198"/>
                  </a:lnTo>
                  <a:lnTo>
                    <a:pt x="92" y="198"/>
                  </a:lnTo>
                  <a:lnTo>
                    <a:pt x="92" y="187"/>
                  </a:lnTo>
                  <a:lnTo>
                    <a:pt x="94" y="177"/>
                  </a:lnTo>
                  <a:lnTo>
                    <a:pt x="96" y="167"/>
                  </a:lnTo>
                  <a:lnTo>
                    <a:pt x="100" y="158"/>
                  </a:lnTo>
                  <a:lnTo>
                    <a:pt x="104" y="149"/>
                  </a:lnTo>
                  <a:lnTo>
                    <a:pt x="110" y="141"/>
                  </a:lnTo>
                  <a:lnTo>
                    <a:pt x="117" y="133"/>
                  </a:lnTo>
                  <a:lnTo>
                    <a:pt x="123" y="126"/>
                  </a:lnTo>
                  <a:lnTo>
                    <a:pt x="130" y="119"/>
                  </a:lnTo>
                  <a:lnTo>
                    <a:pt x="139" y="113"/>
                  </a:lnTo>
                  <a:lnTo>
                    <a:pt x="147" y="107"/>
                  </a:lnTo>
                  <a:lnTo>
                    <a:pt x="157" y="103"/>
                  </a:lnTo>
                  <a:lnTo>
                    <a:pt x="166" y="101"/>
                  </a:lnTo>
                  <a:lnTo>
                    <a:pt x="177" y="98"/>
                  </a:lnTo>
                  <a:lnTo>
                    <a:pt x="186" y="95"/>
                  </a:lnTo>
                  <a:lnTo>
                    <a:pt x="197" y="95"/>
                  </a:lnTo>
                  <a:lnTo>
                    <a:pt x="197" y="95"/>
                  </a:lnTo>
                  <a:lnTo>
                    <a:pt x="207" y="95"/>
                  </a:lnTo>
                  <a:lnTo>
                    <a:pt x="218" y="98"/>
                  </a:lnTo>
                  <a:lnTo>
                    <a:pt x="229" y="101"/>
                  </a:lnTo>
                  <a:lnTo>
                    <a:pt x="238" y="103"/>
                  </a:lnTo>
                  <a:lnTo>
                    <a:pt x="247" y="107"/>
                  </a:lnTo>
                  <a:lnTo>
                    <a:pt x="256" y="113"/>
                  </a:lnTo>
                  <a:lnTo>
                    <a:pt x="264" y="119"/>
                  </a:lnTo>
                  <a:lnTo>
                    <a:pt x="272" y="126"/>
                  </a:lnTo>
                  <a:lnTo>
                    <a:pt x="278" y="133"/>
                  </a:lnTo>
                  <a:lnTo>
                    <a:pt x="285" y="141"/>
                  </a:lnTo>
                  <a:lnTo>
                    <a:pt x="290" y="149"/>
                  </a:lnTo>
                  <a:lnTo>
                    <a:pt x="294" y="158"/>
                  </a:lnTo>
                  <a:lnTo>
                    <a:pt x="297" y="167"/>
                  </a:lnTo>
                  <a:lnTo>
                    <a:pt x="300" y="177"/>
                  </a:lnTo>
                  <a:lnTo>
                    <a:pt x="302" y="187"/>
                  </a:lnTo>
                  <a:lnTo>
                    <a:pt x="302" y="198"/>
                  </a:lnTo>
                  <a:lnTo>
                    <a:pt x="302" y="198"/>
                  </a:lnTo>
                  <a:lnTo>
                    <a:pt x="302" y="208"/>
                  </a:lnTo>
                  <a:lnTo>
                    <a:pt x="300" y="218"/>
                  </a:lnTo>
                  <a:lnTo>
                    <a:pt x="297" y="228"/>
                  </a:lnTo>
                  <a:lnTo>
                    <a:pt x="294" y="237"/>
                  </a:lnTo>
                  <a:lnTo>
                    <a:pt x="290" y="246"/>
                  </a:lnTo>
                  <a:lnTo>
                    <a:pt x="285" y="254"/>
                  </a:lnTo>
                  <a:lnTo>
                    <a:pt x="278" y="262"/>
                  </a:lnTo>
                  <a:lnTo>
                    <a:pt x="272" y="270"/>
                  </a:lnTo>
                  <a:lnTo>
                    <a:pt x="264" y="277"/>
                  </a:lnTo>
                  <a:lnTo>
                    <a:pt x="256" y="282"/>
                  </a:lnTo>
                  <a:lnTo>
                    <a:pt x="247" y="288"/>
                  </a:lnTo>
                  <a:lnTo>
                    <a:pt x="238" y="292"/>
                  </a:lnTo>
                  <a:lnTo>
                    <a:pt x="229" y="296"/>
                  </a:lnTo>
                  <a:lnTo>
                    <a:pt x="218" y="298"/>
                  </a:lnTo>
                  <a:lnTo>
                    <a:pt x="207" y="300"/>
                  </a:lnTo>
                  <a:lnTo>
                    <a:pt x="197" y="300"/>
                  </a:lnTo>
                  <a:lnTo>
                    <a:pt x="197" y="3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4" name="Freeform 161"/>
            <p:cNvSpPr>
              <a:spLocks noEditPoints="1"/>
            </p:cNvSpPr>
            <p:nvPr/>
          </p:nvSpPr>
          <p:spPr bwMode="auto">
            <a:xfrm>
              <a:off x="-560387" y="3698875"/>
              <a:ext cx="207963" cy="209550"/>
            </a:xfrm>
            <a:custGeom>
              <a:avLst/>
              <a:gdLst>
                <a:gd name="T0" fmla="*/ 178 w 394"/>
                <a:gd name="T1" fmla="*/ 2 h 395"/>
                <a:gd name="T2" fmla="*/ 120 w 394"/>
                <a:gd name="T3" fmla="*/ 16 h 395"/>
                <a:gd name="T4" fmla="*/ 72 w 394"/>
                <a:gd name="T5" fmla="*/ 46 h 395"/>
                <a:gd name="T6" fmla="*/ 35 w 394"/>
                <a:gd name="T7" fmla="*/ 87 h 395"/>
                <a:gd name="T8" fmla="*/ 10 w 394"/>
                <a:gd name="T9" fmla="*/ 139 h 395"/>
                <a:gd name="T10" fmla="*/ 0 w 394"/>
                <a:gd name="T11" fmla="*/ 198 h 395"/>
                <a:gd name="T12" fmla="*/ 4 w 394"/>
                <a:gd name="T13" fmla="*/ 237 h 395"/>
                <a:gd name="T14" fmla="*/ 24 w 394"/>
                <a:gd name="T15" fmla="*/ 292 h 395"/>
                <a:gd name="T16" fmla="*/ 59 w 394"/>
                <a:gd name="T17" fmla="*/ 337 h 395"/>
                <a:gd name="T18" fmla="*/ 103 w 394"/>
                <a:gd name="T19" fmla="*/ 371 h 395"/>
                <a:gd name="T20" fmla="*/ 158 w 394"/>
                <a:gd name="T21" fmla="*/ 391 h 395"/>
                <a:gd name="T22" fmla="*/ 198 w 394"/>
                <a:gd name="T23" fmla="*/ 395 h 395"/>
                <a:gd name="T24" fmla="*/ 255 w 394"/>
                <a:gd name="T25" fmla="*/ 385 h 395"/>
                <a:gd name="T26" fmla="*/ 308 w 394"/>
                <a:gd name="T27" fmla="*/ 361 h 395"/>
                <a:gd name="T28" fmla="*/ 349 w 394"/>
                <a:gd name="T29" fmla="*/ 322 h 395"/>
                <a:gd name="T30" fmla="*/ 378 w 394"/>
                <a:gd name="T31" fmla="*/ 274 h 395"/>
                <a:gd name="T32" fmla="*/ 393 w 394"/>
                <a:gd name="T33" fmla="*/ 218 h 395"/>
                <a:gd name="T34" fmla="*/ 393 w 394"/>
                <a:gd name="T35" fmla="*/ 178 h 395"/>
                <a:gd name="T36" fmla="*/ 378 w 394"/>
                <a:gd name="T37" fmla="*/ 121 h 395"/>
                <a:gd name="T38" fmla="*/ 349 w 394"/>
                <a:gd name="T39" fmla="*/ 73 h 395"/>
                <a:gd name="T40" fmla="*/ 308 w 394"/>
                <a:gd name="T41" fmla="*/ 35 h 395"/>
                <a:gd name="T42" fmla="*/ 255 w 394"/>
                <a:gd name="T43" fmla="*/ 10 h 395"/>
                <a:gd name="T44" fmla="*/ 198 w 394"/>
                <a:gd name="T45" fmla="*/ 0 h 395"/>
                <a:gd name="T46" fmla="*/ 198 w 394"/>
                <a:gd name="T47" fmla="*/ 300 h 395"/>
                <a:gd name="T48" fmla="*/ 167 w 394"/>
                <a:gd name="T49" fmla="*/ 296 h 395"/>
                <a:gd name="T50" fmla="*/ 140 w 394"/>
                <a:gd name="T51" fmla="*/ 282 h 395"/>
                <a:gd name="T52" fmla="*/ 119 w 394"/>
                <a:gd name="T53" fmla="*/ 262 h 395"/>
                <a:gd name="T54" fmla="*/ 103 w 394"/>
                <a:gd name="T55" fmla="*/ 237 h 395"/>
                <a:gd name="T56" fmla="*/ 95 w 394"/>
                <a:gd name="T57" fmla="*/ 208 h 395"/>
                <a:gd name="T58" fmla="*/ 95 w 394"/>
                <a:gd name="T59" fmla="*/ 187 h 395"/>
                <a:gd name="T60" fmla="*/ 103 w 394"/>
                <a:gd name="T61" fmla="*/ 158 h 395"/>
                <a:gd name="T62" fmla="*/ 119 w 394"/>
                <a:gd name="T63" fmla="*/ 133 h 395"/>
                <a:gd name="T64" fmla="*/ 140 w 394"/>
                <a:gd name="T65" fmla="*/ 113 h 395"/>
                <a:gd name="T66" fmla="*/ 167 w 394"/>
                <a:gd name="T67" fmla="*/ 101 h 395"/>
                <a:gd name="T68" fmla="*/ 198 w 394"/>
                <a:gd name="T69" fmla="*/ 95 h 395"/>
                <a:gd name="T70" fmla="*/ 218 w 394"/>
                <a:gd name="T71" fmla="*/ 98 h 395"/>
                <a:gd name="T72" fmla="*/ 246 w 394"/>
                <a:gd name="T73" fmla="*/ 107 h 395"/>
                <a:gd name="T74" fmla="*/ 270 w 394"/>
                <a:gd name="T75" fmla="*/ 126 h 395"/>
                <a:gd name="T76" fmla="*/ 287 w 394"/>
                <a:gd name="T77" fmla="*/ 149 h 395"/>
                <a:gd name="T78" fmla="*/ 298 w 394"/>
                <a:gd name="T79" fmla="*/ 177 h 395"/>
                <a:gd name="T80" fmla="*/ 300 w 394"/>
                <a:gd name="T81" fmla="*/ 198 h 395"/>
                <a:gd name="T82" fmla="*/ 296 w 394"/>
                <a:gd name="T83" fmla="*/ 228 h 395"/>
                <a:gd name="T84" fmla="*/ 282 w 394"/>
                <a:gd name="T85" fmla="*/ 254 h 395"/>
                <a:gd name="T86" fmla="*/ 262 w 394"/>
                <a:gd name="T87" fmla="*/ 277 h 395"/>
                <a:gd name="T88" fmla="*/ 237 w 394"/>
                <a:gd name="T89" fmla="*/ 292 h 395"/>
                <a:gd name="T90" fmla="*/ 207 w 394"/>
                <a:gd name="T91" fmla="*/ 30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4" h="395">
                  <a:moveTo>
                    <a:pt x="198" y="0"/>
                  </a:moveTo>
                  <a:lnTo>
                    <a:pt x="198" y="0"/>
                  </a:lnTo>
                  <a:lnTo>
                    <a:pt x="178" y="2"/>
                  </a:lnTo>
                  <a:lnTo>
                    <a:pt x="158" y="4"/>
                  </a:lnTo>
                  <a:lnTo>
                    <a:pt x="139" y="10"/>
                  </a:lnTo>
                  <a:lnTo>
                    <a:pt x="120" y="16"/>
                  </a:lnTo>
                  <a:lnTo>
                    <a:pt x="103" y="24"/>
                  </a:lnTo>
                  <a:lnTo>
                    <a:pt x="87" y="35"/>
                  </a:lnTo>
                  <a:lnTo>
                    <a:pt x="72" y="46"/>
                  </a:lnTo>
                  <a:lnTo>
                    <a:pt x="59" y="59"/>
                  </a:lnTo>
                  <a:lnTo>
                    <a:pt x="46" y="73"/>
                  </a:lnTo>
                  <a:lnTo>
                    <a:pt x="35" y="87"/>
                  </a:lnTo>
                  <a:lnTo>
                    <a:pt x="24" y="103"/>
                  </a:lnTo>
                  <a:lnTo>
                    <a:pt x="16" y="121"/>
                  </a:lnTo>
                  <a:lnTo>
                    <a:pt x="10" y="139"/>
                  </a:lnTo>
                  <a:lnTo>
                    <a:pt x="4" y="158"/>
                  </a:lnTo>
                  <a:lnTo>
                    <a:pt x="2" y="178"/>
                  </a:lnTo>
                  <a:lnTo>
                    <a:pt x="0" y="198"/>
                  </a:lnTo>
                  <a:lnTo>
                    <a:pt x="0" y="198"/>
                  </a:lnTo>
                  <a:lnTo>
                    <a:pt x="2" y="218"/>
                  </a:lnTo>
                  <a:lnTo>
                    <a:pt x="4" y="237"/>
                  </a:lnTo>
                  <a:lnTo>
                    <a:pt x="10" y="256"/>
                  </a:lnTo>
                  <a:lnTo>
                    <a:pt x="16" y="274"/>
                  </a:lnTo>
                  <a:lnTo>
                    <a:pt x="24" y="292"/>
                  </a:lnTo>
                  <a:lnTo>
                    <a:pt x="35" y="308"/>
                  </a:lnTo>
                  <a:lnTo>
                    <a:pt x="46" y="322"/>
                  </a:lnTo>
                  <a:lnTo>
                    <a:pt x="59" y="337"/>
                  </a:lnTo>
                  <a:lnTo>
                    <a:pt x="72" y="349"/>
                  </a:lnTo>
                  <a:lnTo>
                    <a:pt x="87" y="361"/>
                  </a:lnTo>
                  <a:lnTo>
                    <a:pt x="103" y="371"/>
                  </a:lnTo>
                  <a:lnTo>
                    <a:pt x="120" y="379"/>
                  </a:lnTo>
                  <a:lnTo>
                    <a:pt x="139" y="385"/>
                  </a:lnTo>
                  <a:lnTo>
                    <a:pt x="158" y="391"/>
                  </a:lnTo>
                  <a:lnTo>
                    <a:pt x="178" y="393"/>
                  </a:lnTo>
                  <a:lnTo>
                    <a:pt x="198" y="395"/>
                  </a:lnTo>
                  <a:lnTo>
                    <a:pt x="198" y="395"/>
                  </a:lnTo>
                  <a:lnTo>
                    <a:pt x="218" y="393"/>
                  </a:lnTo>
                  <a:lnTo>
                    <a:pt x="237" y="391"/>
                  </a:lnTo>
                  <a:lnTo>
                    <a:pt x="255" y="385"/>
                  </a:lnTo>
                  <a:lnTo>
                    <a:pt x="274" y="379"/>
                  </a:lnTo>
                  <a:lnTo>
                    <a:pt x="291" y="371"/>
                  </a:lnTo>
                  <a:lnTo>
                    <a:pt x="308" y="361"/>
                  </a:lnTo>
                  <a:lnTo>
                    <a:pt x="322" y="349"/>
                  </a:lnTo>
                  <a:lnTo>
                    <a:pt x="337" y="337"/>
                  </a:lnTo>
                  <a:lnTo>
                    <a:pt x="349" y="322"/>
                  </a:lnTo>
                  <a:lnTo>
                    <a:pt x="361" y="308"/>
                  </a:lnTo>
                  <a:lnTo>
                    <a:pt x="370" y="292"/>
                  </a:lnTo>
                  <a:lnTo>
                    <a:pt x="378" y="274"/>
                  </a:lnTo>
                  <a:lnTo>
                    <a:pt x="385" y="256"/>
                  </a:lnTo>
                  <a:lnTo>
                    <a:pt x="390" y="237"/>
                  </a:lnTo>
                  <a:lnTo>
                    <a:pt x="393" y="218"/>
                  </a:lnTo>
                  <a:lnTo>
                    <a:pt x="394" y="198"/>
                  </a:lnTo>
                  <a:lnTo>
                    <a:pt x="394" y="198"/>
                  </a:lnTo>
                  <a:lnTo>
                    <a:pt x="393" y="178"/>
                  </a:lnTo>
                  <a:lnTo>
                    <a:pt x="390" y="158"/>
                  </a:lnTo>
                  <a:lnTo>
                    <a:pt x="385" y="139"/>
                  </a:lnTo>
                  <a:lnTo>
                    <a:pt x="378" y="121"/>
                  </a:lnTo>
                  <a:lnTo>
                    <a:pt x="370" y="103"/>
                  </a:lnTo>
                  <a:lnTo>
                    <a:pt x="361" y="87"/>
                  </a:lnTo>
                  <a:lnTo>
                    <a:pt x="349" y="73"/>
                  </a:lnTo>
                  <a:lnTo>
                    <a:pt x="337" y="59"/>
                  </a:lnTo>
                  <a:lnTo>
                    <a:pt x="322" y="46"/>
                  </a:lnTo>
                  <a:lnTo>
                    <a:pt x="308" y="35"/>
                  </a:lnTo>
                  <a:lnTo>
                    <a:pt x="291" y="24"/>
                  </a:lnTo>
                  <a:lnTo>
                    <a:pt x="274" y="16"/>
                  </a:lnTo>
                  <a:lnTo>
                    <a:pt x="255" y="10"/>
                  </a:lnTo>
                  <a:lnTo>
                    <a:pt x="237" y="4"/>
                  </a:lnTo>
                  <a:lnTo>
                    <a:pt x="218" y="2"/>
                  </a:lnTo>
                  <a:lnTo>
                    <a:pt x="198" y="0"/>
                  </a:lnTo>
                  <a:lnTo>
                    <a:pt x="198" y="0"/>
                  </a:lnTo>
                  <a:close/>
                  <a:moveTo>
                    <a:pt x="198" y="300"/>
                  </a:moveTo>
                  <a:lnTo>
                    <a:pt x="198" y="300"/>
                  </a:lnTo>
                  <a:lnTo>
                    <a:pt x="187" y="300"/>
                  </a:lnTo>
                  <a:lnTo>
                    <a:pt x="177" y="298"/>
                  </a:lnTo>
                  <a:lnTo>
                    <a:pt x="167" y="296"/>
                  </a:lnTo>
                  <a:lnTo>
                    <a:pt x="158" y="292"/>
                  </a:lnTo>
                  <a:lnTo>
                    <a:pt x="149" y="288"/>
                  </a:lnTo>
                  <a:lnTo>
                    <a:pt x="140" y="282"/>
                  </a:lnTo>
                  <a:lnTo>
                    <a:pt x="132" y="277"/>
                  </a:lnTo>
                  <a:lnTo>
                    <a:pt x="126" y="270"/>
                  </a:lnTo>
                  <a:lnTo>
                    <a:pt x="119" y="262"/>
                  </a:lnTo>
                  <a:lnTo>
                    <a:pt x="112" y="254"/>
                  </a:lnTo>
                  <a:lnTo>
                    <a:pt x="107" y="246"/>
                  </a:lnTo>
                  <a:lnTo>
                    <a:pt x="103" y="237"/>
                  </a:lnTo>
                  <a:lnTo>
                    <a:pt x="100" y="228"/>
                  </a:lnTo>
                  <a:lnTo>
                    <a:pt x="98" y="218"/>
                  </a:lnTo>
                  <a:lnTo>
                    <a:pt x="95" y="208"/>
                  </a:lnTo>
                  <a:lnTo>
                    <a:pt x="95" y="198"/>
                  </a:lnTo>
                  <a:lnTo>
                    <a:pt x="95" y="198"/>
                  </a:lnTo>
                  <a:lnTo>
                    <a:pt x="95" y="187"/>
                  </a:lnTo>
                  <a:lnTo>
                    <a:pt x="98" y="177"/>
                  </a:lnTo>
                  <a:lnTo>
                    <a:pt x="100" y="167"/>
                  </a:lnTo>
                  <a:lnTo>
                    <a:pt x="103" y="158"/>
                  </a:lnTo>
                  <a:lnTo>
                    <a:pt x="107" y="149"/>
                  </a:lnTo>
                  <a:lnTo>
                    <a:pt x="112" y="141"/>
                  </a:lnTo>
                  <a:lnTo>
                    <a:pt x="119" y="133"/>
                  </a:lnTo>
                  <a:lnTo>
                    <a:pt x="126" y="126"/>
                  </a:lnTo>
                  <a:lnTo>
                    <a:pt x="132" y="119"/>
                  </a:lnTo>
                  <a:lnTo>
                    <a:pt x="140" y="113"/>
                  </a:lnTo>
                  <a:lnTo>
                    <a:pt x="149" y="107"/>
                  </a:lnTo>
                  <a:lnTo>
                    <a:pt x="158" y="103"/>
                  </a:lnTo>
                  <a:lnTo>
                    <a:pt x="167" y="101"/>
                  </a:lnTo>
                  <a:lnTo>
                    <a:pt x="177" y="98"/>
                  </a:lnTo>
                  <a:lnTo>
                    <a:pt x="187" y="95"/>
                  </a:lnTo>
                  <a:lnTo>
                    <a:pt x="198" y="95"/>
                  </a:lnTo>
                  <a:lnTo>
                    <a:pt x="198" y="95"/>
                  </a:lnTo>
                  <a:lnTo>
                    <a:pt x="207" y="95"/>
                  </a:lnTo>
                  <a:lnTo>
                    <a:pt x="218" y="98"/>
                  </a:lnTo>
                  <a:lnTo>
                    <a:pt x="227" y="101"/>
                  </a:lnTo>
                  <a:lnTo>
                    <a:pt x="237" y="103"/>
                  </a:lnTo>
                  <a:lnTo>
                    <a:pt x="246" y="107"/>
                  </a:lnTo>
                  <a:lnTo>
                    <a:pt x="254" y="113"/>
                  </a:lnTo>
                  <a:lnTo>
                    <a:pt x="262" y="119"/>
                  </a:lnTo>
                  <a:lnTo>
                    <a:pt x="270" y="126"/>
                  </a:lnTo>
                  <a:lnTo>
                    <a:pt x="277" y="133"/>
                  </a:lnTo>
                  <a:lnTo>
                    <a:pt x="282" y="141"/>
                  </a:lnTo>
                  <a:lnTo>
                    <a:pt x="287" y="149"/>
                  </a:lnTo>
                  <a:lnTo>
                    <a:pt x="291" y="158"/>
                  </a:lnTo>
                  <a:lnTo>
                    <a:pt x="296" y="167"/>
                  </a:lnTo>
                  <a:lnTo>
                    <a:pt x="298" y="177"/>
                  </a:lnTo>
                  <a:lnTo>
                    <a:pt x="300" y="187"/>
                  </a:lnTo>
                  <a:lnTo>
                    <a:pt x="300" y="198"/>
                  </a:lnTo>
                  <a:lnTo>
                    <a:pt x="300" y="198"/>
                  </a:lnTo>
                  <a:lnTo>
                    <a:pt x="300" y="208"/>
                  </a:lnTo>
                  <a:lnTo>
                    <a:pt x="298" y="218"/>
                  </a:lnTo>
                  <a:lnTo>
                    <a:pt x="296" y="228"/>
                  </a:lnTo>
                  <a:lnTo>
                    <a:pt x="291" y="237"/>
                  </a:lnTo>
                  <a:lnTo>
                    <a:pt x="287" y="246"/>
                  </a:lnTo>
                  <a:lnTo>
                    <a:pt x="282" y="254"/>
                  </a:lnTo>
                  <a:lnTo>
                    <a:pt x="277" y="262"/>
                  </a:lnTo>
                  <a:lnTo>
                    <a:pt x="270" y="270"/>
                  </a:lnTo>
                  <a:lnTo>
                    <a:pt x="262" y="277"/>
                  </a:lnTo>
                  <a:lnTo>
                    <a:pt x="254" y="282"/>
                  </a:lnTo>
                  <a:lnTo>
                    <a:pt x="246" y="288"/>
                  </a:lnTo>
                  <a:lnTo>
                    <a:pt x="237" y="292"/>
                  </a:lnTo>
                  <a:lnTo>
                    <a:pt x="227" y="296"/>
                  </a:lnTo>
                  <a:lnTo>
                    <a:pt x="218" y="298"/>
                  </a:lnTo>
                  <a:lnTo>
                    <a:pt x="207" y="300"/>
                  </a:lnTo>
                  <a:lnTo>
                    <a:pt x="198" y="300"/>
                  </a:lnTo>
                  <a:lnTo>
                    <a:pt x="198" y="3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35" name="Freeform 162"/>
            <p:cNvSpPr>
              <a:spLocks noEditPoints="1"/>
            </p:cNvSpPr>
            <p:nvPr/>
          </p:nvSpPr>
          <p:spPr bwMode="auto">
            <a:xfrm>
              <a:off x="-1381125" y="3355975"/>
              <a:ext cx="1195388" cy="460375"/>
            </a:xfrm>
            <a:custGeom>
              <a:avLst/>
              <a:gdLst>
                <a:gd name="T0" fmla="*/ 2209 w 2257"/>
                <a:gd name="T1" fmla="*/ 473 h 869"/>
                <a:gd name="T2" fmla="*/ 2144 w 2257"/>
                <a:gd name="T3" fmla="*/ 456 h 869"/>
                <a:gd name="T4" fmla="*/ 2083 w 2257"/>
                <a:gd name="T5" fmla="*/ 423 h 869"/>
                <a:gd name="T6" fmla="*/ 2050 w 2257"/>
                <a:gd name="T7" fmla="*/ 392 h 869"/>
                <a:gd name="T8" fmla="*/ 1804 w 2257"/>
                <a:gd name="T9" fmla="*/ 135 h 869"/>
                <a:gd name="T10" fmla="*/ 1755 w 2257"/>
                <a:gd name="T11" fmla="*/ 91 h 869"/>
                <a:gd name="T12" fmla="*/ 1700 w 2257"/>
                <a:gd name="T13" fmla="*/ 55 h 869"/>
                <a:gd name="T14" fmla="*/ 1641 w 2257"/>
                <a:gd name="T15" fmla="*/ 27 h 869"/>
                <a:gd name="T16" fmla="*/ 1578 w 2257"/>
                <a:gd name="T17" fmla="*/ 10 h 869"/>
                <a:gd name="T18" fmla="*/ 1513 w 2257"/>
                <a:gd name="T19" fmla="*/ 2 h 869"/>
                <a:gd name="T20" fmla="*/ 1013 w 2257"/>
                <a:gd name="T21" fmla="*/ 0 h 869"/>
                <a:gd name="T22" fmla="*/ 970 w 2257"/>
                <a:gd name="T23" fmla="*/ 6 h 869"/>
                <a:gd name="T24" fmla="*/ 913 w 2257"/>
                <a:gd name="T25" fmla="*/ 32 h 869"/>
                <a:gd name="T26" fmla="*/ 867 w 2257"/>
                <a:gd name="T27" fmla="*/ 79 h 869"/>
                <a:gd name="T28" fmla="*/ 96 w 2257"/>
                <a:gd name="T29" fmla="*/ 460 h 869"/>
                <a:gd name="T30" fmla="*/ 87 w 2257"/>
                <a:gd name="T31" fmla="*/ 463 h 869"/>
                <a:gd name="T32" fmla="*/ 59 w 2257"/>
                <a:gd name="T33" fmla="*/ 473 h 869"/>
                <a:gd name="T34" fmla="*/ 35 w 2257"/>
                <a:gd name="T35" fmla="*/ 489 h 869"/>
                <a:gd name="T36" fmla="*/ 16 w 2257"/>
                <a:gd name="T37" fmla="*/ 512 h 869"/>
                <a:gd name="T38" fmla="*/ 4 w 2257"/>
                <a:gd name="T39" fmla="*/ 540 h 869"/>
                <a:gd name="T40" fmla="*/ 0 w 2257"/>
                <a:gd name="T41" fmla="*/ 570 h 869"/>
                <a:gd name="T42" fmla="*/ 0 w 2257"/>
                <a:gd name="T43" fmla="*/ 779 h 869"/>
                <a:gd name="T44" fmla="*/ 7 w 2257"/>
                <a:gd name="T45" fmla="*/ 806 h 869"/>
                <a:gd name="T46" fmla="*/ 37 w 2257"/>
                <a:gd name="T47" fmla="*/ 849 h 869"/>
                <a:gd name="T48" fmla="*/ 60 w 2257"/>
                <a:gd name="T49" fmla="*/ 862 h 869"/>
                <a:gd name="T50" fmla="*/ 87 w 2257"/>
                <a:gd name="T51" fmla="*/ 869 h 869"/>
                <a:gd name="T52" fmla="*/ 87 w 2257"/>
                <a:gd name="T53" fmla="*/ 846 h 869"/>
                <a:gd name="T54" fmla="*/ 91 w 2257"/>
                <a:gd name="T55" fmla="*/ 801 h 869"/>
                <a:gd name="T56" fmla="*/ 114 w 2257"/>
                <a:gd name="T57" fmla="*/ 739 h 869"/>
                <a:gd name="T58" fmla="*/ 151 w 2257"/>
                <a:gd name="T59" fmla="*/ 688 h 869"/>
                <a:gd name="T60" fmla="*/ 203 w 2257"/>
                <a:gd name="T61" fmla="*/ 650 h 869"/>
                <a:gd name="T62" fmla="*/ 265 w 2257"/>
                <a:gd name="T63" fmla="*/ 627 h 869"/>
                <a:gd name="T64" fmla="*/ 309 w 2257"/>
                <a:gd name="T65" fmla="*/ 623 h 869"/>
                <a:gd name="T66" fmla="*/ 376 w 2257"/>
                <a:gd name="T67" fmla="*/ 632 h 869"/>
                <a:gd name="T68" fmla="*/ 434 w 2257"/>
                <a:gd name="T69" fmla="*/ 660 h 869"/>
                <a:gd name="T70" fmla="*/ 481 w 2257"/>
                <a:gd name="T71" fmla="*/ 703 h 869"/>
                <a:gd name="T72" fmla="*/ 515 w 2257"/>
                <a:gd name="T73" fmla="*/ 759 h 869"/>
                <a:gd name="T74" fmla="*/ 531 w 2257"/>
                <a:gd name="T75" fmla="*/ 823 h 869"/>
                <a:gd name="T76" fmla="*/ 531 w 2257"/>
                <a:gd name="T77" fmla="*/ 869 h 869"/>
                <a:gd name="T78" fmla="*/ 1526 w 2257"/>
                <a:gd name="T79" fmla="*/ 869 h 869"/>
                <a:gd name="T80" fmla="*/ 1525 w 2257"/>
                <a:gd name="T81" fmla="*/ 846 h 869"/>
                <a:gd name="T82" fmla="*/ 1534 w 2257"/>
                <a:gd name="T83" fmla="*/ 779 h 869"/>
                <a:gd name="T84" fmla="*/ 1562 w 2257"/>
                <a:gd name="T85" fmla="*/ 721 h 869"/>
                <a:gd name="T86" fmla="*/ 1606 w 2257"/>
                <a:gd name="T87" fmla="*/ 674 h 869"/>
                <a:gd name="T88" fmla="*/ 1661 w 2257"/>
                <a:gd name="T89" fmla="*/ 640 h 869"/>
                <a:gd name="T90" fmla="*/ 1725 w 2257"/>
                <a:gd name="T91" fmla="*/ 624 h 869"/>
                <a:gd name="T92" fmla="*/ 1771 w 2257"/>
                <a:gd name="T93" fmla="*/ 624 h 869"/>
                <a:gd name="T94" fmla="*/ 1835 w 2257"/>
                <a:gd name="T95" fmla="*/ 640 h 869"/>
                <a:gd name="T96" fmla="*/ 1890 w 2257"/>
                <a:gd name="T97" fmla="*/ 674 h 869"/>
                <a:gd name="T98" fmla="*/ 1932 w 2257"/>
                <a:gd name="T99" fmla="*/ 721 h 869"/>
                <a:gd name="T100" fmla="*/ 1960 w 2257"/>
                <a:gd name="T101" fmla="*/ 779 h 869"/>
                <a:gd name="T102" fmla="*/ 1971 w 2257"/>
                <a:gd name="T103" fmla="*/ 846 h 869"/>
                <a:gd name="T104" fmla="*/ 1971 w 2257"/>
                <a:gd name="T105" fmla="*/ 869 h 869"/>
                <a:gd name="T106" fmla="*/ 2257 w 2257"/>
                <a:gd name="T107" fmla="*/ 528 h 869"/>
                <a:gd name="T108" fmla="*/ 2249 w 2257"/>
                <a:gd name="T109" fmla="*/ 500 h 869"/>
                <a:gd name="T110" fmla="*/ 2228 w 2257"/>
                <a:gd name="T111" fmla="*/ 480 h 869"/>
                <a:gd name="T112" fmla="*/ 2209 w 2257"/>
                <a:gd name="T113" fmla="*/ 473 h 869"/>
                <a:gd name="T114" fmla="*/ 937 w 2257"/>
                <a:gd name="T115" fmla="*/ 114 h 869"/>
                <a:gd name="T116" fmla="*/ 1367 w 2257"/>
                <a:gd name="T117" fmla="*/ 386 h 869"/>
                <a:gd name="T118" fmla="*/ 1855 w 2257"/>
                <a:gd name="T119" fmla="*/ 386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7" h="869">
                  <a:moveTo>
                    <a:pt x="2209" y="473"/>
                  </a:moveTo>
                  <a:lnTo>
                    <a:pt x="2209" y="473"/>
                  </a:lnTo>
                  <a:lnTo>
                    <a:pt x="2209" y="473"/>
                  </a:lnTo>
                  <a:lnTo>
                    <a:pt x="2186" y="469"/>
                  </a:lnTo>
                  <a:lnTo>
                    <a:pt x="2165" y="463"/>
                  </a:lnTo>
                  <a:lnTo>
                    <a:pt x="2144" y="456"/>
                  </a:lnTo>
                  <a:lnTo>
                    <a:pt x="2122" y="447"/>
                  </a:lnTo>
                  <a:lnTo>
                    <a:pt x="2102" y="435"/>
                  </a:lnTo>
                  <a:lnTo>
                    <a:pt x="2083" y="423"/>
                  </a:lnTo>
                  <a:lnTo>
                    <a:pt x="2066" y="408"/>
                  </a:lnTo>
                  <a:lnTo>
                    <a:pt x="2049" y="392"/>
                  </a:lnTo>
                  <a:lnTo>
                    <a:pt x="2050" y="392"/>
                  </a:lnTo>
                  <a:lnTo>
                    <a:pt x="1805" y="134"/>
                  </a:lnTo>
                  <a:lnTo>
                    <a:pt x="1804" y="135"/>
                  </a:lnTo>
                  <a:lnTo>
                    <a:pt x="1804" y="135"/>
                  </a:lnTo>
                  <a:lnTo>
                    <a:pt x="1789" y="119"/>
                  </a:lnTo>
                  <a:lnTo>
                    <a:pt x="1772" y="104"/>
                  </a:lnTo>
                  <a:lnTo>
                    <a:pt x="1755" y="91"/>
                  </a:lnTo>
                  <a:lnTo>
                    <a:pt x="1737" y="78"/>
                  </a:lnTo>
                  <a:lnTo>
                    <a:pt x="1720" y="66"/>
                  </a:lnTo>
                  <a:lnTo>
                    <a:pt x="1700" y="55"/>
                  </a:lnTo>
                  <a:lnTo>
                    <a:pt x="1681" y="44"/>
                  </a:lnTo>
                  <a:lnTo>
                    <a:pt x="1661" y="36"/>
                  </a:lnTo>
                  <a:lnTo>
                    <a:pt x="1641" y="27"/>
                  </a:lnTo>
                  <a:lnTo>
                    <a:pt x="1621" y="20"/>
                  </a:lnTo>
                  <a:lnTo>
                    <a:pt x="1600" y="15"/>
                  </a:lnTo>
                  <a:lnTo>
                    <a:pt x="1578" y="10"/>
                  </a:lnTo>
                  <a:lnTo>
                    <a:pt x="1557" y="6"/>
                  </a:lnTo>
                  <a:lnTo>
                    <a:pt x="1534" y="3"/>
                  </a:lnTo>
                  <a:lnTo>
                    <a:pt x="1513" y="2"/>
                  </a:lnTo>
                  <a:lnTo>
                    <a:pt x="1490" y="0"/>
                  </a:lnTo>
                  <a:lnTo>
                    <a:pt x="1016" y="0"/>
                  </a:lnTo>
                  <a:lnTo>
                    <a:pt x="1013" y="0"/>
                  </a:lnTo>
                  <a:lnTo>
                    <a:pt x="1013" y="0"/>
                  </a:lnTo>
                  <a:lnTo>
                    <a:pt x="992" y="2"/>
                  </a:lnTo>
                  <a:lnTo>
                    <a:pt x="970" y="6"/>
                  </a:lnTo>
                  <a:lnTo>
                    <a:pt x="950" y="12"/>
                  </a:lnTo>
                  <a:lnTo>
                    <a:pt x="930" y="22"/>
                  </a:lnTo>
                  <a:lnTo>
                    <a:pt x="913" y="32"/>
                  </a:lnTo>
                  <a:lnTo>
                    <a:pt x="895" y="46"/>
                  </a:lnTo>
                  <a:lnTo>
                    <a:pt x="881" y="62"/>
                  </a:lnTo>
                  <a:lnTo>
                    <a:pt x="867" y="79"/>
                  </a:lnTo>
                  <a:lnTo>
                    <a:pt x="869" y="79"/>
                  </a:lnTo>
                  <a:lnTo>
                    <a:pt x="670" y="386"/>
                  </a:lnTo>
                  <a:lnTo>
                    <a:pt x="96" y="460"/>
                  </a:lnTo>
                  <a:lnTo>
                    <a:pt x="96" y="461"/>
                  </a:lnTo>
                  <a:lnTo>
                    <a:pt x="96" y="461"/>
                  </a:lnTo>
                  <a:lnTo>
                    <a:pt x="87" y="463"/>
                  </a:lnTo>
                  <a:lnTo>
                    <a:pt x="76" y="465"/>
                  </a:lnTo>
                  <a:lnTo>
                    <a:pt x="67" y="468"/>
                  </a:lnTo>
                  <a:lnTo>
                    <a:pt x="59" y="473"/>
                  </a:lnTo>
                  <a:lnTo>
                    <a:pt x="49" y="477"/>
                  </a:lnTo>
                  <a:lnTo>
                    <a:pt x="41" y="484"/>
                  </a:lnTo>
                  <a:lnTo>
                    <a:pt x="35" y="489"/>
                  </a:lnTo>
                  <a:lnTo>
                    <a:pt x="28" y="497"/>
                  </a:lnTo>
                  <a:lnTo>
                    <a:pt x="21" y="504"/>
                  </a:lnTo>
                  <a:lnTo>
                    <a:pt x="16" y="512"/>
                  </a:lnTo>
                  <a:lnTo>
                    <a:pt x="11" y="521"/>
                  </a:lnTo>
                  <a:lnTo>
                    <a:pt x="7" y="531"/>
                  </a:lnTo>
                  <a:lnTo>
                    <a:pt x="4" y="540"/>
                  </a:lnTo>
                  <a:lnTo>
                    <a:pt x="1" y="549"/>
                  </a:lnTo>
                  <a:lnTo>
                    <a:pt x="0" y="560"/>
                  </a:lnTo>
                  <a:lnTo>
                    <a:pt x="0" y="570"/>
                  </a:lnTo>
                  <a:lnTo>
                    <a:pt x="0" y="770"/>
                  </a:lnTo>
                  <a:lnTo>
                    <a:pt x="0" y="770"/>
                  </a:lnTo>
                  <a:lnTo>
                    <a:pt x="0" y="779"/>
                  </a:lnTo>
                  <a:lnTo>
                    <a:pt x="1" y="789"/>
                  </a:lnTo>
                  <a:lnTo>
                    <a:pt x="4" y="797"/>
                  </a:lnTo>
                  <a:lnTo>
                    <a:pt x="7" y="806"/>
                  </a:lnTo>
                  <a:lnTo>
                    <a:pt x="15" y="822"/>
                  </a:lnTo>
                  <a:lnTo>
                    <a:pt x="24" y="835"/>
                  </a:lnTo>
                  <a:lnTo>
                    <a:pt x="37" y="849"/>
                  </a:lnTo>
                  <a:lnTo>
                    <a:pt x="44" y="853"/>
                  </a:lnTo>
                  <a:lnTo>
                    <a:pt x="52" y="858"/>
                  </a:lnTo>
                  <a:lnTo>
                    <a:pt x="60" y="862"/>
                  </a:lnTo>
                  <a:lnTo>
                    <a:pt x="68" y="865"/>
                  </a:lnTo>
                  <a:lnTo>
                    <a:pt x="78" y="868"/>
                  </a:lnTo>
                  <a:lnTo>
                    <a:pt x="87" y="869"/>
                  </a:lnTo>
                  <a:lnTo>
                    <a:pt x="87" y="869"/>
                  </a:lnTo>
                  <a:lnTo>
                    <a:pt x="87" y="869"/>
                  </a:lnTo>
                  <a:lnTo>
                    <a:pt x="87" y="846"/>
                  </a:lnTo>
                  <a:lnTo>
                    <a:pt x="87" y="846"/>
                  </a:lnTo>
                  <a:lnTo>
                    <a:pt x="87" y="823"/>
                  </a:lnTo>
                  <a:lnTo>
                    <a:pt x="91" y="801"/>
                  </a:lnTo>
                  <a:lnTo>
                    <a:pt x="96" y="779"/>
                  </a:lnTo>
                  <a:lnTo>
                    <a:pt x="104" y="759"/>
                  </a:lnTo>
                  <a:lnTo>
                    <a:pt x="114" y="739"/>
                  </a:lnTo>
                  <a:lnTo>
                    <a:pt x="124" y="721"/>
                  </a:lnTo>
                  <a:lnTo>
                    <a:pt x="138" y="703"/>
                  </a:lnTo>
                  <a:lnTo>
                    <a:pt x="151" y="688"/>
                  </a:lnTo>
                  <a:lnTo>
                    <a:pt x="167" y="674"/>
                  </a:lnTo>
                  <a:lnTo>
                    <a:pt x="184" y="660"/>
                  </a:lnTo>
                  <a:lnTo>
                    <a:pt x="203" y="650"/>
                  </a:lnTo>
                  <a:lnTo>
                    <a:pt x="222" y="640"/>
                  </a:lnTo>
                  <a:lnTo>
                    <a:pt x="243" y="632"/>
                  </a:lnTo>
                  <a:lnTo>
                    <a:pt x="265" y="627"/>
                  </a:lnTo>
                  <a:lnTo>
                    <a:pt x="286" y="624"/>
                  </a:lnTo>
                  <a:lnTo>
                    <a:pt x="309" y="623"/>
                  </a:lnTo>
                  <a:lnTo>
                    <a:pt x="309" y="623"/>
                  </a:lnTo>
                  <a:lnTo>
                    <a:pt x="333" y="624"/>
                  </a:lnTo>
                  <a:lnTo>
                    <a:pt x="354" y="627"/>
                  </a:lnTo>
                  <a:lnTo>
                    <a:pt x="376" y="632"/>
                  </a:lnTo>
                  <a:lnTo>
                    <a:pt x="396" y="640"/>
                  </a:lnTo>
                  <a:lnTo>
                    <a:pt x="416" y="650"/>
                  </a:lnTo>
                  <a:lnTo>
                    <a:pt x="434" y="660"/>
                  </a:lnTo>
                  <a:lnTo>
                    <a:pt x="452" y="674"/>
                  </a:lnTo>
                  <a:lnTo>
                    <a:pt x="466" y="688"/>
                  </a:lnTo>
                  <a:lnTo>
                    <a:pt x="481" y="703"/>
                  </a:lnTo>
                  <a:lnTo>
                    <a:pt x="494" y="721"/>
                  </a:lnTo>
                  <a:lnTo>
                    <a:pt x="505" y="739"/>
                  </a:lnTo>
                  <a:lnTo>
                    <a:pt x="515" y="759"/>
                  </a:lnTo>
                  <a:lnTo>
                    <a:pt x="523" y="779"/>
                  </a:lnTo>
                  <a:lnTo>
                    <a:pt x="528" y="801"/>
                  </a:lnTo>
                  <a:lnTo>
                    <a:pt x="531" y="823"/>
                  </a:lnTo>
                  <a:lnTo>
                    <a:pt x="532" y="846"/>
                  </a:lnTo>
                  <a:lnTo>
                    <a:pt x="532" y="846"/>
                  </a:lnTo>
                  <a:lnTo>
                    <a:pt x="531" y="869"/>
                  </a:lnTo>
                  <a:lnTo>
                    <a:pt x="532" y="869"/>
                  </a:lnTo>
                  <a:lnTo>
                    <a:pt x="1527" y="869"/>
                  </a:lnTo>
                  <a:lnTo>
                    <a:pt x="1526" y="869"/>
                  </a:lnTo>
                  <a:lnTo>
                    <a:pt x="1526" y="869"/>
                  </a:lnTo>
                  <a:lnTo>
                    <a:pt x="1525" y="846"/>
                  </a:lnTo>
                  <a:lnTo>
                    <a:pt x="1525" y="846"/>
                  </a:lnTo>
                  <a:lnTo>
                    <a:pt x="1526" y="823"/>
                  </a:lnTo>
                  <a:lnTo>
                    <a:pt x="1529" y="801"/>
                  </a:lnTo>
                  <a:lnTo>
                    <a:pt x="1534" y="779"/>
                  </a:lnTo>
                  <a:lnTo>
                    <a:pt x="1542" y="759"/>
                  </a:lnTo>
                  <a:lnTo>
                    <a:pt x="1552" y="739"/>
                  </a:lnTo>
                  <a:lnTo>
                    <a:pt x="1562" y="721"/>
                  </a:lnTo>
                  <a:lnTo>
                    <a:pt x="1576" y="703"/>
                  </a:lnTo>
                  <a:lnTo>
                    <a:pt x="1590" y="688"/>
                  </a:lnTo>
                  <a:lnTo>
                    <a:pt x="1606" y="674"/>
                  </a:lnTo>
                  <a:lnTo>
                    <a:pt x="1622" y="660"/>
                  </a:lnTo>
                  <a:lnTo>
                    <a:pt x="1641" y="650"/>
                  </a:lnTo>
                  <a:lnTo>
                    <a:pt x="1661" y="640"/>
                  </a:lnTo>
                  <a:lnTo>
                    <a:pt x="1681" y="632"/>
                  </a:lnTo>
                  <a:lnTo>
                    <a:pt x="1703" y="627"/>
                  </a:lnTo>
                  <a:lnTo>
                    <a:pt x="1725" y="624"/>
                  </a:lnTo>
                  <a:lnTo>
                    <a:pt x="1748" y="623"/>
                  </a:lnTo>
                  <a:lnTo>
                    <a:pt x="1748" y="623"/>
                  </a:lnTo>
                  <a:lnTo>
                    <a:pt x="1771" y="624"/>
                  </a:lnTo>
                  <a:lnTo>
                    <a:pt x="1792" y="627"/>
                  </a:lnTo>
                  <a:lnTo>
                    <a:pt x="1813" y="632"/>
                  </a:lnTo>
                  <a:lnTo>
                    <a:pt x="1835" y="640"/>
                  </a:lnTo>
                  <a:lnTo>
                    <a:pt x="1854" y="650"/>
                  </a:lnTo>
                  <a:lnTo>
                    <a:pt x="1872" y="660"/>
                  </a:lnTo>
                  <a:lnTo>
                    <a:pt x="1890" y="674"/>
                  </a:lnTo>
                  <a:lnTo>
                    <a:pt x="1906" y="688"/>
                  </a:lnTo>
                  <a:lnTo>
                    <a:pt x="1919" y="703"/>
                  </a:lnTo>
                  <a:lnTo>
                    <a:pt x="1932" y="721"/>
                  </a:lnTo>
                  <a:lnTo>
                    <a:pt x="1943" y="739"/>
                  </a:lnTo>
                  <a:lnTo>
                    <a:pt x="1952" y="759"/>
                  </a:lnTo>
                  <a:lnTo>
                    <a:pt x="1960" y="779"/>
                  </a:lnTo>
                  <a:lnTo>
                    <a:pt x="1966" y="801"/>
                  </a:lnTo>
                  <a:lnTo>
                    <a:pt x="1970" y="823"/>
                  </a:lnTo>
                  <a:lnTo>
                    <a:pt x="1971" y="846"/>
                  </a:lnTo>
                  <a:lnTo>
                    <a:pt x="1971" y="846"/>
                  </a:lnTo>
                  <a:lnTo>
                    <a:pt x="1970" y="869"/>
                  </a:lnTo>
                  <a:lnTo>
                    <a:pt x="1971" y="869"/>
                  </a:lnTo>
                  <a:lnTo>
                    <a:pt x="2257" y="846"/>
                  </a:lnTo>
                  <a:lnTo>
                    <a:pt x="2257" y="528"/>
                  </a:lnTo>
                  <a:lnTo>
                    <a:pt x="2257" y="528"/>
                  </a:lnTo>
                  <a:lnTo>
                    <a:pt x="2256" y="517"/>
                  </a:lnTo>
                  <a:lnTo>
                    <a:pt x="2253" y="508"/>
                  </a:lnTo>
                  <a:lnTo>
                    <a:pt x="2249" y="500"/>
                  </a:lnTo>
                  <a:lnTo>
                    <a:pt x="2244" y="492"/>
                  </a:lnTo>
                  <a:lnTo>
                    <a:pt x="2236" y="485"/>
                  </a:lnTo>
                  <a:lnTo>
                    <a:pt x="2228" y="480"/>
                  </a:lnTo>
                  <a:lnTo>
                    <a:pt x="2220" y="476"/>
                  </a:lnTo>
                  <a:lnTo>
                    <a:pt x="2209" y="473"/>
                  </a:lnTo>
                  <a:lnTo>
                    <a:pt x="2209" y="473"/>
                  </a:lnTo>
                  <a:close/>
                  <a:moveTo>
                    <a:pt x="1318" y="386"/>
                  </a:moveTo>
                  <a:lnTo>
                    <a:pt x="758" y="386"/>
                  </a:lnTo>
                  <a:lnTo>
                    <a:pt x="937" y="114"/>
                  </a:lnTo>
                  <a:lnTo>
                    <a:pt x="1318" y="114"/>
                  </a:lnTo>
                  <a:lnTo>
                    <a:pt x="1318" y="386"/>
                  </a:lnTo>
                  <a:close/>
                  <a:moveTo>
                    <a:pt x="1367" y="386"/>
                  </a:moveTo>
                  <a:lnTo>
                    <a:pt x="1367" y="114"/>
                  </a:lnTo>
                  <a:lnTo>
                    <a:pt x="1596" y="114"/>
                  </a:lnTo>
                  <a:lnTo>
                    <a:pt x="1855" y="386"/>
                  </a:lnTo>
                  <a:lnTo>
                    <a:pt x="1367" y="386"/>
                  </a:lnTo>
                  <a:close/>
                </a:path>
              </a:pathLst>
            </a:custGeom>
            <a:solidFill>
              <a:schemeClr val="bg2">
                <a:lumMod val="7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680" name="Group 1679"/>
          <p:cNvGrpSpPr/>
          <p:nvPr/>
        </p:nvGrpSpPr>
        <p:grpSpPr>
          <a:xfrm>
            <a:off x="5824433" y="3782282"/>
            <a:ext cx="424307" cy="334919"/>
            <a:chOff x="5797599" y="3764602"/>
            <a:chExt cx="513412" cy="368411"/>
          </a:xfrm>
        </p:grpSpPr>
        <p:grpSp>
          <p:nvGrpSpPr>
            <p:cNvPr id="1679" name="Group 1678"/>
            <p:cNvGrpSpPr/>
            <p:nvPr/>
          </p:nvGrpSpPr>
          <p:grpSpPr>
            <a:xfrm>
              <a:off x="5826171" y="3788747"/>
              <a:ext cx="450578" cy="230826"/>
              <a:chOff x="5871376" y="3789276"/>
              <a:chExt cx="357761" cy="215177"/>
            </a:xfrm>
          </p:grpSpPr>
          <p:sp>
            <p:nvSpPr>
              <p:cNvPr id="1359" name="Rectangle 1358"/>
              <p:cNvSpPr/>
              <p:nvPr/>
            </p:nvSpPr>
            <p:spPr bwMode="auto">
              <a:xfrm>
                <a:off x="5906475" y="3789276"/>
                <a:ext cx="292172" cy="111977"/>
              </a:xfrm>
              <a:custGeom>
                <a:avLst/>
                <a:gdLst>
                  <a:gd name="connsiteX0" fmla="*/ 0 w 367973"/>
                  <a:gd name="connsiteY0" fmla="*/ 0 h 117544"/>
                  <a:gd name="connsiteX1" fmla="*/ 367973 w 367973"/>
                  <a:gd name="connsiteY1" fmla="*/ 0 h 117544"/>
                  <a:gd name="connsiteX2" fmla="*/ 367973 w 367973"/>
                  <a:gd name="connsiteY2" fmla="*/ 117544 h 117544"/>
                  <a:gd name="connsiteX3" fmla="*/ 0 w 367973"/>
                  <a:gd name="connsiteY3" fmla="*/ 117544 h 117544"/>
                  <a:gd name="connsiteX4" fmla="*/ 0 w 367973"/>
                  <a:gd name="connsiteY4" fmla="*/ 0 h 117544"/>
                  <a:gd name="connsiteX0" fmla="*/ 36061 w 367973"/>
                  <a:gd name="connsiteY0" fmla="*/ 0 h 120120"/>
                  <a:gd name="connsiteX1" fmla="*/ 367973 w 367973"/>
                  <a:gd name="connsiteY1" fmla="*/ 2576 h 120120"/>
                  <a:gd name="connsiteX2" fmla="*/ 367973 w 367973"/>
                  <a:gd name="connsiteY2" fmla="*/ 120120 h 120120"/>
                  <a:gd name="connsiteX3" fmla="*/ 0 w 367973"/>
                  <a:gd name="connsiteY3" fmla="*/ 120120 h 120120"/>
                  <a:gd name="connsiteX4" fmla="*/ 36061 w 367973"/>
                  <a:gd name="connsiteY4" fmla="*/ 0 h 120120"/>
                  <a:gd name="connsiteX0" fmla="*/ 36061 w 367973"/>
                  <a:gd name="connsiteY0" fmla="*/ 0 h 120120"/>
                  <a:gd name="connsiteX1" fmla="*/ 326760 w 367973"/>
                  <a:gd name="connsiteY1" fmla="*/ 2576 h 120120"/>
                  <a:gd name="connsiteX2" fmla="*/ 367973 w 367973"/>
                  <a:gd name="connsiteY2" fmla="*/ 120120 h 120120"/>
                  <a:gd name="connsiteX3" fmla="*/ 0 w 367973"/>
                  <a:gd name="connsiteY3" fmla="*/ 120120 h 120120"/>
                  <a:gd name="connsiteX4" fmla="*/ 36061 w 367973"/>
                  <a:gd name="connsiteY4" fmla="*/ 0 h 12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973" h="120120">
                    <a:moveTo>
                      <a:pt x="36061" y="0"/>
                    </a:moveTo>
                    <a:lnTo>
                      <a:pt x="326760" y="2576"/>
                    </a:lnTo>
                    <a:lnTo>
                      <a:pt x="367973" y="120120"/>
                    </a:lnTo>
                    <a:lnTo>
                      <a:pt x="0" y="120120"/>
                    </a:lnTo>
                    <a:lnTo>
                      <a:pt x="36061" y="0"/>
                    </a:lnTo>
                    <a:close/>
                  </a:path>
                </a:pathLst>
              </a:cu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60" name="Rectangle 1359"/>
              <p:cNvSpPr/>
              <p:nvPr/>
            </p:nvSpPr>
            <p:spPr bwMode="auto">
              <a:xfrm>
                <a:off x="5871376" y="3926412"/>
                <a:ext cx="357761" cy="780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677" name="Group 1676"/>
            <p:cNvGrpSpPr/>
            <p:nvPr/>
          </p:nvGrpSpPr>
          <p:grpSpPr>
            <a:xfrm>
              <a:off x="5797599" y="3764602"/>
              <a:ext cx="513412" cy="368411"/>
              <a:chOff x="-2333625" y="3232150"/>
              <a:chExt cx="758826" cy="544513"/>
            </a:xfrm>
          </p:grpSpPr>
          <p:sp>
            <p:nvSpPr>
              <p:cNvPr id="1519" name="Freeform 146"/>
              <p:cNvSpPr>
                <a:spLocks noEditPoints="1"/>
              </p:cNvSpPr>
              <p:nvPr/>
            </p:nvSpPr>
            <p:spPr bwMode="auto">
              <a:xfrm>
                <a:off x="-2309812" y="3232150"/>
                <a:ext cx="712788" cy="398463"/>
              </a:xfrm>
              <a:custGeom>
                <a:avLst/>
                <a:gdLst>
                  <a:gd name="T0" fmla="*/ 1339 w 1349"/>
                  <a:gd name="T1" fmla="*/ 542 h 753"/>
                  <a:gd name="T2" fmla="*/ 1315 w 1349"/>
                  <a:gd name="T3" fmla="*/ 481 h 753"/>
                  <a:gd name="T4" fmla="*/ 1281 w 1349"/>
                  <a:gd name="T5" fmla="*/ 441 h 753"/>
                  <a:gd name="T6" fmla="*/ 1245 w 1349"/>
                  <a:gd name="T7" fmla="*/ 415 h 753"/>
                  <a:gd name="T8" fmla="*/ 1221 w 1349"/>
                  <a:gd name="T9" fmla="*/ 385 h 753"/>
                  <a:gd name="T10" fmla="*/ 1204 w 1349"/>
                  <a:gd name="T11" fmla="*/ 343 h 753"/>
                  <a:gd name="T12" fmla="*/ 1124 w 1349"/>
                  <a:gd name="T13" fmla="*/ 89 h 753"/>
                  <a:gd name="T14" fmla="*/ 1100 w 1349"/>
                  <a:gd name="T15" fmla="*/ 46 h 753"/>
                  <a:gd name="T16" fmla="*/ 1049 w 1349"/>
                  <a:gd name="T17" fmla="*/ 20 h 753"/>
                  <a:gd name="T18" fmla="*/ 852 w 1349"/>
                  <a:gd name="T19" fmla="*/ 4 h 753"/>
                  <a:gd name="T20" fmla="*/ 491 w 1349"/>
                  <a:gd name="T21" fmla="*/ 4 h 753"/>
                  <a:gd name="T22" fmla="*/ 295 w 1349"/>
                  <a:gd name="T23" fmla="*/ 20 h 753"/>
                  <a:gd name="T24" fmla="*/ 246 w 1349"/>
                  <a:gd name="T25" fmla="*/ 45 h 753"/>
                  <a:gd name="T26" fmla="*/ 222 w 1349"/>
                  <a:gd name="T27" fmla="*/ 85 h 753"/>
                  <a:gd name="T28" fmla="*/ 151 w 1349"/>
                  <a:gd name="T29" fmla="*/ 314 h 753"/>
                  <a:gd name="T30" fmla="*/ 128 w 1349"/>
                  <a:gd name="T31" fmla="*/ 382 h 753"/>
                  <a:gd name="T32" fmla="*/ 91 w 1349"/>
                  <a:gd name="T33" fmla="*/ 421 h 753"/>
                  <a:gd name="T34" fmla="*/ 22 w 1349"/>
                  <a:gd name="T35" fmla="*/ 481 h 753"/>
                  <a:gd name="T36" fmla="*/ 4 w 1349"/>
                  <a:gd name="T37" fmla="*/ 521 h 753"/>
                  <a:gd name="T38" fmla="*/ 0 w 1349"/>
                  <a:gd name="T39" fmla="*/ 585 h 753"/>
                  <a:gd name="T40" fmla="*/ 1347 w 1349"/>
                  <a:gd name="T41" fmla="*/ 753 h 753"/>
                  <a:gd name="T42" fmla="*/ 1349 w 1349"/>
                  <a:gd name="T43" fmla="*/ 675 h 753"/>
                  <a:gd name="T44" fmla="*/ 263 w 1349"/>
                  <a:gd name="T45" fmla="*/ 115 h 753"/>
                  <a:gd name="T46" fmla="*/ 292 w 1349"/>
                  <a:gd name="T47" fmla="*/ 96 h 753"/>
                  <a:gd name="T48" fmla="*/ 491 w 1349"/>
                  <a:gd name="T49" fmla="*/ 82 h 753"/>
                  <a:gd name="T50" fmla="*/ 723 w 1349"/>
                  <a:gd name="T51" fmla="*/ 77 h 753"/>
                  <a:gd name="T52" fmla="*/ 1051 w 1349"/>
                  <a:gd name="T53" fmla="*/ 94 h 753"/>
                  <a:gd name="T54" fmla="*/ 1079 w 1349"/>
                  <a:gd name="T55" fmla="*/ 107 h 753"/>
                  <a:gd name="T56" fmla="*/ 1108 w 1349"/>
                  <a:gd name="T57" fmla="*/ 173 h 753"/>
                  <a:gd name="T58" fmla="*/ 1186 w 1349"/>
                  <a:gd name="T59" fmla="*/ 381 h 753"/>
                  <a:gd name="T60" fmla="*/ 172 w 1349"/>
                  <a:gd name="T61" fmla="*/ 351 h 753"/>
                  <a:gd name="T62" fmla="*/ 250 w 1349"/>
                  <a:gd name="T63" fmla="*/ 143 h 753"/>
                  <a:gd name="T64" fmla="*/ 335 w 1349"/>
                  <a:gd name="T65" fmla="*/ 638 h 753"/>
                  <a:gd name="T66" fmla="*/ 324 w 1349"/>
                  <a:gd name="T67" fmla="*/ 665 h 753"/>
                  <a:gd name="T68" fmla="*/ 299 w 1349"/>
                  <a:gd name="T69" fmla="*/ 676 h 753"/>
                  <a:gd name="T70" fmla="*/ 95 w 1349"/>
                  <a:gd name="T71" fmla="*/ 673 h 753"/>
                  <a:gd name="T72" fmla="*/ 75 w 1349"/>
                  <a:gd name="T73" fmla="*/ 653 h 753"/>
                  <a:gd name="T74" fmla="*/ 72 w 1349"/>
                  <a:gd name="T75" fmla="*/ 585 h 753"/>
                  <a:gd name="T76" fmla="*/ 83 w 1349"/>
                  <a:gd name="T77" fmla="*/ 558 h 753"/>
                  <a:gd name="T78" fmla="*/ 109 w 1349"/>
                  <a:gd name="T79" fmla="*/ 548 h 753"/>
                  <a:gd name="T80" fmla="*/ 312 w 1349"/>
                  <a:gd name="T81" fmla="*/ 550 h 753"/>
                  <a:gd name="T82" fmla="*/ 332 w 1349"/>
                  <a:gd name="T83" fmla="*/ 570 h 753"/>
                  <a:gd name="T84" fmla="*/ 335 w 1349"/>
                  <a:gd name="T85" fmla="*/ 638 h 753"/>
                  <a:gd name="T86" fmla="*/ 1269 w 1349"/>
                  <a:gd name="T87" fmla="*/ 650 h 753"/>
                  <a:gd name="T88" fmla="*/ 1249 w 1349"/>
                  <a:gd name="T89" fmla="*/ 671 h 753"/>
                  <a:gd name="T90" fmla="*/ 1046 w 1349"/>
                  <a:gd name="T91" fmla="*/ 673 h 753"/>
                  <a:gd name="T92" fmla="*/ 1019 w 1349"/>
                  <a:gd name="T93" fmla="*/ 663 h 753"/>
                  <a:gd name="T94" fmla="*/ 1009 w 1349"/>
                  <a:gd name="T95" fmla="*/ 636 h 753"/>
                  <a:gd name="T96" fmla="*/ 1011 w 1349"/>
                  <a:gd name="T97" fmla="*/ 568 h 753"/>
                  <a:gd name="T98" fmla="*/ 1031 w 1349"/>
                  <a:gd name="T99" fmla="*/ 548 h 753"/>
                  <a:gd name="T100" fmla="*/ 1234 w 1349"/>
                  <a:gd name="T101" fmla="*/ 544 h 753"/>
                  <a:gd name="T102" fmla="*/ 1261 w 1349"/>
                  <a:gd name="T103" fmla="*/ 556 h 753"/>
                  <a:gd name="T104" fmla="*/ 1272 w 1349"/>
                  <a:gd name="T105" fmla="*/ 582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49" h="753">
                    <a:moveTo>
                      <a:pt x="1348" y="604"/>
                    </a:moveTo>
                    <a:lnTo>
                      <a:pt x="1348" y="604"/>
                    </a:lnTo>
                    <a:lnTo>
                      <a:pt x="1344" y="572"/>
                    </a:lnTo>
                    <a:lnTo>
                      <a:pt x="1339" y="542"/>
                    </a:lnTo>
                    <a:lnTo>
                      <a:pt x="1331" y="517"/>
                    </a:lnTo>
                    <a:lnTo>
                      <a:pt x="1325" y="503"/>
                    </a:lnTo>
                    <a:lnTo>
                      <a:pt x="1320" y="493"/>
                    </a:lnTo>
                    <a:lnTo>
                      <a:pt x="1315" y="481"/>
                    </a:lnTo>
                    <a:lnTo>
                      <a:pt x="1307" y="470"/>
                    </a:lnTo>
                    <a:lnTo>
                      <a:pt x="1299" y="461"/>
                    </a:lnTo>
                    <a:lnTo>
                      <a:pt x="1291" y="450"/>
                    </a:lnTo>
                    <a:lnTo>
                      <a:pt x="1281" y="441"/>
                    </a:lnTo>
                    <a:lnTo>
                      <a:pt x="1271" y="433"/>
                    </a:lnTo>
                    <a:lnTo>
                      <a:pt x="1259" y="423"/>
                    </a:lnTo>
                    <a:lnTo>
                      <a:pt x="1245" y="415"/>
                    </a:lnTo>
                    <a:lnTo>
                      <a:pt x="1245" y="415"/>
                    </a:lnTo>
                    <a:lnTo>
                      <a:pt x="1240" y="411"/>
                    </a:lnTo>
                    <a:lnTo>
                      <a:pt x="1236" y="407"/>
                    </a:lnTo>
                    <a:lnTo>
                      <a:pt x="1228" y="397"/>
                    </a:lnTo>
                    <a:lnTo>
                      <a:pt x="1221" y="385"/>
                    </a:lnTo>
                    <a:lnTo>
                      <a:pt x="1213" y="374"/>
                    </a:lnTo>
                    <a:lnTo>
                      <a:pt x="1214" y="375"/>
                    </a:lnTo>
                    <a:lnTo>
                      <a:pt x="1214" y="375"/>
                    </a:lnTo>
                    <a:lnTo>
                      <a:pt x="1204" y="343"/>
                    </a:lnTo>
                    <a:lnTo>
                      <a:pt x="1192" y="308"/>
                    </a:lnTo>
                    <a:lnTo>
                      <a:pt x="1168" y="232"/>
                    </a:lnTo>
                    <a:lnTo>
                      <a:pt x="1145" y="156"/>
                    </a:lnTo>
                    <a:lnTo>
                      <a:pt x="1124" y="89"/>
                    </a:lnTo>
                    <a:lnTo>
                      <a:pt x="1124" y="89"/>
                    </a:lnTo>
                    <a:lnTo>
                      <a:pt x="1117" y="73"/>
                    </a:lnTo>
                    <a:lnTo>
                      <a:pt x="1109" y="58"/>
                    </a:lnTo>
                    <a:lnTo>
                      <a:pt x="1100" y="46"/>
                    </a:lnTo>
                    <a:lnTo>
                      <a:pt x="1090" y="37"/>
                    </a:lnTo>
                    <a:lnTo>
                      <a:pt x="1078" y="29"/>
                    </a:lnTo>
                    <a:lnTo>
                      <a:pt x="1063" y="24"/>
                    </a:lnTo>
                    <a:lnTo>
                      <a:pt x="1049" y="20"/>
                    </a:lnTo>
                    <a:lnTo>
                      <a:pt x="1031" y="17"/>
                    </a:lnTo>
                    <a:lnTo>
                      <a:pt x="1031" y="17"/>
                    </a:lnTo>
                    <a:lnTo>
                      <a:pt x="942" y="9"/>
                    </a:lnTo>
                    <a:lnTo>
                      <a:pt x="852" y="4"/>
                    </a:lnTo>
                    <a:lnTo>
                      <a:pt x="761" y="1"/>
                    </a:lnTo>
                    <a:lnTo>
                      <a:pt x="672" y="0"/>
                    </a:lnTo>
                    <a:lnTo>
                      <a:pt x="582" y="1"/>
                    </a:lnTo>
                    <a:lnTo>
                      <a:pt x="491" y="4"/>
                    </a:lnTo>
                    <a:lnTo>
                      <a:pt x="402" y="9"/>
                    </a:lnTo>
                    <a:lnTo>
                      <a:pt x="312" y="17"/>
                    </a:lnTo>
                    <a:lnTo>
                      <a:pt x="312" y="17"/>
                    </a:lnTo>
                    <a:lnTo>
                      <a:pt x="295" y="20"/>
                    </a:lnTo>
                    <a:lnTo>
                      <a:pt x="280" y="24"/>
                    </a:lnTo>
                    <a:lnTo>
                      <a:pt x="267" y="29"/>
                    </a:lnTo>
                    <a:lnTo>
                      <a:pt x="255" y="36"/>
                    </a:lnTo>
                    <a:lnTo>
                      <a:pt x="246" y="45"/>
                    </a:lnTo>
                    <a:lnTo>
                      <a:pt x="236" y="57"/>
                    </a:lnTo>
                    <a:lnTo>
                      <a:pt x="228" y="70"/>
                    </a:lnTo>
                    <a:lnTo>
                      <a:pt x="222" y="85"/>
                    </a:lnTo>
                    <a:lnTo>
                      <a:pt x="222" y="85"/>
                    </a:lnTo>
                    <a:lnTo>
                      <a:pt x="211" y="119"/>
                    </a:lnTo>
                    <a:lnTo>
                      <a:pt x="199" y="156"/>
                    </a:lnTo>
                    <a:lnTo>
                      <a:pt x="175" y="235"/>
                    </a:lnTo>
                    <a:lnTo>
                      <a:pt x="151" y="314"/>
                    </a:lnTo>
                    <a:lnTo>
                      <a:pt x="139" y="350"/>
                    </a:lnTo>
                    <a:lnTo>
                      <a:pt x="127" y="383"/>
                    </a:lnTo>
                    <a:lnTo>
                      <a:pt x="128" y="382"/>
                    </a:lnTo>
                    <a:lnTo>
                      <a:pt x="128" y="382"/>
                    </a:lnTo>
                    <a:lnTo>
                      <a:pt x="111" y="403"/>
                    </a:lnTo>
                    <a:lnTo>
                      <a:pt x="101" y="413"/>
                    </a:lnTo>
                    <a:lnTo>
                      <a:pt x="91" y="421"/>
                    </a:lnTo>
                    <a:lnTo>
                      <a:pt x="91" y="421"/>
                    </a:lnTo>
                    <a:lnTo>
                      <a:pt x="61" y="443"/>
                    </a:lnTo>
                    <a:lnTo>
                      <a:pt x="46" y="454"/>
                    </a:lnTo>
                    <a:lnTo>
                      <a:pt x="33" y="467"/>
                    </a:lnTo>
                    <a:lnTo>
                      <a:pt x="22" y="481"/>
                    </a:lnTo>
                    <a:lnTo>
                      <a:pt x="13" y="495"/>
                    </a:lnTo>
                    <a:lnTo>
                      <a:pt x="9" y="503"/>
                    </a:lnTo>
                    <a:lnTo>
                      <a:pt x="6" y="511"/>
                    </a:lnTo>
                    <a:lnTo>
                      <a:pt x="4" y="521"/>
                    </a:lnTo>
                    <a:lnTo>
                      <a:pt x="2" y="530"/>
                    </a:lnTo>
                    <a:lnTo>
                      <a:pt x="2" y="530"/>
                    </a:lnTo>
                    <a:lnTo>
                      <a:pt x="1" y="558"/>
                    </a:lnTo>
                    <a:lnTo>
                      <a:pt x="0" y="585"/>
                    </a:lnTo>
                    <a:lnTo>
                      <a:pt x="0" y="641"/>
                    </a:lnTo>
                    <a:lnTo>
                      <a:pt x="1" y="753"/>
                    </a:lnTo>
                    <a:lnTo>
                      <a:pt x="1" y="753"/>
                    </a:lnTo>
                    <a:lnTo>
                      <a:pt x="1347" y="753"/>
                    </a:lnTo>
                    <a:lnTo>
                      <a:pt x="1347" y="753"/>
                    </a:lnTo>
                    <a:lnTo>
                      <a:pt x="1348" y="744"/>
                    </a:lnTo>
                    <a:lnTo>
                      <a:pt x="1349" y="727"/>
                    </a:lnTo>
                    <a:lnTo>
                      <a:pt x="1349" y="675"/>
                    </a:lnTo>
                    <a:lnTo>
                      <a:pt x="1348" y="604"/>
                    </a:lnTo>
                    <a:lnTo>
                      <a:pt x="1348" y="604"/>
                    </a:lnTo>
                    <a:close/>
                    <a:moveTo>
                      <a:pt x="263" y="115"/>
                    </a:moveTo>
                    <a:lnTo>
                      <a:pt x="263" y="115"/>
                    </a:lnTo>
                    <a:lnTo>
                      <a:pt x="266" y="111"/>
                    </a:lnTo>
                    <a:lnTo>
                      <a:pt x="270" y="107"/>
                    </a:lnTo>
                    <a:lnTo>
                      <a:pt x="280" y="100"/>
                    </a:lnTo>
                    <a:lnTo>
                      <a:pt x="292" y="96"/>
                    </a:lnTo>
                    <a:lnTo>
                      <a:pt x="304" y="93"/>
                    </a:lnTo>
                    <a:lnTo>
                      <a:pt x="304" y="93"/>
                    </a:lnTo>
                    <a:lnTo>
                      <a:pt x="399" y="88"/>
                    </a:lnTo>
                    <a:lnTo>
                      <a:pt x="491" y="82"/>
                    </a:lnTo>
                    <a:lnTo>
                      <a:pt x="584" y="78"/>
                    </a:lnTo>
                    <a:lnTo>
                      <a:pt x="679" y="77"/>
                    </a:lnTo>
                    <a:lnTo>
                      <a:pt x="679" y="77"/>
                    </a:lnTo>
                    <a:lnTo>
                      <a:pt x="723" y="77"/>
                    </a:lnTo>
                    <a:lnTo>
                      <a:pt x="769" y="78"/>
                    </a:lnTo>
                    <a:lnTo>
                      <a:pt x="866" y="84"/>
                    </a:lnTo>
                    <a:lnTo>
                      <a:pt x="962" y="89"/>
                    </a:lnTo>
                    <a:lnTo>
                      <a:pt x="1051" y="94"/>
                    </a:lnTo>
                    <a:lnTo>
                      <a:pt x="1051" y="94"/>
                    </a:lnTo>
                    <a:lnTo>
                      <a:pt x="1066" y="99"/>
                    </a:lnTo>
                    <a:lnTo>
                      <a:pt x="1074" y="101"/>
                    </a:lnTo>
                    <a:lnTo>
                      <a:pt x="1079" y="107"/>
                    </a:lnTo>
                    <a:lnTo>
                      <a:pt x="1085" y="115"/>
                    </a:lnTo>
                    <a:lnTo>
                      <a:pt x="1085" y="115"/>
                    </a:lnTo>
                    <a:lnTo>
                      <a:pt x="1096" y="141"/>
                    </a:lnTo>
                    <a:lnTo>
                      <a:pt x="1108" y="173"/>
                    </a:lnTo>
                    <a:lnTo>
                      <a:pt x="1134" y="247"/>
                    </a:lnTo>
                    <a:lnTo>
                      <a:pt x="1161" y="320"/>
                    </a:lnTo>
                    <a:lnTo>
                      <a:pt x="1174" y="354"/>
                    </a:lnTo>
                    <a:lnTo>
                      <a:pt x="1186" y="381"/>
                    </a:lnTo>
                    <a:lnTo>
                      <a:pt x="1186" y="381"/>
                    </a:lnTo>
                    <a:lnTo>
                      <a:pt x="159" y="381"/>
                    </a:lnTo>
                    <a:lnTo>
                      <a:pt x="159" y="381"/>
                    </a:lnTo>
                    <a:lnTo>
                      <a:pt x="172" y="351"/>
                    </a:lnTo>
                    <a:lnTo>
                      <a:pt x="185" y="318"/>
                    </a:lnTo>
                    <a:lnTo>
                      <a:pt x="211" y="246"/>
                    </a:lnTo>
                    <a:lnTo>
                      <a:pt x="238" y="175"/>
                    </a:lnTo>
                    <a:lnTo>
                      <a:pt x="250" y="143"/>
                    </a:lnTo>
                    <a:lnTo>
                      <a:pt x="263" y="115"/>
                    </a:lnTo>
                    <a:lnTo>
                      <a:pt x="263" y="115"/>
                    </a:lnTo>
                    <a:close/>
                    <a:moveTo>
                      <a:pt x="335" y="638"/>
                    </a:moveTo>
                    <a:lnTo>
                      <a:pt x="335" y="638"/>
                    </a:lnTo>
                    <a:lnTo>
                      <a:pt x="335" y="646"/>
                    </a:lnTo>
                    <a:lnTo>
                      <a:pt x="332" y="653"/>
                    </a:lnTo>
                    <a:lnTo>
                      <a:pt x="330" y="660"/>
                    </a:lnTo>
                    <a:lnTo>
                      <a:pt x="324" y="665"/>
                    </a:lnTo>
                    <a:lnTo>
                      <a:pt x="319" y="671"/>
                    </a:lnTo>
                    <a:lnTo>
                      <a:pt x="312" y="673"/>
                    </a:lnTo>
                    <a:lnTo>
                      <a:pt x="306" y="676"/>
                    </a:lnTo>
                    <a:lnTo>
                      <a:pt x="299" y="676"/>
                    </a:lnTo>
                    <a:lnTo>
                      <a:pt x="109" y="676"/>
                    </a:lnTo>
                    <a:lnTo>
                      <a:pt x="109" y="676"/>
                    </a:lnTo>
                    <a:lnTo>
                      <a:pt x="101" y="676"/>
                    </a:lnTo>
                    <a:lnTo>
                      <a:pt x="95" y="673"/>
                    </a:lnTo>
                    <a:lnTo>
                      <a:pt x="88" y="671"/>
                    </a:lnTo>
                    <a:lnTo>
                      <a:pt x="83" y="665"/>
                    </a:lnTo>
                    <a:lnTo>
                      <a:pt x="79" y="660"/>
                    </a:lnTo>
                    <a:lnTo>
                      <a:pt x="75" y="653"/>
                    </a:lnTo>
                    <a:lnTo>
                      <a:pt x="72" y="646"/>
                    </a:lnTo>
                    <a:lnTo>
                      <a:pt x="72" y="638"/>
                    </a:lnTo>
                    <a:lnTo>
                      <a:pt x="72" y="585"/>
                    </a:lnTo>
                    <a:lnTo>
                      <a:pt x="72" y="585"/>
                    </a:lnTo>
                    <a:lnTo>
                      <a:pt x="72" y="577"/>
                    </a:lnTo>
                    <a:lnTo>
                      <a:pt x="75" y="570"/>
                    </a:lnTo>
                    <a:lnTo>
                      <a:pt x="79" y="564"/>
                    </a:lnTo>
                    <a:lnTo>
                      <a:pt x="83" y="558"/>
                    </a:lnTo>
                    <a:lnTo>
                      <a:pt x="88" y="553"/>
                    </a:lnTo>
                    <a:lnTo>
                      <a:pt x="95" y="550"/>
                    </a:lnTo>
                    <a:lnTo>
                      <a:pt x="101" y="548"/>
                    </a:lnTo>
                    <a:lnTo>
                      <a:pt x="109" y="548"/>
                    </a:lnTo>
                    <a:lnTo>
                      <a:pt x="298" y="548"/>
                    </a:lnTo>
                    <a:lnTo>
                      <a:pt x="298" y="548"/>
                    </a:lnTo>
                    <a:lnTo>
                      <a:pt x="306" y="548"/>
                    </a:lnTo>
                    <a:lnTo>
                      <a:pt x="312" y="550"/>
                    </a:lnTo>
                    <a:lnTo>
                      <a:pt x="319" y="553"/>
                    </a:lnTo>
                    <a:lnTo>
                      <a:pt x="324" y="558"/>
                    </a:lnTo>
                    <a:lnTo>
                      <a:pt x="330" y="564"/>
                    </a:lnTo>
                    <a:lnTo>
                      <a:pt x="332" y="570"/>
                    </a:lnTo>
                    <a:lnTo>
                      <a:pt x="335" y="577"/>
                    </a:lnTo>
                    <a:lnTo>
                      <a:pt x="335" y="585"/>
                    </a:lnTo>
                    <a:lnTo>
                      <a:pt x="335" y="638"/>
                    </a:lnTo>
                    <a:lnTo>
                      <a:pt x="335" y="638"/>
                    </a:lnTo>
                    <a:close/>
                    <a:moveTo>
                      <a:pt x="1272" y="636"/>
                    </a:moveTo>
                    <a:lnTo>
                      <a:pt x="1272" y="636"/>
                    </a:lnTo>
                    <a:lnTo>
                      <a:pt x="1272" y="644"/>
                    </a:lnTo>
                    <a:lnTo>
                      <a:pt x="1269" y="650"/>
                    </a:lnTo>
                    <a:lnTo>
                      <a:pt x="1265" y="657"/>
                    </a:lnTo>
                    <a:lnTo>
                      <a:pt x="1261" y="663"/>
                    </a:lnTo>
                    <a:lnTo>
                      <a:pt x="1256" y="667"/>
                    </a:lnTo>
                    <a:lnTo>
                      <a:pt x="1249" y="671"/>
                    </a:lnTo>
                    <a:lnTo>
                      <a:pt x="1243" y="673"/>
                    </a:lnTo>
                    <a:lnTo>
                      <a:pt x="1234" y="673"/>
                    </a:lnTo>
                    <a:lnTo>
                      <a:pt x="1046" y="673"/>
                    </a:lnTo>
                    <a:lnTo>
                      <a:pt x="1046" y="673"/>
                    </a:lnTo>
                    <a:lnTo>
                      <a:pt x="1038" y="673"/>
                    </a:lnTo>
                    <a:lnTo>
                      <a:pt x="1031" y="671"/>
                    </a:lnTo>
                    <a:lnTo>
                      <a:pt x="1025" y="667"/>
                    </a:lnTo>
                    <a:lnTo>
                      <a:pt x="1019" y="663"/>
                    </a:lnTo>
                    <a:lnTo>
                      <a:pt x="1014" y="657"/>
                    </a:lnTo>
                    <a:lnTo>
                      <a:pt x="1011" y="650"/>
                    </a:lnTo>
                    <a:lnTo>
                      <a:pt x="1009" y="644"/>
                    </a:lnTo>
                    <a:lnTo>
                      <a:pt x="1009" y="636"/>
                    </a:lnTo>
                    <a:lnTo>
                      <a:pt x="1009" y="582"/>
                    </a:lnTo>
                    <a:lnTo>
                      <a:pt x="1009" y="582"/>
                    </a:lnTo>
                    <a:lnTo>
                      <a:pt x="1009" y="574"/>
                    </a:lnTo>
                    <a:lnTo>
                      <a:pt x="1011" y="568"/>
                    </a:lnTo>
                    <a:lnTo>
                      <a:pt x="1014" y="561"/>
                    </a:lnTo>
                    <a:lnTo>
                      <a:pt x="1019" y="556"/>
                    </a:lnTo>
                    <a:lnTo>
                      <a:pt x="1025" y="550"/>
                    </a:lnTo>
                    <a:lnTo>
                      <a:pt x="1031" y="548"/>
                    </a:lnTo>
                    <a:lnTo>
                      <a:pt x="1038" y="545"/>
                    </a:lnTo>
                    <a:lnTo>
                      <a:pt x="1046" y="544"/>
                    </a:lnTo>
                    <a:lnTo>
                      <a:pt x="1234" y="544"/>
                    </a:lnTo>
                    <a:lnTo>
                      <a:pt x="1234" y="544"/>
                    </a:lnTo>
                    <a:lnTo>
                      <a:pt x="1243" y="545"/>
                    </a:lnTo>
                    <a:lnTo>
                      <a:pt x="1249" y="548"/>
                    </a:lnTo>
                    <a:lnTo>
                      <a:pt x="1256" y="550"/>
                    </a:lnTo>
                    <a:lnTo>
                      <a:pt x="1261" y="556"/>
                    </a:lnTo>
                    <a:lnTo>
                      <a:pt x="1265" y="561"/>
                    </a:lnTo>
                    <a:lnTo>
                      <a:pt x="1269" y="568"/>
                    </a:lnTo>
                    <a:lnTo>
                      <a:pt x="1272" y="574"/>
                    </a:lnTo>
                    <a:lnTo>
                      <a:pt x="1272" y="582"/>
                    </a:lnTo>
                    <a:lnTo>
                      <a:pt x="1272" y="636"/>
                    </a:lnTo>
                    <a:lnTo>
                      <a:pt x="1272" y="636"/>
                    </a:lnTo>
                    <a:close/>
                  </a:path>
                </a:pathLst>
              </a:custGeom>
              <a:solidFill>
                <a:srgbClr val="45A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0" name="Freeform 147"/>
              <p:cNvSpPr>
                <a:spLocks/>
              </p:cNvSpPr>
              <p:nvPr/>
            </p:nvSpPr>
            <p:spPr bwMode="auto">
              <a:xfrm>
                <a:off x="-2319337" y="3646488"/>
                <a:ext cx="731838" cy="130175"/>
              </a:xfrm>
              <a:custGeom>
                <a:avLst/>
                <a:gdLst>
                  <a:gd name="T0" fmla="*/ 1380 w 1381"/>
                  <a:gd name="T1" fmla="*/ 0 h 247"/>
                  <a:gd name="T2" fmla="*/ 692 w 1381"/>
                  <a:gd name="T3" fmla="*/ 0 h 247"/>
                  <a:gd name="T4" fmla="*/ 689 w 1381"/>
                  <a:gd name="T5" fmla="*/ 0 h 247"/>
                  <a:gd name="T6" fmla="*/ 1 w 1381"/>
                  <a:gd name="T7" fmla="*/ 0 h 247"/>
                  <a:gd name="T8" fmla="*/ 2 w 1381"/>
                  <a:gd name="T9" fmla="*/ 35 h 247"/>
                  <a:gd name="T10" fmla="*/ 13 w 1381"/>
                  <a:gd name="T11" fmla="*/ 61 h 247"/>
                  <a:gd name="T12" fmla="*/ 34 w 1381"/>
                  <a:gd name="T13" fmla="*/ 80 h 247"/>
                  <a:gd name="T14" fmla="*/ 65 w 1381"/>
                  <a:gd name="T15" fmla="*/ 92 h 247"/>
                  <a:gd name="T16" fmla="*/ 65 w 1381"/>
                  <a:gd name="T17" fmla="*/ 133 h 247"/>
                  <a:gd name="T18" fmla="*/ 65 w 1381"/>
                  <a:gd name="T19" fmla="*/ 176 h 247"/>
                  <a:gd name="T20" fmla="*/ 68 w 1381"/>
                  <a:gd name="T21" fmla="*/ 218 h 247"/>
                  <a:gd name="T22" fmla="*/ 73 w 1381"/>
                  <a:gd name="T23" fmla="*/ 234 h 247"/>
                  <a:gd name="T24" fmla="*/ 83 w 1381"/>
                  <a:gd name="T25" fmla="*/ 243 h 247"/>
                  <a:gd name="T26" fmla="*/ 100 w 1381"/>
                  <a:gd name="T27" fmla="*/ 247 h 247"/>
                  <a:gd name="T28" fmla="*/ 179 w 1381"/>
                  <a:gd name="T29" fmla="*/ 247 h 247"/>
                  <a:gd name="T30" fmla="*/ 208 w 1381"/>
                  <a:gd name="T31" fmla="*/ 247 h 247"/>
                  <a:gd name="T32" fmla="*/ 238 w 1381"/>
                  <a:gd name="T33" fmla="*/ 244 h 247"/>
                  <a:gd name="T34" fmla="*/ 250 w 1381"/>
                  <a:gd name="T35" fmla="*/ 239 h 247"/>
                  <a:gd name="T36" fmla="*/ 256 w 1381"/>
                  <a:gd name="T37" fmla="*/ 231 h 247"/>
                  <a:gd name="T38" fmla="*/ 262 w 1381"/>
                  <a:gd name="T39" fmla="*/ 210 h 247"/>
                  <a:gd name="T40" fmla="*/ 266 w 1381"/>
                  <a:gd name="T41" fmla="*/ 160 h 247"/>
                  <a:gd name="T42" fmla="*/ 267 w 1381"/>
                  <a:gd name="T43" fmla="*/ 153 h 247"/>
                  <a:gd name="T44" fmla="*/ 268 w 1381"/>
                  <a:gd name="T45" fmla="*/ 147 h 247"/>
                  <a:gd name="T46" fmla="*/ 685 w 1381"/>
                  <a:gd name="T47" fmla="*/ 147 h 247"/>
                  <a:gd name="T48" fmla="*/ 1112 w 1381"/>
                  <a:gd name="T49" fmla="*/ 147 h 247"/>
                  <a:gd name="T50" fmla="*/ 1116 w 1381"/>
                  <a:gd name="T51" fmla="*/ 160 h 247"/>
                  <a:gd name="T52" fmla="*/ 1117 w 1381"/>
                  <a:gd name="T53" fmla="*/ 188 h 247"/>
                  <a:gd name="T54" fmla="*/ 1122 w 1381"/>
                  <a:gd name="T55" fmla="*/ 226 h 247"/>
                  <a:gd name="T56" fmla="*/ 1128 w 1381"/>
                  <a:gd name="T57" fmla="*/ 236 h 247"/>
                  <a:gd name="T58" fmla="*/ 1137 w 1381"/>
                  <a:gd name="T59" fmla="*/ 243 h 247"/>
                  <a:gd name="T60" fmla="*/ 1152 w 1381"/>
                  <a:gd name="T61" fmla="*/ 246 h 247"/>
                  <a:gd name="T62" fmla="*/ 1202 w 1381"/>
                  <a:gd name="T63" fmla="*/ 247 h 247"/>
                  <a:gd name="T64" fmla="*/ 1271 w 1381"/>
                  <a:gd name="T65" fmla="*/ 247 h 247"/>
                  <a:gd name="T66" fmla="*/ 1291 w 1381"/>
                  <a:gd name="T67" fmla="*/ 244 h 247"/>
                  <a:gd name="T68" fmla="*/ 1304 w 1381"/>
                  <a:gd name="T69" fmla="*/ 239 h 247"/>
                  <a:gd name="T70" fmla="*/ 1312 w 1381"/>
                  <a:gd name="T71" fmla="*/ 227 h 247"/>
                  <a:gd name="T72" fmla="*/ 1315 w 1381"/>
                  <a:gd name="T73" fmla="*/ 207 h 247"/>
                  <a:gd name="T74" fmla="*/ 1316 w 1381"/>
                  <a:gd name="T75" fmla="*/ 133 h 247"/>
                  <a:gd name="T76" fmla="*/ 1316 w 1381"/>
                  <a:gd name="T77" fmla="*/ 92 h 247"/>
                  <a:gd name="T78" fmla="*/ 1332 w 1381"/>
                  <a:gd name="T79" fmla="*/ 88 h 247"/>
                  <a:gd name="T80" fmla="*/ 1359 w 1381"/>
                  <a:gd name="T81" fmla="*/ 72 h 247"/>
                  <a:gd name="T82" fmla="*/ 1375 w 1381"/>
                  <a:gd name="T83" fmla="*/ 49 h 247"/>
                  <a:gd name="T84" fmla="*/ 1381 w 1381"/>
                  <a:gd name="T85" fmla="*/ 19 h 247"/>
                  <a:gd name="T86" fmla="*/ 1380 w 1381"/>
                  <a:gd name="T87"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1" h="247">
                    <a:moveTo>
                      <a:pt x="1380" y="0"/>
                    </a:moveTo>
                    <a:lnTo>
                      <a:pt x="1380" y="0"/>
                    </a:lnTo>
                    <a:lnTo>
                      <a:pt x="692" y="0"/>
                    </a:lnTo>
                    <a:lnTo>
                      <a:pt x="692" y="0"/>
                    </a:lnTo>
                    <a:lnTo>
                      <a:pt x="689" y="0"/>
                    </a:lnTo>
                    <a:lnTo>
                      <a:pt x="689" y="0"/>
                    </a:lnTo>
                    <a:lnTo>
                      <a:pt x="1" y="0"/>
                    </a:lnTo>
                    <a:lnTo>
                      <a:pt x="1" y="0"/>
                    </a:lnTo>
                    <a:lnTo>
                      <a:pt x="0" y="19"/>
                    </a:lnTo>
                    <a:lnTo>
                      <a:pt x="2" y="35"/>
                    </a:lnTo>
                    <a:lnTo>
                      <a:pt x="6" y="49"/>
                    </a:lnTo>
                    <a:lnTo>
                      <a:pt x="13" y="61"/>
                    </a:lnTo>
                    <a:lnTo>
                      <a:pt x="22" y="72"/>
                    </a:lnTo>
                    <a:lnTo>
                      <a:pt x="34" y="80"/>
                    </a:lnTo>
                    <a:lnTo>
                      <a:pt x="49" y="88"/>
                    </a:lnTo>
                    <a:lnTo>
                      <a:pt x="65" y="92"/>
                    </a:lnTo>
                    <a:lnTo>
                      <a:pt x="65" y="92"/>
                    </a:lnTo>
                    <a:lnTo>
                      <a:pt x="65" y="133"/>
                    </a:lnTo>
                    <a:lnTo>
                      <a:pt x="65" y="133"/>
                    </a:lnTo>
                    <a:lnTo>
                      <a:pt x="65" y="176"/>
                    </a:lnTo>
                    <a:lnTo>
                      <a:pt x="66" y="207"/>
                    </a:lnTo>
                    <a:lnTo>
                      <a:pt x="68" y="218"/>
                    </a:lnTo>
                    <a:lnTo>
                      <a:pt x="69" y="227"/>
                    </a:lnTo>
                    <a:lnTo>
                      <a:pt x="73" y="234"/>
                    </a:lnTo>
                    <a:lnTo>
                      <a:pt x="77" y="239"/>
                    </a:lnTo>
                    <a:lnTo>
                      <a:pt x="83" y="243"/>
                    </a:lnTo>
                    <a:lnTo>
                      <a:pt x="91" y="244"/>
                    </a:lnTo>
                    <a:lnTo>
                      <a:pt x="100" y="247"/>
                    </a:lnTo>
                    <a:lnTo>
                      <a:pt x="111" y="247"/>
                    </a:lnTo>
                    <a:lnTo>
                      <a:pt x="179" y="247"/>
                    </a:lnTo>
                    <a:lnTo>
                      <a:pt x="179" y="247"/>
                    </a:lnTo>
                    <a:lnTo>
                      <a:pt x="208" y="247"/>
                    </a:lnTo>
                    <a:lnTo>
                      <a:pt x="230" y="246"/>
                    </a:lnTo>
                    <a:lnTo>
                      <a:pt x="238" y="244"/>
                    </a:lnTo>
                    <a:lnTo>
                      <a:pt x="244" y="243"/>
                    </a:lnTo>
                    <a:lnTo>
                      <a:pt x="250" y="239"/>
                    </a:lnTo>
                    <a:lnTo>
                      <a:pt x="254" y="236"/>
                    </a:lnTo>
                    <a:lnTo>
                      <a:pt x="256" y="231"/>
                    </a:lnTo>
                    <a:lnTo>
                      <a:pt x="259" y="226"/>
                    </a:lnTo>
                    <a:lnTo>
                      <a:pt x="262" y="210"/>
                    </a:lnTo>
                    <a:lnTo>
                      <a:pt x="263" y="188"/>
                    </a:lnTo>
                    <a:lnTo>
                      <a:pt x="266" y="160"/>
                    </a:lnTo>
                    <a:lnTo>
                      <a:pt x="266" y="160"/>
                    </a:lnTo>
                    <a:lnTo>
                      <a:pt x="267" y="153"/>
                    </a:lnTo>
                    <a:lnTo>
                      <a:pt x="268" y="147"/>
                    </a:lnTo>
                    <a:lnTo>
                      <a:pt x="268" y="147"/>
                    </a:lnTo>
                    <a:lnTo>
                      <a:pt x="685" y="147"/>
                    </a:lnTo>
                    <a:lnTo>
                      <a:pt x="685" y="147"/>
                    </a:lnTo>
                    <a:lnTo>
                      <a:pt x="1112" y="147"/>
                    </a:lnTo>
                    <a:lnTo>
                      <a:pt x="1112" y="147"/>
                    </a:lnTo>
                    <a:lnTo>
                      <a:pt x="1114" y="153"/>
                    </a:lnTo>
                    <a:lnTo>
                      <a:pt x="1116" y="160"/>
                    </a:lnTo>
                    <a:lnTo>
                      <a:pt x="1116" y="160"/>
                    </a:lnTo>
                    <a:lnTo>
                      <a:pt x="1117" y="188"/>
                    </a:lnTo>
                    <a:lnTo>
                      <a:pt x="1120" y="210"/>
                    </a:lnTo>
                    <a:lnTo>
                      <a:pt x="1122" y="226"/>
                    </a:lnTo>
                    <a:lnTo>
                      <a:pt x="1125" y="231"/>
                    </a:lnTo>
                    <a:lnTo>
                      <a:pt x="1128" y="236"/>
                    </a:lnTo>
                    <a:lnTo>
                      <a:pt x="1132" y="239"/>
                    </a:lnTo>
                    <a:lnTo>
                      <a:pt x="1137" y="243"/>
                    </a:lnTo>
                    <a:lnTo>
                      <a:pt x="1144" y="244"/>
                    </a:lnTo>
                    <a:lnTo>
                      <a:pt x="1152" y="246"/>
                    </a:lnTo>
                    <a:lnTo>
                      <a:pt x="1173" y="247"/>
                    </a:lnTo>
                    <a:lnTo>
                      <a:pt x="1202" y="247"/>
                    </a:lnTo>
                    <a:lnTo>
                      <a:pt x="1202" y="247"/>
                    </a:lnTo>
                    <a:lnTo>
                      <a:pt x="1271" y="247"/>
                    </a:lnTo>
                    <a:lnTo>
                      <a:pt x="1281" y="247"/>
                    </a:lnTo>
                    <a:lnTo>
                      <a:pt x="1291" y="244"/>
                    </a:lnTo>
                    <a:lnTo>
                      <a:pt x="1299" y="243"/>
                    </a:lnTo>
                    <a:lnTo>
                      <a:pt x="1304" y="239"/>
                    </a:lnTo>
                    <a:lnTo>
                      <a:pt x="1308" y="234"/>
                    </a:lnTo>
                    <a:lnTo>
                      <a:pt x="1312" y="227"/>
                    </a:lnTo>
                    <a:lnTo>
                      <a:pt x="1313" y="218"/>
                    </a:lnTo>
                    <a:lnTo>
                      <a:pt x="1315" y="207"/>
                    </a:lnTo>
                    <a:lnTo>
                      <a:pt x="1316" y="176"/>
                    </a:lnTo>
                    <a:lnTo>
                      <a:pt x="1316" y="133"/>
                    </a:lnTo>
                    <a:lnTo>
                      <a:pt x="1316" y="133"/>
                    </a:lnTo>
                    <a:lnTo>
                      <a:pt x="1316" y="92"/>
                    </a:lnTo>
                    <a:lnTo>
                      <a:pt x="1316" y="92"/>
                    </a:lnTo>
                    <a:lnTo>
                      <a:pt x="1332" y="88"/>
                    </a:lnTo>
                    <a:lnTo>
                      <a:pt x="1347" y="80"/>
                    </a:lnTo>
                    <a:lnTo>
                      <a:pt x="1359" y="72"/>
                    </a:lnTo>
                    <a:lnTo>
                      <a:pt x="1368" y="61"/>
                    </a:lnTo>
                    <a:lnTo>
                      <a:pt x="1375" y="49"/>
                    </a:lnTo>
                    <a:lnTo>
                      <a:pt x="1379" y="35"/>
                    </a:lnTo>
                    <a:lnTo>
                      <a:pt x="1381" y="19"/>
                    </a:lnTo>
                    <a:lnTo>
                      <a:pt x="1380" y="0"/>
                    </a:lnTo>
                    <a:lnTo>
                      <a:pt x="1380" y="0"/>
                    </a:lnTo>
                    <a:close/>
                  </a:path>
                </a:pathLst>
              </a:custGeom>
              <a:solidFill>
                <a:srgbClr val="45A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1" name="Freeform 148"/>
              <p:cNvSpPr>
                <a:spLocks/>
              </p:cNvSpPr>
              <p:nvPr/>
            </p:nvSpPr>
            <p:spPr bwMode="auto">
              <a:xfrm>
                <a:off x="-1668462" y="3389313"/>
                <a:ext cx="93663" cy="52388"/>
              </a:xfrm>
              <a:custGeom>
                <a:avLst/>
                <a:gdLst>
                  <a:gd name="T0" fmla="*/ 177 w 177"/>
                  <a:gd name="T1" fmla="*/ 61 h 99"/>
                  <a:gd name="T2" fmla="*/ 177 w 177"/>
                  <a:gd name="T3" fmla="*/ 61 h 99"/>
                  <a:gd name="T4" fmla="*/ 176 w 177"/>
                  <a:gd name="T5" fmla="*/ 69 h 99"/>
                  <a:gd name="T6" fmla="*/ 173 w 177"/>
                  <a:gd name="T7" fmla="*/ 76 h 99"/>
                  <a:gd name="T8" fmla="*/ 170 w 177"/>
                  <a:gd name="T9" fmla="*/ 83 h 99"/>
                  <a:gd name="T10" fmla="*/ 165 w 177"/>
                  <a:gd name="T11" fmla="*/ 88 h 99"/>
                  <a:gd name="T12" fmla="*/ 159 w 177"/>
                  <a:gd name="T13" fmla="*/ 92 h 99"/>
                  <a:gd name="T14" fmla="*/ 154 w 177"/>
                  <a:gd name="T15" fmla="*/ 96 h 99"/>
                  <a:gd name="T16" fmla="*/ 146 w 177"/>
                  <a:gd name="T17" fmla="*/ 99 h 99"/>
                  <a:gd name="T18" fmla="*/ 139 w 177"/>
                  <a:gd name="T19" fmla="*/ 99 h 99"/>
                  <a:gd name="T20" fmla="*/ 65 w 177"/>
                  <a:gd name="T21" fmla="*/ 99 h 99"/>
                  <a:gd name="T22" fmla="*/ 65 w 177"/>
                  <a:gd name="T23" fmla="*/ 99 h 99"/>
                  <a:gd name="T24" fmla="*/ 53 w 177"/>
                  <a:gd name="T25" fmla="*/ 97 h 99"/>
                  <a:gd name="T26" fmla="*/ 42 w 177"/>
                  <a:gd name="T27" fmla="*/ 95 h 99"/>
                  <a:gd name="T28" fmla="*/ 31 w 177"/>
                  <a:gd name="T29" fmla="*/ 91 h 99"/>
                  <a:gd name="T30" fmla="*/ 22 w 177"/>
                  <a:gd name="T31" fmla="*/ 87 h 99"/>
                  <a:gd name="T32" fmla="*/ 7 w 177"/>
                  <a:gd name="T33" fmla="*/ 76 h 99"/>
                  <a:gd name="T34" fmla="*/ 0 w 177"/>
                  <a:gd name="T35" fmla="*/ 70 h 99"/>
                  <a:gd name="T36" fmla="*/ 0 w 177"/>
                  <a:gd name="T37" fmla="*/ 70 h 99"/>
                  <a:gd name="T38" fmla="*/ 3 w 177"/>
                  <a:gd name="T39" fmla="*/ 58 h 99"/>
                  <a:gd name="T40" fmla="*/ 7 w 177"/>
                  <a:gd name="T41" fmla="*/ 48 h 99"/>
                  <a:gd name="T42" fmla="*/ 14 w 177"/>
                  <a:gd name="T43" fmla="*/ 34 h 99"/>
                  <a:gd name="T44" fmla="*/ 22 w 177"/>
                  <a:gd name="T45" fmla="*/ 22 h 99"/>
                  <a:gd name="T46" fmla="*/ 27 w 177"/>
                  <a:gd name="T47" fmla="*/ 16 h 99"/>
                  <a:gd name="T48" fmla="*/ 33 w 177"/>
                  <a:gd name="T49" fmla="*/ 10 h 99"/>
                  <a:gd name="T50" fmla="*/ 39 w 177"/>
                  <a:gd name="T51" fmla="*/ 6 h 99"/>
                  <a:gd name="T52" fmla="*/ 47 w 177"/>
                  <a:gd name="T53" fmla="*/ 2 h 99"/>
                  <a:gd name="T54" fmla="*/ 55 w 177"/>
                  <a:gd name="T55" fmla="*/ 1 h 99"/>
                  <a:gd name="T56" fmla="*/ 65 w 177"/>
                  <a:gd name="T57" fmla="*/ 0 h 99"/>
                  <a:gd name="T58" fmla="*/ 139 w 177"/>
                  <a:gd name="T59" fmla="*/ 0 h 99"/>
                  <a:gd name="T60" fmla="*/ 139 w 177"/>
                  <a:gd name="T61" fmla="*/ 0 h 99"/>
                  <a:gd name="T62" fmla="*/ 146 w 177"/>
                  <a:gd name="T63" fmla="*/ 1 h 99"/>
                  <a:gd name="T64" fmla="*/ 154 w 177"/>
                  <a:gd name="T65" fmla="*/ 2 h 99"/>
                  <a:gd name="T66" fmla="*/ 159 w 177"/>
                  <a:gd name="T67" fmla="*/ 6 h 99"/>
                  <a:gd name="T68" fmla="*/ 165 w 177"/>
                  <a:gd name="T69" fmla="*/ 10 h 99"/>
                  <a:gd name="T70" fmla="*/ 170 w 177"/>
                  <a:gd name="T71" fmla="*/ 16 h 99"/>
                  <a:gd name="T72" fmla="*/ 173 w 177"/>
                  <a:gd name="T73" fmla="*/ 22 h 99"/>
                  <a:gd name="T74" fmla="*/ 176 w 177"/>
                  <a:gd name="T75" fmla="*/ 29 h 99"/>
                  <a:gd name="T76" fmla="*/ 177 w 177"/>
                  <a:gd name="T77" fmla="*/ 37 h 99"/>
                  <a:gd name="T78" fmla="*/ 177 w 177"/>
                  <a:gd name="T79" fmla="*/ 6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7" h="99">
                    <a:moveTo>
                      <a:pt x="177" y="61"/>
                    </a:moveTo>
                    <a:lnTo>
                      <a:pt x="177" y="61"/>
                    </a:lnTo>
                    <a:lnTo>
                      <a:pt x="176" y="69"/>
                    </a:lnTo>
                    <a:lnTo>
                      <a:pt x="173" y="76"/>
                    </a:lnTo>
                    <a:lnTo>
                      <a:pt x="170" y="83"/>
                    </a:lnTo>
                    <a:lnTo>
                      <a:pt x="165" y="88"/>
                    </a:lnTo>
                    <a:lnTo>
                      <a:pt x="159" y="92"/>
                    </a:lnTo>
                    <a:lnTo>
                      <a:pt x="154" y="96"/>
                    </a:lnTo>
                    <a:lnTo>
                      <a:pt x="146" y="99"/>
                    </a:lnTo>
                    <a:lnTo>
                      <a:pt x="139" y="99"/>
                    </a:lnTo>
                    <a:lnTo>
                      <a:pt x="65" y="99"/>
                    </a:lnTo>
                    <a:lnTo>
                      <a:pt x="65" y="99"/>
                    </a:lnTo>
                    <a:lnTo>
                      <a:pt x="53" y="97"/>
                    </a:lnTo>
                    <a:lnTo>
                      <a:pt x="42" y="95"/>
                    </a:lnTo>
                    <a:lnTo>
                      <a:pt x="31" y="91"/>
                    </a:lnTo>
                    <a:lnTo>
                      <a:pt x="22" y="87"/>
                    </a:lnTo>
                    <a:lnTo>
                      <a:pt x="7" y="76"/>
                    </a:lnTo>
                    <a:lnTo>
                      <a:pt x="0" y="70"/>
                    </a:lnTo>
                    <a:lnTo>
                      <a:pt x="0" y="70"/>
                    </a:lnTo>
                    <a:lnTo>
                      <a:pt x="3" y="58"/>
                    </a:lnTo>
                    <a:lnTo>
                      <a:pt x="7" y="48"/>
                    </a:lnTo>
                    <a:lnTo>
                      <a:pt x="14" y="34"/>
                    </a:lnTo>
                    <a:lnTo>
                      <a:pt x="22" y="22"/>
                    </a:lnTo>
                    <a:lnTo>
                      <a:pt x="27" y="16"/>
                    </a:lnTo>
                    <a:lnTo>
                      <a:pt x="33" y="10"/>
                    </a:lnTo>
                    <a:lnTo>
                      <a:pt x="39" y="6"/>
                    </a:lnTo>
                    <a:lnTo>
                      <a:pt x="47" y="2"/>
                    </a:lnTo>
                    <a:lnTo>
                      <a:pt x="55" y="1"/>
                    </a:lnTo>
                    <a:lnTo>
                      <a:pt x="65" y="0"/>
                    </a:lnTo>
                    <a:lnTo>
                      <a:pt x="139" y="0"/>
                    </a:lnTo>
                    <a:lnTo>
                      <a:pt x="139" y="0"/>
                    </a:lnTo>
                    <a:lnTo>
                      <a:pt x="146" y="1"/>
                    </a:lnTo>
                    <a:lnTo>
                      <a:pt x="154" y="2"/>
                    </a:lnTo>
                    <a:lnTo>
                      <a:pt x="159" y="6"/>
                    </a:lnTo>
                    <a:lnTo>
                      <a:pt x="165" y="10"/>
                    </a:lnTo>
                    <a:lnTo>
                      <a:pt x="170" y="16"/>
                    </a:lnTo>
                    <a:lnTo>
                      <a:pt x="173" y="22"/>
                    </a:lnTo>
                    <a:lnTo>
                      <a:pt x="176" y="29"/>
                    </a:lnTo>
                    <a:lnTo>
                      <a:pt x="177" y="37"/>
                    </a:lnTo>
                    <a:lnTo>
                      <a:pt x="177" y="61"/>
                    </a:lnTo>
                    <a:close/>
                  </a:path>
                </a:pathLst>
              </a:custGeom>
              <a:solidFill>
                <a:srgbClr val="45A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522" name="Freeform 149"/>
              <p:cNvSpPr>
                <a:spLocks/>
              </p:cNvSpPr>
              <p:nvPr/>
            </p:nvSpPr>
            <p:spPr bwMode="auto">
              <a:xfrm>
                <a:off x="-2333625" y="3389313"/>
                <a:ext cx="92075" cy="52388"/>
              </a:xfrm>
              <a:custGeom>
                <a:avLst/>
                <a:gdLst>
                  <a:gd name="T0" fmla="*/ 0 w 175"/>
                  <a:gd name="T1" fmla="*/ 61 h 99"/>
                  <a:gd name="T2" fmla="*/ 0 w 175"/>
                  <a:gd name="T3" fmla="*/ 61 h 99"/>
                  <a:gd name="T4" fmla="*/ 0 w 175"/>
                  <a:gd name="T5" fmla="*/ 69 h 99"/>
                  <a:gd name="T6" fmla="*/ 2 w 175"/>
                  <a:gd name="T7" fmla="*/ 76 h 99"/>
                  <a:gd name="T8" fmla="*/ 5 w 175"/>
                  <a:gd name="T9" fmla="*/ 83 h 99"/>
                  <a:gd name="T10" fmla="*/ 10 w 175"/>
                  <a:gd name="T11" fmla="*/ 88 h 99"/>
                  <a:gd name="T12" fmla="*/ 16 w 175"/>
                  <a:gd name="T13" fmla="*/ 92 h 99"/>
                  <a:gd name="T14" fmla="*/ 22 w 175"/>
                  <a:gd name="T15" fmla="*/ 96 h 99"/>
                  <a:gd name="T16" fmla="*/ 29 w 175"/>
                  <a:gd name="T17" fmla="*/ 99 h 99"/>
                  <a:gd name="T18" fmla="*/ 37 w 175"/>
                  <a:gd name="T19" fmla="*/ 99 h 99"/>
                  <a:gd name="T20" fmla="*/ 112 w 175"/>
                  <a:gd name="T21" fmla="*/ 99 h 99"/>
                  <a:gd name="T22" fmla="*/ 112 w 175"/>
                  <a:gd name="T23" fmla="*/ 99 h 99"/>
                  <a:gd name="T24" fmla="*/ 123 w 175"/>
                  <a:gd name="T25" fmla="*/ 97 h 99"/>
                  <a:gd name="T26" fmla="*/ 133 w 175"/>
                  <a:gd name="T27" fmla="*/ 95 h 99"/>
                  <a:gd name="T28" fmla="*/ 144 w 175"/>
                  <a:gd name="T29" fmla="*/ 91 h 99"/>
                  <a:gd name="T30" fmla="*/ 153 w 175"/>
                  <a:gd name="T31" fmla="*/ 87 h 99"/>
                  <a:gd name="T32" fmla="*/ 168 w 175"/>
                  <a:gd name="T33" fmla="*/ 76 h 99"/>
                  <a:gd name="T34" fmla="*/ 175 w 175"/>
                  <a:gd name="T35" fmla="*/ 70 h 99"/>
                  <a:gd name="T36" fmla="*/ 175 w 175"/>
                  <a:gd name="T37" fmla="*/ 70 h 99"/>
                  <a:gd name="T38" fmla="*/ 172 w 175"/>
                  <a:gd name="T39" fmla="*/ 58 h 99"/>
                  <a:gd name="T40" fmla="*/ 168 w 175"/>
                  <a:gd name="T41" fmla="*/ 48 h 99"/>
                  <a:gd name="T42" fmla="*/ 163 w 175"/>
                  <a:gd name="T43" fmla="*/ 34 h 99"/>
                  <a:gd name="T44" fmla="*/ 153 w 175"/>
                  <a:gd name="T45" fmla="*/ 22 h 99"/>
                  <a:gd name="T46" fmla="*/ 148 w 175"/>
                  <a:gd name="T47" fmla="*/ 16 h 99"/>
                  <a:gd name="T48" fmla="*/ 143 w 175"/>
                  <a:gd name="T49" fmla="*/ 10 h 99"/>
                  <a:gd name="T50" fmla="*/ 136 w 175"/>
                  <a:gd name="T51" fmla="*/ 6 h 99"/>
                  <a:gd name="T52" fmla="*/ 128 w 175"/>
                  <a:gd name="T53" fmla="*/ 2 h 99"/>
                  <a:gd name="T54" fmla="*/ 120 w 175"/>
                  <a:gd name="T55" fmla="*/ 1 h 99"/>
                  <a:gd name="T56" fmla="*/ 112 w 175"/>
                  <a:gd name="T57" fmla="*/ 0 h 99"/>
                  <a:gd name="T58" fmla="*/ 37 w 175"/>
                  <a:gd name="T59" fmla="*/ 0 h 99"/>
                  <a:gd name="T60" fmla="*/ 37 w 175"/>
                  <a:gd name="T61" fmla="*/ 0 h 99"/>
                  <a:gd name="T62" fmla="*/ 29 w 175"/>
                  <a:gd name="T63" fmla="*/ 1 h 99"/>
                  <a:gd name="T64" fmla="*/ 22 w 175"/>
                  <a:gd name="T65" fmla="*/ 2 h 99"/>
                  <a:gd name="T66" fmla="*/ 16 w 175"/>
                  <a:gd name="T67" fmla="*/ 6 h 99"/>
                  <a:gd name="T68" fmla="*/ 10 w 175"/>
                  <a:gd name="T69" fmla="*/ 10 h 99"/>
                  <a:gd name="T70" fmla="*/ 5 w 175"/>
                  <a:gd name="T71" fmla="*/ 16 h 99"/>
                  <a:gd name="T72" fmla="*/ 2 w 175"/>
                  <a:gd name="T73" fmla="*/ 22 h 99"/>
                  <a:gd name="T74" fmla="*/ 0 w 175"/>
                  <a:gd name="T75" fmla="*/ 29 h 99"/>
                  <a:gd name="T76" fmla="*/ 0 w 175"/>
                  <a:gd name="T77" fmla="*/ 37 h 99"/>
                  <a:gd name="T78" fmla="*/ 0 w 175"/>
                  <a:gd name="T79" fmla="*/ 6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99">
                    <a:moveTo>
                      <a:pt x="0" y="61"/>
                    </a:moveTo>
                    <a:lnTo>
                      <a:pt x="0" y="61"/>
                    </a:lnTo>
                    <a:lnTo>
                      <a:pt x="0" y="69"/>
                    </a:lnTo>
                    <a:lnTo>
                      <a:pt x="2" y="76"/>
                    </a:lnTo>
                    <a:lnTo>
                      <a:pt x="5" y="83"/>
                    </a:lnTo>
                    <a:lnTo>
                      <a:pt x="10" y="88"/>
                    </a:lnTo>
                    <a:lnTo>
                      <a:pt x="16" y="92"/>
                    </a:lnTo>
                    <a:lnTo>
                      <a:pt x="22" y="96"/>
                    </a:lnTo>
                    <a:lnTo>
                      <a:pt x="29" y="99"/>
                    </a:lnTo>
                    <a:lnTo>
                      <a:pt x="37" y="99"/>
                    </a:lnTo>
                    <a:lnTo>
                      <a:pt x="112" y="99"/>
                    </a:lnTo>
                    <a:lnTo>
                      <a:pt x="112" y="99"/>
                    </a:lnTo>
                    <a:lnTo>
                      <a:pt x="123" y="97"/>
                    </a:lnTo>
                    <a:lnTo>
                      <a:pt x="133" y="95"/>
                    </a:lnTo>
                    <a:lnTo>
                      <a:pt x="144" y="91"/>
                    </a:lnTo>
                    <a:lnTo>
                      <a:pt x="153" y="87"/>
                    </a:lnTo>
                    <a:lnTo>
                      <a:pt x="168" y="76"/>
                    </a:lnTo>
                    <a:lnTo>
                      <a:pt x="175" y="70"/>
                    </a:lnTo>
                    <a:lnTo>
                      <a:pt x="175" y="70"/>
                    </a:lnTo>
                    <a:lnTo>
                      <a:pt x="172" y="58"/>
                    </a:lnTo>
                    <a:lnTo>
                      <a:pt x="168" y="48"/>
                    </a:lnTo>
                    <a:lnTo>
                      <a:pt x="163" y="34"/>
                    </a:lnTo>
                    <a:lnTo>
                      <a:pt x="153" y="22"/>
                    </a:lnTo>
                    <a:lnTo>
                      <a:pt x="148" y="16"/>
                    </a:lnTo>
                    <a:lnTo>
                      <a:pt x="143" y="10"/>
                    </a:lnTo>
                    <a:lnTo>
                      <a:pt x="136" y="6"/>
                    </a:lnTo>
                    <a:lnTo>
                      <a:pt x="128" y="2"/>
                    </a:lnTo>
                    <a:lnTo>
                      <a:pt x="120" y="1"/>
                    </a:lnTo>
                    <a:lnTo>
                      <a:pt x="112" y="0"/>
                    </a:lnTo>
                    <a:lnTo>
                      <a:pt x="37" y="0"/>
                    </a:lnTo>
                    <a:lnTo>
                      <a:pt x="37" y="0"/>
                    </a:lnTo>
                    <a:lnTo>
                      <a:pt x="29" y="1"/>
                    </a:lnTo>
                    <a:lnTo>
                      <a:pt x="22" y="2"/>
                    </a:lnTo>
                    <a:lnTo>
                      <a:pt x="16" y="6"/>
                    </a:lnTo>
                    <a:lnTo>
                      <a:pt x="10" y="10"/>
                    </a:lnTo>
                    <a:lnTo>
                      <a:pt x="5" y="16"/>
                    </a:lnTo>
                    <a:lnTo>
                      <a:pt x="2" y="22"/>
                    </a:lnTo>
                    <a:lnTo>
                      <a:pt x="0" y="29"/>
                    </a:lnTo>
                    <a:lnTo>
                      <a:pt x="0" y="37"/>
                    </a:lnTo>
                    <a:lnTo>
                      <a:pt x="0" y="61"/>
                    </a:lnTo>
                    <a:close/>
                  </a:path>
                </a:pathLst>
              </a:custGeom>
              <a:solidFill>
                <a:srgbClr val="45A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646" name="Group 645"/>
          <p:cNvGrpSpPr/>
          <p:nvPr/>
        </p:nvGrpSpPr>
        <p:grpSpPr>
          <a:xfrm>
            <a:off x="9361344" y="4065679"/>
            <a:ext cx="390018" cy="469930"/>
            <a:chOff x="9062418" y="3863594"/>
            <a:chExt cx="390018" cy="469930"/>
          </a:xfrm>
        </p:grpSpPr>
        <p:sp>
          <p:nvSpPr>
            <p:cNvPr id="645" name="Rectangle 644"/>
            <p:cNvSpPr/>
            <p:nvPr/>
          </p:nvSpPr>
          <p:spPr bwMode="auto">
            <a:xfrm>
              <a:off x="9177041" y="3871273"/>
              <a:ext cx="167016" cy="456976"/>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644" name="Group 643"/>
            <p:cNvGrpSpPr/>
            <p:nvPr/>
          </p:nvGrpSpPr>
          <p:grpSpPr>
            <a:xfrm>
              <a:off x="9062418" y="3863594"/>
              <a:ext cx="390018" cy="469930"/>
              <a:chOff x="9062418" y="3863594"/>
              <a:chExt cx="390018" cy="469930"/>
            </a:xfrm>
          </p:grpSpPr>
          <p:sp>
            <p:nvSpPr>
              <p:cNvPr id="1100" name="Freeform 103"/>
              <p:cNvSpPr>
                <a:spLocks/>
              </p:cNvSpPr>
              <p:nvPr/>
            </p:nvSpPr>
            <p:spPr bwMode="auto">
              <a:xfrm>
                <a:off x="9206736" y="3898182"/>
                <a:ext cx="101381" cy="101381"/>
              </a:xfrm>
              <a:custGeom>
                <a:avLst/>
                <a:gdLst>
                  <a:gd name="T0" fmla="*/ 254 w 254"/>
                  <a:gd name="T1" fmla="*/ 127 h 254"/>
                  <a:gd name="T2" fmla="*/ 252 w 254"/>
                  <a:gd name="T3" fmla="*/ 101 h 254"/>
                  <a:gd name="T4" fmla="*/ 245 w 254"/>
                  <a:gd name="T5" fmla="*/ 78 h 254"/>
                  <a:gd name="T6" fmla="*/ 233 w 254"/>
                  <a:gd name="T7" fmla="*/ 55 h 254"/>
                  <a:gd name="T8" fmla="*/ 217 w 254"/>
                  <a:gd name="T9" fmla="*/ 37 h 254"/>
                  <a:gd name="T10" fmla="*/ 198 w 254"/>
                  <a:gd name="T11" fmla="*/ 22 h 254"/>
                  <a:gd name="T12" fmla="*/ 177 w 254"/>
                  <a:gd name="T13" fmla="*/ 10 h 254"/>
                  <a:gd name="T14" fmla="*/ 153 w 254"/>
                  <a:gd name="T15" fmla="*/ 2 h 254"/>
                  <a:gd name="T16" fmla="*/ 127 w 254"/>
                  <a:gd name="T17" fmla="*/ 0 h 254"/>
                  <a:gd name="T18" fmla="*/ 114 w 254"/>
                  <a:gd name="T19" fmla="*/ 0 h 254"/>
                  <a:gd name="T20" fmla="*/ 90 w 254"/>
                  <a:gd name="T21" fmla="*/ 6 h 254"/>
                  <a:gd name="T22" fmla="*/ 67 w 254"/>
                  <a:gd name="T23" fmla="*/ 15 h 254"/>
                  <a:gd name="T24" fmla="*/ 47 w 254"/>
                  <a:gd name="T25" fmla="*/ 29 h 254"/>
                  <a:gd name="T26" fmla="*/ 30 w 254"/>
                  <a:gd name="T27" fmla="*/ 46 h 254"/>
                  <a:gd name="T28" fmla="*/ 17 w 254"/>
                  <a:gd name="T29" fmla="*/ 66 h 254"/>
                  <a:gd name="T30" fmla="*/ 6 w 254"/>
                  <a:gd name="T31" fmla="*/ 89 h 254"/>
                  <a:gd name="T32" fmla="*/ 2 w 254"/>
                  <a:gd name="T33" fmla="*/ 114 h 254"/>
                  <a:gd name="T34" fmla="*/ 0 w 254"/>
                  <a:gd name="T35" fmla="*/ 127 h 254"/>
                  <a:gd name="T36" fmla="*/ 3 w 254"/>
                  <a:gd name="T37" fmla="*/ 153 h 254"/>
                  <a:gd name="T38" fmla="*/ 11 w 254"/>
                  <a:gd name="T39" fmla="*/ 177 h 254"/>
                  <a:gd name="T40" fmla="*/ 22 w 254"/>
                  <a:gd name="T41" fmla="*/ 198 h 254"/>
                  <a:gd name="T42" fmla="*/ 38 w 254"/>
                  <a:gd name="T43" fmla="*/ 217 h 254"/>
                  <a:gd name="T44" fmla="*/ 57 w 254"/>
                  <a:gd name="T45" fmla="*/ 232 h 254"/>
                  <a:gd name="T46" fmla="*/ 78 w 254"/>
                  <a:gd name="T47" fmla="*/ 244 h 254"/>
                  <a:gd name="T48" fmla="*/ 102 w 254"/>
                  <a:gd name="T49" fmla="*/ 252 h 254"/>
                  <a:gd name="T50" fmla="*/ 127 w 254"/>
                  <a:gd name="T51" fmla="*/ 254 h 254"/>
                  <a:gd name="T52" fmla="*/ 141 w 254"/>
                  <a:gd name="T53" fmla="*/ 253 h 254"/>
                  <a:gd name="T54" fmla="*/ 165 w 254"/>
                  <a:gd name="T55" fmla="*/ 248 h 254"/>
                  <a:gd name="T56" fmla="*/ 188 w 254"/>
                  <a:gd name="T57" fmla="*/ 238 h 254"/>
                  <a:gd name="T58" fmla="*/ 209 w 254"/>
                  <a:gd name="T59" fmla="*/ 225 h 254"/>
                  <a:gd name="T60" fmla="*/ 225 w 254"/>
                  <a:gd name="T61" fmla="*/ 208 h 254"/>
                  <a:gd name="T62" fmla="*/ 240 w 254"/>
                  <a:gd name="T63" fmla="*/ 188 h 254"/>
                  <a:gd name="T64" fmla="*/ 249 w 254"/>
                  <a:gd name="T65" fmla="*/ 165 h 254"/>
                  <a:gd name="T66" fmla="*/ 254 w 254"/>
                  <a:gd name="T67" fmla="*/ 139 h 254"/>
                  <a:gd name="T68" fmla="*/ 254 w 254"/>
                  <a:gd name="T69" fmla="*/ 12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4" h="254">
                    <a:moveTo>
                      <a:pt x="254" y="127"/>
                    </a:moveTo>
                    <a:lnTo>
                      <a:pt x="254" y="127"/>
                    </a:lnTo>
                    <a:lnTo>
                      <a:pt x="254" y="114"/>
                    </a:lnTo>
                    <a:lnTo>
                      <a:pt x="252" y="101"/>
                    </a:lnTo>
                    <a:lnTo>
                      <a:pt x="249" y="89"/>
                    </a:lnTo>
                    <a:lnTo>
                      <a:pt x="245" y="78"/>
                    </a:lnTo>
                    <a:lnTo>
                      <a:pt x="240" y="66"/>
                    </a:lnTo>
                    <a:lnTo>
                      <a:pt x="233" y="55"/>
                    </a:lnTo>
                    <a:lnTo>
                      <a:pt x="225" y="46"/>
                    </a:lnTo>
                    <a:lnTo>
                      <a:pt x="217" y="37"/>
                    </a:lnTo>
                    <a:lnTo>
                      <a:pt x="209" y="29"/>
                    </a:lnTo>
                    <a:lnTo>
                      <a:pt x="198" y="22"/>
                    </a:lnTo>
                    <a:lnTo>
                      <a:pt x="188" y="15"/>
                    </a:lnTo>
                    <a:lnTo>
                      <a:pt x="177" y="10"/>
                    </a:lnTo>
                    <a:lnTo>
                      <a:pt x="165" y="6"/>
                    </a:lnTo>
                    <a:lnTo>
                      <a:pt x="153" y="2"/>
                    </a:lnTo>
                    <a:lnTo>
                      <a:pt x="141" y="0"/>
                    </a:lnTo>
                    <a:lnTo>
                      <a:pt x="127" y="0"/>
                    </a:lnTo>
                    <a:lnTo>
                      <a:pt x="127" y="0"/>
                    </a:lnTo>
                    <a:lnTo>
                      <a:pt x="114" y="0"/>
                    </a:lnTo>
                    <a:lnTo>
                      <a:pt x="102" y="2"/>
                    </a:lnTo>
                    <a:lnTo>
                      <a:pt x="90" y="6"/>
                    </a:lnTo>
                    <a:lnTo>
                      <a:pt x="78" y="10"/>
                    </a:lnTo>
                    <a:lnTo>
                      <a:pt x="67" y="15"/>
                    </a:lnTo>
                    <a:lnTo>
                      <a:pt x="57" y="22"/>
                    </a:lnTo>
                    <a:lnTo>
                      <a:pt x="47" y="29"/>
                    </a:lnTo>
                    <a:lnTo>
                      <a:pt x="38" y="37"/>
                    </a:lnTo>
                    <a:lnTo>
                      <a:pt x="30" y="46"/>
                    </a:lnTo>
                    <a:lnTo>
                      <a:pt x="22" y="55"/>
                    </a:lnTo>
                    <a:lnTo>
                      <a:pt x="17" y="66"/>
                    </a:lnTo>
                    <a:lnTo>
                      <a:pt x="11" y="78"/>
                    </a:lnTo>
                    <a:lnTo>
                      <a:pt x="6" y="89"/>
                    </a:lnTo>
                    <a:lnTo>
                      <a:pt x="3" y="101"/>
                    </a:lnTo>
                    <a:lnTo>
                      <a:pt x="2" y="114"/>
                    </a:lnTo>
                    <a:lnTo>
                      <a:pt x="0" y="127"/>
                    </a:lnTo>
                    <a:lnTo>
                      <a:pt x="0" y="127"/>
                    </a:lnTo>
                    <a:lnTo>
                      <a:pt x="2" y="139"/>
                    </a:lnTo>
                    <a:lnTo>
                      <a:pt x="3" y="153"/>
                    </a:lnTo>
                    <a:lnTo>
                      <a:pt x="6" y="165"/>
                    </a:lnTo>
                    <a:lnTo>
                      <a:pt x="11" y="177"/>
                    </a:lnTo>
                    <a:lnTo>
                      <a:pt x="17" y="188"/>
                    </a:lnTo>
                    <a:lnTo>
                      <a:pt x="22" y="198"/>
                    </a:lnTo>
                    <a:lnTo>
                      <a:pt x="30" y="208"/>
                    </a:lnTo>
                    <a:lnTo>
                      <a:pt x="38" y="217"/>
                    </a:lnTo>
                    <a:lnTo>
                      <a:pt x="47" y="225"/>
                    </a:lnTo>
                    <a:lnTo>
                      <a:pt x="57" y="232"/>
                    </a:lnTo>
                    <a:lnTo>
                      <a:pt x="67" y="238"/>
                    </a:lnTo>
                    <a:lnTo>
                      <a:pt x="78" y="244"/>
                    </a:lnTo>
                    <a:lnTo>
                      <a:pt x="90" y="248"/>
                    </a:lnTo>
                    <a:lnTo>
                      <a:pt x="102" y="252"/>
                    </a:lnTo>
                    <a:lnTo>
                      <a:pt x="114" y="253"/>
                    </a:lnTo>
                    <a:lnTo>
                      <a:pt x="127" y="254"/>
                    </a:lnTo>
                    <a:lnTo>
                      <a:pt x="127" y="254"/>
                    </a:lnTo>
                    <a:lnTo>
                      <a:pt x="141" y="253"/>
                    </a:lnTo>
                    <a:lnTo>
                      <a:pt x="153" y="252"/>
                    </a:lnTo>
                    <a:lnTo>
                      <a:pt x="165" y="248"/>
                    </a:lnTo>
                    <a:lnTo>
                      <a:pt x="177" y="244"/>
                    </a:lnTo>
                    <a:lnTo>
                      <a:pt x="188" y="238"/>
                    </a:lnTo>
                    <a:lnTo>
                      <a:pt x="198" y="232"/>
                    </a:lnTo>
                    <a:lnTo>
                      <a:pt x="209" y="225"/>
                    </a:lnTo>
                    <a:lnTo>
                      <a:pt x="217" y="217"/>
                    </a:lnTo>
                    <a:lnTo>
                      <a:pt x="225" y="208"/>
                    </a:lnTo>
                    <a:lnTo>
                      <a:pt x="233" y="198"/>
                    </a:lnTo>
                    <a:lnTo>
                      <a:pt x="240" y="188"/>
                    </a:lnTo>
                    <a:lnTo>
                      <a:pt x="245" y="177"/>
                    </a:lnTo>
                    <a:lnTo>
                      <a:pt x="249" y="165"/>
                    </a:lnTo>
                    <a:lnTo>
                      <a:pt x="252" y="153"/>
                    </a:lnTo>
                    <a:lnTo>
                      <a:pt x="254" y="139"/>
                    </a:lnTo>
                    <a:lnTo>
                      <a:pt x="254" y="127"/>
                    </a:lnTo>
                    <a:lnTo>
                      <a:pt x="254" y="127"/>
                    </a:lnTo>
                    <a:close/>
                  </a:path>
                </a:pathLst>
              </a:custGeom>
              <a:solidFill>
                <a:schemeClr val="tx1">
                  <a:lumMod val="90000"/>
                  <a:lumOff val="10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1" name="Freeform 104"/>
              <p:cNvSpPr>
                <a:spLocks/>
              </p:cNvSpPr>
              <p:nvPr/>
            </p:nvSpPr>
            <p:spPr bwMode="auto">
              <a:xfrm>
                <a:off x="9206736" y="4048465"/>
                <a:ext cx="101381" cy="100188"/>
              </a:xfrm>
              <a:custGeom>
                <a:avLst/>
                <a:gdLst>
                  <a:gd name="T0" fmla="*/ 254 w 254"/>
                  <a:gd name="T1" fmla="*/ 127 h 254"/>
                  <a:gd name="T2" fmla="*/ 252 w 254"/>
                  <a:gd name="T3" fmla="*/ 102 h 254"/>
                  <a:gd name="T4" fmla="*/ 245 w 254"/>
                  <a:gd name="T5" fmla="*/ 78 h 254"/>
                  <a:gd name="T6" fmla="*/ 233 w 254"/>
                  <a:gd name="T7" fmla="*/ 56 h 254"/>
                  <a:gd name="T8" fmla="*/ 217 w 254"/>
                  <a:gd name="T9" fmla="*/ 37 h 254"/>
                  <a:gd name="T10" fmla="*/ 198 w 254"/>
                  <a:gd name="T11" fmla="*/ 21 h 254"/>
                  <a:gd name="T12" fmla="*/ 177 w 254"/>
                  <a:gd name="T13" fmla="*/ 11 h 254"/>
                  <a:gd name="T14" fmla="*/ 153 w 254"/>
                  <a:gd name="T15" fmla="*/ 3 h 254"/>
                  <a:gd name="T16" fmla="*/ 127 w 254"/>
                  <a:gd name="T17" fmla="*/ 0 h 254"/>
                  <a:gd name="T18" fmla="*/ 114 w 254"/>
                  <a:gd name="T19" fmla="*/ 1 h 254"/>
                  <a:gd name="T20" fmla="*/ 90 w 254"/>
                  <a:gd name="T21" fmla="*/ 5 h 254"/>
                  <a:gd name="T22" fmla="*/ 67 w 254"/>
                  <a:gd name="T23" fmla="*/ 16 h 254"/>
                  <a:gd name="T24" fmla="*/ 47 w 254"/>
                  <a:gd name="T25" fmla="*/ 29 h 254"/>
                  <a:gd name="T26" fmla="*/ 30 w 254"/>
                  <a:gd name="T27" fmla="*/ 47 h 254"/>
                  <a:gd name="T28" fmla="*/ 17 w 254"/>
                  <a:gd name="T29" fmla="*/ 67 h 254"/>
                  <a:gd name="T30" fmla="*/ 6 w 254"/>
                  <a:gd name="T31" fmla="*/ 90 h 254"/>
                  <a:gd name="T32" fmla="*/ 2 w 254"/>
                  <a:gd name="T33" fmla="*/ 114 h 254"/>
                  <a:gd name="T34" fmla="*/ 0 w 254"/>
                  <a:gd name="T35" fmla="*/ 127 h 254"/>
                  <a:gd name="T36" fmla="*/ 3 w 254"/>
                  <a:gd name="T37" fmla="*/ 152 h 254"/>
                  <a:gd name="T38" fmla="*/ 11 w 254"/>
                  <a:gd name="T39" fmla="*/ 176 h 254"/>
                  <a:gd name="T40" fmla="*/ 22 w 254"/>
                  <a:gd name="T41" fmla="*/ 198 h 254"/>
                  <a:gd name="T42" fmla="*/ 38 w 254"/>
                  <a:gd name="T43" fmla="*/ 217 h 254"/>
                  <a:gd name="T44" fmla="*/ 57 w 254"/>
                  <a:gd name="T45" fmla="*/ 233 h 254"/>
                  <a:gd name="T46" fmla="*/ 78 w 254"/>
                  <a:gd name="T47" fmla="*/ 245 h 254"/>
                  <a:gd name="T48" fmla="*/ 102 w 254"/>
                  <a:gd name="T49" fmla="*/ 251 h 254"/>
                  <a:gd name="T50" fmla="*/ 127 w 254"/>
                  <a:gd name="T51" fmla="*/ 254 h 254"/>
                  <a:gd name="T52" fmla="*/ 141 w 254"/>
                  <a:gd name="T53" fmla="*/ 254 h 254"/>
                  <a:gd name="T54" fmla="*/ 165 w 254"/>
                  <a:gd name="T55" fmla="*/ 249 h 254"/>
                  <a:gd name="T56" fmla="*/ 188 w 254"/>
                  <a:gd name="T57" fmla="*/ 239 h 254"/>
                  <a:gd name="T58" fmla="*/ 209 w 254"/>
                  <a:gd name="T59" fmla="*/ 225 h 254"/>
                  <a:gd name="T60" fmla="*/ 225 w 254"/>
                  <a:gd name="T61" fmla="*/ 207 h 254"/>
                  <a:gd name="T62" fmla="*/ 240 w 254"/>
                  <a:gd name="T63" fmla="*/ 187 h 254"/>
                  <a:gd name="T64" fmla="*/ 249 w 254"/>
                  <a:gd name="T65" fmla="*/ 164 h 254"/>
                  <a:gd name="T66" fmla="*/ 254 w 254"/>
                  <a:gd name="T67" fmla="*/ 140 h 254"/>
                  <a:gd name="T68" fmla="*/ 254 w 254"/>
                  <a:gd name="T69" fmla="*/ 12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4" h="254">
                    <a:moveTo>
                      <a:pt x="254" y="127"/>
                    </a:moveTo>
                    <a:lnTo>
                      <a:pt x="254" y="127"/>
                    </a:lnTo>
                    <a:lnTo>
                      <a:pt x="254" y="114"/>
                    </a:lnTo>
                    <a:lnTo>
                      <a:pt x="252" y="102"/>
                    </a:lnTo>
                    <a:lnTo>
                      <a:pt x="249" y="90"/>
                    </a:lnTo>
                    <a:lnTo>
                      <a:pt x="245" y="78"/>
                    </a:lnTo>
                    <a:lnTo>
                      <a:pt x="240" y="67"/>
                    </a:lnTo>
                    <a:lnTo>
                      <a:pt x="233" y="56"/>
                    </a:lnTo>
                    <a:lnTo>
                      <a:pt x="225" y="47"/>
                    </a:lnTo>
                    <a:lnTo>
                      <a:pt x="217" y="37"/>
                    </a:lnTo>
                    <a:lnTo>
                      <a:pt x="209" y="29"/>
                    </a:lnTo>
                    <a:lnTo>
                      <a:pt x="198" y="21"/>
                    </a:lnTo>
                    <a:lnTo>
                      <a:pt x="188" y="16"/>
                    </a:lnTo>
                    <a:lnTo>
                      <a:pt x="177" y="11"/>
                    </a:lnTo>
                    <a:lnTo>
                      <a:pt x="165" y="5"/>
                    </a:lnTo>
                    <a:lnTo>
                      <a:pt x="153" y="3"/>
                    </a:lnTo>
                    <a:lnTo>
                      <a:pt x="141" y="1"/>
                    </a:lnTo>
                    <a:lnTo>
                      <a:pt x="127" y="0"/>
                    </a:lnTo>
                    <a:lnTo>
                      <a:pt x="127" y="0"/>
                    </a:lnTo>
                    <a:lnTo>
                      <a:pt x="114" y="1"/>
                    </a:lnTo>
                    <a:lnTo>
                      <a:pt x="102" y="3"/>
                    </a:lnTo>
                    <a:lnTo>
                      <a:pt x="90" y="5"/>
                    </a:lnTo>
                    <a:lnTo>
                      <a:pt x="78" y="11"/>
                    </a:lnTo>
                    <a:lnTo>
                      <a:pt x="67" y="16"/>
                    </a:lnTo>
                    <a:lnTo>
                      <a:pt x="57" y="21"/>
                    </a:lnTo>
                    <a:lnTo>
                      <a:pt x="47" y="29"/>
                    </a:lnTo>
                    <a:lnTo>
                      <a:pt x="38" y="37"/>
                    </a:lnTo>
                    <a:lnTo>
                      <a:pt x="30" y="47"/>
                    </a:lnTo>
                    <a:lnTo>
                      <a:pt x="22" y="56"/>
                    </a:lnTo>
                    <a:lnTo>
                      <a:pt x="17" y="67"/>
                    </a:lnTo>
                    <a:lnTo>
                      <a:pt x="11" y="78"/>
                    </a:lnTo>
                    <a:lnTo>
                      <a:pt x="6" y="90"/>
                    </a:lnTo>
                    <a:lnTo>
                      <a:pt x="3" y="102"/>
                    </a:lnTo>
                    <a:lnTo>
                      <a:pt x="2" y="114"/>
                    </a:lnTo>
                    <a:lnTo>
                      <a:pt x="0" y="127"/>
                    </a:lnTo>
                    <a:lnTo>
                      <a:pt x="0" y="127"/>
                    </a:lnTo>
                    <a:lnTo>
                      <a:pt x="2" y="140"/>
                    </a:lnTo>
                    <a:lnTo>
                      <a:pt x="3" y="152"/>
                    </a:lnTo>
                    <a:lnTo>
                      <a:pt x="6" y="164"/>
                    </a:lnTo>
                    <a:lnTo>
                      <a:pt x="11" y="176"/>
                    </a:lnTo>
                    <a:lnTo>
                      <a:pt x="17" y="187"/>
                    </a:lnTo>
                    <a:lnTo>
                      <a:pt x="22" y="198"/>
                    </a:lnTo>
                    <a:lnTo>
                      <a:pt x="30" y="207"/>
                    </a:lnTo>
                    <a:lnTo>
                      <a:pt x="38" y="217"/>
                    </a:lnTo>
                    <a:lnTo>
                      <a:pt x="47" y="225"/>
                    </a:lnTo>
                    <a:lnTo>
                      <a:pt x="57" y="233"/>
                    </a:lnTo>
                    <a:lnTo>
                      <a:pt x="67" y="239"/>
                    </a:lnTo>
                    <a:lnTo>
                      <a:pt x="78" y="245"/>
                    </a:lnTo>
                    <a:lnTo>
                      <a:pt x="90" y="249"/>
                    </a:lnTo>
                    <a:lnTo>
                      <a:pt x="102" y="251"/>
                    </a:lnTo>
                    <a:lnTo>
                      <a:pt x="114" y="254"/>
                    </a:lnTo>
                    <a:lnTo>
                      <a:pt x="127" y="254"/>
                    </a:lnTo>
                    <a:lnTo>
                      <a:pt x="127" y="254"/>
                    </a:lnTo>
                    <a:lnTo>
                      <a:pt x="141" y="254"/>
                    </a:lnTo>
                    <a:lnTo>
                      <a:pt x="153" y="251"/>
                    </a:lnTo>
                    <a:lnTo>
                      <a:pt x="165" y="249"/>
                    </a:lnTo>
                    <a:lnTo>
                      <a:pt x="177" y="245"/>
                    </a:lnTo>
                    <a:lnTo>
                      <a:pt x="188" y="239"/>
                    </a:lnTo>
                    <a:lnTo>
                      <a:pt x="198" y="233"/>
                    </a:lnTo>
                    <a:lnTo>
                      <a:pt x="209" y="225"/>
                    </a:lnTo>
                    <a:lnTo>
                      <a:pt x="217" y="217"/>
                    </a:lnTo>
                    <a:lnTo>
                      <a:pt x="225" y="207"/>
                    </a:lnTo>
                    <a:lnTo>
                      <a:pt x="233" y="198"/>
                    </a:lnTo>
                    <a:lnTo>
                      <a:pt x="240" y="187"/>
                    </a:lnTo>
                    <a:lnTo>
                      <a:pt x="245" y="176"/>
                    </a:lnTo>
                    <a:lnTo>
                      <a:pt x="249" y="164"/>
                    </a:lnTo>
                    <a:lnTo>
                      <a:pt x="252" y="152"/>
                    </a:lnTo>
                    <a:lnTo>
                      <a:pt x="254" y="140"/>
                    </a:lnTo>
                    <a:lnTo>
                      <a:pt x="254" y="127"/>
                    </a:lnTo>
                    <a:lnTo>
                      <a:pt x="254" y="127"/>
                    </a:lnTo>
                    <a:close/>
                  </a:path>
                </a:pathLst>
              </a:custGeom>
              <a:solidFill>
                <a:schemeClr val="tx1">
                  <a:lumMod val="90000"/>
                  <a:lumOff val="10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2" name="Freeform 105"/>
              <p:cNvSpPr>
                <a:spLocks noEditPoints="1"/>
              </p:cNvSpPr>
              <p:nvPr/>
            </p:nvSpPr>
            <p:spPr bwMode="auto">
              <a:xfrm>
                <a:off x="9164991" y="3863594"/>
                <a:ext cx="184871" cy="469930"/>
              </a:xfrm>
              <a:custGeom>
                <a:avLst/>
                <a:gdLst>
                  <a:gd name="T0" fmla="*/ 41 w 465"/>
                  <a:gd name="T1" fmla="*/ 1 h 1184"/>
                  <a:gd name="T2" fmla="*/ 8 w 465"/>
                  <a:gd name="T3" fmla="*/ 17 h 1184"/>
                  <a:gd name="T4" fmla="*/ 0 w 465"/>
                  <a:gd name="T5" fmla="*/ 1136 h 1184"/>
                  <a:gd name="T6" fmla="*/ 8 w 465"/>
                  <a:gd name="T7" fmla="*/ 1167 h 1184"/>
                  <a:gd name="T8" fmla="*/ 41 w 465"/>
                  <a:gd name="T9" fmla="*/ 1183 h 1184"/>
                  <a:gd name="T10" fmla="*/ 408 w 465"/>
                  <a:gd name="T11" fmla="*/ 1184 h 1184"/>
                  <a:gd name="T12" fmla="*/ 454 w 465"/>
                  <a:gd name="T13" fmla="*/ 1171 h 1184"/>
                  <a:gd name="T14" fmla="*/ 465 w 465"/>
                  <a:gd name="T15" fmla="*/ 1136 h 1184"/>
                  <a:gd name="T16" fmla="*/ 461 w 465"/>
                  <a:gd name="T17" fmla="*/ 24 h 1184"/>
                  <a:gd name="T18" fmla="*/ 437 w 465"/>
                  <a:gd name="T19" fmla="*/ 4 h 1184"/>
                  <a:gd name="T20" fmla="*/ 232 w 465"/>
                  <a:gd name="T21" fmla="*/ 1131 h 1184"/>
                  <a:gd name="T22" fmla="*/ 171 w 465"/>
                  <a:gd name="T23" fmla="*/ 1117 h 1184"/>
                  <a:gd name="T24" fmla="*/ 111 w 465"/>
                  <a:gd name="T25" fmla="*/ 1072 h 1184"/>
                  <a:gd name="T26" fmla="*/ 77 w 465"/>
                  <a:gd name="T27" fmla="*/ 1004 h 1184"/>
                  <a:gd name="T28" fmla="*/ 77 w 465"/>
                  <a:gd name="T29" fmla="*/ 939 h 1184"/>
                  <a:gd name="T30" fmla="*/ 111 w 465"/>
                  <a:gd name="T31" fmla="*/ 870 h 1184"/>
                  <a:gd name="T32" fmla="*/ 171 w 465"/>
                  <a:gd name="T33" fmla="*/ 826 h 1184"/>
                  <a:gd name="T34" fmla="*/ 232 w 465"/>
                  <a:gd name="T35" fmla="*/ 813 h 1184"/>
                  <a:gd name="T36" fmla="*/ 309 w 465"/>
                  <a:gd name="T37" fmla="*/ 833 h 1184"/>
                  <a:gd name="T38" fmla="*/ 365 w 465"/>
                  <a:gd name="T39" fmla="*/ 883 h 1184"/>
                  <a:gd name="T40" fmla="*/ 390 w 465"/>
                  <a:gd name="T41" fmla="*/ 956 h 1184"/>
                  <a:gd name="T42" fmla="*/ 385 w 465"/>
                  <a:gd name="T43" fmla="*/ 1018 h 1184"/>
                  <a:gd name="T44" fmla="*/ 345 w 465"/>
                  <a:gd name="T45" fmla="*/ 1084 h 1184"/>
                  <a:gd name="T46" fmla="*/ 279 w 465"/>
                  <a:gd name="T47" fmla="*/ 1123 h 1184"/>
                  <a:gd name="T48" fmla="*/ 232 w 465"/>
                  <a:gd name="T49" fmla="*/ 751 h 1184"/>
                  <a:gd name="T50" fmla="*/ 171 w 465"/>
                  <a:gd name="T51" fmla="*/ 738 h 1184"/>
                  <a:gd name="T52" fmla="*/ 111 w 465"/>
                  <a:gd name="T53" fmla="*/ 694 h 1184"/>
                  <a:gd name="T54" fmla="*/ 77 w 465"/>
                  <a:gd name="T55" fmla="*/ 624 h 1184"/>
                  <a:gd name="T56" fmla="*/ 77 w 465"/>
                  <a:gd name="T57" fmla="*/ 560 h 1184"/>
                  <a:gd name="T58" fmla="*/ 111 w 465"/>
                  <a:gd name="T59" fmla="*/ 492 h 1184"/>
                  <a:gd name="T60" fmla="*/ 171 w 465"/>
                  <a:gd name="T61" fmla="*/ 446 h 1184"/>
                  <a:gd name="T62" fmla="*/ 232 w 465"/>
                  <a:gd name="T63" fmla="*/ 433 h 1184"/>
                  <a:gd name="T64" fmla="*/ 309 w 465"/>
                  <a:gd name="T65" fmla="*/ 453 h 1184"/>
                  <a:gd name="T66" fmla="*/ 365 w 465"/>
                  <a:gd name="T67" fmla="*/ 504 h 1184"/>
                  <a:gd name="T68" fmla="*/ 390 w 465"/>
                  <a:gd name="T69" fmla="*/ 576 h 1184"/>
                  <a:gd name="T70" fmla="*/ 385 w 465"/>
                  <a:gd name="T71" fmla="*/ 639 h 1184"/>
                  <a:gd name="T72" fmla="*/ 345 w 465"/>
                  <a:gd name="T73" fmla="*/ 704 h 1184"/>
                  <a:gd name="T74" fmla="*/ 279 w 465"/>
                  <a:gd name="T75" fmla="*/ 743 h 1184"/>
                  <a:gd name="T76" fmla="*/ 232 w 465"/>
                  <a:gd name="T77" fmla="*/ 374 h 1184"/>
                  <a:gd name="T78" fmla="*/ 171 w 465"/>
                  <a:gd name="T79" fmla="*/ 362 h 1184"/>
                  <a:gd name="T80" fmla="*/ 111 w 465"/>
                  <a:gd name="T81" fmla="*/ 317 h 1184"/>
                  <a:gd name="T82" fmla="*/ 77 w 465"/>
                  <a:gd name="T83" fmla="*/ 247 h 1184"/>
                  <a:gd name="T84" fmla="*/ 77 w 465"/>
                  <a:gd name="T85" fmla="*/ 184 h 1184"/>
                  <a:gd name="T86" fmla="*/ 111 w 465"/>
                  <a:gd name="T87" fmla="*/ 115 h 1184"/>
                  <a:gd name="T88" fmla="*/ 171 w 465"/>
                  <a:gd name="T89" fmla="*/ 69 h 1184"/>
                  <a:gd name="T90" fmla="*/ 232 w 465"/>
                  <a:gd name="T91" fmla="*/ 57 h 1184"/>
                  <a:gd name="T92" fmla="*/ 309 w 465"/>
                  <a:gd name="T93" fmla="*/ 76 h 1184"/>
                  <a:gd name="T94" fmla="*/ 365 w 465"/>
                  <a:gd name="T95" fmla="*/ 127 h 1184"/>
                  <a:gd name="T96" fmla="*/ 390 w 465"/>
                  <a:gd name="T97" fmla="*/ 199 h 1184"/>
                  <a:gd name="T98" fmla="*/ 385 w 465"/>
                  <a:gd name="T99" fmla="*/ 263 h 1184"/>
                  <a:gd name="T100" fmla="*/ 345 w 465"/>
                  <a:gd name="T101" fmla="*/ 327 h 1184"/>
                  <a:gd name="T102" fmla="*/ 279 w 465"/>
                  <a:gd name="T103" fmla="*/ 367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5" h="1184">
                    <a:moveTo>
                      <a:pt x="370" y="0"/>
                    </a:moveTo>
                    <a:lnTo>
                      <a:pt x="95" y="0"/>
                    </a:lnTo>
                    <a:lnTo>
                      <a:pt x="95" y="0"/>
                    </a:lnTo>
                    <a:lnTo>
                      <a:pt x="57" y="0"/>
                    </a:lnTo>
                    <a:lnTo>
                      <a:pt x="41" y="1"/>
                    </a:lnTo>
                    <a:lnTo>
                      <a:pt x="28" y="4"/>
                    </a:lnTo>
                    <a:lnTo>
                      <a:pt x="21" y="7"/>
                    </a:lnTo>
                    <a:lnTo>
                      <a:pt x="16" y="9"/>
                    </a:lnTo>
                    <a:lnTo>
                      <a:pt x="12" y="13"/>
                    </a:lnTo>
                    <a:lnTo>
                      <a:pt x="8" y="17"/>
                    </a:lnTo>
                    <a:lnTo>
                      <a:pt x="4" y="24"/>
                    </a:lnTo>
                    <a:lnTo>
                      <a:pt x="1" y="31"/>
                    </a:lnTo>
                    <a:lnTo>
                      <a:pt x="0" y="39"/>
                    </a:lnTo>
                    <a:lnTo>
                      <a:pt x="0" y="48"/>
                    </a:lnTo>
                    <a:lnTo>
                      <a:pt x="0" y="1136"/>
                    </a:lnTo>
                    <a:lnTo>
                      <a:pt x="0" y="1136"/>
                    </a:lnTo>
                    <a:lnTo>
                      <a:pt x="0" y="1145"/>
                    </a:lnTo>
                    <a:lnTo>
                      <a:pt x="1" y="1153"/>
                    </a:lnTo>
                    <a:lnTo>
                      <a:pt x="4" y="1160"/>
                    </a:lnTo>
                    <a:lnTo>
                      <a:pt x="8" y="1167"/>
                    </a:lnTo>
                    <a:lnTo>
                      <a:pt x="12" y="1171"/>
                    </a:lnTo>
                    <a:lnTo>
                      <a:pt x="16" y="1175"/>
                    </a:lnTo>
                    <a:lnTo>
                      <a:pt x="21" y="1177"/>
                    </a:lnTo>
                    <a:lnTo>
                      <a:pt x="28" y="1180"/>
                    </a:lnTo>
                    <a:lnTo>
                      <a:pt x="41" y="1183"/>
                    </a:lnTo>
                    <a:lnTo>
                      <a:pt x="57" y="1184"/>
                    </a:lnTo>
                    <a:lnTo>
                      <a:pt x="95" y="1184"/>
                    </a:lnTo>
                    <a:lnTo>
                      <a:pt x="370" y="1184"/>
                    </a:lnTo>
                    <a:lnTo>
                      <a:pt x="370" y="1184"/>
                    </a:lnTo>
                    <a:lnTo>
                      <a:pt x="408" y="1184"/>
                    </a:lnTo>
                    <a:lnTo>
                      <a:pt x="424" y="1183"/>
                    </a:lnTo>
                    <a:lnTo>
                      <a:pt x="437" y="1180"/>
                    </a:lnTo>
                    <a:lnTo>
                      <a:pt x="444" y="1177"/>
                    </a:lnTo>
                    <a:lnTo>
                      <a:pt x="449" y="1175"/>
                    </a:lnTo>
                    <a:lnTo>
                      <a:pt x="454" y="1171"/>
                    </a:lnTo>
                    <a:lnTo>
                      <a:pt x="458" y="1167"/>
                    </a:lnTo>
                    <a:lnTo>
                      <a:pt x="461" y="1160"/>
                    </a:lnTo>
                    <a:lnTo>
                      <a:pt x="464" y="1153"/>
                    </a:lnTo>
                    <a:lnTo>
                      <a:pt x="465" y="1145"/>
                    </a:lnTo>
                    <a:lnTo>
                      <a:pt x="465" y="1136"/>
                    </a:lnTo>
                    <a:lnTo>
                      <a:pt x="465" y="48"/>
                    </a:lnTo>
                    <a:lnTo>
                      <a:pt x="465" y="48"/>
                    </a:lnTo>
                    <a:lnTo>
                      <a:pt x="465" y="39"/>
                    </a:lnTo>
                    <a:lnTo>
                      <a:pt x="464" y="31"/>
                    </a:lnTo>
                    <a:lnTo>
                      <a:pt x="461" y="24"/>
                    </a:lnTo>
                    <a:lnTo>
                      <a:pt x="458" y="17"/>
                    </a:lnTo>
                    <a:lnTo>
                      <a:pt x="454" y="13"/>
                    </a:lnTo>
                    <a:lnTo>
                      <a:pt x="449" y="9"/>
                    </a:lnTo>
                    <a:lnTo>
                      <a:pt x="444" y="7"/>
                    </a:lnTo>
                    <a:lnTo>
                      <a:pt x="437" y="4"/>
                    </a:lnTo>
                    <a:lnTo>
                      <a:pt x="424" y="1"/>
                    </a:lnTo>
                    <a:lnTo>
                      <a:pt x="408" y="0"/>
                    </a:lnTo>
                    <a:lnTo>
                      <a:pt x="370" y="0"/>
                    </a:lnTo>
                    <a:lnTo>
                      <a:pt x="370" y="0"/>
                    </a:lnTo>
                    <a:close/>
                    <a:moveTo>
                      <a:pt x="232" y="1131"/>
                    </a:moveTo>
                    <a:lnTo>
                      <a:pt x="232" y="1131"/>
                    </a:lnTo>
                    <a:lnTo>
                      <a:pt x="216" y="1129"/>
                    </a:lnTo>
                    <a:lnTo>
                      <a:pt x="200" y="1127"/>
                    </a:lnTo>
                    <a:lnTo>
                      <a:pt x="186" y="1123"/>
                    </a:lnTo>
                    <a:lnTo>
                      <a:pt x="171" y="1117"/>
                    </a:lnTo>
                    <a:lnTo>
                      <a:pt x="158" y="1111"/>
                    </a:lnTo>
                    <a:lnTo>
                      <a:pt x="144" y="1103"/>
                    </a:lnTo>
                    <a:lnTo>
                      <a:pt x="132" y="1095"/>
                    </a:lnTo>
                    <a:lnTo>
                      <a:pt x="120" y="1084"/>
                    </a:lnTo>
                    <a:lnTo>
                      <a:pt x="111" y="1072"/>
                    </a:lnTo>
                    <a:lnTo>
                      <a:pt x="101" y="1060"/>
                    </a:lnTo>
                    <a:lnTo>
                      <a:pt x="93" y="1046"/>
                    </a:lnTo>
                    <a:lnTo>
                      <a:pt x="87" y="1033"/>
                    </a:lnTo>
                    <a:lnTo>
                      <a:pt x="81" y="1018"/>
                    </a:lnTo>
                    <a:lnTo>
                      <a:pt x="77" y="1004"/>
                    </a:lnTo>
                    <a:lnTo>
                      <a:pt x="75" y="988"/>
                    </a:lnTo>
                    <a:lnTo>
                      <a:pt x="73" y="972"/>
                    </a:lnTo>
                    <a:lnTo>
                      <a:pt x="73" y="972"/>
                    </a:lnTo>
                    <a:lnTo>
                      <a:pt x="75" y="956"/>
                    </a:lnTo>
                    <a:lnTo>
                      <a:pt x="77" y="939"/>
                    </a:lnTo>
                    <a:lnTo>
                      <a:pt x="81" y="925"/>
                    </a:lnTo>
                    <a:lnTo>
                      <a:pt x="87" y="910"/>
                    </a:lnTo>
                    <a:lnTo>
                      <a:pt x="93" y="895"/>
                    </a:lnTo>
                    <a:lnTo>
                      <a:pt x="101" y="883"/>
                    </a:lnTo>
                    <a:lnTo>
                      <a:pt x="111" y="870"/>
                    </a:lnTo>
                    <a:lnTo>
                      <a:pt x="120" y="859"/>
                    </a:lnTo>
                    <a:lnTo>
                      <a:pt x="132" y="849"/>
                    </a:lnTo>
                    <a:lnTo>
                      <a:pt x="144" y="841"/>
                    </a:lnTo>
                    <a:lnTo>
                      <a:pt x="158" y="833"/>
                    </a:lnTo>
                    <a:lnTo>
                      <a:pt x="171" y="826"/>
                    </a:lnTo>
                    <a:lnTo>
                      <a:pt x="186" y="821"/>
                    </a:lnTo>
                    <a:lnTo>
                      <a:pt x="200" y="817"/>
                    </a:lnTo>
                    <a:lnTo>
                      <a:pt x="216" y="814"/>
                    </a:lnTo>
                    <a:lnTo>
                      <a:pt x="232" y="813"/>
                    </a:lnTo>
                    <a:lnTo>
                      <a:pt x="232" y="813"/>
                    </a:lnTo>
                    <a:lnTo>
                      <a:pt x="249" y="814"/>
                    </a:lnTo>
                    <a:lnTo>
                      <a:pt x="265" y="817"/>
                    </a:lnTo>
                    <a:lnTo>
                      <a:pt x="279" y="821"/>
                    </a:lnTo>
                    <a:lnTo>
                      <a:pt x="294" y="826"/>
                    </a:lnTo>
                    <a:lnTo>
                      <a:pt x="309" y="833"/>
                    </a:lnTo>
                    <a:lnTo>
                      <a:pt x="321" y="841"/>
                    </a:lnTo>
                    <a:lnTo>
                      <a:pt x="334" y="849"/>
                    </a:lnTo>
                    <a:lnTo>
                      <a:pt x="345" y="859"/>
                    </a:lnTo>
                    <a:lnTo>
                      <a:pt x="355" y="870"/>
                    </a:lnTo>
                    <a:lnTo>
                      <a:pt x="365" y="883"/>
                    </a:lnTo>
                    <a:lnTo>
                      <a:pt x="371" y="895"/>
                    </a:lnTo>
                    <a:lnTo>
                      <a:pt x="379" y="910"/>
                    </a:lnTo>
                    <a:lnTo>
                      <a:pt x="385" y="925"/>
                    </a:lnTo>
                    <a:lnTo>
                      <a:pt x="388" y="939"/>
                    </a:lnTo>
                    <a:lnTo>
                      <a:pt x="390" y="956"/>
                    </a:lnTo>
                    <a:lnTo>
                      <a:pt x="392" y="972"/>
                    </a:lnTo>
                    <a:lnTo>
                      <a:pt x="392" y="972"/>
                    </a:lnTo>
                    <a:lnTo>
                      <a:pt x="390" y="988"/>
                    </a:lnTo>
                    <a:lnTo>
                      <a:pt x="388" y="1004"/>
                    </a:lnTo>
                    <a:lnTo>
                      <a:pt x="385" y="1018"/>
                    </a:lnTo>
                    <a:lnTo>
                      <a:pt x="379" y="1033"/>
                    </a:lnTo>
                    <a:lnTo>
                      <a:pt x="371" y="1046"/>
                    </a:lnTo>
                    <a:lnTo>
                      <a:pt x="365" y="1060"/>
                    </a:lnTo>
                    <a:lnTo>
                      <a:pt x="355" y="1072"/>
                    </a:lnTo>
                    <a:lnTo>
                      <a:pt x="345" y="1084"/>
                    </a:lnTo>
                    <a:lnTo>
                      <a:pt x="334" y="1095"/>
                    </a:lnTo>
                    <a:lnTo>
                      <a:pt x="321" y="1103"/>
                    </a:lnTo>
                    <a:lnTo>
                      <a:pt x="309" y="1111"/>
                    </a:lnTo>
                    <a:lnTo>
                      <a:pt x="294" y="1117"/>
                    </a:lnTo>
                    <a:lnTo>
                      <a:pt x="279" y="1123"/>
                    </a:lnTo>
                    <a:lnTo>
                      <a:pt x="265" y="1127"/>
                    </a:lnTo>
                    <a:lnTo>
                      <a:pt x="249" y="1129"/>
                    </a:lnTo>
                    <a:lnTo>
                      <a:pt x="232" y="1131"/>
                    </a:lnTo>
                    <a:lnTo>
                      <a:pt x="232" y="1131"/>
                    </a:lnTo>
                    <a:close/>
                    <a:moveTo>
                      <a:pt x="232" y="751"/>
                    </a:moveTo>
                    <a:lnTo>
                      <a:pt x="232" y="751"/>
                    </a:lnTo>
                    <a:lnTo>
                      <a:pt x="216" y="750"/>
                    </a:lnTo>
                    <a:lnTo>
                      <a:pt x="200" y="747"/>
                    </a:lnTo>
                    <a:lnTo>
                      <a:pt x="186" y="743"/>
                    </a:lnTo>
                    <a:lnTo>
                      <a:pt x="171" y="738"/>
                    </a:lnTo>
                    <a:lnTo>
                      <a:pt x="158" y="731"/>
                    </a:lnTo>
                    <a:lnTo>
                      <a:pt x="144" y="723"/>
                    </a:lnTo>
                    <a:lnTo>
                      <a:pt x="132" y="715"/>
                    </a:lnTo>
                    <a:lnTo>
                      <a:pt x="120" y="704"/>
                    </a:lnTo>
                    <a:lnTo>
                      <a:pt x="111" y="694"/>
                    </a:lnTo>
                    <a:lnTo>
                      <a:pt x="101" y="680"/>
                    </a:lnTo>
                    <a:lnTo>
                      <a:pt x="93" y="668"/>
                    </a:lnTo>
                    <a:lnTo>
                      <a:pt x="87" y="653"/>
                    </a:lnTo>
                    <a:lnTo>
                      <a:pt x="81" y="639"/>
                    </a:lnTo>
                    <a:lnTo>
                      <a:pt x="77" y="624"/>
                    </a:lnTo>
                    <a:lnTo>
                      <a:pt x="75" y="608"/>
                    </a:lnTo>
                    <a:lnTo>
                      <a:pt x="73" y="592"/>
                    </a:lnTo>
                    <a:lnTo>
                      <a:pt x="73" y="592"/>
                    </a:lnTo>
                    <a:lnTo>
                      <a:pt x="75" y="576"/>
                    </a:lnTo>
                    <a:lnTo>
                      <a:pt x="77" y="560"/>
                    </a:lnTo>
                    <a:lnTo>
                      <a:pt x="81" y="545"/>
                    </a:lnTo>
                    <a:lnTo>
                      <a:pt x="87" y="531"/>
                    </a:lnTo>
                    <a:lnTo>
                      <a:pt x="93" y="516"/>
                    </a:lnTo>
                    <a:lnTo>
                      <a:pt x="101" y="504"/>
                    </a:lnTo>
                    <a:lnTo>
                      <a:pt x="111" y="492"/>
                    </a:lnTo>
                    <a:lnTo>
                      <a:pt x="120" y="480"/>
                    </a:lnTo>
                    <a:lnTo>
                      <a:pt x="132" y="469"/>
                    </a:lnTo>
                    <a:lnTo>
                      <a:pt x="144" y="461"/>
                    </a:lnTo>
                    <a:lnTo>
                      <a:pt x="158" y="453"/>
                    </a:lnTo>
                    <a:lnTo>
                      <a:pt x="171" y="446"/>
                    </a:lnTo>
                    <a:lnTo>
                      <a:pt x="186" y="441"/>
                    </a:lnTo>
                    <a:lnTo>
                      <a:pt x="200" y="437"/>
                    </a:lnTo>
                    <a:lnTo>
                      <a:pt x="216" y="434"/>
                    </a:lnTo>
                    <a:lnTo>
                      <a:pt x="232" y="433"/>
                    </a:lnTo>
                    <a:lnTo>
                      <a:pt x="232" y="433"/>
                    </a:lnTo>
                    <a:lnTo>
                      <a:pt x="249" y="434"/>
                    </a:lnTo>
                    <a:lnTo>
                      <a:pt x="265" y="437"/>
                    </a:lnTo>
                    <a:lnTo>
                      <a:pt x="279" y="441"/>
                    </a:lnTo>
                    <a:lnTo>
                      <a:pt x="294" y="446"/>
                    </a:lnTo>
                    <a:lnTo>
                      <a:pt x="309" y="453"/>
                    </a:lnTo>
                    <a:lnTo>
                      <a:pt x="321" y="461"/>
                    </a:lnTo>
                    <a:lnTo>
                      <a:pt x="334" y="469"/>
                    </a:lnTo>
                    <a:lnTo>
                      <a:pt x="345" y="480"/>
                    </a:lnTo>
                    <a:lnTo>
                      <a:pt x="355" y="492"/>
                    </a:lnTo>
                    <a:lnTo>
                      <a:pt x="365" y="504"/>
                    </a:lnTo>
                    <a:lnTo>
                      <a:pt x="371" y="516"/>
                    </a:lnTo>
                    <a:lnTo>
                      <a:pt x="379" y="531"/>
                    </a:lnTo>
                    <a:lnTo>
                      <a:pt x="385" y="545"/>
                    </a:lnTo>
                    <a:lnTo>
                      <a:pt x="388" y="560"/>
                    </a:lnTo>
                    <a:lnTo>
                      <a:pt x="390" y="576"/>
                    </a:lnTo>
                    <a:lnTo>
                      <a:pt x="392" y="592"/>
                    </a:lnTo>
                    <a:lnTo>
                      <a:pt x="392" y="592"/>
                    </a:lnTo>
                    <a:lnTo>
                      <a:pt x="390" y="608"/>
                    </a:lnTo>
                    <a:lnTo>
                      <a:pt x="388" y="624"/>
                    </a:lnTo>
                    <a:lnTo>
                      <a:pt x="385" y="639"/>
                    </a:lnTo>
                    <a:lnTo>
                      <a:pt x="379" y="653"/>
                    </a:lnTo>
                    <a:lnTo>
                      <a:pt x="371" y="668"/>
                    </a:lnTo>
                    <a:lnTo>
                      <a:pt x="365" y="680"/>
                    </a:lnTo>
                    <a:lnTo>
                      <a:pt x="355" y="694"/>
                    </a:lnTo>
                    <a:lnTo>
                      <a:pt x="345" y="704"/>
                    </a:lnTo>
                    <a:lnTo>
                      <a:pt x="334" y="715"/>
                    </a:lnTo>
                    <a:lnTo>
                      <a:pt x="321" y="723"/>
                    </a:lnTo>
                    <a:lnTo>
                      <a:pt x="309" y="731"/>
                    </a:lnTo>
                    <a:lnTo>
                      <a:pt x="294" y="738"/>
                    </a:lnTo>
                    <a:lnTo>
                      <a:pt x="279" y="743"/>
                    </a:lnTo>
                    <a:lnTo>
                      <a:pt x="265" y="747"/>
                    </a:lnTo>
                    <a:lnTo>
                      <a:pt x="249" y="750"/>
                    </a:lnTo>
                    <a:lnTo>
                      <a:pt x="232" y="751"/>
                    </a:lnTo>
                    <a:lnTo>
                      <a:pt x="232" y="751"/>
                    </a:lnTo>
                    <a:close/>
                    <a:moveTo>
                      <a:pt x="232" y="374"/>
                    </a:moveTo>
                    <a:lnTo>
                      <a:pt x="232" y="374"/>
                    </a:lnTo>
                    <a:lnTo>
                      <a:pt x="216" y="374"/>
                    </a:lnTo>
                    <a:lnTo>
                      <a:pt x="200" y="371"/>
                    </a:lnTo>
                    <a:lnTo>
                      <a:pt x="186" y="367"/>
                    </a:lnTo>
                    <a:lnTo>
                      <a:pt x="171" y="362"/>
                    </a:lnTo>
                    <a:lnTo>
                      <a:pt x="158" y="355"/>
                    </a:lnTo>
                    <a:lnTo>
                      <a:pt x="144" y="347"/>
                    </a:lnTo>
                    <a:lnTo>
                      <a:pt x="132" y="338"/>
                    </a:lnTo>
                    <a:lnTo>
                      <a:pt x="120" y="327"/>
                    </a:lnTo>
                    <a:lnTo>
                      <a:pt x="111" y="317"/>
                    </a:lnTo>
                    <a:lnTo>
                      <a:pt x="101" y="305"/>
                    </a:lnTo>
                    <a:lnTo>
                      <a:pt x="93" y="291"/>
                    </a:lnTo>
                    <a:lnTo>
                      <a:pt x="87" y="278"/>
                    </a:lnTo>
                    <a:lnTo>
                      <a:pt x="81" y="263"/>
                    </a:lnTo>
                    <a:lnTo>
                      <a:pt x="77" y="247"/>
                    </a:lnTo>
                    <a:lnTo>
                      <a:pt x="75" y="232"/>
                    </a:lnTo>
                    <a:lnTo>
                      <a:pt x="73" y="216"/>
                    </a:lnTo>
                    <a:lnTo>
                      <a:pt x="73" y="216"/>
                    </a:lnTo>
                    <a:lnTo>
                      <a:pt x="75" y="199"/>
                    </a:lnTo>
                    <a:lnTo>
                      <a:pt x="77" y="184"/>
                    </a:lnTo>
                    <a:lnTo>
                      <a:pt x="81" y="168"/>
                    </a:lnTo>
                    <a:lnTo>
                      <a:pt x="87" y="154"/>
                    </a:lnTo>
                    <a:lnTo>
                      <a:pt x="93" y="140"/>
                    </a:lnTo>
                    <a:lnTo>
                      <a:pt x="101" y="127"/>
                    </a:lnTo>
                    <a:lnTo>
                      <a:pt x="111" y="115"/>
                    </a:lnTo>
                    <a:lnTo>
                      <a:pt x="120" y="104"/>
                    </a:lnTo>
                    <a:lnTo>
                      <a:pt x="132" y="93"/>
                    </a:lnTo>
                    <a:lnTo>
                      <a:pt x="144" y="84"/>
                    </a:lnTo>
                    <a:lnTo>
                      <a:pt x="158" y="76"/>
                    </a:lnTo>
                    <a:lnTo>
                      <a:pt x="171" y="69"/>
                    </a:lnTo>
                    <a:lnTo>
                      <a:pt x="186" y="64"/>
                    </a:lnTo>
                    <a:lnTo>
                      <a:pt x="200" y="60"/>
                    </a:lnTo>
                    <a:lnTo>
                      <a:pt x="216" y="57"/>
                    </a:lnTo>
                    <a:lnTo>
                      <a:pt x="232" y="57"/>
                    </a:lnTo>
                    <a:lnTo>
                      <a:pt x="232" y="57"/>
                    </a:lnTo>
                    <a:lnTo>
                      <a:pt x="249" y="57"/>
                    </a:lnTo>
                    <a:lnTo>
                      <a:pt x="265" y="60"/>
                    </a:lnTo>
                    <a:lnTo>
                      <a:pt x="279" y="64"/>
                    </a:lnTo>
                    <a:lnTo>
                      <a:pt x="294" y="69"/>
                    </a:lnTo>
                    <a:lnTo>
                      <a:pt x="309" y="76"/>
                    </a:lnTo>
                    <a:lnTo>
                      <a:pt x="321" y="84"/>
                    </a:lnTo>
                    <a:lnTo>
                      <a:pt x="334" y="93"/>
                    </a:lnTo>
                    <a:lnTo>
                      <a:pt x="345" y="104"/>
                    </a:lnTo>
                    <a:lnTo>
                      <a:pt x="355" y="115"/>
                    </a:lnTo>
                    <a:lnTo>
                      <a:pt x="365" y="127"/>
                    </a:lnTo>
                    <a:lnTo>
                      <a:pt x="371" y="140"/>
                    </a:lnTo>
                    <a:lnTo>
                      <a:pt x="379" y="154"/>
                    </a:lnTo>
                    <a:lnTo>
                      <a:pt x="385" y="168"/>
                    </a:lnTo>
                    <a:lnTo>
                      <a:pt x="388" y="184"/>
                    </a:lnTo>
                    <a:lnTo>
                      <a:pt x="390" y="199"/>
                    </a:lnTo>
                    <a:lnTo>
                      <a:pt x="392" y="216"/>
                    </a:lnTo>
                    <a:lnTo>
                      <a:pt x="392" y="216"/>
                    </a:lnTo>
                    <a:lnTo>
                      <a:pt x="390" y="232"/>
                    </a:lnTo>
                    <a:lnTo>
                      <a:pt x="388" y="247"/>
                    </a:lnTo>
                    <a:lnTo>
                      <a:pt x="385" y="263"/>
                    </a:lnTo>
                    <a:lnTo>
                      <a:pt x="379" y="278"/>
                    </a:lnTo>
                    <a:lnTo>
                      <a:pt x="371" y="291"/>
                    </a:lnTo>
                    <a:lnTo>
                      <a:pt x="365" y="305"/>
                    </a:lnTo>
                    <a:lnTo>
                      <a:pt x="355" y="317"/>
                    </a:lnTo>
                    <a:lnTo>
                      <a:pt x="345" y="327"/>
                    </a:lnTo>
                    <a:lnTo>
                      <a:pt x="334" y="338"/>
                    </a:lnTo>
                    <a:lnTo>
                      <a:pt x="321" y="347"/>
                    </a:lnTo>
                    <a:lnTo>
                      <a:pt x="309" y="355"/>
                    </a:lnTo>
                    <a:lnTo>
                      <a:pt x="294" y="362"/>
                    </a:lnTo>
                    <a:lnTo>
                      <a:pt x="279" y="367"/>
                    </a:lnTo>
                    <a:lnTo>
                      <a:pt x="265" y="371"/>
                    </a:lnTo>
                    <a:lnTo>
                      <a:pt x="249" y="374"/>
                    </a:lnTo>
                    <a:lnTo>
                      <a:pt x="232" y="374"/>
                    </a:lnTo>
                    <a:lnTo>
                      <a:pt x="232" y="374"/>
                    </a:lnTo>
                    <a:close/>
                  </a:path>
                </a:pathLst>
              </a:cu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3" name="Freeform 106"/>
              <p:cNvSpPr>
                <a:spLocks/>
              </p:cNvSpPr>
              <p:nvPr/>
            </p:nvSpPr>
            <p:spPr bwMode="auto">
              <a:xfrm>
                <a:off x="9206736" y="4198746"/>
                <a:ext cx="101381" cy="101381"/>
              </a:xfrm>
              <a:custGeom>
                <a:avLst/>
                <a:gdLst>
                  <a:gd name="T0" fmla="*/ 254 w 254"/>
                  <a:gd name="T1" fmla="*/ 127 h 254"/>
                  <a:gd name="T2" fmla="*/ 252 w 254"/>
                  <a:gd name="T3" fmla="*/ 101 h 254"/>
                  <a:gd name="T4" fmla="*/ 245 w 254"/>
                  <a:gd name="T5" fmla="*/ 77 h 254"/>
                  <a:gd name="T6" fmla="*/ 233 w 254"/>
                  <a:gd name="T7" fmla="*/ 56 h 254"/>
                  <a:gd name="T8" fmla="*/ 217 w 254"/>
                  <a:gd name="T9" fmla="*/ 37 h 254"/>
                  <a:gd name="T10" fmla="*/ 198 w 254"/>
                  <a:gd name="T11" fmla="*/ 21 h 254"/>
                  <a:gd name="T12" fmla="*/ 177 w 254"/>
                  <a:gd name="T13" fmla="*/ 9 h 254"/>
                  <a:gd name="T14" fmla="*/ 153 w 254"/>
                  <a:gd name="T15" fmla="*/ 2 h 254"/>
                  <a:gd name="T16" fmla="*/ 127 w 254"/>
                  <a:gd name="T17" fmla="*/ 0 h 254"/>
                  <a:gd name="T18" fmla="*/ 114 w 254"/>
                  <a:gd name="T19" fmla="*/ 0 h 254"/>
                  <a:gd name="T20" fmla="*/ 90 w 254"/>
                  <a:gd name="T21" fmla="*/ 5 h 254"/>
                  <a:gd name="T22" fmla="*/ 67 w 254"/>
                  <a:gd name="T23" fmla="*/ 14 h 254"/>
                  <a:gd name="T24" fmla="*/ 47 w 254"/>
                  <a:gd name="T25" fmla="*/ 29 h 254"/>
                  <a:gd name="T26" fmla="*/ 30 w 254"/>
                  <a:gd name="T27" fmla="*/ 46 h 254"/>
                  <a:gd name="T28" fmla="*/ 17 w 254"/>
                  <a:gd name="T29" fmla="*/ 66 h 254"/>
                  <a:gd name="T30" fmla="*/ 6 w 254"/>
                  <a:gd name="T31" fmla="*/ 89 h 254"/>
                  <a:gd name="T32" fmla="*/ 2 w 254"/>
                  <a:gd name="T33" fmla="*/ 113 h 254"/>
                  <a:gd name="T34" fmla="*/ 0 w 254"/>
                  <a:gd name="T35" fmla="*/ 127 h 254"/>
                  <a:gd name="T36" fmla="*/ 3 w 254"/>
                  <a:gd name="T37" fmla="*/ 152 h 254"/>
                  <a:gd name="T38" fmla="*/ 11 w 254"/>
                  <a:gd name="T39" fmla="*/ 176 h 254"/>
                  <a:gd name="T40" fmla="*/ 22 w 254"/>
                  <a:gd name="T41" fmla="*/ 197 h 254"/>
                  <a:gd name="T42" fmla="*/ 38 w 254"/>
                  <a:gd name="T43" fmla="*/ 216 h 254"/>
                  <a:gd name="T44" fmla="*/ 57 w 254"/>
                  <a:gd name="T45" fmla="*/ 232 h 254"/>
                  <a:gd name="T46" fmla="*/ 78 w 254"/>
                  <a:gd name="T47" fmla="*/ 243 h 254"/>
                  <a:gd name="T48" fmla="*/ 102 w 254"/>
                  <a:gd name="T49" fmla="*/ 251 h 254"/>
                  <a:gd name="T50" fmla="*/ 127 w 254"/>
                  <a:gd name="T51" fmla="*/ 254 h 254"/>
                  <a:gd name="T52" fmla="*/ 141 w 254"/>
                  <a:gd name="T53" fmla="*/ 252 h 254"/>
                  <a:gd name="T54" fmla="*/ 165 w 254"/>
                  <a:gd name="T55" fmla="*/ 248 h 254"/>
                  <a:gd name="T56" fmla="*/ 188 w 254"/>
                  <a:gd name="T57" fmla="*/ 237 h 254"/>
                  <a:gd name="T58" fmla="*/ 209 w 254"/>
                  <a:gd name="T59" fmla="*/ 224 h 254"/>
                  <a:gd name="T60" fmla="*/ 225 w 254"/>
                  <a:gd name="T61" fmla="*/ 207 h 254"/>
                  <a:gd name="T62" fmla="*/ 240 w 254"/>
                  <a:gd name="T63" fmla="*/ 187 h 254"/>
                  <a:gd name="T64" fmla="*/ 249 w 254"/>
                  <a:gd name="T65" fmla="*/ 164 h 254"/>
                  <a:gd name="T66" fmla="*/ 254 w 254"/>
                  <a:gd name="T67" fmla="*/ 140 h 254"/>
                  <a:gd name="T68" fmla="*/ 254 w 254"/>
                  <a:gd name="T69" fmla="*/ 12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4" h="254">
                    <a:moveTo>
                      <a:pt x="254" y="127"/>
                    </a:moveTo>
                    <a:lnTo>
                      <a:pt x="254" y="127"/>
                    </a:lnTo>
                    <a:lnTo>
                      <a:pt x="254" y="113"/>
                    </a:lnTo>
                    <a:lnTo>
                      <a:pt x="252" y="101"/>
                    </a:lnTo>
                    <a:lnTo>
                      <a:pt x="249" y="89"/>
                    </a:lnTo>
                    <a:lnTo>
                      <a:pt x="245" y="77"/>
                    </a:lnTo>
                    <a:lnTo>
                      <a:pt x="240" y="66"/>
                    </a:lnTo>
                    <a:lnTo>
                      <a:pt x="233" y="56"/>
                    </a:lnTo>
                    <a:lnTo>
                      <a:pt x="225" y="46"/>
                    </a:lnTo>
                    <a:lnTo>
                      <a:pt x="217" y="37"/>
                    </a:lnTo>
                    <a:lnTo>
                      <a:pt x="209" y="29"/>
                    </a:lnTo>
                    <a:lnTo>
                      <a:pt x="198" y="21"/>
                    </a:lnTo>
                    <a:lnTo>
                      <a:pt x="188" y="14"/>
                    </a:lnTo>
                    <a:lnTo>
                      <a:pt x="177" y="9"/>
                    </a:lnTo>
                    <a:lnTo>
                      <a:pt x="165" y="5"/>
                    </a:lnTo>
                    <a:lnTo>
                      <a:pt x="153" y="2"/>
                    </a:lnTo>
                    <a:lnTo>
                      <a:pt x="141" y="0"/>
                    </a:lnTo>
                    <a:lnTo>
                      <a:pt x="127" y="0"/>
                    </a:lnTo>
                    <a:lnTo>
                      <a:pt x="127" y="0"/>
                    </a:lnTo>
                    <a:lnTo>
                      <a:pt x="114" y="0"/>
                    </a:lnTo>
                    <a:lnTo>
                      <a:pt x="102" y="2"/>
                    </a:lnTo>
                    <a:lnTo>
                      <a:pt x="90" y="5"/>
                    </a:lnTo>
                    <a:lnTo>
                      <a:pt x="78" y="9"/>
                    </a:lnTo>
                    <a:lnTo>
                      <a:pt x="67" y="14"/>
                    </a:lnTo>
                    <a:lnTo>
                      <a:pt x="57" y="21"/>
                    </a:lnTo>
                    <a:lnTo>
                      <a:pt x="47" y="29"/>
                    </a:lnTo>
                    <a:lnTo>
                      <a:pt x="38" y="37"/>
                    </a:lnTo>
                    <a:lnTo>
                      <a:pt x="30" y="46"/>
                    </a:lnTo>
                    <a:lnTo>
                      <a:pt x="22" y="56"/>
                    </a:lnTo>
                    <a:lnTo>
                      <a:pt x="17" y="66"/>
                    </a:lnTo>
                    <a:lnTo>
                      <a:pt x="11" y="77"/>
                    </a:lnTo>
                    <a:lnTo>
                      <a:pt x="6" y="89"/>
                    </a:lnTo>
                    <a:lnTo>
                      <a:pt x="3" y="101"/>
                    </a:lnTo>
                    <a:lnTo>
                      <a:pt x="2" y="113"/>
                    </a:lnTo>
                    <a:lnTo>
                      <a:pt x="0" y="127"/>
                    </a:lnTo>
                    <a:lnTo>
                      <a:pt x="0" y="127"/>
                    </a:lnTo>
                    <a:lnTo>
                      <a:pt x="2" y="140"/>
                    </a:lnTo>
                    <a:lnTo>
                      <a:pt x="3" y="152"/>
                    </a:lnTo>
                    <a:lnTo>
                      <a:pt x="6" y="164"/>
                    </a:lnTo>
                    <a:lnTo>
                      <a:pt x="11" y="176"/>
                    </a:lnTo>
                    <a:lnTo>
                      <a:pt x="17" y="187"/>
                    </a:lnTo>
                    <a:lnTo>
                      <a:pt x="22" y="197"/>
                    </a:lnTo>
                    <a:lnTo>
                      <a:pt x="30" y="207"/>
                    </a:lnTo>
                    <a:lnTo>
                      <a:pt x="38" y="216"/>
                    </a:lnTo>
                    <a:lnTo>
                      <a:pt x="47" y="224"/>
                    </a:lnTo>
                    <a:lnTo>
                      <a:pt x="57" y="232"/>
                    </a:lnTo>
                    <a:lnTo>
                      <a:pt x="67" y="237"/>
                    </a:lnTo>
                    <a:lnTo>
                      <a:pt x="78" y="243"/>
                    </a:lnTo>
                    <a:lnTo>
                      <a:pt x="90" y="248"/>
                    </a:lnTo>
                    <a:lnTo>
                      <a:pt x="102" y="251"/>
                    </a:lnTo>
                    <a:lnTo>
                      <a:pt x="114" y="252"/>
                    </a:lnTo>
                    <a:lnTo>
                      <a:pt x="127" y="254"/>
                    </a:lnTo>
                    <a:lnTo>
                      <a:pt x="127" y="254"/>
                    </a:lnTo>
                    <a:lnTo>
                      <a:pt x="141" y="252"/>
                    </a:lnTo>
                    <a:lnTo>
                      <a:pt x="153" y="251"/>
                    </a:lnTo>
                    <a:lnTo>
                      <a:pt x="165" y="248"/>
                    </a:lnTo>
                    <a:lnTo>
                      <a:pt x="177" y="243"/>
                    </a:lnTo>
                    <a:lnTo>
                      <a:pt x="188" y="237"/>
                    </a:lnTo>
                    <a:lnTo>
                      <a:pt x="198" y="232"/>
                    </a:lnTo>
                    <a:lnTo>
                      <a:pt x="209" y="224"/>
                    </a:lnTo>
                    <a:lnTo>
                      <a:pt x="217" y="216"/>
                    </a:lnTo>
                    <a:lnTo>
                      <a:pt x="225" y="207"/>
                    </a:lnTo>
                    <a:lnTo>
                      <a:pt x="233" y="197"/>
                    </a:lnTo>
                    <a:lnTo>
                      <a:pt x="240" y="187"/>
                    </a:lnTo>
                    <a:lnTo>
                      <a:pt x="245" y="176"/>
                    </a:lnTo>
                    <a:lnTo>
                      <a:pt x="249" y="164"/>
                    </a:lnTo>
                    <a:lnTo>
                      <a:pt x="252" y="152"/>
                    </a:lnTo>
                    <a:lnTo>
                      <a:pt x="254" y="140"/>
                    </a:lnTo>
                    <a:lnTo>
                      <a:pt x="254" y="127"/>
                    </a:lnTo>
                    <a:lnTo>
                      <a:pt x="254" y="127"/>
                    </a:lnTo>
                    <a:close/>
                  </a:path>
                </a:pathLst>
              </a:cu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4" name="Freeform 107"/>
              <p:cNvSpPr>
                <a:spLocks/>
              </p:cNvSpPr>
              <p:nvPr/>
            </p:nvSpPr>
            <p:spPr bwMode="auto">
              <a:xfrm>
                <a:off x="9062418" y="3926807"/>
                <a:ext cx="102573" cy="103766"/>
              </a:xfrm>
              <a:custGeom>
                <a:avLst/>
                <a:gdLst>
                  <a:gd name="T0" fmla="*/ 0 w 257"/>
                  <a:gd name="T1" fmla="*/ 16 h 262"/>
                  <a:gd name="T2" fmla="*/ 0 w 257"/>
                  <a:gd name="T3" fmla="*/ 16 h 262"/>
                  <a:gd name="T4" fmla="*/ 0 w 257"/>
                  <a:gd name="T5" fmla="*/ 28 h 262"/>
                  <a:gd name="T6" fmla="*/ 2 w 257"/>
                  <a:gd name="T7" fmla="*/ 40 h 262"/>
                  <a:gd name="T8" fmla="*/ 6 w 257"/>
                  <a:gd name="T9" fmla="*/ 52 h 262"/>
                  <a:gd name="T10" fmla="*/ 10 w 257"/>
                  <a:gd name="T11" fmla="*/ 61 h 262"/>
                  <a:gd name="T12" fmla="*/ 15 w 257"/>
                  <a:gd name="T13" fmla="*/ 71 h 262"/>
                  <a:gd name="T14" fmla="*/ 20 w 257"/>
                  <a:gd name="T15" fmla="*/ 80 h 262"/>
                  <a:gd name="T16" fmla="*/ 27 w 257"/>
                  <a:gd name="T17" fmla="*/ 88 h 262"/>
                  <a:gd name="T18" fmla="*/ 35 w 257"/>
                  <a:gd name="T19" fmla="*/ 96 h 262"/>
                  <a:gd name="T20" fmla="*/ 44 w 257"/>
                  <a:gd name="T21" fmla="*/ 104 h 262"/>
                  <a:gd name="T22" fmla="*/ 54 w 257"/>
                  <a:gd name="T23" fmla="*/ 111 h 262"/>
                  <a:gd name="T24" fmla="*/ 75 w 257"/>
                  <a:gd name="T25" fmla="*/ 123 h 262"/>
                  <a:gd name="T26" fmla="*/ 101 w 257"/>
                  <a:gd name="T27" fmla="*/ 134 h 262"/>
                  <a:gd name="T28" fmla="*/ 126 w 257"/>
                  <a:gd name="T29" fmla="*/ 143 h 262"/>
                  <a:gd name="T30" fmla="*/ 126 w 257"/>
                  <a:gd name="T31" fmla="*/ 143 h 262"/>
                  <a:gd name="T32" fmla="*/ 149 w 257"/>
                  <a:gd name="T33" fmla="*/ 151 h 262"/>
                  <a:gd name="T34" fmla="*/ 169 w 257"/>
                  <a:gd name="T35" fmla="*/ 160 h 262"/>
                  <a:gd name="T36" fmla="*/ 186 w 257"/>
                  <a:gd name="T37" fmla="*/ 172 h 262"/>
                  <a:gd name="T38" fmla="*/ 193 w 257"/>
                  <a:gd name="T39" fmla="*/ 179 h 262"/>
                  <a:gd name="T40" fmla="*/ 199 w 257"/>
                  <a:gd name="T41" fmla="*/ 186 h 262"/>
                  <a:gd name="T42" fmla="*/ 205 w 257"/>
                  <a:gd name="T43" fmla="*/ 192 h 262"/>
                  <a:gd name="T44" fmla="*/ 210 w 257"/>
                  <a:gd name="T45" fmla="*/ 200 h 262"/>
                  <a:gd name="T46" fmla="*/ 214 w 257"/>
                  <a:gd name="T47" fmla="*/ 210 h 262"/>
                  <a:gd name="T48" fmla="*/ 218 w 257"/>
                  <a:gd name="T49" fmla="*/ 219 h 262"/>
                  <a:gd name="T50" fmla="*/ 221 w 257"/>
                  <a:gd name="T51" fmla="*/ 229 h 262"/>
                  <a:gd name="T52" fmla="*/ 223 w 257"/>
                  <a:gd name="T53" fmla="*/ 239 h 262"/>
                  <a:gd name="T54" fmla="*/ 226 w 257"/>
                  <a:gd name="T55" fmla="*/ 262 h 262"/>
                  <a:gd name="T56" fmla="*/ 257 w 257"/>
                  <a:gd name="T57" fmla="*/ 262 h 262"/>
                  <a:gd name="T58" fmla="*/ 257 w 257"/>
                  <a:gd name="T59" fmla="*/ 0 h 262"/>
                  <a:gd name="T60" fmla="*/ 0 w 257"/>
                  <a:gd name="T61" fmla="*/ 0 h 262"/>
                  <a:gd name="T62" fmla="*/ 0 w 257"/>
                  <a:gd name="T63" fmla="*/ 0 h 262"/>
                  <a:gd name="T64" fmla="*/ 0 w 257"/>
                  <a:gd name="T65" fmla="*/ 16 h 262"/>
                  <a:gd name="T66" fmla="*/ 0 w 257"/>
                  <a:gd name="T67" fmla="*/ 16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62">
                    <a:moveTo>
                      <a:pt x="0" y="16"/>
                    </a:moveTo>
                    <a:lnTo>
                      <a:pt x="0" y="16"/>
                    </a:lnTo>
                    <a:lnTo>
                      <a:pt x="0" y="28"/>
                    </a:lnTo>
                    <a:lnTo>
                      <a:pt x="2" y="40"/>
                    </a:lnTo>
                    <a:lnTo>
                      <a:pt x="6" y="52"/>
                    </a:lnTo>
                    <a:lnTo>
                      <a:pt x="10" y="61"/>
                    </a:lnTo>
                    <a:lnTo>
                      <a:pt x="15" y="71"/>
                    </a:lnTo>
                    <a:lnTo>
                      <a:pt x="20" y="80"/>
                    </a:lnTo>
                    <a:lnTo>
                      <a:pt x="27" y="88"/>
                    </a:lnTo>
                    <a:lnTo>
                      <a:pt x="35" y="96"/>
                    </a:lnTo>
                    <a:lnTo>
                      <a:pt x="44" y="104"/>
                    </a:lnTo>
                    <a:lnTo>
                      <a:pt x="54" y="111"/>
                    </a:lnTo>
                    <a:lnTo>
                      <a:pt x="75" y="123"/>
                    </a:lnTo>
                    <a:lnTo>
                      <a:pt x="101" y="134"/>
                    </a:lnTo>
                    <a:lnTo>
                      <a:pt x="126" y="143"/>
                    </a:lnTo>
                    <a:lnTo>
                      <a:pt x="126" y="143"/>
                    </a:lnTo>
                    <a:lnTo>
                      <a:pt x="149" y="151"/>
                    </a:lnTo>
                    <a:lnTo>
                      <a:pt x="169" y="160"/>
                    </a:lnTo>
                    <a:lnTo>
                      <a:pt x="186" y="172"/>
                    </a:lnTo>
                    <a:lnTo>
                      <a:pt x="193" y="179"/>
                    </a:lnTo>
                    <a:lnTo>
                      <a:pt x="199" y="186"/>
                    </a:lnTo>
                    <a:lnTo>
                      <a:pt x="205" y="192"/>
                    </a:lnTo>
                    <a:lnTo>
                      <a:pt x="210" y="200"/>
                    </a:lnTo>
                    <a:lnTo>
                      <a:pt x="214" y="210"/>
                    </a:lnTo>
                    <a:lnTo>
                      <a:pt x="218" y="219"/>
                    </a:lnTo>
                    <a:lnTo>
                      <a:pt x="221" y="229"/>
                    </a:lnTo>
                    <a:lnTo>
                      <a:pt x="223" y="239"/>
                    </a:lnTo>
                    <a:lnTo>
                      <a:pt x="226" y="262"/>
                    </a:lnTo>
                    <a:lnTo>
                      <a:pt x="257" y="262"/>
                    </a:lnTo>
                    <a:lnTo>
                      <a:pt x="257" y="0"/>
                    </a:lnTo>
                    <a:lnTo>
                      <a:pt x="0" y="0"/>
                    </a:lnTo>
                    <a:lnTo>
                      <a:pt x="0" y="0"/>
                    </a:lnTo>
                    <a:lnTo>
                      <a:pt x="0" y="16"/>
                    </a:lnTo>
                    <a:lnTo>
                      <a:pt x="0" y="16"/>
                    </a:lnTo>
                    <a:close/>
                  </a:path>
                </a:pathLst>
              </a:custGeom>
              <a:solidFill>
                <a:schemeClr val="bg2">
                  <a:lumMod val="9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5" name="Freeform 108"/>
              <p:cNvSpPr>
                <a:spLocks/>
              </p:cNvSpPr>
              <p:nvPr/>
            </p:nvSpPr>
            <p:spPr bwMode="auto">
              <a:xfrm>
                <a:off x="9062418" y="4056813"/>
                <a:ext cx="102573" cy="103766"/>
              </a:xfrm>
              <a:custGeom>
                <a:avLst/>
                <a:gdLst>
                  <a:gd name="T0" fmla="*/ 0 w 257"/>
                  <a:gd name="T1" fmla="*/ 15 h 261"/>
                  <a:gd name="T2" fmla="*/ 0 w 257"/>
                  <a:gd name="T3" fmla="*/ 15 h 261"/>
                  <a:gd name="T4" fmla="*/ 0 w 257"/>
                  <a:gd name="T5" fmla="*/ 28 h 261"/>
                  <a:gd name="T6" fmla="*/ 2 w 257"/>
                  <a:gd name="T7" fmla="*/ 41 h 261"/>
                  <a:gd name="T8" fmla="*/ 6 w 257"/>
                  <a:gd name="T9" fmla="*/ 51 h 261"/>
                  <a:gd name="T10" fmla="*/ 10 w 257"/>
                  <a:gd name="T11" fmla="*/ 62 h 261"/>
                  <a:gd name="T12" fmla="*/ 15 w 257"/>
                  <a:gd name="T13" fmla="*/ 71 h 261"/>
                  <a:gd name="T14" fmla="*/ 20 w 257"/>
                  <a:gd name="T15" fmla="*/ 81 h 261"/>
                  <a:gd name="T16" fmla="*/ 27 w 257"/>
                  <a:gd name="T17" fmla="*/ 89 h 261"/>
                  <a:gd name="T18" fmla="*/ 35 w 257"/>
                  <a:gd name="T19" fmla="*/ 97 h 261"/>
                  <a:gd name="T20" fmla="*/ 44 w 257"/>
                  <a:gd name="T21" fmla="*/ 103 h 261"/>
                  <a:gd name="T22" fmla="*/ 54 w 257"/>
                  <a:gd name="T23" fmla="*/ 110 h 261"/>
                  <a:gd name="T24" fmla="*/ 75 w 257"/>
                  <a:gd name="T25" fmla="*/ 122 h 261"/>
                  <a:gd name="T26" fmla="*/ 101 w 257"/>
                  <a:gd name="T27" fmla="*/ 133 h 261"/>
                  <a:gd name="T28" fmla="*/ 126 w 257"/>
                  <a:gd name="T29" fmla="*/ 142 h 261"/>
                  <a:gd name="T30" fmla="*/ 126 w 257"/>
                  <a:gd name="T31" fmla="*/ 142 h 261"/>
                  <a:gd name="T32" fmla="*/ 149 w 257"/>
                  <a:gd name="T33" fmla="*/ 150 h 261"/>
                  <a:gd name="T34" fmla="*/ 169 w 257"/>
                  <a:gd name="T35" fmla="*/ 161 h 261"/>
                  <a:gd name="T36" fmla="*/ 186 w 257"/>
                  <a:gd name="T37" fmla="*/ 171 h 261"/>
                  <a:gd name="T38" fmla="*/ 193 w 257"/>
                  <a:gd name="T39" fmla="*/ 178 h 261"/>
                  <a:gd name="T40" fmla="*/ 199 w 257"/>
                  <a:gd name="T41" fmla="*/ 185 h 261"/>
                  <a:gd name="T42" fmla="*/ 205 w 257"/>
                  <a:gd name="T43" fmla="*/ 193 h 261"/>
                  <a:gd name="T44" fmla="*/ 210 w 257"/>
                  <a:gd name="T45" fmla="*/ 201 h 261"/>
                  <a:gd name="T46" fmla="*/ 214 w 257"/>
                  <a:gd name="T47" fmla="*/ 209 h 261"/>
                  <a:gd name="T48" fmla="*/ 218 w 257"/>
                  <a:gd name="T49" fmla="*/ 218 h 261"/>
                  <a:gd name="T50" fmla="*/ 221 w 257"/>
                  <a:gd name="T51" fmla="*/ 228 h 261"/>
                  <a:gd name="T52" fmla="*/ 223 w 257"/>
                  <a:gd name="T53" fmla="*/ 238 h 261"/>
                  <a:gd name="T54" fmla="*/ 226 w 257"/>
                  <a:gd name="T55" fmla="*/ 261 h 261"/>
                  <a:gd name="T56" fmla="*/ 257 w 257"/>
                  <a:gd name="T57" fmla="*/ 261 h 261"/>
                  <a:gd name="T58" fmla="*/ 257 w 257"/>
                  <a:gd name="T59" fmla="*/ 0 h 261"/>
                  <a:gd name="T60" fmla="*/ 0 w 257"/>
                  <a:gd name="T61" fmla="*/ 0 h 261"/>
                  <a:gd name="T62" fmla="*/ 0 w 257"/>
                  <a:gd name="T63" fmla="*/ 0 h 261"/>
                  <a:gd name="T64" fmla="*/ 0 w 257"/>
                  <a:gd name="T65" fmla="*/ 15 h 261"/>
                  <a:gd name="T66" fmla="*/ 0 w 257"/>
                  <a:gd name="T67" fmla="*/ 15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61">
                    <a:moveTo>
                      <a:pt x="0" y="15"/>
                    </a:moveTo>
                    <a:lnTo>
                      <a:pt x="0" y="15"/>
                    </a:lnTo>
                    <a:lnTo>
                      <a:pt x="0" y="28"/>
                    </a:lnTo>
                    <a:lnTo>
                      <a:pt x="2" y="41"/>
                    </a:lnTo>
                    <a:lnTo>
                      <a:pt x="6" y="51"/>
                    </a:lnTo>
                    <a:lnTo>
                      <a:pt x="10" y="62"/>
                    </a:lnTo>
                    <a:lnTo>
                      <a:pt x="15" y="71"/>
                    </a:lnTo>
                    <a:lnTo>
                      <a:pt x="20" y="81"/>
                    </a:lnTo>
                    <a:lnTo>
                      <a:pt x="27" y="89"/>
                    </a:lnTo>
                    <a:lnTo>
                      <a:pt x="35" y="97"/>
                    </a:lnTo>
                    <a:lnTo>
                      <a:pt x="44" y="103"/>
                    </a:lnTo>
                    <a:lnTo>
                      <a:pt x="54" y="110"/>
                    </a:lnTo>
                    <a:lnTo>
                      <a:pt x="75" y="122"/>
                    </a:lnTo>
                    <a:lnTo>
                      <a:pt x="101" y="133"/>
                    </a:lnTo>
                    <a:lnTo>
                      <a:pt x="126" y="142"/>
                    </a:lnTo>
                    <a:lnTo>
                      <a:pt x="126" y="142"/>
                    </a:lnTo>
                    <a:lnTo>
                      <a:pt x="149" y="150"/>
                    </a:lnTo>
                    <a:lnTo>
                      <a:pt x="169" y="161"/>
                    </a:lnTo>
                    <a:lnTo>
                      <a:pt x="186" y="171"/>
                    </a:lnTo>
                    <a:lnTo>
                      <a:pt x="193" y="178"/>
                    </a:lnTo>
                    <a:lnTo>
                      <a:pt x="199" y="185"/>
                    </a:lnTo>
                    <a:lnTo>
                      <a:pt x="205" y="193"/>
                    </a:lnTo>
                    <a:lnTo>
                      <a:pt x="210" y="201"/>
                    </a:lnTo>
                    <a:lnTo>
                      <a:pt x="214" y="209"/>
                    </a:lnTo>
                    <a:lnTo>
                      <a:pt x="218" y="218"/>
                    </a:lnTo>
                    <a:lnTo>
                      <a:pt x="221" y="228"/>
                    </a:lnTo>
                    <a:lnTo>
                      <a:pt x="223" y="238"/>
                    </a:lnTo>
                    <a:lnTo>
                      <a:pt x="226" y="261"/>
                    </a:lnTo>
                    <a:lnTo>
                      <a:pt x="257" y="261"/>
                    </a:lnTo>
                    <a:lnTo>
                      <a:pt x="257" y="0"/>
                    </a:lnTo>
                    <a:lnTo>
                      <a:pt x="0" y="0"/>
                    </a:lnTo>
                    <a:lnTo>
                      <a:pt x="0" y="0"/>
                    </a:lnTo>
                    <a:lnTo>
                      <a:pt x="0" y="15"/>
                    </a:lnTo>
                    <a:lnTo>
                      <a:pt x="0" y="15"/>
                    </a:lnTo>
                    <a:close/>
                  </a:path>
                </a:pathLst>
              </a:custGeom>
              <a:solidFill>
                <a:schemeClr val="bg2">
                  <a:lumMod val="9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6" name="Freeform 109"/>
              <p:cNvSpPr>
                <a:spLocks/>
              </p:cNvSpPr>
              <p:nvPr/>
            </p:nvSpPr>
            <p:spPr bwMode="auto">
              <a:xfrm>
                <a:off x="9062418" y="4186819"/>
                <a:ext cx="102573" cy="103766"/>
              </a:xfrm>
              <a:custGeom>
                <a:avLst/>
                <a:gdLst>
                  <a:gd name="T0" fmla="*/ 0 w 257"/>
                  <a:gd name="T1" fmla="*/ 16 h 261"/>
                  <a:gd name="T2" fmla="*/ 0 w 257"/>
                  <a:gd name="T3" fmla="*/ 16 h 261"/>
                  <a:gd name="T4" fmla="*/ 0 w 257"/>
                  <a:gd name="T5" fmla="*/ 28 h 261"/>
                  <a:gd name="T6" fmla="*/ 2 w 257"/>
                  <a:gd name="T7" fmla="*/ 40 h 261"/>
                  <a:gd name="T8" fmla="*/ 6 w 257"/>
                  <a:gd name="T9" fmla="*/ 50 h 261"/>
                  <a:gd name="T10" fmla="*/ 10 w 257"/>
                  <a:gd name="T11" fmla="*/ 61 h 261"/>
                  <a:gd name="T12" fmla="*/ 15 w 257"/>
                  <a:gd name="T13" fmla="*/ 70 h 261"/>
                  <a:gd name="T14" fmla="*/ 20 w 257"/>
                  <a:gd name="T15" fmla="*/ 80 h 261"/>
                  <a:gd name="T16" fmla="*/ 27 w 257"/>
                  <a:gd name="T17" fmla="*/ 88 h 261"/>
                  <a:gd name="T18" fmla="*/ 35 w 257"/>
                  <a:gd name="T19" fmla="*/ 96 h 261"/>
                  <a:gd name="T20" fmla="*/ 44 w 257"/>
                  <a:gd name="T21" fmla="*/ 102 h 261"/>
                  <a:gd name="T22" fmla="*/ 54 w 257"/>
                  <a:gd name="T23" fmla="*/ 109 h 261"/>
                  <a:gd name="T24" fmla="*/ 75 w 257"/>
                  <a:gd name="T25" fmla="*/ 121 h 261"/>
                  <a:gd name="T26" fmla="*/ 101 w 257"/>
                  <a:gd name="T27" fmla="*/ 132 h 261"/>
                  <a:gd name="T28" fmla="*/ 126 w 257"/>
                  <a:gd name="T29" fmla="*/ 141 h 261"/>
                  <a:gd name="T30" fmla="*/ 126 w 257"/>
                  <a:gd name="T31" fmla="*/ 141 h 261"/>
                  <a:gd name="T32" fmla="*/ 149 w 257"/>
                  <a:gd name="T33" fmla="*/ 151 h 261"/>
                  <a:gd name="T34" fmla="*/ 169 w 257"/>
                  <a:gd name="T35" fmla="*/ 160 h 261"/>
                  <a:gd name="T36" fmla="*/ 186 w 257"/>
                  <a:gd name="T37" fmla="*/ 172 h 261"/>
                  <a:gd name="T38" fmla="*/ 193 w 257"/>
                  <a:gd name="T39" fmla="*/ 177 h 261"/>
                  <a:gd name="T40" fmla="*/ 199 w 257"/>
                  <a:gd name="T41" fmla="*/ 185 h 261"/>
                  <a:gd name="T42" fmla="*/ 205 w 257"/>
                  <a:gd name="T43" fmla="*/ 192 h 261"/>
                  <a:gd name="T44" fmla="*/ 210 w 257"/>
                  <a:gd name="T45" fmla="*/ 200 h 261"/>
                  <a:gd name="T46" fmla="*/ 214 w 257"/>
                  <a:gd name="T47" fmla="*/ 208 h 261"/>
                  <a:gd name="T48" fmla="*/ 218 w 257"/>
                  <a:gd name="T49" fmla="*/ 217 h 261"/>
                  <a:gd name="T50" fmla="*/ 221 w 257"/>
                  <a:gd name="T51" fmla="*/ 228 h 261"/>
                  <a:gd name="T52" fmla="*/ 223 w 257"/>
                  <a:gd name="T53" fmla="*/ 237 h 261"/>
                  <a:gd name="T54" fmla="*/ 226 w 257"/>
                  <a:gd name="T55" fmla="*/ 261 h 261"/>
                  <a:gd name="T56" fmla="*/ 257 w 257"/>
                  <a:gd name="T57" fmla="*/ 261 h 261"/>
                  <a:gd name="T58" fmla="*/ 257 w 257"/>
                  <a:gd name="T59" fmla="*/ 0 h 261"/>
                  <a:gd name="T60" fmla="*/ 0 w 257"/>
                  <a:gd name="T61" fmla="*/ 0 h 261"/>
                  <a:gd name="T62" fmla="*/ 0 w 257"/>
                  <a:gd name="T63" fmla="*/ 0 h 261"/>
                  <a:gd name="T64" fmla="*/ 0 w 257"/>
                  <a:gd name="T65" fmla="*/ 16 h 261"/>
                  <a:gd name="T66" fmla="*/ 0 w 257"/>
                  <a:gd name="T67" fmla="*/ 1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61">
                    <a:moveTo>
                      <a:pt x="0" y="16"/>
                    </a:moveTo>
                    <a:lnTo>
                      <a:pt x="0" y="16"/>
                    </a:lnTo>
                    <a:lnTo>
                      <a:pt x="0" y="28"/>
                    </a:lnTo>
                    <a:lnTo>
                      <a:pt x="2" y="40"/>
                    </a:lnTo>
                    <a:lnTo>
                      <a:pt x="6" y="50"/>
                    </a:lnTo>
                    <a:lnTo>
                      <a:pt x="10" y="61"/>
                    </a:lnTo>
                    <a:lnTo>
                      <a:pt x="15" y="70"/>
                    </a:lnTo>
                    <a:lnTo>
                      <a:pt x="20" y="80"/>
                    </a:lnTo>
                    <a:lnTo>
                      <a:pt x="27" y="88"/>
                    </a:lnTo>
                    <a:lnTo>
                      <a:pt x="35" y="96"/>
                    </a:lnTo>
                    <a:lnTo>
                      <a:pt x="44" y="102"/>
                    </a:lnTo>
                    <a:lnTo>
                      <a:pt x="54" y="109"/>
                    </a:lnTo>
                    <a:lnTo>
                      <a:pt x="75" y="121"/>
                    </a:lnTo>
                    <a:lnTo>
                      <a:pt x="101" y="132"/>
                    </a:lnTo>
                    <a:lnTo>
                      <a:pt x="126" y="141"/>
                    </a:lnTo>
                    <a:lnTo>
                      <a:pt x="126" y="141"/>
                    </a:lnTo>
                    <a:lnTo>
                      <a:pt x="149" y="151"/>
                    </a:lnTo>
                    <a:lnTo>
                      <a:pt x="169" y="160"/>
                    </a:lnTo>
                    <a:lnTo>
                      <a:pt x="186" y="172"/>
                    </a:lnTo>
                    <a:lnTo>
                      <a:pt x="193" y="177"/>
                    </a:lnTo>
                    <a:lnTo>
                      <a:pt x="199" y="185"/>
                    </a:lnTo>
                    <a:lnTo>
                      <a:pt x="205" y="192"/>
                    </a:lnTo>
                    <a:lnTo>
                      <a:pt x="210" y="200"/>
                    </a:lnTo>
                    <a:lnTo>
                      <a:pt x="214" y="208"/>
                    </a:lnTo>
                    <a:lnTo>
                      <a:pt x="218" y="217"/>
                    </a:lnTo>
                    <a:lnTo>
                      <a:pt x="221" y="228"/>
                    </a:lnTo>
                    <a:lnTo>
                      <a:pt x="223" y="237"/>
                    </a:lnTo>
                    <a:lnTo>
                      <a:pt x="226" y="261"/>
                    </a:lnTo>
                    <a:lnTo>
                      <a:pt x="257" y="261"/>
                    </a:lnTo>
                    <a:lnTo>
                      <a:pt x="257" y="0"/>
                    </a:lnTo>
                    <a:lnTo>
                      <a:pt x="0" y="0"/>
                    </a:lnTo>
                    <a:lnTo>
                      <a:pt x="0" y="0"/>
                    </a:lnTo>
                    <a:lnTo>
                      <a:pt x="0" y="16"/>
                    </a:lnTo>
                    <a:lnTo>
                      <a:pt x="0" y="16"/>
                    </a:lnTo>
                    <a:close/>
                  </a:path>
                </a:pathLst>
              </a:custGeom>
              <a:solidFill>
                <a:schemeClr val="bg2">
                  <a:lumMod val="9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7" name="Freeform 110"/>
              <p:cNvSpPr>
                <a:spLocks/>
              </p:cNvSpPr>
              <p:nvPr/>
            </p:nvSpPr>
            <p:spPr bwMode="auto">
              <a:xfrm>
                <a:off x="9349863" y="3926807"/>
                <a:ext cx="102573" cy="103766"/>
              </a:xfrm>
              <a:custGeom>
                <a:avLst/>
                <a:gdLst>
                  <a:gd name="T0" fmla="*/ 258 w 258"/>
                  <a:gd name="T1" fmla="*/ 16 h 262"/>
                  <a:gd name="T2" fmla="*/ 258 w 258"/>
                  <a:gd name="T3" fmla="*/ 16 h 262"/>
                  <a:gd name="T4" fmla="*/ 257 w 258"/>
                  <a:gd name="T5" fmla="*/ 28 h 262"/>
                  <a:gd name="T6" fmla="*/ 255 w 258"/>
                  <a:gd name="T7" fmla="*/ 40 h 262"/>
                  <a:gd name="T8" fmla="*/ 251 w 258"/>
                  <a:gd name="T9" fmla="*/ 52 h 262"/>
                  <a:gd name="T10" fmla="*/ 247 w 258"/>
                  <a:gd name="T11" fmla="*/ 61 h 262"/>
                  <a:gd name="T12" fmla="*/ 243 w 258"/>
                  <a:gd name="T13" fmla="*/ 71 h 262"/>
                  <a:gd name="T14" fmla="*/ 237 w 258"/>
                  <a:gd name="T15" fmla="*/ 80 h 262"/>
                  <a:gd name="T16" fmla="*/ 230 w 258"/>
                  <a:gd name="T17" fmla="*/ 88 h 262"/>
                  <a:gd name="T18" fmla="*/ 222 w 258"/>
                  <a:gd name="T19" fmla="*/ 96 h 262"/>
                  <a:gd name="T20" fmla="*/ 213 w 258"/>
                  <a:gd name="T21" fmla="*/ 104 h 262"/>
                  <a:gd name="T22" fmla="*/ 203 w 258"/>
                  <a:gd name="T23" fmla="*/ 111 h 262"/>
                  <a:gd name="T24" fmla="*/ 182 w 258"/>
                  <a:gd name="T25" fmla="*/ 123 h 262"/>
                  <a:gd name="T26" fmla="*/ 158 w 258"/>
                  <a:gd name="T27" fmla="*/ 134 h 262"/>
                  <a:gd name="T28" fmla="*/ 131 w 258"/>
                  <a:gd name="T29" fmla="*/ 143 h 262"/>
                  <a:gd name="T30" fmla="*/ 131 w 258"/>
                  <a:gd name="T31" fmla="*/ 143 h 262"/>
                  <a:gd name="T32" fmla="*/ 108 w 258"/>
                  <a:gd name="T33" fmla="*/ 151 h 262"/>
                  <a:gd name="T34" fmla="*/ 88 w 258"/>
                  <a:gd name="T35" fmla="*/ 160 h 262"/>
                  <a:gd name="T36" fmla="*/ 72 w 258"/>
                  <a:gd name="T37" fmla="*/ 172 h 262"/>
                  <a:gd name="T38" fmla="*/ 64 w 258"/>
                  <a:gd name="T39" fmla="*/ 179 h 262"/>
                  <a:gd name="T40" fmla="*/ 58 w 258"/>
                  <a:gd name="T41" fmla="*/ 186 h 262"/>
                  <a:gd name="T42" fmla="*/ 52 w 258"/>
                  <a:gd name="T43" fmla="*/ 192 h 262"/>
                  <a:gd name="T44" fmla="*/ 47 w 258"/>
                  <a:gd name="T45" fmla="*/ 200 h 262"/>
                  <a:gd name="T46" fmla="*/ 43 w 258"/>
                  <a:gd name="T47" fmla="*/ 210 h 262"/>
                  <a:gd name="T48" fmla="*/ 39 w 258"/>
                  <a:gd name="T49" fmla="*/ 219 h 262"/>
                  <a:gd name="T50" fmla="*/ 36 w 258"/>
                  <a:gd name="T51" fmla="*/ 229 h 262"/>
                  <a:gd name="T52" fmla="*/ 33 w 258"/>
                  <a:gd name="T53" fmla="*/ 239 h 262"/>
                  <a:gd name="T54" fmla="*/ 32 w 258"/>
                  <a:gd name="T55" fmla="*/ 262 h 262"/>
                  <a:gd name="T56" fmla="*/ 0 w 258"/>
                  <a:gd name="T57" fmla="*/ 262 h 262"/>
                  <a:gd name="T58" fmla="*/ 0 w 258"/>
                  <a:gd name="T59" fmla="*/ 0 h 262"/>
                  <a:gd name="T60" fmla="*/ 258 w 258"/>
                  <a:gd name="T61" fmla="*/ 0 h 262"/>
                  <a:gd name="T62" fmla="*/ 258 w 258"/>
                  <a:gd name="T63" fmla="*/ 0 h 262"/>
                  <a:gd name="T64" fmla="*/ 258 w 258"/>
                  <a:gd name="T65" fmla="*/ 16 h 262"/>
                  <a:gd name="T66" fmla="*/ 258 w 258"/>
                  <a:gd name="T67" fmla="*/ 16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8" h="262">
                    <a:moveTo>
                      <a:pt x="258" y="16"/>
                    </a:moveTo>
                    <a:lnTo>
                      <a:pt x="258" y="16"/>
                    </a:lnTo>
                    <a:lnTo>
                      <a:pt x="257" y="28"/>
                    </a:lnTo>
                    <a:lnTo>
                      <a:pt x="255" y="40"/>
                    </a:lnTo>
                    <a:lnTo>
                      <a:pt x="251" y="52"/>
                    </a:lnTo>
                    <a:lnTo>
                      <a:pt x="247" y="61"/>
                    </a:lnTo>
                    <a:lnTo>
                      <a:pt x="243" y="71"/>
                    </a:lnTo>
                    <a:lnTo>
                      <a:pt x="237" y="80"/>
                    </a:lnTo>
                    <a:lnTo>
                      <a:pt x="230" y="88"/>
                    </a:lnTo>
                    <a:lnTo>
                      <a:pt x="222" y="96"/>
                    </a:lnTo>
                    <a:lnTo>
                      <a:pt x="213" y="104"/>
                    </a:lnTo>
                    <a:lnTo>
                      <a:pt x="203" y="111"/>
                    </a:lnTo>
                    <a:lnTo>
                      <a:pt x="182" y="123"/>
                    </a:lnTo>
                    <a:lnTo>
                      <a:pt x="158" y="134"/>
                    </a:lnTo>
                    <a:lnTo>
                      <a:pt x="131" y="143"/>
                    </a:lnTo>
                    <a:lnTo>
                      <a:pt x="131" y="143"/>
                    </a:lnTo>
                    <a:lnTo>
                      <a:pt x="108" y="151"/>
                    </a:lnTo>
                    <a:lnTo>
                      <a:pt x="88" y="160"/>
                    </a:lnTo>
                    <a:lnTo>
                      <a:pt x="72" y="172"/>
                    </a:lnTo>
                    <a:lnTo>
                      <a:pt x="64" y="179"/>
                    </a:lnTo>
                    <a:lnTo>
                      <a:pt x="58" y="186"/>
                    </a:lnTo>
                    <a:lnTo>
                      <a:pt x="52" y="192"/>
                    </a:lnTo>
                    <a:lnTo>
                      <a:pt x="47" y="200"/>
                    </a:lnTo>
                    <a:lnTo>
                      <a:pt x="43" y="210"/>
                    </a:lnTo>
                    <a:lnTo>
                      <a:pt x="39" y="219"/>
                    </a:lnTo>
                    <a:lnTo>
                      <a:pt x="36" y="229"/>
                    </a:lnTo>
                    <a:lnTo>
                      <a:pt x="33" y="239"/>
                    </a:lnTo>
                    <a:lnTo>
                      <a:pt x="32" y="262"/>
                    </a:lnTo>
                    <a:lnTo>
                      <a:pt x="0" y="262"/>
                    </a:lnTo>
                    <a:lnTo>
                      <a:pt x="0" y="0"/>
                    </a:lnTo>
                    <a:lnTo>
                      <a:pt x="258" y="0"/>
                    </a:lnTo>
                    <a:lnTo>
                      <a:pt x="258" y="0"/>
                    </a:lnTo>
                    <a:lnTo>
                      <a:pt x="258" y="16"/>
                    </a:lnTo>
                    <a:lnTo>
                      <a:pt x="258" y="16"/>
                    </a:lnTo>
                    <a:close/>
                  </a:path>
                </a:pathLst>
              </a:cu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8" name="Freeform 111"/>
              <p:cNvSpPr>
                <a:spLocks/>
              </p:cNvSpPr>
              <p:nvPr/>
            </p:nvSpPr>
            <p:spPr bwMode="auto">
              <a:xfrm>
                <a:off x="9349863" y="4056813"/>
                <a:ext cx="102573" cy="103766"/>
              </a:xfrm>
              <a:custGeom>
                <a:avLst/>
                <a:gdLst>
                  <a:gd name="T0" fmla="*/ 258 w 258"/>
                  <a:gd name="T1" fmla="*/ 15 h 261"/>
                  <a:gd name="T2" fmla="*/ 258 w 258"/>
                  <a:gd name="T3" fmla="*/ 15 h 261"/>
                  <a:gd name="T4" fmla="*/ 257 w 258"/>
                  <a:gd name="T5" fmla="*/ 28 h 261"/>
                  <a:gd name="T6" fmla="*/ 255 w 258"/>
                  <a:gd name="T7" fmla="*/ 41 h 261"/>
                  <a:gd name="T8" fmla="*/ 251 w 258"/>
                  <a:gd name="T9" fmla="*/ 51 h 261"/>
                  <a:gd name="T10" fmla="*/ 247 w 258"/>
                  <a:gd name="T11" fmla="*/ 62 h 261"/>
                  <a:gd name="T12" fmla="*/ 243 w 258"/>
                  <a:gd name="T13" fmla="*/ 71 h 261"/>
                  <a:gd name="T14" fmla="*/ 237 w 258"/>
                  <a:gd name="T15" fmla="*/ 81 h 261"/>
                  <a:gd name="T16" fmla="*/ 230 w 258"/>
                  <a:gd name="T17" fmla="*/ 89 h 261"/>
                  <a:gd name="T18" fmla="*/ 222 w 258"/>
                  <a:gd name="T19" fmla="*/ 97 h 261"/>
                  <a:gd name="T20" fmla="*/ 213 w 258"/>
                  <a:gd name="T21" fmla="*/ 103 h 261"/>
                  <a:gd name="T22" fmla="*/ 203 w 258"/>
                  <a:gd name="T23" fmla="*/ 110 h 261"/>
                  <a:gd name="T24" fmla="*/ 182 w 258"/>
                  <a:gd name="T25" fmla="*/ 122 h 261"/>
                  <a:gd name="T26" fmla="*/ 158 w 258"/>
                  <a:gd name="T27" fmla="*/ 133 h 261"/>
                  <a:gd name="T28" fmla="*/ 131 w 258"/>
                  <a:gd name="T29" fmla="*/ 142 h 261"/>
                  <a:gd name="T30" fmla="*/ 131 w 258"/>
                  <a:gd name="T31" fmla="*/ 142 h 261"/>
                  <a:gd name="T32" fmla="*/ 108 w 258"/>
                  <a:gd name="T33" fmla="*/ 150 h 261"/>
                  <a:gd name="T34" fmla="*/ 88 w 258"/>
                  <a:gd name="T35" fmla="*/ 161 h 261"/>
                  <a:gd name="T36" fmla="*/ 72 w 258"/>
                  <a:gd name="T37" fmla="*/ 171 h 261"/>
                  <a:gd name="T38" fmla="*/ 64 w 258"/>
                  <a:gd name="T39" fmla="*/ 178 h 261"/>
                  <a:gd name="T40" fmla="*/ 58 w 258"/>
                  <a:gd name="T41" fmla="*/ 185 h 261"/>
                  <a:gd name="T42" fmla="*/ 52 w 258"/>
                  <a:gd name="T43" fmla="*/ 193 h 261"/>
                  <a:gd name="T44" fmla="*/ 47 w 258"/>
                  <a:gd name="T45" fmla="*/ 201 h 261"/>
                  <a:gd name="T46" fmla="*/ 43 w 258"/>
                  <a:gd name="T47" fmla="*/ 209 h 261"/>
                  <a:gd name="T48" fmla="*/ 39 w 258"/>
                  <a:gd name="T49" fmla="*/ 218 h 261"/>
                  <a:gd name="T50" fmla="*/ 36 w 258"/>
                  <a:gd name="T51" fmla="*/ 228 h 261"/>
                  <a:gd name="T52" fmla="*/ 33 w 258"/>
                  <a:gd name="T53" fmla="*/ 238 h 261"/>
                  <a:gd name="T54" fmla="*/ 32 w 258"/>
                  <a:gd name="T55" fmla="*/ 261 h 261"/>
                  <a:gd name="T56" fmla="*/ 0 w 258"/>
                  <a:gd name="T57" fmla="*/ 261 h 261"/>
                  <a:gd name="T58" fmla="*/ 0 w 258"/>
                  <a:gd name="T59" fmla="*/ 0 h 261"/>
                  <a:gd name="T60" fmla="*/ 258 w 258"/>
                  <a:gd name="T61" fmla="*/ 0 h 261"/>
                  <a:gd name="T62" fmla="*/ 258 w 258"/>
                  <a:gd name="T63" fmla="*/ 0 h 261"/>
                  <a:gd name="T64" fmla="*/ 258 w 258"/>
                  <a:gd name="T65" fmla="*/ 15 h 261"/>
                  <a:gd name="T66" fmla="*/ 258 w 258"/>
                  <a:gd name="T67" fmla="*/ 15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8" h="261">
                    <a:moveTo>
                      <a:pt x="258" y="15"/>
                    </a:moveTo>
                    <a:lnTo>
                      <a:pt x="258" y="15"/>
                    </a:lnTo>
                    <a:lnTo>
                      <a:pt x="257" y="28"/>
                    </a:lnTo>
                    <a:lnTo>
                      <a:pt x="255" y="41"/>
                    </a:lnTo>
                    <a:lnTo>
                      <a:pt x="251" y="51"/>
                    </a:lnTo>
                    <a:lnTo>
                      <a:pt x="247" y="62"/>
                    </a:lnTo>
                    <a:lnTo>
                      <a:pt x="243" y="71"/>
                    </a:lnTo>
                    <a:lnTo>
                      <a:pt x="237" y="81"/>
                    </a:lnTo>
                    <a:lnTo>
                      <a:pt x="230" y="89"/>
                    </a:lnTo>
                    <a:lnTo>
                      <a:pt x="222" y="97"/>
                    </a:lnTo>
                    <a:lnTo>
                      <a:pt x="213" y="103"/>
                    </a:lnTo>
                    <a:lnTo>
                      <a:pt x="203" y="110"/>
                    </a:lnTo>
                    <a:lnTo>
                      <a:pt x="182" y="122"/>
                    </a:lnTo>
                    <a:lnTo>
                      <a:pt x="158" y="133"/>
                    </a:lnTo>
                    <a:lnTo>
                      <a:pt x="131" y="142"/>
                    </a:lnTo>
                    <a:lnTo>
                      <a:pt x="131" y="142"/>
                    </a:lnTo>
                    <a:lnTo>
                      <a:pt x="108" y="150"/>
                    </a:lnTo>
                    <a:lnTo>
                      <a:pt x="88" y="161"/>
                    </a:lnTo>
                    <a:lnTo>
                      <a:pt x="72" y="171"/>
                    </a:lnTo>
                    <a:lnTo>
                      <a:pt x="64" y="178"/>
                    </a:lnTo>
                    <a:lnTo>
                      <a:pt x="58" y="185"/>
                    </a:lnTo>
                    <a:lnTo>
                      <a:pt x="52" y="193"/>
                    </a:lnTo>
                    <a:lnTo>
                      <a:pt x="47" y="201"/>
                    </a:lnTo>
                    <a:lnTo>
                      <a:pt x="43" y="209"/>
                    </a:lnTo>
                    <a:lnTo>
                      <a:pt x="39" y="218"/>
                    </a:lnTo>
                    <a:lnTo>
                      <a:pt x="36" y="228"/>
                    </a:lnTo>
                    <a:lnTo>
                      <a:pt x="33" y="238"/>
                    </a:lnTo>
                    <a:lnTo>
                      <a:pt x="32" y="261"/>
                    </a:lnTo>
                    <a:lnTo>
                      <a:pt x="0" y="261"/>
                    </a:lnTo>
                    <a:lnTo>
                      <a:pt x="0" y="0"/>
                    </a:lnTo>
                    <a:lnTo>
                      <a:pt x="258" y="0"/>
                    </a:lnTo>
                    <a:lnTo>
                      <a:pt x="258" y="0"/>
                    </a:lnTo>
                    <a:lnTo>
                      <a:pt x="258" y="15"/>
                    </a:lnTo>
                    <a:lnTo>
                      <a:pt x="258" y="15"/>
                    </a:lnTo>
                    <a:close/>
                  </a:path>
                </a:pathLst>
              </a:cu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9" name="Freeform 112"/>
              <p:cNvSpPr>
                <a:spLocks/>
              </p:cNvSpPr>
              <p:nvPr/>
            </p:nvSpPr>
            <p:spPr bwMode="auto">
              <a:xfrm>
                <a:off x="9349863" y="4186819"/>
                <a:ext cx="102573" cy="103766"/>
              </a:xfrm>
              <a:custGeom>
                <a:avLst/>
                <a:gdLst>
                  <a:gd name="T0" fmla="*/ 258 w 258"/>
                  <a:gd name="T1" fmla="*/ 16 h 261"/>
                  <a:gd name="T2" fmla="*/ 258 w 258"/>
                  <a:gd name="T3" fmla="*/ 16 h 261"/>
                  <a:gd name="T4" fmla="*/ 257 w 258"/>
                  <a:gd name="T5" fmla="*/ 28 h 261"/>
                  <a:gd name="T6" fmla="*/ 255 w 258"/>
                  <a:gd name="T7" fmla="*/ 40 h 261"/>
                  <a:gd name="T8" fmla="*/ 251 w 258"/>
                  <a:gd name="T9" fmla="*/ 50 h 261"/>
                  <a:gd name="T10" fmla="*/ 247 w 258"/>
                  <a:gd name="T11" fmla="*/ 61 h 261"/>
                  <a:gd name="T12" fmla="*/ 243 w 258"/>
                  <a:gd name="T13" fmla="*/ 70 h 261"/>
                  <a:gd name="T14" fmla="*/ 237 w 258"/>
                  <a:gd name="T15" fmla="*/ 80 h 261"/>
                  <a:gd name="T16" fmla="*/ 230 w 258"/>
                  <a:gd name="T17" fmla="*/ 88 h 261"/>
                  <a:gd name="T18" fmla="*/ 222 w 258"/>
                  <a:gd name="T19" fmla="*/ 96 h 261"/>
                  <a:gd name="T20" fmla="*/ 213 w 258"/>
                  <a:gd name="T21" fmla="*/ 102 h 261"/>
                  <a:gd name="T22" fmla="*/ 203 w 258"/>
                  <a:gd name="T23" fmla="*/ 109 h 261"/>
                  <a:gd name="T24" fmla="*/ 182 w 258"/>
                  <a:gd name="T25" fmla="*/ 121 h 261"/>
                  <a:gd name="T26" fmla="*/ 158 w 258"/>
                  <a:gd name="T27" fmla="*/ 132 h 261"/>
                  <a:gd name="T28" fmla="*/ 131 w 258"/>
                  <a:gd name="T29" fmla="*/ 141 h 261"/>
                  <a:gd name="T30" fmla="*/ 131 w 258"/>
                  <a:gd name="T31" fmla="*/ 141 h 261"/>
                  <a:gd name="T32" fmla="*/ 108 w 258"/>
                  <a:gd name="T33" fmla="*/ 151 h 261"/>
                  <a:gd name="T34" fmla="*/ 88 w 258"/>
                  <a:gd name="T35" fmla="*/ 160 h 261"/>
                  <a:gd name="T36" fmla="*/ 72 w 258"/>
                  <a:gd name="T37" fmla="*/ 172 h 261"/>
                  <a:gd name="T38" fmla="*/ 64 w 258"/>
                  <a:gd name="T39" fmla="*/ 177 h 261"/>
                  <a:gd name="T40" fmla="*/ 58 w 258"/>
                  <a:gd name="T41" fmla="*/ 185 h 261"/>
                  <a:gd name="T42" fmla="*/ 52 w 258"/>
                  <a:gd name="T43" fmla="*/ 192 h 261"/>
                  <a:gd name="T44" fmla="*/ 47 w 258"/>
                  <a:gd name="T45" fmla="*/ 200 h 261"/>
                  <a:gd name="T46" fmla="*/ 43 w 258"/>
                  <a:gd name="T47" fmla="*/ 208 h 261"/>
                  <a:gd name="T48" fmla="*/ 39 w 258"/>
                  <a:gd name="T49" fmla="*/ 217 h 261"/>
                  <a:gd name="T50" fmla="*/ 36 w 258"/>
                  <a:gd name="T51" fmla="*/ 228 h 261"/>
                  <a:gd name="T52" fmla="*/ 33 w 258"/>
                  <a:gd name="T53" fmla="*/ 237 h 261"/>
                  <a:gd name="T54" fmla="*/ 32 w 258"/>
                  <a:gd name="T55" fmla="*/ 261 h 261"/>
                  <a:gd name="T56" fmla="*/ 0 w 258"/>
                  <a:gd name="T57" fmla="*/ 261 h 261"/>
                  <a:gd name="T58" fmla="*/ 0 w 258"/>
                  <a:gd name="T59" fmla="*/ 0 h 261"/>
                  <a:gd name="T60" fmla="*/ 258 w 258"/>
                  <a:gd name="T61" fmla="*/ 0 h 261"/>
                  <a:gd name="T62" fmla="*/ 258 w 258"/>
                  <a:gd name="T63" fmla="*/ 0 h 261"/>
                  <a:gd name="T64" fmla="*/ 258 w 258"/>
                  <a:gd name="T65" fmla="*/ 16 h 261"/>
                  <a:gd name="T66" fmla="*/ 258 w 258"/>
                  <a:gd name="T67" fmla="*/ 1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8" h="261">
                    <a:moveTo>
                      <a:pt x="258" y="16"/>
                    </a:moveTo>
                    <a:lnTo>
                      <a:pt x="258" y="16"/>
                    </a:lnTo>
                    <a:lnTo>
                      <a:pt x="257" y="28"/>
                    </a:lnTo>
                    <a:lnTo>
                      <a:pt x="255" y="40"/>
                    </a:lnTo>
                    <a:lnTo>
                      <a:pt x="251" y="50"/>
                    </a:lnTo>
                    <a:lnTo>
                      <a:pt x="247" y="61"/>
                    </a:lnTo>
                    <a:lnTo>
                      <a:pt x="243" y="70"/>
                    </a:lnTo>
                    <a:lnTo>
                      <a:pt x="237" y="80"/>
                    </a:lnTo>
                    <a:lnTo>
                      <a:pt x="230" y="88"/>
                    </a:lnTo>
                    <a:lnTo>
                      <a:pt x="222" y="96"/>
                    </a:lnTo>
                    <a:lnTo>
                      <a:pt x="213" y="102"/>
                    </a:lnTo>
                    <a:lnTo>
                      <a:pt x="203" y="109"/>
                    </a:lnTo>
                    <a:lnTo>
                      <a:pt x="182" y="121"/>
                    </a:lnTo>
                    <a:lnTo>
                      <a:pt x="158" y="132"/>
                    </a:lnTo>
                    <a:lnTo>
                      <a:pt x="131" y="141"/>
                    </a:lnTo>
                    <a:lnTo>
                      <a:pt x="131" y="141"/>
                    </a:lnTo>
                    <a:lnTo>
                      <a:pt x="108" y="151"/>
                    </a:lnTo>
                    <a:lnTo>
                      <a:pt x="88" y="160"/>
                    </a:lnTo>
                    <a:lnTo>
                      <a:pt x="72" y="172"/>
                    </a:lnTo>
                    <a:lnTo>
                      <a:pt x="64" y="177"/>
                    </a:lnTo>
                    <a:lnTo>
                      <a:pt x="58" y="185"/>
                    </a:lnTo>
                    <a:lnTo>
                      <a:pt x="52" y="192"/>
                    </a:lnTo>
                    <a:lnTo>
                      <a:pt x="47" y="200"/>
                    </a:lnTo>
                    <a:lnTo>
                      <a:pt x="43" y="208"/>
                    </a:lnTo>
                    <a:lnTo>
                      <a:pt x="39" y="217"/>
                    </a:lnTo>
                    <a:lnTo>
                      <a:pt x="36" y="228"/>
                    </a:lnTo>
                    <a:lnTo>
                      <a:pt x="33" y="237"/>
                    </a:lnTo>
                    <a:lnTo>
                      <a:pt x="32" y="261"/>
                    </a:lnTo>
                    <a:lnTo>
                      <a:pt x="0" y="261"/>
                    </a:lnTo>
                    <a:lnTo>
                      <a:pt x="0" y="0"/>
                    </a:lnTo>
                    <a:lnTo>
                      <a:pt x="258" y="0"/>
                    </a:lnTo>
                    <a:lnTo>
                      <a:pt x="258" y="0"/>
                    </a:lnTo>
                    <a:lnTo>
                      <a:pt x="258" y="16"/>
                    </a:lnTo>
                    <a:lnTo>
                      <a:pt x="258" y="16"/>
                    </a:lnTo>
                    <a:close/>
                  </a:path>
                </a:pathLst>
              </a:cu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808" name="Group 807"/>
          <p:cNvGrpSpPr/>
          <p:nvPr/>
        </p:nvGrpSpPr>
        <p:grpSpPr>
          <a:xfrm rot="13290159">
            <a:off x="9093662" y="3772317"/>
            <a:ext cx="202739" cy="299884"/>
            <a:chOff x="2658904" y="3122439"/>
            <a:chExt cx="81472" cy="132564"/>
          </a:xfrm>
          <a:solidFill>
            <a:schemeClr val="bg1"/>
          </a:solidFill>
        </p:grpSpPr>
        <p:sp>
          <p:nvSpPr>
            <p:cNvPr id="80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1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1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717" name="Rectangle 169"/>
          <p:cNvSpPr/>
          <p:nvPr/>
        </p:nvSpPr>
        <p:spPr bwMode="auto">
          <a:xfrm>
            <a:off x="9220484" y="4540559"/>
            <a:ext cx="200475" cy="287164"/>
          </a:xfrm>
          <a:custGeom>
            <a:avLst/>
            <a:gdLst/>
            <a:ahLst/>
            <a:cxnLst/>
            <a:rect l="l" t="t" r="r" b="b"/>
            <a:pathLst>
              <a:path w="403704" h="578273">
                <a:moveTo>
                  <a:pt x="201852" y="0"/>
                </a:moveTo>
                <a:cubicBezTo>
                  <a:pt x="245452" y="66717"/>
                  <a:pt x="248581" y="133434"/>
                  <a:pt x="332651" y="200151"/>
                </a:cubicBezTo>
                <a:lnTo>
                  <a:pt x="268823" y="200151"/>
                </a:lnTo>
                <a:cubicBezTo>
                  <a:pt x="288233" y="238722"/>
                  <a:pt x="314833" y="276942"/>
                  <a:pt x="362994" y="315162"/>
                </a:cubicBezTo>
                <a:lnTo>
                  <a:pt x="288475" y="315162"/>
                </a:lnTo>
                <a:cubicBezTo>
                  <a:pt x="312219" y="362107"/>
                  <a:pt x="345309" y="408449"/>
                  <a:pt x="403704" y="454790"/>
                </a:cubicBezTo>
                <a:lnTo>
                  <a:pt x="219671" y="454790"/>
                </a:lnTo>
                <a:lnTo>
                  <a:pt x="219671" y="578273"/>
                </a:lnTo>
                <a:lnTo>
                  <a:pt x="184033" y="578273"/>
                </a:lnTo>
                <a:lnTo>
                  <a:pt x="184033" y="454790"/>
                </a:lnTo>
                <a:lnTo>
                  <a:pt x="0" y="454790"/>
                </a:lnTo>
                <a:cubicBezTo>
                  <a:pt x="69411" y="412497"/>
                  <a:pt x="103334" y="364744"/>
                  <a:pt x="126235" y="315162"/>
                </a:cubicBezTo>
                <a:lnTo>
                  <a:pt x="40711" y="315162"/>
                </a:lnTo>
                <a:cubicBezTo>
                  <a:pt x="97810" y="280371"/>
                  <a:pt x="124827" y="240952"/>
                  <a:pt x="143285" y="200151"/>
                </a:cubicBezTo>
                <a:lnTo>
                  <a:pt x="71053" y="200151"/>
                </a:lnTo>
                <a:cubicBezTo>
                  <a:pt x="167265" y="141528"/>
                  <a:pt x="158252" y="66717"/>
                  <a:pt x="201852" y="0"/>
                </a:cubicBezTo>
                <a:close/>
              </a:path>
            </a:pathLst>
          </a:custGeom>
          <a:solidFill>
            <a:srgbClr val="0042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364" name="Group 1363"/>
          <p:cNvGrpSpPr>
            <a:grpSpLocks noChangeAspect="1"/>
          </p:cNvGrpSpPr>
          <p:nvPr/>
        </p:nvGrpSpPr>
        <p:grpSpPr>
          <a:xfrm>
            <a:off x="3635395" y="2613071"/>
            <a:ext cx="117117" cy="202951"/>
            <a:chOff x="13253772" y="-14449"/>
            <a:chExt cx="3216275" cy="6130925"/>
          </a:xfrm>
          <a:solidFill>
            <a:schemeClr val="bg1"/>
          </a:solidFill>
        </p:grpSpPr>
        <p:sp>
          <p:nvSpPr>
            <p:cNvPr id="1372" name="Freeform 120"/>
            <p:cNvSpPr>
              <a:spLocks/>
            </p:cNvSpPr>
            <p:nvPr/>
          </p:nvSpPr>
          <p:spPr bwMode="auto">
            <a:xfrm>
              <a:off x="14787297" y="-14449"/>
              <a:ext cx="993775" cy="981075"/>
            </a:xfrm>
            <a:custGeom>
              <a:avLst/>
              <a:gdLst>
                <a:gd name="T0" fmla="*/ 194 w 626"/>
                <a:gd name="T1" fmla="*/ 24 h 618"/>
                <a:gd name="T2" fmla="*/ 232 w 626"/>
                <a:gd name="T3" fmla="*/ 10 h 618"/>
                <a:gd name="T4" fmla="*/ 270 w 626"/>
                <a:gd name="T5" fmla="*/ 2 h 618"/>
                <a:gd name="T6" fmla="*/ 310 w 626"/>
                <a:gd name="T7" fmla="*/ 0 h 618"/>
                <a:gd name="T8" fmla="*/ 348 w 626"/>
                <a:gd name="T9" fmla="*/ 2 h 618"/>
                <a:gd name="T10" fmla="*/ 386 w 626"/>
                <a:gd name="T11" fmla="*/ 10 h 618"/>
                <a:gd name="T12" fmla="*/ 458 w 626"/>
                <a:gd name="T13" fmla="*/ 38 h 618"/>
                <a:gd name="T14" fmla="*/ 522 w 626"/>
                <a:gd name="T15" fmla="*/ 82 h 618"/>
                <a:gd name="T16" fmla="*/ 574 w 626"/>
                <a:gd name="T17" fmla="*/ 140 h 618"/>
                <a:gd name="T18" fmla="*/ 594 w 626"/>
                <a:gd name="T19" fmla="*/ 172 h 618"/>
                <a:gd name="T20" fmla="*/ 610 w 626"/>
                <a:gd name="T21" fmla="*/ 208 h 618"/>
                <a:gd name="T22" fmla="*/ 622 w 626"/>
                <a:gd name="T23" fmla="*/ 246 h 618"/>
                <a:gd name="T24" fmla="*/ 626 w 626"/>
                <a:gd name="T25" fmla="*/ 284 h 618"/>
                <a:gd name="T26" fmla="*/ 626 w 626"/>
                <a:gd name="T27" fmla="*/ 324 h 618"/>
                <a:gd name="T28" fmla="*/ 626 w 626"/>
                <a:gd name="T29" fmla="*/ 348 h 618"/>
                <a:gd name="T30" fmla="*/ 620 w 626"/>
                <a:gd name="T31" fmla="*/ 392 h 618"/>
                <a:gd name="T32" fmla="*/ 608 w 626"/>
                <a:gd name="T33" fmla="*/ 434 h 618"/>
                <a:gd name="T34" fmla="*/ 588 w 626"/>
                <a:gd name="T35" fmla="*/ 472 h 618"/>
                <a:gd name="T36" fmla="*/ 562 w 626"/>
                <a:gd name="T37" fmla="*/ 506 h 618"/>
                <a:gd name="T38" fmla="*/ 532 w 626"/>
                <a:gd name="T39" fmla="*/ 536 h 618"/>
                <a:gd name="T40" fmla="*/ 498 w 626"/>
                <a:gd name="T41" fmla="*/ 560 h 618"/>
                <a:gd name="T42" fmla="*/ 460 w 626"/>
                <a:gd name="T43" fmla="*/ 582 h 618"/>
                <a:gd name="T44" fmla="*/ 420 w 626"/>
                <a:gd name="T45" fmla="*/ 598 h 618"/>
                <a:gd name="T46" fmla="*/ 378 w 626"/>
                <a:gd name="T47" fmla="*/ 610 h 618"/>
                <a:gd name="T48" fmla="*/ 336 w 626"/>
                <a:gd name="T49" fmla="*/ 616 h 618"/>
                <a:gd name="T50" fmla="*/ 292 w 626"/>
                <a:gd name="T51" fmla="*/ 618 h 618"/>
                <a:gd name="T52" fmla="*/ 248 w 626"/>
                <a:gd name="T53" fmla="*/ 612 h 618"/>
                <a:gd name="T54" fmla="*/ 206 w 626"/>
                <a:gd name="T55" fmla="*/ 602 h 618"/>
                <a:gd name="T56" fmla="*/ 166 w 626"/>
                <a:gd name="T57" fmla="*/ 586 h 618"/>
                <a:gd name="T58" fmla="*/ 130 w 626"/>
                <a:gd name="T59" fmla="*/ 562 h 618"/>
                <a:gd name="T60" fmla="*/ 112 w 626"/>
                <a:gd name="T61" fmla="*/ 548 h 618"/>
                <a:gd name="T62" fmla="*/ 80 w 626"/>
                <a:gd name="T63" fmla="*/ 520 h 618"/>
                <a:gd name="T64" fmla="*/ 56 w 626"/>
                <a:gd name="T65" fmla="*/ 490 h 618"/>
                <a:gd name="T66" fmla="*/ 34 w 626"/>
                <a:gd name="T67" fmla="*/ 456 h 618"/>
                <a:gd name="T68" fmla="*/ 18 w 626"/>
                <a:gd name="T69" fmla="*/ 420 h 618"/>
                <a:gd name="T70" fmla="*/ 8 w 626"/>
                <a:gd name="T71" fmla="*/ 382 h 618"/>
                <a:gd name="T72" fmla="*/ 2 w 626"/>
                <a:gd name="T73" fmla="*/ 342 h 618"/>
                <a:gd name="T74" fmla="*/ 4 w 626"/>
                <a:gd name="T75" fmla="*/ 262 h 618"/>
                <a:gd name="T76" fmla="*/ 18 w 626"/>
                <a:gd name="T77" fmla="*/ 204 h 618"/>
                <a:gd name="T78" fmla="*/ 34 w 626"/>
                <a:gd name="T79" fmla="*/ 168 h 618"/>
                <a:gd name="T80" fmla="*/ 54 w 626"/>
                <a:gd name="T81" fmla="*/ 132 h 618"/>
                <a:gd name="T82" fmla="*/ 78 w 626"/>
                <a:gd name="T83" fmla="*/ 102 h 618"/>
                <a:gd name="T84" fmla="*/ 106 w 626"/>
                <a:gd name="T85" fmla="*/ 74 h 618"/>
                <a:gd name="T86" fmla="*/ 138 w 626"/>
                <a:gd name="T87" fmla="*/ 50 h 618"/>
                <a:gd name="T88" fmla="*/ 174 w 626"/>
                <a:gd name="T89" fmla="*/ 32 h 618"/>
                <a:gd name="T90" fmla="*/ 194 w 626"/>
                <a:gd name="T91" fmla="*/ 2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6" h="618">
                  <a:moveTo>
                    <a:pt x="194" y="24"/>
                  </a:moveTo>
                  <a:lnTo>
                    <a:pt x="194" y="24"/>
                  </a:lnTo>
                  <a:lnTo>
                    <a:pt x="212" y="16"/>
                  </a:lnTo>
                  <a:lnTo>
                    <a:pt x="232" y="10"/>
                  </a:lnTo>
                  <a:lnTo>
                    <a:pt x="250" y="6"/>
                  </a:lnTo>
                  <a:lnTo>
                    <a:pt x="270" y="2"/>
                  </a:lnTo>
                  <a:lnTo>
                    <a:pt x="290" y="0"/>
                  </a:lnTo>
                  <a:lnTo>
                    <a:pt x="310" y="0"/>
                  </a:lnTo>
                  <a:lnTo>
                    <a:pt x="328" y="0"/>
                  </a:lnTo>
                  <a:lnTo>
                    <a:pt x="348" y="2"/>
                  </a:lnTo>
                  <a:lnTo>
                    <a:pt x="366" y="4"/>
                  </a:lnTo>
                  <a:lnTo>
                    <a:pt x="386" y="10"/>
                  </a:lnTo>
                  <a:lnTo>
                    <a:pt x="422" y="22"/>
                  </a:lnTo>
                  <a:lnTo>
                    <a:pt x="458" y="38"/>
                  </a:lnTo>
                  <a:lnTo>
                    <a:pt x="492" y="58"/>
                  </a:lnTo>
                  <a:lnTo>
                    <a:pt x="522" y="82"/>
                  </a:lnTo>
                  <a:lnTo>
                    <a:pt x="550" y="110"/>
                  </a:lnTo>
                  <a:lnTo>
                    <a:pt x="574" y="140"/>
                  </a:lnTo>
                  <a:lnTo>
                    <a:pt x="586" y="156"/>
                  </a:lnTo>
                  <a:lnTo>
                    <a:pt x="594" y="172"/>
                  </a:lnTo>
                  <a:lnTo>
                    <a:pt x="604" y="190"/>
                  </a:lnTo>
                  <a:lnTo>
                    <a:pt x="610" y="208"/>
                  </a:lnTo>
                  <a:lnTo>
                    <a:pt x="616" y="226"/>
                  </a:lnTo>
                  <a:lnTo>
                    <a:pt x="622" y="246"/>
                  </a:lnTo>
                  <a:lnTo>
                    <a:pt x="624" y="264"/>
                  </a:lnTo>
                  <a:lnTo>
                    <a:pt x="626" y="284"/>
                  </a:lnTo>
                  <a:lnTo>
                    <a:pt x="626" y="304"/>
                  </a:lnTo>
                  <a:lnTo>
                    <a:pt x="626" y="324"/>
                  </a:lnTo>
                  <a:lnTo>
                    <a:pt x="626" y="324"/>
                  </a:lnTo>
                  <a:lnTo>
                    <a:pt x="626" y="348"/>
                  </a:lnTo>
                  <a:lnTo>
                    <a:pt x="624" y="370"/>
                  </a:lnTo>
                  <a:lnTo>
                    <a:pt x="620" y="392"/>
                  </a:lnTo>
                  <a:lnTo>
                    <a:pt x="614" y="414"/>
                  </a:lnTo>
                  <a:lnTo>
                    <a:pt x="608" y="434"/>
                  </a:lnTo>
                  <a:lnTo>
                    <a:pt x="598" y="452"/>
                  </a:lnTo>
                  <a:lnTo>
                    <a:pt x="588" y="472"/>
                  </a:lnTo>
                  <a:lnTo>
                    <a:pt x="576" y="488"/>
                  </a:lnTo>
                  <a:lnTo>
                    <a:pt x="562" y="506"/>
                  </a:lnTo>
                  <a:lnTo>
                    <a:pt x="548" y="520"/>
                  </a:lnTo>
                  <a:lnTo>
                    <a:pt x="532" y="536"/>
                  </a:lnTo>
                  <a:lnTo>
                    <a:pt x="516" y="548"/>
                  </a:lnTo>
                  <a:lnTo>
                    <a:pt x="498" y="560"/>
                  </a:lnTo>
                  <a:lnTo>
                    <a:pt x="480" y="572"/>
                  </a:lnTo>
                  <a:lnTo>
                    <a:pt x="460" y="582"/>
                  </a:lnTo>
                  <a:lnTo>
                    <a:pt x="442" y="590"/>
                  </a:lnTo>
                  <a:lnTo>
                    <a:pt x="420" y="598"/>
                  </a:lnTo>
                  <a:lnTo>
                    <a:pt x="400" y="604"/>
                  </a:lnTo>
                  <a:lnTo>
                    <a:pt x="378" y="610"/>
                  </a:lnTo>
                  <a:lnTo>
                    <a:pt x="358" y="614"/>
                  </a:lnTo>
                  <a:lnTo>
                    <a:pt x="336" y="616"/>
                  </a:lnTo>
                  <a:lnTo>
                    <a:pt x="314" y="618"/>
                  </a:lnTo>
                  <a:lnTo>
                    <a:pt x="292" y="618"/>
                  </a:lnTo>
                  <a:lnTo>
                    <a:pt x="270" y="616"/>
                  </a:lnTo>
                  <a:lnTo>
                    <a:pt x="248" y="612"/>
                  </a:lnTo>
                  <a:lnTo>
                    <a:pt x="228" y="608"/>
                  </a:lnTo>
                  <a:lnTo>
                    <a:pt x="206" y="602"/>
                  </a:lnTo>
                  <a:lnTo>
                    <a:pt x="186" y="594"/>
                  </a:lnTo>
                  <a:lnTo>
                    <a:pt x="166" y="586"/>
                  </a:lnTo>
                  <a:lnTo>
                    <a:pt x="148" y="574"/>
                  </a:lnTo>
                  <a:lnTo>
                    <a:pt x="130" y="562"/>
                  </a:lnTo>
                  <a:lnTo>
                    <a:pt x="112" y="548"/>
                  </a:lnTo>
                  <a:lnTo>
                    <a:pt x="112" y="548"/>
                  </a:lnTo>
                  <a:lnTo>
                    <a:pt x="96" y="536"/>
                  </a:lnTo>
                  <a:lnTo>
                    <a:pt x="80" y="520"/>
                  </a:lnTo>
                  <a:lnTo>
                    <a:pt x="68" y="506"/>
                  </a:lnTo>
                  <a:lnTo>
                    <a:pt x="56" y="490"/>
                  </a:lnTo>
                  <a:lnTo>
                    <a:pt x="44" y="474"/>
                  </a:lnTo>
                  <a:lnTo>
                    <a:pt x="34" y="456"/>
                  </a:lnTo>
                  <a:lnTo>
                    <a:pt x="26" y="438"/>
                  </a:lnTo>
                  <a:lnTo>
                    <a:pt x="18" y="420"/>
                  </a:lnTo>
                  <a:lnTo>
                    <a:pt x="12" y="400"/>
                  </a:lnTo>
                  <a:lnTo>
                    <a:pt x="8" y="382"/>
                  </a:lnTo>
                  <a:lnTo>
                    <a:pt x="4" y="362"/>
                  </a:lnTo>
                  <a:lnTo>
                    <a:pt x="2" y="342"/>
                  </a:lnTo>
                  <a:lnTo>
                    <a:pt x="0" y="302"/>
                  </a:lnTo>
                  <a:lnTo>
                    <a:pt x="4" y="262"/>
                  </a:lnTo>
                  <a:lnTo>
                    <a:pt x="12" y="222"/>
                  </a:lnTo>
                  <a:lnTo>
                    <a:pt x="18" y="204"/>
                  </a:lnTo>
                  <a:lnTo>
                    <a:pt x="26" y="186"/>
                  </a:lnTo>
                  <a:lnTo>
                    <a:pt x="34" y="168"/>
                  </a:lnTo>
                  <a:lnTo>
                    <a:pt x="42" y="150"/>
                  </a:lnTo>
                  <a:lnTo>
                    <a:pt x="54" y="132"/>
                  </a:lnTo>
                  <a:lnTo>
                    <a:pt x="64" y="116"/>
                  </a:lnTo>
                  <a:lnTo>
                    <a:pt x="78" y="102"/>
                  </a:lnTo>
                  <a:lnTo>
                    <a:pt x="90" y="88"/>
                  </a:lnTo>
                  <a:lnTo>
                    <a:pt x="106" y="74"/>
                  </a:lnTo>
                  <a:lnTo>
                    <a:pt x="120" y="62"/>
                  </a:lnTo>
                  <a:lnTo>
                    <a:pt x="138" y="50"/>
                  </a:lnTo>
                  <a:lnTo>
                    <a:pt x="156" y="40"/>
                  </a:lnTo>
                  <a:lnTo>
                    <a:pt x="174" y="32"/>
                  </a:lnTo>
                  <a:lnTo>
                    <a:pt x="194" y="24"/>
                  </a:lnTo>
                  <a:lnTo>
                    <a:pt x="19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73" name="Freeform 121"/>
            <p:cNvSpPr>
              <a:spLocks/>
            </p:cNvSpPr>
            <p:nvPr/>
          </p:nvSpPr>
          <p:spPr bwMode="auto">
            <a:xfrm>
              <a:off x="13253772" y="1125376"/>
              <a:ext cx="3216275" cy="4991100"/>
            </a:xfrm>
            <a:custGeom>
              <a:avLst/>
              <a:gdLst>
                <a:gd name="T0" fmla="*/ 690 w 2026"/>
                <a:gd name="T1" fmla="*/ 66 h 3144"/>
                <a:gd name="T2" fmla="*/ 796 w 2026"/>
                <a:gd name="T3" fmla="*/ 14 h 3144"/>
                <a:gd name="T4" fmla="*/ 918 w 2026"/>
                <a:gd name="T5" fmla="*/ 0 h 3144"/>
                <a:gd name="T6" fmla="*/ 1102 w 2026"/>
                <a:gd name="T7" fmla="*/ 0 h 3144"/>
                <a:gd name="T8" fmla="*/ 1476 w 2026"/>
                <a:gd name="T9" fmla="*/ 2 h 3144"/>
                <a:gd name="T10" fmla="*/ 1660 w 2026"/>
                <a:gd name="T11" fmla="*/ 18 h 3144"/>
                <a:gd name="T12" fmla="*/ 1840 w 2026"/>
                <a:gd name="T13" fmla="*/ 68 h 3144"/>
                <a:gd name="T14" fmla="*/ 1910 w 2026"/>
                <a:gd name="T15" fmla="*/ 114 h 3144"/>
                <a:gd name="T16" fmla="*/ 1974 w 2026"/>
                <a:gd name="T17" fmla="*/ 202 h 3144"/>
                <a:gd name="T18" fmla="*/ 2010 w 2026"/>
                <a:gd name="T19" fmla="*/ 310 h 3144"/>
                <a:gd name="T20" fmla="*/ 2026 w 2026"/>
                <a:gd name="T21" fmla="*/ 448 h 3144"/>
                <a:gd name="T22" fmla="*/ 2024 w 2026"/>
                <a:gd name="T23" fmla="*/ 1290 h 3144"/>
                <a:gd name="T24" fmla="*/ 2020 w 2026"/>
                <a:gd name="T25" fmla="*/ 1438 h 3144"/>
                <a:gd name="T26" fmla="*/ 2004 w 2026"/>
                <a:gd name="T27" fmla="*/ 1484 h 3144"/>
                <a:gd name="T28" fmla="*/ 1948 w 2026"/>
                <a:gd name="T29" fmla="*/ 1528 h 3144"/>
                <a:gd name="T30" fmla="*/ 1854 w 2026"/>
                <a:gd name="T31" fmla="*/ 1538 h 3144"/>
                <a:gd name="T32" fmla="*/ 1794 w 2026"/>
                <a:gd name="T33" fmla="*/ 1504 h 3144"/>
                <a:gd name="T34" fmla="*/ 1770 w 2026"/>
                <a:gd name="T35" fmla="*/ 1462 h 3144"/>
                <a:gd name="T36" fmla="*/ 1762 w 2026"/>
                <a:gd name="T37" fmla="*/ 1320 h 3144"/>
                <a:gd name="T38" fmla="*/ 1762 w 2026"/>
                <a:gd name="T39" fmla="*/ 630 h 3144"/>
                <a:gd name="T40" fmla="*/ 1664 w 2026"/>
                <a:gd name="T41" fmla="*/ 514 h 3144"/>
                <a:gd name="T42" fmla="*/ 1664 w 2026"/>
                <a:gd name="T43" fmla="*/ 2966 h 3144"/>
                <a:gd name="T44" fmla="*/ 1634 w 2026"/>
                <a:gd name="T45" fmla="*/ 3058 h 3144"/>
                <a:gd name="T46" fmla="*/ 1564 w 2026"/>
                <a:gd name="T47" fmla="*/ 3122 h 3144"/>
                <a:gd name="T48" fmla="*/ 1472 w 2026"/>
                <a:gd name="T49" fmla="*/ 3144 h 3144"/>
                <a:gd name="T50" fmla="*/ 1400 w 2026"/>
                <a:gd name="T51" fmla="*/ 3126 h 3144"/>
                <a:gd name="T52" fmla="*/ 1358 w 2026"/>
                <a:gd name="T53" fmla="*/ 3104 h 3144"/>
                <a:gd name="T54" fmla="*/ 1330 w 2026"/>
                <a:gd name="T55" fmla="*/ 3044 h 3144"/>
                <a:gd name="T56" fmla="*/ 1318 w 2026"/>
                <a:gd name="T57" fmla="*/ 2796 h 3144"/>
                <a:gd name="T58" fmla="*/ 1320 w 2026"/>
                <a:gd name="T59" fmla="*/ 1900 h 3144"/>
                <a:gd name="T60" fmla="*/ 1226 w 2026"/>
                <a:gd name="T61" fmla="*/ 1530 h 3144"/>
                <a:gd name="T62" fmla="*/ 1222 w 2026"/>
                <a:gd name="T63" fmla="*/ 2268 h 3144"/>
                <a:gd name="T64" fmla="*/ 1220 w 2026"/>
                <a:gd name="T65" fmla="*/ 3008 h 3144"/>
                <a:gd name="T66" fmla="*/ 1194 w 2026"/>
                <a:gd name="T67" fmla="*/ 3070 h 3144"/>
                <a:gd name="T68" fmla="*/ 1148 w 2026"/>
                <a:gd name="T69" fmla="*/ 3114 h 3144"/>
                <a:gd name="T70" fmla="*/ 1090 w 2026"/>
                <a:gd name="T71" fmla="*/ 3136 h 3144"/>
                <a:gd name="T72" fmla="*/ 994 w 2026"/>
                <a:gd name="T73" fmla="*/ 3136 h 3144"/>
                <a:gd name="T74" fmla="*/ 936 w 2026"/>
                <a:gd name="T75" fmla="*/ 3112 h 3144"/>
                <a:gd name="T76" fmla="*/ 890 w 2026"/>
                <a:gd name="T77" fmla="*/ 3070 h 3144"/>
                <a:gd name="T78" fmla="*/ 866 w 2026"/>
                <a:gd name="T79" fmla="*/ 3010 h 3144"/>
                <a:gd name="T80" fmla="*/ 862 w 2026"/>
                <a:gd name="T81" fmla="*/ 2320 h 3144"/>
                <a:gd name="T82" fmla="*/ 860 w 2026"/>
                <a:gd name="T83" fmla="*/ 356 h 3144"/>
                <a:gd name="T84" fmla="*/ 552 w 2026"/>
                <a:gd name="T85" fmla="*/ 718 h 3144"/>
                <a:gd name="T86" fmla="*/ 282 w 2026"/>
                <a:gd name="T87" fmla="*/ 1032 h 3144"/>
                <a:gd name="T88" fmla="*/ 216 w 2026"/>
                <a:gd name="T89" fmla="*/ 1090 h 3144"/>
                <a:gd name="T90" fmla="*/ 164 w 2026"/>
                <a:gd name="T91" fmla="*/ 1104 h 3144"/>
                <a:gd name="T92" fmla="*/ 90 w 2026"/>
                <a:gd name="T93" fmla="*/ 1088 h 3144"/>
                <a:gd name="T94" fmla="*/ 18 w 2026"/>
                <a:gd name="T95" fmla="*/ 1016 h 3144"/>
                <a:gd name="T96" fmla="*/ 0 w 2026"/>
                <a:gd name="T97" fmla="*/ 942 h 3144"/>
                <a:gd name="T98" fmla="*/ 12 w 2026"/>
                <a:gd name="T99" fmla="*/ 890 h 3144"/>
                <a:gd name="T100" fmla="*/ 102 w 2026"/>
                <a:gd name="T101" fmla="*/ 770 h 3144"/>
                <a:gd name="T102" fmla="*/ 646 w 2026"/>
                <a:gd name="T103" fmla="*/ 11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6" h="3144">
                  <a:moveTo>
                    <a:pt x="646" y="112"/>
                  </a:moveTo>
                  <a:lnTo>
                    <a:pt x="646" y="112"/>
                  </a:lnTo>
                  <a:lnTo>
                    <a:pt x="666" y="88"/>
                  </a:lnTo>
                  <a:lnTo>
                    <a:pt x="690" y="66"/>
                  </a:lnTo>
                  <a:lnTo>
                    <a:pt x="714" y="48"/>
                  </a:lnTo>
                  <a:lnTo>
                    <a:pt x="740" y="34"/>
                  </a:lnTo>
                  <a:lnTo>
                    <a:pt x="768" y="22"/>
                  </a:lnTo>
                  <a:lnTo>
                    <a:pt x="796" y="14"/>
                  </a:lnTo>
                  <a:lnTo>
                    <a:pt x="826" y="8"/>
                  </a:lnTo>
                  <a:lnTo>
                    <a:pt x="856" y="4"/>
                  </a:lnTo>
                  <a:lnTo>
                    <a:pt x="886" y="2"/>
                  </a:lnTo>
                  <a:lnTo>
                    <a:pt x="918" y="0"/>
                  </a:lnTo>
                  <a:lnTo>
                    <a:pt x="980" y="0"/>
                  </a:lnTo>
                  <a:lnTo>
                    <a:pt x="1042" y="2"/>
                  </a:lnTo>
                  <a:lnTo>
                    <a:pt x="1102" y="0"/>
                  </a:lnTo>
                  <a:lnTo>
                    <a:pt x="1102" y="0"/>
                  </a:lnTo>
                  <a:lnTo>
                    <a:pt x="1196" y="2"/>
                  </a:lnTo>
                  <a:lnTo>
                    <a:pt x="1288" y="2"/>
                  </a:lnTo>
                  <a:lnTo>
                    <a:pt x="1382" y="0"/>
                  </a:lnTo>
                  <a:lnTo>
                    <a:pt x="1476" y="2"/>
                  </a:lnTo>
                  <a:lnTo>
                    <a:pt x="1522" y="4"/>
                  </a:lnTo>
                  <a:lnTo>
                    <a:pt x="1568" y="6"/>
                  </a:lnTo>
                  <a:lnTo>
                    <a:pt x="1614" y="12"/>
                  </a:lnTo>
                  <a:lnTo>
                    <a:pt x="1660" y="18"/>
                  </a:lnTo>
                  <a:lnTo>
                    <a:pt x="1706" y="26"/>
                  </a:lnTo>
                  <a:lnTo>
                    <a:pt x="1750" y="38"/>
                  </a:lnTo>
                  <a:lnTo>
                    <a:pt x="1796" y="50"/>
                  </a:lnTo>
                  <a:lnTo>
                    <a:pt x="1840" y="68"/>
                  </a:lnTo>
                  <a:lnTo>
                    <a:pt x="1840" y="68"/>
                  </a:lnTo>
                  <a:lnTo>
                    <a:pt x="1866" y="80"/>
                  </a:lnTo>
                  <a:lnTo>
                    <a:pt x="1888" y="96"/>
                  </a:lnTo>
                  <a:lnTo>
                    <a:pt x="1910" y="114"/>
                  </a:lnTo>
                  <a:lnTo>
                    <a:pt x="1930" y="134"/>
                  </a:lnTo>
                  <a:lnTo>
                    <a:pt x="1946" y="154"/>
                  </a:lnTo>
                  <a:lnTo>
                    <a:pt x="1960" y="178"/>
                  </a:lnTo>
                  <a:lnTo>
                    <a:pt x="1974" y="202"/>
                  </a:lnTo>
                  <a:lnTo>
                    <a:pt x="1984" y="228"/>
                  </a:lnTo>
                  <a:lnTo>
                    <a:pt x="1994" y="254"/>
                  </a:lnTo>
                  <a:lnTo>
                    <a:pt x="2002" y="282"/>
                  </a:lnTo>
                  <a:lnTo>
                    <a:pt x="2010" y="310"/>
                  </a:lnTo>
                  <a:lnTo>
                    <a:pt x="2014" y="338"/>
                  </a:lnTo>
                  <a:lnTo>
                    <a:pt x="2022" y="394"/>
                  </a:lnTo>
                  <a:lnTo>
                    <a:pt x="2026" y="448"/>
                  </a:lnTo>
                  <a:lnTo>
                    <a:pt x="2026" y="448"/>
                  </a:lnTo>
                  <a:lnTo>
                    <a:pt x="2026" y="690"/>
                  </a:lnTo>
                  <a:lnTo>
                    <a:pt x="2026" y="930"/>
                  </a:lnTo>
                  <a:lnTo>
                    <a:pt x="2026" y="1170"/>
                  </a:lnTo>
                  <a:lnTo>
                    <a:pt x="2024" y="1290"/>
                  </a:lnTo>
                  <a:lnTo>
                    <a:pt x="2022" y="1410"/>
                  </a:lnTo>
                  <a:lnTo>
                    <a:pt x="2022" y="1410"/>
                  </a:lnTo>
                  <a:lnTo>
                    <a:pt x="2022" y="1426"/>
                  </a:lnTo>
                  <a:lnTo>
                    <a:pt x="2020" y="1438"/>
                  </a:lnTo>
                  <a:lnTo>
                    <a:pt x="2018" y="1452"/>
                  </a:lnTo>
                  <a:lnTo>
                    <a:pt x="2014" y="1462"/>
                  </a:lnTo>
                  <a:lnTo>
                    <a:pt x="2010" y="1474"/>
                  </a:lnTo>
                  <a:lnTo>
                    <a:pt x="2004" y="1484"/>
                  </a:lnTo>
                  <a:lnTo>
                    <a:pt x="1996" y="1494"/>
                  </a:lnTo>
                  <a:lnTo>
                    <a:pt x="1988" y="1502"/>
                  </a:lnTo>
                  <a:lnTo>
                    <a:pt x="1970" y="1516"/>
                  </a:lnTo>
                  <a:lnTo>
                    <a:pt x="1948" y="1528"/>
                  </a:lnTo>
                  <a:lnTo>
                    <a:pt x="1926" y="1536"/>
                  </a:lnTo>
                  <a:lnTo>
                    <a:pt x="1902" y="1540"/>
                  </a:lnTo>
                  <a:lnTo>
                    <a:pt x="1878" y="1540"/>
                  </a:lnTo>
                  <a:lnTo>
                    <a:pt x="1854" y="1538"/>
                  </a:lnTo>
                  <a:lnTo>
                    <a:pt x="1832" y="1530"/>
                  </a:lnTo>
                  <a:lnTo>
                    <a:pt x="1812" y="1520"/>
                  </a:lnTo>
                  <a:lnTo>
                    <a:pt x="1802" y="1512"/>
                  </a:lnTo>
                  <a:lnTo>
                    <a:pt x="1794" y="1504"/>
                  </a:lnTo>
                  <a:lnTo>
                    <a:pt x="1786" y="1496"/>
                  </a:lnTo>
                  <a:lnTo>
                    <a:pt x="1780" y="1486"/>
                  </a:lnTo>
                  <a:lnTo>
                    <a:pt x="1774" y="1474"/>
                  </a:lnTo>
                  <a:lnTo>
                    <a:pt x="1770" y="1462"/>
                  </a:lnTo>
                  <a:lnTo>
                    <a:pt x="1768" y="1450"/>
                  </a:lnTo>
                  <a:lnTo>
                    <a:pt x="1766" y="1434"/>
                  </a:lnTo>
                  <a:lnTo>
                    <a:pt x="1766" y="1434"/>
                  </a:lnTo>
                  <a:lnTo>
                    <a:pt x="1762" y="1320"/>
                  </a:lnTo>
                  <a:lnTo>
                    <a:pt x="1760" y="1206"/>
                  </a:lnTo>
                  <a:lnTo>
                    <a:pt x="1760" y="976"/>
                  </a:lnTo>
                  <a:lnTo>
                    <a:pt x="1762" y="746"/>
                  </a:lnTo>
                  <a:lnTo>
                    <a:pt x="1762" y="630"/>
                  </a:lnTo>
                  <a:lnTo>
                    <a:pt x="1760" y="516"/>
                  </a:lnTo>
                  <a:lnTo>
                    <a:pt x="1760" y="516"/>
                  </a:lnTo>
                  <a:lnTo>
                    <a:pt x="1664" y="514"/>
                  </a:lnTo>
                  <a:lnTo>
                    <a:pt x="1664" y="514"/>
                  </a:lnTo>
                  <a:lnTo>
                    <a:pt x="1664" y="1726"/>
                  </a:lnTo>
                  <a:lnTo>
                    <a:pt x="1664" y="2940"/>
                  </a:lnTo>
                  <a:lnTo>
                    <a:pt x="1664" y="2940"/>
                  </a:lnTo>
                  <a:lnTo>
                    <a:pt x="1664" y="2966"/>
                  </a:lnTo>
                  <a:lnTo>
                    <a:pt x="1662" y="2992"/>
                  </a:lnTo>
                  <a:lnTo>
                    <a:pt x="1654" y="3016"/>
                  </a:lnTo>
                  <a:lnTo>
                    <a:pt x="1646" y="3038"/>
                  </a:lnTo>
                  <a:lnTo>
                    <a:pt x="1634" y="3058"/>
                  </a:lnTo>
                  <a:lnTo>
                    <a:pt x="1620" y="3078"/>
                  </a:lnTo>
                  <a:lnTo>
                    <a:pt x="1602" y="3094"/>
                  </a:lnTo>
                  <a:lnTo>
                    <a:pt x="1584" y="3110"/>
                  </a:lnTo>
                  <a:lnTo>
                    <a:pt x="1564" y="3122"/>
                  </a:lnTo>
                  <a:lnTo>
                    <a:pt x="1542" y="3132"/>
                  </a:lnTo>
                  <a:lnTo>
                    <a:pt x="1520" y="3138"/>
                  </a:lnTo>
                  <a:lnTo>
                    <a:pt x="1496" y="3142"/>
                  </a:lnTo>
                  <a:lnTo>
                    <a:pt x="1472" y="3144"/>
                  </a:lnTo>
                  <a:lnTo>
                    <a:pt x="1448" y="3142"/>
                  </a:lnTo>
                  <a:lnTo>
                    <a:pt x="1424" y="3136"/>
                  </a:lnTo>
                  <a:lnTo>
                    <a:pt x="1400" y="3126"/>
                  </a:lnTo>
                  <a:lnTo>
                    <a:pt x="1400" y="3126"/>
                  </a:lnTo>
                  <a:lnTo>
                    <a:pt x="1386" y="3122"/>
                  </a:lnTo>
                  <a:lnTo>
                    <a:pt x="1376" y="3118"/>
                  </a:lnTo>
                  <a:lnTo>
                    <a:pt x="1366" y="3112"/>
                  </a:lnTo>
                  <a:lnTo>
                    <a:pt x="1358" y="3104"/>
                  </a:lnTo>
                  <a:lnTo>
                    <a:pt x="1350" y="3096"/>
                  </a:lnTo>
                  <a:lnTo>
                    <a:pt x="1344" y="3086"/>
                  </a:lnTo>
                  <a:lnTo>
                    <a:pt x="1336" y="3066"/>
                  </a:lnTo>
                  <a:lnTo>
                    <a:pt x="1330" y="3044"/>
                  </a:lnTo>
                  <a:lnTo>
                    <a:pt x="1326" y="3020"/>
                  </a:lnTo>
                  <a:lnTo>
                    <a:pt x="1322" y="2974"/>
                  </a:lnTo>
                  <a:lnTo>
                    <a:pt x="1322" y="2974"/>
                  </a:lnTo>
                  <a:lnTo>
                    <a:pt x="1318" y="2796"/>
                  </a:lnTo>
                  <a:lnTo>
                    <a:pt x="1318" y="2616"/>
                  </a:lnTo>
                  <a:lnTo>
                    <a:pt x="1320" y="2258"/>
                  </a:lnTo>
                  <a:lnTo>
                    <a:pt x="1320" y="2080"/>
                  </a:lnTo>
                  <a:lnTo>
                    <a:pt x="1320" y="1900"/>
                  </a:lnTo>
                  <a:lnTo>
                    <a:pt x="1318" y="1722"/>
                  </a:lnTo>
                  <a:lnTo>
                    <a:pt x="1314" y="1542"/>
                  </a:lnTo>
                  <a:lnTo>
                    <a:pt x="1314" y="1542"/>
                  </a:lnTo>
                  <a:lnTo>
                    <a:pt x="1226" y="1530"/>
                  </a:lnTo>
                  <a:lnTo>
                    <a:pt x="1226" y="1530"/>
                  </a:lnTo>
                  <a:lnTo>
                    <a:pt x="1224" y="1714"/>
                  </a:lnTo>
                  <a:lnTo>
                    <a:pt x="1222" y="1900"/>
                  </a:lnTo>
                  <a:lnTo>
                    <a:pt x="1222" y="2268"/>
                  </a:lnTo>
                  <a:lnTo>
                    <a:pt x="1224" y="2638"/>
                  </a:lnTo>
                  <a:lnTo>
                    <a:pt x="1222" y="2824"/>
                  </a:lnTo>
                  <a:lnTo>
                    <a:pt x="1220" y="3008"/>
                  </a:lnTo>
                  <a:lnTo>
                    <a:pt x="1220" y="3008"/>
                  </a:lnTo>
                  <a:lnTo>
                    <a:pt x="1216" y="3026"/>
                  </a:lnTo>
                  <a:lnTo>
                    <a:pt x="1210" y="3042"/>
                  </a:lnTo>
                  <a:lnTo>
                    <a:pt x="1202" y="3056"/>
                  </a:lnTo>
                  <a:lnTo>
                    <a:pt x="1194" y="3070"/>
                  </a:lnTo>
                  <a:lnTo>
                    <a:pt x="1184" y="3084"/>
                  </a:lnTo>
                  <a:lnTo>
                    <a:pt x="1174" y="3094"/>
                  </a:lnTo>
                  <a:lnTo>
                    <a:pt x="1162" y="3104"/>
                  </a:lnTo>
                  <a:lnTo>
                    <a:pt x="1148" y="3114"/>
                  </a:lnTo>
                  <a:lnTo>
                    <a:pt x="1136" y="3120"/>
                  </a:lnTo>
                  <a:lnTo>
                    <a:pt x="1120" y="3128"/>
                  </a:lnTo>
                  <a:lnTo>
                    <a:pt x="1106" y="3132"/>
                  </a:lnTo>
                  <a:lnTo>
                    <a:pt x="1090" y="3136"/>
                  </a:lnTo>
                  <a:lnTo>
                    <a:pt x="1074" y="3140"/>
                  </a:lnTo>
                  <a:lnTo>
                    <a:pt x="1058" y="3140"/>
                  </a:lnTo>
                  <a:lnTo>
                    <a:pt x="1026" y="3140"/>
                  </a:lnTo>
                  <a:lnTo>
                    <a:pt x="994" y="3136"/>
                  </a:lnTo>
                  <a:lnTo>
                    <a:pt x="978" y="3132"/>
                  </a:lnTo>
                  <a:lnTo>
                    <a:pt x="964" y="3126"/>
                  </a:lnTo>
                  <a:lnTo>
                    <a:pt x="948" y="3120"/>
                  </a:lnTo>
                  <a:lnTo>
                    <a:pt x="936" y="3112"/>
                  </a:lnTo>
                  <a:lnTo>
                    <a:pt x="922" y="3102"/>
                  </a:lnTo>
                  <a:lnTo>
                    <a:pt x="910" y="3092"/>
                  </a:lnTo>
                  <a:lnTo>
                    <a:pt x="900" y="3082"/>
                  </a:lnTo>
                  <a:lnTo>
                    <a:pt x="890" y="3070"/>
                  </a:lnTo>
                  <a:lnTo>
                    <a:pt x="882" y="3056"/>
                  </a:lnTo>
                  <a:lnTo>
                    <a:pt x="874" y="3042"/>
                  </a:lnTo>
                  <a:lnTo>
                    <a:pt x="870" y="3026"/>
                  </a:lnTo>
                  <a:lnTo>
                    <a:pt x="866" y="3010"/>
                  </a:lnTo>
                  <a:lnTo>
                    <a:pt x="864" y="2992"/>
                  </a:lnTo>
                  <a:lnTo>
                    <a:pt x="864" y="2974"/>
                  </a:lnTo>
                  <a:lnTo>
                    <a:pt x="864" y="2974"/>
                  </a:lnTo>
                  <a:lnTo>
                    <a:pt x="862" y="2320"/>
                  </a:lnTo>
                  <a:lnTo>
                    <a:pt x="862" y="1664"/>
                  </a:lnTo>
                  <a:lnTo>
                    <a:pt x="862" y="1010"/>
                  </a:lnTo>
                  <a:lnTo>
                    <a:pt x="860" y="356"/>
                  </a:lnTo>
                  <a:lnTo>
                    <a:pt x="860" y="356"/>
                  </a:lnTo>
                  <a:lnTo>
                    <a:pt x="780" y="444"/>
                  </a:lnTo>
                  <a:lnTo>
                    <a:pt x="702" y="534"/>
                  </a:lnTo>
                  <a:lnTo>
                    <a:pt x="628" y="626"/>
                  </a:lnTo>
                  <a:lnTo>
                    <a:pt x="552" y="718"/>
                  </a:lnTo>
                  <a:lnTo>
                    <a:pt x="478" y="810"/>
                  </a:lnTo>
                  <a:lnTo>
                    <a:pt x="400" y="900"/>
                  </a:lnTo>
                  <a:lnTo>
                    <a:pt x="322" y="988"/>
                  </a:lnTo>
                  <a:lnTo>
                    <a:pt x="282" y="1032"/>
                  </a:lnTo>
                  <a:lnTo>
                    <a:pt x="240" y="1074"/>
                  </a:lnTo>
                  <a:lnTo>
                    <a:pt x="240" y="1074"/>
                  </a:lnTo>
                  <a:lnTo>
                    <a:pt x="228" y="1082"/>
                  </a:lnTo>
                  <a:lnTo>
                    <a:pt x="216" y="1090"/>
                  </a:lnTo>
                  <a:lnTo>
                    <a:pt x="202" y="1096"/>
                  </a:lnTo>
                  <a:lnTo>
                    <a:pt x="190" y="1100"/>
                  </a:lnTo>
                  <a:lnTo>
                    <a:pt x="178" y="1104"/>
                  </a:lnTo>
                  <a:lnTo>
                    <a:pt x="164" y="1104"/>
                  </a:lnTo>
                  <a:lnTo>
                    <a:pt x="152" y="1104"/>
                  </a:lnTo>
                  <a:lnTo>
                    <a:pt x="140" y="1104"/>
                  </a:lnTo>
                  <a:lnTo>
                    <a:pt x="114" y="1098"/>
                  </a:lnTo>
                  <a:lnTo>
                    <a:pt x="90" y="1088"/>
                  </a:lnTo>
                  <a:lnTo>
                    <a:pt x="68" y="1074"/>
                  </a:lnTo>
                  <a:lnTo>
                    <a:pt x="50" y="1058"/>
                  </a:lnTo>
                  <a:lnTo>
                    <a:pt x="32" y="1038"/>
                  </a:lnTo>
                  <a:lnTo>
                    <a:pt x="18" y="1016"/>
                  </a:lnTo>
                  <a:lnTo>
                    <a:pt x="8" y="992"/>
                  </a:lnTo>
                  <a:lnTo>
                    <a:pt x="2" y="968"/>
                  </a:lnTo>
                  <a:lnTo>
                    <a:pt x="0" y="954"/>
                  </a:lnTo>
                  <a:lnTo>
                    <a:pt x="0" y="942"/>
                  </a:lnTo>
                  <a:lnTo>
                    <a:pt x="0" y="930"/>
                  </a:lnTo>
                  <a:lnTo>
                    <a:pt x="4" y="916"/>
                  </a:lnTo>
                  <a:lnTo>
                    <a:pt x="8" y="904"/>
                  </a:lnTo>
                  <a:lnTo>
                    <a:pt x="12" y="890"/>
                  </a:lnTo>
                  <a:lnTo>
                    <a:pt x="20" y="878"/>
                  </a:lnTo>
                  <a:lnTo>
                    <a:pt x="28" y="866"/>
                  </a:lnTo>
                  <a:lnTo>
                    <a:pt x="28" y="866"/>
                  </a:lnTo>
                  <a:lnTo>
                    <a:pt x="102" y="770"/>
                  </a:lnTo>
                  <a:lnTo>
                    <a:pt x="178" y="674"/>
                  </a:lnTo>
                  <a:lnTo>
                    <a:pt x="334" y="486"/>
                  </a:lnTo>
                  <a:lnTo>
                    <a:pt x="490" y="300"/>
                  </a:lnTo>
                  <a:lnTo>
                    <a:pt x="646" y="112"/>
                  </a:lnTo>
                  <a:lnTo>
                    <a:pt x="64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682" name="Group 1681"/>
          <p:cNvGrpSpPr>
            <a:grpSpLocks noChangeAspect="1"/>
          </p:cNvGrpSpPr>
          <p:nvPr/>
        </p:nvGrpSpPr>
        <p:grpSpPr>
          <a:xfrm>
            <a:off x="1783826" y="2497169"/>
            <a:ext cx="37503" cy="95979"/>
            <a:chOff x="-3051175" y="-1057275"/>
            <a:chExt cx="2679700" cy="6858000"/>
          </a:xfrm>
        </p:grpSpPr>
        <p:sp>
          <p:nvSpPr>
            <p:cNvPr id="1683"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84" name="Freeform 20"/>
            <p:cNvSpPr>
              <a:spLocks/>
            </p:cNvSpPr>
            <p:nvPr/>
          </p:nvSpPr>
          <p:spPr bwMode="auto">
            <a:xfrm>
              <a:off x="-3051175" y="158751"/>
              <a:ext cx="2679700" cy="5641974"/>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692" name="Group 1691"/>
          <p:cNvGrpSpPr>
            <a:grpSpLocks noChangeAspect="1"/>
          </p:cNvGrpSpPr>
          <p:nvPr/>
        </p:nvGrpSpPr>
        <p:grpSpPr>
          <a:xfrm>
            <a:off x="3411353" y="2545499"/>
            <a:ext cx="77391" cy="158039"/>
            <a:chOff x="-1100137" y="2849733"/>
            <a:chExt cx="150813" cy="307974"/>
          </a:xfrm>
          <a:solidFill>
            <a:schemeClr val="bg1"/>
          </a:solidFill>
        </p:grpSpPr>
        <p:sp>
          <p:nvSpPr>
            <p:cNvPr id="1688" name="Freeform 386"/>
            <p:cNvSpPr>
              <a:spLocks/>
            </p:cNvSpPr>
            <p:nvPr/>
          </p:nvSpPr>
          <p:spPr bwMode="auto">
            <a:xfrm>
              <a:off x="-1023937" y="2849733"/>
              <a:ext cx="52388" cy="52387"/>
            </a:xfrm>
            <a:custGeom>
              <a:avLst/>
              <a:gdLst>
                <a:gd name="T0" fmla="*/ 476 w 1295"/>
                <a:gd name="T1" fmla="*/ 29 h 1304"/>
                <a:gd name="T2" fmla="*/ 534 w 1295"/>
                <a:gd name="T3" fmla="*/ 12 h 1304"/>
                <a:gd name="T4" fmla="*/ 592 w 1295"/>
                <a:gd name="T5" fmla="*/ 3 h 1304"/>
                <a:gd name="T6" fmla="*/ 650 w 1295"/>
                <a:gd name="T7" fmla="*/ 0 h 1304"/>
                <a:gd name="T8" fmla="*/ 707 w 1295"/>
                <a:gd name="T9" fmla="*/ 3 h 1304"/>
                <a:gd name="T10" fmla="*/ 764 w 1295"/>
                <a:gd name="T11" fmla="*/ 12 h 1304"/>
                <a:gd name="T12" fmla="*/ 875 w 1295"/>
                <a:gd name="T13" fmla="*/ 45 h 1304"/>
                <a:gd name="T14" fmla="*/ 978 w 1295"/>
                <a:gd name="T15" fmla="*/ 98 h 1304"/>
                <a:gd name="T16" fmla="*/ 1070 w 1295"/>
                <a:gd name="T17" fmla="*/ 168 h 1304"/>
                <a:gd name="T18" fmla="*/ 1151 w 1295"/>
                <a:gd name="T19" fmla="*/ 252 h 1304"/>
                <a:gd name="T20" fmla="*/ 1216 w 1295"/>
                <a:gd name="T21" fmla="*/ 348 h 1304"/>
                <a:gd name="T22" fmla="*/ 1263 w 1295"/>
                <a:gd name="T23" fmla="*/ 454 h 1304"/>
                <a:gd name="T24" fmla="*/ 1279 w 1295"/>
                <a:gd name="T25" fmla="*/ 510 h 1304"/>
                <a:gd name="T26" fmla="*/ 1290 w 1295"/>
                <a:gd name="T27" fmla="*/ 567 h 1304"/>
                <a:gd name="T28" fmla="*/ 1295 w 1295"/>
                <a:gd name="T29" fmla="*/ 627 h 1304"/>
                <a:gd name="T30" fmla="*/ 1293 w 1295"/>
                <a:gd name="T31" fmla="*/ 686 h 1304"/>
                <a:gd name="T32" fmla="*/ 1293 w 1295"/>
                <a:gd name="T33" fmla="*/ 736 h 1304"/>
                <a:gd name="T34" fmla="*/ 1283 w 1295"/>
                <a:gd name="T35" fmla="*/ 809 h 1304"/>
                <a:gd name="T36" fmla="*/ 1264 w 1295"/>
                <a:gd name="T37" fmla="*/ 877 h 1304"/>
                <a:gd name="T38" fmla="*/ 1238 w 1295"/>
                <a:gd name="T39" fmla="*/ 942 h 1304"/>
                <a:gd name="T40" fmla="*/ 1202 w 1295"/>
                <a:gd name="T41" fmla="*/ 1002 h 1304"/>
                <a:gd name="T42" fmla="*/ 1160 w 1295"/>
                <a:gd name="T43" fmla="*/ 1058 h 1304"/>
                <a:gd name="T44" fmla="*/ 1111 w 1295"/>
                <a:gd name="T45" fmla="*/ 1108 h 1304"/>
                <a:gd name="T46" fmla="*/ 1057 w 1295"/>
                <a:gd name="T47" fmla="*/ 1154 h 1304"/>
                <a:gd name="T48" fmla="*/ 999 w 1295"/>
                <a:gd name="T49" fmla="*/ 1195 h 1304"/>
                <a:gd name="T50" fmla="*/ 936 w 1295"/>
                <a:gd name="T51" fmla="*/ 1229 h 1304"/>
                <a:gd name="T52" fmla="*/ 869 w 1295"/>
                <a:gd name="T53" fmla="*/ 1257 h 1304"/>
                <a:gd name="T54" fmla="*/ 801 w 1295"/>
                <a:gd name="T55" fmla="*/ 1280 h 1304"/>
                <a:gd name="T56" fmla="*/ 732 w 1295"/>
                <a:gd name="T57" fmla="*/ 1295 h 1304"/>
                <a:gd name="T58" fmla="*/ 660 w 1295"/>
                <a:gd name="T59" fmla="*/ 1303 h 1304"/>
                <a:gd name="T60" fmla="*/ 590 w 1295"/>
                <a:gd name="T61" fmla="*/ 1304 h 1304"/>
                <a:gd name="T62" fmla="*/ 520 w 1295"/>
                <a:gd name="T63" fmla="*/ 1298 h 1304"/>
                <a:gd name="T64" fmla="*/ 450 w 1295"/>
                <a:gd name="T65" fmla="*/ 1284 h 1304"/>
                <a:gd name="T66" fmla="*/ 384 w 1295"/>
                <a:gd name="T67" fmla="*/ 1262 h 1304"/>
                <a:gd name="T68" fmla="*/ 320 w 1295"/>
                <a:gd name="T69" fmla="*/ 1232 h 1304"/>
                <a:gd name="T70" fmla="*/ 261 w 1295"/>
                <a:gd name="T71" fmla="*/ 1193 h 1304"/>
                <a:gd name="T72" fmla="*/ 206 w 1295"/>
                <a:gd name="T73" fmla="*/ 1145 h 1304"/>
                <a:gd name="T74" fmla="*/ 171 w 1295"/>
                <a:gd name="T75" fmla="*/ 1108 h 1304"/>
                <a:gd name="T76" fmla="*/ 128 w 1295"/>
                <a:gd name="T77" fmla="*/ 1061 h 1304"/>
                <a:gd name="T78" fmla="*/ 92 w 1295"/>
                <a:gd name="T79" fmla="*/ 1009 h 1304"/>
                <a:gd name="T80" fmla="*/ 61 w 1295"/>
                <a:gd name="T81" fmla="*/ 955 h 1304"/>
                <a:gd name="T82" fmla="*/ 38 w 1295"/>
                <a:gd name="T83" fmla="*/ 898 h 1304"/>
                <a:gd name="T84" fmla="*/ 19 w 1295"/>
                <a:gd name="T85" fmla="*/ 839 h 1304"/>
                <a:gd name="T86" fmla="*/ 7 w 1295"/>
                <a:gd name="T87" fmla="*/ 780 h 1304"/>
                <a:gd name="T88" fmla="*/ 1 w 1295"/>
                <a:gd name="T89" fmla="*/ 719 h 1304"/>
                <a:gd name="T90" fmla="*/ 0 w 1295"/>
                <a:gd name="T91" fmla="*/ 659 h 1304"/>
                <a:gd name="T92" fmla="*/ 15 w 1295"/>
                <a:gd name="T93" fmla="*/ 538 h 1304"/>
                <a:gd name="T94" fmla="*/ 51 w 1295"/>
                <a:gd name="T95" fmla="*/ 421 h 1304"/>
                <a:gd name="T96" fmla="*/ 107 w 1295"/>
                <a:gd name="T97" fmla="*/ 311 h 1304"/>
                <a:gd name="T98" fmla="*/ 154 w 1295"/>
                <a:gd name="T99" fmla="*/ 245 h 1304"/>
                <a:gd name="T100" fmla="*/ 195 w 1295"/>
                <a:gd name="T101" fmla="*/ 198 h 1304"/>
                <a:gd name="T102" fmla="*/ 238 w 1295"/>
                <a:gd name="T103" fmla="*/ 156 h 1304"/>
                <a:gd name="T104" fmla="*/ 287 w 1295"/>
                <a:gd name="T105" fmla="*/ 118 h 1304"/>
                <a:gd name="T106" fmla="*/ 340 w 1295"/>
                <a:gd name="T107" fmla="*/ 85 h 1304"/>
                <a:gd name="T108" fmla="*/ 396 w 1295"/>
                <a:gd name="T109" fmla="*/ 57 h 1304"/>
                <a:gd name="T110" fmla="*/ 457 w 1295"/>
                <a:gd name="T111" fmla="*/ 36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95" h="1304">
                  <a:moveTo>
                    <a:pt x="457" y="36"/>
                  </a:moveTo>
                  <a:lnTo>
                    <a:pt x="457" y="36"/>
                  </a:lnTo>
                  <a:lnTo>
                    <a:pt x="476" y="29"/>
                  </a:lnTo>
                  <a:lnTo>
                    <a:pt x="495" y="22"/>
                  </a:lnTo>
                  <a:lnTo>
                    <a:pt x="515" y="17"/>
                  </a:lnTo>
                  <a:lnTo>
                    <a:pt x="534" y="12"/>
                  </a:lnTo>
                  <a:lnTo>
                    <a:pt x="553" y="9"/>
                  </a:lnTo>
                  <a:lnTo>
                    <a:pt x="573" y="5"/>
                  </a:lnTo>
                  <a:lnTo>
                    <a:pt x="592" y="3"/>
                  </a:lnTo>
                  <a:lnTo>
                    <a:pt x="612" y="1"/>
                  </a:lnTo>
                  <a:lnTo>
                    <a:pt x="631" y="0"/>
                  </a:lnTo>
                  <a:lnTo>
                    <a:pt x="650" y="0"/>
                  </a:lnTo>
                  <a:lnTo>
                    <a:pt x="670" y="0"/>
                  </a:lnTo>
                  <a:lnTo>
                    <a:pt x="689" y="1"/>
                  </a:lnTo>
                  <a:lnTo>
                    <a:pt x="707" y="3"/>
                  </a:lnTo>
                  <a:lnTo>
                    <a:pt x="727" y="5"/>
                  </a:lnTo>
                  <a:lnTo>
                    <a:pt x="746" y="8"/>
                  </a:lnTo>
                  <a:lnTo>
                    <a:pt x="764" y="12"/>
                  </a:lnTo>
                  <a:lnTo>
                    <a:pt x="802" y="20"/>
                  </a:lnTo>
                  <a:lnTo>
                    <a:pt x="839" y="32"/>
                  </a:lnTo>
                  <a:lnTo>
                    <a:pt x="875" y="45"/>
                  </a:lnTo>
                  <a:lnTo>
                    <a:pt x="910" y="61"/>
                  </a:lnTo>
                  <a:lnTo>
                    <a:pt x="944" y="78"/>
                  </a:lnTo>
                  <a:lnTo>
                    <a:pt x="978" y="98"/>
                  </a:lnTo>
                  <a:lnTo>
                    <a:pt x="1010" y="119"/>
                  </a:lnTo>
                  <a:lnTo>
                    <a:pt x="1041" y="143"/>
                  </a:lnTo>
                  <a:lnTo>
                    <a:pt x="1070" y="168"/>
                  </a:lnTo>
                  <a:lnTo>
                    <a:pt x="1099" y="195"/>
                  </a:lnTo>
                  <a:lnTo>
                    <a:pt x="1125" y="222"/>
                  </a:lnTo>
                  <a:lnTo>
                    <a:pt x="1151" y="252"/>
                  </a:lnTo>
                  <a:lnTo>
                    <a:pt x="1174" y="283"/>
                  </a:lnTo>
                  <a:lnTo>
                    <a:pt x="1197" y="315"/>
                  </a:lnTo>
                  <a:lnTo>
                    <a:pt x="1216" y="348"/>
                  </a:lnTo>
                  <a:lnTo>
                    <a:pt x="1234" y="383"/>
                  </a:lnTo>
                  <a:lnTo>
                    <a:pt x="1250" y="418"/>
                  </a:lnTo>
                  <a:lnTo>
                    <a:pt x="1263" y="454"/>
                  </a:lnTo>
                  <a:lnTo>
                    <a:pt x="1269" y="473"/>
                  </a:lnTo>
                  <a:lnTo>
                    <a:pt x="1274" y="491"/>
                  </a:lnTo>
                  <a:lnTo>
                    <a:pt x="1279" y="510"/>
                  </a:lnTo>
                  <a:lnTo>
                    <a:pt x="1283" y="529"/>
                  </a:lnTo>
                  <a:lnTo>
                    <a:pt x="1286" y="548"/>
                  </a:lnTo>
                  <a:lnTo>
                    <a:pt x="1290" y="567"/>
                  </a:lnTo>
                  <a:lnTo>
                    <a:pt x="1292" y="587"/>
                  </a:lnTo>
                  <a:lnTo>
                    <a:pt x="1294" y="606"/>
                  </a:lnTo>
                  <a:lnTo>
                    <a:pt x="1295" y="627"/>
                  </a:lnTo>
                  <a:lnTo>
                    <a:pt x="1295" y="646"/>
                  </a:lnTo>
                  <a:lnTo>
                    <a:pt x="1294" y="665"/>
                  </a:lnTo>
                  <a:lnTo>
                    <a:pt x="1293" y="686"/>
                  </a:lnTo>
                  <a:lnTo>
                    <a:pt x="1293" y="686"/>
                  </a:lnTo>
                  <a:lnTo>
                    <a:pt x="1294" y="711"/>
                  </a:lnTo>
                  <a:lnTo>
                    <a:pt x="1293" y="736"/>
                  </a:lnTo>
                  <a:lnTo>
                    <a:pt x="1291" y="761"/>
                  </a:lnTo>
                  <a:lnTo>
                    <a:pt x="1287" y="784"/>
                  </a:lnTo>
                  <a:lnTo>
                    <a:pt x="1283" y="809"/>
                  </a:lnTo>
                  <a:lnTo>
                    <a:pt x="1277" y="832"/>
                  </a:lnTo>
                  <a:lnTo>
                    <a:pt x="1271" y="855"/>
                  </a:lnTo>
                  <a:lnTo>
                    <a:pt x="1264" y="877"/>
                  </a:lnTo>
                  <a:lnTo>
                    <a:pt x="1256" y="900"/>
                  </a:lnTo>
                  <a:lnTo>
                    <a:pt x="1247" y="921"/>
                  </a:lnTo>
                  <a:lnTo>
                    <a:pt x="1238" y="942"/>
                  </a:lnTo>
                  <a:lnTo>
                    <a:pt x="1226" y="963"/>
                  </a:lnTo>
                  <a:lnTo>
                    <a:pt x="1214" y="983"/>
                  </a:lnTo>
                  <a:lnTo>
                    <a:pt x="1202" y="1002"/>
                  </a:lnTo>
                  <a:lnTo>
                    <a:pt x="1189" y="1022"/>
                  </a:lnTo>
                  <a:lnTo>
                    <a:pt x="1174" y="1040"/>
                  </a:lnTo>
                  <a:lnTo>
                    <a:pt x="1160" y="1058"/>
                  </a:lnTo>
                  <a:lnTo>
                    <a:pt x="1144" y="1076"/>
                  </a:lnTo>
                  <a:lnTo>
                    <a:pt x="1128" y="1092"/>
                  </a:lnTo>
                  <a:lnTo>
                    <a:pt x="1111" y="1108"/>
                  </a:lnTo>
                  <a:lnTo>
                    <a:pt x="1094" y="1125"/>
                  </a:lnTo>
                  <a:lnTo>
                    <a:pt x="1075" y="1140"/>
                  </a:lnTo>
                  <a:lnTo>
                    <a:pt x="1057" y="1154"/>
                  </a:lnTo>
                  <a:lnTo>
                    <a:pt x="1038" y="1169"/>
                  </a:lnTo>
                  <a:lnTo>
                    <a:pt x="1018" y="1182"/>
                  </a:lnTo>
                  <a:lnTo>
                    <a:pt x="999" y="1195"/>
                  </a:lnTo>
                  <a:lnTo>
                    <a:pt x="978" y="1206"/>
                  </a:lnTo>
                  <a:lnTo>
                    <a:pt x="957" y="1218"/>
                  </a:lnTo>
                  <a:lnTo>
                    <a:pt x="936" y="1229"/>
                  </a:lnTo>
                  <a:lnTo>
                    <a:pt x="914" y="1239"/>
                  </a:lnTo>
                  <a:lnTo>
                    <a:pt x="892" y="1248"/>
                  </a:lnTo>
                  <a:lnTo>
                    <a:pt x="869" y="1257"/>
                  </a:lnTo>
                  <a:lnTo>
                    <a:pt x="847" y="1265"/>
                  </a:lnTo>
                  <a:lnTo>
                    <a:pt x="825" y="1272"/>
                  </a:lnTo>
                  <a:lnTo>
                    <a:pt x="801" y="1280"/>
                  </a:lnTo>
                  <a:lnTo>
                    <a:pt x="779" y="1285"/>
                  </a:lnTo>
                  <a:lnTo>
                    <a:pt x="755" y="1290"/>
                  </a:lnTo>
                  <a:lnTo>
                    <a:pt x="732" y="1295"/>
                  </a:lnTo>
                  <a:lnTo>
                    <a:pt x="708" y="1298"/>
                  </a:lnTo>
                  <a:lnTo>
                    <a:pt x="684" y="1301"/>
                  </a:lnTo>
                  <a:lnTo>
                    <a:pt x="660" y="1303"/>
                  </a:lnTo>
                  <a:lnTo>
                    <a:pt x="637" y="1304"/>
                  </a:lnTo>
                  <a:lnTo>
                    <a:pt x="614" y="1304"/>
                  </a:lnTo>
                  <a:lnTo>
                    <a:pt x="590" y="1304"/>
                  </a:lnTo>
                  <a:lnTo>
                    <a:pt x="567" y="1303"/>
                  </a:lnTo>
                  <a:lnTo>
                    <a:pt x="543" y="1301"/>
                  </a:lnTo>
                  <a:lnTo>
                    <a:pt x="520" y="1298"/>
                  </a:lnTo>
                  <a:lnTo>
                    <a:pt x="496" y="1294"/>
                  </a:lnTo>
                  <a:lnTo>
                    <a:pt x="473" y="1290"/>
                  </a:lnTo>
                  <a:lnTo>
                    <a:pt x="450" y="1284"/>
                  </a:lnTo>
                  <a:lnTo>
                    <a:pt x="428" y="1278"/>
                  </a:lnTo>
                  <a:lnTo>
                    <a:pt x="406" y="1270"/>
                  </a:lnTo>
                  <a:lnTo>
                    <a:pt x="384" y="1262"/>
                  </a:lnTo>
                  <a:lnTo>
                    <a:pt x="363" y="1253"/>
                  </a:lnTo>
                  <a:lnTo>
                    <a:pt x="341" y="1243"/>
                  </a:lnTo>
                  <a:lnTo>
                    <a:pt x="320" y="1232"/>
                  </a:lnTo>
                  <a:lnTo>
                    <a:pt x="300" y="1219"/>
                  </a:lnTo>
                  <a:lnTo>
                    <a:pt x="280" y="1207"/>
                  </a:lnTo>
                  <a:lnTo>
                    <a:pt x="261" y="1193"/>
                  </a:lnTo>
                  <a:lnTo>
                    <a:pt x="241" y="1179"/>
                  </a:lnTo>
                  <a:lnTo>
                    <a:pt x="223" y="1162"/>
                  </a:lnTo>
                  <a:lnTo>
                    <a:pt x="206" y="1145"/>
                  </a:lnTo>
                  <a:lnTo>
                    <a:pt x="188" y="1128"/>
                  </a:lnTo>
                  <a:lnTo>
                    <a:pt x="171" y="1108"/>
                  </a:lnTo>
                  <a:lnTo>
                    <a:pt x="171" y="1108"/>
                  </a:lnTo>
                  <a:lnTo>
                    <a:pt x="156" y="1093"/>
                  </a:lnTo>
                  <a:lnTo>
                    <a:pt x="142" y="1077"/>
                  </a:lnTo>
                  <a:lnTo>
                    <a:pt x="128" y="1061"/>
                  </a:lnTo>
                  <a:lnTo>
                    <a:pt x="115" y="1043"/>
                  </a:lnTo>
                  <a:lnTo>
                    <a:pt x="103" y="1026"/>
                  </a:lnTo>
                  <a:lnTo>
                    <a:pt x="92" y="1009"/>
                  </a:lnTo>
                  <a:lnTo>
                    <a:pt x="80" y="991"/>
                  </a:lnTo>
                  <a:lnTo>
                    <a:pt x="70" y="973"/>
                  </a:lnTo>
                  <a:lnTo>
                    <a:pt x="61" y="955"/>
                  </a:lnTo>
                  <a:lnTo>
                    <a:pt x="53" y="936"/>
                  </a:lnTo>
                  <a:lnTo>
                    <a:pt x="45" y="917"/>
                  </a:lnTo>
                  <a:lnTo>
                    <a:pt x="38" y="898"/>
                  </a:lnTo>
                  <a:lnTo>
                    <a:pt x="30" y="879"/>
                  </a:lnTo>
                  <a:lnTo>
                    <a:pt x="24" y="859"/>
                  </a:lnTo>
                  <a:lnTo>
                    <a:pt x="19" y="839"/>
                  </a:lnTo>
                  <a:lnTo>
                    <a:pt x="14" y="820"/>
                  </a:lnTo>
                  <a:lnTo>
                    <a:pt x="11" y="800"/>
                  </a:lnTo>
                  <a:lnTo>
                    <a:pt x="7" y="780"/>
                  </a:lnTo>
                  <a:lnTo>
                    <a:pt x="5" y="760"/>
                  </a:lnTo>
                  <a:lnTo>
                    <a:pt x="3" y="740"/>
                  </a:lnTo>
                  <a:lnTo>
                    <a:pt x="1" y="719"/>
                  </a:lnTo>
                  <a:lnTo>
                    <a:pt x="0" y="699"/>
                  </a:lnTo>
                  <a:lnTo>
                    <a:pt x="0" y="680"/>
                  </a:lnTo>
                  <a:lnTo>
                    <a:pt x="0" y="659"/>
                  </a:lnTo>
                  <a:lnTo>
                    <a:pt x="3" y="618"/>
                  </a:lnTo>
                  <a:lnTo>
                    <a:pt x="8" y="578"/>
                  </a:lnTo>
                  <a:lnTo>
                    <a:pt x="15" y="538"/>
                  </a:lnTo>
                  <a:lnTo>
                    <a:pt x="25" y="498"/>
                  </a:lnTo>
                  <a:lnTo>
                    <a:pt x="37" y="458"/>
                  </a:lnTo>
                  <a:lnTo>
                    <a:pt x="51" y="421"/>
                  </a:lnTo>
                  <a:lnTo>
                    <a:pt x="67" y="383"/>
                  </a:lnTo>
                  <a:lnTo>
                    <a:pt x="86" y="346"/>
                  </a:lnTo>
                  <a:lnTo>
                    <a:pt x="107" y="311"/>
                  </a:lnTo>
                  <a:lnTo>
                    <a:pt x="129" y="277"/>
                  </a:lnTo>
                  <a:lnTo>
                    <a:pt x="142" y="261"/>
                  </a:lnTo>
                  <a:lnTo>
                    <a:pt x="154" y="245"/>
                  </a:lnTo>
                  <a:lnTo>
                    <a:pt x="167" y="228"/>
                  </a:lnTo>
                  <a:lnTo>
                    <a:pt x="180" y="213"/>
                  </a:lnTo>
                  <a:lnTo>
                    <a:pt x="195" y="198"/>
                  </a:lnTo>
                  <a:lnTo>
                    <a:pt x="209" y="183"/>
                  </a:lnTo>
                  <a:lnTo>
                    <a:pt x="223" y="169"/>
                  </a:lnTo>
                  <a:lnTo>
                    <a:pt x="238" y="156"/>
                  </a:lnTo>
                  <a:lnTo>
                    <a:pt x="255" y="143"/>
                  </a:lnTo>
                  <a:lnTo>
                    <a:pt x="271" y="130"/>
                  </a:lnTo>
                  <a:lnTo>
                    <a:pt x="287" y="118"/>
                  </a:lnTo>
                  <a:lnTo>
                    <a:pt x="305" y="106"/>
                  </a:lnTo>
                  <a:lnTo>
                    <a:pt x="322" y="96"/>
                  </a:lnTo>
                  <a:lnTo>
                    <a:pt x="340" y="85"/>
                  </a:lnTo>
                  <a:lnTo>
                    <a:pt x="359" y="75"/>
                  </a:lnTo>
                  <a:lnTo>
                    <a:pt x="378" y="66"/>
                  </a:lnTo>
                  <a:lnTo>
                    <a:pt x="396" y="57"/>
                  </a:lnTo>
                  <a:lnTo>
                    <a:pt x="417" y="50"/>
                  </a:lnTo>
                  <a:lnTo>
                    <a:pt x="436" y="42"/>
                  </a:lnTo>
                  <a:lnTo>
                    <a:pt x="457" y="36"/>
                  </a:lnTo>
                  <a:lnTo>
                    <a:pt x="457"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89" name="Freeform 387"/>
            <p:cNvSpPr>
              <a:spLocks/>
            </p:cNvSpPr>
            <p:nvPr/>
          </p:nvSpPr>
          <p:spPr bwMode="auto">
            <a:xfrm>
              <a:off x="-1100137" y="2898945"/>
              <a:ext cx="150813" cy="258762"/>
            </a:xfrm>
            <a:custGeom>
              <a:avLst/>
              <a:gdLst>
                <a:gd name="T0" fmla="*/ 1247 w 3712"/>
                <a:gd name="T1" fmla="*/ 176 h 6355"/>
                <a:gd name="T2" fmla="*/ 1336 w 3712"/>
                <a:gd name="T3" fmla="*/ 105 h 6355"/>
                <a:gd name="T4" fmla="*/ 1548 w 3712"/>
                <a:gd name="T5" fmla="*/ 18 h 6355"/>
                <a:gd name="T6" fmla="*/ 1779 w 3712"/>
                <a:gd name="T7" fmla="*/ 3 h 6355"/>
                <a:gd name="T8" fmla="*/ 2000 w 3712"/>
                <a:gd name="T9" fmla="*/ 64 h 6355"/>
                <a:gd name="T10" fmla="*/ 2112 w 3712"/>
                <a:gd name="T11" fmla="*/ 132 h 6355"/>
                <a:gd name="T12" fmla="*/ 2193 w 3712"/>
                <a:gd name="T13" fmla="*/ 212 h 6355"/>
                <a:gd name="T14" fmla="*/ 2247 w 3712"/>
                <a:gd name="T15" fmla="*/ 293 h 6355"/>
                <a:gd name="T16" fmla="*/ 2413 w 3712"/>
                <a:gd name="T17" fmla="*/ 662 h 6355"/>
                <a:gd name="T18" fmla="*/ 2649 w 3712"/>
                <a:gd name="T19" fmla="*/ 1265 h 6355"/>
                <a:gd name="T20" fmla="*/ 2811 w 3712"/>
                <a:gd name="T21" fmla="*/ 1514 h 6355"/>
                <a:gd name="T22" fmla="*/ 3317 w 3712"/>
                <a:gd name="T23" fmla="*/ 1777 h 6355"/>
                <a:gd name="T24" fmla="*/ 3646 w 3712"/>
                <a:gd name="T25" fmla="*/ 1970 h 6355"/>
                <a:gd name="T26" fmla="*/ 3685 w 3712"/>
                <a:gd name="T27" fmla="*/ 2043 h 6355"/>
                <a:gd name="T28" fmla="*/ 3710 w 3712"/>
                <a:gd name="T29" fmla="*/ 2141 h 6355"/>
                <a:gd name="T30" fmla="*/ 3708 w 3712"/>
                <a:gd name="T31" fmla="*/ 2241 h 6355"/>
                <a:gd name="T32" fmla="*/ 3676 w 3712"/>
                <a:gd name="T33" fmla="*/ 2334 h 6355"/>
                <a:gd name="T34" fmla="*/ 3616 w 3712"/>
                <a:gd name="T35" fmla="*/ 2413 h 6355"/>
                <a:gd name="T36" fmla="*/ 3543 w 3712"/>
                <a:gd name="T37" fmla="*/ 2466 h 6355"/>
                <a:gd name="T38" fmla="*/ 3448 w 3712"/>
                <a:gd name="T39" fmla="*/ 2496 h 6355"/>
                <a:gd name="T40" fmla="*/ 3351 w 3712"/>
                <a:gd name="T41" fmla="*/ 2487 h 6355"/>
                <a:gd name="T42" fmla="*/ 3191 w 3712"/>
                <a:gd name="T43" fmla="*/ 2421 h 6355"/>
                <a:gd name="T44" fmla="*/ 2966 w 3712"/>
                <a:gd name="T45" fmla="*/ 2307 h 6355"/>
                <a:gd name="T46" fmla="*/ 2541 w 3712"/>
                <a:gd name="T47" fmla="*/ 2103 h 6355"/>
                <a:gd name="T48" fmla="*/ 2239 w 3712"/>
                <a:gd name="T49" fmla="*/ 1923 h 6355"/>
                <a:gd name="T50" fmla="*/ 2044 w 3712"/>
                <a:gd name="T51" fmla="*/ 1463 h 6355"/>
                <a:gd name="T52" fmla="*/ 1671 w 3712"/>
                <a:gd name="T53" fmla="*/ 1703 h 6355"/>
                <a:gd name="T54" fmla="*/ 1232 w 3712"/>
                <a:gd name="T55" fmla="*/ 2528 h 6355"/>
                <a:gd name="T56" fmla="*/ 1726 w 3712"/>
                <a:gd name="T57" fmla="*/ 3703 h 6355"/>
                <a:gd name="T58" fmla="*/ 1784 w 3712"/>
                <a:gd name="T59" fmla="*/ 3875 h 6355"/>
                <a:gd name="T60" fmla="*/ 1810 w 3712"/>
                <a:gd name="T61" fmla="*/ 4054 h 6355"/>
                <a:gd name="T62" fmla="*/ 1805 w 3712"/>
                <a:gd name="T63" fmla="*/ 4235 h 6355"/>
                <a:gd name="T64" fmla="*/ 1776 w 3712"/>
                <a:gd name="T65" fmla="*/ 4416 h 6355"/>
                <a:gd name="T66" fmla="*/ 1700 w 3712"/>
                <a:gd name="T67" fmla="*/ 4646 h 6355"/>
                <a:gd name="T68" fmla="*/ 1512 w 3712"/>
                <a:gd name="T69" fmla="*/ 5216 h 6355"/>
                <a:gd name="T70" fmla="*/ 1295 w 3712"/>
                <a:gd name="T71" fmla="*/ 5882 h 6355"/>
                <a:gd name="T72" fmla="*/ 1168 w 3712"/>
                <a:gd name="T73" fmla="*/ 6176 h 6355"/>
                <a:gd name="T74" fmla="*/ 1084 w 3712"/>
                <a:gd name="T75" fmla="*/ 6265 h 6355"/>
                <a:gd name="T76" fmla="*/ 983 w 3712"/>
                <a:gd name="T77" fmla="*/ 6323 h 6355"/>
                <a:gd name="T78" fmla="*/ 872 w 3712"/>
                <a:gd name="T79" fmla="*/ 6351 h 6355"/>
                <a:gd name="T80" fmla="*/ 755 w 3712"/>
                <a:gd name="T81" fmla="*/ 6353 h 6355"/>
                <a:gd name="T82" fmla="*/ 640 w 3712"/>
                <a:gd name="T83" fmla="*/ 6330 h 6355"/>
                <a:gd name="T84" fmla="*/ 533 w 3712"/>
                <a:gd name="T85" fmla="*/ 6284 h 6355"/>
                <a:gd name="T86" fmla="*/ 438 w 3712"/>
                <a:gd name="T87" fmla="*/ 6217 h 6355"/>
                <a:gd name="T88" fmla="*/ 363 w 3712"/>
                <a:gd name="T89" fmla="*/ 6131 h 6355"/>
                <a:gd name="T90" fmla="*/ 313 w 3712"/>
                <a:gd name="T91" fmla="*/ 6027 h 6355"/>
                <a:gd name="T92" fmla="*/ 295 w 3712"/>
                <a:gd name="T93" fmla="*/ 5909 h 6355"/>
                <a:gd name="T94" fmla="*/ 352 w 3712"/>
                <a:gd name="T95" fmla="*/ 5629 h 6355"/>
                <a:gd name="T96" fmla="*/ 547 w 3712"/>
                <a:gd name="T97" fmla="*/ 4989 h 6355"/>
                <a:gd name="T98" fmla="*/ 816 w 3712"/>
                <a:gd name="T99" fmla="*/ 4140 h 6355"/>
                <a:gd name="T100" fmla="*/ 647 w 3712"/>
                <a:gd name="T101" fmla="*/ 3673 h 6355"/>
                <a:gd name="T102" fmla="*/ 254 w 3712"/>
                <a:gd name="T103" fmla="*/ 2757 h 6355"/>
                <a:gd name="T104" fmla="*/ 51 w 3712"/>
                <a:gd name="T105" fmla="*/ 2269 h 6355"/>
                <a:gd name="T106" fmla="*/ 6 w 3712"/>
                <a:gd name="T107" fmla="*/ 2094 h 6355"/>
                <a:gd name="T108" fmla="*/ 5 w 3712"/>
                <a:gd name="T109" fmla="*/ 1915 h 6355"/>
                <a:gd name="T110" fmla="*/ 43 w 3712"/>
                <a:gd name="T111" fmla="*/ 1737 h 6355"/>
                <a:gd name="T112" fmla="*/ 115 w 3712"/>
                <a:gd name="T113" fmla="*/ 1570 h 6355"/>
                <a:gd name="T114" fmla="*/ 216 w 3712"/>
                <a:gd name="T115" fmla="*/ 1421 h 6355"/>
                <a:gd name="T116" fmla="*/ 1196 w 3712"/>
                <a:gd name="T117" fmla="*/ 232 h 6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12" h="6355">
                  <a:moveTo>
                    <a:pt x="1196" y="232"/>
                  </a:moveTo>
                  <a:lnTo>
                    <a:pt x="1196" y="232"/>
                  </a:lnTo>
                  <a:lnTo>
                    <a:pt x="1208" y="217"/>
                  </a:lnTo>
                  <a:lnTo>
                    <a:pt x="1220" y="202"/>
                  </a:lnTo>
                  <a:lnTo>
                    <a:pt x="1234" y="189"/>
                  </a:lnTo>
                  <a:lnTo>
                    <a:pt x="1247" y="176"/>
                  </a:lnTo>
                  <a:lnTo>
                    <a:pt x="1260" y="162"/>
                  </a:lnTo>
                  <a:lnTo>
                    <a:pt x="1274" y="150"/>
                  </a:lnTo>
                  <a:lnTo>
                    <a:pt x="1290" y="138"/>
                  </a:lnTo>
                  <a:lnTo>
                    <a:pt x="1305" y="127"/>
                  </a:lnTo>
                  <a:lnTo>
                    <a:pt x="1320" y="115"/>
                  </a:lnTo>
                  <a:lnTo>
                    <a:pt x="1336" y="105"/>
                  </a:lnTo>
                  <a:lnTo>
                    <a:pt x="1368" y="86"/>
                  </a:lnTo>
                  <a:lnTo>
                    <a:pt x="1403" y="68"/>
                  </a:lnTo>
                  <a:lnTo>
                    <a:pt x="1437" y="52"/>
                  </a:lnTo>
                  <a:lnTo>
                    <a:pt x="1473" y="39"/>
                  </a:lnTo>
                  <a:lnTo>
                    <a:pt x="1510" y="28"/>
                  </a:lnTo>
                  <a:lnTo>
                    <a:pt x="1548" y="18"/>
                  </a:lnTo>
                  <a:lnTo>
                    <a:pt x="1585" y="11"/>
                  </a:lnTo>
                  <a:lnTo>
                    <a:pt x="1624" y="5"/>
                  </a:lnTo>
                  <a:lnTo>
                    <a:pt x="1663" y="1"/>
                  </a:lnTo>
                  <a:lnTo>
                    <a:pt x="1702" y="0"/>
                  </a:lnTo>
                  <a:lnTo>
                    <a:pt x="1740" y="1"/>
                  </a:lnTo>
                  <a:lnTo>
                    <a:pt x="1779" y="3"/>
                  </a:lnTo>
                  <a:lnTo>
                    <a:pt x="1818" y="9"/>
                  </a:lnTo>
                  <a:lnTo>
                    <a:pt x="1855" y="16"/>
                  </a:lnTo>
                  <a:lnTo>
                    <a:pt x="1893" y="24"/>
                  </a:lnTo>
                  <a:lnTo>
                    <a:pt x="1930" y="35"/>
                  </a:lnTo>
                  <a:lnTo>
                    <a:pt x="1966" y="48"/>
                  </a:lnTo>
                  <a:lnTo>
                    <a:pt x="2000" y="64"/>
                  </a:lnTo>
                  <a:lnTo>
                    <a:pt x="2034" y="80"/>
                  </a:lnTo>
                  <a:lnTo>
                    <a:pt x="2050" y="90"/>
                  </a:lnTo>
                  <a:lnTo>
                    <a:pt x="2066" y="99"/>
                  </a:lnTo>
                  <a:lnTo>
                    <a:pt x="2082" y="110"/>
                  </a:lnTo>
                  <a:lnTo>
                    <a:pt x="2097" y="121"/>
                  </a:lnTo>
                  <a:lnTo>
                    <a:pt x="2112" y="132"/>
                  </a:lnTo>
                  <a:lnTo>
                    <a:pt x="2127" y="144"/>
                  </a:lnTo>
                  <a:lnTo>
                    <a:pt x="2141" y="157"/>
                  </a:lnTo>
                  <a:lnTo>
                    <a:pt x="2155" y="169"/>
                  </a:lnTo>
                  <a:lnTo>
                    <a:pt x="2168" y="184"/>
                  </a:lnTo>
                  <a:lnTo>
                    <a:pt x="2181" y="197"/>
                  </a:lnTo>
                  <a:lnTo>
                    <a:pt x="2193" y="212"/>
                  </a:lnTo>
                  <a:lnTo>
                    <a:pt x="2205" y="228"/>
                  </a:lnTo>
                  <a:lnTo>
                    <a:pt x="2216" y="243"/>
                  </a:lnTo>
                  <a:lnTo>
                    <a:pt x="2227" y="259"/>
                  </a:lnTo>
                  <a:lnTo>
                    <a:pt x="2237" y="275"/>
                  </a:lnTo>
                  <a:lnTo>
                    <a:pt x="2247" y="293"/>
                  </a:lnTo>
                  <a:lnTo>
                    <a:pt x="2247" y="293"/>
                  </a:lnTo>
                  <a:lnTo>
                    <a:pt x="2265" y="328"/>
                  </a:lnTo>
                  <a:lnTo>
                    <a:pt x="2284" y="365"/>
                  </a:lnTo>
                  <a:lnTo>
                    <a:pt x="2318" y="438"/>
                  </a:lnTo>
                  <a:lnTo>
                    <a:pt x="2351" y="512"/>
                  </a:lnTo>
                  <a:lnTo>
                    <a:pt x="2383" y="586"/>
                  </a:lnTo>
                  <a:lnTo>
                    <a:pt x="2413" y="662"/>
                  </a:lnTo>
                  <a:lnTo>
                    <a:pt x="2442" y="737"/>
                  </a:lnTo>
                  <a:lnTo>
                    <a:pt x="2499" y="889"/>
                  </a:lnTo>
                  <a:lnTo>
                    <a:pt x="2557" y="1040"/>
                  </a:lnTo>
                  <a:lnTo>
                    <a:pt x="2586" y="1115"/>
                  </a:lnTo>
                  <a:lnTo>
                    <a:pt x="2617" y="1190"/>
                  </a:lnTo>
                  <a:lnTo>
                    <a:pt x="2649" y="1265"/>
                  </a:lnTo>
                  <a:lnTo>
                    <a:pt x="2682" y="1338"/>
                  </a:lnTo>
                  <a:lnTo>
                    <a:pt x="2718" y="1410"/>
                  </a:lnTo>
                  <a:lnTo>
                    <a:pt x="2736" y="1446"/>
                  </a:lnTo>
                  <a:lnTo>
                    <a:pt x="2756" y="1482"/>
                  </a:lnTo>
                  <a:lnTo>
                    <a:pt x="2756" y="1482"/>
                  </a:lnTo>
                  <a:lnTo>
                    <a:pt x="2811" y="1514"/>
                  </a:lnTo>
                  <a:lnTo>
                    <a:pt x="2866" y="1546"/>
                  </a:lnTo>
                  <a:lnTo>
                    <a:pt x="2921" y="1576"/>
                  </a:lnTo>
                  <a:lnTo>
                    <a:pt x="2977" y="1606"/>
                  </a:lnTo>
                  <a:lnTo>
                    <a:pt x="3090" y="1663"/>
                  </a:lnTo>
                  <a:lnTo>
                    <a:pt x="3204" y="1720"/>
                  </a:lnTo>
                  <a:lnTo>
                    <a:pt x="3317" y="1777"/>
                  </a:lnTo>
                  <a:lnTo>
                    <a:pt x="3373" y="1807"/>
                  </a:lnTo>
                  <a:lnTo>
                    <a:pt x="3430" y="1836"/>
                  </a:lnTo>
                  <a:lnTo>
                    <a:pt x="3485" y="1868"/>
                  </a:lnTo>
                  <a:lnTo>
                    <a:pt x="3540" y="1900"/>
                  </a:lnTo>
                  <a:lnTo>
                    <a:pt x="3594" y="1934"/>
                  </a:lnTo>
                  <a:lnTo>
                    <a:pt x="3646" y="1970"/>
                  </a:lnTo>
                  <a:lnTo>
                    <a:pt x="3646" y="1970"/>
                  </a:lnTo>
                  <a:lnTo>
                    <a:pt x="3656" y="1983"/>
                  </a:lnTo>
                  <a:lnTo>
                    <a:pt x="3664" y="1997"/>
                  </a:lnTo>
                  <a:lnTo>
                    <a:pt x="3672" y="2012"/>
                  </a:lnTo>
                  <a:lnTo>
                    <a:pt x="3679" y="2028"/>
                  </a:lnTo>
                  <a:lnTo>
                    <a:pt x="3685" y="2043"/>
                  </a:lnTo>
                  <a:lnTo>
                    <a:pt x="3692" y="2058"/>
                  </a:lnTo>
                  <a:lnTo>
                    <a:pt x="3697" y="2075"/>
                  </a:lnTo>
                  <a:lnTo>
                    <a:pt x="3701" y="2091"/>
                  </a:lnTo>
                  <a:lnTo>
                    <a:pt x="3705" y="2107"/>
                  </a:lnTo>
                  <a:lnTo>
                    <a:pt x="3708" y="2123"/>
                  </a:lnTo>
                  <a:lnTo>
                    <a:pt x="3710" y="2141"/>
                  </a:lnTo>
                  <a:lnTo>
                    <a:pt x="3712" y="2157"/>
                  </a:lnTo>
                  <a:lnTo>
                    <a:pt x="3712" y="2174"/>
                  </a:lnTo>
                  <a:lnTo>
                    <a:pt x="3712" y="2191"/>
                  </a:lnTo>
                  <a:lnTo>
                    <a:pt x="3711" y="2208"/>
                  </a:lnTo>
                  <a:lnTo>
                    <a:pt x="3710" y="2224"/>
                  </a:lnTo>
                  <a:lnTo>
                    <a:pt x="3708" y="2241"/>
                  </a:lnTo>
                  <a:lnTo>
                    <a:pt x="3704" y="2257"/>
                  </a:lnTo>
                  <a:lnTo>
                    <a:pt x="3701" y="2273"/>
                  </a:lnTo>
                  <a:lnTo>
                    <a:pt x="3696" y="2288"/>
                  </a:lnTo>
                  <a:lnTo>
                    <a:pt x="3691" y="2305"/>
                  </a:lnTo>
                  <a:lnTo>
                    <a:pt x="3683" y="2319"/>
                  </a:lnTo>
                  <a:lnTo>
                    <a:pt x="3676" y="2334"/>
                  </a:lnTo>
                  <a:lnTo>
                    <a:pt x="3668" y="2349"/>
                  </a:lnTo>
                  <a:lnTo>
                    <a:pt x="3660" y="2363"/>
                  </a:lnTo>
                  <a:lnTo>
                    <a:pt x="3650" y="2376"/>
                  </a:lnTo>
                  <a:lnTo>
                    <a:pt x="3640" y="2389"/>
                  </a:lnTo>
                  <a:lnTo>
                    <a:pt x="3628" y="2402"/>
                  </a:lnTo>
                  <a:lnTo>
                    <a:pt x="3616" y="2413"/>
                  </a:lnTo>
                  <a:lnTo>
                    <a:pt x="3603" y="2424"/>
                  </a:lnTo>
                  <a:lnTo>
                    <a:pt x="3589" y="2434"/>
                  </a:lnTo>
                  <a:lnTo>
                    <a:pt x="3574" y="2444"/>
                  </a:lnTo>
                  <a:lnTo>
                    <a:pt x="3574" y="2444"/>
                  </a:lnTo>
                  <a:lnTo>
                    <a:pt x="3559" y="2456"/>
                  </a:lnTo>
                  <a:lnTo>
                    <a:pt x="3543" y="2466"/>
                  </a:lnTo>
                  <a:lnTo>
                    <a:pt x="3527" y="2474"/>
                  </a:lnTo>
                  <a:lnTo>
                    <a:pt x="3512" y="2481"/>
                  </a:lnTo>
                  <a:lnTo>
                    <a:pt x="3496" y="2487"/>
                  </a:lnTo>
                  <a:lnTo>
                    <a:pt x="3479" y="2491"/>
                  </a:lnTo>
                  <a:lnTo>
                    <a:pt x="3464" y="2494"/>
                  </a:lnTo>
                  <a:lnTo>
                    <a:pt x="3448" y="2496"/>
                  </a:lnTo>
                  <a:lnTo>
                    <a:pt x="3432" y="2497"/>
                  </a:lnTo>
                  <a:lnTo>
                    <a:pt x="3415" y="2497"/>
                  </a:lnTo>
                  <a:lnTo>
                    <a:pt x="3400" y="2496"/>
                  </a:lnTo>
                  <a:lnTo>
                    <a:pt x="3384" y="2493"/>
                  </a:lnTo>
                  <a:lnTo>
                    <a:pt x="3367" y="2491"/>
                  </a:lnTo>
                  <a:lnTo>
                    <a:pt x="3351" y="2487"/>
                  </a:lnTo>
                  <a:lnTo>
                    <a:pt x="3335" y="2482"/>
                  </a:lnTo>
                  <a:lnTo>
                    <a:pt x="3318" y="2477"/>
                  </a:lnTo>
                  <a:lnTo>
                    <a:pt x="3286" y="2466"/>
                  </a:lnTo>
                  <a:lnTo>
                    <a:pt x="3254" y="2451"/>
                  </a:lnTo>
                  <a:lnTo>
                    <a:pt x="3223" y="2437"/>
                  </a:lnTo>
                  <a:lnTo>
                    <a:pt x="3191" y="2421"/>
                  </a:lnTo>
                  <a:lnTo>
                    <a:pt x="3129" y="2389"/>
                  </a:lnTo>
                  <a:lnTo>
                    <a:pt x="3099" y="2375"/>
                  </a:lnTo>
                  <a:lnTo>
                    <a:pt x="3070" y="2362"/>
                  </a:lnTo>
                  <a:lnTo>
                    <a:pt x="3070" y="2362"/>
                  </a:lnTo>
                  <a:lnTo>
                    <a:pt x="3019" y="2333"/>
                  </a:lnTo>
                  <a:lnTo>
                    <a:pt x="2966" y="2307"/>
                  </a:lnTo>
                  <a:lnTo>
                    <a:pt x="2914" y="2280"/>
                  </a:lnTo>
                  <a:lnTo>
                    <a:pt x="2861" y="2255"/>
                  </a:lnTo>
                  <a:lnTo>
                    <a:pt x="2754" y="2205"/>
                  </a:lnTo>
                  <a:lnTo>
                    <a:pt x="2647" y="2155"/>
                  </a:lnTo>
                  <a:lnTo>
                    <a:pt x="2594" y="2130"/>
                  </a:lnTo>
                  <a:lnTo>
                    <a:pt x="2541" y="2103"/>
                  </a:lnTo>
                  <a:lnTo>
                    <a:pt x="2489" y="2077"/>
                  </a:lnTo>
                  <a:lnTo>
                    <a:pt x="2437" y="2049"/>
                  </a:lnTo>
                  <a:lnTo>
                    <a:pt x="2386" y="2020"/>
                  </a:lnTo>
                  <a:lnTo>
                    <a:pt x="2336" y="1989"/>
                  </a:lnTo>
                  <a:lnTo>
                    <a:pt x="2287" y="1956"/>
                  </a:lnTo>
                  <a:lnTo>
                    <a:pt x="2239" y="1923"/>
                  </a:lnTo>
                  <a:lnTo>
                    <a:pt x="2239" y="1923"/>
                  </a:lnTo>
                  <a:lnTo>
                    <a:pt x="2204" y="1847"/>
                  </a:lnTo>
                  <a:lnTo>
                    <a:pt x="2170" y="1771"/>
                  </a:lnTo>
                  <a:lnTo>
                    <a:pt x="2138" y="1695"/>
                  </a:lnTo>
                  <a:lnTo>
                    <a:pt x="2107" y="1617"/>
                  </a:lnTo>
                  <a:lnTo>
                    <a:pt x="2044" y="1463"/>
                  </a:lnTo>
                  <a:lnTo>
                    <a:pt x="2012" y="1387"/>
                  </a:lnTo>
                  <a:lnTo>
                    <a:pt x="1979" y="1310"/>
                  </a:lnTo>
                  <a:lnTo>
                    <a:pt x="1979" y="1310"/>
                  </a:lnTo>
                  <a:lnTo>
                    <a:pt x="1875" y="1441"/>
                  </a:lnTo>
                  <a:lnTo>
                    <a:pt x="1773" y="1571"/>
                  </a:lnTo>
                  <a:lnTo>
                    <a:pt x="1671" y="1703"/>
                  </a:lnTo>
                  <a:lnTo>
                    <a:pt x="1570" y="1834"/>
                  </a:lnTo>
                  <a:lnTo>
                    <a:pt x="1367" y="2098"/>
                  </a:lnTo>
                  <a:lnTo>
                    <a:pt x="1265" y="2228"/>
                  </a:lnTo>
                  <a:lnTo>
                    <a:pt x="1162" y="2359"/>
                  </a:lnTo>
                  <a:lnTo>
                    <a:pt x="1162" y="2359"/>
                  </a:lnTo>
                  <a:lnTo>
                    <a:pt x="1232" y="2528"/>
                  </a:lnTo>
                  <a:lnTo>
                    <a:pt x="1302" y="2696"/>
                  </a:lnTo>
                  <a:lnTo>
                    <a:pt x="1443" y="3031"/>
                  </a:lnTo>
                  <a:lnTo>
                    <a:pt x="1584" y="3366"/>
                  </a:lnTo>
                  <a:lnTo>
                    <a:pt x="1656" y="3534"/>
                  </a:lnTo>
                  <a:lnTo>
                    <a:pt x="1726" y="3703"/>
                  </a:lnTo>
                  <a:lnTo>
                    <a:pt x="1726" y="3703"/>
                  </a:lnTo>
                  <a:lnTo>
                    <a:pt x="1738" y="3730"/>
                  </a:lnTo>
                  <a:lnTo>
                    <a:pt x="1749" y="3759"/>
                  </a:lnTo>
                  <a:lnTo>
                    <a:pt x="1760" y="3788"/>
                  </a:lnTo>
                  <a:lnTo>
                    <a:pt x="1769" y="3817"/>
                  </a:lnTo>
                  <a:lnTo>
                    <a:pt x="1777" y="3846"/>
                  </a:lnTo>
                  <a:lnTo>
                    <a:pt x="1784" y="3875"/>
                  </a:lnTo>
                  <a:lnTo>
                    <a:pt x="1791" y="3904"/>
                  </a:lnTo>
                  <a:lnTo>
                    <a:pt x="1796" y="3934"/>
                  </a:lnTo>
                  <a:lnTo>
                    <a:pt x="1801" y="3964"/>
                  </a:lnTo>
                  <a:lnTo>
                    <a:pt x="1804" y="3994"/>
                  </a:lnTo>
                  <a:lnTo>
                    <a:pt x="1808" y="4024"/>
                  </a:lnTo>
                  <a:lnTo>
                    <a:pt x="1810" y="4054"/>
                  </a:lnTo>
                  <a:lnTo>
                    <a:pt x="1811" y="4085"/>
                  </a:lnTo>
                  <a:lnTo>
                    <a:pt x="1812" y="4115"/>
                  </a:lnTo>
                  <a:lnTo>
                    <a:pt x="1812" y="4145"/>
                  </a:lnTo>
                  <a:lnTo>
                    <a:pt x="1811" y="4175"/>
                  </a:lnTo>
                  <a:lnTo>
                    <a:pt x="1809" y="4206"/>
                  </a:lnTo>
                  <a:lnTo>
                    <a:pt x="1805" y="4235"/>
                  </a:lnTo>
                  <a:lnTo>
                    <a:pt x="1802" y="4266"/>
                  </a:lnTo>
                  <a:lnTo>
                    <a:pt x="1798" y="4296"/>
                  </a:lnTo>
                  <a:lnTo>
                    <a:pt x="1793" y="4326"/>
                  </a:lnTo>
                  <a:lnTo>
                    <a:pt x="1788" y="4357"/>
                  </a:lnTo>
                  <a:lnTo>
                    <a:pt x="1782" y="4386"/>
                  </a:lnTo>
                  <a:lnTo>
                    <a:pt x="1776" y="4416"/>
                  </a:lnTo>
                  <a:lnTo>
                    <a:pt x="1768" y="4445"/>
                  </a:lnTo>
                  <a:lnTo>
                    <a:pt x="1761" y="4475"/>
                  </a:lnTo>
                  <a:lnTo>
                    <a:pt x="1751" y="4503"/>
                  </a:lnTo>
                  <a:lnTo>
                    <a:pt x="1742" y="4533"/>
                  </a:lnTo>
                  <a:lnTo>
                    <a:pt x="1723" y="4590"/>
                  </a:lnTo>
                  <a:lnTo>
                    <a:pt x="1700" y="4646"/>
                  </a:lnTo>
                  <a:lnTo>
                    <a:pt x="1700" y="4646"/>
                  </a:lnTo>
                  <a:lnTo>
                    <a:pt x="1667" y="4740"/>
                  </a:lnTo>
                  <a:lnTo>
                    <a:pt x="1633" y="4834"/>
                  </a:lnTo>
                  <a:lnTo>
                    <a:pt x="1602" y="4929"/>
                  </a:lnTo>
                  <a:lnTo>
                    <a:pt x="1571" y="5025"/>
                  </a:lnTo>
                  <a:lnTo>
                    <a:pt x="1512" y="5216"/>
                  </a:lnTo>
                  <a:lnTo>
                    <a:pt x="1453" y="5408"/>
                  </a:lnTo>
                  <a:lnTo>
                    <a:pt x="1423" y="5504"/>
                  </a:lnTo>
                  <a:lnTo>
                    <a:pt x="1393" y="5598"/>
                  </a:lnTo>
                  <a:lnTo>
                    <a:pt x="1361" y="5693"/>
                  </a:lnTo>
                  <a:lnTo>
                    <a:pt x="1328" y="5788"/>
                  </a:lnTo>
                  <a:lnTo>
                    <a:pt x="1295" y="5882"/>
                  </a:lnTo>
                  <a:lnTo>
                    <a:pt x="1259" y="5974"/>
                  </a:lnTo>
                  <a:lnTo>
                    <a:pt x="1220" y="6066"/>
                  </a:lnTo>
                  <a:lnTo>
                    <a:pt x="1201" y="6112"/>
                  </a:lnTo>
                  <a:lnTo>
                    <a:pt x="1181" y="6158"/>
                  </a:lnTo>
                  <a:lnTo>
                    <a:pt x="1181" y="6158"/>
                  </a:lnTo>
                  <a:lnTo>
                    <a:pt x="1168" y="6176"/>
                  </a:lnTo>
                  <a:lnTo>
                    <a:pt x="1156" y="6192"/>
                  </a:lnTo>
                  <a:lnTo>
                    <a:pt x="1143" y="6209"/>
                  </a:lnTo>
                  <a:lnTo>
                    <a:pt x="1129" y="6224"/>
                  </a:lnTo>
                  <a:lnTo>
                    <a:pt x="1114" y="6238"/>
                  </a:lnTo>
                  <a:lnTo>
                    <a:pt x="1100" y="6251"/>
                  </a:lnTo>
                  <a:lnTo>
                    <a:pt x="1084" y="6265"/>
                  </a:lnTo>
                  <a:lnTo>
                    <a:pt x="1068" y="6276"/>
                  </a:lnTo>
                  <a:lnTo>
                    <a:pt x="1052" y="6287"/>
                  </a:lnTo>
                  <a:lnTo>
                    <a:pt x="1036" y="6297"/>
                  </a:lnTo>
                  <a:lnTo>
                    <a:pt x="1018" y="6306"/>
                  </a:lnTo>
                  <a:lnTo>
                    <a:pt x="1001" y="6315"/>
                  </a:lnTo>
                  <a:lnTo>
                    <a:pt x="983" y="6323"/>
                  </a:lnTo>
                  <a:lnTo>
                    <a:pt x="965" y="6329"/>
                  </a:lnTo>
                  <a:lnTo>
                    <a:pt x="947" y="6335"/>
                  </a:lnTo>
                  <a:lnTo>
                    <a:pt x="929" y="6340"/>
                  </a:lnTo>
                  <a:lnTo>
                    <a:pt x="909" y="6345"/>
                  </a:lnTo>
                  <a:lnTo>
                    <a:pt x="891" y="6348"/>
                  </a:lnTo>
                  <a:lnTo>
                    <a:pt x="872" y="6351"/>
                  </a:lnTo>
                  <a:lnTo>
                    <a:pt x="852" y="6353"/>
                  </a:lnTo>
                  <a:lnTo>
                    <a:pt x="833" y="6355"/>
                  </a:lnTo>
                  <a:lnTo>
                    <a:pt x="814" y="6355"/>
                  </a:lnTo>
                  <a:lnTo>
                    <a:pt x="794" y="6355"/>
                  </a:lnTo>
                  <a:lnTo>
                    <a:pt x="775" y="6354"/>
                  </a:lnTo>
                  <a:lnTo>
                    <a:pt x="755" y="6353"/>
                  </a:lnTo>
                  <a:lnTo>
                    <a:pt x="736" y="6351"/>
                  </a:lnTo>
                  <a:lnTo>
                    <a:pt x="717" y="6348"/>
                  </a:lnTo>
                  <a:lnTo>
                    <a:pt x="697" y="6345"/>
                  </a:lnTo>
                  <a:lnTo>
                    <a:pt x="678" y="6340"/>
                  </a:lnTo>
                  <a:lnTo>
                    <a:pt x="660" y="6336"/>
                  </a:lnTo>
                  <a:lnTo>
                    <a:pt x="640" y="6330"/>
                  </a:lnTo>
                  <a:lnTo>
                    <a:pt x="622" y="6324"/>
                  </a:lnTo>
                  <a:lnTo>
                    <a:pt x="604" y="6318"/>
                  </a:lnTo>
                  <a:lnTo>
                    <a:pt x="585" y="6310"/>
                  </a:lnTo>
                  <a:lnTo>
                    <a:pt x="568" y="6302"/>
                  </a:lnTo>
                  <a:lnTo>
                    <a:pt x="551" y="6293"/>
                  </a:lnTo>
                  <a:lnTo>
                    <a:pt x="533" y="6284"/>
                  </a:lnTo>
                  <a:lnTo>
                    <a:pt x="516" y="6274"/>
                  </a:lnTo>
                  <a:lnTo>
                    <a:pt x="500" y="6264"/>
                  </a:lnTo>
                  <a:lnTo>
                    <a:pt x="484" y="6253"/>
                  </a:lnTo>
                  <a:lnTo>
                    <a:pt x="468" y="6241"/>
                  </a:lnTo>
                  <a:lnTo>
                    <a:pt x="454" y="6229"/>
                  </a:lnTo>
                  <a:lnTo>
                    <a:pt x="438" y="6217"/>
                  </a:lnTo>
                  <a:lnTo>
                    <a:pt x="424" y="6204"/>
                  </a:lnTo>
                  <a:lnTo>
                    <a:pt x="411" y="6190"/>
                  </a:lnTo>
                  <a:lnTo>
                    <a:pt x="399" y="6176"/>
                  </a:lnTo>
                  <a:lnTo>
                    <a:pt x="386" y="6162"/>
                  </a:lnTo>
                  <a:lnTo>
                    <a:pt x="374" y="6147"/>
                  </a:lnTo>
                  <a:lnTo>
                    <a:pt x="363" y="6131"/>
                  </a:lnTo>
                  <a:lnTo>
                    <a:pt x="353" y="6115"/>
                  </a:lnTo>
                  <a:lnTo>
                    <a:pt x="344" y="6098"/>
                  </a:lnTo>
                  <a:lnTo>
                    <a:pt x="334" y="6081"/>
                  </a:lnTo>
                  <a:lnTo>
                    <a:pt x="327" y="6064"/>
                  </a:lnTo>
                  <a:lnTo>
                    <a:pt x="319" y="6046"/>
                  </a:lnTo>
                  <a:lnTo>
                    <a:pt x="313" y="6027"/>
                  </a:lnTo>
                  <a:lnTo>
                    <a:pt x="308" y="6009"/>
                  </a:lnTo>
                  <a:lnTo>
                    <a:pt x="303" y="5990"/>
                  </a:lnTo>
                  <a:lnTo>
                    <a:pt x="300" y="5970"/>
                  </a:lnTo>
                  <a:lnTo>
                    <a:pt x="297" y="5950"/>
                  </a:lnTo>
                  <a:lnTo>
                    <a:pt x="295" y="5930"/>
                  </a:lnTo>
                  <a:lnTo>
                    <a:pt x="295" y="5909"/>
                  </a:lnTo>
                  <a:lnTo>
                    <a:pt x="295" y="5888"/>
                  </a:lnTo>
                  <a:lnTo>
                    <a:pt x="296" y="5866"/>
                  </a:lnTo>
                  <a:lnTo>
                    <a:pt x="298" y="5845"/>
                  </a:lnTo>
                  <a:lnTo>
                    <a:pt x="298" y="5845"/>
                  </a:lnTo>
                  <a:lnTo>
                    <a:pt x="324" y="5737"/>
                  </a:lnTo>
                  <a:lnTo>
                    <a:pt x="352" y="5629"/>
                  </a:lnTo>
                  <a:lnTo>
                    <a:pt x="381" y="5521"/>
                  </a:lnTo>
                  <a:lnTo>
                    <a:pt x="413" y="5414"/>
                  </a:lnTo>
                  <a:lnTo>
                    <a:pt x="444" y="5308"/>
                  </a:lnTo>
                  <a:lnTo>
                    <a:pt x="478" y="5201"/>
                  </a:lnTo>
                  <a:lnTo>
                    <a:pt x="513" y="5095"/>
                  </a:lnTo>
                  <a:lnTo>
                    <a:pt x="547" y="4989"/>
                  </a:lnTo>
                  <a:lnTo>
                    <a:pt x="617" y="4778"/>
                  </a:lnTo>
                  <a:lnTo>
                    <a:pt x="686" y="4566"/>
                  </a:lnTo>
                  <a:lnTo>
                    <a:pt x="721" y="4459"/>
                  </a:lnTo>
                  <a:lnTo>
                    <a:pt x="753" y="4354"/>
                  </a:lnTo>
                  <a:lnTo>
                    <a:pt x="785" y="4247"/>
                  </a:lnTo>
                  <a:lnTo>
                    <a:pt x="816" y="4140"/>
                  </a:lnTo>
                  <a:lnTo>
                    <a:pt x="816" y="4140"/>
                  </a:lnTo>
                  <a:lnTo>
                    <a:pt x="797" y="4080"/>
                  </a:lnTo>
                  <a:lnTo>
                    <a:pt x="777" y="4022"/>
                  </a:lnTo>
                  <a:lnTo>
                    <a:pt x="736" y="3905"/>
                  </a:lnTo>
                  <a:lnTo>
                    <a:pt x="692" y="3788"/>
                  </a:lnTo>
                  <a:lnTo>
                    <a:pt x="647" y="3673"/>
                  </a:lnTo>
                  <a:lnTo>
                    <a:pt x="600" y="3557"/>
                  </a:lnTo>
                  <a:lnTo>
                    <a:pt x="553" y="3443"/>
                  </a:lnTo>
                  <a:lnTo>
                    <a:pt x="504" y="3328"/>
                  </a:lnTo>
                  <a:lnTo>
                    <a:pt x="455" y="3214"/>
                  </a:lnTo>
                  <a:lnTo>
                    <a:pt x="354" y="2985"/>
                  </a:lnTo>
                  <a:lnTo>
                    <a:pt x="254" y="2757"/>
                  </a:lnTo>
                  <a:lnTo>
                    <a:pt x="205" y="2642"/>
                  </a:lnTo>
                  <a:lnTo>
                    <a:pt x="156" y="2528"/>
                  </a:lnTo>
                  <a:lnTo>
                    <a:pt x="109" y="2413"/>
                  </a:lnTo>
                  <a:lnTo>
                    <a:pt x="63" y="2297"/>
                  </a:lnTo>
                  <a:lnTo>
                    <a:pt x="63" y="2297"/>
                  </a:lnTo>
                  <a:lnTo>
                    <a:pt x="51" y="2269"/>
                  </a:lnTo>
                  <a:lnTo>
                    <a:pt x="41" y="2241"/>
                  </a:lnTo>
                  <a:lnTo>
                    <a:pt x="31" y="2212"/>
                  </a:lnTo>
                  <a:lnTo>
                    <a:pt x="22" y="2183"/>
                  </a:lnTo>
                  <a:lnTo>
                    <a:pt x="15" y="2153"/>
                  </a:lnTo>
                  <a:lnTo>
                    <a:pt x="10" y="2123"/>
                  </a:lnTo>
                  <a:lnTo>
                    <a:pt x="6" y="2094"/>
                  </a:lnTo>
                  <a:lnTo>
                    <a:pt x="3" y="2064"/>
                  </a:lnTo>
                  <a:lnTo>
                    <a:pt x="1" y="2035"/>
                  </a:lnTo>
                  <a:lnTo>
                    <a:pt x="0" y="2004"/>
                  </a:lnTo>
                  <a:lnTo>
                    <a:pt x="1" y="1975"/>
                  </a:lnTo>
                  <a:lnTo>
                    <a:pt x="2" y="1944"/>
                  </a:lnTo>
                  <a:lnTo>
                    <a:pt x="5" y="1915"/>
                  </a:lnTo>
                  <a:lnTo>
                    <a:pt x="8" y="1885"/>
                  </a:lnTo>
                  <a:lnTo>
                    <a:pt x="13" y="1855"/>
                  </a:lnTo>
                  <a:lnTo>
                    <a:pt x="19" y="1825"/>
                  </a:lnTo>
                  <a:lnTo>
                    <a:pt x="27" y="1795"/>
                  </a:lnTo>
                  <a:lnTo>
                    <a:pt x="34" y="1767"/>
                  </a:lnTo>
                  <a:lnTo>
                    <a:pt x="43" y="1737"/>
                  </a:lnTo>
                  <a:lnTo>
                    <a:pt x="53" y="1709"/>
                  </a:lnTo>
                  <a:lnTo>
                    <a:pt x="63" y="1680"/>
                  </a:lnTo>
                  <a:lnTo>
                    <a:pt x="75" y="1653"/>
                  </a:lnTo>
                  <a:lnTo>
                    <a:pt x="88" y="1624"/>
                  </a:lnTo>
                  <a:lnTo>
                    <a:pt x="101" y="1598"/>
                  </a:lnTo>
                  <a:lnTo>
                    <a:pt x="115" y="1570"/>
                  </a:lnTo>
                  <a:lnTo>
                    <a:pt x="129" y="1544"/>
                  </a:lnTo>
                  <a:lnTo>
                    <a:pt x="146" y="1518"/>
                  </a:lnTo>
                  <a:lnTo>
                    <a:pt x="162" y="1493"/>
                  </a:lnTo>
                  <a:lnTo>
                    <a:pt x="179" y="1468"/>
                  </a:lnTo>
                  <a:lnTo>
                    <a:pt x="198" y="1444"/>
                  </a:lnTo>
                  <a:lnTo>
                    <a:pt x="216" y="1421"/>
                  </a:lnTo>
                  <a:lnTo>
                    <a:pt x="235" y="1398"/>
                  </a:lnTo>
                  <a:lnTo>
                    <a:pt x="235" y="1398"/>
                  </a:lnTo>
                  <a:lnTo>
                    <a:pt x="476" y="1107"/>
                  </a:lnTo>
                  <a:lnTo>
                    <a:pt x="716" y="815"/>
                  </a:lnTo>
                  <a:lnTo>
                    <a:pt x="955" y="523"/>
                  </a:lnTo>
                  <a:lnTo>
                    <a:pt x="1196" y="232"/>
                  </a:lnTo>
                  <a:lnTo>
                    <a:pt x="119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695" name="Group 1694"/>
          <p:cNvGrpSpPr/>
          <p:nvPr/>
        </p:nvGrpSpPr>
        <p:grpSpPr>
          <a:xfrm>
            <a:off x="4763115" y="2655990"/>
            <a:ext cx="86715" cy="115455"/>
            <a:chOff x="4756138" y="2643866"/>
            <a:chExt cx="104925" cy="139700"/>
          </a:xfrm>
        </p:grpSpPr>
        <p:sp>
          <p:nvSpPr>
            <p:cNvPr id="1690" name="Freeform 388"/>
            <p:cNvSpPr>
              <a:spLocks/>
            </p:cNvSpPr>
            <p:nvPr/>
          </p:nvSpPr>
          <p:spPr bwMode="auto">
            <a:xfrm>
              <a:off x="4817767" y="2643866"/>
              <a:ext cx="43296" cy="43295"/>
            </a:xfrm>
            <a:custGeom>
              <a:avLst/>
              <a:gdLst>
                <a:gd name="T0" fmla="*/ 402 w 1298"/>
                <a:gd name="T1" fmla="*/ 46 h 1303"/>
                <a:gd name="T2" fmla="*/ 465 w 1298"/>
                <a:gd name="T3" fmla="*/ 23 h 1303"/>
                <a:gd name="T4" fmla="*/ 530 w 1298"/>
                <a:gd name="T5" fmla="*/ 8 h 1303"/>
                <a:gd name="T6" fmla="*/ 595 w 1298"/>
                <a:gd name="T7" fmla="*/ 0 h 1303"/>
                <a:gd name="T8" fmla="*/ 660 w 1298"/>
                <a:gd name="T9" fmla="*/ 0 h 1303"/>
                <a:gd name="T10" fmla="*/ 725 w 1298"/>
                <a:gd name="T11" fmla="*/ 7 h 1303"/>
                <a:gd name="T12" fmla="*/ 788 w 1298"/>
                <a:gd name="T13" fmla="*/ 21 h 1303"/>
                <a:gd name="T14" fmla="*/ 850 w 1298"/>
                <a:gd name="T15" fmla="*/ 40 h 1303"/>
                <a:gd name="T16" fmla="*/ 911 w 1298"/>
                <a:gd name="T17" fmla="*/ 67 h 1303"/>
                <a:gd name="T18" fmla="*/ 968 w 1298"/>
                <a:gd name="T19" fmla="*/ 98 h 1303"/>
                <a:gd name="T20" fmla="*/ 1023 w 1298"/>
                <a:gd name="T21" fmla="*/ 135 h 1303"/>
                <a:gd name="T22" fmla="*/ 1074 w 1298"/>
                <a:gd name="T23" fmla="*/ 176 h 1303"/>
                <a:gd name="T24" fmla="*/ 1121 w 1298"/>
                <a:gd name="T25" fmla="*/ 222 h 1303"/>
                <a:gd name="T26" fmla="*/ 1163 w 1298"/>
                <a:gd name="T27" fmla="*/ 272 h 1303"/>
                <a:gd name="T28" fmla="*/ 1201 w 1298"/>
                <a:gd name="T29" fmla="*/ 325 h 1303"/>
                <a:gd name="T30" fmla="*/ 1234 w 1298"/>
                <a:gd name="T31" fmla="*/ 382 h 1303"/>
                <a:gd name="T32" fmla="*/ 1259 w 1298"/>
                <a:gd name="T33" fmla="*/ 441 h 1303"/>
                <a:gd name="T34" fmla="*/ 1280 w 1298"/>
                <a:gd name="T35" fmla="*/ 503 h 1303"/>
                <a:gd name="T36" fmla="*/ 1292 w 1298"/>
                <a:gd name="T37" fmla="*/ 567 h 1303"/>
                <a:gd name="T38" fmla="*/ 1298 w 1298"/>
                <a:gd name="T39" fmla="*/ 632 h 1303"/>
                <a:gd name="T40" fmla="*/ 1295 w 1298"/>
                <a:gd name="T41" fmla="*/ 698 h 1303"/>
                <a:gd name="T42" fmla="*/ 1284 w 1298"/>
                <a:gd name="T43" fmla="*/ 767 h 1303"/>
                <a:gd name="T44" fmla="*/ 1277 w 1298"/>
                <a:gd name="T45" fmla="*/ 812 h 1303"/>
                <a:gd name="T46" fmla="*/ 1260 w 1298"/>
                <a:gd name="T47" fmla="*/ 876 h 1303"/>
                <a:gd name="T48" fmla="*/ 1236 w 1298"/>
                <a:gd name="T49" fmla="*/ 936 h 1303"/>
                <a:gd name="T50" fmla="*/ 1205 w 1298"/>
                <a:gd name="T51" fmla="*/ 992 h 1303"/>
                <a:gd name="T52" fmla="*/ 1170 w 1298"/>
                <a:gd name="T53" fmla="*/ 1045 h 1303"/>
                <a:gd name="T54" fmla="*/ 1128 w 1298"/>
                <a:gd name="T55" fmla="*/ 1093 h 1303"/>
                <a:gd name="T56" fmla="*/ 1082 w 1298"/>
                <a:gd name="T57" fmla="*/ 1137 h 1303"/>
                <a:gd name="T58" fmla="*/ 1031 w 1298"/>
                <a:gd name="T59" fmla="*/ 1175 h 1303"/>
                <a:gd name="T60" fmla="*/ 977 w 1298"/>
                <a:gd name="T61" fmla="*/ 1209 h 1303"/>
                <a:gd name="T62" fmla="*/ 920 w 1298"/>
                <a:gd name="T63" fmla="*/ 1238 h 1303"/>
                <a:gd name="T64" fmla="*/ 861 w 1298"/>
                <a:gd name="T65" fmla="*/ 1262 h 1303"/>
                <a:gd name="T66" fmla="*/ 798 w 1298"/>
                <a:gd name="T67" fmla="*/ 1281 h 1303"/>
                <a:gd name="T68" fmla="*/ 736 w 1298"/>
                <a:gd name="T69" fmla="*/ 1293 h 1303"/>
                <a:gd name="T70" fmla="*/ 672 w 1298"/>
                <a:gd name="T71" fmla="*/ 1302 h 1303"/>
                <a:gd name="T72" fmla="*/ 608 w 1298"/>
                <a:gd name="T73" fmla="*/ 1303 h 1303"/>
                <a:gd name="T74" fmla="*/ 545 w 1298"/>
                <a:gd name="T75" fmla="*/ 1297 h 1303"/>
                <a:gd name="T76" fmla="*/ 481 w 1298"/>
                <a:gd name="T77" fmla="*/ 1287 h 1303"/>
                <a:gd name="T78" fmla="*/ 420 w 1298"/>
                <a:gd name="T79" fmla="*/ 1270 h 1303"/>
                <a:gd name="T80" fmla="*/ 360 w 1298"/>
                <a:gd name="T81" fmla="*/ 1246 h 1303"/>
                <a:gd name="T82" fmla="*/ 303 w 1298"/>
                <a:gd name="T83" fmla="*/ 1215 h 1303"/>
                <a:gd name="T84" fmla="*/ 249 w 1298"/>
                <a:gd name="T85" fmla="*/ 1177 h 1303"/>
                <a:gd name="T86" fmla="*/ 215 w 1298"/>
                <a:gd name="T87" fmla="*/ 1148 h 1303"/>
                <a:gd name="T88" fmla="*/ 168 w 1298"/>
                <a:gd name="T89" fmla="*/ 1106 h 1303"/>
                <a:gd name="T90" fmla="*/ 128 w 1298"/>
                <a:gd name="T91" fmla="*/ 1059 h 1303"/>
                <a:gd name="T92" fmla="*/ 92 w 1298"/>
                <a:gd name="T93" fmla="*/ 1009 h 1303"/>
                <a:gd name="T94" fmla="*/ 62 w 1298"/>
                <a:gd name="T95" fmla="*/ 955 h 1303"/>
                <a:gd name="T96" fmla="*/ 39 w 1298"/>
                <a:gd name="T97" fmla="*/ 900 h 1303"/>
                <a:gd name="T98" fmla="*/ 22 w 1298"/>
                <a:gd name="T99" fmla="*/ 842 h 1303"/>
                <a:gd name="T100" fmla="*/ 8 w 1298"/>
                <a:gd name="T101" fmla="*/ 783 h 1303"/>
                <a:gd name="T102" fmla="*/ 0 w 1298"/>
                <a:gd name="T103" fmla="*/ 681 h 1303"/>
                <a:gd name="T104" fmla="*/ 8 w 1298"/>
                <a:gd name="T105" fmla="*/ 559 h 1303"/>
                <a:gd name="T106" fmla="*/ 38 w 1298"/>
                <a:gd name="T107" fmla="*/ 440 h 1303"/>
                <a:gd name="T108" fmla="*/ 87 w 1298"/>
                <a:gd name="T109" fmla="*/ 328 h 1303"/>
                <a:gd name="T110" fmla="*/ 118 w 1298"/>
                <a:gd name="T111" fmla="*/ 276 h 1303"/>
                <a:gd name="T112" fmla="*/ 154 w 1298"/>
                <a:gd name="T113" fmla="*/ 227 h 1303"/>
                <a:gd name="T114" fmla="*/ 195 w 1298"/>
                <a:gd name="T115" fmla="*/ 182 h 1303"/>
                <a:gd name="T116" fmla="*/ 240 w 1298"/>
                <a:gd name="T117" fmla="*/ 141 h 1303"/>
                <a:gd name="T118" fmla="*/ 290 w 1298"/>
                <a:gd name="T119" fmla="*/ 105 h 1303"/>
                <a:gd name="T120" fmla="*/ 343 w 1298"/>
                <a:gd name="T121" fmla="*/ 74 h 1303"/>
                <a:gd name="T122" fmla="*/ 381 w 1298"/>
                <a:gd name="T123" fmla="*/ 57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98" h="1303">
                  <a:moveTo>
                    <a:pt x="381" y="57"/>
                  </a:moveTo>
                  <a:lnTo>
                    <a:pt x="381" y="57"/>
                  </a:lnTo>
                  <a:lnTo>
                    <a:pt x="402" y="46"/>
                  </a:lnTo>
                  <a:lnTo>
                    <a:pt x="423" y="37"/>
                  </a:lnTo>
                  <a:lnTo>
                    <a:pt x="445" y="30"/>
                  </a:lnTo>
                  <a:lnTo>
                    <a:pt x="465" y="23"/>
                  </a:lnTo>
                  <a:lnTo>
                    <a:pt x="486" y="17"/>
                  </a:lnTo>
                  <a:lnTo>
                    <a:pt x="509" y="12"/>
                  </a:lnTo>
                  <a:lnTo>
                    <a:pt x="530" y="8"/>
                  </a:lnTo>
                  <a:lnTo>
                    <a:pt x="552" y="4"/>
                  </a:lnTo>
                  <a:lnTo>
                    <a:pt x="573" y="2"/>
                  </a:lnTo>
                  <a:lnTo>
                    <a:pt x="595" y="0"/>
                  </a:lnTo>
                  <a:lnTo>
                    <a:pt x="617" y="0"/>
                  </a:lnTo>
                  <a:lnTo>
                    <a:pt x="638" y="0"/>
                  </a:lnTo>
                  <a:lnTo>
                    <a:pt x="660" y="0"/>
                  </a:lnTo>
                  <a:lnTo>
                    <a:pt x="681" y="2"/>
                  </a:lnTo>
                  <a:lnTo>
                    <a:pt x="703" y="4"/>
                  </a:lnTo>
                  <a:lnTo>
                    <a:pt x="725" y="7"/>
                  </a:lnTo>
                  <a:lnTo>
                    <a:pt x="745" y="11"/>
                  </a:lnTo>
                  <a:lnTo>
                    <a:pt x="767" y="15"/>
                  </a:lnTo>
                  <a:lnTo>
                    <a:pt x="788" y="21"/>
                  </a:lnTo>
                  <a:lnTo>
                    <a:pt x="809" y="27"/>
                  </a:lnTo>
                  <a:lnTo>
                    <a:pt x="830" y="33"/>
                  </a:lnTo>
                  <a:lnTo>
                    <a:pt x="850" y="40"/>
                  </a:lnTo>
                  <a:lnTo>
                    <a:pt x="871" y="48"/>
                  </a:lnTo>
                  <a:lnTo>
                    <a:pt x="890" y="58"/>
                  </a:lnTo>
                  <a:lnTo>
                    <a:pt x="911" y="67"/>
                  </a:lnTo>
                  <a:lnTo>
                    <a:pt x="930" y="76"/>
                  </a:lnTo>
                  <a:lnTo>
                    <a:pt x="949" y="87"/>
                  </a:lnTo>
                  <a:lnTo>
                    <a:pt x="968" y="98"/>
                  </a:lnTo>
                  <a:lnTo>
                    <a:pt x="986" y="110"/>
                  </a:lnTo>
                  <a:lnTo>
                    <a:pt x="1004" y="122"/>
                  </a:lnTo>
                  <a:lnTo>
                    <a:pt x="1023" y="135"/>
                  </a:lnTo>
                  <a:lnTo>
                    <a:pt x="1040" y="148"/>
                  </a:lnTo>
                  <a:lnTo>
                    <a:pt x="1057" y="162"/>
                  </a:lnTo>
                  <a:lnTo>
                    <a:pt x="1074" y="176"/>
                  </a:lnTo>
                  <a:lnTo>
                    <a:pt x="1090" y="191"/>
                  </a:lnTo>
                  <a:lnTo>
                    <a:pt x="1105" y="206"/>
                  </a:lnTo>
                  <a:lnTo>
                    <a:pt x="1121" y="222"/>
                  </a:lnTo>
                  <a:lnTo>
                    <a:pt x="1136" y="238"/>
                  </a:lnTo>
                  <a:lnTo>
                    <a:pt x="1150" y="254"/>
                  </a:lnTo>
                  <a:lnTo>
                    <a:pt x="1163" y="272"/>
                  </a:lnTo>
                  <a:lnTo>
                    <a:pt x="1177" y="289"/>
                  </a:lnTo>
                  <a:lnTo>
                    <a:pt x="1189" y="307"/>
                  </a:lnTo>
                  <a:lnTo>
                    <a:pt x="1201" y="325"/>
                  </a:lnTo>
                  <a:lnTo>
                    <a:pt x="1212" y="344"/>
                  </a:lnTo>
                  <a:lnTo>
                    <a:pt x="1224" y="362"/>
                  </a:lnTo>
                  <a:lnTo>
                    <a:pt x="1234" y="382"/>
                  </a:lnTo>
                  <a:lnTo>
                    <a:pt x="1243" y="401"/>
                  </a:lnTo>
                  <a:lnTo>
                    <a:pt x="1251" y="420"/>
                  </a:lnTo>
                  <a:lnTo>
                    <a:pt x="1259" y="441"/>
                  </a:lnTo>
                  <a:lnTo>
                    <a:pt x="1267" y="461"/>
                  </a:lnTo>
                  <a:lnTo>
                    <a:pt x="1274" y="481"/>
                  </a:lnTo>
                  <a:lnTo>
                    <a:pt x="1280" y="503"/>
                  </a:lnTo>
                  <a:lnTo>
                    <a:pt x="1285" y="524"/>
                  </a:lnTo>
                  <a:lnTo>
                    <a:pt x="1289" y="545"/>
                  </a:lnTo>
                  <a:lnTo>
                    <a:pt x="1292" y="567"/>
                  </a:lnTo>
                  <a:lnTo>
                    <a:pt x="1295" y="588"/>
                  </a:lnTo>
                  <a:lnTo>
                    <a:pt x="1297" y="610"/>
                  </a:lnTo>
                  <a:lnTo>
                    <a:pt x="1298" y="632"/>
                  </a:lnTo>
                  <a:lnTo>
                    <a:pt x="1298" y="655"/>
                  </a:lnTo>
                  <a:lnTo>
                    <a:pt x="1297" y="676"/>
                  </a:lnTo>
                  <a:lnTo>
                    <a:pt x="1295" y="698"/>
                  </a:lnTo>
                  <a:lnTo>
                    <a:pt x="1293" y="721"/>
                  </a:lnTo>
                  <a:lnTo>
                    <a:pt x="1289" y="744"/>
                  </a:lnTo>
                  <a:lnTo>
                    <a:pt x="1284" y="767"/>
                  </a:lnTo>
                  <a:lnTo>
                    <a:pt x="1284" y="767"/>
                  </a:lnTo>
                  <a:lnTo>
                    <a:pt x="1281" y="789"/>
                  </a:lnTo>
                  <a:lnTo>
                    <a:pt x="1277" y="812"/>
                  </a:lnTo>
                  <a:lnTo>
                    <a:pt x="1273" y="833"/>
                  </a:lnTo>
                  <a:lnTo>
                    <a:pt x="1266" y="854"/>
                  </a:lnTo>
                  <a:lnTo>
                    <a:pt x="1260" y="876"/>
                  </a:lnTo>
                  <a:lnTo>
                    <a:pt x="1252" y="896"/>
                  </a:lnTo>
                  <a:lnTo>
                    <a:pt x="1245" y="916"/>
                  </a:lnTo>
                  <a:lnTo>
                    <a:pt x="1236" y="936"/>
                  </a:lnTo>
                  <a:lnTo>
                    <a:pt x="1227" y="955"/>
                  </a:lnTo>
                  <a:lnTo>
                    <a:pt x="1216" y="974"/>
                  </a:lnTo>
                  <a:lnTo>
                    <a:pt x="1205" y="992"/>
                  </a:lnTo>
                  <a:lnTo>
                    <a:pt x="1194" y="1010"/>
                  </a:lnTo>
                  <a:lnTo>
                    <a:pt x="1182" y="1027"/>
                  </a:lnTo>
                  <a:lnTo>
                    <a:pt x="1170" y="1045"/>
                  </a:lnTo>
                  <a:lnTo>
                    <a:pt x="1156" y="1061"/>
                  </a:lnTo>
                  <a:lnTo>
                    <a:pt x="1142" y="1077"/>
                  </a:lnTo>
                  <a:lnTo>
                    <a:pt x="1128" y="1093"/>
                  </a:lnTo>
                  <a:lnTo>
                    <a:pt x="1112" y="1108"/>
                  </a:lnTo>
                  <a:lnTo>
                    <a:pt x="1097" y="1122"/>
                  </a:lnTo>
                  <a:lnTo>
                    <a:pt x="1082" y="1137"/>
                  </a:lnTo>
                  <a:lnTo>
                    <a:pt x="1066" y="1150"/>
                  </a:lnTo>
                  <a:lnTo>
                    <a:pt x="1048" y="1163"/>
                  </a:lnTo>
                  <a:lnTo>
                    <a:pt x="1031" y="1175"/>
                  </a:lnTo>
                  <a:lnTo>
                    <a:pt x="1014" y="1187"/>
                  </a:lnTo>
                  <a:lnTo>
                    <a:pt x="995" y="1199"/>
                  </a:lnTo>
                  <a:lnTo>
                    <a:pt x="977" y="1209"/>
                  </a:lnTo>
                  <a:lnTo>
                    <a:pt x="959" y="1219"/>
                  </a:lnTo>
                  <a:lnTo>
                    <a:pt x="939" y="1229"/>
                  </a:lnTo>
                  <a:lnTo>
                    <a:pt x="920" y="1238"/>
                  </a:lnTo>
                  <a:lnTo>
                    <a:pt x="900" y="1247"/>
                  </a:lnTo>
                  <a:lnTo>
                    <a:pt x="881" y="1255"/>
                  </a:lnTo>
                  <a:lnTo>
                    <a:pt x="861" y="1262"/>
                  </a:lnTo>
                  <a:lnTo>
                    <a:pt x="840" y="1269"/>
                  </a:lnTo>
                  <a:lnTo>
                    <a:pt x="820" y="1275"/>
                  </a:lnTo>
                  <a:lnTo>
                    <a:pt x="798" y="1281"/>
                  </a:lnTo>
                  <a:lnTo>
                    <a:pt x="778" y="1286"/>
                  </a:lnTo>
                  <a:lnTo>
                    <a:pt x="757" y="1290"/>
                  </a:lnTo>
                  <a:lnTo>
                    <a:pt x="736" y="1293"/>
                  </a:lnTo>
                  <a:lnTo>
                    <a:pt x="715" y="1296"/>
                  </a:lnTo>
                  <a:lnTo>
                    <a:pt x="693" y="1300"/>
                  </a:lnTo>
                  <a:lnTo>
                    <a:pt x="672" y="1302"/>
                  </a:lnTo>
                  <a:lnTo>
                    <a:pt x="651" y="1303"/>
                  </a:lnTo>
                  <a:lnTo>
                    <a:pt x="629" y="1303"/>
                  </a:lnTo>
                  <a:lnTo>
                    <a:pt x="608" y="1303"/>
                  </a:lnTo>
                  <a:lnTo>
                    <a:pt x="586" y="1302"/>
                  </a:lnTo>
                  <a:lnTo>
                    <a:pt x="566" y="1301"/>
                  </a:lnTo>
                  <a:lnTo>
                    <a:pt x="545" y="1297"/>
                  </a:lnTo>
                  <a:lnTo>
                    <a:pt x="523" y="1295"/>
                  </a:lnTo>
                  <a:lnTo>
                    <a:pt x="503" y="1291"/>
                  </a:lnTo>
                  <a:lnTo>
                    <a:pt x="481" y="1287"/>
                  </a:lnTo>
                  <a:lnTo>
                    <a:pt x="461" y="1282"/>
                  </a:lnTo>
                  <a:lnTo>
                    <a:pt x="441" y="1276"/>
                  </a:lnTo>
                  <a:lnTo>
                    <a:pt x="420" y="1270"/>
                  </a:lnTo>
                  <a:lnTo>
                    <a:pt x="400" y="1263"/>
                  </a:lnTo>
                  <a:lnTo>
                    <a:pt x="380" y="1255"/>
                  </a:lnTo>
                  <a:lnTo>
                    <a:pt x="360" y="1246"/>
                  </a:lnTo>
                  <a:lnTo>
                    <a:pt x="341" y="1236"/>
                  </a:lnTo>
                  <a:lnTo>
                    <a:pt x="322" y="1226"/>
                  </a:lnTo>
                  <a:lnTo>
                    <a:pt x="303" y="1215"/>
                  </a:lnTo>
                  <a:lnTo>
                    <a:pt x="285" y="1203"/>
                  </a:lnTo>
                  <a:lnTo>
                    <a:pt x="267" y="1190"/>
                  </a:lnTo>
                  <a:lnTo>
                    <a:pt x="249" y="1177"/>
                  </a:lnTo>
                  <a:lnTo>
                    <a:pt x="233" y="1163"/>
                  </a:lnTo>
                  <a:lnTo>
                    <a:pt x="215" y="1148"/>
                  </a:lnTo>
                  <a:lnTo>
                    <a:pt x="215" y="1148"/>
                  </a:lnTo>
                  <a:lnTo>
                    <a:pt x="199" y="1134"/>
                  </a:lnTo>
                  <a:lnTo>
                    <a:pt x="184" y="1120"/>
                  </a:lnTo>
                  <a:lnTo>
                    <a:pt x="168" y="1106"/>
                  </a:lnTo>
                  <a:lnTo>
                    <a:pt x="154" y="1091"/>
                  </a:lnTo>
                  <a:lnTo>
                    <a:pt x="140" y="1075"/>
                  </a:lnTo>
                  <a:lnTo>
                    <a:pt x="128" y="1059"/>
                  </a:lnTo>
                  <a:lnTo>
                    <a:pt x="115" y="1043"/>
                  </a:lnTo>
                  <a:lnTo>
                    <a:pt x="103" y="1025"/>
                  </a:lnTo>
                  <a:lnTo>
                    <a:pt x="92" y="1009"/>
                  </a:lnTo>
                  <a:lnTo>
                    <a:pt x="82" y="992"/>
                  </a:lnTo>
                  <a:lnTo>
                    <a:pt x="72" y="974"/>
                  </a:lnTo>
                  <a:lnTo>
                    <a:pt x="62" y="955"/>
                  </a:lnTo>
                  <a:lnTo>
                    <a:pt x="54" y="937"/>
                  </a:lnTo>
                  <a:lnTo>
                    <a:pt x="46" y="918"/>
                  </a:lnTo>
                  <a:lnTo>
                    <a:pt x="39" y="900"/>
                  </a:lnTo>
                  <a:lnTo>
                    <a:pt x="33" y="881"/>
                  </a:lnTo>
                  <a:lnTo>
                    <a:pt x="27" y="861"/>
                  </a:lnTo>
                  <a:lnTo>
                    <a:pt x="22" y="842"/>
                  </a:lnTo>
                  <a:lnTo>
                    <a:pt x="17" y="823"/>
                  </a:lnTo>
                  <a:lnTo>
                    <a:pt x="12" y="802"/>
                  </a:lnTo>
                  <a:lnTo>
                    <a:pt x="8" y="783"/>
                  </a:lnTo>
                  <a:lnTo>
                    <a:pt x="5" y="763"/>
                  </a:lnTo>
                  <a:lnTo>
                    <a:pt x="1" y="722"/>
                  </a:lnTo>
                  <a:lnTo>
                    <a:pt x="0" y="681"/>
                  </a:lnTo>
                  <a:lnTo>
                    <a:pt x="0" y="640"/>
                  </a:lnTo>
                  <a:lnTo>
                    <a:pt x="3" y="600"/>
                  </a:lnTo>
                  <a:lnTo>
                    <a:pt x="8" y="559"/>
                  </a:lnTo>
                  <a:lnTo>
                    <a:pt x="17" y="519"/>
                  </a:lnTo>
                  <a:lnTo>
                    <a:pt x="26" y="479"/>
                  </a:lnTo>
                  <a:lnTo>
                    <a:pt x="38" y="440"/>
                  </a:lnTo>
                  <a:lnTo>
                    <a:pt x="52" y="402"/>
                  </a:lnTo>
                  <a:lnTo>
                    <a:pt x="69" y="364"/>
                  </a:lnTo>
                  <a:lnTo>
                    <a:pt x="87" y="328"/>
                  </a:lnTo>
                  <a:lnTo>
                    <a:pt x="97" y="310"/>
                  </a:lnTo>
                  <a:lnTo>
                    <a:pt x="107" y="293"/>
                  </a:lnTo>
                  <a:lnTo>
                    <a:pt x="118" y="276"/>
                  </a:lnTo>
                  <a:lnTo>
                    <a:pt x="130" y="259"/>
                  </a:lnTo>
                  <a:lnTo>
                    <a:pt x="142" y="243"/>
                  </a:lnTo>
                  <a:lnTo>
                    <a:pt x="154" y="227"/>
                  </a:lnTo>
                  <a:lnTo>
                    <a:pt x="167" y="211"/>
                  </a:lnTo>
                  <a:lnTo>
                    <a:pt x="181" y="196"/>
                  </a:lnTo>
                  <a:lnTo>
                    <a:pt x="195" y="182"/>
                  </a:lnTo>
                  <a:lnTo>
                    <a:pt x="209" y="168"/>
                  </a:lnTo>
                  <a:lnTo>
                    <a:pt x="224" y="154"/>
                  </a:lnTo>
                  <a:lnTo>
                    <a:pt x="240" y="141"/>
                  </a:lnTo>
                  <a:lnTo>
                    <a:pt x="256" y="128"/>
                  </a:lnTo>
                  <a:lnTo>
                    <a:pt x="272" y="116"/>
                  </a:lnTo>
                  <a:lnTo>
                    <a:pt x="290" y="105"/>
                  </a:lnTo>
                  <a:lnTo>
                    <a:pt x="307" y="93"/>
                  </a:lnTo>
                  <a:lnTo>
                    <a:pt x="324" y="83"/>
                  </a:lnTo>
                  <a:lnTo>
                    <a:pt x="343" y="74"/>
                  </a:lnTo>
                  <a:lnTo>
                    <a:pt x="362" y="65"/>
                  </a:lnTo>
                  <a:lnTo>
                    <a:pt x="381" y="57"/>
                  </a:lnTo>
                  <a:lnTo>
                    <a:pt x="381" y="5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691" name="Freeform 389"/>
            <p:cNvSpPr>
              <a:spLocks/>
            </p:cNvSpPr>
            <p:nvPr/>
          </p:nvSpPr>
          <p:spPr bwMode="auto">
            <a:xfrm>
              <a:off x="4756138" y="2691098"/>
              <a:ext cx="99677" cy="92468"/>
            </a:xfrm>
            <a:custGeom>
              <a:avLst/>
              <a:gdLst/>
              <a:ahLst/>
              <a:cxnLst/>
              <a:rect l="l" t="t" r="r" b="b"/>
              <a:pathLst>
                <a:path w="99677" h="92468">
                  <a:moveTo>
                    <a:pt x="81249" y="0"/>
                  </a:moveTo>
                  <a:lnTo>
                    <a:pt x="82590" y="67"/>
                  </a:lnTo>
                  <a:lnTo>
                    <a:pt x="83896" y="202"/>
                  </a:lnTo>
                  <a:lnTo>
                    <a:pt x="85203" y="403"/>
                  </a:lnTo>
                  <a:lnTo>
                    <a:pt x="86443" y="739"/>
                  </a:lnTo>
                  <a:lnTo>
                    <a:pt x="87113" y="906"/>
                  </a:lnTo>
                  <a:lnTo>
                    <a:pt x="87716" y="1108"/>
                  </a:lnTo>
                  <a:lnTo>
                    <a:pt x="88319" y="1309"/>
                  </a:lnTo>
                  <a:lnTo>
                    <a:pt x="88922" y="1544"/>
                  </a:lnTo>
                  <a:lnTo>
                    <a:pt x="89525" y="1779"/>
                  </a:lnTo>
                  <a:lnTo>
                    <a:pt x="90095" y="2047"/>
                  </a:lnTo>
                  <a:lnTo>
                    <a:pt x="90698" y="2383"/>
                  </a:lnTo>
                  <a:lnTo>
                    <a:pt x="91267" y="2685"/>
                  </a:lnTo>
                  <a:lnTo>
                    <a:pt x="91804" y="2987"/>
                  </a:lnTo>
                  <a:lnTo>
                    <a:pt x="92373" y="3323"/>
                  </a:lnTo>
                  <a:lnTo>
                    <a:pt x="92876" y="3692"/>
                  </a:lnTo>
                  <a:lnTo>
                    <a:pt x="93378" y="4061"/>
                  </a:lnTo>
                  <a:lnTo>
                    <a:pt x="93881" y="4498"/>
                  </a:lnTo>
                  <a:lnTo>
                    <a:pt x="94350" y="4934"/>
                  </a:lnTo>
                  <a:lnTo>
                    <a:pt x="94819" y="5370"/>
                  </a:lnTo>
                  <a:lnTo>
                    <a:pt x="95255" y="5807"/>
                  </a:lnTo>
                  <a:lnTo>
                    <a:pt x="95690" y="6310"/>
                  </a:lnTo>
                  <a:lnTo>
                    <a:pt x="96092" y="6813"/>
                  </a:lnTo>
                  <a:lnTo>
                    <a:pt x="96494" y="7317"/>
                  </a:lnTo>
                  <a:lnTo>
                    <a:pt x="96829" y="7887"/>
                  </a:lnTo>
                  <a:lnTo>
                    <a:pt x="97198" y="8424"/>
                  </a:lnTo>
                  <a:lnTo>
                    <a:pt x="97533" y="8995"/>
                  </a:lnTo>
                  <a:lnTo>
                    <a:pt x="97868" y="9666"/>
                  </a:lnTo>
                  <a:lnTo>
                    <a:pt x="98203" y="10338"/>
                  </a:lnTo>
                  <a:lnTo>
                    <a:pt x="98505" y="11009"/>
                  </a:lnTo>
                  <a:lnTo>
                    <a:pt x="98739" y="11714"/>
                  </a:lnTo>
                  <a:lnTo>
                    <a:pt x="98974" y="12385"/>
                  </a:lnTo>
                  <a:lnTo>
                    <a:pt x="99175" y="13056"/>
                  </a:lnTo>
                  <a:lnTo>
                    <a:pt x="99309" y="13795"/>
                  </a:lnTo>
                  <a:lnTo>
                    <a:pt x="99443" y="14499"/>
                  </a:lnTo>
                  <a:lnTo>
                    <a:pt x="99543" y="15238"/>
                  </a:lnTo>
                  <a:lnTo>
                    <a:pt x="99610" y="15943"/>
                  </a:lnTo>
                  <a:lnTo>
                    <a:pt x="99644" y="16647"/>
                  </a:lnTo>
                  <a:lnTo>
                    <a:pt x="99677" y="17386"/>
                  </a:lnTo>
                  <a:lnTo>
                    <a:pt x="99677" y="18091"/>
                  </a:lnTo>
                  <a:lnTo>
                    <a:pt x="99644" y="18863"/>
                  </a:lnTo>
                  <a:lnTo>
                    <a:pt x="99543" y="20272"/>
                  </a:lnTo>
                  <a:lnTo>
                    <a:pt x="99409" y="21783"/>
                  </a:lnTo>
                  <a:lnTo>
                    <a:pt x="99175" y="23259"/>
                  </a:lnTo>
                  <a:lnTo>
                    <a:pt x="98907" y="24736"/>
                  </a:lnTo>
                  <a:lnTo>
                    <a:pt x="98639" y="26213"/>
                  </a:lnTo>
                  <a:lnTo>
                    <a:pt x="98103" y="29099"/>
                  </a:lnTo>
                  <a:lnTo>
                    <a:pt x="97834" y="30509"/>
                  </a:lnTo>
                  <a:lnTo>
                    <a:pt x="97566" y="31952"/>
                  </a:lnTo>
                  <a:lnTo>
                    <a:pt x="96863" y="35007"/>
                  </a:lnTo>
                  <a:lnTo>
                    <a:pt x="96193" y="38094"/>
                  </a:lnTo>
                  <a:lnTo>
                    <a:pt x="95590" y="41216"/>
                  </a:lnTo>
                  <a:lnTo>
                    <a:pt x="94953" y="44337"/>
                  </a:lnTo>
                  <a:lnTo>
                    <a:pt x="93780" y="50546"/>
                  </a:lnTo>
                  <a:lnTo>
                    <a:pt x="92608" y="56756"/>
                  </a:lnTo>
                  <a:lnTo>
                    <a:pt x="91368" y="62998"/>
                  </a:lnTo>
                  <a:lnTo>
                    <a:pt x="90765" y="66053"/>
                  </a:lnTo>
                  <a:lnTo>
                    <a:pt x="90095" y="69174"/>
                  </a:lnTo>
                  <a:lnTo>
                    <a:pt x="89391" y="72262"/>
                  </a:lnTo>
                  <a:lnTo>
                    <a:pt x="88654" y="75350"/>
                  </a:lnTo>
                  <a:lnTo>
                    <a:pt x="87850" y="78370"/>
                  </a:lnTo>
                  <a:lnTo>
                    <a:pt x="87046" y="81425"/>
                  </a:lnTo>
                  <a:lnTo>
                    <a:pt x="86811" y="82230"/>
                  </a:lnTo>
                  <a:lnTo>
                    <a:pt x="86543" y="83036"/>
                  </a:lnTo>
                  <a:lnTo>
                    <a:pt x="86275" y="83807"/>
                  </a:lnTo>
                  <a:lnTo>
                    <a:pt x="85940" y="84613"/>
                  </a:lnTo>
                  <a:lnTo>
                    <a:pt x="85605" y="85351"/>
                  </a:lnTo>
                  <a:lnTo>
                    <a:pt x="85203" y="86056"/>
                  </a:lnTo>
                  <a:lnTo>
                    <a:pt x="84768" y="86795"/>
                  </a:lnTo>
                  <a:lnTo>
                    <a:pt x="84332" y="87499"/>
                  </a:lnTo>
                  <a:lnTo>
                    <a:pt x="83863" y="88171"/>
                  </a:lnTo>
                  <a:lnTo>
                    <a:pt x="83360" y="88842"/>
                  </a:lnTo>
                  <a:lnTo>
                    <a:pt x="82824" y="89446"/>
                  </a:lnTo>
                  <a:lnTo>
                    <a:pt x="82288" y="90084"/>
                  </a:lnTo>
                  <a:lnTo>
                    <a:pt x="81719" y="90654"/>
                  </a:lnTo>
                  <a:lnTo>
                    <a:pt x="81082" y="91225"/>
                  </a:lnTo>
                  <a:lnTo>
                    <a:pt x="80479" y="91796"/>
                  </a:lnTo>
                  <a:lnTo>
                    <a:pt x="79842" y="92299"/>
                  </a:lnTo>
                  <a:lnTo>
                    <a:pt x="79589" y="92468"/>
                  </a:lnTo>
                  <a:lnTo>
                    <a:pt x="0" y="92468"/>
                  </a:lnTo>
                  <a:lnTo>
                    <a:pt x="0" y="91561"/>
                  </a:lnTo>
                  <a:lnTo>
                    <a:pt x="67" y="87869"/>
                  </a:lnTo>
                  <a:lnTo>
                    <a:pt x="100" y="84143"/>
                  </a:lnTo>
                  <a:lnTo>
                    <a:pt x="201" y="80451"/>
                  </a:lnTo>
                  <a:lnTo>
                    <a:pt x="301" y="76759"/>
                  </a:lnTo>
                  <a:lnTo>
                    <a:pt x="335" y="76021"/>
                  </a:lnTo>
                  <a:lnTo>
                    <a:pt x="402" y="75316"/>
                  </a:lnTo>
                  <a:lnTo>
                    <a:pt x="502" y="74578"/>
                  </a:lnTo>
                  <a:lnTo>
                    <a:pt x="636" y="73906"/>
                  </a:lnTo>
                  <a:lnTo>
                    <a:pt x="871" y="73235"/>
                  </a:lnTo>
                  <a:lnTo>
                    <a:pt x="1105" y="72631"/>
                  </a:lnTo>
                  <a:lnTo>
                    <a:pt x="1373" y="72060"/>
                  </a:lnTo>
                  <a:lnTo>
                    <a:pt x="1709" y="71456"/>
                  </a:lnTo>
                  <a:lnTo>
                    <a:pt x="2044" y="70919"/>
                  </a:lnTo>
                  <a:lnTo>
                    <a:pt x="2412" y="70382"/>
                  </a:lnTo>
                  <a:lnTo>
                    <a:pt x="2881" y="69912"/>
                  </a:lnTo>
                  <a:lnTo>
                    <a:pt x="3317" y="69409"/>
                  </a:lnTo>
                  <a:lnTo>
                    <a:pt x="3786" y="68973"/>
                  </a:lnTo>
                  <a:lnTo>
                    <a:pt x="4288" y="68536"/>
                  </a:lnTo>
                  <a:lnTo>
                    <a:pt x="4824" y="68133"/>
                  </a:lnTo>
                  <a:lnTo>
                    <a:pt x="5361" y="67731"/>
                  </a:lnTo>
                  <a:lnTo>
                    <a:pt x="5930" y="67362"/>
                  </a:lnTo>
                  <a:lnTo>
                    <a:pt x="6533" y="67059"/>
                  </a:lnTo>
                  <a:lnTo>
                    <a:pt x="7136" y="66757"/>
                  </a:lnTo>
                  <a:lnTo>
                    <a:pt x="7773" y="66455"/>
                  </a:lnTo>
                  <a:lnTo>
                    <a:pt x="8410" y="66187"/>
                  </a:lnTo>
                  <a:lnTo>
                    <a:pt x="9046" y="65918"/>
                  </a:lnTo>
                  <a:lnTo>
                    <a:pt x="9716" y="65717"/>
                  </a:lnTo>
                  <a:lnTo>
                    <a:pt x="10386" y="65516"/>
                  </a:lnTo>
                  <a:lnTo>
                    <a:pt x="11023" y="65348"/>
                  </a:lnTo>
                  <a:lnTo>
                    <a:pt x="11727" y="65213"/>
                  </a:lnTo>
                  <a:lnTo>
                    <a:pt x="12397" y="65079"/>
                  </a:lnTo>
                  <a:lnTo>
                    <a:pt x="13100" y="64979"/>
                  </a:lnTo>
                  <a:lnTo>
                    <a:pt x="13770" y="64878"/>
                  </a:lnTo>
                  <a:lnTo>
                    <a:pt x="14407" y="64811"/>
                  </a:lnTo>
                  <a:lnTo>
                    <a:pt x="15111" y="64777"/>
                  </a:lnTo>
                  <a:lnTo>
                    <a:pt x="15747" y="64777"/>
                  </a:lnTo>
                  <a:lnTo>
                    <a:pt x="20404" y="64710"/>
                  </a:lnTo>
                  <a:lnTo>
                    <a:pt x="24995" y="64676"/>
                  </a:lnTo>
                  <a:lnTo>
                    <a:pt x="34275" y="64676"/>
                  </a:lnTo>
                  <a:lnTo>
                    <a:pt x="43523" y="64710"/>
                  </a:lnTo>
                  <a:lnTo>
                    <a:pt x="48180" y="64710"/>
                  </a:lnTo>
                  <a:lnTo>
                    <a:pt x="52770" y="64643"/>
                  </a:lnTo>
                  <a:lnTo>
                    <a:pt x="53541" y="61287"/>
                  </a:lnTo>
                  <a:lnTo>
                    <a:pt x="54244" y="57964"/>
                  </a:lnTo>
                  <a:lnTo>
                    <a:pt x="54915" y="54574"/>
                  </a:lnTo>
                  <a:lnTo>
                    <a:pt x="55585" y="51218"/>
                  </a:lnTo>
                  <a:lnTo>
                    <a:pt x="56891" y="44539"/>
                  </a:lnTo>
                  <a:lnTo>
                    <a:pt x="58131" y="37792"/>
                  </a:lnTo>
                  <a:lnTo>
                    <a:pt x="59471" y="31046"/>
                  </a:lnTo>
                  <a:lnTo>
                    <a:pt x="60141" y="27690"/>
                  </a:lnTo>
                  <a:lnTo>
                    <a:pt x="60878" y="24367"/>
                  </a:lnTo>
                  <a:lnTo>
                    <a:pt x="61582" y="21044"/>
                  </a:lnTo>
                  <a:lnTo>
                    <a:pt x="62386" y="17688"/>
                  </a:lnTo>
                  <a:lnTo>
                    <a:pt x="63190" y="14365"/>
                  </a:lnTo>
                  <a:lnTo>
                    <a:pt x="64095" y="11042"/>
                  </a:lnTo>
                  <a:lnTo>
                    <a:pt x="64296" y="10405"/>
                  </a:lnTo>
                  <a:lnTo>
                    <a:pt x="64530" y="9801"/>
                  </a:lnTo>
                  <a:lnTo>
                    <a:pt x="64798" y="9163"/>
                  </a:lnTo>
                  <a:lnTo>
                    <a:pt x="65100" y="8592"/>
                  </a:lnTo>
                  <a:lnTo>
                    <a:pt x="65402" y="8022"/>
                  </a:lnTo>
                  <a:lnTo>
                    <a:pt x="65770" y="7451"/>
                  </a:lnTo>
                  <a:lnTo>
                    <a:pt x="66105" y="6914"/>
                  </a:lnTo>
                  <a:lnTo>
                    <a:pt x="66507" y="6411"/>
                  </a:lnTo>
                  <a:lnTo>
                    <a:pt x="66876" y="5907"/>
                  </a:lnTo>
                  <a:lnTo>
                    <a:pt x="67311" y="5437"/>
                  </a:lnTo>
                  <a:lnTo>
                    <a:pt x="67780" y="5001"/>
                  </a:lnTo>
                  <a:lnTo>
                    <a:pt x="68216" y="4565"/>
                  </a:lnTo>
                  <a:lnTo>
                    <a:pt x="68685" y="4128"/>
                  </a:lnTo>
                  <a:lnTo>
                    <a:pt x="69188" y="3726"/>
                  </a:lnTo>
                  <a:lnTo>
                    <a:pt x="69690" y="3390"/>
                  </a:lnTo>
                  <a:lnTo>
                    <a:pt x="70226" y="3021"/>
                  </a:lnTo>
                  <a:lnTo>
                    <a:pt x="70729" y="2685"/>
                  </a:lnTo>
                  <a:lnTo>
                    <a:pt x="71298" y="2383"/>
                  </a:lnTo>
                  <a:lnTo>
                    <a:pt x="71868" y="2081"/>
                  </a:lnTo>
                  <a:lnTo>
                    <a:pt x="72438" y="1813"/>
                  </a:lnTo>
                  <a:lnTo>
                    <a:pt x="73041" y="1544"/>
                  </a:lnTo>
                  <a:lnTo>
                    <a:pt x="73610" y="1309"/>
                  </a:lnTo>
                  <a:lnTo>
                    <a:pt x="74213" y="1108"/>
                  </a:lnTo>
                  <a:lnTo>
                    <a:pt x="74850" y="906"/>
                  </a:lnTo>
                  <a:lnTo>
                    <a:pt x="75453" y="739"/>
                  </a:lnTo>
                  <a:lnTo>
                    <a:pt x="76056" y="604"/>
                  </a:lnTo>
                  <a:lnTo>
                    <a:pt x="77363" y="302"/>
                  </a:lnTo>
                  <a:lnTo>
                    <a:pt x="78670" y="134"/>
                  </a:lnTo>
                  <a:lnTo>
                    <a:pt x="79976" y="3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462" name="Group 461"/>
          <p:cNvGrpSpPr/>
          <p:nvPr/>
        </p:nvGrpSpPr>
        <p:grpSpPr>
          <a:xfrm flipH="1">
            <a:off x="4716238" y="2453352"/>
            <a:ext cx="240602" cy="442941"/>
            <a:chOff x="4645079" y="2439452"/>
            <a:chExt cx="354034" cy="651766"/>
          </a:xfrm>
        </p:grpSpPr>
        <p:grpSp>
          <p:nvGrpSpPr>
            <p:cNvPr id="863" name="Group 862"/>
            <p:cNvGrpSpPr/>
            <p:nvPr/>
          </p:nvGrpSpPr>
          <p:grpSpPr>
            <a:xfrm>
              <a:off x="4645079" y="2696601"/>
              <a:ext cx="354034" cy="394617"/>
              <a:chOff x="5427663" y="2935288"/>
              <a:chExt cx="900113" cy="1003300"/>
            </a:xfrm>
            <a:solidFill>
              <a:srgbClr val="008DB5"/>
            </a:solidFill>
          </p:grpSpPr>
          <p:sp>
            <p:nvSpPr>
              <p:cNvPr id="987" name="Freeform 515"/>
              <p:cNvSpPr>
                <a:spLocks noEditPoints="1"/>
              </p:cNvSpPr>
              <p:nvPr/>
            </p:nvSpPr>
            <p:spPr bwMode="auto">
              <a:xfrm>
                <a:off x="5519738" y="3602038"/>
                <a:ext cx="334963" cy="336550"/>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solidFill>
                <a:srgbClr val="7EB1C7"/>
              </a:solid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88" name="Freeform 516"/>
              <p:cNvSpPr>
                <a:spLocks noEditPoints="1"/>
              </p:cNvSpPr>
              <p:nvPr/>
            </p:nvSpPr>
            <p:spPr bwMode="auto">
              <a:xfrm>
                <a:off x="5992813" y="3602038"/>
                <a:ext cx="334963" cy="336550"/>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solidFill>
                <a:srgbClr val="7EB1C7"/>
              </a:solid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89" name="Freeform 517"/>
              <p:cNvSpPr>
                <a:spLocks/>
              </p:cNvSpPr>
              <p:nvPr/>
            </p:nvSpPr>
            <p:spPr bwMode="auto">
              <a:xfrm>
                <a:off x="5721351" y="2935288"/>
                <a:ext cx="525463" cy="581025"/>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grpFill/>
              <a:ln w="0">
                <a:solidFill>
                  <a:srgbClr val="008DB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90" name="Freeform 518"/>
              <p:cNvSpPr>
                <a:spLocks/>
              </p:cNvSpPr>
              <p:nvPr/>
            </p:nvSpPr>
            <p:spPr bwMode="auto">
              <a:xfrm>
                <a:off x="5818188" y="3259138"/>
                <a:ext cx="52388" cy="233363"/>
              </a:xfrm>
              <a:custGeom>
                <a:avLst/>
                <a:gdLst>
                  <a:gd name="T0" fmla="*/ 33 w 134"/>
                  <a:gd name="T1" fmla="*/ 0 h 586"/>
                  <a:gd name="T2" fmla="*/ 100 w 134"/>
                  <a:gd name="T3" fmla="*/ 0 h 586"/>
                  <a:gd name="T4" fmla="*/ 114 w 134"/>
                  <a:gd name="T5" fmla="*/ 3 h 586"/>
                  <a:gd name="T6" fmla="*/ 124 w 134"/>
                  <a:gd name="T7" fmla="*/ 10 h 586"/>
                  <a:gd name="T8" fmla="*/ 131 w 134"/>
                  <a:gd name="T9" fmla="*/ 21 h 586"/>
                  <a:gd name="T10" fmla="*/ 134 w 134"/>
                  <a:gd name="T11" fmla="*/ 34 h 586"/>
                  <a:gd name="T12" fmla="*/ 134 w 134"/>
                  <a:gd name="T13" fmla="*/ 553 h 586"/>
                  <a:gd name="T14" fmla="*/ 131 w 134"/>
                  <a:gd name="T15" fmla="*/ 565 h 586"/>
                  <a:gd name="T16" fmla="*/ 124 w 134"/>
                  <a:gd name="T17" fmla="*/ 576 h 586"/>
                  <a:gd name="T18" fmla="*/ 114 w 134"/>
                  <a:gd name="T19" fmla="*/ 583 h 586"/>
                  <a:gd name="T20" fmla="*/ 100 w 134"/>
                  <a:gd name="T21" fmla="*/ 586 h 586"/>
                  <a:gd name="T22" fmla="*/ 33 w 134"/>
                  <a:gd name="T23" fmla="*/ 586 h 586"/>
                  <a:gd name="T24" fmla="*/ 20 w 134"/>
                  <a:gd name="T25" fmla="*/ 583 h 586"/>
                  <a:gd name="T26" fmla="*/ 10 w 134"/>
                  <a:gd name="T27" fmla="*/ 576 h 586"/>
                  <a:gd name="T28" fmla="*/ 3 w 134"/>
                  <a:gd name="T29" fmla="*/ 565 h 586"/>
                  <a:gd name="T30" fmla="*/ 0 w 134"/>
                  <a:gd name="T31" fmla="*/ 553 h 586"/>
                  <a:gd name="T32" fmla="*/ 0 w 134"/>
                  <a:gd name="T33" fmla="*/ 34 h 586"/>
                  <a:gd name="T34" fmla="*/ 3 w 134"/>
                  <a:gd name="T35" fmla="*/ 21 h 586"/>
                  <a:gd name="T36" fmla="*/ 10 w 134"/>
                  <a:gd name="T37" fmla="*/ 10 h 586"/>
                  <a:gd name="T38" fmla="*/ 20 w 134"/>
                  <a:gd name="T39" fmla="*/ 3 h 586"/>
                  <a:gd name="T40" fmla="*/ 33 w 134"/>
                  <a:gd name="T41" fmla="*/ 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4" h="586">
                    <a:moveTo>
                      <a:pt x="33" y="0"/>
                    </a:moveTo>
                    <a:lnTo>
                      <a:pt x="100" y="0"/>
                    </a:lnTo>
                    <a:lnTo>
                      <a:pt x="114" y="3"/>
                    </a:lnTo>
                    <a:lnTo>
                      <a:pt x="124" y="10"/>
                    </a:lnTo>
                    <a:lnTo>
                      <a:pt x="131" y="21"/>
                    </a:lnTo>
                    <a:lnTo>
                      <a:pt x="134" y="34"/>
                    </a:lnTo>
                    <a:lnTo>
                      <a:pt x="134" y="553"/>
                    </a:lnTo>
                    <a:lnTo>
                      <a:pt x="131" y="565"/>
                    </a:lnTo>
                    <a:lnTo>
                      <a:pt x="124" y="576"/>
                    </a:lnTo>
                    <a:lnTo>
                      <a:pt x="114" y="583"/>
                    </a:lnTo>
                    <a:lnTo>
                      <a:pt x="100" y="586"/>
                    </a:lnTo>
                    <a:lnTo>
                      <a:pt x="33" y="586"/>
                    </a:lnTo>
                    <a:lnTo>
                      <a:pt x="20" y="583"/>
                    </a:lnTo>
                    <a:lnTo>
                      <a:pt x="10" y="576"/>
                    </a:lnTo>
                    <a:lnTo>
                      <a:pt x="3" y="565"/>
                    </a:lnTo>
                    <a:lnTo>
                      <a:pt x="0" y="553"/>
                    </a:lnTo>
                    <a:lnTo>
                      <a:pt x="0" y="34"/>
                    </a:lnTo>
                    <a:lnTo>
                      <a:pt x="3" y="21"/>
                    </a:lnTo>
                    <a:lnTo>
                      <a:pt x="10" y="10"/>
                    </a:lnTo>
                    <a:lnTo>
                      <a:pt x="20" y="3"/>
                    </a:lnTo>
                    <a:lnTo>
                      <a:pt x="33" y="0"/>
                    </a:lnTo>
                    <a:close/>
                  </a:path>
                </a:pathLst>
              </a:custGeom>
              <a:grpFill/>
              <a:ln w="0">
                <a:solidFill>
                  <a:srgbClr val="008DB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22" name="Freeform 519"/>
              <p:cNvSpPr>
                <a:spLocks/>
              </p:cNvSpPr>
              <p:nvPr/>
            </p:nvSpPr>
            <p:spPr bwMode="auto">
              <a:xfrm>
                <a:off x="5427663" y="3416301"/>
                <a:ext cx="896938" cy="374650"/>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grpFill/>
              <a:ln w="0">
                <a:solidFill>
                  <a:srgbClr val="008DB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870" name="Group 869"/>
            <p:cNvGrpSpPr/>
            <p:nvPr/>
          </p:nvGrpSpPr>
          <p:grpSpPr>
            <a:xfrm flipH="1">
              <a:off x="4768001" y="2439452"/>
              <a:ext cx="149098" cy="246556"/>
              <a:chOff x="1431982" y="3952664"/>
              <a:chExt cx="235376" cy="389231"/>
            </a:xfrm>
          </p:grpSpPr>
          <p:sp>
            <p:nvSpPr>
              <p:cNvPr id="880" name="Oval 879"/>
              <p:cNvSpPr/>
              <p:nvPr/>
            </p:nvSpPr>
            <p:spPr bwMode="auto">
              <a:xfrm>
                <a:off x="1455850" y="3982329"/>
                <a:ext cx="180319" cy="18031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81" name="Freeform 224"/>
              <p:cNvSpPr>
                <a:spLocks/>
              </p:cNvSpPr>
              <p:nvPr/>
            </p:nvSpPr>
            <p:spPr bwMode="auto">
              <a:xfrm>
                <a:off x="1431982" y="3952664"/>
                <a:ext cx="235376" cy="389231"/>
              </a:xfrm>
              <a:custGeom>
                <a:avLst/>
                <a:gdLst/>
                <a:ahLst/>
                <a:cxnLst/>
                <a:rect l="l" t="t" r="r" b="b"/>
                <a:pathLst>
                  <a:path w="390526" h="645796">
                    <a:moveTo>
                      <a:pt x="195263" y="110490"/>
                    </a:moveTo>
                    <a:lnTo>
                      <a:pt x="185738" y="111448"/>
                    </a:lnTo>
                    <a:lnTo>
                      <a:pt x="176213" y="112405"/>
                    </a:lnTo>
                    <a:lnTo>
                      <a:pt x="167641" y="115277"/>
                    </a:lnTo>
                    <a:lnTo>
                      <a:pt x="159068" y="118149"/>
                    </a:lnTo>
                    <a:lnTo>
                      <a:pt x="150496" y="121979"/>
                    </a:lnTo>
                    <a:lnTo>
                      <a:pt x="142875" y="126766"/>
                    </a:lnTo>
                    <a:lnTo>
                      <a:pt x="136208" y="132510"/>
                    </a:lnTo>
                    <a:lnTo>
                      <a:pt x="129540" y="138254"/>
                    </a:lnTo>
                    <a:lnTo>
                      <a:pt x="123825" y="144956"/>
                    </a:lnTo>
                    <a:lnTo>
                      <a:pt x="118110" y="151658"/>
                    </a:lnTo>
                    <a:lnTo>
                      <a:pt x="113348" y="159317"/>
                    </a:lnTo>
                    <a:lnTo>
                      <a:pt x="109538" y="167933"/>
                    </a:lnTo>
                    <a:lnTo>
                      <a:pt x="106680" y="175592"/>
                    </a:lnTo>
                    <a:lnTo>
                      <a:pt x="104775" y="185166"/>
                    </a:lnTo>
                    <a:lnTo>
                      <a:pt x="102870" y="193783"/>
                    </a:lnTo>
                    <a:lnTo>
                      <a:pt x="102870" y="203357"/>
                    </a:lnTo>
                    <a:lnTo>
                      <a:pt x="102870" y="212930"/>
                    </a:lnTo>
                    <a:lnTo>
                      <a:pt x="104775" y="222504"/>
                    </a:lnTo>
                    <a:lnTo>
                      <a:pt x="106680" y="231121"/>
                    </a:lnTo>
                    <a:lnTo>
                      <a:pt x="109538" y="239737"/>
                    </a:lnTo>
                    <a:lnTo>
                      <a:pt x="113348" y="247396"/>
                    </a:lnTo>
                    <a:lnTo>
                      <a:pt x="118110" y="255055"/>
                    </a:lnTo>
                    <a:lnTo>
                      <a:pt x="123825" y="263672"/>
                    </a:lnTo>
                    <a:lnTo>
                      <a:pt x="129540" y="270373"/>
                    </a:lnTo>
                    <a:lnTo>
                      <a:pt x="136208" y="276118"/>
                    </a:lnTo>
                    <a:lnTo>
                      <a:pt x="142875" y="280905"/>
                    </a:lnTo>
                    <a:lnTo>
                      <a:pt x="150496" y="285692"/>
                    </a:lnTo>
                    <a:lnTo>
                      <a:pt x="159068" y="289521"/>
                    </a:lnTo>
                    <a:lnTo>
                      <a:pt x="167641" y="293351"/>
                    </a:lnTo>
                    <a:lnTo>
                      <a:pt x="176213" y="295265"/>
                    </a:lnTo>
                    <a:lnTo>
                      <a:pt x="185738" y="296223"/>
                    </a:lnTo>
                    <a:lnTo>
                      <a:pt x="195263" y="297180"/>
                    </a:lnTo>
                    <a:lnTo>
                      <a:pt x="204788" y="296223"/>
                    </a:lnTo>
                    <a:lnTo>
                      <a:pt x="214313" y="295265"/>
                    </a:lnTo>
                    <a:lnTo>
                      <a:pt x="222886" y="293351"/>
                    </a:lnTo>
                    <a:lnTo>
                      <a:pt x="231458" y="290479"/>
                    </a:lnTo>
                    <a:lnTo>
                      <a:pt x="239078" y="286649"/>
                    </a:lnTo>
                    <a:lnTo>
                      <a:pt x="246699" y="281862"/>
                    </a:lnTo>
                    <a:lnTo>
                      <a:pt x="253366" y="276118"/>
                    </a:lnTo>
                    <a:lnTo>
                      <a:pt x="260034" y="270373"/>
                    </a:lnTo>
                    <a:lnTo>
                      <a:pt x="265749" y="264629"/>
                    </a:lnTo>
                    <a:lnTo>
                      <a:pt x="271464" y="256013"/>
                    </a:lnTo>
                    <a:lnTo>
                      <a:pt x="276226" y="249311"/>
                    </a:lnTo>
                    <a:lnTo>
                      <a:pt x="280036" y="240695"/>
                    </a:lnTo>
                    <a:lnTo>
                      <a:pt x="282894" y="233035"/>
                    </a:lnTo>
                    <a:lnTo>
                      <a:pt x="285751" y="224419"/>
                    </a:lnTo>
                    <a:lnTo>
                      <a:pt x="286704" y="214845"/>
                    </a:lnTo>
                    <a:lnTo>
                      <a:pt x="287656" y="206229"/>
                    </a:lnTo>
                    <a:lnTo>
                      <a:pt x="287656" y="201442"/>
                    </a:lnTo>
                    <a:lnTo>
                      <a:pt x="286704" y="191868"/>
                    </a:lnTo>
                    <a:lnTo>
                      <a:pt x="285751" y="183251"/>
                    </a:lnTo>
                    <a:lnTo>
                      <a:pt x="282894" y="174635"/>
                    </a:lnTo>
                    <a:lnTo>
                      <a:pt x="280036" y="166019"/>
                    </a:lnTo>
                    <a:lnTo>
                      <a:pt x="276226" y="158359"/>
                    </a:lnTo>
                    <a:lnTo>
                      <a:pt x="271464" y="150700"/>
                    </a:lnTo>
                    <a:lnTo>
                      <a:pt x="265749" y="143999"/>
                    </a:lnTo>
                    <a:lnTo>
                      <a:pt x="260034" y="137297"/>
                    </a:lnTo>
                    <a:lnTo>
                      <a:pt x="253366" y="131553"/>
                    </a:lnTo>
                    <a:lnTo>
                      <a:pt x="246699" y="126766"/>
                    </a:lnTo>
                    <a:lnTo>
                      <a:pt x="239078" y="121979"/>
                    </a:lnTo>
                    <a:lnTo>
                      <a:pt x="231458" y="118149"/>
                    </a:lnTo>
                    <a:lnTo>
                      <a:pt x="222886" y="115277"/>
                    </a:lnTo>
                    <a:lnTo>
                      <a:pt x="214313" y="112405"/>
                    </a:lnTo>
                    <a:lnTo>
                      <a:pt x="204788" y="111448"/>
                    </a:lnTo>
                    <a:close/>
                    <a:moveTo>
                      <a:pt x="195263" y="0"/>
                    </a:moveTo>
                    <a:lnTo>
                      <a:pt x="214313" y="1908"/>
                    </a:lnTo>
                    <a:lnTo>
                      <a:pt x="233363" y="4770"/>
                    </a:lnTo>
                    <a:lnTo>
                      <a:pt x="251461" y="9539"/>
                    </a:lnTo>
                    <a:lnTo>
                      <a:pt x="268606" y="17171"/>
                    </a:lnTo>
                    <a:lnTo>
                      <a:pt x="285751" y="25756"/>
                    </a:lnTo>
                    <a:lnTo>
                      <a:pt x="301944" y="36249"/>
                    </a:lnTo>
                    <a:lnTo>
                      <a:pt x="317184" y="47696"/>
                    </a:lnTo>
                    <a:lnTo>
                      <a:pt x="330519" y="61050"/>
                    </a:lnTo>
                    <a:lnTo>
                      <a:pt x="343854" y="75359"/>
                    </a:lnTo>
                    <a:lnTo>
                      <a:pt x="355284" y="90622"/>
                    </a:lnTo>
                    <a:lnTo>
                      <a:pt x="365761" y="106838"/>
                    </a:lnTo>
                    <a:lnTo>
                      <a:pt x="374334" y="123054"/>
                    </a:lnTo>
                    <a:lnTo>
                      <a:pt x="381001" y="141179"/>
                    </a:lnTo>
                    <a:lnTo>
                      <a:pt x="386716" y="159303"/>
                    </a:lnTo>
                    <a:lnTo>
                      <a:pt x="389574" y="177427"/>
                    </a:lnTo>
                    <a:lnTo>
                      <a:pt x="390526" y="196505"/>
                    </a:lnTo>
                    <a:lnTo>
                      <a:pt x="390526" y="214630"/>
                    </a:lnTo>
                    <a:lnTo>
                      <a:pt x="388621" y="230846"/>
                    </a:lnTo>
                    <a:lnTo>
                      <a:pt x="385764" y="247063"/>
                    </a:lnTo>
                    <a:lnTo>
                      <a:pt x="382906" y="262325"/>
                    </a:lnTo>
                    <a:lnTo>
                      <a:pt x="378144" y="276634"/>
                    </a:lnTo>
                    <a:lnTo>
                      <a:pt x="373381" y="289988"/>
                    </a:lnTo>
                    <a:lnTo>
                      <a:pt x="366714" y="303343"/>
                    </a:lnTo>
                    <a:lnTo>
                      <a:pt x="360999" y="315744"/>
                    </a:lnTo>
                    <a:lnTo>
                      <a:pt x="353379" y="327191"/>
                    </a:lnTo>
                    <a:lnTo>
                      <a:pt x="346711" y="338638"/>
                    </a:lnTo>
                    <a:lnTo>
                      <a:pt x="330519" y="359624"/>
                    </a:lnTo>
                    <a:lnTo>
                      <a:pt x="297181" y="400642"/>
                    </a:lnTo>
                    <a:lnTo>
                      <a:pt x="280988" y="421628"/>
                    </a:lnTo>
                    <a:lnTo>
                      <a:pt x="265748" y="444522"/>
                    </a:lnTo>
                    <a:lnTo>
                      <a:pt x="258128" y="455968"/>
                    </a:lnTo>
                    <a:lnTo>
                      <a:pt x="250508" y="469323"/>
                    </a:lnTo>
                    <a:lnTo>
                      <a:pt x="243841" y="482678"/>
                    </a:lnTo>
                    <a:lnTo>
                      <a:pt x="237173" y="496987"/>
                    </a:lnTo>
                    <a:lnTo>
                      <a:pt x="231458" y="511295"/>
                    </a:lnTo>
                    <a:lnTo>
                      <a:pt x="226696" y="526558"/>
                    </a:lnTo>
                    <a:lnTo>
                      <a:pt x="221933" y="543728"/>
                    </a:lnTo>
                    <a:lnTo>
                      <a:pt x="218123" y="561852"/>
                    </a:lnTo>
                    <a:lnTo>
                      <a:pt x="215266" y="580930"/>
                    </a:lnTo>
                    <a:lnTo>
                      <a:pt x="212408" y="600963"/>
                    </a:lnTo>
                    <a:lnTo>
                      <a:pt x="211456" y="622902"/>
                    </a:lnTo>
                    <a:lnTo>
                      <a:pt x="210503" y="645796"/>
                    </a:lnTo>
                    <a:lnTo>
                      <a:pt x="180023" y="645796"/>
                    </a:lnTo>
                    <a:lnTo>
                      <a:pt x="179071" y="628626"/>
                    </a:lnTo>
                    <a:lnTo>
                      <a:pt x="179071" y="611456"/>
                    </a:lnTo>
                    <a:lnTo>
                      <a:pt x="177166" y="596193"/>
                    </a:lnTo>
                    <a:lnTo>
                      <a:pt x="175261" y="580930"/>
                    </a:lnTo>
                    <a:lnTo>
                      <a:pt x="170498" y="552313"/>
                    </a:lnTo>
                    <a:lnTo>
                      <a:pt x="163831" y="526558"/>
                    </a:lnTo>
                    <a:lnTo>
                      <a:pt x="156211" y="503664"/>
                    </a:lnTo>
                    <a:lnTo>
                      <a:pt x="146686" y="482678"/>
                    </a:lnTo>
                    <a:lnTo>
                      <a:pt x="136208" y="462646"/>
                    </a:lnTo>
                    <a:lnTo>
                      <a:pt x="125731" y="444522"/>
                    </a:lnTo>
                    <a:lnTo>
                      <a:pt x="113348" y="427351"/>
                    </a:lnTo>
                    <a:lnTo>
                      <a:pt x="100966" y="411135"/>
                    </a:lnTo>
                    <a:lnTo>
                      <a:pt x="76200" y="380610"/>
                    </a:lnTo>
                    <a:lnTo>
                      <a:pt x="63818" y="364393"/>
                    </a:lnTo>
                    <a:lnTo>
                      <a:pt x="52388" y="349131"/>
                    </a:lnTo>
                    <a:lnTo>
                      <a:pt x="40005" y="332914"/>
                    </a:lnTo>
                    <a:lnTo>
                      <a:pt x="29528" y="315744"/>
                    </a:lnTo>
                    <a:lnTo>
                      <a:pt x="23813" y="303343"/>
                    </a:lnTo>
                    <a:lnTo>
                      <a:pt x="17145" y="289988"/>
                    </a:lnTo>
                    <a:lnTo>
                      <a:pt x="12383" y="276634"/>
                    </a:lnTo>
                    <a:lnTo>
                      <a:pt x="7620" y="262325"/>
                    </a:lnTo>
                    <a:lnTo>
                      <a:pt x="4763" y="247063"/>
                    </a:lnTo>
                    <a:lnTo>
                      <a:pt x="1905" y="230846"/>
                    </a:lnTo>
                    <a:lnTo>
                      <a:pt x="0" y="214630"/>
                    </a:lnTo>
                    <a:lnTo>
                      <a:pt x="0" y="196505"/>
                    </a:lnTo>
                    <a:lnTo>
                      <a:pt x="953" y="177427"/>
                    </a:lnTo>
                    <a:lnTo>
                      <a:pt x="3810" y="159303"/>
                    </a:lnTo>
                    <a:lnTo>
                      <a:pt x="9525" y="141179"/>
                    </a:lnTo>
                    <a:lnTo>
                      <a:pt x="16193" y="123054"/>
                    </a:lnTo>
                    <a:lnTo>
                      <a:pt x="24765" y="106838"/>
                    </a:lnTo>
                    <a:lnTo>
                      <a:pt x="35243" y="90622"/>
                    </a:lnTo>
                    <a:lnTo>
                      <a:pt x="46673" y="75359"/>
                    </a:lnTo>
                    <a:lnTo>
                      <a:pt x="60008" y="61050"/>
                    </a:lnTo>
                    <a:lnTo>
                      <a:pt x="73343" y="47696"/>
                    </a:lnTo>
                    <a:lnTo>
                      <a:pt x="88583" y="36249"/>
                    </a:lnTo>
                    <a:lnTo>
                      <a:pt x="104776" y="25756"/>
                    </a:lnTo>
                    <a:lnTo>
                      <a:pt x="121921" y="17171"/>
                    </a:lnTo>
                    <a:lnTo>
                      <a:pt x="139066" y="9539"/>
                    </a:lnTo>
                    <a:lnTo>
                      <a:pt x="157163" y="4770"/>
                    </a:lnTo>
                    <a:lnTo>
                      <a:pt x="176213" y="1908"/>
                    </a:lnTo>
                    <a:close/>
                  </a:path>
                </a:pathLst>
              </a:custGeom>
              <a:solidFill>
                <a:schemeClr val="accent3"/>
              </a:solidFill>
              <a:ln w="190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929" name="Rounded Rectangle 914"/>
          <p:cNvSpPr/>
          <p:nvPr/>
        </p:nvSpPr>
        <p:spPr bwMode="auto">
          <a:xfrm>
            <a:off x="4531996" y="5550462"/>
            <a:ext cx="474596" cy="603321"/>
          </a:xfrm>
          <a:custGeom>
            <a:avLst/>
            <a:gdLst>
              <a:gd name="connsiteX0" fmla="*/ 0 w 480775"/>
              <a:gd name="connsiteY0" fmla="*/ 0 h 601696"/>
              <a:gd name="connsiteX1" fmla="*/ 198283 w 480775"/>
              <a:gd name="connsiteY1" fmla="*/ 0 h 601696"/>
              <a:gd name="connsiteX2" fmla="*/ 376295 w 480775"/>
              <a:gd name="connsiteY2" fmla="*/ 406564 h 601696"/>
              <a:gd name="connsiteX3" fmla="*/ 409977 w 480775"/>
              <a:gd name="connsiteY3" fmla="*/ 405066 h 601696"/>
              <a:gd name="connsiteX4" fmla="*/ 480026 w 480775"/>
              <a:gd name="connsiteY4" fmla="*/ 517867 h 601696"/>
              <a:gd name="connsiteX5" fmla="*/ 400163 w 480775"/>
              <a:gd name="connsiteY5" fmla="*/ 598922 h 601696"/>
              <a:gd name="connsiteX6" fmla="*/ 275243 w 480775"/>
              <a:gd name="connsiteY6" fmla="*/ 601696 h 601696"/>
              <a:gd name="connsiteX7" fmla="*/ 0 w 480775"/>
              <a:gd name="connsiteY7" fmla="*/ 0 h 601696"/>
              <a:gd name="connsiteX0" fmla="*/ 0 w 480775"/>
              <a:gd name="connsiteY0" fmla="*/ 0 h 601696"/>
              <a:gd name="connsiteX1" fmla="*/ 198283 w 480775"/>
              <a:gd name="connsiteY1" fmla="*/ 0 h 601696"/>
              <a:gd name="connsiteX2" fmla="*/ 376295 w 480775"/>
              <a:gd name="connsiteY2" fmla="*/ 406564 h 601696"/>
              <a:gd name="connsiteX3" fmla="*/ 409977 w 480775"/>
              <a:gd name="connsiteY3" fmla="*/ 405066 h 601696"/>
              <a:gd name="connsiteX4" fmla="*/ 480026 w 480775"/>
              <a:gd name="connsiteY4" fmla="*/ 517867 h 601696"/>
              <a:gd name="connsiteX5" fmla="*/ 400163 w 480775"/>
              <a:gd name="connsiteY5" fmla="*/ 598922 h 601696"/>
              <a:gd name="connsiteX6" fmla="*/ 275243 w 480775"/>
              <a:gd name="connsiteY6" fmla="*/ 601696 h 601696"/>
              <a:gd name="connsiteX7" fmla="*/ 0 w 480775"/>
              <a:gd name="connsiteY7" fmla="*/ 0 h 601696"/>
              <a:gd name="connsiteX0" fmla="*/ 0 w 502403"/>
              <a:gd name="connsiteY0" fmla="*/ 0 h 601696"/>
              <a:gd name="connsiteX1" fmla="*/ 198283 w 502403"/>
              <a:gd name="connsiteY1" fmla="*/ 0 h 601696"/>
              <a:gd name="connsiteX2" fmla="*/ 376295 w 502403"/>
              <a:gd name="connsiteY2" fmla="*/ 406564 h 601696"/>
              <a:gd name="connsiteX3" fmla="*/ 409977 w 502403"/>
              <a:gd name="connsiteY3" fmla="*/ 405066 h 601696"/>
              <a:gd name="connsiteX4" fmla="*/ 501867 w 502403"/>
              <a:gd name="connsiteY4" fmla="*/ 505127 h 601696"/>
              <a:gd name="connsiteX5" fmla="*/ 400163 w 502403"/>
              <a:gd name="connsiteY5" fmla="*/ 598922 h 601696"/>
              <a:gd name="connsiteX6" fmla="*/ 275243 w 502403"/>
              <a:gd name="connsiteY6" fmla="*/ 601696 h 601696"/>
              <a:gd name="connsiteX7" fmla="*/ 0 w 502403"/>
              <a:gd name="connsiteY7" fmla="*/ 0 h 601696"/>
              <a:gd name="connsiteX0" fmla="*/ 0 w 501867"/>
              <a:gd name="connsiteY0" fmla="*/ 0 h 601696"/>
              <a:gd name="connsiteX1" fmla="*/ 198283 w 501867"/>
              <a:gd name="connsiteY1" fmla="*/ 0 h 601696"/>
              <a:gd name="connsiteX2" fmla="*/ 376295 w 501867"/>
              <a:gd name="connsiteY2" fmla="*/ 406564 h 601696"/>
              <a:gd name="connsiteX3" fmla="*/ 409977 w 501867"/>
              <a:gd name="connsiteY3" fmla="*/ 405066 h 601696"/>
              <a:gd name="connsiteX4" fmla="*/ 501867 w 501867"/>
              <a:gd name="connsiteY4" fmla="*/ 505127 h 601696"/>
              <a:gd name="connsiteX5" fmla="*/ 400163 w 501867"/>
              <a:gd name="connsiteY5" fmla="*/ 598922 h 601696"/>
              <a:gd name="connsiteX6" fmla="*/ 275243 w 501867"/>
              <a:gd name="connsiteY6" fmla="*/ 601696 h 601696"/>
              <a:gd name="connsiteX7" fmla="*/ 0 w 501867"/>
              <a:gd name="connsiteY7" fmla="*/ 0 h 601696"/>
              <a:gd name="connsiteX0" fmla="*/ 0 w 490947"/>
              <a:gd name="connsiteY0" fmla="*/ 0 h 601696"/>
              <a:gd name="connsiteX1" fmla="*/ 198283 w 490947"/>
              <a:gd name="connsiteY1" fmla="*/ 0 h 601696"/>
              <a:gd name="connsiteX2" fmla="*/ 376295 w 490947"/>
              <a:gd name="connsiteY2" fmla="*/ 406564 h 601696"/>
              <a:gd name="connsiteX3" fmla="*/ 409977 w 490947"/>
              <a:gd name="connsiteY3" fmla="*/ 405066 h 601696"/>
              <a:gd name="connsiteX4" fmla="*/ 490947 w 490947"/>
              <a:gd name="connsiteY4" fmla="*/ 505127 h 601696"/>
              <a:gd name="connsiteX5" fmla="*/ 400163 w 490947"/>
              <a:gd name="connsiteY5" fmla="*/ 598922 h 601696"/>
              <a:gd name="connsiteX6" fmla="*/ 275243 w 490947"/>
              <a:gd name="connsiteY6" fmla="*/ 601696 h 601696"/>
              <a:gd name="connsiteX7" fmla="*/ 0 w 490947"/>
              <a:gd name="connsiteY7" fmla="*/ 0 h 601696"/>
              <a:gd name="connsiteX0" fmla="*/ 0 w 495497"/>
              <a:gd name="connsiteY0" fmla="*/ 0 h 601696"/>
              <a:gd name="connsiteX1" fmla="*/ 198283 w 495497"/>
              <a:gd name="connsiteY1" fmla="*/ 0 h 601696"/>
              <a:gd name="connsiteX2" fmla="*/ 376295 w 495497"/>
              <a:gd name="connsiteY2" fmla="*/ 406564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74475 w 495497"/>
              <a:gd name="connsiteY2" fmla="*/ 402924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39480 w 495497"/>
              <a:gd name="connsiteY2" fmla="*/ 323601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39480 w 495497"/>
              <a:gd name="connsiteY2" fmla="*/ 323601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409977 w 495497"/>
              <a:gd name="connsiteY2" fmla="*/ 405066 h 601696"/>
              <a:gd name="connsiteX3" fmla="*/ 495497 w 495497"/>
              <a:gd name="connsiteY3" fmla="*/ 507857 h 601696"/>
              <a:gd name="connsiteX4" fmla="*/ 400163 w 495497"/>
              <a:gd name="connsiteY4" fmla="*/ 598922 h 601696"/>
              <a:gd name="connsiteX5" fmla="*/ 275243 w 495497"/>
              <a:gd name="connsiteY5" fmla="*/ 601696 h 601696"/>
              <a:gd name="connsiteX6" fmla="*/ 0 w 495497"/>
              <a:gd name="connsiteY6" fmla="*/ 0 h 601696"/>
              <a:gd name="connsiteX0" fmla="*/ 0 w 495497"/>
              <a:gd name="connsiteY0" fmla="*/ 0 h 601696"/>
              <a:gd name="connsiteX1" fmla="*/ 198283 w 495497"/>
              <a:gd name="connsiteY1" fmla="*/ 0 h 601696"/>
              <a:gd name="connsiteX2" fmla="*/ 391313 w 495497"/>
              <a:gd name="connsiteY2" fmla="*/ 398067 h 601696"/>
              <a:gd name="connsiteX3" fmla="*/ 495497 w 495497"/>
              <a:gd name="connsiteY3" fmla="*/ 507857 h 601696"/>
              <a:gd name="connsiteX4" fmla="*/ 400163 w 495497"/>
              <a:gd name="connsiteY4" fmla="*/ 598922 h 601696"/>
              <a:gd name="connsiteX5" fmla="*/ 275243 w 495497"/>
              <a:gd name="connsiteY5" fmla="*/ 601696 h 601696"/>
              <a:gd name="connsiteX6" fmla="*/ 0 w 495497"/>
              <a:gd name="connsiteY6" fmla="*/ 0 h 601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497" h="601696">
                <a:moveTo>
                  <a:pt x="0" y="0"/>
                </a:moveTo>
                <a:lnTo>
                  <a:pt x="198283" y="0"/>
                </a:lnTo>
                <a:lnTo>
                  <a:pt x="391313" y="398067"/>
                </a:lnTo>
                <a:cubicBezTo>
                  <a:pt x="470261" y="406608"/>
                  <a:pt x="494233" y="475471"/>
                  <a:pt x="495497" y="507857"/>
                </a:cubicBezTo>
                <a:cubicBezTo>
                  <a:pt x="486491" y="574749"/>
                  <a:pt x="438839" y="598922"/>
                  <a:pt x="400163" y="598922"/>
                </a:cubicBezTo>
                <a:lnTo>
                  <a:pt x="275243" y="601696"/>
                </a:lnTo>
                <a:lnTo>
                  <a:pt x="0" y="0"/>
                </a:lnTo>
                <a:close/>
              </a:path>
            </a:pathLst>
          </a:custGeom>
          <a:gradFill>
            <a:gsLst>
              <a:gs pos="47000">
                <a:schemeClr val="accent5">
                  <a:lumMod val="37000"/>
                </a:schemeClr>
              </a:gs>
              <a:gs pos="25000">
                <a:schemeClr val="bg2">
                  <a:lumMod val="50000"/>
                </a:schemeClr>
              </a:gs>
            </a:gsLst>
            <a:lin ang="9000000" scaled="0"/>
          </a:gradFill>
          <a:ln w="15875">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663" name="Group 662"/>
          <p:cNvGrpSpPr/>
          <p:nvPr/>
        </p:nvGrpSpPr>
        <p:grpSpPr>
          <a:xfrm>
            <a:off x="4233741" y="5539112"/>
            <a:ext cx="662234" cy="636622"/>
            <a:chOff x="3424593" y="5313698"/>
            <a:chExt cx="764895" cy="735313"/>
          </a:xfrm>
        </p:grpSpPr>
        <p:sp>
          <p:nvSpPr>
            <p:cNvPr id="562" name="Freeform 52"/>
            <p:cNvSpPr>
              <a:spLocks noEditPoints="1"/>
            </p:cNvSpPr>
            <p:nvPr/>
          </p:nvSpPr>
          <p:spPr bwMode="auto">
            <a:xfrm>
              <a:off x="3424593" y="5313698"/>
              <a:ext cx="764895" cy="735313"/>
            </a:xfrm>
            <a:custGeom>
              <a:avLst/>
              <a:gdLst>
                <a:gd name="T0" fmla="*/ 1024 w 1087"/>
                <a:gd name="T1" fmla="*/ 756 h 1046"/>
                <a:gd name="T2" fmla="*/ 961 w 1087"/>
                <a:gd name="T3" fmla="*/ 630 h 1046"/>
                <a:gd name="T4" fmla="*/ 898 w 1087"/>
                <a:gd name="T5" fmla="*/ 504 h 1046"/>
                <a:gd name="T6" fmla="*/ 857 w 1087"/>
                <a:gd name="T7" fmla="*/ 379 h 1046"/>
                <a:gd name="T8" fmla="*/ 794 w 1087"/>
                <a:gd name="T9" fmla="*/ 252 h 1046"/>
                <a:gd name="T10" fmla="*/ 731 w 1087"/>
                <a:gd name="T11" fmla="*/ 126 h 1046"/>
                <a:gd name="T12" fmla="*/ 668 w 1087"/>
                <a:gd name="T13" fmla="*/ 0 h 1046"/>
                <a:gd name="T14" fmla="*/ 0 w 1087"/>
                <a:gd name="T15" fmla="*/ 0 h 1046"/>
                <a:gd name="T16" fmla="*/ 0 w 1087"/>
                <a:gd name="T17" fmla="*/ 218 h 1046"/>
                <a:gd name="T18" fmla="*/ 545 w 1087"/>
                <a:gd name="T19" fmla="*/ 1046 h 1046"/>
                <a:gd name="T20" fmla="*/ 1087 w 1087"/>
                <a:gd name="T21" fmla="*/ 883 h 1046"/>
                <a:gd name="T22" fmla="*/ 961 w 1087"/>
                <a:gd name="T23" fmla="*/ 794 h 1046"/>
                <a:gd name="T24" fmla="*/ 987 w 1087"/>
                <a:gd name="T25" fmla="*/ 883 h 1046"/>
                <a:gd name="T26" fmla="*/ 520 w 1087"/>
                <a:gd name="T27" fmla="*/ 794 h 1046"/>
                <a:gd name="T28" fmla="*/ 961 w 1087"/>
                <a:gd name="T29" fmla="*/ 794 h 1046"/>
                <a:gd name="T30" fmla="*/ 924 w 1087"/>
                <a:gd name="T31" fmla="*/ 667 h 1046"/>
                <a:gd name="T32" fmla="*/ 457 w 1087"/>
                <a:gd name="T33" fmla="*/ 756 h 1046"/>
                <a:gd name="T34" fmla="*/ 880 w 1087"/>
                <a:gd name="T35" fmla="*/ 667 h 1046"/>
                <a:gd name="T36" fmla="*/ 861 w 1087"/>
                <a:gd name="T37" fmla="*/ 542 h 1046"/>
                <a:gd name="T38" fmla="*/ 394 w 1087"/>
                <a:gd name="T39" fmla="*/ 630 h 1046"/>
                <a:gd name="T40" fmla="*/ 857 w 1087"/>
                <a:gd name="T41" fmla="*/ 542 h 1046"/>
                <a:gd name="T42" fmla="*/ 794 w 1087"/>
                <a:gd name="T43" fmla="*/ 416 h 1046"/>
                <a:gd name="T44" fmla="*/ 819 w 1087"/>
                <a:gd name="T45" fmla="*/ 504 h 1046"/>
                <a:gd name="T46" fmla="*/ 353 w 1087"/>
                <a:gd name="T47" fmla="*/ 504 h 1046"/>
                <a:gd name="T48" fmla="*/ 775 w 1087"/>
                <a:gd name="T49" fmla="*/ 416 h 1046"/>
                <a:gd name="T50" fmla="*/ 731 w 1087"/>
                <a:gd name="T51" fmla="*/ 290 h 1046"/>
                <a:gd name="T52" fmla="*/ 757 w 1087"/>
                <a:gd name="T53" fmla="*/ 379 h 1046"/>
                <a:gd name="T54" fmla="*/ 290 w 1087"/>
                <a:gd name="T55" fmla="*/ 290 h 1046"/>
                <a:gd name="T56" fmla="*/ 731 w 1087"/>
                <a:gd name="T57" fmla="*/ 290 h 1046"/>
                <a:gd name="T58" fmla="*/ 694 w 1087"/>
                <a:gd name="T59" fmla="*/ 163 h 1046"/>
                <a:gd name="T60" fmla="*/ 227 w 1087"/>
                <a:gd name="T61" fmla="*/ 252 h 1046"/>
                <a:gd name="T62" fmla="*/ 650 w 1087"/>
                <a:gd name="T63" fmla="*/ 163 h 1046"/>
                <a:gd name="T64" fmla="*/ 165 w 1087"/>
                <a:gd name="T65" fmla="*/ 38 h 1046"/>
                <a:gd name="T66" fmla="*/ 630 w 1087"/>
                <a:gd name="T67" fmla="*/ 126 h 1046"/>
                <a:gd name="T68" fmla="*/ 165 w 1087"/>
                <a:gd name="T69" fmla="*/ 38 h 1046"/>
                <a:gd name="T70" fmla="*/ 583 w 1087"/>
                <a:gd name="T71" fmla="*/ 1008 h 1046"/>
                <a:gd name="T72" fmla="*/ 1005 w 1087"/>
                <a:gd name="T73" fmla="*/ 920 h 1046"/>
                <a:gd name="T74" fmla="*/ 1049 w 1087"/>
                <a:gd name="T75" fmla="*/ 920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7" h="1046">
                  <a:moveTo>
                    <a:pt x="1024" y="883"/>
                  </a:moveTo>
                  <a:lnTo>
                    <a:pt x="1024" y="756"/>
                  </a:lnTo>
                  <a:lnTo>
                    <a:pt x="961" y="756"/>
                  </a:lnTo>
                  <a:lnTo>
                    <a:pt x="961" y="630"/>
                  </a:lnTo>
                  <a:lnTo>
                    <a:pt x="898" y="630"/>
                  </a:lnTo>
                  <a:lnTo>
                    <a:pt x="898" y="504"/>
                  </a:lnTo>
                  <a:lnTo>
                    <a:pt x="857" y="504"/>
                  </a:lnTo>
                  <a:lnTo>
                    <a:pt x="857" y="379"/>
                  </a:lnTo>
                  <a:lnTo>
                    <a:pt x="794" y="379"/>
                  </a:lnTo>
                  <a:lnTo>
                    <a:pt x="794" y="252"/>
                  </a:lnTo>
                  <a:lnTo>
                    <a:pt x="731" y="252"/>
                  </a:lnTo>
                  <a:lnTo>
                    <a:pt x="731" y="126"/>
                  </a:lnTo>
                  <a:lnTo>
                    <a:pt x="668" y="126"/>
                  </a:lnTo>
                  <a:lnTo>
                    <a:pt x="668" y="0"/>
                  </a:lnTo>
                  <a:lnTo>
                    <a:pt x="151" y="0"/>
                  </a:lnTo>
                  <a:lnTo>
                    <a:pt x="0" y="0"/>
                  </a:lnTo>
                  <a:lnTo>
                    <a:pt x="0" y="38"/>
                  </a:lnTo>
                  <a:lnTo>
                    <a:pt x="0" y="218"/>
                  </a:lnTo>
                  <a:lnTo>
                    <a:pt x="394" y="1046"/>
                  </a:lnTo>
                  <a:lnTo>
                    <a:pt x="545" y="1046"/>
                  </a:lnTo>
                  <a:lnTo>
                    <a:pt x="1087" y="1046"/>
                  </a:lnTo>
                  <a:lnTo>
                    <a:pt x="1087" y="883"/>
                  </a:lnTo>
                  <a:lnTo>
                    <a:pt x="1024" y="883"/>
                  </a:lnTo>
                  <a:close/>
                  <a:moveTo>
                    <a:pt x="961" y="794"/>
                  </a:moveTo>
                  <a:lnTo>
                    <a:pt x="987" y="794"/>
                  </a:lnTo>
                  <a:lnTo>
                    <a:pt x="987" y="883"/>
                  </a:lnTo>
                  <a:lnTo>
                    <a:pt x="520" y="883"/>
                  </a:lnTo>
                  <a:lnTo>
                    <a:pt x="520" y="794"/>
                  </a:lnTo>
                  <a:lnTo>
                    <a:pt x="942" y="794"/>
                  </a:lnTo>
                  <a:lnTo>
                    <a:pt x="961" y="794"/>
                  </a:lnTo>
                  <a:close/>
                  <a:moveTo>
                    <a:pt x="898" y="667"/>
                  </a:moveTo>
                  <a:lnTo>
                    <a:pt x="924" y="667"/>
                  </a:lnTo>
                  <a:lnTo>
                    <a:pt x="924" y="756"/>
                  </a:lnTo>
                  <a:lnTo>
                    <a:pt x="457" y="756"/>
                  </a:lnTo>
                  <a:lnTo>
                    <a:pt x="457" y="667"/>
                  </a:lnTo>
                  <a:lnTo>
                    <a:pt x="880" y="667"/>
                  </a:lnTo>
                  <a:lnTo>
                    <a:pt x="898" y="667"/>
                  </a:lnTo>
                  <a:close/>
                  <a:moveTo>
                    <a:pt x="861" y="542"/>
                  </a:moveTo>
                  <a:lnTo>
                    <a:pt x="861" y="630"/>
                  </a:lnTo>
                  <a:lnTo>
                    <a:pt x="394" y="630"/>
                  </a:lnTo>
                  <a:lnTo>
                    <a:pt x="394" y="542"/>
                  </a:lnTo>
                  <a:lnTo>
                    <a:pt x="857" y="542"/>
                  </a:lnTo>
                  <a:lnTo>
                    <a:pt x="861" y="542"/>
                  </a:lnTo>
                  <a:close/>
                  <a:moveTo>
                    <a:pt x="794" y="416"/>
                  </a:moveTo>
                  <a:lnTo>
                    <a:pt x="819" y="416"/>
                  </a:lnTo>
                  <a:lnTo>
                    <a:pt x="819" y="504"/>
                  </a:lnTo>
                  <a:lnTo>
                    <a:pt x="381" y="504"/>
                  </a:lnTo>
                  <a:lnTo>
                    <a:pt x="353" y="504"/>
                  </a:lnTo>
                  <a:lnTo>
                    <a:pt x="353" y="416"/>
                  </a:lnTo>
                  <a:lnTo>
                    <a:pt x="775" y="416"/>
                  </a:lnTo>
                  <a:lnTo>
                    <a:pt x="794" y="416"/>
                  </a:lnTo>
                  <a:close/>
                  <a:moveTo>
                    <a:pt x="731" y="290"/>
                  </a:moveTo>
                  <a:lnTo>
                    <a:pt x="757" y="290"/>
                  </a:lnTo>
                  <a:lnTo>
                    <a:pt x="757" y="379"/>
                  </a:lnTo>
                  <a:lnTo>
                    <a:pt x="290" y="379"/>
                  </a:lnTo>
                  <a:lnTo>
                    <a:pt x="290" y="290"/>
                  </a:lnTo>
                  <a:lnTo>
                    <a:pt x="713" y="290"/>
                  </a:lnTo>
                  <a:lnTo>
                    <a:pt x="731" y="290"/>
                  </a:lnTo>
                  <a:close/>
                  <a:moveTo>
                    <a:pt x="668" y="163"/>
                  </a:moveTo>
                  <a:lnTo>
                    <a:pt x="694" y="163"/>
                  </a:lnTo>
                  <a:lnTo>
                    <a:pt x="694" y="252"/>
                  </a:lnTo>
                  <a:lnTo>
                    <a:pt x="227" y="252"/>
                  </a:lnTo>
                  <a:lnTo>
                    <a:pt x="227" y="163"/>
                  </a:lnTo>
                  <a:lnTo>
                    <a:pt x="650" y="163"/>
                  </a:lnTo>
                  <a:lnTo>
                    <a:pt x="668" y="163"/>
                  </a:lnTo>
                  <a:close/>
                  <a:moveTo>
                    <a:pt x="165" y="38"/>
                  </a:moveTo>
                  <a:lnTo>
                    <a:pt x="630" y="38"/>
                  </a:lnTo>
                  <a:lnTo>
                    <a:pt x="630" y="126"/>
                  </a:lnTo>
                  <a:lnTo>
                    <a:pt x="165" y="126"/>
                  </a:lnTo>
                  <a:lnTo>
                    <a:pt x="165" y="38"/>
                  </a:lnTo>
                  <a:close/>
                  <a:moveTo>
                    <a:pt x="1049" y="1008"/>
                  </a:moveTo>
                  <a:lnTo>
                    <a:pt x="583" y="1008"/>
                  </a:lnTo>
                  <a:lnTo>
                    <a:pt x="583" y="920"/>
                  </a:lnTo>
                  <a:lnTo>
                    <a:pt x="1005" y="920"/>
                  </a:lnTo>
                  <a:lnTo>
                    <a:pt x="1024" y="920"/>
                  </a:lnTo>
                  <a:lnTo>
                    <a:pt x="1049" y="920"/>
                  </a:lnTo>
                  <a:lnTo>
                    <a:pt x="1049" y="1008"/>
                  </a:lnTo>
                  <a:close/>
                </a:path>
              </a:pathLst>
            </a:custGeom>
            <a:solidFill>
              <a:schemeClr val="tx2">
                <a:lumMod val="50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507" name="Group 506"/>
            <p:cNvGrpSpPr/>
            <p:nvPr/>
          </p:nvGrpSpPr>
          <p:grpSpPr>
            <a:xfrm>
              <a:off x="3540127" y="5340345"/>
              <a:ext cx="624006" cy="683310"/>
              <a:chOff x="5367512" y="5339472"/>
              <a:chExt cx="624006" cy="683310"/>
            </a:xfrm>
            <a:solidFill>
              <a:schemeClr val="tx2"/>
            </a:solidFill>
          </p:grpSpPr>
          <p:sp>
            <p:nvSpPr>
              <p:cNvPr id="563" name="Freeform 53"/>
              <p:cNvSpPr>
                <a:spLocks/>
              </p:cNvSpPr>
              <p:nvPr/>
            </p:nvSpPr>
            <p:spPr bwMode="auto">
              <a:xfrm>
                <a:off x="5617522" y="5870649"/>
                <a:ext cx="329624" cy="63389"/>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2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2" y="0"/>
                    </a:lnTo>
                    <a:lnTo>
                      <a:pt x="441" y="0"/>
                    </a:lnTo>
                    <a:close/>
                  </a:path>
                </a:pathLst>
              </a:custGeom>
              <a:pattFill prst="dkVert">
                <a:fgClr>
                  <a:schemeClr val="bg2">
                    <a:lumMod val="25000"/>
                  </a:schemeClr>
                </a:fgClr>
                <a:bgClr>
                  <a:schemeClr val="bg2">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4" name="Freeform 54"/>
              <p:cNvSpPr>
                <a:spLocks/>
              </p:cNvSpPr>
              <p:nvPr/>
            </p:nvSpPr>
            <p:spPr bwMode="auto">
              <a:xfrm>
                <a:off x="5573149" y="5781905"/>
                <a:ext cx="329624" cy="63389"/>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3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3" y="0"/>
                    </a:lnTo>
                    <a:lnTo>
                      <a:pt x="441" y="0"/>
                    </a:lnTo>
                    <a:close/>
                  </a:path>
                </a:pathLst>
              </a:custGeom>
              <a:pattFill prst="dkVert">
                <a:fgClr>
                  <a:schemeClr val="bg2">
                    <a:lumMod val="25000"/>
                  </a:schemeClr>
                </a:fgClr>
                <a:bgClr>
                  <a:schemeClr val="bg2">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5" name="Freeform 55"/>
              <p:cNvSpPr>
                <a:spLocks/>
              </p:cNvSpPr>
              <p:nvPr/>
            </p:nvSpPr>
            <p:spPr bwMode="auto">
              <a:xfrm>
                <a:off x="5528778" y="5693160"/>
                <a:ext cx="329624" cy="63389"/>
              </a:xfrm>
              <a:custGeom>
                <a:avLst/>
                <a:gdLst>
                  <a:gd name="T0" fmla="*/ 467 w 467"/>
                  <a:gd name="T1" fmla="*/ 0 h 88"/>
                  <a:gd name="T2" fmla="*/ 467 w 467"/>
                  <a:gd name="T3" fmla="*/ 88 h 88"/>
                  <a:gd name="T4" fmla="*/ 0 w 467"/>
                  <a:gd name="T5" fmla="*/ 88 h 88"/>
                  <a:gd name="T6" fmla="*/ 0 w 467"/>
                  <a:gd name="T7" fmla="*/ 0 h 88"/>
                  <a:gd name="T8" fmla="*/ 463 w 467"/>
                  <a:gd name="T9" fmla="*/ 0 h 88"/>
                  <a:gd name="T10" fmla="*/ 467 w 467"/>
                  <a:gd name="T11" fmla="*/ 0 h 88"/>
                </a:gdLst>
                <a:ahLst/>
                <a:cxnLst>
                  <a:cxn ang="0">
                    <a:pos x="T0" y="T1"/>
                  </a:cxn>
                  <a:cxn ang="0">
                    <a:pos x="T2" y="T3"/>
                  </a:cxn>
                  <a:cxn ang="0">
                    <a:pos x="T4" y="T5"/>
                  </a:cxn>
                  <a:cxn ang="0">
                    <a:pos x="T6" y="T7"/>
                  </a:cxn>
                  <a:cxn ang="0">
                    <a:pos x="T8" y="T9"/>
                  </a:cxn>
                  <a:cxn ang="0">
                    <a:pos x="T10" y="T11"/>
                  </a:cxn>
                </a:cxnLst>
                <a:rect l="0" t="0" r="r" b="b"/>
                <a:pathLst>
                  <a:path w="467" h="88">
                    <a:moveTo>
                      <a:pt x="467" y="0"/>
                    </a:moveTo>
                    <a:lnTo>
                      <a:pt x="467" y="88"/>
                    </a:lnTo>
                    <a:lnTo>
                      <a:pt x="0" y="88"/>
                    </a:lnTo>
                    <a:lnTo>
                      <a:pt x="0" y="0"/>
                    </a:lnTo>
                    <a:lnTo>
                      <a:pt x="463" y="0"/>
                    </a:lnTo>
                    <a:lnTo>
                      <a:pt x="467" y="0"/>
                    </a:lnTo>
                    <a:close/>
                  </a:path>
                </a:pathLst>
              </a:custGeom>
              <a:pattFill prst="dkVert">
                <a:fgClr>
                  <a:schemeClr val="bg2">
                    <a:lumMod val="25000"/>
                  </a:schemeClr>
                </a:fgClr>
                <a:bgClr>
                  <a:schemeClr val="bg2">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6" name="Freeform 56"/>
              <p:cNvSpPr>
                <a:spLocks/>
              </p:cNvSpPr>
              <p:nvPr/>
            </p:nvSpPr>
            <p:spPr bwMode="auto">
              <a:xfrm>
                <a:off x="5501309" y="5604416"/>
                <a:ext cx="327510" cy="63389"/>
              </a:xfrm>
              <a:custGeom>
                <a:avLst/>
                <a:gdLst>
                  <a:gd name="T0" fmla="*/ 441 w 466"/>
                  <a:gd name="T1" fmla="*/ 0 h 88"/>
                  <a:gd name="T2" fmla="*/ 466 w 466"/>
                  <a:gd name="T3" fmla="*/ 0 h 88"/>
                  <a:gd name="T4" fmla="*/ 466 w 466"/>
                  <a:gd name="T5" fmla="*/ 88 h 88"/>
                  <a:gd name="T6" fmla="*/ 28 w 466"/>
                  <a:gd name="T7" fmla="*/ 88 h 88"/>
                  <a:gd name="T8" fmla="*/ 0 w 466"/>
                  <a:gd name="T9" fmla="*/ 88 h 88"/>
                  <a:gd name="T10" fmla="*/ 0 w 466"/>
                  <a:gd name="T11" fmla="*/ 0 h 88"/>
                  <a:gd name="T12" fmla="*/ 422 w 466"/>
                  <a:gd name="T13" fmla="*/ 0 h 88"/>
                  <a:gd name="T14" fmla="*/ 441 w 466"/>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6" h="88">
                    <a:moveTo>
                      <a:pt x="441" y="0"/>
                    </a:moveTo>
                    <a:lnTo>
                      <a:pt x="466" y="0"/>
                    </a:lnTo>
                    <a:lnTo>
                      <a:pt x="466" y="88"/>
                    </a:lnTo>
                    <a:lnTo>
                      <a:pt x="28" y="88"/>
                    </a:lnTo>
                    <a:lnTo>
                      <a:pt x="0" y="88"/>
                    </a:lnTo>
                    <a:lnTo>
                      <a:pt x="0" y="0"/>
                    </a:lnTo>
                    <a:lnTo>
                      <a:pt x="422" y="0"/>
                    </a:lnTo>
                    <a:lnTo>
                      <a:pt x="441" y="0"/>
                    </a:lnTo>
                    <a:close/>
                  </a:path>
                </a:pathLst>
              </a:custGeom>
              <a:pattFill prst="dkVert">
                <a:fgClr>
                  <a:schemeClr val="bg2">
                    <a:lumMod val="25000"/>
                  </a:schemeClr>
                </a:fgClr>
                <a:bgClr>
                  <a:schemeClr val="bg2">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7" name="Freeform 57"/>
              <p:cNvSpPr>
                <a:spLocks/>
              </p:cNvSpPr>
              <p:nvPr/>
            </p:nvSpPr>
            <p:spPr bwMode="auto">
              <a:xfrm>
                <a:off x="5456937" y="5515671"/>
                <a:ext cx="327510" cy="63389"/>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3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3" y="0"/>
                    </a:lnTo>
                    <a:lnTo>
                      <a:pt x="441" y="0"/>
                    </a:lnTo>
                    <a:close/>
                  </a:path>
                </a:pathLst>
              </a:custGeom>
              <a:pattFill prst="dkVert">
                <a:fgClr>
                  <a:schemeClr val="bg2">
                    <a:lumMod val="25000"/>
                  </a:schemeClr>
                </a:fgClr>
                <a:bgClr>
                  <a:schemeClr val="bg2">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68" name="Freeform 58"/>
              <p:cNvSpPr>
                <a:spLocks/>
              </p:cNvSpPr>
              <p:nvPr/>
            </p:nvSpPr>
            <p:spPr bwMode="auto">
              <a:xfrm>
                <a:off x="5412564" y="5429320"/>
                <a:ext cx="327510" cy="60994"/>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3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3" y="0"/>
                    </a:lnTo>
                    <a:lnTo>
                      <a:pt x="441" y="0"/>
                    </a:lnTo>
                    <a:close/>
                  </a:path>
                </a:pathLst>
              </a:custGeom>
              <a:pattFill prst="dkVert">
                <a:fgClr>
                  <a:schemeClr val="bg2">
                    <a:lumMod val="25000"/>
                  </a:schemeClr>
                </a:fgClr>
                <a:bgClr>
                  <a:schemeClr val="accent4">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570" name="Freeform 60"/>
              <p:cNvSpPr>
                <a:spLocks/>
              </p:cNvSpPr>
              <p:nvPr/>
            </p:nvSpPr>
            <p:spPr bwMode="auto">
              <a:xfrm>
                <a:off x="5661894" y="5959393"/>
                <a:ext cx="329624" cy="63389"/>
              </a:xfrm>
              <a:custGeom>
                <a:avLst/>
                <a:gdLst>
                  <a:gd name="T0" fmla="*/ 466 w 466"/>
                  <a:gd name="T1" fmla="*/ 88 h 88"/>
                  <a:gd name="T2" fmla="*/ 0 w 466"/>
                  <a:gd name="T3" fmla="*/ 88 h 88"/>
                  <a:gd name="T4" fmla="*/ 0 w 466"/>
                  <a:gd name="T5" fmla="*/ 0 h 88"/>
                  <a:gd name="T6" fmla="*/ 422 w 466"/>
                  <a:gd name="T7" fmla="*/ 0 h 88"/>
                  <a:gd name="T8" fmla="*/ 441 w 466"/>
                  <a:gd name="T9" fmla="*/ 0 h 88"/>
                  <a:gd name="T10" fmla="*/ 466 w 466"/>
                  <a:gd name="T11" fmla="*/ 0 h 88"/>
                  <a:gd name="T12" fmla="*/ 466 w 466"/>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466" h="88">
                    <a:moveTo>
                      <a:pt x="466" y="88"/>
                    </a:moveTo>
                    <a:lnTo>
                      <a:pt x="0" y="88"/>
                    </a:lnTo>
                    <a:lnTo>
                      <a:pt x="0" y="0"/>
                    </a:lnTo>
                    <a:lnTo>
                      <a:pt x="422" y="0"/>
                    </a:lnTo>
                    <a:lnTo>
                      <a:pt x="441" y="0"/>
                    </a:lnTo>
                    <a:lnTo>
                      <a:pt x="466" y="0"/>
                    </a:lnTo>
                    <a:lnTo>
                      <a:pt x="466" y="88"/>
                    </a:lnTo>
                    <a:close/>
                  </a:path>
                </a:pathLst>
              </a:custGeom>
              <a:pattFill prst="dkVert">
                <a:fgClr>
                  <a:schemeClr val="bg2">
                    <a:lumMod val="25000"/>
                  </a:schemeClr>
                </a:fgClr>
                <a:bgClr>
                  <a:schemeClr val="bg2">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0" name="Freeform 58"/>
              <p:cNvSpPr>
                <a:spLocks/>
              </p:cNvSpPr>
              <p:nvPr/>
            </p:nvSpPr>
            <p:spPr bwMode="auto">
              <a:xfrm>
                <a:off x="5367512" y="5339472"/>
                <a:ext cx="327510" cy="60994"/>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3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3" y="0"/>
                    </a:lnTo>
                    <a:lnTo>
                      <a:pt x="441" y="0"/>
                    </a:lnTo>
                    <a:close/>
                  </a:path>
                </a:pathLst>
              </a:custGeom>
              <a:pattFill prst="dkVert">
                <a:fgClr>
                  <a:schemeClr val="bg2">
                    <a:lumMod val="25000"/>
                  </a:schemeClr>
                </a:fgClr>
                <a:bgClr>
                  <a:schemeClr val="accent4">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915" name="Rounded Rectangle 914"/>
          <p:cNvSpPr/>
          <p:nvPr/>
        </p:nvSpPr>
        <p:spPr bwMode="auto">
          <a:xfrm>
            <a:off x="4125902" y="5547529"/>
            <a:ext cx="474596" cy="618533"/>
          </a:xfrm>
          <a:custGeom>
            <a:avLst/>
            <a:gdLst>
              <a:gd name="connsiteX0" fmla="*/ 0 w 480775"/>
              <a:gd name="connsiteY0" fmla="*/ 0 h 601696"/>
              <a:gd name="connsiteX1" fmla="*/ 198283 w 480775"/>
              <a:gd name="connsiteY1" fmla="*/ 0 h 601696"/>
              <a:gd name="connsiteX2" fmla="*/ 376295 w 480775"/>
              <a:gd name="connsiteY2" fmla="*/ 406564 h 601696"/>
              <a:gd name="connsiteX3" fmla="*/ 409977 w 480775"/>
              <a:gd name="connsiteY3" fmla="*/ 405066 h 601696"/>
              <a:gd name="connsiteX4" fmla="*/ 480026 w 480775"/>
              <a:gd name="connsiteY4" fmla="*/ 517867 h 601696"/>
              <a:gd name="connsiteX5" fmla="*/ 400163 w 480775"/>
              <a:gd name="connsiteY5" fmla="*/ 598922 h 601696"/>
              <a:gd name="connsiteX6" fmla="*/ 275243 w 480775"/>
              <a:gd name="connsiteY6" fmla="*/ 601696 h 601696"/>
              <a:gd name="connsiteX7" fmla="*/ 0 w 480775"/>
              <a:gd name="connsiteY7" fmla="*/ 0 h 601696"/>
              <a:gd name="connsiteX0" fmla="*/ 0 w 480775"/>
              <a:gd name="connsiteY0" fmla="*/ 0 h 601696"/>
              <a:gd name="connsiteX1" fmla="*/ 198283 w 480775"/>
              <a:gd name="connsiteY1" fmla="*/ 0 h 601696"/>
              <a:gd name="connsiteX2" fmla="*/ 376295 w 480775"/>
              <a:gd name="connsiteY2" fmla="*/ 406564 h 601696"/>
              <a:gd name="connsiteX3" fmla="*/ 409977 w 480775"/>
              <a:gd name="connsiteY3" fmla="*/ 405066 h 601696"/>
              <a:gd name="connsiteX4" fmla="*/ 480026 w 480775"/>
              <a:gd name="connsiteY4" fmla="*/ 517867 h 601696"/>
              <a:gd name="connsiteX5" fmla="*/ 400163 w 480775"/>
              <a:gd name="connsiteY5" fmla="*/ 598922 h 601696"/>
              <a:gd name="connsiteX6" fmla="*/ 275243 w 480775"/>
              <a:gd name="connsiteY6" fmla="*/ 601696 h 601696"/>
              <a:gd name="connsiteX7" fmla="*/ 0 w 480775"/>
              <a:gd name="connsiteY7" fmla="*/ 0 h 601696"/>
              <a:gd name="connsiteX0" fmla="*/ 0 w 502403"/>
              <a:gd name="connsiteY0" fmla="*/ 0 h 601696"/>
              <a:gd name="connsiteX1" fmla="*/ 198283 w 502403"/>
              <a:gd name="connsiteY1" fmla="*/ 0 h 601696"/>
              <a:gd name="connsiteX2" fmla="*/ 376295 w 502403"/>
              <a:gd name="connsiteY2" fmla="*/ 406564 h 601696"/>
              <a:gd name="connsiteX3" fmla="*/ 409977 w 502403"/>
              <a:gd name="connsiteY3" fmla="*/ 405066 h 601696"/>
              <a:gd name="connsiteX4" fmla="*/ 501867 w 502403"/>
              <a:gd name="connsiteY4" fmla="*/ 505127 h 601696"/>
              <a:gd name="connsiteX5" fmla="*/ 400163 w 502403"/>
              <a:gd name="connsiteY5" fmla="*/ 598922 h 601696"/>
              <a:gd name="connsiteX6" fmla="*/ 275243 w 502403"/>
              <a:gd name="connsiteY6" fmla="*/ 601696 h 601696"/>
              <a:gd name="connsiteX7" fmla="*/ 0 w 502403"/>
              <a:gd name="connsiteY7" fmla="*/ 0 h 601696"/>
              <a:gd name="connsiteX0" fmla="*/ 0 w 501867"/>
              <a:gd name="connsiteY0" fmla="*/ 0 h 601696"/>
              <a:gd name="connsiteX1" fmla="*/ 198283 w 501867"/>
              <a:gd name="connsiteY1" fmla="*/ 0 h 601696"/>
              <a:gd name="connsiteX2" fmla="*/ 376295 w 501867"/>
              <a:gd name="connsiteY2" fmla="*/ 406564 h 601696"/>
              <a:gd name="connsiteX3" fmla="*/ 409977 w 501867"/>
              <a:gd name="connsiteY3" fmla="*/ 405066 h 601696"/>
              <a:gd name="connsiteX4" fmla="*/ 501867 w 501867"/>
              <a:gd name="connsiteY4" fmla="*/ 505127 h 601696"/>
              <a:gd name="connsiteX5" fmla="*/ 400163 w 501867"/>
              <a:gd name="connsiteY5" fmla="*/ 598922 h 601696"/>
              <a:gd name="connsiteX6" fmla="*/ 275243 w 501867"/>
              <a:gd name="connsiteY6" fmla="*/ 601696 h 601696"/>
              <a:gd name="connsiteX7" fmla="*/ 0 w 501867"/>
              <a:gd name="connsiteY7" fmla="*/ 0 h 601696"/>
              <a:gd name="connsiteX0" fmla="*/ 0 w 490947"/>
              <a:gd name="connsiteY0" fmla="*/ 0 h 601696"/>
              <a:gd name="connsiteX1" fmla="*/ 198283 w 490947"/>
              <a:gd name="connsiteY1" fmla="*/ 0 h 601696"/>
              <a:gd name="connsiteX2" fmla="*/ 376295 w 490947"/>
              <a:gd name="connsiteY2" fmla="*/ 406564 h 601696"/>
              <a:gd name="connsiteX3" fmla="*/ 409977 w 490947"/>
              <a:gd name="connsiteY3" fmla="*/ 405066 h 601696"/>
              <a:gd name="connsiteX4" fmla="*/ 490947 w 490947"/>
              <a:gd name="connsiteY4" fmla="*/ 505127 h 601696"/>
              <a:gd name="connsiteX5" fmla="*/ 400163 w 490947"/>
              <a:gd name="connsiteY5" fmla="*/ 598922 h 601696"/>
              <a:gd name="connsiteX6" fmla="*/ 275243 w 490947"/>
              <a:gd name="connsiteY6" fmla="*/ 601696 h 601696"/>
              <a:gd name="connsiteX7" fmla="*/ 0 w 490947"/>
              <a:gd name="connsiteY7" fmla="*/ 0 h 601696"/>
              <a:gd name="connsiteX0" fmla="*/ 0 w 495497"/>
              <a:gd name="connsiteY0" fmla="*/ 0 h 601696"/>
              <a:gd name="connsiteX1" fmla="*/ 198283 w 495497"/>
              <a:gd name="connsiteY1" fmla="*/ 0 h 601696"/>
              <a:gd name="connsiteX2" fmla="*/ 376295 w 495497"/>
              <a:gd name="connsiteY2" fmla="*/ 406564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74475 w 495497"/>
              <a:gd name="connsiteY2" fmla="*/ 402924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39480 w 495497"/>
              <a:gd name="connsiteY2" fmla="*/ 323601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39480 w 495497"/>
              <a:gd name="connsiteY2" fmla="*/ 323601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409977 w 495497"/>
              <a:gd name="connsiteY2" fmla="*/ 405066 h 601696"/>
              <a:gd name="connsiteX3" fmla="*/ 495497 w 495497"/>
              <a:gd name="connsiteY3" fmla="*/ 507857 h 601696"/>
              <a:gd name="connsiteX4" fmla="*/ 400163 w 495497"/>
              <a:gd name="connsiteY4" fmla="*/ 598922 h 601696"/>
              <a:gd name="connsiteX5" fmla="*/ 275243 w 495497"/>
              <a:gd name="connsiteY5" fmla="*/ 601696 h 601696"/>
              <a:gd name="connsiteX6" fmla="*/ 0 w 495497"/>
              <a:gd name="connsiteY6" fmla="*/ 0 h 601696"/>
              <a:gd name="connsiteX0" fmla="*/ 0 w 495497"/>
              <a:gd name="connsiteY0" fmla="*/ 0 h 601696"/>
              <a:gd name="connsiteX1" fmla="*/ 198283 w 495497"/>
              <a:gd name="connsiteY1" fmla="*/ 0 h 601696"/>
              <a:gd name="connsiteX2" fmla="*/ 391313 w 495497"/>
              <a:gd name="connsiteY2" fmla="*/ 398067 h 601696"/>
              <a:gd name="connsiteX3" fmla="*/ 495497 w 495497"/>
              <a:gd name="connsiteY3" fmla="*/ 507857 h 601696"/>
              <a:gd name="connsiteX4" fmla="*/ 400163 w 495497"/>
              <a:gd name="connsiteY4" fmla="*/ 598922 h 601696"/>
              <a:gd name="connsiteX5" fmla="*/ 275243 w 495497"/>
              <a:gd name="connsiteY5" fmla="*/ 601696 h 601696"/>
              <a:gd name="connsiteX6" fmla="*/ 0 w 495497"/>
              <a:gd name="connsiteY6" fmla="*/ 0 h 601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497" h="601696">
                <a:moveTo>
                  <a:pt x="0" y="0"/>
                </a:moveTo>
                <a:lnTo>
                  <a:pt x="198283" y="0"/>
                </a:lnTo>
                <a:lnTo>
                  <a:pt x="391313" y="398067"/>
                </a:lnTo>
                <a:cubicBezTo>
                  <a:pt x="470261" y="406608"/>
                  <a:pt x="494233" y="475471"/>
                  <a:pt x="495497" y="507857"/>
                </a:cubicBezTo>
                <a:cubicBezTo>
                  <a:pt x="486491" y="574749"/>
                  <a:pt x="438839" y="598922"/>
                  <a:pt x="400163" y="598922"/>
                </a:cubicBezTo>
                <a:lnTo>
                  <a:pt x="275243" y="601696"/>
                </a:lnTo>
                <a:lnTo>
                  <a:pt x="0" y="0"/>
                </a:lnTo>
                <a:close/>
              </a:path>
            </a:pathLst>
          </a:custGeom>
          <a:gradFill>
            <a:gsLst>
              <a:gs pos="100000">
                <a:schemeClr val="accent5">
                  <a:lumMod val="50000"/>
                </a:schemeClr>
              </a:gs>
              <a:gs pos="42000">
                <a:schemeClr val="bg2">
                  <a:lumMod val="50000"/>
                </a:schemeClr>
              </a:gs>
            </a:gsLst>
            <a:lin ang="16200000" scaled="0"/>
          </a:gradFill>
          <a:ln w="15875">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 name="Group 2"/>
          <p:cNvGrpSpPr/>
          <p:nvPr/>
        </p:nvGrpSpPr>
        <p:grpSpPr>
          <a:xfrm>
            <a:off x="850542" y="2497617"/>
            <a:ext cx="67314" cy="97153"/>
            <a:chOff x="509227" y="1949316"/>
            <a:chExt cx="447215" cy="645453"/>
          </a:xfrm>
        </p:grpSpPr>
        <p:grpSp>
          <p:nvGrpSpPr>
            <p:cNvPr id="928" name="Group 927"/>
            <p:cNvGrpSpPr/>
            <p:nvPr/>
          </p:nvGrpSpPr>
          <p:grpSpPr>
            <a:xfrm>
              <a:off x="509227" y="2016023"/>
              <a:ext cx="447215" cy="578746"/>
              <a:chOff x="10157174" y="3938660"/>
              <a:chExt cx="447215" cy="578746"/>
            </a:xfrm>
          </p:grpSpPr>
          <p:sp>
            <p:nvSpPr>
              <p:cNvPr id="931" name="Freeform 41"/>
              <p:cNvSpPr>
                <a:spLocks/>
              </p:cNvSpPr>
              <p:nvPr/>
            </p:nvSpPr>
            <p:spPr bwMode="auto">
              <a:xfrm>
                <a:off x="10228375" y="3996982"/>
                <a:ext cx="376014" cy="520424"/>
              </a:xfrm>
              <a:custGeom>
                <a:avLst/>
                <a:gdLst>
                  <a:gd name="T0" fmla="*/ 2329 w 2333"/>
                  <a:gd name="T1" fmla="*/ 391 h 3229"/>
                  <a:gd name="T2" fmla="*/ 2299 w 2333"/>
                  <a:gd name="T3" fmla="*/ 254 h 3229"/>
                  <a:gd name="T4" fmla="*/ 2239 w 2333"/>
                  <a:gd name="T5" fmla="*/ 131 h 3229"/>
                  <a:gd name="T6" fmla="*/ 2153 w 2333"/>
                  <a:gd name="T7" fmla="*/ 54 h 3229"/>
                  <a:gd name="T8" fmla="*/ 2087 w 2333"/>
                  <a:gd name="T9" fmla="*/ 30 h 3229"/>
                  <a:gd name="T10" fmla="*/ 1974 w 2333"/>
                  <a:gd name="T11" fmla="*/ 11 h 3229"/>
                  <a:gd name="T12" fmla="*/ 1685 w 2333"/>
                  <a:gd name="T13" fmla="*/ 0 h 3229"/>
                  <a:gd name="T14" fmla="*/ 1300 w 2333"/>
                  <a:gd name="T15" fmla="*/ 4 h 3229"/>
                  <a:gd name="T16" fmla="*/ 1193 w 2333"/>
                  <a:gd name="T17" fmla="*/ 36 h 3229"/>
                  <a:gd name="T18" fmla="*/ 1101 w 2333"/>
                  <a:gd name="T19" fmla="*/ 88 h 3229"/>
                  <a:gd name="T20" fmla="*/ 986 w 2333"/>
                  <a:gd name="T21" fmla="*/ 201 h 3229"/>
                  <a:gd name="T22" fmla="*/ 829 w 2333"/>
                  <a:gd name="T23" fmla="*/ 430 h 3229"/>
                  <a:gd name="T24" fmla="*/ 705 w 2333"/>
                  <a:gd name="T25" fmla="*/ 609 h 3229"/>
                  <a:gd name="T26" fmla="*/ 564 w 2333"/>
                  <a:gd name="T27" fmla="*/ 624 h 3229"/>
                  <a:gd name="T28" fmla="*/ 147 w 2333"/>
                  <a:gd name="T29" fmla="*/ 637 h 3229"/>
                  <a:gd name="T30" fmla="*/ 100 w 2333"/>
                  <a:gd name="T31" fmla="*/ 639 h 3229"/>
                  <a:gd name="T32" fmla="*/ 53 w 2333"/>
                  <a:gd name="T33" fmla="*/ 665 h 3229"/>
                  <a:gd name="T34" fmla="*/ 15 w 2333"/>
                  <a:gd name="T35" fmla="*/ 716 h 3229"/>
                  <a:gd name="T36" fmla="*/ 2 w 2333"/>
                  <a:gd name="T37" fmla="*/ 778 h 3229"/>
                  <a:gd name="T38" fmla="*/ 10 w 2333"/>
                  <a:gd name="T39" fmla="*/ 847 h 3229"/>
                  <a:gd name="T40" fmla="*/ 44 w 2333"/>
                  <a:gd name="T41" fmla="*/ 896 h 3229"/>
                  <a:gd name="T42" fmla="*/ 107 w 2333"/>
                  <a:gd name="T43" fmla="*/ 924 h 3229"/>
                  <a:gd name="T44" fmla="*/ 333 w 2333"/>
                  <a:gd name="T45" fmla="*/ 928 h 3229"/>
                  <a:gd name="T46" fmla="*/ 840 w 2333"/>
                  <a:gd name="T47" fmla="*/ 911 h 3229"/>
                  <a:gd name="T48" fmla="*/ 932 w 2333"/>
                  <a:gd name="T49" fmla="*/ 821 h 3229"/>
                  <a:gd name="T50" fmla="*/ 1039 w 2333"/>
                  <a:gd name="T51" fmla="*/ 659 h 3229"/>
                  <a:gd name="T52" fmla="*/ 1152 w 2333"/>
                  <a:gd name="T53" fmla="*/ 501 h 3229"/>
                  <a:gd name="T54" fmla="*/ 1152 w 2333"/>
                  <a:gd name="T55" fmla="*/ 3018 h 3229"/>
                  <a:gd name="T56" fmla="*/ 1152 w 2333"/>
                  <a:gd name="T57" fmla="*/ 3075 h 3229"/>
                  <a:gd name="T58" fmla="*/ 1172 w 2333"/>
                  <a:gd name="T59" fmla="*/ 3146 h 3229"/>
                  <a:gd name="T60" fmla="*/ 1216 w 2333"/>
                  <a:gd name="T61" fmla="*/ 3202 h 3229"/>
                  <a:gd name="T62" fmla="*/ 1283 w 2333"/>
                  <a:gd name="T63" fmla="*/ 3227 h 3229"/>
                  <a:gd name="T64" fmla="*/ 1343 w 2333"/>
                  <a:gd name="T65" fmla="*/ 3229 h 3229"/>
                  <a:gd name="T66" fmla="*/ 1415 w 2333"/>
                  <a:gd name="T67" fmla="*/ 3208 h 3229"/>
                  <a:gd name="T68" fmla="*/ 1471 w 2333"/>
                  <a:gd name="T69" fmla="*/ 3161 h 3229"/>
                  <a:gd name="T70" fmla="*/ 1503 w 2333"/>
                  <a:gd name="T71" fmla="*/ 3095 h 3229"/>
                  <a:gd name="T72" fmla="*/ 1507 w 2333"/>
                  <a:gd name="T73" fmla="*/ 2314 h 3229"/>
                  <a:gd name="T74" fmla="*/ 1604 w 2333"/>
                  <a:gd name="T75" fmla="*/ 1572 h 3229"/>
                  <a:gd name="T76" fmla="*/ 1606 w 2333"/>
                  <a:gd name="T77" fmla="*/ 2712 h 3229"/>
                  <a:gd name="T78" fmla="*/ 1610 w 2333"/>
                  <a:gd name="T79" fmla="*/ 3110 h 3229"/>
                  <a:gd name="T80" fmla="*/ 1631 w 2333"/>
                  <a:gd name="T81" fmla="*/ 3170 h 3229"/>
                  <a:gd name="T82" fmla="*/ 1678 w 2333"/>
                  <a:gd name="T83" fmla="*/ 3210 h 3229"/>
                  <a:gd name="T84" fmla="*/ 1741 w 2333"/>
                  <a:gd name="T85" fmla="*/ 3227 h 3229"/>
                  <a:gd name="T86" fmla="*/ 1790 w 2333"/>
                  <a:gd name="T87" fmla="*/ 3227 h 3229"/>
                  <a:gd name="T88" fmla="*/ 1862 w 2333"/>
                  <a:gd name="T89" fmla="*/ 3208 h 3229"/>
                  <a:gd name="T90" fmla="*/ 1916 w 2333"/>
                  <a:gd name="T91" fmla="*/ 3159 h 3229"/>
                  <a:gd name="T92" fmla="*/ 1948 w 2333"/>
                  <a:gd name="T93" fmla="*/ 3093 h 3229"/>
                  <a:gd name="T94" fmla="*/ 1961 w 2333"/>
                  <a:gd name="T95" fmla="*/ 3022 h 3229"/>
                  <a:gd name="T96" fmla="*/ 1961 w 2333"/>
                  <a:gd name="T97" fmla="*/ 524 h 3229"/>
                  <a:gd name="T98" fmla="*/ 2061 w 2333"/>
                  <a:gd name="T99" fmla="*/ 982 h 3229"/>
                  <a:gd name="T100" fmla="*/ 2063 w 2333"/>
                  <a:gd name="T101" fmla="*/ 1439 h 3229"/>
                  <a:gd name="T102" fmla="*/ 2083 w 2333"/>
                  <a:gd name="T103" fmla="*/ 1521 h 3229"/>
                  <a:gd name="T104" fmla="*/ 2113 w 2333"/>
                  <a:gd name="T105" fmla="*/ 1553 h 3229"/>
                  <a:gd name="T106" fmla="*/ 2158 w 2333"/>
                  <a:gd name="T107" fmla="*/ 1572 h 3229"/>
                  <a:gd name="T108" fmla="*/ 2207 w 2333"/>
                  <a:gd name="T109" fmla="*/ 1578 h 3229"/>
                  <a:gd name="T110" fmla="*/ 2267 w 2333"/>
                  <a:gd name="T111" fmla="*/ 1555 h 3229"/>
                  <a:gd name="T112" fmla="*/ 2309 w 2333"/>
                  <a:gd name="T113" fmla="*/ 1503 h 3229"/>
                  <a:gd name="T114" fmla="*/ 2329 w 2333"/>
                  <a:gd name="T115" fmla="*/ 1437 h 3229"/>
                  <a:gd name="T116" fmla="*/ 2333 w 2333"/>
                  <a:gd name="T117" fmla="*/ 932 h 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3" h="3229">
                    <a:moveTo>
                      <a:pt x="2333" y="456"/>
                    </a:moveTo>
                    <a:lnTo>
                      <a:pt x="2333" y="456"/>
                    </a:lnTo>
                    <a:lnTo>
                      <a:pt x="2331" y="424"/>
                    </a:lnTo>
                    <a:lnTo>
                      <a:pt x="2329" y="391"/>
                    </a:lnTo>
                    <a:lnTo>
                      <a:pt x="2324" y="355"/>
                    </a:lnTo>
                    <a:lnTo>
                      <a:pt x="2318" y="321"/>
                    </a:lnTo>
                    <a:lnTo>
                      <a:pt x="2310" y="287"/>
                    </a:lnTo>
                    <a:lnTo>
                      <a:pt x="2299" y="254"/>
                    </a:lnTo>
                    <a:lnTo>
                      <a:pt x="2288" y="222"/>
                    </a:lnTo>
                    <a:lnTo>
                      <a:pt x="2275" y="190"/>
                    </a:lnTo>
                    <a:lnTo>
                      <a:pt x="2258" y="160"/>
                    </a:lnTo>
                    <a:lnTo>
                      <a:pt x="2239" y="131"/>
                    </a:lnTo>
                    <a:lnTo>
                      <a:pt x="2218" y="107"/>
                    </a:lnTo>
                    <a:lnTo>
                      <a:pt x="2194" y="84"/>
                    </a:lnTo>
                    <a:lnTo>
                      <a:pt x="2168" y="64"/>
                    </a:lnTo>
                    <a:lnTo>
                      <a:pt x="2153" y="54"/>
                    </a:lnTo>
                    <a:lnTo>
                      <a:pt x="2138" y="47"/>
                    </a:lnTo>
                    <a:lnTo>
                      <a:pt x="2121" y="39"/>
                    </a:lnTo>
                    <a:lnTo>
                      <a:pt x="2104" y="34"/>
                    </a:lnTo>
                    <a:lnTo>
                      <a:pt x="2087" y="30"/>
                    </a:lnTo>
                    <a:lnTo>
                      <a:pt x="2068" y="24"/>
                    </a:lnTo>
                    <a:lnTo>
                      <a:pt x="2068" y="24"/>
                    </a:lnTo>
                    <a:lnTo>
                      <a:pt x="2021" y="17"/>
                    </a:lnTo>
                    <a:lnTo>
                      <a:pt x="1974" y="11"/>
                    </a:lnTo>
                    <a:lnTo>
                      <a:pt x="1925" y="6"/>
                    </a:lnTo>
                    <a:lnTo>
                      <a:pt x="1879" y="4"/>
                    </a:lnTo>
                    <a:lnTo>
                      <a:pt x="1783" y="0"/>
                    </a:lnTo>
                    <a:lnTo>
                      <a:pt x="1685" y="0"/>
                    </a:lnTo>
                    <a:lnTo>
                      <a:pt x="1493" y="4"/>
                    </a:lnTo>
                    <a:lnTo>
                      <a:pt x="1396" y="6"/>
                    </a:lnTo>
                    <a:lnTo>
                      <a:pt x="1300" y="4"/>
                    </a:lnTo>
                    <a:lnTo>
                      <a:pt x="1300" y="4"/>
                    </a:lnTo>
                    <a:lnTo>
                      <a:pt x="1272" y="9"/>
                    </a:lnTo>
                    <a:lnTo>
                      <a:pt x="1244" y="17"/>
                    </a:lnTo>
                    <a:lnTo>
                      <a:pt x="1217" y="24"/>
                    </a:lnTo>
                    <a:lnTo>
                      <a:pt x="1193" y="36"/>
                    </a:lnTo>
                    <a:lnTo>
                      <a:pt x="1169" y="47"/>
                    </a:lnTo>
                    <a:lnTo>
                      <a:pt x="1144" y="60"/>
                    </a:lnTo>
                    <a:lnTo>
                      <a:pt x="1122" y="73"/>
                    </a:lnTo>
                    <a:lnTo>
                      <a:pt x="1101" y="88"/>
                    </a:lnTo>
                    <a:lnTo>
                      <a:pt x="1080" y="105"/>
                    </a:lnTo>
                    <a:lnTo>
                      <a:pt x="1060" y="122"/>
                    </a:lnTo>
                    <a:lnTo>
                      <a:pt x="1022" y="160"/>
                    </a:lnTo>
                    <a:lnTo>
                      <a:pt x="986" y="201"/>
                    </a:lnTo>
                    <a:lnTo>
                      <a:pt x="953" y="242"/>
                    </a:lnTo>
                    <a:lnTo>
                      <a:pt x="919" y="289"/>
                    </a:lnTo>
                    <a:lnTo>
                      <a:pt x="889" y="334"/>
                    </a:lnTo>
                    <a:lnTo>
                      <a:pt x="829" y="430"/>
                    </a:lnTo>
                    <a:lnTo>
                      <a:pt x="799" y="475"/>
                    </a:lnTo>
                    <a:lnTo>
                      <a:pt x="769" y="522"/>
                    </a:lnTo>
                    <a:lnTo>
                      <a:pt x="737" y="565"/>
                    </a:lnTo>
                    <a:lnTo>
                      <a:pt x="705" y="609"/>
                    </a:lnTo>
                    <a:lnTo>
                      <a:pt x="705" y="609"/>
                    </a:lnTo>
                    <a:lnTo>
                      <a:pt x="658" y="616"/>
                    </a:lnTo>
                    <a:lnTo>
                      <a:pt x="611" y="622"/>
                    </a:lnTo>
                    <a:lnTo>
                      <a:pt x="564" y="624"/>
                    </a:lnTo>
                    <a:lnTo>
                      <a:pt x="515" y="624"/>
                    </a:lnTo>
                    <a:lnTo>
                      <a:pt x="566" y="764"/>
                    </a:lnTo>
                    <a:lnTo>
                      <a:pt x="250" y="883"/>
                    </a:lnTo>
                    <a:lnTo>
                      <a:pt x="147" y="637"/>
                    </a:lnTo>
                    <a:lnTo>
                      <a:pt x="147" y="637"/>
                    </a:lnTo>
                    <a:lnTo>
                      <a:pt x="134" y="635"/>
                    </a:lnTo>
                    <a:lnTo>
                      <a:pt x="119" y="635"/>
                    </a:lnTo>
                    <a:lnTo>
                      <a:pt x="100" y="639"/>
                    </a:lnTo>
                    <a:lnTo>
                      <a:pt x="81" y="644"/>
                    </a:lnTo>
                    <a:lnTo>
                      <a:pt x="72" y="650"/>
                    </a:lnTo>
                    <a:lnTo>
                      <a:pt x="62" y="655"/>
                    </a:lnTo>
                    <a:lnTo>
                      <a:pt x="53" y="665"/>
                    </a:lnTo>
                    <a:lnTo>
                      <a:pt x="42" y="674"/>
                    </a:lnTo>
                    <a:lnTo>
                      <a:pt x="32" y="686"/>
                    </a:lnTo>
                    <a:lnTo>
                      <a:pt x="23" y="701"/>
                    </a:lnTo>
                    <a:lnTo>
                      <a:pt x="15" y="716"/>
                    </a:lnTo>
                    <a:lnTo>
                      <a:pt x="6" y="734"/>
                    </a:lnTo>
                    <a:lnTo>
                      <a:pt x="6" y="734"/>
                    </a:lnTo>
                    <a:lnTo>
                      <a:pt x="2" y="757"/>
                    </a:lnTo>
                    <a:lnTo>
                      <a:pt x="2" y="778"/>
                    </a:lnTo>
                    <a:lnTo>
                      <a:pt x="0" y="798"/>
                    </a:lnTo>
                    <a:lnTo>
                      <a:pt x="2" y="815"/>
                    </a:lnTo>
                    <a:lnTo>
                      <a:pt x="6" y="832"/>
                    </a:lnTo>
                    <a:lnTo>
                      <a:pt x="10" y="847"/>
                    </a:lnTo>
                    <a:lnTo>
                      <a:pt x="15" y="862"/>
                    </a:lnTo>
                    <a:lnTo>
                      <a:pt x="23" y="875"/>
                    </a:lnTo>
                    <a:lnTo>
                      <a:pt x="32" y="887"/>
                    </a:lnTo>
                    <a:lnTo>
                      <a:pt x="44" y="896"/>
                    </a:lnTo>
                    <a:lnTo>
                      <a:pt x="57" y="905"/>
                    </a:lnTo>
                    <a:lnTo>
                      <a:pt x="72" y="913"/>
                    </a:lnTo>
                    <a:lnTo>
                      <a:pt x="89" y="918"/>
                    </a:lnTo>
                    <a:lnTo>
                      <a:pt x="107" y="924"/>
                    </a:lnTo>
                    <a:lnTo>
                      <a:pt x="128" y="928"/>
                    </a:lnTo>
                    <a:lnTo>
                      <a:pt x="153" y="930"/>
                    </a:lnTo>
                    <a:lnTo>
                      <a:pt x="153" y="930"/>
                    </a:lnTo>
                    <a:lnTo>
                      <a:pt x="333" y="928"/>
                    </a:lnTo>
                    <a:lnTo>
                      <a:pt x="500" y="924"/>
                    </a:lnTo>
                    <a:lnTo>
                      <a:pt x="665" y="918"/>
                    </a:lnTo>
                    <a:lnTo>
                      <a:pt x="840" y="911"/>
                    </a:lnTo>
                    <a:lnTo>
                      <a:pt x="840" y="911"/>
                    </a:lnTo>
                    <a:lnTo>
                      <a:pt x="864" y="890"/>
                    </a:lnTo>
                    <a:lnTo>
                      <a:pt x="889" y="868"/>
                    </a:lnTo>
                    <a:lnTo>
                      <a:pt x="909" y="845"/>
                    </a:lnTo>
                    <a:lnTo>
                      <a:pt x="932" y="821"/>
                    </a:lnTo>
                    <a:lnTo>
                      <a:pt x="951" y="794"/>
                    </a:lnTo>
                    <a:lnTo>
                      <a:pt x="970" y="768"/>
                    </a:lnTo>
                    <a:lnTo>
                      <a:pt x="1005" y="716"/>
                    </a:lnTo>
                    <a:lnTo>
                      <a:pt x="1039" y="659"/>
                    </a:lnTo>
                    <a:lnTo>
                      <a:pt x="1075" y="605"/>
                    </a:lnTo>
                    <a:lnTo>
                      <a:pt x="1112" y="550"/>
                    </a:lnTo>
                    <a:lnTo>
                      <a:pt x="1131" y="526"/>
                    </a:lnTo>
                    <a:lnTo>
                      <a:pt x="1152" y="501"/>
                    </a:lnTo>
                    <a:lnTo>
                      <a:pt x="1152" y="501"/>
                    </a:lnTo>
                    <a:lnTo>
                      <a:pt x="1152" y="1131"/>
                    </a:lnTo>
                    <a:lnTo>
                      <a:pt x="1152" y="1760"/>
                    </a:lnTo>
                    <a:lnTo>
                      <a:pt x="1152" y="3018"/>
                    </a:lnTo>
                    <a:lnTo>
                      <a:pt x="1152" y="3018"/>
                    </a:lnTo>
                    <a:lnTo>
                      <a:pt x="1150" y="3037"/>
                    </a:lnTo>
                    <a:lnTo>
                      <a:pt x="1150" y="3056"/>
                    </a:lnTo>
                    <a:lnTo>
                      <a:pt x="1152" y="3075"/>
                    </a:lnTo>
                    <a:lnTo>
                      <a:pt x="1155" y="3093"/>
                    </a:lnTo>
                    <a:lnTo>
                      <a:pt x="1159" y="3110"/>
                    </a:lnTo>
                    <a:lnTo>
                      <a:pt x="1165" y="3129"/>
                    </a:lnTo>
                    <a:lnTo>
                      <a:pt x="1172" y="3146"/>
                    </a:lnTo>
                    <a:lnTo>
                      <a:pt x="1182" y="3163"/>
                    </a:lnTo>
                    <a:lnTo>
                      <a:pt x="1191" y="3178"/>
                    </a:lnTo>
                    <a:lnTo>
                      <a:pt x="1202" y="3191"/>
                    </a:lnTo>
                    <a:lnTo>
                      <a:pt x="1216" y="3202"/>
                    </a:lnTo>
                    <a:lnTo>
                      <a:pt x="1231" y="3212"/>
                    </a:lnTo>
                    <a:lnTo>
                      <a:pt x="1247" y="3219"/>
                    </a:lnTo>
                    <a:lnTo>
                      <a:pt x="1264" y="3225"/>
                    </a:lnTo>
                    <a:lnTo>
                      <a:pt x="1283" y="3227"/>
                    </a:lnTo>
                    <a:lnTo>
                      <a:pt x="1304" y="3227"/>
                    </a:lnTo>
                    <a:lnTo>
                      <a:pt x="1304" y="3227"/>
                    </a:lnTo>
                    <a:lnTo>
                      <a:pt x="1323" y="3229"/>
                    </a:lnTo>
                    <a:lnTo>
                      <a:pt x="1343" y="3229"/>
                    </a:lnTo>
                    <a:lnTo>
                      <a:pt x="1362" y="3227"/>
                    </a:lnTo>
                    <a:lnTo>
                      <a:pt x="1379" y="3223"/>
                    </a:lnTo>
                    <a:lnTo>
                      <a:pt x="1398" y="3216"/>
                    </a:lnTo>
                    <a:lnTo>
                      <a:pt x="1415" y="3208"/>
                    </a:lnTo>
                    <a:lnTo>
                      <a:pt x="1430" y="3199"/>
                    </a:lnTo>
                    <a:lnTo>
                      <a:pt x="1445" y="3187"/>
                    </a:lnTo>
                    <a:lnTo>
                      <a:pt x="1458" y="3176"/>
                    </a:lnTo>
                    <a:lnTo>
                      <a:pt x="1471" y="3161"/>
                    </a:lnTo>
                    <a:lnTo>
                      <a:pt x="1480" y="3146"/>
                    </a:lnTo>
                    <a:lnTo>
                      <a:pt x="1490" y="3131"/>
                    </a:lnTo>
                    <a:lnTo>
                      <a:pt x="1497" y="3114"/>
                    </a:lnTo>
                    <a:lnTo>
                      <a:pt x="1503" y="3095"/>
                    </a:lnTo>
                    <a:lnTo>
                      <a:pt x="1505" y="3077"/>
                    </a:lnTo>
                    <a:lnTo>
                      <a:pt x="1507" y="3056"/>
                    </a:lnTo>
                    <a:lnTo>
                      <a:pt x="1507" y="3056"/>
                    </a:lnTo>
                    <a:lnTo>
                      <a:pt x="1507" y="2314"/>
                    </a:lnTo>
                    <a:lnTo>
                      <a:pt x="1507" y="1572"/>
                    </a:lnTo>
                    <a:lnTo>
                      <a:pt x="1507" y="1572"/>
                    </a:lnTo>
                    <a:lnTo>
                      <a:pt x="1604" y="1572"/>
                    </a:lnTo>
                    <a:lnTo>
                      <a:pt x="1604" y="1572"/>
                    </a:lnTo>
                    <a:lnTo>
                      <a:pt x="1606" y="1762"/>
                    </a:lnTo>
                    <a:lnTo>
                      <a:pt x="1606" y="1953"/>
                    </a:lnTo>
                    <a:lnTo>
                      <a:pt x="1606" y="2333"/>
                    </a:lnTo>
                    <a:lnTo>
                      <a:pt x="1606" y="2712"/>
                    </a:lnTo>
                    <a:lnTo>
                      <a:pt x="1606" y="2902"/>
                    </a:lnTo>
                    <a:lnTo>
                      <a:pt x="1610" y="3092"/>
                    </a:lnTo>
                    <a:lnTo>
                      <a:pt x="1610" y="3092"/>
                    </a:lnTo>
                    <a:lnTo>
                      <a:pt x="1610" y="3110"/>
                    </a:lnTo>
                    <a:lnTo>
                      <a:pt x="1612" y="3127"/>
                    </a:lnTo>
                    <a:lnTo>
                      <a:pt x="1616" y="3142"/>
                    </a:lnTo>
                    <a:lnTo>
                      <a:pt x="1621" y="3157"/>
                    </a:lnTo>
                    <a:lnTo>
                      <a:pt x="1631" y="3170"/>
                    </a:lnTo>
                    <a:lnTo>
                      <a:pt x="1640" y="3182"/>
                    </a:lnTo>
                    <a:lnTo>
                      <a:pt x="1651" y="3193"/>
                    </a:lnTo>
                    <a:lnTo>
                      <a:pt x="1664" y="3201"/>
                    </a:lnTo>
                    <a:lnTo>
                      <a:pt x="1678" y="3210"/>
                    </a:lnTo>
                    <a:lnTo>
                      <a:pt x="1693" y="3216"/>
                    </a:lnTo>
                    <a:lnTo>
                      <a:pt x="1708" y="3221"/>
                    </a:lnTo>
                    <a:lnTo>
                      <a:pt x="1724" y="3225"/>
                    </a:lnTo>
                    <a:lnTo>
                      <a:pt x="1741" y="3227"/>
                    </a:lnTo>
                    <a:lnTo>
                      <a:pt x="1758" y="3229"/>
                    </a:lnTo>
                    <a:lnTo>
                      <a:pt x="1775" y="3229"/>
                    </a:lnTo>
                    <a:lnTo>
                      <a:pt x="1790" y="3227"/>
                    </a:lnTo>
                    <a:lnTo>
                      <a:pt x="1790" y="3227"/>
                    </a:lnTo>
                    <a:lnTo>
                      <a:pt x="1811" y="3225"/>
                    </a:lnTo>
                    <a:lnTo>
                      <a:pt x="1828" y="3221"/>
                    </a:lnTo>
                    <a:lnTo>
                      <a:pt x="1847" y="3216"/>
                    </a:lnTo>
                    <a:lnTo>
                      <a:pt x="1862" y="3208"/>
                    </a:lnTo>
                    <a:lnTo>
                      <a:pt x="1877" y="3199"/>
                    </a:lnTo>
                    <a:lnTo>
                      <a:pt x="1892" y="3187"/>
                    </a:lnTo>
                    <a:lnTo>
                      <a:pt x="1903" y="3174"/>
                    </a:lnTo>
                    <a:lnTo>
                      <a:pt x="1916" y="3159"/>
                    </a:lnTo>
                    <a:lnTo>
                      <a:pt x="1925" y="3144"/>
                    </a:lnTo>
                    <a:lnTo>
                      <a:pt x="1935" y="3129"/>
                    </a:lnTo>
                    <a:lnTo>
                      <a:pt x="1942" y="3112"/>
                    </a:lnTo>
                    <a:lnTo>
                      <a:pt x="1948" y="3093"/>
                    </a:lnTo>
                    <a:lnTo>
                      <a:pt x="1954" y="3077"/>
                    </a:lnTo>
                    <a:lnTo>
                      <a:pt x="1957" y="3058"/>
                    </a:lnTo>
                    <a:lnTo>
                      <a:pt x="1959" y="3039"/>
                    </a:lnTo>
                    <a:lnTo>
                      <a:pt x="1961" y="3022"/>
                    </a:lnTo>
                    <a:lnTo>
                      <a:pt x="1961" y="3022"/>
                    </a:lnTo>
                    <a:lnTo>
                      <a:pt x="1961" y="1773"/>
                    </a:lnTo>
                    <a:lnTo>
                      <a:pt x="1961" y="524"/>
                    </a:lnTo>
                    <a:lnTo>
                      <a:pt x="1961" y="524"/>
                    </a:lnTo>
                    <a:lnTo>
                      <a:pt x="2059" y="526"/>
                    </a:lnTo>
                    <a:lnTo>
                      <a:pt x="2059" y="526"/>
                    </a:lnTo>
                    <a:lnTo>
                      <a:pt x="2061" y="755"/>
                    </a:lnTo>
                    <a:lnTo>
                      <a:pt x="2061" y="982"/>
                    </a:lnTo>
                    <a:lnTo>
                      <a:pt x="2061" y="1211"/>
                    </a:lnTo>
                    <a:lnTo>
                      <a:pt x="2061" y="1326"/>
                    </a:lnTo>
                    <a:lnTo>
                      <a:pt x="2063" y="1439"/>
                    </a:lnTo>
                    <a:lnTo>
                      <a:pt x="2063" y="1439"/>
                    </a:lnTo>
                    <a:lnTo>
                      <a:pt x="2064" y="1465"/>
                    </a:lnTo>
                    <a:lnTo>
                      <a:pt x="2068" y="1488"/>
                    </a:lnTo>
                    <a:lnTo>
                      <a:pt x="2078" y="1510"/>
                    </a:lnTo>
                    <a:lnTo>
                      <a:pt x="2083" y="1521"/>
                    </a:lnTo>
                    <a:lnTo>
                      <a:pt x="2089" y="1531"/>
                    </a:lnTo>
                    <a:lnTo>
                      <a:pt x="2096" y="1538"/>
                    </a:lnTo>
                    <a:lnTo>
                      <a:pt x="2104" y="1548"/>
                    </a:lnTo>
                    <a:lnTo>
                      <a:pt x="2113" y="1553"/>
                    </a:lnTo>
                    <a:lnTo>
                      <a:pt x="2125" y="1561"/>
                    </a:lnTo>
                    <a:lnTo>
                      <a:pt x="2134" y="1565"/>
                    </a:lnTo>
                    <a:lnTo>
                      <a:pt x="2147" y="1568"/>
                    </a:lnTo>
                    <a:lnTo>
                      <a:pt x="2158" y="1572"/>
                    </a:lnTo>
                    <a:lnTo>
                      <a:pt x="2171" y="1572"/>
                    </a:lnTo>
                    <a:lnTo>
                      <a:pt x="2171" y="1572"/>
                    </a:lnTo>
                    <a:lnTo>
                      <a:pt x="2190" y="1576"/>
                    </a:lnTo>
                    <a:lnTo>
                      <a:pt x="2207" y="1578"/>
                    </a:lnTo>
                    <a:lnTo>
                      <a:pt x="2224" y="1576"/>
                    </a:lnTo>
                    <a:lnTo>
                      <a:pt x="2239" y="1572"/>
                    </a:lnTo>
                    <a:lnTo>
                      <a:pt x="2254" y="1565"/>
                    </a:lnTo>
                    <a:lnTo>
                      <a:pt x="2267" y="1555"/>
                    </a:lnTo>
                    <a:lnTo>
                      <a:pt x="2279" y="1546"/>
                    </a:lnTo>
                    <a:lnTo>
                      <a:pt x="2290" y="1533"/>
                    </a:lnTo>
                    <a:lnTo>
                      <a:pt x="2299" y="1518"/>
                    </a:lnTo>
                    <a:lnTo>
                      <a:pt x="2309" y="1503"/>
                    </a:lnTo>
                    <a:lnTo>
                      <a:pt x="2316" y="1488"/>
                    </a:lnTo>
                    <a:lnTo>
                      <a:pt x="2322" y="1471"/>
                    </a:lnTo>
                    <a:lnTo>
                      <a:pt x="2325" y="1454"/>
                    </a:lnTo>
                    <a:lnTo>
                      <a:pt x="2329" y="1437"/>
                    </a:lnTo>
                    <a:lnTo>
                      <a:pt x="2331" y="1422"/>
                    </a:lnTo>
                    <a:lnTo>
                      <a:pt x="2331" y="1405"/>
                    </a:lnTo>
                    <a:lnTo>
                      <a:pt x="2331" y="1405"/>
                    </a:lnTo>
                    <a:lnTo>
                      <a:pt x="2333" y="932"/>
                    </a:lnTo>
                    <a:lnTo>
                      <a:pt x="2333" y="456"/>
                    </a:lnTo>
                    <a:lnTo>
                      <a:pt x="2333" y="4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2" name="Freeform 42"/>
              <p:cNvSpPr>
                <a:spLocks/>
              </p:cNvSpPr>
              <p:nvPr/>
            </p:nvSpPr>
            <p:spPr bwMode="auto">
              <a:xfrm>
                <a:off x="10239304" y="4045089"/>
                <a:ext cx="68982" cy="89612"/>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3" name="Freeform 43"/>
              <p:cNvSpPr>
                <a:spLocks/>
              </p:cNvSpPr>
              <p:nvPr/>
            </p:nvSpPr>
            <p:spPr bwMode="auto">
              <a:xfrm>
                <a:off x="10251714" y="4057499"/>
                <a:ext cx="44000" cy="64791"/>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rgbClr val="2550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34" name="Group 933"/>
              <p:cNvGrpSpPr/>
              <p:nvPr/>
            </p:nvGrpSpPr>
            <p:grpSpPr>
              <a:xfrm rot="13290159">
                <a:off x="10157174" y="3938660"/>
                <a:ext cx="89612" cy="132564"/>
                <a:chOff x="2687372" y="3149601"/>
                <a:chExt cx="81465" cy="132564"/>
              </a:xfrm>
              <a:solidFill>
                <a:schemeClr val="accent1"/>
              </a:solidFill>
            </p:grpSpPr>
            <p:sp>
              <p:nvSpPr>
                <p:cNvPr id="935"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3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4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941" name="Oval 940"/>
            <p:cNvSpPr/>
            <p:nvPr/>
          </p:nvSpPr>
          <p:spPr bwMode="auto">
            <a:xfrm>
              <a:off x="787115" y="1949316"/>
              <a:ext cx="102658" cy="1026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6" name="Hexagon 5"/>
          <p:cNvSpPr/>
          <p:nvPr/>
        </p:nvSpPr>
        <p:spPr bwMode="auto">
          <a:xfrm>
            <a:off x="5561230" y="4064985"/>
            <a:ext cx="192209" cy="181069"/>
          </a:xfrm>
          <a:prstGeom prst="hexagon">
            <a:avLst/>
          </a:prstGeom>
          <a:solidFill>
            <a:srgbClr val="00485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1380" name="Straight Connector 1379"/>
          <p:cNvCxnSpPr/>
          <p:nvPr/>
        </p:nvCxnSpPr>
        <p:spPr>
          <a:xfrm>
            <a:off x="5658024" y="4208408"/>
            <a:ext cx="0" cy="215127"/>
          </a:xfrm>
          <a:prstGeom prst="line">
            <a:avLst/>
          </a:prstGeom>
          <a:ln w="28575">
            <a:solidFill>
              <a:srgbClr val="004858"/>
            </a:solidFill>
          </a:ln>
        </p:spPr>
        <p:style>
          <a:lnRef idx="1">
            <a:schemeClr val="accent1"/>
          </a:lnRef>
          <a:fillRef idx="0">
            <a:schemeClr val="accent1"/>
          </a:fillRef>
          <a:effectRef idx="0">
            <a:schemeClr val="accent1"/>
          </a:effectRef>
          <a:fontRef idx="minor">
            <a:schemeClr val="tx1"/>
          </a:fontRef>
        </p:style>
      </p:cxnSp>
      <p:grpSp>
        <p:nvGrpSpPr>
          <p:cNvPr id="1386" name="Group 1385"/>
          <p:cNvGrpSpPr/>
          <p:nvPr/>
        </p:nvGrpSpPr>
        <p:grpSpPr>
          <a:xfrm>
            <a:off x="1983637" y="1256387"/>
            <a:ext cx="1828154" cy="602746"/>
            <a:chOff x="1758361" y="1327007"/>
            <a:chExt cx="2275530" cy="579408"/>
          </a:xfrm>
        </p:grpSpPr>
        <p:sp>
          <p:nvSpPr>
            <p:cNvPr id="1026" name="Rectangle 1025"/>
            <p:cNvSpPr/>
            <p:nvPr/>
          </p:nvSpPr>
          <p:spPr bwMode="auto">
            <a:xfrm>
              <a:off x="1758361" y="1327007"/>
              <a:ext cx="2275530" cy="577679"/>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Connect security networks and personnel for heightened safety visibility to save more lives</a:t>
              </a:r>
            </a:p>
          </p:txBody>
        </p:sp>
        <p:cxnSp>
          <p:nvCxnSpPr>
            <p:cNvPr id="1027" name="Straight Connector 1026"/>
            <p:cNvCxnSpPr/>
            <p:nvPr/>
          </p:nvCxnSpPr>
          <p:spPr>
            <a:xfrm>
              <a:off x="1758361" y="1906415"/>
              <a:ext cx="227553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947" name="Group 946"/>
          <p:cNvGrpSpPr/>
          <p:nvPr/>
        </p:nvGrpSpPr>
        <p:grpSpPr>
          <a:xfrm rot="20546592">
            <a:off x="4080085" y="2925173"/>
            <a:ext cx="70575" cy="138947"/>
            <a:chOff x="2658904" y="3122439"/>
            <a:chExt cx="81472" cy="132564"/>
          </a:xfrm>
          <a:solidFill>
            <a:schemeClr val="bg1"/>
          </a:solidFill>
        </p:grpSpPr>
        <p:sp>
          <p:nvSpPr>
            <p:cNvPr id="991"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6"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7"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02" name="Group 1001"/>
          <p:cNvGrpSpPr/>
          <p:nvPr/>
        </p:nvGrpSpPr>
        <p:grpSpPr>
          <a:xfrm rot="7710382">
            <a:off x="3354529" y="2776241"/>
            <a:ext cx="70575" cy="138947"/>
            <a:chOff x="2658904" y="3122439"/>
            <a:chExt cx="81472" cy="132564"/>
          </a:xfrm>
          <a:solidFill>
            <a:schemeClr val="bg1"/>
          </a:solidFill>
        </p:grpSpPr>
        <p:sp>
          <p:nvSpPr>
            <p:cNvPr id="1003"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4"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98" name="Group 1397"/>
          <p:cNvGrpSpPr>
            <a:grpSpLocks noChangeAspect="1"/>
          </p:cNvGrpSpPr>
          <p:nvPr/>
        </p:nvGrpSpPr>
        <p:grpSpPr>
          <a:xfrm>
            <a:off x="250498" y="3298288"/>
            <a:ext cx="1672757" cy="469932"/>
            <a:chOff x="13038138" y="4821238"/>
            <a:chExt cx="12188826" cy="3424237"/>
          </a:xfrm>
          <a:solidFill>
            <a:schemeClr val="tx1">
              <a:lumMod val="50000"/>
              <a:lumOff val="50000"/>
            </a:schemeClr>
          </a:solidFill>
        </p:grpSpPr>
        <p:sp>
          <p:nvSpPr>
            <p:cNvPr id="1395" name="Freeform 6"/>
            <p:cNvSpPr>
              <a:spLocks noEditPoints="1"/>
            </p:cNvSpPr>
            <p:nvPr/>
          </p:nvSpPr>
          <p:spPr bwMode="auto">
            <a:xfrm>
              <a:off x="13252451" y="4968875"/>
              <a:ext cx="11760200" cy="3276600"/>
            </a:xfrm>
            <a:custGeom>
              <a:avLst/>
              <a:gdLst>
                <a:gd name="T0" fmla="*/ 1060 w 14818"/>
                <a:gd name="T1" fmla="*/ 3942 h 4128"/>
                <a:gd name="T2" fmla="*/ 8919 w 14818"/>
                <a:gd name="T3" fmla="*/ 4128 h 4128"/>
                <a:gd name="T4" fmla="*/ 14637 w 14818"/>
                <a:gd name="T5" fmla="*/ 2223 h 4128"/>
                <a:gd name="T6" fmla="*/ 12624 w 14818"/>
                <a:gd name="T7" fmla="*/ 0 h 4128"/>
                <a:gd name="T8" fmla="*/ 9659 w 14818"/>
                <a:gd name="T9" fmla="*/ 0 h 4128"/>
                <a:gd name="T10" fmla="*/ 6696 w 14818"/>
                <a:gd name="T11" fmla="*/ 0 h 4128"/>
                <a:gd name="T12" fmla="*/ 3731 w 14818"/>
                <a:gd name="T13" fmla="*/ 0 h 4128"/>
                <a:gd name="T14" fmla="*/ 766 w 14818"/>
                <a:gd name="T15" fmla="*/ 0 h 4128"/>
                <a:gd name="T16" fmla="*/ 12282 w 14818"/>
                <a:gd name="T17" fmla="*/ 2408 h 4128"/>
                <a:gd name="T18" fmla="*/ 9953 w 14818"/>
                <a:gd name="T19" fmla="*/ 1823 h 4128"/>
                <a:gd name="T20" fmla="*/ 7624 w 14818"/>
                <a:gd name="T21" fmla="*/ 2035 h 4128"/>
                <a:gd name="T22" fmla="*/ 5294 w 14818"/>
                <a:gd name="T23" fmla="*/ 2196 h 4128"/>
                <a:gd name="T24" fmla="*/ 2753 w 14818"/>
                <a:gd name="T25" fmla="*/ 2196 h 4128"/>
                <a:gd name="T26" fmla="*/ 1060 w 14818"/>
                <a:gd name="T27" fmla="*/ 2247 h 4128"/>
                <a:gd name="T28" fmla="*/ 3389 w 14818"/>
                <a:gd name="T29" fmla="*/ 2832 h 4128"/>
                <a:gd name="T30" fmla="*/ 5718 w 14818"/>
                <a:gd name="T31" fmla="*/ 2620 h 4128"/>
                <a:gd name="T32" fmla="*/ 8047 w 14818"/>
                <a:gd name="T33" fmla="*/ 2459 h 4128"/>
                <a:gd name="T34" fmla="*/ 10589 w 14818"/>
                <a:gd name="T35" fmla="*/ 2459 h 4128"/>
                <a:gd name="T36" fmla="*/ 12918 w 14818"/>
                <a:gd name="T37" fmla="*/ 2247 h 4128"/>
                <a:gd name="T38" fmla="*/ 12942 w 14818"/>
                <a:gd name="T39" fmla="*/ 1798 h 4128"/>
                <a:gd name="T40" fmla="*/ 10986 w 14818"/>
                <a:gd name="T41" fmla="*/ 1586 h 4128"/>
                <a:gd name="T42" fmla="*/ 8656 w 14818"/>
                <a:gd name="T43" fmla="*/ 1798 h 4128"/>
                <a:gd name="T44" fmla="*/ 6115 w 14818"/>
                <a:gd name="T45" fmla="*/ 1798 h 4128"/>
                <a:gd name="T46" fmla="*/ 3414 w 14818"/>
                <a:gd name="T47" fmla="*/ 1586 h 4128"/>
                <a:gd name="T48" fmla="*/ 1085 w 14818"/>
                <a:gd name="T49" fmla="*/ 1798 h 4128"/>
                <a:gd name="T50" fmla="*/ 1509 w 14818"/>
                <a:gd name="T51" fmla="*/ 3069 h 4128"/>
                <a:gd name="T52" fmla="*/ 3838 w 14818"/>
                <a:gd name="T53" fmla="*/ 2857 h 4128"/>
                <a:gd name="T54" fmla="*/ 6378 w 14818"/>
                <a:gd name="T55" fmla="*/ 2857 h 4128"/>
                <a:gd name="T56" fmla="*/ 9080 w 14818"/>
                <a:gd name="T57" fmla="*/ 3069 h 4128"/>
                <a:gd name="T58" fmla="*/ 11409 w 14818"/>
                <a:gd name="T59" fmla="*/ 2857 h 4128"/>
                <a:gd name="T60" fmla="*/ 13366 w 14818"/>
                <a:gd name="T61" fmla="*/ 3069 h 4128"/>
                <a:gd name="T62" fmla="*/ 13340 w 14818"/>
                <a:gd name="T63" fmla="*/ 1350 h 4128"/>
                <a:gd name="T64" fmla="*/ 10799 w 14818"/>
                <a:gd name="T65" fmla="*/ 1350 h 4128"/>
                <a:gd name="T66" fmla="*/ 8470 w 14818"/>
                <a:gd name="T67" fmla="*/ 1562 h 4128"/>
                <a:gd name="T68" fmla="*/ 6142 w 14818"/>
                <a:gd name="T69" fmla="*/ 976 h 4128"/>
                <a:gd name="T70" fmla="*/ 3813 w 14818"/>
                <a:gd name="T71" fmla="*/ 1189 h 4128"/>
                <a:gd name="T72" fmla="*/ 1483 w 14818"/>
                <a:gd name="T73" fmla="*/ 1350 h 4128"/>
                <a:gd name="T74" fmla="*/ 848 w 14818"/>
                <a:gd name="T75" fmla="*/ 3306 h 4128"/>
                <a:gd name="T76" fmla="*/ 3177 w 14818"/>
                <a:gd name="T77" fmla="*/ 3094 h 4128"/>
                <a:gd name="T78" fmla="*/ 5506 w 14818"/>
                <a:gd name="T79" fmla="*/ 3679 h 4128"/>
                <a:gd name="T80" fmla="*/ 7836 w 14818"/>
                <a:gd name="T81" fmla="*/ 3467 h 4128"/>
                <a:gd name="T82" fmla="*/ 10165 w 14818"/>
                <a:gd name="T83" fmla="*/ 3306 h 4128"/>
                <a:gd name="T84" fmla="*/ 12706 w 14818"/>
                <a:gd name="T85" fmla="*/ 3306 h 4128"/>
                <a:gd name="T86" fmla="*/ 14400 w 14818"/>
                <a:gd name="T87" fmla="*/ 2035 h 4128"/>
                <a:gd name="T88" fmla="*/ 12520 w 14818"/>
                <a:gd name="T89" fmla="*/ 952 h 4128"/>
                <a:gd name="T90" fmla="*/ 10563 w 14818"/>
                <a:gd name="T91" fmla="*/ 740 h 4128"/>
                <a:gd name="T92" fmla="*/ 8234 w 14818"/>
                <a:gd name="T93" fmla="*/ 952 h 4128"/>
                <a:gd name="T94" fmla="*/ 5693 w 14818"/>
                <a:gd name="T95" fmla="*/ 952 h 4128"/>
                <a:gd name="T96" fmla="*/ 2991 w 14818"/>
                <a:gd name="T97" fmla="*/ 740 h 4128"/>
                <a:gd name="T98" fmla="*/ 663 w 14818"/>
                <a:gd name="T99" fmla="*/ 952 h 4128"/>
                <a:gd name="T100" fmla="*/ 636 w 14818"/>
                <a:gd name="T101" fmla="*/ 3891 h 4128"/>
                <a:gd name="T102" fmla="*/ 2965 w 14818"/>
                <a:gd name="T103" fmla="*/ 4103 h 4128"/>
                <a:gd name="T104" fmla="*/ 5506 w 14818"/>
                <a:gd name="T105" fmla="*/ 4103 h 4128"/>
                <a:gd name="T106" fmla="*/ 7836 w 14818"/>
                <a:gd name="T107" fmla="*/ 3518 h 4128"/>
                <a:gd name="T108" fmla="*/ 10165 w 14818"/>
                <a:gd name="T109" fmla="*/ 3730 h 4128"/>
                <a:gd name="T110" fmla="*/ 12494 w 14818"/>
                <a:gd name="T111" fmla="*/ 3891 h 4128"/>
                <a:gd name="T112" fmla="*/ 14798 w 14818"/>
                <a:gd name="T113" fmla="*/ 3281 h 4128"/>
                <a:gd name="T114" fmla="*/ 13739 w 14818"/>
                <a:gd name="T115" fmla="*/ 528 h 4128"/>
                <a:gd name="T116" fmla="*/ 11409 w 14818"/>
                <a:gd name="T117" fmla="*/ 316 h 4128"/>
                <a:gd name="T118" fmla="*/ 8707 w 14818"/>
                <a:gd name="T119" fmla="*/ 528 h 4128"/>
                <a:gd name="T120" fmla="*/ 6378 w 14818"/>
                <a:gd name="T121" fmla="*/ 316 h 4128"/>
                <a:gd name="T122" fmla="*/ 4423 w 14818"/>
                <a:gd name="T123" fmla="*/ 528 h 4128"/>
                <a:gd name="T124" fmla="*/ 1882 w 14818"/>
                <a:gd name="T125" fmla="*/ 528 h 4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18" h="4128">
                  <a:moveTo>
                    <a:pt x="0" y="289"/>
                  </a:moveTo>
                  <a:lnTo>
                    <a:pt x="0" y="289"/>
                  </a:lnTo>
                  <a:lnTo>
                    <a:pt x="0" y="342"/>
                  </a:lnTo>
                  <a:lnTo>
                    <a:pt x="0" y="342"/>
                  </a:lnTo>
                  <a:lnTo>
                    <a:pt x="187" y="528"/>
                  </a:lnTo>
                  <a:lnTo>
                    <a:pt x="0" y="713"/>
                  </a:lnTo>
                  <a:lnTo>
                    <a:pt x="0" y="713"/>
                  </a:lnTo>
                  <a:lnTo>
                    <a:pt x="0" y="766"/>
                  </a:lnTo>
                  <a:lnTo>
                    <a:pt x="0" y="764"/>
                  </a:lnTo>
                  <a:lnTo>
                    <a:pt x="187" y="952"/>
                  </a:lnTo>
                  <a:lnTo>
                    <a:pt x="0" y="1137"/>
                  </a:lnTo>
                  <a:lnTo>
                    <a:pt x="0" y="1137"/>
                  </a:lnTo>
                  <a:lnTo>
                    <a:pt x="0" y="1189"/>
                  </a:lnTo>
                  <a:lnTo>
                    <a:pt x="0" y="1189"/>
                  </a:lnTo>
                  <a:lnTo>
                    <a:pt x="187" y="1374"/>
                  </a:lnTo>
                  <a:lnTo>
                    <a:pt x="0" y="1562"/>
                  </a:lnTo>
                  <a:lnTo>
                    <a:pt x="0" y="1560"/>
                  </a:lnTo>
                  <a:lnTo>
                    <a:pt x="0" y="1613"/>
                  </a:lnTo>
                  <a:lnTo>
                    <a:pt x="0" y="1613"/>
                  </a:lnTo>
                  <a:lnTo>
                    <a:pt x="187" y="1798"/>
                  </a:lnTo>
                  <a:lnTo>
                    <a:pt x="0" y="1984"/>
                  </a:lnTo>
                  <a:lnTo>
                    <a:pt x="0" y="1984"/>
                  </a:lnTo>
                  <a:lnTo>
                    <a:pt x="0" y="2037"/>
                  </a:lnTo>
                  <a:lnTo>
                    <a:pt x="0" y="2035"/>
                  </a:lnTo>
                  <a:lnTo>
                    <a:pt x="187" y="2223"/>
                  </a:lnTo>
                  <a:lnTo>
                    <a:pt x="0" y="2408"/>
                  </a:lnTo>
                  <a:lnTo>
                    <a:pt x="0" y="2408"/>
                  </a:lnTo>
                  <a:lnTo>
                    <a:pt x="0" y="2459"/>
                  </a:lnTo>
                  <a:lnTo>
                    <a:pt x="0" y="2459"/>
                  </a:lnTo>
                  <a:lnTo>
                    <a:pt x="187" y="2645"/>
                  </a:lnTo>
                  <a:lnTo>
                    <a:pt x="0" y="2832"/>
                  </a:lnTo>
                  <a:lnTo>
                    <a:pt x="0" y="2831"/>
                  </a:lnTo>
                  <a:lnTo>
                    <a:pt x="0" y="2883"/>
                  </a:lnTo>
                  <a:lnTo>
                    <a:pt x="0" y="2883"/>
                  </a:lnTo>
                  <a:lnTo>
                    <a:pt x="187" y="3069"/>
                  </a:lnTo>
                  <a:lnTo>
                    <a:pt x="0" y="3255"/>
                  </a:lnTo>
                  <a:lnTo>
                    <a:pt x="0" y="3255"/>
                  </a:lnTo>
                  <a:lnTo>
                    <a:pt x="0" y="3308"/>
                  </a:lnTo>
                  <a:lnTo>
                    <a:pt x="0" y="3306"/>
                  </a:lnTo>
                  <a:lnTo>
                    <a:pt x="187" y="3493"/>
                  </a:lnTo>
                  <a:lnTo>
                    <a:pt x="0" y="3679"/>
                  </a:lnTo>
                  <a:lnTo>
                    <a:pt x="0" y="3679"/>
                  </a:lnTo>
                  <a:lnTo>
                    <a:pt x="0" y="3730"/>
                  </a:lnTo>
                  <a:lnTo>
                    <a:pt x="0" y="3730"/>
                  </a:lnTo>
                  <a:lnTo>
                    <a:pt x="187" y="3916"/>
                  </a:lnTo>
                  <a:lnTo>
                    <a:pt x="0" y="4103"/>
                  </a:lnTo>
                  <a:lnTo>
                    <a:pt x="0" y="4102"/>
                  </a:lnTo>
                  <a:lnTo>
                    <a:pt x="0" y="4128"/>
                  </a:lnTo>
                  <a:lnTo>
                    <a:pt x="27" y="4128"/>
                  </a:lnTo>
                  <a:lnTo>
                    <a:pt x="212" y="3942"/>
                  </a:lnTo>
                  <a:lnTo>
                    <a:pt x="399" y="4128"/>
                  </a:lnTo>
                  <a:lnTo>
                    <a:pt x="451" y="4128"/>
                  </a:lnTo>
                  <a:lnTo>
                    <a:pt x="636" y="3942"/>
                  </a:lnTo>
                  <a:lnTo>
                    <a:pt x="822" y="4128"/>
                  </a:lnTo>
                  <a:lnTo>
                    <a:pt x="873" y="4128"/>
                  </a:lnTo>
                  <a:lnTo>
                    <a:pt x="1060" y="3942"/>
                  </a:lnTo>
                  <a:lnTo>
                    <a:pt x="1246" y="4128"/>
                  </a:lnTo>
                  <a:lnTo>
                    <a:pt x="1297" y="4128"/>
                  </a:lnTo>
                  <a:lnTo>
                    <a:pt x="1483" y="3942"/>
                  </a:lnTo>
                  <a:lnTo>
                    <a:pt x="1670" y="4128"/>
                  </a:lnTo>
                  <a:lnTo>
                    <a:pt x="1721" y="4128"/>
                  </a:lnTo>
                  <a:lnTo>
                    <a:pt x="1907" y="3942"/>
                  </a:lnTo>
                  <a:lnTo>
                    <a:pt x="2092" y="4128"/>
                  </a:lnTo>
                  <a:lnTo>
                    <a:pt x="2143" y="4128"/>
                  </a:lnTo>
                  <a:lnTo>
                    <a:pt x="2331" y="3942"/>
                  </a:lnTo>
                  <a:lnTo>
                    <a:pt x="2516" y="4128"/>
                  </a:lnTo>
                  <a:lnTo>
                    <a:pt x="2567" y="4128"/>
                  </a:lnTo>
                  <a:lnTo>
                    <a:pt x="2753" y="3942"/>
                  </a:lnTo>
                  <a:lnTo>
                    <a:pt x="2940" y="4128"/>
                  </a:lnTo>
                  <a:lnTo>
                    <a:pt x="2991" y="4128"/>
                  </a:lnTo>
                  <a:lnTo>
                    <a:pt x="3177" y="3942"/>
                  </a:lnTo>
                  <a:lnTo>
                    <a:pt x="3363" y="4128"/>
                  </a:lnTo>
                  <a:lnTo>
                    <a:pt x="3414" y="4128"/>
                  </a:lnTo>
                  <a:lnTo>
                    <a:pt x="3601" y="3942"/>
                  </a:lnTo>
                  <a:lnTo>
                    <a:pt x="3787" y="4128"/>
                  </a:lnTo>
                  <a:lnTo>
                    <a:pt x="3838" y="4128"/>
                  </a:lnTo>
                  <a:lnTo>
                    <a:pt x="4023" y="3942"/>
                  </a:lnTo>
                  <a:lnTo>
                    <a:pt x="4211" y="4128"/>
                  </a:lnTo>
                  <a:lnTo>
                    <a:pt x="4262" y="4128"/>
                  </a:lnTo>
                  <a:lnTo>
                    <a:pt x="4447" y="3942"/>
                  </a:lnTo>
                  <a:lnTo>
                    <a:pt x="4633" y="4128"/>
                  </a:lnTo>
                  <a:lnTo>
                    <a:pt x="4684" y="4128"/>
                  </a:lnTo>
                  <a:lnTo>
                    <a:pt x="4871" y="3942"/>
                  </a:lnTo>
                  <a:lnTo>
                    <a:pt x="5057" y="4128"/>
                  </a:lnTo>
                  <a:lnTo>
                    <a:pt x="5108" y="4128"/>
                  </a:lnTo>
                  <a:lnTo>
                    <a:pt x="5294" y="3942"/>
                  </a:lnTo>
                  <a:lnTo>
                    <a:pt x="5481" y="4128"/>
                  </a:lnTo>
                  <a:lnTo>
                    <a:pt x="5532" y="4128"/>
                  </a:lnTo>
                  <a:lnTo>
                    <a:pt x="5718" y="3942"/>
                  </a:lnTo>
                  <a:lnTo>
                    <a:pt x="5903" y="4128"/>
                  </a:lnTo>
                  <a:lnTo>
                    <a:pt x="5956" y="4128"/>
                  </a:lnTo>
                  <a:lnTo>
                    <a:pt x="6142" y="3942"/>
                  </a:lnTo>
                  <a:lnTo>
                    <a:pt x="6327" y="4128"/>
                  </a:lnTo>
                  <a:lnTo>
                    <a:pt x="6378" y="4128"/>
                  </a:lnTo>
                  <a:lnTo>
                    <a:pt x="6566" y="3942"/>
                  </a:lnTo>
                  <a:lnTo>
                    <a:pt x="6751" y="4128"/>
                  </a:lnTo>
                  <a:lnTo>
                    <a:pt x="6802" y="4128"/>
                  </a:lnTo>
                  <a:lnTo>
                    <a:pt x="6988" y="3942"/>
                  </a:lnTo>
                  <a:lnTo>
                    <a:pt x="7175" y="4128"/>
                  </a:lnTo>
                  <a:lnTo>
                    <a:pt x="7226" y="4128"/>
                  </a:lnTo>
                  <a:lnTo>
                    <a:pt x="7412" y="3942"/>
                  </a:lnTo>
                  <a:lnTo>
                    <a:pt x="7598" y="4128"/>
                  </a:lnTo>
                  <a:lnTo>
                    <a:pt x="7649" y="4128"/>
                  </a:lnTo>
                  <a:lnTo>
                    <a:pt x="7836" y="3942"/>
                  </a:lnTo>
                  <a:lnTo>
                    <a:pt x="8022" y="4128"/>
                  </a:lnTo>
                  <a:lnTo>
                    <a:pt x="8073" y="4128"/>
                  </a:lnTo>
                  <a:lnTo>
                    <a:pt x="8259" y="3942"/>
                  </a:lnTo>
                  <a:lnTo>
                    <a:pt x="8446" y="4128"/>
                  </a:lnTo>
                  <a:lnTo>
                    <a:pt x="8497" y="4128"/>
                  </a:lnTo>
                  <a:lnTo>
                    <a:pt x="8682" y="3942"/>
                  </a:lnTo>
                  <a:lnTo>
                    <a:pt x="8868" y="4128"/>
                  </a:lnTo>
                  <a:lnTo>
                    <a:pt x="8919" y="4128"/>
                  </a:lnTo>
                  <a:lnTo>
                    <a:pt x="9106" y="3942"/>
                  </a:lnTo>
                  <a:lnTo>
                    <a:pt x="9292" y="4128"/>
                  </a:lnTo>
                  <a:lnTo>
                    <a:pt x="9343" y="4128"/>
                  </a:lnTo>
                  <a:lnTo>
                    <a:pt x="9529" y="3942"/>
                  </a:lnTo>
                  <a:lnTo>
                    <a:pt x="9716" y="4128"/>
                  </a:lnTo>
                  <a:lnTo>
                    <a:pt x="9767" y="4128"/>
                  </a:lnTo>
                  <a:lnTo>
                    <a:pt x="9953" y="3942"/>
                  </a:lnTo>
                  <a:lnTo>
                    <a:pt x="10139" y="4128"/>
                  </a:lnTo>
                  <a:lnTo>
                    <a:pt x="10190" y="4128"/>
                  </a:lnTo>
                  <a:lnTo>
                    <a:pt x="10377" y="3942"/>
                  </a:lnTo>
                  <a:lnTo>
                    <a:pt x="10563" y="4128"/>
                  </a:lnTo>
                  <a:lnTo>
                    <a:pt x="10614" y="4128"/>
                  </a:lnTo>
                  <a:lnTo>
                    <a:pt x="10799" y="3942"/>
                  </a:lnTo>
                  <a:lnTo>
                    <a:pt x="10986" y="4128"/>
                  </a:lnTo>
                  <a:lnTo>
                    <a:pt x="11038" y="4128"/>
                  </a:lnTo>
                  <a:lnTo>
                    <a:pt x="11223" y="3942"/>
                  </a:lnTo>
                  <a:lnTo>
                    <a:pt x="11409" y="4128"/>
                  </a:lnTo>
                  <a:lnTo>
                    <a:pt x="11460" y="4128"/>
                  </a:lnTo>
                  <a:lnTo>
                    <a:pt x="11647" y="3942"/>
                  </a:lnTo>
                  <a:lnTo>
                    <a:pt x="11833" y="4128"/>
                  </a:lnTo>
                  <a:lnTo>
                    <a:pt x="11884" y="4128"/>
                  </a:lnTo>
                  <a:lnTo>
                    <a:pt x="12070" y="3942"/>
                  </a:lnTo>
                  <a:lnTo>
                    <a:pt x="12257" y="4128"/>
                  </a:lnTo>
                  <a:lnTo>
                    <a:pt x="12308" y="4128"/>
                  </a:lnTo>
                  <a:lnTo>
                    <a:pt x="12494" y="3942"/>
                  </a:lnTo>
                  <a:lnTo>
                    <a:pt x="12679" y="4128"/>
                  </a:lnTo>
                  <a:lnTo>
                    <a:pt x="12730" y="4128"/>
                  </a:lnTo>
                  <a:lnTo>
                    <a:pt x="12918" y="3942"/>
                  </a:lnTo>
                  <a:lnTo>
                    <a:pt x="13103" y="4128"/>
                  </a:lnTo>
                  <a:lnTo>
                    <a:pt x="13154" y="4128"/>
                  </a:lnTo>
                  <a:lnTo>
                    <a:pt x="13340" y="3942"/>
                  </a:lnTo>
                  <a:lnTo>
                    <a:pt x="13527" y="4128"/>
                  </a:lnTo>
                  <a:lnTo>
                    <a:pt x="13578" y="4128"/>
                  </a:lnTo>
                  <a:lnTo>
                    <a:pt x="13764" y="3942"/>
                  </a:lnTo>
                  <a:lnTo>
                    <a:pt x="13950" y="4128"/>
                  </a:lnTo>
                  <a:lnTo>
                    <a:pt x="14002" y="4128"/>
                  </a:lnTo>
                  <a:lnTo>
                    <a:pt x="14188" y="3942"/>
                  </a:lnTo>
                  <a:lnTo>
                    <a:pt x="14374" y="4128"/>
                  </a:lnTo>
                  <a:lnTo>
                    <a:pt x="14425" y="4128"/>
                  </a:lnTo>
                  <a:lnTo>
                    <a:pt x="14612" y="3942"/>
                  </a:lnTo>
                  <a:lnTo>
                    <a:pt x="14798" y="4128"/>
                  </a:lnTo>
                  <a:lnTo>
                    <a:pt x="14818" y="4128"/>
                  </a:lnTo>
                  <a:lnTo>
                    <a:pt x="14818" y="4099"/>
                  </a:lnTo>
                  <a:lnTo>
                    <a:pt x="14637" y="3916"/>
                  </a:lnTo>
                  <a:lnTo>
                    <a:pt x="14818" y="3735"/>
                  </a:lnTo>
                  <a:lnTo>
                    <a:pt x="14818" y="3674"/>
                  </a:lnTo>
                  <a:lnTo>
                    <a:pt x="14637" y="3493"/>
                  </a:lnTo>
                  <a:lnTo>
                    <a:pt x="14818" y="3311"/>
                  </a:lnTo>
                  <a:lnTo>
                    <a:pt x="14818" y="3250"/>
                  </a:lnTo>
                  <a:lnTo>
                    <a:pt x="14637" y="3069"/>
                  </a:lnTo>
                  <a:lnTo>
                    <a:pt x="14818" y="2888"/>
                  </a:lnTo>
                  <a:lnTo>
                    <a:pt x="14818" y="2828"/>
                  </a:lnTo>
                  <a:lnTo>
                    <a:pt x="14637" y="2645"/>
                  </a:lnTo>
                  <a:lnTo>
                    <a:pt x="14818" y="2464"/>
                  </a:lnTo>
                  <a:lnTo>
                    <a:pt x="14818" y="2404"/>
                  </a:lnTo>
                  <a:lnTo>
                    <a:pt x="14637" y="2223"/>
                  </a:lnTo>
                  <a:lnTo>
                    <a:pt x="14818" y="2040"/>
                  </a:lnTo>
                  <a:lnTo>
                    <a:pt x="14818" y="1980"/>
                  </a:lnTo>
                  <a:lnTo>
                    <a:pt x="14637" y="1798"/>
                  </a:lnTo>
                  <a:lnTo>
                    <a:pt x="14818" y="1616"/>
                  </a:lnTo>
                  <a:lnTo>
                    <a:pt x="14818" y="1557"/>
                  </a:lnTo>
                  <a:lnTo>
                    <a:pt x="14637" y="1374"/>
                  </a:lnTo>
                  <a:lnTo>
                    <a:pt x="14818" y="1193"/>
                  </a:lnTo>
                  <a:lnTo>
                    <a:pt x="14818" y="1133"/>
                  </a:lnTo>
                  <a:lnTo>
                    <a:pt x="14637" y="952"/>
                  </a:lnTo>
                  <a:lnTo>
                    <a:pt x="14818" y="769"/>
                  </a:lnTo>
                  <a:lnTo>
                    <a:pt x="14818" y="709"/>
                  </a:lnTo>
                  <a:lnTo>
                    <a:pt x="14637" y="528"/>
                  </a:lnTo>
                  <a:lnTo>
                    <a:pt x="14818" y="345"/>
                  </a:lnTo>
                  <a:lnTo>
                    <a:pt x="14818" y="286"/>
                  </a:lnTo>
                  <a:lnTo>
                    <a:pt x="14637" y="103"/>
                  </a:lnTo>
                  <a:lnTo>
                    <a:pt x="14742" y="0"/>
                  </a:lnTo>
                  <a:lnTo>
                    <a:pt x="14691" y="0"/>
                  </a:lnTo>
                  <a:lnTo>
                    <a:pt x="14612" y="79"/>
                  </a:lnTo>
                  <a:lnTo>
                    <a:pt x="14533" y="0"/>
                  </a:lnTo>
                  <a:lnTo>
                    <a:pt x="14480" y="0"/>
                  </a:lnTo>
                  <a:lnTo>
                    <a:pt x="14586" y="103"/>
                  </a:lnTo>
                  <a:lnTo>
                    <a:pt x="14400" y="289"/>
                  </a:lnTo>
                  <a:lnTo>
                    <a:pt x="14213" y="103"/>
                  </a:lnTo>
                  <a:lnTo>
                    <a:pt x="14318" y="0"/>
                  </a:lnTo>
                  <a:lnTo>
                    <a:pt x="14267" y="0"/>
                  </a:lnTo>
                  <a:lnTo>
                    <a:pt x="14188" y="79"/>
                  </a:lnTo>
                  <a:lnTo>
                    <a:pt x="14109" y="0"/>
                  </a:lnTo>
                  <a:lnTo>
                    <a:pt x="14058" y="0"/>
                  </a:lnTo>
                  <a:lnTo>
                    <a:pt x="14162" y="103"/>
                  </a:lnTo>
                  <a:lnTo>
                    <a:pt x="13976" y="289"/>
                  </a:lnTo>
                  <a:lnTo>
                    <a:pt x="13790" y="103"/>
                  </a:lnTo>
                  <a:lnTo>
                    <a:pt x="13894" y="0"/>
                  </a:lnTo>
                  <a:lnTo>
                    <a:pt x="13843" y="0"/>
                  </a:lnTo>
                  <a:lnTo>
                    <a:pt x="13764" y="79"/>
                  </a:lnTo>
                  <a:lnTo>
                    <a:pt x="13685" y="0"/>
                  </a:lnTo>
                  <a:lnTo>
                    <a:pt x="13634" y="0"/>
                  </a:lnTo>
                  <a:lnTo>
                    <a:pt x="13739" y="103"/>
                  </a:lnTo>
                  <a:lnTo>
                    <a:pt x="13552" y="289"/>
                  </a:lnTo>
                  <a:lnTo>
                    <a:pt x="13366" y="103"/>
                  </a:lnTo>
                  <a:lnTo>
                    <a:pt x="13472" y="0"/>
                  </a:lnTo>
                  <a:lnTo>
                    <a:pt x="13419" y="0"/>
                  </a:lnTo>
                  <a:lnTo>
                    <a:pt x="13340" y="79"/>
                  </a:lnTo>
                  <a:lnTo>
                    <a:pt x="13261" y="0"/>
                  </a:lnTo>
                  <a:lnTo>
                    <a:pt x="13210" y="0"/>
                  </a:lnTo>
                  <a:lnTo>
                    <a:pt x="13315" y="103"/>
                  </a:lnTo>
                  <a:lnTo>
                    <a:pt x="13130" y="289"/>
                  </a:lnTo>
                  <a:lnTo>
                    <a:pt x="12942" y="103"/>
                  </a:lnTo>
                  <a:lnTo>
                    <a:pt x="13048" y="0"/>
                  </a:lnTo>
                  <a:lnTo>
                    <a:pt x="12997" y="0"/>
                  </a:lnTo>
                  <a:lnTo>
                    <a:pt x="12918" y="79"/>
                  </a:lnTo>
                  <a:lnTo>
                    <a:pt x="12839" y="0"/>
                  </a:lnTo>
                  <a:lnTo>
                    <a:pt x="12788" y="0"/>
                  </a:lnTo>
                  <a:lnTo>
                    <a:pt x="12891" y="103"/>
                  </a:lnTo>
                  <a:lnTo>
                    <a:pt x="12706" y="289"/>
                  </a:lnTo>
                  <a:lnTo>
                    <a:pt x="12520" y="103"/>
                  </a:lnTo>
                  <a:lnTo>
                    <a:pt x="12624" y="0"/>
                  </a:lnTo>
                  <a:lnTo>
                    <a:pt x="12573" y="0"/>
                  </a:lnTo>
                  <a:lnTo>
                    <a:pt x="12494" y="79"/>
                  </a:lnTo>
                  <a:lnTo>
                    <a:pt x="12415" y="0"/>
                  </a:lnTo>
                  <a:lnTo>
                    <a:pt x="12364" y="0"/>
                  </a:lnTo>
                  <a:lnTo>
                    <a:pt x="12469" y="103"/>
                  </a:lnTo>
                  <a:lnTo>
                    <a:pt x="12282" y="289"/>
                  </a:lnTo>
                  <a:lnTo>
                    <a:pt x="12096" y="103"/>
                  </a:lnTo>
                  <a:lnTo>
                    <a:pt x="12200" y="0"/>
                  </a:lnTo>
                  <a:lnTo>
                    <a:pt x="12149" y="0"/>
                  </a:lnTo>
                  <a:lnTo>
                    <a:pt x="12070" y="79"/>
                  </a:lnTo>
                  <a:lnTo>
                    <a:pt x="11991" y="0"/>
                  </a:lnTo>
                  <a:lnTo>
                    <a:pt x="11940" y="0"/>
                  </a:lnTo>
                  <a:lnTo>
                    <a:pt x="12045" y="103"/>
                  </a:lnTo>
                  <a:lnTo>
                    <a:pt x="11859" y="289"/>
                  </a:lnTo>
                  <a:lnTo>
                    <a:pt x="11672" y="103"/>
                  </a:lnTo>
                  <a:lnTo>
                    <a:pt x="11777" y="0"/>
                  </a:lnTo>
                  <a:lnTo>
                    <a:pt x="11726" y="0"/>
                  </a:lnTo>
                  <a:lnTo>
                    <a:pt x="11647" y="79"/>
                  </a:lnTo>
                  <a:lnTo>
                    <a:pt x="11568" y="0"/>
                  </a:lnTo>
                  <a:lnTo>
                    <a:pt x="11517" y="0"/>
                  </a:lnTo>
                  <a:lnTo>
                    <a:pt x="11621" y="103"/>
                  </a:lnTo>
                  <a:lnTo>
                    <a:pt x="11435" y="289"/>
                  </a:lnTo>
                  <a:lnTo>
                    <a:pt x="11250" y="103"/>
                  </a:lnTo>
                  <a:lnTo>
                    <a:pt x="11353" y="0"/>
                  </a:lnTo>
                  <a:lnTo>
                    <a:pt x="11302" y="0"/>
                  </a:lnTo>
                  <a:lnTo>
                    <a:pt x="11223" y="79"/>
                  </a:lnTo>
                  <a:lnTo>
                    <a:pt x="11144" y="0"/>
                  </a:lnTo>
                  <a:lnTo>
                    <a:pt x="11093" y="0"/>
                  </a:lnTo>
                  <a:lnTo>
                    <a:pt x="11198" y="103"/>
                  </a:lnTo>
                  <a:lnTo>
                    <a:pt x="11011" y="289"/>
                  </a:lnTo>
                  <a:lnTo>
                    <a:pt x="10826" y="103"/>
                  </a:lnTo>
                  <a:lnTo>
                    <a:pt x="10929" y="0"/>
                  </a:lnTo>
                  <a:lnTo>
                    <a:pt x="10878" y="0"/>
                  </a:lnTo>
                  <a:lnTo>
                    <a:pt x="10799" y="79"/>
                  </a:lnTo>
                  <a:lnTo>
                    <a:pt x="10720" y="0"/>
                  </a:lnTo>
                  <a:lnTo>
                    <a:pt x="10669" y="0"/>
                  </a:lnTo>
                  <a:lnTo>
                    <a:pt x="10775" y="103"/>
                  </a:lnTo>
                  <a:lnTo>
                    <a:pt x="10589" y="289"/>
                  </a:lnTo>
                  <a:lnTo>
                    <a:pt x="10402" y="103"/>
                  </a:lnTo>
                  <a:lnTo>
                    <a:pt x="10507" y="0"/>
                  </a:lnTo>
                  <a:lnTo>
                    <a:pt x="10456" y="0"/>
                  </a:lnTo>
                  <a:lnTo>
                    <a:pt x="10377" y="79"/>
                  </a:lnTo>
                  <a:lnTo>
                    <a:pt x="10298" y="0"/>
                  </a:lnTo>
                  <a:lnTo>
                    <a:pt x="10247" y="0"/>
                  </a:lnTo>
                  <a:lnTo>
                    <a:pt x="10351" y="103"/>
                  </a:lnTo>
                  <a:lnTo>
                    <a:pt x="10165" y="289"/>
                  </a:lnTo>
                  <a:lnTo>
                    <a:pt x="9979" y="103"/>
                  </a:lnTo>
                  <a:lnTo>
                    <a:pt x="10083" y="0"/>
                  </a:lnTo>
                  <a:lnTo>
                    <a:pt x="10032" y="0"/>
                  </a:lnTo>
                  <a:lnTo>
                    <a:pt x="9953" y="79"/>
                  </a:lnTo>
                  <a:lnTo>
                    <a:pt x="9874" y="0"/>
                  </a:lnTo>
                  <a:lnTo>
                    <a:pt x="9823" y="0"/>
                  </a:lnTo>
                  <a:lnTo>
                    <a:pt x="9927" y="103"/>
                  </a:lnTo>
                  <a:lnTo>
                    <a:pt x="9741" y="289"/>
                  </a:lnTo>
                  <a:lnTo>
                    <a:pt x="9555" y="103"/>
                  </a:lnTo>
                  <a:lnTo>
                    <a:pt x="9659" y="0"/>
                  </a:lnTo>
                  <a:lnTo>
                    <a:pt x="9608" y="0"/>
                  </a:lnTo>
                  <a:lnTo>
                    <a:pt x="9529" y="79"/>
                  </a:lnTo>
                  <a:lnTo>
                    <a:pt x="9450" y="0"/>
                  </a:lnTo>
                  <a:lnTo>
                    <a:pt x="9399" y="0"/>
                  </a:lnTo>
                  <a:lnTo>
                    <a:pt x="9504" y="103"/>
                  </a:lnTo>
                  <a:lnTo>
                    <a:pt x="9317" y="289"/>
                  </a:lnTo>
                  <a:lnTo>
                    <a:pt x="9131" y="103"/>
                  </a:lnTo>
                  <a:lnTo>
                    <a:pt x="9236" y="0"/>
                  </a:lnTo>
                  <a:lnTo>
                    <a:pt x="9185" y="0"/>
                  </a:lnTo>
                  <a:lnTo>
                    <a:pt x="9106" y="79"/>
                  </a:lnTo>
                  <a:lnTo>
                    <a:pt x="9028" y="0"/>
                  </a:lnTo>
                  <a:lnTo>
                    <a:pt x="8976" y="0"/>
                  </a:lnTo>
                  <a:lnTo>
                    <a:pt x="9080" y="103"/>
                  </a:lnTo>
                  <a:lnTo>
                    <a:pt x="8894" y="289"/>
                  </a:lnTo>
                  <a:lnTo>
                    <a:pt x="8707" y="103"/>
                  </a:lnTo>
                  <a:lnTo>
                    <a:pt x="8812" y="0"/>
                  </a:lnTo>
                  <a:lnTo>
                    <a:pt x="8761" y="0"/>
                  </a:lnTo>
                  <a:lnTo>
                    <a:pt x="8682" y="79"/>
                  </a:lnTo>
                  <a:lnTo>
                    <a:pt x="8604" y="0"/>
                  </a:lnTo>
                  <a:lnTo>
                    <a:pt x="8552" y="0"/>
                  </a:lnTo>
                  <a:lnTo>
                    <a:pt x="8656" y="103"/>
                  </a:lnTo>
                  <a:lnTo>
                    <a:pt x="8470" y="289"/>
                  </a:lnTo>
                  <a:lnTo>
                    <a:pt x="8285" y="103"/>
                  </a:lnTo>
                  <a:lnTo>
                    <a:pt x="8388" y="0"/>
                  </a:lnTo>
                  <a:lnTo>
                    <a:pt x="8337" y="0"/>
                  </a:lnTo>
                  <a:lnTo>
                    <a:pt x="8259" y="79"/>
                  </a:lnTo>
                  <a:lnTo>
                    <a:pt x="8180" y="0"/>
                  </a:lnTo>
                  <a:lnTo>
                    <a:pt x="8129" y="0"/>
                  </a:lnTo>
                  <a:lnTo>
                    <a:pt x="8234" y="103"/>
                  </a:lnTo>
                  <a:lnTo>
                    <a:pt x="8047" y="289"/>
                  </a:lnTo>
                  <a:lnTo>
                    <a:pt x="7861" y="103"/>
                  </a:lnTo>
                  <a:lnTo>
                    <a:pt x="7966" y="0"/>
                  </a:lnTo>
                  <a:lnTo>
                    <a:pt x="7915" y="0"/>
                  </a:lnTo>
                  <a:lnTo>
                    <a:pt x="7836" y="79"/>
                  </a:lnTo>
                  <a:lnTo>
                    <a:pt x="7757" y="0"/>
                  </a:lnTo>
                  <a:lnTo>
                    <a:pt x="7706" y="0"/>
                  </a:lnTo>
                  <a:lnTo>
                    <a:pt x="7810" y="103"/>
                  </a:lnTo>
                  <a:lnTo>
                    <a:pt x="7624" y="289"/>
                  </a:lnTo>
                  <a:lnTo>
                    <a:pt x="7437" y="103"/>
                  </a:lnTo>
                  <a:lnTo>
                    <a:pt x="7542" y="0"/>
                  </a:lnTo>
                  <a:lnTo>
                    <a:pt x="7491" y="0"/>
                  </a:lnTo>
                  <a:lnTo>
                    <a:pt x="7412" y="79"/>
                  </a:lnTo>
                  <a:lnTo>
                    <a:pt x="7333" y="0"/>
                  </a:lnTo>
                  <a:lnTo>
                    <a:pt x="7282" y="0"/>
                  </a:lnTo>
                  <a:lnTo>
                    <a:pt x="7386" y="103"/>
                  </a:lnTo>
                  <a:lnTo>
                    <a:pt x="7200" y="289"/>
                  </a:lnTo>
                  <a:lnTo>
                    <a:pt x="7014" y="103"/>
                  </a:lnTo>
                  <a:lnTo>
                    <a:pt x="7118" y="0"/>
                  </a:lnTo>
                  <a:lnTo>
                    <a:pt x="7067" y="0"/>
                  </a:lnTo>
                  <a:lnTo>
                    <a:pt x="6988" y="79"/>
                  </a:lnTo>
                  <a:lnTo>
                    <a:pt x="6909" y="0"/>
                  </a:lnTo>
                  <a:lnTo>
                    <a:pt x="6858" y="0"/>
                  </a:lnTo>
                  <a:lnTo>
                    <a:pt x="6963" y="103"/>
                  </a:lnTo>
                  <a:lnTo>
                    <a:pt x="6776" y="289"/>
                  </a:lnTo>
                  <a:lnTo>
                    <a:pt x="6590" y="103"/>
                  </a:lnTo>
                  <a:lnTo>
                    <a:pt x="6696" y="0"/>
                  </a:lnTo>
                  <a:lnTo>
                    <a:pt x="6645" y="0"/>
                  </a:lnTo>
                  <a:lnTo>
                    <a:pt x="6566" y="79"/>
                  </a:lnTo>
                  <a:lnTo>
                    <a:pt x="6487" y="0"/>
                  </a:lnTo>
                  <a:lnTo>
                    <a:pt x="6434" y="0"/>
                  </a:lnTo>
                  <a:lnTo>
                    <a:pt x="6539" y="103"/>
                  </a:lnTo>
                  <a:lnTo>
                    <a:pt x="6354" y="289"/>
                  </a:lnTo>
                  <a:lnTo>
                    <a:pt x="6166" y="103"/>
                  </a:lnTo>
                  <a:lnTo>
                    <a:pt x="6272" y="0"/>
                  </a:lnTo>
                  <a:lnTo>
                    <a:pt x="6221" y="0"/>
                  </a:lnTo>
                  <a:lnTo>
                    <a:pt x="6142" y="79"/>
                  </a:lnTo>
                  <a:lnTo>
                    <a:pt x="6063" y="0"/>
                  </a:lnTo>
                  <a:lnTo>
                    <a:pt x="6012" y="0"/>
                  </a:lnTo>
                  <a:lnTo>
                    <a:pt x="6115" y="103"/>
                  </a:lnTo>
                  <a:lnTo>
                    <a:pt x="5930" y="289"/>
                  </a:lnTo>
                  <a:lnTo>
                    <a:pt x="5744" y="103"/>
                  </a:lnTo>
                  <a:lnTo>
                    <a:pt x="5848" y="0"/>
                  </a:lnTo>
                  <a:lnTo>
                    <a:pt x="5797" y="0"/>
                  </a:lnTo>
                  <a:lnTo>
                    <a:pt x="5718" y="79"/>
                  </a:lnTo>
                  <a:lnTo>
                    <a:pt x="5639" y="0"/>
                  </a:lnTo>
                  <a:lnTo>
                    <a:pt x="5588" y="0"/>
                  </a:lnTo>
                  <a:lnTo>
                    <a:pt x="5693" y="103"/>
                  </a:lnTo>
                  <a:lnTo>
                    <a:pt x="5506" y="289"/>
                  </a:lnTo>
                  <a:lnTo>
                    <a:pt x="5320" y="103"/>
                  </a:lnTo>
                  <a:lnTo>
                    <a:pt x="5425" y="0"/>
                  </a:lnTo>
                  <a:lnTo>
                    <a:pt x="5374" y="0"/>
                  </a:lnTo>
                  <a:lnTo>
                    <a:pt x="5294" y="79"/>
                  </a:lnTo>
                  <a:lnTo>
                    <a:pt x="5215" y="0"/>
                  </a:lnTo>
                  <a:lnTo>
                    <a:pt x="5164" y="0"/>
                  </a:lnTo>
                  <a:lnTo>
                    <a:pt x="5269" y="103"/>
                  </a:lnTo>
                  <a:lnTo>
                    <a:pt x="5083" y="289"/>
                  </a:lnTo>
                  <a:lnTo>
                    <a:pt x="4896" y="103"/>
                  </a:lnTo>
                  <a:lnTo>
                    <a:pt x="5001" y="0"/>
                  </a:lnTo>
                  <a:lnTo>
                    <a:pt x="4950" y="0"/>
                  </a:lnTo>
                  <a:lnTo>
                    <a:pt x="4871" y="79"/>
                  </a:lnTo>
                  <a:lnTo>
                    <a:pt x="4792" y="0"/>
                  </a:lnTo>
                  <a:lnTo>
                    <a:pt x="4741" y="0"/>
                  </a:lnTo>
                  <a:lnTo>
                    <a:pt x="4845" y="103"/>
                  </a:lnTo>
                  <a:lnTo>
                    <a:pt x="4659" y="289"/>
                  </a:lnTo>
                  <a:lnTo>
                    <a:pt x="4474" y="103"/>
                  </a:lnTo>
                  <a:lnTo>
                    <a:pt x="4577" y="0"/>
                  </a:lnTo>
                  <a:lnTo>
                    <a:pt x="4526" y="0"/>
                  </a:lnTo>
                  <a:lnTo>
                    <a:pt x="4447" y="79"/>
                  </a:lnTo>
                  <a:lnTo>
                    <a:pt x="4368" y="0"/>
                  </a:lnTo>
                  <a:lnTo>
                    <a:pt x="4317" y="0"/>
                  </a:lnTo>
                  <a:lnTo>
                    <a:pt x="4423" y="103"/>
                  </a:lnTo>
                  <a:lnTo>
                    <a:pt x="4235" y="289"/>
                  </a:lnTo>
                  <a:lnTo>
                    <a:pt x="4050" y="103"/>
                  </a:lnTo>
                  <a:lnTo>
                    <a:pt x="4155" y="0"/>
                  </a:lnTo>
                  <a:lnTo>
                    <a:pt x="4102" y="0"/>
                  </a:lnTo>
                  <a:lnTo>
                    <a:pt x="4023" y="79"/>
                  </a:lnTo>
                  <a:lnTo>
                    <a:pt x="3944" y="0"/>
                  </a:lnTo>
                  <a:lnTo>
                    <a:pt x="3893" y="0"/>
                  </a:lnTo>
                  <a:lnTo>
                    <a:pt x="3999" y="103"/>
                  </a:lnTo>
                  <a:lnTo>
                    <a:pt x="3813" y="289"/>
                  </a:lnTo>
                  <a:lnTo>
                    <a:pt x="3626" y="103"/>
                  </a:lnTo>
                  <a:lnTo>
                    <a:pt x="3731" y="0"/>
                  </a:lnTo>
                  <a:lnTo>
                    <a:pt x="3680" y="0"/>
                  </a:lnTo>
                  <a:lnTo>
                    <a:pt x="3601" y="79"/>
                  </a:lnTo>
                  <a:lnTo>
                    <a:pt x="3522" y="0"/>
                  </a:lnTo>
                  <a:lnTo>
                    <a:pt x="3471" y="0"/>
                  </a:lnTo>
                  <a:lnTo>
                    <a:pt x="3575" y="103"/>
                  </a:lnTo>
                  <a:lnTo>
                    <a:pt x="3389" y="289"/>
                  </a:lnTo>
                  <a:lnTo>
                    <a:pt x="3203" y="103"/>
                  </a:lnTo>
                  <a:lnTo>
                    <a:pt x="3307" y="0"/>
                  </a:lnTo>
                  <a:lnTo>
                    <a:pt x="3256" y="0"/>
                  </a:lnTo>
                  <a:lnTo>
                    <a:pt x="3177" y="79"/>
                  </a:lnTo>
                  <a:lnTo>
                    <a:pt x="3098" y="0"/>
                  </a:lnTo>
                  <a:lnTo>
                    <a:pt x="3047" y="0"/>
                  </a:lnTo>
                  <a:lnTo>
                    <a:pt x="3152" y="103"/>
                  </a:lnTo>
                  <a:lnTo>
                    <a:pt x="2965" y="289"/>
                  </a:lnTo>
                  <a:lnTo>
                    <a:pt x="2779" y="103"/>
                  </a:lnTo>
                  <a:lnTo>
                    <a:pt x="2883" y="0"/>
                  </a:lnTo>
                  <a:lnTo>
                    <a:pt x="2832" y="0"/>
                  </a:lnTo>
                  <a:lnTo>
                    <a:pt x="2753" y="79"/>
                  </a:lnTo>
                  <a:lnTo>
                    <a:pt x="2674" y="0"/>
                  </a:lnTo>
                  <a:lnTo>
                    <a:pt x="2623" y="0"/>
                  </a:lnTo>
                  <a:lnTo>
                    <a:pt x="2728" y="103"/>
                  </a:lnTo>
                  <a:lnTo>
                    <a:pt x="2543" y="289"/>
                  </a:lnTo>
                  <a:lnTo>
                    <a:pt x="2355" y="103"/>
                  </a:lnTo>
                  <a:lnTo>
                    <a:pt x="2461" y="0"/>
                  </a:lnTo>
                  <a:lnTo>
                    <a:pt x="2409" y="0"/>
                  </a:lnTo>
                  <a:lnTo>
                    <a:pt x="2331" y="79"/>
                  </a:lnTo>
                  <a:lnTo>
                    <a:pt x="2252" y="0"/>
                  </a:lnTo>
                  <a:lnTo>
                    <a:pt x="2201" y="0"/>
                  </a:lnTo>
                  <a:lnTo>
                    <a:pt x="2304" y="103"/>
                  </a:lnTo>
                  <a:lnTo>
                    <a:pt x="2119" y="289"/>
                  </a:lnTo>
                  <a:lnTo>
                    <a:pt x="1933" y="103"/>
                  </a:lnTo>
                  <a:lnTo>
                    <a:pt x="2037" y="0"/>
                  </a:lnTo>
                  <a:lnTo>
                    <a:pt x="1986" y="0"/>
                  </a:lnTo>
                  <a:lnTo>
                    <a:pt x="1907" y="79"/>
                  </a:lnTo>
                  <a:lnTo>
                    <a:pt x="1828" y="0"/>
                  </a:lnTo>
                  <a:lnTo>
                    <a:pt x="1777" y="0"/>
                  </a:lnTo>
                  <a:lnTo>
                    <a:pt x="1882" y="103"/>
                  </a:lnTo>
                  <a:lnTo>
                    <a:pt x="1695" y="289"/>
                  </a:lnTo>
                  <a:lnTo>
                    <a:pt x="1509" y="103"/>
                  </a:lnTo>
                  <a:lnTo>
                    <a:pt x="1613" y="0"/>
                  </a:lnTo>
                  <a:lnTo>
                    <a:pt x="1562" y="0"/>
                  </a:lnTo>
                  <a:lnTo>
                    <a:pt x="1483" y="79"/>
                  </a:lnTo>
                  <a:lnTo>
                    <a:pt x="1404" y="0"/>
                  </a:lnTo>
                  <a:lnTo>
                    <a:pt x="1353" y="0"/>
                  </a:lnTo>
                  <a:lnTo>
                    <a:pt x="1458" y="103"/>
                  </a:lnTo>
                  <a:lnTo>
                    <a:pt x="1272" y="289"/>
                  </a:lnTo>
                  <a:lnTo>
                    <a:pt x="1085" y="103"/>
                  </a:lnTo>
                  <a:lnTo>
                    <a:pt x="1190" y="0"/>
                  </a:lnTo>
                  <a:lnTo>
                    <a:pt x="1139" y="0"/>
                  </a:lnTo>
                  <a:lnTo>
                    <a:pt x="1060" y="79"/>
                  </a:lnTo>
                  <a:lnTo>
                    <a:pt x="981" y="0"/>
                  </a:lnTo>
                  <a:lnTo>
                    <a:pt x="930" y="0"/>
                  </a:lnTo>
                  <a:lnTo>
                    <a:pt x="1034" y="103"/>
                  </a:lnTo>
                  <a:lnTo>
                    <a:pt x="848" y="289"/>
                  </a:lnTo>
                  <a:lnTo>
                    <a:pt x="663" y="103"/>
                  </a:lnTo>
                  <a:lnTo>
                    <a:pt x="766" y="0"/>
                  </a:lnTo>
                  <a:lnTo>
                    <a:pt x="715" y="0"/>
                  </a:lnTo>
                  <a:lnTo>
                    <a:pt x="636" y="79"/>
                  </a:lnTo>
                  <a:lnTo>
                    <a:pt x="557" y="0"/>
                  </a:lnTo>
                  <a:lnTo>
                    <a:pt x="506" y="0"/>
                  </a:lnTo>
                  <a:lnTo>
                    <a:pt x="610" y="103"/>
                  </a:lnTo>
                  <a:lnTo>
                    <a:pt x="424" y="289"/>
                  </a:lnTo>
                  <a:lnTo>
                    <a:pt x="239" y="103"/>
                  </a:lnTo>
                  <a:lnTo>
                    <a:pt x="342" y="0"/>
                  </a:lnTo>
                  <a:lnTo>
                    <a:pt x="291" y="0"/>
                  </a:lnTo>
                  <a:lnTo>
                    <a:pt x="212" y="79"/>
                  </a:lnTo>
                  <a:lnTo>
                    <a:pt x="133" y="0"/>
                  </a:lnTo>
                  <a:lnTo>
                    <a:pt x="82" y="0"/>
                  </a:lnTo>
                  <a:lnTo>
                    <a:pt x="187" y="103"/>
                  </a:lnTo>
                  <a:lnTo>
                    <a:pt x="0" y="289"/>
                  </a:lnTo>
                  <a:close/>
                  <a:moveTo>
                    <a:pt x="27" y="740"/>
                  </a:moveTo>
                  <a:lnTo>
                    <a:pt x="212" y="552"/>
                  </a:lnTo>
                  <a:lnTo>
                    <a:pt x="399" y="740"/>
                  </a:lnTo>
                  <a:lnTo>
                    <a:pt x="212" y="925"/>
                  </a:lnTo>
                  <a:lnTo>
                    <a:pt x="27" y="740"/>
                  </a:lnTo>
                  <a:close/>
                  <a:moveTo>
                    <a:pt x="13739" y="2223"/>
                  </a:moveTo>
                  <a:lnTo>
                    <a:pt x="13552" y="2408"/>
                  </a:lnTo>
                  <a:lnTo>
                    <a:pt x="13366" y="2223"/>
                  </a:lnTo>
                  <a:lnTo>
                    <a:pt x="13552" y="2035"/>
                  </a:lnTo>
                  <a:lnTo>
                    <a:pt x="13739" y="2223"/>
                  </a:lnTo>
                  <a:close/>
                  <a:moveTo>
                    <a:pt x="13578" y="2010"/>
                  </a:moveTo>
                  <a:lnTo>
                    <a:pt x="13764" y="1823"/>
                  </a:lnTo>
                  <a:lnTo>
                    <a:pt x="13950" y="2010"/>
                  </a:lnTo>
                  <a:lnTo>
                    <a:pt x="13764" y="2196"/>
                  </a:lnTo>
                  <a:lnTo>
                    <a:pt x="13578" y="2010"/>
                  </a:lnTo>
                  <a:close/>
                  <a:moveTo>
                    <a:pt x="13340" y="2196"/>
                  </a:moveTo>
                  <a:lnTo>
                    <a:pt x="13154" y="2010"/>
                  </a:lnTo>
                  <a:lnTo>
                    <a:pt x="13340" y="1823"/>
                  </a:lnTo>
                  <a:lnTo>
                    <a:pt x="13527" y="2010"/>
                  </a:lnTo>
                  <a:lnTo>
                    <a:pt x="13340" y="2196"/>
                  </a:lnTo>
                  <a:close/>
                  <a:moveTo>
                    <a:pt x="13315" y="2223"/>
                  </a:moveTo>
                  <a:lnTo>
                    <a:pt x="13130" y="2408"/>
                  </a:lnTo>
                  <a:lnTo>
                    <a:pt x="12942" y="2223"/>
                  </a:lnTo>
                  <a:lnTo>
                    <a:pt x="13130" y="2035"/>
                  </a:lnTo>
                  <a:lnTo>
                    <a:pt x="13315" y="2223"/>
                  </a:lnTo>
                  <a:close/>
                  <a:moveTo>
                    <a:pt x="12918" y="2196"/>
                  </a:moveTo>
                  <a:lnTo>
                    <a:pt x="12730" y="2010"/>
                  </a:lnTo>
                  <a:lnTo>
                    <a:pt x="12918" y="1823"/>
                  </a:lnTo>
                  <a:lnTo>
                    <a:pt x="13103" y="2010"/>
                  </a:lnTo>
                  <a:lnTo>
                    <a:pt x="12918" y="2196"/>
                  </a:lnTo>
                  <a:close/>
                  <a:moveTo>
                    <a:pt x="12891" y="2223"/>
                  </a:moveTo>
                  <a:lnTo>
                    <a:pt x="12706" y="2408"/>
                  </a:lnTo>
                  <a:lnTo>
                    <a:pt x="12520" y="2223"/>
                  </a:lnTo>
                  <a:lnTo>
                    <a:pt x="12706" y="2035"/>
                  </a:lnTo>
                  <a:lnTo>
                    <a:pt x="12891" y="2223"/>
                  </a:lnTo>
                  <a:close/>
                  <a:moveTo>
                    <a:pt x="12494" y="2196"/>
                  </a:moveTo>
                  <a:lnTo>
                    <a:pt x="12308" y="2010"/>
                  </a:lnTo>
                  <a:lnTo>
                    <a:pt x="12494" y="1823"/>
                  </a:lnTo>
                  <a:lnTo>
                    <a:pt x="12679" y="2010"/>
                  </a:lnTo>
                  <a:lnTo>
                    <a:pt x="12494" y="2196"/>
                  </a:lnTo>
                  <a:close/>
                  <a:moveTo>
                    <a:pt x="12469" y="2223"/>
                  </a:moveTo>
                  <a:lnTo>
                    <a:pt x="12282" y="2408"/>
                  </a:lnTo>
                  <a:lnTo>
                    <a:pt x="12096" y="2223"/>
                  </a:lnTo>
                  <a:lnTo>
                    <a:pt x="12282" y="2035"/>
                  </a:lnTo>
                  <a:lnTo>
                    <a:pt x="12469" y="2223"/>
                  </a:lnTo>
                  <a:close/>
                  <a:moveTo>
                    <a:pt x="12070" y="2196"/>
                  </a:moveTo>
                  <a:lnTo>
                    <a:pt x="11884" y="2010"/>
                  </a:lnTo>
                  <a:lnTo>
                    <a:pt x="12070" y="1823"/>
                  </a:lnTo>
                  <a:lnTo>
                    <a:pt x="12257" y="2010"/>
                  </a:lnTo>
                  <a:lnTo>
                    <a:pt x="12070" y="2196"/>
                  </a:lnTo>
                  <a:close/>
                  <a:moveTo>
                    <a:pt x="12045" y="2223"/>
                  </a:moveTo>
                  <a:lnTo>
                    <a:pt x="11859" y="2408"/>
                  </a:lnTo>
                  <a:lnTo>
                    <a:pt x="11672" y="2223"/>
                  </a:lnTo>
                  <a:lnTo>
                    <a:pt x="11859" y="2035"/>
                  </a:lnTo>
                  <a:lnTo>
                    <a:pt x="12045" y="2223"/>
                  </a:lnTo>
                  <a:close/>
                  <a:moveTo>
                    <a:pt x="11647" y="2196"/>
                  </a:moveTo>
                  <a:lnTo>
                    <a:pt x="11460" y="2010"/>
                  </a:lnTo>
                  <a:lnTo>
                    <a:pt x="11647" y="1823"/>
                  </a:lnTo>
                  <a:lnTo>
                    <a:pt x="11833" y="2010"/>
                  </a:lnTo>
                  <a:lnTo>
                    <a:pt x="11647" y="2196"/>
                  </a:lnTo>
                  <a:close/>
                  <a:moveTo>
                    <a:pt x="11621" y="2223"/>
                  </a:moveTo>
                  <a:lnTo>
                    <a:pt x="11435" y="2408"/>
                  </a:lnTo>
                  <a:lnTo>
                    <a:pt x="11250" y="2223"/>
                  </a:lnTo>
                  <a:lnTo>
                    <a:pt x="11435" y="2035"/>
                  </a:lnTo>
                  <a:lnTo>
                    <a:pt x="11621" y="2223"/>
                  </a:lnTo>
                  <a:close/>
                  <a:moveTo>
                    <a:pt x="11223" y="2196"/>
                  </a:moveTo>
                  <a:lnTo>
                    <a:pt x="11038" y="2010"/>
                  </a:lnTo>
                  <a:lnTo>
                    <a:pt x="11223" y="1823"/>
                  </a:lnTo>
                  <a:lnTo>
                    <a:pt x="11409" y="2010"/>
                  </a:lnTo>
                  <a:lnTo>
                    <a:pt x="11223" y="2196"/>
                  </a:lnTo>
                  <a:close/>
                  <a:moveTo>
                    <a:pt x="11198" y="2223"/>
                  </a:moveTo>
                  <a:lnTo>
                    <a:pt x="11011" y="2408"/>
                  </a:lnTo>
                  <a:lnTo>
                    <a:pt x="10826" y="2223"/>
                  </a:lnTo>
                  <a:lnTo>
                    <a:pt x="11011" y="2035"/>
                  </a:lnTo>
                  <a:lnTo>
                    <a:pt x="11198" y="2223"/>
                  </a:lnTo>
                  <a:close/>
                  <a:moveTo>
                    <a:pt x="10799" y="2196"/>
                  </a:moveTo>
                  <a:lnTo>
                    <a:pt x="10614" y="2010"/>
                  </a:lnTo>
                  <a:lnTo>
                    <a:pt x="10799" y="1823"/>
                  </a:lnTo>
                  <a:lnTo>
                    <a:pt x="10986" y="2010"/>
                  </a:lnTo>
                  <a:lnTo>
                    <a:pt x="10799" y="2196"/>
                  </a:lnTo>
                  <a:close/>
                  <a:moveTo>
                    <a:pt x="10775" y="2223"/>
                  </a:moveTo>
                  <a:lnTo>
                    <a:pt x="10589" y="2408"/>
                  </a:lnTo>
                  <a:lnTo>
                    <a:pt x="10402" y="2223"/>
                  </a:lnTo>
                  <a:lnTo>
                    <a:pt x="10589" y="2035"/>
                  </a:lnTo>
                  <a:lnTo>
                    <a:pt x="10775" y="2223"/>
                  </a:lnTo>
                  <a:close/>
                  <a:moveTo>
                    <a:pt x="10377" y="2196"/>
                  </a:moveTo>
                  <a:lnTo>
                    <a:pt x="10190" y="2010"/>
                  </a:lnTo>
                  <a:lnTo>
                    <a:pt x="10377" y="1823"/>
                  </a:lnTo>
                  <a:lnTo>
                    <a:pt x="10563" y="2010"/>
                  </a:lnTo>
                  <a:lnTo>
                    <a:pt x="10377" y="2196"/>
                  </a:lnTo>
                  <a:close/>
                  <a:moveTo>
                    <a:pt x="10351" y="2223"/>
                  </a:moveTo>
                  <a:lnTo>
                    <a:pt x="10165" y="2408"/>
                  </a:lnTo>
                  <a:lnTo>
                    <a:pt x="9979" y="2223"/>
                  </a:lnTo>
                  <a:lnTo>
                    <a:pt x="10165" y="2035"/>
                  </a:lnTo>
                  <a:lnTo>
                    <a:pt x="10351" y="2223"/>
                  </a:lnTo>
                  <a:close/>
                  <a:moveTo>
                    <a:pt x="9953" y="2196"/>
                  </a:moveTo>
                  <a:lnTo>
                    <a:pt x="9767" y="2010"/>
                  </a:lnTo>
                  <a:lnTo>
                    <a:pt x="9953" y="1823"/>
                  </a:lnTo>
                  <a:lnTo>
                    <a:pt x="10139" y="2010"/>
                  </a:lnTo>
                  <a:lnTo>
                    <a:pt x="9953" y="2196"/>
                  </a:lnTo>
                  <a:close/>
                  <a:moveTo>
                    <a:pt x="9927" y="2223"/>
                  </a:moveTo>
                  <a:lnTo>
                    <a:pt x="9741" y="2408"/>
                  </a:lnTo>
                  <a:lnTo>
                    <a:pt x="9555" y="2223"/>
                  </a:lnTo>
                  <a:lnTo>
                    <a:pt x="9741" y="2035"/>
                  </a:lnTo>
                  <a:lnTo>
                    <a:pt x="9927" y="2223"/>
                  </a:lnTo>
                  <a:close/>
                  <a:moveTo>
                    <a:pt x="9529" y="2196"/>
                  </a:moveTo>
                  <a:lnTo>
                    <a:pt x="9343" y="2010"/>
                  </a:lnTo>
                  <a:lnTo>
                    <a:pt x="9529" y="1823"/>
                  </a:lnTo>
                  <a:lnTo>
                    <a:pt x="9716" y="2010"/>
                  </a:lnTo>
                  <a:lnTo>
                    <a:pt x="9529" y="2196"/>
                  </a:lnTo>
                  <a:close/>
                  <a:moveTo>
                    <a:pt x="9504" y="2223"/>
                  </a:moveTo>
                  <a:lnTo>
                    <a:pt x="9317" y="2408"/>
                  </a:lnTo>
                  <a:lnTo>
                    <a:pt x="9131" y="2223"/>
                  </a:lnTo>
                  <a:lnTo>
                    <a:pt x="9317" y="2035"/>
                  </a:lnTo>
                  <a:lnTo>
                    <a:pt x="9504" y="2223"/>
                  </a:lnTo>
                  <a:close/>
                  <a:moveTo>
                    <a:pt x="9106" y="2196"/>
                  </a:moveTo>
                  <a:lnTo>
                    <a:pt x="8919" y="2010"/>
                  </a:lnTo>
                  <a:lnTo>
                    <a:pt x="9106" y="1823"/>
                  </a:lnTo>
                  <a:lnTo>
                    <a:pt x="9292" y="2010"/>
                  </a:lnTo>
                  <a:lnTo>
                    <a:pt x="9106" y="2196"/>
                  </a:lnTo>
                  <a:close/>
                  <a:moveTo>
                    <a:pt x="9080" y="2223"/>
                  </a:moveTo>
                  <a:lnTo>
                    <a:pt x="8894" y="2408"/>
                  </a:lnTo>
                  <a:lnTo>
                    <a:pt x="8707" y="2223"/>
                  </a:lnTo>
                  <a:lnTo>
                    <a:pt x="8894" y="2035"/>
                  </a:lnTo>
                  <a:lnTo>
                    <a:pt x="9080" y="2223"/>
                  </a:lnTo>
                  <a:close/>
                  <a:moveTo>
                    <a:pt x="8682" y="2196"/>
                  </a:moveTo>
                  <a:lnTo>
                    <a:pt x="8497" y="2010"/>
                  </a:lnTo>
                  <a:lnTo>
                    <a:pt x="8682" y="1823"/>
                  </a:lnTo>
                  <a:lnTo>
                    <a:pt x="8868" y="2010"/>
                  </a:lnTo>
                  <a:lnTo>
                    <a:pt x="8682" y="2196"/>
                  </a:lnTo>
                  <a:close/>
                  <a:moveTo>
                    <a:pt x="8656" y="2223"/>
                  </a:moveTo>
                  <a:lnTo>
                    <a:pt x="8470" y="2408"/>
                  </a:lnTo>
                  <a:lnTo>
                    <a:pt x="8285" y="2223"/>
                  </a:lnTo>
                  <a:lnTo>
                    <a:pt x="8470" y="2035"/>
                  </a:lnTo>
                  <a:lnTo>
                    <a:pt x="8656" y="2223"/>
                  </a:lnTo>
                  <a:close/>
                  <a:moveTo>
                    <a:pt x="8259" y="2196"/>
                  </a:moveTo>
                  <a:lnTo>
                    <a:pt x="8073" y="2010"/>
                  </a:lnTo>
                  <a:lnTo>
                    <a:pt x="8259" y="1823"/>
                  </a:lnTo>
                  <a:lnTo>
                    <a:pt x="8446" y="2010"/>
                  </a:lnTo>
                  <a:lnTo>
                    <a:pt x="8259" y="2196"/>
                  </a:lnTo>
                  <a:close/>
                  <a:moveTo>
                    <a:pt x="8234" y="2223"/>
                  </a:moveTo>
                  <a:lnTo>
                    <a:pt x="8047" y="2408"/>
                  </a:lnTo>
                  <a:lnTo>
                    <a:pt x="7861" y="2223"/>
                  </a:lnTo>
                  <a:lnTo>
                    <a:pt x="8047" y="2035"/>
                  </a:lnTo>
                  <a:lnTo>
                    <a:pt x="8234" y="2223"/>
                  </a:lnTo>
                  <a:close/>
                  <a:moveTo>
                    <a:pt x="7836" y="2196"/>
                  </a:moveTo>
                  <a:lnTo>
                    <a:pt x="7649" y="2010"/>
                  </a:lnTo>
                  <a:lnTo>
                    <a:pt x="7836" y="1823"/>
                  </a:lnTo>
                  <a:lnTo>
                    <a:pt x="8022" y="2010"/>
                  </a:lnTo>
                  <a:lnTo>
                    <a:pt x="7836" y="2196"/>
                  </a:lnTo>
                  <a:close/>
                  <a:moveTo>
                    <a:pt x="7810" y="2223"/>
                  </a:moveTo>
                  <a:lnTo>
                    <a:pt x="7624" y="2408"/>
                  </a:lnTo>
                  <a:lnTo>
                    <a:pt x="7437" y="2223"/>
                  </a:lnTo>
                  <a:lnTo>
                    <a:pt x="7624" y="2035"/>
                  </a:lnTo>
                  <a:lnTo>
                    <a:pt x="7810" y="2223"/>
                  </a:lnTo>
                  <a:close/>
                  <a:moveTo>
                    <a:pt x="7412" y="2196"/>
                  </a:moveTo>
                  <a:lnTo>
                    <a:pt x="7226" y="2010"/>
                  </a:lnTo>
                  <a:lnTo>
                    <a:pt x="7412" y="1823"/>
                  </a:lnTo>
                  <a:lnTo>
                    <a:pt x="7598" y="2010"/>
                  </a:lnTo>
                  <a:lnTo>
                    <a:pt x="7412" y="2196"/>
                  </a:lnTo>
                  <a:close/>
                  <a:moveTo>
                    <a:pt x="7386" y="2223"/>
                  </a:moveTo>
                  <a:lnTo>
                    <a:pt x="7200" y="2408"/>
                  </a:lnTo>
                  <a:lnTo>
                    <a:pt x="7014" y="2223"/>
                  </a:lnTo>
                  <a:lnTo>
                    <a:pt x="7200" y="2035"/>
                  </a:lnTo>
                  <a:lnTo>
                    <a:pt x="7386" y="2223"/>
                  </a:lnTo>
                  <a:close/>
                  <a:moveTo>
                    <a:pt x="6988" y="2196"/>
                  </a:moveTo>
                  <a:lnTo>
                    <a:pt x="6802" y="2010"/>
                  </a:lnTo>
                  <a:lnTo>
                    <a:pt x="6988" y="1823"/>
                  </a:lnTo>
                  <a:lnTo>
                    <a:pt x="7175" y="2010"/>
                  </a:lnTo>
                  <a:lnTo>
                    <a:pt x="6988" y="2196"/>
                  </a:lnTo>
                  <a:close/>
                  <a:moveTo>
                    <a:pt x="6963" y="2223"/>
                  </a:moveTo>
                  <a:lnTo>
                    <a:pt x="6776" y="2408"/>
                  </a:lnTo>
                  <a:lnTo>
                    <a:pt x="6590" y="2223"/>
                  </a:lnTo>
                  <a:lnTo>
                    <a:pt x="6776" y="2035"/>
                  </a:lnTo>
                  <a:lnTo>
                    <a:pt x="6963" y="2223"/>
                  </a:lnTo>
                  <a:close/>
                  <a:moveTo>
                    <a:pt x="6566" y="2196"/>
                  </a:moveTo>
                  <a:lnTo>
                    <a:pt x="6378" y="2010"/>
                  </a:lnTo>
                  <a:lnTo>
                    <a:pt x="6566" y="1823"/>
                  </a:lnTo>
                  <a:lnTo>
                    <a:pt x="6751" y="2010"/>
                  </a:lnTo>
                  <a:lnTo>
                    <a:pt x="6566" y="2196"/>
                  </a:lnTo>
                  <a:close/>
                  <a:moveTo>
                    <a:pt x="6539" y="2223"/>
                  </a:moveTo>
                  <a:lnTo>
                    <a:pt x="6354" y="2408"/>
                  </a:lnTo>
                  <a:lnTo>
                    <a:pt x="6166" y="2223"/>
                  </a:lnTo>
                  <a:lnTo>
                    <a:pt x="6354" y="2035"/>
                  </a:lnTo>
                  <a:lnTo>
                    <a:pt x="6539" y="2223"/>
                  </a:lnTo>
                  <a:close/>
                  <a:moveTo>
                    <a:pt x="6142" y="2196"/>
                  </a:moveTo>
                  <a:lnTo>
                    <a:pt x="5956" y="2010"/>
                  </a:lnTo>
                  <a:lnTo>
                    <a:pt x="6142" y="1823"/>
                  </a:lnTo>
                  <a:lnTo>
                    <a:pt x="6327" y="2010"/>
                  </a:lnTo>
                  <a:lnTo>
                    <a:pt x="6142" y="2196"/>
                  </a:lnTo>
                  <a:close/>
                  <a:moveTo>
                    <a:pt x="6115" y="2223"/>
                  </a:moveTo>
                  <a:lnTo>
                    <a:pt x="5930" y="2408"/>
                  </a:lnTo>
                  <a:lnTo>
                    <a:pt x="5744" y="2223"/>
                  </a:lnTo>
                  <a:lnTo>
                    <a:pt x="5930" y="2035"/>
                  </a:lnTo>
                  <a:lnTo>
                    <a:pt x="6115" y="2223"/>
                  </a:lnTo>
                  <a:close/>
                  <a:moveTo>
                    <a:pt x="5718" y="2196"/>
                  </a:moveTo>
                  <a:lnTo>
                    <a:pt x="5532" y="2010"/>
                  </a:lnTo>
                  <a:lnTo>
                    <a:pt x="5718" y="1823"/>
                  </a:lnTo>
                  <a:lnTo>
                    <a:pt x="5903" y="2010"/>
                  </a:lnTo>
                  <a:lnTo>
                    <a:pt x="5718" y="2196"/>
                  </a:lnTo>
                  <a:close/>
                  <a:moveTo>
                    <a:pt x="5693" y="2223"/>
                  </a:moveTo>
                  <a:lnTo>
                    <a:pt x="5506" y="2408"/>
                  </a:lnTo>
                  <a:lnTo>
                    <a:pt x="5320" y="2223"/>
                  </a:lnTo>
                  <a:lnTo>
                    <a:pt x="5506" y="2035"/>
                  </a:lnTo>
                  <a:lnTo>
                    <a:pt x="5693" y="2223"/>
                  </a:lnTo>
                  <a:close/>
                  <a:moveTo>
                    <a:pt x="5294" y="2196"/>
                  </a:moveTo>
                  <a:lnTo>
                    <a:pt x="5108" y="2010"/>
                  </a:lnTo>
                  <a:lnTo>
                    <a:pt x="5294" y="1823"/>
                  </a:lnTo>
                  <a:lnTo>
                    <a:pt x="5481" y="2010"/>
                  </a:lnTo>
                  <a:lnTo>
                    <a:pt x="5294" y="2196"/>
                  </a:lnTo>
                  <a:close/>
                  <a:moveTo>
                    <a:pt x="5269" y="2223"/>
                  </a:moveTo>
                  <a:lnTo>
                    <a:pt x="5083" y="2408"/>
                  </a:lnTo>
                  <a:lnTo>
                    <a:pt x="4896" y="2223"/>
                  </a:lnTo>
                  <a:lnTo>
                    <a:pt x="5083" y="2035"/>
                  </a:lnTo>
                  <a:lnTo>
                    <a:pt x="5269" y="2223"/>
                  </a:lnTo>
                  <a:close/>
                  <a:moveTo>
                    <a:pt x="4871" y="2196"/>
                  </a:moveTo>
                  <a:lnTo>
                    <a:pt x="4684" y="2010"/>
                  </a:lnTo>
                  <a:lnTo>
                    <a:pt x="4871" y="1823"/>
                  </a:lnTo>
                  <a:lnTo>
                    <a:pt x="5057" y="2010"/>
                  </a:lnTo>
                  <a:lnTo>
                    <a:pt x="4871" y="2196"/>
                  </a:lnTo>
                  <a:close/>
                  <a:moveTo>
                    <a:pt x="4845" y="2223"/>
                  </a:moveTo>
                  <a:lnTo>
                    <a:pt x="4659" y="2408"/>
                  </a:lnTo>
                  <a:lnTo>
                    <a:pt x="4474" y="2223"/>
                  </a:lnTo>
                  <a:lnTo>
                    <a:pt x="4659" y="2035"/>
                  </a:lnTo>
                  <a:lnTo>
                    <a:pt x="4845" y="2223"/>
                  </a:lnTo>
                  <a:close/>
                  <a:moveTo>
                    <a:pt x="4447" y="2196"/>
                  </a:moveTo>
                  <a:lnTo>
                    <a:pt x="4262" y="2010"/>
                  </a:lnTo>
                  <a:lnTo>
                    <a:pt x="4447" y="1823"/>
                  </a:lnTo>
                  <a:lnTo>
                    <a:pt x="4633" y="2010"/>
                  </a:lnTo>
                  <a:lnTo>
                    <a:pt x="4447" y="2196"/>
                  </a:lnTo>
                  <a:close/>
                  <a:moveTo>
                    <a:pt x="4423" y="2223"/>
                  </a:moveTo>
                  <a:lnTo>
                    <a:pt x="4235" y="2408"/>
                  </a:lnTo>
                  <a:lnTo>
                    <a:pt x="4050" y="2223"/>
                  </a:lnTo>
                  <a:lnTo>
                    <a:pt x="4235" y="2035"/>
                  </a:lnTo>
                  <a:lnTo>
                    <a:pt x="4423" y="2223"/>
                  </a:lnTo>
                  <a:close/>
                  <a:moveTo>
                    <a:pt x="4023" y="2196"/>
                  </a:moveTo>
                  <a:lnTo>
                    <a:pt x="3838" y="2010"/>
                  </a:lnTo>
                  <a:lnTo>
                    <a:pt x="4023" y="1823"/>
                  </a:lnTo>
                  <a:lnTo>
                    <a:pt x="4211" y="2010"/>
                  </a:lnTo>
                  <a:lnTo>
                    <a:pt x="4023" y="2196"/>
                  </a:lnTo>
                  <a:close/>
                  <a:moveTo>
                    <a:pt x="3999" y="2223"/>
                  </a:moveTo>
                  <a:lnTo>
                    <a:pt x="3813" y="2408"/>
                  </a:lnTo>
                  <a:lnTo>
                    <a:pt x="3626" y="2223"/>
                  </a:lnTo>
                  <a:lnTo>
                    <a:pt x="3813" y="2035"/>
                  </a:lnTo>
                  <a:lnTo>
                    <a:pt x="3999" y="2223"/>
                  </a:lnTo>
                  <a:close/>
                  <a:moveTo>
                    <a:pt x="3601" y="2196"/>
                  </a:moveTo>
                  <a:lnTo>
                    <a:pt x="3414" y="2010"/>
                  </a:lnTo>
                  <a:lnTo>
                    <a:pt x="3601" y="1823"/>
                  </a:lnTo>
                  <a:lnTo>
                    <a:pt x="3787" y="2010"/>
                  </a:lnTo>
                  <a:lnTo>
                    <a:pt x="3601" y="2196"/>
                  </a:lnTo>
                  <a:close/>
                  <a:moveTo>
                    <a:pt x="3575" y="2223"/>
                  </a:moveTo>
                  <a:lnTo>
                    <a:pt x="3389" y="2408"/>
                  </a:lnTo>
                  <a:lnTo>
                    <a:pt x="3203" y="2223"/>
                  </a:lnTo>
                  <a:lnTo>
                    <a:pt x="3389" y="2035"/>
                  </a:lnTo>
                  <a:lnTo>
                    <a:pt x="3575" y="2223"/>
                  </a:lnTo>
                  <a:close/>
                  <a:moveTo>
                    <a:pt x="3177" y="2196"/>
                  </a:moveTo>
                  <a:lnTo>
                    <a:pt x="2991" y="2010"/>
                  </a:lnTo>
                  <a:lnTo>
                    <a:pt x="3177" y="1823"/>
                  </a:lnTo>
                  <a:lnTo>
                    <a:pt x="3363" y="2010"/>
                  </a:lnTo>
                  <a:lnTo>
                    <a:pt x="3177" y="2196"/>
                  </a:lnTo>
                  <a:close/>
                  <a:moveTo>
                    <a:pt x="3152" y="2223"/>
                  </a:moveTo>
                  <a:lnTo>
                    <a:pt x="2965" y="2408"/>
                  </a:lnTo>
                  <a:lnTo>
                    <a:pt x="2779" y="2223"/>
                  </a:lnTo>
                  <a:lnTo>
                    <a:pt x="2965" y="2035"/>
                  </a:lnTo>
                  <a:lnTo>
                    <a:pt x="3152" y="2223"/>
                  </a:lnTo>
                  <a:close/>
                  <a:moveTo>
                    <a:pt x="2753" y="2196"/>
                  </a:moveTo>
                  <a:lnTo>
                    <a:pt x="2567" y="2010"/>
                  </a:lnTo>
                  <a:lnTo>
                    <a:pt x="2753" y="1823"/>
                  </a:lnTo>
                  <a:lnTo>
                    <a:pt x="2940" y="2010"/>
                  </a:lnTo>
                  <a:lnTo>
                    <a:pt x="2753" y="2196"/>
                  </a:lnTo>
                  <a:close/>
                  <a:moveTo>
                    <a:pt x="2728" y="2223"/>
                  </a:moveTo>
                  <a:lnTo>
                    <a:pt x="2543" y="2408"/>
                  </a:lnTo>
                  <a:lnTo>
                    <a:pt x="2355" y="2223"/>
                  </a:lnTo>
                  <a:lnTo>
                    <a:pt x="2543" y="2035"/>
                  </a:lnTo>
                  <a:lnTo>
                    <a:pt x="2728" y="2223"/>
                  </a:lnTo>
                  <a:close/>
                  <a:moveTo>
                    <a:pt x="2331" y="2196"/>
                  </a:moveTo>
                  <a:lnTo>
                    <a:pt x="2143" y="2010"/>
                  </a:lnTo>
                  <a:lnTo>
                    <a:pt x="2331" y="1823"/>
                  </a:lnTo>
                  <a:lnTo>
                    <a:pt x="2516" y="2010"/>
                  </a:lnTo>
                  <a:lnTo>
                    <a:pt x="2331" y="2196"/>
                  </a:lnTo>
                  <a:close/>
                  <a:moveTo>
                    <a:pt x="2304" y="2223"/>
                  </a:moveTo>
                  <a:lnTo>
                    <a:pt x="2119" y="2408"/>
                  </a:lnTo>
                  <a:lnTo>
                    <a:pt x="1933" y="2223"/>
                  </a:lnTo>
                  <a:lnTo>
                    <a:pt x="2119" y="2035"/>
                  </a:lnTo>
                  <a:lnTo>
                    <a:pt x="2304" y="2223"/>
                  </a:lnTo>
                  <a:close/>
                  <a:moveTo>
                    <a:pt x="1907" y="2196"/>
                  </a:moveTo>
                  <a:lnTo>
                    <a:pt x="1721" y="2010"/>
                  </a:lnTo>
                  <a:lnTo>
                    <a:pt x="1907" y="1823"/>
                  </a:lnTo>
                  <a:lnTo>
                    <a:pt x="2092" y="2010"/>
                  </a:lnTo>
                  <a:lnTo>
                    <a:pt x="1907" y="2196"/>
                  </a:lnTo>
                  <a:close/>
                  <a:moveTo>
                    <a:pt x="1882" y="2223"/>
                  </a:moveTo>
                  <a:lnTo>
                    <a:pt x="1695" y="2408"/>
                  </a:lnTo>
                  <a:lnTo>
                    <a:pt x="1509" y="2223"/>
                  </a:lnTo>
                  <a:lnTo>
                    <a:pt x="1695" y="2035"/>
                  </a:lnTo>
                  <a:lnTo>
                    <a:pt x="1882" y="2223"/>
                  </a:lnTo>
                  <a:close/>
                  <a:moveTo>
                    <a:pt x="1483" y="2196"/>
                  </a:moveTo>
                  <a:lnTo>
                    <a:pt x="1297" y="2010"/>
                  </a:lnTo>
                  <a:lnTo>
                    <a:pt x="1483" y="1823"/>
                  </a:lnTo>
                  <a:lnTo>
                    <a:pt x="1670" y="2010"/>
                  </a:lnTo>
                  <a:lnTo>
                    <a:pt x="1483" y="2196"/>
                  </a:lnTo>
                  <a:close/>
                  <a:moveTo>
                    <a:pt x="1458" y="2223"/>
                  </a:moveTo>
                  <a:lnTo>
                    <a:pt x="1272" y="2408"/>
                  </a:lnTo>
                  <a:lnTo>
                    <a:pt x="1085" y="2223"/>
                  </a:lnTo>
                  <a:lnTo>
                    <a:pt x="1272" y="2035"/>
                  </a:lnTo>
                  <a:lnTo>
                    <a:pt x="1458" y="2223"/>
                  </a:lnTo>
                  <a:close/>
                  <a:moveTo>
                    <a:pt x="1060" y="2196"/>
                  </a:moveTo>
                  <a:lnTo>
                    <a:pt x="873" y="2010"/>
                  </a:lnTo>
                  <a:lnTo>
                    <a:pt x="1060" y="1823"/>
                  </a:lnTo>
                  <a:lnTo>
                    <a:pt x="1246" y="2010"/>
                  </a:lnTo>
                  <a:lnTo>
                    <a:pt x="1060" y="2196"/>
                  </a:lnTo>
                  <a:close/>
                  <a:moveTo>
                    <a:pt x="1034" y="2223"/>
                  </a:moveTo>
                  <a:lnTo>
                    <a:pt x="848" y="2408"/>
                  </a:lnTo>
                  <a:lnTo>
                    <a:pt x="663" y="2223"/>
                  </a:lnTo>
                  <a:lnTo>
                    <a:pt x="848" y="2035"/>
                  </a:lnTo>
                  <a:lnTo>
                    <a:pt x="1034" y="2223"/>
                  </a:lnTo>
                  <a:close/>
                  <a:moveTo>
                    <a:pt x="1034" y="2645"/>
                  </a:moveTo>
                  <a:lnTo>
                    <a:pt x="848" y="2832"/>
                  </a:lnTo>
                  <a:lnTo>
                    <a:pt x="663" y="2645"/>
                  </a:lnTo>
                  <a:lnTo>
                    <a:pt x="848" y="2459"/>
                  </a:lnTo>
                  <a:lnTo>
                    <a:pt x="1034" y="2645"/>
                  </a:lnTo>
                  <a:close/>
                  <a:moveTo>
                    <a:pt x="873" y="2433"/>
                  </a:moveTo>
                  <a:lnTo>
                    <a:pt x="1060" y="2247"/>
                  </a:lnTo>
                  <a:lnTo>
                    <a:pt x="1246" y="2433"/>
                  </a:lnTo>
                  <a:lnTo>
                    <a:pt x="1060" y="2620"/>
                  </a:lnTo>
                  <a:lnTo>
                    <a:pt x="873" y="2433"/>
                  </a:lnTo>
                  <a:close/>
                  <a:moveTo>
                    <a:pt x="1272" y="2459"/>
                  </a:moveTo>
                  <a:lnTo>
                    <a:pt x="1458" y="2645"/>
                  </a:lnTo>
                  <a:lnTo>
                    <a:pt x="1272" y="2832"/>
                  </a:lnTo>
                  <a:lnTo>
                    <a:pt x="1085" y="2645"/>
                  </a:lnTo>
                  <a:lnTo>
                    <a:pt x="1272" y="2459"/>
                  </a:lnTo>
                  <a:close/>
                  <a:moveTo>
                    <a:pt x="1297" y="2433"/>
                  </a:moveTo>
                  <a:lnTo>
                    <a:pt x="1483" y="2247"/>
                  </a:lnTo>
                  <a:lnTo>
                    <a:pt x="1670" y="2433"/>
                  </a:lnTo>
                  <a:lnTo>
                    <a:pt x="1483" y="2620"/>
                  </a:lnTo>
                  <a:lnTo>
                    <a:pt x="1297" y="2433"/>
                  </a:lnTo>
                  <a:close/>
                  <a:moveTo>
                    <a:pt x="1695" y="2459"/>
                  </a:moveTo>
                  <a:lnTo>
                    <a:pt x="1882" y="2645"/>
                  </a:lnTo>
                  <a:lnTo>
                    <a:pt x="1695" y="2832"/>
                  </a:lnTo>
                  <a:lnTo>
                    <a:pt x="1509" y="2645"/>
                  </a:lnTo>
                  <a:lnTo>
                    <a:pt x="1695" y="2459"/>
                  </a:lnTo>
                  <a:close/>
                  <a:moveTo>
                    <a:pt x="1721" y="2433"/>
                  </a:moveTo>
                  <a:lnTo>
                    <a:pt x="1907" y="2247"/>
                  </a:lnTo>
                  <a:lnTo>
                    <a:pt x="2092" y="2433"/>
                  </a:lnTo>
                  <a:lnTo>
                    <a:pt x="1907" y="2620"/>
                  </a:lnTo>
                  <a:lnTo>
                    <a:pt x="1721" y="2433"/>
                  </a:lnTo>
                  <a:close/>
                  <a:moveTo>
                    <a:pt x="2119" y="2459"/>
                  </a:moveTo>
                  <a:lnTo>
                    <a:pt x="2304" y="2645"/>
                  </a:lnTo>
                  <a:lnTo>
                    <a:pt x="2119" y="2832"/>
                  </a:lnTo>
                  <a:lnTo>
                    <a:pt x="1933" y="2645"/>
                  </a:lnTo>
                  <a:lnTo>
                    <a:pt x="2119" y="2459"/>
                  </a:lnTo>
                  <a:close/>
                  <a:moveTo>
                    <a:pt x="2143" y="2433"/>
                  </a:moveTo>
                  <a:lnTo>
                    <a:pt x="2331" y="2247"/>
                  </a:lnTo>
                  <a:lnTo>
                    <a:pt x="2516" y="2433"/>
                  </a:lnTo>
                  <a:lnTo>
                    <a:pt x="2331" y="2620"/>
                  </a:lnTo>
                  <a:lnTo>
                    <a:pt x="2143" y="2433"/>
                  </a:lnTo>
                  <a:close/>
                  <a:moveTo>
                    <a:pt x="2543" y="2459"/>
                  </a:moveTo>
                  <a:lnTo>
                    <a:pt x="2728" y="2645"/>
                  </a:lnTo>
                  <a:lnTo>
                    <a:pt x="2543" y="2832"/>
                  </a:lnTo>
                  <a:lnTo>
                    <a:pt x="2355" y="2645"/>
                  </a:lnTo>
                  <a:lnTo>
                    <a:pt x="2543" y="2459"/>
                  </a:lnTo>
                  <a:close/>
                  <a:moveTo>
                    <a:pt x="2567" y="2433"/>
                  </a:moveTo>
                  <a:lnTo>
                    <a:pt x="2753" y="2247"/>
                  </a:lnTo>
                  <a:lnTo>
                    <a:pt x="2940" y="2433"/>
                  </a:lnTo>
                  <a:lnTo>
                    <a:pt x="2753" y="2620"/>
                  </a:lnTo>
                  <a:lnTo>
                    <a:pt x="2567" y="2433"/>
                  </a:lnTo>
                  <a:close/>
                  <a:moveTo>
                    <a:pt x="2965" y="2459"/>
                  </a:moveTo>
                  <a:lnTo>
                    <a:pt x="3152" y="2645"/>
                  </a:lnTo>
                  <a:lnTo>
                    <a:pt x="2965" y="2832"/>
                  </a:lnTo>
                  <a:lnTo>
                    <a:pt x="2779" y="2645"/>
                  </a:lnTo>
                  <a:lnTo>
                    <a:pt x="2965" y="2459"/>
                  </a:lnTo>
                  <a:close/>
                  <a:moveTo>
                    <a:pt x="2991" y="2433"/>
                  </a:moveTo>
                  <a:lnTo>
                    <a:pt x="3177" y="2247"/>
                  </a:lnTo>
                  <a:lnTo>
                    <a:pt x="3363" y="2433"/>
                  </a:lnTo>
                  <a:lnTo>
                    <a:pt x="3177" y="2620"/>
                  </a:lnTo>
                  <a:lnTo>
                    <a:pt x="2991" y="2433"/>
                  </a:lnTo>
                  <a:close/>
                  <a:moveTo>
                    <a:pt x="3389" y="2459"/>
                  </a:moveTo>
                  <a:lnTo>
                    <a:pt x="3575" y="2645"/>
                  </a:lnTo>
                  <a:lnTo>
                    <a:pt x="3389" y="2832"/>
                  </a:lnTo>
                  <a:lnTo>
                    <a:pt x="3203" y="2645"/>
                  </a:lnTo>
                  <a:lnTo>
                    <a:pt x="3389" y="2459"/>
                  </a:lnTo>
                  <a:close/>
                  <a:moveTo>
                    <a:pt x="3414" y="2433"/>
                  </a:moveTo>
                  <a:lnTo>
                    <a:pt x="3601" y="2247"/>
                  </a:lnTo>
                  <a:lnTo>
                    <a:pt x="3787" y="2433"/>
                  </a:lnTo>
                  <a:lnTo>
                    <a:pt x="3601" y="2620"/>
                  </a:lnTo>
                  <a:lnTo>
                    <a:pt x="3414" y="2433"/>
                  </a:lnTo>
                  <a:close/>
                  <a:moveTo>
                    <a:pt x="3813" y="2459"/>
                  </a:moveTo>
                  <a:lnTo>
                    <a:pt x="3999" y="2645"/>
                  </a:lnTo>
                  <a:lnTo>
                    <a:pt x="3813" y="2832"/>
                  </a:lnTo>
                  <a:lnTo>
                    <a:pt x="3626" y="2645"/>
                  </a:lnTo>
                  <a:lnTo>
                    <a:pt x="3813" y="2459"/>
                  </a:lnTo>
                  <a:close/>
                  <a:moveTo>
                    <a:pt x="3838" y="2433"/>
                  </a:moveTo>
                  <a:lnTo>
                    <a:pt x="4023" y="2247"/>
                  </a:lnTo>
                  <a:lnTo>
                    <a:pt x="4211" y="2433"/>
                  </a:lnTo>
                  <a:lnTo>
                    <a:pt x="4023" y="2620"/>
                  </a:lnTo>
                  <a:lnTo>
                    <a:pt x="3838" y="2433"/>
                  </a:lnTo>
                  <a:close/>
                  <a:moveTo>
                    <a:pt x="4235" y="2459"/>
                  </a:moveTo>
                  <a:lnTo>
                    <a:pt x="4423" y="2645"/>
                  </a:lnTo>
                  <a:lnTo>
                    <a:pt x="4235" y="2832"/>
                  </a:lnTo>
                  <a:lnTo>
                    <a:pt x="4050" y="2645"/>
                  </a:lnTo>
                  <a:lnTo>
                    <a:pt x="4235" y="2459"/>
                  </a:lnTo>
                  <a:close/>
                  <a:moveTo>
                    <a:pt x="4262" y="2433"/>
                  </a:moveTo>
                  <a:lnTo>
                    <a:pt x="4447" y="2247"/>
                  </a:lnTo>
                  <a:lnTo>
                    <a:pt x="4633" y="2433"/>
                  </a:lnTo>
                  <a:lnTo>
                    <a:pt x="4447" y="2620"/>
                  </a:lnTo>
                  <a:lnTo>
                    <a:pt x="4262" y="2433"/>
                  </a:lnTo>
                  <a:close/>
                  <a:moveTo>
                    <a:pt x="4659" y="2459"/>
                  </a:moveTo>
                  <a:lnTo>
                    <a:pt x="4845" y="2645"/>
                  </a:lnTo>
                  <a:lnTo>
                    <a:pt x="4659" y="2832"/>
                  </a:lnTo>
                  <a:lnTo>
                    <a:pt x="4474" y="2645"/>
                  </a:lnTo>
                  <a:lnTo>
                    <a:pt x="4659" y="2459"/>
                  </a:lnTo>
                  <a:close/>
                  <a:moveTo>
                    <a:pt x="4684" y="2433"/>
                  </a:moveTo>
                  <a:lnTo>
                    <a:pt x="4871" y="2247"/>
                  </a:lnTo>
                  <a:lnTo>
                    <a:pt x="5057" y="2433"/>
                  </a:lnTo>
                  <a:lnTo>
                    <a:pt x="4871" y="2620"/>
                  </a:lnTo>
                  <a:lnTo>
                    <a:pt x="4684" y="2433"/>
                  </a:lnTo>
                  <a:close/>
                  <a:moveTo>
                    <a:pt x="5083" y="2459"/>
                  </a:moveTo>
                  <a:lnTo>
                    <a:pt x="5269" y="2645"/>
                  </a:lnTo>
                  <a:lnTo>
                    <a:pt x="5083" y="2832"/>
                  </a:lnTo>
                  <a:lnTo>
                    <a:pt x="4896" y="2645"/>
                  </a:lnTo>
                  <a:lnTo>
                    <a:pt x="5083" y="2459"/>
                  </a:lnTo>
                  <a:close/>
                  <a:moveTo>
                    <a:pt x="5108" y="2433"/>
                  </a:moveTo>
                  <a:lnTo>
                    <a:pt x="5294" y="2247"/>
                  </a:lnTo>
                  <a:lnTo>
                    <a:pt x="5481" y="2433"/>
                  </a:lnTo>
                  <a:lnTo>
                    <a:pt x="5294" y="2620"/>
                  </a:lnTo>
                  <a:lnTo>
                    <a:pt x="5108" y="2433"/>
                  </a:lnTo>
                  <a:close/>
                  <a:moveTo>
                    <a:pt x="5506" y="2459"/>
                  </a:moveTo>
                  <a:lnTo>
                    <a:pt x="5693" y="2645"/>
                  </a:lnTo>
                  <a:lnTo>
                    <a:pt x="5506" y="2832"/>
                  </a:lnTo>
                  <a:lnTo>
                    <a:pt x="5320" y="2645"/>
                  </a:lnTo>
                  <a:lnTo>
                    <a:pt x="5506" y="2459"/>
                  </a:lnTo>
                  <a:close/>
                  <a:moveTo>
                    <a:pt x="5532" y="2433"/>
                  </a:moveTo>
                  <a:lnTo>
                    <a:pt x="5718" y="2247"/>
                  </a:lnTo>
                  <a:lnTo>
                    <a:pt x="5903" y="2433"/>
                  </a:lnTo>
                  <a:lnTo>
                    <a:pt x="5718" y="2620"/>
                  </a:lnTo>
                  <a:lnTo>
                    <a:pt x="5532" y="2433"/>
                  </a:lnTo>
                  <a:close/>
                  <a:moveTo>
                    <a:pt x="5930" y="2459"/>
                  </a:moveTo>
                  <a:lnTo>
                    <a:pt x="6115" y="2645"/>
                  </a:lnTo>
                  <a:lnTo>
                    <a:pt x="5930" y="2832"/>
                  </a:lnTo>
                  <a:lnTo>
                    <a:pt x="5744" y="2645"/>
                  </a:lnTo>
                  <a:lnTo>
                    <a:pt x="5930" y="2459"/>
                  </a:lnTo>
                  <a:close/>
                  <a:moveTo>
                    <a:pt x="5956" y="2433"/>
                  </a:moveTo>
                  <a:lnTo>
                    <a:pt x="6142" y="2247"/>
                  </a:lnTo>
                  <a:lnTo>
                    <a:pt x="6327" y="2433"/>
                  </a:lnTo>
                  <a:lnTo>
                    <a:pt x="6142" y="2620"/>
                  </a:lnTo>
                  <a:lnTo>
                    <a:pt x="5956" y="2433"/>
                  </a:lnTo>
                  <a:close/>
                  <a:moveTo>
                    <a:pt x="6354" y="2459"/>
                  </a:moveTo>
                  <a:lnTo>
                    <a:pt x="6539" y="2645"/>
                  </a:lnTo>
                  <a:lnTo>
                    <a:pt x="6354" y="2832"/>
                  </a:lnTo>
                  <a:lnTo>
                    <a:pt x="6166" y="2645"/>
                  </a:lnTo>
                  <a:lnTo>
                    <a:pt x="6354" y="2459"/>
                  </a:lnTo>
                  <a:close/>
                  <a:moveTo>
                    <a:pt x="6378" y="2433"/>
                  </a:moveTo>
                  <a:lnTo>
                    <a:pt x="6566" y="2247"/>
                  </a:lnTo>
                  <a:lnTo>
                    <a:pt x="6751" y="2433"/>
                  </a:lnTo>
                  <a:lnTo>
                    <a:pt x="6566" y="2620"/>
                  </a:lnTo>
                  <a:lnTo>
                    <a:pt x="6378" y="2433"/>
                  </a:lnTo>
                  <a:close/>
                  <a:moveTo>
                    <a:pt x="6776" y="2459"/>
                  </a:moveTo>
                  <a:lnTo>
                    <a:pt x="6963" y="2645"/>
                  </a:lnTo>
                  <a:lnTo>
                    <a:pt x="6776" y="2832"/>
                  </a:lnTo>
                  <a:lnTo>
                    <a:pt x="6590" y="2645"/>
                  </a:lnTo>
                  <a:lnTo>
                    <a:pt x="6776" y="2459"/>
                  </a:lnTo>
                  <a:close/>
                  <a:moveTo>
                    <a:pt x="6802" y="2433"/>
                  </a:moveTo>
                  <a:lnTo>
                    <a:pt x="6988" y="2247"/>
                  </a:lnTo>
                  <a:lnTo>
                    <a:pt x="7175" y="2433"/>
                  </a:lnTo>
                  <a:lnTo>
                    <a:pt x="6988" y="2620"/>
                  </a:lnTo>
                  <a:lnTo>
                    <a:pt x="6802" y="2433"/>
                  </a:lnTo>
                  <a:close/>
                  <a:moveTo>
                    <a:pt x="7200" y="2459"/>
                  </a:moveTo>
                  <a:lnTo>
                    <a:pt x="7386" y="2645"/>
                  </a:lnTo>
                  <a:lnTo>
                    <a:pt x="7200" y="2832"/>
                  </a:lnTo>
                  <a:lnTo>
                    <a:pt x="7014" y="2645"/>
                  </a:lnTo>
                  <a:lnTo>
                    <a:pt x="7200" y="2459"/>
                  </a:lnTo>
                  <a:close/>
                  <a:moveTo>
                    <a:pt x="7226" y="2433"/>
                  </a:moveTo>
                  <a:lnTo>
                    <a:pt x="7412" y="2247"/>
                  </a:lnTo>
                  <a:lnTo>
                    <a:pt x="7598" y="2433"/>
                  </a:lnTo>
                  <a:lnTo>
                    <a:pt x="7412" y="2620"/>
                  </a:lnTo>
                  <a:lnTo>
                    <a:pt x="7226" y="2433"/>
                  </a:lnTo>
                  <a:close/>
                  <a:moveTo>
                    <a:pt x="7624" y="2459"/>
                  </a:moveTo>
                  <a:lnTo>
                    <a:pt x="7810" y="2645"/>
                  </a:lnTo>
                  <a:lnTo>
                    <a:pt x="7624" y="2832"/>
                  </a:lnTo>
                  <a:lnTo>
                    <a:pt x="7437" y="2645"/>
                  </a:lnTo>
                  <a:lnTo>
                    <a:pt x="7624" y="2459"/>
                  </a:lnTo>
                  <a:close/>
                  <a:moveTo>
                    <a:pt x="7649" y="2433"/>
                  </a:moveTo>
                  <a:lnTo>
                    <a:pt x="7836" y="2247"/>
                  </a:lnTo>
                  <a:lnTo>
                    <a:pt x="8022" y="2433"/>
                  </a:lnTo>
                  <a:lnTo>
                    <a:pt x="7836" y="2620"/>
                  </a:lnTo>
                  <a:lnTo>
                    <a:pt x="7649" y="2433"/>
                  </a:lnTo>
                  <a:close/>
                  <a:moveTo>
                    <a:pt x="8047" y="2459"/>
                  </a:moveTo>
                  <a:lnTo>
                    <a:pt x="8234" y="2645"/>
                  </a:lnTo>
                  <a:lnTo>
                    <a:pt x="8047" y="2832"/>
                  </a:lnTo>
                  <a:lnTo>
                    <a:pt x="7861" y="2645"/>
                  </a:lnTo>
                  <a:lnTo>
                    <a:pt x="8047" y="2459"/>
                  </a:lnTo>
                  <a:close/>
                  <a:moveTo>
                    <a:pt x="8073" y="2433"/>
                  </a:moveTo>
                  <a:lnTo>
                    <a:pt x="8259" y="2247"/>
                  </a:lnTo>
                  <a:lnTo>
                    <a:pt x="8446" y="2433"/>
                  </a:lnTo>
                  <a:lnTo>
                    <a:pt x="8259" y="2620"/>
                  </a:lnTo>
                  <a:lnTo>
                    <a:pt x="8073" y="2433"/>
                  </a:lnTo>
                  <a:close/>
                  <a:moveTo>
                    <a:pt x="8470" y="2459"/>
                  </a:moveTo>
                  <a:lnTo>
                    <a:pt x="8656" y="2645"/>
                  </a:lnTo>
                  <a:lnTo>
                    <a:pt x="8470" y="2832"/>
                  </a:lnTo>
                  <a:lnTo>
                    <a:pt x="8285" y="2645"/>
                  </a:lnTo>
                  <a:lnTo>
                    <a:pt x="8470" y="2459"/>
                  </a:lnTo>
                  <a:close/>
                  <a:moveTo>
                    <a:pt x="8497" y="2433"/>
                  </a:moveTo>
                  <a:lnTo>
                    <a:pt x="8682" y="2247"/>
                  </a:lnTo>
                  <a:lnTo>
                    <a:pt x="8868" y="2433"/>
                  </a:lnTo>
                  <a:lnTo>
                    <a:pt x="8682" y="2620"/>
                  </a:lnTo>
                  <a:lnTo>
                    <a:pt x="8497" y="2433"/>
                  </a:lnTo>
                  <a:close/>
                  <a:moveTo>
                    <a:pt x="8894" y="2459"/>
                  </a:moveTo>
                  <a:lnTo>
                    <a:pt x="9080" y="2645"/>
                  </a:lnTo>
                  <a:lnTo>
                    <a:pt x="8894" y="2832"/>
                  </a:lnTo>
                  <a:lnTo>
                    <a:pt x="8707" y="2645"/>
                  </a:lnTo>
                  <a:lnTo>
                    <a:pt x="8894" y="2459"/>
                  </a:lnTo>
                  <a:close/>
                  <a:moveTo>
                    <a:pt x="8919" y="2433"/>
                  </a:moveTo>
                  <a:lnTo>
                    <a:pt x="9106" y="2247"/>
                  </a:lnTo>
                  <a:lnTo>
                    <a:pt x="9292" y="2433"/>
                  </a:lnTo>
                  <a:lnTo>
                    <a:pt x="9106" y="2620"/>
                  </a:lnTo>
                  <a:lnTo>
                    <a:pt x="8919" y="2433"/>
                  </a:lnTo>
                  <a:close/>
                  <a:moveTo>
                    <a:pt x="9317" y="2459"/>
                  </a:moveTo>
                  <a:lnTo>
                    <a:pt x="9504" y="2645"/>
                  </a:lnTo>
                  <a:lnTo>
                    <a:pt x="9317" y="2832"/>
                  </a:lnTo>
                  <a:lnTo>
                    <a:pt x="9131" y="2645"/>
                  </a:lnTo>
                  <a:lnTo>
                    <a:pt x="9317" y="2459"/>
                  </a:lnTo>
                  <a:close/>
                  <a:moveTo>
                    <a:pt x="9343" y="2433"/>
                  </a:moveTo>
                  <a:lnTo>
                    <a:pt x="9529" y="2247"/>
                  </a:lnTo>
                  <a:lnTo>
                    <a:pt x="9716" y="2433"/>
                  </a:lnTo>
                  <a:lnTo>
                    <a:pt x="9529" y="2620"/>
                  </a:lnTo>
                  <a:lnTo>
                    <a:pt x="9343" y="2433"/>
                  </a:lnTo>
                  <a:close/>
                  <a:moveTo>
                    <a:pt x="9741" y="2459"/>
                  </a:moveTo>
                  <a:lnTo>
                    <a:pt x="9927" y="2645"/>
                  </a:lnTo>
                  <a:lnTo>
                    <a:pt x="9741" y="2832"/>
                  </a:lnTo>
                  <a:lnTo>
                    <a:pt x="9555" y="2645"/>
                  </a:lnTo>
                  <a:lnTo>
                    <a:pt x="9741" y="2459"/>
                  </a:lnTo>
                  <a:close/>
                  <a:moveTo>
                    <a:pt x="9767" y="2433"/>
                  </a:moveTo>
                  <a:lnTo>
                    <a:pt x="9953" y="2247"/>
                  </a:lnTo>
                  <a:lnTo>
                    <a:pt x="10139" y="2433"/>
                  </a:lnTo>
                  <a:lnTo>
                    <a:pt x="9953" y="2620"/>
                  </a:lnTo>
                  <a:lnTo>
                    <a:pt x="9767" y="2433"/>
                  </a:lnTo>
                  <a:close/>
                  <a:moveTo>
                    <a:pt x="10165" y="2459"/>
                  </a:moveTo>
                  <a:lnTo>
                    <a:pt x="10351" y="2645"/>
                  </a:lnTo>
                  <a:lnTo>
                    <a:pt x="10165" y="2832"/>
                  </a:lnTo>
                  <a:lnTo>
                    <a:pt x="9979" y="2645"/>
                  </a:lnTo>
                  <a:lnTo>
                    <a:pt x="10165" y="2459"/>
                  </a:lnTo>
                  <a:close/>
                  <a:moveTo>
                    <a:pt x="10190" y="2433"/>
                  </a:moveTo>
                  <a:lnTo>
                    <a:pt x="10377" y="2247"/>
                  </a:lnTo>
                  <a:lnTo>
                    <a:pt x="10563" y="2433"/>
                  </a:lnTo>
                  <a:lnTo>
                    <a:pt x="10377" y="2620"/>
                  </a:lnTo>
                  <a:lnTo>
                    <a:pt x="10190" y="2433"/>
                  </a:lnTo>
                  <a:close/>
                  <a:moveTo>
                    <a:pt x="10589" y="2459"/>
                  </a:moveTo>
                  <a:lnTo>
                    <a:pt x="10775" y="2645"/>
                  </a:lnTo>
                  <a:lnTo>
                    <a:pt x="10589" y="2832"/>
                  </a:lnTo>
                  <a:lnTo>
                    <a:pt x="10402" y="2645"/>
                  </a:lnTo>
                  <a:lnTo>
                    <a:pt x="10589" y="2459"/>
                  </a:lnTo>
                  <a:close/>
                  <a:moveTo>
                    <a:pt x="10614" y="2433"/>
                  </a:moveTo>
                  <a:lnTo>
                    <a:pt x="10799" y="2247"/>
                  </a:lnTo>
                  <a:lnTo>
                    <a:pt x="10986" y="2433"/>
                  </a:lnTo>
                  <a:lnTo>
                    <a:pt x="10799" y="2620"/>
                  </a:lnTo>
                  <a:lnTo>
                    <a:pt x="10614" y="2433"/>
                  </a:lnTo>
                  <a:close/>
                  <a:moveTo>
                    <a:pt x="11011" y="2459"/>
                  </a:moveTo>
                  <a:lnTo>
                    <a:pt x="11198" y="2645"/>
                  </a:lnTo>
                  <a:lnTo>
                    <a:pt x="11011" y="2832"/>
                  </a:lnTo>
                  <a:lnTo>
                    <a:pt x="10826" y="2645"/>
                  </a:lnTo>
                  <a:lnTo>
                    <a:pt x="11011" y="2459"/>
                  </a:lnTo>
                  <a:close/>
                  <a:moveTo>
                    <a:pt x="11038" y="2433"/>
                  </a:moveTo>
                  <a:lnTo>
                    <a:pt x="11223" y="2247"/>
                  </a:lnTo>
                  <a:lnTo>
                    <a:pt x="11409" y="2433"/>
                  </a:lnTo>
                  <a:lnTo>
                    <a:pt x="11223" y="2620"/>
                  </a:lnTo>
                  <a:lnTo>
                    <a:pt x="11038" y="2433"/>
                  </a:lnTo>
                  <a:close/>
                  <a:moveTo>
                    <a:pt x="11435" y="2459"/>
                  </a:moveTo>
                  <a:lnTo>
                    <a:pt x="11621" y="2645"/>
                  </a:lnTo>
                  <a:lnTo>
                    <a:pt x="11435" y="2832"/>
                  </a:lnTo>
                  <a:lnTo>
                    <a:pt x="11250" y="2645"/>
                  </a:lnTo>
                  <a:lnTo>
                    <a:pt x="11435" y="2459"/>
                  </a:lnTo>
                  <a:close/>
                  <a:moveTo>
                    <a:pt x="11460" y="2433"/>
                  </a:moveTo>
                  <a:lnTo>
                    <a:pt x="11647" y="2247"/>
                  </a:lnTo>
                  <a:lnTo>
                    <a:pt x="11833" y="2433"/>
                  </a:lnTo>
                  <a:lnTo>
                    <a:pt x="11647" y="2620"/>
                  </a:lnTo>
                  <a:lnTo>
                    <a:pt x="11460" y="2433"/>
                  </a:lnTo>
                  <a:close/>
                  <a:moveTo>
                    <a:pt x="11859" y="2459"/>
                  </a:moveTo>
                  <a:lnTo>
                    <a:pt x="12045" y="2645"/>
                  </a:lnTo>
                  <a:lnTo>
                    <a:pt x="11859" y="2832"/>
                  </a:lnTo>
                  <a:lnTo>
                    <a:pt x="11672" y="2645"/>
                  </a:lnTo>
                  <a:lnTo>
                    <a:pt x="11859" y="2459"/>
                  </a:lnTo>
                  <a:close/>
                  <a:moveTo>
                    <a:pt x="11884" y="2433"/>
                  </a:moveTo>
                  <a:lnTo>
                    <a:pt x="12070" y="2247"/>
                  </a:lnTo>
                  <a:lnTo>
                    <a:pt x="12257" y="2433"/>
                  </a:lnTo>
                  <a:lnTo>
                    <a:pt x="12070" y="2620"/>
                  </a:lnTo>
                  <a:lnTo>
                    <a:pt x="11884" y="2433"/>
                  </a:lnTo>
                  <a:close/>
                  <a:moveTo>
                    <a:pt x="12282" y="2459"/>
                  </a:moveTo>
                  <a:lnTo>
                    <a:pt x="12469" y="2645"/>
                  </a:lnTo>
                  <a:lnTo>
                    <a:pt x="12282" y="2832"/>
                  </a:lnTo>
                  <a:lnTo>
                    <a:pt x="12096" y="2645"/>
                  </a:lnTo>
                  <a:lnTo>
                    <a:pt x="12282" y="2459"/>
                  </a:lnTo>
                  <a:close/>
                  <a:moveTo>
                    <a:pt x="12308" y="2433"/>
                  </a:moveTo>
                  <a:lnTo>
                    <a:pt x="12494" y="2247"/>
                  </a:lnTo>
                  <a:lnTo>
                    <a:pt x="12679" y="2433"/>
                  </a:lnTo>
                  <a:lnTo>
                    <a:pt x="12494" y="2620"/>
                  </a:lnTo>
                  <a:lnTo>
                    <a:pt x="12308" y="2433"/>
                  </a:lnTo>
                  <a:close/>
                  <a:moveTo>
                    <a:pt x="12706" y="2459"/>
                  </a:moveTo>
                  <a:lnTo>
                    <a:pt x="12891" y="2645"/>
                  </a:lnTo>
                  <a:lnTo>
                    <a:pt x="12706" y="2832"/>
                  </a:lnTo>
                  <a:lnTo>
                    <a:pt x="12520" y="2645"/>
                  </a:lnTo>
                  <a:lnTo>
                    <a:pt x="12706" y="2459"/>
                  </a:lnTo>
                  <a:close/>
                  <a:moveTo>
                    <a:pt x="12730" y="2433"/>
                  </a:moveTo>
                  <a:lnTo>
                    <a:pt x="12918" y="2247"/>
                  </a:lnTo>
                  <a:lnTo>
                    <a:pt x="13103" y="2433"/>
                  </a:lnTo>
                  <a:lnTo>
                    <a:pt x="12918" y="2620"/>
                  </a:lnTo>
                  <a:lnTo>
                    <a:pt x="12730" y="2433"/>
                  </a:lnTo>
                  <a:close/>
                  <a:moveTo>
                    <a:pt x="13130" y="2459"/>
                  </a:moveTo>
                  <a:lnTo>
                    <a:pt x="13315" y="2645"/>
                  </a:lnTo>
                  <a:lnTo>
                    <a:pt x="13130" y="2832"/>
                  </a:lnTo>
                  <a:lnTo>
                    <a:pt x="12942" y="2645"/>
                  </a:lnTo>
                  <a:lnTo>
                    <a:pt x="13130" y="2459"/>
                  </a:lnTo>
                  <a:close/>
                  <a:moveTo>
                    <a:pt x="13154" y="2433"/>
                  </a:moveTo>
                  <a:lnTo>
                    <a:pt x="13340" y="2247"/>
                  </a:lnTo>
                  <a:lnTo>
                    <a:pt x="13527" y="2433"/>
                  </a:lnTo>
                  <a:lnTo>
                    <a:pt x="13340" y="2620"/>
                  </a:lnTo>
                  <a:lnTo>
                    <a:pt x="13154" y="2433"/>
                  </a:lnTo>
                  <a:close/>
                  <a:moveTo>
                    <a:pt x="13552" y="2459"/>
                  </a:moveTo>
                  <a:lnTo>
                    <a:pt x="13739" y="2645"/>
                  </a:lnTo>
                  <a:lnTo>
                    <a:pt x="13552" y="2832"/>
                  </a:lnTo>
                  <a:lnTo>
                    <a:pt x="13366" y="2645"/>
                  </a:lnTo>
                  <a:lnTo>
                    <a:pt x="13552" y="2459"/>
                  </a:lnTo>
                  <a:close/>
                  <a:moveTo>
                    <a:pt x="13578" y="2433"/>
                  </a:moveTo>
                  <a:lnTo>
                    <a:pt x="13764" y="2247"/>
                  </a:lnTo>
                  <a:lnTo>
                    <a:pt x="13950" y="2433"/>
                  </a:lnTo>
                  <a:lnTo>
                    <a:pt x="13764" y="2620"/>
                  </a:lnTo>
                  <a:lnTo>
                    <a:pt x="13578" y="2433"/>
                  </a:lnTo>
                  <a:close/>
                  <a:moveTo>
                    <a:pt x="13976" y="2459"/>
                  </a:moveTo>
                  <a:lnTo>
                    <a:pt x="14162" y="2645"/>
                  </a:lnTo>
                  <a:lnTo>
                    <a:pt x="13976" y="2832"/>
                  </a:lnTo>
                  <a:lnTo>
                    <a:pt x="13790" y="2645"/>
                  </a:lnTo>
                  <a:lnTo>
                    <a:pt x="13976" y="2459"/>
                  </a:lnTo>
                  <a:close/>
                  <a:moveTo>
                    <a:pt x="13790" y="2223"/>
                  </a:moveTo>
                  <a:lnTo>
                    <a:pt x="13976" y="2035"/>
                  </a:lnTo>
                  <a:lnTo>
                    <a:pt x="14162" y="2223"/>
                  </a:lnTo>
                  <a:lnTo>
                    <a:pt x="13976" y="2408"/>
                  </a:lnTo>
                  <a:lnTo>
                    <a:pt x="13790" y="2223"/>
                  </a:lnTo>
                  <a:close/>
                  <a:moveTo>
                    <a:pt x="13790" y="1798"/>
                  </a:moveTo>
                  <a:lnTo>
                    <a:pt x="13976" y="1613"/>
                  </a:lnTo>
                  <a:lnTo>
                    <a:pt x="14162" y="1798"/>
                  </a:lnTo>
                  <a:lnTo>
                    <a:pt x="13976" y="1984"/>
                  </a:lnTo>
                  <a:lnTo>
                    <a:pt x="13790" y="1798"/>
                  </a:lnTo>
                  <a:close/>
                  <a:moveTo>
                    <a:pt x="13764" y="1772"/>
                  </a:moveTo>
                  <a:lnTo>
                    <a:pt x="13578" y="1586"/>
                  </a:lnTo>
                  <a:lnTo>
                    <a:pt x="13764" y="1401"/>
                  </a:lnTo>
                  <a:lnTo>
                    <a:pt x="13950" y="1586"/>
                  </a:lnTo>
                  <a:lnTo>
                    <a:pt x="13764" y="1772"/>
                  </a:lnTo>
                  <a:close/>
                  <a:moveTo>
                    <a:pt x="13739" y="1798"/>
                  </a:moveTo>
                  <a:lnTo>
                    <a:pt x="13552" y="1984"/>
                  </a:lnTo>
                  <a:lnTo>
                    <a:pt x="13366" y="1798"/>
                  </a:lnTo>
                  <a:lnTo>
                    <a:pt x="13552" y="1613"/>
                  </a:lnTo>
                  <a:lnTo>
                    <a:pt x="13739" y="1798"/>
                  </a:lnTo>
                  <a:close/>
                  <a:moveTo>
                    <a:pt x="13340" y="1772"/>
                  </a:moveTo>
                  <a:lnTo>
                    <a:pt x="13154" y="1586"/>
                  </a:lnTo>
                  <a:lnTo>
                    <a:pt x="13340" y="1401"/>
                  </a:lnTo>
                  <a:lnTo>
                    <a:pt x="13527" y="1586"/>
                  </a:lnTo>
                  <a:lnTo>
                    <a:pt x="13340" y="1772"/>
                  </a:lnTo>
                  <a:close/>
                  <a:moveTo>
                    <a:pt x="13315" y="1798"/>
                  </a:moveTo>
                  <a:lnTo>
                    <a:pt x="13130" y="1984"/>
                  </a:lnTo>
                  <a:lnTo>
                    <a:pt x="12942" y="1798"/>
                  </a:lnTo>
                  <a:lnTo>
                    <a:pt x="13130" y="1613"/>
                  </a:lnTo>
                  <a:lnTo>
                    <a:pt x="13315" y="1798"/>
                  </a:lnTo>
                  <a:close/>
                  <a:moveTo>
                    <a:pt x="12918" y="1772"/>
                  </a:moveTo>
                  <a:lnTo>
                    <a:pt x="12730" y="1586"/>
                  </a:lnTo>
                  <a:lnTo>
                    <a:pt x="12918" y="1401"/>
                  </a:lnTo>
                  <a:lnTo>
                    <a:pt x="13103" y="1586"/>
                  </a:lnTo>
                  <a:lnTo>
                    <a:pt x="12918" y="1772"/>
                  </a:lnTo>
                  <a:close/>
                  <a:moveTo>
                    <a:pt x="12891" y="1798"/>
                  </a:moveTo>
                  <a:lnTo>
                    <a:pt x="12706" y="1984"/>
                  </a:lnTo>
                  <a:lnTo>
                    <a:pt x="12520" y="1798"/>
                  </a:lnTo>
                  <a:lnTo>
                    <a:pt x="12706" y="1613"/>
                  </a:lnTo>
                  <a:lnTo>
                    <a:pt x="12891" y="1798"/>
                  </a:lnTo>
                  <a:close/>
                  <a:moveTo>
                    <a:pt x="12494" y="1772"/>
                  </a:moveTo>
                  <a:lnTo>
                    <a:pt x="12308" y="1586"/>
                  </a:lnTo>
                  <a:lnTo>
                    <a:pt x="12494" y="1401"/>
                  </a:lnTo>
                  <a:lnTo>
                    <a:pt x="12679" y="1586"/>
                  </a:lnTo>
                  <a:lnTo>
                    <a:pt x="12494" y="1772"/>
                  </a:lnTo>
                  <a:close/>
                  <a:moveTo>
                    <a:pt x="12469" y="1798"/>
                  </a:moveTo>
                  <a:lnTo>
                    <a:pt x="12282" y="1984"/>
                  </a:lnTo>
                  <a:lnTo>
                    <a:pt x="12096" y="1798"/>
                  </a:lnTo>
                  <a:lnTo>
                    <a:pt x="12282" y="1613"/>
                  </a:lnTo>
                  <a:lnTo>
                    <a:pt x="12469" y="1798"/>
                  </a:lnTo>
                  <a:close/>
                  <a:moveTo>
                    <a:pt x="12070" y="1772"/>
                  </a:moveTo>
                  <a:lnTo>
                    <a:pt x="11884" y="1586"/>
                  </a:lnTo>
                  <a:lnTo>
                    <a:pt x="12070" y="1401"/>
                  </a:lnTo>
                  <a:lnTo>
                    <a:pt x="12257" y="1586"/>
                  </a:lnTo>
                  <a:lnTo>
                    <a:pt x="12070" y="1772"/>
                  </a:lnTo>
                  <a:close/>
                  <a:moveTo>
                    <a:pt x="12045" y="1798"/>
                  </a:moveTo>
                  <a:lnTo>
                    <a:pt x="11859" y="1984"/>
                  </a:lnTo>
                  <a:lnTo>
                    <a:pt x="11672" y="1798"/>
                  </a:lnTo>
                  <a:lnTo>
                    <a:pt x="11859" y="1613"/>
                  </a:lnTo>
                  <a:lnTo>
                    <a:pt x="12045" y="1798"/>
                  </a:lnTo>
                  <a:close/>
                  <a:moveTo>
                    <a:pt x="11647" y="1772"/>
                  </a:moveTo>
                  <a:lnTo>
                    <a:pt x="11460" y="1586"/>
                  </a:lnTo>
                  <a:lnTo>
                    <a:pt x="11647" y="1401"/>
                  </a:lnTo>
                  <a:lnTo>
                    <a:pt x="11833" y="1586"/>
                  </a:lnTo>
                  <a:lnTo>
                    <a:pt x="11647" y="1772"/>
                  </a:lnTo>
                  <a:close/>
                  <a:moveTo>
                    <a:pt x="11621" y="1798"/>
                  </a:moveTo>
                  <a:lnTo>
                    <a:pt x="11435" y="1984"/>
                  </a:lnTo>
                  <a:lnTo>
                    <a:pt x="11250" y="1798"/>
                  </a:lnTo>
                  <a:lnTo>
                    <a:pt x="11435" y="1613"/>
                  </a:lnTo>
                  <a:lnTo>
                    <a:pt x="11621" y="1798"/>
                  </a:lnTo>
                  <a:close/>
                  <a:moveTo>
                    <a:pt x="11223" y="1772"/>
                  </a:moveTo>
                  <a:lnTo>
                    <a:pt x="11038" y="1586"/>
                  </a:lnTo>
                  <a:lnTo>
                    <a:pt x="11223" y="1401"/>
                  </a:lnTo>
                  <a:lnTo>
                    <a:pt x="11409" y="1586"/>
                  </a:lnTo>
                  <a:lnTo>
                    <a:pt x="11223" y="1772"/>
                  </a:lnTo>
                  <a:close/>
                  <a:moveTo>
                    <a:pt x="11198" y="1798"/>
                  </a:moveTo>
                  <a:lnTo>
                    <a:pt x="11011" y="1984"/>
                  </a:lnTo>
                  <a:lnTo>
                    <a:pt x="10826" y="1798"/>
                  </a:lnTo>
                  <a:lnTo>
                    <a:pt x="11011" y="1613"/>
                  </a:lnTo>
                  <a:lnTo>
                    <a:pt x="11198" y="1798"/>
                  </a:lnTo>
                  <a:close/>
                  <a:moveTo>
                    <a:pt x="10799" y="1772"/>
                  </a:moveTo>
                  <a:lnTo>
                    <a:pt x="10614" y="1586"/>
                  </a:lnTo>
                  <a:lnTo>
                    <a:pt x="10799" y="1401"/>
                  </a:lnTo>
                  <a:lnTo>
                    <a:pt x="10986" y="1586"/>
                  </a:lnTo>
                  <a:lnTo>
                    <a:pt x="10799" y="1772"/>
                  </a:lnTo>
                  <a:close/>
                  <a:moveTo>
                    <a:pt x="10775" y="1798"/>
                  </a:moveTo>
                  <a:lnTo>
                    <a:pt x="10589" y="1984"/>
                  </a:lnTo>
                  <a:lnTo>
                    <a:pt x="10402" y="1798"/>
                  </a:lnTo>
                  <a:lnTo>
                    <a:pt x="10589" y="1613"/>
                  </a:lnTo>
                  <a:lnTo>
                    <a:pt x="10775" y="1798"/>
                  </a:lnTo>
                  <a:close/>
                  <a:moveTo>
                    <a:pt x="10377" y="1772"/>
                  </a:moveTo>
                  <a:lnTo>
                    <a:pt x="10190" y="1586"/>
                  </a:lnTo>
                  <a:lnTo>
                    <a:pt x="10377" y="1401"/>
                  </a:lnTo>
                  <a:lnTo>
                    <a:pt x="10563" y="1586"/>
                  </a:lnTo>
                  <a:lnTo>
                    <a:pt x="10377" y="1772"/>
                  </a:lnTo>
                  <a:close/>
                  <a:moveTo>
                    <a:pt x="10351" y="1798"/>
                  </a:moveTo>
                  <a:lnTo>
                    <a:pt x="10165" y="1984"/>
                  </a:lnTo>
                  <a:lnTo>
                    <a:pt x="9979" y="1798"/>
                  </a:lnTo>
                  <a:lnTo>
                    <a:pt x="10165" y="1613"/>
                  </a:lnTo>
                  <a:lnTo>
                    <a:pt x="10351" y="1798"/>
                  </a:lnTo>
                  <a:close/>
                  <a:moveTo>
                    <a:pt x="9953" y="1772"/>
                  </a:moveTo>
                  <a:lnTo>
                    <a:pt x="9767" y="1586"/>
                  </a:lnTo>
                  <a:lnTo>
                    <a:pt x="9953" y="1401"/>
                  </a:lnTo>
                  <a:lnTo>
                    <a:pt x="10139" y="1586"/>
                  </a:lnTo>
                  <a:lnTo>
                    <a:pt x="9953" y="1772"/>
                  </a:lnTo>
                  <a:close/>
                  <a:moveTo>
                    <a:pt x="9927" y="1798"/>
                  </a:moveTo>
                  <a:lnTo>
                    <a:pt x="9741" y="1984"/>
                  </a:lnTo>
                  <a:lnTo>
                    <a:pt x="9555" y="1798"/>
                  </a:lnTo>
                  <a:lnTo>
                    <a:pt x="9741" y="1613"/>
                  </a:lnTo>
                  <a:lnTo>
                    <a:pt x="9927" y="1798"/>
                  </a:lnTo>
                  <a:close/>
                  <a:moveTo>
                    <a:pt x="9529" y="1772"/>
                  </a:moveTo>
                  <a:lnTo>
                    <a:pt x="9343" y="1586"/>
                  </a:lnTo>
                  <a:lnTo>
                    <a:pt x="9529" y="1401"/>
                  </a:lnTo>
                  <a:lnTo>
                    <a:pt x="9716" y="1586"/>
                  </a:lnTo>
                  <a:lnTo>
                    <a:pt x="9529" y="1772"/>
                  </a:lnTo>
                  <a:close/>
                  <a:moveTo>
                    <a:pt x="9504" y="1798"/>
                  </a:moveTo>
                  <a:lnTo>
                    <a:pt x="9317" y="1984"/>
                  </a:lnTo>
                  <a:lnTo>
                    <a:pt x="9131" y="1798"/>
                  </a:lnTo>
                  <a:lnTo>
                    <a:pt x="9317" y="1613"/>
                  </a:lnTo>
                  <a:lnTo>
                    <a:pt x="9504" y="1798"/>
                  </a:lnTo>
                  <a:close/>
                  <a:moveTo>
                    <a:pt x="9106" y="1772"/>
                  </a:moveTo>
                  <a:lnTo>
                    <a:pt x="8919" y="1586"/>
                  </a:lnTo>
                  <a:lnTo>
                    <a:pt x="9106" y="1401"/>
                  </a:lnTo>
                  <a:lnTo>
                    <a:pt x="9292" y="1586"/>
                  </a:lnTo>
                  <a:lnTo>
                    <a:pt x="9106" y="1772"/>
                  </a:lnTo>
                  <a:close/>
                  <a:moveTo>
                    <a:pt x="9080" y="1798"/>
                  </a:moveTo>
                  <a:lnTo>
                    <a:pt x="8894" y="1984"/>
                  </a:lnTo>
                  <a:lnTo>
                    <a:pt x="8707" y="1798"/>
                  </a:lnTo>
                  <a:lnTo>
                    <a:pt x="8894" y="1613"/>
                  </a:lnTo>
                  <a:lnTo>
                    <a:pt x="9080" y="1798"/>
                  </a:lnTo>
                  <a:close/>
                  <a:moveTo>
                    <a:pt x="8682" y="1772"/>
                  </a:moveTo>
                  <a:lnTo>
                    <a:pt x="8497" y="1586"/>
                  </a:lnTo>
                  <a:lnTo>
                    <a:pt x="8682" y="1401"/>
                  </a:lnTo>
                  <a:lnTo>
                    <a:pt x="8868" y="1586"/>
                  </a:lnTo>
                  <a:lnTo>
                    <a:pt x="8682" y="1772"/>
                  </a:lnTo>
                  <a:close/>
                  <a:moveTo>
                    <a:pt x="8656" y="1798"/>
                  </a:moveTo>
                  <a:lnTo>
                    <a:pt x="8470" y="1984"/>
                  </a:lnTo>
                  <a:lnTo>
                    <a:pt x="8285" y="1798"/>
                  </a:lnTo>
                  <a:lnTo>
                    <a:pt x="8470" y="1613"/>
                  </a:lnTo>
                  <a:lnTo>
                    <a:pt x="8656" y="1798"/>
                  </a:lnTo>
                  <a:close/>
                  <a:moveTo>
                    <a:pt x="8259" y="1772"/>
                  </a:moveTo>
                  <a:lnTo>
                    <a:pt x="8073" y="1586"/>
                  </a:lnTo>
                  <a:lnTo>
                    <a:pt x="8259" y="1401"/>
                  </a:lnTo>
                  <a:lnTo>
                    <a:pt x="8446" y="1586"/>
                  </a:lnTo>
                  <a:lnTo>
                    <a:pt x="8259" y="1772"/>
                  </a:lnTo>
                  <a:close/>
                  <a:moveTo>
                    <a:pt x="8234" y="1798"/>
                  </a:moveTo>
                  <a:lnTo>
                    <a:pt x="8047" y="1984"/>
                  </a:lnTo>
                  <a:lnTo>
                    <a:pt x="7861" y="1798"/>
                  </a:lnTo>
                  <a:lnTo>
                    <a:pt x="8047" y="1613"/>
                  </a:lnTo>
                  <a:lnTo>
                    <a:pt x="8234" y="1798"/>
                  </a:lnTo>
                  <a:close/>
                  <a:moveTo>
                    <a:pt x="7836" y="1772"/>
                  </a:moveTo>
                  <a:lnTo>
                    <a:pt x="7649" y="1586"/>
                  </a:lnTo>
                  <a:lnTo>
                    <a:pt x="7836" y="1401"/>
                  </a:lnTo>
                  <a:lnTo>
                    <a:pt x="8022" y="1586"/>
                  </a:lnTo>
                  <a:lnTo>
                    <a:pt x="7836" y="1772"/>
                  </a:lnTo>
                  <a:close/>
                  <a:moveTo>
                    <a:pt x="7810" y="1798"/>
                  </a:moveTo>
                  <a:lnTo>
                    <a:pt x="7624" y="1984"/>
                  </a:lnTo>
                  <a:lnTo>
                    <a:pt x="7437" y="1798"/>
                  </a:lnTo>
                  <a:lnTo>
                    <a:pt x="7624" y="1613"/>
                  </a:lnTo>
                  <a:lnTo>
                    <a:pt x="7810" y="1798"/>
                  </a:lnTo>
                  <a:close/>
                  <a:moveTo>
                    <a:pt x="7412" y="1772"/>
                  </a:moveTo>
                  <a:lnTo>
                    <a:pt x="7226" y="1586"/>
                  </a:lnTo>
                  <a:lnTo>
                    <a:pt x="7412" y="1401"/>
                  </a:lnTo>
                  <a:lnTo>
                    <a:pt x="7598" y="1586"/>
                  </a:lnTo>
                  <a:lnTo>
                    <a:pt x="7412" y="1772"/>
                  </a:lnTo>
                  <a:close/>
                  <a:moveTo>
                    <a:pt x="7386" y="1798"/>
                  </a:moveTo>
                  <a:lnTo>
                    <a:pt x="7200" y="1984"/>
                  </a:lnTo>
                  <a:lnTo>
                    <a:pt x="7014" y="1798"/>
                  </a:lnTo>
                  <a:lnTo>
                    <a:pt x="7200" y="1613"/>
                  </a:lnTo>
                  <a:lnTo>
                    <a:pt x="7386" y="1798"/>
                  </a:lnTo>
                  <a:close/>
                  <a:moveTo>
                    <a:pt x="6988" y="1772"/>
                  </a:moveTo>
                  <a:lnTo>
                    <a:pt x="6802" y="1586"/>
                  </a:lnTo>
                  <a:lnTo>
                    <a:pt x="6988" y="1401"/>
                  </a:lnTo>
                  <a:lnTo>
                    <a:pt x="7175" y="1586"/>
                  </a:lnTo>
                  <a:lnTo>
                    <a:pt x="6988" y="1772"/>
                  </a:lnTo>
                  <a:close/>
                  <a:moveTo>
                    <a:pt x="6963" y="1798"/>
                  </a:moveTo>
                  <a:lnTo>
                    <a:pt x="6776" y="1984"/>
                  </a:lnTo>
                  <a:lnTo>
                    <a:pt x="6590" y="1798"/>
                  </a:lnTo>
                  <a:lnTo>
                    <a:pt x="6776" y="1613"/>
                  </a:lnTo>
                  <a:lnTo>
                    <a:pt x="6963" y="1798"/>
                  </a:lnTo>
                  <a:close/>
                  <a:moveTo>
                    <a:pt x="6566" y="1772"/>
                  </a:moveTo>
                  <a:lnTo>
                    <a:pt x="6378" y="1586"/>
                  </a:lnTo>
                  <a:lnTo>
                    <a:pt x="6566" y="1401"/>
                  </a:lnTo>
                  <a:lnTo>
                    <a:pt x="6751" y="1586"/>
                  </a:lnTo>
                  <a:lnTo>
                    <a:pt x="6566" y="1772"/>
                  </a:lnTo>
                  <a:close/>
                  <a:moveTo>
                    <a:pt x="6539" y="1798"/>
                  </a:moveTo>
                  <a:lnTo>
                    <a:pt x="6354" y="1984"/>
                  </a:lnTo>
                  <a:lnTo>
                    <a:pt x="6166" y="1798"/>
                  </a:lnTo>
                  <a:lnTo>
                    <a:pt x="6354" y="1613"/>
                  </a:lnTo>
                  <a:lnTo>
                    <a:pt x="6539" y="1798"/>
                  </a:lnTo>
                  <a:close/>
                  <a:moveTo>
                    <a:pt x="6142" y="1772"/>
                  </a:moveTo>
                  <a:lnTo>
                    <a:pt x="5956" y="1586"/>
                  </a:lnTo>
                  <a:lnTo>
                    <a:pt x="6142" y="1401"/>
                  </a:lnTo>
                  <a:lnTo>
                    <a:pt x="6327" y="1586"/>
                  </a:lnTo>
                  <a:lnTo>
                    <a:pt x="6142" y="1772"/>
                  </a:lnTo>
                  <a:close/>
                  <a:moveTo>
                    <a:pt x="6115" y="1798"/>
                  </a:moveTo>
                  <a:lnTo>
                    <a:pt x="5930" y="1984"/>
                  </a:lnTo>
                  <a:lnTo>
                    <a:pt x="5744" y="1798"/>
                  </a:lnTo>
                  <a:lnTo>
                    <a:pt x="5930" y="1613"/>
                  </a:lnTo>
                  <a:lnTo>
                    <a:pt x="6115" y="1798"/>
                  </a:lnTo>
                  <a:close/>
                  <a:moveTo>
                    <a:pt x="5718" y="1772"/>
                  </a:moveTo>
                  <a:lnTo>
                    <a:pt x="5532" y="1586"/>
                  </a:lnTo>
                  <a:lnTo>
                    <a:pt x="5718" y="1401"/>
                  </a:lnTo>
                  <a:lnTo>
                    <a:pt x="5903" y="1586"/>
                  </a:lnTo>
                  <a:lnTo>
                    <a:pt x="5718" y="1772"/>
                  </a:lnTo>
                  <a:close/>
                  <a:moveTo>
                    <a:pt x="5693" y="1798"/>
                  </a:moveTo>
                  <a:lnTo>
                    <a:pt x="5506" y="1984"/>
                  </a:lnTo>
                  <a:lnTo>
                    <a:pt x="5320" y="1798"/>
                  </a:lnTo>
                  <a:lnTo>
                    <a:pt x="5506" y="1613"/>
                  </a:lnTo>
                  <a:lnTo>
                    <a:pt x="5693" y="1798"/>
                  </a:lnTo>
                  <a:close/>
                  <a:moveTo>
                    <a:pt x="5294" y="1772"/>
                  </a:moveTo>
                  <a:lnTo>
                    <a:pt x="5108" y="1586"/>
                  </a:lnTo>
                  <a:lnTo>
                    <a:pt x="5294" y="1401"/>
                  </a:lnTo>
                  <a:lnTo>
                    <a:pt x="5481" y="1586"/>
                  </a:lnTo>
                  <a:lnTo>
                    <a:pt x="5294" y="1772"/>
                  </a:lnTo>
                  <a:close/>
                  <a:moveTo>
                    <a:pt x="5269" y="1798"/>
                  </a:moveTo>
                  <a:lnTo>
                    <a:pt x="5083" y="1984"/>
                  </a:lnTo>
                  <a:lnTo>
                    <a:pt x="4896" y="1798"/>
                  </a:lnTo>
                  <a:lnTo>
                    <a:pt x="5083" y="1613"/>
                  </a:lnTo>
                  <a:lnTo>
                    <a:pt x="5269" y="1798"/>
                  </a:lnTo>
                  <a:close/>
                  <a:moveTo>
                    <a:pt x="4871" y="1772"/>
                  </a:moveTo>
                  <a:lnTo>
                    <a:pt x="4684" y="1586"/>
                  </a:lnTo>
                  <a:lnTo>
                    <a:pt x="4871" y="1401"/>
                  </a:lnTo>
                  <a:lnTo>
                    <a:pt x="5057" y="1586"/>
                  </a:lnTo>
                  <a:lnTo>
                    <a:pt x="4871" y="1772"/>
                  </a:lnTo>
                  <a:close/>
                  <a:moveTo>
                    <a:pt x="4845" y="1798"/>
                  </a:moveTo>
                  <a:lnTo>
                    <a:pt x="4659" y="1984"/>
                  </a:lnTo>
                  <a:lnTo>
                    <a:pt x="4474" y="1798"/>
                  </a:lnTo>
                  <a:lnTo>
                    <a:pt x="4659" y="1613"/>
                  </a:lnTo>
                  <a:lnTo>
                    <a:pt x="4845" y="1798"/>
                  </a:lnTo>
                  <a:close/>
                  <a:moveTo>
                    <a:pt x="4447" y="1772"/>
                  </a:moveTo>
                  <a:lnTo>
                    <a:pt x="4262" y="1586"/>
                  </a:lnTo>
                  <a:lnTo>
                    <a:pt x="4447" y="1401"/>
                  </a:lnTo>
                  <a:lnTo>
                    <a:pt x="4633" y="1586"/>
                  </a:lnTo>
                  <a:lnTo>
                    <a:pt x="4447" y="1772"/>
                  </a:lnTo>
                  <a:close/>
                  <a:moveTo>
                    <a:pt x="4423" y="1798"/>
                  </a:moveTo>
                  <a:lnTo>
                    <a:pt x="4235" y="1984"/>
                  </a:lnTo>
                  <a:lnTo>
                    <a:pt x="4050" y="1798"/>
                  </a:lnTo>
                  <a:lnTo>
                    <a:pt x="4235" y="1613"/>
                  </a:lnTo>
                  <a:lnTo>
                    <a:pt x="4423" y="1798"/>
                  </a:lnTo>
                  <a:close/>
                  <a:moveTo>
                    <a:pt x="4023" y="1772"/>
                  </a:moveTo>
                  <a:lnTo>
                    <a:pt x="3838" y="1586"/>
                  </a:lnTo>
                  <a:lnTo>
                    <a:pt x="4023" y="1401"/>
                  </a:lnTo>
                  <a:lnTo>
                    <a:pt x="4211" y="1586"/>
                  </a:lnTo>
                  <a:lnTo>
                    <a:pt x="4023" y="1772"/>
                  </a:lnTo>
                  <a:close/>
                  <a:moveTo>
                    <a:pt x="3999" y="1798"/>
                  </a:moveTo>
                  <a:lnTo>
                    <a:pt x="3813" y="1984"/>
                  </a:lnTo>
                  <a:lnTo>
                    <a:pt x="3626" y="1798"/>
                  </a:lnTo>
                  <a:lnTo>
                    <a:pt x="3813" y="1613"/>
                  </a:lnTo>
                  <a:lnTo>
                    <a:pt x="3999" y="1798"/>
                  </a:lnTo>
                  <a:close/>
                  <a:moveTo>
                    <a:pt x="3601" y="1772"/>
                  </a:moveTo>
                  <a:lnTo>
                    <a:pt x="3414" y="1586"/>
                  </a:lnTo>
                  <a:lnTo>
                    <a:pt x="3601" y="1401"/>
                  </a:lnTo>
                  <a:lnTo>
                    <a:pt x="3787" y="1586"/>
                  </a:lnTo>
                  <a:lnTo>
                    <a:pt x="3601" y="1772"/>
                  </a:lnTo>
                  <a:close/>
                  <a:moveTo>
                    <a:pt x="3575" y="1798"/>
                  </a:moveTo>
                  <a:lnTo>
                    <a:pt x="3389" y="1984"/>
                  </a:lnTo>
                  <a:lnTo>
                    <a:pt x="3203" y="1798"/>
                  </a:lnTo>
                  <a:lnTo>
                    <a:pt x="3389" y="1613"/>
                  </a:lnTo>
                  <a:lnTo>
                    <a:pt x="3575" y="1798"/>
                  </a:lnTo>
                  <a:close/>
                  <a:moveTo>
                    <a:pt x="3177" y="1772"/>
                  </a:moveTo>
                  <a:lnTo>
                    <a:pt x="2991" y="1586"/>
                  </a:lnTo>
                  <a:lnTo>
                    <a:pt x="3177" y="1401"/>
                  </a:lnTo>
                  <a:lnTo>
                    <a:pt x="3363" y="1586"/>
                  </a:lnTo>
                  <a:lnTo>
                    <a:pt x="3177" y="1772"/>
                  </a:lnTo>
                  <a:close/>
                  <a:moveTo>
                    <a:pt x="3152" y="1798"/>
                  </a:moveTo>
                  <a:lnTo>
                    <a:pt x="2965" y="1984"/>
                  </a:lnTo>
                  <a:lnTo>
                    <a:pt x="2779" y="1798"/>
                  </a:lnTo>
                  <a:lnTo>
                    <a:pt x="2965" y="1613"/>
                  </a:lnTo>
                  <a:lnTo>
                    <a:pt x="3152" y="1798"/>
                  </a:lnTo>
                  <a:close/>
                  <a:moveTo>
                    <a:pt x="2753" y="1772"/>
                  </a:moveTo>
                  <a:lnTo>
                    <a:pt x="2567" y="1586"/>
                  </a:lnTo>
                  <a:lnTo>
                    <a:pt x="2753" y="1401"/>
                  </a:lnTo>
                  <a:lnTo>
                    <a:pt x="2940" y="1586"/>
                  </a:lnTo>
                  <a:lnTo>
                    <a:pt x="2753" y="1772"/>
                  </a:lnTo>
                  <a:close/>
                  <a:moveTo>
                    <a:pt x="2728" y="1798"/>
                  </a:moveTo>
                  <a:lnTo>
                    <a:pt x="2543" y="1984"/>
                  </a:lnTo>
                  <a:lnTo>
                    <a:pt x="2355" y="1798"/>
                  </a:lnTo>
                  <a:lnTo>
                    <a:pt x="2543" y="1613"/>
                  </a:lnTo>
                  <a:lnTo>
                    <a:pt x="2728" y="1798"/>
                  </a:lnTo>
                  <a:close/>
                  <a:moveTo>
                    <a:pt x="2331" y="1772"/>
                  </a:moveTo>
                  <a:lnTo>
                    <a:pt x="2143" y="1586"/>
                  </a:lnTo>
                  <a:lnTo>
                    <a:pt x="2331" y="1401"/>
                  </a:lnTo>
                  <a:lnTo>
                    <a:pt x="2516" y="1586"/>
                  </a:lnTo>
                  <a:lnTo>
                    <a:pt x="2331" y="1772"/>
                  </a:lnTo>
                  <a:close/>
                  <a:moveTo>
                    <a:pt x="2304" y="1798"/>
                  </a:moveTo>
                  <a:lnTo>
                    <a:pt x="2119" y="1984"/>
                  </a:lnTo>
                  <a:lnTo>
                    <a:pt x="1933" y="1798"/>
                  </a:lnTo>
                  <a:lnTo>
                    <a:pt x="2119" y="1613"/>
                  </a:lnTo>
                  <a:lnTo>
                    <a:pt x="2304" y="1798"/>
                  </a:lnTo>
                  <a:close/>
                  <a:moveTo>
                    <a:pt x="1907" y="1772"/>
                  </a:moveTo>
                  <a:lnTo>
                    <a:pt x="1721" y="1586"/>
                  </a:lnTo>
                  <a:lnTo>
                    <a:pt x="1907" y="1401"/>
                  </a:lnTo>
                  <a:lnTo>
                    <a:pt x="2092" y="1586"/>
                  </a:lnTo>
                  <a:lnTo>
                    <a:pt x="1907" y="1772"/>
                  </a:lnTo>
                  <a:close/>
                  <a:moveTo>
                    <a:pt x="1882" y="1798"/>
                  </a:moveTo>
                  <a:lnTo>
                    <a:pt x="1695" y="1984"/>
                  </a:lnTo>
                  <a:lnTo>
                    <a:pt x="1509" y="1798"/>
                  </a:lnTo>
                  <a:lnTo>
                    <a:pt x="1695" y="1613"/>
                  </a:lnTo>
                  <a:lnTo>
                    <a:pt x="1882" y="1798"/>
                  </a:lnTo>
                  <a:close/>
                  <a:moveTo>
                    <a:pt x="1483" y="1772"/>
                  </a:moveTo>
                  <a:lnTo>
                    <a:pt x="1297" y="1586"/>
                  </a:lnTo>
                  <a:lnTo>
                    <a:pt x="1483" y="1401"/>
                  </a:lnTo>
                  <a:lnTo>
                    <a:pt x="1670" y="1586"/>
                  </a:lnTo>
                  <a:lnTo>
                    <a:pt x="1483" y="1772"/>
                  </a:lnTo>
                  <a:close/>
                  <a:moveTo>
                    <a:pt x="1458" y="1798"/>
                  </a:moveTo>
                  <a:lnTo>
                    <a:pt x="1272" y="1984"/>
                  </a:lnTo>
                  <a:lnTo>
                    <a:pt x="1085" y="1798"/>
                  </a:lnTo>
                  <a:lnTo>
                    <a:pt x="1272" y="1613"/>
                  </a:lnTo>
                  <a:lnTo>
                    <a:pt x="1458" y="1798"/>
                  </a:lnTo>
                  <a:close/>
                  <a:moveTo>
                    <a:pt x="1060" y="1772"/>
                  </a:moveTo>
                  <a:lnTo>
                    <a:pt x="873" y="1586"/>
                  </a:lnTo>
                  <a:lnTo>
                    <a:pt x="1060" y="1401"/>
                  </a:lnTo>
                  <a:lnTo>
                    <a:pt x="1246" y="1586"/>
                  </a:lnTo>
                  <a:lnTo>
                    <a:pt x="1060" y="1772"/>
                  </a:lnTo>
                  <a:close/>
                  <a:moveTo>
                    <a:pt x="1034" y="1798"/>
                  </a:moveTo>
                  <a:lnTo>
                    <a:pt x="848" y="1984"/>
                  </a:lnTo>
                  <a:lnTo>
                    <a:pt x="663" y="1798"/>
                  </a:lnTo>
                  <a:lnTo>
                    <a:pt x="848" y="1613"/>
                  </a:lnTo>
                  <a:lnTo>
                    <a:pt x="1034" y="1798"/>
                  </a:lnTo>
                  <a:close/>
                  <a:moveTo>
                    <a:pt x="636" y="1772"/>
                  </a:moveTo>
                  <a:lnTo>
                    <a:pt x="451" y="1586"/>
                  </a:lnTo>
                  <a:lnTo>
                    <a:pt x="636" y="1401"/>
                  </a:lnTo>
                  <a:lnTo>
                    <a:pt x="822" y="1586"/>
                  </a:lnTo>
                  <a:lnTo>
                    <a:pt x="636" y="1772"/>
                  </a:lnTo>
                  <a:close/>
                  <a:moveTo>
                    <a:pt x="822" y="2010"/>
                  </a:moveTo>
                  <a:lnTo>
                    <a:pt x="636" y="2196"/>
                  </a:lnTo>
                  <a:lnTo>
                    <a:pt x="451" y="2010"/>
                  </a:lnTo>
                  <a:lnTo>
                    <a:pt x="636" y="1823"/>
                  </a:lnTo>
                  <a:lnTo>
                    <a:pt x="822" y="2010"/>
                  </a:lnTo>
                  <a:close/>
                  <a:moveTo>
                    <a:pt x="822" y="2433"/>
                  </a:moveTo>
                  <a:lnTo>
                    <a:pt x="636" y="2620"/>
                  </a:lnTo>
                  <a:lnTo>
                    <a:pt x="451" y="2433"/>
                  </a:lnTo>
                  <a:lnTo>
                    <a:pt x="636" y="2247"/>
                  </a:lnTo>
                  <a:lnTo>
                    <a:pt x="822" y="2433"/>
                  </a:lnTo>
                  <a:close/>
                  <a:moveTo>
                    <a:pt x="822" y="2857"/>
                  </a:moveTo>
                  <a:lnTo>
                    <a:pt x="636" y="3043"/>
                  </a:lnTo>
                  <a:lnTo>
                    <a:pt x="451" y="2857"/>
                  </a:lnTo>
                  <a:lnTo>
                    <a:pt x="636" y="2671"/>
                  </a:lnTo>
                  <a:lnTo>
                    <a:pt x="822" y="2857"/>
                  </a:lnTo>
                  <a:close/>
                  <a:moveTo>
                    <a:pt x="848" y="2883"/>
                  </a:moveTo>
                  <a:lnTo>
                    <a:pt x="1034" y="3069"/>
                  </a:lnTo>
                  <a:lnTo>
                    <a:pt x="848" y="3255"/>
                  </a:lnTo>
                  <a:lnTo>
                    <a:pt x="663" y="3069"/>
                  </a:lnTo>
                  <a:lnTo>
                    <a:pt x="848" y="2883"/>
                  </a:lnTo>
                  <a:close/>
                  <a:moveTo>
                    <a:pt x="873" y="2857"/>
                  </a:moveTo>
                  <a:lnTo>
                    <a:pt x="1060" y="2671"/>
                  </a:lnTo>
                  <a:lnTo>
                    <a:pt x="1246" y="2857"/>
                  </a:lnTo>
                  <a:lnTo>
                    <a:pt x="1060" y="3043"/>
                  </a:lnTo>
                  <a:lnTo>
                    <a:pt x="873" y="2857"/>
                  </a:lnTo>
                  <a:close/>
                  <a:moveTo>
                    <a:pt x="1272" y="2883"/>
                  </a:moveTo>
                  <a:lnTo>
                    <a:pt x="1458" y="3069"/>
                  </a:lnTo>
                  <a:lnTo>
                    <a:pt x="1272" y="3255"/>
                  </a:lnTo>
                  <a:lnTo>
                    <a:pt x="1085" y="3069"/>
                  </a:lnTo>
                  <a:lnTo>
                    <a:pt x="1272" y="2883"/>
                  </a:lnTo>
                  <a:close/>
                  <a:moveTo>
                    <a:pt x="1297" y="2857"/>
                  </a:moveTo>
                  <a:lnTo>
                    <a:pt x="1483" y="2671"/>
                  </a:lnTo>
                  <a:lnTo>
                    <a:pt x="1670" y="2857"/>
                  </a:lnTo>
                  <a:lnTo>
                    <a:pt x="1483" y="3043"/>
                  </a:lnTo>
                  <a:lnTo>
                    <a:pt x="1297" y="2857"/>
                  </a:lnTo>
                  <a:close/>
                  <a:moveTo>
                    <a:pt x="1695" y="2883"/>
                  </a:moveTo>
                  <a:lnTo>
                    <a:pt x="1882" y="3069"/>
                  </a:lnTo>
                  <a:lnTo>
                    <a:pt x="1695" y="3255"/>
                  </a:lnTo>
                  <a:lnTo>
                    <a:pt x="1509" y="3069"/>
                  </a:lnTo>
                  <a:lnTo>
                    <a:pt x="1695" y="2883"/>
                  </a:lnTo>
                  <a:close/>
                  <a:moveTo>
                    <a:pt x="1721" y="2857"/>
                  </a:moveTo>
                  <a:lnTo>
                    <a:pt x="1907" y="2671"/>
                  </a:lnTo>
                  <a:lnTo>
                    <a:pt x="2092" y="2857"/>
                  </a:lnTo>
                  <a:lnTo>
                    <a:pt x="1907" y="3043"/>
                  </a:lnTo>
                  <a:lnTo>
                    <a:pt x="1721" y="2857"/>
                  </a:lnTo>
                  <a:close/>
                  <a:moveTo>
                    <a:pt x="2119" y="2883"/>
                  </a:moveTo>
                  <a:lnTo>
                    <a:pt x="2304" y="3069"/>
                  </a:lnTo>
                  <a:lnTo>
                    <a:pt x="2119" y="3255"/>
                  </a:lnTo>
                  <a:lnTo>
                    <a:pt x="1933" y="3069"/>
                  </a:lnTo>
                  <a:lnTo>
                    <a:pt x="2119" y="2883"/>
                  </a:lnTo>
                  <a:close/>
                  <a:moveTo>
                    <a:pt x="2143" y="2857"/>
                  </a:moveTo>
                  <a:lnTo>
                    <a:pt x="2331" y="2671"/>
                  </a:lnTo>
                  <a:lnTo>
                    <a:pt x="2516" y="2857"/>
                  </a:lnTo>
                  <a:lnTo>
                    <a:pt x="2331" y="3043"/>
                  </a:lnTo>
                  <a:lnTo>
                    <a:pt x="2143" y="2857"/>
                  </a:lnTo>
                  <a:close/>
                  <a:moveTo>
                    <a:pt x="2543" y="2883"/>
                  </a:moveTo>
                  <a:lnTo>
                    <a:pt x="2728" y="3069"/>
                  </a:lnTo>
                  <a:lnTo>
                    <a:pt x="2543" y="3255"/>
                  </a:lnTo>
                  <a:lnTo>
                    <a:pt x="2355" y="3069"/>
                  </a:lnTo>
                  <a:lnTo>
                    <a:pt x="2543" y="2883"/>
                  </a:lnTo>
                  <a:close/>
                  <a:moveTo>
                    <a:pt x="2567" y="2857"/>
                  </a:moveTo>
                  <a:lnTo>
                    <a:pt x="2753" y="2671"/>
                  </a:lnTo>
                  <a:lnTo>
                    <a:pt x="2940" y="2857"/>
                  </a:lnTo>
                  <a:lnTo>
                    <a:pt x="2753" y="3043"/>
                  </a:lnTo>
                  <a:lnTo>
                    <a:pt x="2567" y="2857"/>
                  </a:lnTo>
                  <a:close/>
                  <a:moveTo>
                    <a:pt x="2965" y="2883"/>
                  </a:moveTo>
                  <a:lnTo>
                    <a:pt x="3152" y="3069"/>
                  </a:lnTo>
                  <a:lnTo>
                    <a:pt x="2965" y="3255"/>
                  </a:lnTo>
                  <a:lnTo>
                    <a:pt x="2779" y="3069"/>
                  </a:lnTo>
                  <a:lnTo>
                    <a:pt x="2965" y="2883"/>
                  </a:lnTo>
                  <a:close/>
                  <a:moveTo>
                    <a:pt x="2991" y="2857"/>
                  </a:moveTo>
                  <a:lnTo>
                    <a:pt x="3177" y="2671"/>
                  </a:lnTo>
                  <a:lnTo>
                    <a:pt x="3363" y="2857"/>
                  </a:lnTo>
                  <a:lnTo>
                    <a:pt x="3177" y="3043"/>
                  </a:lnTo>
                  <a:lnTo>
                    <a:pt x="2991" y="2857"/>
                  </a:lnTo>
                  <a:close/>
                  <a:moveTo>
                    <a:pt x="3389" y="2883"/>
                  </a:moveTo>
                  <a:lnTo>
                    <a:pt x="3575" y="3069"/>
                  </a:lnTo>
                  <a:lnTo>
                    <a:pt x="3389" y="3255"/>
                  </a:lnTo>
                  <a:lnTo>
                    <a:pt x="3203" y="3069"/>
                  </a:lnTo>
                  <a:lnTo>
                    <a:pt x="3389" y="2883"/>
                  </a:lnTo>
                  <a:close/>
                  <a:moveTo>
                    <a:pt x="3414" y="2857"/>
                  </a:moveTo>
                  <a:lnTo>
                    <a:pt x="3601" y="2671"/>
                  </a:lnTo>
                  <a:lnTo>
                    <a:pt x="3787" y="2857"/>
                  </a:lnTo>
                  <a:lnTo>
                    <a:pt x="3601" y="3043"/>
                  </a:lnTo>
                  <a:lnTo>
                    <a:pt x="3414" y="2857"/>
                  </a:lnTo>
                  <a:close/>
                  <a:moveTo>
                    <a:pt x="3813" y="2883"/>
                  </a:moveTo>
                  <a:lnTo>
                    <a:pt x="3999" y="3069"/>
                  </a:lnTo>
                  <a:lnTo>
                    <a:pt x="3813" y="3255"/>
                  </a:lnTo>
                  <a:lnTo>
                    <a:pt x="3626" y="3069"/>
                  </a:lnTo>
                  <a:lnTo>
                    <a:pt x="3813" y="2883"/>
                  </a:lnTo>
                  <a:close/>
                  <a:moveTo>
                    <a:pt x="3838" y="2857"/>
                  </a:moveTo>
                  <a:lnTo>
                    <a:pt x="4023" y="2671"/>
                  </a:lnTo>
                  <a:lnTo>
                    <a:pt x="4211" y="2857"/>
                  </a:lnTo>
                  <a:lnTo>
                    <a:pt x="4023" y="3043"/>
                  </a:lnTo>
                  <a:lnTo>
                    <a:pt x="3838" y="2857"/>
                  </a:lnTo>
                  <a:close/>
                  <a:moveTo>
                    <a:pt x="4235" y="2883"/>
                  </a:moveTo>
                  <a:lnTo>
                    <a:pt x="4423" y="3069"/>
                  </a:lnTo>
                  <a:lnTo>
                    <a:pt x="4235" y="3255"/>
                  </a:lnTo>
                  <a:lnTo>
                    <a:pt x="4050" y="3069"/>
                  </a:lnTo>
                  <a:lnTo>
                    <a:pt x="4235" y="2883"/>
                  </a:lnTo>
                  <a:close/>
                  <a:moveTo>
                    <a:pt x="4262" y="2857"/>
                  </a:moveTo>
                  <a:lnTo>
                    <a:pt x="4447" y="2671"/>
                  </a:lnTo>
                  <a:lnTo>
                    <a:pt x="4633" y="2857"/>
                  </a:lnTo>
                  <a:lnTo>
                    <a:pt x="4447" y="3043"/>
                  </a:lnTo>
                  <a:lnTo>
                    <a:pt x="4262" y="2857"/>
                  </a:lnTo>
                  <a:close/>
                  <a:moveTo>
                    <a:pt x="4659" y="2883"/>
                  </a:moveTo>
                  <a:lnTo>
                    <a:pt x="4845" y="3069"/>
                  </a:lnTo>
                  <a:lnTo>
                    <a:pt x="4659" y="3255"/>
                  </a:lnTo>
                  <a:lnTo>
                    <a:pt x="4474" y="3069"/>
                  </a:lnTo>
                  <a:lnTo>
                    <a:pt x="4659" y="2883"/>
                  </a:lnTo>
                  <a:close/>
                  <a:moveTo>
                    <a:pt x="4684" y="2857"/>
                  </a:moveTo>
                  <a:lnTo>
                    <a:pt x="4871" y="2671"/>
                  </a:lnTo>
                  <a:lnTo>
                    <a:pt x="5057" y="2857"/>
                  </a:lnTo>
                  <a:lnTo>
                    <a:pt x="4871" y="3043"/>
                  </a:lnTo>
                  <a:lnTo>
                    <a:pt x="4684" y="2857"/>
                  </a:lnTo>
                  <a:close/>
                  <a:moveTo>
                    <a:pt x="5083" y="2883"/>
                  </a:moveTo>
                  <a:lnTo>
                    <a:pt x="5269" y="3069"/>
                  </a:lnTo>
                  <a:lnTo>
                    <a:pt x="5083" y="3255"/>
                  </a:lnTo>
                  <a:lnTo>
                    <a:pt x="4896" y="3069"/>
                  </a:lnTo>
                  <a:lnTo>
                    <a:pt x="5083" y="2883"/>
                  </a:lnTo>
                  <a:close/>
                  <a:moveTo>
                    <a:pt x="5108" y="2857"/>
                  </a:moveTo>
                  <a:lnTo>
                    <a:pt x="5294" y="2671"/>
                  </a:lnTo>
                  <a:lnTo>
                    <a:pt x="5481" y="2857"/>
                  </a:lnTo>
                  <a:lnTo>
                    <a:pt x="5294" y="3043"/>
                  </a:lnTo>
                  <a:lnTo>
                    <a:pt x="5108" y="2857"/>
                  </a:lnTo>
                  <a:close/>
                  <a:moveTo>
                    <a:pt x="5506" y="2883"/>
                  </a:moveTo>
                  <a:lnTo>
                    <a:pt x="5693" y="3069"/>
                  </a:lnTo>
                  <a:lnTo>
                    <a:pt x="5506" y="3255"/>
                  </a:lnTo>
                  <a:lnTo>
                    <a:pt x="5320" y="3069"/>
                  </a:lnTo>
                  <a:lnTo>
                    <a:pt x="5506" y="2883"/>
                  </a:lnTo>
                  <a:close/>
                  <a:moveTo>
                    <a:pt x="5532" y="2857"/>
                  </a:moveTo>
                  <a:lnTo>
                    <a:pt x="5718" y="2671"/>
                  </a:lnTo>
                  <a:lnTo>
                    <a:pt x="5903" y="2857"/>
                  </a:lnTo>
                  <a:lnTo>
                    <a:pt x="5718" y="3043"/>
                  </a:lnTo>
                  <a:lnTo>
                    <a:pt x="5532" y="2857"/>
                  </a:lnTo>
                  <a:close/>
                  <a:moveTo>
                    <a:pt x="5930" y="2883"/>
                  </a:moveTo>
                  <a:lnTo>
                    <a:pt x="6115" y="3069"/>
                  </a:lnTo>
                  <a:lnTo>
                    <a:pt x="5930" y="3255"/>
                  </a:lnTo>
                  <a:lnTo>
                    <a:pt x="5744" y="3069"/>
                  </a:lnTo>
                  <a:lnTo>
                    <a:pt x="5930" y="2883"/>
                  </a:lnTo>
                  <a:close/>
                  <a:moveTo>
                    <a:pt x="5956" y="2857"/>
                  </a:moveTo>
                  <a:lnTo>
                    <a:pt x="6142" y="2671"/>
                  </a:lnTo>
                  <a:lnTo>
                    <a:pt x="6327" y="2857"/>
                  </a:lnTo>
                  <a:lnTo>
                    <a:pt x="6142" y="3043"/>
                  </a:lnTo>
                  <a:lnTo>
                    <a:pt x="5956" y="2857"/>
                  </a:lnTo>
                  <a:close/>
                  <a:moveTo>
                    <a:pt x="6354" y="2883"/>
                  </a:moveTo>
                  <a:lnTo>
                    <a:pt x="6539" y="3069"/>
                  </a:lnTo>
                  <a:lnTo>
                    <a:pt x="6354" y="3255"/>
                  </a:lnTo>
                  <a:lnTo>
                    <a:pt x="6166" y="3069"/>
                  </a:lnTo>
                  <a:lnTo>
                    <a:pt x="6354" y="2883"/>
                  </a:lnTo>
                  <a:close/>
                  <a:moveTo>
                    <a:pt x="6378" y="2857"/>
                  </a:moveTo>
                  <a:lnTo>
                    <a:pt x="6566" y="2671"/>
                  </a:lnTo>
                  <a:lnTo>
                    <a:pt x="6751" y="2857"/>
                  </a:lnTo>
                  <a:lnTo>
                    <a:pt x="6566" y="3043"/>
                  </a:lnTo>
                  <a:lnTo>
                    <a:pt x="6378" y="2857"/>
                  </a:lnTo>
                  <a:close/>
                  <a:moveTo>
                    <a:pt x="6776" y="2883"/>
                  </a:moveTo>
                  <a:lnTo>
                    <a:pt x="6963" y="3069"/>
                  </a:lnTo>
                  <a:lnTo>
                    <a:pt x="6776" y="3255"/>
                  </a:lnTo>
                  <a:lnTo>
                    <a:pt x="6590" y="3069"/>
                  </a:lnTo>
                  <a:lnTo>
                    <a:pt x="6776" y="2883"/>
                  </a:lnTo>
                  <a:close/>
                  <a:moveTo>
                    <a:pt x="6802" y="2857"/>
                  </a:moveTo>
                  <a:lnTo>
                    <a:pt x="6988" y="2671"/>
                  </a:lnTo>
                  <a:lnTo>
                    <a:pt x="7175" y="2857"/>
                  </a:lnTo>
                  <a:lnTo>
                    <a:pt x="6988" y="3043"/>
                  </a:lnTo>
                  <a:lnTo>
                    <a:pt x="6802" y="2857"/>
                  </a:lnTo>
                  <a:close/>
                  <a:moveTo>
                    <a:pt x="7200" y="2883"/>
                  </a:moveTo>
                  <a:lnTo>
                    <a:pt x="7386" y="3069"/>
                  </a:lnTo>
                  <a:lnTo>
                    <a:pt x="7200" y="3255"/>
                  </a:lnTo>
                  <a:lnTo>
                    <a:pt x="7014" y="3069"/>
                  </a:lnTo>
                  <a:lnTo>
                    <a:pt x="7200" y="2883"/>
                  </a:lnTo>
                  <a:close/>
                  <a:moveTo>
                    <a:pt x="7226" y="2857"/>
                  </a:moveTo>
                  <a:lnTo>
                    <a:pt x="7412" y="2671"/>
                  </a:lnTo>
                  <a:lnTo>
                    <a:pt x="7598" y="2857"/>
                  </a:lnTo>
                  <a:lnTo>
                    <a:pt x="7412" y="3043"/>
                  </a:lnTo>
                  <a:lnTo>
                    <a:pt x="7226" y="2857"/>
                  </a:lnTo>
                  <a:close/>
                  <a:moveTo>
                    <a:pt x="7624" y="2883"/>
                  </a:moveTo>
                  <a:lnTo>
                    <a:pt x="7810" y="3069"/>
                  </a:lnTo>
                  <a:lnTo>
                    <a:pt x="7624" y="3255"/>
                  </a:lnTo>
                  <a:lnTo>
                    <a:pt x="7437" y="3069"/>
                  </a:lnTo>
                  <a:lnTo>
                    <a:pt x="7624" y="2883"/>
                  </a:lnTo>
                  <a:close/>
                  <a:moveTo>
                    <a:pt x="7649" y="2857"/>
                  </a:moveTo>
                  <a:lnTo>
                    <a:pt x="7836" y="2671"/>
                  </a:lnTo>
                  <a:lnTo>
                    <a:pt x="8022" y="2857"/>
                  </a:lnTo>
                  <a:lnTo>
                    <a:pt x="7836" y="3043"/>
                  </a:lnTo>
                  <a:lnTo>
                    <a:pt x="7649" y="2857"/>
                  </a:lnTo>
                  <a:close/>
                  <a:moveTo>
                    <a:pt x="8047" y="2883"/>
                  </a:moveTo>
                  <a:lnTo>
                    <a:pt x="8234" y="3069"/>
                  </a:lnTo>
                  <a:lnTo>
                    <a:pt x="8047" y="3255"/>
                  </a:lnTo>
                  <a:lnTo>
                    <a:pt x="7861" y="3069"/>
                  </a:lnTo>
                  <a:lnTo>
                    <a:pt x="8047" y="2883"/>
                  </a:lnTo>
                  <a:close/>
                  <a:moveTo>
                    <a:pt x="8073" y="2857"/>
                  </a:moveTo>
                  <a:lnTo>
                    <a:pt x="8259" y="2671"/>
                  </a:lnTo>
                  <a:lnTo>
                    <a:pt x="8446" y="2857"/>
                  </a:lnTo>
                  <a:lnTo>
                    <a:pt x="8259" y="3043"/>
                  </a:lnTo>
                  <a:lnTo>
                    <a:pt x="8073" y="2857"/>
                  </a:lnTo>
                  <a:close/>
                  <a:moveTo>
                    <a:pt x="8470" y="2883"/>
                  </a:moveTo>
                  <a:lnTo>
                    <a:pt x="8656" y="3069"/>
                  </a:lnTo>
                  <a:lnTo>
                    <a:pt x="8470" y="3255"/>
                  </a:lnTo>
                  <a:lnTo>
                    <a:pt x="8285" y="3069"/>
                  </a:lnTo>
                  <a:lnTo>
                    <a:pt x="8470" y="2883"/>
                  </a:lnTo>
                  <a:close/>
                  <a:moveTo>
                    <a:pt x="8497" y="2857"/>
                  </a:moveTo>
                  <a:lnTo>
                    <a:pt x="8682" y="2671"/>
                  </a:lnTo>
                  <a:lnTo>
                    <a:pt x="8868" y="2857"/>
                  </a:lnTo>
                  <a:lnTo>
                    <a:pt x="8682" y="3043"/>
                  </a:lnTo>
                  <a:lnTo>
                    <a:pt x="8497" y="2857"/>
                  </a:lnTo>
                  <a:close/>
                  <a:moveTo>
                    <a:pt x="8894" y="2883"/>
                  </a:moveTo>
                  <a:lnTo>
                    <a:pt x="9080" y="3069"/>
                  </a:lnTo>
                  <a:lnTo>
                    <a:pt x="8894" y="3255"/>
                  </a:lnTo>
                  <a:lnTo>
                    <a:pt x="8707" y="3069"/>
                  </a:lnTo>
                  <a:lnTo>
                    <a:pt x="8894" y="2883"/>
                  </a:lnTo>
                  <a:close/>
                  <a:moveTo>
                    <a:pt x="8919" y="2857"/>
                  </a:moveTo>
                  <a:lnTo>
                    <a:pt x="9106" y="2671"/>
                  </a:lnTo>
                  <a:lnTo>
                    <a:pt x="9292" y="2857"/>
                  </a:lnTo>
                  <a:lnTo>
                    <a:pt x="9106" y="3043"/>
                  </a:lnTo>
                  <a:lnTo>
                    <a:pt x="8919" y="2857"/>
                  </a:lnTo>
                  <a:close/>
                  <a:moveTo>
                    <a:pt x="9317" y="2883"/>
                  </a:moveTo>
                  <a:lnTo>
                    <a:pt x="9504" y="3069"/>
                  </a:lnTo>
                  <a:lnTo>
                    <a:pt x="9317" y="3255"/>
                  </a:lnTo>
                  <a:lnTo>
                    <a:pt x="9131" y="3069"/>
                  </a:lnTo>
                  <a:lnTo>
                    <a:pt x="9317" y="2883"/>
                  </a:lnTo>
                  <a:close/>
                  <a:moveTo>
                    <a:pt x="9343" y="2857"/>
                  </a:moveTo>
                  <a:lnTo>
                    <a:pt x="9529" y="2671"/>
                  </a:lnTo>
                  <a:lnTo>
                    <a:pt x="9716" y="2857"/>
                  </a:lnTo>
                  <a:lnTo>
                    <a:pt x="9529" y="3043"/>
                  </a:lnTo>
                  <a:lnTo>
                    <a:pt x="9343" y="2857"/>
                  </a:lnTo>
                  <a:close/>
                  <a:moveTo>
                    <a:pt x="9741" y="2883"/>
                  </a:moveTo>
                  <a:lnTo>
                    <a:pt x="9927" y="3069"/>
                  </a:lnTo>
                  <a:lnTo>
                    <a:pt x="9741" y="3255"/>
                  </a:lnTo>
                  <a:lnTo>
                    <a:pt x="9555" y="3069"/>
                  </a:lnTo>
                  <a:lnTo>
                    <a:pt x="9741" y="2883"/>
                  </a:lnTo>
                  <a:close/>
                  <a:moveTo>
                    <a:pt x="9767" y="2857"/>
                  </a:moveTo>
                  <a:lnTo>
                    <a:pt x="9953" y="2671"/>
                  </a:lnTo>
                  <a:lnTo>
                    <a:pt x="10139" y="2857"/>
                  </a:lnTo>
                  <a:lnTo>
                    <a:pt x="9953" y="3043"/>
                  </a:lnTo>
                  <a:lnTo>
                    <a:pt x="9767" y="2857"/>
                  </a:lnTo>
                  <a:close/>
                  <a:moveTo>
                    <a:pt x="10165" y="2883"/>
                  </a:moveTo>
                  <a:lnTo>
                    <a:pt x="10351" y="3069"/>
                  </a:lnTo>
                  <a:lnTo>
                    <a:pt x="10165" y="3255"/>
                  </a:lnTo>
                  <a:lnTo>
                    <a:pt x="9979" y="3069"/>
                  </a:lnTo>
                  <a:lnTo>
                    <a:pt x="10165" y="2883"/>
                  </a:lnTo>
                  <a:close/>
                  <a:moveTo>
                    <a:pt x="10190" y="2857"/>
                  </a:moveTo>
                  <a:lnTo>
                    <a:pt x="10377" y="2671"/>
                  </a:lnTo>
                  <a:lnTo>
                    <a:pt x="10563" y="2857"/>
                  </a:lnTo>
                  <a:lnTo>
                    <a:pt x="10377" y="3043"/>
                  </a:lnTo>
                  <a:lnTo>
                    <a:pt x="10190" y="2857"/>
                  </a:lnTo>
                  <a:close/>
                  <a:moveTo>
                    <a:pt x="10589" y="2883"/>
                  </a:moveTo>
                  <a:lnTo>
                    <a:pt x="10775" y="3069"/>
                  </a:lnTo>
                  <a:lnTo>
                    <a:pt x="10589" y="3255"/>
                  </a:lnTo>
                  <a:lnTo>
                    <a:pt x="10402" y="3069"/>
                  </a:lnTo>
                  <a:lnTo>
                    <a:pt x="10589" y="2883"/>
                  </a:lnTo>
                  <a:close/>
                  <a:moveTo>
                    <a:pt x="10614" y="2857"/>
                  </a:moveTo>
                  <a:lnTo>
                    <a:pt x="10799" y="2671"/>
                  </a:lnTo>
                  <a:lnTo>
                    <a:pt x="10986" y="2857"/>
                  </a:lnTo>
                  <a:lnTo>
                    <a:pt x="10799" y="3043"/>
                  </a:lnTo>
                  <a:lnTo>
                    <a:pt x="10614" y="2857"/>
                  </a:lnTo>
                  <a:close/>
                  <a:moveTo>
                    <a:pt x="11011" y="2883"/>
                  </a:moveTo>
                  <a:lnTo>
                    <a:pt x="11198" y="3069"/>
                  </a:lnTo>
                  <a:lnTo>
                    <a:pt x="11011" y="3255"/>
                  </a:lnTo>
                  <a:lnTo>
                    <a:pt x="10826" y="3069"/>
                  </a:lnTo>
                  <a:lnTo>
                    <a:pt x="11011" y="2883"/>
                  </a:lnTo>
                  <a:close/>
                  <a:moveTo>
                    <a:pt x="11038" y="2857"/>
                  </a:moveTo>
                  <a:lnTo>
                    <a:pt x="11223" y="2671"/>
                  </a:lnTo>
                  <a:lnTo>
                    <a:pt x="11409" y="2857"/>
                  </a:lnTo>
                  <a:lnTo>
                    <a:pt x="11223" y="3043"/>
                  </a:lnTo>
                  <a:lnTo>
                    <a:pt x="11038" y="2857"/>
                  </a:lnTo>
                  <a:close/>
                  <a:moveTo>
                    <a:pt x="11435" y="2883"/>
                  </a:moveTo>
                  <a:lnTo>
                    <a:pt x="11621" y="3069"/>
                  </a:lnTo>
                  <a:lnTo>
                    <a:pt x="11435" y="3255"/>
                  </a:lnTo>
                  <a:lnTo>
                    <a:pt x="11250" y="3069"/>
                  </a:lnTo>
                  <a:lnTo>
                    <a:pt x="11435" y="2883"/>
                  </a:lnTo>
                  <a:close/>
                  <a:moveTo>
                    <a:pt x="11460" y="2857"/>
                  </a:moveTo>
                  <a:lnTo>
                    <a:pt x="11647" y="2671"/>
                  </a:lnTo>
                  <a:lnTo>
                    <a:pt x="11833" y="2857"/>
                  </a:lnTo>
                  <a:lnTo>
                    <a:pt x="11647" y="3043"/>
                  </a:lnTo>
                  <a:lnTo>
                    <a:pt x="11460" y="2857"/>
                  </a:lnTo>
                  <a:close/>
                  <a:moveTo>
                    <a:pt x="11859" y="2883"/>
                  </a:moveTo>
                  <a:lnTo>
                    <a:pt x="12045" y="3069"/>
                  </a:lnTo>
                  <a:lnTo>
                    <a:pt x="11859" y="3255"/>
                  </a:lnTo>
                  <a:lnTo>
                    <a:pt x="11672" y="3069"/>
                  </a:lnTo>
                  <a:lnTo>
                    <a:pt x="11859" y="2883"/>
                  </a:lnTo>
                  <a:close/>
                  <a:moveTo>
                    <a:pt x="11884" y="2857"/>
                  </a:moveTo>
                  <a:lnTo>
                    <a:pt x="12070" y="2671"/>
                  </a:lnTo>
                  <a:lnTo>
                    <a:pt x="12257" y="2857"/>
                  </a:lnTo>
                  <a:lnTo>
                    <a:pt x="12070" y="3043"/>
                  </a:lnTo>
                  <a:lnTo>
                    <a:pt x="11884" y="2857"/>
                  </a:lnTo>
                  <a:close/>
                  <a:moveTo>
                    <a:pt x="12282" y="2883"/>
                  </a:moveTo>
                  <a:lnTo>
                    <a:pt x="12469" y="3069"/>
                  </a:lnTo>
                  <a:lnTo>
                    <a:pt x="12282" y="3255"/>
                  </a:lnTo>
                  <a:lnTo>
                    <a:pt x="12096" y="3069"/>
                  </a:lnTo>
                  <a:lnTo>
                    <a:pt x="12282" y="2883"/>
                  </a:lnTo>
                  <a:close/>
                  <a:moveTo>
                    <a:pt x="12308" y="2857"/>
                  </a:moveTo>
                  <a:lnTo>
                    <a:pt x="12494" y="2671"/>
                  </a:lnTo>
                  <a:lnTo>
                    <a:pt x="12679" y="2857"/>
                  </a:lnTo>
                  <a:lnTo>
                    <a:pt x="12494" y="3043"/>
                  </a:lnTo>
                  <a:lnTo>
                    <a:pt x="12308" y="2857"/>
                  </a:lnTo>
                  <a:close/>
                  <a:moveTo>
                    <a:pt x="12706" y="2883"/>
                  </a:moveTo>
                  <a:lnTo>
                    <a:pt x="12891" y="3069"/>
                  </a:lnTo>
                  <a:lnTo>
                    <a:pt x="12706" y="3255"/>
                  </a:lnTo>
                  <a:lnTo>
                    <a:pt x="12520" y="3069"/>
                  </a:lnTo>
                  <a:lnTo>
                    <a:pt x="12706" y="2883"/>
                  </a:lnTo>
                  <a:close/>
                  <a:moveTo>
                    <a:pt x="12730" y="2857"/>
                  </a:moveTo>
                  <a:lnTo>
                    <a:pt x="12918" y="2671"/>
                  </a:lnTo>
                  <a:lnTo>
                    <a:pt x="13103" y="2857"/>
                  </a:lnTo>
                  <a:lnTo>
                    <a:pt x="12918" y="3043"/>
                  </a:lnTo>
                  <a:lnTo>
                    <a:pt x="12730" y="2857"/>
                  </a:lnTo>
                  <a:close/>
                  <a:moveTo>
                    <a:pt x="13130" y="2883"/>
                  </a:moveTo>
                  <a:lnTo>
                    <a:pt x="13315" y="3069"/>
                  </a:lnTo>
                  <a:lnTo>
                    <a:pt x="13130" y="3255"/>
                  </a:lnTo>
                  <a:lnTo>
                    <a:pt x="12942" y="3069"/>
                  </a:lnTo>
                  <a:lnTo>
                    <a:pt x="13130" y="2883"/>
                  </a:lnTo>
                  <a:close/>
                  <a:moveTo>
                    <a:pt x="13154" y="2857"/>
                  </a:moveTo>
                  <a:lnTo>
                    <a:pt x="13340" y="2671"/>
                  </a:lnTo>
                  <a:lnTo>
                    <a:pt x="13527" y="2857"/>
                  </a:lnTo>
                  <a:lnTo>
                    <a:pt x="13340" y="3043"/>
                  </a:lnTo>
                  <a:lnTo>
                    <a:pt x="13154" y="2857"/>
                  </a:lnTo>
                  <a:close/>
                  <a:moveTo>
                    <a:pt x="13552" y="2883"/>
                  </a:moveTo>
                  <a:lnTo>
                    <a:pt x="13739" y="3069"/>
                  </a:lnTo>
                  <a:lnTo>
                    <a:pt x="13552" y="3255"/>
                  </a:lnTo>
                  <a:lnTo>
                    <a:pt x="13366" y="3069"/>
                  </a:lnTo>
                  <a:lnTo>
                    <a:pt x="13552" y="2883"/>
                  </a:lnTo>
                  <a:close/>
                  <a:moveTo>
                    <a:pt x="13578" y="2857"/>
                  </a:moveTo>
                  <a:lnTo>
                    <a:pt x="13764" y="2671"/>
                  </a:lnTo>
                  <a:lnTo>
                    <a:pt x="13950" y="2857"/>
                  </a:lnTo>
                  <a:lnTo>
                    <a:pt x="13764" y="3043"/>
                  </a:lnTo>
                  <a:lnTo>
                    <a:pt x="13578" y="2857"/>
                  </a:lnTo>
                  <a:close/>
                  <a:moveTo>
                    <a:pt x="13976" y="2883"/>
                  </a:moveTo>
                  <a:lnTo>
                    <a:pt x="14162" y="3069"/>
                  </a:lnTo>
                  <a:lnTo>
                    <a:pt x="13976" y="3255"/>
                  </a:lnTo>
                  <a:lnTo>
                    <a:pt x="13790" y="3069"/>
                  </a:lnTo>
                  <a:lnTo>
                    <a:pt x="13976" y="2883"/>
                  </a:lnTo>
                  <a:close/>
                  <a:moveTo>
                    <a:pt x="14002" y="2857"/>
                  </a:moveTo>
                  <a:lnTo>
                    <a:pt x="14188" y="2671"/>
                  </a:lnTo>
                  <a:lnTo>
                    <a:pt x="14374" y="2857"/>
                  </a:lnTo>
                  <a:lnTo>
                    <a:pt x="14188" y="3043"/>
                  </a:lnTo>
                  <a:lnTo>
                    <a:pt x="14002" y="2857"/>
                  </a:lnTo>
                  <a:close/>
                  <a:moveTo>
                    <a:pt x="14002" y="2433"/>
                  </a:moveTo>
                  <a:lnTo>
                    <a:pt x="14188" y="2247"/>
                  </a:lnTo>
                  <a:lnTo>
                    <a:pt x="14374" y="2433"/>
                  </a:lnTo>
                  <a:lnTo>
                    <a:pt x="14188" y="2620"/>
                  </a:lnTo>
                  <a:lnTo>
                    <a:pt x="14002" y="2433"/>
                  </a:lnTo>
                  <a:close/>
                  <a:moveTo>
                    <a:pt x="14002" y="2010"/>
                  </a:moveTo>
                  <a:lnTo>
                    <a:pt x="14188" y="1823"/>
                  </a:lnTo>
                  <a:lnTo>
                    <a:pt x="14374" y="2010"/>
                  </a:lnTo>
                  <a:lnTo>
                    <a:pt x="14188" y="2196"/>
                  </a:lnTo>
                  <a:lnTo>
                    <a:pt x="14002" y="2010"/>
                  </a:lnTo>
                  <a:close/>
                  <a:moveTo>
                    <a:pt x="14002" y="1586"/>
                  </a:moveTo>
                  <a:lnTo>
                    <a:pt x="14188" y="1401"/>
                  </a:lnTo>
                  <a:lnTo>
                    <a:pt x="14374" y="1586"/>
                  </a:lnTo>
                  <a:lnTo>
                    <a:pt x="14188" y="1772"/>
                  </a:lnTo>
                  <a:lnTo>
                    <a:pt x="14002" y="1586"/>
                  </a:lnTo>
                  <a:close/>
                  <a:moveTo>
                    <a:pt x="14002" y="1162"/>
                  </a:moveTo>
                  <a:lnTo>
                    <a:pt x="14188" y="976"/>
                  </a:lnTo>
                  <a:lnTo>
                    <a:pt x="14374" y="1162"/>
                  </a:lnTo>
                  <a:lnTo>
                    <a:pt x="14188" y="1350"/>
                  </a:lnTo>
                  <a:lnTo>
                    <a:pt x="14002" y="1162"/>
                  </a:lnTo>
                  <a:close/>
                  <a:moveTo>
                    <a:pt x="14162" y="1374"/>
                  </a:moveTo>
                  <a:lnTo>
                    <a:pt x="13976" y="1562"/>
                  </a:lnTo>
                  <a:lnTo>
                    <a:pt x="13790" y="1374"/>
                  </a:lnTo>
                  <a:lnTo>
                    <a:pt x="13976" y="1189"/>
                  </a:lnTo>
                  <a:lnTo>
                    <a:pt x="14162" y="1374"/>
                  </a:lnTo>
                  <a:close/>
                  <a:moveTo>
                    <a:pt x="13764" y="1350"/>
                  </a:moveTo>
                  <a:lnTo>
                    <a:pt x="13578" y="1162"/>
                  </a:lnTo>
                  <a:lnTo>
                    <a:pt x="13764" y="976"/>
                  </a:lnTo>
                  <a:lnTo>
                    <a:pt x="13950" y="1162"/>
                  </a:lnTo>
                  <a:lnTo>
                    <a:pt x="13764" y="1350"/>
                  </a:lnTo>
                  <a:close/>
                  <a:moveTo>
                    <a:pt x="13739" y="1374"/>
                  </a:moveTo>
                  <a:lnTo>
                    <a:pt x="13552" y="1562"/>
                  </a:lnTo>
                  <a:lnTo>
                    <a:pt x="13366" y="1374"/>
                  </a:lnTo>
                  <a:lnTo>
                    <a:pt x="13552" y="1189"/>
                  </a:lnTo>
                  <a:lnTo>
                    <a:pt x="13739" y="1374"/>
                  </a:lnTo>
                  <a:close/>
                  <a:moveTo>
                    <a:pt x="13340" y="1350"/>
                  </a:moveTo>
                  <a:lnTo>
                    <a:pt x="13154" y="1162"/>
                  </a:lnTo>
                  <a:lnTo>
                    <a:pt x="13340" y="976"/>
                  </a:lnTo>
                  <a:lnTo>
                    <a:pt x="13527" y="1162"/>
                  </a:lnTo>
                  <a:lnTo>
                    <a:pt x="13340" y="1350"/>
                  </a:lnTo>
                  <a:close/>
                  <a:moveTo>
                    <a:pt x="13315" y="1374"/>
                  </a:moveTo>
                  <a:lnTo>
                    <a:pt x="13130" y="1562"/>
                  </a:lnTo>
                  <a:lnTo>
                    <a:pt x="12942" y="1374"/>
                  </a:lnTo>
                  <a:lnTo>
                    <a:pt x="13130" y="1189"/>
                  </a:lnTo>
                  <a:lnTo>
                    <a:pt x="13315" y="1374"/>
                  </a:lnTo>
                  <a:close/>
                  <a:moveTo>
                    <a:pt x="12918" y="1350"/>
                  </a:moveTo>
                  <a:lnTo>
                    <a:pt x="12730" y="1162"/>
                  </a:lnTo>
                  <a:lnTo>
                    <a:pt x="12918" y="976"/>
                  </a:lnTo>
                  <a:lnTo>
                    <a:pt x="13103" y="1162"/>
                  </a:lnTo>
                  <a:lnTo>
                    <a:pt x="12918" y="1350"/>
                  </a:lnTo>
                  <a:close/>
                  <a:moveTo>
                    <a:pt x="12891" y="1374"/>
                  </a:moveTo>
                  <a:lnTo>
                    <a:pt x="12706" y="1562"/>
                  </a:lnTo>
                  <a:lnTo>
                    <a:pt x="12520" y="1374"/>
                  </a:lnTo>
                  <a:lnTo>
                    <a:pt x="12706" y="1189"/>
                  </a:lnTo>
                  <a:lnTo>
                    <a:pt x="12891" y="1374"/>
                  </a:lnTo>
                  <a:close/>
                  <a:moveTo>
                    <a:pt x="12494" y="1350"/>
                  </a:moveTo>
                  <a:lnTo>
                    <a:pt x="12308" y="1162"/>
                  </a:lnTo>
                  <a:lnTo>
                    <a:pt x="12494" y="976"/>
                  </a:lnTo>
                  <a:lnTo>
                    <a:pt x="12679" y="1162"/>
                  </a:lnTo>
                  <a:lnTo>
                    <a:pt x="12494" y="1350"/>
                  </a:lnTo>
                  <a:close/>
                  <a:moveTo>
                    <a:pt x="12469" y="1374"/>
                  </a:moveTo>
                  <a:lnTo>
                    <a:pt x="12282" y="1562"/>
                  </a:lnTo>
                  <a:lnTo>
                    <a:pt x="12096" y="1374"/>
                  </a:lnTo>
                  <a:lnTo>
                    <a:pt x="12282" y="1189"/>
                  </a:lnTo>
                  <a:lnTo>
                    <a:pt x="12469" y="1374"/>
                  </a:lnTo>
                  <a:close/>
                  <a:moveTo>
                    <a:pt x="12070" y="1350"/>
                  </a:moveTo>
                  <a:lnTo>
                    <a:pt x="11884" y="1162"/>
                  </a:lnTo>
                  <a:lnTo>
                    <a:pt x="12070" y="976"/>
                  </a:lnTo>
                  <a:lnTo>
                    <a:pt x="12257" y="1162"/>
                  </a:lnTo>
                  <a:lnTo>
                    <a:pt x="12070" y="1350"/>
                  </a:lnTo>
                  <a:close/>
                  <a:moveTo>
                    <a:pt x="12045" y="1374"/>
                  </a:moveTo>
                  <a:lnTo>
                    <a:pt x="11859" y="1562"/>
                  </a:lnTo>
                  <a:lnTo>
                    <a:pt x="11672" y="1374"/>
                  </a:lnTo>
                  <a:lnTo>
                    <a:pt x="11859" y="1189"/>
                  </a:lnTo>
                  <a:lnTo>
                    <a:pt x="12045" y="1374"/>
                  </a:lnTo>
                  <a:close/>
                  <a:moveTo>
                    <a:pt x="11647" y="1350"/>
                  </a:moveTo>
                  <a:lnTo>
                    <a:pt x="11460" y="1162"/>
                  </a:lnTo>
                  <a:lnTo>
                    <a:pt x="11647" y="976"/>
                  </a:lnTo>
                  <a:lnTo>
                    <a:pt x="11833" y="1162"/>
                  </a:lnTo>
                  <a:lnTo>
                    <a:pt x="11647" y="1350"/>
                  </a:lnTo>
                  <a:close/>
                  <a:moveTo>
                    <a:pt x="11621" y="1374"/>
                  </a:moveTo>
                  <a:lnTo>
                    <a:pt x="11435" y="1562"/>
                  </a:lnTo>
                  <a:lnTo>
                    <a:pt x="11250" y="1374"/>
                  </a:lnTo>
                  <a:lnTo>
                    <a:pt x="11435" y="1189"/>
                  </a:lnTo>
                  <a:lnTo>
                    <a:pt x="11621" y="1374"/>
                  </a:lnTo>
                  <a:close/>
                  <a:moveTo>
                    <a:pt x="11223" y="1350"/>
                  </a:moveTo>
                  <a:lnTo>
                    <a:pt x="11038" y="1162"/>
                  </a:lnTo>
                  <a:lnTo>
                    <a:pt x="11223" y="976"/>
                  </a:lnTo>
                  <a:lnTo>
                    <a:pt x="11409" y="1162"/>
                  </a:lnTo>
                  <a:lnTo>
                    <a:pt x="11223" y="1350"/>
                  </a:lnTo>
                  <a:close/>
                  <a:moveTo>
                    <a:pt x="11198" y="1374"/>
                  </a:moveTo>
                  <a:lnTo>
                    <a:pt x="11011" y="1562"/>
                  </a:lnTo>
                  <a:lnTo>
                    <a:pt x="10826" y="1374"/>
                  </a:lnTo>
                  <a:lnTo>
                    <a:pt x="11011" y="1189"/>
                  </a:lnTo>
                  <a:lnTo>
                    <a:pt x="11198" y="1374"/>
                  </a:lnTo>
                  <a:close/>
                  <a:moveTo>
                    <a:pt x="10799" y="1350"/>
                  </a:moveTo>
                  <a:lnTo>
                    <a:pt x="10614" y="1162"/>
                  </a:lnTo>
                  <a:lnTo>
                    <a:pt x="10799" y="976"/>
                  </a:lnTo>
                  <a:lnTo>
                    <a:pt x="10986" y="1162"/>
                  </a:lnTo>
                  <a:lnTo>
                    <a:pt x="10799" y="1350"/>
                  </a:lnTo>
                  <a:close/>
                  <a:moveTo>
                    <a:pt x="10775" y="1374"/>
                  </a:moveTo>
                  <a:lnTo>
                    <a:pt x="10589" y="1562"/>
                  </a:lnTo>
                  <a:lnTo>
                    <a:pt x="10402" y="1374"/>
                  </a:lnTo>
                  <a:lnTo>
                    <a:pt x="10589" y="1189"/>
                  </a:lnTo>
                  <a:lnTo>
                    <a:pt x="10775" y="1374"/>
                  </a:lnTo>
                  <a:close/>
                  <a:moveTo>
                    <a:pt x="10377" y="1350"/>
                  </a:moveTo>
                  <a:lnTo>
                    <a:pt x="10190" y="1162"/>
                  </a:lnTo>
                  <a:lnTo>
                    <a:pt x="10377" y="976"/>
                  </a:lnTo>
                  <a:lnTo>
                    <a:pt x="10563" y="1162"/>
                  </a:lnTo>
                  <a:lnTo>
                    <a:pt x="10377" y="1350"/>
                  </a:lnTo>
                  <a:close/>
                  <a:moveTo>
                    <a:pt x="10351" y="1374"/>
                  </a:moveTo>
                  <a:lnTo>
                    <a:pt x="10165" y="1562"/>
                  </a:lnTo>
                  <a:lnTo>
                    <a:pt x="9979" y="1374"/>
                  </a:lnTo>
                  <a:lnTo>
                    <a:pt x="10165" y="1189"/>
                  </a:lnTo>
                  <a:lnTo>
                    <a:pt x="10351" y="1374"/>
                  </a:lnTo>
                  <a:close/>
                  <a:moveTo>
                    <a:pt x="9953" y="1350"/>
                  </a:moveTo>
                  <a:lnTo>
                    <a:pt x="9767" y="1162"/>
                  </a:lnTo>
                  <a:lnTo>
                    <a:pt x="9953" y="976"/>
                  </a:lnTo>
                  <a:lnTo>
                    <a:pt x="10139" y="1162"/>
                  </a:lnTo>
                  <a:lnTo>
                    <a:pt x="9953" y="1350"/>
                  </a:lnTo>
                  <a:close/>
                  <a:moveTo>
                    <a:pt x="9927" y="1374"/>
                  </a:moveTo>
                  <a:lnTo>
                    <a:pt x="9741" y="1562"/>
                  </a:lnTo>
                  <a:lnTo>
                    <a:pt x="9555" y="1374"/>
                  </a:lnTo>
                  <a:lnTo>
                    <a:pt x="9741" y="1189"/>
                  </a:lnTo>
                  <a:lnTo>
                    <a:pt x="9927" y="1374"/>
                  </a:lnTo>
                  <a:close/>
                  <a:moveTo>
                    <a:pt x="9529" y="1350"/>
                  </a:moveTo>
                  <a:lnTo>
                    <a:pt x="9343" y="1162"/>
                  </a:lnTo>
                  <a:lnTo>
                    <a:pt x="9529" y="976"/>
                  </a:lnTo>
                  <a:lnTo>
                    <a:pt x="9716" y="1162"/>
                  </a:lnTo>
                  <a:lnTo>
                    <a:pt x="9529" y="1350"/>
                  </a:lnTo>
                  <a:close/>
                  <a:moveTo>
                    <a:pt x="9504" y="1374"/>
                  </a:moveTo>
                  <a:lnTo>
                    <a:pt x="9317" y="1562"/>
                  </a:lnTo>
                  <a:lnTo>
                    <a:pt x="9131" y="1374"/>
                  </a:lnTo>
                  <a:lnTo>
                    <a:pt x="9317" y="1189"/>
                  </a:lnTo>
                  <a:lnTo>
                    <a:pt x="9504" y="1374"/>
                  </a:lnTo>
                  <a:close/>
                  <a:moveTo>
                    <a:pt x="9106" y="1350"/>
                  </a:moveTo>
                  <a:lnTo>
                    <a:pt x="8919" y="1162"/>
                  </a:lnTo>
                  <a:lnTo>
                    <a:pt x="9106" y="976"/>
                  </a:lnTo>
                  <a:lnTo>
                    <a:pt x="9292" y="1162"/>
                  </a:lnTo>
                  <a:lnTo>
                    <a:pt x="9106" y="1350"/>
                  </a:lnTo>
                  <a:close/>
                  <a:moveTo>
                    <a:pt x="9080" y="1374"/>
                  </a:moveTo>
                  <a:lnTo>
                    <a:pt x="8894" y="1562"/>
                  </a:lnTo>
                  <a:lnTo>
                    <a:pt x="8707" y="1374"/>
                  </a:lnTo>
                  <a:lnTo>
                    <a:pt x="8894" y="1189"/>
                  </a:lnTo>
                  <a:lnTo>
                    <a:pt x="9080" y="1374"/>
                  </a:lnTo>
                  <a:close/>
                  <a:moveTo>
                    <a:pt x="8682" y="1350"/>
                  </a:moveTo>
                  <a:lnTo>
                    <a:pt x="8497" y="1162"/>
                  </a:lnTo>
                  <a:lnTo>
                    <a:pt x="8682" y="976"/>
                  </a:lnTo>
                  <a:lnTo>
                    <a:pt x="8868" y="1162"/>
                  </a:lnTo>
                  <a:lnTo>
                    <a:pt x="8682" y="1350"/>
                  </a:lnTo>
                  <a:close/>
                  <a:moveTo>
                    <a:pt x="8656" y="1374"/>
                  </a:moveTo>
                  <a:lnTo>
                    <a:pt x="8470" y="1562"/>
                  </a:lnTo>
                  <a:lnTo>
                    <a:pt x="8285" y="1374"/>
                  </a:lnTo>
                  <a:lnTo>
                    <a:pt x="8470" y="1189"/>
                  </a:lnTo>
                  <a:lnTo>
                    <a:pt x="8656" y="1374"/>
                  </a:lnTo>
                  <a:close/>
                  <a:moveTo>
                    <a:pt x="8259" y="1350"/>
                  </a:moveTo>
                  <a:lnTo>
                    <a:pt x="8073" y="1162"/>
                  </a:lnTo>
                  <a:lnTo>
                    <a:pt x="8259" y="976"/>
                  </a:lnTo>
                  <a:lnTo>
                    <a:pt x="8446" y="1162"/>
                  </a:lnTo>
                  <a:lnTo>
                    <a:pt x="8259" y="1350"/>
                  </a:lnTo>
                  <a:close/>
                  <a:moveTo>
                    <a:pt x="8234" y="1374"/>
                  </a:moveTo>
                  <a:lnTo>
                    <a:pt x="8047" y="1562"/>
                  </a:lnTo>
                  <a:lnTo>
                    <a:pt x="7861" y="1374"/>
                  </a:lnTo>
                  <a:lnTo>
                    <a:pt x="8047" y="1189"/>
                  </a:lnTo>
                  <a:lnTo>
                    <a:pt x="8234" y="1374"/>
                  </a:lnTo>
                  <a:close/>
                  <a:moveTo>
                    <a:pt x="7836" y="1350"/>
                  </a:moveTo>
                  <a:lnTo>
                    <a:pt x="7649" y="1162"/>
                  </a:lnTo>
                  <a:lnTo>
                    <a:pt x="7836" y="976"/>
                  </a:lnTo>
                  <a:lnTo>
                    <a:pt x="8022" y="1162"/>
                  </a:lnTo>
                  <a:lnTo>
                    <a:pt x="7836" y="1350"/>
                  </a:lnTo>
                  <a:close/>
                  <a:moveTo>
                    <a:pt x="7810" y="1374"/>
                  </a:moveTo>
                  <a:lnTo>
                    <a:pt x="7624" y="1562"/>
                  </a:lnTo>
                  <a:lnTo>
                    <a:pt x="7437" y="1374"/>
                  </a:lnTo>
                  <a:lnTo>
                    <a:pt x="7624" y="1189"/>
                  </a:lnTo>
                  <a:lnTo>
                    <a:pt x="7810" y="1374"/>
                  </a:lnTo>
                  <a:close/>
                  <a:moveTo>
                    <a:pt x="7412" y="1350"/>
                  </a:moveTo>
                  <a:lnTo>
                    <a:pt x="7226" y="1162"/>
                  </a:lnTo>
                  <a:lnTo>
                    <a:pt x="7412" y="976"/>
                  </a:lnTo>
                  <a:lnTo>
                    <a:pt x="7598" y="1162"/>
                  </a:lnTo>
                  <a:lnTo>
                    <a:pt x="7412" y="1350"/>
                  </a:lnTo>
                  <a:close/>
                  <a:moveTo>
                    <a:pt x="7386" y="1374"/>
                  </a:moveTo>
                  <a:lnTo>
                    <a:pt x="7200" y="1562"/>
                  </a:lnTo>
                  <a:lnTo>
                    <a:pt x="7014" y="1374"/>
                  </a:lnTo>
                  <a:lnTo>
                    <a:pt x="7200" y="1189"/>
                  </a:lnTo>
                  <a:lnTo>
                    <a:pt x="7386" y="1374"/>
                  </a:lnTo>
                  <a:close/>
                  <a:moveTo>
                    <a:pt x="6988" y="1350"/>
                  </a:moveTo>
                  <a:lnTo>
                    <a:pt x="6802" y="1162"/>
                  </a:lnTo>
                  <a:lnTo>
                    <a:pt x="6988" y="976"/>
                  </a:lnTo>
                  <a:lnTo>
                    <a:pt x="7175" y="1162"/>
                  </a:lnTo>
                  <a:lnTo>
                    <a:pt x="6988" y="1350"/>
                  </a:lnTo>
                  <a:close/>
                  <a:moveTo>
                    <a:pt x="6963" y="1374"/>
                  </a:moveTo>
                  <a:lnTo>
                    <a:pt x="6776" y="1562"/>
                  </a:lnTo>
                  <a:lnTo>
                    <a:pt x="6590" y="1374"/>
                  </a:lnTo>
                  <a:lnTo>
                    <a:pt x="6776" y="1189"/>
                  </a:lnTo>
                  <a:lnTo>
                    <a:pt x="6963" y="1374"/>
                  </a:lnTo>
                  <a:close/>
                  <a:moveTo>
                    <a:pt x="6566" y="1350"/>
                  </a:moveTo>
                  <a:lnTo>
                    <a:pt x="6378" y="1162"/>
                  </a:lnTo>
                  <a:lnTo>
                    <a:pt x="6566" y="976"/>
                  </a:lnTo>
                  <a:lnTo>
                    <a:pt x="6751" y="1162"/>
                  </a:lnTo>
                  <a:lnTo>
                    <a:pt x="6566" y="1350"/>
                  </a:lnTo>
                  <a:close/>
                  <a:moveTo>
                    <a:pt x="6539" y="1374"/>
                  </a:moveTo>
                  <a:lnTo>
                    <a:pt x="6354" y="1562"/>
                  </a:lnTo>
                  <a:lnTo>
                    <a:pt x="6166" y="1374"/>
                  </a:lnTo>
                  <a:lnTo>
                    <a:pt x="6354" y="1189"/>
                  </a:lnTo>
                  <a:lnTo>
                    <a:pt x="6539" y="1374"/>
                  </a:lnTo>
                  <a:close/>
                  <a:moveTo>
                    <a:pt x="6142" y="1350"/>
                  </a:moveTo>
                  <a:lnTo>
                    <a:pt x="5956" y="1162"/>
                  </a:lnTo>
                  <a:lnTo>
                    <a:pt x="6142" y="976"/>
                  </a:lnTo>
                  <a:lnTo>
                    <a:pt x="6327" y="1162"/>
                  </a:lnTo>
                  <a:lnTo>
                    <a:pt x="6142" y="1350"/>
                  </a:lnTo>
                  <a:close/>
                  <a:moveTo>
                    <a:pt x="6115" y="1374"/>
                  </a:moveTo>
                  <a:lnTo>
                    <a:pt x="5930" y="1562"/>
                  </a:lnTo>
                  <a:lnTo>
                    <a:pt x="5744" y="1374"/>
                  </a:lnTo>
                  <a:lnTo>
                    <a:pt x="5930" y="1189"/>
                  </a:lnTo>
                  <a:lnTo>
                    <a:pt x="6115" y="1374"/>
                  </a:lnTo>
                  <a:close/>
                  <a:moveTo>
                    <a:pt x="5718" y="1350"/>
                  </a:moveTo>
                  <a:lnTo>
                    <a:pt x="5532" y="1162"/>
                  </a:lnTo>
                  <a:lnTo>
                    <a:pt x="5718" y="976"/>
                  </a:lnTo>
                  <a:lnTo>
                    <a:pt x="5903" y="1162"/>
                  </a:lnTo>
                  <a:lnTo>
                    <a:pt x="5718" y="1350"/>
                  </a:lnTo>
                  <a:close/>
                  <a:moveTo>
                    <a:pt x="5693" y="1374"/>
                  </a:moveTo>
                  <a:lnTo>
                    <a:pt x="5506" y="1562"/>
                  </a:lnTo>
                  <a:lnTo>
                    <a:pt x="5320" y="1374"/>
                  </a:lnTo>
                  <a:lnTo>
                    <a:pt x="5506" y="1189"/>
                  </a:lnTo>
                  <a:lnTo>
                    <a:pt x="5693" y="1374"/>
                  </a:lnTo>
                  <a:close/>
                  <a:moveTo>
                    <a:pt x="5294" y="1350"/>
                  </a:moveTo>
                  <a:lnTo>
                    <a:pt x="5108" y="1162"/>
                  </a:lnTo>
                  <a:lnTo>
                    <a:pt x="5294" y="976"/>
                  </a:lnTo>
                  <a:lnTo>
                    <a:pt x="5481" y="1162"/>
                  </a:lnTo>
                  <a:lnTo>
                    <a:pt x="5294" y="1350"/>
                  </a:lnTo>
                  <a:close/>
                  <a:moveTo>
                    <a:pt x="5269" y="1374"/>
                  </a:moveTo>
                  <a:lnTo>
                    <a:pt x="5083" y="1562"/>
                  </a:lnTo>
                  <a:lnTo>
                    <a:pt x="4896" y="1374"/>
                  </a:lnTo>
                  <a:lnTo>
                    <a:pt x="5083" y="1189"/>
                  </a:lnTo>
                  <a:lnTo>
                    <a:pt x="5269" y="1374"/>
                  </a:lnTo>
                  <a:close/>
                  <a:moveTo>
                    <a:pt x="4871" y="1350"/>
                  </a:moveTo>
                  <a:lnTo>
                    <a:pt x="4684" y="1162"/>
                  </a:lnTo>
                  <a:lnTo>
                    <a:pt x="4871" y="976"/>
                  </a:lnTo>
                  <a:lnTo>
                    <a:pt x="5057" y="1162"/>
                  </a:lnTo>
                  <a:lnTo>
                    <a:pt x="4871" y="1350"/>
                  </a:lnTo>
                  <a:close/>
                  <a:moveTo>
                    <a:pt x="4845" y="1374"/>
                  </a:moveTo>
                  <a:lnTo>
                    <a:pt x="4659" y="1562"/>
                  </a:lnTo>
                  <a:lnTo>
                    <a:pt x="4474" y="1374"/>
                  </a:lnTo>
                  <a:lnTo>
                    <a:pt x="4659" y="1189"/>
                  </a:lnTo>
                  <a:lnTo>
                    <a:pt x="4845" y="1374"/>
                  </a:lnTo>
                  <a:close/>
                  <a:moveTo>
                    <a:pt x="4447" y="1350"/>
                  </a:moveTo>
                  <a:lnTo>
                    <a:pt x="4262" y="1162"/>
                  </a:lnTo>
                  <a:lnTo>
                    <a:pt x="4447" y="976"/>
                  </a:lnTo>
                  <a:lnTo>
                    <a:pt x="4633" y="1162"/>
                  </a:lnTo>
                  <a:lnTo>
                    <a:pt x="4447" y="1350"/>
                  </a:lnTo>
                  <a:close/>
                  <a:moveTo>
                    <a:pt x="4423" y="1374"/>
                  </a:moveTo>
                  <a:lnTo>
                    <a:pt x="4235" y="1562"/>
                  </a:lnTo>
                  <a:lnTo>
                    <a:pt x="4050" y="1374"/>
                  </a:lnTo>
                  <a:lnTo>
                    <a:pt x="4235" y="1189"/>
                  </a:lnTo>
                  <a:lnTo>
                    <a:pt x="4423" y="1374"/>
                  </a:lnTo>
                  <a:close/>
                  <a:moveTo>
                    <a:pt x="4023" y="1350"/>
                  </a:moveTo>
                  <a:lnTo>
                    <a:pt x="3838" y="1162"/>
                  </a:lnTo>
                  <a:lnTo>
                    <a:pt x="4023" y="976"/>
                  </a:lnTo>
                  <a:lnTo>
                    <a:pt x="4211" y="1162"/>
                  </a:lnTo>
                  <a:lnTo>
                    <a:pt x="4023" y="1350"/>
                  </a:lnTo>
                  <a:close/>
                  <a:moveTo>
                    <a:pt x="3999" y="1374"/>
                  </a:moveTo>
                  <a:lnTo>
                    <a:pt x="3813" y="1562"/>
                  </a:lnTo>
                  <a:lnTo>
                    <a:pt x="3626" y="1374"/>
                  </a:lnTo>
                  <a:lnTo>
                    <a:pt x="3813" y="1189"/>
                  </a:lnTo>
                  <a:lnTo>
                    <a:pt x="3999" y="1374"/>
                  </a:lnTo>
                  <a:close/>
                  <a:moveTo>
                    <a:pt x="3601" y="1350"/>
                  </a:moveTo>
                  <a:lnTo>
                    <a:pt x="3414" y="1162"/>
                  </a:lnTo>
                  <a:lnTo>
                    <a:pt x="3601" y="976"/>
                  </a:lnTo>
                  <a:lnTo>
                    <a:pt x="3787" y="1162"/>
                  </a:lnTo>
                  <a:lnTo>
                    <a:pt x="3601" y="1350"/>
                  </a:lnTo>
                  <a:close/>
                  <a:moveTo>
                    <a:pt x="3575" y="1374"/>
                  </a:moveTo>
                  <a:lnTo>
                    <a:pt x="3389" y="1562"/>
                  </a:lnTo>
                  <a:lnTo>
                    <a:pt x="3203" y="1374"/>
                  </a:lnTo>
                  <a:lnTo>
                    <a:pt x="3389" y="1189"/>
                  </a:lnTo>
                  <a:lnTo>
                    <a:pt x="3575" y="1374"/>
                  </a:lnTo>
                  <a:close/>
                  <a:moveTo>
                    <a:pt x="3177" y="1350"/>
                  </a:moveTo>
                  <a:lnTo>
                    <a:pt x="2991" y="1162"/>
                  </a:lnTo>
                  <a:lnTo>
                    <a:pt x="3177" y="976"/>
                  </a:lnTo>
                  <a:lnTo>
                    <a:pt x="3363" y="1162"/>
                  </a:lnTo>
                  <a:lnTo>
                    <a:pt x="3177" y="1350"/>
                  </a:lnTo>
                  <a:close/>
                  <a:moveTo>
                    <a:pt x="3152" y="1374"/>
                  </a:moveTo>
                  <a:lnTo>
                    <a:pt x="2965" y="1562"/>
                  </a:lnTo>
                  <a:lnTo>
                    <a:pt x="2779" y="1374"/>
                  </a:lnTo>
                  <a:lnTo>
                    <a:pt x="2965" y="1189"/>
                  </a:lnTo>
                  <a:lnTo>
                    <a:pt x="3152" y="1374"/>
                  </a:lnTo>
                  <a:close/>
                  <a:moveTo>
                    <a:pt x="2753" y="1350"/>
                  </a:moveTo>
                  <a:lnTo>
                    <a:pt x="2567" y="1162"/>
                  </a:lnTo>
                  <a:lnTo>
                    <a:pt x="2753" y="976"/>
                  </a:lnTo>
                  <a:lnTo>
                    <a:pt x="2940" y="1162"/>
                  </a:lnTo>
                  <a:lnTo>
                    <a:pt x="2753" y="1350"/>
                  </a:lnTo>
                  <a:close/>
                  <a:moveTo>
                    <a:pt x="2728" y="1374"/>
                  </a:moveTo>
                  <a:lnTo>
                    <a:pt x="2543" y="1562"/>
                  </a:lnTo>
                  <a:lnTo>
                    <a:pt x="2355" y="1374"/>
                  </a:lnTo>
                  <a:lnTo>
                    <a:pt x="2543" y="1189"/>
                  </a:lnTo>
                  <a:lnTo>
                    <a:pt x="2728" y="1374"/>
                  </a:lnTo>
                  <a:close/>
                  <a:moveTo>
                    <a:pt x="2331" y="1350"/>
                  </a:moveTo>
                  <a:lnTo>
                    <a:pt x="2143" y="1162"/>
                  </a:lnTo>
                  <a:lnTo>
                    <a:pt x="2331" y="976"/>
                  </a:lnTo>
                  <a:lnTo>
                    <a:pt x="2516" y="1162"/>
                  </a:lnTo>
                  <a:lnTo>
                    <a:pt x="2331" y="1350"/>
                  </a:lnTo>
                  <a:close/>
                  <a:moveTo>
                    <a:pt x="2304" y="1374"/>
                  </a:moveTo>
                  <a:lnTo>
                    <a:pt x="2119" y="1562"/>
                  </a:lnTo>
                  <a:lnTo>
                    <a:pt x="1933" y="1374"/>
                  </a:lnTo>
                  <a:lnTo>
                    <a:pt x="2119" y="1189"/>
                  </a:lnTo>
                  <a:lnTo>
                    <a:pt x="2304" y="1374"/>
                  </a:lnTo>
                  <a:close/>
                  <a:moveTo>
                    <a:pt x="1907" y="1350"/>
                  </a:moveTo>
                  <a:lnTo>
                    <a:pt x="1721" y="1162"/>
                  </a:lnTo>
                  <a:lnTo>
                    <a:pt x="1907" y="976"/>
                  </a:lnTo>
                  <a:lnTo>
                    <a:pt x="2092" y="1162"/>
                  </a:lnTo>
                  <a:lnTo>
                    <a:pt x="1907" y="1350"/>
                  </a:lnTo>
                  <a:close/>
                  <a:moveTo>
                    <a:pt x="1882" y="1374"/>
                  </a:moveTo>
                  <a:lnTo>
                    <a:pt x="1695" y="1562"/>
                  </a:lnTo>
                  <a:lnTo>
                    <a:pt x="1509" y="1374"/>
                  </a:lnTo>
                  <a:lnTo>
                    <a:pt x="1695" y="1189"/>
                  </a:lnTo>
                  <a:lnTo>
                    <a:pt x="1882" y="1374"/>
                  </a:lnTo>
                  <a:close/>
                  <a:moveTo>
                    <a:pt x="1483" y="1350"/>
                  </a:moveTo>
                  <a:lnTo>
                    <a:pt x="1297" y="1162"/>
                  </a:lnTo>
                  <a:lnTo>
                    <a:pt x="1483" y="976"/>
                  </a:lnTo>
                  <a:lnTo>
                    <a:pt x="1670" y="1162"/>
                  </a:lnTo>
                  <a:lnTo>
                    <a:pt x="1483" y="1350"/>
                  </a:lnTo>
                  <a:close/>
                  <a:moveTo>
                    <a:pt x="1458" y="1374"/>
                  </a:moveTo>
                  <a:lnTo>
                    <a:pt x="1272" y="1562"/>
                  </a:lnTo>
                  <a:lnTo>
                    <a:pt x="1085" y="1374"/>
                  </a:lnTo>
                  <a:lnTo>
                    <a:pt x="1272" y="1189"/>
                  </a:lnTo>
                  <a:lnTo>
                    <a:pt x="1458" y="1374"/>
                  </a:lnTo>
                  <a:close/>
                  <a:moveTo>
                    <a:pt x="1060" y="1350"/>
                  </a:moveTo>
                  <a:lnTo>
                    <a:pt x="873" y="1162"/>
                  </a:lnTo>
                  <a:lnTo>
                    <a:pt x="1060" y="976"/>
                  </a:lnTo>
                  <a:lnTo>
                    <a:pt x="1246" y="1162"/>
                  </a:lnTo>
                  <a:lnTo>
                    <a:pt x="1060" y="1350"/>
                  </a:lnTo>
                  <a:close/>
                  <a:moveTo>
                    <a:pt x="1034" y="1374"/>
                  </a:moveTo>
                  <a:lnTo>
                    <a:pt x="848" y="1562"/>
                  </a:lnTo>
                  <a:lnTo>
                    <a:pt x="663" y="1374"/>
                  </a:lnTo>
                  <a:lnTo>
                    <a:pt x="848" y="1189"/>
                  </a:lnTo>
                  <a:lnTo>
                    <a:pt x="1034" y="1374"/>
                  </a:lnTo>
                  <a:close/>
                  <a:moveTo>
                    <a:pt x="636" y="1350"/>
                  </a:moveTo>
                  <a:lnTo>
                    <a:pt x="451" y="1162"/>
                  </a:lnTo>
                  <a:lnTo>
                    <a:pt x="636" y="976"/>
                  </a:lnTo>
                  <a:lnTo>
                    <a:pt x="822" y="1162"/>
                  </a:lnTo>
                  <a:lnTo>
                    <a:pt x="636" y="1350"/>
                  </a:lnTo>
                  <a:close/>
                  <a:moveTo>
                    <a:pt x="610" y="1374"/>
                  </a:moveTo>
                  <a:lnTo>
                    <a:pt x="424" y="1562"/>
                  </a:lnTo>
                  <a:lnTo>
                    <a:pt x="239" y="1374"/>
                  </a:lnTo>
                  <a:lnTo>
                    <a:pt x="424" y="1189"/>
                  </a:lnTo>
                  <a:lnTo>
                    <a:pt x="610" y="1374"/>
                  </a:lnTo>
                  <a:close/>
                  <a:moveTo>
                    <a:pt x="610" y="1798"/>
                  </a:moveTo>
                  <a:lnTo>
                    <a:pt x="424" y="1984"/>
                  </a:lnTo>
                  <a:lnTo>
                    <a:pt x="239" y="1798"/>
                  </a:lnTo>
                  <a:lnTo>
                    <a:pt x="424" y="1613"/>
                  </a:lnTo>
                  <a:lnTo>
                    <a:pt x="610" y="1798"/>
                  </a:lnTo>
                  <a:close/>
                  <a:moveTo>
                    <a:pt x="610" y="2223"/>
                  </a:moveTo>
                  <a:lnTo>
                    <a:pt x="424" y="2408"/>
                  </a:lnTo>
                  <a:lnTo>
                    <a:pt x="239" y="2223"/>
                  </a:lnTo>
                  <a:lnTo>
                    <a:pt x="424" y="2035"/>
                  </a:lnTo>
                  <a:lnTo>
                    <a:pt x="610" y="2223"/>
                  </a:lnTo>
                  <a:close/>
                  <a:moveTo>
                    <a:pt x="610" y="2645"/>
                  </a:moveTo>
                  <a:lnTo>
                    <a:pt x="424" y="2832"/>
                  </a:lnTo>
                  <a:lnTo>
                    <a:pt x="239" y="2645"/>
                  </a:lnTo>
                  <a:lnTo>
                    <a:pt x="424" y="2459"/>
                  </a:lnTo>
                  <a:lnTo>
                    <a:pt x="610" y="2645"/>
                  </a:lnTo>
                  <a:close/>
                  <a:moveTo>
                    <a:pt x="610" y="3069"/>
                  </a:moveTo>
                  <a:lnTo>
                    <a:pt x="424" y="3255"/>
                  </a:lnTo>
                  <a:lnTo>
                    <a:pt x="239" y="3069"/>
                  </a:lnTo>
                  <a:lnTo>
                    <a:pt x="424" y="2883"/>
                  </a:lnTo>
                  <a:lnTo>
                    <a:pt x="610" y="3069"/>
                  </a:lnTo>
                  <a:close/>
                  <a:moveTo>
                    <a:pt x="610" y="3493"/>
                  </a:moveTo>
                  <a:lnTo>
                    <a:pt x="424" y="3679"/>
                  </a:lnTo>
                  <a:lnTo>
                    <a:pt x="239" y="3493"/>
                  </a:lnTo>
                  <a:lnTo>
                    <a:pt x="424" y="3306"/>
                  </a:lnTo>
                  <a:lnTo>
                    <a:pt x="610" y="3493"/>
                  </a:lnTo>
                  <a:close/>
                  <a:moveTo>
                    <a:pt x="451" y="3281"/>
                  </a:moveTo>
                  <a:lnTo>
                    <a:pt x="636" y="3094"/>
                  </a:lnTo>
                  <a:lnTo>
                    <a:pt x="822" y="3281"/>
                  </a:lnTo>
                  <a:lnTo>
                    <a:pt x="636" y="3467"/>
                  </a:lnTo>
                  <a:lnTo>
                    <a:pt x="451" y="3281"/>
                  </a:lnTo>
                  <a:close/>
                  <a:moveTo>
                    <a:pt x="848" y="3306"/>
                  </a:moveTo>
                  <a:lnTo>
                    <a:pt x="1034" y="3493"/>
                  </a:lnTo>
                  <a:lnTo>
                    <a:pt x="848" y="3679"/>
                  </a:lnTo>
                  <a:lnTo>
                    <a:pt x="663" y="3493"/>
                  </a:lnTo>
                  <a:lnTo>
                    <a:pt x="848" y="3306"/>
                  </a:lnTo>
                  <a:close/>
                  <a:moveTo>
                    <a:pt x="873" y="3281"/>
                  </a:moveTo>
                  <a:lnTo>
                    <a:pt x="1060" y="3094"/>
                  </a:lnTo>
                  <a:lnTo>
                    <a:pt x="1246" y="3281"/>
                  </a:lnTo>
                  <a:lnTo>
                    <a:pt x="1060" y="3467"/>
                  </a:lnTo>
                  <a:lnTo>
                    <a:pt x="873" y="3281"/>
                  </a:lnTo>
                  <a:close/>
                  <a:moveTo>
                    <a:pt x="1272" y="3306"/>
                  </a:moveTo>
                  <a:lnTo>
                    <a:pt x="1458" y="3493"/>
                  </a:lnTo>
                  <a:lnTo>
                    <a:pt x="1272" y="3679"/>
                  </a:lnTo>
                  <a:lnTo>
                    <a:pt x="1085" y="3493"/>
                  </a:lnTo>
                  <a:lnTo>
                    <a:pt x="1272" y="3306"/>
                  </a:lnTo>
                  <a:close/>
                  <a:moveTo>
                    <a:pt x="1297" y="3281"/>
                  </a:moveTo>
                  <a:lnTo>
                    <a:pt x="1483" y="3094"/>
                  </a:lnTo>
                  <a:lnTo>
                    <a:pt x="1670" y="3281"/>
                  </a:lnTo>
                  <a:lnTo>
                    <a:pt x="1483" y="3467"/>
                  </a:lnTo>
                  <a:lnTo>
                    <a:pt x="1297" y="3281"/>
                  </a:lnTo>
                  <a:close/>
                  <a:moveTo>
                    <a:pt x="1695" y="3306"/>
                  </a:moveTo>
                  <a:lnTo>
                    <a:pt x="1882" y="3493"/>
                  </a:lnTo>
                  <a:lnTo>
                    <a:pt x="1695" y="3679"/>
                  </a:lnTo>
                  <a:lnTo>
                    <a:pt x="1509" y="3493"/>
                  </a:lnTo>
                  <a:lnTo>
                    <a:pt x="1695" y="3306"/>
                  </a:lnTo>
                  <a:close/>
                  <a:moveTo>
                    <a:pt x="1721" y="3281"/>
                  </a:moveTo>
                  <a:lnTo>
                    <a:pt x="1907" y="3094"/>
                  </a:lnTo>
                  <a:lnTo>
                    <a:pt x="2092" y="3281"/>
                  </a:lnTo>
                  <a:lnTo>
                    <a:pt x="1907" y="3467"/>
                  </a:lnTo>
                  <a:lnTo>
                    <a:pt x="1721" y="3281"/>
                  </a:lnTo>
                  <a:close/>
                  <a:moveTo>
                    <a:pt x="2119" y="3306"/>
                  </a:moveTo>
                  <a:lnTo>
                    <a:pt x="2304" y="3493"/>
                  </a:lnTo>
                  <a:lnTo>
                    <a:pt x="2119" y="3679"/>
                  </a:lnTo>
                  <a:lnTo>
                    <a:pt x="1933" y="3493"/>
                  </a:lnTo>
                  <a:lnTo>
                    <a:pt x="2119" y="3306"/>
                  </a:lnTo>
                  <a:close/>
                  <a:moveTo>
                    <a:pt x="2143" y="3281"/>
                  </a:moveTo>
                  <a:lnTo>
                    <a:pt x="2331" y="3094"/>
                  </a:lnTo>
                  <a:lnTo>
                    <a:pt x="2516" y="3281"/>
                  </a:lnTo>
                  <a:lnTo>
                    <a:pt x="2331" y="3467"/>
                  </a:lnTo>
                  <a:lnTo>
                    <a:pt x="2143" y="3281"/>
                  </a:lnTo>
                  <a:close/>
                  <a:moveTo>
                    <a:pt x="2543" y="3306"/>
                  </a:moveTo>
                  <a:lnTo>
                    <a:pt x="2728" y="3493"/>
                  </a:lnTo>
                  <a:lnTo>
                    <a:pt x="2543" y="3679"/>
                  </a:lnTo>
                  <a:lnTo>
                    <a:pt x="2355" y="3493"/>
                  </a:lnTo>
                  <a:lnTo>
                    <a:pt x="2543" y="3306"/>
                  </a:lnTo>
                  <a:close/>
                  <a:moveTo>
                    <a:pt x="2567" y="3281"/>
                  </a:moveTo>
                  <a:lnTo>
                    <a:pt x="2753" y="3094"/>
                  </a:lnTo>
                  <a:lnTo>
                    <a:pt x="2940" y="3281"/>
                  </a:lnTo>
                  <a:lnTo>
                    <a:pt x="2753" y="3467"/>
                  </a:lnTo>
                  <a:lnTo>
                    <a:pt x="2567" y="3281"/>
                  </a:lnTo>
                  <a:close/>
                  <a:moveTo>
                    <a:pt x="2965" y="3306"/>
                  </a:moveTo>
                  <a:lnTo>
                    <a:pt x="3152" y="3493"/>
                  </a:lnTo>
                  <a:lnTo>
                    <a:pt x="2965" y="3679"/>
                  </a:lnTo>
                  <a:lnTo>
                    <a:pt x="2779" y="3493"/>
                  </a:lnTo>
                  <a:lnTo>
                    <a:pt x="2965" y="3306"/>
                  </a:lnTo>
                  <a:close/>
                  <a:moveTo>
                    <a:pt x="2991" y="3281"/>
                  </a:moveTo>
                  <a:lnTo>
                    <a:pt x="3177" y="3094"/>
                  </a:lnTo>
                  <a:lnTo>
                    <a:pt x="3363" y="3281"/>
                  </a:lnTo>
                  <a:lnTo>
                    <a:pt x="3177" y="3467"/>
                  </a:lnTo>
                  <a:lnTo>
                    <a:pt x="2991" y="3281"/>
                  </a:lnTo>
                  <a:close/>
                  <a:moveTo>
                    <a:pt x="3389" y="3306"/>
                  </a:moveTo>
                  <a:lnTo>
                    <a:pt x="3575" y="3493"/>
                  </a:lnTo>
                  <a:lnTo>
                    <a:pt x="3389" y="3679"/>
                  </a:lnTo>
                  <a:lnTo>
                    <a:pt x="3203" y="3493"/>
                  </a:lnTo>
                  <a:lnTo>
                    <a:pt x="3389" y="3306"/>
                  </a:lnTo>
                  <a:close/>
                  <a:moveTo>
                    <a:pt x="3414" y="3281"/>
                  </a:moveTo>
                  <a:lnTo>
                    <a:pt x="3601" y="3094"/>
                  </a:lnTo>
                  <a:lnTo>
                    <a:pt x="3787" y="3281"/>
                  </a:lnTo>
                  <a:lnTo>
                    <a:pt x="3601" y="3467"/>
                  </a:lnTo>
                  <a:lnTo>
                    <a:pt x="3414" y="3281"/>
                  </a:lnTo>
                  <a:close/>
                  <a:moveTo>
                    <a:pt x="3813" y="3306"/>
                  </a:moveTo>
                  <a:lnTo>
                    <a:pt x="3999" y="3493"/>
                  </a:lnTo>
                  <a:lnTo>
                    <a:pt x="3813" y="3679"/>
                  </a:lnTo>
                  <a:lnTo>
                    <a:pt x="3626" y="3493"/>
                  </a:lnTo>
                  <a:lnTo>
                    <a:pt x="3813" y="3306"/>
                  </a:lnTo>
                  <a:close/>
                  <a:moveTo>
                    <a:pt x="3838" y="3281"/>
                  </a:moveTo>
                  <a:lnTo>
                    <a:pt x="4023" y="3094"/>
                  </a:lnTo>
                  <a:lnTo>
                    <a:pt x="4211" y="3281"/>
                  </a:lnTo>
                  <a:lnTo>
                    <a:pt x="4023" y="3467"/>
                  </a:lnTo>
                  <a:lnTo>
                    <a:pt x="3838" y="3281"/>
                  </a:lnTo>
                  <a:close/>
                  <a:moveTo>
                    <a:pt x="4235" y="3306"/>
                  </a:moveTo>
                  <a:lnTo>
                    <a:pt x="4423" y="3493"/>
                  </a:lnTo>
                  <a:lnTo>
                    <a:pt x="4235" y="3679"/>
                  </a:lnTo>
                  <a:lnTo>
                    <a:pt x="4050" y="3493"/>
                  </a:lnTo>
                  <a:lnTo>
                    <a:pt x="4235" y="3306"/>
                  </a:lnTo>
                  <a:close/>
                  <a:moveTo>
                    <a:pt x="4262" y="3281"/>
                  </a:moveTo>
                  <a:lnTo>
                    <a:pt x="4447" y="3094"/>
                  </a:lnTo>
                  <a:lnTo>
                    <a:pt x="4633" y="3281"/>
                  </a:lnTo>
                  <a:lnTo>
                    <a:pt x="4447" y="3467"/>
                  </a:lnTo>
                  <a:lnTo>
                    <a:pt x="4262" y="3281"/>
                  </a:lnTo>
                  <a:close/>
                  <a:moveTo>
                    <a:pt x="4659" y="3306"/>
                  </a:moveTo>
                  <a:lnTo>
                    <a:pt x="4845" y="3493"/>
                  </a:lnTo>
                  <a:lnTo>
                    <a:pt x="4659" y="3679"/>
                  </a:lnTo>
                  <a:lnTo>
                    <a:pt x="4474" y="3493"/>
                  </a:lnTo>
                  <a:lnTo>
                    <a:pt x="4659" y="3306"/>
                  </a:lnTo>
                  <a:close/>
                  <a:moveTo>
                    <a:pt x="4684" y="3281"/>
                  </a:moveTo>
                  <a:lnTo>
                    <a:pt x="4871" y="3094"/>
                  </a:lnTo>
                  <a:lnTo>
                    <a:pt x="5057" y="3281"/>
                  </a:lnTo>
                  <a:lnTo>
                    <a:pt x="4871" y="3467"/>
                  </a:lnTo>
                  <a:lnTo>
                    <a:pt x="4684" y="3281"/>
                  </a:lnTo>
                  <a:close/>
                  <a:moveTo>
                    <a:pt x="5083" y="3306"/>
                  </a:moveTo>
                  <a:lnTo>
                    <a:pt x="5269" y="3493"/>
                  </a:lnTo>
                  <a:lnTo>
                    <a:pt x="5083" y="3679"/>
                  </a:lnTo>
                  <a:lnTo>
                    <a:pt x="4896" y="3493"/>
                  </a:lnTo>
                  <a:lnTo>
                    <a:pt x="5083" y="3306"/>
                  </a:lnTo>
                  <a:close/>
                  <a:moveTo>
                    <a:pt x="5108" y="3281"/>
                  </a:moveTo>
                  <a:lnTo>
                    <a:pt x="5294" y="3094"/>
                  </a:lnTo>
                  <a:lnTo>
                    <a:pt x="5481" y="3281"/>
                  </a:lnTo>
                  <a:lnTo>
                    <a:pt x="5294" y="3467"/>
                  </a:lnTo>
                  <a:lnTo>
                    <a:pt x="5108" y="3281"/>
                  </a:lnTo>
                  <a:close/>
                  <a:moveTo>
                    <a:pt x="5506" y="3306"/>
                  </a:moveTo>
                  <a:lnTo>
                    <a:pt x="5693" y="3493"/>
                  </a:lnTo>
                  <a:lnTo>
                    <a:pt x="5506" y="3679"/>
                  </a:lnTo>
                  <a:lnTo>
                    <a:pt x="5320" y="3493"/>
                  </a:lnTo>
                  <a:lnTo>
                    <a:pt x="5506" y="3306"/>
                  </a:lnTo>
                  <a:close/>
                  <a:moveTo>
                    <a:pt x="5532" y="3281"/>
                  </a:moveTo>
                  <a:lnTo>
                    <a:pt x="5718" y="3094"/>
                  </a:lnTo>
                  <a:lnTo>
                    <a:pt x="5903" y="3281"/>
                  </a:lnTo>
                  <a:lnTo>
                    <a:pt x="5718" y="3467"/>
                  </a:lnTo>
                  <a:lnTo>
                    <a:pt x="5532" y="3281"/>
                  </a:lnTo>
                  <a:close/>
                  <a:moveTo>
                    <a:pt x="5930" y="3306"/>
                  </a:moveTo>
                  <a:lnTo>
                    <a:pt x="6115" y="3493"/>
                  </a:lnTo>
                  <a:lnTo>
                    <a:pt x="5930" y="3679"/>
                  </a:lnTo>
                  <a:lnTo>
                    <a:pt x="5744" y="3493"/>
                  </a:lnTo>
                  <a:lnTo>
                    <a:pt x="5930" y="3306"/>
                  </a:lnTo>
                  <a:close/>
                  <a:moveTo>
                    <a:pt x="5956" y="3281"/>
                  </a:moveTo>
                  <a:lnTo>
                    <a:pt x="6142" y="3094"/>
                  </a:lnTo>
                  <a:lnTo>
                    <a:pt x="6327" y="3281"/>
                  </a:lnTo>
                  <a:lnTo>
                    <a:pt x="6142" y="3467"/>
                  </a:lnTo>
                  <a:lnTo>
                    <a:pt x="5956" y="3281"/>
                  </a:lnTo>
                  <a:close/>
                  <a:moveTo>
                    <a:pt x="6354" y="3306"/>
                  </a:moveTo>
                  <a:lnTo>
                    <a:pt x="6539" y="3493"/>
                  </a:lnTo>
                  <a:lnTo>
                    <a:pt x="6354" y="3679"/>
                  </a:lnTo>
                  <a:lnTo>
                    <a:pt x="6166" y="3493"/>
                  </a:lnTo>
                  <a:lnTo>
                    <a:pt x="6354" y="3306"/>
                  </a:lnTo>
                  <a:close/>
                  <a:moveTo>
                    <a:pt x="6378" y="3281"/>
                  </a:moveTo>
                  <a:lnTo>
                    <a:pt x="6566" y="3094"/>
                  </a:lnTo>
                  <a:lnTo>
                    <a:pt x="6751" y="3281"/>
                  </a:lnTo>
                  <a:lnTo>
                    <a:pt x="6566" y="3467"/>
                  </a:lnTo>
                  <a:lnTo>
                    <a:pt x="6378" y="3281"/>
                  </a:lnTo>
                  <a:close/>
                  <a:moveTo>
                    <a:pt x="6776" y="3306"/>
                  </a:moveTo>
                  <a:lnTo>
                    <a:pt x="6963" y="3493"/>
                  </a:lnTo>
                  <a:lnTo>
                    <a:pt x="6776" y="3679"/>
                  </a:lnTo>
                  <a:lnTo>
                    <a:pt x="6590" y="3493"/>
                  </a:lnTo>
                  <a:lnTo>
                    <a:pt x="6776" y="3306"/>
                  </a:lnTo>
                  <a:close/>
                  <a:moveTo>
                    <a:pt x="6802" y="3281"/>
                  </a:moveTo>
                  <a:lnTo>
                    <a:pt x="6988" y="3094"/>
                  </a:lnTo>
                  <a:lnTo>
                    <a:pt x="7175" y="3281"/>
                  </a:lnTo>
                  <a:lnTo>
                    <a:pt x="6988" y="3467"/>
                  </a:lnTo>
                  <a:lnTo>
                    <a:pt x="6802" y="3281"/>
                  </a:lnTo>
                  <a:close/>
                  <a:moveTo>
                    <a:pt x="7200" y="3306"/>
                  </a:moveTo>
                  <a:lnTo>
                    <a:pt x="7386" y="3493"/>
                  </a:lnTo>
                  <a:lnTo>
                    <a:pt x="7200" y="3679"/>
                  </a:lnTo>
                  <a:lnTo>
                    <a:pt x="7014" y="3493"/>
                  </a:lnTo>
                  <a:lnTo>
                    <a:pt x="7200" y="3306"/>
                  </a:lnTo>
                  <a:close/>
                  <a:moveTo>
                    <a:pt x="7226" y="3281"/>
                  </a:moveTo>
                  <a:lnTo>
                    <a:pt x="7412" y="3094"/>
                  </a:lnTo>
                  <a:lnTo>
                    <a:pt x="7598" y="3281"/>
                  </a:lnTo>
                  <a:lnTo>
                    <a:pt x="7412" y="3467"/>
                  </a:lnTo>
                  <a:lnTo>
                    <a:pt x="7226" y="3281"/>
                  </a:lnTo>
                  <a:close/>
                  <a:moveTo>
                    <a:pt x="7624" y="3306"/>
                  </a:moveTo>
                  <a:lnTo>
                    <a:pt x="7810" y="3493"/>
                  </a:lnTo>
                  <a:lnTo>
                    <a:pt x="7624" y="3679"/>
                  </a:lnTo>
                  <a:lnTo>
                    <a:pt x="7437" y="3493"/>
                  </a:lnTo>
                  <a:lnTo>
                    <a:pt x="7624" y="3306"/>
                  </a:lnTo>
                  <a:close/>
                  <a:moveTo>
                    <a:pt x="7649" y="3281"/>
                  </a:moveTo>
                  <a:lnTo>
                    <a:pt x="7836" y="3094"/>
                  </a:lnTo>
                  <a:lnTo>
                    <a:pt x="8022" y="3281"/>
                  </a:lnTo>
                  <a:lnTo>
                    <a:pt x="7836" y="3467"/>
                  </a:lnTo>
                  <a:lnTo>
                    <a:pt x="7649" y="3281"/>
                  </a:lnTo>
                  <a:close/>
                  <a:moveTo>
                    <a:pt x="8047" y="3306"/>
                  </a:moveTo>
                  <a:lnTo>
                    <a:pt x="8234" y="3493"/>
                  </a:lnTo>
                  <a:lnTo>
                    <a:pt x="8047" y="3679"/>
                  </a:lnTo>
                  <a:lnTo>
                    <a:pt x="7861" y="3493"/>
                  </a:lnTo>
                  <a:lnTo>
                    <a:pt x="8047" y="3306"/>
                  </a:lnTo>
                  <a:close/>
                  <a:moveTo>
                    <a:pt x="8073" y="3281"/>
                  </a:moveTo>
                  <a:lnTo>
                    <a:pt x="8259" y="3094"/>
                  </a:lnTo>
                  <a:lnTo>
                    <a:pt x="8446" y="3281"/>
                  </a:lnTo>
                  <a:lnTo>
                    <a:pt x="8259" y="3467"/>
                  </a:lnTo>
                  <a:lnTo>
                    <a:pt x="8073" y="3281"/>
                  </a:lnTo>
                  <a:close/>
                  <a:moveTo>
                    <a:pt x="8470" y="3306"/>
                  </a:moveTo>
                  <a:lnTo>
                    <a:pt x="8656" y="3493"/>
                  </a:lnTo>
                  <a:lnTo>
                    <a:pt x="8470" y="3679"/>
                  </a:lnTo>
                  <a:lnTo>
                    <a:pt x="8285" y="3493"/>
                  </a:lnTo>
                  <a:lnTo>
                    <a:pt x="8470" y="3306"/>
                  </a:lnTo>
                  <a:close/>
                  <a:moveTo>
                    <a:pt x="8497" y="3281"/>
                  </a:moveTo>
                  <a:lnTo>
                    <a:pt x="8682" y="3094"/>
                  </a:lnTo>
                  <a:lnTo>
                    <a:pt x="8868" y="3281"/>
                  </a:lnTo>
                  <a:lnTo>
                    <a:pt x="8682" y="3467"/>
                  </a:lnTo>
                  <a:lnTo>
                    <a:pt x="8497" y="3281"/>
                  </a:lnTo>
                  <a:close/>
                  <a:moveTo>
                    <a:pt x="8894" y="3306"/>
                  </a:moveTo>
                  <a:lnTo>
                    <a:pt x="9080" y="3493"/>
                  </a:lnTo>
                  <a:lnTo>
                    <a:pt x="8894" y="3679"/>
                  </a:lnTo>
                  <a:lnTo>
                    <a:pt x="8707" y="3493"/>
                  </a:lnTo>
                  <a:lnTo>
                    <a:pt x="8894" y="3306"/>
                  </a:lnTo>
                  <a:close/>
                  <a:moveTo>
                    <a:pt x="8919" y="3281"/>
                  </a:moveTo>
                  <a:lnTo>
                    <a:pt x="9106" y="3094"/>
                  </a:lnTo>
                  <a:lnTo>
                    <a:pt x="9292" y="3281"/>
                  </a:lnTo>
                  <a:lnTo>
                    <a:pt x="9106" y="3467"/>
                  </a:lnTo>
                  <a:lnTo>
                    <a:pt x="8919" y="3281"/>
                  </a:lnTo>
                  <a:close/>
                  <a:moveTo>
                    <a:pt x="9317" y="3306"/>
                  </a:moveTo>
                  <a:lnTo>
                    <a:pt x="9504" y="3493"/>
                  </a:lnTo>
                  <a:lnTo>
                    <a:pt x="9317" y="3679"/>
                  </a:lnTo>
                  <a:lnTo>
                    <a:pt x="9131" y="3493"/>
                  </a:lnTo>
                  <a:lnTo>
                    <a:pt x="9317" y="3306"/>
                  </a:lnTo>
                  <a:close/>
                  <a:moveTo>
                    <a:pt x="9343" y="3281"/>
                  </a:moveTo>
                  <a:lnTo>
                    <a:pt x="9529" y="3094"/>
                  </a:lnTo>
                  <a:lnTo>
                    <a:pt x="9716" y="3281"/>
                  </a:lnTo>
                  <a:lnTo>
                    <a:pt x="9529" y="3467"/>
                  </a:lnTo>
                  <a:lnTo>
                    <a:pt x="9343" y="3281"/>
                  </a:lnTo>
                  <a:close/>
                  <a:moveTo>
                    <a:pt x="9741" y="3306"/>
                  </a:moveTo>
                  <a:lnTo>
                    <a:pt x="9927" y="3493"/>
                  </a:lnTo>
                  <a:lnTo>
                    <a:pt x="9741" y="3679"/>
                  </a:lnTo>
                  <a:lnTo>
                    <a:pt x="9555" y="3493"/>
                  </a:lnTo>
                  <a:lnTo>
                    <a:pt x="9741" y="3306"/>
                  </a:lnTo>
                  <a:close/>
                  <a:moveTo>
                    <a:pt x="9767" y="3281"/>
                  </a:moveTo>
                  <a:lnTo>
                    <a:pt x="9953" y="3094"/>
                  </a:lnTo>
                  <a:lnTo>
                    <a:pt x="10139" y="3281"/>
                  </a:lnTo>
                  <a:lnTo>
                    <a:pt x="9953" y="3467"/>
                  </a:lnTo>
                  <a:lnTo>
                    <a:pt x="9767" y="3281"/>
                  </a:lnTo>
                  <a:close/>
                  <a:moveTo>
                    <a:pt x="10165" y="3306"/>
                  </a:moveTo>
                  <a:lnTo>
                    <a:pt x="10351" y="3493"/>
                  </a:lnTo>
                  <a:lnTo>
                    <a:pt x="10165" y="3679"/>
                  </a:lnTo>
                  <a:lnTo>
                    <a:pt x="9979" y="3493"/>
                  </a:lnTo>
                  <a:lnTo>
                    <a:pt x="10165" y="3306"/>
                  </a:lnTo>
                  <a:close/>
                  <a:moveTo>
                    <a:pt x="10190" y="3281"/>
                  </a:moveTo>
                  <a:lnTo>
                    <a:pt x="10377" y="3094"/>
                  </a:lnTo>
                  <a:lnTo>
                    <a:pt x="10563" y="3281"/>
                  </a:lnTo>
                  <a:lnTo>
                    <a:pt x="10377" y="3467"/>
                  </a:lnTo>
                  <a:lnTo>
                    <a:pt x="10190" y="3281"/>
                  </a:lnTo>
                  <a:close/>
                  <a:moveTo>
                    <a:pt x="10589" y="3306"/>
                  </a:moveTo>
                  <a:lnTo>
                    <a:pt x="10775" y="3493"/>
                  </a:lnTo>
                  <a:lnTo>
                    <a:pt x="10589" y="3679"/>
                  </a:lnTo>
                  <a:lnTo>
                    <a:pt x="10402" y="3493"/>
                  </a:lnTo>
                  <a:lnTo>
                    <a:pt x="10589" y="3306"/>
                  </a:lnTo>
                  <a:close/>
                  <a:moveTo>
                    <a:pt x="10614" y="3281"/>
                  </a:moveTo>
                  <a:lnTo>
                    <a:pt x="10799" y="3094"/>
                  </a:lnTo>
                  <a:lnTo>
                    <a:pt x="10986" y="3281"/>
                  </a:lnTo>
                  <a:lnTo>
                    <a:pt x="10799" y="3467"/>
                  </a:lnTo>
                  <a:lnTo>
                    <a:pt x="10614" y="3281"/>
                  </a:lnTo>
                  <a:close/>
                  <a:moveTo>
                    <a:pt x="11011" y="3306"/>
                  </a:moveTo>
                  <a:lnTo>
                    <a:pt x="11198" y="3493"/>
                  </a:lnTo>
                  <a:lnTo>
                    <a:pt x="11011" y="3679"/>
                  </a:lnTo>
                  <a:lnTo>
                    <a:pt x="10826" y="3493"/>
                  </a:lnTo>
                  <a:lnTo>
                    <a:pt x="11011" y="3306"/>
                  </a:lnTo>
                  <a:close/>
                  <a:moveTo>
                    <a:pt x="11038" y="3281"/>
                  </a:moveTo>
                  <a:lnTo>
                    <a:pt x="11223" y="3094"/>
                  </a:lnTo>
                  <a:lnTo>
                    <a:pt x="11409" y="3281"/>
                  </a:lnTo>
                  <a:lnTo>
                    <a:pt x="11223" y="3467"/>
                  </a:lnTo>
                  <a:lnTo>
                    <a:pt x="11038" y="3281"/>
                  </a:lnTo>
                  <a:close/>
                  <a:moveTo>
                    <a:pt x="11435" y="3306"/>
                  </a:moveTo>
                  <a:lnTo>
                    <a:pt x="11621" y="3493"/>
                  </a:lnTo>
                  <a:lnTo>
                    <a:pt x="11435" y="3679"/>
                  </a:lnTo>
                  <a:lnTo>
                    <a:pt x="11250" y="3493"/>
                  </a:lnTo>
                  <a:lnTo>
                    <a:pt x="11435" y="3306"/>
                  </a:lnTo>
                  <a:close/>
                  <a:moveTo>
                    <a:pt x="11460" y="3281"/>
                  </a:moveTo>
                  <a:lnTo>
                    <a:pt x="11647" y="3094"/>
                  </a:lnTo>
                  <a:lnTo>
                    <a:pt x="11833" y="3281"/>
                  </a:lnTo>
                  <a:lnTo>
                    <a:pt x="11647" y="3467"/>
                  </a:lnTo>
                  <a:lnTo>
                    <a:pt x="11460" y="3281"/>
                  </a:lnTo>
                  <a:close/>
                  <a:moveTo>
                    <a:pt x="11859" y="3306"/>
                  </a:moveTo>
                  <a:lnTo>
                    <a:pt x="12045" y="3493"/>
                  </a:lnTo>
                  <a:lnTo>
                    <a:pt x="11859" y="3679"/>
                  </a:lnTo>
                  <a:lnTo>
                    <a:pt x="11672" y="3493"/>
                  </a:lnTo>
                  <a:lnTo>
                    <a:pt x="11859" y="3306"/>
                  </a:lnTo>
                  <a:close/>
                  <a:moveTo>
                    <a:pt x="11884" y="3281"/>
                  </a:moveTo>
                  <a:lnTo>
                    <a:pt x="12070" y="3094"/>
                  </a:lnTo>
                  <a:lnTo>
                    <a:pt x="12257" y="3281"/>
                  </a:lnTo>
                  <a:lnTo>
                    <a:pt x="12070" y="3467"/>
                  </a:lnTo>
                  <a:lnTo>
                    <a:pt x="11884" y="3281"/>
                  </a:lnTo>
                  <a:close/>
                  <a:moveTo>
                    <a:pt x="12282" y="3306"/>
                  </a:moveTo>
                  <a:lnTo>
                    <a:pt x="12469" y="3493"/>
                  </a:lnTo>
                  <a:lnTo>
                    <a:pt x="12282" y="3679"/>
                  </a:lnTo>
                  <a:lnTo>
                    <a:pt x="12096" y="3493"/>
                  </a:lnTo>
                  <a:lnTo>
                    <a:pt x="12282" y="3306"/>
                  </a:lnTo>
                  <a:close/>
                  <a:moveTo>
                    <a:pt x="12308" y="3281"/>
                  </a:moveTo>
                  <a:lnTo>
                    <a:pt x="12494" y="3094"/>
                  </a:lnTo>
                  <a:lnTo>
                    <a:pt x="12679" y="3281"/>
                  </a:lnTo>
                  <a:lnTo>
                    <a:pt x="12494" y="3467"/>
                  </a:lnTo>
                  <a:lnTo>
                    <a:pt x="12308" y="3281"/>
                  </a:lnTo>
                  <a:close/>
                  <a:moveTo>
                    <a:pt x="12706" y="3306"/>
                  </a:moveTo>
                  <a:lnTo>
                    <a:pt x="12891" y="3493"/>
                  </a:lnTo>
                  <a:lnTo>
                    <a:pt x="12706" y="3679"/>
                  </a:lnTo>
                  <a:lnTo>
                    <a:pt x="12520" y="3493"/>
                  </a:lnTo>
                  <a:lnTo>
                    <a:pt x="12706" y="3306"/>
                  </a:lnTo>
                  <a:close/>
                  <a:moveTo>
                    <a:pt x="12730" y="3281"/>
                  </a:moveTo>
                  <a:lnTo>
                    <a:pt x="12918" y="3094"/>
                  </a:lnTo>
                  <a:lnTo>
                    <a:pt x="13103" y="3281"/>
                  </a:lnTo>
                  <a:lnTo>
                    <a:pt x="12918" y="3467"/>
                  </a:lnTo>
                  <a:lnTo>
                    <a:pt x="12730" y="3281"/>
                  </a:lnTo>
                  <a:close/>
                  <a:moveTo>
                    <a:pt x="13130" y="3306"/>
                  </a:moveTo>
                  <a:lnTo>
                    <a:pt x="13315" y="3493"/>
                  </a:lnTo>
                  <a:lnTo>
                    <a:pt x="13130" y="3679"/>
                  </a:lnTo>
                  <a:lnTo>
                    <a:pt x="12942" y="3493"/>
                  </a:lnTo>
                  <a:lnTo>
                    <a:pt x="13130" y="3306"/>
                  </a:lnTo>
                  <a:close/>
                  <a:moveTo>
                    <a:pt x="13154" y="3281"/>
                  </a:moveTo>
                  <a:lnTo>
                    <a:pt x="13340" y="3094"/>
                  </a:lnTo>
                  <a:lnTo>
                    <a:pt x="13527" y="3281"/>
                  </a:lnTo>
                  <a:lnTo>
                    <a:pt x="13340" y="3467"/>
                  </a:lnTo>
                  <a:lnTo>
                    <a:pt x="13154" y="3281"/>
                  </a:lnTo>
                  <a:close/>
                  <a:moveTo>
                    <a:pt x="13552" y="3306"/>
                  </a:moveTo>
                  <a:lnTo>
                    <a:pt x="13739" y="3493"/>
                  </a:lnTo>
                  <a:lnTo>
                    <a:pt x="13552" y="3679"/>
                  </a:lnTo>
                  <a:lnTo>
                    <a:pt x="13366" y="3493"/>
                  </a:lnTo>
                  <a:lnTo>
                    <a:pt x="13552" y="3306"/>
                  </a:lnTo>
                  <a:close/>
                  <a:moveTo>
                    <a:pt x="13578" y="3281"/>
                  </a:moveTo>
                  <a:lnTo>
                    <a:pt x="13764" y="3094"/>
                  </a:lnTo>
                  <a:lnTo>
                    <a:pt x="13950" y="3281"/>
                  </a:lnTo>
                  <a:lnTo>
                    <a:pt x="13764" y="3467"/>
                  </a:lnTo>
                  <a:lnTo>
                    <a:pt x="13578" y="3281"/>
                  </a:lnTo>
                  <a:close/>
                  <a:moveTo>
                    <a:pt x="13976" y="3306"/>
                  </a:moveTo>
                  <a:lnTo>
                    <a:pt x="14162" y="3493"/>
                  </a:lnTo>
                  <a:lnTo>
                    <a:pt x="13976" y="3679"/>
                  </a:lnTo>
                  <a:lnTo>
                    <a:pt x="13790" y="3493"/>
                  </a:lnTo>
                  <a:lnTo>
                    <a:pt x="13976" y="3306"/>
                  </a:lnTo>
                  <a:close/>
                  <a:moveTo>
                    <a:pt x="14002" y="3281"/>
                  </a:moveTo>
                  <a:lnTo>
                    <a:pt x="14188" y="3094"/>
                  </a:lnTo>
                  <a:lnTo>
                    <a:pt x="14374" y="3281"/>
                  </a:lnTo>
                  <a:lnTo>
                    <a:pt x="14188" y="3467"/>
                  </a:lnTo>
                  <a:lnTo>
                    <a:pt x="14002" y="3281"/>
                  </a:lnTo>
                  <a:close/>
                  <a:moveTo>
                    <a:pt x="14400" y="3306"/>
                  </a:moveTo>
                  <a:lnTo>
                    <a:pt x="14586" y="3493"/>
                  </a:lnTo>
                  <a:lnTo>
                    <a:pt x="14400" y="3679"/>
                  </a:lnTo>
                  <a:lnTo>
                    <a:pt x="14213" y="3493"/>
                  </a:lnTo>
                  <a:lnTo>
                    <a:pt x="14400" y="3306"/>
                  </a:lnTo>
                  <a:close/>
                  <a:moveTo>
                    <a:pt x="14213" y="3069"/>
                  </a:moveTo>
                  <a:lnTo>
                    <a:pt x="14400" y="2883"/>
                  </a:lnTo>
                  <a:lnTo>
                    <a:pt x="14586" y="3069"/>
                  </a:lnTo>
                  <a:lnTo>
                    <a:pt x="14400" y="3255"/>
                  </a:lnTo>
                  <a:lnTo>
                    <a:pt x="14213" y="3069"/>
                  </a:lnTo>
                  <a:close/>
                  <a:moveTo>
                    <a:pt x="14213" y="2645"/>
                  </a:moveTo>
                  <a:lnTo>
                    <a:pt x="14400" y="2459"/>
                  </a:lnTo>
                  <a:lnTo>
                    <a:pt x="14586" y="2645"/>
                  </a:lnTo>
                  <a:lnTo>
                    <a:pt x="14400" y="2832"/>
                  </a:lnTo>
                  <a:lnTo>
                    <a:pt x="14213" y="2645"/>
                  </a:lnTo>
                  <a:close/>
                  <a:moveTo>
                    <a:pt x="14213" y="2223"/>
                  </a:moveTo>
                  <a:lnTo>
                    <a:pt x="14400" y="2035"/>
                  </a:lnTo>
                  <a:lnTo>
                    <a:pt x="14586" y="2223"/>
                  </a:lnTo>
                  <a:lnTo>
                    <a:pt x="14400" y="2408"/>
                  </a:lnTo>
                  <a:lnTo>
                    <a:pt x="14213" y="2223"/>
                  </a:lnTo>
                  <a:close/>
                  <a:moveTo>
                    <a:pt x="14213" y="1798"/>
                  </a:moveTo>
                  <a:lnTo>
                    <a:pt x="14400" y="1613"/>
                  </a:lnTo>
                  <a:lnTo>
                    <a:pt x="14586" y="1798"/>
                  </a:lnTo>
                  <a:lnTo>
                    <a:pt x="14400" y="1984"/>
                  </a:lnTo>
                  <a:lnTo>
                    <a:pt x="14213" y="1798"/>
                  </a:lnTo>
                  <a:close/>
                  <a:moveTo>
                    <a:pt x="14213" y="1374"/>
                  </a:moveTo>
                  <a:lnTo>
                    <a:pt x="14400" y="1189"/>
                  </a:lnTo>
                  <a:lnTo>
                    <a:pt x="14586" y="1374"/>
                  </a:lnTo>
                  <a:lnTo>
                    <a:pt x="14400" y="1562"/>
                  </a:lnTo>
                  <a:lnTo>
                    <a:pt x="14213" y="1374"/>
                  </a:lnTo>
                  <a:close/>
                  <a:moveTo>
                    <a:pt x="14213" y="952"/>
                  </a:moveTo>
                  <a:lnTo>
                    <a:pt x="14400" y="764"/>
                  </a:lnTo>
                  <a:lnTo>
                    <a:pt x="14586" y="952"/>
                  </a:lnTo>
                  <a:lnTo>
                    <a:pt x="14400" y="1137"/>
                  </a:lnTo>
                  <a:lnTo>
                    <a:pt x="14213" y="952"/>
                  </a:lnTo>
                  <a:close/>
                  <a:moveTo>
                    <a:pt x="14188" y="925"/>
                  </a:moveTo>
                  <a:lnTo>
                    <a:pt x="14002" y="740"/>
                  </a:lnTo>
                  <a:lnTo>
                    <a:pt x="14188" y="552"/>
                  </a:lnTo>
                  <a:lnTo>
                    <a:pt x="14374" y="740"/>
                  </a:lnTo>
                  <a:lnTo>
                    <a:pt x="14188" y="925"/>
                  </a:lnTo>
                  <a:close/>
                  <a:moveTo>
                    <a:pt x="14162" y="952"/>
                  </a:moveTo>
                  <a:lnTo>
                    <a:pt x="13976" y="1137"/>
                  </a:lnTo>
                  <a:lnTo>
                    <a:pt x="13790" y="952"/>
                  </a:lnTo>
                  <a:lnTo>
                    <a:pt x="13976" y="764"/>
                  </a:lnTo>
                  <a:lnTo>
                    <a:pt x="14162" y="952"/>
                  </a:lnTo>
                  <a:close/>
                  <a:moveTo>
                    <a:pt x="13764" y="925"/>
                  </a:moveTo>
                  <a:lnTo>
                    <a:pt x="13578" y="740"/>
                  </a:lnTo>
                  <a:lnTo>
                    <a:pt x="13764" y="552"/>
                  </a:lnTo>
                  <a:lnTo>
                    <a:pt x="13950" y="740"/>
                  </a:lnTo>
                  <a:lnTo>
                    <a:pt x="13764" y="925"/>
                  </a:lnTo>
                  <a:close/>
                  <a:moveTo>
                    <a:pt x="13739" y="952"/>
                  </a:moveTo>
                  <a:lnTo>
                    <a:pt x="13552" y="1137"/>
                  </a:lnTo>
                  <a:lnTo>
                    <a:pt x="13366" y="952"/>
                  </a:lnTo>
                  <a:lnTo>
                    <a:pt x="13552" y="764"/>
                  </a:lnTo>
                  <a:lnTo>
                    <a:pt x="13739" y="952"/>
                  </a:lnTo>
                  <a:close/>
                  <a:moveTo>
                    <a:pt x="13340" y="925"/>
                  </a:moveTo>
                  <a:lnTo>
                    <a:pt x="13154" y="740"/>
                  </a:lnTo>
                  <a:lnTo>
                    <a:pt x="13340" y="552"/>
                  </a:lnTo>
                  <a:lnTo>
                    <a:pt x="13527" y="740"/>
                  </a:lnTo>
                  <a:lnTo>
                    <a:pt x="13340" y="925"/>
                  </a:lnTo>
                  <a:close/>
                  <a:moveTo>
                    <a:pt x="13315" y="952"/>
                  </a:moveTo>
                  <a:lnTo>
                    <a:pt x="13130" y="1137"/>
                  </a:lnTo>
                  <a:lnTo>
                    <a:pt x="12942" y="952"/>
                  </a:lnTo>
                  <a:lnTo>
                    <a:pt x="13130" y="764"/>
                  </a:lnTo>
                  <a:lnTo>
                    <a:pt x="13315" y="952"/>
                  </a:lnTo>
                  <a:close/>
                  <a:moveTo>
                    <a:pt x="12918" y="925"/>
                  </a:moveTo>
                  <a:lnTo>
                    <a:pt x="12730" y="740"/>
                  </a:lnTo>
                  <a:lnTo>
                    <a:pt x="12918" y="552"/>
                  </a:lnTo>
                  <a:lnTo>
                    <a:pt x="13103" y="740"/>
                  </a:lnTo>
                  <a:lnTo>
                    <a:pt x="12918" y="925"/>
                  </a:lnTo>
                  <a:close/>
                  <a:moveTo>
                    <a:pt x="12891" y="952"/>
                  </a:moveTo>
                  <a:lnTo>
                    <a:pt x="12706" y="1137"/>
                  </a:lnTo>
                  <a:lnTo>
                    <a:pt x="12520" y="952"/>
                  </a:lnTo>
                  <a:lnTo>
                    <a:pt x="12706" y="764"/>
                  </a:lnTo>
                  <a:lnTo>
                    <a:pt x="12891" y="952"/>
                  </a:lnTo>
                  <a:close/>
                  <a:moveTo>
                    <a:pt x="12494" y="925"/>
                  </a:moveTo>
                  <a:lnTo>
                    <a:pt x="12308" y="740"/>
                  </a:lnTo>
                  <a:lnTo>
                    <a:pt x="12494" y="552"/>
                  </a:lnTo>
                  <a:lnTo>
                    <a:pt x="12679" y="740"/>
                  </a:lnTo>
                  <a:lnTo>
                    <a:pt x="12494" y="925"/>
                  </a:lnTo>
                  <a:close/>
                  <a:moveTo>
                    <a:pt x="12469" y="952"/>
                  </a:moveTo>
                  <a:lnTo>
                    <a:pt x="12282" y="1137"/>
                  </a:lnTo>
                  <a:lnTo>
                    <a:pt x="12096" y="952"/>
                  </a:lnTo>
                  <a:lnTo>
                    <a:pt x="12282" y="764"/>
                  </a:lnTo>
                  <a:lnTo>
                    <a:pt x="12469" y="952"/>
                  </a:lnTo>
                  <a:close/>
                  <a:moveTo>
                    <a:pt x="12070" y="925"/>
                  </a:moveTo>
                  <a:lnTo>
                    <a:pt x="11884" y="740"/>
                  </a:lnTo>
                  <a:lnTo>
                    <a:pt x="12070" y="552"/>
                  </a:lnTo>
                  <a:lnTo>
                    <a:pt x="12257" y="740"/>
                  </a:lnTo>
                  <a:lnTo>
                    <a:pt x="12070" y="925"/>
                  </a:lnTo>
                  <a:close/>
                  <a:moveTo>
                    <a:pt x="12045" y="952"/>
                  </a:moveTo>
                  <a:lnTo>
                    <a:pt x="11859" y="1137"/>
                  </a:lnTo>
                  <a:lnTo>
                    <a:pt x="11672" y="952"/>
                  </a:lnTo>
                  <a:lnTo>
                    <a:pt x="11859" y="764"/>
                  </a:lnTo>
                  <a:lnTo>
                    <a:pt x="12045" y="952"/>
                  </a:lnTo>
                  <a:close/>
                  <a:moveTo>
                    <a:pt x="11647" y="925"/>
                  </a:moveTo>
                  <a:lnTo>
                    <a:pt x="11460" y="740"/>
                  </a:lnTo>
                  <a:lnTo>
                    <a:pt x="11647" y="552"/>
                  </a:lnTo>
                  <a:lnTo>
                    <a:pt x="11833" y="740"/>
                  </a:lnTo>
                  <a:lnTo>
                    <a:pt x="11647" y="925"/>
                  </a:lnTo>
                  <a:close/>
                  <a:moveTo>
                    <a:pt x="11621" y="952"/>
                  </a:moveTo>
                  <a:lnTo>
                    <a:pt x="11435" y="1137"/>
                  </a:lnTo>
                  <a:lnTo>
                    <a:pt x="11250" y="952"/>
                  </a:lnTo>
                  <a:lnTo>
                    <a:pt x="11435" y="764"/>
                  </a:lnTo>
                  <a:lnTo>
                    <a:pt x="11621" y="952"/>
                  </a:lnTo>
                  <a:close/>
                  <a:moveTo>
                    <a:pt x="11223" y="925"/>
                  </a:moveTo>
                  <a:lnTo>
                    <a:pt x="11038" y="740"/>
                  </a:lnTo>
                  <a:lnTo>
                    <a:pt x="11223" y="552"/>
                  </a:lnTo>
                  <a:lnTo>
                    <a:pt x="11409" y="740"/>
                  </a:lnTo>
                  <a:lnTo>
                    <a:pt x="11223" y="925"/>
                  </a:lnTo>
                  <a:close/>
                  <a:moveTo>
                    <a:pt x="11198" y="952"/>
                  </a:moveTo>
                  <a:lnTo>
                    <a:pt x="11011" y="1137"/>
                  </a:lnTo>
                  <a:lnTo>
                    <a:pt x="10826" y="952"/>
                  </a:lnTo>
                  <a:lnTo>
                    <a:pt x="11011" y="764"/>
                  </a:lnTo>
                  <a:lnTo>
                    <a:pt x="11198" y="952"/>
                  </a:lnTo>
                  <a:close/>
                  <a:moveTo>
                    <a:pt x="10799" y="925"/>
                  </a:moveTo>
                  <a:lnTo>
                    <a:pt x="10614" y="740"/>
                  </a:lnTo>
                  <a:lnTo>
                    <a:pt x="10799" y="552"/>
                  </a:lnTo>
                  <a:lnTo>
                    <a:pt x="10986" y="740"/>
                  </a:lnTo>
                  <a:lnTo>
                    <a:pt x="10799" y="925"/>
                  </a:lnTo>
                  <a:close/>
                  <a:moveTo>
                    <a:pt x="10775" y="952"/>
                  </a:moveTo>
                  <a:lnTo>
                    <a:pt x="10589" y="1137"/>
                  </a:lnTo>
                  <a:lnTo>
                    <a:pt x="10402" y="952"/>
                  </a:lnTo>
                  <a:lnTo>
                    <a:pt x="10589" y="764"/>
                  </a:lnTo>
                  <a:lnTo>
                    <a:pt x="10775" y="952"/>
                  </a:lnTo>
                  <a:close/>
                  <a:moveTo>
                    <a:pt x="10377" y="925"/>
                  </a:moveTo>
                  <a:lnTo>
                    <a:pt x="10190" y="740"/>
                  </a:lnTo>
                  <a:lnTo>
                    <a:pt x="10377" y="552"/>
                  </a:lnTo>
                  <a:lnTo>
                    <a:pt x="10563" y="740"/>
                  </a:lnTo>
                  <a:lnTo>
                    <a:pt x="10377" y="925"/>
                  </a:lnTo>
                  <a:close/>
                  <a:moveTo>
                    <a:pt x="10351" y="952"/>
                  </a:moveTo>
                  <a:lnTo>
                    <a:pt x="10165" y="1137"/>
                  </a:lnTo>
                  <a:lnTo>
                    <a:pt x="9979" y="952"/>
                  </a:lnTo>
                  <a:lnTo>
                    <a:pt x="10165" y="764"/>
                  </a:lnTo>
                  <a:lnTo>
                    <a:pt x="10351" y="952"/>
                  </a:lnTo>
                  <a:close/>
                  <a:moveTo>
                    <a:pt x="9953" y="925"/>
                  </a:moveTo>
                  <a:lnTo>
                    <a:pt x="9767" y="740"/>
                  </a:lnTo>
                  <a:lnTo>
                    <a:pt x="9953" y="552"/>
                  </a:lnTo>
                  <a:lnTo>
                    <a:pt x="10139" y="740"/>
                  </a:lnTo>
                  <a:lnTo>
                    <a:pt x="9953" y="925"/>
                  </a:lnTo>
                  <a:close/>
                  <a:moveTo>
                    <a:pt x="9927" y="952"/>
                  </a:moveTo>
                  <a:lnTo>
                    <a:pt x="9741" y="1137"/>
                  </a:lnTo>
                  <a:lnTo>
                    <a:pt x="9555" y="952"/>
                  </a:lnTo>
                  <a:lnTo>
                    <a:pt x="9741" y="764"/>
                  </a:lnTo>
                  <a:lnTo>
                    <a:pt x="9927" y="952"/>
                  </a:lnTo>
                  <a:close/>
                  <a:moveTo>
                    <a:pt x="9529" y="925"/>
                  </a:moveTo>
                  <a:lnTo>
                    <a:pt x="9343" y="740"/>
                  </a:lnTo>
                  <a:lnTo>
                    <a:pt x="9529" y="552"/>
                  </a:lnTo>
                  <a:lnTo>
                    <a:pt x="9716" y="740"/>
                  </a:lnTo>
                  <a:lnTo>
                    <a:pt x="9529" y="925"/>
                  </a:lnTo>
                  <a:close/>
                  <a:moveTo>
                    <a:pt x="9504" y="952"/>
                  </a:moveTo>
                  <a:lnTo>
                    <a:pt x="9317" y="1137"/>
                  </a:lnTo>
                  <a:lnTo>
                    <a:pt x="9131" y="952"/>
                  </a:lnTo>
                  <a:lnTo>
                    <a:pt x="9317" y="764"/>
                  </a:lnTo>
                  <a:lnTo>
                    <a:pt x="9504" y="952"/>
                  </a:lnTo>
                  <a:close/>
                  <a:moveTo>
                    <a:pt x="9106" y="925"/>
                  </a:moveTo>
                  <a:lnTo>
                    <a:pt x="8919" y="740"/>
                  </a:lnTo>
                  <a:lnTo>
                    <a:pt x="9106" y="552"/>
                  </a:lnTo>
                  <a:lnTo>
                    <a:pt x="9292" y="740"/>
                  </a:lnTo>
                  <a:lnTo>
                    <a:pt x="9106" y="925"/>
                  </a:lnTo>
                  <a:close/>
                  <a:moveTo>
                    <a:pt x="9080" y="952"/>
                  </a:moveTo>
                  <a:lnTo>
                    <a:pt x="8894" y="1137"/>
                  </a:lnTo>
                  <a:lnTo>
                    <a:pt x="8707" y="952"/>
                  </a:lnTo>
                  <a:lnTo>
                    <a:pt x="8894" y="764"/>
                  </a:lnTo>
                  <a:lnTo>
                    <a:pt x="9080" y="952"/>
                  </a:lnTo>
                  <a:close/>
                  <a:moveTo>
                    <a:pt x="8682" y="925"/>
                  </a:moveTo>
                  <a:lnTo>
                    <a:pt x="8497" y="740"/>
                  </a:lnTo>
                  <a:lnTo>
                    <a:pt x="8682" y="552"/>
                  </a:lnTo>
                  <a:lnTo>
                    <a:pt x="8868" y="740"/>
                  </a:lnTo>
                  <a:lnTo>
                    <a:pt x="8682" y="925"/>
                  </a:lnTo>
                  <a:close/>
                  <a:moveTo>
                    <a:pt x="8656" y="952"/>
                  </a:moveTo>
                  <a:lnTo>
                    <a:pt x="8470" y="1137"/>
                  </a:lnTo>
                  <a:lnTo>
                    <a:pt x="8285" y="952"/>
                  </a:lnTo>
                  <a:lnTo>
                    <a:pt x="8470" y="764"/>
                  </a:lnTo>
                  <a:lnTo>
                    <a:pt x="8656" y="952"/>
                  </a:lnTo>
                  <a:close/>
                  <a:moveTo>
                    <a:pt x="8259" y="925"/>
                  </a:moveTo>
                  <a:lnTo>
                    <a:pt x="8073" y="740"/>
                  </a:lnTo>
                  <a:lnTo>
                    <a:pt x="8259" y="552"/>
                  </a:lnTo>
                  <a:lnTo>
                    <a:pt x="8446" y="740"/>
                  </a:lnTo>
                  <a:lnTo>
                    <a:pt x="8259" y="925"/>
                  </a:lnTo>
                  <a:close/>
                  <a:moveTo>
                    <a:pt x="8234" y="952"/>
                  </a:moveTo>
                  <a:lnTo>
                    <a:pt x="8047" y="1137"/>
                  </a:lnTo>
                  <a:lnTo>
                    <a:pt x="7861" y="952"/>
                  </a:lnTo>
                  <a:lnTo>
                    <a:pt x="8047" y="764"/>
                  </a:lnTo>
                  <a:lnTo>
                    <a:pt x="8234" y="952"/>
                  </a:lnTo>
                  <a:close/>
                  <a:moveTo>
                    <a:pt x="7836" y="925"/>
                  </a:moveTo>
                  <a:lnTo>
                    <a:pt x="7649" y="740"/>
                  </a:lnTo>
                  <a:lnTo>
                    <a:pt x="7836" y="552"/>
                  </a:lnTo>
                  <a:lnTo>
                    <a:pt x="8022" y="740"/>
                  </a:lnTo>
                  <a:lnTo>
                    <a:pt x="7836" y="925"/>
                  </a:lnTo>
                  <a:close/>
                  <a:moveTo>
                    <a:pt x="7810" y="952"/>
                  </a:moveTo>
                  <a:lnTo>
                    <a:pt x="7624" y="1137"/>
                  </a:lnTo>
                  <a:lnTo>
                    <a:pt x="7437" y="952"/>
                  </a:lnTo>
                  <a:lnTo>
                    <a:pt x="7624" y="764"/>
                  </a:lnTo>
                  <a:lnTo>
                    <a:pt x="7810" y="952"/>
                  </a:lnTo>
                  <a:close/>
                  <a:moveTo>
                    <a:pt x="7412" y="925"/>
                  </a:moveTo>
                  <a:lnTo>
                    <a:pt x="7226" y="740"/>
                  </a:lnTo>
                  <a:lnTo>
                    <a:pt x="7412" y="552"/>
                  </a:lnTo>
                  <a:lnTo>
                    <a:pt x="7598" y="740"/>
                  </a:lnTo>
                  <a:lnTo>
                    <a:pt x="7412" y="925"/>
                  </a:lnTo>
                  <a:close/>
                  <a:moveTo>
                    <a:pt x="7386" y="952"/>
                  </a:moveTo>
                  <a:lnTo>
                    <a:pt x="7200" y="1137"/>
                  </a:lnTo>
                  <a:lnTo>
                    <a:pt x="7014" y="952"/>
                  </a:lnTo>
                  <a:lnTo>
                    <a:pt x="7200" y="764"/>
                  </a:lnTo>
                  <a:lnTo>
                    <a:pt x="7386" y="952"/>
                  </a:lnTo>
                  <a:close/>
                  <a:moveTo>
                    <a:pt x="6988" y="925"/>
                  </a:moveTo>
                  <a:lnTo>
                    <a:pt x="6802" y="740"/>
                  </a:lnTo>
                  <a:lnTo>
                    <a:pt x="6988" y="552"/>
                  </a:lnTo>
                  <a:lnTo>
                    <a:pt x="7175" y="740"/>
                  </a:lnTo>
                  <a:lnTo>
                    <a:pt x="6988" y="925"/>
                  </a:lnTo>
                  <a:close/>
                  <a:moveTo>
                    <a:pt x="6963" y="952"/>
                  </a:moveTo>
                  <a:lnTo>
                    <a:pt x="6776" y="1137"/>
                  </a:lnTo>
                  <a:lnTo>
                    <a:pt x="6590" y="952"/>
                  </a:lnTo>
                  <a:lnTo>
                    <a:pt x="6776" y="764"/>
                  </a:lnTo>
                  <a:lnTo>
                    <a:pt x="6963" y="952"/>
                  </a:lnTo>
                  <a:close/>
                  <a:moveTo>
                    <a:pt x="6566" y="925"/>
                  </a:moveTo>
                  <a:lnTo>
                    <a:pt x="6378" y="740"/>
                  </a:lnTo>
                  <a:lnTo>
                    <a:pt x="6566" y="552"/>
                  </a:lnTo>
                  <a:lnTo>
                    <a:pt x="6751" y="740"/>
                  </a:lnTo>
                  <a:lnTo>
                    <a:pt x="6566" y="925"/>
                  </a:lnTo>
                  <a:close/>
                  <a:moveTo>
                    <a:pt x="6539" y="952"/>
                  </a:moveTo>
                  <a:lnTo>
                    <a:pt x="6354" y="1137"/>
                  </a:lnTo>
                  <a:lnTo>
                    <a:pt x="6166" y="952"/>
                  </a:lnTo>
                  <a:lnTo>
                    <a:pt x="6354" y="764"/>
                  </a:lnTo>
                  <a:lnTo>
                    <a:pt x="6539" y="952"/>
                  </a:lnTo>
                  <a:close/>
                  <a:moveTo>
                    <a:pt x="6142" y="925"/>
                  </a:moveTo>
                  <a:lnTo>
                    <a:pt x="5956" y="740"/>
                  </a:lnTo>
                  <a:lnTo>
                    <a:pt x="6142" y="552"/>
                  </a:lnTo>
                  <a:lnTo>
                    <a:pt x="6327" y="740"/>
                  </a:lnTo>
                  <a:lnTo>
                    <a:pt x="6142" y="925"/>
                  </a:lnTo>
                  <a:close/>
                  <a:moveTo>
                    <a:pt x="6115" y="952"/>
                  </a:moveTo>
                  <a:lnTo>
                    <a:pt x="5930" y="1137"/>
                  </a:lnTo>
                  <a:lnTo>
                    <a:pt x="5744" y="952"/>
                  </a:lnTo>
                  <a:lnTo>
                    <a:pt x="5930" y="764"/>
                  </a:lnTo>
                  <a:lnTo>
                    <a:pt x="6115" y="952"/>
                  </a:lnTo>
                  <a:close/>
                  <a:moveTo>
                    <a:pt x="5718" y="925"/>
                  </a:moveTo>
                  <a:lnTo>
                    <a:pt x="5532" y="740"/>
                  </a:lnTo>
                  <a:lnTo>
                    <a:pt x="5718" y="552"/>
                  </a:lnTo>
                  <a:lnTo>
                    <a:pt x="5903" y="740"/>
                  </a:lnTo>
                  <a:lnTo>
                    <a:pt x="5718" y="925"/>
                  </a:lnTo>
                  <a:close/>
                  <a:moveTo>
                    <a:pt x="5693" y="952"/>
                  </a:moveTo>
                  <a:lnTo>
                    <a:pt x="5506" y="1137"/>
                  </a:lnTo>
                  <a:lnTo>
                    <a:pt x="5320" y="952"/>
                  </a:lnTo>
                  <a:lnTo>
                    <a:pt x="5506" y="764"/>
                  </a:lnTo>
                  <a:lnTo>
                    <a:pt x="5693" y="952"/>
                  </a:lnTo>
                  <a:close/>
                  <a:moveTo>
                    <a:pt x="5294" y="925"/>
                  </a:moveTo>
                  <a:lnTo>
                    <a:pt x="5108" y="740"/>
                  </a:lnTo>
                  <a:lnTo>
                    <a:pt x="5294" y="552"/>
                  </a:lnTo>
                  <a:lnTo>
                    <a:pt x="5481" y="740"/>
                  </a:lnTo>
                  <a:lnTo>
                    <a:pt x="5294" y="925"/>
                  </a:lnTo>
                  <a:close/>
                  <a:moveTo>
                    <a:pt x="5269" y="952"/>
                  </a:moveTo>
                  <a:lnTo>
                    <a:pt x="5083" y="1137"/>
                  </a:lnTo>
                  <a:lnTo>
                    <a:pt x="4896" y="952"/>
                  </a:lnTo>
                  <a:lnTo>
                    <a:pt x="5083" y="764"/>
                  </a:lnTo>
                  <a:lnTo>
                    <a:pt x="5269" y="952"/>
                  </a:lnTo>
                  <a:close/>
                  <a:moveTo>
                    <a:pt x="4871" y="925"/>
                  </a:moveTo>
                  <a:lnTo>
                    <a:pt x="4684" y="740"/>
                  </a:lnTo>
                  <a:lnTo>
                    <a:pt x="4871" y="552"/>
                  </a:lnTo>
                  <a:lnTo>
                    <a:pt x="5057" y="740"/>
                  </a:lnTo>
                  <a:lnTo>
                    <a:pt x="4871" y="925"/>
                  </a:lnTo>
                  <a:close/>
                  <a:moveTo>
                    <a:pt x="4845" y="952"/>
                  </a:moveTo>
                  <a:lnTo>
                    <a:pt x="4659" y="1137"/>
                  </a:lnTo>
                  <a:lnTo>
                    <a:pt x="4474" y="952"/>
                  </a:lnTo>
                  <a:lnTo>
                    <a:pt x="4659" y="764"/>
                  </a:lnTo>
                  <a:lnTo>
                    <a:pt x="4845" y="952"/>
                  </a:lnTo>
                  <a:close/>
                  <a:moveTo>
                    <a:pt x="4447" y="925"/>
                  </a:moveTo>
                  <a:lnTo>
                    <a:pt x="4262" y="740"/>
                  </a:lnTo>
                  <a:lnTo>
                    <a:pt x="4447" y="552"/>
                  </a:lnTo>
                  <a:lnTo>
                    <a:pt x="4633" y="740"/>
                  </a:lnTo>
                  <a:lnTo>
                    <a:pt x="4447" y="925"/>
                  </a:lnTo>
                  <a:close/>
                  <a:moveTo>
                    <a:pt x="4423" y="952"/>
                  </a:moveTo>
                  <a:lnTo>
                    <a:pt x="4235" y="1137"/>
                  </a:lnTo>
                  <a:lnTo>
                    <a:pt x="4050" y="952"/>
                  </a:lnTo>
                  <a:lnTo>
                    <a:pt x="4235" y="764"/>
                  </a:lnTo>
                  <a:lnTo>
                    <a:pt x="4423" y="952"/>
                  </a:lnTo>
                  <a:close/>
                  <a:moveTo>
                    <a:pt x="4023" y="925"/>
                  </a:moveTo>
                  <a:lnTo>
                    <a:pt x="3838" y="740"/>
                  </a:lnTo>
                  <a:lnTo>
                    <a:pt x="4023" y="552"/>
                  </a:lnTo>
                  <a:lnTo>
                    <a:pt x="4211" y="740"/>
                  </a:lnTo>
                  <a:lnTo>
                    <a:pt x="4023" y="925"/>
                  </a:lnTo>
                  <a:close/>
                  <a:moveTo>
                    <a:pt x="3999" y="952"/>
                  </a:moveTo>
                  <a:lnTo>
                    <a:pt x="3813" y="1137"/>
                  </a:lnTo>
                  <a:lnTo>
                    <a:pt x="3626" y="952"/>
                  </a:lnTo>
                  <a:lnTo>
                    <a:pt x="3813" y="764"/>
                  </a:lnTo>
                  <a:lnTo>
                    <a:pt x="3999" y="952"/>
                  </a:lnTo>
                  <a:close/>
                  <a:moveTo>
                    <a:pt x="3601" y="925"/>
                  </a:moveTo>
                  <a:lnTo>
                    <a:pt x="3414" y="740"/>
                  </a:lnTo>
                  <a:lnTo>
                    <a:pt x="3601" y="552"/>
                  </a:lnTo>
                  <a:lnTo>
                    <a:pt x="3787" y="740"/>
                  </a:lnTo>
                  <a:lnTo>
                    <a:pt x="3601" y="925"/>
                  </a:lnTo>
                  <a:close/>
                  <a:moveTo>
                    <a:pt x="3575" y="952"/>
                  </a:moveTo>
                  <a:lnTo>
                    <a:pt x="3389" y="1137"/>
                  </a:lnTo>
                  <a:lnTo>
                    <a:pt x="3203" y="952"/>
                  </a:lnTo>
                  <a:lnTo>
                    <a:pt x="3389" y="764"/>
                  </a:lnTo>
                  <a:lnTo>
                    <a:pt x="3575" y="952"/>
                  </a:lnTo>
                  <a:close/>
                  <a:moveTo>
                    <a:pt x="3177" y="925"/>
                  </a:moveTo>
                  <a:lnTo>
                    <a:pt x="2991" y="740"/>
                  </a:lnTo>
                  <a:lnTo>
                    <a:pt x="3177" y="552"/>
                  </a:lnTo>
                  <a:lnTo>
                    <a:pt x="3363" y="740"/>
                  </a:lnTo>
                  <a:lnTo>
                    <a:pt x="3177" y="925"/>
                  </a:lnTo>
                  <a:close/>
                  <a:moveTo>
                    <a:pt x="3152" y="952"/>
                  </a:moveTo>
                  <a:lnTo>
                    <a:pt x="2965" y="1137"/>
                  </a:lnTo>
                  <a:lnTo>
                    <a:pt x="2779" y="952"/>
                  </a:lnTo>
                  <a:lnTo>
                    <a:pt x="2965" y="764"/>
                  </a:lnTo>
                  <a:lnTo>
                    <a:pt x="3152" y="952"/>
                  </a:lnTo>
                  <a:close/>
                  <a:moveTo>
                    <a:pt x="2753" y="925"/>
                  </a:moveTo>
                  <a:lnTo>
                    <a:pt x="2567" y="740"/>
                  </a:lnTo>
                  <a:lnTo>
                    <a:pt x="2753" y="552"/>
                  </a:lnTo>
                  <a:lnTo>
                    <a:pt x="2940" y="740"/>
                  </a:lnTo>
                  <a:lnTo>
                    <a:pt x="2753" y="925"/>
                  </a:lnTo>
                  <a:close/>
                  <a:moveTo>
                    <a:pt x="2728" y="952"/>
                  </a:moveTo>
                  <a:lnTo>
                    <a:pt x="2543" y="1137"/>
                  </a:lnTo>
                  <a:lnTo>
                    <a:pt x="2355" y="952"/>
                  </a:lnTo>
                  <a:lnTo>
                    <a:pt x="2543" y="764"/>
                  </a:lnTo>
                  <a:lnTo>
                    <a:pt x="2728" y="952"/>
                  </a:lnTo>
                  <a:close/>
                  <a:moveTo>
                    <a:pt x="2331" y="925"/>
                  </a:moveTo>
                  <a:lnTo>
                    <a:pt x="2143" y="740"/>
                  </a:lnTo>
                  <a:lnTo>
                    <a:pt x="2331" y="552"/>
                  </a:lnTo>
                  <a:lnTo>
                    <a:pt x="2516" y="740"/>
                  </a:lnTo>
                  <a:lnTo>
                    <a:pt x="2331" y="925"/>
                  </a:lnTo>
                  <a:close/>
                  <a:moveTo>
                    <a:pt x="2304" y="952"/>
                  </a:moveTo>
                  <a:lnTo>
                    <a:pt x="2119" y="1137"/>
                  </a:lnTo>
                  <a:lnTo>
                    <a:pt x="1933" y="952"/>
                  </a:lnTo>
                  <a:lnTo>
                    <a:pt x="2119" y="764"/>
                  </a:lnTo>
                  <a:lnTo>
                    <a:pt x="2304" y="952"/>
                  </a:lnTo>
                  <a:close/>
                  <a:moveTo>
                    <a:pt x="1907" y="925"/>
                  </a:moveTo>
                  <a:lnTo>
                    <a:pt x="1721" y="740"/>
                  </a:lnTo>
                  <a:lnTo>
                    <a:pt x="1907" y="552"/>
                  </a:lnTo>
                  <a:lnTo>
                    <a:pt x="2092" y="740"/>
                  </a:lnTo>
                  <a:lnTo>
                    <a:pt x="1907" y="925"/>
                  </a:lnTo>
                  <a:close/>
                  <a:moveTo>
                    <a:pt x="1882" y="952"/>
                  </a:moveTo>
                  <a:lnTo>
                    <a:pt x="1695" y="1137"/>
                  </a:lnTo>
                  <a:lnTo>
                    <a:pt x="1509" y="952"/>
                  </a:lnTo>
                  <a:lnTo>
                    <a:pt x="1695" y="764"/>
                  </a:lnTo>
                  <a:lnTo>
                    <a:pt x="1882" y="952"/>
                  </a:lnTo>
                  <a:close/>
                  <a:moveTo>
                    <a:pt x="1483" y="925"/>
                  </a:moveTo>
                  <a:lnTo>
                    <a:pt x="1297" y="740"/>
                  </a:lnTo>
                  <a:lnTo>
                    <a:pt x="1483" y="552"/>
                  </a:lnTo>
                  <a:lnTo>
                    <a:pt x="1670" y="740"/>
                  </a:lnTo>
                  <a:lnTo>
                    <a:pt x="1483" y="925"/>
                  </a:lnTo>
                  <a:close/>
                  <a:moveTo>
                    <a:pt x="1458" y="952"/>
                  </a:moveTo>
                  <a:lnTo>
                    <a:pt x="1272" y="1137"/>
                  </a:lnTo>
                  <a:lnTo>
                    <a:pt x="1085" y="952"/>
                  </a:lnTo>
                  <a:lnTo>
                    <a:pt x="1272" y="764"/>
                  </a:lnTo>
                  <a:lnTo>
                    <a:pt x="1458" y="952"/>
                  </a:lnTo>
                  <a:close/>
                  <a:moveTo>
                    <a:pt x="1060" y="925"/>
                  </a:moveTo>
                  <a:lnTo>
                    <a:pt x="873" y="740"/>
                  </a:lnTo>
                  <a:lnTo>
                    <a:pt x="1060" y="552"/>
                  </a:lnTo>
                  <a:lnTo>
                    <a:pt x="1246" y="740"/>
                  </a:lnTo>
                  <a:lnTo>
                    <a:pt x="1060" y="925"/>
                  </a:lnTo>
                  <a:close/>
                  <a:moveTo>
                    <a:pt x="1034" y="952"/>
                  </a:moveTo>
                  <a:lnTo>
                    <a:pt x="848" y="1137"/>
                  </a:lnTo>
                  <a:lnTo>
                    <a:pt x="663" y="952"/>
                  </a:lnTo>
                  <a:lnTo>
                    <a:pt x="848" y="764"/>
                  </a:lnTo>
                  <a:lnTo>
                    <a:pt x="1034" y="952"/>
                  </a:lnTo>
                  <a:close/>
                  <a:moveTo>
                    <a:pt x="636" y="925"/>
                  </a:moveTo>
                  <a:lnTo>
                    <a:pt x="451" y="740"/>
                  </a:lnTo>
                  <a:lnTo>
                    <a:pt x="636" y="552"/>
                  </a:lnTo>
                  <a:lnTo>
                    <a:pt x="822" y="740"/>
                  </a:lnTo>
                  <a:lnTo>
                    <a:pt x="636" y="925"/>
                  </a:lnTo>
                  <a:close/>
                  <a:moveTo>
                    <a:pt x="610" y="952"/>
                  </a:moveTo>
                  <a:lnTo>
                    <a:pt x="424" y="1137"/>
                  </a:lnTo>
                  <a:lnTo>
                    <a:pt x="239" y="952"/>
                  </a:lnTo>
                  <a:lnTo>
                    <a:pt x="424" y="764"/>
                  </a:lnTo>
                  <a:lnTo>
                    <a:pt x="610" y="952"/>
                  </a:lnTo>
                  <a:close/>
                  <a:moveTo>
                    <a:pt x="27" y="1162"/>
                  </a:moveTo>
                  <a:lnTo>
                    <a:pt x="212" y="976"/>
                  </a:lnTo>
                  <a:lnTo>
                    <a:pt x="399" y="1162"/>
                  </a:lnTo>
                  <a:lnTo>
                    <a:pt x="212" y="1350"/>
                  </a:lnTo>
                  <a:lnTo>
                    <a:pt x="27" y="1162"/>
                  </a:lnTo>
                  <a:close/>
                  <a:moveTo>
                    <a:pt x="27" y="1586"/>
                  </a:moveTo>
                  <a:lnTo>
                    <a:pt x="212" y="1401"/>
                  </a:lnTo>
                  <a:lnTo>
                    <a:pt x="399" y="1586"/>
                  </a:lnTo>
                  <a:lnTo>
                    <a:pt x="212" y="1772"/>
                  </a:lnTo>
                  <a:lnTo>
                    <a:pt x="27" y="1586"/>
                  </a:lnTo>
                  <a:close/>
                  <a:moveTo>
                    <a:pt x="27" y="2010"/>
                  </a:moveTo>
                  <a:lnTo>
                    <a:pt x="212" y="1823"/>
                  </a:lnTo>
                  <a:lnTo>
                    <a:pt x="399" y="2010"/>
                  </a:lnTo>
                  <a:lnTo>
                    <a:pt x="212" y="2196"/>
                  </a:lnTo>
                  <a:lnTo>
                    <a:pt x="27" y="2010"/>
                  </a:lnTo>
                  <a:close/>
                  <a:moveTo>
                    <a:pt x="27" y="2433"/>
                  </a:moveTo>
                  <a:lnTo>
                    <a:pt x="212" y="2247"/>
                  </a:lnTo>
                  <a:lnTo>
                    <a:pt x="399" y="2433"/>
                  </a:lnTo>
                  <a:lnTo>
                    <a:pt x="212" y="2620"/>
                  </a:lnTo>
                  <a:lnTo>
                    <a:pt x="27" y="2433"/>
                  </a:lnTo>
                  <a:close/>
                  <a:moveTo>
                    <a:pt x="27" y="2857"/>
                  </a:moveTo>
                  <a:lnTo>
                    <a:pt x="212" y="2671"/>
                  </a:lnTo>
                  <a:lnTo>
                    <a:pt x="399" y="2857"/>
                  </a:lnTo>
                  <a:lnTo>
                    <a:pt x="212" y="3043"/>
                  </a:lnTo>
                  <a:lnTo>
                    <a:pt x="27" y="2857"/>
                  </a:lnTo>
                  <a:close/>
                  <a:moveTo>
                    <a:pt x="27" y="3281"/>
                  </a:moveTo>
                  <a:lnTo>
                    <a:pt x="212" y="3094"/>
                  </a:lnTo>
                  <a:lnTo>
                    <a:pt x="399" y="3281"/>
                  </a:lnTo>
                  <a:lnTo>
                    <a:pt x="212" y="3467"/>
                  </a:lnTo>
                  <a:lnTo>
                    <a:pt x="27" y="3281"/>
                  </a:lnTo>
                  <a:close/>
                  <a:moveTo>
                    <a:pt x="27" y="3704"/>
                  </a:moveTo>
                  <a:lnTo>
                    <a:pt x="212" y="3518"/>
                  </a:lnTo>
                  <a:lnTo>
                    <a:pt x="399" y="3704"/>
                  </a:lnTo>
                  <a:lnTo>
                    <a:pt x="212" y="3891"/>
                  </a:lnTo>
                  <a:lnTo>
                    <a:pt x="27" y="3704"/>
                  </a:lnTo>
                  <a:close/>
                  <a:moveTo>
                    <a:pt x="424" y="4103"/>
                  </a:moveTo>
                  <a:lnTo>
                    <a:pt x="239" y="3916"/>
                  </a:lnTo>
                  <a:lnTo>
                    <a:pt x="424" y="3730"/>
                  </a:lnTo>
                  <a:lnTo>
                    <a:pt x="610" y="3916"/>
                  </a:lnTo>
                  <a:lnTo>
                    <a:pt x="424" y="4103"/>
                  </a:lnTo>
                  <a:close/>
                  <a:moveTo>
                    <a:pt x="451" y="3704"/>
                  </a:moveTo>
                  <a:lnTo>
                    <a:pt x="636" y="3518"/>
                  </a:lnTo>
                  <a:lnTo>
                    <a:pt x="822" y="3704"/>
                  </a:lnTo>
                  <a:lnTo>
                    <a:pt x="636" y="3891"/>
                  </a:lnTo>
                  <a:lnTo>
                    <a:pt x="451" y="3704"/>
                  </a:lnTo>
                  <a:close/>
                  <a:moveTo>
                    <a:pt x="848" y="4103"/>
                  </a:moveTo>
                  <a:lnTo>
                    <a:pt x="663" y="3916"/>
                  </a:lnTo>
                  <a:lnTo>
                    <a:pt x="848" y="3730"/>
                  </a:lnTo>
                  <a:lnTo>
                    <a:pt x="1034" y="3916"/>
                  </a:lnTo>
                  <a:lnTo>
                    <a:pt x="848" y="4103"/>
                  </a:lnTo>
                  <a:close/>
                  <a:moveTo>
                    <a:pt x="873" y="3704"/>
                  </a:moveTo>
                  <a:lnTo>
                    <a:pt x="1060" y="3518"/>
                  </a:lnTo>
                  <a:lnTo>
                    <a:pt x="1246" y="3704"/>
                  </a:lnTo>
                  <a:lnTo>
                    <a:pt x="1060" y="3891"/>
                  </a:lnTo>
                  <a:lnTo>
                    <a:pt x="873" y="3704"/>
                  </a:lnTo>
                  <a:close/>
                  <a:moveTo>
                    <a:pt x="1272" y="4103"/>
                  </a:moveTo>
                  <a:lnTo>
                    <a:pt x="1085" y="3916"/>
                  </a:lnTo>
                  <a:lnTo>
                    <a:pt x="1272" y="3730"/>
                  </a:lnTo>
                  <a:lnTo>
                    <a:pt x="1458" y="3916"/>
                  </a:lnTo>
                  <a:lnTo>
                    <a:pt x="1272" y="4103"/>
                  </a:lnTo>
                  <a:close/>
                  <a:moveTo>
                    <a:pt x="1297" y="3704"/>
                  </a:moveTo>
                  <a:lnTo>
                    <a:pt x="1483" y="3518"/>
                  </a:lnTo>
                  <a:lnTo>
                    <a:pt x="1670" y="3704"/>
                  </a:lnTo>
                  <a:lnTo>
                    <a:pt x="1483" y="3891"/>
                  </a:lnTo>
                  <a:lnTo>
                    <a:pt x="1297" y="3704"/>
                  </a:lnTo>
                  <a:close/>
                  <a:moveTo>
                    <a:pt x="1695" y="4103"/>
                  </a:moveTo>
                  <a:lnTo>
                    <a:pt x="1509" y="3916"/>
                  </a:lnTo>
                  <a:lnTo>
                    <a:pt x="1695" y="3730"/>
                  </a:lnTo>
                  <a:lnTo>
                    <a:pt x="1882" y="3916"/>
                  </a:lnTo>
                  <a:lnTo>
                    <a:pt x="1695" y="4103"/>
                  </a:lnTo>
                  <a:close/>
                  <a:moveTo>
                    <a:pt x="1721" y="3704"/>
                  </a:moveTo>
                  <a:lnTo>
                    <a:pt x="1907" y="3518"/>
                  </a:lnTo>
                  <a:lnTo>
                    <a:pt x="2092" y="3704"/>
                  </a:lnTo>
                  <a:lnTo>
                    <a:pt x="1907" y="3891"/>
                  </a:lnTo>
                  <a:lnTo>
                    <a:pt x="1721" y="3704"/>
                  </a:lnTo>
                  <a:close/>
                  <a:moveTo>
                    <a:pt x="2119" y="4103"/>
                  </a:moveTo>
                  <a:lnTo>
                    <a:pt x="1933" y="3916"/>
                  </a:lnTo>
                  <a:lnTo>
                    <a:pt x="2119" y="3730"/>
                  </a:lnTo>
                  <a:lnTo>
                    <a:pt x="2304" y="3916"/>
                  </a:lnTo>
                  <a:lnTo>
                    <a:pt x="2119" y="4103"/>
                  </a:lnTo>
                  <a:close/>
                  <a:moveTo>
                    <a:pt x="2143" y="3704"/>
                  </a:moveTo>
                  <a:lnTo>
                    <a:pt x="2331" y="3518"/>
                  </a:lnTo>
                  <a:lnTo>
                    <a:pt x="2516" y="3704"/>
                  </a:lnTo>
                  <a:lnTo>
                    <a:pt x="2331" y="3891"/>
                  </a:lnTo>
                  <a:lnTo>
                    <a:pt x="2143" y="3704"/>
                  </a:lnTo>
                  <a:close/>
                  <a:moveTo>
                    <a:pt x="2543" y="4103"/>
                  </a:moveTo>
                  <a:lnTo>
                    <a:pt x="2355" y="3916"/>
                  </a:lnTo>
                  <a:lnTo>
                    <a:pt x="2543" y="3730"/>
                  </a:lnTo>
                  <a:lnTo>
                    <a:pt x="2728" y="3916"/>
                  </a:lnTo>
                  <a:lnTo>
                    <a:pt x="2543" y="4103"/>
                  </a:lnTo>
                  <a:close/>
                  <a:moveTo>
                    <a:pt x="2567" y="3704"/>
                  </a:moveTo>
                  <a:lnTo>
                    <a:pt x="2753" y="3518"/>
                  </a:lnTo>
                  <a:lnTo>
                    <a:pt x="2940" y="3704"/>
                  </a:lnTo>
                  <a:lnTo>
                    <a:pt x="2753" y="3891"/>
                  </a:lnTo>
                  <a:lnTo>
                    <a:pt x="2567" y="3704"/>
                  </a:lnTo>
                  <a:close/>
                  <a:moveTo>
                    <a:pt x="2965" y="4103"/>
                  </a:moveTo>
                  <a:lnTo>
                    <a:pt x="2779" y="3916"/>
                  </a:lnTo>
                  <a:lnTo>
                    <a:pt x="2965" y="3730"/>
                  </a:lnTo>
                  <a:lnTo>
                    <a:pt x="3152" y="3916"/>
                  </a:lnTo>
                  <a:lnTo>
                    <a:pt x="2965" y="4103"/>
                  </a:lnTo>
                  <a:close/>
                  <a:moveTo>
                    <a:pt x="2991" y="3704"/>
                  </a:moveTo>
                  <a:lnTo>
                    <a:pt x="3177" y="3518"/>
                  </a:lnTo>
                  <a:lnTo>
                    <a:pt x="3363" y="3704"/>
                  </a:lnTo>
                  <a:lnTo>
                    <a:pt x="3177" y="3891"/>
                  </a:lnTo>
                  <a:lnTo>
                    <a:pt x="2991" y="3704"/>
                  </a:lnTo>
                  <a:close/>
                  <a:moveTo>
                    <a:pt x="3389" y="4103"/>
                  </a:moveTo>
                  <a:lnTo>
                    <a:pt x="3203" y="3916"/>
                  </a:lnTo>
                  <a:lnTo>
                    <a:pt x="3389" y="3730"/>
                  </a:lnTo>
                  <a:lnTo>
                    <a:pt x="3575" y="3916"/>
                  </a:lnTo>
                  <a:lnTo>
                    <a:pt x="3389" y="4103"/>
                  </a:lnTo>
                  <a:close/>
                  <a:moveTo>
                    <a:pt x="3414" y="3704"/>
                  </a:moveTo>
                  <a:lnTo>
                    <a:pt x="3601" y="3518"/>
                  </a:lnTo>
                  <a:lnTo>
                    <a:pt x="3787" y="3704"/>
                  </a:lnTo>
                  <a:lnTo>
                    <a:pt x="3601" y="3891"/>
                  </a:lnTo>
                  <a:lnTo>
                    <a:pt x="3414" y="3704"/>
                  </a:lnTo>
                  <a:close/>
                  <a:moveTo>
                    <a:pt x="3813" y="4103"/>
                  </a:moveTo>
                  <a:lnTo>
                    <a:pt x="3626" y="3916"/>
                  </a:lnTo>
                  <a:lnTo>
                    <a:pt x="3813" y="3730"/>
                  </a:lnTo>
                  <a:lnTo>
                    <a:pt x="3999" y="3916"/>
                  </a:lnTo>
                  <a:lnTo>
                    <a:pt x="3813" y="4103"/>
                  </a:lnTo>
                  <a:close/>
                  <a:moveTo>
                    <a:pt x="3838" y="3704"/>
                  </a:moveTo>
                  <a:lnTo>
                    <a:pt x="4023" y="3518"/>
                  </a:lnTo>
                  <a:lnTo>
                    <a:pt x="4211" y="3704"/>
                  </a:lnTo>
                  <a:lnTo>
                    <a:pt x="4023" y="3891"/>
                  </a:lnTo>
                  <a:lnTo>
                    <a:pt x="3838" y="3704"/>
                  </a:lnTo>
                  <a:close/>
                  <a:moveTo>
                    <a:pt x="4235" y="4103"/>
                  </a:moveTo>
                  <a:lnTo>
                    <a:pt x="4050" y="3916"/>
                  </a:lnTo>
                  <a:lnTo>
                    <a:pt x="4235" y="3730"/>
                  </a:lnTo>
                  <a:lnTo>
                    <a:pt x="4423" y="3916"/>
                  </a:lnTo>
                  <a:lnTo>
                    <a:pt x="4235" y="4103"/>
                  </a:lnTo>
                  <a:close/>
                  <a:moveTo>
                    <a:pt x="4262" y="3704"/>
                  </a:moveTo>
                  <a:lnTo>
                    <a:pt x="4447" y="3518"/>
                  </a:lnTo>
                  <a:lnTo>
                    <a:pt x="4633" y="3704"/>
                  </a:lnTo>
                  <a:lnTo>
                    <a:pt x="4447" y="3891"/>
                  </a:lnTo>
                  <a:lnTo>
                    <a:pt x="4262" y="3704"/>
                  </a:lnTo>
                  <a:close/>
                  <a:moveTo>
                    <a:pt x="4659" y="4103"/>
                  </a:moveTo>
                  <a:lnTo>
                    <a:pt x="4474" y="3916"/>
                  </a:lnTo>
                  <a:lnTo>
                    <a:pt x="4659" y="3730"/>
                  </a:lnTo>
                  <a:lnTo>
                    <a:pt x="4845" y="3916"/>
                  </a:lnTo>
                  <a:lnTo>
                    <a:pt x="4659" y="4103"/>
                  </a:lnTo>
                  <a:close/>
                  <a:moveTo>
                    <a:pt x="4684" y="3704"/>
                  </a:moveTo>
                  <a:lnTo>
                    <a:pt x="4871" y="3518"/>
                  </a:lnTo>
                  <a:lnTo>
                    <a:pt x="5057" y="3704"/>
                  </a:lnTo>
                  <a:lnTo>
                    <a:pt x="4871" y="3891"/>
                  </a:lnTo>
                  <a:lnTo>
                    <a:pt x="4684" y="3704"/>
                  </a:lnTo>
                  <a:close/>
                  <a:moveTo>
                    <a:pt x="5083" y="4103"/>
                  </a:moveTo>
                  <a:lnTo>
                    <a:pt x="4896" y="3916"/>
                  </a:lnTo>
                  <a:lnTo>
                    <a:pt x="5083" y="3730"/>
                  </a:lnTo>
                  <a:lnTo>
                    <a:pt x="5269" y="3916"/>
                  </a:lnTo>
                  <a:lnTo>
                    <a:pt x="5083" y="4103"/>
                  </a:lnTo>
                  <a:close/>
                  <a:moveTo>
                    <a:pt x="5108" y="3704"/>
                  </a:moveTo>
                  <a:lnTo>
                    <a:pt x="5294" y="3518"/>
                  </a:lnTo>
                  <a:lnTo>
                    <a:pt x="5481" y="3704"/>
                  </a:lnTo>
                  <a:lnTo>
                    <a:pt x="5294" y="3891"/>
                  </a:lnTo>
                  <a:lnTo>
                    <a:pt x="5108" y="3704"/>
                  </a:lnTo>
                  <a:close/>
                  <a:moveTo>
                    <a:pt x="5506" y="4103"/>
                  </a:moveTo>
                  <a:lnTo>
                    <a:pt x="5320" y="3916"/>
                  </a:lnTo>
                  <a:lnTo>
                    <a:pt x="5506" y="3730"/>
                  </a:lnTo>
                  <a:lnTo>
                    <a:pt x="5693" y="3916"/>
                  </a:lnTo>
                  <a:lnTo>
                    <a:pt x="5506" y="4103"/>
                  </a:lnTo>
                  <a:close/>
                  <a:moveTo>
                    <a:pt x="5532" y="3704"/>
                  </a:moveTo>
                  <a:lnTo>
                    <a:pt x="5718" y="3518"/>
                  </a:lnTo>
                  <a:lnTo>
                    <a:pt x="5903" y="3704"/>
                  </a:lnTo>
                  <a:lnTo>
                    <a:pt x="5718" y="3891"/>
                  </a:lnTo>
                  <a:lnTo>
                    <a:pt x="5532" y="3704"/>
                  </a:lnTo>
                  <a:close/>
                  <a:moveTo>
                    <a:pt x="5930" y="4103"/>
                  </a:moveTo>
                  <a:lnTo>
                    <a:pt x="5744" y="3916"/>
                  </a:lnTo>
                  <a:lnTo>
                    <a:pt x="5930" y="3730"/>
                  </a:lnTo>
                  <a:lnTo>
                    <a:pt x="6115" y="3916"/>
                  </a:lnTo>
                  <a:lnTo>
                    <a:pt x="5930" y="4103"/>
                  </a:lnTo>
                  <a:close/>
                  <a:moveTo>
                    <a:pt x="5956" y="3704"/>
                  </a:moveTo>
                  <a:lnTo>
                    <a:pt x="6142" y="3518"/>
                  </a:lnTo>
                  <a:lnTo>
                    <a:pt x="6327" y="3704"/>
                  </a:lnTo>
                  <a:lnTo>
                    <a:pt x="6142" y="3891"/>
                  </a:lnTo>
                  <a:lnTo>
                    <a:pt x="5956" y="3704"/>
                  </a:lnTo>
                  <a:close/>
                  <a:moveTo>
                    <a:pt x="6354" y="4103"/>
                  </a:moveTo>
                  <a:lnTo>
                    <a:pt x="6166" y="3916"/>
                  </a:lnTo>
                  <a:lnTo>
                    <a:pt x="6354" y="3730"/>
                  </a:lnTo>
                  <a:lnTo>
                    <a:pt x="6539" y="3916"/>
                  </a:lnTo>
                  <a:lnTo>
                    <a:pt x="6354" y="4103"/>
                  </a:lnTo>
                  <a:close/>
                  <a:moveTo>
                    <a:pt x="6378" y="3704"/>
                  </a:moveTo>
                  <a:lnTo>
                    <a:pt x="6566" y="3518"/>
                  </a:lnTo>
                  <a:lnTo>
                    <a:pt x="6751" y="3704"/>
                  </a:lnTo>
                  <a:lnTo>
                    <a:pt x="6566" y="3891"/>
                  </a:lnTo>
                  <a:lnTo>
                    <a:pt x="6378" y="3704"/>
                  </a:lnTo>
                  <a:close/>
                  <a:moveTo>
                    <a:pt x="6776" y="4103"/>
                  </a:moveTo>
                  <a:lnTo>
                    <a:pt x="6590" y="3916"/>
                  </a:lnTo>
                  <a:lnTo>
                    <a:pt x="6776" y="3730"/>
                  </a:lnTo>
                  <a:lnTo>
                    <a:pt x="6963" y="3916"/>
                  </a:lnTo>
                  <a:lnTo>
                    <a:pt x="6776" y="4103"/>
                  </a:lnTo>
                  <a:close/>
                  <a:moveTo>
                    <a:pt x="6802" y="3704"/>
                  </a:moveTo>
                  <a:lnTo>
                    <a:pt x="6988" y="3518"/>
                  </a:lnTo>
                  <a:lnTo>
                    <a:pt x="7175" y="3704"/>
                  </a:lnTo>
                  <a:lnTo>
                    <a:pt x="6988" y="3891"/>
                  </a:lnTo>
                  <a:lnTo>
                    <a:pt x="6802" y="3704"/>
                  </a:lnTo>
                  <a:close/>
                  <a:moveTo>
                    <a:pt x="7200" y="4103"/>
                  </a:moveTo>
                  <a:lnTo>
                    <a:pt x="7014" y="3916"/>
                  </a:lnTo>
                  <a:lnTo>
                    <a:pt x="7200" y="3730"/>
                  </a:lnTo>
                  <a:lnTo>
                    <a:pt x="7386" y="3916"/>
                  </a:lnTo>
                  <a:lnTo>
                    <a:pt x="7200" y="4103"/>
                  </a:lnTo>
                  <a:close/>
                  <a:moveTo>
                    <a:pt x="7226" y="3704"/>
                  </a:moveTo>
                  <a:lnTo>
                    <a:pt x="7412" y="3518"/>
                  </a:lnTo>
                  <a:lnTo>
                    <a:pt x="7598" y="3704"/>
                  </a:lnTo>
                  <a:lnTo>
                    <a:pt x="7412" y="3891"/>
                  </a:lnTo>
                  <a:lnTo>
                    <a:pt x="7226" y="3704"/>
                  </a:lnTo>
                  <a:close/>
                  <a:moveTo>
                    <a:pt x="7624" y="4103"/>
                  </a:moveTo>
                  <a:lnTo>
                    <a:pt x="7437" y="3916"/>
                  </a:lnTo>
                  <a:lnTo>
                    <a:pt x="7624" y="3730"/>
                  </a:lnTo>
                  <a:lnTo>
                    <a:pt x="7810" y="3916"/>
                  </a:lnTo>
                  <a:lnTo>
                    <a:pt x="7624" y="4103"/>
                  </a:lnTo>
                  <a:close/>
                  <a:moveTo>
                    <a:pt x="7649" y="3704"/>
                  </a:moveTo>
                  <a:lnTo>
                    <a:pt x="7836" y="3518"/>
                  </a:lnTo>
                  <a:lnTo>
                    <a:pt x="8022" y="3704"/>
                  </a:lnTo>
                  <a:lnTo>
                    <a:pt x="7836" y="3891"/>
                  </a:lnTo>
                  <a:lnTo>
                    <a:pt x="7649" y="3704"/>
                  </a:lnTo>
                  <a:close/>
                  <a:moveTo>
                    <a:pt x="8047" y="4103"/>
                  </a:moveTo>
                  <a:lnTo>
                    <a:pt x="7861" y="3916"/>
                  </a:lnTo>
                  <a:lnTo>
                    <a:pt x="8047" y="3730"/>
                  </a:lnTo>
                  <a:lnTo>
                    <a:pt x="8234" y="3916"/>
                  </a:lnTo>
                  <a:lnTo>
                    <a:pt x="8047" y="4103"/>
                  </a:lnTo>
                  <a:close/>
                  <a:moveTo>
                    <a:pt x="8073" y="3704"/>
                  </a:moveTo>
                  <a:lnTo>
                    <a:pt x="8259" y="3518"/>
                  </a:lnTo>
                  <a:lnTo>
                    <a:pt x="8446" y="3704"/>
                  </a:lnTo>
                  <a:lnTo>
                    <a:pt x="8259" y="3891"/>
                  </a:lnTo>
                  <a:lnTo>
                    <a:pt x="8073" y="3704"/>
                  </a:lnTo>
                  <a:close/>
                  <a:moveTo>
                    <a:pt x="8470" y="4103"/>
                  </a:moveTo>
                  <a:lnTo>
                    <a:pt x="8285" y="3916"/>
                  </a:lnTo>
                  <a:lnTo>
                    <a:pt x="8470" y="3730"/>
                  </a:lnTo>
                  <a:lnTo>
                    <a:pt x="8656" y="3916"/>
                  </a:lnTo>
                  <a:lnTo>
                    <a:pt x="8470" y="4103"/>
                  </a:lnTo>
                  <a:close/>
                  <a:moveTo>
                    <a:pt x="8497" y="3704"/>
                  </a:moveTo>
                  <a:lnTo>
                    <a:pt x="8682" y="3518"/>
                  </a:lnTo>
                  <a:lnTo>
                    <a:pt x="8868" y="3704"/>
                  </a:lnTo>
                  <a:lnTo>
                    <a:pt x="8682" y="3891"/>
                  </a:lnTo>
                  <a:lnTo>
                    <a:pt x="8497" y="3704"/>
                  </a:lnTo>
                  <a:close/>
                  <a:moveTo>
                    <a:pt x="8894" y="4103"/>
                  </a:moveTo>
                  <a:lnTo>
                    <a:pt x="8707" y="3916"/>
                  </a:lnTo>
                  <a:lnTo>
                    <a:pt x="8894" y="3730"/>
                  </a:lnTo>
                  <a:lnTo>
                    <a:pt x="9080" y="3916"/>
                  </a:lnTo>
                  <a:lnTo>
                    <a:pt x="8894" y="4103"/>
                  </a:lnTo>
                  <a:close/>
                  <a:moveTo>
                    <a:pt x="8919" y="3704"/>
                  </a:moveTo>
                  <a:lnTo>
                    <a:pt x="9106" y="3518"/>
                  </a:lnTo>
                  <a:lnTo>
                    <a:pt x="9292" y="3704"/>
                  </a:lnTo>
                  <a:lnTo>
                    <a:pt x="9106" y="3891"/>
                  </a:lnTo>
                  <a:lnTo>
                    <a:pt x="8919" y="3704"/>
                  </a:lnTo>
                  <a:close/>
                  <a:moveTo>
                    <a:pt x="9317" y="4103"/>
                  </a:moveTo>
                  <a:lnTo>
                    <a:pt x="9131" y="3916"/>
                  </a:lnTo>
                  <a:lnTo>
                    <a:pt x="9317" y="3730"/>
                  </a:lnTo>
                  <a:lnTo>
                    <a:pt x="9504" y="3916"/>
                  </a:lnTo>
                  <a:lnTo>
                    <a:pt x="9317" y="4103"/>
                  </a:lnTo>
                  <a:close/>
                  <a:moveTo>
                    <a:pt x="9343" y="3704"/>
                  </a:moveTo>
                  <a:lnTo>
                    <a:pt x="9529" y="3518"/>
                  </a:lnTo>
                  <a:lnTo>
                    <a:pt x="9716" y="3704"/>
                  </a:lnTo>
                  <a:lnTo>
                    <a:pt x="9529" y="3891"/>
                  </a:lnTo>
                  <a:lnTo>
                    <a:pt x="9343" y="3704"/>
                  </a:lnTo>
                  <a:close/>
                  <a:moveTo>
                    <a:pt x="9741" y="4103"/>
                  </a:moveTo>
                  <a:lnTo>
                    <a:pt x="9555" y="3916"/>
                  </a:lnTo>
                  <a:lnTo>
                    <a:pt x="9741" y="3730"/>
                  </a:lnTo>
                  <a:lnTo>
                    <a:pt x="9927" y="3916"/>
                  </a:lnTo>
                  <a:lnTo>
                    <a:pt x="9741" y="4103"/>
                  </a:lnTo>
                  <a:close/>
                  <a:moveTo>
                    <a:pt x="9767" y="3704"/>
                  </a:moveTo>
                  <a:lnTo>
                    <a:pt x="9953" y="3518"/>
                  </a:lnTo>
                  <a:lnTo>
                    <a:pt x="10139" y="3704"/>
                  </a:lnTo>
                  <a:lnTo>
                    <a:pt x="9953" y="3891"/>
                  </a:lnTo>
                  <a:lnTo>
                    <a:pt x="9767" y="3704"/>
                  </a:lnTo>
                  <a:close/>
                  <a:moveTo>
                    <a:pt x="10165" y="4103"/>
                  </a:moveTo>
                  <a:lnTo>
                    <a:pt x="9979" y="3916"/>
                  </a:lnTo>
                  <a:lnTo>
                    <a:pt x="10165" y="3730"/>
                  </a:lnTo>
                  <a:lnTo>
                    <a:pt x="10351" y="3916"/>
                  </a:lnTo>
                  <a:lnTo>
                    <a:pt x="10165" y="4103"/>
                  </a:lnTo>
                  <a:close/>
                  <a:moveTo>
                    <a:pt x="10190" y="3704"/>
                  </a:moveTo>
                  <a:lnTo>
                    <a:pt x="10377" y="3518"/>
                  </a:lnTo>
                  <a:lnTo>
                    <a:pt x="10563" y="3704"/>
                  </a:lnTo>
                  <a:lnTo>
                    <a:pt x="10377" y="3891"/>
                  </a:lnTo>
                  <a:lnTo>
                    <a:pt x="10190" y="3704"/>
                  </a:lnTo>
                  <a:close/>
                  <a:moveTo>
                    <a:pt x="10589" y="4103"/>
                  </a:moveTo>
                  <a:lnTo>
                    <a:pt x="10402" y="3916"/>
                  </a:lnTo>
                  <a:lnTo>
                    <a:pt x="10589" y="3730"/>
                  </a:lnTo>
                  <a:lnTo>
                    <a:pt x="10775" y="3916"/>
                  </a:lnTo>
                  <a:lnTo>
                    <a:pt x="10589" y="4103"/>
                  </a:lnTo>
                  <a:close/>
                  <a:moveTo>
                    <a:pt x="10614" y="3704"/>
                  </a:moveTo>
                  <a:lnTo>
                    <a:pt x="10799" y="3518"/>
                  </a:lnTo>
                  <a:lnTo>
                    <a:pt x="10986" y="3704"/>
                  </a:lnTo>
                  <a:lnTo>
                    <a:pt x="10799" y="3891"/>
                  </a:lnTo>
                  <a:lnTo>
                    <a:pt x="10614" y="3704"/>
                  </a:lnTo>
                  <a:close/>
                  <a:moveTo>
                    <a:pt x="11011" y="4103"/>
                  </a:moveTo>
                  <a:lnTo>
                    <a:pt x="10826" y="3916"/>
                  </a:lnTo>
                  <a:lnTo>
                    <a:pt x="11011" y="3730"/>
                  </a:lnTo>
                  <a:lnTo>
                    <a:pt x="11198" y="3916"/>
                  </a:lnTo>
                  <a:lnTo>
                    <a:pt x="11011" y="4103"/>
                  </a:lnTo>
                  <a:close/>
                  <a:moveTo>
                    <a:pt x="11038" y="3704"/>
                  </a:moveTo>
                  <a:lnTo>
                    <a:pt x="11223" y="3518"/>
                  </a:lnTo>
                  <a:lnTo>
                    <a:pt x="11409" y="3704"/>
                  </a:lnTo>
                  <a:lnTo>
                    <a:pt x="11223" y="3891"/>
                  </a:lnTo>
                  <a:lnTo>
                    <a:pt x="11038" y="3704"/>
                  </a:lnTo>
                  <a:close/>
                  <a:moveTo>
                    <a:pt x="11435" y="4103"/>
                  </a:moveTo>
                  <a:lnTo>
                    <a:pt x="11250" y="3916"/>
                  </a:lnTo>
                  <a:lnTo>
                    <a:pt x="11435" y="3730"/>
                  </a:lnTo>
                  <a:lnTo>
                    <a:pt x="11621" y="3916"/>
                  </a:lnTo>
                  <a:lnTo>
                    <a:pt x="11435" y="4103"/>
                  </a:lnTo>
                  <a:close/>
                  <a:moveTo>
                    <a:pt x="11460" y="3704"/>
                  </a:moveTo>
                  <a:lnTo>
                    <a:pt x="11647" y="3518"/>
                  </a:lnTo>
                  <a:lnTo>
                    <a:pt x="11833" y="3704"/>
                  </a:lnTo>
                  <a:lnTo>
                    <a:pt x="11647" y="3891"/>
                  </a:lnTo>
                  <a:lnTo>
                    <a:pt x="11460" y="3704"/>
                  </a:lnTo>
                  <a:close/>
                  <a:moveTo>
                    <a:pt x="11859" y="4103"/>
                  </a:moveTo>
                  <a:lnTo>
                    <a:pt x="11672" y="3916"/>
                  </a:lnTo>
                  <a:lnTo>
                    <a:pt x="11859" y="3730"/>
                  </a:lnTo>
                  <a:lnTo>
                    <a:pt x="12045" y="3916"/>
                  </a:lnTo>
                  <a:lnTo>
                    <a:pt x="11859" y="4103"/>
                  </a:lnTo>
                  <a:close/>
                  <a:moveTo>
                    <a:pt x="11884" y="3704"/>
                  </a:moveTo>
                  <a:lnTo>
                    <a:pt x="12070" y="3518"/>
                  </a:lnTo>
                  <a:lnTo>
                    <a:pt x="12257" y="3704"/>
                  </a:lnTo>
                  <a:lnTo>
                    <a:pt x="12070" y="3891"/>
                  </a:lnTo>
                  <a:lnTo>
                    <a:pt x="11884" y="3704"/>
                  </a:lnTo>
                  <a:close/>
                  <a:moveTo>
                    <a:pt x="12282" y="4103"/>
                  </a:moveTo>
                  <a:lnTo>
                    <a:pt x="12096" y="3916"/>
                  </a:lnTo>
                  <a:lnTo>
                    <a:pt x="12282" y="3730"/>
                  </a:lnTo>
                  <a:lnTo>
                    <a:pt x="12469" y="3916"/>
                  </a:lnTo>
                  <a:lnTo>
                    <a:pt x="12282" y="4103"/>
                  </a:lnTo>
                  <a:close/>
                  <a:moveTo>
                    <a:pt x="12308" y="3704"/>
                  </a:moveTo>
                  <a:lnTo>
                    <a:pt x="12494" y="3518"/>
                  </a:lnTo>
                  <a:lnTo>
                    <a:pt x="12679" y="3704"/>
                  </a:lnTo>
                  <a:lnTo>
                    <a:pt x="12494" y="3891"/>
                  </a:lnTo>
                  <a:lnTo>
                    <a:pt x="12308" y="3704"/>
                  </a:lnTo>
                  <a:close/>
                  <a:moveTo>
                    <a:pt x="12706" y="4103"/>
                  </a:moveTo>
                  <a:lnTo>
                    <a:pt x="12520" y="3916"/>
                  </a:lnTo>
                  <a:lnTo>
                    <a:pt x="12706" y="3730"/>
                  </a:lnTo>
                  <a:lnTo>
                    <a:pt x="12891" y="3916"/>
                  </a:lnTo>
                  <a:lnTo>
                    <a:pt x="12706" y="4103"/>
                  </a:lnTo>
                  <a:close/>
                  <a:moveTo>
                    <a:pt x="12730" y="3704"/>
                  </a:moveTo>
                  <a:lnTo>
                    <a:pt x="12918" y="3518"/>
                  </a:lnTo>
                  <a:lnTo>
                    <a:pt x="13103" y="3704"/>
                  </a:lnTo>
                  <a:lnTo>
                    <a:pt x="12918" y="3891"/>
                  </a:lnTo>
                  <a:lnTo>
                    <a:pt x="12730" y="3704"/>
                  </a:lnTo>
                  <a:close/>
                  <a:moveTo>
                    <a:pt x="13130" y="4103"/>
                  </a:moveTo>
                  <a:lnTo>
                    <a:pt x="12942" y="3916"/>
                  </a:lnTo>
                  <a:lnTo>
                    <a:pt x="13130" y="3730"/>
                  </a:lnTo>
                  <a:lnTo>
                    <a:pt x="13315" y="3916"/>
                  </a:lnTo>
                  <a:lnTo>
                    <a:pt x="13130" y="4103"/>
                  </a:lnTo>
                  <a:close/>
                  <a:moveTo>
                    <a:pt x="13154" y="3704"/>
                  </a:moveTo>
                  <a:lnTo>
                    <a:pt x="13340" y="3518"/>
                  </a:lnTo>
                  <a:lnTo>
                    <a:pt x="13527" y="3704"/>
                  </a:lnTo>
                  <a:lnTo>
                    <a:pt x="13340" y="3891"/>
                  </a:lnTo>
                  <a:lnTo>
                    <a:pt x="13154" y="3704"/>
                  </a:lnTo>
                  <a:close/>
                  <a:moveTo>
                    <a:pt x="13552" y="4103"/>
                  </a:moveTo>
                  <a:lnTo>
                    <a:pt x="13366" y="3916"/>
                  </a:lnTo>
                  <a:lnTo>
                    <a:pt x="13552" y="3730"/>
                  </a:lnTo>
                  <a:lnTo>
                    <a:pt x="13739" y="3916"/>
                  </a:lnTo>
                  <a:lnTo>
                    <a:pt x="13552" y="4103"/>
                  </a:lnTo>
                  <a:close/>
                  <a:moveTo>
                    <a:pt x="13578" y="3704"/>
                  </a:moveTo>
                  <a:lnTo>
                    <a:pt x="13764" y="3518"/>
                  </a:lnTo>
                  <a:lnTo>
                    <a:pt x="13950" y="3704"/>
                  </a:lnTo>
                  <a:lnTo>
                    <a:pt x="13764" y="3891"/>
                  </a:lnTo>
                  <a:lnTo>
                    <a:pt x="13578" y="3704"/>
                  </a:lnTo>
                  <a:close/>
                  <a:moveTo>
                    <a:pt x="13976" y="4103"/>
                  </a:moveTo>
                  <a:lnTo>
                    <a:pt x="13790" y="3916"/>
                  </a:lnTo>
                  <a:lnTo>
                    <a:pt x="13976" y="3730"/>
                  </a:lnTo>
                  <a:lnTo>
                    <a:pt x="14162" y="3916"/>
                  </a:lnTo>
                  <a:lnTo>
                    <a:pt x="13976" y="4103"/>
                  </a:lnTo>
                  <a:close/>
                  <a:moveTo>
                    <a:pt x="14002" y="3704"/>
                  </a:moveTo>
                  <a:lnTo>
                    <a:pt x="14188" y="3518"/>
                  </a:lnTo>
                  <a:lnTo>
                    <a:pt x="14374" y="3704"/>
                  </a:lnTo>
                  <a:lnTo>
                    <a:pt x="14188" y="3891"/>
                  </a:lnTo>
                  <a:lnTo>
                    <a:pt x="14002" y="3704"/>
                  </a:lnTo>
                  <a:close/>
                  <a:moveTo>
                    <a:pt x="14400" y="4103"/>
                  </a:moveTo>
                  <a:lnTo>
                    <a:pt x="14213" y="3916"/>
                  </a:lnTo>
                  <a:lnTo>
                    <a:pt x="14400" y="3730"/>
                  </a:lnTo>
                  <a:lnTo>
                    <a:pt x="14586" y="3916"/>
                  </a:lnTo>
                  <a:lnTo>
                    <a:pt x="14400" y="4103"/>
                  </a:lnTo>
                  <a:close/>
                  <a:moveTo>
                    <a:pt x="14798" y="3704"/>
                  </a:moveTo>
                  <a:lnTo>
                    <a:pt x="14612" y="3891"/>
                  </a:lnTo>
                  <a:lnTo>
                    <a:pt x="14425" y="3704"/>
                  </a:lnTo>
                  <a:lnTo>
                    <a:pt x="14612" y="3518"/>
                  </a:lnTo>
                  <a:lnTo>
                    <a:pt x="14798" y="3704"/>
                  </a:lnTo>
                  <a:close/>
                  <a:moveTo>
                    <a:pt x="14798" y="3281"/>
                  </a:moveTo>
                  <a:lnTo>
                    <a:pt x="14612" y="3467"/>
                  </a:lnTo>
                  <a:lnTo>
                    <a:pt x="14425" y="3281"/>
                  </a:lnTo>
                  <a:lnTo>
                    <a:pt x="14612" y="3094"/>
                  </a:lnTo>
                  <a:lnTo>
                    <a:pt x="14798" y="3281"/>
                  </a:lnTo>
                  <a:close/>
                  <a:moveTo>
                    <a:pt x="14798" y="2857"/>
                  </a:moveTo>
                  <a:lnTo>
                    <a:pt x="14612" y="3043"/>
                  </a:lnTo>
                  <a:lnTo>
                    <a:pt x="14425" y="2857"/>
                  </a:lnTo>
                  <a:lnTo>
                    <a:pt x="14612" y="2671"/>
                  </a:lnTo>
                  <a:lnTo>
                    <a:pt x="14798" y="2857"/>
                  </a:lnTo>
                  <a:close/>
                  <a:moveTo>
                    <a:pt x="14798" y="2433"/>
                  </a:moveTo>
                  <a:lnTo>
                    <a:pt x="14612" y="2620"/>
                  </a:lnTo>
                  <a:lnTo>
                    <a:pt x="14425" y="2433"/>
                  </a:lnTo>
                  <a:lnTo>
                    <a:pt x="14612" y="2247"/>
                  </a:lnTo>
                  <a:lnTo>
                    <a:pt x="14798" y="2433"/>
                  </a:lnTo>
                  <a:close/>
                  <a:moveTo>
                    <a:pt x="14798" y="2010"/>
                  </a:moveTo>
                  <a:lnTo>
                    <a:pt x="14612" y="2196"/>
                  </a:lnTo>
                  <a:lnTo>
                    <a:pt x="14425" y="2010"/>
                  </a:lnTo>
                  <a:lnTo>
                    <a:pt x="14612" y="1823"/>
                  </a:lnTo>
                  <a:lnTo>
                    <a:pt x="14798" y="2010"/>
                  </a:lnTo>
                  <a:close/>
                  <a:moveTo>
                    <a:pt x="14798" y="1586"/>
                  </a:moveTo>
                  <a:lnTo>
                    <a:pt x="14612" y="1772"/>
                  </a:lnTo>
                  <a:lnTo>
                    <a:pt x="14425" y="1586"/>
                  </a:lnTo>
                  <a:lnTo>
                    <a:pt x="14612" y="1401"/>
                  </a:lnTo>
                  <a:lnTo>
                    <a:pt x="14798" y="1586"/>
                  </a:lnTo>
                  <a:close/>
                  <a:moveTo>
                    <a:pt x="14798" y="1162"/>
                  </a:moveTo>
                  <a:lnTo>
                    <a:pt x="14612" y="1350"/>
                  </a:lnTo>
                  <a:lnTo>
                    <a:pt x="14425" y="1162"/>
                  </a:lnTo>
                  <a:lnTo>
                    <a:pt x="14612" y="976"/>
                  </a:lnTo>
                  <a:lnTo>
                    <a:pt x="14798" y="1162"/>
                  </a:lnTo>
                  <a:close/>
                  <a:moveTo>
                    <a:pt x="14798" y="740"/>
                  </a:moveTo>
                  <a:lnTo>
                    <a:pt x="14612" y="925"/>
                  </a:lnTo>
                  <a:lnTo>
                    <a:pt x="14425" y="740"/>
                  </a:lnTo>
                  <a:lnTo>
                    <a:pt x="14612" y="552"/>
                  </a:lnTo>
                  <a:lnTo>
                    <a:pt x="14798" y="740"/>
                  </a:lnTo>
                  <a:close/>
                  <a:moveTo>
                    <a:pt x="14612" y="130"/>
                  </a:moveTo>
                  <a:lnTo>
                    <a:pt x="14798" y="316"/>
                  </a:lnTo>
                  <a:lnTo>
                    <a:pt x="14612" y="501"/>
                  </a:lnTo>
                  <a:lnTo>
                    <a:pt x="14425" y="316"/>
                  </a:lnTo>
                  <a:lnTo>
                    <a:pt x="14612" y="130"/>
                  </a:lnTo>
                  <a:close/>
                  <a:moveTo>
                    <a:pt x="14586" y="528"/>
                  </a:moveTo>
                  <a:lnTo>
                    <a:pt x="14400" y="713"/>
                  </a:lnTo>
                  <a:lnTo>
                    <a:pt x="14213" y="528"/>
                  </a:lnTo>
                  <a:lnTo>
                    <a:pt x="14400" y="342"/>
                  </a:lnTo>
                  <a:lnTo>
                    <a:pt x="14586" y="528"/>
                  </a:lnTo>
                  <a:close/>
                  <a:moveTo>
                    <a:pt x="14188" y="130"/>
                  </a:moveTo>
                  <a:lnTo>
                    <a:pt x="14374" y="316"/>
                  </a:lnTo>
                  <a:lnTo>
                    <a:pt x="14188" y="501"/>
                  </a:lnTo>
                  <a:lnTo>
                    <a:pt x="14002" y="316"/>
                  </a:lnTo>
                  <a:lnTo>
                    <a:pt x="14188" y="130"/>
                  </a:lnTo>
                  <a:close/>
                  <a:moveTo>
                    <a:pt x="14162" y="528"/>
                  </a:moveTo>
                  <a:lnTo>
                    <a:pt x="13976" y="713"/>
                  </a:lnTo>
                  <a:lnTo>
                    <a:pt x="13790" y="528"/>
                  </a:lnTo>
                  <a:lnTo>
                    <a:pt x="13976" y="342"/>
                  </a:lnTo>
                  <a:lnTo>
                    <a:pt x="14162" y="528"/>
                  </a:lnTo>
                  <a:close/>
                  <a:moveTo>
                    <a:pt x="13764" y="130"/>
                  </a:moveTo>
                  <a:lnTo>
                    <a:pt x="13950" y="316"/>
                  </a:lnTo>
                  <a:lnTo>
                    <a:pt x="13764" y="501"/>
                  </a:lnTo>
                  <a:lnTo>
                    <a:pt x="13578" y="316"/>
                  </a:lnTo>
                  <a:lnTo>
                    <a:pt x="13764" y="130"/>
                  </a:lnTo>
                  <a:close/>
                  <a:moveTo>
                    <a:pt x="13739" y="528"/>
                  </a:moveTo>
                  <a:lnTo>
                    <a:pt x="13552" y="713"/>
                  </a:lnTo>
                  <a:lnTo>
                    <a:pt x="13366" y="528"/>
                  </a:lnTo>
                  <a:lnTo>
                    <a:pt x="13552" y="342"/>
                  </a:lnTo>
                  <a:lnTo>
                    <a:pt x="13739" y="528"/>
                  </a:lnTo>
                  <a:close/>
                  <a:moveTo>
                    <a:pt x="13340" y="130"/>
                  </a:moveTo>
                  <a:lnTo>
                    <a:pt x="13527" y="316"/>
                  </a:lnTo>
                  <a:lnTo>
                    <a:pt x="13340" y="501"/>
                  </a:lnTo>
                  <a:lnTo>
                    <a:pt x="13154" y="316"/>
                  </a:lnTo>
                  <a:lnTo>
                    <a:pt x="13340" y="130"/>
                  </a:lnTo>
                  <a:close/>
                  <a:moveTo>
                    <a:pt x="13315" y="528"/>
                  </a:moveTo>
                  <a:lnTo>
                    <a:pt x="13130" y="713"/>
                  </a:lnTo>
                  <a:lnTo>
                    <a:pt x="12942" y="528"/>
                  </a:lnTo>
                  <a:lnTo>
                    <a:pt x="13130" y="342"/>
                  </a:lnTo>
                  <a:lnTo>
                    <a:pt x="13315" y="528"/>
                  </a:lnTo>
                  <a:close/>
                  <a:moveTo>
                    <a:pt x="12918" y="130"/>
                  </a:moveTo>
                  <a:lnTo>
                    <a:pt x="13103" y="316"/>
                  </a:lnTo>
                  <a:lnTo>
                    <a:pt x="12918" y="501"/>
                  </a:lnTo>
                  <a:lnTo>
                    <a:pt x="12730" y="316"/>
                  </a:lnTo>
                  <a:lnTo>
                    <a:pt x="12918" y="130"/>
                  </a:lnTo>
                  <a:close/>
                  <a:moveTo>
                    <a:pt x="12891" y="528"/>
                  </a:moveTo>
                  <a:lnTo>
                    <a:pt x="12706" y="713"/>
                  </a:lnTo>
                  <a:lnTo>
                    <a:pt x="12520" y="528"/>
                  </a:lnTo>
                  <a:lnTo>
                    <a:pt x="12706" y="342"/>
                  </a:lnTo>
                  <a:lnTo>
                    <a:pt x="12891" y="528"/>
                  </a:lnTo>
                  <a:close/>
                  <a:moveTo>
                    <a:pt x="12494" y="130"/>
                  </a:moveTo>
                  <a:lnTo>
                    <a:pt x="12679" y="316"/>
                  </a:lnTo>
                  <a:lnTo>
                    <a:pt x="12494" y="501"/>
                  </a:lnTo>
                  <a:lnTo>
                    <a:pt x="12308" y="316"/>
                  </a:lnTo>
                  <a:lnTo>
                    <a:pt x="12494" y="130"/>
                  </a:lnTo>
                  <a:close/>
                  <a:moveTo>
                    <a:pt x="12469" y="528"/>
                  </a:moveTo>
                  <a:lnTo>
                    <a:pt x="12282" y="713"/>
                  </a:lnTo>
                  <a:lnTo>
                    <a:pt x="12096" y="528"/>
                  </a:lnTo>
                  <a:lnTo>
                    <a:pt x="12282" y="342"/>
                  </a:lnTo>
                  <a:lnTo>
                    <a:pt x="12469" y="528"/>
                  </a:lnTo>
                  <a:close/>
                  <a:moveTo>
                    <a:pt x="12070" y="130"/>
                  </a:moveTo>
                  <a:lnTo>
                    <a:pt x="12257" y="316"/>
                  </a:lnTo>
                  <a:lnTo>
                    <a:pt x="12070" y="501"/>
                  </a:lnTo>
                  <a:lnTo>
                    <a:pt x="11884" y="316"/>
                  </a:lnTo>
                  <a:lnTo>
                    <a:pt x="12070" y="130"/>
                  </a:lnTo>
                  <a:close/>
                  <a:moveTo>
                    <a:pt x="12045" y="528"/>
                  </a:moveTo>
                  <a:lnTo>
                    <a:pt x="11859" y="713"/>
                  </a:lnTo>
                  <a:lnTo>
                    <a:pt x="11672" y="528"/>
                  </a:lnTo>
                  <a:lnTo>
                    <a:pt x="11859" y="342"/>
                  </a:lnTo>
                  <a:lnTo>
                    <a:pt x="12045" y="528"/>
                  </a:lnTo>
                  <a:close/>
                  <a:moveTo>
                    <a:pt x="11647" y="130"/>
                  </a:moveTo>
                  <a:lnTo>
                    <a:pt x="11833" y="316"/>
                  </a:lnTo>
                  <a:lnTo>
                    <a:pt x="11647" y="501"/>
                  </a:lnTo>
                  <a:lnTo>
                    <a:pt x="11460" y="316"/>
                  </a:lnTo>
                  <a:lnTo>
                    <a:pt x="11647" y="130"/>
                  </a:lnTo>
                  <a:close/>
                  <a:moveTo>
                    <a:pt x="11621" y="528"/>
                  </a:moveTo>
                  <a:lnTo>
                    <a:pt x="11435" y="713"/>
                  </a:lnTo>
                  <a:lnTo>
                    <a:pt x="11250" y="528"/>
                  </a:lnTo>
                  <a:lnTo>
                    <a:pt x="11435" y="342"/>
                  </a:lnTo>
                  <a:lnTo>
                    <a:pt x="11621" y="528"/>
                  </a:lnTo>
                  <a:close/>
                  <a:moveTo>
                    <a:pt x="11223" y="130"/>
                  </a:moveTo>
                  <a:lnTo>
                    <a:pt x="11409" y="316"/>
                  </a:lnTo>
                  <a:lnTo>
                    <a:pt x="11223" y="501"/>
                  </a:lnTo>
                  <a:lnTo>
                    <a:pt x="11038" y="316"/>
                  </a:lnTo>
                  <a:lnTo>
                    <a:pt x="11223" y="130"/>
                  </a:lnTo>
                  <a:close/>
                  <a:moveTo>
                    <a:pt x="11198" y="528"/>
                  </a:moveTo>
                  <a:lnTo>
                    <a:pt x="11011" y="713"/>
                  </a:lnTo>
                  <a:lnTo>
                    <a:pt x="10826" y="528"/>
                  </a:lnTo>
                  <a:lnTo>
                    <a:pt x="11011" y="342"/>
                  </a:lnTo>
                  <a:lnTo>
                    <a:pt x="11198" y="528"/>
                  </a:lnTo>
                  <a:close/>
                  <a:moveTo>
                    <a:pt x="10799" y="130"/>
                  </a:moveTo>
                  <a:lnTo>
                    <a:pt x="10986" y="316"/>
                  </a:lnTo>
                  <a:lnTo>
                    <a:pt x="10799" y="501"/>
                  </a:lnTo>
                  <a:lnTo>
                    <a:pt x="10614" y="316"/>
                  </a:lnTo>
                  <a:lnTo>
                    <a:pt x="10799" y="130"/>
                  </a:lnTo>
                  <a:close/>
                  <a:moveTo>
                    <a:pt x="10775" y="528"/>
                  </a:moveTo>
                  <a:lnTo>
                    <a:pt x="10589" y="713"/>
                  </a:lnTo>
                  <a:lnTo>
                    <a:pt x="10402" y="528"/>
                  </a:lnTo>
                  <a:lnTo>
                    <a:pt x="10589" y="342"/>
                  </a:lnTo>
                  <a:lnTo>
                    <a:pt x="10775" y="528"/>
                  </a:lnTo>
                  <a:close/>
                  <a:moveTo>
                    <a:pt x="10377" y="130"/>
                  </a:moveTo>
                  <a:lnTo>
                    <a:pt x="10563" y="316"/>
                  </a:lnTo>
                  <a:lnTo>
                    <a:pt x="10377" y="501"/>
                  </a:lnTo>
                  <a:lnTo>
                    <a:pt x="10190" y="316"/>
                  </a:lnTo>
                  <a:lnTo>
                    <a:pt x="10377" y="130"/>
                  </a:lnTo>
                  <a:close/>
                  <a:moveTo>
                    <a:pt x="10351" y="528"/>
                  </a:moveTo>
                  <a:lnTo>
                    <a:pt x="10165" y="713"/>
                  </a:lnTo>
                  <a:lnTo>
                    <a:pt x="9979" y="528"/>
                  </a:lnTo>
                  <a:lnTo>
                    <a:pt x="10165" y="342"/>
                  </a:lnTo>
                  <a:lnTo>
                    <a:pt x="10351" y="528"/>
                  </a:lnTo>
                  <a:close/>
                  <a:moveTo>
                    <a:pt x="9953" y="130"/>
                  </a:moveTo>
                  <a:lnTo>
                    <a:pt x="10139" y="316"/>
                  </a:lnTo>
                  <a:lnTo>
                    <a:pt x="9953" y="501"/>
                  </a:lnTo>
                  <a:lnTo>
                    <a:pt x="9767" y="316"/>
                  </a:lnTo>
                  <a:lnTo>
                    <a:pt x="9953" y="130"/>
                  </a:lnTo>
                  <a:close/>
                  <a:moveTo>
                    <a:pt x="9927" y="528"/>
                  </a:moveTo>
                  <a:lnTo>
                    <a:pt x="9741" y="713"/>
                  </a:lnTo>
                  <a:lnTo>
                    <a:pt x="9555" y="528"/>
                  </a:lnTo>
                  <a:lnTo>
                    <a:pt x="9741" y="342"/>
                  </a:lnTo>
                  <a:lnTo>
                    <a:pt x="9927" y="528"/>
                  </a:lnTo>
                  <a:close/>
                  <a:moveTo>
                    <a:pt x="9529" y="130"/>
                  </a:moveTo>
                  <a:lnTo>
                    <a:pt x="9716" y="316"/>
                  </a:lnTo>
                  <a:lnTo>
                    <a:pt x="9529" y="501"/>
                  </a:lnTo>
                  <a:lnTo>
                    <a:pt x="9343" y="316"/>
                  </a:lnTo>
                  <a:lnTo>
                    <a:pt x="9529" y="130"/>
                  </a:lnTo>
                  <a:close/>
                  <a:moveTo>
                    <a:pt x="9504" y="528"/>
                  </a:moveTo>
                  <a:lnTo>
                    <a:pt x="9317" y="713"/>
                  </a:lnTo>
                  <a:lnTo>
                    <a:pt x="9131" y="528"/>
                  </a:lnTo>
                  <a:lnTo>
                    <a:pt x="9317" y="342"/>
                  </a:lnTo>
                  <a:lnTo>
                    <a:pt x="9504" y="528"/>
                  </a:lnTo>
                  <a:close/>
                  <a:moveTo>
                    <a:pt x="9106" y="130"/>
                  </a:moveTo>
                  <a:lnTo>
                    <a:pt x="9292" y="316"/>
                  </a:lnTo>
                  <a:lnTo>
                    <a:pt x="9106" y="501"/>
                  </a:lnTo>
                  <a:lnTo>
                    <a:pt x="8919" y="316"/>
                  </a:lnTo>
                  <a:lnTo>
                    <a:pt x="9106" y="130"/>
                  </a:lnTo>
                  <a:close/>
                  <a:moveTo>
                    <a:pt x="9080" y="528"/>
                  </a:moveTo>
                  <a:lnTo>
                    <a:pt x="8894" y="713"/>
                  </a:lnTo>
                  <a:lnTo>
                    <a:pt x="8707" y="528"/>
                  </a:lnTo>
                  <a:lnTo>
                    <a:pt x="8894" y="342"/>
                  </a:lnTo>
                  <a:lnTo>
                    <a:pt x="9080" y="528"/>
                  </a:lnTo>
                  <a:close/>
                  <a:moveTo>
                    <a:pt x="8682" y="130"/>
                  </a:moveTo>
                  <a:lnTo>
                    <a:pt x="8868" y="316"/>
                  </a:lnTo>
                  <a:lnTo>
                    <a:pt x="8682" y="501"/>
                  </a:lnTo>
                  <a:lnTo>
                    <a:pt x="8497" y="316"/>
                  </a:lnTo>
                  <a:lnTo>
                    <a:pt x="8682" y="130"/>
                  </a:lnTo>
                  <a:close/>
                  <a:moveTo>
                    <a:pt x="8656" y="528"/>
                  </a:moveTo>
                  <a:lnTo>
                    <a:pt x="8470" y="713"/>
                  </a:lnTo>
                  <a:lnTo>
                    <a:pt x="8285" y="528"/>
                  </a:lnTo>
                  <a:lnTo>
                    <a:pt x="8470" y="342"/>
                  </a:lnTo>
                  <a:lnTo>
                    <a:pt x="8656" y="528"/>
                  </a:lnTo>
                  <a:close/>
                  <a:moveTo>
                    <a:pt x="8259" y="130"/>
                  </a:moveTo>
                  <a:lnTo>
                    <a:pt x="8446" y="316"/>
                  </a:lnTo>
                  <a:lnTo>
                    <a:pt x="8259" y="501"/>
                  </a:lnTo>
                  <a:lnTo>
                    <a:pt x="8073" y="316"/>
                  </a:lnTo>
                  <a:lnTo>
                    <a:pt x="8259" y="130"/>
                  </a:lnTo>
                  <a:close/>
                  <a:moveTo>
                    <a:pt x="8234" y="528"/>
                  </a:moveTo>
                  <a:lnTo>
                    <a:pt x="8047" y="713"/>
                  </a:lnTo>
                  <a:lnTo>
                    <a:pt x="7861" y="528"/>
                  </a:lnTo>
                  <a:lnTo>
                    <a:pt x="8047" y="342"/>
                  </a:lnTo>
                  <a:lnTo>
                    <a:pt x="8234" y="528"/>
                  </a:lnTo>
                  <a:close/>
                  <a:moveTo>
                    <a:pt x="7836" y="130"/>
                  </a:moveTo>
                  <a:lnTo>
                    <a:pt x="8022" y="316"/>
                  </a:lnTo>
                  <a:lnTo>
                    <a:pt x="7836" y="501"/>
                  </a:lnTo>
                  <a:lnTo>
                    <a:pt x="7649" y="316"/>
                  </a:lnTo>
                  <a:lnTo>
                    <a:pt x="7836" y="130"/>
                  </a:lnTo>
                  <a:close/>
                  <a:moveTo>
                    <a:pt x="7810" y="528"/>
                  </a:moveTo>
                  <a:lnTo>
                    <a:pt x="7624" y="713"/>
                  </a:lnTo>
                  <a:lnTo>
                    <a:pt x="7437" y="528"/>
                  </a:lnTo>
                  <a:lnTo>
                    <a:pt x="7624" y="342"/>
                  </a:lnTo>
                  <a:lnTo>
                    <a:pt x="7810" y="528"/>
                  </a:lnTo>
                  <a:close/>
                  <a:moveTo>
                    <a:pt x="7412" y="130"/>
                  </a:moveTo>
                  <a:lnTo>
                    <a:pt x="7598" y="316"/>
                  </a:lnTo>
                  <a:lnTo>
                    <a:pt x="7412" y="501"/>
                  </a:lnTo>
                  <a:lnTo>
                    <a:pt x="7226" y="316"/>
                  </a:lnTo>
                  <a:lnTo>
                    <a:pt x="7412" y="130"/>
                  </a:lnTo>
                  <a:close/>
                  <a:moveTo>
                    <a:pt x="7386" y="528"/>
                  </a:moveTo>
                  <a:lnTo>
                    <a:pt x="7200" y="713"/>
                  </a:lnTo>
                  <a:lnTo>
                    <a:pt x="7014" y="528"/>
                  </a:lnTo>
                  <a:lnTo>
                    <a:pt x="7200" y="342"/>
                  </a:lnTo>
                  <a:lnTo>
                    <a:pt x="7386" y="528"/>
                  </a:lnTo>
                  <a:close/>
                  <a:moveTo>
                    <a:pt x="6988" y="130"/>
                  </a:moveTo>
                  <a:lnTo>
                    <a:pt x="7175" y="316"/>
                  </a:lnTo>
                  <a:lnTo>
                    <a:pt x="6988" y="501"/>
                  </a:lnTo>
                  <a:lnTo>
                    <a:pt x="6802" y="316"/>
                  </a:lnTo>
                  <a:lnTo>
                    <a:pt x="6988" y="130"/>
                  </a:lnTo>
                  <a:close/>
                  <a:moveTo>
                    <a:pt x="6963" y="528"/>
                  </a:moveTo>
                  <a:lnTo>
                    <a:pt x="6776" y="713"/>
                  </a:lnTo>
                  <a:lnTo>
                    <a:pt x="6590" y="528"/>
                  </a:lnTo>
                  <a:lnTo>
                    <a:pt x="6776" y="342"/>
                  </a:lnTo>
                  <a:lnTo>
                    <a:pt x="6963" y="528"/>
                  </a:lnTo>
                  <a:close/>
                  <a:moveTo>
                    <a:pt x="6566" y="130"/>
                  </a:moveTo>
                  <a:lnTo>
                    <a:pt x="6751" y="316"/>
                  </a:lnTo>
                  <a:lnTo>
                    <a:pt x="6566" y="501"/>
                  </a:lnTo>
                  <a:lnTo>
                    <a:pt x="6378" y="316"/>
                  </a:lnTo>
                  <a:lnTo>
                    <a:pt x="6566" y="130"/>
                  </a:lnTo>
                  <a:close/>
                  <a:moveTo>
                    <a:pt x="6539" y="528"/>
                  </a:moveTo>
                  <a:lnTo>
                    <a:pt x="6354" y="713"/>
                  </a:lnTo>
                  <a:lnTo>
                    <a:pt x="6166" y="528"/>
                  </a:lnTo>
                  <a:lnTo>
                    <a:pt x="6354" y="342"/>
                  </a:lnTo>
                  <a:lnTo>
                    <a:pt x="6539" y="528"/>
                  </a:lnTo>
                  <a:close/>
                  <a:moveTo>
                    <a:pt x="6142" y="130"/>
                  </a:moveTo>
                  <a:lnTo>
                    <a:pt x="6327" y="316"/>
                  </a:lnTo>
                  <a:lnTo>
                    <a:pt x="6142" y="501"/>
                  </a:lnTo>
                  <a:lnTo>
                    <a:pt x="5956" y="316"/>
                  </a:lnTo>
                  <a:lnTo>
                    <a:pt x="6142" y="130"/>
                  </a:lnTo>
                  <a:close/>
                  <a:moveTo>
                    <a:pt x="6115" y="528"/>
                  </a:moveTo>
                  <a:lnTo>
                    <a:pt x="5930" y="713"/>
                  </a:lnTo>
                  <a:lnTo>
                    <a:pt x="5744" y="528"/>
                  </a:lnTo>
                  <a:lnTo>
                    <a:pt x="5930" y="342"/>
                  </a:lnTo>
                  <a:lnTo>
                    <a:pt x="6115" y="528"/>
                  </a:lnTo>
                  <a:close/>
                  <a:moveTo>
                    <a:pt x="5718" y="130"/>
                  </a:moveTo>
                  <a:lnTo>
                    <a:pt x="5903" y="316"/>
                  </a:lnTo>
                  <a:lnTo>
                    <a:pt x="5718" y="501"/>
                  </a:lnTo>
                  <a:lnTo>
                    <a:pt x="5532" y="316"/>
                  </a:lnTo>
                  <a:lnTo>
                    <a:pt x="5718" y="130"/>
                  </a:lnTo>
                  <a:close/>
                  <a:moveTo>
                    <a:pt x="5693" y="528"/>
                  </a:moveTo>
                  <a:lnTo>
                    <a:pt x="5506" y="713"/>
                  </a:lnTo>
                  <a:lnTo>
                    <a:pt x="5320" y="528"/>
                  </a:lnTo>
                  <a:lnTo>
                    <a:pt x="5506" y="342"/>
                  </a:lnTo>
                  <a:lnTo>
                    <a:pt x="5693" y="528"/>
                  </a:lnTo>
                  <a:close/>
                  <a:moveTo>
                    <a:pt x="5294" y="130"/>
                  </a:moveTo>
                  <a:lnTo>
                    <a:pt x="5481" y="316"/>
                  </a:lnTo>
                  <a:lnTo>
                    <a:pt x="5294" y="501"/>
                  </a:lnTo>
                  <a:lnTo>
                    <a:pt x="5108" y="316"/>
                  </a:lnTo>
                  <a:lnTo>
                    <a:pt x="5294" y="130"/>
                  </a:lnTo>
                  <a:close/>
                  <a:moveTo>
                    <a:pt x="5269" y="528"/>
                  </a:moveTo>
                  <a:lnTo>
                    <a:pt x="5083" y="713"/>
                  </a:lnTo>
                  <a:lnTo>
                    <a:pt x="4896" y="528"/>
                  </a:lnTo>
                  <a:lnTo>
                    <a:pt x="5083" y="342"/>
                  </a:lnTo>
                  <a:lnTo>
                    <a:pt x="5269" y="528"/>
                  </a:lnTo>
                  <a:close/>
                  <a:moveTo>
                    <a:pt x="4871" y="130"/>
                  </a:moveTo>
                  <a:lnTo>
                    <a:pt x="5057" y="316"/>
                  </a:lnTo>
                  <a:lnTo>
                    <a:pt x="4871" y="501"/>
                  </a:lnTo>
                  <a:lnTo>
                    <a:pt x="4684" y="316"/>
                  </a:lnTo>
                  <a:lnTo>
                    <a:pt x="4871" y="130"/>
                  </a:lnTo>
                  <a:close/>
                  <a:moveTo>
                    <a:pt x="4845" y="528"/>
                  </a:moveTo>
                  <a:lnTo>
                    <a:pt x="4659" y="713"/>
                  </a:lnTo>
                  <a:lnTo>
                    <a:pt x="4474" y="528"/>
                  </a:lnTo>
                  <a:lnTo>
                    <a:pt x="4659" y="342"/>
                  </a:lnTo>
                  <a:lnTo>
                    <a:pt x="4845" y="528"/>
                  </a:lnTo>
                  <a:close/>
                  <a:moveTo>
                    <a:pt x="4447" y="130"/>
                  </a:moveTo>
                  <a:lnTo>
                    <a:pt x="4633" y="316"/>
                  </a:lnTo>
                  <a:lnTo>
                    <a:pt x="4447" y="501"/>
                  </a:lnTo>
                  <a:lnTo>
                    <a:pt x="4262" y="316"/>
                  </a:lnTo>
                  <a:lnTo>
                    <a:pt x="4447" y="130"/>
                  </a:lnTo>
                  <a:close/>
                  <a:moveTo>
                    <a:pt x="4423" y="528"/>
                  </a:moveTo>
                  <a:lnTo>
                    <a:pt x="4235" y="713"/>
                  </a:lnTo>
                  <a:lnTo>
                    <a:pt x="4050" y="528"/>
                  </a:lnTo>
                  <a:lnTo>
                    <a:pt x="4235" y="342"/>
                  </a:lnTo>
                  <a:lnTo>
                    <a:pt x="4423" y="528"/>
                  </a:lnTo>
                  <a:close/>
                  <a:moveTo>
                    <a:pt x="4023" y="130"/>
                  </a:moveTo>
                  <a:lnTo>
                    <a:pt x="4211" y="316"/>
                  </a:lnTo>
                  <a:lnTo>
                    <a:pt x="4023" y="501"/>
                  </a:lnTo>
                  <a:lnTo>
                    <a:pt x="3838" y="316"/>
                  </a:lnTo>
                  <a:lnTo>
                    <a:pt x="4023" y="130"/>
                  </a:lnTo>
                  <a:close/>
                  <a:moveTo>
                    <a:pt x="3999" y="528"/>
                  </a:moveTo>
                  <a:lnTo>
                    <a:pt x="3813" y="713"/>
                  </a:lnTo>
                  <a:lnTo>
                    <a:pt x="3626" y="528"/>
                  </a:lnTo>
                  <a:lnTo>
                    <a:pt x="3813" y="342"/>
                  </a:lnTo>
                  <a:lnTo>
                    <a:pt x="3999" y="528"/>
                  </a:lnTo>
                  <a:close/>
                  <a:moveTo>
                    <a:pt x="3601" y="130"/>
                  </a:moveTo>
                  <a:lnTo>
                    <a:pt x="3787" y="316"/>
                  </a:lnTo>
                  <a:lnTo>
                    <a:pt x="3601" y="501"/>
                  </a:lnTo>
                  <a:lnTo>
                    <a:pt x="3414" y="316"/>
                  </a:lnTo>
                  <a:lnTo>
                    <a:pt x="3601" y="130"/>
                  </a:lnTo>
                  <a:close/>
                  <a:moveTo>
                    <a:pt x="3575" y="528"/>
                  </a:moveTo>
                  <a:lnTo>
                    <a:pt x="3389" y="713"/>
                  </a:lnTo>
                  <a:lnTo>
                    <a:pt x="3203" y="528"/>
                  </a:lnTo>
                  <a:lnTo>
                    <a:pt x="3389" y="342"/>
                  </a:lnTo>
                  <a:lnTo>
                    <a:pt x="3575" y="528"/>
                  </a:lnTo>
                  <a:close/>
                  <a:moveTo>
                    <a:pt x="3177" y="130"/>
                  </a:moveTo>
                  <a:lnTo>
                    <a:pt x="3363" y="316"/>
                  </a:lnTo>
                  <a:lnTo>
                    <a:pt x="3177" y="501"/>
                  </a:lnTo>
                  <a:lnTo>
                    <a:pt x="2991" y="316"/>
                  </a:lnTo>
                  <a:lnTo>
                    <a:pt x="3177" y="130"/>
                  </a:lnTo>
                  <a:close/>
                  <a:moveTo>
                    <a:pt x="3152" y="528"/>
                  </a:moveTo>
                  <a:lnTo>
                    <a:pt x="2965" y="713"/>
                  </a:lnTo>
                  <a:lnTo>
                    <a:pt x="2779" y="528"/>
                  </a:lnTo>
                  <a:lnTo>
                    <a:pt x="2965" y="342"/>
                  </a:lnTo>
                  <a:lnTo>
                    <a:pt x="3152" y="528"/>
                  </a:lnTo>
                  <a:close/>
                  <a:moveTo>
                    <a:pt x="2753" y="130"/>
                  </a:moveTo>
                  <a:lnTo>
                    <a:pt x="2940" y="316"/>
                  </a:lnTo>
                  <a:lnTo>
                    <a:pt x="2753" y="501"/>
                  </a:lnTo>
                  <a:lnTo>
                    <a:pt x="2567" y="316"/>
                  </a:lnTo>
                  <a:lnTo>
                    <a:pt x="2753" y="130"/>
                  </a:lnTo>
                  <a:close/>
                  <a:moveTo>
                    <a:pt x="2728" y="528"/>
                  </a:moveTo>
                  <a:lnTo>
                    <a:pt x="2543" y="713"/>
                  </a:lnTo>
                  <a:lnTo>
                    <a:pt x="2355" y="528"/>
                  </a:lnTo>
                  <a:lnTo>
                    <a:pt x="2543" y="342"/>
                  </a:lnTo>
                  <a:lnTo>
                    <a:pt x="2728" y="528"/>
                  </a:lnTo>
                  <a:close/>
                  <a:moveTo>
                    <a:pt x="2331" y="130"/>
                  </a:moveTo>
                  <a:lnTo>
                    <a:pt x="2516" y="316"/>
                  </a:lnTo>
                  <a:lnTo>
                    <a:pt x="2331" y="501"/>
                  </a:lnTo>
                  <a:lnTo>
                    <a:pt x="2143" y="316"/>
                  </a:lnTo>
                  <a:lnTo>
                    <a:pt x="2331" y="130"/>
                  </a:lnTo>
                  <a:close/>
                  <a:moveTo>
                    <a:pt x="2304" y="528"/>
                  </a:moveTo>
                  <a:lnTo>
                    <a:pt x="2119" y="713"/>
                  </a:lnTo>
                  <a:lnTo>
                    <a:pt x="1933" y="528"/>
                  </a:lnTo>
                  <a:lnTo>
                    <a:pt x="2119" y="342"/>
                  </a:lnTo>
                  <a:lnTo>
                    <a:pt x="2304" y="528"/>
                  </a:lnTo>
                  <a:close/>
                  <a:moveTo>
                    <a:pt x="1907" y="130"/>
                  </a:moveTo>
                  <a:lnTo>
                    <a:pt x="2092" y="316"/>
                  </a:lnTo>
                  <a:lnTo>
                    <a:pt x="1907" y="501"/>
                  </a:lnTo>
                  <a:lnTo>
                    <a:pt x="1721" y="316"/>
                  </a:lnTo>
                  <a:lnTo>
                    <a:pt x="1907" y="130"/>
                  </a:lnTo>
                  <a:close/>
                  <a:moveTo>
                    <a:pt x="1882" y="528"/>
                  </a:moveTo>
                  <a:lnTo>
                    <a:pt x="1695" y="713"/>
                  </a:lnTo>
                  <a:lnTo>
                    <a:pt x="1509" y="528"/>
                  </a:lnTo>
                  <a:lnTo>
                    <a:pt x="1695" y="342"/>
                  </a:lnTo>
                  <a:lnTo>
                    <a:pt x="1882" y="528"/>
                  </a:lnTo>
                  <a:close/>
                  <a:moveTo>
                    <a:pt x="1483" y="130"/>
                  </a:moveTo>
                  <a:lnTo>
                    <a:pt x="1670" y="316"/>
                  </a:lnTo>
                  <a:lnTo>
                    <a:pt x="1483" y="501"/>
                  </a:lnTo>
                  <a:lnTo>
                    <a:pt x="1297" y="316"/>
                  </a:lnTo>
                  <a:lnTo>
                    <a:pt x="1483" y="130"/>
                  </a:lnTo>
                  <a:close/>
                  <a:moveTo>
                    <a:pt x="1458" y="528"/>
                  </a:moveTo>
                  <a:lnTo>
                    <a:pt x="1272" y="713"/>
                  </a:lnTo>
                  <a:lnTo>
                    <a:pt x="1085" y="528"/>
                  </a:lnTo>
                  <a:lnTo>
                    <a:pt x="1272" y="342"/>
                  </a:lnTo>
                  <a:lnTo>
                    <a:pt x="1458" y="528"/>
                  </a:lnTo>
                  <a:close/>
                  <a:moveTo>
                    <a:pt x="1060" y="130"/>
                  </a:moveTo>
                  <a:lnTo>
                    <a:pt x="1246" y="316"/>
                  </a:lnTo>
                  <a:lnTo>
                    <a:pt x="1060" y="501"/>
                  </a:lnTo>
                  <a:lnTo>
                    <a:pt x="873" y="316"/>
                  </a:lnTo>
                  <a:lnTo>
                    <a:pt x="1060" y="130"/>
                  </a:lnTo>
                  <a:close/>
                  <a:moveTo>
                    <a:pt x="1034" y="528"/>
                  </a:moveTo>
                  <a:lnTo>
                    <a:pt x="848" y="713"/>
                  </a:lnTo>
                  <a:lnTo>
                    <a:pt x="663" y="528"/>
                  </a:lnTo>
                  <a:lnTo>
                    <a:pt x="848" y="342"/>
                  </a:lnTo>
                  <a:lnTo>
                    <a:pt x="1034" y="528"/>
                  </a:lnTo>
                  <a:close/>
                  <a:moveTo>
                    <a:pt x="636" y="130"/>
                  </a:moveTo>
                  <a:lnTo>
                    <a:pt x="822" y="316"/>
                  </a:lnTo>
                  <a:lnTo>
                    <a:pt x="636" y="501"/>
                  </a:lnTo>
                  <a:lnTo>
                    <a:pt x="451" y="316"/>
                  </a:lnTo>
                  <a:lnTo>
                    <a:pt x="636" y="130"/>
                  </a:lnTo>
                  <a:close/>
                  <a:moveTo>
                    <a:pt x="610" y="528"/>
                  </a:moveTo>
                  <a:lnTo>
                    <a:pt x="424" y="713"/>
                  </a:lnTo>
                  <a:lnTo>
                    <a:pt x="239" y="528"/>
                  </a:lnTo>
                  <a:lnTo>
                    <a:pt x="424" y="342"/>
                  </a:lnTo>
                  <a:lnTo>
                    <a:pt x="610" y="528"/>
                  </a:lnTo>
                  <a:close/>
                  <a:moveTo>
                    <a:pt x="399" y="316"/>
                  </a:moveTo>
                  <a:lnTo>
                    <a:pt x="212" y="501"/>
                  </a:lnTo>
                  <a:lnTo>
                    <a:pt x="27" y="316"/>
                  </a:lnTo>
                  <a:lnTo>
                    <a:pt x="212" y="130"/>
                  </a:lnTo>
                  <a:lnTo>
                    <a:pt x="399" y="3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6" name="Rectangle 7"/>
            <p:cNvSpPr>
              <a:spLocks noChangeArrowheads="1"/>
            </p:cNvSpPr>
            <p:nvPr/>
          </p:nvSpPr>
          <p:spPr bwMode="auto">
            <a:xfrm>
              <a:off x="13038138" y="4821238"/>
              <a:ext cx="214313" cy="34242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397" name="Rectangle 8"/>
            <p:cNvSpPr>
              <a:spLocks noChangeArrowheads="1"/>
            </p:cNvSpPr>
            <p:nvPr/>
          </p:nvSpPr>
          <p:spPr bwMode="auto">
            <a:xfrm>
              <a:off x="25012651" y="4821238"/>
              <a:ext cx="214313" cy="34242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946" name="Group 945"/>
          <p:cNvGrpSpPr/>
          <p:nvPr/>
        </p:nvGrpSpPr>
        <p:grpSpPr>
          <a:xfrm>
            <a:off x="420045" y="2879682"/>
            <a:ext cx="1324670" cy="731674"/>
            <a:chOff x="2874753" y="4372692"/>
            <a:chExt cx="1501265" cy="756022"/>
          </a:xfrm>
        </p:grpSpPr>
        <p:sp>
          <p:nvSpPr>
            <p:cNvPr id="998" name="Rectangle 997"/>
            <p:cNvSpPr/>
            <p:nvPr/>
          </p:nvSpPr>
          <p:spPr bwMode="auto">
            <a:xfrm>
              <a:off x="2874753" y="4374178"/>
              <a:ext cx="1501265" cy="754536"/>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Streamline operations, drive cost savings, and improve customer service</a:t>
              </a:r>
            </a:p>
          </p:txBody>
        </p:sp>
        <p:cxnSp>
          <p:nvCxnSpPr>
            <p:cNvPr id="999" name="Straight Connector 998"/>
            <p:cNvCxnSpPr/>
            <p:nvPr/>
          </p:nvCxnSpPr>
          <p:spPr>
            <a:xfrm flipV="1">
              <a:off x="4373741" y="4372692"/>
              <a:ext cx="474" cy="75602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000" name="Freeform 207"/>
          <p:cNvSpPr>
            <a:spLocks noEditPoints="1"/>
          </p:cNvSpPr>
          <p:nvPr/>
        </p:nvSpPr>
        <p:spPr bwMode="auto">
          <a:xfrm>
            <a:off x="9106964" y="5951611"/>
            <a:ext cx="201910" cy="116669"/>
          </a:xfrm>
          <a:custGeom>
            <a:avLst/>
            <a:gdLst>
              <a:gd name="T0" fmla="*/ 106 w 198"/>
              <a:gd name="T1" fmla="*/ 106 h 120"/>
              <a:gd name="T2" fmla="*/ 104 w 198"/>
              <a:gd name="T3" fmla="*/ 106 h 120"/>
              <a:gd name="T4" fmla="*/ 100 w 198"/>
              <a:gd name="T5" fmla="*/ 100 h 120"/>
              <a:gd name="T6" fmla="*/ 127 w 198"/>
              <a:gd name="T7" fmla="*/ 80 h 120"/>
              <a:gd name="T8" fmla="*/ 131 w 198"/>
              <a:gd name="T9" fmla="*/ 79 h 120"/>
              <a:gd name="T10" fmla="*/ 134 w 198"/>
              <a:gd name="T11" fmla="*/ 71 h 120"/>
              <a:gd name="T12" fmla="*/ 112 w 198"/>
              <a:gd name="T13" fmla="*/ 7 h 120"/>
              <a:gd name="T14" fmla="*/ 110 w 198"/>
              <a:gd name="T15" fmla="*/ 3 h 120"/>
              <a:gd name="T16" fmla="*/ 102 w 198"/>
              <a:gd name="T17" fmla="*/ 0 h 120"/>
              <a:gd name="T18" fmla="*/ 27 w 198"/>
              <a:gd name="T19" fmla="*/ 25 h 120"/>
              <a:gd name="T20" fmla="*/ 23 w 198"/>
              <a:gd name="T21" fmla="*/ 27 h 120"/>
              <a:gd name="T22" fmla="*/ 19 w 198"/>
              <a:gd name="T23" fmla="*/ 35 h 120"/>
              <a:gd name="T24" fmla="*/ 24 w 198"/>
              <a:gd name="T25" fmla="*/ 54 h 120"/>
              <a:gd name="T26" fmla="*/ 14 w 198"/>
              <a:gd name="T27" fmla="*/ 55 h 120"/>
              <a:gd name="T28" fmla="*/ 12 w 198"/>
              <a:gd name="T29" fmla="*/ 54 h 120"/>
              <a:gd name="T30" fmla="*/ 7 w 198"/>
              <a:gd name="T31" fmla="*/ 51 h 120"/>
              <a:gd name="T32" fmla="*/ 4 w 198"/>
              <a:gd name="T33" fmla="*/ 51 h 120"/>
              <a:gd name="T34" fmla="*/ 0 w 198"/>
              <a:gd name="T35" fmla="*/ 55 h 120"/>
              <a:gd name="T36" fmla="*/ 0 w 198"/>
              <a:gd name="T37" fmla="*/ 60 h 120"/>
              <a:gd name="T38" fmla="*/ 12 w 198"/>
              <a:gd name="T39" fmla="*/ 95 h 120"/>
              <a:gd name="T40" fmla="*/ 16 w 198"/>
              <a:gd name="T41" fmla="*/ 99 h 120"/>
              <a:gd name="T42" fmla="*/ 22 w 198"/>
              <a:gd name="T43" fmla="*/ 99 h 120"/>
              <a:gd name="T44" fmla="*/ 24 w 198"/>
              <a:gd name="T45" fmla="*/ 98 h 120"/>
              <a:gd name="T46" fmla="*/ 27 w 198"/>
              <a:gd name="T47" fmla="*/ 94 h 120"/>
              <a:gd name="T48" fmla="*/ 26 w 198"/>
              <a:gd name="T49" fmla="*/ 88 h 120"/>
              <a:gd name="T50" fmla="*/ 35 w 198"/>
              <a:gd name="T51" fmla="*/ 84 h 120"/>
              <a:gd name="T52" fmla="*/ 40 w 198"/>
              <a:gd name="T53" fmla="*/ 99 h 120"/>
              <a:gd name="T54" fmla="*/ 47 w 198"/>
              <a:gd name="T55" fmla="*/ 104 h 120"/>
              <a:gd name="T56" fmla="*/ 55 w 198"/>
              <a:gd name="T57" fmla="*/ 106 h 120"/>
              <a:gd name="T58" fmla="*/ 87 w 198"/>
              <a:gd name="T59" fmla="*/ 112 h 120"/>
              <a:gd name="T60" fmla="*/ 90 w 198"/>
              <a:gd name="T61" fmla="*/ 115 h 120"/>
              <a:gd name="T62" fmla="*/ 95 w 198"/>
              <a:gd name="T63" fmla="*/ 119 h 120"/>
              <a:gd name="T64" fmla="*/ 198 w 198"/>
              <a:gd name="T65" fmla="*/ 120 h 120"/>
              <a:gd name="T66" fmla="*/ 90 w 198"/>
              <a:gd name="T67" fmla="*/ 23 h 120"/>
              <a:gd name="T68" fmla="*/ 90 w 198"/>
              <a:gd name="T69" fmla="*/ 20 h 120"/>
              <a:gd name="T70" fmla="*/ 94 w 198"/>
              <a:gd name="T71" fmla="*/ 17 h 120"/>
              <a:gd name="T72" fmla="*/ 96 w 198"/>
              <a:gd name="T73" fmla="*/ 16 h 120"/>
              <a:gd name="T74" fmla="*/ 102 w 198"/>
              <a:gd name="T75" fmla="*/ 19 h 120"/>
              <a:gd name="T76" fmla="*/ 103 w 198"/>
              <a:gd name="T77" fmla="*/ 23 h 120"/>
              <a:gd name="T78" fmla="*/ 103 w 198"/>
              <a:gd name="T79" fmla="*/ 27 h 120"/>
              <a:gd name="T80" fmla="*/ 99 w 198"/>
              <a:gd name="T81" fmla="*/ 29 h 120"/>
              <a:gd name="T82" fmla="*/ 96 w 198"/>
              <a:gd name="T83" fmla="*/ 31 h 120"/>
              <a:gd name="T84" fmla="*/ 91 w 198"/>
              <a:gd name="T85" fmla="*/ 28 h 120"/>
              <a:gd name="T86" fmla="*/ 90 w 198"/>
              <a:gd name="T87"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 h="120">
                <a:moveTo>
                  <a:pt x="198" y="106"/>
                </a:moveTo>
                <a:lnTo>
                  <a:pt x="106" y="106"/>
                </a:lnTo>
                <a:lnTo>
                  <a:pt x="106" y="106"/>
                </a:lnTo>
                <a:lnTo>
                  <a:pt x="104" y="106"/>
                </a:lnTo>
                <a:lnTo>
                  <a:pt x="103" y="104"/>
                </a:lnTo>
                <a:lnTo>
                  <a:pt x="100" y="100"/>
                </a:lnTo>
                <a:lnTo>
                  <a:pt x="98" y="91"/>
                </a:lnTo>
                <a:lnTo>
                  <a:pt x="127" y="80"/>
                </a:lnTo>
                <a:lnTo>
                  <a:pt x="127" y="80"/>
                </a:lnTo>
                <a:lnTo>
                  <a:pt x="131" y="79"/>
                </a:lnTo>
                <a:lnTo>
                  <a:pt x="132" y="75"/>
                </a:lnTo>
                <a:lnTo>
                  <a:pt x="134" y="71"/>
                </a:lnTo>
                <a:lnTo>
                  <a:pt x="134" y="66"/>
                </a:lnTo>
                <a:lnTo>
                  <a:pt x="112" y="7"/>
                </a:lnTo>
                <a:lnTo>
                  <a:pt x="112" y="7"/>
                </a:lnTo>
                <a:lnTo>
                  <a:pt x="110" y="3"/>
                </a:lnTo>
                <a:lnTo>
                  <a:pt x="107" y="1"/>
                </a:lnTo>
                <a:lnTo>
                  <a:pt x="102" y="0"/>
                </a:lnTo>
                <a:lnTo>
                  <a:pt x="98" y="0"/>
                </a:lnTo>
                <a:lnTo>
                  <a:pt x="27" y="25"/>
                </a:lnTo>
                <a:lnTo>
                  <a:pt x="27" y="25"/>
                </a:lnTo>
                <a:lnTo>
                  <a:pt x="23" y="27"/>
                </a:lnTo>
                <a:lnTo>
                  <a:pt x="20" y="31"/>
                </a:lnTo>
                <a:lnTo>
                  <a:pt x="19" y="35"/>
                </a:lnTo>
                <a:lnTo>
                  <a:pt x="20" y="40"/>
                </a:lnTo>
                <a:lnTo>
                  <a:pt x="24" y="54"/>
                </a:lnTo>
                <a:lnTo>
                  <a:pt x="14" y="56"/>
                </a:lnTo>
                <a:lnTo>
                  <a:pt x="14" y="55"/>
                </a:lnTo>
                <a:lnTo>
                  <a:pt x="14" y="55"/>
                </a:lnTo>
                <a:lnTo>
                  <a:pt x="12" y="54"/>
                </a:lnTo>
                <a:lnTo>
                  <a:pt x="10" y="51"/>
                </a:lnTo>
                <a:lnTo>
                  <a:pt x="7" y="51"/>
                </a:lnTo>
                <a:lnTo>
                  <a:pt x="4" y="51"/>
                </a:lnTo>
                <a:lnTo>
                  <a:pt x="4" y="51"/>
                </a:lnTo>
                <a:lnTo>
                  <a:pt x="2" y="52"/>
                </a:lnTo>
                <a:lnTo>
                  <a:pt x="0" y="55"/>
                </a:lnTo>
                <a:lnTo>
                  <a:pt x="0" y="58"/>
                </a:lnTo>
                <a:lnTo>
                  <a:pt x="0" y="60"/>
                </a:lnTo>
                <a:lnTo>
                  <a:pt x="12" y="95"/>
                </a:lnTo>
                <a:lnTo>
                  <a:pt x="12" y="95"/>
                </a:lnTo>
                <a:lnTo>
                  <a:pt x="15" y="98"/>
                </a:lnTo>
                <a:lnTo>
                  <a:pt x="16" y="99"/>
                </a:lnTo>
                <a:lnTo>
                  <a:pt x="19" y="100"/>
                </a:lnTo>
                <a:lnTo>
                  <a:pt x="22" y="99"/>
                </a:lnTo>
                <a:lnTo>
                  <a:pt x="22" y="99"/>
                </a:lnTo>
                <a:lnTo>
                  <a:pt x="24" y="98"/>
                </a:lnTo>
                <a:lnTo>
                  <a:pt x="26" y="96"/>
                </a:lnTo>
                <a:lnTo>
                  <a:pt x="27" y="94"/>
                </a:lnTo>
                <a:lnTo>
                  <a:pt x="26" y="91"/>
                </a:lnTo>
                <a:lnTo>
                  <a:pt x="26" y="88"/>
                </a:lnTo>
                <a:lnTo>
                  <a:pt x="30" y="86"/>
                </a:lnTo>
                <a:lnTo>
                  <a:pt x="35" y="84"/>
                </a:lnTo>
                <a:lnTo>
                  <a:pt x="40" y="99"/>
                </a:lnTo>
                <a:lnTo>
                  <a:pt x="40" y="99"/>
                </a:lnTo>
                <a:lnTo>
                  <a:pt x="43" y="103"/>
                </a:lnTo>
                <a:lnTo>
                  <a:pt x="47" y="104"/>
                </a:lnTo>
                <a:lnTo>
                  <a:pt x="51" y="106"/>
                </a:lnTo>
                <a:lnTo>
                  <a:pt x="55" y="106"/>
                </a:lnTo>
                <a:lnTo>
                  <a:pt x="83" y="95"/>
                </a:lnTo>
                <a:lnTo>
                  <a:pt x="87" y="112"/>
                </a:lnTo>
                <a:lnTo>
                  <a:pt x="87" y="112"/>
                </a:lnTo>
                <a:lnTo>
                  <a:pt x="90" y="115"/>
                </a:lnTo>
                <a:lnTo>
                  <a:pt x="92" y="118"/>
                </a:lnTo>
                <a:lnTo>
                  <a:pt x="95" y="119"/>
                </a:lnTo>
                <a:lnTo>
                  <a:pt x="99" y="120"/>
                </a:lnTo>
                <a:lnTo>
                  <a:pt x="198" y="120"/>
                </a:lnTo>
                <a:lnTo>
                  <a:pt x="198" y="106"/>
                </a:lnTo>
                <a:close/>
                <a:moveTo>
                  <a:pt x="90" y="23"/>
                </a:moveTo>
                <a:lnTo>
                  <a:pt x="90" y="23"/>
                </a:lnTo>
                <a:lnTo>
                  <a:pt x="90" y="20"/>
                </a:lnTo>
                <a:lnTo>
                  <a:pt x="91" y="19"/>
                </a:lnTo>
                <a:lnTo>
                  <a:pt x="94" y="17"/>
                </a:lnTo>
                <a:lnTo>
                  <a:pt x="96" y="16"/>
                </a:lnTo>
                <a:lnTo>
                  <a:pt x="96" y="16"/>
                </a:lnTo>
                <a:lnTo>
                  <a:pt x="99" y="17"/>
                </a:lnTo>
                <a:lnTo>
                  <a:pt x="102" y="19"/>
                </a:lnTo>
                <a:lnTo>
                  <a:pt x="103" y="20"/>
                </a:lnTo>
                <a:lnTo>
                  <a:pt x="103" y="23"/>
                </a:lnTo>
                <a:lnTo>
                  <a:pt x="103" y="23"/>
                </a:lnTo>
                <a:lnTo>
                  <a:pt x="103" y="27"/>
                </a:lnTo>
                <a:lnTo>
                  <a:pt x="102" y="28"/>
                </a:lnTo>
                <a:lnTo>
                  <a:pt x="99" y="29"/>
                </a:lnTo>
                <a:lnTo>
                  <a:pt x="96" y="31"/>
                </a:lnTo>
                <a:lnTo>
                  <a:pt x="96" y="31"/>
                </a:lnTo>
                <a:lnTo>
                  <a:pt x="94" y="29"/>
                </a:lnTo>
                <a:lnTo>
                  <a:pt x="91" y="28"/>
                </a:lnTo>
                <a:lnTo>
                  <a:pt x="90" y="27"/>
                </a:lnTo>
                <a:lnTo>
                  <a:pt x="90" y="23"/>
                </a:lnTo>
                <a:lnTo>
                  <a:pt x="90" y="23"/>
                </a:lnTo>
                <a:close/>
              </a:path>
            </a:pathLst>
          </a:custGeom>
          <a:solidFill>
            <a:schemeClr val="bg2">
              <a:lumMod val="75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804" name="Group 803"/>
          <p:cNvGrpSpPr/>
          <p:nvPr/>
        </p:nvGrpSpPr>
        <p:grpSpPr>
          <a:xfrm rot="8125636" flipH="1">
            <a:off x="4556631" y="5859397"/>
            <a:ext cx="104764" cy="170459"/>
            <a:chOff x="2658904" y="3122439"/>
            <a:chExt cx="81472" cy="132564"/>
          </a:xfrm>
          <a:solidFill>
            <a:schemeClr val="bg1"/>
          </a:solidFill>
        </p:grpSpPr>
        <p:sp>
          <p:nvSpPr>
            <p:cNvPr id="805"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06"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07"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01" name="Group 1000"/>
          <p:cNvGrpSpPr/>
          <p:nvPr/>
        </p:nvGrpSpPr>
        <p:grpSpPr>
          <a:xfrm>
            <a:off x="1613291" y="1426477"/>
            <a:ext cx="113663" cy="184937"/>
            <a:chOff x="2658904" y="3122439"/>
            <a:chExt cx="81472" cy="132564"/>
          </a:xfrm>
          <a:solidFill>
            <a:schemeClr val="bg1"/>
          </a:solidFill>
        </p:grpSpPr>
        <p:sp>
          <p:nvSpPr>
            <p:cNvPr id="1006"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7"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8"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29" name="Group 1028"/>
          <p:cNvGrpSpPr/>
          <p:nvPr/>
        </p:nvGrpSpPr>
        <p:grpSpPr>
          <a:xfrm rot="13951625">
            <a:off x="879149" y="2092968"/>
            <a:ext cx="113663" cy="184937"/>
            <a:chOff x="2658904" y="3122439"/>
            <a:chExt cx="81472" cy="132564"/>
          </a:xfrm>
          <a:solidFill>
            <a:schemeClr val="bg1"/>
          </a:solidFill>
        </p:grpSpPr>
        <p:sp>
          <p:nvSpPr>
            <p:cNvPr id="1032"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33"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4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46" name="Group 1045"/>
          <p:cNvGrpSpPr/>
          <p:nvPr/>
        </p:nvGrpSpPr>
        <p:grpSpPr>
          <a:xfrm rot="18529322">
            <a:off x="3617200" y="2087477"/>
            <a:ext cx="113663" cy="184937"/>
            <a:chOff x="2658904" y="3122439"/>
            <a:chExt cx="81472" cy="132564"/>
          </a:xfrm>
          <a:solidFill>
            <a:schemeClr val="bg1"/>
          </a:solidFill>
        </p:grpSpPr>
        <p:sp>
          <p:nvSpPr>
            <p:cNvPr id="1047"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3"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4"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56" name="Group 1055"/>
          <p:cNvGrpSpPr/>
          <p:nvPr/>
        </p:nvGrpSpPr>
        <p:grpSpPr>
          <a:xfrm rot="16200000">
            <a:off x="1946039" y="2291080"/>
            <a:ext cx="113663" cy="184937"/>
            <a:chOff x="2658904" y="3122439"/>
            <a:chExt cx="81472" cy="132564"/>
          </a:xfrm>
          <a:solidFill>
            <a:schemeClr val="bg1"/>
          </a:solidFill>
        </p:grpSpPr>
        <p:sp>
          <p:nvSpPr>
            <p:cNvPr id="1062"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9"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78" name="Group 1377"/>
          <p:cNvGrpSpPr/>
          <p:nvPr/>
        </p:nvGrpSpPr>
        <p:grpSpPr>
          <a:xfrm>
            <a:off x="4894984" y="4643145"/>
            <a:ext cx="337810" cy="383523"/>
            <a:chOff x="4893396" y="4643144"/>
            <a:chExt cx="337810" cy="383523"/>
          </a:xfrm>
        </p:grpSpPr>
        <p:grpSp>
          <p:nvGrpSpPr>
            <p:cNvPr id="629" name="Group 628"/>
            <p:cNvGrpSpPr>
              <a:grpSpLocks noChangeAspect="1"/>
            </p:cNvGrpSpPr>
            <p:nvPr/>
          </p:nvGrpSpPr>
          <p:grpSpPr>
            <a:xfrm>
              <a:off x="5009887" y="4643144"/>
              <a:ext cx="221319" cy="383523"/>
              <a:chOff x="13253772" y="-14449"/>
              <a:chExt cx="3216275" cy="6130925"/>
            </a:xfrm>
            <a:solidFill>
              <a:schemeClr val="bg1"/>
            </a:solidFill>
          </p:grpSpPr>
          <p:sp>
            <p:nvSpPr>
              <p:cNvPr id="630" name="Freeform 120"/>
              <p:cNvSpPr>
                <a:spLocks/>
              </p:cNvSpPr>
              <p:nvPr/>
            </p:nvSpPr>
            <p:spPr bwMode="auto">
              <a:xfrm>
                <a:off x="14787297" y="-14449"/>
                <a:ext cx="993775" cy="981075"/>
              </a:xfrm>
              <a:custGeom>
                <a:avLst/>
                <a:gdLst>
                  <a:gd name="T0" fmla="*/ 194 w 626"/>
                  <a:gd name="T1" fmla="*/ 24 h 618"/>
                  <a:gd name="T2" fmla="*/ 232 w 626"/>
                  <a:gd name="T3" fmla="*/ 10 h 618"/>
                  <a:gd name="T4" fmla="*/ 270 w 626"/>
                  <a:gd name="T5" fmla="*/ 2 h 618"/>
                  <a:gd name="T6" fmla="*/ 310 w 626"/>
                  <a:gd name="T7" fmla="*/ 0 h 618"/>
                  <a:gd name="T8" fmla="*/ 348 w 626"/>
                  <a:gd name="T9" fmla="*/ 2 h 618"/>
                  <a:gd name="T10" fmla="*/ 386 w 626"/>
                  <a:gd name="T11" fmla="*/ 10 h 618"/>
                  <a:gd name="T12" fmla="*/ 458 w 626"/>
                  <a:gd name="T13" fmla="*/ 38 h 618"/>
                  <a:gd name="T14" fmla="*/ 522 w 626"/>
                  <a:gd name="T15" fmla="*/ 82 h 618"/>
                  <a:gd name="T16" fmla="*/ 574 w 626"/>
                  <a:gd name="T17" fmla="*/ 140 h 618"/>
                  <a:gd name="T18" fmla="*/ 594 w 626"/>
                  <a:gd name="T19" fmla="*/ 172 h 618"/>
                  <a:gd name="T20" fmla="*/ 610 w 626"/>
                  <a:gd name="T21" fmla="*/ 208 h 618"/>
                  <a:gd name="T22" fmla="*/ 622 w 626"/>
                  <a:gd name="T23" fmla="*/ 246 h 618"/>
                  <a:gd name="T24" fmla="*/ 626 w 626"/>
                  <a:gd name="T25" fmla="*/ 284 h 618"/>
                  <a:gd name="T26" fmla="*/ 626 w 626"/>
                  <a:gd name="T27" fmla="*/ 324 h 618"/>
                  <a:gd name="T28" fmla="*/ 626 w 626"/>
                  <a:gd name="T29" fmla="*/ 348 h 618"/>
                  <a:gd name="T30" fmla="*/ 620 w 626"/>
                  <a:gd name="T31" fmla="*/ 392 h 618"/>
                  <a:gd name="T32" fmla="*/ 608 w 626"/>
                  <a:gd name="T33" fmla="*/ 434 h 618"/>
                  <a:gd name="T34" fmla="*/ 588 w 626"/>
                  <a:gd name="T35" fmla="*/ 472 h 618"/>
                  <a:gd name="T36" fmla="*/ 562 w 626"/>
                  <a:gd name="T37" fmla="*/ 506 h 618"/>
                  <a:gd name="T38" fmla="*/ 532 w 626"/>
                  <a:gd name="T39" fmla="*/ 536 h 618"/>
                  <a:gd name="T40" fmla="*/ 498 w 626"/>
                  <a:gd name="T41" fmla="*/ 560 h 618"/>
                  <a:gd name="T42" fmla="*/ 460 w 626"/>
                  <a:gd name="T43" fmla="*/ 582 h 618"/>
                  <a:gd name="T44" fmla="*/ 420 w 626"/>
                  <a:gd name="T45" fmla="*/ 598 h 618"/>
                  <a:gd name="T46" fmla="*/ 378 w 626"/>
                  <a:gd name="T47" fmla="*/ 610 h 618"/>
                  <a:gd name="T48" fmla="*/ 336 w 626"/>
                  <a:gd name="T49" fmla="*/ 616 h 618"/>
                  <a:gd name="T50" fmla="*/ 292 w 626"/>
                  <a:gd name="T51" fmla="*/ 618 h 618"/>
                  <a:gd name="T52" fmla="*/ 248 w 626"/>
                  <a:gd name="T53" fmla="*/ 612 h 618"/>
                  <a:gd name="T54" fmla="*/ 206 w 626"/>
                  <a:gd name="T55" fmla="*/ 602 h 618"/>
                  <a:gd name="T56" fmla="*/ 166 w 626"/>
                  <a:gd name="T57" fmla="*/ 586 h 618"/>
                  <a:gd name="T58" fmla="*/ 130 w 626"/>
                  <a:gd name="T59" fmla="*/ 562 h 618"/>
                  <a:gd name="T60" fmla="*/ 112 w 626"/>
                  <a:gd name="T61" fmla="*/ 548 h 618"/>
                  <a:gd name="T62" fmla="*/ 80 w 626"/>
                  <a:gd name="T63" fmla="*/ 520 h 618"/>
                  <a:gd name="T64" fmla="*/ 56 w 626"/>
                  <a:gd name="T65" fmla="*/ 490 h 618"/>
                  <a:gd name="T66" fmla="*/ 34 w 626"/>
                  <a:gd name="T67" fmla="*/ 456 h 618"/>
                  <a:gd name="T68" fmla="*/ 18 w 626"/>
                  <a:gd name="T69" fmla="*/ 420 h 618"/>
                  <a:gd name="T70" fmla="*/ 8 w 626"/>
                  <a:gd name="T71" fmla="*/ 382 h 618"/>
                  <a:gd name="T72" fmla="*/ 2 w 626"/>
                  <a:gd name="T73" fmla="*/ 342 h 618"/>
                  <a:gd name="T74" fmla="*/ 4 w 626"/>
                  <a:gd name="T75" fmla="*/ 262 h 618"/>
                  <a:gd name="T76" fmla="*/ 18 w 626"/>
                  <a:gd name="T77" fmla="*/ 204 h 618"/>
                  <a:gd name="T78" fmla="*/ 34 w 626"/>
                  <a:gd name="T79" fmla="*/ 168 h 618"/>
                  <a:gd name="T80" fmla="*/ 54 w 626"/>
                  <a:gd name="T81" fmla="*/ 132 h 618"/>
                  <a:gd name="T82" fmla="*/ 78 w 626"/>
                  <a:gd name="T83" fmla="*/ 102 h 618"/>
                  <a:gd name="T84" fmla="*/ 106 w 626"/>
                  <a:gd name="T85" fmla="*/ 74 h 618"/>
                  <a:gd name="T86" fmla="*/ 138 w 626"/>
                  <a:gd name="T87" fmla="*/ 50 h 618"/>
                  <a:gd name="T88" fmla="*/ 174 w 626"/>
                  <a:gd name="T89" fmla="*/ 32 h 618"/>
                  <a:gd name="T90" fmla="*/ 194 w 626"/>
                  <a:gd name="T91" fmla="*/ 2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6" h="618">
                    <a:moveTo>
                      <a:pt x="194" y="24"/>
                    </a:moveTo>
                    <a:lnTo>
                      <a:pt x="194" y="24"/>
                    </a:lnTo>
                    <a:lnTo>
                      <a:pt x="212" y="16"/>
                    </a:lnTo>
                    <a:lnTo>
                      <a:pt x="232" y="10"/>
                    </a:lnTo>
                    <a:lnTo>
                      <a:pt x="250" y="6"/>
                    </a:lnTo>
                    <a:lnTo>
                      <a:pt x="270" y="2"/>
                    </a:lnTo>
                    <a:lnTo>
                      <a:pt x="290" y="0"/>
                    </a:lnTo>
                    <a:lnTo>
                      <a:pt x="310" y="0"/>
                    </a:lnTo>
                    <a:lnTo>
                      <a:pt x="328" y="0"/>
                    </a:lnTo>
                    <a:lnTo>
                      <a:pt x="348" y="2"/>
                    </a:lnTo>
                    <a:lnTo>
                      <a:pt x="366" y="4"/>
                    </a:lnTo>
                    <a:lnTo>
                      <a:pt x="386" y="10"/>
                    </a:lnTo>
                    <a:lnTo>
                      <a:pt x="422" y="22"/>
                    </a:lnTo>
                    <a:lnTo>
                      <a:pt x="458" y="38"/>
                    </a:lnTo>
                    <a:lnTo>
                      <a:pt x="492" y="58"/>
                    </a:lnTo>
                    <a:lnTo>
                      <a:pt x="522" y="82"/>
                    </a:lnTo>
                    <a:lnTo>
                      <a:pt x="550" y="110"/>
                    </a:lnTo>
                    <a:lnTo>
                      <a:pt x="574" y="140"/>
                    </a:lnTo>
                    <a:lnTo>
                      <a:pt x="586" y="156"/>
                    </a:lnTo>
                    <a:lnTo>
                      <a:pt x="594" y="172"/>
                    </a:lnTo>
                    <a:lnTo>
                      <a:pt x="604" y="190"/>
                    </a:lnTo>
                    <a:lnTo>
                      <a:pt x="610" y="208"/>
                    </a:lnTo>
                    <a:lnTo>
                      <a:pt x="616" y="226"/>
                    </a:lnTo>
                    <a:lnTo>
                      <a:pt x="622" y="246"/>
                    </a:lnTo>
                    <a:lnTo>
                      <a:pt x="624" y="264"/>
                    </a:lnTo>
                    <a:lnTo>
                      <a:pt x="626" y="284"/>
                    </a:lnTo>
                    <a:lnTo>
                      <a:pt x="626" y="304"/>
                    </a:lnTo>
                    <a:lnTo>
                      <a:pt x="626" y="324"/>
                    </a:lnTo>
                    <a:lnTo>
                      <a:pt x="626" y="324"/>
                    </a:lnTo>
                    <a:lnTo>
                      <a:pt x="626" y="348"/>
                    </a:lnTo>
                    <a:lnTo>
                      <a:pt x="624" y="370"/>
                    </a:lnTo>
                    <a:lnTo>
                      <a:pt x="620" y="392"/>
                    </a:lnTo>
                    <a:lnTo>
                      <a:pt x="614" y="414"/>
                    </a:lnTo>
                    <a:lnTo>
                      <a:pt x="608" y="434"/>
                    </a:lnTo>
                    <a:lnTo>
                      <a:pt x="598" y="452"/>
                    </a:lnTo>
                    <a:lnTo>
                      <a:pt x="588" y="472"/>
                    </a:lnTo>
                    <a:lnTo>
                      <a:pt x="576" y="488"/>
                    </a:lnTo>
                    <a:lnTo>
                      <a:pt x="562" y="506"/>
                    </a:lnTo>
                    <a:lnTo>
                      <a:pt x="548" y="520"/>
                    </a:lnTo>
                    <a:lnTo>
                      <a:pt x="532" y="536"/>
                    </a:lnTo>
                    <a:lnTo>
                      <a:pt x="516" y="548"/>
                    </a:lnTo>
                    <a:lnTo>
                      <a:pt x="498" y="560"/>
                    </a:lnTo>
                    <a:lnTo>
                      <a:pt x="480" y="572"/>
                    </a:lnTo>
                    <a:lnTo>
                      <a:pt x="460" y="582"/>
                    </a:lnTo>
                    <a:lnTo>
                      <a:pt x="442" y="590"/>
                    </a:lnTo>
                    <a:lnTo>
                      <a:pt x="420" y="598"/>
                    </a:lnTo>
                    <a:lnTo>
                      <a:pt x="400" y="604"/>
                    </a:lnTo>
                    <a:lnTo>
                      <a:pt x="378" y="610"/>
                    </a:lnTo>
                    <a:lnTo>
                      <a:pt x="358" y="614"/>
                    </a:lnTo>
                    <a:lnTo>
                      <a:pt x="336" y="616"/>
                    </a:lnTo>
                    <a:lnTo>
                      <a:pt x="314" y="618"/>
                    </a:lnTo>
                    <a:lnTo>
                      <a:pt x="292" y="618"/>
                    </a:lnTo>
                    <a:lnTo>
                      <a:pt x="270" y="616"/>
                    </a:lnTo>
                    <a:lnTo>
                      <a:pt x="248" y="612"/>
                    </a:lnTo>
                    <a:lnTo>
                      <a:pt x="228" y="608"/>
                    </a:lnTo>
                    <a:lnTo>
                      <a:pt x="206" y="602"/>
                    </a:lnTo>
                    <a:lnTo>
                      <a:pt x="186" y="594"/>
                    </a:lnTo>
                    <a:lnTo>
                      <a:pt x="166" y="586"/>
                    </a:lnTo>
                    <a:lnTo>
                      <a:pt x="148" y="574"/>
                    </a:lnTo>
                    <a:lnTo>
                      <a:pt x="130" y="562"/>
                    </a:lnTo>
                    <a:lnTo>
                      <a:pt x="112" y="548"/>
                    </a:lnTo>
                    <a:lnTo>
                      <a:pt x="112" y="548"/>
                    </a:lnTo>
                    <a:lnTo>
                      <a:pt x="96" y="536"/>
                    </a:lnTo>
                    <a:lnTo>
                      <a:pt x="80" y="520"/>
                    </a:lnTo>
                    <a:lnTo>
                      <a:pt x="68" y="506"/>
                    </a:lnTo>
                    <a:lnTo>
                      <a:pt x="56" y="490"/>
                    </a:lnTo>
                    <a:lnTo>
                      <a:pt x="44" y="474"/>
                    </a:lnTo>
                    <a:lnTo>
                      <a:pt x="34" y="456"/>
                    </a:lnTo>
                    <a:lnTo>
                      <a:pt x="26" y="438"/>
                    </a:lnTo>
                    <a:lnTo>
                      <a:pt x="18" y="420"/>
                    </a:lnTo>
                    <a:lnTo>
                      <a:pt x="12" y="400"/>
                    </a:lnTo>
                    <a:lnTo>
                      <a:pt x="8" y="382"/>
                    </a:lnTo>
                    <a:lnTo>
                      <a:pt x="4" y="362"/>
                    </a:lnTo>
                    <a:lnTo>
                      <a:pt x="2" y="342"/>
                    </a:lnTo>
                    <a:lnTo>
                      <a:pt x="0" y="302"/>
                    </a:lnTo>
                    <a:lnTo>
                      <a:pt x="4" y="262"/>
                    </a:lnTo>
                    <a:lnTo>
                      <a:pt x="12" y="222"/>
                    </a:lnTo>
                    <a:lnTo>
                      <a:pt x="18" y="204"/>
                    </a:lnTo>
                    <a:lnTo>
                      <a:pt x="26" y="186"/>
                    </a:lnTo>
                    <a:lnTo>
                      <a:pt x="34" y="168"/>
                    </a:lnTo>
                    <a:lnTo>
                      <a:pt x="42" y="150"/>
                    </a:lnTo>
                    <a:lnTo>
                      <a:pt x="54" y="132"/>
                    </a:lnTo>
                    <a:lnTo>
                      <a:pt x="64" y="116"/>
                    </a:lnTo>
                    <a:lnTo>
                      <a:pt x="78" y="102"/>
                    </a:lnTo>
                    <a:lnTo>
                      <a:pt x="90" y="88"/>
                    </a:lnTo>
                    <a:lnTo>
                      <a:pt x="106" y="74"/>
                    </a:lnTo>
                    <a:lnTo>
                      <a:pt x="120" y="62"/>
                    </a:lnTo>
                    <a:lnTo>
                      <a:pt x="138" y="50"/>
                    </a:lnTo>
                    <a:lnTo>
                      <a:pt x="156" y="40"/>
                    </a:lnTo>
                    <a:lnTo>
                      <a:pt x="174" y="32"/>
                    </a:lnTo>
                    <a:lnTo>
                      <a:pt x="194" y="24"/>
                    </a:lnTo>
                    <a:lnTo>
                      <a:pt x="19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31" name="Freeform 121"/>
              <p:cNvSpPr>
                <a:spLocks/>
              </p:cNvSpPr>
              <p:nvPr/>
            </p:nvSpPr>
            <p:spPr bwMode="auto">
              <a:xfrm>
                <a:off x="13253772" y="1125376"/>
                <a:ext cx="3216275" cy="4991100"/>
              </a:xfrm>
              <a:custGeom>
                <a:avLst/>
                <a:gdLst>
                  <a:gd name="T0" fmla="*/ 690 w 2026"/>
                  <a:gd name="T1" fmla="*/ 66 h 3144"/>
                  <a:gd name="T2" fmla="*/ 796 w 2026"/>
                  <a:gd name="T3" fmla="*/ 14 h 3144"/>
                  <a:gd name="T4" fmla="*/ 918 w 2026"/>
                  <a:gd name="T5" fmla="*/ 0 h 3144"/>
                  <a:gd name="T6" fmla="*/ 1102 w 2026"/>
                  <a:gd name="T7" fmla="*/ 0 h 3144"/>
                  <a:gd name="T8" fmla="*/ 1476 w 2026"/>
                  <a:gd name="T9" fmla="*/ 2 h 3144"/>
                  <a:gd name="T10" fmla="*/ 1660 w 2026"/>
                  <a:gd name="T11" fmla="*/ 18 h 3144"/>
                  <a:gd name="T12" fmla="*/ 1840 w 2026"/>
                  <a:gd name="T13" fmla="*/ 68 h 3144"/>
                  <a:gd name="T14" fmla="*/ 1910 w 2026"/>
                  <a:gd name="T15" fmla="*/ 114 h 3144"/>
                  <a:gd name="T16" fmla="*/ 1974 w 2026"/>
                  <a:gd name="T17" fmla="*/ 202 h 3144"/>
                  <a:gd name="T18" fmla="*/ 2010 w 2026"/>
                  <a:gd name="T19" fmla="*/ 310 h 3144"/>
                  <a:gd name="T20" fmla="*/ 2026 w 2026"/>
                  <a:gd name="T21" fmla="*/ 448 h 3144"/>
                  <a:gd name="T22" fmla="*/ 2024 w 2026"/>
                  <a:gd name="T23" fmla="*/ 1290 h 3144"/>
                  <a:gd name="T24" fmla="*/ 2020 w 2026"/>
                  <a:gd name="T25" fmla="*/ 1438 h 3144"/>
                  <a:gd name="T26" fmla="*/ 2004 w 2026"/>
                  <a:gd name="T27" fmla="*/ 1484 h 3144"/>
                  <a:gd name="T28" fmla="*/ 1948 w 2026"/>
                  <a:gd name="T29" fmla="*/ 1528 h 3144"/>
                  <a:gd name="T30" fmla="*/ 1854 w 2026"/>
                  <a:gd name="T31" fmla="*/ 1538 h 3144"/>
                  <a:gd name="T32" fmla="*/ 1794 w 2026"/>
                  <a:gd name="T33" fmla="*/ 1504 h 3144"/>
                  <a:gd name="T34" fmla="*/ 1770 w 2026"/>
                  <a:gd name="T35" fmla="*/ 1462 h 3144"/>
                  <a:gd name="T36" fmla="*/ 1762 w 2026"/>
                  <a:gd name="T37" fmla="*/ 1320 h 3144"/>
                  <a:gd name="T38" fmla="*/ 1762 w 2026"/>
                  <a:gd name="T39" fmla="*/ 630 h 3144"/>
                  <a:gd name="T40" fmla="*/ 1664 w 2026"/>
                  <a:gd name="T41" fmla="*/ 514 h 3144"/>
                  <a:gd name="T42" fmla="*/ 1664 w 2026"/>
                  <a:gd name="T43" fmla="*/ 2966 h 3144"/>
                  <a:gd name="T44" fmla="*/ 1634 w 2026"/>
                  <a:gd name="T45" fmla="*/ 3058 h 3144"/>
                  <a:gd name="T46" fmla="*/ 1564 w 2026"/>
                  <a:gd name="T47" fmla="*/ 3122 h 3144"/>
                  <a:gd name="T48" fmla="*/ 1472 w 2026"/>
                  <a:gd name="T49" fmla="*/ 3144 h 3144"/>
                  <a:gd name="T50" fmla="*/ 1400 w 2026"/>
                  <a:gd name="T51" fmla="*/ 3126 h 3144"/>
                  <a:gd name="T52" fmla="*/ 1358 w 2026"/>
                  <a:gd name="T53" fmla="*/ 3104 h 3144"/>
                  <a:gd name="T54" fmla="*/ 1330 w 2026"/>
                  <a:gd name="T55" fmla="*/ 3044 h 3144"/>
                  <a:gd name="T56" fmla="*/ 1318 w 2026"/>
                  <a:gd name="T57" fmla="*/ 2796 h 3144"/>
                  <a:gd name="T58" fmla="*/ 1320 w 2026"/>
                  <a:gd name="T59" fmla="*/ 1900 h 3144"/>
                  <a:gd name="T60" fmla="*/ 1226 w 2026"/>
                  <a:gd name="T61" fmla="*/ 1530 h 3144"/>
                  <a:gd name="T62" fmla="*/ 1222 w 2026"/>
                  <a:gd name="T63" fmla="*/ 2268 h 3144"/>
                  <a:gd name="T64" fmla="*/ 1220 w 2026"/>
                  <a:gd name="T65" fmla="*/ 3008 h 3144"/>
                  <a:gd name="T66" fmla="*/ 1194 w 2026"/>
                  <a:gd name="T67" fmla="*/ 3070 h 3144"/>
                  <a:gd name="T68" fmla="*/ 1148 w 2026"/>
                  <a:gd name="T69" fmla="*/ 3114 h 3144"/>
                  <a:gd name="T70" fmla="*/ 1090 w 2026"/>
                  <a:gd name="T71" fmla="*/ 3136 h 3144"/>
                  <a:gd name="T72" fmla="*/ 994 w 2026"/>
                  <a:gd name="T73" fmla="*/ 3136 h 3144"/>
                  <a:gd name="T74" fmla="*/ 936 w 2026"/>
                  <a:gd name="T75" fmla="*/ 3112 h 3144"/>
                  <a:gd name="T76" fmla="*/ 890 w 2026"/>
                  <a:gd name="T77" fmla="*/ 3070 h 3144"/>
                  <a:gd name="T78" fmla="*/ 866 w 2026"/>
                  <a:gd name="T79" fmla="*/ 3010 h 3144"/>
                  <a:gd name="T80" fmla="*/ 862 w 2026"/>
                  <a:gd name="T81" fmla="*/ 2320 h 3144"/>
                  <a:gd name="T82" fmla="*/ 860 w 2026"/>
                  <a:gd name="T83" fmla="*/ 356 h 3144"/>
                  <a:gd name="T84" fmla="*/ 552 w 2026"/>
                  <a:gd name="T85" fmla="*/ 718 h 3144"/>
                  <a:gd name="T86" fmla="*/ 282 w 2026"/>
                  <a:gd name="T87" fmla="*/ 1032 h 3144"/>
                  <a:gd name="T88" fmla="*/ 216 w 2026"/>
                  <a:gd name="T89" fmla="*/ 1090 h 3144"/>
                  <a:gd name="T90" fmla="*/ 164 w 2026"/>
                  <a:gd name="T91" fmla="*/ 1104 h 3144"/>
                  <a:gd name="T92" fmla="*/ 90 w 2026"/>
                  <a:gd name="T93" fmla="*/ 1088 h 3144"/>
                  <a:gd name="T94" fmla="*/ 18 w 2026"/>
                  <a:gd name="T95" fmla="*/ 1016 h 3144"/>
                  <a:gd name="T96" fmla="*/ 0 w 2026"/>
                  <a:gd name="T97" fmla="*/ 942 h 3144"/>
                  <a:gd name="T98" fmla="*/ 12 w 2026"/>
                  <a:gd name="T99" fmla="*/ 890 h 3144"/>
                  <a:gd name="T100" fmla="*/ 102 w 2026"/>
                  <a:gd name="T101" fmla="*/ 770 h 3144"/>
                  <a:gd name="T102" fmla="*/ 646 w 2026"/>
                  <a:gd name="T103" fmla="*/ 11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6" h="3144">
                    <a:moveTo>
                      <a:pt x="646" y="112"/>
                    </a:moveTo>
                    <a:lnTo>
                      <a:pt x="646" y="112"/>
                    </a:lnTo>
                    <a:lnTo>
                      <a:pt x="666" y="88"/>
                    </a:lnTo>
                    <a:lnTo>
                      <a:pt x="690" y="66"/>
                    </a:lnTo>
                    <a:lnTo>
                      <a:pt x="714" y="48"/>
                    </a:lnTo>
                    <a:lnTo>
                      <a:pt x="740" y="34"/>
                    </a:lnTo>
                    <a:lnTo>
                      <a:pt x="768" y="22"/>
                    </a:lnTo>
                    <a:lnTo>
                      <a:pt x="796" y="14"/>
                    </a:lnTo>
                    <a:lnTo>
                      <a:pt x="826" y="8"/>
                    </a:lnTo>
                    <a:lnTo>
                      <a:pt x="856" y="4"/>
                    </a:lnTo>
                    <a:lnTo>
                      <a:pt x="886" y="2"/>
                    </a:lnTo>
                    <a:lnTo>
                      <a:pt x="918" y="0"/>
                    </a:lnTo>
                    <a:lnTo>
                      <a:pt x="980" y="0"/>
                    </a:lnTo>
                    <a:lnTo>
                      <a:pt x="1042" y="2"/>
                    </a:lnTo>
                    <a:lnTo>
                      <a:pt x="1102" y="0"/>
                    </a:lnTo>
                    <a:lnTo>
                      <a:pt x="1102" y="0"/>
                    </a:lnTo>
                    <a:lnTo>
                      <a:pt x="1196" y="2"/>
                    </a:lnTo>
                    <a:lnTo>
                      <a:pt x="1288" y="2"/>
                    </a:lnTo>
                    <a:lnTo>
                      <a:pt x="1382" y="0"/>
                    </a:lnTo>
                    <a:lnTo>
                      <a:pt x="1476" y="2"/>
                    </a:lnTo>
                    <a:lnTo>
                      <a:pt x="1522" y="4"/>
                    </a:lnTo>
                    <a:lnTo>
                      <a:pt x="1568" y="6"/>
                    </a:lnTo>
                    <a:lnTo>
                      <a:pt x="1614" y="12"/>
                    </a:lnTo>
                    <a:lnTo>
                      <a:pt x="1660" y="18"/>
                    </a:lnTo>
                    <a:lnTo>
                      <a:pt x="1706" y="26"/>
                    </a:lnTo>
                    <a:lnTo>
                      <a:pt x="1750" y="38"/>
                    </a:lnTo>
                    <a:lnTo>
                      <a:pt x="1796" y="50"/>
                    </a:lnTo>
                    <a:lnTo>
                      <a:pt x="1840" y="68"/>
                    </a:lnTo>
                    <a:lnTo>
                      <a:pt x="1840" y="68"/>
                    </a:lnTo>
                    <a:lnTo>
                      <a:pt x="1866" y="80"/>
                    </a:lnTo>
                    <a:lnTo>
                      <a:pt x="1888" y="96"/>
                    </a:lnTo>
                    <a:lnTo>
                      <a:pt x="1910" y="114"/>
                    </a:lnTo>
                    <a:lnTo>
                      <a:pt x="1930" y="134"/>
                    </a:lnTo>
                    <a:lnTo>
                      <a:pt x="1946" y="154"/>
                    </a:lnTo>
                    <a:lnTo>
                      <a:pt x="1960" y="178"/>
                    </a:lnTo>
                    <a:lnTo>
                      <a:pt x="1974" y="202"/>
                    </a:lnTo>
                    <a:lnTo>
                      <a:pt x="1984" y="228"/>
                    </a:lnTo>
                    <a:lnTo>
                      <a:pt x="1994" y="254"/>
                    </a:lnTo>
                    <a:lnTo>
                      <a:pt x="2002" y="282"/>
                    </a:lnTo>
                    <a:lnTo>
                      <a:pt x="2010" y="310"/>
                    </a:lnTo>
                    <a:lnTo>
                      <a:pt x="2014" y="338"/>
                    </a:lnTo>
                    <a:lnTo>
                      <a:pt x="2022" y="394"/>
                    </a:lnTo>
                    <a:lnTo>
                      <a:pt x="2026" y="448"/>
                    </a:lnTo>
                    <a:lnTo>
                      <a:pt x="2026" y="448"/>
                    </a:lnTo>
                    <a:lnTo>
                      <a:pt x="2026" y="690"/>
                    </a:lnTo>
                    <a:lnTo>
                      <a:pt x="2026" y="930"/>
                    </a:lnTo>
                    <a:lnTo>
                      <a:pt x="2026" y="1170"/>
                    </a:lnTo>
                    <a:lnTo>
                      <a:pt x="2024" y="1290"/>
                    </a:lnTo>
                    <a:lnTo>
                      <a:pt x="2022" y="1410"/>
                    </a:lnTo>
                    <a:lnTo>
                      <a:pt x="2022" y="1410"/>
                    </a:lnTo>
                    <a:lnTo>
                      <a:pt x="2022" y="1426"/>
                    </a:lnTo>
                    <a:lnTo>
                      <a:pt x="2020" y="1438"/>
                    </a:lnTo>
                    <a:lnTo>
                      <a:pt x="2018" y="1452"/>
                    </a:lnTo>
                    <a:lnTo>
                      <a:pt x="2014" y="1462"/>
                    </a:lnTo>
                    <a:lnTo>
                      <a:pt x="2010" y="1474"/>
                    </a:lnTo>
                    <a:lnTo>
                      <a:pt x="2004" y="1484"/>
                    </a:lnTo>
                    <a:lnTo>
                      <a:pt x="1996" y="1494"/>
                    </a:lnTo>
                    <a:lnTo>
                      <a:pt x="1988" y="1502"/>
                    </a:lnTo>
                    <a:lnTo>
                      <a:pt x="1970" y="1516"/>
                    </a:lnTo>
                    <a:lnTo>
                      <a:pt x="1948" y="1528"/>
                    </a:lnTo>
                    <a:lnTo>
                      <a:pt x="1926" y="1536"/>
                    </a:lnTo>
                    <a:lnTo>
                      <a:pt x="1902" y="1540"/>
                    </a:lnTo>
                    <a:lnTo>
                      <a:pt x="1878" y="1540"/>
                    </a:lnTo>
                    <a:lnTo>
                      <a:pt x="1854" y="1538"/>
                    </a:lnTo>
                    <a:lnTo>
                      <a:pt x="1832" y="1530"/>
                    </a:lnTo>
                    <a:lnTo>
                      <a:pt x="1812" y="1520"/>
                    </a:lnTo>
                    <a:lnTo>
                      <a:pt x="1802" y="1512"/>
                    </a:lnTo>
                    <a:lnTo>
                      <a:pt x="1794" y="1504"/>
                    </a:lnTo>
                    <a:lnTo>
                      <a:pt x="1786" y="1496"/>
                    </a:lnTo>
                    <a:lnTo>
                      <a:pt x="1780" y="1486"/>
                    </a:lnTo>
                    <a:lnTo>
                      <a:pt x="1774" y="1474"/>
                    </a:lnTo>
                    <a:lnTo>
                      <a:pt x="1770" y="1462"/>
                    </a:lnTo>
                    <a:lnTo>
                      <a:pt x="1768" y="1450"/>
                    </a:lnTo>
                    <a:lnTo>
                      <a:pt x="1766" y="1434"/>
                    </a:lnTo>
                    <a:lnTo>
                      <a:pt x="1766" y="1434"/>
                    </a:lnTo>
                    <a:lnTo>
                      <a:pt x="1762" y="1320"/>
                    </a:lnTo>
                    <a:lnTo>
                      <a:pt x="1760" y="1206"/>
                    </a:lnTo>
                    <a:lnTo>
                      <a:pt x="1760" y="976"/>
                    </a:lnTo>
                    <a:lnTo>
                      <a:pt x="1762" y="746"/>
                    </a:lnTo>
                    <a:lnTo>
                      <a:pt x="1762" y="630"/>
                    </a:lnTo>
                    <a:lnTo>
                      <a:pt x="1760" y="516"/>
                    </a:lnTo>
                    <a:lnTo>
                      <a:pt x="1760" y="516"/>
                    </a:lnTo>
                    <a:lnTo>
                      <a:pt x="1664" y="514"/>
                    </a:lnTo>
                    <a:lnTo>
                      <a:pt x="1664" y="514"/>
                    </a:lnTo>
                    <a:lnTo>
                      <a:pt x="1664" y="1726"/>
                    </a:lnTo>
                    <a:lnTo>
                      <a:pt x="1664" y="2940"/>
                    </a:lnTo>
                    <a:lnTo>
                      <a:pt x="1664" y="2940"/>
                    </a:lnTo>
                    <a:lnTo>
                      <a:pt x="1664" y="2966"/>
                    </a:lnTo>
                    <a:lnTo>
                      <a:pt x="1662" y="2992"/>
                    </a:lnTo>
                    <a:lnTo>
                      <a:pt x="1654" y="3016"/>
                    </a:lnTo>
                    <a:lnTo>
                      <a:pt x="1646" y="3038"/>
                    </a:lnTo>
                    <a:lnTo>
                      <a:pt x="1634" y="3058"/>
                    </a:lnTo>
                    <a:lnTo>
                      <a:pt x="1620" y="3078"/>
                    </a:lnTo>
                    <a:lnTo>
                      <a:pt x="1602" y="3094"/>
                    </a:lnTo>
                    <a:lnTo>
                      <a:pt x="1584" y="3110"/>
                    </a:lnTo>
                    <a:lnTo>
                      <a:pt x="1564" y="3122"/>
                    </a:lnTo>
                    <a:lnTo>
                      <a:pt x="1542" y="3132"/>
                    </a:lnTo>
                    <a:lnTo>
                      <a:pt x="1520" y="3138"/>
                    </a:lnTo>
                    <a:lnTo>
                      <a:pt x="1496" y="3142"/>
                    </a:lnTo>
                    <a:lnTo>
                      <a:pt x="1472" y="3144"/>
                    </a:lnTo>
                    <a:lnTo>
                      <a:pt x="1448" y="3142"/>
                    </a:lnTo>
                    <a:lnTo>
                      <a:pt x="1424" y="3136"/>
                    </a:lnTo>
                    <a:lnTo>
                      <a:pt x="1400" y="3126"/>
                    </a:lnTo>
                    <a:lnTo>
                      <a:pt x="1400" y="3126"/>
                    </a:lnTo>
                    <a:lnTo>
                      <a:pt x="1386" y="3122"/>
                    </a:lnTo>
                    <a:lnTo>
                      <a:pt x="1376" y="3118"/>
                    </a:lnTo>
                    <a:lnTo>
                      <a:pt x="1366" y="3112"/>
                    </a:lnTo>
                    <a:lnTo>
                      <a:pt x="1358" y="3104"/>
                    </a:lnTo>
                    <a:lnTo>
                      <a:pt x="1350" y="3096"/>
                    </a:lnTo>
                    <a:lnTo>
                      <a:pt x="1344" y="3086"/>
                    </a:lnTo>
                    <a:lnTo>
                      <a:pt x="1336" y="3066"/>
                    </a:lnTo>
                    <a:lnTo>
                      <a:pt x="1330" y="3044"/>
                    </a:lnTo>
                    <a:lnTo>
                      <a:pt x="1326" y="3020"/>
                    </a:lnTo>
                    <a:lnTo>
                      <a:pt x="1322" y="2974"/>
                    </a:lnTo>
                    <a:lnTo>
                      <a:pt x="1322" y="2974"/>
                    </a:lnTo>
                    <a:lnTo>
                      <a:pt x="1318" y="2796"/>
                    </a:lnTo>
                    <a:lnTo>
                      <a:pt x="1318" y="2616"/>
                    </a:lnTo>
                    <a:lnTo>
                      <a:pt x="1320" y="2258"/>
                    </a:lnTo>
                    <a:lnTo>
                      <a:pt x="1320" y="2080"/>
                    </a:lnTo>
                    <a:lnTo>
                      <a:pt x="1320" y="1900"/>
                    </a:lnTo>
                    <a:lnTo>
                      <a:pt x="1318" y="1722"/>
                    </a:lnTo>
                    <a:lnTo>
                      <a:pt x="1314" y="1542"/>
                    </a:lnTo>
                    <a:lnTo>
                      <a:pt x="1314" y="1542"/>
                    </a:lnTo>
                    <a:lnTo>
                      <a:pt x="1226" y="1530"/>
                    </a:lnTo>
                    <a:lnTo>
                      <a:pt x="1226" y="1530"/>
                    </a:lnTo>
                    <a:lnTo>
                      <a:pt x="1224" y="1714"/>
                    </a:lnTo>
                    <a:lnTo>
                      <a:pt x="1222" y="1900"/>
                    </a:lnTo>
                    <a:lnTo>
                      <a:pt x="1222" y="2268"/>
                    </a:lnTo>
                    <a:lnTo>
                      <a:pt x="1224" y="2638"/>
                    </a:lnTo>
                    <a:lnTo>
                      <a:pt x="1222" y="2824"/>
                    </a:lnTo>
                    <a:lnTo>
                      <a:pt x="1220" y="3008"/>
                    </a:lnTo>
                    <a:lnTo>
                      <a:pt x="1220" y="3008"/>
                    </a:lnTo>
                    <a:lnTo>
                      <a:pt x="1216" y="3026"/>
                    </a:lnTo>
                    <a:lnTo>
                      <a:pt x="1210" y="3042"/>
                    </a:lnTo>
                    <a:lnTo>
                      <a:pt x="1202" y="3056"/>
                    </a:lnTo>
                    <a:lnTo>
                      <a:pt x="1194" y="3070"/>
                    </a:lnTo>
                    <a:lnTo>
                      <a:pt x="1184" y="3084"/>
                    </a:lnTo>
                    <a:lnTo>
                      <a:pt x="1174" y="3094"/>
                    </a:lnTo>
                    <a:lnTo>
                      <a:pt x="1162" y="3104"/>
                    </a:lnTo>
                    <a:lnTo>
                      <a:pt x="1148" y="3114"/>
                    </a:lnTo>
                    <a:lnTo>
                      <a:pt x="1136" y="3120"/>
                    </a:lnTo>
                    <a:lnTo>
                      <a:pt x="1120" y="3128"/>
                    </a:lnTo>
                    <a:lnTo>
                      <a:pt x="1106" y="3132"/>
                    </a:lnTo>
                    <a:lnTo>
                      <a:pt x="1090" y="3136"/>
                    </a:lnTo>
                    <a:lnTo>
                      <a:pt x="1074" y="3140"/>
                    </a:lnTo>
                    <a:lnTo>
                      <a:pt x="1058" y="3140"/>
                    </a:lnTo>
                    <a:lnTo>
                      <a:pt x="1026" y="3140"/>
                    </a:lnTo>
                    <a:lnTo>
                      <a:pt x="994" y="3136"/>
                    </a:lnTo>
                    <a:lnTo>
                      <a:pt x="978" y="3132"/>
                    </a:lnTo>
                    <a:lnTo>
                      <a:pt x="964" y="3126"/>
                    </a:lnTo>
                    <a:lnTo>
                      <a:pt x="948" y="3120"/>
                    </a:lnTo>
                    <a:lnTo>
                      <a:pt x="936" y="3112"/>
                    </a:lnTo>
                    <a:lnTo>
                      <a:pt x="922" y="3102"/>
                    </a:lnTo>
                    <a:lnTo>
                      <a:pt x="910" y="3092"/>
                    </a:lnTo>
                    <a:lnTo>
                      <a:pt x="900" y="3082"/>
                    </a:lnTo>
                    <a:lnTo>
                      <a:pt x="890" y="3070"/>
                    </a:lnTo>
                    <a:lnTo>
                      <a:pt x="882" y="3056"/>
                    </a:lnTo>
                    <a:lnTo>
                      <a:pt x="874" y="3042"/>
                    </a:lnTo>
                    <a:lnTo>
                      <a:pt x="870" y="3026"/>
                    </a:lnTo>
                    <a:lnTo>
                      <a:pt x="866" y="3010"/>
                    </a:lnTo>
                    <a:lnTo>
                      <a:pt x="864" y="2992"/>
                    </a:lnTo>
                    <a:lnTo>
                      <a:pt x="864" y="2974"/>
                    </a:lnTo>
                    <a:lnTo>
                      <a:pt x="864" y="2974"/>
                    </a:lnTo>
                    <a:lnTo>
                      <a:pt x="862" y="2320"/>
                    </a:lnTo>
                    <a:lnTo>
                      <a:pt x="862" y="1664"/>
                    </a:lnTo>
                    <a:lnTo>
                      <a:pt x="862" y="1010"/>
                    </a:lnTo>
                    <a:lnTo>
                      <a:pt x="860" y="356"/>
                    </a:lnTo>
                    <a:lnTo>
                      <a:pt x="860" y="356"/>
                    </a:lnTo>
                    <a:lnTo>
                      <a:pt x="780" y="444"/>
                    </a:lnTo>
                    <a:lnTo>
                      <a:pt x="702" y="534"/>
                    </a:lnTo>
                    <a:lnTo>
                      <a:pt x="628" y="626"/>
                    </a:lnTo>
                    <a:lnTo>
                      <a:pt x="552" y="718"/>
                    </a:lnTo>
                    <a:lnTo>
                      <a:pt x="478" y="810"/>
                    </a:lnTo>
                    <a:lnTo>
                      <a:pt x="400" y="900"/>
                    </a:lnTo>
                    <a:lnTo>
                      <a:pt x="322" y="988"/>
                    </a:lnTo>
                    <a:lnTo>
                      <a:pt x="282" y="1032"/>
                    </a:lnTo>
                    <a:lnTo>
                      <a:pt x="240" y="1074"/>
                    </a:lnTo>
                    <a:lnTo>
                      <a:pt x="240" y="1074"/>
                    </a:lnTo>
                    <a:lnTo>
                      <a:pt x="228" y="1082"/>
                    </a:lnTo>
                    <a:lnTo>
                      <a:pt x="216" y="1090"/>
                    </a:lnTo>
                    <a:lnTo>
                      <a:pt x="202" y="1096"/>
                    </a:lnTo>
                    <a:lnTo>
                      <a:pt x="190" y="1100"/>
                    </a:lnTo>
                    <a:lnTo>
                      <a:pt x="178" y="1104"/>
                    </a:lnTo>
                    <a:lnTo>
                      <a:pt x="164" y="1104"/>
                    </a:lnTo>
                    <a:lnTo>
                      <a:pt x="152" y="1104"/>
                    </a:lnTo>
                    <a:lnTo>
                      <a:pt x="140" y="1104"/>
                    </a:lnTo>
                    <a:lnTo>
                      <a:pt x="114" y="1098"/>
                    </a:lnTo>
                    <a:lnTo>
                      <a:pt x="90" y="1088"/>
                    </a:lnTo>
                    <a:lnTo>
                      <a:pt x="68" y="1074"/>
                    </a:lnTo>
                    <a:lnTo>
                      <a:pt x="50" y="1058"/>
                    </a:lnTo>
                    <a:lnTo>
                      <a:pt x="32" y="1038"/>
                    </a:lnTo>
                    <a:lnTo>
                      <a:pt x="18" y="1016"/>
                    </a:lnTo>
                    <a:lnTo>
                      <a:pt x="8" y="992"/>
                    </a:lnTo>
                    <a:lnTo>
                      <a:pt x="2" y="968"/>
                    </a:lnTo>
                    <a:lnTo>
                      <a:pt x="0" y="954"/>
                    </a:lnTo>
                    <a:lnTo>
                      <a:pt x="0" y="942"/>
                    </a:lnTo>
                    <a:lnTo>
                      <a:pt x="0" y="930"/>
                    </a:lnTo>
                    <a:lnTo>
                      <a:pt x="4" y="916"/>
                    </a:lnTo>
                    <a:lnTo>
                      <a:pt x="8" y="904"/>
                    </a:lnTo>
                    <a:lnTo>
                      <a:pt x="12" y="890"/>
                    </a:lnTo>
                    <a:lnTo>
                      <a:pt x="20" y="878"/>
                    </a:lnTo>
                    <a:lnTo>
                      <a:pt x="28" y="866"/>
                    </a:lnTo>
                    <a:lnTo>
                      <a:pt x="28" y="866"/>
                    </a:lnTo>
                    <a:lnTo>
                      <a:pt x="102" y="770"/>
                    </a:lnTo>
                    <a:lnTo>
                      <a:pt x="178" y="674"/>
                    </a:lnTo>
                    <a:lnTo>
                      <a:pt x="334" y="486"/>
                    </a:lnTo>
                    <a:lnTo>
                      <a:pt x="490" y="300"/>
                    </a:lnTo>
                    <a:lnTo>
                      <a:pt x="646" y="112"/>
                    </a:lnTo>
                    <a:lnTo>
                      <a:pt x="64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381" name="Group 1380"/>
            <p:cNvGrpSpPr/>
            <p:nvPr/>
          </p:nvGrpSpPr>
          <p:grpSpPr>
            <a:xfrm>
              <a:off x="4893396" y="4668827"/>
              <a:ext cx="148159" cy="186682"/>
              <a:chOff x="4846361" y="4691808"/>
              <a:chExt cx="111314" cy="140257"/>
            </a:xfrm>
          </p:grpSpPr>
          <p:grpSp>
            <p:nvGrpSpPr>
              <p:cNvPr id="635" name="Group 634"/>
              <p:cNvGrpSpPr/>
              <p:nvPr/>
            </p:nvGrpSpPr>
            <p:grpSpPr>
              <a:xfrm rot="14647671">
                <a:off x="4859126" y="4679043"/>
                <a:ext cx="74067" cy="99597"/>
                <a:chOff x="2658904" y="3122439"/>
                <a:chExt cx="81472" cy="132564"/>
              </a:xfrm>
              <a:solidFill>
                <a:schemeClr val="bg1"/>
              </a:solidFill>
            </p:grpSpPr>
            <p:sp>
              <p:nvSpPr>
                <p:cNvPr id="636"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38"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640"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379" name="Group 1378"/>
              <p:cNvGrpSpPr/>
              <p:nvPr/>
            </p:nvGrpSpPr>
            <p:grpSpPr>
              <a:xfrm>
                <a:off x="4900664" y="4764738"/>
                <a:ext cx="57011" cy="67327"/>
                <a:chOff x="4900664" y="4764738"/>
                <a:chExt cx="57011" cy="67327"/>
              </a:xfrm>
            </p:grpSpPr>
            <p:sp>
              <p:nvSpPr>
                <p:cNvPr id="633" name="Freeform 42"/>
                <p:cNvSpPr>
                  <a:spLocks/>
                </p:cNvSpPr>
                <p:nvPr/>
              </p:nvSpPr>
              <p:spPr bwMode="auto">
                <a:xfrm>
                  <a:off x="4900664" y="4764738"/>
                  <a:ext cx="57011" cy="67327"/>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34" name="Freeform 43"/>
                <p:cNvSpPr>
                  <a:spLocks/>
                </p:cNvSpPr>
                <p:nvPr/>
              </p:nvSpPr>
              <p:spPr bwMode="auto">
                <a:xfrm>
                  <a:off x="4910919" y="4774062"/>
                  <a:ext cx="36364" cy="48678"/>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rgbClr val="25505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grpSp>
        <p:nvGrpSpPr>
          <p:cNvPr id="1098" name="Group 1097"/>
          <p:cNvGrpSpPr/>
          <p:nvPr/>
        </p:nvGrpSpPr>
        <p:grpSpPr>
          <a:xfrm rot="848900" flipH="1">
            <a:off x="5038292" y="4045203"/>
            <a:ext cx="93936" cy="152841"/>
            <a:chOff x="2658904" y="3122439"/>
            <a:chExt cx="81472" cy="132564"/>
          </a:xfrm>
          <a:solidFill>
            <a:schemeClr val="bg1"/>
          </a:solidFill>
        </p:grpSpPr>
        <p:sp>
          <p:nvSpPr>
            <p:cNvPr id="1110"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11"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12"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400" name="Group 1399"/>
          <p:cNvGrpSpPr/>
          <p:nvPr/>
        </p:nvGrpSpPr>
        <p:grpSpPr>
          <a:xfrm flipH="1">
            <a:off x="5112410" y="4076492"/>
            <a:ext cx="295327" cy="956257"/>
            <a:chOff x="4885029" y="533131"/>
            <a:chExt cx="2908892" cy="9418884"/>
          </a:xfrm>
        </p:grpSpPr>
        <p:grpSp>
          <p:nvGrpSpPr>
            <p:cNvPr id="1399" name="Group 1398"/>
            <p:cNvGrpSpPr/>
            <p:nvPr/>
          </p:nvGrpSpPr>
          <p:grpSpPr>
            <a:xfrm>
              <a:off x="4885029" y="533131"/>
              <a:ext cx="2500867" cy="9418884"/>
              <a:chOff x="4885029" y="533131"/>
              <a:chExt cx="2500867" cy="9418884"/>
            </a:xfrm>
          </p:grpSpPr>
          <p:grpSp>
            <p:nvGrpSpPr>
              <p:cNvPr id="1393" name="Group 1392"/>
              <p:cNvGrpSpPr/>
              <p:nvPr/>
            </p:nvGrpSpPr>
            <p:grpSpPr>
              <a:xfrm>
                <a:off x="4885029" y="533131"/>
                <a:ext cx="2500867" cy="1904616"/>
                <a:chOff x="3502754" y="1548063"/>
                <a:chExt cx="5360830" cy="4082716"/>
              </a:xfrm>
            </p:grpSpPr>
            <p:grpSp>
              <p:nvGrpSpPr>
                <p:cNvPr id="1385" name="Group 1384"/>
                <p:cNvGrpSpPr/>
                <p:nvPr/>
              </p:nvGrpSpPr>
              <p:grpSpPr>
                <a:xfrm>
                  <a:off x="3505200" y="1548063"/>
                  <a:ext cx="5358384" cy="2991853"/>
                  <a:chOff x="3505200" y="1548063"/>
                  <a:chExt cx="5358384" cy="2991853"/>
                </a:xfrm>
                <a:solidFill>
                  <a:srgbClr val="008DB5"/>
                </a:solidFill>
              </p:grpSpPr>
              <p:sp>
                <p:nvSpPr>
                  <p:cNvPr id="1383" name="Freeform 1382"/>
                  <p:cNvSpPr/>
                  <p:nvPr/>
                </p:nvSpPr>
                <p:spPr bwMode="auto">
                  <a:xfrm>
                    <a:off x="3505200" y="1548063"/>
                    <a:ext cx="3922295" cy="2991853"/>
                  </a:xfrm>
                  <a:custGeom>
                    <a:avLst/>
                    <a:gdLst>
                      <a:gd name="connsiteX0" fmla="*/ 0 w 3922295"/>
                      <a:gd name="connsiteY0" fmla="*/ 2991853 h 2991853"/>
                      <a:gd name="connsiteX1" fmla="*/ 0 w 3922295"/>
                      <a:gd name="connsiteY1" fmla="*/ 2751221 h 2991853"/>
                      <a:gd name="connsiteX2" fmla="*/ 24063 w 3922295"/>
                      <a:gd name="connsiteY2" fmla="*/ 2614863 h 2991853"/>
                      <a:gd name="connsiteX3" fmla="*/ 64168 w 3922295"/>
                      <a:gd name="connsiteY3" fmla="*/ 2478505 h 2991853"/>
                      <a:gd name="connsiteX4" fmla="*/ 2510589 w 3922295"/>
                      <a:gd name="connsiteY4" fmla="*/ 753979 h 2991853"/>
                      <a:gd name="connsiteX5" fmla="*/ 3160295 w 3922295"/>
                      <a:gd name="connsiteY5" fmla="*/ 328863 h 2991853"/>
                      <a:gd name="connsiteX6" fmla="*/ 3537284 w 3922295"/>
                      <a:gd name="connsiteY6" fmla="*/ 136358 h 2991853"/>
                      <a:gd name="connsiteX7" fmla="*/ 3882189 w 3922295"/>
                      <a:gd name="connsiteY7" fmla="*/ 0 h 2991853"/>
                      <a:gd name="connsiteX8" fmla="*/ 3761874 w 3922295"/>
                      <a:gd name="connsiteY8" fmla="*/ 112295 h 2991853"/>
                      <a:gd name="connsiteX9" fmla="*/ 3697705 w 3922295"/>
                      <a:gd name="connsiteY9" fmla="*/ 312821 h 2991853"/>
                      <a:gd name="connsiteX10" fmla="*/ 3713747 w 3922295"/>
                      <a:gd name="connsiteY10" fmla="*/ 545432 h 2991853"/>
                      <a:gd name="connsiteX11" fmla="*/ 3769895 w 3922295"/>
                      <a:gd name="connsiteY11" fmla="*/ 794084 h 2991853"/>
                      <a:gd name="connsiteX12" fmla="*/ 3810000 w 3922295"/>
                      <a:gd name="connsiteY12" fmla="*/ 994611 h 2991853"/>
                      <a:gd name="connsiteX13" fmla="*/ 3922295 w 3922295"/>
                      <a:gd name="connsiteY13" fmla="*/ 1275348 h 2991853"/>
                      <a:gd name="connsiteX14" fmla="*/ 1949116 w 3922295"/>
                      <a:gd name="connsiteY14" fmla="*/ 2045369 h 2991853"/>
                      <a:gd name="connsiteX15" fmla="*/ 1467853 w 3922295"/>
                      <a:gd name="connsiteY15" fmla="*/ 2237874 h 2991853"/>
                      <a:gd name="connsiteX16" fmla="*/ 0 w 3922295"/>
                      <a:gd name="connsiteY16" fmla="*/ 2991853 h 2991853"/>
                      <a:gd name="connsiteX0" fmla="*/ 0 w 3922295"/>
                      <a:gd name="connsiteY0" fmla="*/ 2991853 h 2991853"/>
                      <a:gd name="connsiteX1" fmla="*/ 0 w 3922295"/>
                      <a:gd name="connsiteY1" fmla="*/ 2751221 h 2991853"/>
                      <a:gd name="connsiteX2" fmla="*/ 24063 w 3922295"/>
                      <a:gd name="connsiteY2" fmla="*/ 2614863 h 2991853"/>
                      <a:gd name="connsiteX3" fmla="*/ 64168 w 3922295"/>
                      <a:gd name="connsiteY3" fmla="*/ 2478505 h 2991853"/>
                      <a:gd name="connsiteX4" fmla="*/ 2510589 w 3922295"/>
                      <a:gd name="connsiteY4" fmla="*/ 753979 h 2991853"/>
                      <a:gd name="connsiteX5" fmla="*/ 3160295 w 3922295"/>
                      <a:gd name="connsiteY5" fmla="*/ 328863 h 2991853"/>
                      <a:gd name="connsiteX6" fmla="*/ 3537284 w 3922295"/>
                      <a:gd name="connsiteY6" fmla="*/ 136358 h 2991853"/>
                      <a:gd name="connsiteX7" fmla="*/ 3882189 w 3922295"/>
                      <a:gd name="connsiteY7" fmla="*/ 0 h 2991853"/>
                      <a:gd name="connsiteX8" fmla="*/ 3761874 w 3922295"/>
                      <a:gd name="connsiteY8" fmla="*/ 112295 h 2991853"/>
                      <a:gd name="connsiteX9" fmla="*/ 3697705 w 3922295"/>
                      <a:gd name="connsiteY9" fmla="*/ 312821 h 2991853"/>
                      <a:gd name="connsiteX10" fmla="*/ 3713747 w 3922295"/>
                      <a:gd name="connsiteY10" fmla="*/ 545432 h 2991853"/>
                      <a:gd name="connsiteX11" fmla="*/ 3769895 w 3922295"/>
                      <a:gd name="connsiteY11" fmla="*/ 794084 h 2991853"/>
                      <a:gd name="connsiteX12" fmla="*/ 3810000 w 3922295"/>
                      <a:gd name="connsiteY12" fmla="*/ 994611 h 2991853"/>
                      <a:gd name="connsiteX13" fmla="*/ 3922295 w 3922295"/>
                      <a:gd name="connsiteY13" fmla="*/ 1275348 h 2991853"/>
                      <a:gd name="connsiteX14" fmla="*/ 1949116 w 3922295"/>
                      <a:gd name="connsiteY14" fmla="*/ 2045369 h 2991853"/>
                      <a:gd name="connsiteX15" fmla="*/ 1467853 w 3922295"/>
                      <a:gd name="connsiteY15" fmla="*/ 2237874 h 2991853"/>
                      <a:gd name="connsiteX16" fmla="*/ 0 w 3922295"/>
                      <a:gd name="connsiteY16" fmla="*/ 2991853 h 299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22295" h="2991853">
                        <a:moveTo>
                          <a:pt x="0" y="2991853"/>
                        </a:moveTo>
                        <a:lnTo>
                          <a:pt x="0" y="2751221"/>
                        </a:lnTo>
                        <a:lnTo>
                          <a:pt x="24063" y="2614863"/>
                        </a:lnTo>
                        <a:lnTo>
                          <a:pt x="64168" y="2478505"/>
                        </a:lnTo>
                        <a:lnTo>
                          <a:pt x="2510589" y="753979"/>
                        </a:lnTo>
                        <a:lnTo>
                          <a:pt x="3160295" y="328863"/>
                        </a:lnTo>
                        <a:lnTo>
                          <a:pt x="3537284" y="136358"/>
                        </a:lnTo>
                        <a:cubicBezTo>
                          <a:pt x="3652252" y="90905"/>
                          <a:pt x="3767221" y="21390"/>
                          <a:pt x="3882189" y="0"/>
                        </a:cubicBezTo>
                        <a:lnTo>
                          <a:pt x="3761874" y="112295"/>
                        </a:lnTo>
                        <a:lnTo>
                          <a:pt x="3697705" y="312821"/>
                        </a:lnTo>
                        <a:lnTo>
                          <a:pt x="3713747" y="545432"/>
                        </a:lnTo>
                        <a:lnTo>
                          <a:pt x="3769895" y="794084"/>
                        </a:lnTo>
                        <a:lnTo>
                          <a:pt x="3810000" y="994611"/>
                        </a:lnTo>
                        <a:lnTo>
                          <a:pt x="3922295" y="1275348"/>
                        </a:lnTo>
                        <a:lnTo>
                          <a:pt x="1949116" y="2045369"/>
                        </a:lnTo>
                        <a:lnTo>
                          <a:pt x="1467853" y="2237874"/>
                        </a:lnTo>
                        <a:lnTo>
                          <a:pt x="0" y="299185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84" name="Freeform 1383"/>
                  <p:cNvSpPr/>
                  <p:nvPr/>
                </p:nvSpPr>
                <p:spPr bwMode="auto">
                  <a:xfrm>
                    <a:off x="7178521" y="1555322"/>
                    <a:ext cx="1685063" cy="1774177"/>
                  </a:xfrm>
                  <a:custGeom>
                    <a:avLst/>
                    <a:gdLst>
                      <a:gd name="connsiteX0" fmla="*/ 208548 w 1668379"/>
                      <a:gd name="connsiteY0" fmla="*/ 1259305 h 1756611"/>
                      <a:gd name="connsiteX1" fmla="*/ 409074 w 1668379"/>
                      <a:gd name="connsiteY1" fmla="*/ 1259305 h 1756611"/>
                      <a:gd name="connsiteX2" fmla="*/ 673769 w 1668379"/>
                      <a:gd name="connsiteY2" fmla="*/ 1299411 h 1756611"/>
                      <a:gd name="connsiteX3" fmla="*/ 1018674 w 1668379"/>
                      <a:gd name="connsiteY3" fmla="*/ 1403684 h 1756611"/>
                      <a:gd name="connsiteX4" fmla="*/ 1283369 w 1668379"/>
                      <a:gd name="connsiteY4" fmla="*/ 1515979 h 1756611"/>
                      <a:gd name="connsiteX5" fmla="*/ 1507958 w 1668379"/>
                      <a:gd name="connsiteY5" fmla="*/ 1644316 h 1756611"/>
                      <a:gd name="connsiteX6" fmla="*/ 1668379 w 1668379"/>
                      <a:gd name="connsiteY6" fmla="*/ 1756611 h 1756611"/>
                      <a:gd name="connsiteX7" fmla="*/ 1507958 w 1668379"/>
                      <a:gd name="connsiteY7" fmla="*/ 1371600 h 1756611"/>
                      <a:gd name="connsiteX8" fmla="*/ 1219200 w 1668379"/>
                      <a:gd name="connsiteY8" fmla="*/ 850232 h 1756611"/>
                      <a:gd name="connsiteX9" fmla="*/ 954506 w 1668379"/>
                      <a:gd name="connsiteY9" fmla="*/ 489284 h 1756611"/>
                      <a:gd name="connsiteX10" fmla="*/ 729916 w 1668379"/>
                      <a:gd name="connsiteY10" fmla="*/ 272716 h 1756611"/>
                      <a:gd name="connsiteX11" fmla="*/ 521369 w 1668379"/>
                      <a:gd name="connsiteY11" fmla="*/ 104274 h 1756611"/>
                      <a:gd name="connsiteX12" fmla="*/ 328863 w 1668379"/>
                      <a:gd name="connsiteY12" fmla="*/ 16042 h 1756611"/>
                      <a:gd name="connsiteX13" fmla="*/ 184485 w 1668379"/>
                      <a:gd name="connsiteY13" fmla="*/ 0 h 1756611"/>
                      <a:gd name="connsiteX14" fmla="*/ 48127 w 1668379"/>
                      <a:gd name="connsiteY14" fmla="*/ 136358 h 1756611"/>
                      <a:gd name="connsiteX15" fmla="*/ 0 w 1668379"/>
                      <a:gd name="connsiteY15" fmla="*/ 320842 h 1756611"/>
                      <a:gd name="connsiteX16" fmla="*/ 0 w 1668379"/>
                      <a:gd name="connsiteY16" fmla="*/ 481263 h 1756611"/>
                      <a:gd name="connsiteX17" fmla="*/ 88232 w 1668379"/>
                      <a:gd name="connsiteY17" fmla="*/ 906379 h 1756611"/>
                      <a:gd name="connsiteX18" fmla="*/ 136358 w 1668379"/>
                      <a:gd name="connsiteY18" fmla="*/ 1074821 h 1756611"/>
                      <a:gd name="connsiteX19" fmla="*/ 208548 w 1668379"/>
                      <a:gd name="connsiteY19" fmla="*/ 1259305 h 175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68379" h="1756611">
                        <a:moveTo>
                          <a:pt x="208548" y="1259305"/>
                        </a:moveTo>
                        <a:lnTo>
                          <a:pt x="409074" y="1259305"/>
                        </a:lnTo>
                        <a:lnTo>
                          <a:pt x="673769" y="1299411"/>
                        </a:lnTo>
                        <a:lnTo>
                          <a:pt x="1018674" y="1403684"/>
                        </a:lnTo>
                        <a:lnTo>
                          <a:pt x="1283369" y="1515979"/>
                        </a:lnTo>
                        <a:lnTo>
                          <a:pt x="1507958" y="1644316"/>
                        </a:lnTo>
                        <a:lnTo>
                          <a:pt x="1668379" y="1756611"/>
                        </a:lnTo>
                        <a:lnTo>
                          <a:pt x="1507958" y="1371600"/>
                        </a:lnTo>
                        <a:lnTo>
                          <a:pt x="1219200" y="850232"/>
                        </a:lnTo>
                        <a:lnTo>
                          <a:pt x="954506" y="489284"/>
                        </a:lnTo>
                        <a:lnTo>
                          <a:pt x="729916" y="272716"/>
                        </a:lnTo>
                        <a:lnTo>
                          <a:pt x="521369" y="104274"/>
                        </a:lnTo>
                        <a:lnTo>
                          <a:pt x="328863" y="16042"/>
                        </a:lnTo>
                        <a:lnTo>
                          <a:pt x="184485" y="0"/>
                        </a:lnTo>
                        <a:lnTo>
                          <a:pt x="48127" y="136358"/>
                        </a:lnTo>
                        <a:lnTo>
                          <a:pt x="0" y="320842"/>
                        </a:lnTo>
                        <a:lnTo>
                          <a:pt x="0" y="481263"/>
                        </a:lnTo>
                        <a:lnTo>
                          <a:pt x="88232" y="906379"/>
                        </a:lnTo>
                        <a:lnTo>
                          <a:pt x="136358" y="1074821"/>
                        </a:lnTo>
                        <a:lnTo>
                          <a:pt x="208548" y="125930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388" name="Freeform 1387"/>
                <p:cNvSpPr/>
                <p:nvPr/>
              </p:nvSpPr>
              <p:spPr bwMode="auto">
                <a:xfrm>
                  <a:off x="3502754" y="2805954"/>
                  <a:ext cx="5354935" cy="1879494"/>
                </a:xfrm>
                <a:custGeom>
                  <a:avLst/>
                  <a:gdLst>
                    <a:gd name="connsiteX0" fmla="*/ 0 w 5301916"/>
                    <a:gd name="connsiteY0" fmla="*/ 1716506 h 1860885"/>
                    <a:gd name="connsiteX1" fmla="*/ 657727 w 5301916"/>
                    <a:gd name="connsiteY1" fmla="*/ 1860885 h 1860885"/>
                    <a:gd name="connsiteX2" fmla="*/ 1155032 w 5301916"/>
                    <a:gd name="connsiteY2" fmla="*/ 1652337 h 1860885"/>
                    <a:gd name="connsiteX3" fmla="*/ 1676400 w 5301916"/>
                    <a:gd name="connsiteY3" fmla="*/ 1443790 h 1860885"/>
                    <a:gd name="connsiteX4" fmla="*/ 2294021 w 5301916"/>
                    <a:gd name="connsiteY4" fmla="*/ 1267327 h 1860885"/>
                    <a:gd name="connsiteX5" fmla="*/ 2807369 w 5301916"/>
                    <a:gd name="connsiteY5" fmla="*/ 1147011 h 1860885"/>
                    <a:gd name="connsiteX6" fmla="*/ 3352800 w 5301916"/>
                    <a:gd name="connsiteY6" fmla="*/ 1058779 h 1860885"/>
                    <a:gd name="connsiteX7" fmla="*/ 3713748 w 5301916"/>
                    <a:gd name="connsiteY7" fmla="*/ 1010653 h 1860885"/>
                    <a:gd name="connsiteX8" fmla="*/ 4170948 w 5301916"/>
                    <a:gd name="connsiteY8" fmla="*/ 890337 h 1860885"/>
                    <a:gd name="connsiteX9" fmla="*/ 5301916 w 5301916"/>
                    <a:gd name="connsiteY9" fmla="*/ 505327 h 1860885"/>
                    <a:gd name="connsiteX10" fmla="*/ 5077327 w 5301916"/>
                    <a:gd name="connsiteY10" fmla="*/ 336885 h 1860885"/>
                    <a:gd name="connsiteX11" fmla="*/ 4748463 w 5301916"/>
                    <a:gd name="connsiteY11" fmla="*/ 176464 h 1860885"/>
                    <a:gd name="connsiteX12" fmla="*/ 4451684 w 5301916"/>
                    <a:gd name="connsiteY12" fmla="*/ 88232 h 1860885"/>
                    <a:gd name="connsiteX13" fmla="*/ 4227095 w 5301916"/>
                    <a:gd name="connsiteY13" fmla="*/ 32085 h 1860885"/>
                    <a:gd name="connsiteX14" fmla="*/ 3930316 w 5301916"/>
                    <a:gd name="connsiteY14" fmla="*/ 0 h 1860885"/>
                    <a:gd name="connsiteX15" fmla="*/ 3673642 w 5301916"/>
                    <a:gd name="connsiteY15" fmla="*/ 80211 h 1860885"/>
                    <a:gd name="connsiteX16" fmla="*/ 2975811 w 5301916"/>
                    <a:gd name="connsiteY16" fmla="*/ 360948 h 1860885"/>
                    <a:gd name="connsiteX17" fmla="*/ 2085474 w 5301916"/>
                    <a:gd name="connsiteY17" fmla="*/ 697832 h 1860885"/>
                    <a:gd name="connsiteX18" fmla="*/ 1507958 w 5301916"/>
                    <a:gd name="connsiteY18" fmla="*/ 946485 h 1860885"/>
                    <a:gd name="connsiteX19" fmla="*/ 0 w 5301916"/>
                    <a:gd name="connsiteY19" fmla="*/ 1716506 h 186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01916" h="1860885">
                      <a:moveTo>
                        <a:pt x="0" y="1716506"/>
                      </a:moveTo>
                      <a:lnTo>
                        <a:pt x="657727" y="1860885"/>
                      </a:lnTo>
                      <a:lnTo>
                        <a:pt x="1155032" y="1652337"/>
                      </a:lnTo>
                      <a:lnTo>
                        <a:pt x="1676400" y="1443790"/>
                      </a:lnTo>
                      <a:lnTo>
                        <a:pt x="2294021" y="1267327"/>
                      </a:lnTo>
                      <a:lnTo>
                        <a:pt x="2807369" y="1147011"/>
                      </a:lnTo>
                      <a:lnTo>
                        <a:pt x="3352800" y="1058779"/>
                      </a:lnTo>
                      <a:lnTo>
                        <a:pt x="3713748" y="1010653"/>
                      </a:lnTo>
                      <a:lnTo>
                        <a:pt x="4170948" y="890337"/>
                      </a:lnTo>
                      <a:lnTo>
                        <a:pt x="5301916" y="505327"/>
                      </a:lnTo>
                      <a:lnTo>
                        <a:pt x="5077327" y="336885"/>
                      </a:lnTo>
                      <a:lnTo>
                        <a:pt x="4748463" y="176464"/>
                      </a:lnTo>
                      <a:lnTo>
                        <a:pt x="4451684" y="88232"/>
                      </a:lnTo>
                      <a:lnTo>
                        <a:pt x="4227095" y="32085"/>
                      </a:lnTo>
                      <a:lnTo>
                        <a:pt x="3930316" y="0"/>
                      </a:lnTo>
                      <a:lnTo>
                        <a:pt x="3673642" y="80211"/>
                      </a:lnTo>
                      <a:lnTo>
                        <a:pt x="2975811" y="360948"/>
                      </a:lnTo>
                      <a:lnTo>
                        <a:pt x="2085474" y="697832"/>
                      </a:lnTo>
                      <a:lnTo>
                        <a:pt x="1507958" y="946485"/>
                      </a:lnTo>
                      <a:lnTo>
                        <a:pt x="0" y="1716506"/>
                      </a:lnTo>
                      <a:close/>
                    </a:path>
                  </a:pathLst>
                </a:custGeom>
                <a:solidFill>
                  <a:srgbClr val="2052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92" name="Freeform 1391"/>
                <p:cNvSpPr/>
                <p:nvPr/>
              </p:nvSpPr>
              <p:spPr bwMode="auto">
                <a:xfrm>
                  <a:off x="3858126" y="4427621"/>
                  <a:ext cx="762000" cy="1203158"/>
                </a:xfrm>
                <a:custGeom>
                  <a:avLst/>
                  <a:gdLst>
                    <a:gd name="connsiteX0" fmla="*/ 0 w 762000"/>
                    <a:gd name="connsiteY0" fmla="*/ 1195137 h 1203158"/>
                    <a:gd name="connsiteX1" fmla="*/ 762000 w 762000"/>
                    <a:gd name="connsiteY1" fmla="*/ 1203158 h 1203158"/>
                    <a:gd name="connsiteX2" fmla="*/ 745958 w 762000"/>
                    <a:gd name="connsiteY2" fmla="*/ 0 h 1203158"/>
                    <a:gd name="connsiteX3" fmla="*/ 8021 w 762000"/>
                    <a:gd name="connsiteY3" fmla="*/ 24063 h 1203158"/>
                    <a:gd name="connsiteX4" fmla="*/ 0 w 762000"/>
                    <a:gd name="connsiteY4" fmla="*/ 1195137 h 1203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203158">
                      <a:moveTo>
                        <a:pt x="0" y="1195137"/>
                      </a:moveTo>
                      <a:lnTo>
                        <a:pt x="762000" y="1203158"/>
                      </a:lnTo>
                      <a:lnTo>
                        <a:pt x="745958" y="0"/>
                      </a:lnTo>
                      <a:lnTo>
                        <a:pt x="8021" y="24063"/>
                      </a:lnTo>
                      <a:cubicBezTo>
                        <a:pt x="5347" y="414421"/>
                        <a:pt x="2674" y="804779"/>
                        <a:pt x="0" y="1195137"/>
                      </a:cubicBezTo>
                      <a:close/>
                    </a:path>
                  </a:pathLst>
                </a:cu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391" name="Freeform 1390"/>
                <p:cNvSpPr/>
                <p:nvPr/>
              </p:nvSpPr>
              <p:spPr bwMode="auto">
                <a:xfrm>
                  <a:off x="6160169" y="2895599"/>
                  <a:ext cx="2494548" cy="858253"/>
                </a:xfrm>
                <a:custGeom>
                  <a:avLst/>
                  <a:gdLst>
                    <a:gd name="connsiteX0" fmla="*/ 0 w 2574758"/>
                    <a:gd name="connsiteY0" fmla="*/ 617621 h 898358"/>
                    <a:gd name="connsiteX1" fmla="*/ 866274 w 2574758"/>
                    <a:gd name="connsiteY1" fmla="*/ 898358 h 898358"/>
                    <a:gd name="connsiteX2" fmla="*/ 2574758 w 2574758"/>
                    <a:gd name="connsiteY2" fmla="*/ 441158 h 898358"/>
                    <a:gd name="connsiteX3" fmla="*/ 2318084 w 2574758"/>
                    <a:gd name="connsiteY3" fmla="*/ 280737 h 898358"/>
                    <a:gd name="connsiteX4" fmla="*/ 1989221 w 2574758"/>
                    <a:gd name="connsiteY4" fmla="*/ 144379 h 898358"/>
                    <a:gd name="connsiteX5" fmla="*/ 1596189 w 2574758"/>
                    <a:gd name="connsiteY5" fmla="*/ 40105 h 898358"/>
                    <a:gd name="connsiteX6" fmla="*/ 1331495 w 2574758"/>
                    <a:gd name="connsiteY6" fmla="*/ 0 h 898358"/>
                    <a:gd name="connsiteX7" fmla="*/ 80210 w 2574758"/>
                    <a:gd name="connsiteY7" fmla="*/ 521368 h 898358"/>
                    <a:gd name="connsiteX8" fmla="*/ 0 w 2574758"/>
                    <a:gd name="connsiteY8" fmla="*/ 617621 h 898358"/>
                    <a:gd name="connsiteX0" fmla="*/ 0 w 2574758"/>
                    <a:gd name="connsiteY0" fmla="*/ 577517 h 858254"/>
                    <a:gd name="connsiteX1" fmla="*/ 866274 w 2574758"/>
                    <a:gd name="connsiteY1" fmla="*/ 858254 h 858254"/>
                    <a:gd name="connsiteX2" fmla="*/ 2574758 w 2574758"/>
                    <a:gd name="connsiteY2" fmla="*/ 401054 h 858254"/>
                    <a:gd name="connsiteX3" fmla="*/ 2318084 w 2574758"/>
                    <a:gd name="connsiteY3" fmla="*/ 240633 h 858254"/>
                    <a:gd name="connsiteX4" fmla="*/ 1989221 w 2574758"/>
                    <a:gd name="connsiteY4" fmla="*/ 104275 h 858254"/>
                    <a:gd name="connsiteX5" fmla="*/ 1596189 w 2574758"/>
                    <a:gd name="connsiteY5" fmla="*/ 1 h 858254"/>
                    <a:gd name="connsiteX6" fmla="*/ 1382188 w 2574758"/>
                    <a:gd name="connsiteY6" fmla="*/ 27486 h 858254"/>
                    <a:gd name="connsiteX7" fmla="*/ 80210 w 2574758"/>
                    <a:gd name="connsiteY7" fmla="*/ 481264 h 858254"/>
                    <a:gd name="connsiteX8" fmla="*/ 0 w 2574758"/>
                    <a:gd name="connsiteY8" fmla="*/ 577517 h 858254"/>
                    <a:gd name="connsiteX0" fmla="*/ 4276 w 2494547"/>
                    <a:gd name="connsiteY0" fmla="*/ 560618 h 858254"/>
                    <a:gd name="connsiteX1" fmla="*/ 786063 w 2494547"/>
                    <a:gd name="connsiteY1" fmla="*/ 858254 h 858254"/>
                    <a:gd name="connsiteX2" fmla="*/ 2494547 w 2494547"/>
                    <a:gd name="connsiteY2" fmla="*/ 401054 h 858254"/>
                    <a:gd name="connsiteX3" fmla="*/ 2237873 w 2494547"/>
                    <a:gd name="connsiteY3" fmla="*/ 240633 h 858254"/>
                    <a:gd name="connsiteX4" fmla="*/ 1909010 w 2494547"/>
                    <a:gd name="connsiteY4" fmla="*/ 104275 h 858254"/>
                    <a:gd name="connsiteX5" fmla="*/ 1515978 w 2494547"/>
                    <a:gd name="connsiteY5" fmla="*/ 1 h 858254"/>
                    <a:gd name="connsiteX6" fmla="*/ 1301977 w 2494547"/>
                    <a:gd name="connsiteY6" fmla="*/ 27486 h 858254"/>
                    <a:gd name="connsiteX7" fmla="*/ -1 w 2494547"/>
                    <a:gd name="connsiteY7" fmla="*/ 481264 h 858254"/>
                    <a:gd name="connsiteX8" fmla="*/ 4276 w 2494547"/>
                    <a:gd name="connsiteY8" fmla="*/ 560618 h 8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4547" h="858254">
                      <a:moveTo>
                        <a:pt x="4276" y="560618"/>
                      </a:moveTo>
                      <a:lnTo>
                        <a:pt x="786063" y="858254"/>
                      </a:lnTo>
                      <a:lnTo>
                        <a:pt x="2494547" y="401054"/>
                      </a:lnTo>
                      <a:lnTo>
                        <a:pt x="2237873" y="240633"/>
                      </a:lnTo>
                      <a:lnTo>
                        <a:pt x="1909010" y="104275"/>
                      </a:lnTo>
                      <a:lnTo>
                        <a:pt x="1515978" y="1"/>
                      </a:lnTo>
                      <a:lnTo>
                        <a:pt x="1301977" y="27486"/>
                      </a:lnTo>
                      <a:lnTo>
                        <a:pt x="-1" y="481264"/>
                      </a:lnTo>
                      <a:lnTo>
                        <a:pt x="4276" y="560618"/>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394" name="Rectangle 1393"/>
              <p:cNvSpPr/>
              <p:nvPr/>
            </p:nvSpPr>
            <p:spPr bwMode="auto">
              <a:xfrm>
                <a:off x="5126653" y="2417576"/>
                <a:ext cx="207137" cy="7534439"/>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16" name="Trapezoid 1015"/>
            <p:cNvSpPr/>
            <p:nvPr/>
          </p:nvSpPr>
          <p:spPr bwMode="auto">
            <a:xfrm rot="21444336">
              <a:off x="5766227" y="1376335"/>
              <a:ext cx="2027694" cy="3161092"/>
            </a:xfrm>
            <a:prstGeom prst="trapezoid">
              <a:avLst>
                <a:gd name="adj" fmla="val 22916"/>
              </a:avLst>
            </a:prstGeom>
            <a:gradFill flip="none" rotWithShape="1">
              <a:gsLst>
                <a:gs pos="50000">
                  <a:schemeClr val="bg1">
                    <a:alpha val="19000"/>
                  </a:schemeClr>
                </a:gs>
                <a:gs pos="0">
                  <a:schemeClr val="bg1">
                    <a:alpha val="0"/>
                  </a:schemeClr>
                </a:gs>
                <a:gs pos="100000">
                  <a:schemeClr val="bg1">
                    <a:alpha val="31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17" name="Group 1016"/>
          <p:cNvGrpSpPr/>
          <p:nvPr/>
        </p:nvGrpSpPr>
        <p:grpSpPr>
          <a:xfrm>
            <a:off x="3208751" y="3683882"/>
            <a:ext cx="221884" cy="718450"/>
            <a:chOff x="4885029" y="533131"/>
            <a:chExt cx="2908892" cy="9418884"/>
          </a:xfrm>
        </p:grpSpPr>
        <p:grpSp>
          <p:nvGrpSpPr>
            <p:cNvPr id="1018" name="Group 1017"/>
            <p:cNvGrpSpPr/>
            <p:nvPr/>
          </p:nvGrpSpPr>
          <p:grpSpPr>
            <a:xfrm>
              <a:off x="4885029" y="533131"/>
              <a:ext cx="2500867" cy="9418884"/>
              <a:chOff x="4885029" y="533131"/>
              <a:chExt cx="2500867" cy="9418884"/>
            </a:xfrm>
          </p:grpSpPr>
          <p:grpSp>
            <p:nvGrpSpPr>
              <p:cNvPr id="1021" name="Group 1020"/>
              <p:cNvGrpSpPr/>
              <p:nvPr/>
            </p:nvGrpSpPr>
            <p:grpSpPr>
              <a:xfrm>
                <a:off x="4885029" y="533131"/>
                <a:ext cx="2500867" cy="1904616"/>
                <a:chOff x="3502754" y="1548063"/>
                <a:chExt cx="5360830" cy="4082716"/>
              </a:xfrm>
            </p:grpSpPr>
            <p:grpSp>
              <p:nvGrpSpPr>
                <p:cNvPr id="1051" name="Group 1050"/>
                <p:cNvGrpSpPr/>
                <p:nvPr/>
              </p:nvGrpSpPr>
              <p:grpSpPr>
                <a:xfrm>
                  <a:off x="3505200" y="1548063"/>
                  <a:ext cx="5358384" cy="2991853"/>
                  <a:chOff x="3505200" y="1548063"/>
                  <a:chExt cx="5358384" cy="2991853"/>
                </a:xfrm>
                <a:solidFill>
                  <a:srgbClr val="008DB5"/>
                </a:solidFill>
              </p:grpSpPr>
              <p:sp>
                <p:nvSpPr>
                  <p:cNvPr id="1073" name="Freeform 1072"/>
                  <p:cNvSpPr/>
                  <p:nvPr/>
                </p:nvSpPr>
                <p:spPr bwMode="auto">
                  <a:xfrm>
                    <a:off x="3505200" y="1548063"/>
                    <a:ext cx="3922295" cy="2991853"/>
                  </a:xfrm>
                  <a:custGeom>
                    <a:avLst/>
                    <a:gdLst>
                      <a:gd name="connsiteX0" fmla="*/ 0 w 3922295"/>
                      <a:gd name="connsiteY0" fmla="*/ 2991853 h 2991853"/>
                      <a:gd name="connsiteX1" fmla="*/ 0 w 3922295"/>
                      <a:gd name="connsiteY1" fmla="*/ 2751221 h 2991853"/>
                      <a:gd name="connsiteX2" fmla="*/ 24063 w 3922295"/>
                      <a:gd name="connsiteY2" fmla="*/ 2614863 h 2991853"/>
                      <a:gd name="connsiteX3" fmla="*/ 64168 w 3922295"/>
                      <a:gd name="connsiteY3" fmla="*/ 2478505 h 2991853"/>
                      <a:gd name="connsiteX4" fmla="*/ 2510589 w 3922295"/>
                      <a:gd name="connsiteY4" fmla="*/ 753979 h 2991853"/>
                      <a:gd name="connsiteX5" fmla="*/ 3160295 w 3922295"/>
                      <a:gd name="connsiteY5" fmla="*/ 328863 h 2991853"/>
                      <a:gd name="connsiteX6" fmla="*/ 3537284 w 3922295"/>
                      <a:gd name="connsiteY6" fmla="*/ 136358 h 2991853"/>
                      <a:gd name="connsiteX7" fmla="*/ 3882189 w 3922295"/>
                      <a:gd name="connsiteY7" fmla="*/ 0 h 2991853"/>
                      <a:gd name="connsiteX8" fmla="*/ 3761874 w 3922295"/>
                      <a:gd name="connsiteY8" fmla="*/ 112295 h 2991853"/>
                      <a:gd name="connsiteX9" fmla="*/ 3697705 w 3922295"/>
                      <a:gd name="connsiteY9" fmla="*/ 312821 h 2991853"/>
                      <a:gd name="connsiteX10" fmla="*/ 3713747 w 3922295"/>
                      <a:gd name="connsiteY10" fmla="*/ 545432 h 2991853"/>
                      <a:gd name="connsiteX11" fmla="*/ 3769895 w 3922295"/>
                      <a:gd name="connsiteY11" fmla="*/ 794084 h 2991853"/>
                      <a:gd name="connsiteX12" fmla="*/ 3810000 w 3922295"/>
                      <a:gd name="connsiteY12" fmla="*/ 994611 h 2991853"/>
                      <a:gd name="connsiteX13" fmla="*/ 3922295 w 3922295"/>
                      <a:gd name="connsiteY13" fmla="*/ 1275348 h 2991853"/>
                      <a:gd name="connsiteX14" fmla="*/ 1949116 w 3922295"/>
                      <a:gd name="connsiteY14" fmla="*/ 2045369 h 2991853"/>
                      <a:gd name="connsiteX15" fmla="*/ 1467853 w 3922295"/>
                      <a:gd name="connsiteY15" fmla="*/ 2237874 h 2991853"/>
                      <a:gd name="connsiteX16" fmla="*/ 0 w 3922295"/>
                      <a:gd name="connsiteY16" fmla="*/ 2991853 h 2991853"/>
                      <a:gd name="connsiteX0" fmla="*/ 0 w 3922295"/>
                      <a:gd name="connsiteY0" fmla="*/ 2991853 h 2991853"/>
                      <a:gd name="connsiteX1" fmla="*/ 0 w 3922295"/>
                      <a:gd name="connsiteY1" fmla="*/ 2751221 h 2991853"/>
                      <a:gd name="connsiteX2" fmla="*/ 24063 w 3922295"/>
                      <a:gd name="connsiteY2" fmla="*/ 2614863 h 2991853"/>
                      <a:gd name="connsiteX3" fmla="*/ 64168 w 3922295"/>
                      <a:gd name="connsiteY3" fmla="*/ 2478505 h 2991853"/>
                      <a:gd name="connsiteX4" fmla="*/ 2510589 w 3922295"/>
                      <a:gd name="connsiteY4" fmla="*/ 753979 h 2991853"/>
                      <a:gd name="connsiteX5" fmla="*/ 3160295 w 3922295"/>
                      <a:gd name="connsiteY5" fmla="*/ 328863 h 2991853"/>
                      <a:gd name="connsiteX6" fmla="*/ 3537284 w 3922295"/>
                      <a:gd name="connsiteY6" fmla="*/ 136358 h 2991853"/>
                      <a:gd name="connsiteX7" fmla="*/ 3882189 w 3922295"/>
                      <a:gd name="connsiteY7" fmla="*/ 0 h 2991853"/>
                      <a:gd name="connsiteX8" fmla="*/ 3761874 w 3922295"/>
                      <a:gd name="connsiteY8" fmla="*/ 112295 h 2991853"/>
                      <a:gd name="connsiteX9" fmla="*/ 3697705 w 3922295"/>
                      <a:gd name="connsiteY9" fmla="*/ 312821 h 2991853"/>
                      <a:gd name="connsiteX10" fmla="*/ 3713747 w 3922295"/>
                      <a:gd name="connsiteY10" fmla="*/ 545432 h 2991853"/>
                      <a:gd name="connsiteX11" fmla="*/ 3769895 w 3922295"/>
                      <a:gd name="connsiteY11" fmla="*/ 794084 h 2991853"/>
                      <a:gd name="connsiteX12" fmla="*/ 3810000 w 3922295"/>
                      <a:gd name="connsiteY12" fmla="*/ 994611 h 2991853"/>
                      <a:gd name="connsiteX13" fmla="*/ 3922295 w 3922295"/>
                      <a:gd name="connsiteY13" fmla="*/ 1275348 h 2991853"/>
                      <a:gd name="connsiteX14" fmla="*/ 1949116 w 3922295"/>
                      <a:gd name="connsiteY14" fmla="*/ 2045369 h 2991853"/>
                      <a:gd name="connsiteX15" fmla="*/ 1467853 w 3922295"/>
                      <a:gd name="connsiteY15" fmla="*/ 2237874 h 2991853"/>
                      <a:gd name="connsiteX16" fmla="*/ 0 w 3922295"/>
                      <a:gd name="connsiteY16" fmla="*/ 2991853 h 299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22295" h="2991853">
                        <a:moveTo>
                          <a:pt x="0" y="2991853"/>
                        </a:moveTo>
                        <a:lnTo>
                          <a:pt x="0" y="2751221"/>
                        </a:lnTo>
                        <a:lnTo>
                          <a:pt x="24063" y="2614863"/>
                        </a:lnTo>
                        <a:lnTo>
                          <a:pt x="64168" y="2478505"/>
                        </a:lnTo>
                        <a:lnTo>
                          <a:pt x="2510589" y="753979"/>
                        </a:lnTo>
                        <a:lnTo>
                          <a:pt x="3160295" y="328863"/>
                        </a:lnTo>
                        <a:lnTo>
                          <a:pt x="3537284" y="136358"/>
                        </a:lnTo>
                        <a:cubicBezTo>
                          <a:pt x="3652252" y="90905"/>
                          <a:pt x="3767221" y="21390"/>
                          <a:pt x="3882189" y="0"/>
                        </a:cubicBezTo>
                        <a:lnTo>
                          <a:pt x="3761874" y="112295"/>
                        </a:lnTo>
                        <a:lnTo>
                          <a:pt x="3697705" y="312821"/>
                        </a:lnTo>
                        <a:lnTo>
                          <a:pt x="3713747" y="545432"/>
                        </a:lnTo>
                        <a:lnTo>
                          <a:pt x="3769895" y="794084"/>
                        </a:lnTo>
                        <a:lnTo>
                          <a:pt x="3810000" y="994611"/>
                        </a:lnTo>
                        <a:lnTo>
                          <a:pt x="3922295" y="1275348"/>
                        </a:lnTo>
                        <a:lnTo>
                          <a:pt x="1949116" y="2045369"/>
                        </a:lnTo>
                        <a:lnTo>
                          <a:pt x="1467853" y="2237874"/>
                        </a:lnTo>
                        <a:lnTo>
                          <a:pt x="0" y="299185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7" name="Freeform 1076"/>
                  <p:cNvSpPr/>
                  <p:nvPr/>
                </p:nvSpPr>
                <p:spPr bwMode="auto">
                  <a:xfrm>
                    <a:off x="7178521" y="1555322"/>
                    <a:ext cx="1685063" cy="1774177"/>
                  </a:xfrm>
                  <a:custGeom>
                    <a:avLst/>
                    <a:gdLst>
                      <a:gd name="connsiteX0" fmla="*/ 208548 w 1668379"/>
                      <a:gd name="connsiteY0" fmla="*/ 1259305 h 1756611"/>
                      <a:gd name="connsiteX1" fmla="*/ 409074 w 1668379"/>
                      <a:gd name="connsiteY1" fmla="*/ 1259305 h 1756611"/>
                      <a:gd name="connsiteX2" fmla="*/ 673769 w 1668379"/>
                      <a:gd name="connsiteY2" fmla="*/ 1299411 h 1756611"/>
                      <a:gd name="connsiteX3" fmla="*/ 1018674 w 1668379"/>
                      <a:gd name="connsiteY3" fmla="*/ 1403684 h 1756611"/>
                      <a:gd name="connsiteX4" fmla="*/ 1283369 w 1668379"/>
                      <a:gd name="connsiteY4" fmla="*/ 1515979 h 1756611"/>
                      <a:gd name="connsiteX5" fmla="*/ 1507958 w 1668379"/>
                      <a:gd name="connsiteY5" fmla="*/ 1644316 h 1756611"/>
                      <a:gd name="connsiteX6" fmla="*/ 1668379 w 1668379"/>
                      <a:gd name="connsiteY6" fmla="*/ 1756611 h 1756611"/>
                      <a:gd name="connsiteX7" fmla="*/ 1507958 w 1668379"/>
                      <a:gd name="connsiteY7" fmla="*/ 1371600 h 1756611"/>
                      <a:gd name="connsiteX8" fmla="*/ 1219200 w 1668379"/>
                      <a:gd name="connsiteY8" fmla="*/ 850232 h 1756611"/>
                      <a:gd name="connsiteX9" fmla="*/ 954506 w 1668379"/>
                      <a:gd name="connsiteY9" fmla="*/ 489284 h 1756611"/>
                      <a:gd name="connsiteX10" fmla="*/ 729916 w 1668379"/>
                      <a:gd name="connsiteY10" fmla="*/ 272716 h 1756611"/>
                      <a:gd name="connsiteX11" fmla="*/ 521369 w 1668379"/>
                      <a:gd name="connsiteY11" fmla="*/ 104274 h 1756611"/>
                      <a:gd name="connsiteX12" fmla="*/ 328863 w 1668379"/>
                      <a:gd name="connsiteY12" fmla="*/ 16042 h 1756611"/>
                      <a:gd name="connsiteX13" fmla="*/ 184485 w 1668379"/>
                      <a:gd name="connsiteY13" fmla="*/ 0 h 1756611"/>
                      <a:gd name="connsiteX14" fmla="*/ 48127 w 1668379"/>
                      <a:gd name="connsiteY14" fmla="*/ 136358 h 1756611"/>
                      <a:gd name="connsiteX15" fmla="*/ 0 w 1668379"/>
                      <a:gd name="connsiteY15" fmla="*/ 320842 h 1756611"/>
                      <a:gd name="connsiteX16" fmla="*/ 0 w 1668379"/>
                      <a:gd name="connsiteY16" fmla="*/ 481263 h 1756611"/>
                      <a:gd name="connsiteX17" fmla="*/ 88232 w 1668379"/>
                      <a:gd name="connsiteY17" fmla="*/ 906379 h 1756611"/>
                      <a:gd name="connsiteX18" fmla="*/ 136358 w 1668379"/>
                      <a:gd name="connsiteY18" fmla="*/ 1074821 h 1756611"/>
                      <a:gd name="connsiteX19" fmla="*/ 208548 w 1668379"/>
                      <a:gd name="connsiteY19" fmla="*/ 1259305 h 175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68379" h="1756611">
                        <a:moveTo>
                          <a:pt x="208548" y="1259305"/>
                        </a:moveTo>
                        <a:lnTo>
                          <a:pt x="409074" y="1259305"/>
                        </a:lnTo>
                        <a:lnTo>
                          <a:pt x="673769" y="1299411"/>
                        </a:lnTo>
                        <a:lnTo>
                          <a:pt x="1018674" y="1403684"/>
                        </a:lnTo>
                        <a:lnTo>
                          <a:pt x="1283369" y="1515979"/>
                        </a:lnTo>
                        <a:lnTo>
                          <a:pt x="1507958" y="1644316"/>
                        </a:lnTo>
                        <a:lnTo>
                          <a:pt x="1668379" y="1756611"/>
                        </a:lnTo>
                        <a:lnTo>
                          <a:pt x="1507958" y="1371600"/>
                        </a:lnTo>
                        <a:lnTo>
                          <a:pt x="1219200" y="850232"/>
                        </a:lnTo>
                        <a:lnTo>
                          <a:pt x="954506" y="489284"/>
                        </a:lnTo>
                        <a:lnTo>
                          <a:pt x="729916" y="272716"/>
                        </a:lnTo>
                        <a:lnTo>
                          <a:pt x="521369" y="104274"/>
                        </a:lnTo>
                        <a:lnTo>
                          <a:pt x="328863" y="16042"/>
                        </a:lnTo>
                        <a:lnTo>
                          <a:pt x="184485" y="0"/>
                        </a:lnTo>
                        <a:lnTo>
                          <a:pt x="48127" y="136358"/>
                        </a:lnTo>
                        <a:lnTo>
                          <a:pt x="0" y="320842"/>
                        </a:lnTo>
                        <a:lnTo>
                          <a:pt x="0" y="481263"/>
                        </a:lnTo>
                        <a:lnTo>
                          <a:pt x="88232" y="906379"/>
                        </a:lnTo>
                        <a:lnTo>
                          <a:pt x="136358" y="1074821"/>
                        </a:lnTo>
                        <a:lnTo>
                          <a:pt x="208548" y="125930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52" name="Freeform 1051"/>
                <p:cNvSpPr/>
                <p:nvPr/>
              </p:nvSpPr>
              <p:spPr bwMode="auto">
                <a:xfrm>
                  <a:off x="3502754" y="2805954"/>
                  <a:ext cx="5354935" cy="1879494"/>
                </a:xfrm>
                <a:custGeom>
                  <a:avLst/>
                  <a:gdLst>
                    <a:gd name="connsiteX0" fmla="*/ 0 w 5301916"/>
                    <a:gd name="connsiteY0" fmla="*/ 1716506 h 1860885"/>
                    <a:gd name="connsiteX1" fmla="*/ 657727 w 5301916"/>
                    <a:gd name="connsiteY1" fmla="*/ 1860885 h 1860885"/>
                    <a:gd name="connsiteX2" fmla="*/ 1155032 w 5301916"/>
                    <a:gd name="connsiteY2" fmla="*/ 1652337 h 1860885"/>
                    <a:gd name="connsiteX3" fmla="*/ 1676400 w 5301916"/>
                    <a:gd name="connsiteY3" fmla="*/ 1443790 h 1860885"/>
                    <a:gd name="connsiteX4" fmla="*/ 2294021 w 5301916"/>
                    <a:gd name="connsiteY4" fmla="*/ 1267327 h 1860885"/>
                    <a:gd name="connsiteX5" fmla="*/ 2807369 w 5301916"/>
                    <a:gd name="connsiteY5" fmla="*/ 1147011 h 1860885"/>
                    <a:gd name="connsiteX6" fmla="*/ 3352800 w 5301916"/>
                    <a:gd name="connsiteY6" fmla="*/ 1058779 h 1860885"/>
                    <a:gd name="connsiteX7" fmla="*/ 3713748 w 5301916"/>
                    <a:gd name="connsiteY7" fmla="*/ 1010653 h 1860885"/>
                    <a:gd name="connsiteX8" fmla="*/ 4170948 w 5301916"/>
                    <a:gd name="connsiteY8" fmla="*/ 890337 h 1860885"/>
                    <a:gd name="connsiteX9" fmla="*/ 5301916 w 5301916"/>
                    <a:gd name="connsiteY9" fmla="*/ 505327 h 1860885"/>
                    <a:gd name="connsiteX10" fmla="*/ 5077327 w 5301916"/>
                    <a:gd name="connsiteY10" fmla="*/ 336885 h 1860885"/>
                    <a:gd name="connsiteX11" fmla="*/ 4748463 w 5301916"/>
                    <a:gd name="connsiteY11" fmla="*/ 176464 h 1860885"/>
                    <a:gd name="connsiteX12" fmla="*/ 4451684 w 5301916"/>
                    <a:gd name="connsiteY12" fmla="*/ 88232 h 1860885"/>
                    <a:gd name="connsiteX13" fmla="*/ 4227095 w 5301916"/>
                    <a:gd name="connsiteY13" fmla="*/ 32085 h 1860885"/>
                    <a:gd name="connsiteX14" fmla="*/ 3930316 w 5301916"/>
                    <a:gd name="connsiteY14" fmla="*/ 0 h 1860885"/>
                    <a:gd name="connsiteX15" fmla="*/ 3673642 w 5301916"/>
                    <a:gd name="connsiteY15" fmla="*/ 80211 h 1860885"/>
                    <a:gd name="connsiteX16" fmla="*/ 2975811 w 5301916"/>
                    <a:gd name="connsiteY16" fmla="*/ 360948 h 1860885"/>
                    <a:gd name="connsiteX17" fmla="*/ 2085474 w 5301916"/>
                    <a:gd name="connsiteY17" fmla="*/ 697832 h 1860885"/>
                    <a:gd name="connsiteX18" fmla="*/ 1507958 w 5301916"/>
                    <a:gd name="connsiteY18" fmla="*/ 946485 h 1860885"/>
                    <a:gd name="connsiteX19" fmla="*/ 0 w 5301916"/>
                    <a:gd name="connsiteY19" fmla="*/ 1716506 h 186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01916" h="1860885">
                      <a:moveTo>
                        <a:pt x="0" y="1716506"/>
                      </a:moveTo>
                      <a:lnTo>
                        <a:pt x="657727" y="1860885"/>
                      </a:lnTo>
                      <a:lnTo>
                        <a:pt x="1155032" y="1652337"/>
                      </a:lnTo>
                      <a:lnTo>
                        <a:pt x="1676400" y="1443790"/>
                      </a:lnTo>
                      <a:lnTo>
                        <a:pt x="2294021" y="1267327"/>
                      </a:lnTo>
                      <a:lnTo>
                        <a:pt x="2807369" y="1147011"/>
                      </a:lnTo>
                      <a:lnTo>
                        <a:pt x="3352800" y="1058779"/>
                      </a:lnTo>
                      <a:lnTo>
                        <a:pt x="3713748" y="1010653"/>
                      </a:lnTo>
                      <a:lnTo>
                        <a:pt x="4170948" y="890337"/>
                      </a:lnTo>
                      <a:lnTo>
                        <a:pt x="5301916" y="505327"/>
                      </a:lnTo>
                      <a:lnTo>
                        <a:pt x="5077327" y="336885"/>
                      </a:lnTo>
                      <a:lnTo>
                        <a:pt x="4748463" y="176464"/>
                      </a:lnTo>
                      <a:lnTo>
                        <a:pt x="4451684" y="88232"/>
                      </a:lnTo>
                      <a:lnTo>
                        <a:pt x="4227095" y="32085"/>
                      </a:lnTo>
                      <a:lnTo>
                        <a:pt x="3930316" y="0"/>
                      </a:lnTo>
                      <a:lnTo>
                        <a:pt x="3673642" y="80211"/>
                      </a:lnTo>
                      <a:lnTo>
                        <a:pt x="2975811" y="360948"/>
                      </a:lnTo>
                      <a:lnTo>
                        <a:pt x="2085474" y="697832"/>
                      </a:lnTo>
                      <a:lnTo>
                        <a:pt x="1507958" y="946485"/>
                      </a:lnTo>
                      <a:lnTo>
                        <a:pt x="0" y="1716506"/>
                      </a:lnTo>
                      <a:close/>
                    </a:path>
                  </a:pathLst>
                </a:custGeom>
                <a:solidFill>
                  <a:srgbClr val="2052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5" name="Freeform 1054"/>
                <p:cNvSpPr/>
                <p:nvPr/>
              </p:nvSpPr>
              <p:spPr bwMode="auto">
                <a:xfrm>
                  <a:off x="3858126" y="4427621"/>
                  <a:ext cx="762000" cy="1203158"/>
                </a:xfrm>
                <a:custGeom>
                  <a:avLst/>
                  <a:gdLst>
                    <a:gd name="connsiteX0" fmla="*/ 0 w 762000"/>
                    <a:gd name="connsiteY0" fmla="*/ 1195137 h 1203158"/>
                    <a:gd name="connsiteX1" fmla="*/ 762000 w 762000"/>
                    <a:gd name="connsiteY1" fmla="*/ 1203158 h 1203158"/>
                    <a:gd name="connsiteX2" fmla="*/ 745958 w 762000"/>
                    <a:gd name="connsiteY2" fmla="*/ 0 h 1203158"/>
                    <a:gd name="connsiteX3" fmla="*/ 8021 w 762000"/>
                    <a:gd name="connsiteY3" fmla="*/ 24063 h 1203158"/>
                    <a:gd name="connsiteX4" fmla="*/ 0 w 762000"/>
                    <a:gd name="connsiteY4" fmla="*/ 1195137 h 1203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203158">
                      <a:moveTo>
                        <a:pt x="0" y="1195137"/>
                      </a:moveTo>
                      <a:lnTo>
                        <a:pt x="762000" y="1203158"/>
                      </a:lnTo>
                      <a:lnTo>
                        <a:pt x="745958" y="0"/>
                      </a:lnTo>
                      <a:lnTo>
                        <a:pt x="8021" y="24063"/>
                      </a:lnTo>
                      <a:cubicBezTo>
                        <a:pt x="5347" y="414421"/>
                        <a:pt x="2674" y="804779"/>
                        <a:pt x="0" y="1195137"/>
                      </a:cubicBezTo>
                      <a:close/>
                    </a:path>
                  </a:pathLst>
                </a:cu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72" name="Freeform 1071"/>
                <p:cNvSpPr/>
                <p:nvPr/>
              </p:nvSpPr>
              <p:spPr bwMode="auto">
                <a:xfrm>
                  <a:off x="6160169" y="2895599"/>
                  <a:ext cx="2494548" cy="858253"/>
                </a:xfrm>
                <a:custGeom>
                  <a:avLst/>
                  <a:gdLst>
                    <a:gd name="connsiteX0" fmla="*/ 0 w 2574758"/>
                    <a:gd name="connsiteY0" fmla="*/ 617621 h 898358"/>
                    <a:gd name="connsiteX1" fmla="*/ 866274 w 2574758"/>
                    <a:gd name="connsiteY1" fmla="*/ 898358 h 898358"/>
                    <a:gd name="connsiteX2" fmla="*/ 2574758 w 2574758"/>
                    <a:gd name="connsiteY2" fmla="*/ 441158 h 898358"/>
                    <a:gd name="connsiteX3" fmla="*/ 2318084 w 2574758"/>
                    <a:gd name="connsiteY3" fmla="*/ 280737 h 898358"/>
                    <a:gd name="connsiteX4" fmla="*/ 1989221 w 2574758"/>
                    <a:gd name="connsiteY4" fmla="*/ 144379 h 898358"/>
                    <a:gd name="connsiteX5" fmla="*/ 1596189 w 2574758"/>
                    <a:gd name="connsiteY5" fmla="*/ 40105 h 898358"/>
                    <a:gd name="connsiteX6" fmla="*/ 1331495 w 2574758"/>
                    <a:gd name="connsiteY6" fmla="*/ 0 h 898358"/>
                    <a:gd name="connsiteX7" fmla="*/ 80210 w 2574758"/>
                    <a:gd name="connsiteY7" fmla="*/ 521368 h 898358"/>
                    <a:gd name="connsiteX8" fmla="*/ 0 w 2574758"/>
                    <a:gd name="connsiteY8" fmla="*/ 617621 h 898358"/>
                    <a:gd name="connsiteX0" fmla="*/ 0 w 2574758"/>
                    <a:gd name="connsiteY0" fmla="*/ 577517 h 858254"/>
                    <a:gd name="connsiteX1" fmla="*/ 866274 w 2574758"/>
                    <a:gd name="connsiteY1" fmla="*/ 858254 h 858254"/>
                    <a:gd name="connsiteX2" fmla="*/ 2574758 w 2574758"/>
                    <a:gd name="connsiteY2" fmla="*/ 401054 h 858254"/>
                    <a:gd name="connsiteX3" fmla="*/ 2318084 w 2574758"/>
                    <a:gd name="connsiteY3" fmla="*/ 240633 h 858254"/>
                    <a:gd name="connsiteX4" fmla="*/ 1989221 w 2574758"/>
                    <a:gd name="connsiteY4" fmla="*/ 104275 h 858254"/>
                    <a:gd name="connsiteX5" fmla="*/ 1596189 w 2574758"/>
                    <a:gd name="connsiteY5" fmla="*/ 1 h 858254"/>
                    <a:gd name="connsiteX6" fmla="*/ 1382188 w 2574758"/>
                    <a:gd name="connsiteY6" fmla="*/ 27486 h 858254"/>
                    <a:gd name="connsiteX7" fmla="*/ 80210 w 2574758"/>
                    <a:gd name="connsiteY7" fmla="*/ 481264 h 858254"/>
                    <a:gd name="connsiteX8" fmla="*/ 0 w 2574758"/>
                    <a:gd name="connsiteY8" fmla="*/ 577517 h 858254"/>
                    <a:gd name="connsiteX0" fmla="*/ 4276 w 2494547"/>
                    <a:gd name="connsiteY0" fmla="*/ 560618 h 858254"/>
                    <a:gd name="connsiteX1" fmla="*/ 786063 w 2494547"/>
                    <a:gd name="connsiteY1" fmla="*/ 858254 h 858254"/>
                    <a:gd name="connsiteX2" fmla="*/ 2494547 w 2494547"/>
                    <a:gd name="connsiteY2" fmla="*/ 401054 h 858254"/>
                    <a:gd name="connsiteX3" fmla="*/ 2237873 w 2494547"/>
                    <a:gd name="connsiteY3" fmla="*/ 240633 h 858254"/>
                    <a:gd name="connsiteX4" fmla="*/ 1909010 w 2494547"/>
                    <a:gd name="connsiteY4" fmla="*/ 104275 h 858254"/>
                    <a:gd name="connsiteX5" fmla="*/ 1515978 w 2494547"/>
                    <a:gd name="connsiteY5" fmla="*/ 1 h 858254"/>
                    <a:gd name="connsiteX6" fmla="*/ 1301977 w 2494547"/>
                    <a:gd name="connsiteY6" fmla="*/ 27486 h 858254"/>
                    <a:gd name="connsiteX7" fmla="*/ -1 w 2494547"/>
                    <a:gd name="connsiteY7" fmla="*/ 481264 h 858254"/>
                    <a:gd name="connsiteX8" fmla="*/ 4276 w 2494547"/>
                    <a:gd name="connsiteY8" fmla="*/ 560618 h 8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4547" h="858254">
                      <a:moveTo>
                        <a:pt x="4276" y="560618"/>
                      </a:moveTo>
                      <a:lnTo>
                        <a:pt x="786063" y="858254"/>
                      </a:lnTo>
                      <a:lnTo>
                        <a:pt x="2494547" y="401054"/>
                      </a:lnTo>
                      <a:lnTo>
                        <a:pt x="2237873" y="240633"/>
                      </a:lnTo>
                      <a:lnTo>
                        <a:pt x="1909010" y="104275"/>
                      </a:lnTo>
                      <a:lnTo>
                        <a:pt x="1515978" y="1"/>
                      </a:lnTo>
                      <a:lnTo>
                        <a:pt x="1301977" y="27486"/>
                      </a:lnTo>
                      <a:lnTo>
                        <a:pt x="-1" y="481264"/>
                      </a:lnTo>
                      <a:lnTo>
                        <a:pt x="4276" y="560618"/>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23" name="Rectangle 1022"/>
              <p:cNvSpPr/>
              <p:nvPr/>
            </p:nvSpPr>
            <p:spPr bwMode="auto">
              <a:xfrm>
                <a:off x="5126653" y="2417576"/>
                <a:ext cx="207137" cy="7534439"/>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19" name="Trapezoid 1018"/>
            <p:cNvSpPr/>
            <p:nvPr/>
          </p:nvSpPr>
          <p:spPr bwMode="auto">
            <a:xfrm rot="21444336">
              <a:off x="5766227" y="1376335"/>
              <a:ext cx="2027694" cy="3161092"/>
            </a:xfrm>
            <a:prstGeom prst="trapezoid">
              <a:avLst>
                <a:gd name="adj" fmla="val 22916"/>
              </a:avLst>
            </a:prstGeom>
            <a:gradFill flip="none" rotWithShape="1">
              <a:gsLst>
                <a:gs pos="50000">
                  <a:schemeClr val="bg1">
                    <a:alpha val="19000"/>
                  </a:schemeClr>
                </a:gs>
                <a:gs pos="0">
                  <a:schemeClr val="bg1">
                    <a:alpha val="0"/>
                  </a:schemeClr>
                </a:gs>
                <a:gs pos="100000">
                  <a:schemeClr val="bg1">
                    <a:alpha val="31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626" name="Group 625"/>
          <p:cNvGrpSpPr>
            <a:grpSpLocks noChangeAspect="1"/>
          </p:cNvGrpSpPr>
          <p:nvPr/>
        </p:nvGrpSpPr>
        <p:grpSpPr>
          <a:xfrm>
            <a:off x="2810487" y="4180169"/>
            <a:ext cx="87475" cy="223868"/>
            <a:chOff x="-3051175" y="-1057275"/>
            <a:chExt cx="2679700" cy="6858000"/>
          </a:xfrm>
        </p:grpSpPr>
        <p:sp>
          <p:nvSpPr>
            <p:cNvPr id="627"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628"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078" name="Group 1077"/>
          <p:cNvGrpSpPr/>
          <p:nvPr/>
        </p:nvGrpSpPr>
        <p:grpSpPr>
          <a:xfrm rot="9304593" flipH="1">
            <a:off x="3405507" y="3586069"/>
            <a:ext cx="93936" cy="152841"/>
            <a:chOff x="2658904" y="3122439"/>
            <a:chExt cx="81472" cy="132564"/>
          </a:xfrm>
          <a:solidFill>
            <a:schemeClr val="bg1"/>
          </a:solidFill>
        </p:grpSpPr>
        <p:sp>
          <p:nvSpPr>
            <p:cNvPr id="107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8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22"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09" name="Group 1008"/>
          <p:cNvGrpSpPr/>
          <p:nvPr/>
        </p:nvGrpSpPr>
        <p:grpSpPr>
          <a:xfrm>
            <a:off x="212868" y="179809"/>
            <a:ext cx="528555" cy="752153"/>
            <a:chOff x="212868" y="179809"/>
            <a:chExt cx="528555" cy="752153"/>
          </a:xfrm>
        </p:grpSpPr>
        <p:sp>
          <p:nvSpPr>
            <p:cNvPr id="1010"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011" name="Group 1010"/>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1012"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13"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81"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82"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83"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86"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87"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1088"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2564544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72" name="Rectangle 1171"/>
          <p:cNvSpPr/>
          <p:nvPr/>
        </p:nvSpPr>
        <p:spPr bwMode="auto">
          <a:xfrm>
            <a:off x="220523" y="2988228"/>
            <a:ext cx="889432" cy="43728"/>
          </a:xfrm>
          <a:prstGeom prst="rect">
            <a:avLst/>
          </a:prstGeom>
          <a:solidFill>
            <a:srgbClr val="005A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151" name="Group 1150"/>
          <p:cNvGrpSpPr/>
          <p:nvPr/>
        </p:nvGrpSpPr>
        <p:grpSpPr>
          <a:xfrm flipH="1">
            <a:off x="295018" y="2734725"/>
            <a:ext cx="542897" cy="213158"/>
            <a:chOff x="1666793" y="1822148"/>
            <a:chExt cx="8612041" cy="3073935"/>
          </a:xfrm>
        </p:grpSpPr>
        <p:grpSp>
          <p:nvGrpSpPr>
            <p:cNvPr id="1152" name="Group 1151"/>
            <p:cNvGrpSpPr/>
            <p:nvPr/>
          </p:nvGrpSpPr>
          <p:grpSpPr>
            <a:xfrm>
              <a:off x="1666793" y="1822148"/>
              <a:ext cx="8612041" cy="3073935"/>
              <a:chOff x="1666793" y="1822148"/>
              <a:chExt cx="8612041" cy="3073935"/>
            </a:xfrm>
          </p:grpSpPr>
          <p:sp>
            <p:nvSpPr>
              <p:cNvPr id="1154" name="Freeform 1153"/>
              <p:cNvSpPr/>
              <p:nvPr/>
            </p:nvSpPr>
            <p:spPr bwMode="auto">
              <a:xfrm>
                <a:off x="1676932" y="1822148"/>
                <a:ext cx="8601902" cy="2717800"/>
              </a:xfrm>
              <a:custGeom>
                <a:avLst/>
                <a:gdLst>
                  <a:gd name="connsiteX0" fmla="*/ 286034 w 8601902"/>
                  <a:gd name="connsiteY0" fmla="*/ 2657323 h 2717800"/>
                  <a:gd name="connsiteX1" fmla="*/ 378563 w 8601902"/>
                  <a:gd name="connsiteY1" fmla="*/ 2679095 h 2717800"/>
                  <a:gd name="connsiteX2" fmla="*/ 563620 w 8601902"/>
                  <a:gd name="connsiteY2" fmla="*/ 2700866 h 2717800"/>
                  <a:gd name="connsiteX3" fmla="*/ 634377 w 8601902"/>
                  <a:gd name="connsiteY3" fmla="*/ 2717195 h 2717800"/>
                  <a:gd name="connsiteX4" fmla="*/ 634377 w 8601902"/>
                  <a:gd name="connsiteY4" fmla="*/ 2679095 h 2717800"/>
                  <a:gd name="connsiteX5" fmla="*/ 618049 w 8601902"/>
                  <a:gd name="connsiteY5" fmla="*/ 2504923 h 2717800"/>
                  <a:gd name="connsiteX6" fmla="*/ 628934 w 8601902"/>
                  <a:gd name="connsiteY6" fmla="*/ 2336195 h 2717800"/>
                  <a:gd name="connsiteX7" fmla="*/ 667034 w 8601902"/>
                  <a:gd name="connsiteY7" fmla="*/ 2162023 h 2717800"/>
                  <a:gd name="connsiteX8" fmla="*/ 748677 w 8601902"/>
                  <a:gd name="connsiteY8" fmla="*/ 2004181 h 2717800"/>
                  <a:gd name="connsiteX9" fmla="*/ 857534 w 8601902"/>
                  <a:gd name="connsiteY9" fmla="*/ 1878995 h 2717800"/>
                  <a:gd name="connsiteX10" fmla="*/ 1042592 w 8601902"/>
                  <a:gd name="connsiteY10" fmla="*/ 1753809 h 2717800"/>
                  <a:gd name="connsiteX11" fmla="*/ 1243977 w 8601902"/>
                  <a:gd name="connsiteY11" fmla="*/ 1693938 h 2717800"/>
                  <a:gd name="connsiteX12" fmla="*/ 1450806 w 8601902"/>
                  <a:gd name="connsiteY12" fmla="*/ 1693938 h 2717800"/>
                  <a:gd name="connsiteX13" fmla="*/ 1635863 w 8601902"/>
                  <a:gd name="connsiteY13" fmla="*/ 1710266 h 2717800"/>
                  <a:gd name="connsiteX14" fmla="*/ 1739277 w 8601902"/>
                  <a:gd name="connsiteY14" fmla="*/ 1753809 h 2717800"/>
                  <a:gd name="connsiteX15" fmla="*/ 1929777 w 8601902"/>
                  <a:gd name="connsiteY15" fmla="*/ 1862666 h 2717800"/>
                  <a:gd name="connsiteX16" fmla="*/ 2049520 w 8601902"/>
                  <a:gd name="connsiteY16" fmla="*/ 2015066 h 2717800"/>
                  <a:gd name="connsiteX17" fmla="*/ 2152934 w 8601902"/>
                  <a:gd name="connsiteY17" fmla="*/ 2243666 h 2717800"/>
                  <a:gd name="connsiteX18" fmla="*/ 2185592 w 8601902"/>
                  <a:gd name="connsiteY18" fmla="*/ 2406952 h 2717800"/>
                  <a:gd name="connsiteX19" fmla="*/ 2212806 w 8601902"/>
                  <a:gd name="connsiteY19" fmla="*/ 2575681 h 2717800"/>
                  <a:gd name="connsiteX20" fmla="*/ 2218249 w 8601902"/>
                  <a:gd name="connsiteY20" fmla="*/ 2668209 h 2717800"/>
                  <a:gd name="connsiteX21" fmla="*/ 2240020 w 8601902"/>
                  <a:gd name="connsiteY21" fmla="*/ 2668209 h 2717800"/>
                  <a:gd name="connsiteX22" fmla="*/ 2523049 w 8601902"/>
                  <a:gd name="connsiteY22" fmla="*/ 2662766 h 2717800"/>
                  <a:gd name="connsiteX23" fmla="*/ 3274163 w 8601902"/>
                  <a:gd name="connsiteY23" fmla="*/ 2651881 h 2717800"/>
                  <a:gd name="connsiteX24" fmla="*/ 3949077 w 8601902"/>
                  <a:gd name="connsiteY24" fmla="*/ 2646438 h 2717800"/>
                  <a:gd name="connsiteX25" fmla="*/ 5113849 w 8601902"/>
                  <a:gd name="connsiteY25" fmla="*/ 2630109 h 2717800"/>
                  <a:gd name="connsiteX26" fmla="*/ 5799649 w 8601902"/>
                  <a:gd name="connsiteY26" fmla="*/ 2613781 h 2717800"/>
                  <a:gd name="connsiteX27" fmla="*/ 5930277 w 8601902"/>
                  <a:gd name="connsiteY27" fmla="*/ 2613781 h 2717800"/>
                  <a:gd name="connsiteX28" fmla="*/ 5930277 w 8601902"/>
                  <a:gd name="connsiteY28" fmla="*/ 2586566 h 2717800"/>
                  <a:gd name="connsiteX29" fmla="*/ 5941163 w 8601902"/>
                  <a:gd name="connsiteY29" fmla="*/ 2450495 h 2717800"/>
                  <a:gd name="connsiteX30" fmla="*/ 5973820 w 8601902"/>
                  <a:gd name="connsiteY30" fmla="*/ 2243666 h 2717800"/>
                  <a:gd name="connsiteX31" fmla="*/ 6055463 w 8601902"/>
                  <a:gd name="connsiteY31" fmla="*/ 2015066 h 2717800"/>
                  <a:gd name="connsiteX32" fmla="*/ 6202420 w 8601902"/>
                  <a:gd name="connsiteY32" fmla="*/ 1835452 h 2717800"/>
                  <a:gd name="connsiteX33" fmla="*/ 6360263 w 8601902"/>
                  <a:gd name="connsiteY33" fmla="*/ 1742923 h 2717800"/>
                  <a:gd name="connsiteX34" fmla="*/ 6534434 w 8601902"/>
                  <a:gd name="connsiteY34" fmla="*/ 1672166 h 2717800"/>
                  <a:gd name="connsiteX35" fmla="*/ 6801134 w 8601902"/>
                  <a:gd name="connsiteY35" fmla="*/ 1650395 h 2717800"/>
                  <a:gd name="connsiteX36" fmla="*/ 7029734 w 8601902"/>
                  <a:gd name="connsiteY36" fmla="*/ 1704823 h 2717800"/>
                  <a:gd name="connsiteX37" fmla="*/ 7193020 w 8601902"/>
                  <a:gd name="connsiteY37" fmla="*/ 1781023 h 2717800"/>
                  <a:gd name="connsiteX38" fmla="*/ 7296434 w 8601902"/>
                  <a:gd name="connsiteY38" fmla="*/ 1878995 h 2717800"/>
                  <a:gd name="connsiteX39" fmla="*/ 7334534 w 8601902"/>
                  <a:gd name="connsiteY39" fmla="*/ 1927981 h 2717800"/>
                  <a:gd name="connsiteX40" fmla="*/ 7410734 w 8601902"/>
                  <a:gd name="connsiteY40" fmla="*/ 2025952 h 2717800"/>
                  <a:gd name="connsiteX41" fmla="*/ 7454277 w 8601902"/>
                  <a:gd name="connsiteY41" fmla="*/ 2134809 h 2717800"/>
                  <a:gd name="connsiteX42" fmla="*/ 7492377 w 8601902"/>
                  <a:gd name="connsiteY42" fmla="*/ 2243666 h 2717800"/>
                  <a:gd name="connsiteX43" fmla="*/ 7503263 w 8601902"/>
                  <a:gd name="connsiteY43" fmla="*/ 2347081 h 2717800"/>
                  <a:gd name="connsiteX44" fmla="*/ 7492377 w 8601902"/>
                  <a:gd name="connsiteY44" fmla="*/ 2445052 h 2717800"/>
                  <a:gd name="connsiteX45" fmla="*/ 7481492 w 8601902"/>
                  <a:gd name="connsiteY45" fmla="*/ 2504923 h 2717800"/>
                  <a:gd name="connsiteX46" fmla="*/ 7508706 w 8601902"/>
                  <a:gd name="connsiteY46" fmla="*/ 2510366 h 2717800"/>
                  <a:gd name="connsiteX47" fmla="*/ 7742749 w 8601902"/>
                  <a:gd name="connsiteY47" fmla="*/ 2466823 h 2717800"/>
                  <a:gd name="connsiteX48" fmla="*/ 7960463 w 8601902"/>
                  <a:gd name="connsiteY48" fmla="*/ 2439609 h 2717800"/>
                  <a:gd name="connsiteX49" fmla="*/ 8297920 w 8601902"/>
                  <a:gd name="connsiteY49" fmla="*/ 2379738 h 2717800"/>
                  <a:gd name="connsiteX50" fmla="*/ 8504749 w 8601902"/>
                  <a:gd name="connsiteY50" fmla="*/ 2303538 h 2717800"/>
                  <a:gd name="connsiteX51" fmla="*/ 8580949 w 8601902"/>
                  <a:gd name="connsiteY51" fmla="*/ 2134809 h 2717800"/>
                  <a:gd name="connsiteX52" fmla="*/ 8597277 w 8601902"/>
                  <a:gd name="connsiteY52" fmla="*/ 1922538 h 2717800"/>
                  <a:gd name="connsiteX53" fmla="*/ 8510192 w 8601902"/>
                  <a:gd name="connsiteY53" fmla="*/ 1672166 h 2717800"/>
                  <a:gd name="connsiteX54" fmla="*/ 8417663 w 8601902"/>
                  <a:gd name="connsiteY54" fmla="*/ 1449009 h 2717800"/>
                  <a:gd name="connsiteX55" fmla="*/ 8461206 w 8601902"/>
                  <a:gd name="connsiteY55" fmla="*/ 1372809 h 2717800"/>
                  <a:gd name="connsiteX56" fmla="*/ 8450320 w 8601902"/>
                  <a:gd name="connsiteY56" fmla="*/ 1078895 h 2717800"/>
                  <a:gd name="connsiteX57" fmla="*/ 8276149 w 8601902"/>
                  <a:gd name="connsiteY57" fmla="*/ 790423 h 2717800"/>
                  <a:gd name="connsiteX58" fmla="*/ 8080206 w 8601902"/>
                  <a:gd name="connsiteY58" fmla="*/ 534609 h 2717800"/>
                  <a:gd name="connsiteX59" fmla="*/ 7938692 w 8601902"/>
                  <a:gd name="connsiteY59" fmla="*/ 365881 h 2717800"/>
                  <a:gd name="connsiteX60" fmla="*/ 7900592 w 8601902"/>
                  <a:gd name="connsiteY60" fmla="*/ 284238 h 2717800"/>
                  <a:gd name="connsiteX61" fmla="*/ 7889706 w 8601902"/>
                  <a:gd name="connsiteY61" fmla="*/ 120952 h 2717800"/>
                  <a:gd name="connsiteX62" fmla="*/ 7857049 w 8601902"/>
                  <a:gd name="connsiteY62" fmla="*/ 99181 h 2717800"/>
                  <a:gd name="connsiteX63" fmla="*/ 7818949 w 8601902"/>
                  <a:gd name="connsiteY63" fmla="*/ 93738 h 2717800"/>
                  <a:gd name="connsiteX64" fmla="*/ 7394406 w 8601902"/>
                  <a:gd name="connsiteY64" fmla="*/ 33866 h 2717800"/>
                  <a:gd name="connsiteX65" fmla="*/ 6964420 w 8601902"/>
                  <a:gd name="connsiteY65" fmla="*/ 17538 h 2717800"/>
                  <a:gd name="connsiteX66" fmla="*/ 6567092 w 8601902"/>
                  <a:gd name="connsiteY66" fmla="*/ 1209 h 2717800"/>
                  <a:gd name="connsiteX67" fmla="*/ 6147992 w 8601902"/>
                  <a:gd name="connsiteY67" fmla="*/ 1209 h 2717800"/>
                  <a:gd name="connsiteX68" fmla="*/ 5571049 w 8601902"/>
                  <a:gd name="connsiteY68" fmla="*/ 1209 h 2717800"/>
                  <a:gd name="connsiteX69" fmla="*/ 5026763 w 8601902"/>
                  <a:gd name="connsiteY69" fmla="*/ 17538 h 2717800"/>
                  <a:gd name="connsiteX70" fmla="*/ 4487920 w 8601902"/>
                  <a:gd name="connsiteY70" fmla="*/ 39309 h 2717800"/>
                  <a:gd name="connsiteX71" fmla="*/ 4123249 w 8601902"/>
                  <a:gd name="connsiteY71" fmla="*/ 61081 h 2717800"/>
                  <a:gd name="connsiteX72" fmla="*/ 3731363 w 8601902"/>
                  <a:gd name="connsiteY72" fmla="*/ 110066 h 2717800"/>
                  <a:gd name="connsiteX73" fmla="*/ 3497320 w 8601902"/>
                  <a:gd name="connsiteY73" fmla="*/ 148166 h 2717800"/>
                  <a:gd name="connsiteX74" fmla="*/ 3263277 w 8601902"/>
                  <a:gd name="connsiteY74" fmla="*/ 208038 h 2717800"/>
                  <a:gd name="connsiteX75" fmla="*/ 2980249 w 8601902"/>
                  <a:gd name="connsiteY75" fmla="*/ 306009 h 2717800"/>
                  <a:gd name="connsiteX76" fmla="*/ 2566592 w 8601902"/>
                  <a:gd name="connsiteY76" fmla="*/ 512838 h 2717800"/>
                  <a:gd name="connsiteX77" fmla="*/ 2185592 w 8601902"/>
                  <a:gd name="connsiteY77" fmla="*/ 730552 h 2717800"/>
                  <a:gd name="connsiteX78" fmla="*/ 1815477 w 8601902"/>
                  <a:gd name="connsiteY78" fmla="*/ 942823 h 2717800"/>
                  <a:gd name="connsiteX79" fmla="*/ 1673963 w 8601902"/>
                  <a:gd name="connsiteY79" fmla="*/ 964595 h 2717800"/>
                  <a:gd name="connsiteX80" fmla="*/ 1309292 w 8601902"/>
                  <a:gd name="connsiteY80" fmla="*/ 1068009 h 2717800"/>
                  <a:gd name="connsiteX81" fmla="*/ 999049 w 8601902"/>
                  <a:gd name="connsiteY81" fmla="*/ 1155095 h 2717800"/>
                  <a:gd name="connsiteX82" fmla="*/ 656149 w 8601902"/>
                  <a:gd name="connsiteY82" fmla="*/ 1274838 h 2717800"/>
                  <a:gd name="connsiteX83" fmla="*/ 460206 w 8601902"/>
                  <a:gd name="connsiteY83" fmla="*/ 1351038 h 2717800"/>
                  <a:gd name="connsiteX84" fmla="*/ 329577 w 8601902"/>
                  <a:gd name="connsiteY84" fmla="*/ 1405466 h 2717800"/>
                  <a:gd name="connsiteX85" fmla="*/ 220720 w 8601902"/>
                  <a:gd name="connsiteY85" fmla="*/ 1497995 h 2717800"/>
                  <a:gd name="connsiteX86" fmla="*/ 122749 w 8601902"/>
                  <a:gd name="connsiteY86" fmla="*/ 1693938 h 2717800"/>
                  <a:gd name="connsiteX87" fmla="*/ 84649 w 8601902"/>
                  <a:gd name="connsiteY87" fmla="*/ 1846338 h 2717800"/>
                  <a:gd name="connsiteX88" fmla="*/ 3006 w 8601902"/>
                  <a:gd name="connsiteY88" fmla="*/ 2004181 h 2717800"/>
                  <a:gd name="connsiteX89" fmla="*/ 19334 w 8601902"/>
                  <a:gd name="connsiteY89" fmla="*/ 2113038 h 2717800"/>
                  <a:gd name="connsiteX90" fmla="*/ 35663 w 8601902"/>
                  <a:gd name="connsiteY90" fmla="*/ 2254552 h 2717800"/>
                  <a:gd name="connsiteX91" fmla="*/ 79206 w 8601902"/>
                  <a:gd name="connsiteY91" fmla="*/ 2292652 h 2717800"/>
                  <a:gd name="connsiteX92" fmla="*/ 106420 w 8601902"/>
                  <a:gd name="connsiteY92" fmla="*/ 2423281 h 2717800"/>
                  <a:gd name="connsiteX93" fmla="*/ 84649 w 8601902"/>
                  <a:gd name="connsiteY93" fmla="*/ 2494038 h 2717800"/>
                  <a:gd name="connsiteX94" fmla="*/ 139077 w 8601902"/>
                  <a:gd name="connsiteY94" fmla="*/ 2597452 h 2717800"/>
                  <a:gd name="connsiteX95" fmla="*/ 286034 w 8601902"/>
                  <a:gd name="connsiteY95" fmla="*/ 2657323 h 271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601902" h="2717800">
                    <a:moveTo>
                      <a:pt x="286034" y="2657323"/>
                    </a:moveTo>
                    <a:cubicBezTo>
                      <a:pt x="325948" y="2670930"/>
                      <a:pt x="332299" y="2671838"/>
                      <a:pt x="378563" y="2679095"/>
                    </a:cubicBezTo>
                    <a:cubicBezTo>
                      <a:pt x="424827" y="2686352"/>
                      <a:pt x="520984" y="2694516"/>
                      <a:pt x="563620" y="2700866"/>
                    </a:cubicBezTo>
                    <a:cubicBezTo>
                      <a:pt x="606256" y="2707216"/>
                      <a:pt x="622584" y="2720823"/>
                      <a:pt x="634377" y="2717195"/>
                    </a:cubicBezTo>
                    <a:cubicBezTo>
                      <a:pt x="646170" y="2713567"/>
                      <a:pt x="637098" y="2714474"/>
                      <a:pt x="634377" y="2679095"/>
                    </a:cubicBezTo>
                    <a:cubicBezTo>
                      <a:pt x="631656" y="2643716"/>
                      <a:pt x="618956" y="2562073"/>
                      <a:pt x="618049" y="2504923"/>
                    </a:cubicBezTo>
                    <a:cubicBezTo>
                      <a:pt x="617142" y="2447773"/>
                      <a:pt x="620770" y="2393345"/>
                      <a:pt x="628934" y="2336195"/>
                    </a:cubicBezTo>
                    <a:cubicBezTo>
                      <a:pt x="637098" y="2279045"/>
                      <a:pt x="647077" y="2217359"/>
                      <a:pt x="667034" y="2162023"/>
                    </a:cubicBezTo>
                    <a:cubicBezTo>
                      <a:pt x="686991" y="2106687"/>
                      <a:pt x="716927" y="2051352"/>
                      <a:pt x="748677" y="2004181"/>
                    </a:cubicBezTo>
                    <a:cubicBezTo>
                      <a:pt x="780427" y="1957010"/>
                      <a:pt x="808548" y="1920724"/>
                      <a:pt x="857534" y="1878995"/>
                    </a:cubicBezTo>
                    <a:cubicBezTo>
                      <a:pt x="906520" y="1837266"/>
                      <a:pt x="978185" y="1784652"/>
                      <a:pt x="1042592" y="1753809"/>
                    </a:cubicBezTo>
                    <a:cubicBezTo>
                      <a:pt x="1106999" y="1722966"/>
                      <a:pt x="1175941" y="1703917"/>
                      <a:pt x="1243977" y="1693938"/>
                    </a:cubicBezTo>
                    <a:cubicBezTo>
                      <a:pt x="1312013" y="1683959"/>
                      <a:pt x="1385492" y="1691217"/>
                      <a:pt x="1450806" y="1693938"/>
                    </a:cubicBezTo>
                    <a:cubicBezTo>
                      <a:pt x="1516120" y="1696659"/>
                      <a:pt x="1587785" y="1700288"/>
                      <a:pt x="1635863" y="1710266"/>
                    </a:cubicBezTo>
                    <a:cubicBezTo>
                      <a:pt x="1683941" y="1720244"/>
                      <a:pt x="1690291" y="1728409"/>
                      <a:pt x="1739277" y="1753809"/>
                    </a:cubicBezTo>
                    <a:cubicBezTo>
                      <a:pt x="1788263" y="1779209"/>
                      <a:pt x="1878070" y="1819123"/>
                      <a:pt x="1929777" y="1862666"/>
                    </a:cubicBezTo>
                    <a:cubicBezTo>
                      <a:pt x="1981484" y="1906209"/>
                      <a:pt x="2012327" y="1951566"/>
                      <a:pt x="2049520" y="2015066"/>
                    </a:cubicBezTo>
                    <a:cubicBezTo>
                      <a:pt x="2086713" y="2078566"/>
                      <a:pt x="2130255" y="2178352"/>
                      <a:pt x="2152934" y="2243666"/>
                    </a:cubicBezTo>
                    <a:cubicBezTo>
                      <a:pt x="2175613" y="2308980"/>
                      <a:pt x="2175613" y="2351616"/>
                      <a:pt x="2185592" y="2406952"/>
                    </a:cubicBezTo>
                    <a:cubicBezTo>
                      <a:pt x="2195571" y="2462288"/>
                      <a:pt x="2207363" y="2532138"/>
                      <a:pt x="2212806" y="2575681"/>
                    </a:cubicBezTo>
                    <a:cubicBezTo>
                      <a:pt x="2218249" y="2619224"/>
                      <a:pt x="2213713" y="2652788"/>
                      <a:pt x="2218249" y="2668209"/>
                    </a:cubicBezTo>
                    <a:cubicBezTo>
                      <a:pt x="2222785" y="2683630"/>
                      <a:pt x="2240020" y="2668209"/>
                      <a:pt x="2240020" y="2668209"/>
                    </a:cubicBezTo>
                    <a:lnTo>
                      <a:pt x="2523049" y="2662766"/>
                    </a:lnTo>
                    <a:lnTo>
                      <a:pt x="3274163" y="2651881"/>
                    </a:lnTo>
                    <a:lnTo>
                      <a:pt x="3949077" y="2646438"/>
                    </a:lnTo>
                    <a:lnTo>
                      <a:pt x="5113849" y="2630109"/>
                    </a:lnTo>
                    <a:lnTo>
                      <a:pt x="5799649" y="2613781"/>
                    </a:lnTo>
                    <a:cubicBezTo>
                      <a:pt x="5935720" y="2611060"/>
                      <a:pt x="5908506" y="2618317"/>
                      <a:pt x="5930277" y="2613781"/>
                    </a:cubicBezTo>
                    <a:cubicBezTo>
                      <a:pt x="5952048" y="2609245"/>
                      <a:pt x="5928463" y="2613780"/>
                      <a:pt x="5930277" y="2586566"/>
                    </a:cubicBezTo>
                    <a:cubicBezTo>
                      <a:pt x="5932091" y="2559352"/>
                      <a:pt x="5933906" y="2507645"/>
                      <a:pt x="5941163" y="2450495"/>
                    </a:cubicBezTo>
                    <a:cubicBezTo>
                      <a:pt x="5948420" y="2393345"/>
                      <a:pt x="5954770" y="2316238"/>
                      <a:pt x="5973820" y="2243666"/>
                    </a:cubicBezTo>
                    <a:cubicBezTo>
                      <a:pt x="5992870" y="2171094"/>
                      <a:pt x="6017363" y="2083102"/>
                      <a:pt x="6055463" y="2015066"/>
                    </a:cubicBezTo>
                    <a:cubicBezTo>
                      <a:pt x="6093563" y="1947030"/>
                      <a:pt x="6151620" y="1880809"/>
                      <a:pt x="6202420" y="1835452"/>
                    </a:cubicBezTo>
                    <a:cubicBezTo>
                      <a:pt x="6253220" y="1790095"/>
                      <a:pt x="6304927" y="1770137"/>
                      <a:pt x="6360263" y="1742923"/>
                    </a:cubicBezTo>
                    <a:cubicBezTo>
                      <a:pt x="6415599" y="1715709"/>
                      <a:pt x="6460956" y="1687587"/>
                      <a:pt x="6534434" y="1672166"/>
                    </a:cubicBezTo>
                    <a:cubicBezTo>
                      <a:pt x="6607912" y="1656745"/>
                      <a:pt x="6718584" y="1644952"/>
                      <a:pt x="6801134" y="1650395"/>
                    </a:cubicBezTo>
                    <a:cubicBezTo>
                      <a:pt x="6883684" y="1655838"/>
                      <a:pt x="6964420" y="1683052"/>
                      <a:pt x="7029734" y="1704823"/>
                    </a:cubicBezTo>
                    <a:cubicBezTo>
                      <a:pt x="7095048" y="1726594"/>
                      <a:pt x="7148570" y="1751994"/>
                      <a:pt x="7193020" y="1781023"/>
                    </a:cubicBezTo>
                    <a:cubicBezTo>
                      <a:pt x="7237470" y="1810052"/>
                      <a:pt x="7272848" y="1854502"/>
                      <a:pt x="7296434" y="1878995"/>
                    </a:cubicBezTo>
                    <a:cubicBezTo>
                      <a:pt x="7320020" y="1903488"/>
                      <a:pt x="7334534" y="1927981"/>
                      <a:pt x="7334534" y="1927981"/>
                    </a:cubicBezTo>
                    <a:cubicBezTo>
                      <a:pt x="7353584" y="1952474"/>
                      <a:pt x="7390777" y="1991481"/>
                      <a:pt x="7410734" y="2025952"/>
                    </a:cubicBezTo>
                    <a:cubicBezTo>
                      <a:pt x="7430691" y="2060423"/>
                      <a:pt x="7440670" y="2098523"/>
                      <a:pt x="7454277" y="2134809"/>
                    </a:cubicBezTo>
                    <a:cubicBezTo>
                      <a:pt x="7467884" y="2171095"/>
                      <a:pt x="7484213" y="2208287"/>
                      <a:pt x="7492377" y="2243666"/>
                    </a:cubicBezTo>
                    <a:cubicBezTo>
                      <a:pt x="7500541" y="2279045"/>
                      <a:pt x="7503263" y="2313517"/>
                      <a:pt x="7503263" y="2347081"/>
                    </a:cubicBezTo>
                    <a:cubicBezTo>
                      <a:pt x="7503263" y="2380645"/>
                      <a:pt x="7496005" y="2418745"/>
                      <a:pt x="7492377" y="2445052"/>
                    </a:cubicBezTo>
                    <a:cubicBezTo>
                      <a:pt x="7488749" y="2471359"/>
                      <a:pt x="7478771" y="2494037"/>
                      <a:pt x="7481492" y="2504923"/>
                    </a:cubicBezTo>
                    <a:cubicBezTo>
                      <a:pt x="7484213" y="2515809"/>
                      <a:pt x="7465163" y="2516716"/>
                      <a:pt x="7508706" y="2510366"/>
                    </a:cubicBezTo>
                    <a:cubicBezTo>
                      <a:pt x="7552249" y="2504016"/>
                      <a:pt x="7667456" y="2478616"/>
                      <a:pt x="7742749" y="2466823"/>
                    </a:cubicBezTo>
                    <a:cubicBezTo>
                      <a:pt x="7818042" y="2455030"/>
                      <a:pt x="7867935" y="2454123"/>
                      <a:pt x="7960463" y="2439609"/>
                    </a:cubicBezTo>
                    <a:cubicBezTo>
                      <a:pt x="8052991" y="2425095"/>
                      <a:pt x="8207206" y="2402416"/>
                      <a:pt x="8297920" y="2379738"/>
                    </a:cubicBezTo>
                    <a:cubicBezTo>
                      <a:pt x="8388634" y="2357060"/>
                      <a:pt x="8457578" y="2344359"/>
                      <a:pt x="8504749" y="2303538"/>
                    </a:cubicBezTo>
                    <a:cubicBezTo>
                      <a:pt x="8551920" y="2262717"/>
                      <a:pt x="8565528" y="2198309"/>
                      <a:pt x="8580949" y="2134809"/>
                    </a:cubicBezTo>
                    <a:cubicBezTo>
                      <a:pt x="8596370" y="2071309"/>
                      <a:pt x="8609070" y="1999645"/>
                      <a:pt x="8597277" y="1922538"/>
                    </a:cubicBezTo>
                    <a:cubicBezTo>
                      <a:pt x="8585484" y="1845431"/>
                      <a:pt x="8540128" y="1751087"/>
                      <a:pt x="8510192" y="1672166"/>
                    </a:cubicBezTo>
                    <a:cubicBezTo>
                      <a:pt x="8480256" y="1593244"/>
                      <a:pt x="8425827" y="1498902"/>
                      <a:pt x="8417663" y="1449009"/>
                    </a:cubicBezTo>
                    <a:cubicBezTo>
                      <a:pt x="8409499" y="1399116"/>
                      <a:pt x="8455763" y="1434495"/>
                      <a:pt x="8461206" y="1372809"/>
                    </a:cubicBezTo>
                    <a:cubicBezTo>
                      <a:pt x="8466649" y="1311123"/>
                      <a:pt x="8481163" y="1175959"/>
                      <a:pt x="8450320" y="1078895"/>
                    </a:cubicBezTo>
                    <a:cubicBezTo>
                      <a:pt x="8419477" y="981831"/>
                      <a:pt x="8337835" y="881137"/>
                      <a:pt x="8276149" y="790423"/>
                    </a:cubicBezTo>
                    <a:cubicBezTo>
                      <a:pt x="8214463" y="699709"/>
                      <a:pt x="8136449" y="605366"/>
                      <a:pt x="8080206" y="534609"/>
                    </a:cubicBezTo>
                    <a:cubicBezTo>
                      <a:pt x="8023963" y="463852"/>
                      <a:pt x="7968628" y="407609"/>
                      <a:pt x="7938692" y="365881"/>
                    </a:cubicBezTo>
                    <a:cubicBezTo>
                      <a:pt x="7908756" y="324153"/>
                      <a:pt x="7908756" y="325059"/>
                      <a:pt x="7900592" y="284238"/>
                    </a:cubicBezTo>
                    <a:cubicBezTo>
                      <a:pt x="7892428" y="243416"/>
                      <a:pt x="7896963" y="151795"/>
                      <a:pt x="7889706" y="120952"/>
                    </a:cubicBezTo>
                    <a:cubicBezTo>
                      <a:pt x="7882449" y="90109"/>
                      <a:pt x="7868842" y="103717"/>
                      <a:pt x="7857049" y="99181"/>
                    </a:cubicBezTo>
                    <a:cubicBezTo>
                      <a:pt x="7845256" y="94645"/>
                      <a:pt x="7818949" y="93738"/>
                      <a:pt x="7818949" y="93738"/>
                    </a:cubicBezTo>
                    <a:cubicBezTo>
                      <a:pt x="7741842" y="82852"/>
                      <a:pt x="7536827" y="46566"/>
                      <a:pt x="7394406" y="33866"/>
                    </a:cubicBezTo>
                    <a:cubicBezTo>
                      <a:pt x="7251985" y="21166"/>
                      <a:pt x="6964420" y="17538"/>
                      <a:pt x="6964420" y="17538"/>
                    </a:cubicBezTo>
                    <a:cubicBezTo>
                      <a:pt x="6826534" y="12095"/>
                      <a:pt x="6703163" y="3930"/>
                      <a:pt x="6567092" y="1209"/>
                    </a:cubicBezTo>
                    <a:cubicBezTo>
                      <a:pt x="6431021" y="-1512"/>
                      <a:pt x="6147992" y="1209"/>
                      <a:pt x="6147992" y="1209"/>
                    </a:cubicBezTo>
                    <a:lnTo>
                      <a:pt x="5571049" y="1209"/>
                    </a:lnTo>
                    <a:cubicBezTo>
                      <a:pt x="5384178" y="3930"/>
                      <a:pt x="5026763" y="17538"/>
                      <a:pt x="5026763" y="17538"/>
                    </a:cubicBezTo>
                    <a:lnTo>
                      <a:pt x="4487920" y="39309"/>
                    </a:lnTo>
                    <a:cubicBezTo>
                      <a:pt x="4337334" y="46566"/>
                      <a:pt x="4249342" y="49288"/>
                      <a:pt x="4123249" y="61081"/>
                    </a:cubicBezTo>
                    <a:cubicBezTo>
                      <a:pt x="3997156" y="72874"/>
                      <a:pt x="3835685" y="95552"/>
                      <a:pt x="3731363" y="110066"/>
                    </a:cubicBezTo>
                    <a:cubicBezTo>
                      <a:pt x="3627042" y="124580"/>
                      <a:pt x="3575334" y="131837"/>
                      <a:pt x="3497320" y="148166"/>
                    </a:cubicBezTo>
                    <a:cubicBezTo>
                      <a:pt x="3419306" y="164495"/>
                      <a:pt x="3349456" y="181731"/>
                      <a:pt x="3263277" y="208038"/>
                    </a:cubicBezTo>
                    <a:cubicBezTo>
                      <a:pt x="3177099" y="234345"/>
                      <a:pt x="3096363" y="255209"/>
                      <a:pt x="2980249" y="306009"/>
                    </a:cubicBezTo>
                    <a:cubicBezTo>
                      <a:pt x="2864135" y="356809"/>
                      <a:pt x="2699035" y="442081"/>
                      <a:pt x="2566592" y="512838"/>
                    </a:cubicBezTo>
                    <a:cubicBezTo>
                      <a:pt x="2434149" y="583595"/>
                      <a:pt x="2185592" y="730552"/>
                      <a:pt x="2185592" y="730552"/>
                    </a:cubicBezTo>
                    <a:cubicBezTo>
                      <a:pt x="2060406" y="802216"/>
                      <a:pt x="1900748" y="903816"/>
                      <a:pt x="1815477" y="942823"/>
                    </a:cubicBezTo>
                    <a:cubicBezTo>
                      <a:pt x="1730206" y="981830"/>
                      <a:pt x="1758327" y="943731"/>
                      <a:pt x="1673963" y="964595"/>
                    </a:cubicBezTo>
                    <a:cubicBezTo>
                      <a:pt x="1589599" y="985459"/>
                      <a:pt x="1309292" y="1068009"/>
                      <a:pt x="1309292" y="1068009"/>
                    </a:cubicBezTo>
                    <a:cubicBezTo>
                      <a:pt x="1196806" y="1099759"/>
                      <a:pt x="1107906" y="1120624"/>
                      <a:pt x="999049" y="1155095"/>
                    </a:cubicBezTo>
                    <a:cubicBezTo>
                      <a:pt x="890192" y="1189566"/>
                      <a:pt x="745956" y="1242181"/>
                      <a:pt x="656149" y="1274838"/>
                    </a:cubicBezTo>
                    <a:cubicBezTo>
                      <a:pt x="566342" y="1307495"/>
                      <a:pt x="514635" y="1329267"/>
                      <a:pt x="460206" y="1351038"/>
                    </a:cubicBezTo>
                    <a:cubicBezTo>
                      <a:pt x="405777" y="1372809"/>
                      <a:pt x="369491" y="1380973"/>
                      <a:pt x="329577" y="1405466"/>
                    </a:cubicBezTo>
                    <a:cubicBezTo>
                      <a:pt x="289663" y="1429959"/>
                      <a:pt x="255191" y="1449916"/>
                      <a:pt x="220720" y="1497995"/>
                    </a:cubicBezTo>
                    <a:cubicBezTo>
                      <a:pt x="186249" y="1546074"/>
                      <a:pt x="145427" y="1635881"/>
                      <a:pt x="122749" y="1693938"/>
                    </a:cubicBezTo>
                    <a:cubicBezTo>
                      <a:pt x="100071" y="1751995"/>
                      <a:pt x="104606" y="1794631"/>
                      <a:pt x="84649" y="1846338"/>
                    </a:cubicBezTo>
                    <a:cubicBezTo>
                      <a:pt x="64692" y="1898045"/>
                      <a:pt x="13892" y="1959731"/>
                      <a:pt x="3006" y="2004181"/>
                    </a:cubicBezTo>
                    <a:cubicBezTo>
                      <a:pt x="-7880" y="2048631"/>
                      <a:pt x="13891" y="2071309"/>
                      <a:pt x="19334" y="2113038"/>
                    </a:cubicBezTo>
                    <a:cubicBezTo>
                      <a:pt x="24777" y="2154767"/>
                      <a:pt x="25684" y="2224616"/>
                      <a:pt x="35663" y="2254552"/>
                    </a:cubicBezTo>
                    <a:cubicBezTo>
                      <a:pt x="45642" y="2284488"/>
                      <a:pt x="67413" y="2264531"/>
                      <a:pt x="79206" y="2292652"/>
                    </a:cubicBezTo>
                    <a:cubicBezTo>
                      <a:pt x="90999" y="2320773"/>
                      <a:pt x="105513" y="2389717"/>
                      <a:pt x="106420" y="2423281"/>
                    </a:cubicBezTo>
                    <a:cubicBezTo>
                      <a:pt x="107327" y="2456845"/>
                      <a:pt x="79206" y="2465010"/>
                      <a:pt x="84649" y="2494038"/>
                    </a:cubicBezTo>
                    <a:cubicBezTo>
                      <a:pt x="90092" y="2523066"/>
                      <a:pt x="108234" y="2568423"/>
                      <a:pt x="139077" y="2597452"/>
                    </a:cubicBezTo>
                    <a:cubicBezTo>
                      <a:pt x="169920" y="2626480"/>
                      <a:pt x="246120" y="2643716"/>
                      <a:pt x="286034" y="2657323"/>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5" name="Oval 1154"/>
              <p:cNvSpPr/>
              <p:nvPr/>
            </p:nvSpPr>
            <p:spPr bwMode="auto">
              <a:xfrm>
                <a:off x="2451619" y="3600216"/>
                <a:ext cx="1295867" cy="1295867"/>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6" name="Oval 1155"/>
              <p:cNvSpPr/>
              <p:nvPr/>
            </p:nvSpPr>
            <p:spPr bwMode="auto">
              <a:xfrm>
                <a:off x="7785773" y="3600216"/>
                <a:ext cx="1295867" cy="1295867"/>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7" name="Oval 1156"/>
              <p:cNvSpPr/>
              <p:nvPr/>
            </p:nvSpPr>
            <p:spPr bwMode="auto">
              <a:xfrm>
                <a:off x="8014606" y="3829049"/>
                <a:ext cx="838200" cy="83820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8" name="Oval 1157"/>
              <p:cNvSpPr/>
              <p:nvPr/>
            </p:nvSpPr>
            <p:spPr bwMode="auto">
              <a:xfrm>
                <a:off x="2680452" y="3829049"/>
                <a:ext cx="838200" cy="83820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9" name="Oval 1158"/>
              <p:cNvSpPr/>
              <p:nvPr/>
            </p:nvSpPr>
            <p:spPr bwMode="auto">
              <a:xfrm>
                <a:off x="7865835" y="3119315"/>
                <a:ext cx="308428" cy="308428"/>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0" name="Freeform 1159"/>
              <p:cNvSpPr/>
              <p:nvPr/>
            </p:nvSpPr>
            <p:spPr bwMode="auto">
              <a:xfrm>
                <a:off x="3488871" y="2008414"/>
                <a:ext cx="6166758" cy="1099457"/>
              </a:xfrm>
              <a:custGeom>
                <a:avLst/>
                <a:gdLst>
                  <a:gd name="connsiteX0" fmla="*/ 511629 w 6166758"/>
                  <a:gd name="connsiteY0" fmla="*/ 1034143 h 1099457"/>
                  <a:gd name="connsiteX1" fmla="*/ 1273629 w 6166758"/>
                  <a:gd name="connsiteY1" fmla="*/ 968829 h 1099457"/>
                  <a:gd name="connsiteX2" fmla="*/ 1959429 w 6166758"/>
                  <a:gd name="connsiteY2" fmla="*/ 908957 h 1099457"/>
                  <a:gd name="connsiteX3" fmla="*/ 2416629 w 6166758"/>
                  <a:gd name="connsiteY3" fmla="*/ 881743 h 1099457"/>
                  <a:gd name="connsiteX4" fmla="*/ 3238500 w 6166758"/>
                  <a:gd name="connsiteY4" fmla="*/ 821872 h 1099457"/>
                  <a:gd name="connsiteX5" fmla="*/ 3891643 w 6166758"/>
                  <a:gd name="connsiteY5" fmla="*/ 778329 h 1099457"/>
                  <a:gd name="connsiteX6" fmla="*/ 4049486 w 6166758"/>
                  <a:gd name="connsiteY6" fmla="*/ 772886 h 1099457"/>
                  <a:gd name="connsiteX7" fmla="*/ 4158343 w 6166758"/>
                  <a:gd name="connsiteY7" fmla="*/ 783772 h 1099457"/>
                  <a:gd name="connsiteX8" fmla="*/ 4365172 w 6166758"/>
                  <a:gd name="connsiteY8" fmla="*/ 843643 h 1099457"/>
                  <a:gd name="connsiteX9" fmla="*/ 4435929 w 6166758"/>
                  <a:gd name="connsiteY9" fmla="*/ 849086 h 1099457"/>
                  <a:gd name="connsiteX10" fmla="*/ 5502729 w 6166758"/>
                  <a:gd name="connsiteY10" fmla="*/ 751115 h 1099457"/>
                  <a:gd name="connsiteX11" fmla="*/ 6112329 w 6166758"/>
                  <a:gd name="connsiteY11" fmla="*/ 696686 h 1099457"/>
                  <a:gd name="connsiteX12" fmla="*/ 6166758 w 6166758"/>
                  <a:gd name="connsiteY12" fmla="*/ 691243 h 1099457"/>
                  <a:gd name="connsiteX13" fmla="*/ 6134100 w 6166758"/>
                  <a:gd name="connsiteY13" fmla="*/ 647700 h 1099457"/>
                  <a:gd name="connsiteX14" fmla="*/ 5715000 w 6166758"/>
                  <a:gd name="connsiteY14" fmla="*/ 332015 h 1099457"/>
                  <a:gd name="connsiteX15" fmla="*/ 5453743 w 6166758"/>
                  <a:gd name="connsiteY15" fmla="*/ 163286 h 1099457"/>
                  <a:gd name="connsiteX16" fmla="*/ 5334000 w 6166758"/>
                  <a:gd name="connsiteY16" fmla="*/ 108857 h 1099457"/>
                  <a:gd name="connsiteX17" fmla="*/ 5219700 w 6166758"/>
                  <a:gd name="connsiteY17" fmla="*/ 81643 h 1099457"/>
                  <a:gd name="connsiteX18" fmla="*/ 4876800 w 6166758"/>
                  <a:gd name="connsiteY18" fmla="*/ 48986 h 1099457"/>
                  <a:gd name="connsiteX19" fmla="*/ 4419600 w 6166758"/>
                  <a:gd name="connsiteY19" fmla="*/ 27215 h 1099457"/>
                  <a:gd name="connsiteX20" fmla="*/ 4142015 w 6166758"/>
                  <a:gd name="connsiteY20" fmla="*/ 16329 h 1099457"/>
                  <a:gd name="connsiteX21" fmla="*/ 3690258 w 6166758"/>
                  <a:gd name="connsiteY21" fmla="*/ 0 h 1099457"/>
                  <a:gd name="connsiteX22" fmla="*/ 3075215 w 6166758"/>
                  <a:gd name="connsiteY22" fmla="*/ 0 h 1099457"/>
                  <a:gd name="connsiteX23" fmla="*/ 2574472 w 6166758"/>
                  <a:gd name="connsiteY23" fmla="*/ 10886 h 1099457"/>
                  <a:gd name="connsiteX24" fmla="*/ 2204358 w 6166758"/>
                  <a:gd name="connsiteY24" fmla="*/ 43543 h 1099457"/>
                  <a:gd name="connsiteX25" fmla="*/ 1845129 w 6166758"/>
                  <a:gd name="connsiteY25" fmla="*/ 92529 h 1099457"/>
                  <a:gd name="connsiteX26" fmla="*/ 1589315 w 6166758"/>
                  <a:gd name="connsiteY26" fmla="*/ 146957 h 1099457"/>
                  <a:gd name="connsiteX27" fmla="*/ 1366158 w 6166758"/>
                  <a:gd name="connsiteY27" fmla="*/ 223157 h 1099457"/>
                  <a:gd name="connsiteX28" fmla="*/ 1094015 w 6166758"/>
                  <a:gd name="connsiteY28" fmla="*/ 342900 h 1099457"/>
                  <a:gd name="connsiteX29" fmla="*/ 778329 w 6166758"/>
                  <a:gd name="connsiteY29" fmla="*/ 527957 h 1099457"/>
                  <a:gd name="connsiteX30" fmla="*/ 408215 w 6166758"/>
                  <a:gd name="connsiteY30" fmla="*/ 745672 h 1099457"/>
                  <a:gd name="connsiteX31" fmla="*/ 87086 w 6166758"/>
                  <a:gd name="connsiteY31" fmla="*/ 952500 h 1099457"/>
                  <a:gd name="connsiteX32" fmla="*/ 5443 w 6166758"/>
                  <a:gd name="connsiteY32" fmla="*/ 1028700 h 1099457"/>
                  <a:gd name="connsiteX33" fmla="*/ 0 w 6166758"/>
                  <a:gd name="connsiteY33" fmla="*/ 1077686 h 1099457"/>
                  <a:gd name="connsiteX34" fmla="*/ 54429 w 6166758"/>
                  <a:gd name="connsiteY34" fmla="*/ 1099457 h 1099457"/>
                  <a:gd name="connsiteX35" fmla="*/ 206829 w 6166758"/>
                  <a:gd name="connsiteY35" fmla="*/ 1083129 h 1099457"/>
                  <a:gd name="connsiteX36" fmla="*/ 402772 w 6166758"/>
                  <a:gd name="connsiteY36" fmla="*/ 1055915 h 1099457"/>
                  <a:gd name="connsiteX37" fmla="*/ 511629 w 6166758"/>
                  <a:gd name="connsiteY37" fmla="*/ 1034143 h 109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66758" h="1099457">
                    <a:moveTo>
                      <a:pt x="511629" y="1034143"/>
                    </a:moveTo>
                    <a:lnTo>
                      <a:pt x="1273629" y="968829"/>
                    </a:lnTo>
                    <a:lnTo>
                      <a:pt x="1959429" y="908957"/>
                    </a:lnTo>
                    <a:lnTo>
                      <a:pt x="2416629" y="881743"/>
                    </a:lnTo>
                    <a:lnTo>
                      <a:pt x="3238500" y="821872"/>
                    </a:lnTo>
                    <a:lnTo>
                      <a:pt x="3891643" y="778329"/>
                    </a:lnTo>
                    <a:lnTo>
                      <a:pt x="4049486" y="772886"/>
                    </a:lnTo>
                    <a:lnTo>
                      <a:pt x="4158343" y="783772"/>
                    </a:lnTo>
                    <a:lnTo>
                      <a:pt x="4365172" y="843643"/>
                    </a:lnTo>
                    <a:lnTo>
                      <a:pt x="4435929" y="849086"/>
                    </a:lnTo>
                    <a:lnTo>
                      <a:pt x="5502729" y="751115"/>
                    </a:lnTo>
                    <a:lnTo>
                      <a:pt x="6112329" y="696686"/>
                    </a:lnTo>
                    <a:lnTo>
                      <a:pt x="6166758" y="691243"/>
                    </a:lnTo>
                    <a:lnTo>
                      <a:pt x="6134100" y="647700"/>
                    </a:lnTo>
                    <a:lnTo>
                      <a:pt x="5715000" y="332015"/>
                    </a:lnTo>
                    <a:lnTo>
                      <a:pt x="5453743" y="163286"/>
                    </a:lnTo>
                    <a:lnTo>
                      <a:pt x="5334000" y="108857"/>
                    </a:lnTo>
                    <a:lnTo>
                      <a:pt x="5219700" y="81643"/>
                    </a:lnTo>
                    <a:lnTo>
                      <a:pt x="4876800" y="48986"/>
                    </a:lnTo>
                    <a:lnTo>
                      <a:pt x="4419600" y="27215"/>
                    </a:lnTo>
                    <a:lnTo>
                      <a:pt x="4142015" y="16329"/>
                    </a:lnTo>
                    <a:lnTo>
                      <a:pt x="3690258" y="0"/>
                    </a:lnTo>
                    <a:lnTo>
                      <a:pt x="3075215" y="0"/>
                    </a:lnTo>
                    <a:lnTo>
                      <a:pt x="2574472" y="10886"/>
                    </a:lnTo>
                    <a:lnTo>
                      <a:pt x="2204358" y="43543"/>
                    </a:lnTo>
                    <a:lnTo>
                      <a:pt x="1845129" y="92529"/>
                    </a:lnTo>
                    <a:lnTo>
                      <a:pt x="1589315" y="146957"/>
                    </a:lnTo>
                    <a:lnTo>
                      <a:pt x="1366158" y="223157"/>
                    </a:lnTo>
                    <a:lnTo>
                      <a:pt x="1094015" y="342900"/>
                    </a:lnTo>
                    <a:lnTo>
                      <a:pt x="778329" y="527957"/>
                    </a:lnTo>
                    <a:lnTo>
                      <a:pt x="408215" y="745672"/>
                    </a:lnTo>
                    <a:lnTo>
                      <a:pt x="87086" y="952500"/>
                    </a:lnTo>
                    <a:lnTo>
                      <a:pt x="5443" y="1028700"/>
                    </a:lnTo>
                    <a:lnTo>
                      <a:pt x="0" y="1077686"/>
                    </a:lnTo>
                    <a:lnTo>
                      <a:pt x="54429" y="1099457"/>
                    </a:lnTo>
                    <a:lnTo>
                      <a:pt x="206829" y="1083129"/>
                    </a:lnTo>
                    <a:lnTo>
                      <a:pt x="402772" y="1055915"/>
                    </a:lnTo>
                    <a:lnTo>
                      <a:pt x="511629" y="1034143"/>
                    </a:ln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1" name="Freeform 1160"/>
              <p:cNvSpPr/>
              <p:nvPr/>
            </p:nvSpPr>
            <p:spPr bwMode="auto">
              <a:xfrm>
                <a:off x="4012890" y="2451636"/>
                <a:ext cx="399762" cy="598963"/>
              </a:xfrm>
              <a:custGeom>
                <a:avLst/>
                <a:gdLst>
                  <a:gd name="connsiteX0" fmla="*/ 119742 w 391885"/>
                  <a:gd name="connsiteY0" fmla="*/ 141514 h 500743"/>
                  <a:gd name="connsiteX1" fmla="*/ 0 w 391885"/>
                  <a:gd name="connsiteY1" fmla="*/ 500743 h 500743"/>
                  <a:gd name="connsiteX2" fmla="*/ 321128 w 391885"/>
                  <a:gd name="connsiteY2" fmla="*/ 473529 h 500743"/>
                  <a:gd name="connsiteX3" fmla="*/ 391885 w 391885"/>
                  <a:gd name="connsiteY3" fmla="*/ 0 h 500743"/>
                  <a:gd name="connsiteX4" fmla="*/ 119742 w 391885"/>
                  <a:gd name="connsiteY4" fmla="*/ 141514 h 50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885" h="500743">
                    <a:moveTo>
                      <a:pt x="119742" y="141514"/>
                    </a:moveTo>
                    <a:lnTo>
                      <a:pt x="0" y="500743"/>
                    </a:lnTo>
                    <a:lnTo>
                      <a:pt x="321128" y="473529"/>
                    </a:lnTo>
                    <a:lnTo>
                      <a:pt x="391885" y="0"/>
                    </a:lnTo>
                    <a:lnTo>
                      <a:pt x="119742" y="141514"/>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2" name="Freeform 1161"/>
              <p:cNvSpPr/>
              <p:nvPr/>
            </p:nvSpPr>
            <p:spPr bwMode="auto">
              <a:xfrm>
                <a:off x="5687786" y="2013208"/>
                <a:ext cx="457200" cy="901845"/>
              </a:xfrm>
              <a:custGeom>
                <a:avLst/>
                <a:gdLst>
                  <a:gd name="connsiteX0" fmla="*/ 103414 w 457200"/>
                  <a:gd name="connsiteY0" fmla="*/ 16328 h 816428"/>
                  <a:gd name="connsiteX1" fmla="*/ 0 w 457200"/>
                  <a:gd name="connsiteY1" fmla="*/ 816428 h 816428"/>
                  <a:gd name="connsiteX2" fmla="*/ 386443 w 457200"/>
                  <a:gd name="connsiteY2" fmla="*/ 783771 h 816428"/>
                  <a:gd name="connsiteX3" fmla="*/ 457200 w 457200"/>
                  <a:gd name="connsiteY3" fmla="*/ 0 h 816428"/>
                  <a:gd name="connsiteX4" fmla="*/ 103414 w 457200"/>
                  <a:gd name="connsiteY4" fmla="*/ 16328 h 816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816428">
                    <a:moveTo>
                      <a:pt x="103414" y="16328"/>
                    </a:moveTo>
                    <a:lnTo>
                      <a:pt x="0" y="816428"/>
                    </a:lnTo>
                    <a:lnTo>
                      <a:pt x="386443" y="783771"/>
                    </a:lnTo>
                    <a:lnTo>
                      <a:pt x="457200" y="0"/>
                    </a:lnTo>
                    <a:lnTo>
                      <a:pt x="103414" y="16328"/>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3" name="Freeform 1162"/>
              <p:cNvSpPr/>
              <p:nvPr/>
            </p:nvSpPr>
            <p:spPr bwMode="auto">
              <a:xfrm>
                <a:off x="7527471" y="2020921"/>
                <a:ext cx="353786" cy="831990"/>
              </a:xfrm>
              <a:custGeom>
                <a:avLst/>
                <a:gdLst>
                  <a:gd name="connsiteX0" fmla="*/ 43543 w 353786"/>
                  <a:gd name="connsiteY0" fmla="*/ 0 h 783772"/>
                  <a:gd name="connsiteX1" fmla="*/ 0 w 353786"/>
                  <a:gd name="connsiteY1" fmla="*/ 713014 h 783772"/>
                  <a:gd name="connsiteX2" fmla="*/ 353786 w 353786"/>
                  <a:gd name="connsiteY2" fmla="*/ 783772 h 783772"/>
                  <a:gd name="connsiteX3" fmla="*/ 342900 w 353786"/>
                  <a:gd name="connsiteY3" fmla="*/ 10886 h 783772"/>
                  <a:gd name="connsiteX4" fmla="*/ 43543 w 353786"/>
                  <a:gd name="connsiteY4" fmla="*/ 0 h 783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6" h="783772">
                    <a:moveTo>
                      <a:pt x="43543" y="0"/>
                    </a:moveTo>
                    <a:lnTo>
                      <a:pt x="0" y="713014"/>
                    </a:lnTo>
                    <a:lnTo>
                      <a:pt x="353786" y="783772"/>
                    </a:lnTo>
                    <a:lnTo>
                      <a:pt x="342900" y="10886"/>
                    </a:lnTo>
                    <a:lnTo>
                      <a:pt x="43543" y="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4" name="Freeform 1163"/>
              <p:cNvSpPr/>
              <p:nvPr/>
            </p:nvSpPr>
            <p:spPr bwMode="auto">
              <a:xfrm>
                <a:off x="3645856" y="3548743"/>
                <a:ext cx="4229100" cy="947057"/>
              </a:xfrm>
              <a:custGeom>
                <a:avLst/>
                <a:gdLst>
                  <a:gd name="connsiteX0" fmla="*/ 0 w 4229100"/>
                  <a:gd name="connsiteY0" fmla="*/ 179614 h 947057"/>
                  <a:gd name="connsiteX1" fmla="*/ 157843 w 4229100"/>
                  <a:gd name="connsiteY1" fmla="*/ 212271 h 947057"/>
                  <a:gd name="connsiteX2" fmla="*/ 283029 w 4229100"/>
                  <a:gd name="connsiteY2" fmla="*/ 212271 h 947057"/>
                  <a:gd name="connsiteX3" fmla="*/ 397329 w 4229100"/>
                  <a:gd name="connsiteY3" fmla="*/ 168728 h 947057"/>
                  <a:gd name="connsiteX4" fmla="*/ 495300 w 4229100"/>
                  <a:gd name="connsiteY4" fmla="*/ 103414 h 947057"/>
                  <a:gd name="connsiteX5" fmla="*/ 718457 w 4229100"/>
                  <a:gd name="connsiteY5" fmla="*/ 87086 h 947057"/>
                  <a:gd name="connsiteX6" fmla="*/ 1148443 w 4229100"/>
                  <a:gd name="connsiteY6" fmla="*/ 70757 h 947057"/>
                  <a:gd name="connsiteX7" fmla="*/ 1850572 w 4229100"/>
                  <a:gd name="connsiteY7" fmla="*/ 48986 h 947057"/>
                  <a:gd name="connsiteX8" fmla="*/ 2389414 w 4229100"/>
                  <a:gd name="connsiteY8" fmla="*/ 32657 h 947057"/>
                  <a:gd name="connsiteX9" fmla="*/ 2922814 w 4229100"/>
                  <a:gd name="connsiteY9" fmla="*/ 16328 h 947057"/>
                  <a:gd name="connsiteX10" fmla="*/ 3390900 w 4229100"/>
                  <a:gd name="connsiteY10" fmla="*/ 5443 h 947057"/>
                  <a:gd name="connsiteX11" fmla="*/ 3624943 w 4229100"/>
                  <a:gd name="connsiteY11" fmla="*/ 0 h 947057"/>
                  <a:gd name="connsiteX12" fmla="*/ 3897086 w 4229100"/>
                  <a:gd name="connsiteY12" fmla="*/ 92528 h 947057"/>
                  <a:gd name="connsiteX13" fmla="*/ 3978729 w 4229100"/>
                  <a:gd name="connsiteY13" fmla="*/ 125186 h 947057"/>
                  <a:gd name="connsiteX14" fmla="*/ 4229100 w 4229100"/>
                  <a:gd name="connsiteY14" fmla="*/ 114300 h 947057"/>
                  <a:gd name="connsiteX15" fmla="*/ 4169229 w 4229100"/>
                  <a:gd name="connsiteY15" fmla="*/ 174171 h 947057"/>
                  <a:gd name="connsiteX16" fmla="*/ 4103914 w 4229100"/>
                  <a:gd name="connsiteY16" fmla="*/ 266700 h 947057"/>
                  <a:gd name="connsiteX17" fmla="*/ 4038600 w 4229100"/>
                  <a:gd name="connsiteY17" fmla="*/ 386443 h 947057"/>
                  <a:gd name="connsiteX18" fmla="*/ 3995057 w 4229100"/>
                  <a:gd name="connsiteY18" fmla="*/ 538843 h 947057"/>
                  <a:gd name="connsiteX19" fmla="*/ 3967843 w 4229100"/>
                  <a:gd name="connsiteY19" fmla="*/ 691243 h 947057"/>
                  <a:gd name="connsiteX20" fmla="*/ 3962400 w 4229100"/>
                  <a:gd name="connsiteY20" fmla="*/ 805543 h 947057"/>
                  <a:gd name="connsiteX21" fmla="*/ 3973286 w 4229100"/>
                  <a:gd name="connsiteY21" fmla="*/ 887186 h 947057"/>
                  <a:gd name="connsiteX22" fmla="*/ 3973286 w 4229100"/>
                  <a:gd name="connsiteY22" fmla="*/ 887186 h 947057"/>
                  <a:gd name="connsiteX23" fmla="*/ 3619500 w 4229100"/>
                  <a:gd name="connsiteY23" fmla="*/ 898071 h 947057"/>
                  <a:gd name="connsiteX24" fmla="*/ 2852057 w 4229100"/>
                  <a:gd name="connsiteY24" fmla="*/ 914400 h 947057"/>
                  <a:gd name="connsiteX25" fmla="*/ 2095500 w 4229100"/>
                  <a:gd name="connsiteY25" fmla="*/ 925286 h 947057"/>
                  <a:gd name="connsiteX26" fmla="*/ 1164772 w 4229100"/>
                  <a:gd name="connsiteY26" fmla="*/ 936171 h 947057"/>
                  <a:gd name="connsiteX27" fmla="*/ 598714 w 4229100"/>
                  <a:gd name="connsiteY27" fmla="*/ 947057 h 947057"/>
                  <a:gd name="connsiteX28" fmla="*/ 277586 w 4229100"/>
                  <a:gd name="connsiteY28" fmla="*/ 947057 h 947057"/>
                  <a:gd name="connsiteX29" fmla="*/ 239486 w 4229100"/>
                  <a:gd name="connsiteY29" fmla="*/ 947057 h 947057"/>
                  <a:gd name="connsiteX30" fmla="*/ 239486 w 4229100"/>
                  <a:gd name="connsiteY30" fmla="*/ 887186 h 947057"/>
                  <a:gd name="connsiteX31" fmla="*/ 217714 w 4229100"/>
                  <a:gd name="connsiteY31" fmla="*/ 707571 h 947057"/>
                  <a:gd name="connsiteX32" fmla="*/ 185057 w 4229100"/>
                  <a:gd name="connsiteY32" fmla="*/ 560614 h 947057"/>
                  <a:gd name="connsiteX33" fmla="*/ 130629 w 4229100"/>
                  <a:gd name="connsiteY33" fmla="*/ 402771 h 947057"/>
                  <a:gd name="connsiteX34" fmla="*/ 65314 w 4229100"/>
                  <a:gd name="connsiteY34" fmla="*/ 277586 h 947057"/>
                  <a:gd name="connsiteX35" fmla="*/ 0 w 4229100"/>
                  <a:gd name="connsiteY35" fmla="*/ 179614 h 94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229100" h="947057">
                    <a:moveTo>
                      <a:pt x="0" y="179614"/>
                    </a:moveTo>
                    <a:lnTo>
                      <a:pt x="157843" y="212271"/>
                    </a:lnTo>
                    <a:lnTo>
                      <a:pt x="283029" y="212271"/>
                    </a:lnTo>
                    <a:lnTo>
                      <a:pt x="397329" y="168728"/>
                    </a:lnTo>
                    <a:lnTo>
                      <a:pt x="495300" y="103414"/>
                    </a:lnTo>
                    <a:lnTo>
                      <a:pt x="718457" y="87086"/>
                    </a:lnTo>
                    <a:lnTo>
                      <a:pt x="1148443" y="70757"/>
                    </a:lnTo>
                    <a:lnTo>
                      <a:pt x="1850572" y="48986"/>
                    </a:lnTo>
                    <a:lnTo>
                      <a:pt x="2389414" y="32657"/>
                    </a:lnTo>
                    <a:lnTo>
                      <a:pt x="2922814" y="16328"/>
                    </a:lnTo>
                    <a:lnTo>
                      <a:pt x="3390900" y="5443"/>
                    </a:lnTo>
                    <a:lnTo>
                      <a:pt x="3624943" y="0"/>
                    </a:lnTo>
                    <a:lnTo>
                      <a:pt x="3897086" y="92528"/>
                    </a:lnTo>
                    <a:lnTo>
                      <a:pt x="3978729" y="125186"/>
                    </a:lnTo>
                    <a:lnTo>
                      <a:pt x="4229100" y="114300"/>
                    </a:lnTo>
                    <a:lnTo>
                      <a:pt x="4169229" y="174171"/>
                    </a:lnTo>
                    <a:lnTo>
                      <a:pt x="4103914" y="266700"/>
                    </a:lnTo>
                    <a:lnTo>
                      <a:pt x="4038600" y="386443"/>
                    </a:lnTo>
                    <a:lnTo>
                      <a:pt x="3995057" y="538843"/>
                    </a:lnTo>
                    <a:lnTo>
                      <a:pt x="3967843" y="691243"/>
                    </a:lnTo>
                    <a:lnTo>
                      <a:pt x="3962400" y="805543"/>
                    </a:lnTo>
                    <a:lnTo>
                      <a:pt x="3973286" y="887186"/>
                    </a:lnTo>
                    <a:lnTo>
                      <a:pt x="3973286" y="887186"/>
                    </a:lnTo>
                    <a:lnTo>
                      <a:pt x="3619500" y="898071"/>
                    </a:lnTo>
                    <a:lnTo>
                      <a:pt x="2852057" y="914400"/>
                    </a:lnTo>
                    <a:lnTo>
                      <a:pt x="2095500" y="925286"/>
                    </a:lnTo>
                    <a:lnTo>
                      <a:pt x="1164772" y="936171"/>
                    </a:lnTo>
                    <a:lnTo>
                      <a:pt x="598714" y="947057"/>
                    </a:lnTo>
                    <a:lnTo>
                      <a:pt x="277586" y="947057"/>
                    </a:lnTo>
                    <a:lnTo>
                      <a:pt x="239486" y="947057"/>
                    </a:lnTo>
                    <a:lnTo>
                      <a:pt x="239486" y="887186"/>
                    </a:lnTo>
                    <a:lnTo>
                      <a:pt x="217714" y="707571"/>
                    </a:lnTo>
                    <a:lnTo>
                      <a:pt x="185057" y="560614"/>
                    </a:lnTo>
                    <a:lnTo>
                      <a:pt x="130629" y="402771"/>
                    </a:lnTo>
                    <a:lnTo>
                      <a:pt x="65314" y="277586"/>
                    </a:lnTo>
                    <a:lnTo>
                      <a:pt x="0" y="179614"/>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5" name="Freeform 1164"/>
              <p:cNvSpPr/>
              <p:nvPr/>
            </p:nvSpPr>
            <p:spPr bwMode="auto">
              <a:xfrm>
                <a:off x="1701888" y="3319772"/>
                <a:ext cx="642258" cy="424543"/>
              </a:xfrm>
              <a:custGeom>
                <a:avLst/>
                <a:gdLst>
                  <a:gd name="connsiteX0" fmla="*/ 0 w 642258"/>
                  <a:gd name="connsiteY0" fmla="*/ 424543 h 424543"/>
                  <a:gd name="connsiteX1" fmla="*/ 141515 w 642258"/>
                  <a:gd name="connsiteY1" fmla="*/ 348343 h 424543"/>
                  <a:gd name="connsiteX2" fmla="*/ 288472 w 642258"/>
                  <a:gd name="connsiteY2" fmla="*/ 277586 h 424543"/>
                  <a:gd name="connsiteX3" fmla="*/ 419100 w 642258"/>
                  <a:gd name="connsiteY3" fmla="*/ 239486 h 424543"/>
                  <a:gd name="connsiteX4" fmla="*/ 555172 w 642258"/>
                  <a:gd name="connsiteY4" fmla="*/ 119743 h 424543"/>
                  <a:gd name="connsiteX5" fmla="*/ 625929 w 642258"/>
                  <a:gd name="connsiteY5" fmla="*/ 43543 h 424543"/>
                  <a:gd name="connsiteX6" fmla="*/ 642258 w 642258"/>
                  <a:gd name="connsiteY6" fmla="*/ 0 h 424543"/>
                  <a:gd name="connsiteX7" fmla="*/ 566058 w 642258"/>
                  <a:gd name="connsiteY7" fmla="*/ 10886 h 424543"/>
                  <a:gd name="connsiteX8" fmla="*/ 321129 w 642258"/>
                  <a:gd name="connsiteY8" fmla="*/ 59871 h 424543"/>
                  <a:gd name="connsiteX9" fmla="*/ 195943 w 642258"/>
                  <a:gd name="connsiteY9" fmla="*/ 87086 h 424543"/>
                  <a:gd name="connsiteX10" fmla="*/ 157843 w 642258"/>
                  <a:gd name="connsiteY10" fmla="*/ 81643 h 424543"/>
                  <a:gd name="connsiteX11" fmla="*/ 152400 w 642258"/>
                  <a:gd name="connsiteY11" fmla="*/ 59871 h 424543"/>
                  <a:gd name="connsiteX12" fmla="*/ 87086 w 642258"/>
                  <a:gd name="connsiteY12" fmla="*/ 141514 h 424543"/>
                  <a:gd name="connsiteX13" fmla="*/ 54429 w 642258"/>
                  <a:gd name="connsiteY13" fmla="*/ 244929 h 424543"/>
                  <a:gd name="connsiteX14" fmla="*/ 38100 w 642258"/>
                  <a:gd name="connsiteY14" fmla="*/ 332014 h 424543"/>
                  <a:gd name="connsiteX15" fmla="*/ 0 w 642258"/>
                  <a:gd name="connsiteY15" fmla="*/ 424543 h 42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2258" h="424543">
                    <a:moveTo>
                      <a:pt x="0" y="424543"/>
                    </a:moveTo>
                    <a:lnTo>
                      <a:pt x="141515" y="348343"/>
                    </a:lnTo>
                    <a:lnTo>
                      <a:pt x="288472" y="277586"/>
                    </a:lnTo>
                    <a:lnTo>
                      <a:pt x="419100" y="239486"/>
                    </a:lnTo>
                    <a:lnTo>
                      <a:pt x="555172" y="119743"/>
                    </a:lnTo>
                    <a:lnTo>
                      <a:pt x="625929" y="43543"/>
                    </a:lnTo>
                    <a:lnTo>
                      <a:pt x="642258" y="0"/>
                    </a:lnTo>
                    <a:lnTo>
                      <a:pt x="566058" y="10886"/>
                    </a:lnTo>
                    <a:lnTo>
                      <a:pt x="321129" y="59871"/>
                    </a:lnTo>
                    <a:lnTo>
                      <a:pt x="195943" y="87086"/>
                    </a:lnTo>
                    <a:lnTo>
                      <a:pt x="157843" y="81643"/>
                    </a:lnTo>
                    <a:lnTo>
                      <a:pt x="152400" y="59871"/>
                    </a:lnTo>
                    <a:lnTo>
                      <a:pt x="87086" y="141514"/>
                    </a:lnTo>
                    <a:lnTo>
                      <a:pt x="54429" y="244929"/>
                    </a:lnTo>
                    <a:lnTo>
                      <a:pt x="38100" y="332014"/>
                    </a:lnTo>
                    <a:lnTo>
                      <a:pt x="0" y="424543"/>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6" name="Freeform 1165"/>
              <p:cNvSpPr/>
              <p:nvPr/>
            </p:nvSpPr>
            <p:spPr bwMode="auto">
              <a:xfrm>
                <a:off x="9720943" y="2917371"/>
                <a:ext cx="468086" cy="359229"/>
              </a:xfrm>
              <a:custGeom>
                <a:avLst/>
                <a:gdLst>
                  <a:gd name="connsiteX0" fmla="*/ 0 w 468086"/>
                  <a:gd name="connsiteY0" fmla="*/ 27215 h 359229"/>
                  <a:gd name="connsiteX1" fmla="*/ 81643 w 468086"/>
                  <a:gd name="connsiteY1" fmla="*/ 97972 h 359229"/>
                  <a:gd name="connsiteX2" fmla="*/ 195943 w 468086"/>
                  <a:gd name="connsiteY2" fmla="*/ 239486 h 359229"/>
                  <a:gd name="connsiteX3" fmla="*/ 261257 w 468086"/>
                  <a:gd name="connsiteY3" fmla="*/ 321129 h 359229"/>
                  <a:gd name="connsiteX4" fmla="*/ 342900 w 468086"/>
                  <a:gd name="connsiteY4" fmla="*/ 359229 h 359229"/>
                  <a:gd name="connsiteX5" fmla="*/ 413657 w 468086"/>
                  <a:gd name="connsiteY5" fmla="*/ 342900 h 359229"/>
                  <a:gd name="connsiteX6" fmla="*/ 457200 w 468086"/>
                  <a:gd name="connsiteY6" fmla="*/ 293915 h 359229"/>
                  <a:gd name="connsiteX7" fmla="*/ 468086 w 468086"/>
                  <a:gd name="connsiteY7" fmla="*/ 146958 h 359229"/>
                  <a:gd name="connsiteX8" fmla="*/ 468086 w 468086"/>
                  <a:gd name="connsiteY8" fmla="*/ 65315 h 359229"/>
                  <a:gd name="connsiteX9" fmla="*/ 446314 w 468086"/>
                  <a:gd name="connsiteY9" fmla="*/ 0 h 359229"/>
                  <a:gd name="connsiteX10" fmla="*/ 353786 w 468086"/>
                  <a:gd name="connsiteY10" fmla="*/ 5443 h 359229"/>
                  <a:gd name="connsiteX11" fmla="*/ 157843 w 468086"/>
                  <a:gd name="connsiteY11" fmla="*/ 21772 h 359229"/>
                  <a:gd name="connsiteX12" fmla="*/ 0 w 468086"/>
                  <a:gd name="connsiteY12" fmla="*/ 27215 h 35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8086" h="359229">
                    <a:moveTo>
                      <a:pt x="0" y="27215"/>
                    </a:moveTo>
                    <a:lnTo>
                      <a:pt x="81643" y="97972"/>
                    </a:lnTo>
                    <a:lnTo>
                      <a:pt x="195943" y="239486"/>
                    </a:lnTo>
                    <a:lnTo>
                      <a:pt x="261257" y="321129"/>
                    </a:lnTo>
                    <a:lnTo>
                      <a:pt x="342900" y="359229"/>
                    </a:lnTo>
                    <a:lnTo>
                      <a:pt x="413657" y="342900"/>
                    </a:lnTo>
                    <a:lnTo>
                      <a:pt x="457200" y="293915"/>
                    </a:lnTo>
                    <a:lnTo>
                      <a:pt x="468086" y="146958"/>
                    </a:lnTo>
                    <a:lnTo>
                      <a:pt x="468086" y="65315"/>
                    </a:lnTo>
                    <a:lnTo>
                      <a:pt x="446314" y="0"/>
                    </a:lnTo>
                    <a:lnTo>
                      <a:pt x="353786" y="5443"/>
                    </a:lnTo>
                    <a:lnTo>
                      <a:pt x="157843" y="21772"/>
                    </a:lnTo>
                    <a:lnTo>
                      <a:pt x="0" y="27215"/>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7" name="Freeform 1166"/>
              <p:cNvSpPr/>
              <p:nvPr/>
            </p:nvSpPr>
            <p:spPr bwMode="auto">
              <a:xfrm>
                <a:off x="5459186" y="3227614"/>
                <a:ext cx="353785" cy="70757"/>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8" name="Freeform 1167"/>
              <p:cNvSpPr/>
              <p:nvPr/>
            </p:nvSpPr>
            <p:spPr bwMode="auto">
              <a:xfrm rot="21132279" flipH="1">
                <a:off x="5868422" y="3202563"/>
                <a:ext cx="358826" cy="64325"/>
              </a:xfrm>
              <a:custGeom>
                <a:avLst/>
                <a:gdLst>
                  <a:gd name="connsiteX0" fmla="*/ 0 w 353785"/>
                  <a:gd name="connsiteY0" fmla="*/ 21772 h 70757"/>
                  <a:gd name="connsiteX1" fmla="*/ 54428 w 353785"/>
                  <a:gd name="connsiteY1" fmla="*/ 70757 h 70757"/>
                  <a:gd name="connsiteX2" fmla="*/ 353785 w 353785"/>
                  <a:gd name="connsiteY2" fmla="*/ 54429 h 70757"/>
                  <a:gd name="connsiteX3" fmla="*/ 348343 w 353785"/>
                  <a:gd name="connsiteY3" fmla="*/ 0 h 70757"/>
                  <a:gd name="connsiteX4" fmla="*/ 0 w 353785"/>
                  <a:gd name="connsiteY4" fmla="*/ 21772 h 70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785" h="70757">
                    <a:moveTo>
                      <a:pt x="0" y="21772"/>
                    </a:moveTo>
                    <a:lnTo>
                      <a:pt x="54428" y="70757"/>
                    </a:lnTo>
                    <a:lnTo>
                      <a:pt x="353785" y="54429"/>
                    </a:lnTo>
                    <a:lnTo>
                      <a:pt x="348343" y="0"/>
                    </a:lnTo>
                    <a:lnTo>
                      <a:pt x="0" y="21772"/>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69" name="Freeform 1168"/>
              <p:cNvSpPr/>
              <p:nvPr/>
            </p:nvSpPr>
            <p:spPr bwMode="auto">
              <a:xfrm>
                <a:off x="9095410" y="3548647"/>
                <a:ext cx="1182156" cy="825455"/>
              </a:xfrm>
              <a:custGeom>
                <a:avLst/>
                <a:gdLst>
                  <a:gd name="connsiteX0" fmla="*/ 998341 w 1182156"/>
                  <a:gd name="connsiteY0" fmla="*/ 617676 h 825455"/>
                  <a:gd name="connsiteX1" fmla="*/ 1086264 w 1182156"/>
                  <a:gd name="connsiteY1" fmla="*/ 570783 h 825455"/>
                  <a:gd name="connsiteX2" fmla="*/ 1139018 w 1182156"/>
                  <a:gd name="connsiteY2" fmla="*/ 512168 h 825455"/>
                  <a:gd name="connsiteX3" fmla="*/ 1180049 w 1182156"/>
                  <a:gd name="connsiteY3" fmla="*/ 324599 h 825455"/>
                  <a:gd name="connsiteX4" fmla="*/ 1174187 w 1182156"/>
                  <a:gd name="connsiteY4" fmla="*/ 189783 h 825455"/>
                  <a:gd name="connsiteX5" fmla="*/ 1156603 w 1182156"/>
                  <a:gd name="connsiteY5" fmla="*/ 107722 h 825455"/>
                  <a:gd name="connsiteX6" fmla="*/ 1103849 w 1182156"/>
                  <a:gd name="connsiteY6" fmla="*/ 8076 h 825455"/>
                  <a:gd name="connsiteX7" fmla="*/ 1062818 w 1182156"/>
                  <a:gd name="connsiteY7" fmla="*/ 8076 h 825455"/>
                  <a:gd name="connsiteX8" fmla="*/ 910418 w 1182156"/>
                  <a:gd name="connsiteY8" fmla="*/ 25660 h 825455"/>
                  <a:gd name="connsiteX9" fmla="*/ 681818 w 1182156"/>
                  <a:gd name="connsiteY9" fmla="*/ 49107 h 825455"/>
                  <a:gd name="connsiteX10" fmla="*/ 453218 w 1182156"/>
                  <a:gd name="connsiteY10" fmla="*/ 72553 h 825455"/>
                  <a:gd name="connsiteX11" fmla="*/ 294957 w 1182156"/>
                  <a:gd name="connsiteY11" fmla="*/ 101860 h 825455"/>
                  <a:gd name="connsiteX12" fmla="*/ 160141 w 1182156"/>
                  <a:gd name="connsiteY12" fmla="*/ 154614 h 825455"/>
                  <a:gd name="connsiteX13" fmla="*/ 89803 w 1182156"/>
                  <a:gd name="connsiteY13" fmla="*/ 224953 h 825455"/>
                  <a:gd name="connsiteX14" fmla="*/ 42911 w 1182156"/>
                  <a:gd name="connsiteY14" fmla="*/ 283568 h 825455"/>
                  <a:gd name="connsiteX15" fmla="*/ 1880 w 1182156"/>
                  <a:gd name="connsiteY15" fmla="*/ 348045 h 825455"/>
                  <a:gd name="connsiteX16" fmla="*/ 13603 w 1182156"/>
                  <a:gd name="connsiteY16" fmla="*/ 383214 h 825455"/>
                  <a:gd name="connsiteX17" fmla="*/ 72218 w 1182156"/>
                  <a:gd name="connsiteY17" fmla="*/ 529753 h 825455"/>
                  <a:gd name="connsiteX18" fmla="*/ 83941 w 1182156"/>
                  <a:gd name="connsiteY18" fmla="*/ 670430 h 825455"/>
                  <a:gd name="connsiteX19" fmla="*/ 72218 w 1182156"/>
                  <a:gd name="connsiteY19" fmla="*/ 758353 h 825455"/>
                  <a:gd name="connsiteX20" fmla="*/ 48772 w 1182156"/>
                  <a:gd name="connsiteY20" fmla="*/ 822830 h 825455"/>
                  <a:gd name="connsiteX21" fmla="*/ 107387 w 1182156"/>
                  <a:gd name="connsiteY21" fmla="*/ 805245 h 825455"/>
                  <a:gd name="connsiteX22" fmla="*/ 476664 w 1182156"/>
                  <a:gd name="connsiteY22" fmla="*/ 734907 h 825455"/>
                  <a:gd name="connsiteX23" fmla="*/ 857664 w 1182156"/>
                  <a:gd name="connsiteY23" fmla="*/ 670430 h 825455"/>
                  <a:gd name="connsiteX24" fmla="*/ 998341 w 1182156"/>
                  <a:gd name="connsiteY24" fmla="*/ 617676 h 82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82156" h="825455">
                    <a:moveTo>
                      <a:pt x="998341" y="617676"/>
                    </a:moveTo>
                    <a:cubicBezTo>
                      <a:pt x="1036441" y="601068"/>
                      <a:pt x="1062818" y="588368"/>
                      <a:pt x="1086264" y="570783"/>
                    </a:cubicBezTo>
                    <a:cubicBezTo>
                      <a:pt x="1109710" y="553198"/>
                      <a:pt x="1123387" y="553199"/>
                      <a:pt x="1139018" y="512168"/>
                    </a:cubicBezTo>
                    <a:cubicBezTo>
                      <a:pt x="1154649" y="471137"/>
                      <a:pt x="1174188" y="378330"/>
                      <a:pt x="1180049" y="324599"/>
                    </a:cubicBezTo>
                    <a:cubicBezTo>
                      <a:pt x="1185910" y="270868"/>
                      <a:pt x="1178095" y="225929"/>
                      <a:pt x="1174187" y="189783"/>
                    </a:cubicBezTo>
                    <a:cubicBezTo>
                      <a:pt x="1170279" y="153637"/>
                      <a:pt x="1168326" y="138006"/>
                      <a:pt x="1156603" y="107722"/>
                    </a:cubicBezTo>
                    <a:cubicBezTo>
                      <a:pt x="1144880" y="77437"/>
                      <a:pt x="1119480" y="24684"/>
                      <a:pt x="1103849" y="8076"/>
                    </a:cubicBezTo>
                    <a:cubicBezTo>
                      <a:pt x="1088218" y="-8532"/>
                      <a:pt x="1095056" y="5145"/>
                      <a:pt x="1062818" y="8076"/>
                    </a:cubicBezTo>
                    <a:cubicBezTo>
                      <a:pt x="1030580" y="11007"/>
                      <a:pt x="910418" y="25660"/>
                      <a:pt x="910418" y="25660"/>
                    </a:cubicBezTo>
                    <a:lnTo>
                      <a:pt x="681818" y="49107"/>
                    </a:lnTo>
                    <a:cubicBezTo>
                      <a:pt x="605618" y="56922"/>
                      <a:pt x="517695" y="63761"/>
                      <a:pt x="453218" y="72553"/>
                    </a:cubicBezTo>
                    <a:cubicBezTo>
                      <a:pt x="388741" y="81345"/>
                      <a:pt x="343803" y="88183"/>
                      <a:pt x="294957" y="101860"/>
                    </a:cubicBezTo>
                    <a:cubicBezTo>
                      <a:pt x="246111" y="115537"/>
                      <a:pt x="194333" y="134099"/>
                      <a:pt x="160141" y="154614"/>
                    </a:cubicBezTo>
                    <a:cubicBezTo>
                      <a:pt x="125949" y="175129"/>
                      <a:pt x="109341" y="203461"/>
                      <a:pt x="89803" y="224953"/>
                    </a:cubicBezTo>
                    <a:cubicBezTo>
                      <a:pt x="70265" y="246445"/>
                      <a:pt x="57565" y="263053"/>
                      <a:pt x="42911" y="283568"/>
                    </a:cubicBezTo>
                    <a:cubicBezTo>
                      <a:pt x="28257" y="304083"/>
                      <a:pt x="6765" y="331437"/>
                      <a:pt x="1880" y="348045"/>
                    </a:cubicBezTo>
                    <a:cubicBezTo>
                      <a:pt x="-3005" y="364653"/>
                      <a:pt x="1880" y="352929"/>
                      <a:pt x="13603" y="383214"/>
                    </a:cubicBezTo>
                    <a:cubicBezTo>
                      <a:pt x="25326" y="413499"/>
                      <a:pt x="60495" y="481884"/>
                      <a:pt x="72218" y="529753"/>
                    </a:cubicBezTo>
                    <a:cubicBezTo>
                      <a:pt x="83941" y="577622"/>
                      <a:pt x="83941" y="632330"/>
                      <a:pt x="83941" y="670430"/>
                    </a:cubicBezTo>
                    <a:cubicBezTo>
                      <a:pt x="83941" y="708530"/>
                      <a:pt x="78079" y="732953"/>
                      <a:pt x="72218" y="758353"/>
                    </a:cubicBezTo>
                    <a:cubicBezTo>
                      <a:pt x="66357" y="783753"/>
                      <a:pt x="42910" y="815015"/>
                      <a:pt x="48772" y="822830"/>
                    </a:cubicBezTo>
                    <a:cubicBezTo>
                      <a:pt x="54633" y="830645"/>
                      <a:pt x="36072" y="819899"/>
                      <a:pt x="107387" y="805245"/>
                    </a:cubicBezTo>
                    <a:cubicBezTo>
                      <a:pt x="178702" y="790591"/>
                      <a:pt x="351618" y="757376"/>
                      <a:pt x="476664" y="734907"/>
                    </a:cubicBezTo>
                    <a:cubicBezTo>
                      <a:pt x="601710" y="712438"/>
                      <a:pt x="768764" y="690945"/>
                      <a:pt x="857664" y="670430"/>
                    </a:cubicBezTo>
                    <a:cubicBezTo>
                      <a:pt x="946564" y="649915"/>
                      <a:pt x="960241" y="634284"/>
                      <a:pt x="998341" y="617676"/>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70" name="Freeform 1169"/>
              <p:cNvSpPr/>
              <p:nvPr/>
            </p:nvSpPr>
            <p:spPr bwMode="auto">
              <a:xfrm>
                <a:off x="1666793" y="3674762"/>
                <a:ext cx="767306" cy="878243"/>
              </a:xfrm>
              <a:custGeom>
                <a:avLst/>
                <a:gdLst>
                  <a:gd name="connsiteX0" fmla="*/ 615960 w 737366"/>
                  <a:gd name="connsiteY0" fmla="*/ 769799 h 869548"/>
                  <a:gd name="connsiteX1" fmla="*/ 610099 w 737366"/>
                  <a:gd name="connsiteY1" fmla="*/ 576368 h 869548"/>
                  <a:gd name="connsiteX2" fmla="*/ 633545 w 737366"/>
                  <a:gd name="connsiteY2" fmla="*/ 388799 h 869548"/>
                  <a:gd name="connsiteX3" fmla="*/ 674575 w 737366"/>
                  <a:gd name="connsiteY3" fmla="*/ 277429 h 869548"/>
                  <a:gd name="connsiteX4" fmla="*/ 733191 w 737366"/>
                  <a:gd name="connsiteY4" fmla="*/ 183645 h 869548"/>
                  <a:gd name="connsiteX5" fmla="*/ 709745 w 737366"/>
                  <a:gd name="connsiteY5" fmla="*/ 171922 h 869548"/>
                  <a:gd name="connsiteX6" fmla="*/ 528037 w 737366"/>
                  <a:gd name="connsiteY6" fmla="*/ 171922 h 869548"/>
                  <a:gd name="connsiteX7" fmla="*/ 234960 w 737366"/>
                  <a:gd name="connsiteY7" fmla="*/ 171922 h 869548"/>
                  <a:gd name="connsiteX8" fmla="*/ 147037 w 737366"/>
                  <a:gd name="connsiteY8" fmla="*/ 148476 h 869548"/>
                  <a:gd name="connsiteX9" fmla="*/ 147037 w 737366"/>
                  <a:gd name="connsiteY9" fmla="*/ 83999 h 869548"/>
                  <a:gd name="connsiteX10" fmla="*/ 152899 w 737366"/>
                  <a:gd name="connsiteY10" fmla="*/ 7799 h 869548"/>
                  <a:gd name="connsiteX11" fmla="*/ 123591 w 737366"/>
                  <a:gd name="connsiteY11" fmla="*/ 7799 h 869548"/>
                  <a:gd name="connsiteX12" fmla="*/ 59114 w 737366"/>
                  <a:gd name="connsiteY12" fmla="*/ 54691 h 869548"/>
                  <a:gd name="connsiteX13" fmla="*/ 29806 w 737366"/>
                  <a:gd name="connsiteY13" fmla="*/ 66414 h 869548"/>
                  <a:gd name="connsiteX14" fmla="*/ 499 w 737366"/>
                  <a:gd name="connsiteY14" fmla="*/ 142614 h 869548"/>
                  <a:gd name="connsiteX15" fmla="*/ 12222 w 737366"/>
                  <a:gd name="connsiteY15" fmla="*/ 201229 h 869548"/>
                  <a:gd name="connsiteX16" fmla="*/ 23945 w 737366"/>
                  <a:gd name="connsiteY16" fmla="*/ 388799 h 869548"/>
                  <a:gd name="connsiteX17" fmla="*/ 47391 w 737366"/>
                  <a:gd name="connsiteY17" fmla="*/ 418106 h 869548"/>
                  <a:gd name="connsiteX18" fmla="*/ 82560 w 737366"/>
                  <a:gd name="connsiteY18" fmla="*/ 447414 h 869548"/>
                  <a:gd name="connsiteX19" fmla="*/ 100145 w 737366"/>
                  <a:gd name="connsiteY19" fmla="*/ 570506 h 869548"/>
                  <a:gd name="connsiteX20" fmla="*/ 64975 w 737366"/>
                  <a:gd name="connsiteY20" fmla="*/ 623260 h 869548"/>
                  <a:gd name="connsiteX21" fmla="*/ 141175 w 737366"/>
                  <a:gd name="connsiteY21" fmla="*/ 752214 h 869548"/>
                  <a:gd name="connsiteX22" fmla="*/ 229099 w 737366"/>
                  <a:gd name="connsiteY22" fmla="*/ 787383 h 869548"/>
                  <a:gd name="connsiteX23" fmla="*/ 317022 w 737366"/>
                  <a:gd name="connsiteY23" fmla="*/ 828414 h 869548"/>
                  <a:gd name="connsiteX24" fmla="*/ 469422 w 737366"/>
                  <a:gd name="connsiteY24" fmla="*/ 840137 h 869548"/>
                  <a:gd name="connsiteX25" fmla="*/ 563206 w 737366"/>
                  <a:gd name="connsiteY25" fmla="*/ 840137 h 869548"/>
                  <a:gd name="connsiteX26" fmla="*/ 651129 w 737366"/>
                  <a:gd name="connsiteY26" fmla="*/ 869445 h 869548"/>
                  <a:gd name="connsiteX27" fmla="*/ 645268 w 737366"/>
                  <a:gd name="connsiteY27" fmla="*/ 828414 h 869548"/>
                  <a:gd name="connsiteX28" fmla="*/ 615960 w 737366"/>
                  <a:gd name="connsiteY28" fmla="*/ 769799 h 86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366" h="869548">
                    <a:moveTo>
                      <a:pt x="615960" y="769799"/>
                    </a:moveTo>
                    <a:cubicBezTo>
                      <a:pt x="610099" y="727791"/>
                      <a:pt x="607168" y="639868"/>
                      <a:pt x="610099" y="576368"/>
                    </a:cubicBezTo>
                    <a:cubicBezTo>
                      <a:pt x="613030" y="512868"/>
                      <a:pt x="622799" y="438622"/>
                      <a:pt x="633545" y="388799"/>
                    </a:cubicBezTo>
                    <a:cubicBezTo>
                      <a:pt x="644291" y="338976"/>
                      <a:pt x="657967" y="311621"/>
                      <a:pt x="674575" y="277429"/>
                    </a:cubicBezTo>
                    <a:cubicBezTo>
                      <a:pt x="691183" y="243237"/>
                      <a:pt x="727329" y="201229"/>
                      <a:pt x="733191" y="183645"/>
                    </a:cubicBezTo>
                    <a:cubicBezTo>
                      <a:pt x="739053" y="166060"/>
                      <a:pt x="743937" y="173876"/>
                      <a:pt x="709745" y="171922"/>
                    </a:cubicBezTo>
                    <a:cubicBezTo>
                      <a:pt x="675553" y="169968"/>
                      <a:pt x="528037" y="171922"/>
                      <a:pt x="528037" y="171922"/>
                    </a:cubicBezTo>
                    <a:cubicBezTo>
                      <a:pt x="448906" y="171922"/>
                      <a:pt x="298460" y="175830"/>
                      <a:pt x="234960" y="171922"/>
                    </a:cubicBezTo>
                    <a:cubicBezTo>
                      <a:pt x="171460" y="168014"/>
                      <a:pt x="161691" y="163130"/>
                      <a:pt x="147037" y="148476"/>
                    </a:cubicBezTo>
                    <a:cubicBezTo>
                      <a:pt x="132383" y="133822"/>
                      <a:pt x="146060" y="107445"/>
                      <a:pt x="147037" y="83999"/>
                    </a:cubicBezTo>
                    <a:cubicBezTo>
                      <a:pt x="148014" y="60553"/>
                      <a:pt x="156807" y="20499"/>
                      <a:pt x="152899" y="7799"/>
                    </a:cubicBezTo>
                    <a:cubicBezTo>
                      <a:pt x="148991" y="-4901"/>
                      <a:pt x="139222" y="-16"/>
                      <a:pt x="123591" y="7799"/>
                    </a:cubicBezTo>
                    <a:cubicBezTo>
                      <a:pt x="107960" y="15614"/>
                      <a:pt x="74745" y="44922"/>
                      <a:pt x="59114" y="54691"/>
                    </a:cubicBezTo>
                    <a:cubicBezTo>
                      <a:pt x="43483" y="64460"/>
                      <a:pt x="39575" y="51760"/>
                      <a:pt x="29806" y="66414"/>
                    </a:cubicBezTo>
                    <a:cubicBezTo>
                      <a:pt x="20037" y="81068"/>
                      <a:pt x="3430" y="120145"/>
                      <a:pt x="499" y="142614"/>
                    </a:cubicBezTo>
                    <a:cubicBezTo>
                      <a:pt x="-2432" y="165083"/>
                      <a:pt x="8314" y="160198"/>
                      <a:pt x="12222" y="201229"/>
                    </a:cubicBezTo>
                    <a:cubicBezTo>
                      <a:pt x="16130" y="242260"/>
                      <a:pt x="18084" y="352653"/>
                      <a:pt x="23945" y="388799"/>
                    </a:cubicBezTo>
                    <a:cubicBezTo>
                      <a:pt x="29806" y="424945"/>
                      <a:pt x="37622" y="408337"/>
                      <a:pt x="47391" y="418106"/>
                    </a:cubicBezTo>
                    <a:cubicBezTo>
                      <a:pt x="57160" y="427875"/>
                      <a:pt x="73768" y="422014"/>
                      <a:pt x="82560" y="447414"/>
                    </a:cubicBezTo>
                    <a:cubicBezTo>
                      <a:pt x="91352" y="472814"/>
                      <a:pt x="103076" y="541198"/>
                      <a:pt x="100145" y="570506"/>
                    </a:cubicBezTo>
                    <a:cubicBezTo>
                      <a:pt x="97214" y="599814"/>
                      <a:pt x="58137" y="592975"/>
                      <a:pt x="64975" y="623260"/>
                    </a:cubicBezTo>
                    <a:cubicBezTo>
                      <a:pt x="71813" y="653545"/>
                      <a:pt x="113821" y="724860"/>
                      <a:pt x="141175" y="752214"/>
                    </a:cubicBezTo>
                    <a:cubicBezTo>
                      <a:pt x="168529" y="779568"/>
                      <a:pt x="199791" y="774683"/>
                      <a:pt x="229099" y="787383"/>
                    </a:cubicBezTo>
                    <a:cubicBezTo>
                      <a:pt x="258407" y="800083"/>
                      <a:pt x="276968" y="819622"/>
                      <a:pt x="317022" y="828414"/>
                    </a:cubicBezTo>
                    <a:cubicBezTo>
                      <a:pt x="357076" y="837206"/>
                      <a:pt x="428391" y="838183"/>
                      <a:pt x="469422" y="840137"/>
                    </a:cubicBezTo>
                    <a:cubicBezTo>
                      <a:pt x="510453" y="842091"/>
                      <a:pt x="532922" y="835252"/>
                      <a:pt x="563206" y="840137"/>
                    </a:cubicBezTo>
                    <a:cubicBezTo>
                      <a:pt x="593490" y="845022"/>
                      <a:pt x="637452" y="871399"/>
                      <a:pt x="651129" y="869445"/>
                    </a:cubicBezTo>
                    <a:cubicBezTo>
                      <a:pt x="664806" y="867491"/>
                      <a:pt x="649176" y="845022"/>
                      <a:pt x="645268" y="828414"/>
                    </a:cubicBezTo>
                    <a:cubicBezTo>
                      <a:pt x="641360" y="811806"/>
                      <a:pt x="621821" y="811807"/>
                      <a:pt x="615960" y="769799"/>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153" name="Freeform 1152"/>
            <p:cNvSpPr/>
            <p:nvPr/>
          </p:nvSpPr>
          <p:spPr bwMode="auto">
            <a:xfrm>
              <a:off x="4071427" y="2729263"/>
              <a:ext cx="346361" cy="307598"/>
            </a:xfrm>
            <a:custGeom>
              <a:avLst/>
              <a:gdLst>
                <a:gd name="connsiteX0" fmla="*/ 176028 w 346361"/>
                <a:gd name="connsiteY0" fmla="*/ 306019 h 307598"/>
                <a:gd name="connsiteX1" fmla="*/ 103292 w 346361"/>
                <a:gd name="connsiteY1" fmla="*/ 288701 h 307598"/>
                <a:gd name="connsiteX2" fmla="*/ 51338 w 346361"/>
                <a:gd name="connsiteY2" fmla="*/ 226356 h 307598"/>
                <a:gd name="connsiteX3" fmla="*/ 2847 w 346361"/>
                <a:gd name="connsiteY3" fmla="*/ 184792 h 307598"/>
                <a:gd name="connsiteX4" fmla="*/ 13238 w 346361"/>
                <a:gd name="connsiteY4" fmla="*/ 136301 h 307598"/>
                <a:gd name="connsiteX5" fmla="*/ 75583 w 346361"/>
                <a:gd name="connsiteY5" fmla="*/ 67029 h 307598"/>
                <a:gd name="connsiteX6" fmla="*/ 193347 w 346361"/>
                <a:gd name="connsiteY6" fmla="*/ 8147 h 307598"/>
                <a:gd name="connsiteX7" fmla="*/ 293792 w 346361"/>
                <a:gd name="connsiteY7" fmla="*/ 1219 h 307598"/>
                <a:gd name="connsiteX8" fmla="*/ 318038 w 346361"/>
                <a:gd name="connsiteY8" fmla="*/ 15074 h 307598"/>
                <a:gd name="connsiteX9" fmla="*/ 338819 w 346361"/>
                <a:gd name="connsiteY9" fmla="*/ 91274 h 307598"/>
                <a:gd name="connsiteX10" fmla="*/ 345747 w 346361"/>
                <a:gd name="connsiteY10" fmla="*/ 150156 h 307598"/>
                <a:gd name="connsiteX11" fmla="*/ 324965 w 346361"/>
                <a:gd name="connsiteY11" fmla="*/ 271383 h 307598"/>
                <a:gd name="connsiteX12" fmla="*/ 314574 w 346361"/>
                <a:gd name="connsiteY12" fmla="*/ 295629 h 307598"/>
                <a:gd name="connsiteX13" fmla="*/ 248765 w 346361"/>
                <a:gd name="connsiteY13" fmla="*/ 306019 h 307598"/>
                <a:gd name="connsiteX14" fmla="*/ 176028 w 346361"/>
                <a:gd name="connsiteY14" fmla="*/ 306019 h 307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6361" h="307598">
                  <a:moveTo>
                    <a:pt x="176028" y="306019"/>
                  </a:moveTo>
                  <a:cubicBezTo>
                    <a:pt x="151783" y="303133"/>
                    <a:pt x="124074" y="301978"/>
                    <a:pt x="103292" y="288701"/>
                  </a:cubicBezTo>
                  <a:cubicBezTo>
                    <a:pt x="82510" y="275424"/>
                    <a:pt x="68079" y="243674"/>
                    <a:pt x="51338" y="226356"/>
                  </a:cubicBezTo>
                  <a:cubicBezTo>
                    <a:pt x="34597" y="209038"/>
                    <a:pt x="9197" y="199801"/>
                    <a:pt x="2847" y="184792"/>
                  </a:cubicBezTo>
                  <a:cubicBezTo>
                    <a:pt x="-3503" y="169783"/>
                    <a:pt x="1115" y="155928"/>
                    <a:pt x="13238" y="136301"/>
                  </a:cubicBezTo>
                  <a:cubicBezTo>
                    <a:pt x="25361" y="116674"/>
                    <a:pt x="45565" y="88388"/>
                    <a:pt x="75583" y="67029"/>
                  </a:cubicBezTo>
                  <a:cubicBezTo>
                    <a:pt x="105601" y="45670"/>
                    <a:pt x="156979" y="19115"/>
                    <a:pt x="193347" y="8147"/>
                  </a:cubicBezTo>
                  <a:cubicBezTo>
                    <a:pt x="229715" y="-2821"/>
                    <a:pt x="273010" y="65"/>
                    <a:pt x="293792" y="1219"/>
                  </a:cubicBezTo>
                  <a:cubicBezTo>
                    <a:pt x="314574" y="2373"/>
                    <a:pt x="310534" y="65"/>
                    <a:pt x="318038" y="15074"/>
                  </a:cubicBezTo>
                  <a:cubicBezTo>
                    <a:pt x="325543" y="30083"/>
                    <a:pt x="334201" y="68760"/>
                    <a:pt x="338819" y="91274"/>
                  </a:cubicBezTo>
                  <a:cubicBezTo>
                    <a:pt x="343437" y="113788"/>
                    <a:pt x="348056" y="120138"/>
                    <a:pt x="345747" y="150156"/>
                  </a:cubicBezTo>
                  <a:cubicBezTo>
                    <a:pt x="343438" y="180174"/>
                    <a:pt x="330160" y="247138"/>
                    <a:pt x="324965" y="271383"/>
                  </a:cubicBezTo>
                  <a:cubicBezTo>
                    <a:pt x="319770" y="295628"/>
                    <a:pt x="327274" y="289856"/>
                    <a:pt x="314574" y="295629"/>
                  </a:cubicBezTo>
                  <a:cubicBezTo>
                    <a:pt x="301874" y="301402"/>
                    <a:pt x="271856" y="304865"/>
                    <a:pt x="248765" y="306019"/>
                  </a:cubicBezTo>
                  <a:cubicBezTo>
                    <a:pt x="225674" y="307173"/>
                    <a:pt x="200273" y="308905"/>
                    <a:pt x="176028" y="306019"/>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148" name="Group 1147"/>
          <p:cNvGrpSpPr/>
          <p:nvPr/>
        </p:nvGrpSpPr>
        <p:grpSpPr>
          <a:xfrm>
            <a:off x="210809" y="2263707"/>
            <a:ext cx="885901" cy="741619"/>
            <a:chOff x="1084240" y="2556537"/>
            <a:chExt cx="846440" cy="743420"/>
          </a:xfrm>
        </p:grpSpPr>
        <p:sp>
          <p:nvSpPr>
            <p:cNvPr id="1149" name="Rectangle 1148"/>
            <p:cNvSpPr/>
            <p:nvPr/>
          </p:nvSpPr>
          <p:spPr bwMode="auto">
            <a:xfrm>
              <a:off x="1088708" y="2556537"/>
              <a:ext cx="841972" cy="730765"/>
            </a:xfrm>
            <a:prstGeom prst="rect">
              <a:avLst/>
            </a:prstGeom>
            <a:solidFill>
              <a:schemeClr val="accent1">
                <a:lumMod val="50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50" name="Rectangle 1149"/>
            <p:cNvSpPr/>
            <p:nvPr/>
          </p:nvSpPr>
          <p:spPr bwMode="auto">
            <a:xfrm>
              <a:off x="1084240" y="3004770"/>
              <a:ext cx="837758" cy="295187"/>
            </a:xfrm>
            <a:prstGeom prst="rect">
              <a:avLst/>
            </a:prstGeom>
            <a:gradFill>
              <a:gsLst>
                <a:gs pos="44000">
                  <a:srgbClr val="000608">
                    <a:alpha val="0"/>
                  </a:srgbClr>
                </a:gs>
                <a:gs pos="93000">
                  <a:schemeClr val="accent1">
                    <a:lumMod val="75000"/>
                    <a:alpha val="22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grpSp>
      <p:sp>
        <p:nvSpPr>
          <p:cNvPr id="3220" name="Rectangle 3219"/>
          <p:cNvSpPr/>
          <p:nvPr/>
        </p:nvSpPr>
        <p:spPr bwMode="auto">
          <a:xfrm>
            <a:off x="1104946" y="3289197"/>
            <a:ext cx="1076213" cy="43728"/>
          </a:xfrm>
          <a:prstGeom prst="rect">
            <a:avLst/>
          </a:prstGeom>
          <a:solidFill>
            <a:srgbClr val="005A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337" name="Freeform 2209"/>
          <p:cNvSpPr>
            <a:spLocks/>
          </p:cNvSpPr>
          <p:nvPr/>
        </p:nvSpPr>
        <p:spPr bwMode="auto">
          <a:xfrm>
            <a:off x="208499" y="5481639"/>
            <a:ext cx="3329504" cy="998537"/>
          </a:xfrm>
          <a:custGeom>
            <a:avLst/>
            <a:gdLst>
              <a:gd name="T0" fmla="*/ 12066 w 12338"/>
              <a:gd name="T1" fmla="*/ 11 h 3771"/>
              <a:gd name="T2" fmla="*/ 11871 w 12338"/>
              <a:gd name="T3" fmla="*/ 23 h 3771"/>
              <a:gd name="T4" fmla="*/ 11634 w 12338"/>
              <a:gd name="T5" fmla="*/ 20 h 3771"/>
              <a:gd name="T6" fmla="*/ 11444 w 12338"/>
              <a:gd name="T7" fmla="*/ 16 h 3771"/>
              <a:gd name="T8" fmla="*/ 11209 w 12338"/>
              <a:gd name="T9" fmla="*/ 25 h 3771"/>
              <a:gd name="T10" fmla="*/ 11009 w 12338"/>
              <a:gd name="T11" fmla="*/ 6 h 3771"/>
              <a:gd name="T12" fmla="*/ 10788 w 12338"/>
              <a:gd name="T13" fmla="*/ 27 h 3771"/>
              <a:gd name="T14" fmla="*/ 10543 w 12338"/>
              <a:gd name="T15" fmla="*/ 0 h 3771"/>
              <a:gd name="T16" fmla="*/ 10333 w 12338"/>
              <a:gd name="T17" fmla="*/ 27 h 3771"/>
              <a:gd name="T18" fmla="*/ 10104 w 12338"/>
              <a:gd name="T19" fmla="*/ 11 h 3771"/>
              <a:gd name="T20" fmla="*/ 9911 w 12338"/>
              <a:gd name="T21" fmla="*/ 23 h 3771"/>
              <a:gd name="T22" fmla="*/ 9673 w 12338"/>
              <a:gd name="T23" fmla="*/ 20 h 3771"/>
              <a:gd name="T24" fmla="*/ 9482 w 12338"/>
              <a:gd name="T25" fmla="*/ 16 h 3771"/>
              <a:gd name="T26" fmla="*/ 9248 w 12338"/>
              <a:gd name="T27" fmla="*/ 25 h 3771"/>
              <a:gd name="T28" fmla="*/ 9047 w 12338"/>
              <a:gd name="T29" fmla="*/ 6 h 3771"/>
              <a:gd name="T30" fmla="*/ 8828 w 12338"/>
              <a:gd name="T31" fmla="*/ 27 h 3771"/>
              <a:gd name="T32" fmla="*/ 8582 w 12338"/>
              <a:gd name="T33" fmla="*/ 0 h 3771"/>
              <a:gd name="T34" fmla="*/ 8373 w 12338"/>
              <a:gd name="T35" fmla="*/ 27 h 3771"/>
              <a:gd name="T36" fmla="*/ 8143 w 12338"/>
              <a:gd name="T37" fmla="*/ 11 h 3771"/>
              <a:gd name="T38" fmla="*/ 7950 w 12338"/>
              <a:gd name="T39" fmla="*/ 23 h 3771"/>
              <a:gd name="T40" fmla="*/ 7712 w 12338"/>
              <a:gd name="T41" fmla="*/ 20 h 3771"/>
              <a:gd name="T42" fmla="*/ 7522 w 12338"/>
              <a:gd name="T43" fmla="*/ 16 h 3771"/>
              <a:gd name="T44" fmla="*/ 7288 w 12338"/>
              <a:gd name="T45" fmla="*/ 25 h 3771"/>
              <a:gd name="T46" fmla="*/ 7087 w 12338"/>
              <a:gd name="T47" fmla="*/ 6 h 3771"/>
              <a:gd name="T48" fmla="*/ 6867 w 12338"/>
              <a:gd name="T49" fmla="*/ 27 h 3771"/>
              <a:gd name="T50" fmla="*/ 6622 w 12338"/>
              <a:gd name="T51" fmla="*/ 0 h 3771"/>
              <a:gd name="T52" fmla="*/ 6412 w 12338"/>
              <a:gd name="T53" fmla="*/ 27 h 3771"/>
              <a:gd name="T54" fmla="*/ 6183 w 12338"/>
              <a:gd name="T55" fmla="*/ 11 h 3771"/>
              <a:gd name="T56" fmla="*/ 5989 w 12338"/>
              <a:gd name="T57" fmla="*/ 23 h 3771"/>
              <a:gd name="T58" fmla="*/ 5751 w 12338"/>
              <a:gd name="T59" fmla="*/ 20 h 3771"/>
              <a:gd name="T60" fmla="*/ 5561 w 12338"/>
              <a:gd name="T61" fmla="*/ 16 h 3771"/>
              <a:gd name="T62" fmla="*/ 5326 w 12338"/>
              <a:gd name="T63" fmla="*/ 25 h 3771"/>
              <a:gd name="T64" fmla="*/ 5126 w 12338"/>
              <a:gd name="T65" fmla="*/ 6 h 3771"/>
              <a:gd name="T66" fmla="*/ 4906 w 12338"/>
              <a:gd name="T67" fmla="*/ 27 h 3771"/>
              <a:gd name="T68" fmla="*/ 4661 w 12338"/>
              <a:gd name="T69" fmla="*/ 0 h 3771"/>
              <a:gd name="T70" fmla="*/ 4451 w 12338"/>
              <a:gd name="T71" fmla="*/ 27 h 3771"/>
              <a:gd name="T72" fmla="*/ 4222 w 12338"/>
              <a:gd name="T73" fmla="*/ 11 h 3771"/>
              <a:gd name="T74" fmla="*/ 4029 w 12338"/>
              <a:gd name="T75" fmla="*/ 23 h 3771"/>
              <a:gd name="T76" fmla="*/ 3791 w 12338"/>
              <a:gd name="T77" fmla="*/ 20 h 3771"/>
              <a:gd name="T78" fmla="*/ 3600 w 12338"/>
              <a:gd name="T79" fmla="*/ 16 h 3771"/>
              <a:gd name="T80" fmla="*/ 3365 w 12338"/>
              <a:gd name="T81" fmla="*/ 25 h 3771"/>
              <a:gd name="T82" fmla="*/ 3166 w 12338"/>
              <a:gd name="T83" fmla="*/ 6 h 3771"/>
              <a:gd name="T84" fmla="*/ 2945 w 12338"/>
              <a:gd name="T85" fmla="*/ 27 h 3771"/>
              <a:gd name="T86" fmla="*/ 2700 w 12338"/>
              <a:gd name="T87" fmla="*/ 0 h 3771"/>
              <a:gd name="T88" fmla="*/ 2490 w 12338"/>
              <a:gd name="T89" fmla="*/ 27 h 3771"/>
              <a:gd name="T90" fmla="*/ 2261 w 12338"/>
              <a:gd name="T91" fmla="*/ 11 h 3771"/>
              <a:gd name="T92" fmla="*/ 2067 w 12338"/>
              <a:gd name="T93" fmla="*/ 23 h 3771"/>
              <a:gd name="T94" fmla="*/ 1830 w 12338"/>
              <a:gd name="T95" fmla="*/ 20 h 3771"/>
              <a:gd name="T96" fmla="*/ 1640 w 12338"/>
              <a:gd name="T97" fmla="*/ 16 h 3771"/>
              <a:gd name="T98" fmla="*/ 1405 w 12338"/>
              <a:gd name="T99" fmla="*/ 25 h 3771"/>
              <a:gd name="T100" fmla="*/ 1205 w 12338"/>
              <a:gd name="T101" fmla="*/ 6 h 3771"/>
              <a:gd name="T102" fmla="*/ 984 w 12338"/>
              <a:gd name="T103" fmla="*/ 27 h 3771"/>
              <a:gd name="T104" fmla="*/ 739 w 12338"/>
              <a:gd name="T105" fmla="*/ 0 h 3771"/>
              <a:gd name="T106" fmla="*/ 529 w 12338"/>
              <a:gd name="T107" fmla="*/ 27 h 3771"/>
              <a:gd name="T108" fmla="*/ 300 w 12338"/>
              <a:gd name="T109" fmla="*/ 11 h 3771"/>
              <a:gd name="T110" fmla="*/ 106 w 12338"/>
              <a:gd name="T111" fmla="*/ 23 h 3771"/>
              <a:gd name="T112" fmla="*/ 12338 w 12338"/>
              <a:gd name="T113" fmla="*/ 24 h 3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338" h="3771">
                <a:moveTo>
                  <a:pt x="12259" y="27"/>
                </a:moveTo>
                <a:lnTo>
                  <a:pt x="12259" y="27"/>
                </a:lnTo>
                <a:lnTo>
                  <a:pt x="12223" y="27"/>
                </a:lnTo>
                <a:lnTo>
                  <a:pt x="12189" y="25"/>
                </a:lnTo>
                <a:lnTo>
                  <a:pt x="12156" y="23"/>
                </a:lnTo>
                <a:lnTo>
                  <a:pt x="12124" y="20"/>
                </a:lnTo>
                <a:lnTo>
                  <a:pt x="12094" y="16"/>
                </a:lnTo>
                <a:lnTo>
                  <a:pt x="12066" y="11"/>
                </a:lnTo>
                <a:lnTo>
                  <a:pt x="12038" y="6"/>
                </a:lnTo>
                <a:lnTo>
                  <a:pt x="12014" y="0"/>
                </a:lnTo>
                <a:lnTo>
                  <a:pt x="12014" y="0"/>
                </a:lnTo>
                <a:lnTo>
                  <a:pt x="11989" y="6"/>
                </a:lnTo>
                <a:lnTo>
                  <a:pt x="11963" y="11"/>
                </a:lnTo>
                <a:lnTo>
                  <a:pt x="11934" y="16"/>
                </a:lnTo>
                <a:lnTo>
                  <a:pt x="11904" y="20"/>
                </a:lnTo>
                <a:lnTo>
                  <a:pt x="11871" y="23"/>
                </a:lnTo>
                <a:lnTo>
                  <a:pt x="11838" y="25"/>
                </a:lnTo>
                <a:lnTo>
                  <a:pt x="11804" y="27"/>
                </a:lnTo>
                <a:lnTo>
                  <a:pt x="11768" y="27"/>
                </a:lnTo>
                <a:lnTo>
                  <a:pt x="11768" y="27"/>
                </a:lnTo>
                <a:lnTo>
                  <a:pt x="11733" y="27"/>
                </a:lnTo>
                <a:lnTo>
                  <a:pt x="11699" y="25"/>
                </a:lnTo>
                <a:lnTo>
                  <a:pt x="11666" y="23"/>
                </a:lnTo>
                <a:lnTo>
                  <a:pt x="11634" y="20"/>
                </a:lnTo>
                <a:lnTo>
                  <a:pt x="11603" y="16"/>
                </a:lnTo>
                <a:lnTo>
                  <a:pt x="11575" y="11"/>
                </a:lnTo>
                <a:lnTo>
                  <a:pt x="11548" y="6"/>
                </a:lnTo>
                <a:lnTo>
                  <a:pt x="11524" y="0"/>
                </a:lnTo>
                <a:lnTo>
                  <a:pt x="11524" y="0"/>
                </a:lnTo>
                <a:lnTo>
                  <a:pt x="11499" y="6"/>
                </a:lnTo>
                <a:lnTo>
                  <a:pt x="11472" y="11"/>
                </a:lnTo>
                <a:lnTo>
                  <a:pt x="11444" y="16"/>
                </a:lnTo>
                <a:lnTo>
                  <a:pt x="11413" y="20"/>
                </a:lnTo>
                <a:lnTo>
                  <a:pt x="11382" y="23"/>
                </a:lnTo>
                <a:lnTo>
                  <a:pt x="11349" y="25"/>
                </a:lnTo>
                <a:lnTo>
                  <a:pt x="11314" y="27"/>
                </a:lnTo>
                <a:lnTo>
                  <a:pt x="11279" y="27"/>
                </a:lnTo>
                <a:lnTo>
                  <a:pt x="11279" y="27"/>
                </a:lnTo>
                <a:lnTo>
                  <a:pt x="11243" y="27"/>
                </a:lnTo>
                <a:lnTo>
                  <a:pt x="11209" y="25"/>
                </a:lnTo>
                <a:lnTo>
                  <a:pt x="11176" y="23"/>
                </a:lnTo>
                <a:lnTo>
                  <a:pt x="11143" y="20"/>
                </a:lnTo>
                <a:lnTo>
                  <a:pt x="11114" y="16"/>
                </a:lnTo>
                <a:lnTo>
                  <a:pt x="11085" y="11"/>
                </a:lnTo>
                <a:lnTo>
                  <a:pt x="11058" y="6"/>
                </a:lnTo>
                <a:lnTo>
                  <a:pt x="11033" y="0"/>
                </a:lnTo>
                <a:lnTo>
                  <a:pt x="11033" y="0"/>
                </a:lnTo>
                <a:lnTo>
                  <a:pt x="11009" y="6"/>
                </a:lnTo>
                <a:lnTo>
                  <a:pt x="10982" y="11"/>
                </a:lnTo>
                <a:lnTo>
                  <a:pt x="10953" y="16"/>
                </a:lnTo>
                <a:lnTo>
                  <a:pt x="10923" y="20"/>
                </a:lnTo>
                <a:lnTo>
                  <a:pt x="10891" y="23"/>
                </a:lnTo>
                <a:lnTo>
                  <a:pt x="10858" y="25"/>
                </a:lnTo>
                <a:lnTo>
                  <a:pt x="10824" y="27"/>
                </a:lnTo>
                <a:lnTo>
                  <a:pt x="10788" y="27"/>
                </a:lnTo>
                <a:lnTo>
                  <a:pt x="10788" y="27"/>
                </a:lnTo>
                <a:lnTo>
                  <a:pt x="10753" y="27"/>
                </a:lnTo>
                <a:lnTo>
                  <a:pt x="10718" y="25"/>
                </a:lnTo>
                <a:lnTo>
                  <a:pt x="10685" y="23"/>
                </a:lnTo>
                <a:lnTo>
                  <a:pt x="10654" y="20"/>
                </a:lnTo>
                <a:lnTo>
                  <a:pt x="10623" y="16"/>
                </a:lnTo>
                <a:lnTo>
                  <a:pt x="10595" y="11"/>
                </a:lnTo>
                <a:lnTo>
                  <a:pt x="10568" y="6"/>
                </a:lnTo>
                <a:lnTo>
                  <a:pt x="10543" y="0"/>
                </a:lnTo>
                <a:lnTo>
                  <a:pt x="10543" y="0"/>
                </a:lnTo>
                <a:lnTo>
                  <a:pt x="10518" y="6"/>
                </a:lnTo>
                <a:lnTo>
                  <a:pt x="10492" y="11"/>
                </a:lnTo>
                <a:lnTo>
                  <a:pt x="10464" y="16"/>
                </a:lnTo>
                <a:lnTo>
                  <a:pt x="10433" y="20"/>
                </a:lnTo>
                <a:lnTo>
                  <a:pt x="10401" y="23"/>
                </a:lnTo>
                <a:lnTo>
                  <a:pt x="10367" y="25"/>
                </a:lnTo>
                <a:lnTo>
                  <a:pt x="10333" y="27"/>
                </a:lnTo>
                <a:lnTo>
                  <a:pt x="10298" y="27"/>
                </a:lnTo>
                <a:lnTo>
                  <a:pt x="10298" y="27"/>
                </a:lnTo>
                <a:lnTo>
                  <a:pt x="10262" y="27"/>
                </a:lnTo>
                <a:lnTo>
                  <a:pt x="10228" y="25"/>
                </a:lnTo>
                <a:lnTo>
                  <a:pt x="10195" y="23"/>
                </a:lnTo>
                <a:lnTo>
                  <a:pt x="10163" y="20"/>
                </a:lnTo>
                <a:lnTo>
                  <a:pt x="10133" y="16"/>
                </a:lnTo>
                <a:lnTo>
                  <a:pt x="10104" y="11"/>
                </a:lnTo>
                <a:lnTo>
                  <a:pt x="10078" y="6"/>
                </a:lnTo>
                <a:lnTo>
                  <a:pt x="10053" y="0"/>
                </a:lnTo>
                <a:lnTo>
                  <a:pt x="10053" y="0"/>
                </a:lnTo>
                <a:lnTo>
                  <a:pt x="10029" y="6"/>
                </a:lnTo>
                <a:lnTo>
                  <a:pt x="10001" y="11"/>
                </a:lnTo>
                <a:lnTo>
                  <a:pt x="9973" y="16"/>
                </a:lnTo>
                <a:lnTo>
                  <a:pt x="9943" y="20"/>
                </a:lnTo>
                <a:lnTo>
                  <a:pt x="9911" y="23"/>
                </a:lnTo>
                <a:lnTo>
                  <a:pt x="9878" y="25"/>
                </a:lnTo>
                <a:lnTo>
                  <a:pt x="9843" y="27"/>
                </a:lnTo>
                <a:lnTo>
                  <a:pt x="9808" y="27"/>
                </a:lnTo>
                <a:lnTo>
                  <a:pt x="9808" y="27"/>
                </a:lnTo>
                <a:lnTo>
                  <a:pt x="9773" y="27"/>
                </a:lnTo>
                <a:lnTo>
                  <a:pt x="9738" y="25"/>
                </a:lnTo>
                <a:lnTo>
                  <a:pt x="9705" y="23"/>
                </a:lnTo>
                <a:lnTo>
                  <a:pt x="9673" y="20"/>
                </a:lnTo>
                <a:lnTo>
                  <a:pt x="9643" y="16"/>
                </a:lnTo>
                <a:lnTo>
                  <a:pt x="9614" y="11"/>
                </a:lnTo>
                <a:lnTo>
                  <a:pt x="9588" y="6"/>
                </a:lnTo>
                <a:lnTo>
                  <a:pt x="9562" y="0"/>
                </a:lnTo>
                <a:lnTo>
                  <a:pt x="9562" y="0"/>
                </a:lnTo>
                <a:lnTo>
                  <a:pt x="9538" y="6"/>
                </a:lnTo>
                <a:lnTo>
                  <a:pt x="9512" y="11"/>
                </a:lnTo>
                <a:lnTo>
                  <a:pt x="9482" y="16"/>
                </a:lnTo>
                <a:lnTo>
                  <a:pt x="9452" y="20"/>
                </a:lnTo>
                <a:lnTo>
                  <a:pt x="9421" y="23"/>
                </a:lnTo>
                <a:lnTo>
                  <a:pt x="9387" y="25"/>
                </a:lnTo>
                <a:lnTo>
                  <a:pt x="9353" y="27"/>
                </a:lnTo>
                <a:lnTo>
                  <a:pt x="9318" y="27"/>
                </a:lnTo>
                <a:lnTo>
                  <a:pt x="9318" y="27"/>
                </a:lnTo>
                <a:lnTo>
                  <a:pt x="9282" y="27"/>
                </a:lnTo>
                <a:lnTo>
                  <a:pt x="9248" y="25"/>
                </a:lnTo>
                <a:lnTo>
                  <a:pt x="9214" y="23"/>
                </a:lnTo>
                <a:lnTo>
                  <a:pt x="9183" y="20"/>
                </a:lnTo>
                <a:lnTo>
                  <a:pt x="9153" y="16"/>
                </a:lnTo>
                <a:lnTo>
                  <a:pt x="9124" y="11"/>
                </a:lnTo>
                <a:lnTo>
                  <a:pt x="9097" y="6"/>
                </a:lnTo>
                <a:lnTo>
                  <a:pt x="9073" y="0"/>
                </a:lnTo>
                <a:lnTo>
                  <a:pt x="9073" y="0"/>
                </a:lnTo>
                <a:lnTo>
                  <a:pt x="9047" y="6"/>
                </a:lnTo>
                <a:lnTo>
                  <a:pt x="9021" y="11"/>
                </a:lnTo>
                <a:lnTo>
                  <a:pt x="8993" y="16"/>
                </a:lnTo>
                <a:lnTo>
                  <a:pt x="8963" y="20"/>
                </a:lnTo>
                <a:lnTo>
                  <a:pt x="8930" y="23"/>
                </a:lnTo>
                <a:lnTo>
                  <a:pt x="8898" y="25"/>
                </a:lnTo>
                <a:lnTo>
                  <a:pt x="8863" y="27"/>
                </a:lnTo>
                <a:lnTo>
                  <a:pt x="8828" y="27"/>
                </a:lnTo>
                <a:lnTo>
                  <a:pt x="8828" y="27"/>
                </a:lnTo>
                <a:lnTo>
                  <a:pt x="8792" y="27"/>
                </a:lnTo>
                <a:lnTo>
                  <a:pt x="8758" y="25"/>
                </a:lnTo>
                <a:lnTo>
                  <a:pt x="8725" y="23"/>
                </a:lnTo>
                <a:lnTo>
                  <a:pt x="8692" y="20"/>
                </a:lnTo>
                <a:lnTo>
                  <a:pt x="8662" y="16"/>
                </a:lnTo>
                <a:lnTo>
                  <a:pt x="8634" y="11"/>
                </a:lnTo>
                <a:lnTo>
                  <a:pt x="8607" y="6"/>
                </a:lnTo>
                <a:lnTo>
                  <a:pt x="8582" y="0"/>
                </a:lnTo>
                <a:lnTo>
                  <a:pt x="8582" y="0"/>
                </a:lnTo>
                <a:lnTo>
                  <a:pt x="8558" y="6"/>
                </a:lnTo>
                <a:lnTo>
                  <a:pt x="8531" y="11"/>
                </a:lnTo>
                <a:lnTo>
                  <a:pt x="8502" y="16"/>
                </a:lnTo>
                <a:lnTo>
                  <a:pt x="8472" y="20"/>
                </a:lnTo>
                <a:lnTo>
                  <a:pt x="8441" y="23"/>
                </a:lnTo>
                <a:lnTo>
                  <a:pt x="8407" y="25"/>
                </a:lnTo>
                <a:lnTo>
                  <a:pt x="8373" y="27"/>
                </a:lnTo>
                <a:lnTo>
                  <a:pt x="8337" y="27"/>
                </a:lnTo>
                <a:lnTo>
                  <a:pt x="8337" y="27"/>
                </a:lnTo>
                <a:lnTo>
                  <a:pt x="8302" y="27"/>
                </a:lnTo>
                <a:lnTo>
                  <a:pt x="8268" y="25"/>
                </a:lnTo>
                <a:lnTo>
                  <a:pt x="8234" y="23"/>
                </a:lnTo>
                <a:lnTo>
                  <a:pt x="8203" y="20"/>
                </a:lnTo>
                <a:lnTo>
                  <a:pt x="8173" y="16"/>
                </a:lnTo>
                <a:lnTo>
                  <a:pt x="8143" y="11"/>
                </a:lnTo>
                <a:lnTo>
                  <a:pt x="8117" y="6"/>
                </a:lnTo>
                <a:lnTo>
                  <a:pt x="8092" y="0"/>
                </a:lnTo>
                <a:lnTo>
                  <a:pt x="8092" y="0"/>
                </a:lnTo>
                <a:lnTo>
                  <a:pt x="8067" y="6"/>
                </a:lnTo>
                <a:lnTo>
                  <a:pt x="8041" y="11"/>
                </a:lnTo>
                <a:lnTo>
                  <a:pt x="8012" y="16"/>
                </a:lnTo>
                <a:lnTo>
                  <a:pt x="7981" y="20"/>
                </a:lnTo>
                <a:lnTo>
                  <a:pt x="7950" y="23"/>
                </a:lnTo>
                <a:lnTo>
                  <a:pt x="7917" y="25"/>
                </a:lnTo>
                <a:lnTo>
                  <a:pt x="7882" y="27"/>
                </a:lnTo>
                <a:lnTo>
                  <a:pt x="7847" y="27"/>
                </a:lnTo>
                <a:lnTo>
                  <a:pt x="7847" y="27"/>
                </a:lnTo>
                <a:lnTo>
                  <a:pt x="7811" y="27"/>
                </a:lnTo>
                <a:lnTo>
                  <a:pt x="7777" y="25"/>
                </a:lnTo>
                <a:lnTo>
                  <a:pt x="7744" y="23"/>
                </a:lnTo>
                <a:lnTo>
                  <a:pt x="7712" y="20"/>
                </a:lnTo>
                <a:lnTo>
                  <a:pt x="7682" y="16"/>
                </a:lnTo>
                <a:lnTo>
                  <a:pt x="7654" y="11"/>
                </a:lnTo>
                <a:lnTo>
                  <a:pt x="7626" y="6"/>
                </a:lnTo>
                <a:lnTo>
                  <a:pt x="7602" y="0"/>
                </a:lnTo>
                <a:lnTo>
                  <a:pt x="7602" y="0"/>
                </a:lnTo>
                <a:lnTo>
                  <a:pt x="7577" y="6"/>
                </a:lnTo>
                <a:lnTo>
                  <a:pt x="7551" y="11"/>
                </a:lnTo>
                <a:lnTo>
                  <a:pt x="7522" y="16"/>
                </a:lnTo>
                <a:lnTo>
                  <a:pt x="7492" y="20"/>
                </a:lnTo>
                <a:lnTo>
                  <a:pt x="7459" y="23"/>
                </a:lnTo>
                <a:lnTo>
                  <a:pt x="7427" y="25"/>
                </a:lnTo>
                <a:lnTo>
                  <a:pt x="7393" y="27"/>
                </a:lnTo>
                <a:lnTo>
                  <a:pt x="7357" y="27"/>
                </a:lnTo>
                <a:lnTo>
                  <a:pt x="7357" y="27"/>
                </a:lnTo>
                <a:lnTo>
                  <a:pt x="7322" y="27"/>
                </a:lnTo>
                <a:lnTo>
                  <a:pt x="7288" y="25"/>
                </a:lnTo>
                <a:lnTo>
                  <a:pt x="7254" y="23"/>
                </a:lnTo>
                <a:lnTo>
                  <a:pt x="7222" y="20"/>
                </a:lnTo>
                <a:lnTo>
                  <a:pt x="7191" y="16"/>
                </a:lnTo>
                <a:lnTo>
                  <a:pt x="7163" y="11"/>
                </a:lnTo>
                <a:lnTo>
                  <a:pt x="7137" y="6"/>
                </a:lnTo>
                <a:lnTo>
                  <a:pt x="7112" y="0"/>
                </a:lnTo>
                <a:lnTo>
                  <a:pt x="7112" y="0"/>
                </a:lnTo>
                <a:lnTo>
                  <a:pt x="7087" y="6"/>
                </a:lnTo>
                <a:lnTo>
                  <a:pt x="7060" y="11"/>
                </a:lnTo>
                <a:lnTo>
                  <a:pt x="7032" y="16"/>
                </a:lnTo>
                <a:lnTo>
                  <a:pt x="7001" y="20"/>
                </a:lnTo>
                <a:lnTo>
                  <a:pt x="6970" y="23"/>
                </a:lnTo>
                <a:lnTo>
                  <a:pt x="6937" y="25"/>
                </a:lnTo>
                <a:lnTo>
                  <a:pt x="6902" y="27"/>
                </a:lnTo>
                <a:lnTo>
                  <a:pt x="6867" y="27"/>
                </a:lnTo>
                <a:lnTo>
                  <a:pt x="6867" y="27"/>
                </a:lnTo>
                <a:lnTo>
                  <a:pt x="6831" y="27"/>
                </a:lnTo>
                <a:lnTo>
                  <a:pt x="6797" y="25"/>
                </a:lnTo>
                <a:lnTo>
                  <a:pt x="6764" y="23"/>
                </a:lnTo>
                <a:lnTo>
                  <a:pt x="6732" y="20"/>
                </a:lnTo>
                <a:lnTo>
                  <a:pt x="6702" y="16"/>
                </a:lnTo>
                <a:lnTo>
                  <a:pt x="6673" y="11"/>
                </a:lnTo>
                <a:lnTo>
                  <a:pt x="6646" y="6"/>
                </a:lnTo>
                <a:lnTo>
                  <a:pt x="6622" y="0"/>
                </a:lnTo>
                <a:lnTo>
                  <a:pt x="6622" y="0"/>
                </a:lnTo>
                <a:lnTo>
                  <a:pt x="6597" y="6"/>
                </a:lnTo>
                <a:lnTo>
                  <a:pt x="6570" y="11"/>
                </a:lnTo>
                <a:lnTo>
                  <a:pt x="6541" y="16"/>
                </a:lnTo>
                <a:lnTo>
                  <a:pt x="6512" y="20"/>
                </a:lnTo>
                <a:lnTo>
                  <a:pt x="6479" y="23"/>
                </a:lnTo>
                <a:lnTo>
                  <a:pt x="6446" y="25"/>
                </a:lnTo>
                <a:lnTo>
                  <a:pt x="6412" y="27"/>
                </a:lnTo>
                <a:lnTo>
                  <a:pt x="6376" y="27"/>
                </a:lnTo>
                <a:lnTo>
                  <a:pt x="6376" y="27"/>
                </a:lnTo>
                <a:lnTo>
                  <a:pt x="6341" y="27"/>
                </a:lnTo>
                <a:lnTo>
                  <a:pt x="6306" y="25"/>
                </a:lnTo>
                <a:lnTo>
                  <a:pt x="6273" y="23"/>
                </a:lnTo>
                <a:lnTo>
                  <a:pt x="6242" y="20"/>
                </a:lnTo>
                <a:lnTo>
                  <a:pt x="6211" y="16"/>
                </a:lnTo>
                <a:lnTo>
                  <a:pt x="6183" y="11"/>
                </a:lnTo>
                <a:lnTo>
                  <a:pt x="6156" y="6"/>
                </a:lnTo>
                <a:lnTo>
                  <a:pt x="6131" y="0"/>
                </a:lnTo>
                <a:lnTo>
                  <a:pt x="6131" y="0"/>
                </a:lnTo>
                <a:lnTo>
                  <a:pt x="6106" y="6"/>
                </a:lnTo>
                <a:lnTo>
                  <a:pt x="6080" y="11"/>
                </a:lnTo>
                <a:lnTo>
                  <a:pt x="6052" y="16"/>
                </a:lnTo>
                <a:lnTo>
                  <a:pt x="6021" y="20"/>
                </a:lnTo>
                <a:lnTo>
                  <a:pt x="5989" y="23"/>
                </a:lnTo>
                <a:lnTo>
                  <a:pt x="5956" y="25"/>
                </a:lnTo>
                <a:lnTo>
                  <a:pt x="5922" y="27"/>
                </a:lnTo>
                <a:lnTo>
                  <a:pt x="5887" y="27"/>
                </a:lnTo>
                <a:lnTo>
                  <a:pt x="5887" y="27"/>
                </a:lnTo>
                <a:lnTo>
                  <a:pt x="5851" y="27"/>
                </a:lnTo>
                <a:lnTo>
                  <a:pt x="5817" y="25"/>
                </a:lnTo>
                <a:lnTo>
                  <a:pt x="5784" y="23"/>
                </a:lnTo>
                <a:lnTo>
                  <a:pt x="5751" y="20"/>
                </a:lnTo>
                <a:lnTo>
                  <a:pt x="5721" y="16"/>
                </a:lnTo>
                <a:lnTo>
                  <a:pt x="5692" y="11"/>
                </a:lnTo>
                <a:lnTo>
                  <a:pt x="5666" y="6"/>
                </a:lnTo>
                <a:lnTo>
                  <a:pt x="5641" y="0"/>
                </a:lnTo>
                <a:lnTo>
                  <a:pt x="5641" y="0"/>
                </a:lnTo>
                <a:lnTo>
                  <a:pt x="5617" y="6"/>
                </a:lnTo>
                <a:lnTo>
                  <a:pt x="5589" y="11"/>
                </a:lnTo>
                <a:lnTo>
                  <a:pt x="5561" y="16"/>
                </a:lnTo>
                <a:lnTo>
                  <a:pt x="5531" y="20"/>
                </a:lnTo>
                <a:lnTo>
                  <a:pt x="5499" y="23"/>
                </a:lnTo>
                <a:lnTo>
                  <a:pt x="5466" y="25"/>
                </a:lnTo>
                <a:lnTo>
                  <a:pt x="5432" y="27"/>
                </a:lnTo>
                <a:lnTo>
                  <a:pt x="5396" y="27"/>
                </a:lnTo>
                <a:lnTo>
                  <a:pt x="5396" y="27"/>
                </a:lnTo>
                <a:lnTo>
                  <a:pt x="5361" y="27"/>
                </a:lnTo>
                <a:lnTo>
                  <a:pt x="5326" y="25"/>
                </a:lnTo>
                <a:lnTo>
                  <a:pt x="5293" y="23"/>
                </a:lnTo>
                <a:lnTo>
                  <a:pt x="5262" y="20"/>
                </a:lnTo>
                <a:lnTo>
                  <a:pt x="5231" y="16"/>
                </a:lnTo>
                <a:lnTo>
                  <a:pt x="5202" y="11"/>
                </a:lnTo>
                <a:lnTo>
                  <a:pt x="5176" y="6"/>
                </a:lnTo>
                <a:lnTo>
                  <a:pt x="5151" y="0"/>
                </a:lnTo>
                <a:lnTo>
                  <a:pt x="5151" y="0"/>
                </a:lnTo>
                <a:lnTo>
                  <a:pt x="5126" y="6"/>
                </a:lnTo>
                <a:lnTo>
                  <a:pt x="5100" y="11"/>
                </a:lnTo>
                <a:lnTo>
                  <a:pt x="5070" y="16"/>
                </a:lnTo>
                <a:lnTo>
                  <a:pt x="5041" y="20"/>
                </a:lnTo>
                <a:lnTo>
                  <a:pt x="5009" y="23"/>
                </a:lnTo>
                <a:lnTo>
                  <a:pt x="4975" y="25"/>
                </a:lnTo>
                <a:lnTo>
                  <a:pt x="4941" y="27"/>
                </a:lnTo>
                <a:lnTo>
                  <a:pt x="4906" y="27"/>
                </a:lnTo>
                <a:lnTo>
                  <a:pt x="4906" y="27"/>
                </a:lnTo>
                <a:lnTo>
                  <a:pt x="4870" y="27"/>
                </a:lnTo>
                <a:lnTo>
                  <a:pt x="4836" y="25"/>
                </a:lnTo>
                <a:lnTo>
                  <a:pt x="4802" y="23"/>
                </a:lnTo>
                <a:lnTo>
                  <a:pt x="4771" y="20"/>
                </a:lnTo>
                <a:lnTo>
                  <a:pt x="4741" y="16"/>
                </a:lnTo>
                <a:lnTo>
                  <a:pt x="4712" y="11"/>
                </a:lnTo>
                <a:lnTo>
                  <a:pt x="4685" y="6"/>
                </a:lnTo>
                <a:lnTo>
                  <a:pt x="4661" y="0"/>
                </a:lnTo>
                <a:lnTo>
                  <a:pt x="4661" y="0"/>
                </a:lnTo>
                <a:lnTo>
                  <a:pt x="4637" y="6"/>
                </a:lnTo>
                <a:lnTo>
                  <a:pt x="4609" y="11"/>
                </a:lnTo>
                <a:lnTo>
                  <a:pt x="4581" y="16"/>
                </a:lnTo>
                <a:lnTo>
                  <a:pt x="4551" y="20"/>
                </a:lnTo>
                <a:lnTo>
                  <a:pt x="4518" y="23"/>
                </a:lnTo>
                <a:lnTo>
                  <a:pt x="4486" y="25"/>
                </a:lnTo>
                <a:lnTo>
                  <a:pt x="4451" y="27"/>
                </a:lnTo>
                <a:lnTo>
                  <a:pt x="4416" y="27"/>
                </a:lnTo>
                <a:lnTo>
                  <a:pt x="4416" y="27"/>
                </a:lnTo>
                <a:lnTo>
                  <a:pt x="4381" y="27"/>
                </a:lnTo>
                <a:lnTo>
                  <a:pt x="4346" y="25"/>
                </a:lnTo>
                <a:lnTo>
                  <a:pt x="4313" y="23"/>
                </a:lnTo>
                <a:lnTo>
                  <a:pt x="4280" y="20"/>
                </a:lnTo>
                <a:lnTo>
                  <a:pt x="4250" y="16"/>
                </a:lnTo>
                <a:lnTo>
                  <a:pt x="4222" y="11"/>
                </a:lnTo>
                <a:lnTo>
                  <a:pt x="4196" y="6"/>
                </a:lnTo>
                <a:lnTo>
                  <a:pt x="4170" y="0"/>
                </a:lnTo>
                <a:lnTo>
                  <a:pt x="4170" y="0"/>
                </a:lnTo>
                <a:lnTo>
                  <a:pt x="4146" y="6"/>
                </a:lnTo>
                <a:lnTo>
                  <a:pt x="4119" y="11"/>
                </a:lnTo>
                <a:lnTo>
                  <a:pt x="4090" y="16"/>
                </a:lnTo>
                <a:lnTo>
                  <a:pt x="4060" y="20"/>
                </a:lnTo>
                <a:lnTo>
                  <a:pt x="4029" y="23"/>
                </a:lnTo>
                <a:lnTo>
                  <a:pt x="3995" y="25"/>
                </a:lnTo>
                <a:lnTo>
                  <a:pt x="3961" y="27"/>
                </a:lnTo>
                <a:lnTo>
                  <a:pt x="3925" y="27"/>
                </a:lnTo>
                <a:lnTo>
                  <a:pt x="3925" y="27"/>
                </a:lnTo>
                <a:lnTo>
                  <a:pt x="3890" y="27"/>
                </a:lnTo>
                <a:lnTo>
                  <a:pt x="3856" y="25"/>
                </a:lnTo>
                <a:lnTo>
                  <a:pt x="3822" y="23"/>
                </a:lnTo>
                <a:lnTo>
                  <a:pt x="3791" y="20"/>
                </a:lnTo>
                <a:lnTo>
                  <a:pt x="3761" y="16"/>
                </a:lnTo>
                <a:lnTo>
                  <a:pt x="3731" y="11"/>
                </a:lnTo>
                <a:lnTo>
                  <a:pt x="3705" y="6"/>
                </a:lnTo>
                <a:lnTo>
                  <a:pt x="3681" y="0"/>
                </a:lnTo>
                <a:lnTo>
                  <a:pt x="3681" y="0"/>
                </a:lnTo>
                <a:lnTo>
                  <a:pt x="3655" y="6"/>
                </a:lnTo>
                <a:lnTo>
                  <a:pt x="3629" y="11"/>
                </a:lnTo>
                <a:lnTo>
                  <a:pt x="3600" y="16"/>
                </a:lnTo>
                <a:lnTo>
                  <a:pt x="3570" y="20"/>
                </a:lnTo>
                <a:lnTo>
                  <a:pt x="3538" y="23"/>
                </a:lnTo>
                <a:lnTo>
                  <a:pt x="3505" y="25"/>
                </a:lnTo>
                <a:lnTo>
                  <a:pt x="3470" y="27"/>
                </a:lnTo>
                <a:lnTo>
                  <a:pt x="3435" y="27"/>
                </a:lnTo>
                <a:lnTo>
                  <a:pt x="3435" y="27"/>
                </a:lnTo>
                <a:lnTo>
                  <a:pt x="3400" y="27"/>
                </a:lnTo>
                <a:lnTo>
                  <a:pt x="3365" y="25"/>
                </a:lnTo>
                <a:lnTo>
                  <a:pt x="3332" y="23"/>
                </a:lnTo>
                <a:lnTo>
                  <a:pt x="3300" y="20"/>
                </a:lnTo>
                <a:lnTo>
                  <a:pt x="3270" y="16"/>
                </a:lnTo>
                <a:lnTo>
                  <a:pt x="3242" y="11"/>
                </a:lnTo>
                <a:lnTo>
                  <a:pt x="3214" y="6"/>
                </a:lnTo>
                <a:lnTo>
                  <a:pt x="3190" y="0"/>
                </a:lnTo>
                <a:lnTo>
                  <a:pt x="3190" y="0"/>
                </a:lnTo>
                <a:lnTo>
                  <a:pt x="3166" y="6"/>
                </a:lnTo>
                <a:lnTo>
                  <a:pt x="3139" y="11"/>
                </a:lnTo>
                <a:lnTo>
                  <a:pt x="3110" y="16"/>
                </a:lnTo>
                <a:lnTo>
                  <a:pt x="3080" y="20"/>
                </a:lnTo>
                <a:lnTo>
                  <a:pt x="3048" y="23"/>
                </a:lnTo>
                <a:lnTo>
                  <a:pt x="3015" y="25"/>
                </a:lnTo>
                <a:lnTo>
                  <a:pt x="2981" y="27"/>
                </a:lnTo>
                <a:lnTo>
                  <a:pt x="2945" y="27"/>
                </a:lnTo>
                <a:lnTo>
                  <a:pt x="2945" y="27"/>
                </a:lnTo>
                <a:lnTo>
                  <a:pt x="2910" y="27"/>
                </a:lnTo>
                <a:lnTo>
                  <a:pt x="2876" y="25"/>
                </a:lnTo>
                <a:lnTo>
                  <a:pt x="2842" y="23"/>
                </a:lnTo>
                <a:lnTo>
                  <a:pt x="2810" y="20"/>
                </a:lnTo>
                <a:lnTo>
                  <a:pt x="2779" y="16"/>
                </a:lnTo>
                <a:lnTo>
                  <a:pt x="2751" y="11"/>
                </a:lnTo>
                <a:lnTo>
                  <a:pt x="2725" y="6"/>
                </a:lnTo>
                <a:lnTo>
                  <a:pt x="2700" y="0"/>
                </a:lnTo>
                <a:lnTo>
                  <a:pt x="2700" y="0"/>
                </a:lnTo>
                <a:lnTo>
                  <a:pt x="2675" y="6"/>
                </a:lnTo>
                <a:lnTo>
                  <a:pt x="2648" y="11"/>
                </a:lnTo>
                <a:lnTo>
                  <a:pt x="2620" y="16"/>
                </a:lnTo>
                <a:lnTo>
                  <a:pt x="2589" y="20"/>
                </a:lnTo>
                <a:lnTo>
                  <a:pt x="2558" y="23"/>
                </a:lnTo>
                <a:lnTo>
                  <a:pt x="2525" y="25"/>
                </a:lnTo>
                <a:lnTo>
                  <a:pt x="2490" y="27"/>
                </a:lnTo>
                <a:lnTo>
                  <a:pt x="2455" y="27"/>
                </a:lnTo>
                <a:lnTo>
                  <a:pt x="2455" y="27"/>
                </a:lnTo>
                <a:lnTo>
                  <a:pt x="2419" y="27"/>
                </a:lnTo>
                <a:lnTo>
                  <a:pt x="2385" y="25"/>
                </a:lnTo>
                <a:lnTo>
                  <a:pt x="2352" y="23"/>
                </a:lnTo>
                <a:lnTo>
                  <a:pt x="2320" y="20"/>
                </a:lnTo>
                <a:lnTo>
                  <a:pt x="2290" y="16"/>
                </a:lnTo>
                <a:lnTo>
                  <a:pt x="2261" y="11"/>
                </a:lnTo>
                <a:lnTo>
                  <a:pt x="2234" y="6"/>
                </a:lnTo>
                <a:lnTo>
                  <a:pt x="2210" y="0"/>
                </a:lnTo>
                <a:lnTo>
                  <a:pt x="2210" y="0"/>
                </a:lnTo>
                <a:lnTo>
                  <a:pt x="2185" y="6"/>
                </a:lnTo>
                <a:lnTo>
                  <a:pt x="2158" y="11"/>
                </a:lnTo>
                <a:lnTo>
                  <a:pt x="2130" y="16"/>
                </a:lnTo>
                <a:lnTo>
                  <a:pt x="2100" y="20"/>
                </a:lnTo>
                <a:lnTo>
                  <a:pt x="2067" y="23"/>
                </a:lnTo>
                <a:lnTo>
                  <a:pt x="2034" y="25"/>
                </a:lnTo>
                <a:lnTo>
                  <a:pt x="2000" y="27"/>
                </a:lnTo>
                <a:lnTo>
                  <a:pt x="1964" y="27"/>
                </a:lnTo>
                <a:lnTo>
                  <a:pt x="1964" y="27"/>
                </a:lnTo>
                <a:lnTo>
                  <a:pt x="1929" y="27"/>
                </a:lnTo>
                <a:lnTo>
                  <a:pt x="1894" y="25"/>
                </a:lnTo>
                <a:lnTo>
                  <a:pt x="1861" y="23"/>
                </a:lnTo>
                <a:lnTo>
                  <a:pt x="1830" y="20"/>
                </a:lnTo>
                <a:lnTo>
                  <a:pt x="1799" y="16"/>
                </a:lnTo>
                <a:lnTo>
                  <a:pt x="1771" y="11"/>
                </a:lnTo>
                <a:lnTo>
                  <a:pt x="1744" y="6"/>
                </a:lnTo>
                <a:lnTo>
                  <a:pt x="1719" y="0"/>
                </a:lnTo>
                <a:lnTo>
                  <a:pt x="1719" y="0"/>
                </a:lnTo>
                <a:lnTo>
                  <a:pt x="1695" y="6"/>
                </a:lnTo>
                <a:lnTo>
                  <a:pt x="1668" y="11"/>
                </a:lnTo>
                <a:lnTo>
                  <a:pt x="1640" y="16"/>
                </a:lnTo>
                <a:lnTo>
                  <a:pt x="1609" y="20"/>
                </a:lnTo>
                <a:lnTo>
                  <a:pt x="1577" y="23"/>
                </a:lnTo>
                <a:lnTo>
                  <a:pt x="1544" y="25"/>
                </a:lnTo>
                <a:lnTo>
                  <a:pt x="1510" y="27"/>
                </a:lnTo>
                <a:lnTo>
                  <a:pt x="1475" y="27"/>
                </a:lnTo>
                <a:lnTo>
                  <a:pt x="1475" y="27"/>
                </a:lnTo>
                <a:lnTo>
                  <a:pt x="1439" y="27"/>
                </a:lnTo>
                <a:lnTo>
                  <a:pt x="1405" y="25"/>
                </a:lnTo>
                <a:lnTo>
                  <a:pt x="1372" y="23"/>
                </a:lnTo>
                <a:lnTo>
                  <a:pt x="1339" y="20"/>
                </a:lnTo>
                <a:lnTo>
                  <a:pt x="1309" y="16"/>
                </a:lnTo>
                <a:lnTo>
                  <a:pt x="1281" y="11"/>
                </a:lnTo>
                <a:lnTo>
                  <a:pt x="1254" y="6"/>
                </a:lnTo>
                <a:lnTo>
                  <a:pt x="1229" y="0"/>
                </a:lnTo>
                <a:lnTo>
                  <a:pt x="1229" y="0"/>
                </a:lnTo>
                <a:lnTo>
                  <a:pt x="1205" y="6"/>
                </a:lnTo>
                <a:lnTo>
                  <a:pt x="1177" y="11"/>
                </a:lnTo>
                <a:lnTo>
                  <a:pt x="1149" y="16"/>
                </a:lnTo>
                <a:lnTo>
                  <a:pt x="1119" y="20"/>
                </a:lnTo>
                <a:lnTo>
                  <a:pt x="1087" y="23"/>
                </a:lnTo>
                <a:lnTo>
                  <a:pt x="1054" y="25"/>
                </a:lnTo>
                <a:lnTo>
                  <a:pt x="1020" y="27"/>
                </a:lnTo>
                <a:lnTo>
                  <a:pt x="984" y="27"/>
                </a:lnTo>
                <a:lnTo>
                  <a:pt x="984" y="27"/>
                </a:lnTo>
                <a:lnTo>
                  <a:pt x="949" y="27"/>
                </a:lnTo>
                <a:lnTo>
                  <a:pt x="914" y="25"/>
                </a:lnTo>
                <a:lnTo>
                  <a:pt x="881" y="23"/>
                </a:lnTo>
                <a:lnTo>
                  <a:pt x="850" y="20"/>
                </a:lnTo>
                <a:lnTo>
                  <a:pt x="819" y="16"/>
                </a:lnTo>
                <a:lnTo>
                  <a:pt x="790" y="11"/>
                </a:lnTo>
                <a:lnTo>
                  <a:pt x="764" y="6"/>
                </a:lnTo>
                <a:lnTo>
                  <a:pt x="739" y="0"/>
                </a:lnTo>
                <a:lnTo>
                  <a:pt x="739" y="0"/>
                </a:lnTo>
                <a:lnTo>
                  <a:pt x="714" y="6"/>
                </a:lnTo>
                <a:lnTo>
                  <a:pt x="688" y="11"/>
                </a:lnTo>
                <a:lnTo>
                  <a:pt x="659" y="16"/>
                </a:lnTo>
                <a:lnTo>
                  <a:pt x="629" y="20"/>
                </a:lnTo>
                <a:lnTo>
                  <a:pt x="597" y="23"/>
                </a:lnTo>
                <a:lnTo>
                  <a:pt x="563" y="25"/>
                </a:lnTo>
                <a:lnTo>
                  <a:pt x="529" y="27"/>
                </a:lnTo>
                <a:lnTo>
                  <a:pt x="494" y="27"/>
                </a:lnTo>
                <a:lnTo>
                  <a:pt x="494" y="27"/>
                </a:lnTo>
                <a:lnTo>
                  <a:pt x="458" y="27"/>
                </a:lnTo>
                <a:lnTo>
                  <a:pt x="424" y="25"/>
                </a:lnTo>
                <a:lnTo>
                  <a:pt x="391" y="23"/>
                </a:lnTo>
                <a:lnTo>
                  <a:pt x="359" y="20"/>
                </a:lnTo>
                <a:lnTo>
                  <a:pt x="329" y="16"/>
                </a:lnTo>
                <a:lnTo>
                  <a:pt x="300" y="11"/>
                </a:lnTo>
                <a:lnTo>
                  <a:pt x="273" y="6"/>
                </a:lnTo>
                <a:lnTo>
                  <a:pt x="249" y="0"/>
                </a:lnTo>
                <a:lnTo>
                  <a:pt x="249" y="0"/>
                </a:lnTo>
                <a:lnTo>
                  <a:pt x="225" y="6"/>
                </a:lnTo>
                <a:lnTo>
                  <a:pt x="197" y="11"/>
                </a:lnTo>
                <a:lnTo>
                  <a:pt x="169" y="16"/>
                </a:lnTo>
                <a:lnTo>
                  <a:pt x="139" y="20"/>
                </a:lnTo>
                <a:lnTo>
                  <a:pt x="106" y="23"/>
                </a:lnTo>
                <a:lnTo>
                  <a:pt x="74" y="25"/>
                </a:lnTo>
                <a:lnTo>
                  <a:pt x="39" y="27"/>
                </a:lnTo>
                <a:lnTo>
                  <a:pt x="4" y="27"/>
                </a:lnTo>
                <a:lnTo>
                  <a:pt x="4" y="27"/>
                </a:lnTo>
                <a:lnTo>
                  <a:pt x="0" y="27"/>
                </a:lnTo>
                <a:lnTo>
                  <a:pt x="0" y="3771"/>
                </a:lnTo>
                <a:lnTo>
                  <a:pt x="12338" y="3771"/>
                </a:lnTo>
                <a:lnTo>
                  <a:pt x="12338" y="24"/>
                </a:lnTo>
                <a:lnTo>
                  <a:pt x="12338" y="24"/>
                </a:lnTo>
                <a:lnTo>
                  <a:pt x="12299" y="26"/>
                </a:lnTo>
                <a:lnTo>
                  <a:pt x="12259" y="27"/>
                </a:lnTo>
                <a:lnTo>
                  <a:pt x="12259" y="27"/>
                </a:lnTo>
                <a:close/>
              </a:path>
            </a:pathLst>
          </a:custGeom>
          <a:gradFill>
            <a:gsLst>
              <a:gs pos="0">
                <a:schemeClr val="accent1">
                  <a:lumMod val="75000"/>
                </a:schemeClr>
              </a:gs>
              <a:gs pos="27000">
                <a:srgbClr val="005F70">
                  <a:alpha val="0"/>
                </a:srgbClr>
              </a:gs>
            </a:gsLst>
            <a:lin ang="5400000" scaled="0"/>
          </a:gradFill>
          <a:ln w="57150">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38" name="Oval 211"/>
          <p:cNvSpPr>
            <a:spLocks noChangeAspect="1"/>
          </p:cNvSpPr>
          <p:nvPr/>
        </p:nvSpPr>
        <p:spPr bwMode="auto">
          <a:xfrm>
            <a:off x="3303174" y="2381902"/>
            <a:ext cx="443554" cy="280803"/>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bg2">
              <a:lumMod val="5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39" name="Oval 211"/>
          <p:cNvSpPr>
            <a:spLocks noChangeAspect="1"/>
          </p:cNvSpPr>
          <p:nvPr/>
        </p:nvSpPr>
        <p:spPr bwMode="auto">
          <a:xfrm>
            <a:off x="3941162" y="2458389"/>
            <a:ext cx="366574" cy="232068"/>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bg2">
              <a:lumMod val="5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175" name="Group 3174"/>
          <p:cNvGrpSpPr/>
          <p:nvPr/>
        </p:nvGrpSpPr>
        <p:grpSpPr>
          <a:xfrm>
            <a:off x="3576430" y="2788098"/>
            <a:ext cx="816404" cy="750124"/>
            <a:chOff x="5336622" y="1366111"/>
            <a:chExt cx="613376" cy="563579"/>
          </a:xfrm>
          <a:solidFill>
            <a:schemeClr val="accent2">
              <a:lumMod val="50000"/>
            </a:schemeClr>
          </a:solidFill>
        </p:grpSpPr>
        <p:sp>
          <p:nvSpPr>
            <p:cNvPr id="1128" name="Freeform 26"/>
            <p:cNvSpPr>
              <a:spLocks noEditPoints="1"/>
            </p:cNvSpPr>
            <p:nvPr/>
          </p:nvSpPr>
          <p:spPr bwMode="auto">
            <a:xfrm>
              <a:off x="5336622" y="1366111"/>
              <a:ext cx="253530" cy="563579"/>
            </a:xfrm>
            <a:custGeom>
              <a:avLst/>
              <a:gdLst>
                <a:gd name="T0" fmla="*/ 448 w 472"/>
                <a:gd name="T1" fmla="*/ 242 h 1047"/>
                <a:gd name="T2" fmla="*/ 383 w 472"/>
                <a:gd name="T3" fmla="*/ 214 h 1047"/>
                <a:gd name="T4" fmla="*/ 349 w 472"/>
                <a:gd name="T5" fmla="*/ 134 h 1047"/>
                <a:gd name="T6" fmla="*/ 335 w 472"/>
                <a:gd name="T7" fmla="*/ 128 h 1047"/>
                <a:gd name="T8" fmla="*/ 286 w 472"/>
                <a:gd name="T9" fmla="*/ 98 h 1047"/>
                <a:gd name="T10" fmla="*/ 289 w 472"/>
                <a:gd name="T11" fmla="*/ 80 h 1047"/>
                <a:gd name="T12" fmla="*/ 293 w 472"/>
                <a:gd name="T13" fmla="*/ 46 h 1047"/>
                <a:gd name="T14" fmla="*/ 267 w 472"/>
                <a:gd name="T15" fmla="*/ 9 h 1047"/>
                <a:gd name="T16" fmla="*/ 235 w 472"/>
                <a:gd name="T17" fmla="*/ 0 h 1047"/>
                <a:gd name="T18" fmla="*/ 195 w 472"/>
                <a:gd name="T19" fmla="*/ 16 h 1047"/>
                <a:gd name="T20" fmla="*/ 178 w 472"/>
                <a:gd name="T21" fmla="*/ 58 h 1047"/>
                <a:gd name="T22" fmla="*/ 188 w 472"/>
                <a:gd name="T23" fmla="*/ 90 h 1047"/>
                <a:gd name="T24" fmla="*/ 183 w 472"/>
                <a:gd name="T25" fmla="*/ 116 h 1047"/>
                <a:gd name="T26" fmla="*/ 123 w 472"/>
                <a:gd name="T27" fmla="*/ 134 h 1047"/>
                <a:gd name="T28" fmla="*/ 107 w 472"/>
                <a:gd name="T29" fmla="*/ 209 h 1047"/>
                <a:gd name="T30" fmla="*/ 37 w 472"/>
                <a:gd name="T31" fmla="*/ 234 h 1047"/>
                <a:gd name="T32" fmla="*/ 0 w 472"/>
                <a:gd name="T33" fmla="*/ 259 h 1047"/>
                <a:gd name="T34" fmla="*/ 76 w 472"/>
                <a:gd name="T35" fmla="*/ 422 h 1047"/>
                <a:gd name="T36" fmla="*/ 96 w 472"/>
                <a:gd name="T37" fmla="*/ 437 h 1047"/>
                <a:gd name="T38" fmla="*/ 170 w 472"/>
                <a:gd name="T39" fmla="*/ 453 h 1047"/>
                <a:gd name="T40" fmla="*/ 196 w 472"/>
                <a:gd name="T41" fmla="*/ 1045 h 1047"/>
                <a:gd name="T42" fmla="*/ 224 w 472"/>
                <a:gd name="T43" fmla="*/ 432 h 1047"/>
                <a:gd name="T44" fmla="*/ 242 w 472"/>
                <a:gd name="T45" fmla="*/ 430 h 1047"/>
                <a:gd name="T46" fmla="*/ 247 w 472"/>
                <a:gd name="T47" fmla="*/ 1047 h 1047"/>
                <a:gd name="T48" fmla="*/ 302 w 472"/>
                <a:gd name="T49" fmla="*/ 453 h 1047"/>
                <a:gd name="T50" fmla="*/ 365 w 472"/>
                <a:gd name="T51" fmla="*/ 441 h 1047"/>
                <a:gd name="T52" fmla="*/ 395 w 472"/>
                <a:gd name="T53" fmla="*/ 422 h 1047"/>
                <a:gd name="T54" fmla="*/ 472 w 472"/>
                <a:gd name="T55" fmla="*/ 259 h 1047"/>
                <a:gd name="T56" fmla="*/ 152 w 472"/>
                <a:gd name="T57" fmla="*/ 293 h 1047"/>
                <a:gd name="T58" fmla="*/ 146 w 472"/>
                <a:gd name="T59" fmla="*/ 259 h 1047"/>
                <a:gd name="T60" fmla="*/ 49 w 472"/>
                <a:gd name="T61" fmla="*/ 277 h 1047"/>
                <a:gd name="T62" fmla="*/ 107 w 472"/>
                <a:gd name="T63" fmla="*/ 299 h 1047"/>
                <a:gd name="T64" fmla="*/ 96 w 472"/>
                <a:gd name="T65" fmla="*/ 376 h 1047"/>
                <a:gd name="T66" fmla="*/ 112 w 472"/>
                <a:gd name="T67" fmla="*/ 318 h 1047"/>
                <a:gd name="T68" fmla="*/ 96 w 472"/>
                <a:gd name="T69" fmla="*/ 376 h 1047"/>
                <a:gd name="T70" fmla="*/ 125 w 472"/>
                <a:gd name="T71" fmla="*/ 317 h 1047"/>
                <a:gd name="T72" fmla="*/ 194 w 472"/>
                <a:gd name="T73" fmla="*/ 358 h 1047"/>
                <a:gd name="T74" fmla="*/ 263 w 472"/>
                <a:gd name="T75" fmla="*/ 358 h 1047"/>
                <a:gd name="T76" fmla="*/ 207 w 472"/>
                <a:gd name="T77" fmla="*/ 358 h 1047"/>
                <a:gd name="T78" fmla="*/ 236 w 472"/>
                <a:gd name="T79" fmla="*/ 310 h 1047"/>
                <a:gd name="T80" fmla="*/ 270 w 472"/>
                <a:gd name="T81" fmla="*/ 289 h 1047"/>
                <a:gd name="T82" fmla="*/ 198 w 472"/>
                <a:gd name="T83" fmla="*/ 255 h 1047"/>
                <a:gd name="T84" fmla="*/ 273 w 472"/>
                <a:gd name="T85" fmla="*/ 255 h 1047"/>
                <a:gd name="T86" fmla="*/ 325 w 472"/>
                <a:gd name="T87" fmla="*/ 258 h 1047"/>
                <a:gd name="T88" fmla="*/ 318 w 472"/>
                <a:gd name="T89" fmla="*/ 291 h 1047"/>
                <a:gd name="T90" fmla="*/ 281 w 472"/>
                <a:gd name="T91" fmla="*/ 311 h 1047"/>
                <a:gd name="T92" fmla="*/ 330 w 472"/>
                <a:gd name="T93" fmla="*/ 365 h 1047"/>
                <a:gd name="T94" fmla="*/ 277 w 472"/>
                <a:gd name="T95" fmla="*/ 358 h 1047"/>
                <a:gd name="T96" fmla="*/ 343 w 472"/>
                <a:gd name="T97" fmla="*/ 366 h 1047"/>
                <a:gd name="T98" fmla="*/ 398 w 472"/>
                <a:gd name="T99" fmla="*/ 326 h 1047"/>
                <a:gd name="T100" fmla="*/ 386 w 472"/>
                <a:gd name="T101" fmla="*/ 302 h 1047"/>
                <a:gd name="T102" fmla="*/ 399 w 472"/>
                <a:gd name="T103" fmla="*/ 269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2" h="1047">
                  <a:moveTo>
                    <a:pt x="472" y="259"/>
                  </a:moveTo>
                  <a:lnTo>
                    <a:pt x="472" y="259"/>
                  </a:lnTo>
                  <a:lnTo>
                    <a:pt x="461" y="251"/>
                  </a:lnTo>
                  <a:lnTo>
                    <a:pt x="448" y="242"/>
                  </a:lnTo>
                  <a:lnTo>
                    <a:pt x="434" y="234"/>
                  </a:lnTo>
                  <a:lnTo>
                    <a:pt x="418" y="227"/>
                  </a:lnTo>
                  <a:lnTo>
                    <a:pt x="402" y="221"/>
                  </a:lnTo>
                  <a:lnTo>
                    <a:pt x="383" y="214"/>
                  </a:lnTo>
                  <a:lnTo>
                    <a:pt x="365" y="209"/>
                  </a:lnTo>
                  <a:lnTo>
                    <a:pt x="345" y="203"/>
                  </a:lnTo>
                  <a:lnTo>
                    <a:pt x="362" y="160"/>
                  </a:lnTo>
                  <a:lnTo>
                    <a:pt x="349" y="134"/>
                  </a:lnTo>
                  <a:lnTo>
                    <a:pt x="349" y="134"/>
                  </a:lnTo>
                  <a:lnTo>
                    <a:pt x="349" y="134"/>
                  </a:lnTo>
                  <a:lnTo>
                    <a:pt x="349" y="134"/>
                  </a:lnTo>
                  <a:lnTo>
                    <a:pt x="335" y="128"/>
                  </a:lnTo>
                  <a:lnTo>
                    <a:pt x="321" y="123"/>
                  </a:lnTo>
                  <a:lnTo>
                    <a:pt x="305" y="119"/>
                  </a:lnTo>
                  <a:lnTo>
                    <a:pt x="289" y="116"/>
                  </a:lnTo>
                  <a:lnTo>
                    <a:pt x="286" y="98"/>
                  </a:lnTo>
                  <a:lnTo>
                    <a:pt x="277" y="98"/>
                  </a:lnTo>
                  <a:lnTo>
                    <a:pt x="277" y="98"/>
                  </a:lnTo>
                  <a:lnTo>
                    <a:pt x="283" y="90"/>
                  </a:lnTo>
                  <a:lnTo>
                    <a:pt x="289" y="80"/>
                  </a:lnTo>
                  <a:lnTo>
                    <a:pt x="293" y="68"/>
                  </a:lnTo>
                  <a:lnTo>
                    <a:pt x="293" y="58"/>
                  </a:lnTo>
                  <a:lnTo>
                    <a:pt x="293" y="58"/>
                  </a:lnTo>
                  <a:lnTo>
                    <a:pt x="293" y="46"/>
                  </a:lnTo>
                  <a:lnTo>
                    <a:pt x="289" y="35"/>
                  </a:lnTo>
                  <a:lnTo>
                    <a:pt x="283" y="25"/>
                  </a:lnTo>
                  <a:lnTo>
                    <a:pt x="277" y="16"/>
                  </a:lnTo>
                  <a:lnTo>
                    <a:pt x="267" y="9"/>
                  </a:lnTo>
                  <a:lnTo>
                    <a:pt x="258" y="4"/>
                  </a:lnTo>
                  <a:lnTo>
                    <a:pt x="247" y="1"/>
                  </a:lnTo>
                  <a:lnTo>
                    <a:pt x="235" y="0"/>
                  </a:lnTo>
                  <a:lnTo>
                    <a:pt x="235" y="0"/>
                  </a:lnTo>
                  <a:lnTo>
                    <a:pt x="224" y="1"/>
                  </a:lnTo>
                  <a:lnTo>
                    <a:pt x="214" y="4"/>
                  </a:lnTo>
                  <a:lnTo>
                    <a:pt x="203" y="9"/>
                  </a:lnTo>
                  <a:lnTo>
                    <a:pt x="195" y="16"/>
                  </a:lnTo>
                  <a:lnTo>
                    <a:pt x="188" y="25"/>
                  </a:lnTo>
                  <a:lnTo>
                    <a:pt x="183" y="35"/>
                  </a:lnTo>
                  <a:lnTo>
                    <a:pt x="179" y="46"/>
                  </a:lnTo>
                  <a:lnTo>
                    <a:pt x="178" y="58"/>
                  </a:lnTo>
                  <a:lnTo>
                    <a:pt x="178" y="58"/>
                  </a:lnTo>
                  <a:lnTo>
                    <a:pt x="179" y="68"/>
                  </a:lnTo>
                  <a:lnTo>
                    <a:pt x="183" y="80"/>
                  </a:lnTo>
                  <a:lnTo>
                    <a:pt x="188" y="90"/>
                  </a:lnTo>
                  <a:lnTo>
                    <a:pt x="195" y="98"/>
                  </a:lnTo>
                  <a:lnTo>
                    <a:pt x="186" y="98"/>
                  </a:lnTo>
                  <a:lnTo>
                    <a:pt x="183" y="116"/>
                  </a:lnTo>
                  <a:lnTo>
                    <a:pt x="183" y="116"/>
                  </a:lnTo>
                  <a:lnTo>
                    <a:pt x="167" y="119"/>
                  </a:lnTo>
                  <a:lnTo>
                    <a:pt x="151" y="123"/>
                  </a:lnTo>
                  <a:lnTo>
                    <a:pt x="136" y="128"/>
                  </a:lnTo>
                  <a:lnTo>
                    <a:pt x="123" y="134"/>
                  </a:lnTo>
                  <a:lnTo>
                    <a:pt x="109" y="160"/>
                  </a:lnTo>
                  <a:lnTo>
                    <a:pt x="127" y="203"/>
                  </a:lnTo>
                  <a:lnTo>
                    <a:pt x="127" y="203"/>
                  </a:lnTo>
                  <a:lnTo>
                    <a:pt x="107" y="209"/>
                  </a:lnTo>
                  <a:lnTo>
                    <a:pt x="88" y="214"/>
                  </a:lnTo>
                  <a:lnTo>
                    <a:pt x="69" y="221"/>
                  </a:lnTo>
                  <a:lnTo>
                    <a:pt x="53" y="227"/>
                  </a:lnTo>
                  <a:lnTo>
                    <a:pt x="37" y="234"/>
                  </a:lnTo>
                  <a:lnTo>
                    <a:pt x="24" y="242"/>
                  </a:lnTo>
                  <a:lnTo>
                    <a:pt x="11" y="251"/>
                  </a:lnTo>
                  <a:lnTo>
                    <a:pt x="0" y="259"/>
                  </a:lnTo>
                  <a:lnTo>
                    <a:pt x="0" y="259"/>
                  </a:lnTo>
                  <a:lnTo>
                    <a:pt x="0" y="259"/>
                  </a:lnTo>
                  <a:lnTo>
                    <a:pt x="0" y="293"/>
                  </a:lnTo>
                  <a:lnTo>
                    <a:pt x="76" y="422"/>
                  </a:lnTo>
                  <a:lnTo>
                    <a:pt x="76" y="422"/>
                  </a:lnTo>
                  <a:lnTo>
                    <a:pt x="76" y="422"/>
                  </a:lnTo>
                  <a:lnTo>
                    <a:pt x="80" y="428"/>
                  </a:lnTo>
                  <a:lnTo>
                    <a:pt x="87" y="432"/>
                  </a:lnTo>
                  <a:lnTo>
                    <a:pt x="96" y="437"/>
                  </a:lnTo>
                  <a:lnTo>
                    <a:pt x="107" y="441"/>
                  </a:lnTo>
                  <a:lnTo>
                    <a:pt x="120" y="445"/>
                  </a:lnTo>
                  <a:lnTo>
                    <a:pt x="135" y="448"/>
                  </a:lnTo>
                  <a:lnTo>
                    <a:pt x="170" y="453"/>
                  </a:lnTo>
                  <a:lnTo>
                    <a:pt x="170" y="829"/>
                  </a:lnTo>
                  <a:lnTo>
                    <a:pt x="170" y="1043"/>
                  </a:lnTo>
                  <a:lnTo>
                    <a:pt x="170" y="1043"/>
                  </a:lnTo>
                  <a:lnTo>
                    <a:pt x="196" y="1045"/>
                  </a:lnTo>
                  <a:lnTo>
                    <a:pt x="224" y="1047"/>
                  </a:lnTo>
                  <a:lnTo>
                    <a:pt x="224" y="454"/>
                  </a:lnTo>
                  <a:lnTo>
                    <a:pt x="224" y="432"/>
                  </a:lnTo>
                  <a:lnTo>
                    <a:pt x="224" y="432"/>
                  </a:lnTo>
                  <a:lnTo>
                    <a:pt x="230" y="430"/>
                  </a:lnTo>
                  <a:lnTo>
                    <a:pt x="235" y="429"/>
                  </a:lnTo>
                  <a:lnTo>
                    <a:pt x="235" y="429"/>
                  </a:lnTo>
                  <a:lnTo>
                    <a:pt x="242" y="430"/>
                  </a:lnTo>
                  <a:lnTo>
                    <a:pt x="247" y="432"/>
                  </a:lnTo>
                  <a:lnTo>
                    <a:pt x="247" y="453"/>
                  </a:lnTo>
                  <a:lnTo>
                    <a:pt x="247" y="1047"/>
                  </a:lnTo>
                  <a:lnTo>
                    <a:pt x="247" y="1047"/>
                  </a:lnTo>
                  <a:lnTo>
                    <a:pt x="275" y="1045"/>
                  </a:lnTo>
                  <a:lnTo>
                    <a:pt x="302" y="1043"/>
                  </a:lnTo>
                  <a:lnTo>
                    <a:pt x="302" y="829"/>
                  </a:lnTo>
                  <a:lnTo>
                    <a:pt x="302" y="453"/>
                  </a:lnTo>
                  <a:lnTo>
                    <a:pt x="302" y="453"/>
                  </a:lnTo>
                  <a:lnTo>
                    <a:pt x="337" y="448"/>
                  </a:lnTo>
                  <a:lnTo>
                    <a:pt x="351" y="445"/>
                  </a:lnTo>
                  <a:lnTo>
                    <a:pt x="365" y="441"/>
                  </a:lnTo>
                  <a:lnTo>
                    <a:pt x="375" y="437"/>
                  </a:lnTo>
                  <a:lnTo>
                    <a:pt x="385" y="432"/>
                  </a:lnTo>
                  <a:lnTo>
                    <a:pt x="391" y="428"/>
                  </a:lnTo>
                  <a:lnTo>
                    <a:pt x="395" y="422"/>
                  </a:lnTo>
                  <a:lnTo>
                    <a:pt x="395" y="422"/>
                  </a:lnTo>
                  <a:lnTo>
                    <a:pt x="472" y="293"/>
                  </a:lnTo>
                  <a:lnTo>
                    <a:pt x="472" y="259"/>
                  </a:lnTo>
                  <a:lnTo>
                    <a:pt x="472" y="259"/>
                  </a:lnTo>
                  <a:close/>
                  <a:moveTo>
                    <a:pt x="184" y="255"/>
                  </a:moveTo>
                  <a:lnTo>
                    <a:pt x="187" y="289"/>
                  </a:lnTo>
                  <a:lnTo>
                    <a:pt x="187" y="289"/>
                  </a:lnTo>
                  <a:lnTo>
                    <a:pt x="152" y="293"/>
                  </a:lnTo>
                  <a:lnTo>
                    <a:pt x="120" y="298"/>
                  </a:lnTo>
                  <a:lnTo>
                    <a:pt x="109" y="263"/>
                  </a:lnTo>
                  <a:lnTo>
                    <a:pt x="109" y="263"/>
                  </a:lnTo>
                  <a:lnTo>
                    <a:pt x="146" y="259"/>
                  </a:lnTo>
                  <a:lnTo>
                    <a:pt x="184" y="255"/>
                  </a:lnTo>
                  <a:lnTo>
                    <a:pt x="184" y="255"/>
                  </a:lnTo>
                  <a:close/>
                  <a:moveTo>
                    <a:pt x="49" y="277"/>
                  </a:moveTo>
                  <a:lnTo>
                    <a:pt x="49" y="277"/>
                  </a:lnTo>
                  <a:lnTo>
                    <a:pt x="72" y="271"/>
                  </a:lnTo>
                  <a:lnTo>
                    <a:pt x="96" y="266"/>
                  </a:lnTo>
                  <a:lnTo>
                    <a:pt x="107" y="299"/>
                  </a:lnTo>
                  <a:lnTo>
                    <a:pt x="107" y="299"/>
                  </a:lnTo>
                  <a:lnTo>
                    <a:pt x="85" y="305"/>
                  </a:lnTo>
                  <a:lnTo>
                    <a:pt x="65" y="310"/>
                  </a:lnTo>
                  <a:lnTo>
                    <a:pt x="49" y="277"/>
                  </a:lnTo>
                  <a:close/>
                  <a:moveTo>
                    <a:pt x="96" y="376"/>
                  </a:moveTo>
                  <a:lnTo>
                    <a:pt x="72" y="326"/>
                  </a:lnTo>
                  <a:lnTo>
                    <a:pt x="72" y="326"/>
                  </a:lnTo>
                  <a:lnTo>
                    <a:pt x="91" y="322"/>
                  </a:lnTo>
                  <a:lnTo>
                    <a:pt x="112" y="318"/>
                  </a:lnTo>
                  <a:lnTo>
                    <a:pt x="128" y="368"/>
                  </a:lnTo>
                  <a:lnTo>
                    <a:pt x="128" y="368"/>
                  </a:lnTo>
                  <a:lnTo>
                    <a:pt x="111" y="372"/>
                  </a:lnTo>
                  <a:lnTo>
                    <a:pt x="96" y="376"/>
                  </a:lnTo>
                  <a:lnTo>
                    <a:pt x="96" y="376"/>
                  </a:lnTo>
                  <a:close/>
                  <a:moveTo>
                    <a:pt x="140" y="365"/>
                  </a:moveTo>
                  <a:lnTo>
                    <a:pt x="125" y="317"/>
                  </a:lnTo>
                  <a:lnTo>
                    <a:pt x="125" y="317"/>
                  </a:lnTo>
                  <a:lnTo>
                    <a:pt x="156" y="314"/>
                  </a:lnTo>
                  <a:lnTo>
                    <a:pt x="190" y="311"/>
                  </a:lnTo>
                  <a:lnTo>
                    <a:pt x="194" y="358"/>
                  </a:lnTo>
                  <a:lnTo>
                    <a:pt x="194" y="358"/>
                  </a:lnTo>
                  <a:lnTo>
                    <a:pt x="167" y="361"/>
                  </a:lnTo>
                  <a:lnTo>
                    <a:pt x="140" y="365"/>
                  </a:lnTo>
                  <a:lnTo>
                    <a:pt x="140" y="365"/>
                  </a:lnTo>
                  <a:close/>
                  <a:moveTo>
                    <a:pt x="263" y="358"/>
                  </a:moveTo>
                  <a:lnTo>
                    <a:pt x="263" y="358"/>
                  </a:lnTo>
                  <a:lnTo>
                    <a:pt x="236" y="357"/>
                  </a:lnTo>
                  <a:lnTo>
                    <a:pt x="236" y="357"/>
                  </a:lnTo>
                  <a:lnTo>
                    <a:pt x="207" y="358"/>
                  </a:lnTo>
                  <a:lnTo>
                    <a:pt x="203" y="311"/>
                  </a:lnTo>
                  <a:lnTo>
                    <a:pt x="203" y="311"/>
                  </a:lnTo>
                  <a:lnTo>
                    <a:pt x="236" y="310"/>
                  </a:lnTo>
                  <a:lnTo>
                    <a:pt x="236" y="310"/>
                  </a:lnTo>
                  <a:lnTo>
                    <a:pt x="267" y="311"/>
                  </a:lnTo>
                  <a:lnTo>
                    <a:pt x="263" y="358"/>
                  </a:lnTo>
                  <a:close/>
                  <a:moveTo>
                    <a:pt x="270" y="289"/>
                  </a:moveTo>
                  <a:lnTo>
                    <a:pt x="270" y="289"/>
                  </a:lnTo>
                  <a:lnTo>
                    <a:pt x="240" y="287"/>
                  </a:lnTo>
                  <a:lnTo>
                    <a:pt x="240" y="287"/>
                  </a:lnTo>
                  <a:lnTo>
                    <a:pt x="200" y="289"/>
                  </a:lnTo>
                  <a:lnTo>
                    <a:pt x="198" y="255"/>
                  </a:lnTo>
                  <a:lnTo>
                    <a:pt x="198" y="255"/>
                  </a:lnTo>
                  <a:lnTo>
                    <a:pt x="240" y="254"/>
                  </a:lnTo>
                  <a:lnTo>
                    <a:pt x="240" y="254"/>
                  </a:lnTo>
                  <a:lnTo>
                    <a:pt x="273" y="255"/>
                  </a:lnTo>
                  <a:lnTo>
                    <a:pt x="270" y="289"/>
                  </a:lnTo>
                  <a:close/>
                  <a:moveTo>
                    <a:pt x="286" y="255"/>
                  </a:moveTo>
                  <a:lnTo>
                    <a:pt x="286" y="255"/>
                  </a:lnTo>
                  <a:lnTo>
                    <a:pt x="325" y="258"/>
                  </a:lnTo>
                  <a:lnTo>
                    <a:pt x="361" y="262"/>
                  </a:lnTo>
                  <a:lnTo>
                    <a:pt x="350" y="295"/>
                  </a:lnTo>
                  <a:lnTo>
                    <a:pt x="350" y="295"/>
                  </a:lnTo>
                  <a:lnTo>
                    <a:pt x="318" y="291"/>
                  </a:lnTo>
                  <a:lnTo>
                    <a:pt x="283" y="289"/>
                  </a:lnTo>
                  <a:lnTo>
                    <a:pt x="286" y="255"/>
                  </a:lnTo>
                  <a:close/>
                  <a:moveTo>
                    <a:pt x="277" y="358"/>
                  </a:moveTo>
                  <a:lnTo>
                    <a:pt x="281" y="311"/>
                  </a:lnTo>
                  <a:lnTo>
                    <a:pt x="281" y="311"/>
                  </a:lnTo>
                  <a:lnTo>
                    <a:pt x="314" y="314"/>
                  </a:lnTo>
                  <a:lnTo>
                    <a:pt x="345" y="317"/>
                  </a:lnTo>
                  <a:lnTo>
                    <a:pt x="330" y="365"/>
                  </a:lnTo>
                  <a:lnTo>
                    <a:pt x="330" y="365"/>
                  </a:lnTo>
                  <a:lnTo>
                    <a:pt x="303" y="361"/>
                  </a:lnTo>
                  <a:lnTo>
                    <a:pt x="277" y="358"/>
                  </a:lnTo>
                  <a:lnTo>
                    <a:pt x="277" y="358"/>
                  </a:lnTo>
                  <a:close/>
                  <a:moveTo>
                    <a:pt x="375" y="374"/>
                  </a:moveTo>
                  <a:lnTo>
                    <a:pt x="375" y="374"/>
                  </a:lnTo>
                  <a:lnTo>
                    <a:pt x="359" y="370"/>
                  </a:lnTo>
                  <a:lnTo>
                    <a:pt x="343" y="366"/>
                  </a:lnTo>
                  <a:lnTo>
                    <a:pt x="358" y="318"/>
                  </a:lnTo>
                  <a:lnTo>
                    <a:pt x="358" y="318"/>
                  </a:lnTo>
                  <a:lnTo>
                    <a:pt x="379" y="322"/>
                  </a:lnTo>
                  <a:lnTo>
                    <a:pt x="398" y="326"/>
                  </a:lnTo>
                  <a:lnTo>
                    <a:pt x="375" y="374"/>
                  </a:lnTo>
                  <a:close/>
                  <a:moveTo>
                    <a:pt x="406" y="307"/>
                  </a:moveTo>
                  <a:lnTo>
                    <a:pt x="406" y="307"/>
                  </a:lnTo>
                  <a:lnTo>
                    <a:pt x="386" y="302"/>
                  </a:lnTo>
                  <a:lnTo>
                    <a:pt x="363" y="298"/>
                  </a:lnTo>
                  <a:lnTo>
                    <a:pt x="374" y="265"/>
                  </a:lnTo>
                  <a:lnTo>
                    <a:pt x="374" y="265"/>
                  </a:lnTo>
                  <a:lnTo>
                    <a:pt x="399" y="269"/>
                  </a:lnTo>
                  <a:lnTo>
                    <a:pt x="422" y="274"/>
                  </a:lnTo>
                  <a:lnTo>
                    <a:pt x="406"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34" name="Rounded Rectangle 147"/>
            <p:cNvSpPr/>
            <p:nvPr/>
          </p:nvSpPr>
          <p:spPr bwMode="auto">
            <a:xfrm>
              <a:off x="5543593" y="1669215"/>
              <a:ext cx="406405" cy="201125"/>
            </a:xfrm>
            <a:custGeom>
              <a:avLst/>
              <a:gdLst>
                <a:gd name="connsiteX0" fmla="*/ 765573 w 3219450"/>
                <a:gd name="connsiteY0" fmla="*/ 2049008 h 2667019"/>
                <a:gd name="connsiteX1" fmla="*/ 719138 w 3219450"/>
                <a:gd name="connsiteY1" fmla="*/ 2095443 h 2667019"/>
                <a:gd name="connsiteX2" fmla="*/ 719138 w 3219450"/>
                <a:gd name="connsiteY2" fmla="*/ 2281180 h 2667019"/>
                <a:gd name="connsiteX3" fmla="*/ 765573 w 3219450"/>
                <a:gd name="connsiteY3" fmla="*/ 2327615 h 2667019"/>
                <a:gd name="connsiteX4" fmla="*/ 1060847 w 3219450"/>
                <a:gd name="connsiteY4" fmla="*/ 2327615 h 2667019"/>
                <a:gd name="connsiteX5" fmla="*/ 1107282 w 3219450"/>
                <a:gd name="connsiteY5" fmla="*/ 2281180 h 2667019"/>
                <a:gd name="connsiteX6" fmla="*/ 1107282 w 3219450"/>
                <a:gd name="connsiteY6" fmla="*/ 2095443 h 2667019"/>
                <a:gd name="connsiteX7" fmla="*/ 1060847 w 3219450"/>
                <a:gd name="connsiteY7" fmla="*/ 2049008 h 2667019"/>
                <a:gd name="connsiteX8" fmla="*/ 765573 w 3219450"/>
                <a:gd name="connsiteY8" fmla="*/ 2049008 h 2667019"/>
                <a:gd name="connsiteX9" fmla="*/ 248842 w 3219450"/>
                <a:gd name="connsiteY9" fmla="*/ 2049008 h 2667019"/>
                <a:gd name="connsiteX10" fmla="*/ 202407 w 3219450"/>
                <a:gd name="connsiteY10" fmla="*/ 2095443 h 2667019"/>
                <a:gd name="connsiteX11" fmla="*/ 202407 w 3219450"/>
                <a:gd name="connsiteY11" fmla="*/ 2281180 h 2667019"/>
                <a:gd name="connsiteX12" fmla="*/ 248842 w 3219450"/>
                <a:gd name="connsiteY12" fmla="*/ 2327615 h 2667019"/>
                <a:gd name="connsiteX13" fmla="*/ 544116 w 3219450"/>
                <a:gd name="connsiteY13" fmla="*/ 2327615 h 2667019"/>
                <a:gd name="connsiteX14" fmla="*/ 590551 w 3219450"/>
                <a:gd name="connsiteY14" fmla="*/ 2281180 h 2667019"/>
                <a:gd name="connsiteX15" fmla="*/ 590551 w 3219450"/>
                <a:gd name="connsiteY15" fmla="*/ 2095443 h 2667019"/>
                <a:gd name="connsiteX16" fmla="*/ 544116 w 3219450"/>
                <a:gd name="connsiteY16" fmla="*/ 2049008 h 2667019"/>
                <a:gd name="connsiteX17" fmla="*/ 248842 w 3219450"/>
                <a:gd name="connsiteY17" fmla="*/ 2049008 h 2667019"/>
                <a:gd name="connsiteX18" fmla="*/ 1338060 w 3219450"/>
                <a:gd name="connsiteY18" fmla="*/ 1819699 h 2667019"/>
                <a:gd name="connsiteX19" fmla="*/ 1285875 w 3219450"/>
                <a:gd name="connsiteY19" fmla="*/ 1871884 h 2667019"/>
                <a:gd name="connsiteX20" fmla="*/ 1338060 w 3219450"/>
                <a:gd name="connsiteY20" fmla="*/ 1924068 h 2667019"/>
                <a:gd name="connsiteX21" fmla="*/ 2791714 w 3219450"/>
                <a:gd name="connsiteY21" fmla="*/ 1924069 h 2667019"/>
                <a:gd name="connsiteX22" fmla="*/ 2843899 w 3219450"/>
                <a:gd name="connsiteY22" fmla="*/ 1871884 h 2667019"/>
                <a:gd name="connsiteX23" fmla="*/ 2843900 w 3219450"/>
                <a:gd name="connsiteY23" fmla="*/ 1871884 h 2667019"/>
                <a:gd name="connsiteX24" fmla="*/ 2791715 w 3219450"/>
                <a:gd name="connsiteY24" fmla="*/ 1819699 h 2667019"/>
                <a:gd name="connsiteX25" fmla="*/ 1338060 w 3219450"/>
                <a:gd name="connsiteY25" fmla="*/ 1819699 h 2667019"/>
                <a:gd name="connsiteX26" fmla="*/ 1338060 w 3219450"/>
                <a:gd name="connsiteY26" fmla="*/ 1598243 h 2667019"/>
                <a:gd name="connsiteX27" fmla="*/ 1285875 w 3219450"/>
                <a:gd name="connsiteY27" fmla="*/ 1650428 h 2667019"/>
                <a:gd name="connsiteX28" fmla="*/ 1338060 w 3219450"/>
                <a:gd name="connsiteY28" fmla="*/ 1702612 h 2667019"/>
                <a:gd name="connsiteX29" fmla="*/ 2791714 w 3219450"/>
                <a:gd name="connsiteY29" fmla="*/ 1702613 h 2667019"/>
                <a:gd name="connsiteX30" fmla="*/ 2843899 w 3219450"/>
                <a:gd name="connsiteY30" fmla="*/ 1650428 h 2667019"/>
                <a:gd name="connsiteX31" fmla="*/ 2843900 w 3219450"/>
                <a:gd name="connsiteY31" fmla="*/ 1650428 h 2667019"/>
                <a:gd name="connsiteX32" fmla="*/ 2791715 w 3219450"/>
                <a:gd name="connsiteY32" fmla="*/ 1598243 h 2667019"/>
                <a:gd name="connsiteX33" fmla="*/ 1338060 w 3219450"/>
                <a:gd name="connsiteY33" fmla="*/ 1598243 h 2667019"/>
                <a:gd name="connsiteX34" fmla="*/ 765573 w 3219450"/>
                <a:gd name="connsiteY34" fmla="*/ 1593276 h 2667019"/>
                <a:gd name="connsiteX35" fmla="*/ 719138 w 3219450"/>
                <a:gd name="connsiteY35" fmla="*/ 1639711 h 2667019"/>
                <a:gd name="connsiteX36" fmla="*/ 719138 w 3219450"/>
                <a:gd name="connsiteY36" fmla="*/ 1825448 h 2667019"/>
                <a:gd name="connsiteX37" fmla="*/ 765573 w 3219450"/>
                <a:gd name="connsiteY37" fmla="*/ 1871883 h 2667019"/>
                <a:gd name="connsiteX38" fmla="*/ 1060847 w 3219450"/>
                <a:gd name="connsiteY38" fmla="*/ 1871883 h 2667019"/>
                <a:gd name="connsiteX39" fmla="*/ 1107282 w 3219450"/>
                <a:gd name="connsiteY39" fmla="*/ 1825448 h 2667019"/>
                <a:gd name="connsiteX40" fmla="*/ 1107282 w 3219450"/>
                <a:gd name="connsiteY40" fmla="*/ 1639711 h 2667019"/>
                <a:gd name="connsiteX41" fmla="*/ 1060847 w 3219450"/>
                <a:gd name="connsiteY41" fmla="*/ 1593276 h 2667019"/>
                <a:gd name="connsiteX42" fmla="*/ 765573 w 3219450"/>
                <a:gd name="connsiteY42" fmla="*/ 1593276 h 2667019"/>
                <a:gd name="connsiteX43" fmla="*/ 248842 w 3219450"/>
                <a:gd name="connsiteY43" fmla="*/ 1593276 h 2667019"/>
                <a:gd name="connsiteX44" fmla="*/ 202407 w 3219450"/>
                <a:gd name="connsiteY44" fmla="*/ 1639711 h 2667019"/>
                <a:gd name="connsiteX45" fmla="*/ 202407 w 3219450"/>
                <a:gd name="connsiteY45" fmla="*/ 1825448 h 2667019"/>
                <a:gd name="connsiteX46" fmla="*/ 248842 w 3219450"/>
                <a:gd name="connsiteY46" fmla="*/ 1871883 h 2667019"/>
                <a:gd name="connsiteX47" fmla="*/ 544116 w 3219450"/>
                <a:gd name="connsiteY47" fmla="*/ 1871883 h 2667019"/>
                <a:gd name="connsiteX48" fmla="*/ 590551 w 3219450"/>
                <a:gd name="connsiteY48" fmla="*/ 1825448 h 2667019"/>
                <a:gd name="connsiteX49" fmla="*/ 590551 w 3219450"/>
                <a:gd name="connsiteY49" fmla="*/ 1639711 h 2667019"/>
                <a:gd name="connsiteX50" fmla="*/ 544116 w 3219450"/>
                <a:gd name="connsiteY50" fmla="*/ 1593276 h 2667019"/>
                <a:gd name="connsiteX51" fmla="*/ 248842 w 3219450"/>
                <a:gd name="connsiteY51" fmla="*/ 1593276 h 2667019"/>
                <a:gd name="connsiteX52" fmla="*/ 765573 w 3219450"/>
                <a:gd name="connsiteY52" fmla="*/ 1107300 h 2667019"/>
                <a:gd name="connsiteX53" fmla="*/ 719138 w 3219450"/>
                <a:gd name="connsiteY53" fmla="*/ 1153735 h 2667019"/>
                <a:gd name="connsiteX54" fmla="*/ 719138 w 3219450"/>
                <a:gd name="connsiteY54" fmla="*/ 1339472 h 2667019"/>
                <a:gd name="connsiteX55" fmla="*/ 765573 w 3219450"/>
                <a:gd name="connsiteY55" fmla="*/ 1385907 h 2667019"/>
                <a:gd name="connsiteX56" fmla="*/ 1060847 w 3219450"/>
                <a:gd name="connsiteY56" fmla="*/ 1385907 h 2667019"/>
                <a:gd name="connsiteX57" fmla="*/ 1107282 w 3219450"/>
                <a:gd name="connsiteY57" fmla="*/ 1339472 h 2667019"/>
                <a:gd name="connsiteX58" fmla="*/ 1107282 w 3219450"/>
                <a:gd name="connsiteY58" fmla="*/ 1153735 h 2667019"/>
                <a:gd name="connsiteX59" fmla="*/ 1060847 w 3219450"/>
                <a:gd name="connsiteY59" fmla="*/ 1107300 h 2667019"/>
                <a:gd name="connsiteX60" fmla="*/ 765573 w 3219450"/>
                <a:gd name="connsiteY60" fmla="*/ 1107300 h 2667019"/>
                <a:gd name="connsiteX61" fmla="*/ 248842 w 3219450"/>
                <a:gd name="connsiteY61" fmla="*/ 1107300 h 2667019"/>
                <a:gd name="connsiteX62" fmla="*/ 202407 w 3219450"/>
                <a:gd name="connsiteY62" fmla="*/ 1153735 h 2667019"/>
                <a:gd name="connsiteX63" fmla="*/ 202407 w 3219450"/>
                <a:gd name="connsiteY63" fmla="*/ 1339472 h 2667019"/>
                <a:gd name="connsiteX64" fmla="*/ 248842 w 3219450"/>
                <a:gd name="connsiteY64" fmla="*/ 1385907 h 2667019"/>
                <a:gd name="connsiteX65" fmla="*/ 544116 w 3219450"/>
                <a:gd name="connsiteY65" fmla="*/ 1385907 h 2667019"/>
                <a:gd name="connsiteX66" fmla="*/ 590551 w 3219450"/>
                <a:gd name="connsiteY66" fmla="*/ 1339472 h 2667019"/>
                <a:gd name="connsiteX67" fmla="*/ 590551 w 3219450"/>
                <a:gd name="connsiteY67" fmla="*/ 1153735 h 2667019"/>
                <a:gd name="connsiteX68" fmla="*/ 544116 w 3219450"/>
                <a:gd name="connsiteY68" fmla="*/ 1107300 h 2667019"/>
                <a:gd name="connsiteX69" fmla="*/ 248842 w 3219450"/>
                <a:gd name="connsiteY69" fmla="*/ 1107300 h 2667019"/>
                <a:gd name="connsiteX70" fmla="*/ 1086336 w 3219450"/>
                <a:gd name="connsiteY70" fmla="*/ 402872 h 2667019"/>
                <a:gd name="connsiteX71" fmla="*/ 1152525 w 3219450"/>
                <a:gd name="connsiteY71" fmla="*/ 914419 h 2667019"/>
                <a:gd name="connsiteX72" fmla="*/ 1285875 w 3219450"/>
                <a:gd name="connsiteY72" fmla="*/ 914419 h 2667019"/>
                <a:gd name="connsiteX73" fmla="*/ 1285875 w 3219450"/>
                <a:gd name="connsiteY73" fmla="*/ 1228744 h 2667019"/>
                <a:gd name="connsiteX74" fmla="*/ 3219450 w 3219450"/>
                <a:gd name="connsiteY74" fmla="*/ 1228744 h 2667019"/>
                <a:gd name="connsiteX75" fmla="*/ 3219450 w 3219450"/>
                <a:gd name="connsiteY75" fmla="*/ 2667019 h 2667019"/>
                <a:gd name="connsiteX76" fmla="*/ 1695450 w 3219450"/>
                <a:gd name="connsiteY76" fmla="*/ 2667019 h 2667019"/>
                <a:gd name="connsiteX77" fmla="*/ 1695450 w 3219450"/>
                <a:gd name="connsiteY77" fmla="*/ 2019319 h 2667019"/>
                <a:gd name="connsiteX78" fmla="*/ 1276350 w 3219450"/>
                <a:gd name="connsiteY78" fmla="*/ 2019319 h 2667019"/>
                <a:gd name="connsiteX79" fmla="*/ 1276350 w 3219450"/>
                <a:gd name="connsiteY79" fmla="*/ 2657494 h 2667019"/>
                <a:gd name="connsiteX80" fmla="*/ 0 w 3219450"/>
                <a:gd name="connsiteY80" fmla="*/ 2657494 h 2667019"/>
                <a:gd name="connsiteX81" fmla="*/ 0 w 3219450"/>
                <a:gd name="connsiteY81" fmla="*/ 923944 h 2667019"/>
                <a:gd name="connsiteX82" fmla="*/ 723900 w 3219450"/>
                <a:gd name="connsiteY82" fmla="*/ 933469 h 2667019"/>
                <a:gd name="connsiteX83" fmla="*/ 790575 w 3219450"/>
                <a:gd name="connsiteY83" fmla="*/ 19 h 2667019"/>
                <a:gd name="connsiteX84" fmla="*/ 1086336 w 3219450"/>
                <a:gd name="connsiteY84" fmla="*/ 402872 h 2667019"/>
                <a:gd name="connsiteX0" fmla="*/ 765573 w 3219450"/>
                <a:gd name="connsiteY0" fmla="*/ 1646136 h 2264147"/>
                <a:gd name="connsiteX1" fmla="*/ 719138 w 3219450"/>
                <a:gd name="connsiteY1" fmla="*/ 1692571 h 2264147"/>
                <a:gd name="connsiteX2" fmla="*/ 719138 w 3219450"/>
                <a:gd name="connsiteY2" fmla="*/ 1878308 h 2264147"/>
                <a:gd name="connsiteX3" fmla="*/ 765573 w 3219450"/>
                <a:gd name="connsiteY3" fmla="*/ 1924743 h 2264147"/>
                <a:gd name="connsiteX4" fmla="*/ 1060847 w 3219450"/>
                <a:gd name="connsiteY4" fmla="*/ 1924743 h 2264147"/>
                <a:gd name="connsiteX5" fmla="*/ 1107282 w 3219450"/>
                <a:gd name="connsiteY5" fmla="*/ 1878308 h 2264147"/>
                <a:gd name="connsiteX6" fmla="*/ 1107282 w 3219450"/>
                <a:gd name="connsiteY6" fmla="*/ 1692571 h 2264147"/>
                <a:gd name="connsiteX7" fmla="*/ 1060847 w 3219450"/>
                <a:gd name="connsiteY7" fmla="*/ 1646136 h 2264147"/>
                <a:gd name="connsiteX8" fmla="*/ 765573 w 3219450"/>
                <a:gd name="connsiteY8" fmla="*/ 1646136 h 2264147"/>
                <a:gd name="connsiteX9" fmla="*/ 248842 w 3219450"/>
                <a:gd name="connsiteY9" fmla="*/ 1646136 h 2264147"/>
                <a:gd name="connsiteX10" fmla="*/ 202407 w 3219450"/>
                <a:gd name="connsiteY10" fmla="*/ 1692571 h 2264147"/>
                <a:gd name="connsiteX11" fmla="*/ 202407 w 3219450"/>
                <a:gd name="connsiteY11" fmla="*/ 1878308 h 2264147"/>
                <a:gd name="connsiteX12" fmla="*/ 248842 w 3219450"/>
                <a:gd name="connsiteY12" fmla="*/ 1924743 h 2264147"/>
                <a:gd name="connsiteX13" fmla="*/ 544116 w 3219450"/>
                <a:gd name="connsiteY13" fmla="*/ 1924743 h 2264147"/>
                <a:gd name="connsiteX14" fmla="*/ 590551 w 3219450"/>
                <a:gd name="connsiteY14" fmla="*/ 1878308 h 2264147"/>
                <a:gd name="connsiteX15" fmla="*/ 590551 w 3219450"/>
                <a:gd name="connsiteY15" fmla="*/ 1692571 h 2264147"/>
                <a:gd name="connsiteX16" fmla="*/ 544116 w 3219450"/>
                <a:gd name="connsiteY16" fmla="*/ 1646136 h 2264147"/>
                <a:gd name="connsiteX17" fmla="*/ 248842 w 3219450"/>
                <a:gd name="connsiteY17" fmla="*/ 1646136 h 2264147"/>
                <a:gd name="connsiteX18" fmla="*/ 1338060 w 3219450"/>
                <a:gd name="connsiteY18" fmla="*/ 1416827 h 2264147"/>
                <a:gd name="connsiteX19" fmla="*/ 1285875 w 3219450"/>
                <a:gd name="connsiteY19" fmla="*/ 1469012 h 2264147"/>
                <a:gd name="connsiteX20" fmla="*/ 1338060 w 3219450"/>
                <a:gd name="connsiteY20" fmla="*/ 1521196 h 2264147"/>
                <a:gd name="connsiteX21" fmla="*/ 2791714 w 3219450"/>
                <a:gd name="connsiteY21" fmla="*/ 1521197 h 2264147"/>
                <a:gd name="connsiteX22" fmla="*/ 2843899 w 3219450"/>
                <a:gd name="connsiteY22" fmla="*/ 1469012 h 2264147"/>
                <a:gd name="connsiteX23" fmla="*/ 2843900 w 3219450"/>
                <a:gd name="connsiteY23" fmla="*/ 1469012 h 2264147"/>
                <a:gd name="connsiteX24" fmla="*/ 2791715 w 3219450"/>
                <a:gd name="connsiteY24" fmla="*/ 1416827 h 2264147"/>
                <a:gd name="connsiteX25" fmla="*/ 1338060 w 3219450"/>
                <a:gd name="connsiteY25" fmla="*/ 1416827 h 2264147"/>
                <a:gd name="connsiteX26" fmla="*/ 1338060 w 3219450"/>
                <a:gd name="connsiteY26" fmla="*/ 1195371 h 2264147"/>
                <a:gd name="connsiteX27" fmla="*/ 1285875 w 3219450"/>
                <a:gd name="connsiteY27" fmla="*/ 1247556 h 2264147"/>
                <a:gd name="connsiteX28" fmla="*/ 1338060 w 3219450"/>
                <a:gd name="connsiteY28" fmla="*/ 1299740 h 2264147"/>
                <a:gd name="connsiteX29" fmla="*/ 2791714 w 3219450"/>
                <a:gd name="connsiteY29" fmla="*/ 1299741 h 2264147"/>
                <a:gd name="connsiteX30" fmla="*/ 2843899 w 3219450"/>
                <a:gd name="connsiteY30" fmla="*/ 1247556 h 2264147"/>
                <a:gd name="connsiteX31" fmla="*/ 2843900 w 3219450"/>
                <a:gd name="connsiteY31" fmla="*/ 1247556 h 2264147"/>
                <a:gd name="connsiteX32" fmla="*/ 2791715 w 3219450"/>
                <a:gd name="connsiteY32" fmla="*/ 1195371 h 2264147"/>
                <a:gd name="connsiteX33" fmla="*/ 1338060 w 3219450"/>
                <a:gd name="connsiteY33" fmla="*/ 1195371 h 2264147"/>
                <a:gd name="connsiteX34" fmla="*/ 765573 w 3219450"/>
                <a:gd name="connsiteY34" fmla="*/ 1190404 h 2264147"/>
                <a:gd name="connsiteX35" fmla="*/ 719138 w 3219450"/>
                <a:gd name="connsiteY35" fmla="*/ 1236839 h 2264147"/>
                <a:gd name="connsiteX36" fmla="*/ 719138 w 3219450"/>
                <a:gd name="connsiteY36" fmla="*/ 1422576 h 2264147"/>
                <a:gd name="connsiteX37" fmla="*/ 765573 w 3219450"/>
                <a:gd name="connsiteY37" fmla="*/ 1469011 h 2264147"/>
                <a:gd name="connsiteX38" fmla="*/ 1060847 w 3219450"/>
                <a:gd name="connsiteY38" fmla="*/ 1469011 h 2264147"/>
                <a:gd name="connsiteX39" fmla="*/ 1107282 w 3219450"/>
                <a:gd name="connsiteY39" fmla="*/ 1422576 h 2264147"/>
                <a:gd name="connsiteX40" fmla="*/ 1107282 w 3219450"/>
                <a:gd name="connsiteY40" fmla="*/ 1236839 h 2264147"/>
                <a:gd name="connsiteX41" fmla="*/ 1060847 w 3219450"/>
                <a:gd name="connsiteY41" fmla="*/ 1190404 h 2264147"/>
                <a:gd name="connsiteX42" fmla="*/ 765573 w 3219450"/>
                <a:gd name="connsiteY42" fmla="*/ 1190404 h 2264147"/>
                <a:gd name="connsiteX43" fmla="*/ 248842 w 3219450"/>
                <a:gd name="connsiteY43" fmla="*/ 1190404 h 2264147"/>
                <a:gd name="connsiteX44" fmla="*/ 202407 w 3219450"/>
                <a:gd name="connsiteY44" fmla="*/ 1236839 h 2264147"/>
                <a:gd name="connsiteX45" fmla="*/ 202407 w 3219450"/>
                <a:gd name="connsiteY45" fmla="*/ 1422576 h 2264147"/>
                <a:gd name="connsiteX46" fmla="*/ 248842 w 3219450"/>
                <a:gd name="connsiteY46" fmla="*/ 1469011 h 2264147"/>
                <a:gd name="connsiteX47" fmla="*/ 544116 w 3219450"/>
                <a:gd name="connsiteY47" fmla="*/ 1469011 h 2264147"/>
                <a:gd name="connsiteX48" fmla="*/ 590551 w 3219450"/>
                <a:gd name="connsiteY48" fmla="*/ 1422576 h 2264147"/>
                <a:gd name="connsiteX49" fmla="*/ 590551 w 3219450"/>
                <a:gd name="connsiteY49" fmla="*/ 1236839 h 2264147"/>
                <a:gd name="connsiteX50" fmla="*/ 544116 w 3219450"/>
                <a:gd name="connsiteY50" fmla="*/ 1190404 h 2264147"/>
                <a:gd name="connsiteX51" fmla="*/ 248842 w 3219450"/>
                <a:gd name="connsiteY51" fmla="*/ 1190404 h 2264147"/>
                <a:gd name="connsiteX52" fmla="*/ 765573 w 3219450"/>
                <a:gd name="connsiteY52" fmla="*/ 704428 h 2264147"/>
                <a:gd name="connsiteX53" fmla="*/ 719138 w 3219450"/>
                <a:gd name="connsiteY53" fmla="*/ 750863 h 2264147"/>
                <a:gd name="connsiteX54" fmla="*/ 719138 w 3219450"/>
                <a:gd name="connsiteY54" fmla="*/ 936600 h 2264147"/>
                <a:gd name="connsiteX55" fmla="*/ 765573 w 3219450"/>
                <a:gd name="connsiteY55" fmla="*/ 983035 h 2264147"/>
                <a:gd name="connsiteX56" fmla="*/ 1060847 w 3219450"/>
                <a:gd name="connsiteY56" fmla="*/ 983035 h 2264147"/>
                <a:gd name="connsiteX57" fmla="*/ 1107282 w 3219450"/>
                <a:gd name="connsiteY57" fmla="*/ 936600 h 2264147"/>
                <a:gd name="connsiteX58" fmla="*/ 1107282 w 3219450"/>
                <a:gd name="connsiteY58" fmla="*/ 750863 h 2264147"/>
                <a:gd name="connsiteX59" fmla="*/ 1060847 w 3219450"/>
                <a:gd name="connsiteY59" fmla="*/ 704428 h 2264147"/>
                <a:gd name="connsiteX60" fmla="*/ 765573 w 3219450"/>
                <a:gd name="connsiteY60" fmla="*/ 704428 h 2264147"/>
                <a:gd name="connsiteX61" fmla="*/ 248842 w 3219450"/>
                <a:gd name="connsiteY61" fmla="*/ 704428 h 2264147"/>
                <a:gd name="connsiteX62" fmla="*/ 202407 w 3219450"/>
                <a:gd name="connsiteY62" fmla="*/ 750863 h 2264147"/>
                <a:gd name="connsiteX63" fmla="*/ 202407 w 3219450"/>
                <a:gd name="connsiteY63" fmla="*/ 936600 h 2264147"/>
                <a:gd name="connsiteX64" fmla="*/ 248842 w 3219450"/>
                <a:gd name="connsiteY64" fmla="*/ 983035 h 2264147"/>
                <a:gd name="connsiteX65" fmla="*/ 544116 w 3219450"/>
                <a:gd name="connsiteY65" fmla="*/ 983035 h 2264147"/>
                <a:gd name="connsiteX66" fmla="*/ 590551 w 3219450"/>
                <a:gd name="connsiteY66" fmla="*/ 936600 h 2264147"/>
                <a:gd name="connsiteX67" fmla="*/ 590551 w 3219450"/>
                <a:gd name="connsiteY67" fmla="*/ 750863 h 2264147"/>
                <a:gd name="connsiteX68" fmla="*/ 544116 w 3219450"/>
                <a:gd name="connsiteY68" fmla="*/ 704428 h 2264147"/>
                <a:gd name="connsiteX69" fmla="*/ 248842 w 3219450"/>
                <a:gd name="connsiteY69" fmla="*/ 704428 h 2264147"/>
                <a:gd name="connsiteX70" fmla="*/ 1086336 w 3219450"/>
                <a:gd name="connsiteY70" fmla="*/ 0 h 2264147"/>
                <a:gd name="connsiteX71" fmla="*/ 1152525 w 3219450"/>
                <a:gd name="connsiteY71" fmla="*/ 511547 h 2264147"/>
                <a:gd name="connsiteX72" fmla="*/ 1285875 w 3219450"/>
                <a:gd name="connsiteY72" fmla="*/ 511547 h 2264147"/>
                <a:gd name="connsiteX73" fmla="*/ 1285875 w 3219450"/>
                <a:gd name="connsiteY73" fmla="*/ 825872 h 2264147"/>
                <a:gd name="connsiteX74" fmla="*/ 3219450 w 3219450"/>
                <a:gd name="connsiteY74" fmla="*/ 825872 h 2264147"/>
                <a:gd name="connsiteX75" fmla="*/ 3219450 w 3219450"/>
                <a:gd name="connsiteY75" fmla="*/ 2264147 h 2264147"/>
                <a:gd name="connsiteX76" fmla="*/ 1695450 w 3219450"/>
                <a:gd name="connsiteY76" fmla="*/ 2264147 h 2264147"/>
                <a:gd name="connsiteX77" fmla="*/ 1695450 w 3219450"/>
                <a:gd name="connsiteY77" fmla="*/ 1616447 h 2264147"/>
                <a:gd name="connsiteX78" fmla="*/ 1276350 w 3219450"/>
                <a:gd name="connsiteY78" fmla="*/ 1616447 h 2264147"/>
                <a:gd name="connsiteX79" fmla="*/ 1276350 w 3219450"/>
                <a:gd name="connsiteY79" fmla="*/ 2254622 h 2264147"/>
                <a:gd name="connsiteX80" fmla="*/ 0 w 3219450"/>
                <a:gd name="connsiteY80" fmla="*/ 2254622 h 2264147"/>
                <a:gd name="connsiteX81" fmla="*/ 0 w 3219450"/>
                <a:gd name="connsiteY81" fmla="*/ 521072 h 2264147"/>
                <a:gd name="connsiteX82" fmla="*/ 723900 w 3219450"/>
                <a:gd name="connsiteY82" fmla="*/ 530597 h 2264147"/>
                <a:gd name="connsiteX83" fmla="*/ 756210 w 3219450"/>
                <a:gd name="connsiteY83" fmla="*/ 9524 h 2264147"/>
                <a:gd name="connsiteX84" fmla="*/ 1086336 w 3219450"/>
                <a:gd name="connsiteY84" fmla="*/ 0 h 2264147"/>
                <a:gd name="connsiteX0" fmla="*/ 765573 w 3219450"/>
                <a:gd name="connsiteY0" fmla="*/ 1636612 h 2254623"/>
                <a:gd name="connsiteX1" fmla="*/ 719138 w 3219450"/>
                <a:gd name="connsiteY1" fmla="*/ 1683047 h 2254623"/>
                <a:gd name="connsiteX2" fmla="*/ 719138 w 3219450"/>
                <a:gd name="connsiteY2" fmla="*/ 1868784 h 2254623"/>
                <a:gd name="connsiteX3" fmla="*/ 765573 w 3219450"/>
                <a:gd name="connsiteY3" fmla="*/ 1915219 h 2254623"/>
                <a:gd name="connsiteX4" fmla="*/ 1060847 w 3219450"/>
                <a:gd name="connsiteY4" fmla="*/ 1915219 h 2254623"/>
                <a:gd name="connsiteX5" fmla="*/ 1107282 w 3219450"/>
                <a:gd name="connsiteY5" fmla="*/ 1868784 h 2254623"/>
                <a:gd name="connsiteX6" fmla="*/ 1107282 w 3219450"/>
                <a:gd name="connsiteY6" fmla="*/ 1683047 h 2254623"/>
                <a:gd name="connsiteX7" fmla="*/ 1060847 w 3219450"/>
                <a:gd name="connsiteY7" fmla="*/ 1636612 h 2254623"/>
                <a:gd name="connsiteX8" fmla="*/ 765573 w 3219450"/>
                <a:gd name="connsiteY8" fmla="*/ 1636612 h 2254623"/>
                <a:gd name="connsiteX9" fmla="*/ 248842 w 3219450"/>
                <a:gd name="connsiteY9" fmla="*/ 1636612 h 2254623"/>
                <a:gd name="connsiteX10" fmla="*/ 202407 w 3219450"/>
                <a:gd name="connsiteY10" fmla="*/ 1683047 h 2254623"/>
                <a:gd name="connsiteX11" fmla="*/ 202407 w 3219450"/>
                <a:gd name="connsiteY11" fmla="*/ 1868784 h 2254623"/>
                <a:gd name="connsiteX12" fmla="*/ 248842 w 3219450"/>
                <a:gd name="connsiteY12" fmla="*/ 1915219 h 2254623"/>
                <a:gd name="connsiteX13" fmla="*/ 544116 w 3219450"/>
                <a:gd name="connsiteY13" fmla="*/ 1915219 h 2254623"/>
                <a:gd name="connsiteX14" fmla="*/ 590551 w 3219450"/>
                <a:gd name="connsiteY14" fmla="*/ 1868784 h 2254623"/>
                <a:gd name="connsiteX15" fmla="*/ 590551 w 3219450"/>
                <a:gd name="connsiteY15" fmla="*/ 1683047 h 2254623"/>
                <a:gd name="connsiteX16" fmla="*/ 544116 w 3219450"/>
                <a:gd name="connsiteY16" fmla="*/ 1636612 h 2254623"/>
                <a:gd name="connsiteX17" fmla="*/ 248842 w 3219450"/>
                <a:gd name="connsiteY17" fmla="*/ 1636612 h 2254623"/>
                <a:gd name="connsiteX18" fmla="*/ 1338060 w 3219450"/>
                <a:gd name="connsiteY18" fmla="*/ 1407303 h 2254623"/>
                <a:gd name="connsiteX19" fmla="*/ 1285875 w 3219450"/>
                <a:gd name="connsiteY19" fmla="*/ 1459488 h 2254623"/>
                <a:gd name="connsiteX20" fmla="*/ 1338060 w 3219450"/>
                <a:gd name="connsiteY20" fmla="*/ 1511672 h 2254623"/>
                <a:gd name="connsiteX21" fmla="*/ 2791714 w 3219450"/>
                <a:gd name="connsiteY21" fmla="*/ 1511673 h 2254623"/>
                <a:gd name="connsiteX22" fmla="*/ 2843899 w 3219450"/>
                <a:gd name="connsiteY22" fmla="*/ 1459488 h 2254623"/>
                <a:gd name="connsiteX23" fmla="*/ 2843900 w 3219450"/>
                <a:gd name="connsiteY23" fmla="*/ 1459488 h 2254623"/>
                <a:gd name="connsiteX24" fmla="*/ 2791715 w 3219450"/>
                <a:gd name="connsiteY24" fmla="*/ 1407303 h 2254623"/>
                <a:gd name="connsiteX25" fmla="*/ 1338060 w 3219450"/>
                <a:gd name="connsiteY25" fmla="*/ 1407303 h 2254623"/>
                <a:gd name="connsiteX26" fmla="*/ 1338060 w 3219450"/>
                <a:gd name="connsiteY26" fmla="*/ 1185847 h 2254623"/>
                <a:gd name="connsiteX27" fmla="*/ 1285875 w 3219450"/>
                <a:gd name="connsiteY27" fmla="*/ 1238032 h 2254623"/>
                <a:gd name="connsiteX28" fmla="*/ 1338060 w 3219450"/>
                <a:gd name="connsiteY28" fmla="*/ 1290216 h 2254623"/>
                <a:gd name="connsiteX29" fmla="*/ 2791714 w 3219450"/>
                <a:gd name="connsiteY29" fmla="*/ 1290217 h 2254623"/>
                <a:gd name="connsiteX30" fmla="*/ 2843899 w 3219450"/>
                <a:gd name="connsiteY30" fmla="*/ 1238032 h 2254623"/>
                <a:gd name="connsiteX31" fmla="*/ 2843900 w 3219450"/>
                <a:gd name="connsiteY31" fmla="*/ 1238032 h 2254623"/>
                <a:gd name="connsiteX32" fmla="*/ 2791715 w 3219450"/>
                <a:gd name="connsiteY32" fmla="*/ 1185847 h 2254623"/>
                <a:gd name="connsiteX33" fmla="*/ 1338060 w 3219450"/>
                <a:gd name="connsiteY33" fmla="*/ 1185847 h 2254623"/>
                <a:gd name="connsiteX34" fmla="*/ 765573 w 3219450"/>
                <a:gd name="connsiteY34" fmla="*/ 1180880 h 2254623"/>
                <a:gd name="connsiteX35" fmla="*/ 719138 w 3219450"/>
                <a:gd name="connsiteY35" fmla="*/ 1227315 h 2254623"/>
                <a:gd name="connsiteX36" fmla="*/ 719138 w 3219450"/>
                <a:gd name="connsiteY36" fmla="*/ 1413052 h 2254623"/>
                <a:gd name="connsiteX37" fmla="*/ 765573 w 3219450"/>
                <a:gd name="connsiteY37" fmla="*/ 1459487 h 2254623"/>
                <a:gd name="connsiteX38" fmla="*/ 1060847 w 3219450"/>
                <a:gd name="connsiteY38" fmla="*/ 1459487 h 2254623"/>
                <a:gd name="connsiteX39" fmla="*/ 1107282 w 3219450"/>
                <a:gd name="connsiteY39" fmla="*/ 1413052 h 2254623"/>
                <a:gd name="connsiteX40" fmla="*/ 1107282 w 3219450"/>
                <a:gd name="connsiteY40" fmla="*/ 1227315 h 2254623"/>
                <a:gd name="connsiteX41" fmla="*/ 1060847 w 3219450"/>
                <a:gd name="connsiteY41" fmla="*/ 1180880 h 2254623"/>
                <a:gd name="connsiteX42" fmla="*/ 765573 w 3219450"/>
                <a:gd name="connsiteY42" fmla="*/ 1180880 h 2254623"/>
                <a:gd name="connsiteX43" fmla="*/ 248842 w 3219450"/>
                <a:gd name="connsiteY43" fmla="*/ 1180880 h 2254623"/>
                <a:gd name="connsiteX44" fmla="*/ 202407 w 3219450"/>
                <a:gd name="connsiteY44" fmla="*/ 1227315 h 2254623"/>
                <a:gd name="connsiteX45" fmla="*/ 202407 w 3219450"/>
                <a:gd name="connsiteY45" fmla="*/ 1413052 h 2254623"/>
                <a:gd name="connsiteX46" fmla="*/ 248842 w 3219450"/>
                <a:gd name="connsiteY46" fmla="*/ 1459487 h 2254623"/>
                <a:gd name="connsiteX47" fmla="*/ 544116 w 3219450"/>
                <a:gd name="connsiteY47" fmla="*/ 1459487 h 2254623"/>
                <a:gd name="connsiteX48" fmla="*/ 590551 w 3219450"/>
                <a:gd name="connsiteY48" fmla="*/ 1413052 h 2254623"/>
                <a:gd name="connsiteX49" fmla="*/ 590551 w 3219450"/>
                <a:gd name="connsiteY49" fmla="*/ 1227315 h 2254623"/>
                <a:gd name="connsiteX50" fmla="*/ 544116 w 3219450"/>
                <a:gd name="connsiteY50" fmla="*/ 1180880 h 2254623"/>
                <a:gd name="connsiteX51" fmla="*/ 248842 w 3219450"/>
                <a:gd name="connsiteY51" fmla="*/ 1180880 h 2254623"/>
                <a:gd name="connsiteX52" fmla="*/ 765573 w 3219450"/>
                <a:gd name="connsiteY52" fmla="*/ 694904 h 2254623"/>
                <a:gd name="connsiteX53" fmla="*/ 719138 w 3219450"/>
                <a:gd name="connsiteY53" fmla="*/ 741339 h 2254623"/>
                <a:gd name="connsiteX54" fmla="*/ 719138 w 3219450"/>
                <a:gd name="connsiteY54" fmla="*/ 927076 h 2254623"/>
                <a:gd name="connsiteX55" fmla="*/ 765573 w 3219450"/>
                <a:gd name="connsiteY55" fmla="*/ 973511 h 2254623"/>
                <a:gd name="connsiteX56" fmla="*/ 1060847 w 3219450"/>
                <a:gd name="connsiteY56" fmla="*/ 973511 h 2254623"/>
                <a:gd name="connsiteX57" fmla="*/ 1107282 w 3219450"/>
                <a:gd name="connsiteY57" fmla="*/ 927076 h 2254623"/>
                <a:gd name="connsiteX58" fmla="*/ 1107282 w 3219450"/>
                <a:gd name="connsiteY58" fmla="*/ 741339 h 2254623"/>
                <a:gd name="connsiteX59" fmla="*/ 1060847 w 3219450"/>
                <a:gd name="connsiteY59" fmla="*/ 694904 h 2254623"/>
                <a:gd name="connsiteX60" fmla="*/ 765573 w 3219450"/>
                <a:gd name="connsiteY60" fmla="*/ 694904 h 2254623"/>
                <a:gd name="connsiteX61" fmla="*/ 248842 w 3219450"/>
                <a:gd name="connsiteY61" fmla="*/ 694904 h 2254623"/>
                <a:gd name="connsiteX62" fmla="*/ 202407 w 3219450"/>
                <a:gd name="connsiteY62" fmla="*/ 741339 h 2254623"/>
                <a:gd name="connsiteX63" fmla="*/ 202407 w 3219450"/>
                <a:gd name="connsiteY63" fmla="*/ 927076 h 2254623"/>
                <a:gd name="connsiteX64" fmla="*/ 248842 w 3219450"/>
                <a:gd name="connsiteY64" fmla="*/ 973511 h 2254623"/>
                <a:gd name="connsiteX65" fmla="*/ 544116 w 3219450"/>
                <a:gd name="connsiteY65" fmla="*/ 973511 h 2254623"/>
                <a:gd name="connsiteX66" fmla="*/ 590551 w 3219450"/>
                <a:gd name="connsiteY66" fmla="*/ 927076 h 2254623"/>
                <a:gd name="connsiteX67" fmla="*/ 590551 w 3219450"/>
                <a:gd name="connsiteY67" fmla="*/ 741339 h 2254623"/>
                <a:gd name="connsiteX68" fmla="*/ 544116 w 3219450"/>
                <a:gd name="connsiteY68" fmla="*/ 694904 h 2254623"/>
                <a:gd name="connsiteX69" fmla="*/ 248842 w 3219450"/>
                <a:gd name="connsiteY69" fmla="*/ 694904 h 2254623"/>
                <a:gd name="connsiteX70" fmla="*/ 1086335 w 3219450"/>
                <a:gd name="connsiteY70" fmla="*/ 23684 h 2254623"/>
                <a:gd name="connsiteX71" fmla="*/ 1152525 w 3219450"/>
                <a:gd name="connsiteY71" fmla="*/ 502023 h 2254623"/>
                <a:gd name="connsiteX72" fmla="*/ 1285875 w 3219450"/>
                <a:gd name="connsiteY72" fmla="*/ 502023 h 2254623"/>
                <a:gd name="connsiteX73" fmla="*/ 1285875 w 3219450"/>
                <a:gd name="connsiteY73" fmla="*/ 816348 h 2254623"/>
                <a:gd name="connsiteX74" fmla="*/ 3219450 w 3219450"/>
                <a:gd name="connsiteY74" fmla="*/ 816348 h 2254623"/>
                <a:gd name="connsiteX75" fmla="*/ 3219450 w 3219450"/>
                <a:gd name="connsiteY75" fmla="*/ 2254623 h 2254623"/>
                <a:gd name="connsiteX76" fmla="*/ 1695450 w 3219450"/>
                <a:gd name="connsiteY76" fmla="*/ 2254623 h 2254623"/>
                <a:gd name="connsiteX77" fmla="*/ 1695450 w 3219450"/>
                <a:gd name="connsiteY77" fmla="*/ 1606923 h 2254623"/>
                <a:gd name="connsiteX78" fmla="*/ 1276350 w 3219450"/>
                <a:gd name="connsiteY78" fmla="*/ 1606923 h 2254623"/>
                <a:gd name="connsiteX79" fmla="*/ 1276350 w 3219450"/>
                <a:gd name="connsiteY79" fmla="*/ 2245098 h 2254623"/>
                <a:gd name="connsiteX80" fmla="*/ 0 w 3219450"/>
                <a:gd name="connsiteY80" fmla="*/ 2245098 h 2254623"/>
                <a:gd name="connsiteX81" fmla="*/ 0 w 3219450"/>
                <a:gd name="connsiteY81" fmla="*/ 511548 h 2254623"/>
                <a:gd name="connsiteX82" fmla="*/ 723900 w 3219450"/>
                <a:gd name="connsiteY82" fmla="*/ 521073 h 2254623"/>
                <a:gd name="connsiteX83" fmla="*/ 756210 w 3219450"/>
                <a:gd name="connsiteY83" fmla="*/ 0 h 2254623"/>
                <a:gd name="connsiteX84" fmla="*/ 1086335 w 3219450"/>
                <a:gd name="connsiteY84" fmla="*/ 23684 h 2254623"/>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723900 w 3219450"/>
                <a:gd name="connsiteY82" fmla="*/ 504469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723900 w 3219450"/>
                <a:gd name="connsiteY82" fmla="*/ 504469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674092 w 3219450"/>
                <a:gd name="connsiteY82" fmla="*/ 498934 h 2238019"/>
                <a:gd name="connsiteX83" fmla="*/ 756209 w 3219450"/>
                <a:gd name="connsiteY83" fmla="*/ 0 h 2238019"/>
                <a:gd name="connsiteX84" fmla="*/ 1086335 w 3219450"/>
                <a:gd name="connsiteY84" fmla="*/ 7080 h 2238019"/>
                <a:gd name="connsiteX0" fmla="*/ 765573 w 3219450"/>
                <a:gd name="connsiteY0" fmla="*/ 1620008 h 2238019"/>
                <a:gd name="connsiteX1" fmla="*/ 719138 w 3219450"/>
                <a:gd name="connsiteY1" fmla="*/ 1666443 h 2238019"/>
                <a:gd name="connsiteX2" fmla="*/ 719138 w 3219450"/>
                <a:gd name="connsiteY2" fmla="*/ 1852180 h 2238019"/>
                <a:gd name="connsiteX3" fmla="*/ 765573 w 3219450"/>
                <a:gd name="connsiteY3" fmla="*/ 1898615 h 2238019"/>
                <a:gd name="connsiteX4" fmla="*/ 1060847 w 3219450"/>
                <a:gd name="connsiteY4" fmla="*/ 1898615 h 2238019"/>
                <a:gd name="connsiteX5" fmla="*/ 1107282 w 3219450"/>
                <a:gd name="connsiteY5" fmla="*/ 1852180 h 2238019"/>
                <a:gd name="connsiteX6" fmla="*/ 1107282 w 3219450"/>
                <a:gd name="connsiteY6" fmla="*/ 1666443 h 2238019"/>
                <a:gd name="connsiteX7" fmla="*/ 1060847 w 3219450"/>
                <a:gd name="connsiteY7" fmla="*/ 1620008 h 2238019"/>
                <a:gd name="connsiteX8" fmla="*/ 765573 w 3219450"/>
                <a:gd name="connsiteY8" fmla="*/ 1620008 h 2238019"/>
                <a:gd name="connsiteX9" fmla="*/ 248842 w 3219450"/>
                <a:gd name="connsiteY9" fmla="*/ 1620008 h 2238019"/>
                <a:gd name="connsiteX10" fmla="*/ 202407 w 3219450"/>
                <a:gd name="connsiteY10" fmla="*/ 1666443 h 2238019"/>
                <a:gd name="connsiteX11" fmla="*/ 202407 w 3219450"/>
                <a:gd name="connsiteY11" fmla="*/ 1852180 h 2238019"/>
                <a:gd name="connsiteX12" fmla="*/ 248842 w 3219450"/>
                <a:gd name="connsiteY12" fmla="*/ 1898615 h 2238019"/>
                <a:gd name="connsiteX13" fmla="*/ 544116 w 3219450"/>
                <a:gd name="connsiteY13" fmla="*/ 1898615 h 2238019"/>
                <a:gd name="connsiteX14" fmla="*/ 590551 w 3219450"/>
                <a:gd name="connsiteY14" fmla="*/ 1852180 h 2238019"/>
                <a:gd name="connsiteX15" fmla="*/ 590551 w 3219450"/>
                <a:gd name="connsiteY15" fmla="*/ 1666443 h 2238019"/>
                <a:gd name="connsiteX16" fmla="*/ 544116 w 3219450"/>
                <a:gd name="connsiteY16" fmla="*/ 1620008 h 2238019"/>
                <a:gd name="connsiteX17" fmla="*/ 248842 w 3219450"/>
                <a:gd name="connsiteY17" fmla="*/ 1620008 h 2238019"/>
                <a:gd name="connsiteX18" fmla="*/ 1338060 w 3219450"/>
                <a:gd name="connsiteY18" fmla="*/ 1390699 h 2238019"/>
                <a:gd name="connsiteX19" fmla="*/ 1285875 w 3219450"/>
                <a:gd name="connsiteY19" fmla="*/ 1442884 h 2238019"/>
                <a:gd name="connsiteX20" fmla="*/ 1338060 w 3219450"/>
                <a:gd name="connsiteY20" fmla="*/ 1495068 h 2238019"/>
                <a:gd name="connsiteX21" fmla="*/ 2791714 w 3219450"/>
                <a:gd name="connsiteY21" fmla="*/ 1495069 h 2238019"/>
                <a:gd name="connsiteX22" fmla="*/ 2843899 w 3219450"/>
                <a:gd name="connsiteY22" fmla="*/ 1442884 h 2238019"/>
                <a:gd name="connsiteX23" fmla="*/ 2843900 w 3219450"/>
                <a:gd name="connsiteY23" fmla="*/ 1442884 h 2238019"/>
                <a:gd name="connsiteX24" fmla="*/ 2791715 w 3219450"/>
                <a:gd name="connsiteY24" fmla="*/ 1390699 h 2238019"/>
                <a:gd name="connsiteX25" fmla="*/ 1338060 w 3219450"/>
                <a:gd name="connsiteY25" fmla="*/ 1390699 h 2238019"/>
                <a:gd name="connsiteX26" fmla="*/ 1338060 w 3219450"/>
                <a:gd name="connsiteY26" fmla="*/ 1169243 h 2238019"/>
                <a:gd name="connsiteX27" fmla="*/ 1285875 w 3219450"/>
                <a:gd name="connsiteY27" fmla="*/ 1221428 h 2238019"/>
                <a:gd name="connsiteX28" fmla="*/ 1338060 w 3219450"/>
                <a:gd name="connsiteY28" fmla="*/ 1273612 h 2238019"/>
                <a:gd name="connsiteX29" fmla="*/ 2791714 w 3219450"/>
                <a:gd name="connsiteY29" fmla="*/ 1273613 h 2238019"/>
                <a:gd name="connsiteX30" fmla="*/ 2843899 w 3219450"/>
                <a:gd name="connsiteY30" fmla="*/ 1221428 h 2238019"/>
                <a:gd name="connsiteX31" fmla="*/ 2843900 w 3219450"/>
                <a:gd name="connsiteY31" fmla="*/ 1221428 h 2238019"/>
                <a:gd name="connsiteX32" fmla="*/ 2791715 w 3219450"/>
                <a:gd name="connsiteY32" fmla="*/ 1169243 h 2238019"/>
                <a:gd name="connsiteX33" fmla="*/ 1338060 w 3219450"/>
                <a:gd name="connsiteY33" fmla="*/ 1169243 h 2238019"/>
                <a:gd name="connsiteX34" fmla="*/ 765573 w 3219450"/>
                <a:gd name="connsiteY34" fmla="*/ 1164276 h 2238019"/>
                <a:gd name="connsiteX35" fmla="*/ 719138 w 3219450"/>
                <a:gd name="connsiteY35" fmla="*/ 1210711 h 2238019"/>
                <a:gd name="connsiteX36" fmla="*/ 719138 w 3219450"/>
                <a:gd name="connsiteY36" fmla="*/ 1396448 h 2238019"/>
                <a:gd name="connsiteX37" fmla="*/ 765573 w 3219450"/>
                <a:gd name="connsiteY37" fmla="*/ 1442883 h 2238019"/>
                <a:gd name="connsiteX38" fmla="*/ 1060847 w 3219450"/>
                <a:gd name="connsiteY38" fmla="*/ 1442883 h 2238019"/>
                <a:gd name="connsiteX39" fmla="*/ 1107282 w 3219450"/>
                <a:gd name="connsiteY39" fmla="*/ 1396448 h 2238019"/>
                <a:gd name="connsiteX40" fmla="*/ 1107282 w 3219450"/>
                <a:gd name="connsiteY40" fmla="*/ 1210711 h 2238019"/>
                <a:gd name="connsiteX41" fmla="*/ 1060847 w 3219450"/>
                <a:gd name="connsiteY41" fmla="*/ 1164276 h 2238019"/>
                <a:gd name="connsiteX42" fmla="*/ 765573 w 3219450"/>
                <a:gd name="connsiteY42" fmla="*/ 1164276 h 2238019"/>
                <a:gd name="connsiteX43" fmla="*/ 248842 w 3219450"/>
                <a:gd name="connsiteY43" fmla="*/ 1164276 h 2238019"/>
                <a:gd name="connsiteX44" fmla="*/ 202407 w 3219450"/>
                <a:gd name="connsiteY44" fmla="*/ 1210711 h 2238019"/>
                <a:gd name="connsiteX45" fmla="*/ 202407 w 3219450"/>
                <a:gd name="connsiteY45" fmla="*/ 1396448 h 2238019"/>
                <a:gd name="connsiteX46" fmla="*/ 248842 w 3219450"/>
                <a:gd name="connsiteY46" fmla="*/ 1442883 h 2238019"/>
                <a:gd name="connsiteX47" fmla="*/ 544116 w 3219450"/>
                <a:gd name="connsiteY47" fmla="*/ 1442883 h 2238019"/>
                <a:gd name="connsiteX48" fmla="*/ 590551 w 3219450"/>
                <a:gd name="connsiteY48" fmla="*/ 1396448 h 2238019"/>
                <a:gd name="connsiteX49" fmla="*/ 590551 w 3219450"/>
                <a:gd name="connsiteY49" fmla="*/ 1210711 h 2238019"/>
                <a:gd name="connsiteX50" fmla="*/ 544116 w 3219450"/>
                <a:gd name="connsiteY50" fmla="*/ 1164276 h 2238019"/>
                <a:gd name="connsiteX51" fmla="*/ 248842 w 3219450"/>
                <a:gd name="connsiteY51" fmla="*/ 1164276 h 2238019"/>
                <a:gd name="connsiteX52" fmla="*/ 765573 w 3219450"/>
                <a:gd name="connsiteY52" fmla="*/ 678300 h 2238019"/>
                <a:gd name="connsiteX53" fmla="*/ 719138 w 3219450"/>
                <a:gd name="connsiteY53" fmla="*/ 724735 h 2238019"/>
                <a:gd name="connsiteX54" fmla="*/ 719138 w 3219450"/>
                <a:gd name="connsiteY54" fmla="*/ 910472 h 2238019"/>
                <a:gd name="connsiteX55" fmla="*/ 765573 w 3219450"/>
                <a:gd name="connsiteY55" fmla="*/ 956907 h 2238019"/>
                <a:gd name="connsiteX56" fmla="*/ 1060847 w 3219450"/>
                <a:gd name="connsiteY56" fmla="*/ 956907 h 2238019"/>
                <a:gd name="connsiteX57" fmla="*/ 1107282 w 3219450"/>
                <a:gd name="connsiteY57" fmla="*/ 910472 h 2238019"/>
                <a:gd name="connsiteX58" fmla="*/ 1107282 w 3219450"/>
                <a:gd name="connsiteY58" fmla="*/ 724735 h 2238019"/>
                <a:gd name="connsiteX59" fmla="*/ 1060847 w 3219450"/>
                <a:gd name="connsiteY59" fmla="*/ 678300 h 2238019"/>
                <a:gd name="connsiteX60" fmla="*/ 765573 w 3219450"/>
                <a:gd name="connsiteY60" fmla="*/ 678300 h 2238019"/>
                <a:gd name="connsiteX61" fmla="*/ 248842 w 3219450"/>
                <a:gd name="connsiteY61" fmla="*/ 678300 h 2238019"/>
                <a:gd name="connsiteX62" fmla="*/ 202407 w 3219450"/>
                <a:gd name="connsiteY62" fmla="*/ 724735 h 2238019"/>
                <a:gd name="connsiteX63" fmla="*/ 202407 w 3219450"/>
                <a:gd name="connsiteY63" fmla="*/ 910472 h 2238019"/>
                <a:gd name="connsiteX64" fmla="*/ 248842 w 3219450"/>
                <a:gd name="connsiteY64" fmla="*/ 956907 h 2238019"/>
                <a:gd name="connsiteX65" fmla="*/ 544116 w 3219450"/>
                <a:gd name="connsiteY65" fmla="*/ 956907 h 2238019"/>
                <a:gd name="connsiteX66" fmla="*/ 590551 w 3219450"/>
                <a:gd name="connsiteY66" fmla="*/ 910472 h 2238019"/>
                <a:gd name="connsiteX67" fmla="*/ 590551 w 3219450"/>
                <a:gd name="connsiteY67" fmla="*/ 724735 h 2238019"/>
                <a:gd name="connsiteX68" fmla="*/ 544116 w 3219450"/>
                <a:gd name="connsiteY68" fmla="*/ 678300 h 2238019"/>
                <a:gd name="connsiteX69" fmla="*/ 248842 w 3219450"/>
                <a:gd name="connsiteY69" fmla="*/ 678300 h 2238019"/>
                <a:gd name="connsiteX70" fmla="*/ 1086335 w 3219450"/>
                <a:gd name="connsiteY70" fmla="*/ 7080 h 2238019"/>
                <a:gd name="connsiteX71" fmla="*/ 1152525 w 3219450"/>
                <a:gd name="connsiteY71" fmla="*/ 485419 h 2238019"/>
                <a:gd name="connsiteX72" fmla="*/ 1285875 w 3219450"/>
                <a:gd name="connsiteY72" fmla="*/ 485419 h 2238019"/>
                <a:gd name="connsiteX73" fmla="*/ 1285875 w 3219450"/>
                <a:gd name="connsiteY73" fmla="*/ 799744 h 2238019"/>
                <a:gd name="connsiteX74" fmla="*/ 3219450 w 3219450"/>
                <a:gd name="connsiteY74" fmla="*/ 799744 h 2238019"/>
                <a:gd name="connsiteX75" fmla="*/ 3219450 w 3219450"/>
                <a:gd name="connsiteY75" fmla="*/ 2238019 h 2238019"/>
                <a:gd name="connsiteX76" fmla="*/ 1695450 w 3219450"/>
                <a:gd name="connsiteY76" fmla="*/ 2238019 h 2238019"/>
                <a:gd name="connsiteX77" fmla="*/ 1695450 w 3219450"/>
                <a:gd name="connsiteY77" fmla="*/ 1590319 h 2238019"/>
                <a:gd name="connsiteX78" fmla="*/ 1276350 w 3219450"/>
                <a:gd name="connsiteY78" fmla="*/ 1590319 h 2238019"/>
                <a:gd name="connsiteX79" fmla="*/ 1276350 w 3219450"/>
                <a:gd name="connsiteY79" fmla="*/ 2228494 h 2238019"/>
                <a:gd name="connsiteX80" fmla="*/ 0 w 3219450"/>
                <a:gd name="connsiteY80" fmla="*/ 2228494 h 2238019"/>
                <a:gd name="connsiteX81" fmla="*/ 0 w 3219450"/>
                <a:gd name="connsiteY81" fmla="*/ 494944 h 2238019"/>
                <a:gd name="connsiteX82" fmla="*/ 624283 w 3219450"/>
                <a:gd name="connsiteY82" fmla="*/ 487867 h 2238019"/>
                <a:gd name="connsiteX83" fmla="*/ 756209 w 3219450"/>
                <a:gd name="connsiteY83" fmla="*/ 0 h 2238019"/>
                <a:gd name="connsiteX84" fmla="*/ 1086335 w 3219450"/>
                <a:gd name="connsiteY84" fmla="*/ 7080 h 2238019"/>
                <a:gd name="connsiteX0" fmla="*/ 765573 w 3219450"/>
                <a:gd name="connsiteY0" fmla="*/ 1612987 h 2230998"/>
                <a:gd name="connsiteX1" fmla="*/ 719138 w 3219450"/>
                <a:gd name="connsiteY1" fmla="*/ 1659422 h 2230998"/>
                <a:gd name="connsiteX2" fmla="*/ 719138 w 3219450"/>
                <a:gd name="connsiteY2" fmla="*/ 1845159 h 2230998"/>
                <a:gd name="connsiteX3" fmla="*/ 765573 w 3219450"/>
                <a:gd name="connsiteY3" fmla="*/ 1891594 h 2230998"/>
                <a:gd name="connsiteX4" fmla="*/ 1060847 w 3219450"/>
                <a:gd name="connsiteY4" fmla="*/ 1891594 h 2230998"/>
                <a:gd name="connsiteX5" fmla="*/ 1107282 w 3219450"/>
                <a:gd name="connsiteY5" fmla="*/ 1845159 h 2230998"/>
                <a:gd name="connsiteX6" fmla="*/ 1107282 w 3219450"/>
                <a:gd name="connsiteY6" fmla="*/ 1659422 h 2230998"/>
                <a:gd name="connsiteX7" fmla="*/ 1060847 w 3219450"/>
                <a:gd name="connsiteY7" fmla="*/ 1612987 h 2230998"/>
                <a:gd name="connsiteX8" fmla="*/ 765573 w 3219450"/>
                <a:gd name="connsiteY8" fmla="*/ 1612987 h 2230998"/>
                <a:gd name="connsiteX9" fmla="*/ 248842 w 3219450"/>
                <a:gd name="connsiteY9" fmla="*/ 1612987 h 2230998"/>
                <a:gd name="connsiteX10" fmla="*/ 202407 w 3219450"/>
                <a:gd name="connsiteY10" fmla="*/ 1659422 h 2230998"/>
                <a:gd name="connsiteX11" fmla="*/ 202407 w 3219450"/>
                <a:gd name="connsiteY11" fmla="*/ 1845159 h 2230998"/>
                <a:gd name="connsiteX12" fmla="*/ 248842 w 3219450"/>
                <a:gd name="connsiteY12" fmla="*/ 1891594 h 2230998"/>
                <a:gd name="connsiteX13" fmla="*/ 544116 w 3219450"/>
                <a:gd name="connsiteY13" fmla="*/ 1891594 h 2230998"/>
                <a:gd name="connsiteX14" fmla="*/ 590551 w 3219450"/>
                <a:gd name="connsiteY14" fmla="*/ 1845159 h 2230998"/>
                <a:gd name="connsiteX15" fmla="*/ 590551 w 3219450"/>
                <a:gd name="connsiteY15" fmla="*/ 1659422 h 2230998"/>
                <a:gd name="connsiteX16" fmla="*/ 544116 w 3219450"/>
                <a:gd name="connsiteY16" fmla="*/ 1612987 h 2230998"/>
                <a:gd name="connsiteX17" fmla="*/ 248842 w 3219450"/>
                <a:gd name="connsiteY17" fmla="*/ 1612987 h 2230998"/>
                <a:gd name="connsiteX18" fmla="*/ 1338060 w 3219450"/>
                <a:gd name="connsiteY18" fmla="*/ 1383678 h 2230998"/>
                <a:gd name="connsiteX19" fmla="*/ 1285875 w 3219450"/>
                <a:gd name="connsiteY19" fmla="*/ 1435863 h 2230998"/>
                <a:gd name="connsiteX20" fmla="*/ 1338060 w 3219450"/>
                <a:gd name="connsiteY20" fmla="*/ 1488047 h 2230998"/>
                <a:gd name="connsiteX21" fmla="*/ 2791714 w 3219450"/>
                <a:gd name="connsiteY21" fmla="*/ 1488048 h 2230998"/>
                <a:gd name="connsiteX22" fmla="*/ 2843899 w 3219450"/>
                <a:gd name="connsiteY22" fmla="*/ 1435863 h 2230998"/>
                <a:gd name="connsiteX23" fmla="*/ 2843900 w 3219450"/>
                <a:gd name="connsiteY23" fmla="*/ 1435863 h 2230998"/>
                <a:gd name="connsiteX24" fmla="*/ 2791715 w 3219450"/>
                <a:gd name="connsiteY24" fmla="*/ 1383678 h 2230998"/>
                <a:gd name="connsiteX25" fmla="*/ 1338060 w 3219450"/>
                <a:gd name="connsiteY25" fmla="*/ 1383678 h 2230998"/>
                <a:gd name="connsiteX26" fmla="*/ 1338060 w 3219450"/>
                <a:gd name="connsiteY26" fmla="*/ 1162222 h 2230998"/>
                <a:gd name="connsiteX27" fmla="*/ 1285875 w 3219450"/>
                <a:gd name="connsiteY27" fmla="*/ 1214407 h 2230998"/>
                <a:gd name="connsiteX28" fmla="*/ 1338060 w 3219450"/>
                <a:gd name="connsiteY28" fmla="*/ 1266591 h 2230998"/>
                <a:gd name="connsiteX29" fmla="*/ 2791714 w 3219450"/>
                <a:gd name="connsiteY29" fmla="*/ 1266592 h 2230998"/>
                <a:gd name="connsiteX30" fmla="*/ 2843899 w 3219450"/>
                <a:gd name="connsiteY30" fmla="*/ 1214407 h 2230998"/>
                <a:gd name="connsiteX31" fmla="*/ 2843900 w 3219450"/>
                <a:gd name="connsiteY31" fmla="*/ 1214407 h 2230998"/>
                <a:gd name="connsiteX32" fmla="*/ 2791715 w 3219450"/>
                <a:gd name="connsiteY32" fmla="*/ 1162222 h 2230998"/>
                <a:gd name="connsiteX33" fmla="*/ 1338060 w 3219450"/>
                <a:gd name="connsiteY33" fmla="*/ 1162222 h 2230998"/>
                <a:gd name="connsiteX34" fmla="*/ 765573 w 3219450"/>
                <a:gd name="connsiteY34" fmla="*/ 1157255 h 2230998"/>
                <a:gd name="connsiteX35" fmla="*/ 719138 w 3219450"/>
                <a:gd name="connsiteY35" fmla="*/ 1203690 h 2230998"/>
                <a:gd name="connsiteX36" fmla="*/ 719138 w 3219450"/>
                <a:gd name="connsiteY36" fmla="*/ 1389427 h 2230998"/>
                <a:gd name="connsiteX37" fmla="*/ 765573 w 3219450"/>
                <a:gd name="connsiteY37" fmla="*/ 1435862 h 2230998"/>
                <a:gd name="connsiteX38" fmla="*/ 1060847 w 3219450"/>
                <a:gd name="connsiteY38" fmla="*/ 1435862 h 2230998"/>
                <a:gd name="connsiteX39" fmla="*/ 1107282 w 3219450"/>
                <a:gd name="connsiteY39" fmla="*/ 1389427 h 2230998"/>
                <a:gd name="connsiteX40" fmla="*/ 1107282 w 3219450"/>
                <a:gd name="connsiteY40" fmla="*/ 1203690 h 2230998"/>
                <a:gd name="connsiteX41" fmla="*/ 1060847 w 3219450"/>
                <a:gd name="connsiteY41" fmla="*/ 1157255 h 2230998"/>
                <a:gd name="connsiteX42" fmla="*/ 765573 w 3219450"/>
                <a:gd name="connsiteY42" fmla="*/ 1157255 h 2230998"/>
                <a:gd name="connsiteX43" fmla="*/ 248842 w 3219450"/>
                <a:gd name="connsiteY43" fmla="*/ 1157255 h 2230998"/>
                <a:gd name="connsiteX44" fmla="*/ 202407 w 3219450"/>
                <a:gd name="connsiteY44" fmla="*/ 1203690 h 2230998"/>
                <a:gd name="connsiteX45" fmla="*/ 202407 w 3219450"/>
                <a:gd name="connsiteY45" fmla="*/ 1389427 h 2230998"/>
                <a:gd name="connsiteX46" fmla="*/ 248842 w 3219450"/>
                <a:gd name="connsiteY46" fmla="*/ 1435862 h 2230998"/>
                <a:gd name="connsiteX47" fmla="*/ 544116 w 3219450"/>
                <a:gd name="connsiteY47" fmla="*/ 1435862 h 2230998"/>
                <a:gd name="connsiteX48" fmla="*/ 590551 w 3219450"/>
                <a:gd name="connsiteY48" fmla="*/ 1389427 h 2230998"/>
                <a:gd name="connsiteX49" fmla="*/ 590551 w 3219450"/>
                <a:gd name="connsiteY49" fmla="*/ 1203690 h 2230998"/>
                <a:gd name="connsiteX50" fmla="*/ 544116 w 3219450"/>
                <a:gd name="connsiteY50" fmla="*/ 1157255 h 2230998"/>
                <a:gd name="connsiteX51" fmla="*/ 248842 w 3219450"/>
                <a:gd name="connsiteY51" fmla="*/ 1157255 h 2230998"/>
                <a:gd name="connsiteX52" fmla="*/ 765573 w 3219450"/>
                <a:gd name="connsiteY52" fmla="*/ 671279 h 2230998"/>
                <a:gd name="connsiteX53" fmla="*/ 719138 w 3219450"/>
                <a:gd name="connsiteY53" fmla="*/ 717714 h 2230998"/>
                <a:gd name="connsiteX54" fmla="*/ 719138 w 3219450"/>
                <a:gd name="connsiteY54" fmla="*/ 903451 h 2230998"/>
                <a:gd name="connsiteX55" fmla="*/ 765573 w 3219450"/>
                <a:gd name="connsiteY55" fmla="*/ 949886 h 2230998"/>
                <a:gd name="connsiteX56" fmla="*/ 1060847 w 3219450"/>
                <a:gd name="connsiteY56" fmla="*/ 949886 h 2230998"/>
                <a:gd name="connsiteX57" fmla="*/ 1107282 w 3219450"/>
                <a:gd name="connsiteY57" fmla="*/ 903451 h 2230998"/>
                <a:gd name="connsiteX58" fmla="*/ 1107282 w 3219450"/>
                <a:gd name="connsiteY58" fmla="*/ 717714 h 2230998"/>
                <a:gd name="connsiteX59" fmla="*/ 1060847 w 3219450"/>
                <a:gd name="connsiteY59" fmla="*/ 671279 h 2230998"/>
                <a:gd name="connsiteX60" fmla="*/ 765573 w 3219450"/>
                <a:gd name="connsiteY60" fmla="*/ 671279 h 2230998"/>
                <a:gd name="connsiteX61" fmla="*/ 248842 w 3219450"/>
                <a:gd name="connsiteY61" fmla="*/ 671279 h 2230998"/>
                <a:gd name="connsiteX62" fmla="*/ 202407 w 3219450"/>
                <a:gd name="connsiteY62" fmla="*/ 717714 h 2230998"/>
                <a:gd name="connsiteX63" fmla="*/ 202407 w 3219450"/>
                <a:gd name="connsiteY63" fmla="*/ 903451 h 2230998"/>
                <a:gd name="connsiteX64" fmla="*/ 248842 w 3219450"/>
                <a:gd name="connsiteY64" fmla="*/ 949886 h 2230998"/>
                <a:gd name="connsiteX65" fmla="*/ 544116 w 3219450"/>
                <a:gd name="connsiteY65" fmla="*/ 949886 h 2230998"/>
                <a:gd name="connsiteX66" fmla="*/ 590551 w 3219450"/>
                <a:gd name="connsiteY66" fmla="*/ 903451 h 2230998"/>
                <a:gd name="connsiteX67" fmla="*/ 590551 w 3219450"/>
                <a:gd name="connsiteY67" fmla="*/ 717714 h 2230998"/>
                <a:gd name="connsiteX68" fmla="*/ 544116 w 3219450"/>
                <a:gd name="connsiteY68" fmla="*/ 671279 h 2230998"/>
                <a:gd name="connsiteX69" fmla="*/ 248842 w 3219450"/>
                <a:gd name="connsiteY69" fmla="*/ 671279 h 2230998"/>
                <a:gd name="connsiteX70" fmla="*/ 1086335 w 3219450"/>
                <a:gd name="connsiteY70" fmla="*/ 59 h 2230998"/>
                <a:gd name="connsiteX71" fmla="*/ 1152525 w 3219450"/>
                <a:gd name="connsiteY71" fmla="*/ 478398 h 2230998"/>
                <a:gd name="connsiteX72" fmla="*/ 1285875 w 3219450"/>
                <a:gd name="connsiteY72" fmla="*/ 478398 h 2230998"/>
                <a:gd name="connsiteX73" fmla="*/ 1285875 w 3219450"/>
                <a:gd name="connsiteY73" fmla="*/ 792723 h 2230998"/>
                <a:gd name="connsiteX74" fmla="*/ 3219450 w 3219450"/>
                <a:gd name="connsiteY74" fmla="*/ 792723 h 2230998"/>
                <a:gd name="connsiteX75" fmla="*/ 3219450 w 3219450"/>
                <a:gd name="connsiteY75" fmla="*/ 2230998 h 2230998"/>
                <a:gd name="connsiteX76" fmla="*/ 1695450 w 3219450"/>
                <a:gd name="connsiteY76" fmla="*/ 2230998 h 2230998"/>
                <a:gd name="connsiteX77" fmla="*/ 1695450 w 3219450"/>
                <a:gd name="connsiteY77" fmla="*/ 1583298 h 2230998"/>
                <a:gd name="connsiteX78" fmla="*/ 1276350 w 3219450"/>
                <a:gd name="connsiteY78" fmla="*/ 1583298 h 2230998"/>
                <a:gd name="connsiteX79" fmla="*/ 1276350 w 3219450"/>
                <a:gd name="connsiteY79" fmla="*/ 2221473 h 2230998"/>
                <a:gd name="connsiteX80" fmla="*/ 0 w 3219450"/>
                <a:gd name="connsiteY80" fmla="*/ 2221473 h 2230998"/>
                <a:gd name="connsiteX81" fmla="*/ 0 w 3219450"/>
                <a:gd name="connsiteY81" fmla="*/ 487923 h 2230998"/>
                <a:gd name="connsiteX82" fmla="*/ 624283 w 3219450"/>
                <a:gd name="connsiteY82" fmla="*/ 480846 h 2230998"/>
                <a:gd name="connsiteX83" fmla="*/ 756209 w 3219450"/>
                <a:gd name="connsiteY83" fmla="*/ 9583 h 2230998"/>
                <a:gd name="connsiteX84" fmla="*/ 1086335 w 3219450"/>
                <a:gd name="connsiteY84" fmla="*/ 59 h 2230998"/>
                <a:gd name="connsiteX0" fmla="*/ 765573 w 3219450"/>
                <a:gd name="connsiteY0" fmla="*/ 1613329 h 2231340"/>
                <a:gd name="connsiteX1" fmla="*/ 719138 w 3219450"/>
                <a:gd name="connsiteY1" fmla="*/ 1659764 h 2231340"/>
                <a:gd name="connsiteX2" fmla="*/ 719138 w 3219450"/>
                <a:gd name="connsiteY2" fmla="*/ 1845501 h 2231340"/>
                <a:gd name="connsiteX3" fmla="*/ 765573 w 3219450"/>
                <a:gd name="connsiteY3" fmla="*/ 1891936 h 2231340"/>
                <a:gd name="connsiteX4" fmla="*/ 1060847 w 3219450"/>
                <a:gd name="connsiteY4" fmla="*/ 1891936 h 2231340"/>
                <a:gd name="connsiteX5" fmla="*/ 1107282 w 3219450"/>
                <a:gd name="connsiteY5" fmla="*/ 1845501 h 2231340"/>
                <a:gd name="connsiteX6" fmla="*/ 1107282 w 3219450"/>
                <a:gd name="connsiteY6" fmla="*/ 1659764 h 2231340"/>
                <a:gd name="connsiteX7" fmla="*/ 1060847 w 3219450"/>
                <a:gd name="connsiteY7" fmla="*/ 1613329 h 2231340"/>
                <a:gd name="connsiteX8" fmla="*/ 765573 w 3219450"/>
                <a:gd name="connsiteY8" fmla="*/ 1613329 h 2231340"/>
                <a:gd name="connsiteX9" fmla="*/ 248842 w 3219450"/>
                <a:gd name="connsiteY9" fmla="*/ 1613329 h 2231340"/>
                <a:gd name="connsiteX10" fmla="*/ 202407 w 3219450"/>
                <a:gd name="connsiteY10" fmla="*/ 1659764 h 2231340"/>
                <a:gd name="connsiteX11" fmla="*/ 202407 w 3219450"/>
                <a:gd name="connsiteY11" fmla="*/ 1845501 h 2231340"/>
                <a:gd name="connsiteX12" fmla="*/ 248842 w 3219450"/>
                <a:gd name="connsiteY12" fmla="*/ 1891936 h 2231340"/>
                <a:gd name="connsiteX13" fmla="*/ 544116 w 3219450"/>
                <a:gd name="connsiteY13" fmla="*/ 1891936 h 2231340"/>
                <a:gd name="connsiteX14" fmla="*/ 590551 w 3219450"/>
                <a:gd name="connsiteY14" fmla="*/ 1845501 h 2231340"/>
                <a:gd name="connsiteX15" fmla="*/ 590551 w 3219450"/>
                <a:gd name="connsiteY15" fmla="*/ 1659764 h 2231340"/>
                <a:gd name="connsiteX16" fmla="*/ 544116 w 3219450"/>
                <a:gd name="connsiteY16" fmla="*/ 1613329 h 2231340"/>
                <a:gd name="connsiteX17" fmla="*/ 248842 w 3219450"/>
                <a:gd name="connsiteY17" fmla="*/ 1613329 h 2231340"/>
                <a:gd name="connsiteX18" fmla="*/ 1338060 w 3219450"/>
                <a:gd name="connsiteY18" fmla="*/ 1384020 h 2231340"/>
                <a:gd name="connsiteX19" fmla="*/ 1285875 w 3219450"/>
                <a:gd name="connsiteY19" fmla="*/ 1436205 h 2231340"/>
                <a:gd name="connsiteX20" fmla="*/ 1338060 w 3219450"/>
                <a:gd name="connsiteY20" fmla="*/ 1488389 h 2231340"/>
                <a:gd name="connsiteX21" fmla="*/ 2791714 w 3219450"/>
                <a:gd name="connsiteY21" fmla="*/ 1488390 h 2231340"/>
                <a:gd name="connsiteX22" fmla="*/ 2843899 w 3219450"/>
                <a:gd name="connsiteY22" fmla="*/ 1436205 h 2231340"/>
                <a:gd name="connsiteX23" fmla="*/ 2843900 w 3219450"/>
                <a:gd name="connsiteY23" fmla="*/ 1436205 h 2231340"/>
                <a:gd name="connsiteX24" fmla="*/ 2791715 w 3219450"/>
                <a:gd name="connsiteY24" fmla="*/ 1384020 h 2231340"/>
                <a:gd name="connsiteX25" fmla="*/ 1338060 w 3219450"/>
                <a:gd name="connsiteY25" fmla="*/ 1384020 h 2231340"/>
                <a:gd name="connsiteX26" fmla="*/ 1338060 w 3219450"/>
                <a:gd name="connsiteY26" fmla="*/ 1162564 h 2231340"/>
                <a:gd name="connsiteX27" fmla="*/ 1285875 w 3219450"/>
                <a:gd name="connsiteY27" fmla="*/ 1214749 h 2231340"/>
                <a:gd name="connsiteX28" fmla="*/ 1338060 w 3219450"/>
                <a:gd name="connsiteY28" fmla="*/ 1266933 h 2231340"/>
                <a:gd name="connsiteX29" fmla="*/ 2791714 w 3219450"/>
                <a:gd name="connsiteY29" fmla="*/ 1266934 h 2231340"/>
                <a:gd name="connsiteX30" fmla="*/ 2843899 w 3219450"/>
                <a:gd name="connsiteY30" fmla="*/ 1214749 h 2231340"/>
                <a:gd name="connsiteX31" fmla="*/ 2843900 w 3219450"/>
                <a:gd name="connsiteY31" fmla="*/ 1214749 h 2231340"/>
                <a:gd name="connsiteX32" fmla="*/ 2791715 w 3219450"/>
                <a:gd name="connsiteY32" fmla="*/ 1162564 h 2231340"/>
                <a:gd name="connsiteX33" fmla="*/ 1338060 w 3219450"/>
                <a:gd name="connsiteY33" fmla="*/ 1162564 h 2231340"/>
                <a:gd name="connsiteX34" fmla="*/ 765573 w 3219450"/>
                <a:gd name="connsiteY34" fmla="*/ 1157597 h 2231340"/>
                <a:gd name="connsiteX35" fmla="*/ 719138 w 3219450"/>
                <a:gd name="connsiteY35" fmla="*/ 1204032 h 2231340"/>
                <a:gd name="connsiteX36" fmla="*/ 719138 w 3219450"/>
                <a:gd name="connsiteY36" fmla="*/ 1389769 h 2231340"/>
                <a:gd name="connsiteX37" fmla="*/ 765573 w 3219450"/>
                <a:gd name="connsiteY37" fmla="*/ 1436204 h 2231340"/>
                <a:gd name="connsiteX38" fmla="*/ 1060847 w 3219450"/>
                <a:gd name="connsiteY38" fmla="*/ 1436204 h 2231340"/>
                <a:gd name="connsiteX39" fmla="*/ 1107282 w 3219450"/>
                <a:gd name="connsiteY39" fmla="*/ 1389769 h 2231340"/>
                <a:gd name="connsiteX40" fmla="*/ 1107282 w 3219450"/>
                <a:gd name="connsiteY40" fmla="*/ 1204032 h 2231340"/>
                <a:gd name="connsiteX41" fmla="*/ 1060847 w 3219450"/>
                <a:gd name="connsiteY41" fmla="*/ 1157597 h 2231340"/>
                <a:gd name="connsiteX42" fmla="*/ 765573 w 3219450"/>
                <a:gd name="connsiteY42" fmla="*/ 1157597 h 2231340"/>
                <a:gd name="connsiteX43" fmla="*/ 248842 w 3219450"/>
                <a:gd name="connsiteY43" fmla="*/ 1157597 h 2231340"/>
                <a:gd name="connsiteX44" fmla="*/ 202407 w 3219450"/>
                <a:gd name="connsiteY44" fmla="*/ 1204032 h 2231340"/>
                <a:gd name="connsiteX45" fmla="*/ 202407 w 3219450"/>
                <a:gd name="connsiteY45" fmla="*/ 1389769 h 2231340"/>
                <a:gd name="connsiteX46" fmla="*/ 248842 w 3219450"/>
                <a:gd name="connsiteY46" fmla="*/ 1436204 h 2231340"/>
                <a:gd name="connsiteX47" fmla="*/ 544116 w 3219450"/>
                <a:gd name="connsiteY47" fmla="*/ 1436204 h 2231340"/>
                <a:gd name="connsiteX48" fmla="*/ 590551 w 3219450"/>
                <a:gd name="connsiteY48" fmla="*/ 1389769 h 2231340"/>
                <a:gd name="connsiteX49" fmla="*/ 590551 w 3219450"/>
                <a:gd name="connsiteY49" fmla="*/ 1204032 h 2231340"/>
                <a:gd name="connsiteX50" fmla="*/ 544116 w 3219450"/>
                <a:gd name="connsiteY50" fmla="*/ 1157597 h 2231340"/>
                <a:gd name="connsiteX51" fmla="*/ 248842 w 3219450"/>
                <a:gd name="connsiteY51" fmla="*/ 1157597 h 2231340"/>
                <a:gd name="connsiteX52" fmla="*/ 765573 w 3219450"/>
                <a:gd name="connsiteY52" fmla="*/ 671621 h 2231340"/>
                <a:gd name="connsiteX53" fmla="*/ 719138 w 3219450"/>
                <a:gd name="connsiteY53" fmla="*/ 718056 h 2231340"/>
                <a:gd name="connsiteX54" fmla="*/ 719138 w 3219450"/>
                <a:gd name="connsiteY54" fmla="*/ 903793 h 2231340"/>
                <a:gd name="connsiteX55" fmla="*/ 765573 w 3219450"/>
                <a:gd name="connsiteY55" fmla="*/ 950228 h 2231340"/>
                <a:gd name="connsiteX56" fmla="*/ 1060847 w 3219450"/>
                <a:gd name="connsiteY56" fmla="*/ 950228 h 2231340"/>
                <a:gd name="connsiteX57" fmla="*/ 1107282 w 3219450"/>
                <a:gd name="connsiteY57" fmla="*/ 903793 h 2231340"/>
                <a:gd name="connsiteX58" fmla="*/ 1107282 w 3219450"/>
                <a:gd name="connsiteY58" fmla="*/ 718056 h 2231340"/>
                <a:gd name="connsiteX59" fmla="*/ 1060847 w 3219450"/>
                <a:gd name="connsiteY59" fmla="*/ 671621 h 2231340"/>
                <a:gd name="connsiteX60" fmla="*/ 765573 w 3219450"/>
                <a:gd name="connsiteY60" fmla="*/ 671621 h 2231340"/>
                <a:gd name="connsiteX61" fmla="*/ 248842 w 3219450"/>
                <a:gd name="connsiteY61" fmla="*/ 671621 h 2231340"/>
                <a:gd name="connsiteX62" fmla="*/ 202407 w 3219450"/>
                <a:gd name="connsiteY62" fmla="*/ 718056 h 2231340"/>
                <a:gd name="connsiteX63" fmla="*/ 202407 w 3219450"/>
                <a:gd name="connsiteY63" fmla="*/ 903793 h 2231340"/>
                <a:gd name="connsiteX64" fmla="*/ 248842 w 3219450"/>
                <a:gd name="connsiteY64" fmla="*/ 950228 h 2231340"/>
                <a:gd name="connsiteX65" fmla="*/ 544116 w 3219450"/>
                <a:gd name="connsiteY65" fmla="*/ 950228 h 2231340"/>
                <a:gd name="connsiteX66" fmla="*/ 590551 w 3219450"/>
                <a:gd name="connsiteY66" fmla="*/ 903793 h 2231340"/>
                <a:gd name="connsiteX67" fmla="*/ 590551 w 3219450"/>
                <a:gd name="connsiteY67" fmla="*/ 718056 h 2231340"/>
                <a:gd name="connsiteX68" fmla="*/ 544116 w 3219450"/>
                <a:gd name="connsiteY68" fmla="*/ 671621 h 2231340"/>
                <a:gd name="connsiteX69" fmla="*/ 248842 w 3219450"/>
                <a:gd name="connsiteY69" fmla="*/ 671621 h 2231340"/>
                <a:gd name="connsiteX70" fmla="*/ 1086335 w 3219450"/>
                <a:gd name="connsiteY70" fmla="*/ 401 h 2231340"/>
                <a:gd name="connsiteX71" fmla="*/ 1152525 w 3219450"/>
                <a:gd name="connsiteY71" fmla="*/ 478740 h 2231340"/>
                <a:gd name="connsiteX72" fmla="*/ 1285875 w 3219450"/>
                <a:gd name="connsiteY72" fmla="*/ 478740 h 2231340"/>
                <a:gd name="connsiteX73" fmla="*/ 1285875 w 3219450"/>
                <a:gd name="connsiteY73" fmla="*/ 793065 h 2231340"/>
                <a:gd name="connsiteX74" fmla="*/ 3219450 w 3219450"/>
                <a:gd name="connsiteY74" fmla="*/ 793065 h 2231340"/>
                <a:gd name="connsiteX75" fmla="*/ 3219450 w 3219450"/>
                <a:gd name="connsiteY75" fmla="*/ 2231340 h 2231340"/>
                <a:gd name="connsiteX76" fmla="*/ 1695450 w 3219450"/>
                <a:gd name="connsiteY76" fmla="*/ 2231340 h 2231340"/>
                <a:gd name="connsiteX77" fmla="*/ 1695450 w 3219450"/>
                <a:gd name="connsiteY77" fmla="*/ 1583640 h 2231340"/>
                <a:gd name="connsiteX78" fmla="*/ 1276350 w 3219450"/>
                <a:gd name="connsiteY78" fmla="*/ 1583640 h 2231340"/>
                <a:gd name="connsiteX79" fmla="*/ 1276350 w 3219450"/>
                <a:gd name="connsiteY79" fmla="*/ 2221815 h 2231340"/>
                <a:gd name="connsiteX80" fmla="*/ 0 w 3219450"/>
                <a:gd name="connsiteY80" fmla="*/ 2221815 h 2231340"/>
                <a:gd name="connsiteX81" fmla="*/ 0 w 3219450"/>
                <a:gd name="connsiteY81" fmla="*/ 488265 h 2231340"/>
                <a:gd name="connsiteX82" fmla="*/ 624283 w 3219450"/>
                <a:gd name="connsiteY82" fmla="*/ 481188 h 2231340"/>
                <a:gd name="connsiteX83" fmla="*/ 756209 w 3219450"/>
                <a:gd name="connsiteY83" fmla="*/ 9925 h 2231340"/>
                <a:gd name="connsiteX84" fmla="*/ 1086335 w 3219450"/>
                <a:gd name="connsiteY84" fmla="*/ 401 h 2231340"/>
                <a:gd name="connsiteX0" fmla="*/ 765573 w 3219450"/>
                <a:gd name="connsiteY0" fmla="*/ 1603886 h 2221897"/>
                <a:gd name="connsiteX1" fmla="*/ 719138 w 3219450"/>
                <a:gd name="connsiteY1" fmla="*/ 1650321 h 2221897"/>
                <a:gd name="connsiteX2" fmla="*/ 719138 w 3219450"/>
                <a:gd name="connsiteY2" fmla="*/ 1836058 h 2221897"/>
                <a:gd name="connsiteX3" fmla="*/ 765573 w 3219450"/>
                <a:gd name="connsiteY3" fmla="*/ 1882493 h 2221897"/>
                <a:gd name="connsiteX4" fmla="*/ 1060847 w 3219450"/>
                <a:gd name="connsiteY4" fmla="*/ 1882493 h 2221897"/>
                <a:gd name="connsiteX5" fmla="*/ 1107282 w 3219450"/>
                <a:gd name="connsiteY5" fmla="*/ 1836058 h 2221897"/>
                <a:gd name="connsiteX6" fmla="*/ 1107282 w 3219450"/>
                <a:gd name="connsiteY6" fmla="*/ 1650321 h 2221897"/>
                <a:gd name="connsiteX7" fmla="*/ 1060847 w 3219450"/>
                <a:gd name="connsiteY7" fmla="*/ 1603886 h 2221897"/>
                <a:gd name="connsiteX8" fmla="*/ 765573 w 3219450"/>
                <a:gd name="connsiteY8" fmla="*/ 1603886 h 2221897"/>
                <a:gd name="connsiteX9" fmla="*/ 248842 w 3219450"/>
                <a:gd name="connsiteY9" fmla="*/ 1603886 h 2221897"/>
                <a:gd name="connsiteX10" fmla="*/ 202407 w 3219450"/>
                <a:gd name="connsiteY10" fmla="*/ 1650321 h 2221897"/>
                <a:gd name="connsiteX11" fmla="*/ 202407 w 3219450"/>
                <a:gd name="connsiteY11" fmla="*/ 1836058 h 2221897"/>
                <a:gd name="connsiteX12" fmla="*/ 248842 w 3219450"/>
                <a:gd name="connsiteY12" fmla="*/ 1882493 h 2221897"/>
                <a:gd name="connsiteX13" fmla="*/ 544116 w 3219450"/>
                <a:gd name="connsiteY13" fmla="*/ 1882493 h 2221897"/>
                <a:gd name="connsiteX14" fmla="*/ 590551 w 3219450"/>
                <a:gd name="connsiteY14" fmla="*/ 1836058 h 2221897"/>
                <a:gd name="connsiteX15" fmla="*/ 590551 w 3219450"/>
                <a:gd name="connsiteY15" fmla="*/ 1650321 h 2221897"/>
                <a:gd name="connsiteX16" fmla="*/ 544116 w 3219450"/>
                <a:gd name="connsiteY16" fmla="*/ 1603886 h 2221897"/>
                <a:gd name="connsiteX17" fmla="*/ 248842 w 3219450"/>
                <a:gd name="connsiteY17" fmla="*/ 1603886 h 2221897"/>
                <a:gd name="connsiteX18" fmla="*/ 1338060 w 3219450"/>
                <a:gd name="connsiteY18" fmla="*/ 1374577 h 2221897"/>
                <a:gd name="connsiteX19" fmla="*/ 1285875 w 3219450"/>
                <a:gd name="connsiteY19" fmla="*/ 1426762 h 2221897"/>
                <a:gd name="connsiteX20" fmla="*/ 1338060 w 3219450"/>
                <a:gd name="connsiteY20" fmla="*/ 1478946 h 2221897"/>
                <a:gd name="connsiteX21" fmla="*/ 2791714 w 3219450"/>
                <a:gd name="connsiteY21" fmla="*/ 1478947 h 2221897"/>
                <a:gd name="connsiteX22" fmla="*/ 2843899 w 3219450"/>
                <a:gd name="connsiteY22" fmla="*/ 1426762 h 2221897"/>
                <a:gd name="connsiteX23" fmla="*/ 2843900 w 3219450"/>
                <a:gd name="connsiteY23" fmla="*/ 1426762 h 2221897"/>
                <a:gd name="connsiteX24" fmla="*/ 2791715 w 3219450"/>
                <a:gd name="connsiteY24" fmla="*/ 1374577 h 2221897"/>
                <a:gd name="connsiteX25" fmla="*/ 1338060 w 3219450"/>
                <a:gd name="connsiteY25" fmla="*/ 1374577 h 2221897"/>
                <a:gd name="connsiteX26" fmla="*/ 1338060 w 3219450"/>
                <a:gd name="connsiteY26" fmla="*/ 1153121 h 2221897"/>
                <a:gd name="connsiteX27" fmla="*/ 1285875 w 3219450"/>
                <a:gd name="connsiteY27" fmla="*/ 1205306 h 2221897"/>
                <a:gd name="connsiteX28" fmla="*/ 1338060 w 3219450"/>
                <a:gd name="connsiteY28" fmla="*/ 1257490 h 2221897"/>
                <a:gd name="connsiteX29" fmla="*/ 2791714 w 3219450"/>
                <a:gd name="connsiteY29" fmla="*/ 1257491 h 2221897"/>
                <a:gd name="connsiteX30" fmla="*/ 2843899 w 3219450"/>
                <a:gd name="connsiteY30" fmla="*/ 1205306 h 2221897"/>
                <a:gd name="connsiteX31" fmla="*/ 2843900 w 3219450"/>
                <a:gd name="connsiteY31" fmla="*/ 1205306 h 2221897"/>
                <a:gd name="connsiteX32" fmla="*/ 2791715 w 3219450"/>
                <a:gd name="connsiteY32" fmla="*/ 1153121 h 2221897"/>
                <a:gd name="connsiteX33" fmla="*/ 1338060 w 3219450"/>
                <a:gd name="connsiteY33" fmla="*/ 1153121 h 2221897"/>
                <a:gd name="connsiteX34" fmla="*/ 765573 w 3219450"/>
                <a:gd name="connsiteY34" fmla="*/ 1148154 h 2221897"/>
                <a:gd name="connsiteX35" fmla="*/ 719138 w 3219450"/>
                <a:gd name="connsiteY35" fmla="*/ 1194589 h 2221897"/>
                <a:gd name="connsiteX36" fmla="*/ 719138 w 3219450"/>
                <a:gd name="connsiteY36" fmla="*/ 1380326 h 2221897"/>
                <a:gd name="connsiteX37" fmla="*/ 765573 w 3219450"/>
                <a:gd name="connsiteY37" fmla="*/ 1426761 h 2221897"/>
                <a:gd name="connsiteX38" fmla="*/ 1060847 w 3219450"/>
                <a:gd name="connsiteY38" fmla="*/ 1426761 h 2221897"/>
                <a:gd name="connsiteX39" fmla="*/ 1107282 w 3219450"/>
                <a:gd name="connsiteY39" fmla="*/ 1380326 h 2221897"/>
                <a:gd name="connsiteX40" fmla="*/ 1107282 w 3219450"/>
                <a:gd name="connsiteY40" fmla="*/ 1194589 h 2221897"/>
                <a:gd name="connsiteX41" fmla="*/ 1060847 w 3219450"/>
                <a:gd name="connsiteY41" fmla="*/ 1148154 h 2221897"/>
                <a:gd name="connsiteX42" fmla="*/ 765573 w 3219450"/>
                <a:gd name="connsiteY42" fmla="*/ 1148154 h 2221897"/>
                <a:gd name="connsiteX43" fmla="*/ 248842 w 3219450"/>
                <a:gd name="connsiteY43" fmla="*/ 1148154 h 2221897"/>
                <a:gd name="connsiteX44" fmla="*/ 202407 w 3219450"/>
                <a:gd name="connsiteY44" fmla="*/ 1194589 h 2221897"/>
                <a:gd name="connsiteX45" fmla="*/ 202407 w 3219450"/>
                <a:gd name="connsiteY45" fmla="*/ 1380326 h 2221897"/>
                <a:gd name="connsiteX46" fmla="*/ 248842 w 3219450"/>
                <a:gd name="connsiteY46" fmla="*/ 1426761 h 2221897"/>
                <a:gd name="connsiteX47" fmla="*/ 544116 w 3219450"/>
                <a:gd name="connsiteY47" fmla="*/ 1426761 h 2221897"/>
                <a:gd name="connsiteX48" fmla="*/ 590551 w 3219450"/>
                <a:gd name="connsiteY48" fmla="*/ 1380326 h 2221897"/>
                <a:gd name="connsiteX49" fmla="*/ 590551 w 3219450"/>
                <a:gd name="connsiteY49" fmla="*/ 1194589 h 2221897"/>
                <a:gd name="connsiteX50" fmla="*/ 544116 w 3219450"/>
                <a:gd name="connsiteY50" fmla="*/ 1148154 h 2221897"/>
                <a:gd name="connsiteX51" fmla="*/ 248842 w 3219450"/>
                <a:gd name="connsiteY51" fmla="*/ 1148154 h 2221897"/>
                <a:gd name="connsiteX52" fmla="*/ 765573 w 3219450"/>
                <a:gd name="connsiteY52" fmla="*/ 662178 h 2221897"/>
                <a:gd name="connsiteX53" fmla="*/ 719138 w 3219450"/>
                <a:gd name="connsiteY53" fmla="*/ 708613 h 2221897"/>
                <a:gd name="connsiteX54" fmla="*/ 719138 w 3219450"/>
                <a:gd name="connsiteY54" fmla="*/ 894350 h 2221897"/>
                <a:gd name="connsiteX55" fmla="*/ 765573 w 3219450"/>
                <a:gd name="connsiteY55" fmla="*/ 940785 h 2221897"/>
                <a:gd name="connsiteX56" fmla="*/ 1060847 w 3219450"/>
                <a:gd name="connsiteY56" fmla="*/ 940785 h 2221897"/>
                <a:gd name="connsiteX57" fmla="*/ 1107282 w 3219450"/>
                <a:gd name="connsiteY57" fmla="*/ 894350 h 2221897"/>
                <a:gd name="connsiteX58" fmla="*/ 1107282 w 3219450"/>
                <a:gd name="connsiteY58" fmla="*/ 708613 h 2221897"/>
                <a:gd name="connsiteX59" fmla="*/ 1060847 w 3219450"/>
                <a:gd name="connsiteY59" fmla="*/ 662178 h 2221897"/>
                <a:gd name="connsiteX60" fmla="*/ 765573 w 3219450"/>
                <a:gd name="connsiteY60" fmla="*/ 662178 h 2221897"/>
                <a:gd name="connsiteX61" fmla="*/ 248842 w 3219450"/>
                <a:gd name="connsiteY61" fmla="*/ 662178 h 2221897"/>
                <a:gd name="connsiteX62" fmla="*/ 202407 w 3219450"/>
                <a:gd name="connsiteY62" fmla="*/ 708613 h 2221897"/>
                <a:gd name="connsiteX63" fmla="*/ 202407 w 3219450"/>
                <a:gd name="connsiteY63" fmla="*/ 894350 h 2221897"/>
                <a:gd name="connsiteX64" fmla="*/ 248842 w 3219450"/>
                <a:gd name="connsiteY64" fmla="*/ 940785 h 2221897"/>
                <a:gd name="connsiteX65" fmla="*/ 544116 w 3219450"/>
                <a:gd name="connsiteY65" fmla="*/ 940785 h 2221897"/>
                <a:gd name="connsiteX66" fmla="*/ 590551 w 3219450"/>
                <a:gd name="connsiteY66" fmla="*/ 894350 h 2221897"/>
                <a:gd name="connsiteX67" fmla="*/ 590551 w 3219450"/>
                <a:gd name="connsiteY67" fmla="*/ 708613 h 2221897"/>
                <a:gd name="connsiteX68" fmla="*/ 544116 w 3219450"/>
                <a:gd name="connsiteY68" fmla="*/ 662178 h 2221897"/>
                <a:gd name="connsiteX69" fmla="*/ 248842 w 3219450"/>
                <a:gd name="connsiteY69" fmla="*/ 662178 h 2221897"/>
                <a:gd name="connsiteX70" fmla="*/ 1080801 w 3219450"/>
                <a:gd name="connsiteY70" fmla="*/ 13097 h 2221897"/>
                <a:gd name="connsiteX71" fmla="*/ 1152525 w 3219450"/>
                <a:gd name="connsiteY71" fmla="*/ 469297 h 2221897"/>
                <a:gd name="connsiteX72" fmla="*/ 1285875 w 3219450"/>
                <a:gd name="connsiteY72" fmla="*/ 469297 h 2221897"/>
                <a:gd name="connsiteX73" fmla="*/ 1285875 w 3219450"/>
                <a:gd name="connsiteY73" fmla="*/ 783622 h 2221897"/>
                <a:gd name="connsiteX74" fmla="*/ 3219450 w 3219450"/>
                <a:gd name="connsiteY74" fmla="*/ 783622 h 2221897"/>
                <a:gd name="connsiteX75" fmla="*/ 3219450 w 3219450"/>
                <a:gd name="connsiteY75" fmla="*/ 2221897 h 2221897"/>
                <a:gd name="connsiteX76" fmla="*/ 1695450 w 3219450"/>
                <a:gd name="connsiteY76" fmla="*/ 2221897 h 2221897"/>
                <a:gd name="connsiteX77" fmla="*/ 1695450 w 3219450"/>
                <a:gd name="connsiteY77" fmla="*/ 1574197 h 2221897"/>
                <a:gd name="connsiteX78" fmla="*/ 1276350 w 3219450"/>
                <a:gd name="connsiteY78" fmla="*/ 1574197 h 2221897"/>
                <a:gd name="connsiteX79" fmla="*/ 1276350 w 3219450"/>
                <a:gd name="connsiteY79" fmla="*/ 2212372 h 2221897"/>
                <a:gd name="connsiteX80" fmla="*/ 0 w 3219450"/>
                <a:gd name="connsiteY80" fmla="*/ 2212372 h 2221897"/>
                <a:gd name="connsiteX81" fmla="*/ 0 w 3219450"/>
                <a:gd name="connsiteY81" fmla="*/ 478822 h 2221897"/>
                <a:gd name="connsiteX82" fmla="*/ 624283 w 3219450"/>
                <a:gd name="connsiteY82" fmla="*/ 471745 h 2221897"/>
                <a:gd name="connsiteX83" fmla="*/ 756209 w 3219450"/>
                <a:gd name="connsiteY83" fmla="*/ 482 h 2221897"/>
                <a:gd name="connsiteX84" fmla="*/ 1080801 w 3219450"/>
                <a:gd name="connsiteY84" fmla="*/ 13097 h 2221897"/>
                <a:gd name="connsiteX0" fmla="*/ 765573 w 3219450"/>
                <a:gd name="connsiteY0" fmla="*/ 1604939 h 2222950"/>
                <a:gd name="connsiteX1" fmla="*/ 719138 w 3219450"/>
                <a:gd name="connsiteY1" fmla="*/ 1651374 h 2222950"/>
                <a:gd name="connsiteX2" fmla="*/ 719138 w 3219450"/>
                <a:gd name="connsiteY2" fmla="*/ 1837111 h 2222950"/>
                <a:gd name="connsiteX3" fmla="*/ 765573 w 3219450"/>
                <a:gd name="connsiteY3" fmla="*/ 1883546 h 2222950"/>
                <a:gd name="connsiteX4" fmla="*/ 1060847 w 3219450"/>
                <a:gd name="connsiteY4" fmla="*/ 1883546 h 2222950"/>
                <a:gd name="connsiteX5" fmla="*/ 1107282 w 3219450"/>
                <a:gd name="connsiteY5" fmla="*/ 1837111 h 2222950"/>
                <a:gd name="connsiteX6" fmla="*/ 1107282 w 3219450"/>
                <a:gd name="connsiteY6" fmla="*/ 1651374 h 2222950"/>
                <a:gd name="connsiteX7" fmla="*/ 1060847 w 3219450"/>
                <a:gd name="connsiteY7" fmla="*/ 1604939 h 2222950"/>
                <a:gd name="connsiteX8" fmla="*/ 765573 w 3219450"/>
                <a:gd name="connsiteY8" fmla="*/ 1604939 h 2222950"/>
                <a:gd name="connsiteX9" fmla="*/ 248842 w 3219450"/>
                <a:gd name="connsiteY9" fmla="*/ 1604939 h 2222950"/>
                <a:gd name="connsiteX10" fmla="*/ 202407 w 3219450"/>
                <a:gd name="connsiteY10" fmla="*/ 1651374 h 2222950"/>
                <a:gd name="connsiteX11" fmla="*/ 202407 w 3219450"/>
                <a:gd name="connsiteY11" fmla="*/ 1837111 h 2222950"/>
                <a:gd name="connsiteX12" fmla="*/ 248842 w 3219450"/>
                <a:gd name="connsiteY12" fmla="*/ 1883546 h 2222950"/>
                <a:gd name="connsiteX13" fmla="*/ 544116 w 3219450"/>
                <a:gd name="connsiteY13" fmla="*/ 1883546 h 2222950"/>
                <a:gd name="connsiteX14" fmla="*/ 590551 w 3219450"/>
                <a:gd name="connsiteY14" fmla="*/ 1837111 h 2222950"/>
                <a:gd name="connsiteX15" fmla="*/ 590551 w 3219450"/>
                <a:gd name="connsiteY15" fmla="*/ 1651374 h 2222950"/>
                <a:gd name="connsiteX16" fmla="*/ 544116 w 3219450"/>
                <a:gd name="connsiteY16" fmla="*/ 1604939 h 2222950"/>
                <a:gd name="connsiteX17" fmla="*/ 248842 w 3219450"/>
                <a:gd name="connsiteY17" fmla="*/ 1604939 h 2222950"/>
                <a:gd name="connsiteX18" fmla="*/ 1338060 w 3219450"/>
                <a:gd name="connsiteY18" fmla="*/ 1375630 h 2222950"/>
                <a:gd name="connsiteX19" fmla="*/ 1285875 w 3219450"/>
                <a:gd name="connsiteY19" fmla="*/ 1427815 h 2222950"/>
                <a:gd name="connsiteX20" fmla="*/ 1338060 w 3219450"/>
                <a:gd name="connsiteY20" fmla="*/ 1479999 h 2222950"/>
                <a:gd name="connsiteX21" fmla="*/ 2791714 w 3219450"/>
                <a:gd name="connsiteY21" fmla="*/ 1480000 h 2222950"/>
                <a:gd name="connsiteX22" fmla="*/ 2843899 w 3219450"/>
                <a:gd name="connsiteY22" fmla="*/ 1427815 h 2222950"/>
                <a:gd name="connsiteX23" fmla="*/ 2843900 w 3219450"/>
                <a:gd name="connsiteY23" fmla="*/ 1427815 h 2222950"/>
                <a:gd name="connsiteX24" fmla="*/ 2791715 w 3219450"/>
                <a:gd name="connsiteY24" fmla="*/ 1375630 h 2222950"/>
                <a:gd name="connsiteX25" fmla="*/ 1338060 w 3219450"/>
                <a:gd name="connsiteY25" fmla="*/ 1375630 h 2222950"/>
                <a:gd name="connsiteX26" fmla="*/ 1338060 w 3219450"/>
                <a:gd name="connsiteY26" fmla="*/ 1154174 h 2222950"/>
                <a:gd name="connsiteX27" fmla="*/ 1285875 w 3219450"/>
                <a:gd name="connsiteY27" fmla="*/ 1206359 h 2222950"/>
                <a:gd name="connsiteX28" fmla="*/ 1338060 w 3219450"/>
                <a:gd name="connsiteY28" fmla="*/ 1258543 h 2222950"/>
                <a:gd name="connsiteX29" fmla="*/ 2791714 w 3219450"/>
                <a:gd name="connsiteY29" fmla="*/ 1258544 h 2222950"/>
                <a:gd name="connsiteX30" fmla="*/ 2843899 w 3219450"/>
                <a:gd name="connsiteY30" fmla="*/ 1206359 h 2222950"/>
                <a:gd name="connsiteX31" fmla="*/ 2843900 w 3219450"/>
                <a:gd name="connsiteY31" fmla="*/ 1206359 h 2222950"/>
                <a:gd name="connsiteX32" fmla="*/ 2791715 w 3219450"/>
                <a:gd name="connsiteY32" fmla="*/ 1154174 h 2222950"/>
                <a:gd name="connsiteX33" fmla="*/ 1338060 w 3219450"/>
                <a:gd name="connsiteY33" fmla="*/ 1154174 h 2222950"/>
                <a:gd name="connsiteX34" fmla="*/ 765573 w 3219450"/>
                <a:gd name="connsiteY34" fmla="*/ 1149207 h 2222950"/>
                <a:gd name="connsiteX35" fmla="*/ 719138 w 3219450"/>
                <a:gd name="connsiteY35" fmla="*/ 1195642 h 2222950"/>
                <a:gd name="connsiteX36" fmla="*/ 719138 w 3219450"/>
                <a:gd name="connsiteY36" fmla="*/ 1381379 h 2222950"/>
                <a:gd name="connsiteX37" fmla="*/ 765573 w 3219450"/>
                <a:gd name="connsiteY37" fmla="*/ 1427814 h 2222950"/>
                <a:gd name="connsiteX38" fmla="*/ 1060847 w 3219450"/>
                <a:gd name="connsiteY38" fmla="*/ 1427814 h 2222950"/>
                <a:gd name="connsiteX39" fmla="*/ 1107282 w 3219450"/>
                <a:gd name="connsiteY39" fmla="*/ 1381379 h 2222950"/>
                <a:gd name="connsiteX40" fmla="*/ 1107282 w 3219450"/>
                <a:gd name="connsiteY40" fmla="*/ 1195642 h 2222950"/>
                <a:gd name="connsiteX41" fmla="*/ 1060847 w 3219450"/>
                <a:gd name="connsiteY41" fmla="*/ 1149207 h 2222950"/>
                <a:gd name="connsiteX42" fmla="*/ 765573 w 3219450"/>
                <a:gd name="connsiteY42" fmla="*/ 1149207 h 2222950"/>
                <a:gd name="connsiteX43" fmla="*/ 248842 w 3219450"/>
                <a:gd name="connsiteY43" fmla="*/ 1149207 h 2222950"/>
                <a:gd name="connsiteX44" fmla="*/ 202407 w 3219450"/>
                <a:gd name="connsiteY44" fmla="*/ 1195642 h 2222950"/>
                <a:gd name="connsiteX45" fmla="*/ 202407 w 3219450"/>
                <a:gd name="connsiteY45" fmla="*/ 1381379 h 2222950"/>
                <a:gd name="connsiteX46" fmla="*/ 248842 w 3219450"/>
                <a:gd name="connsiteY46" fmla="*/ 1427814 h 2222950"/>
                <a:gd name="connsiteX47" fmla="*/ 544116 w 3219450"/>
                <a:gd name="connsiteY47" fmla="*/ 1427814 h 2222950"/>
                <a:gd name="connsiteX48" fmla="*/ 590551 w 3219450"/>
                <a:gd name="connsiteY48" fmla="*/ 1381379 h 2222950"/>
                <a:gd name="connsiteX49" fmla="*/ 590551 w 3219450"/>
                <a:gd name="connsiteY49" fmla="*/ 1195642 h 2222950"/>
                <a:gd name="connsiteX50" fmla="*/ 544116 w 3219450"/>
                <a:gd name="connsiteY50" fmla="*/ 1149207 h 2222950"/>
                <a:gd name="connsiteX51" fmla="*/ 248842 w 3219450"/>
                <a:gd name="connsiteY51" fmla="*/ 1149207 h 2222950"/>
                <a:gd name="connsiteX52" fmla="*/ 765573 w 3219450"/>
                <a:gd name="connsiteY52" fmla="*/ 663231 h 2222950"/>
                <a:gd name="connsiteX53" fmla="*/ 719138 w 3219450"/>
                <a:gd name="connsiteY53" fmla="*/ 709666 h 2222950"/>
                <a:gd name="connsiteX54" fmla="*/ 719138 w 3219450"/>
                <a:gd name="connsiteY54" fmla="*/ 895403 h 2222950"/>
                <a:gd name="connsiteX55" fmla="*/ 765573 w 3219450"/>
                <a:gd name="connsiteY55" fmla="*/ 941838 h 2222950"/>
                <a:gd name="connsiteX56" fmla="*/ 1060847 w 3219450"/>
                <a:gd name="connsiteY56" fmla="*/ 941838 h 2222950"/>
                <a:gd name="connsiteX57" fmla="*/ 1107282 w 3219450"/>
                <a:gd name="connsiteY57" fmla="*/ 895403 h 2222950"/>
                <a:gd name="connsiteX58" fmla="*/ 1107282 w 3219450"/>
                <a:gd name="connsiteY58" fmla="*/ 709666 h 2222950"/>
                <a:gd name="connsiteX59" fmla="*/ 1060847 w 3219450"/>
                <a:gd name="connsiteY59" fmla="*/ 663231 h 2222950"/>
                <a:gd name="connsiteX60" fmla="*/ 765573 w 3219450"/>
                <a:gd name="connsiteY60" fmla="*/ 663231 h 2222950"/>
                <a:gd name="connsiteX61" fmla="*/ 248842 w 3219450"/>
                <a:gd name="connsiteY61" fmla="*/ 663231 h 2222950"/>
                <a:gd name="connsiteX62" fmla="*/ 202407 w 3219450"/>
                <a:gd name="connsiteY62" fmla="*/ 709666 h 2222950"/>
                <a:gd name="connsiteX63" fmla="*/ 202407 w 3219450"/>
                <a:gd name="connsiteY63" fmla="*/ 895403 h 2222950"/>
                <a:gd name="connsiteX64" fmla="*/ 248842 w 3219450"/>
                <a:gd name="connsiteY64" fmla="*/ 941838 h 2222950"/>
                <a:gd name="connsiteX65" fmla="*/ 544116 w 3219450"/>
                <a:gd name="connsiteY65" fmla="*/ 941838 h 2222950"/>
                <a:gd name="connsiteX66" fmla="*/ 590551 w 3219450"/>
                <a:gd name="connsiteY66" fmla="*/ 895403 h 2222950"/>
                <a:gd name="connsiteX67" fmla="*/ 590551 w 3219450"/>
                <a:gd name="connsiteY67" fmla="*/ 709666 h 2222950"/>
                <a:gd name="connsiteX68" fmla="*/ 544116 w 3219450"/>
                <a:gd name="connsiteY68" fmla="*/ 663231 h 2222950"/>
                <a:gd name="connsiteX69" fmla="*/ 248842 w 3219450"/>
                <a:gd name="connsiteY69" fmla="*/ 663231 h 2222950"/>
                <a:gd name="connsiteX70" fmla="*/ 1086335 w 3219450"/>
                <a:gd name="connsiteY70" fmla="*/ 3080 h 2222950"/>
                <a:gd name="connsiteX71" fmla="*/ 1152525 w 3219450"/>
                <a:gd name="connsiteY71" fmla="*/ 470350 h 2222950"/>
                <a:gd name="connsiteX72" fmla="*/ 1285875 w 3219450"/>
                <a:gd name="connsiteY72" fmla="*/ 470350 h 2222950"/>
                <a:gd name="connsiteX73" fmla="*/ 1285875 w 3219450"/>
                <a:gd name="connsiteY73" fmla="*/ 784675 h 2222950"/>
                <a:gd name="connsiteX74" fmla="*/ 3219450 w 3219450"/>
                <a:gd name="connsiteY74" fmla="*/ 784675 h 2222950"/>
                <a:gd name="connsiteX75" fmla="*/ 3219450 w 3219450"/>
                <a:gd name="connsiteY75" fmla="*/ 2222950 h 2222950"/>
                <a:gd name="connsiteX76" fmla="*/ 1695450 w 3219450"/>
                <a:gd name="connsiteY76" fmla="*/ 2222950 h 2222950"/>
                <a:gd name="connsiteX77" fmla="*/ 1695450 w 3219450"/>
                <a:gd name="connsiteY77" fmla="*/ 1575250 h 2222950"/>
                <a:gd name="connsiteX78" fmla="*/ 1276350 w 3219450"/>
                <a:gd name="connsiteY78" fmla="*/ 1575250 h 2222950"/>
                <a:gd name="connsiteX79" fmla="*/ 1276350 w 3219450"/>
                <a:gd name="connsiteY79" fmla="*/ 2213425 h 2222950"/>
                <a:gd name="connsiteX80" fmla="*/ 0 w 3219450"/>
                <a:gd name="connsiteY80" fmla="*/ 2213425 h 2222950"/>
                <a:gd name="connsiteX81" fmla="*/ 0 w 3219450"/>
                <a:gd name="connsiteY81" fmla="*/ 479875 h 2222950"/>
                <a:gd name="connsiteX82" fmla="*/ 624283 w 3219450"/>
                <a:gd name="connsiteY82" fmla="*/ 472798 h 2222950"/>
                <a:gd name="connsiteX83" fmla="*/ 756209 w 3219450"/>
                <a:gd name="connsiteY83" fmla="*/ 1535 h 2222950"/>
                <a:gd name="connsiteX84" fmla="*/ 1086335 w 3219450"/>
                <a:gd name="connsiteY84" fmla="*/ 3080 h 2222950"/>
                <a:gd name="connsiteX0" fmla="*/ 765573 w 3219450"/>
                <a:gd name="connsiteY0" fmla="*/ 1601878 h 2219889"/>
                <a:gd name="connsiteX1" fmla="*/ 719138 w 3219450"/>
                <a:gd name="connsiteY1" fmla="*/ 1648313 h 2219889"/>
                <a:gd name="connsiteX2" fmla="*/ 719138 w 3219450"/>
                <a:gd name="connsiteY2" fmla="*/ 1834050 h 2219889"/>
                <a:gd name="connsiteX3" fmla="*/ 765573 w 3219450"/>
                <a:gd name="connsiteY3" fmla="*/ 1880485 h 2219889"/>
                <a:gd name="connsiteX4" fmla="*/ 1060847 w 3219450"/>
                <a:gd name="connsiteY4" fmla="*/ 1880485 h 2219889"/>
                <a:gd name="connsiteX5" fmla="*/ 1107282 w 3219450"/>
                <a:gd name="connsiteY5" fmla="*/ 1834050 h 2219889"/>
                <a:gd name="connsiteX6" fmla="*/ 1107282 w 3219450"/>
                <a:gd name="connsiteY6" fmla="*/ 1648313 h 2219889"/>
                <a:gd name="connsiteX7" fmla="*/ 1060847 w 3219450"/>
                <a:gd name="connsiteY7" fmla="*/ 1601878 h 2219889"/>
                <a:gd name="connsiteX8" fmla="*/ 765573 w 3219450"/>
                <a:gd name="connsiteY8" fmla="*/ 1601878 h 2219889"/>
                <a:gd name="connsiteX9" fmla="*/ 248842 w 3219450"/>
                <a:gd name="connsiteY9" fmla="*/ 1601878 h 2219889"/>
                <a:gd name="connsiteX10" fmla="*/ 202407 w 3219450"/>
                <a:gd name="connsiteY10" fmla="*/ 1648313 h 2219889"/>
                <a:gd name="connsiteX11" fmla="*/ 202407 w 3219450"/>
                <a:gd name="connsiteY11" fmla="*/ 1834050 h 2219889"/>
                <a:gd name="connsiteX12" fmla="*/ 248842 w 3219450"/>
                <a:gd name="connsiteY12" fmla="*/ 1880485 h 2219889"/>
                <a:gd name="connsiteX13" fmla="*/ 544116 w 3219450"/>
                <a:gd name="connsiteY13" fmla="*/ 1880485 h 2219889"/>
                <a:gd name="connsiteX14" fmla="*/ 590551 w 3219450"/>
                <a:gd name="connsiteY14" fmla="*/ 1834050 h 2219889"/>
                <a:gd name="connsiteX15" fmla="*/ 590551 w 3219450"/>
                <a:gd name="connsiteY15" fmla="*/ 1648313 h 2219889"/>
                <a:gd name="connsiteX16" fmla="*/ 544116 w 3219450"/>
                <a:gd name="connsiteY16" fmla="*/ 1601878 h 2219889"/>
                <a:gd name="connsiteX17" fmla="*/ 248842 w 3219450"/>
                <a:gd name="connsiteY17" fmla="*/ 1601878 h 2219889"/>
                <a:gd name="connsiteX18" fmla="*/ 1338060 w 3219450"/>
                <a:gd name="connsiteY18" fmla="*/ 1372569 h 2219889"/>
                <a:gd name="connsiteX19" fmla="*/ 1285875 w 3219450"/>
                <a:gd name="connsiteY19" fmla="*/ 1424754 h 2219889"/>
                <a:gd name="connsiteX20" fmla="*/ 1338060 w 3219450"/>
                <a:gd name="connsiteY20" fmla="*/ 1476938 h 2219889"/>
                <a:gd name="connsiteX21" fmla="*/ 2791714 w 3219450"/>
                <a:gd name="connsiteY21" fmla="*/ 1476939 h 2219889"/>
                <a:gd name="connsiteX22" fmla="*/ 2843899 w 3219450"/>
                <a:gd name="connsiteY22" fmla="*/ 1424754 h 2219889"/>
                <a:gd name="connsiteX23" fmla="*/ 2843900 w 3219450"/>
                <a:gd name="connsiteY23" fmla="*/ 1424754 h 2219889"/>
                <a:gd name="connsiteX24" fmla="*/ 2791715 w 3219450"/>
                <a:gd name="connsiteY24" fmla="*/ 1372569 h 2219889"/>
                <a:gd name="connsiteX25" fmla="*/ 1338060 w 3219450"/>
                <a:gd name="connsiteY25" fmla="*/ 1372569 h 2219889"/>
                <a:gd name="connsiteX26" fmla="*/ 1338060 w 3219450"/>
                <a:gd name="connsiteY26" fmla="*/ 1151113 h 2219889"/>
                <a:gd name="connsiteX27" fmla="*/ 1285875 w 3219450"/>
                <a:gd name="connsiteY27" fmla="*/ 1203298 h 2219889"/>
                <a:gd name="connsiteX28" fmla="*/ 1338060 w 3219450"/>
                <a:gd name="connsiteY28" fmla="*/ 1255482 h 2219889"/>
                <a:gd name="connsiteX29" fmla="*/ 2791714 w 3219450"/>
                <a:gd name="connsiteY29" fmla="*/ 1255483 h 2219889"/>
                <a:gd name="connsiteX30" fmla="*/ 2843899 w 3219450"/>
                <a:gd name="connsiteY30" fmla="*/ 1203298 h 2219889"/>
                <a:gd name="connsiteX31" fmla="*/ 2843900 w 3219450"/>
                <a:gd name="connsiteY31" fmla="*/ 1203298 h 2219889"/>
                <a:gd name="connsiteX32" fmla="*/ 2791715 w 3219450"/>
                <a:gd name="connsiteY32" fmla="*/ 1151113 h 2219889"/>
                <a:gd name="connsiteX33" fmla="*/ 1338060 w 3219450"/>
                <a:gd name="connsiteY33" fmla="*/ 1151113 h 2219889"/>
                <a:gd name="connsiteX34" fmla="*/ 765573 w 3219450"/>
                <a:gd name="connsiteY34" fmla="*/ 1146146 h 2219889"/>
                <a:gd name="connsiteX35" fmla="*/ 719138 w 3219450"/>
                <a:gd name="connsiteY35" fmla="*/ 1192581 h 2219889"/>
                <a:gd name="connsiteX36" fmla="*/ 719138 w 3219450"/>
                <a:gd name="connsiteY36" fmla="*/ 1378318 h 2219889"/>
                <a:gd name="connsiteX37" fmla="*/ 765573 w 3219450"/>
                <a:gd name="connsiteY37" fmla="*/ 1424753 h 2219889"/>
                <a:gd name="connsiteX38" fmla="*/ 1060847 w 3219450"/>
                <a:gd name="connsiteY38" fmla="*/ 1424753 h 2219889"/>
                <a:gd name="connsiteX39" fmla="*/ 1107282 w 3219450"/>
                <a:gd name="connsiteY39" fmla="*/ 1378318 h 2219889"/>
                <a:gd name="connsiteX40" fmla="*/ 1107282 w 3219450"/>
                <a:gd name="connsiteY40" fmla="*/ 1192581 h 2219889"/>
                <a:gd name="connsiteX41" fmla="*/ 1060847 w 3219450"/>
                <a:gd name="connsiteY41" fmla="*/ 1146146 h 2219889"/>
                <a:gd name="connsiteX42" fmla="*/ 765573 w 3219450"/>
                <a:gd name="connsiteY42" fmla="*/ 1146146 h 2219889"/>
                <a:gd name="connsiteX43" fmla="*/ 248842 w 3219450"/>
                <a:gd name="connsiteY43" fmla="*/ 1146146 h 2219889"/>
                <a:gd name="connsiteX44" fmla="*/ 202407 w 3219450"/>
                <a:gd name="connsiteY44" fmla="*/ 1192581 h 2219889"/>
                <a:gd name="connsiteX45" fmla="*/ 202407 w 3219450"/>
                <a:gd name="connsiteY45" fmla="*/ 1378318 h 2219889"/>
                <a:gd name="connsiteX46" fmla="*/ 248842 w 3219450"/>
                <a:gd name="connsiteY46" fmla="*/ 1424753 h 2219889"/>
                <a:gd name="connsiteX47" fmla="*/ 544116 w 3219450"/>
                <a:gd name="connsiteY47" fmla="*/ 1424753 h 2219889"/>
                <a:gd name="connsiteX48" fmla="*/ 590551 w 3219450"/>
                <a:gd name="connsiteY48" fmla="*/ 1378318 h 2219889"/>
                <a:gd name="connsiteX49" fmla="*/ 590551 w 3219450"/>
                <a:gd name="connsiteY49" fmla="*/ 1192581 h 2219889"/>
                <a:gd name="connsiteX50" fmla="*/ 544116 w 3219450"/>
                <a:gd name="connsiteY50" fmla="*/ 1146146 h 2219889"/>
                <a:gd name="connsiteX51" fmla="*/ 248842 w 3219450"/>
                <a:gd name="connsiteY51" fmla="*/ 1146146 h 2219889"/>
                <a:gd name="connsiteX52" fmla="*/ 765573 w 3219450"/>
                <a:gd name="connsiteY52" fmla="*/ 660170 h 2219889"/>
                <a:gd name="connsiteX53" fmla="*/ 719138 w 3219450"/>
                <a:gd name="connsiteY53" fmla="*/ 706605 h 2219889"/>
                <a:gd name="connsiteX54" fmla="*/ 719138 w 3219450"/>
                <a:gd name="connsiteY54" fmla="*/ 892342 h 2219889"/>
                <a:gd name="connsiteX55" fmla="*/ 765573 w 3219450"/>
                <a:gd name="connsiteY55" fmla="*/ 938777 h 2219889"/>
                <a:gd name="connsiteX56" fmla="*/ 1060847 w 3219450"/>
                <a:gd name="connsiteY56" fmla="*/ 938777 h 2219889"/>
                <a:gd name="connsiteX57" fmla="*/ 1107282 w 3219450"/>
                <a:gd name="connsiteY57" fmla="*/ 892342 h 2219889"/>
                <a:gd name="connsiteX58" fmla="*/ 1107282 w 3219450"/>
                <a:gd name="connsiteY58" fmla="*/ 706605 h 2219889"/>
                <a:gd name="connsiteX59" fmla="*/ 1060847 w 3219450"/>
                <a:gd name="connsiteY59" fmla="*/ 660170 h 2219889"/>
                <a:gd name="connsiteX60" fmla="*/ 765573 w 3219450"/>
                <a:gd name="connsiteY60" fmla="*/ 660170 h 2219889"/>
                <a:gd name="connsiteX61" fmla="*/ 248842 w 3219450"/>
                <a:gd name="connsiteY61" fmla="*/ 660170 h 2219889"/>
                <a:gd name="connsiteX62" fmla="*/ 202407 w 3219450"/>
                <a:gd name="connsiteY62" fmla="*/ 706605 h 2219889"/>
                <a:gd name="connsiteX63" fmla="*/ 202407 w 3219450"/>
                <a:gd name="connsiteY63" fmla="*/ 892342 h 2219889"/>
                <a:gd name="connsiteX64" fmla="*/ 248842 w 3219450"/>
                <a:gd name="connsiteY64" fmla="*/ 938777 h 2219889"/>
                <a:gd name="connsiteX65" fmla="*/ 544116 w 3219450"/>
                <a:gd name="connsiteY65" fmla="*/ 938777 h 2219889"/>
                <a:gd name="connsiteX66" fmla="*/ 590551 w 3219450"/>
                <a:gd name="connsiteY66" fmla="*/ 892342 h 2219889"/>
                <a:gd name="connsiteX67" fmla="*/ 590551 w 3219450"/>
                <a:gd name="connsiteY67" fmla="*/ 706605 h 2219889"/>
                <a:gd name="connsiteX68" fmla="*/ 544116 w 3219450"/>
                <a:gd name="connsiteY68" fmla="*/ 660170 h 2219889"/>
                <a:gd name="connsiteX69" fmla="*/ 248842 w 3219450"/>
                <a:gd name="connsiteY69" fmla="*/ 660170 h 2219889"/>
                <a:gd name="connsiteX70" fmla="*/ 1086335 w 3219450"/>
                <a:gd name="connsiteY70" fmla="*/ 19 h 2219889"/>
                <a:gd name="connsiteX71" fmla="*/ 1152525 w 3219450"/>
                <a:gd name="connsiteY71" fmla="*/ 467289 h 2219889"/>
                <a:gd name="connsiteX72" fmla="*/ 1285875 w 3219450"/>
                <a:gd name="connsiteY72" fmla="*/ 467289 h 2219889"/>
                <a:gd name="connsiteX73" fmla="*/ 1285875 w 3219450"/>
                <a:gd name="connsiteY73" fmla="*/ 781614 h 2219889"/>
                <a:gd name="connsiteX74" fmla="*/ 3219450 w 3219450"/>
                <a:gd name="connsiteY74" fmla="*/ 781614 h 2219889"/>
                <a:gd name="connsiteX75" fmla="*/ 3219450 w 3219450"/>
                <a:gd name="connsiteY75" fmla="*/ 2219889 h 2219889"/>
                <a:gd name="connsiteX76" fmla="*/ 1695450 w 3219450"/>
                <a:gd name="connsiteY76" fmla="*/ 2219889 h 2219889"/>
                <a:gd name="connsiteX77" fmla="*/ 1695450 w 3219450"/>
                <a:gd name="connsiteY77" fmla="*/ 1572189 h 2219889"/>
                <a:gd name="connsiteX78" fmla="*/ 1276350 w 3219450"/>
                <a:gd name="connsiteY78" fmla="*/ 1572189 h 2219889"/>
                <a:gd name="connsiteX79" fmla="*/ 1276350 w 3219450"/>
                <a:gd name="connsiteY79" fmla="*/ 2210364 h 2219889"/>
                <a:gd name="connsiteX80" fmla="*/ 0 w 3219450"/>
                <a:gd name="connsiteY80" fmla="*/ 2210364 h 2219889"/>
                <a:gd name="connsiteX81" fmla="*/ 0 w 3219450"/>
                <a:gd name="connsiteY81" fmla="*/ 476814 h 2219889"/>
                <a:gd name="connsiteX82" fmla="*/ 624283 w 3219450"/>
                <a:gd name="connsiteY82" fmla="*/ 469737 h 2219889"/>
                <a:gd name="connsiteX83" fmla="*/ 639987 w 3219450"/>
                <a:gd name="connsiteY83" fmla="*/ 208779 h 2219889"/>
                <a:gd name="connsiteX84" fmla="*/ 1086335 w 3219450"/>
                <a:gd name="connsiteY84" fmla="*/ 19 h 2219889"/>
                <a:gd name="connsiteX0" fmla="*/ 765573 w 3219450"/>
                <a:gd name="connsiteY0" fmla="*/ 1393099 h 2011110"/>
                <a:gd name="connsiteX1" fmla="*/ 719138 w 3219450"/>
                <a:gd name="connsiteY1" fmla="*/ 1439534 h 2011110"/>
                <a:gd name="connsiteX2" fmla="*/ 719138 w 3219450"/>
                <a:gd name="connsiteY2" fmla="*/ 1625271 h 2011110"/>
                <a:gd name="connsiteX3" fmla="*/ 765573 w 3219450"/>
                <a:gd name="connsiteY3" fmla="*/ 1671706 h 2011110"/>
                <a:gd name="connsiteX4" fmla="*/ 1060847 w 3219450"/>
                <a:gd name="connsiteY4" fmla="*/ 1671706 h 2011110"/>
                <a:gd name="connsiteX5" fmla="*/ 1107282 w 3219450"/>
                <a:gd name="connsiteY5" fmla="*/ 1625271 h 2011110"/>
                <a:gd name="connsiteX6" fmla="*/ 1107282 w 3219450"/>
                <a:gd name="connsiteY6" fmla="*/ 1439534 h 2011110"/>
                <a:gd name="connsiteX7" fmla="*/ 1060847 w 3219450"/>
                <a:gd name="connsiteY7" fmla="*/ 1393099 h 2011110"/>
                <a:gd name="connsiteX8" fmla="*/ 765573 w 3219450"/>
                <a:gd name="connsiteY8" fmla="*/ 1393099 h 2011110"/>
                <a:gd name="connsiteX9" fmla="*/ 248842 w 3219450"/>
                <a:gd name="connsiteY9" fmla="*/ 1393099 h 2011110"/>
                <a:gd name="connsiteX10" fmla="*/ 202407 w 3219450"/>
                <a:gd name="connsiteY10" fmla="*/ 1439534 h 2011110"/>
                <a:gd name="connsiteX11" fmla="*/ 202407 w 3219450"/>
                <a:gd name="connsiteY11" fmla="*/ 1625271 h 2011110"/>
                <a:gd name="connsiteX12" fmla="*/ 248842 w 3219450"/>
                <a:gd name="connsiteY12" fmla="*/ 1671706 h 2011110"/>
                <a:gd name="connsiteX13" fmla="*/ 544116 w 3219450"/>
                <a:gd name="connsiteY13" fmla="*/ 1671706 h 2011110"/>
                <a:gd name="connsiteX14" fmla="*/ 590551 w 3219450"/>
                <a:gd name="connsiteY14" fmla="*/ 1625271 h 2011110"/>
                <a:gd name="connsiteX15" fmla="*/ 590551 w 3219450"/>
                <a:gd name="connsiteY15" fmla="*/ 1439534 h 2011110"/>
                <a:gd name="connsiteX16" fmla="*/ 544116 w 3219450"/>
                <a:gd name="connsiteY16" fmla="*/ 1393099 h 2011110"/>
                <a:gd name="connsiteX17" fmla="*/ 248842 w 3219450"/>
                <a:gd name="connsiteY17" fmla="*/ 1393099 h 2011110"/>
                <a:gd name="connsiteX18" fmla="*/ 1338060 w 3219450"/>
                <a:gd name="connsiteY18" fmla="*/ 1163790 h 2011110"/>
                <a:gd name="connsiteX19" fmla="*/ 1285875 w 3219450"/>
                <a:gd name="connsiteY19" fmla="*/ 1215975 h 2011110"/>
                <a:gd name="connsiteX20" fmla="*/ 1338060 w 3219450"/>
                <a:gd name="connsiteY20" fmla="*/ 1268159 h 2011110"/>
                <a:gd name="connsiteX21" fmla="*/ 2791714 w 3219450"/>
                <a:gd name="connsiteY21" fmla="*/ 1268160 h 2011110"/>
                <a:gd name="connsiteX22" fmla="*/ 2843899 w 3219450"/>
                <a:gd name="connsiteY22" fmla="*/ 1215975 h 2011110"/>
                <a:gd name="connsiteX23" fmla="*/ 2843900 w 3219450"/>
                <a:gd name="connsiteY23" fmla="*/ 1215975 h 2011110"/>
                <a:gd name="connsiteX24" fmla="*/ 2791715 w 3219450"/>
                <a:gd name="connsiteY24" fmla="*/ 1163790 h 2011110"/>
                <a:gd name="connsiteX25" fmla="*/ 1338060 w 3219450"/>
                <a:gd name="connsiteY25" fmla="*/ 1163790 h 2011110"/>
                <a:gd name="connsiteX26" fmla="*/ 1338060 w 3219450"/>
                <a:gd name="connsiteY26" fmla="*/ 942334 h 2011110"/>
                <a:gd name="connsiteX27" fmla="*/ 1285875 w 3219450"/>
                <a:gd name="connsiteY27" fmla="*/ 994519 h 2011110"/>
                <a:gd name="connsiteX28" fmla="*/ 1338060 w 3219450"/>
                <a:gd name="connsiteY28" fmla="*/ 1046703 h 2011110"/>
                <a:gd name="connsiteX29" fmla="*/ 2791714 w 3219450"/>
                <a:gd name="connsiteY29" fmla="*/ 1046704 h 2011110"/>
                <a:gd name="connsiteX30" fmla="*/ 2843899 w 3219450"/>
                <a:gd name="connsiteY30" fmla="*/ 994519 h 2011110"/>
                <a:gd name="connsiteX31" fmla="*/ 2843900 w 3219450"/>
                <a:gd name="connsiteY31" fmla="*/ 994519 h 2011110"/>
                <a:gd name="connsiteX32" fmla="*/ 2791715 w 3219450"/>
                <a:gd name="connsiteY32" fmla="*/ 942334 h 2011110"/>
                <a:gd name="connsiteX33" fmla="*/ 1338060 w 3219450"/>
                <a:gd name="connsiteY33" fmla="*/ 942334 h 2011110"/>
                <a:gd name="connsiteX34" fmla="*/ 765573 w 3219450"/>
                <a:gd name="connsiteY34" fmla="*/ 937367 h 2011110"/>
                <a:gd name="connsiteX35" fmla="*/ 719138 w 3219450"/>
                <a:gd name="connsiteY35" fmla="*/ 983802 h 2011110"/>
                <a:gd name="connsiteX36" fmla="*/ 719138 w 3219450"/>
                <a:gd name="connsiteY36" fmla="*/ 1169539 h 2011110"/>
                <a:gd name="connsiteX37" fmla="*/ 765573 w 3219450"/>
                <a:gd name="connsiteY37" fmla="*/ 1215974 h 2011110"/>
                <a:gd name="connsiteX38" fmla="*/ 1060847 w 3219450"/>
                <a:gd name="connsiteY38" fmla="*/ 1215974 h 2011110"/>
                <a:gd name="connsiteX39" fmla="*/ 1107282 w 3219450"/>
                <a:gd name="connsiteY39" fmla="*/ 1169539 h 2011110"/>
                <a:gd name="connsiteX40" fmla="*/ 1107282 w 3219450"/>
                <a:gd name="connsiteY40" fmla="*/ 983802 h 2011110"/>
                <a:gd name="connsiteX41" fmla="*/ 1060847 w 3219450"/>
                <a:gd name="connsiteY41" fmla="*/ 937367 h 2011110"/>
                <a:gd name="connsiteX42" fmla="*/ 765573 w 3219450"/>
                <a:gd name="connsiteY42" fmla="*/ 937367 h 2011110"/>
                <a:gd name="connsiteX43" fmla="*/ 248842 w 3219450"/>
                <a:gd name="connsiteY43" fmla="*/ 937367 h 2011110"/>
                <a:gd name="connsiteX44" fmla="*/ 202407 w 3219450"/>
                <a:gd name="connsiteY44" fmla="*/ 983802 h 2011110"/>
                <a:gd name="connsiteX45" fmla="*/ 202407 w 3219450"/>
                <a:gd name="connsiteY45" fmla="*/ 1169539 h 2011110"/>
                <a:gd name="connsiteX46" fmla="*/ 248842 w 3219450"/>
                <a:gd name="connsiteY46" fmla="*/ 1215974 h 2011110"/>
                <a:gd name="connsiteX47" fmla="*/ 544116 w 3219450"/>
                <a:gd name="connsiteY47" fmla="*/ 1215974 h 2011110"/>
                <a:gd name="connsiteX48" fmla="*/ 590551 w 3219450"/>
                <a:gd name="connsiteY48" fmla="*/ 1169539 h 2011110"/>
                <a:gd name="connsiteX49" fmla="*/ 590551 w 3219450"/>
                <a:gd name="connsiteY49" fmla="*/ 983802 h 2011110"/>
                <a:gd name="connsiteX50" fmla="*/ 544116 w 3219450"/>
                <a:gd name="connsiteY50" fmla="*/ 937367 h 2011110"/>
                <a:gd name="connsiteX51" fmla="*/ 248842 w 3219450"/>
                <a:gd name="connsiteY51" fmla="*/ 937367 h 2011110"/>
                <a:gd name="connsiteX52" fmla="*/ 765573 w 3219450"/>
                <a:gd name="connsiteY52" fmla="*/ 451391 h 2011110"/>
                <a:gd name="connsiteX53" fmla="*/ 719138 w 3219450"/>
                <a:gd name="connsiteY53" fmla="*/ 497826 h 2011110"/>
                <a:gd name="connsiteX54" fmla="*/ 719138 w 3219450"/>
                <a:gd name="connsiteY54" fmla="*/ 683563 h 2011110"/>
                <a:gd name="connsiteX55" fmla="*/ 765573 w 3219450"/>
                <a:gd name="connsiteY55" fmla="*/ 729998 h 2011110"/>
                <a:gd name="connsiteX56" fmla="*/ 1060847 w 3219450"/>
                <a:gd name="connsiteY56" fmla="*/ 729998 h 2011110"/>
                <a:gd name="connsiteX57" fmla="*/ 1107282 w 3219450"/>
                <a:gd name="connsiteY57" fmla="*/ 683563 h 2011110"/>
                <a:gd name="connsiteX58" fmla="*/ 1107282 w 3219450"/>
                <a:gd name="connsiteY58" fmla="*/ 497826 h 2011110"/>
                <a:gd name="connsiteX59" fmla="*/ 1060847 w 3219450"/>
                <a:gd name="connsiteY59" fmla="*/ 451391 h 2011110"/>
                <a:gd name="connsiteX60" fmla="*/ 765573 w 3219450"/>
                <a:gd name="connsiteY60" fmla="*/ 451391 h 2011110"/>
                <a:gd name="connsiteX61" fmla="*/ 248842 w 3219450"/>
                <a:gd name="connsiteY61" fmla="*/ 451391 h 2011110"/>
                <a:gd name="connsiteX62" fmla="*/ 202407 w 3219450"/>
                <a:gd name="connsiteY62" fmla="*/ 497826 h 2011110"/>
                <a:gd name="connsiteX63" fmla="*/ 202407 w 3219450"/>
                <a:gd name="connsiteY63" fmla="*/ 683563 h 2011110"/>
                <a:gd name="connsiteX64" fmla="*/ 248842 w 3219450"/>
                <a:gd name="connsiteY64" fmla="*/ 729998 h 2011110"/>
                <a:gd name="connsiteX65" fmla="*/ 544116 w 3219450"/>
                <a:gd name="connsiteY65" fmla="*/ 729998 h 2011110"/>
                <a:gd name="connsiteX66" fmla="*/ 590551 w 3219450"/>
                <a:gd name="connsiteY66" fmla="*/ 683563 h 2011110"/>
                <a:gd name="connsiteX67" fmla="*/ 590551 w 3219450"/>
                <a:gd name="connsiteY67" fmla="*/ 497826 h 2011110"/>
                <a:gd name="connsiteX68" fmla="*/ 544116 w 3219450"/>
                <a:gd name="connsiteY68" fmla="*/ 451391 h 2011110"/>
                <a:gd name="connsiteX69" fmla="*/ 248842 w 3219450"/>
                <a:gd name="connsiteY69" fmla="*/ 451391 h 2011110"/>
                <a:gd name="connsiteX70" fmla="*/ 1136144 w 3219450"/>
                <a:gd name="connsiteY70" fmla="*/ 7082 h 2011110"/>
                <a:gd name="connsiteX71" fmla="*/ 1152525 w 3219450"/>
                <a:gd name="connsiteY71" fmla="*/ 258510 h 2011110"/>
                <a:gd name="connsiteX72" fmla="*/ 1285875 w 3219450"/>
                <a:gd name="connsiteY72" fmla="*/ 258510 h 2011110"/>
                <a:gd name="connsiteX73" fmla="*/ 1285875 w 3219450"/>
                <a:gd name="connsiteY73" fmla="*/ 572835 h 2011110"/>
                <a:gd name="connsiteX74" fmla="*/ 3219450 w 3219450"/>
                <a:gd name="connsiteY74" fmla="*/ 572835 h 2011110"/>
                <a:gd name="connsiteX75" fmla="*/ 3219450 w 3219450"/>
                <a:gd name="connsiteY75" fmla="*/ 2011110 h 2011110"/>
                <a:gd name="connsiteX76" fmla="*/ 1695450 w 3219450"/>
                <a:gd name="connsiteY76" fmla="*/ 2011110 h 2011110"/>
                <a:gd name="connsiteX77" fmla="*/ 1695450 w 3219450"/>
                <a:gd name="connsiteY77" fmla="*/ 1363410 h 2011110"/>
                <a:gd name="connsiteX78" fmla="*/ 1276350 w 3219450"/>
                <a:gd name="connsiteY78" fmla="*/ 1363410 h 2011110"/>
                <a:gd name="connsiteX79" fmla="*/ 1276350 w 3219450"/>
                <a:gd name="connsiteY79" fmla="*/ 2001585 h 2011110"/>
                <a:gd name="connsiteX80" fmla="*/ 0 w 3219450"/>
                <a:gd name="connsiteY80" fmla="*/ 2001585 h 2011110"/>
                <a:gd name="connsiteX81" fmla="*/ 0 w 3219450"/>
                <a:gd name="connsiteY81" fmla="*/ 268035 h 2011110"/>
                <a:gd name="connsiteX82" fmla="*/ 624283 w 3219450"/>
                <a:gd name="connsiteY82" fmla="*/ 260958 h 2011110"/>
                <a:gd name="connsiteX83" fmla="*/ 639987 w 3219450"/>
                <a:gd name="connsiteY83" fmla="*/ 0 h 2011110"/>
                <a:gd name="connsiteX84" fmla="*/ 1136144 w 3219450"/>
                <a:gd name="connsiteY84" fmla="*/ 7082 h 2011110"/>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39987 w 3219450"/>
                <a:gd name="connsiteY83" fmla="*/ 15056 h 2004028"/>
                <a:gd name="connsiteX84" fmla="*/ 1136144 w 3219450"/>
                <a:gd name="connsiteY84" fmla="*/ 0 h 2004028"/>
                <a:gd name="connsiteX0" fmla="*/ 765573 w 3219450"/>
                <a:gd name="connsiteY0" fmla="*/ 1393099 h 2011110"/>
                <a:gd name="connsiteX1" fmla="*/ 719138 w 3219450"/>
                <a:gd name="connsiteY1" fmla="*/ 1439534 h 2011110"/>
                <a:gd name="connsiteX2" fmla="*/ 719138 w 3219450"/>
                <a:gd name="connsiteY2" fmla="*/ 1625271 h 2011110"/>
                <a:gd name="connsiteX3" fmla="*/ 765573 w 3219450"/>
                <a:gd name="connsiteY3" fmla="*/ 1671706 h 2011110"/>
                <a:gd name="connsiteX4" fmla="*/ 1060847 w 3219450"/>
                <a:gd name="connsiteY4" fmla="*/ 1671706 h 2011110"/>
                <a:gd name="connsiteX5" fmla="*/ 1107282 w 3219450"/>
                <a:gd name="connsiteY5" fmla="*/ 1625271 h 2011110"/>
                <a:gd name="connsiteX6" fmla="*/ 1107282 w 3219450"/>
                <a:gd name="connsiteY6" fmla="*/ 1439534 h 2011110"/>
                <a:gd name="connsiteX7" fmla="*/ 1060847 w 3219450"/>
                <a:gd name="connsiteY7" fmla="*/ 1393099 h 2011110"/>
                <a:gd name="connsiteX8" fmla="*/ 765573 w 3219450"/>
                <a:gd name="connsiteY8" fmla="*/ 1393099 h 2011110"/>
                <a:gd name="connsiteX9" fmla="*/ 248842 w 3219450"/>
                <a:gd name="connsiteY9" fmla="*/ 1393099 h 2011110"/>
                <a:gd name="connsiteX10" fmla="*/ 202407 w 3219450"/>
                <a:gd name="connsiteY10" fmla="*/ 1439534 h 2011110"/>
                <a:gd name="connsiteX11" fmla="*/ 202407 w 3219450"/>
                <a:gd name="connsiteY11" fmla="*/ 1625271 h 2011110"/>
                <a:gd name="connsiteX12" fmla="*/ 248842 w 3219450"/>
                <a:gd name="connsiteY12" fmla="*/ 1671706 h 2011110"/>
                <a:gd name="connsiteX13" fmla="*/ 544116 w 3219450"/>
                <a:gd name="connsiteY13" fmla="*/ 1671706 h 2011110"/>
                <a:gd name="connsiteX14" fmla="*/ 590551 w 3219450"/>
                <a:gd name="connsiteY14" fmla="*/ 1625271 h 2011110"/>
                <a:gd name="connsiteX15" fmla="*/ 590551 w 3219450"/>
                <a:gd name="connsiteY15" fmla="*/ 1439534 h 2011110"/>
                <a:gd name="connsiteX16" fmla="*/ 544116 w 3219450"/>
                <a:gd name="connsiteY16" fmla="*/ 1393099 h 2011110"/>
                <a:gd name="connsiteX17" fmla="*/ 248842 w 3219450"/>
                <a:gd name="connsiteY17" fmla="*/ 1393099 h 2011110"/>
                <a:gd name="connsiteX18" fmla="*/ 1338060 w 3219450"/>
                <a:gd name="connsiteY18" fmla="*/ 1163790 h 2011110"/>
                <a:gd name="connsiteX19" fmla="*/ 1285875 w 3219450"/>
                <a:gd name="connsiteY19" fmla="*/ 1215975 h 2011110"/>
                <a:gd name="connsiteX20" fmla="*/ 1338060 w 3219450"/>
                <a:gd name="connsiteY20" fmla="*/ 1268159 h 2011110"/>
                <a:gd name="connsiteX21" fmla="*/ 2791714 w 3219450"/>
                <a:gd name="connsiteY21" fmla="*/ 1268160 h 2011110"/>
                <a:gd name="connsiteX22" fmla="*/ 2843899 w 3219450"/>
                <a:gd name="connsiteY22" fmla="*/ 1215975 h 2011110"/>
                <a:gd name="connsiteX23" fmla="*/ 2843900 w 3219450"/>
                <a:gd name="connsiteY23" fmla="*/ 1215975 h 2011110"/>
                <a:gd name="connsiteX24" fmla="*/ 2791715 w 3219450"/>
                <a:gd name="connsiteY24" fmla="*/ 1163790 h 2011110"/>
                <a:gd name="connsiteX25" fmla="*/ 1338060 w 3219450"/>
                <a:gd name="connsiteY25" fmla="*/ 1163790 h 2011110"/>
                <a:gd name="connsiteX26" fmla="*/ 1338060 w 3219450"/>
                <a:gd name="connsiteY26" fmla="*/ 942334 h 2011110"/>
                <a:gd name="connsiteX27" fmla="*/ 1285875 w 3219450"/>
                <a:gd name="connsiteY27" fmla="*/ 994519 h 2011110"/>
                <a:gd name="connsiteX28" fmla="*/ 1338060 w 3219450"/>
                <a:gd name="connsiteY28" fmla="*/ 1046703 h 2011110"/>
                <a:gd name="connsiteX29" fmla="*/ 2791714 w 3219450"/>
                <a:gd name="connsiteY29" fmla="*/ 1046704 h 2011110"/>
                <a:gd name="connsiteX30" fmla="*/ 2843899 w 3219450"/>
                <a:gd name="connsiteY30" fmla="*/ 994519 h 2011110"/>
                <a:gd name="connsiteX31" fmla="*/ 2843900 w 3219450"/>
                <a:gd name="connsiteY31" fmla="*/ 994519 h 2011110"/>
                <a:gd name="connsiteX32" fmla="*/ 2791715 w 3219450"/>
                <a:gd name="connsiteY32" fmla="*/ 942334 h 2011110"/>
                <a:gd name="connsiteX33" fmla="*/ 1338060 w 3219450"/>
                <a:gd name="connsiteY33" fmla="*/ 942334 h 2011110"/>
                <a:gd name="connsiteX34" fmla="*/ 765573 w 3219450"/>
                <a:gd name="connsiteY34" fmla="*/ 937367 h 2011110"/>
                <a:gd name="connsiteX35" fmla="*/ 719138 w 3219450"/>
                <a:gd name="connsiteY35" fmla="*/ 983802 h 2011110"/>
                <a:gd name="connsiteX36" fmla="*/ 719138 w 3219450"/>
                <a:gd name="connsiteY36" fmla="*/ 1169539 h 2011110"/>
                <a:gd name="connsiteX37" fmla="*/ 765573 w 3219450"/>
                <a:gd name="connsiteY37" fmla="*/ 1215974 h 2011110"/>
                <a:gd name="connsiteX38" fmla="*/ 1060847 w 3219450"/>
                <a:gd name="connsiteY38" fmla="*/ 1215974 h 2011110"/>
                <a:gd name="connsiteX39" fmla="*/ 1107282 w 3219450"/>
                <a:gd name="connsiteY39" fmla="*/ 1169539 h 2011110"/>
                <a:gd name="connsiteX40" fmla="*/ 1107282 w 3219450"/>
                <a:gd name="connsiteY40" fmla="*/ 983802 h 2011110"/>
                <a:gd name="connsiteX41" fmla="*/ 1060847 w 3219450"/>
                <a:gd name="connsiteY41" fmla="*/ 937367 h 2011110"/>
                <a:gd name="connsiteX42" fmla="*/ 765573 w 3219450"/>
                <a:gd name="connsiteY42" fmla="*/ 937367 h 2011110"/>
                <a:gd name="connsiteX43" fmla="*/ 248842 w 3219450"/>
                <a:gd name="connsiteY43" fmla="*/ 937367 h 2011110"/>
                <a:gd name="connsiteX44" fmla="*/ 202407 w 3219450"/>
                <a:gd name="connsiteY44" fmla="*/ 983802 h 2011110"/>
                <a:gd name="connsiteX45" fmla="*/ 202407 w 3219450"/>
                <a:gd name="connsiteY45" fmla="*/ 1169539 h 2011110"/>
                <a:gd name="connsiteX46" fmla="*/ 248842 w 3219450"/>
                <a:gd name="connsiteY46" fmla="*/ 1215974 h 2011110"/>
                <a:gd name="connsiteX47" fmla="*/ 544116 w 3219450"/>
                <a:gd name="connsiteY47" fmla="*/ 1215974 h 2011110"/>
                <a:gd name="connsiteX48" fmla="*/ 590551 w 3219450"/>
                <a:gd name="connsiteY48" fmla="*/ 1169539 h 2011110"/>
                <a:gd name="connsiteX49" fmla="*/ 590551 w 3219450"/>
                <a:gd name="connsiteY49" fmla="*/ 983802 h 2011110"/>
                <a:gd name="connsiteX50" fmla="*/ 544116 w 3219450"/>
                <a:gd name="connsiteY50" fmla="*/ 937367 h 2011110"/>
                <a:gd name="connsiteX51" fmla="*/ 248842 w 3219450"/>
                <a:gd name="connsiteY51" fmla="*/ 937367 h 2011110"/>
                <a:gd name="connsiteX52" fmla="*/ 765573 w 3219450"/>
                <a:gd name="connsiteY52" fmla="*/ 451391 h 2011110"/>
                <a:gd name="connsiteX53" fmla="*/ 719138 w 3219450"/>
                <a:gd name="connsiteY53" fmla="*/ 497826 h 2011110"/>
                <a:gd name="connsiteX54" fmla="*/ 719138 w 3219450"/>
                <a:gd name="connsiteY54" fmla="*/ 683563 h 2011110"/>
                <a:gd name="connsiteX55" fmla="*/ 765573 w 3219450"/>
                <a:gd name="connsiteY55" fmla="*/ 729998 h 2011110"/>
                <a:gd name="connsiteX56" fmla="*/ 1060847 w 3219450"/>
                <a:gd name="connsiteY56" fmla="*/ 729998 h 2011110"/>
                <a:gd name="connsiteX57" fmla="*/ 1107282 w 3219450"/>
                <a:gd name="connsiteY57" fmla="*/ 683563 h 2011110"/>
                <a:gd name="connsiteX58" fmla="*/ 1107282 w 3219450"/>
                <a:gd name="connsiteY58" fmla="*/ 497826 h 2011110"/>
                <a:gd name="connsiteX59" fmla="*/ 1060847 w 3219450"/>
                <a:gd name="connsiteY59" fmla="*/ 451391 h 2011110"/>
                <a:gd name="connsiteX60" fmla="*/ 765573 w 3219450"/>
                <a:gd name="connsiteY60" fmla="*/ 451391 h 2011110"/>
                <a:gd name="connsiteX61" fmla="*/ 248842 w 3219450"/>
                <a:gd name="connsiteY61" fmla="*/ 451391 h 2011110"/>
                <a:gd name="connsiteX62" fmla="*/ 202407 w 3219450"/>
                <a:gd name="connsiteY62" fmla="*/ 497826 h 2011110"/>
                <a:gd name="connsiteX63" fmla="*/ 202407 w 3219450"/>
                <a:gd name="connsiteY63" fmla="*/ 683563 h 2011110"/>
                <a:gd name="connsiteX64" fmla="*/ 248842 w 3219450"/>
                <a:gd name="connsiteY64" fmla="*/ 729998 h 2011110"/>
                <a:gd name="connsiteX65" fmla="*/ 544116 w 3219450"/>
                <a:gd name="connsiteY65" fmla="*/ 729998 h 2011110"/>
                <a:gd name="connsiteX66" fmla="*/ 590551 w 3219450"/>
                <a:gd name="connsiteY66" fmla="*/ 683563 h 2011110"/>
                <a:gd name="connsiteX67" fmla="*/ 590551 w 3219450"/>
                <a:gd name="connsiteY67" fmla="*/ 497826 h 2011110"/>
                <a:gd name="connsiteX68" fmla="*/ 544116 w 3219450"/>
                <a:gd name="connsiteY68" fmla="*/ 451391 h 2011110"/>
                <a:gd name="connsiteX69" fmla="*/ 248842 w 3219450"/>
                <a:gd name="connsiteY69" fmla="*/ 451391 h 2011110"/>
                <a:gd name="connsiteX70" fmla="*/ 1136144 w 3219450"/>
                <a:gd name="connsiteY70" fmla="*/ 7082 h 2011110"/>
                <a:gd name="connsiteX71" fmla="*/ 1152525 w 3219450"/>
                <a:gd name="connsiteY71" fmla="*/ 258510 h 2011110"/>
                <a:gd name="connsiteX72" fmla="*/ 1285875 w 3219450"/>
                <a:gd name="connsiteY72" fmla="*/ 258510 h 2011110"/>
                <a:gd name="connsiteX73" fmla="*/ 1285875 w 3219450"/>
                <a:gd name="connsiteY73" fmla="*/ 572835 h 2011110"/>
                <a:gd name="connsiteX74" fmla="*/ 3219450 w 3219450"/>
                <a:gd name="connsiteY74" fmla="*/ 572835 h 2011110"/>
                <a:gd name="connsiteX75" fmla="*/ 3219450 w 3219450"/>
                <a:gd name="connsiteY75" fmla="*/ 2011110 h 2011110"/>
                <a:gd name="connsiteX76" fmla="*/ 1695450 w 3219450"/>
                <a:gd name="connsiteY76" fmla="*/ 2011110 h 2011110"/>
                <a:gd name="connsiteX77" fmla="*/ 1695450 w 3219450"/>
                <a:gd name="connsiteY77" fmla="*/ 1363410 h 2011110"/>
                <a:gd name="connsiteX78" fmla="*/ 1276350 w 3219450"/>
                <a:gd name="connsiteY78" fmla="*/ 1363410 h 2011110"/>
                <a:gd name="connsiteX79" fmla="*/ 1276350 w 3219450"/>
                <a:gd name="connsiteY79" fmla="*/ 2001585 h 2011110"/>
                <a:gd name="connsiteX80" fmla="*/ 0 w 3219450"/>
                <a:gd name="connsiteY80" fmla="*/ 2001585 h 2011110"/>
                <a:gd name="connsiteX81" fmla="*/ 0 w 3219450"/>
                <a:gd name="connsiteY81" fmla="*/ 268035 h 2011110"/>
                <a:gd name="connsiteX82" fmla="*/ 624283 w 3219450"/>
                <a:gd name="connsiteY82" fmla="*/ 260958 h 2011110"/>
                <a:gd name="connsiteX83" fmla="*/ 634453 w 3219450"/>
                <a:gd name="connsiteY83" fmla="*/ 0 h 2011110"/>
                <a:gd name="connsiteX84" fmla="*/ 1136144 w 3219450"/>
                <a:gd name="connsiteY84" fmla="*/ 7082 h 2011110"/>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628920 w 3219450"/>
                <a:gd name="connsiteY83" fmla="*/ 3986 h 2004028"/>
                <a:gd name="connsiteX84" fmla="*/ 1136144 w 3219450"/>
                <a:gd name="connsiteY84" fmla="*/ 0 h 2004028"/>
                <a:gd name="connsiteX0" fmla="*/ 765573 w 3219450"/>
                <a:gd name="connsiteY0" fmla="*/ 1387565 h 2005576"/>
                <a:gd name="connsiteX1" fmla="*/ 719138 w 3219450"/>
                <a:gd name="connsiteY1" fmla="*/ 1434000 h 2005576"/>
                <a:gd name="connsiteX2" fmla="*/ 719138 w 3219450"/>
                <a:gd name="connsiteY2" fmla="*/ 1619737 h 2005576"/>
                <a:gd name="connsiteX3" fmla="*/ 765573 w 3219450"/>
                <a:gd name="connsiteY3" fmla="*/ 1666172 h 2005576"/>
                <a:gd name="connsiteX4" fmla="*/ 1060847 w 3219450"/>
                <a:gd name="connsiteY4" fmla="*/ 1666172 h 2005576"/>
                <a:gd name="connsiteX5" fmla="*/ 1107282 w 3219450"/>
                <a:gd name="connsiteY5" fmla="*/ 1619737 h 2005576"/>
                <a:gd name="connsiteX6" fmla="*/ 1107282 w 3219450"/>
                <a:gd name="connsiteY6" fmla="*/ 1434000 h 2005576"/>
                <a:gd name="connsiteX7" fmla="*/ 1060847 w 3219450"/>
                <a:gd name="connsiteY7" fmla="*/ 1387565 h 2005576"/>
                <a:gd name="connsiteX8" fmla="*/ 765573 w 3219450"/>
                <a:gd name="connsiteY8" fmla="*/ 1387565 h 2005576"/>
                <a:gd name="connsiteX9" fmla="*/ 248842 w 3219450"/>
                <a:gd name="connsiteY9" fmla="*/ 1387565 h 2005576"/>
                <a:gd name="connsiteX10" fmla="*/ 202407 w 3219450"/>
                <a:gd name="connsiteY10" fmla="*/ 1434000 h 2005576"/>
                <a:gd name="connsiteX11" fmla="*/ 202407 w 3219450"/>
                <a:gd name="connsiteY11" fmla="*/ 1619737 h 2005576"/>
                <a:gd name="connsiteX12" fmla="*/ 248842 w 3219450"/>
                <a:gd name="connsiteY12" fmla="*/ 1666172 h 2005576"/>
                <a:gd name="connsiteX13" fmla="*/ 544116 w 3219450"/>
                <a:gd name="connsiteY13" fmla="*/ 1666172 h 2005576"/>
                <a:gd name="connsiteX14" fmla="*/ 590551 w 3219450"/>
                <a:gd name="connsiteY14" fmla="*/ 1619737 h 2005576"/>
                <a:gd name="connsiteX15" fmla="*/ 590551 w 3219450"/>
                <a:gd name="connsiteY15" fmla="*/ 1434000 h 2005576"/>
                <a:gd name="connsiteX16" fmla="*/ 544116 w 3219450"/>
                <a:gd name="connsiteY16" fmla="*/ 1387565 h 2005576"/>
                <a:gd name="connsiteX17" fmla="*/ 248842 w 3219450"/>
                <a:gd name="connsiteY17" fmla="*/ 1387565 h 2005576"/>
                <a:gd name="connsiteX18" fmla="*/ 1338060 w 3219450"/>
                <a:gd name="connsiteY18" fmla="*/ 1158256 h 2005576"/>
                <a:gd name="connsiteX19" fmla="*/ 1285875 w 3219450"/>
                <a:gd name="connsiteY19" fmla="*/ 1210441 h 2005576"/>
                <a:gd name="connsiteX20" fmla="*/ 1338060 w 3219450"/>
                <a:gd name="connsiteY20" fmla="*/ 1262625 h 2005576"/>
                <a:gd name="connsiteX21" fmla="*/ 2791714 w 3219450"/>
                <a:gd name="connsiteY21" fmla="*/ 1262626 h 2005576"/>
                <a:gd name="connsiteX22" fmla="*/ 2843899 w 3219450"/>
                <a:gd name="connsiteY22" fmla="*/ 1210441 h 2005576"/>
                <a:gd name="connsiteX23" fmla="*/ 2843900 w 3219450"/>
                <a:gd name="connsiteY23" fmla="*/ 1210441 h 2005576"/>
                <a:gd name="connsiteX24" fmla="*/ 2791715 w 3219450"/>
                <a:gd name="connsiteY24" fmla="*/ 1158256 h 2005576"/>
                <a:gd name="connsiteX25" fmla="*/ 1338060 w 3219450"/>
                <a:gd name="connsiteY25" fmla="*/ 1158256 h 2005576"/>
                <a:gd name="connsiteX26" fmla="*/ 1338060 w 3219450"/>
                <a:gd name="connsiteY26" fmla="*/ 936800 h 2005576"/>
                <a:gd name="connsiteX27" fmla="*/ 1285875 w 3219450"/>
                <a:gd name="connsiteY27" fmla="*/ 988985 h 2005576"/>
                <a:gd name="connsiteX28" fmla="*/ 1338060 w 3219450"/>
                <a:gd name="connsiteY28" fmla="*/ 1041169 h 2005576"/>
                <a:gd name="connsiteX29" fmla="*/ 2791714 w 3219450"/>
                <a:gd name="connsiteY29" fmla="*/ 1041170 h 2005576"/>
                <a:gd name="connsiteX30" fmla="*/ 2843899 w 3219450"/>
                <a:gd name="connsiteY30" fmla="*/ 988985 h 2005576"/>
                <a:gd name="connsiteX31" fmla="*/ 2843900 w 3219450"/>
                <a:gd name="connsiteY31" fmla="*/ 988985 h 2005576"/>
                <a:gd name="connsiteX32" fmla="*/ 2791715 w 3219450"/>
                <a:gd name="connsiteY32" fmla="*/ 936800 h 2005576"/>
                <a:gd name="connsiteX33" fmla="*/ 1338060 w 3219450"/>
                <a:gd name="connsiteY33" fmla="*/ 936800 h 2005576"/>
                <a:gd name="connsiteX34" fmla="*/ 765573 w 3219450"/>
                <a:gd name="connsiteY34" fmla="*/ 931833 h 2005576"/>
                <a:gd name="connsiteX35" fmla="*/ 719138 w 3219450"/>
                <a:gd name="connsiteY35" fmla="*/ 978268 h 2005576"/>
                <a:gd name="connsiteX36" fmla="*/ 719138 w 3219450"/>
                <a:gd name="connsiteY36" fmla="*/ 1164005 h 2005576"/>
                <a:gd name="connsiteX37" fmla="*/ 765573 w 3219450"/>
                <a:gd name="connsiteY37" fmla="*/ 1210440 h 2005576"/>
                <a:gd name="connsiteX38" fmla="*/ 1060847 w 3219450"/>
                <a:gd name="connsiteY38" fmla="*/ 1210440 h 2005576"/>
                <a:gd name="connsiteX39" fmla="*/ 1107282 w 3219450"/>
                <a:gd name="connsiteY39" fmla="*/ 1164005 h 2005576"/>
                <a:gd name="connsiteX40" fmla="*/ 1107282 w 3219450"/>
                <a:gd name="connsiteY40" fmla="*/ 978268 h 2005576"/>
                <a:gd name="connsiteX41" fmla="*/ 1060847 w 3219450"/>
                <a:gd name="connsiteY41" fmla="*/ 931833 h 2005576"/>
                <a:gd name="connsiteX42" fmla="*/ 765573 w 3219450"/>
                <a:gd name="connsiteY42" fmla="*/ 931833 h 2005576"/>
                <a:gd name="connsiteX43" fmla="*/ 248842 w 3219450"/>
                <a:gd name="connsiteY43" fmla="*/ 931833 h 2005576"/>
                <a:gd name="connsiteX44" fmla="*/ 202407 w 3219450"/>
                <a:gd name="connsiteY44" fmla="*/ 978268 h 2005576"/>
                <a:gd name="connsiteX45" fmla="*/ 202407 w 3219450"/>
                <a:gd name="connsiteY45" fmla="*/ 1164005 h 2005576"/>
                <a:gd name="connsiteX46" fmla="*/ 248842 w 3219450"/>
                <a:gd name="connsiteY46" fmla="*/ 1210440 h 2005576"/>
                <a:gd name="connsiteX47" fmla="*/ 544116 w 3219450"/>
                <a:gd name="connsiteY47" fmla="*/ 1210440 h 2005576"/>
                <a:gd name="connsiteX48" fmla="*/ 590551 w 3219450"/>
                <a:gd name="connsiteY48" fmla="*/ 1164005 h 2005576"/>
                <a:gd name="connsiteX49" fmla="*/ 590551 w 3219450"/>
                <a:gd name="connsiteY49" fmla="*/ 978268 h 2005576"/>
                <a:gd name="connsiteX50" fmla="*/ 544116 w 3219450"/>
                <a:gd name="connsiteY50" fmla="*/ 931833 h 2005576"/>
                <a:gd name="connsiteX51" fmla="*/ 248842 w 3219450"/>
                <a:gd name="connsiteY51" fmla="*/ 931833 h 2005576"/>
                <a:gd name="connsiteX52" fmla="*/ 765573 w 3219450"/>
                <a:gd name="connsiteY52" fmla="*/ 445857 h 2005576"/>
                <a:gd name="connsiteX53" fmla="*/ 719138 w 3219450"/>
                <a:gd name="connsiteY53" fmla="*/ 492292 h 2005576"/>
                <a:gd name="connsiteX54" fmla="*/ 719138 w 3219450"/>
                <a:gd name="connsiteY54" fmla="*/ 678029 h 2005576"/>
                <a:gd name="connsiteX55" fmla="*/ 765573 w 3219450"/>
                <a:gd name="connsiteY55" fmla="*/ 724464 h 2005576"/>
                <a:gd name="connsiteX56" fmla="*/ 1060847 w 3219450"/>
                <a:gd name="connsiteY56" fmla="*/ 724464 h 2005576"/>
                <a:gd name="connsiteX57" fmla="*/ 1107282 w 3219450"/>
                <a:gd name="connsiteY57" fmla="*/ 678029 h 2005576"/>
                <a:gd name="connsiteX58" fmla="*/ 1107282 w 3219450"/>
                <a:gd name="connsiteY58" fmla="*/ 492292 h 2005576"/>
                <a:gd name="connsiteX59" fmla="*/ 1060847 w 3219450"/>
                <a:gd name="connsiteY59" fmla="*/ 445857 h 2005576"/>
                <a:gd name="connsiteX60" fmla="*/ 765573 w 3219450"/>
                <a:gd name="connsiteY60" fmla="*/ 445857 h 2005576"/>
                <a:gd name="connsiteX61" fmla="*/ 248842 w 3219450"/>
                <a:gd name="connsiteY61" fmla="*/ 445857 h 2005576"/>
                <a:gd name="connsiteX62" fmla="*/ 202407 w 3219450"/>
                <a:gd name="connsiteY62" fmla="*/ 492292 h 2005576"/>
                <a:gd name="connsiteX63" fmla="*/ 202407 w 3219450"/>
                <a:gd name="connsiteY63" fmla="*/ 678029 h 2005576"/>
                <a:gd name="connsiteX64" fmla="*/ 248842 w 3219450"/>
                <a:gd name="connsiteY64" fmla="*/ 724464 h 2005576"/>
                <a:gd name="connsiteX65" fmla="*/ 544116 w 3219450"/>
                <a:gd name="connsiteY65" fmla="*/ 724464 h 2005576"/>
                <a:gd name="connsiteX66" fmla="*/ 590551 w 3219450"/>
                <a:gd name="connsiteY66" fmla="*/ 678029 h 2005576"/>
                <a:gd name="connsiteX67" fmla="*/ 590551 w 3219450"/>
                <a:gd name="connsiteY67" fmla="*/ 492292 h 2005576"/>
                <a:gd name="connsiteX68" fmla="*/ 544116 w 3219450"/>
                <a:gd name="connsiteY68" fmla="*/ 445857 h 2005576"/>
                <a:gd name="connsiteX69" fmla="*/ 248842 w 3219450"/>
                <a:gd name="connsiteY69" fmla="*/ 445857 h 2005576"/>
                <a:gd name="connsiteX70" fmla="*/ 1136144 w 3219450"/>
                <a:gd name="connsiteY70" fmla="*/ 1548 h 2005576"/>
                <a:gd name="connsiteX71" fmla="*/ 1152525 w 3219450"/>
                <a:gd name="connsiteY71" fmla="*/ 252976 h 2005576"/>
                <a:gd name="connsiteX72" fmla="*/ 1285875 w 3219450"/>
                <a:gd name="connsiteY72" fmla="*/ 252976 h 2005576"/>
                <a:gd name="connsiteX73" fmla="*/ 1285875 w 3219450"/>
                <a:gd name="connsiteY73" fmla="*/ 567301 h 2005576"/>
                <a:gd name="connsiteX74" fmla="*/ 3219450 w 3219450"/>
                <a:gd name="connsiteY74" fmla="*/ 567301 h 2005576"/>
                <a:gd name="connsiteX75" fmla="*/ 3219450 w 3219450"/>
                <a:gd name="connsiteY75" fmla="*/ 2005576 h 2005576"/>
                <a:gd name="connsiteX76" fmla="*/ 1695450 w 3219450"/>
                <a:gd name="connsiteY76" fmla="*/ 2005576 h 2005576"/>
                <a:gd name="connsiteX77" fmla="*/ 1695450 w 3219450"/>
                <a:gd name="connsiteY77" fmla="*/ 1357876 h 2005576"/>
                <a:gd name="connsiteX78" fmla="*/ 1276350 w 3219450"/>
                <a:gd name="connsiteY78" fmla="*/ 1357876 h 2005576"/>
                <a:gd name="connsiteX79" fmla="*/ 1276350 w 3219450"/>
                <a:gd name="connsiteY79" fmla="*/ 1996051 h 2005576"/>
                <a:gd name="connsiteX80" fmla="*/ 0 w 3219450"/>
                <a:gd name="connsiteY80" fmla="*/ 1996051 h 2005576"/>
                <a:gd name="connsiteX81" fmla="*/ 0 w 3219450"/>
                <a:gd name="connsiteY81" fmla="*/ 262501 h 2005576"/>
                <a:gd name="connsiteX82" fmla="*/ 624283 w 3219450"/>
                <a:gd name="connsiteY82" fmla="*/ 255424 h 2005576"/>
                <a:gd name="connsiteX83" fmla="*/ 645523 w 3219450"/>
                <a:gd name="connsiteY83" fmla="*/ 0 h 2005576"/>
                <a:gd name="connsiteX84" fmla="*/ 1136144 w 3219450"/>
                <a:gd name="connsiteY84" fmla="*/ 1548 h 2005576"/>
                <a:gd name="connsiteX0" fmla="*/ 765573 w 3219450"/>
                <a:gd name="connsiteY0" fmla="*/ 1389543 h 2007554"/>
                <a:gd name="connsiteX1" fmla="*/ 719138 w 3219450"/>
                <a:gd name="connsiteY1" fmla="*/ 1435978 h 2007554"/>
                <a:gd name="connsiteX2" fmla="*/ 719138 w 3219450"/>
                <a:gd name="connsiteY2" fmla="*/ 1621715 h 2007554"/>
                <a:gd name="connsiteX3" fmla="*/ 765573 w 3219450"/>
                <a:gd name="connsiteY3" fmla="*/ 1668150 h 2007554"/>
                <a:gd name="connsiteX4" fmla="*/ 1060847 w 3219450"/>
                <a:gd name="connsiteY4" fmla="*/ 1668150 h 2007554"/>
                <a:gd name="connsiteX5" fmla="*/ 1107282 w 3219450"/>
                <a:gd name="connsiteY5" fmla="*/ 1621715 h 2007554"/>
                <a:gd name="connsiteX6" fmla="*/ 1107282 w 3219450"/>
                <a:gd name="connsiteY6" fmla="*/ 1435978 h 2007554"/>
                <a:gd name="connsiteX7" fmla="*/ 1060847 w 3219450"/>
                <a:gd name="connsiteY7" fmla="*/ 1389543 h 2007554"/>
                <a:gd name="connsiteX8" fmla="*/ 765573 w 3219450"/>
                <a:gd name="connsiteY8" fmla="*/ 1389543 h 2007554"/>
                <a:gd name="connsiteX9" fmla="*/ 248842 w 3219450"/>
                <a:gd name="connsiteY9" fmla="*/ 1389543 h 2007554"/>
                <a:gd name="connsiteX10" fmla="*/ 202407 w 3219450"/>
                <a:gd name="connsiteY10" fmla="*/ 1435978 h 2007554"/>
                <a:gd name="connsiteX11" fmla="*/ 202407 w 3219450"/>
                <a:gd name="connsiteY11" fmla="*/ 1621715 h 2007554"/>
                <a:gd name="connsiteX12" fmla="*/ 248842 w 3219450"/>
                <a:gd name="connsiteY12" fmla="*/ 1668150 h 2007554"/>
                <a:gd name="connsiteX13" fmla="*/ 544116 w 3219450"/>
                <a:gd name="connsiteY13" fmla="*/ 1668150 h 2007554"/>
                <a:gd name="connsiteX14" fmla="*/ 590551 w 3219450"/>
                <a:gd name="connsiteY14" fmla="*/ 1621715 h 2007554"/>
                <a:gd name="connsiteX15" fmla="*/ 590551 w 3219450"/>
                <a:gd name="connsiteY15" fmla="*/ 1435978 h 2007554"/>
                <a:gd name="connsiteX16" fmla="*/ 544116 w 3219450"/>
                <a:gd name="connsiteY16" fmla="*/ 1389543 h 2007554"/>
                <a:gd name="connsiteX17" fmla="*/ 248842 w 3219450"/>
                <a:gd name="connsiteY17" fmla="*/ 1389543 h 2007554"/>
                <a:gd name="connsiteX18" fmla="*/ 1338060 w 3219450"/>
                <a:gd name="connsiteY18" fmla="*/ 1160234 h 2007554"/>
                <a:gd name="connsiteX19" fmla="*/ 1285875 w 3219450"/>
                <a:gd name="connsiteY19" fmla="*/ 1212419 h 2007554"/>
                <a:gd name="connsiteX20" fmla="*/ 1338060 w 3219450"/>
                <a:gd name="connsiteY20" fmla="*/ 1264603 h 2007554"/>
                <a:gd name="connsiteX21" fmla="*/ 2791714 w 3219450"/>
                <a:gd name="connsiteY21" fmla="*/ 1264604 h 2007554"/>
                <a:gd name="connsiteX22" fmla="*/ 2843899 w 3219450"/>
                <a:gd name="connsiteY22" fmla="*/ 1212419 h 2007554"/>
                <a:gd name="connsiteX23" fmla="*/ 2843900 w 3219450"/>
                <a:gd name="connsiteY23" fmla="*/ 1212419 h 2007554"/>
                <a:gd name="connsiteX24" fmla="*/ 2791715 w 3219450"/>
                <a:gd name="connsiteY24" fmla="*/ 1160234 h 2007554"/>
                <a:gd name="connsiteX25" fmla="*/ 1338060 w 3219450"/>
                <a:gd name="connsiteY25" fmla="*/ 1160234 h 2007554"/>
                <a:gd name="connsiteX26" fmla="*/ 1338060 w 3219450"/>
                <a:gd name="connsiteY26" fmla="*/ 938778 h 2007554"/>
                <a:gd name="connsiteX27" fmla="*/ 1285875 w 3219450"/>
                <a:gd name="connsiteY27" fmla="*/ 990963 h 2007554"/>
                <a:gd name="connsiteX28" fmla="*/ 1338060 w 3219450"/>
                <a:gd name="connsiteY28" fmla="*/ 1043147 h 2007554"/>
                <a:gd name="connsiteX29" fmla="*/ 2791714 w 3219450"/>
                <a:gd name="connsiteY29" fmla="*/ 1043148 h 2007554"/>
                <a:gd name="connsiteX30" fmla="*/ 2843899 w 3219450"/>
                <a:gd name="connsiteY30" fmla="*/ 990963 h 2007554"/>
                <a:gd name="connsiteX31" fmla="*/ 2843900 w 3219450"/>
                <a:gd name="connsiteY31" fmla="*/ 990963 h 2007554"/>
                <a:gd name="connsiteX32" fmla="*/ 2791715 w 3219450"/>
                <a:gd name="connsiteY32" fmla="*/ 938778 h 2007554"/>
                <a:gd name="connsiteX33" fmla="*/ 1338060 w 3219450"/>
                <a:gd name="connsiteY33" fmla="*/ 938778 h 2007554"/>
                <a:gd name="connsiteX34" fmla="*/ 765573 w 3219450"/>
                <a:gd name="connsiteY34" fmla="*/ 933811 h 2007554"/>
                <a:gd name="connsiteX35" fmla="*/ 719138 w 3219450"/>
                <a:gd name="connsiteY35" fmla="*/ 980246 h 2007554"/>
                <a:gd name="connsiteX36" fmla="*/ 719138 w 3219450"/>
                <a:gd name="connsiteY36" fmla="*/ 1165983 h 2007554"/>
                <a:gd name="connsiteX37" fmla="*/ 765573 w 3219450"/>
                <a:gd name="connsiteY37" fmla="*/ 1212418 h 2007554"/>
                <a:gd name="connsiteX38" fmla="*/ 1060847 w 3219450"/>
                <a:gd name="connsiteY38" fmla="*/ 1212418 h 2007554"/>
                <a:gd name="connsiteX39" fmla="*/ 1107282 w 3219450"/>
                <a:gd name="connsiteY39" fmla="*/ 1165983 h 2007554"/>
                <a:gd name="connsiteX40" fmla="*/ 1107282 w 3219450"/>
                <a:gd name="connsiteY40" fmla="*/ 980246 h 2007554"/>
                <a:gd name="connsiteX41" fmla="*/ 1060847 w 3219450"/>
                <a:gd name="connsiteY41" fmla="*/ 933811 h 2007554"/>
                <a:gd name="connsiteX42" fmla="*/ 765573 w 3219450"/>
                <a:gd name="connsiteY42" fmla="*/ 933811 h 2007554"/>
                <a:gd name="connsiteX43" fmla="*/ 248842 w 3219450"/>
                <a:gd name="connsiteY43" fmla="*/ 933811 h 2007554"/>
                <a:gd name="connsiteX44" fmla="*/ 202407 w 3219450"/>
                <a:gd name="connsiteY44" fmla="*/ 980246 h 2007554"/>
                <a:gd name="connsiteX45" fmla="*/ 202407 w 3219450"/>
                <a:gd name="connsiteY45" fmla="*/ 1165983 h 2007554"/>
                <a:gd name="connsiteX46" fmla="*/ 248842 w 3219450"/>
                <a:gd name="connsiteY46" fmla="*/ 1212418 h 2007554"/>
                <a:gd name="connsiteX47" fmla="*/ 544116 w 3219450"/>
                <a:gd name="connsiteY47" fmla="*/ 1212418 h 2007554"/>
                <a:gd name="connsiteX48" fmla="*/ 590551 w 3219450"/>
                <a:gd name="connsiteY48" fmla="*/ 1165983 h 2007554"/>
                <a:gd name="connsiteX49" fmla="*/ 590551 w 3219450"/>
                <a:gd name="connsiteY49" fmla="*/ 980246 h 2007554"/>
                <a:gd name="connsiteX50" fmla="*/ 544116 w 3219450"/>
                <a:gd name="connsiteY50" fmla="*/ 933811 h 2007554"/>
                <a:gd name="connsiteX51" fmla="*/ 248842 w 3219450"/>
                <a:gd name="connsiteY51" fmla="*/ 933811 h 2007554"/>
                <a:gd name="connsiteX52" fmla="*/ 765573 w 3219450"/>
                <a:gd name="connsiteY52" fmla="*/ 447835 h 2007554"/>
                <a:gd name="connsiteX53" fmla="*/ 719138 w 3219450"/>
                <a:gd name="connsiteY53" fmla="*/ 494270 h 2007554"/>
                <a:gd name="connsiteX54" fmla="*/ 719138 w 3219450"/>
                <a:gd name="connsiteY54" fmla="*/ 680007 h 2007554"/>
                <a:gd name="connsiteX55" fmla="*/ 765573 w 3219450"/>
                <a:gd name="connsiteY55" fmla="*/ 726442 h 2007554"/>
                <a:gd name="connsiteX56" fmla="*/ 1060847 w 3219450"/>
                <a:gd name="connsiteY56" fmla="*/ 726442 h 2007554"/>
                <a:gd name="connsiteX57" fmla="*/ 1107282 w 3219450"/>
                <a:gd name="connsiteY57" fmla="*/ 680007 h 2007554"/>
                <a:gd name="connsiteX58" fmla="*/ 1107282 w 3219450"/>
                <a:gd name="connsiteY58" fmla="*/ 494270 h 2007554"/>
                <a:gd name="connsiteX59" fmla="*/ 1060847 w 3219450"/>
                <a:gd name="connsiteY59" fmla="*/ 447835 h 2007554"/>
                <a:gd name="connsiteX60" fmla="*/ 765573 w 3219450"/>
                <a:gd name="connsiteY60" fmla="*/ 447835 h 2007554"/>
                <a:gd name="connsiteX61" fmla="*/ 248842 w 3219450"/>
                <a:gd name="connsiteY61" fmla="*/ 447835 h 2007554"/>
                <a:gd name="connsiteX62" fmla="*/ 202407 w 3219450"/>
                <a:gd name="connsiteY62" fmla="*/ 494270 h 2007554"/>
                <a:gd name="connsiteX63" fmla="*/ 202407 w 3219450"/>
                <a:gd name="connsiteY63" fmla="*/ 680007 h 2007554"/>
                <a:gd name="connsiteX64" fmla="*/ 248842 w 3219450"/>
                <a:gd name="connsiteY64" fmla="*/ 726442 h 2007554"/>
                <a:gd name="connsiteX65" fmla="*/ 544116 w 3219450"/>
                <a:gd name="connsiteY65" fmla="*/ 726442 h 2007554"/>
                <a:gd name="connsiteX66" fmla="*/ 590551 w 3219450"/>
                <a:gd name="connsiteY66" fmla="*/ 680007 h 2007554"/>
                <a:gd name="connsiteX67" fmla="*/ 590551 w 3219450"/>
                <a:gd name="connsiteY67" fmla="*/ 494270 h 2007554"/>
                <a:gd name="connsiteX68" fmla="*/ 544116 w 3219450"/>
                <a:gd name="connsiteY68" fmla="*/ 447835 h 2007554"/>
                <a:gd name="connsiteX69" fmla="*/ 248842 w 3219450"/>
                <a:gd name="connsiteY69" fmla="*/ 447835 h 2007554"/>
                <a:gd name="connsiteX70" fmla="*/ 1136144 w 3219450"/>
                <a:gd name="connsiteY70" fmla="*/ 3526 h 2007554"/>
                <a:gd name="connsiteX71" fmla="*/ 1152525 w 3219450"/>
                <a:gd name="connsiteY71" fmla="*/ 254954 h 2007554"/>
                <a:gd name="connsiteX72" fmla="*/ 1285875 w 3219450"/>
                <a:gd name="connsiteY72" fmla="*/ 254954 h 2007554"/>
                <a:gd name="connsiteX73" fmla="*/ 1285875 w 3219450"/>
                <a:gd name="connsiteY73" fmla="*/ 569279 h 2007554"/>
                <a:gd name="connsiteX74" fmla="*/ 3219450 w 3219450"/>
                <a:gd name="connsiteY74" fmla="*/ 569279 h 2007554"/>
                <a:gd name="connsiteX75" fmla="*/ 3219450 w 3219450"/>
                <a:gd name="connsiteY75" fmla="*/ 2007554 h 2007554"/>
                <a:gd name="connsiteX76" fmla="*/ 1695450 w 3219450"/>
                <a:gd name="connsiteY76" fmla="*/ 2007554 h 2007554"/>
                <a:gd name="connsiteX77" fmla="*/ 1695450 w 3219450"/>
                <a:gd name="connsiteY77" fmla="*/ 1359854 h 2007554"/>
                <a:gd name="connsiteX78" fmla="*/ 1276350 w 3219450"/>
                <a:gd name="connsiteY78" fmla="*/ 1359854 h 2007554"/>
                <a:gd name="connsiteX79" fmla="*/ 1276350 w 3219450"/>
                <a:gd name="connsiteY79" fmla="*/ 1998029 h 2007554"/>
                <a:gd name="connsiteX80" fmla="*/ 0 w 3219450"/>
                <a:gd name="connsiteY80" fmla="*/ 1998029 h 2007554"/>
                <a:gd name="connsiteX81" fmla="*/ 0 w 3219450"/>
                <a:gd name="connsiteY81" fmla="*/ 264479 h 2007554"/>
                <a:gd name="connsiteX82" fmla="*/ 624283 w 3219450"/>
                <a:gd name="connsiteY82" fmla="*/ 257402 h 2007554"/>
                <a:gd name="connsiteX83" fmla="*/ 645523 w 3219450"/>
                <a:gd name="connsiteY83" fmla="*/ 1978 h 2007554"/>
                <a:gd name="connsiteX84" fmla="*/ 1136144 w 3219450"/>
                <a:gd name="connsiteY84" fmla="*/ 3526 h 2007554"/>
                <a:gd name="connsiteX0" fmla="*/ 765573 w 3219450"/>
                <a:gd name="connsiteY0" fmla="*/ 1386017 h 2004028"/>
                <a:gd name="connsiteX1" fmla="*/ 719138 w 3219450"/>
                <a:gd name="connsiteY1" fmla="*/ 1432452 h 2004028"/>
                <a:gd name="connsiteX2" fmla="*/ 719138 w 3219450"/>
                <a:gd name="connsiteY2" fmla="*/ 1618189 h 2004028"/>
                <a:gd name="connsiteX3" fmla="*/ 765573 w 3219450"/>
                <a:gd name="connsiteY3" fmla="*/ 1664624 h 2004028"/>
                <a:gd name="connsiteX4" fmla="*/ 1060847 w 3219450"/>
                <a:gd name="connsiteY4" fmla="*/ 1664624 h 2004028"/>
                <a:gd name="connsiteX5" fmla="*/ 1107282 w 3219450"/>
                <a:gd name="connsiteY5" fmla="*/ 1618189 h 2004028"/>
                <a:gd name="connsiteX6" fmla="*/ 1107282 w 3219450"/>
                <a:gd name="connsiteY6" fmla="*/ 1432452 h 2004028"/>
                <a:gd name="connsiteX7" fmla="*/ 1060847 w 3219450"/>
                <a:gd name="connsiteY7" fmla="*/ 1386017 h 2004028"/>
                <a:gd name="connsiteX8" fmla="*/ 765573 w 3219450"/>
                <a:gd name="connsiteY8" fmla="*/ 1386017 h 2004028"/>
                <a:gd name="connsiteX9" fmla="*/ 248842 w 3219450"/>
                <a:gd name="connsiteY9" fmla="*/ 1386017 h 2004028"/>
                <a:gd name="connsiteX10" fmla="*/ 202407 w 3219450"/>
                <a:gd name="connsiteY10" fmla="*/ 1432452 h 2004028"/>
                <a:gd name="connsiteX11" fmla="*/ 202407 w 3219450"/>
                <a:gd name="connsiteY11" fmla="*/ 1618189 h 2004028"/>
                <a:gd name="connsiteX12" fmla="*/ 248842 w 3219450"/>
                <a:gd name="connsiteY12" fmla="*/ 1664624 h 2004028"/>
                <a:gd name="connsiteX13" fmla="*/ 544116 w 3219450"/>
                <a:gd name="connsiteY13" fmla="*/ 1664624 h 2004028"/>
                <a:gd name="connsiteX14" fmla="*/ 590551 w 3219450"/>
                <a:gd name="connsiteY14" fmla="*/ 1618189 h 2004028"/>
                <a:gd name="connsiteX15" fmla="*/ 590551 w 3219450"/>
                <a:gd name="connsiteY15" fmla="*/ 1432452 h 2004028"/>
                <a:gd name="connsiteX16" fmla="*/ 544116 w 3219450"/>
                <a:gd name="connsiteY16" fmla="*/ 1386017 h 2004028"/>
                <a:gd name="connsiteX17" fmla="*/ 248842 w 3219450"/>
                <a:gd name="connsiteY17" fmla="*/ 1386017 h 2004028"/>
                <a:gd name="connsiteX18" fmla="*/ 1338060 w 3219450"/>
                <a:gd name="connsiteY18" fmla="*/ 1156708 h 2004028"/>
                <a:gd name="connsiteX19" fmla="*/ 1285875 w 3219450"/>
                <a:gd name="connsiteY19" fmla="*/ 1208893 h 2004028"/>
                <a:gd name="connsiteX20" fmla="*/ 1338060 w 3219450"/>
                <a:gd name="connsiteY20" fmla="*/ 1261077 h 2004028"/>
                <a:gd name="connsiteX21" fmla="*/ 2791714 w 3219450"/>
                <a:gd name="connsiteY21" fmla="*/ 1261078 h 2004028"/>
                <a:gd name="connsiteX22" fmla="*/ 2843899 w 3219450"/>
                <a:gd name="connsiteY22" fmla="*/ 1208893 h 2004028"/>
                <a:gd name="connsiteX23" fmla="*/ 2843900 w 3219450"/>
                <a:gd name="connsiteY23" fmla="*/ 1208893 h 2004028"/>
                <a:gd name="connsiteX24" fmla="*/ 2791715 w 3219450"/>
                <a:gd name="connsiteY24" fmla="*/ 1156708 h 2004028"/>
                <a:gd name="connsiteX25" fmla="*/ 1338060 w 3219450"/>
                <a:gd name="connsiteY25" fmla="*/ 1156708 h 2004028"/>
                <a:gd name="connsiteX26" fmla="*/ 1338060 w 3219450"/>
                <a:gd name="connsiteY26" fmla="*/ 935252 h 2004028"/>
                <a:gd name="connsiteX27" fmla="*/ 1285875 w 3219450"/>
                <a:gd name="connsiteY27" fmla="*/ 987437 h 2004028"/>
                <a:gd name="connsiteX28" fmla="*/ 1338060 w 3219450"/>
                <a:gd name="connsiteY28" fmla="*/ 1039621 h 2004028"/>
                <a:gd name="connsiteX29" fmla="*/ 2791714 w 3219450"/>
                <a:gd name="connsiteY29" fmla="*/ 1039622 h 2004028"/>
                <a:gd name="connsiteX30" fmla="*/ 2843899 w 3219450"/>
                <a:gd name="connsiteY30" fmla="*/ 987437 h 2004028"/>
                <a:gd name="connsiteX31" fmla="*/ 2843900 w 3219450"/>
                <a:gd name="connsiteY31" fmla="*/ 987437 h 2004028"/>
                <a:gd name="connsiteX32" fmla="*/ 2791715 w 3219450"/>
                <a:gd name="connsiteY32" fmla="*/ 935252 h 2004028"/>
                <a:gd name="connsiteX33" fmla="*/ 1338060 w 3219450"/>
                <a:gd name="connsiteY33" fmla="*/ 935252 h 2004028"/>
                <a:gd name="connsiteX34" fmla="*/ 765573 w 3219450"/>
                <a:gd name="connsiteY34" fmla="*/ 930285 h 2004028"/>
                <a:gd name="connsiteX35" fmla="*/ 719138 w 3219450"/>
                <a:gd name="connsiteY35" fmla="*/ 976720 h 2004028"/>
                <a:gd name="connsiteX36" fmla="*/ 719138 w 3219450"/>
                <a:gd name="connsiteY36" fmla="*/ 1162457 h 2004028"/>
                <a:gd name="connsiteX37" fmla="*/ 765573 w 3219450"/>
                <a:gd name="connsiteY37" fmla="*/ 1208892 h 2004028"/>
                <a:gd name="connsiteX38" fmla="*/ 1060847 w 3219450"/>
                <a:gd name="connsiteY38" fmla="*/ 1208892 h 2004028"/>
                <a:gd name="connsiteX39" fmla="*/ 1107282 w 3219450"/>
                <a:gd name="connsiteY39" fmla="*/ 1162457 h 2004028"/>
                <a:gd name="connsiteX40" fmla="*/ 1107282 w 3219450"/>
                <a:gd name="connsiteY40" fmla="*/ 976720 h 2004028"/>
                <a:gd name="connsiteX41" fmla="*/ 1060847 w 3219450"/>
                <a:gd name="connsiteY41" fmla="*/ 930285 h 2004028"/>
                <a:gd name="connsiteX42" fmla="*/ 765573 w 3219450"/>
                <a:gd name="connsiteY42" fmla="*/ 930285 h 2004028"/>
                <a:gd name="connsiteX43" fmla="*/ 248842 w 3219450"/>
                <a:gd name="connsiteY43" fmla="*/ 930285 h 2004028"/>
                <a:gd name="connsiteX44" fmla="*/ 202407 w 3219450"/>
                <a:gd name="connsiteY44" fmla="*/ 976720 h 2004028"/>
                <a:gd name="connsiteX45" fmla="*/ 202407 w 3219450"/>
                <a:gd name="connsiteY45" fmla="*/ 1162457 h 2004028"/>
                <a:gd name="connsiteX46" fmla="*/ 248842 w 3219450"/>
                <a:gd name="connsiteY46" fmla="*/ 1208892 h 2004028"/>
                <a:gd name="connsiteX47" fmla="*/ 544116 w 3219450"/>
                <a:gd name="connsiteY47" fmla="*/ 1208892 h 2004028"/>
                <a:gd name="connsiteX48" fmla="*/ 590551 w 3219450"/>
                <a:gd name="connsiteY48" fmla="*/ 1162457 h 2004028"/>
                <a:gd name="connsiteX49" fmla="*/ 590551 w 3219450"/>
                <a:gd name="connsiteY49" fmla="*/ 976720 h 2004028"/>
                <a:gd name="connsiteX50" fmla="*/ 544116 w 3219450"/>
                <a:gd name="connsiteY50" fmla="*/ 930285 h 2004028"/>
                <a:gd name="connsiteX51" fmla="*/ 248842 w 3219450"/>
                <a:gd name="connsiteY51" fmla="*/ 930285 h 2004028"/>
                <a:gd name="connsiteX52" fmla="*/ 765573 w 3219450"/>
                <a:gd name="connsiteY52" fmla="*/ 444309 h 2004028"/>
                <a:gd name="connsiteX53" fmla="*/ 719138 w 3219450"/>
                <a:gd name="connsiteY53" fmla="*/ 490744 h 2004028"/>
                <a:gd name="connsiteX54" fmla="*/ 719138 w 3219450"/>
                <a:gd name="connsiteY54" fmla="*/ 676481 h 2004028"/>
                <a:gd name="connsiteX55" fmla="*/ 765573 w 3219450"/>
                <a:gd name="connsiteY55" fmla="*/ 722916 h 2004028"/>
                <a:gd name="connsiteX56" fmla="*/ 1060847 w 3219450"/>
                <a:gd name="connsiteY56" fmla="*/ 722916 h 2004028"/>
                <a:gd name="connsiteX57" fmla="*/ 1107282 w 3219450"/>
                <a:gd name="connsiteY57" fmla="*/ 676481 h 2004028"/>
                <a:gd name="connsiteX58" fmla="*/ 1107282 w 3219450"/>
                <a:gd name="connsiteY58" fmla="*/ 490744 h 2004028"/>
                <a:gd name="connsiteX59" fmla="*/ 1060847 w 3219450"/>
                <a:gd name="connsiteY59" fmla="*/ 444309 h 2004028"/>
                <a:gd name="connsiteX60" fmla="*/ 765573 w 3219450"/>
                <a:gd name="connsiteY60" fmla="*/ 444309 h 2004028"/>
                <a:gd name="connsiteX61" fmla="*/ 248842 w 3219450"/>
                <a:gd name="connsiteY61" fmla="*/ 444309 h 2004028"/>
                <a:gd name="connsiteX62" fmla="*/ 202407 w 3219450"/>
                <a:gd name="connsiteY62" fmla="*/ 490744 h 2004028"/>
                <a:gd name="connsiteX63" fmla="*/ 202407 w 3219450"/>
                <a:gd name="connsiteY63" fmla="*/ 676481 h 2004028"/>
                <a:gd name="connsiteX64" fmla="*/ 248842 w 3219450"/>
                <a:gd name="connsiteY64" fmla="*/ 722916 h 2004028"/>
                <a:gd name="connsiteX65" fmla="*/ 544116 w 3219450"/>
                <a:gd name="connsiteY65" fmla="*/ 722916 h 2004028"/>
                <a:gd name="connsiteX66" fmla="*/ 590551 w 3219450"/>
                <a:gd name="connsiteY66" fmla="*/ 676481 h 2004028"/>
                <a:gd name="connsiteX67" fmla="*/ 590551 w 3219450"/>
                <a:gd name="connsiteY67" fmla="*/ 490744 h 2004028"/>
                <a:gd name="connsiteX68" fmla="*/ 544116 w 3219450"/>
                <a:gd name="connsiteY68" fmla="*/ 444309 h 2004028"/>
                <a:gd name="connsiteX69" fmla="*/ 248842 w 3219450"/>
                <a:gd name="connsiteY69" fmla="*/ 444309 h 2004028"/>
                <a:gd name="connsiteX70" fmla="*/ 1136144 w 3219450"/>
                <a:gd name="connsiteY70" fmla="*/ 0 h 2004028"/>
                <a:gd name="connsiteX71" fmla="*/ 1152525 w 3219450"/>
                <a:gd name="connsiteY71" fmla="*/ 251428 h 2004028"/>
                <a:gd name="connsiteX72" fmla="*/ 1285875 w 3219450"/>
                <a:gd name="connsiteY72" fmla="*/ 251428 h 2004028"/>
                <a:gd name="connsiteX73" fmla="*/ 1285875 w 3219450"/>
                <a:gd name="connsiteY73" fmla="*/ 565753 h 2004028"/>
                <a:gd name="connsiteX74" fmla="*/ 3219450 w 3219450"/>
                <a:gd name="connsiteY74" fmla="*/ 565753 h 2004028"/>
                <a:gd name="connsiteX75" fmla="*/ 3219450 w 3219450"/>
                <a:gd name="connsiteY75" fmla="*/ 2004028 h 2004028"/>
                <a:gd name="connsiteX76" fmla="*/ 1695450 w 3219450"/>
                <a:gd name="connsiteY76" fmla="*/ 2004028 h 2004028"/>
                <a:gd name="connsiteX77" fmla="*/ 1695450 w 3219450"/>
                <a:gd name="connsiteY77" fmla="*/ 1356328 h 2004028"/>
                <a:gd name="connsiteX78" fmla="*/ 1276350 w 3219450"/>
                <a:gd name="connsiteY78" fmla="*/ 1356328 h 2004028"/>
                <a:gd name="connsiteX79" fmla="*/ 1276350 w 3219450"/>
                <a:gd name="connsiteY79" fmla="*/ 1994503 h 2004028"/>
                <a:gd name="connsiteX80" fmla="*/ 0 w 3219450"/>
                <a:gd name="connsiteY80" fmla="*/ 1994503 h 2004028"/>
                <a:gd name="connsiteX81" fmla="*/ 0 w 3219450"/>
                <a:gd name="connsiteY81" fmla="*/ 260953 h 2004028"/>
                <a:gd name="connsiteX82" fmla="*/ 624283 w 3219450"/>
                <a:gd name="connsiteY82" fmla="*/ 253876 h 2004028"/>
                <a:gd name="connsiteX83" fmla="*/ 1136144 w 3219450"/>
                <a:gd name="connsiteY83" fmla="*/ 0 h 2004028"/>
                <a:gd name="connsiteX0" fmla="*/ 765573 w 3219450"/>
                <a:gd name="connsiteY0" fmla="*/ 1134589 h 1752600"/>
                <a:gd name="connsiteX1" fmla="*/ 719138 w 3219450"/>
                <a:gd name="connsiteY1" fmla="*/ 1181024 h 1752600"/>
                <a:gd name="connsiteX2" fmla="*/ 719138 w 3219450"/>
                <a:gd name="connsiteY2" fmla="*/ 1366761 h 1752600"/>
                <a:gd name="connsiteX3" fmla="*/ 765573 w 3219450"/>
                <a:gd name="connsiteY3" fmla="*/ 1413196 h 1752600"/>
                <a:gd name="connsiteX4" fmla="*/ 1060847 w 3219450"/>
                <a:gd name="connsiteY4" fmla="*/ 1413196 h 1752600"/>
                <a:gd name="connsiteX5" fmla="*/ 1107282 w 3219450"/>
                <a:gd name="connsiteY5" fmla="*/ 1366761 h 1752600"/>
                <a:gd name="connsiteX6" fmla="*/ 1107282 w 3219450"/>
                <a:gd name="connsiteY6" fmla="*/ 1181024 h 1752600"/>
                <a:gd name="connsiteX7" fmla="*/ 1060847 w 3219450"/>
                <a:gd name="connsiteY7" fmla="*/ 1134589 h 1752600"/>
                <a:gd name="connsiteX8" fmla="*/ 765573 w 3219450"/>
                <a:gd name="connsiteY8" fmla="*/ 1134589 h 1752600"/>
                <a:gd name="connsiteX9" fmla="*/ 248842 w 3219450"/>
                <a:gd name="connsiteY9" fmla="*/ 1134589 h 1752600"/>
                <a:gd name="connsiteX10" fmla="*/ 202407 w 3219450"/>
                <a:gd name="connsiteY10" fmla="*/ 1181024 h 1752600"/>
                <a:gd name="connsiteX11" fmla="*/ 202407 w 3219450"/>
                <a:gd name="connsiteY11" fmla="*/ 1366761 h 1752600"/>
                <a:gd name="connsiteX12" fmla="*/ 248842 w 3219450"/>
                <a:gd name="connsiteY12" fmla="*/ 1413196 h 1752600"/>
                <a:gd name="connsiteX13" fmla="*/ 544116 w 3219450"/>
                <a:gd name="connsiteY13" fmla="*/ 1413196 h 1752600"/>
                <a:gd name="connsiteX14" fmla="*/ 590551 w 3219450"/>
                <a:gd name="connsiteY14" fmla="*/ 1366761 h 1752600"/>
                <a:gd name="connsiteX15" fmla="*/ 590551 w 3219450"/>
                <a:gd name="connsiteY15" fmla="*/ 1181024 h 1752600"/>
                <a:gd name="connsiteX16" fmla="*/ 544116 w 3219450"/>
                <a:gd name="connsiteY16" fmla="*/ 1134589 h 1752600"/>
                <a:gd name="connsiteX17" fmla="*/ 248842 w 3219450"/>
                <a:gd name="connsiteY17" fmla="*/ 1134589 h 1752600"/>
                <a:gd name="connsiteX18" fmla="*/ 1338060 w 3219450"/>
                <a:gd name="connsiteY18" fmla="*/ 905280 h 1752600"/>
                <a:gd name="connsiteX19" fmla="*/ 1285875 w 3219450"/>
                <a:gd name="connsiteY19" fmla="*/ 957465 h 1752600"/>
                <a:gd name="connsiteX20" fmla="*/ 1338060 w 3219450"/>
                <a:gd name="connsiteY20" fmla="*/ 1009649 h 1752600"/>
                <a:gd name="connsiteX21" fmla="*/ 2791714 w 3219450"/>
                <a:gd name="connsiteY21" fmla="*/ 1009650 h 1752600"/>
                <a:gd name="connsiteX22" fmla="*/ 2843899 w 3219450"/>
                <a:gd name="connsiteY22" fmla="*/ 957465 h 1752600"/>
                <a:gd name="connsiteX23" fmla="*/ 2843900 w 3219450"/>
                <a:gd name="connsiteY23" fmla="*/ 957465 h 1752600"/>
                <a:gd name="connsiteX24" fmla="*/ 2791715 w 3219450"/>
                <a:gd name="connsiteY24" fmla="*/ 905280 h 1752600"/>
                <a:gd name="connsiteX25" fmla="*/ 1338060 w 3219450"/>
                <a:gd name="connsiteY25" fmla="*/ 905280 h 1752600"/>
                <a:gd name="connsiteX26" fmla="*/ 1338060 w 3219450"/>
                <a:gd name="connsiteY26" fmla="*/ 683824 h 1752600"/>
                <a:gd name="connsiteX27" fmla="*/ 1285875 w 3219450"/>
                <a:gd name="connsiteY27" fmla="*/ 736009 h 1752600"/>
                <a:gd name="connsiteX28" fmla="*/ 1338060 w 3219450"/>
                <a:gd name="connsiteY28" fmla="*/ 788193 h 1752600"/>
                <a:gd name="connsiteX29" fmla="*/ 2791714 w 3219450"/>
                <a:gd name="connsiteY29" fmla="*/ 788194 h 1752600"/>
                <a:gd name="connsiteX30" fmla="*/ 2843899 w 3219450"/>
                <a:gd name="connsiteY30" fmla="*/ 736009 h 1752600"/>
                <a:gd name="connsiteX31" fmla="*/ 2843900 w 3219450"/>
                <a:gd name="connsiteY31" fmla="*/ 736009 h 1752600"/>
                <a:gd name="connsiteX32" fmla="*/ 2791715 w 3219450"/>
                <a:gd name="connsiteY32" fmla="*/ 683824 h 1752600"/>
                <a:gd name="connsiteX33" fmla="*/ 1338060 w 3219450"/>
                <a:gd name="connsiteY33" fmla="*/ 683824 h 1752600"/>
                <a:gd name="connsiteX34" fmla="*/ 765573 w 3219450"/>
                <a:gd name="connsiteY34" fmla="*/ 678857 h 1752600"/>
                <a:gd name="connsiteX35" fmla="*/ 719138 w 3219450"/>
                <a:gd name="connsiteY35" fmla="*/ 725292 h 1752600"/>
                <a:gd name="connsiteX36" fmla="*/ 719138 w 3219450"/>
                <a:gd name="connsiteY36" fmla="*/ 911029 h 1752600"/>
                <a:gd name="connsiteX37" fmla="*/ 765573 w 3219450"/>
                <a:gd name="connsiteY37" fmla="*/ 957464 h 1752600"/>
                <a:gd name="connsiteX38" fmla="*/ 1060847 w 3219450"/>
                <a:gd name="connsiteY38" fmla="*/ 957464 h 1752600"/>
                <a:gd name="connsiteX39" fmla="*/ 1107282 w 3219450"/>
                <a:gd name="connsiteY39" fmla="*/ 911029 h 1752600"/>
                <a:gd name="connsiteX40" fmla="*/ 1107282 w 3219450"/>
                <a:gd name="connsiteY40" fmla="*/ 725292 h 1752600"/>
                <a:gd name="connsiteX41" fmla="*/ 1060847 w 3219450"/>
                <a:gd name="connsiteY41" fmla="*/ 678857 h 1752600"/>
                <a:gd name="connsiteX42" fmla="*/ 765573 w 3219450"/>
                <a:gd name="connsiteY42" fmla="*/ 678857 h 1752600"/>
                <a:gd name="connsiteX43" fmla="*/ 248842 w 3219450"/>
                <a:gd name="connsiteY43" fmla="*/ 678857 h 1752600"/>
                <a:gd name="connsiteX44" fmla="*/ 202407 w 3219450"/>
                <a:gd name="connsiteY44" fmla="*/ 725292 h 1752600"/>
                <a:gd name="connsiteX45" fmla="*/ 202407 w 3219450"/>
                <a:gd name="connsiteY45" fmla="*/ 911029 h 1752600"/>
                <a:gd name="connsiteX46" fmla="*/ 248842 w 3219450"/>
                <a:gd name="connsiteY46" fmla="*/ 957464 h 1752600"/>
                <a:gd name="connsiteX47" fmla="*/ 544116 w 3219450"/>
                <a:gd name="connsiteY47" fmla="*/ 957464 h 1752600"/>
                <a:gd name="connsiteX48" fmla="*/ 590551 w 3219450"/>
                <a:gd name="connsiteY48" fmla="*/ 911029 h 1752600"/>
                <a:gd name="connsiteX49" fmla="*/ 590551 w 3219450"/>
                <a:gd name="connsiteY49" fmla="*/ 725292 h 1752600"/>
                <a:gd name="connsiteX50" fmla="*/ 544116 w 3219450"/>
                <a:gd name="connsiteY50" fmla="*/ 678857 h 1752600"/>
                <a:gd name="connsiteX51" fmla="*/ 248842 w 3219450"/>
                <a:gd name="connsiteY51" fmla="*/ 678857 h 1752600"/>
                <a:gd name="connsiteX52" fmla="*/ 765573 w 3219450"/>
                <a:gd name="connsiteY52" fmla="*/ 192881 h 1752600"/>
                <a:gd name="connsiteX53" fmla="*/ 719138 w 3219450"/>
                <a:gd name="connsiteY53" fmla="*/ 239316 h 1752600"/>
                <a:gd name="connsiteX54" fmla="*/ 719138 w 3219450"/>
                <a:gd name="connsiteY54" fmla="*/ 425053 h 1752600"/>
                <a:gd name="connsiteX55" fmla="*/ 765573 w 3219450"/>
                <a:gd name="connsiteY55" fmla="*/ 471488 h 1752600"/>
                <a:gd name="connsiteX56" fmla="*/ 1060847 w 3219450"/>
                <a:gd name="connsiteY56" fmla="*/ 471488 h 1752600"/>
                <a:gd name="connsiteX57" fmla="*/ 1107282 w 3219450"/>
                <a:gd name="connsiteY57" fmla="*/ 425053 h 1752600"/>
                <a:gd name="connsiteX58" fmla="*/ 1107282 w 3219450"/>
                <a:gd name="connsiteY58" fmla="*/ 239316 h 1752600"/>
                <a:gd name="connsiteX59" fmla="*/ 1060847 w 3219450"/>
                <a:gd name="connsiteY59" fmla="*/ 192881 h 1752600"/>
                <a:gd name="connsiteX60" fmla="*/ 765573 w 3219450"/>
                <a:gd name="connsiteY60" fmla="*/ 192881 h 1752600"/>
                <a:gd name="connsiteX61" fmla="*/ 248842 w 3219450"/>
                <a:gd name="connsiteY61" fmla="*/ 192881 h 1752600"/>
                <a:gd name="connsiteX62" fmla="*/ 202407 w 3219450"/>
                <a:gd name="connsiteY62" fmla="*/ 239316 h 1752600"/>
                <a:gd name="connsiteX63" fmla="*/ 202407 w 3219450"/>
                <a:gd name="connsiteY63" fmla="*/ 425053 h 1752600"/>
                <a:gd name="connsiteX64" fmla="*/ 248842 w 3219450"/>
                <a:gd name="connsiteY64" fmla="*/ 471488 h 1752600"/>
                <a:gd name="connsiteX65" fmla="*/ 544116 w 3219450"/>
                <a:gd name="connsiteY65" fmla="*/ 471488 h 1752600"/>
                <a:gd name="connsiteX66" fmla="*/ 590551 w 3219450"/>
                <a:gd name="connsiteY66" fmla="*/ 425053 h 1752600"/>
                <a:gd name="connsiteX67" fmla="*/ 590551 w 3219450"/>
                <a:gd name="connsiteY67" fmla="*/ 239316 h 1752600"/>
                <a:gd name="connsiteX68" fmla="*/ 544116 w 3219450"/>
                <a:gd name="connsiteY68" fmla="*/ 192881 h 1752600"/>
                <a:gd name="connsiteX69" fmla="*/ 248842 w 3219450"/>
                <a:gd name="connsiteY69" fmla="*/ 192881 h 1752600"/>
                <a:gd name="connsiteX70" fmla="*/ 624283 w 3219450"/>
                <a:gd name="connsiteY70" fmla="*/ 2448 h 1752600"/>
                <a:gd name="connsiteX71" fmla="*/ 1152525 w 3219450"/>
                <a:gd name="connsiteY71" fmla="*/ 0 h 1752600"/>
                <a:gd name="connsiteX72" fmla="*/ 1285875 w 3219450"/>
                <a:gd name="connsiteY72" fmla="*/ 0 h 1752600"/>
                <a:gd name="connsiteX73" fmla="*/ 1285875 w 3219450"/>
                <a:gd name="connsiteY73" fmla="*/ 314325 h 1752600"/>
                <a:gd name="connsiteX74" fmla="*/ 3219450 w 3219450"/>
                <a:gd name="connsiteY74" fmla="*/ 314325 h 1752600"/>
                <a:gd name="connsiteX75" fmla="*/ 3219450 w 3219450"/>
                <a:gd name="connsiteY75" fmla="*/ 1752600 h 1752600"/>
                <a:gd name="connsiteX76" fmla="*/ 1695450 w 3219450"/>
                <a:gd name="connsiteY76" fmla="*/ 1752600 h 1752600"/>
                <a:gd name="connsiteX77" fmla="*/ 1695450 w 3219450"/>
                <a:gd name="connsiteY77" fmla="*/ 1104900 h 1752600"/>
                <a:gd name="connsiteX78" fmla="*/ 1276350 w 3219450"/>
                <a:gd name="connsiteY78" fmla="*/ 1104900 h 1752600"/>
                <a:gd name="connsiteX79" fmla="*/ 1276350 w 3219450"/>
                <a:gd name="connsiteY79" fmla="*/ 1743075 h 1752600"/>
                <a:gd name="connsiteX80" fmla="*/ 0 w 3219450"/>
                <a:gd name="connsiteY80" fmla="*/ 1743075 h 1752600"/>
                <a:gd name="connsiteX81" fmla="*/ 0 w 3219450"/>
                <a:gd name="connsiteY81" fmla="*/ 9525 h 1752600"/>
                <a:gd name="connsiteX82" fmla="*/ 624283 w 3219450"/>
                <a:gd name="connsiteY82" fmla="*/ 2448 h 175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219450" h="1752600">
                  <a:moveTo>
                    <a:pt x="765573" y="1134589"/>
                  </a:moveTo>
                  <a:cubicBezTo>
                    <a:pt x="739928" y="1134589"/>
                    <a:pt x="719138" y="1155379"/>
                    <a:pt x="719138" y="1181024"/>
                  </a:cubicBezTo>
                  <a:lnTo>
                    <a:pt x="719138" y="1366761"/>
                  </a:lnTo>
                  <a:cubicBezTo>
                    <a:pt x="719138" y="1392406"/>
                    <a:pt x="739928" y="1413196"/>
                    <a:pt x="765573" y="1413196"/>
                  </a:cubicBezTo>
                  <a:lnTo>
                    <a:pt x="1060847" y="1413196"/>
                  </a:lnTo>
                  <a:cubicBezTo>
                    <a:pt x="1086492" y="1413196"/>
                    <a:pt x="1107282" y="1392406"/>
                    <a:pt x="1107282" y="1366761"/>
                  </a:cubicBezTo>
                  <a:lnTo>
                    <a:pt x="1107282" y="1181024"/>
                  </a:lnTo>
                  <a:cubicBezTo>
                    <a:pt x="1107282" y="1155379"/>
                    <a:pt x="1086492" y="1134589"/>
                    <a:pt x="1060847" y="1134589"/>
                  </a:cubicBezTo>
                  <a:lnTo>
                    <a:pt x="765573" y="1134589"/>
                  </a:lnTo>
                  <a:close/>
                  <a:moveTo>
                    <a:pt x="248842" y="1134589"/>
                  </a:moveTo>
                  <a:cubicBezTo>
                    <a:pt x="223197" y="1134589"/>
                    <a:pt x="202407" y="1155379"/>
                    <a:pt x="202407" y="1181024"/>
                  </a:cubicBezTo>
                  <a:lnTo>
                    <a:pt x="202407" y="1366761"/>
                  </a:lnTo>
                  <a:cubicBezTo>
                    <a:pt x="202407" y="1392406"/>
                    <a:pt x="223197" y="1413196"/>
                    <a:pt x="248842" y="1413196"/>
                  </a:cubicBezTo>
                  <a:lnTo>
                    <a:pt x="544116" y="1413196"/>
                  </a:lnTo>
                  <a:cubicBezTo>
                    <a:pt x="569761" y="1413196"/>
                    <a:pt x="590551" y="1392406"/>
                    <a:pt x="590551" y="1366761"/>
                  </a:cubicBezTo>
                  <a:lnTo>
                    <a:pt x="590551" y="1181024"/>
                  </a:lnTo>
                  <a:cubicBezTo>
                    <a:pt x="590551" y="1155379"/>
                    <a:pt x="569761" y="1134589"/>
                    <a:pt x="544116" y="1134589"/>
                  </a:cubicBezTo>
                  <a:lnTo>
                    <a:pt x="248842" y="1134589"/>
                  </a:lnTo>
                  <a:close/>
                  <a:moveTo>
                    <a:pt x="1338060" y="905280"/>
                  </a:moveTo>
                  <a:cubicBezTo>
                    <a:pt x="1309239" y="905280"/>
                    <a:pt x="1285875" y="928644"/>
                    <a:pt x="1285875" y="957465"/>
                  </a:cubicBezTo>
                  <a:cubicBezTo>
                    <a:pt x="1285875" y="986285"/>
                    <a:pt x="1309239" y="1009649"/>
                    <a:pt x="1338060" y="1009649"/>
                  </a:cubicBezTo>
                  <a:lnTo>
                    <a:pt x="2791714" y="1009650"/>
                  </a:lnTo>
                  <a:cubicBezTo>
                    <a:pt x="2820535" y="1009650"/>
                    <a:pt x="2843899" y="986286"/>
                    <a:pt x="2843899" y="957465"/>
                  </a:cubicBezTo>
                  <a:lnTo>
                    <a:pt x="2843900" y="957465"/>
                  </a:lnTo>
                  <a:cubicBezTo>
                    <a:pt x="2843900" y="928644"/>
                    <a:pt x="2820536" y="905280"/>
                    <a:pt x="2791715" y="905280"/>
                  </a:cubicBezTo>
                  <a:lnTo>
                    <a:pt x="1338060" y="905280"/>
                  </a:lnTo>
                  <a:close/>
                  <a:moveTo>
                    <a:pt x="1338060" y="683824"/>
                  </a:moveTo>
                  <a:cubicBezTo>
                    <a:pt x="1309239" y="683824"/>
                    <a:pt x="1285875" y="707188"/>
                    <a:pt x="1285875" y="736009"/>
                  </a:cubicBezTo>
                  <a:cubicBezTo>
                    <a:pt x="1285875" y="764829"/>
                    <a:pt x="1309239" y="788193"/>
                    <a:pt x="1338060" y="788193"/>
                  </a:cubicBezTo>
                  <a:lnTo>
                    <a:pt x="2791714" y="788194"/>
                  </a:lnTo>
                  <a:cubicBezTo>
                    <a:pt x="2820535" y="788194"/>
                    <a:pt x="2843899" y="764830"/>
                    <a:pt x="2843899" y="736009"/>
                  </a:cubicBezTo>
                  <a:lnTo>
                    <a:pt x="2843900" y="736009"/>
                  </a:lnTo>
                  <a:cubicBezTo>
                    <a:pt x="2843900" y="707188"/>
                    <a:pt x="2820536" y="683824"/>
                    <a:pt x="2791715" y="683824"/>
                  </a:cubicBezTo>
                  <a:lnTo>
                    <a:pt x="1338060" y="683824"/>
                  </a:lnTo>
                  <a:close/>
                  <a:moveTo>
                    <a:pt x="765573" y="678857"/>
                  </a:moveTo>
                  <a:cubicBezTo>
                    <a:pt x="739928" y="678857"/>
                    <a:pt x="719138" y="699647"/>
                    <a:pt x="719138" y="725292"/>
                  </a:cubicBezTo>
                  <a:lnTo>
                    <a:pt x="719138" y="911029"/>
                  </a:lnTo>
                  <a:cubicBezTo>
                    <a:pt x="719138" y="936674"/>
                    <a:pt x="739928" y="957464"/>
                    <a:pt x="765573" y="957464"/>
                  </a:cubicBezTo>
                  <a:lnTo>
                    <a:pt x="1060847" y="957464"/>
                  </a:lnTo>
                  <a:cubicBezTo>
                    <a:pt x="1086492" y="957464"/>
                    <a:pt x="1107282" y="936674"/>
                    <a:pt x="1107282" y="911029"/>
                  </a:cubicBezTo>
                  <a:lnTo>
                    <a:pt x="1107282" y="725292"/>
                  </a:lnTo>
                  <a:cubicBezTo>
                    <a:pt x="1107282" y="699647"/>
                    <a:pt x="1086492" y="678857"/>
                    <a:pt x="1060847" y="678857"/>
                  </a:cubicBezTo>
                  <a:lnTo>
                    <a:pt x="765573" y="678857"/>
                  </a:lnTo>
                  <a:close/>
                  <a:moveTo>
                    <a:pt x="248842" y="678857"/>
                  </a:moveTo>
                  <a:cubicBezTo>
                    <a:pt x="223197" y="678857"/>
                    <a:pt x="202407" y="699647"/>
                    <a:pt x="202407" y="725292"/>
                  </a:cubicBezTo>
                  <a:lnTo>
                    <a:pt x="202407" y="911029"/>
                  </a:lnTo>
                  <a:cubicBezTo>
                    <a:pt x="202407" y="936674"/>
                    <a:pt x="223197" y="957464"/>
                    <a:pt x="248842" y="957464"/>
                  </a:cubicBezTo>
                  <a:lnTo>
                    <a:pt x="544116" y="957464"/>
                  </a:lnTo>
                  <a:cubicBezTo>
                    <a:pt x="569761" y="957464"/>
                    <a:pt x="590551" y="936674"/>
                    <a:pt x="590551" y="911029"/>
                  </a:cubicBezTo>
                  <a:lnTo>
                    <a:pt x="590551" y="725292"/>
                  </a:lnTo>
                  <a:cubicBezTo>
                    <a:pt x="590551" y="699647"/>
                    <a:pt x="569761" y="678857"/>
                    <a:pt x="544116" y="678857"/>
                  </a:cubicBezTo>
                  <a:lnTo>
                    <a:pt x="248842" y="678857"/>
                  </a:lnTo>
                  <a:close/>
                  <a:moveTo>
                    <a:pt x="765573" y="192881"/>
                  </a:moveTo>
                  <a:cubicBezTo>
                    <a:pt x="739928" y="192881"/>
                    <a:pt x="719138" y="213671"/>
                    <a:pt x="719138" y="239316"/>
                  </a:cubicBezTo>
                  <a:lnTo>
                    <a:pt x="719138" y="425053"/>
                  </a:lnTo>
                  <a:cubicBezTo>
                    <a:pt x="719138" y="450698"/>
                    <a:pt x="739928" y="471488"/>
                    <a:pt x="765573" y="471488"/>
                  </a:cubicBezTo>
                  <a:lnTo>
                    <a:pt x="1060847" y="471488"/>
                  </a:lnTo>
                  <a:cubicBezTo>
                    <a:pt x="1086492" y="471488"/>
                    <a:pt x="1107282" y="450698"/>
                    <a:pt x="1107282" y="425053"/>
                  </a:cubicBezTo>
                  <a:lnTo>
                    <a:pt x="1107282" y="239316"/>
                  </a:lnTo>
                  <a:cubicBezTo>
                    <a:pt x="1107282" y="213671"/>
                    <a:pt x="1086492" y="192881"/>
                    <a:pt x="1060847" y="192881"/>
                  </a:cubicBezTo>
                  <a:lnTo>
                    <a:pt x="765573" y="192881"/>
                  </a:lnTo>
                  <a:close/>
                  <a:moveTo>
                    <a:pt x="248842" y="192881"/>
                  </a:moveTo>
                  <a:cubicBezTo>
                    <a:pt x="223197" y="192881"/>
                    <a:pt x="202407" y="213671"/>
                    <a:pt x="202407" y="239316"/>
                  </a:cubicBezTo>
                  <a:lnTo>
                    <a:pt x="202407" y="425053"/>
                  </a:lnTo>
                  <a:cubicBezTo>
                    <a:pt x="202407" y="450698"/>
                    <a:pt x="223197" y="471488"/>
                    <a:pt x="248842" y="471488"/>
                  </a:cubicBezTo>
                  <a:lnTo>
                    <a:pt x="544116" y="471488"/>
                  </a:lnTo>
                  <a:cubicBezTo>
                    <a:pt x="569761" y="471488"/>
                    <a:pt x="590551" y="450698"/>
                    <a:pt x="590551" y="425053"/>
                  </a:cubicBezTo>
                  <a:lnTo>
                    <a:pt x="590551" y="239316"/>
                  </a:lnTo>
                  <a:cubicBezTo>
                    <a:pt x="590551" y="213671"/>
                    <a:pt x="569761" y="192881"/>
                    <a:pt x="544116" y="192881"/>
                  </a:cubicBezTo>
                  <a:lnTo>
                    <a:pt x="248842" y="192881"/>
                  </a:lnTo>
                  <a:close/>
                  <a:moveTo>
                    <a:pt x="624283" y="2448"/>
                  </a:moveTo>
                  <a:lnTo>
                    <a:pt x="1152525" y="0"/>
                  </a:lnTo>
                  <a:lnTo>
                    <a:pt x="1285875" y="0"/>
                  </a:lnTo>
                  <a:lnTo>
                    <a:pt x="1285875" y="314325"/>
                  </a:lnTo>
                  <a:lnTo>
                    <a:pt x="3219450" y="314325"/>
                  </a:lnTo>
                  <a:lnTo>
                    <a:pt x="3219450" y="1752600"/>
                  </a:lnTo>
                  <a:lnTo>
                    <a:pt x="1695450" y="1752600"/>
                  </a:lnTo>
                  <a:lnTo>
                    <a:pt x="1695450" y="1104900"/>
                  </a:lnTo>
                  <a:lnTo>
                    <a:pt x="1276350" y="1104900"/>
                  </a:lnTo>
                  <a:lnTo>
                    <a:pt x="1276350" y="1743075"/>
                  </a:lnTo>
                  <a:lnTo>
                    <a:pt x="0" y="1743075"/>
                  </a:lnTo>
                  <a:lnTo>
                    <a:pt x="0" y="9525"/>
                  </a:lnTo>
                  <a:lnTo>
                    <a:pt x="624283" y="244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982" name="Rectangle 1915"/>
          <p:cNvSpPr>
            <a:spLocks noChangeArrowheads="1"/>
          </p:cNvSpPr>
          <p:nvPr/>
        </p:nvSpPr>
        <p:spPr bwMode="auto">
          <a:xfrm>
            <a:off x="3237652" y="2097494"/>
            <a:ext cx="1180820" cy="1357591"/>
          </a:xfrm>
          <a:prstGeom prst="rect">
            <a:avLst/>
          </a:prstGeom>
          <a:gradFill>
            <a:gsLst>
              <a:gs pos="1000">
                <a:srgbClr val="000608">
                  <a:alpha val="0"/>
                </a:srgbClr>
              </a:gs>
              <a:gs pos="67000">
                <a:schemeClr val="accent1">
                  <a:lumMod val="75000"/>
                  <a:alpha val="22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8" name="Group 7"/>
          <p:cNvGrpSpPr/>
          <p:nvPr/>
        </p:nvGrpSpPr>
        <p:grpSpPr>
          <a:xfrm>
            <a:off x="200493" y="3076345"/>
            <a:ext cx="785393" cy="626126"/>
            <a:chOff x="311117" y="3119602"/>
            <a:chExt cx="785393" cy="626126"/>
          </a:xfrm>
        </p:grpSpPr>
        <p:sp>
          <p:nvSpPr>
            <p:cNvPr id="943" name="Freeform 1966"/>
            <p:cNvSpPr>
              <a:spLocks/>
            </p:cNvSpPr>
            <p:nvPr/>
          </p:nvSpPr>
          <p:spPr bwMode="auto">
            <a:xfrm>
              <a:off x="582719" y="3239780"/>
              <a:ext cx="228338" cy="497536"/>
            </a:xfrm>
            <a:custGeom>
              <a:avLst/>
              <a:gdLst>
                <a:gd name="T0" fmla="*/ 719 w 1142"/>
                <a:gd name="T1" fmla="*/ 19 h 2481"/>
                <a:gd name="T2" fmla="*/ 765 w 1142"/>
                <a:gd name="T3" fmla="*/ 4 h 2481"/>
                <a:gd name="T4" fmla="*/ 813 w 1142"/>
                <a:gd name="T5" fmla="*/ 0 h 2481"/>
                <a:gd name="T6" fmla="*/ 861 w 1142"/>
                <a:gd name="T7" fmla="*/ 9 h 2481"/>
                <a:gd name="T8" fmla="*/ 906 w 1142"/>
                <a:gd name="T9" fmla="*/ 27 h 2481"/>
                <a:gd name="T10" fmla="*/ 945 w 1142"/>
                <a:gd name="T11" fmla="*/ 56 h 2481"/>
                <a:gd name="T12" fmla="*/ 978 w 1142"/>
                <a:gd name="T13" fmla="*/ 92 h 2481"/>
                <a:gd name="T14" fmla="*/ 999 w 1142"/>
                <a:gd name="T15" fmla="*/ 136 h 2481"/>
                <a:gd name="T16" fmla="*/ 1014 w 1142"/>
                <a:gd name="T17" fmla="*/ 195 h 2481"/>
                <a:gd name="T18" fmla="*/ 1056 w 1142"/>
                <a:gd name="T19" fmla="*/ 455 h 2481"/>
                <a:gd name="T20" fmla="*/ 1115 w 1142"/>
                <a:gd name="T21" fmla="*/ 874 h 2481"/>
                <a:gd name="T22" fmla="*/ 1139 w 1142"/>
                <a:gd name="T23" fmla="*/ 1001 h 2481"/>
                <a:gd name="T24" fmla="*/ 1141 w 1142"/>
                <a:gd name="T25" fmla="*/ 1074 h 2481"/>
                <a:gd name="T26" fmla="*/ 1117 w 1142"/>
                <a:gd name="T27" fmla="*/ 1424 h 2481"/>
                <a:gd name="T28" fmla="*/ 1070 w 1142"/>
                <a:gd name="T29" fmla="*/ 1888 h 2481"/>
                <a:gd name="T30" fmla="*/ 1018 w 1142"/>
                <a:gd name="T31" fmla="*/ 2278 h 2481"/>
                <a:gd name="T32" fmla="*/ 998 w 1142"/>
                <a:gd name="T33" fmla="*/ 2387 h 2481"/>
                <a:gd name="T34" fmla="*/ 976 w 1142"/>
                <a:gd name="T35" fmla="*/ 2428 h 2481"/>
                <a:gd name="T36" fmla="*/ 942 w 1142"/>
                <a:gd name="T37" fmla="*/ 2457 h 2481"/>
                <a:gd name="T38" fmla="*/ 900 w 1142"/>
                <a:gd name="T39" fmla="*/ 2476 h 2481"/>
                <a:gd name="T40" fmla="*/ 855 w 1142"/>
                <a:gd name="T41" fmla="*/ 2481 h 2481"/>
                <a:gd name="T42" fmla="*/ 810 w 1142"/>
                <a:gd name="T43" fmla="*/ 2475 h 2481"/>
                <a:gd name="T44" fmla="*/ 770 w 1142"/>
                <a:gd name="T45" fmla="*/ 2456 h 2481"/>
                <a:gd name="T46" fmla="*/ 737 w 1142"/>
                <a:gd name="T47" fmla="*/ 2426 h 2481"/>
                <a:gd name="T48" fmla="*/ 716 w 1142"/>
                <a:gd name="T49" fmla="*/ 2382 h 2481"/>
                <a:gd name="T50" fmla="*/ 712 w 1142"/>
                <a:gd name="T51" fmla="*/ 2316 h 2481"/>
                <a:gd name="T52" fmla="*/ 719 w 1142"/>
                <a:gd name="T53" fmla="*/ 2207 h 2481"/>
                <a:gd name="T54" fmla="*/ 740 w 1142"/>
                <a:gd name="T55" fmla="*/ 2032 h 2481"/>
                <a:gd name="T56" fmla="*/ 773 w 1142"/>
                <a:gd name="T57" fmla="*/ 1692 h 2481"/>
                <a:gd name="T58" fmla="*/ 817 w 1142"/>
                <a:gd name="T59" fmla="*/ 1141 h 2481"/>
                <a:gd name="T60" fmla="*/ 793 w 1142"/>
                <a:gd name="T61" fmla="*/ 794 h 2481"/>
                <a:gd name="T62" fmla="*/ 776 w 1142"/>
                <a:gd name="T63" fmla="*/ 662 h 2481"/>
                <a:gd name="T64" fmla="*/ 753 w 1142"/>
                <a:gd name="T65" fmla="*/ 718 h 2481"/>
                <a:gd name="T66" fmla="*/ 723 w 1142"/>
                <a:gd name="T67" fmla="*/ 757 h 2481"/>
                <a:gd name="T68" fmla="*/ 692 w 1142"/>
                <a:gd name="T69" fmla="*/ 780 h 2481"/>
                <a:gd name="T70" fmla="*/ 486 w 1142"/>
                <a:gd name="T71" fmla="*/ 788 h 2481"/>
                <a:gd name="T72" fmla="*/ 105 w 1142"/>
                <a:gd name="T73" fmla="*/ 789 h 2481"/>
                <a:gd name="T74" fmla="*/ 58 w 1142"/>
                <a:gd name="T75" fmla="*/ 781 h 2481"/>
                <a:gd name="T76" fmla="*/ 20 w 1142"/>
                <a:gd name="T77" fmla="*/ 750 h 2481"/>
                <a:gd name="T78" fmla="*/ 1 w 1142"/>
                <a:gd name="T79" fmla="*/ 706 h 2481"/>
                <a:gd name="T80" fmla="*/ 9 w 1142"/>
                <a:gd name="T81" fmla="*/ 659 h 2481"/>
                <a:gd name="T82" fmla="*/ 19 w 1142"/>
                <a:gd name="T83" fmla="*/ 638 h 2481"/>
                <a:gd name="T84" fmla="*/ 57 w 1142"/>
                <a:gd name="T85" fmla="*/ 608 h 2481"/>
                <a:gd name="T86" fmla="*/ 112 w 1142"/>
                <a:gd name="T87" fmla="*/ 595 h 2481"/>
                <a:gd name="T88" fmla="*/ 202 w 1142"/>
                <a:gd name="T89" fmla="*/ 591 h 2481"/>
                <a:gd name="T90" fmla="*/ 248 w 1142"/>
                <a:gd name="T91" fmla="*/ 587 h 2481"/>
                <a:gd name="T92" fmla="*/ 432 w 1142"/>
                <a:gd name="T93" fmla="*/ 585 h 2481"/>
                <a:gd name="T94" fmla="*/ 532 w 1142"/>
                <a:gd name="T95" fmla="*/ 572 h 2481"/>
                <a:gd name="T96" fmla="*/ 574 w 1142"/>
                <a:gd name="T97" fmla="*/ 554 h 2481"/>
                <a:gd name="T98" fmla="*/ 593 w 1142"/>
                <a:gd name="T99" fmla="*/ 531 h 2481"/>
                <a:gd name="T100" fmla="*/ 615 w 1142"/>
                <a:gd name="T101" fmla="*/ 478 h 2481"/>
                <a:gd name="T102" fmla="*/ 631 w 1142"/>
                <a:gd name="T103" fmla="*/ 371 h 2481"/>
                <a:gd name="T104" fmla="*/ 647 w 1142"/>
                <a:gd name="T105" fmla="*/ 169 h 2481"/>
                <a:gd name="T106" fmla="*/ 665 w 1142"/>
                <a:gd name="T107" fmla="*/ 87 h 2481"/>
                <a:gd name="T108" fmla="*/ 689 w 1142"/>
                <a:gd name="T109" fmla="*/ 41 h 2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2" h="2481">
                  <a:moveTo>
                    <a:pt x="698" y="32"/>
                  </a:moveTo>
                  <a:lnTo>
                    <a:pt x="698" y="32"/>
                  </a:lnTo>
                  <a:lnTo>
                    <a:pt x="708" y="25"/>
                  </a:lnTo>
                  <a:lnTo>
                    <a:pt x="719" y="19"/>
                  </a:lnTo>
                  <a:lnTo>
                    <a:pt x="730" y="14"/>
                  </a:lnTo>
                  <a:lnTo>
                    <a:pt x="741" y="10"/>
                  </a:lnTo>
                  <a:lnTo>
                    <a:pt x="753" y="6"/>
                  </a:lnTo>
                  <a:lnTo>
                    <a:pt x="765" y="4"/>
                  </a:lnTo>
                  <a:lnTo>
                    <a:pt x="776" y="2"/>
                  </a:lnTo>
                  <a:lnTo>
                    <a:pt x="789" y="1"/>
                  </a:lnTo>
                  <a:lnTo>
                    <a:pt x="801" y="0"/>
                  </a:lnTo>
                  <a:lnTo>
                    <a:pt x="813" y="0"/>
                  </a:lnTo>
                  <a:lnTo>
                    <a:pt x="825" y="1"/>
                  </a:lnTo>
                  <a:lnTo>
                    <a:pt x="837" y="3"/>
                  </a:lnTo>
                  <a:lnTo>
                    <a:pt x="849" y="6"/>
                  </a:lnTo>
                  <a:lnTo>
                    <a:pt x="861" y="9"/>
                  </a:lnTo>
                  <a:lnTo>
                    <a:pt x="872" y="12"/>
                  </a:lnTo>
                  <a:lnTo>
                    <a:pt x="884" y="17"/>
                  </a:lnTo>
                  <a:lnTo>
                    <a:pt x="895" y="22"/>
                  </a:lnTo>
                  <a:lnTo>
                    <a:pt x="906" y="27"/>
                  </a:lnTo>
                  <a:lnTo>
                    <a:pt x="916" y="33"/>
                  </a:lnTo>
                  <a:lnTo>
                    <a:pt x="926" y="41"/>
                  </a:lnTo>
                  <a:lnTo>
                    <a:pt x="936" y="48"/>
                  </a:lnTo>
                  <a:lnTo>
                    <a:pt x="945" y="56"/>
                  </a:lnTo>
                  <a:lnTo>
                    <a:pt x="954" y="64"/>
                  </a:lnTo>
                  <a:lnTo>
                    <a:pt x="962" y="73"/>
                  </a:lnTo>
                  <a:lnTo>
                    <a:pt x="970" y="83"/>
                  </a:lnTo>
                  <a:lnTo>
                    <a:pt x="978" y="92"/>
                  </a:lnTo>
                  <a:lnTo>
                    <a:pt x="984" y="102"/>
                  </a:lnTo>
                  <a:lnTo>
                    <a:pt x="990" y="113"/>
                  </a:lnTo>
                  <a:lnTo>
                    <a:pt x="995" y="124"/>
                  </a:lnTo>
                  <a:lnTo>
                    <a:pt x="999" y="136"/>
                  </a:lnTo>
                  <a:lnTo>
                    <a:pt x="1003" y="147"/>
                  </a:lnTo>
                  <a:lnTo>
                    <a:pt x="1006" y="159"/>
                  </a:lnTo>
                  <a:lnTo>
                    <a:pt x="1006" y="159"/>
                  </a:lnTo>
                  <a:lnTo>
                    <a:pt x="1014" y="195"/>
                  </a:lnTo>
                  <a:lnTo>
                    <a:pt x="1023" y="238"/>
                  </a:lnTo>
                  <a:lnTo>
                    <a:pt x="1031" y="286"/>
                  </a:lnTo>
                  <a:lnTo>
                    <a:pt x="1039" y="339"/>
                  </a:lnTo>
                  <a:lnTo>
                    <a:pt x="1056" y="455"/>
                  </a:lnTo>
                  <a:lnTo>
                    <a:pt x="1074" y="580"/>
                  </a:lnTo>
                  <a:lnTo>
                    <a:pt x="1090" y="705"/>
                  </a:lnTo>
                  <a:lnTo>
                    <a:pt x="1107" y="821"/>
                  </a:lnTo>
                  <a:lnTo>
                    <a:pt x="1115" y="874"/>
                  </a:lnTo>
                  <a:lnTo>
                    <a:pt x="1124" y="922"/>
                  </a:lnTo>
                  <a:lnTo>
                    <a:pt x="1131" y="965"/>
                  </a:lnTo>
                  <a:lnTo>
                    <a:pt x="1139" y="1001"/>
                  </a:lnTo>
                  <a:lnTo>
                    <a:pt x="1139" y="1001"/>
                  </a:lnTo>
                  <a:lnTo>
                    <a:pt x="1141" y="1010"/>
                  </a:lnTo>
                  <a:lnTo>
                    <a:pt x="1142" y="1027"/>
                  </a:lnTo>
                  <a:lnTo>
                    <a:pt x="1142" y="1048"/>
                  </a:lnTo>
                  <a:lnTo>
                    <a:pt x="1141" y="1074"/>
                  </a:lnTo>
                  <a:lnTo>
                    <a:pt x="1139" y="1140"/>
                  </a:lnTo>
                  <a:lnTo>
                    <a:pt x="1133" y="1223"/>
                  </a:lnTo>
                  <a:lnTo>
                    <a:pt x="1126" y="1319"/>
                  </a:lnTo>
                  <a:lnTo>
                    <a:pt x="1117" y="1424"/>
                  </a:lnTo>
                  <a:lnTo>
                    <a:pt x="1106" y="1537"/>
                  </a:lnTo>
                  <a:lnTo>
                    <a:pt x="1095" y="1654"/>
                  </a:lnTo>
                  <a:lnTo>
                    <a:pt x="1083" y="1772"/>
                  </a:lnTo>
                  <a:lnTo>
                    <a:pt x="1070" y="1888"/>
                  </a:lnTo>
                  <a:lnTo>
                    <a:pt x="1056" y="2000"/>
                  </a:lnTo>
                  <a:lnTo>
                    <a:pt x="1043" y="2105"/>
                  </a:lnTo>
                  <a:lnTo>
                    <a:pt x="1031" y="2198"/>
                  </a:lnTo>
                  <a:lnTo>
                    <a:pt x="1018" y="2278"/>
                  </a:lnTo>
                  <a:lnTo>
                    <a:pt x="1007" y="2342"/>
                  </a:lnTo>
                  <a:lnTo>
                    <a:pt x="1002" y="2366"/>
                  </a:lnTo>
                  <a:lnTo>
                    <a:pt x="998" y="2387"/>
                  </a:lnTo>
                  <a:lnTo>
                    <a:pt x="998" y="2387"/>
                  </a:lnTo>
                  <a:lnTo>
                    <a:pt x="993" y="2398"/>
                  </a:lnTo>
                  <a:lnTo>
                    <a:pt x="988" y="2408"/>
                  </a:lnTo>
                  <a:lnTo>
                    <a:pt x="982" y="2418"/>
                  </a:lnTo>
                  <a:lnTo>
                    <a:pt x="976" y="2428"/>
                  </a:lnTo>
                  <a:lnTo>
                    <a:pt x="967" y="2437"/>
                  </a:lnTo>
                  <a:lnTo>
                    <a:pt x="959" y="2444"/>
                  </a:lnTo>
                  <a:lnTo>
                    <a:pt x="951" y="2451"/>
                  </a:lnTo>
                  <a:lnTo>
                    <a:pt x="942" y="2457"/>
                  </a:lnTo>
                  <a:lnTo>
                    <a:pt x="932" y="2463"/>
                  </a:lnTo>
                  <a:lnTo>
                    <a:pt x="921" y="2468"/>
                  </a:lnTo>
                  <a:lnTo>
                    <a:pt x="911" y="2473"/>
                  </a:lnTo>
                  <a:lnTo>
                    <a:pt x="900" y="2476"/>
                  </a:lnTo>
                  <a:lnTo>
                    <a:pt x="889" y="2478"/>
                  </a:lnTo>
                  <a:lnTo>
                    <a:pt x="877" y="2480"/>
                  </a:lnTo>
                  <a:lnTo>
                    <a:pt x="866" y="2481"/>
                  </a:lnTo>
                  <a:lnTo>
                    <a:pt x="855" y="2481"/>
                  </a:lnTo>
                  <a:lnTo>
                    <a:pt x="844" y="2481"/>
                  </a:lnTo>
                  <a:lnTo>
                    <a:pt x="832" y="2480"/>
                  </a:lnTo>
                  <a:lnTo>
                    <a:pt x="821" y="2478"/>
                  </a:lnTo>
                  <a:lnTo>
                    <a:pt x="810" y="2475"/>
                  </a:lnTo>
                  <a:lnTo>
                    <a:pt x="800" y="2472"/>
                  </a:lnTo>
                  <a:lnTo>
                    <a:pt x="790" y="2466"/>
                  </a:lnTo>
                  <a:lnTo>
                    <a:pt x="779" y="2462"/>
                  </a:lnTo>
                  <a:lnTo>
                    <a:pt x="770" y="2456"/>
                  </a:lnTo>
                  <a:lnTo>
                    <a:pt x="761" y="2449"/>
                  </a:lnTo>
                  <a:lnTo>
                    <a:pt x="752" y="2442"/>
                  </a:lnTo>
                  <a:lnTo>
                    <a:pt x="745" y="2434"/>
                  </a:lnTo>
                  <a:lnTo>
                    <a:pt x="737" y="2426"/>
                  </a:lnTo>
                  <a:lnTo>
                    <a:pt x="730" y="2415"/>
                  </a:lnTo>
                  <a:lnTo>
                    <a:pt x="725" y="2405"/>
                  </a:lnTo>
                  <a:lnTo>
                    <a:pt x="720" y="2394"/>
                  </a:lnTo>
                  <a:lnTo>
                    <a:pt x="716" y="2382"/>
                  </a:lnTo>
                  <a:lnTo>
                    <a:pt x="716" y="2382"/>
                  </a:lnTo>
                  <a:lnTo>
                    <a:pt x="714" y="2360"/>
                  </a:lnTo>
                  <a:lnTo>
                    <a:pt x="712" y="2339"/>
                  </a:lnTo>
                  <a:lnTo>
                    <a:pt x="712" y="2316"/>
                  </a:lnTo>
                  <a:lnTo>
                    <a:pt x="712" y="2295"/>
                  </a:lnTo>
                  <a:lnTo>
                    <a:pt x="713" y="2272"/>
                  </a:lnTo>
                  <a:lnTo>
                    <a:pt x="714" y="2251"/>
                  </a:lnTo>
                  <a:lnTo>
                    <a:pt x="719" y="2207"/>
                  </a:lnTo>
                  <a:lnTo>
                    <a:pt x="731" y="2119"/>
                  </a:lnTo>
                  <a:lnTo>
                    <a:pt x="736" y="2076"/>
                  </a:lnTo>
                  <a:lnTo>
                    <a:pt x="740" y="2032"/>
                  </a:lnTo>
                  <a:lnTo>
                    <a:pt x="740" y="2032"/>
                  </a:lnTo>
                  <a:lnTo>
                    <a:pt x="745" y="2000"/>
                  </a:lnTo>
                  <a:lnTo>
                    <a:pt x="750" y="1956"/>
                  </a:lnTo>
                  <a:lnTo>
                    <a:pt x="761" y="1837"/>
                  </a:lnTo>
                  <a:lnTo>
                    <a:pt x="773" y="1692"/>
                  </a:lnTo>
                  <a:lnTo>
                    <a:pt x="786" y="1537"/>
                  </a:lnTo>
                  <a:lnTo>
                    <a:pt x="808" y="1262"/>
                  </a:lnTo>
                  <a:lnTo>
                    <a:pt x="817" y="1141"/>
                  </a:lnTo>
                  <a:lnTo>
                    <a:pt x="817" y="1141"/>
                  </a:lnTo>
                  <a:lnTo>
                    <a:pt x="814" y="1085"/>
                  </a:lnTo>
                  <a:lnTo>
                    <a:pt x="806" y="951"/>
                  </a:lnTo>
                  <a:lnTo>
                    <a:pt x="800" y="872"/>
                  </a:lnTo>
                  <a:lnTo>
                    <a:pt x="793" y="794"/>
                  </a:lnTo>
                  <a:lnTo>
                    <a:pt x="784" y="721"/>
                  </a:lnTo>
                  <a:lnTo>
                    <a:pt x="780" y="689"/>
                  </a:lnTo>
                  <a:lnTo>
                    <a:pt x="776" y="662"/>
                  </a:lnTo>
                  <a:lnTo>
                    <a:pt x="776" y="662"/>
                  </a:lnTo>
                  <a:lnTo>
                    <a:pt x="771" y="675"/>
                  </a:lnTo>
                  <a:lnTo>
                    <a:pt x="766" y="690"/>
                  </a:lnTo>
                  <a:lnTo>
                    <a:pt x="758" y="708"/>
                  </a:lnTo>
                  <a:lnTo>
                    <a:pt x="753" y="718"/>
                  </a:lnTo>
                  <a:lnTo>
                    <a:pt x="747" y="727"/>
                  </a:lnTo>
                  <a:lnTo>
                    <a:pt x="739" y="737"/>
                  </a:lnTo>
                  <a:lnTo>
                    <a:pt x="732" y="748"/>
                  </a:lnTo>
                  <a:lnTo>
                    <a:pt x="723" y="757"/>
                  </a:lnTo>
                  <a:lnTo>
                    <a:pt x="714" y="765"/>
                  </a:lnTo>
                  <a:lnTo>
                    <a:pt x="704" y="773"/>
                  </a:lnTo>
                  <a:lnTo>
                    <a:pt x="692" y="780"/>
                  </a:lnTo>
                  <a:lnTo>
                    <a:pt x="692" y="780"/>
                  </a:lnTo>
                  <a:lnTo>
                    <a:pt x="668" y="782"/>
                  </a:lnTo>
                  <a:lnTo>
                    <a:pt x="639" y="784"/>
                  </a:lnTo>
                  <a:lnTo>
                    <a:pt x="569" y="787"/>
                  </a:lnTo>
                  <a:lnTo>
                    <a:pt x="486" y="788"/>
                  </a:lnTo>
                  <a:lnTo>
                    <a:pt x="399" y="789"/>
                  </a:lnTo>
                  <a:lnTo>
                    <a:pt x="229" y="789"/>
                  </a:lnTo>
                  <a:lnTo>
                    <a:pt x="105" y="789"/>
                  </a:lnTo>
                  <a:lnTo>
                    <a:pt x="105" y="789"/>
                  </a:lnTo>
                  <a:lnTo>
                    <a:pt x="93" y="790"/>
                  </a:lnTo>
                  <a:lnTo>
                    <a:pt x="80" y="789"/>
                  </a:lnTo>
                  <a:lnTo>
                    <a:pt x="69" y="786"/>
                  </a:lnTo>
                  <a:lnTo>
                    <a:pt x="58" y="781"/>
                  </a:lnTo>
                  <a:lnTo>
                    <a:pt x="47" y="775"/>
                  </a:lnTo>
                  <a:lnTo>
                    <a:pt x="36" y="768"/>
                  </a:lnTo>
                  <a:lnTo>
                    <a:pt x="28" y="760"/>
                  </a:lnTo>
                  <a:lnTo>
                    <a:pt x="20" y="750"/>
                  </a:lnTo>
                  <a:lnTo>
                    <a:pt x="13" y="740"/>
                  </a:lnTo>
                  <a:lnTo>
                    <a:pt x="8" y="729"/>
                  </a:lnTo>
                  <a:lnTo>
                    <a:pt x="4" y="718"/>
                  </a:lnTo>
                  <a:lnTo>
                    <a:pt x="1" y="706"/>
                  </a:lnTo>
                  <a:lnTo>
                    <a:pt x="0" y="695"/>
                  </a:lnTo>
                  <a:lnTo>
                    <a:pt x="1" y="682"/>
                  </a:lnTo>
                  <a:lnTo>
                    <a:pt x="4" y="670"/>
                  </a:lnTo>
                  <a:lnTo>
                    <a:pt x="9" y="659"/>
                  </a:lnTo>
                  <a:lnTo>
                    <a:pt x="9" y="659"/>
                  </a:lnTo>
                  <a:lnTo>
                    <a:pt x="12" y="652"/>
                  </a:lnTo>
                  <a:lnTo>
                    <a:pt x="15" y="645"/>
                  </a:lnTo>
                  <a:lnTo>
                    <a:pt x="19" y="638"/>
                  </a:lnTo>
                  <a:lnTo>
                    <a:pt x="24" y="632"/>
                  </a:lnTo>
                  <a:lnTo>
                    <a:pt x="33" y="622"/>
                  </a:lnTo>
                  <a:lnTo>
                    <a:pt x="45" y="614"/>
                  </a:lnTo>
                  <a:lnTo>
                    <a:pt x="57" y="608"/>
                  </a:lnTo>
                  <a:lnTo>
                    <a:pt x="69" y="603"/>
                  </a:lnTo>
                  <a:lnTo>
                    <a:pt x="83" y="600"/>
                  </a:lnTo>
                  <a:lnTo>
                    <a:pt x="98" y="598"/>
                  </a:lnTo>
                  <a:lnTo>
                    <a:pt x="112" y="595"/>
                  </a:lnTo>
                  <a:lnTo>
                    <a:pt x="127" y="594"/>
                  </a:lnTo>
                  <a:lnTo>
                    <a:pt x="158" y="593"/>
                  </a:lnTo>
                  <a:lnTo>
                    <a:pt x="188" y="592"/>
                  </a:lnTo>
                  <a:lnTo>
                    <a:pt x="202" y="591"/>
                  </a:lnTo>
                  <a:lnTo>
                    <a:pt x="215" y="590"/>
                  </a:lnTo>
                  <a:lnTo>
                    <a:pt x="215" y="590"/>
                  </a:lnTo>
                  <a:lnTo>
                    <a:pt x="230" y="588"/>
                  </a:lnTo>
                  <a:lnTo>
                    <a:pt x="248" y="587"/>
                  </a:lnTo>
                  <a:lnTo>
                    <a:pt x="293" y="587"/>
                  </a:lnTo>
                  <a:lnTo>
                    <a:pt x="346" y="587"/>
                  </a:lnTo>
                  <a:lnTo>
                    <a:pt x="403" y="586"/>
                  </a:lnTo>
                  <a:lnTo>
                    <a:pt x="432" y="585"/>
                  </a:lnTo>
                  <a:lnTo>
                    <a:pt x="459" y="583"/>
                  </a:lnTo>
                  <a:lnTo>
                    <a:pt x="486" y="581"/>
                  </a:lnTo>
                  <a:lnTo>
                    <a:pt x="511" y="577"/>
                  </a:lnTo>
                  <a:lnTo>
                    <a:pt x="532" y="572"/>
                  </a:lnTo>
                  <a:lnTo>
                    <a:pt x="551" y="566"/>
                  </a:lnTo>
                  <a:lnTo>
                    <a:pt x="560" y="562"/>
                  </a:lnTo>
                  <a:lnTo>
                    <a:pt x="568" y="558"/>
                  </a:lnTo>
                  <a:lnTo>
                    <a:pt x="574" y="554"/>
                  </a:lnTo>
                  <a:lnTo>
                    <a:pt x="579" y="548"/>
                  </a:lnTo>
                  <a:lnTo>
                    <a:pt x="579" y="548"/>
                  </a:lnTo>
                  <a:lnTo>
                    <a:pt x="587" y="540"/>
                  </a:lnTo>
                  <a:lnTo>
                    <a:pt x="593" y="531"/>
                  </a:lnTo>
                  <a:lnTo>
                    <a:pt x="599" y="520"/>
                  </a:lnTo>
                  <a:lnTo>
                    <a:pt x="606" y="507"/>
                  </a:lnTo>
                  <a:lnTo>
                    <a:pt x="611" y="493"/>
                  </a:lnTo>
                  <a:lnTo>
                    <a:pt x="615" y="478"/>
                  </a:lnTo>
                  <a:lnTo>
                    <a:pt x="618" y="462"/>
                  </a:lnTo>
                  <a:lnTo>
                    <a:pt x="622" y="445"/>
                  </a:lnTo>
                  <a:lnTo>
                    <a:pt x="627" y="408"/>
                  </a:lnTo>
                  <a:lnTo>
                    <a:pt x="631" y="371"/>
                  </a:lnTo>
                  <a:lnTo>
                    <a:pt x="637" y="289"/>
                  </a:lnTo>
                  <a:lnTo>
                    <a:pt x="639" y="248"/>
                  </a:lnTo>
                  <a:lnTo>
                    <a:pt x="643" y="208"/>
                  </a:lnTo>
                  <a:lnTo>
                    <a:pt x="647" y="169"/>
                  </a:lnTo>
                  <a:lnTo>
                    <a:pt x="653" y="134"/>
                  </a:lnTo>
                  <a:lnTo>
                    <a:pt x="657" y="117"/>
                  </a:lnTo>
                  <a:lnTo>
                    <a:pt x="661" y="101"/>
                  </a:lnTo>
                  <a:lnTo>
                    <a:pt x="665" y="87"/>
                  </a:lnTo>
                  <a:lnTo>
                    <a:pt x="670" y="73"/>
                  </a:lnTo>
                  <a:lnTo>
                    <a:pt x="676" y="61"/>
                  </a:lnTo>
                  <a:lnTo>
                    <a:pt x="682" y="50"/>
                  </a:lnTo>
                  <a:lnTo>
                    <a:pt x="689" y="41"/>
                  </a:lnTo>
                  <a:lnTo>
                    <a:pt x="698" y="32"/>
                  </a:lnTo>
                  <a:lnTo>
                    <a:pt x="698"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4" name="Freeform 1967"/>
            <p:cNvSpPr>
              <a:spLocks/>
            </p:cNvSpPr>
            <p:nvPr/>
          </p:nvSpPr>
          <p:spPr bwMode="auto">
            <a:xfrm>
              <a:off x="663237" y="3130418"/>
              <a:ext cx="102151" cy="102151"/>
            </a:xfrm>
            <a:custGeom>
              <a:avLst/>
              <a:gdLst>
                <a:gd name="T0" fmla="*/ 0 w 509"/>
                <a:gd name="T1" fmla="*/ 254 h 509"/>
                <a:gd name="T2" fmla="*/ 1 w 509"/>
                <a:gd name="T3" fmla="*/ 228 h 509"/>
                <a:gd name="T4" fmla="*/ 5 w 509"/>
                <a:gd name="T5" fmla="*/ 203 h 509"/>
                <a:gd name="T6" fmla="*/ 12 w 509"/>
                <a:gd name="T7" fmla="*/ 179 h 509"/>
                <a:gd name="T8" fmla="*/ 21 w 509"/>
                <a:gd name="T9" fmla="*/ 155 h 509"/>
                <a:gd name="T10" fmla="*/ 44 w 509"/>
                <a:gd name="T11" fmla="*/ 112 h 509"/>
                <a:gd name="T12" fmla="*/ 75 w 509"/>
                <a:gd name="T13" fmla="*/ 75 h 509"/>
                <a:gd name="T14" fmla="*/ 113 w 509"/>
                <a:gd name="T15" fmla="*/ 43 h 509"/>
                <a:gd name="T16" fmla="*/ 156 w 509"/>
                <a:gd name="T17" fmla="*/ 19 h 509"/>
                <a:gd name="T18" fmla="*/ 179 w 509"/>
                <a:gd name="T19" fmla="*/ 11 h 509"/>
                <a:gd name="T20" fmla="*/ 204 w 509"/>
                <a:gd name="T21" fmla="*/ 5 h 509"/>
                <a:gd name="T22" fmla="*/ 229 w 509"/>
                <a:gd name="T23" fmla="*/ 1 h 509"/>
                <a:gd name="T24" fmla="*/ 255 w 509"/>
                <a:gd name="T25" fmla="*/ 0 h 509"/>
                <a:gd name="T26" fmla="*/ 268 w 509"/>
                <a:gd name="T27" fmla="*/ 0 h 509"/>
                <a:gd name="T28" fmla="*/ 294 w 509"/>
                <a:gd name="T29" fmla="*/ 3 h 509"/>
                <a:gd name="T30" fmla="*/ 318 w 509"/>
                <a:gd name="T31" fmla="*/ 8 h 509"/>
                <a:gd name="T32" fmla="*/ 343 w 509"/>
                <a:gd name="T33" fmla="*/ 15 h 509"/>
                <a:gd name="T34" fmla="*/ 376 w 509"/>
                <a:gd name="T35" fmla="*/ 31 h 509"/>
                <a:gd name="T36" fmla="*/ 416 w 509"/>
                <a:gd name="T37" fmla="*/ 58 h 509"/>
                <a:gd name="T38" fmla="*/ 451 w 509"/>
                <a:gd name="T39" fmla="*/ 92 h 509"/>
                <a:gd name="T40" fmla="*/ 478 w 509"/>
                <a:gd name="T41" fmla="*/ 133 h 509"/>
                <a:gd name="T42" fmla="*/ 494 w 509"/>
                <a:gd name="T43" fmla="*/ 167 h 509"/>
                <a:gd name="T44" fmla="*/ 501 w 509"/>
                <a:gd name="T45" fmla="*/ 191 h 509"/>
                <a:gd name="T46" fmla="*/ 506 w 509"/>
                <a:gd name="T47" fmla="*/ 216 h 509"/>
                <a:gd name="T48" fmla="*/ 509 w 509"/>
                <a:gd name="T49" fmla="*/ 241 h 509"/>
                <a:gd name="T50" fmla="*/ 509 w 509"/>
                <a:gd name="T51" fmla="*/ 254 h 509"/>
                <a:gd name="T52" fmla="*/ 508 w 509"/>
                <a:gd name="T53" fmla="*/ 280 h 509"/>
                <a:gd name="T54" fmla="*/ 504 w 509"/>
                <a:gd name="T55" fmla="*/ 306 h 509"/>
                <a:gd name="T56" fmla="*/ 498 w 509"/>
                <a:gd name="T57" fmla="*/ 330 h 509"/>
                <a:gd name="T58" fmla="*/ 489 w 509"/>
                <a:gd name="T59" fmla="*/ 354 h 509"/>
                <a:gd name="T60" fmla="*/ 465 w 509"/>
                <a:gd name="T61" fmla="*/ 396 h 509"/>
                <a:gd name="T62" fmla="*/ 435 w 509"/>
                <a:gd name="T63" fmla="*/ 434 h 509"/>
                <a:gd name="T64" fmla="*/ 397 w 509"/>
                <a:gd name="T65" fmla="*/ 465 h 509"/>
                <a:gd name="T66" fmla="*/ 354 w 509"/>
                <a:gd name="T67" fmla="*/ 488 h 509"/>
                <a:gd name="T68" fmla="*/ 330 w 509"/>
                <a:gd name="T69" fmla="*/ 498 h 509"/>
                <a:gd name="T70" fmla="*/ 306 w 509"/>
                <a:gd name="T71" fmla="*/ 504 h 509"/>
                <a:gd name="T72" fmla="*/ 280 w 509"/>
                <a:gd name="T73" fmla="*/ 507 h 509"/>
                <a:gd name="T74" fmla="*/ 255 w 509"/>
                <a:gd name="T75" fmla="*/ 509 h 509"/>
                <a:gd name="T76" fmla="*/ 241 w 509"/>
                <a:gd name="T77" fmla="*/ 508 h 509"/>
                <a:gd name="T78" fmla="*/ 216 w 509"/>
                <a:gd name="T79" fmla="*/ 506 h 509"/>
                <a:gd name="T80" fmla="*/ 191 w 509"/>
                <a:gd name="T81" fmla="*/ 501 h 509"/>
                <a:gd name="T82" fmla="*/ 167 w 509"/>
                <a:gd name="T83" fmla="*/ 494 h 509"/>
                <a:gd name="T84" fmla="*/ 133 w 509"/>
                <a:gd name="T85" fmla="*/ 478 h 509"/>
                <a:gd name="T86" fmla="*/ 93 w 509"/>
                <a:gd name="T87" fmla="*/ 451 h 509"/>
                <a:gd name="T88" fmla="*/ 59 w 509"/>
                <a:gd name="T89" fmla="*/ 416 h 509"/>
                <a:gd name="T90" fmla="*/ 31 w 509"/>
                <a:gd name="T91" fmla="*/ 375 h 509"/>
                <a:gd name="T92" fmla="*/ 16 w 509"/>
                <a:gd name="T93" fmla="*/ 341 h 509"/>
                <a:gd name="T94" fmla="*/ 8 w 509"/>
                <a:gd name="T95" fmla="*/ 318 h 509"/>
                <a:gd name="T96" fmla="*/ 3 w 509"/>
                <a:gd name="T97" fmla="*/ 293 h 509"/>
                <a:gd name="T98" fmla="*/ 0 w 509"/>
                <a:gd name="T99" fmla="*/ 268 h 509"/>
                <a:gd name="T100" fmla="*/ 0 w 509"/>
                <a:gd name="T101" fmla="*/ 25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9" h="509">
                  <a:moveTo>
                    <a:pt x="0" y="254"/>
                  </a:moveTo>
                  <a:lnTo>
                    <a:pt x="0" y="254"/>
                  </a:lnTo>
                  <a:lnTo>
                    <a:pt x="0" y="241"/>
                  </a:lnTo>
                  <a:lnTo>
                    <a:pt x="1" y="228"/>
                  </a:lnTo>
                  <a:lnTo>
                    <a:pt x="3" y="216"/>
                  </a:lnTo>
                  <a:lnTo>
                    <a:pt x="5" y="203"/>
                  </a:lnTo>
                  <a:lnTo>
                    <a:pt x="8" y="191"/>
                  </a:lnTo>
                  <a:lnTo>
                    <a:pt x="12" y="179"/>
                  </a:lnTo>
                  <a:lnTo>
                    <a:pt x="16" y="167"/>
                  </a:lnTo>
                  <a:lnTo>
                    <a:pt x="21" y="155"/>
                  </a:lnTo>
                  <a:lnTo>
                    <a:pt x="31" y="133"/>
                  </a:lnTo>
                  <a:lnTo>
                    <a:pt x="44" y="112"/>
                  </a:lnTo>
                  <a:lnTo>
                    <a:pt x="59" y="92"/>
                  </a:lnTo>
                  <a:lnTo>
                    <a:pt x="75" y="75"/>
                  </a:lnTo>
                  <a:lnTo>
                    <a:pt x="93" y="58"/>
                  </a:lnTo>
                  <a:lnTo>
                    <a:pt x="113" y="43"/>
                  </a:lnTo>
                  <a:lnTo>
                    <a:pt x="133" y="31"/>
                  </a:lnTo>
                  <a:lnTo>
                    <a:pt x="156" y="19"/>
                  </a:lnTo>
                  <a:lnTo>
                    <a:pt x="167" y="15"/>
                  </a:lnTo>
                  <a:lnTo>
                    <a:pt x="179" y="11"/>
                  </a:lnTo>
                  <a:lnTo>
                    <a:pt x="191" y="8"/>
                  </a:lnTo>
                  <a:lnTo>
                    <a:pt x="204" y="5"/>
                  </a:lnTo>
                  <a:lnTo>
                    <a:pt x="216" y="3"/>
                  </a:lnTo>
                  <a:lnTo>
                    <a:pt x="229" y="1"/>
                  </a:lnTo>
                  <a:lnTo>
                    <a:pt x="241" y="0"/>
                  </a:lnTo>
                  <a:lnTo>
                    <a:pt x="255" y="0"/>
                  </a:lnTo>
                  <a:lnTo>
                    <a:pt x="255" y="0"/>
                  </a:lnTo>
                  <a:lnTo>
                    <a:pt x="268" y="0"/>
                  </a:lnTo>
                  <a:lnTo>
                    <a:pt x="280" y="1"/>
                  </a:lnTo>
                  <a:lnTo>
                    <a:pt x="294" y="3"/>
                  </a:lnTo>
                  <a:lnTo>
                    <a:pt x="306" y="5"/>
                  </a:lnTo>
                  <a:lnTo>
                    <a:pt x="318" y="8"/>
                  </a:lnTo>
                  <a:lnTo>
                    <a:pt x="330" y="11"/>
                  </a:lnTo>
                  <a:lnTo>
                    <a:pt x="343" y="15"/>
                  </a:lnTo>
                  <a:lnTo>
                    <a:pt x="354" y="19"/>
                  </a:lnTo>
                  <a:lnTo>
                    <a:pt x="376" y="31"/>
                  </a:lnTo>
                  <a:lnTo>
                    <a:pt x="397" y="43"/>
                  </a:lnTo>
                  <a:lnTo>
                    <a:pt x="416" y="58"/>
                  </a:lnTo>
                  <a:lnTo>
                    <a:pt x="435" y="75"/>
                  </a:lnTo>
                  <a:lnTo>
                    <a:pt x="451" y="92"/>
                  </a:lnTo>
                  <a:lnTo>
                    <a:pt x="465" y="112"/>
                  </a:lnTo>
                  <a:lnTo>
                    <a:pt x="478" y="133"/>
                  </a:lnTo>
                  <a:lnTo>
                    <a:pt x="489" y="155"/>
                  </a:lnTo>
                  <a:lnTo>
                    <a:pt x="494" y="167"/>
                  </a:lnTo>
                  <a:lnTo>
                    <a:pt x="498" y="179"/>
                  </a:lnTo>
                  <a:lnTo>
                    <a:pt x="501" y="191"/>
                  </a:lnTo>
                  <a:lnTo>
                    <a:pt x="504" y="203"/>
                  </a:lnTo>
                  <a:lnTo>
                    <a:pt x="506" y="216"/>
                  </a:lnTo>
                  <a:lnTo>
                    <a:pt x="508" y="228"/>
                  </a:lnTo>
                  <a:lnTo>
                    <a:pt x="509" y="241"/>
                  </a:lnTo>
                  <a:lnTo>
                    <a:pt x="509" y="254"/>
                  </a:lnTo>
                  <a:lnTo>
                    <a:pt x="509" y="254"/>
                  </a:lnTo>
                  <a:lnTo>
                    <a:pt x="509" y="268"/>
                  </a:lnTo>
                  <a:lnTo>
                    <a:pt x="508" y="280"/>
                  </a:lnTo>
                  <a:lnTo>
                    <a:pt x="506" y="293"/>
                  </a:lnTo>
                  <a:lnTo>
                    <a:pt x="504" y="306"/>
                  </a:lnTo>
                  <a:lnTo>
                    <a:pt x="501" y="318"/>
                  </a:lnTo>
                  <a:lnTo>
                    <a:pt x="498" y="330"/>
                  </a:lnTo>
                  <a:lnTo>
                    <a:pt x="494" y="341"/>
                  </a:lnTo>
                  <a:lnTo>
                    <a:pt x="489" y="354"/>
                  </a:lnTo>
                  <a:lnTo>
                    <a:pt x="478" y="375"/>
                  </a:lnTo>
                  <a:lnTo>
                    <a:pt x="465" y="396"/>
                  </a:lnTo>
                  <a:lnTo>
                    <a:pt x="451" y="416"/>
                  </a:lnTo>
                  <a:lnTo>
                    <a:pt x="435" y="434"/>
                  </a:lnTo>
                  <a:lnTo>
                    <a:pt x="416" y="451"/>
                  </a:lnTo>
                  <a:lnTo>
                    <a:pt x="397" y="465"/>
                  </a:lnTo>
                  <a:lnTo>
                    <a:pt x="376" y="478"/>
                  </a:lnTo>
                  <a:lnTo>
                    <a:pt x="354" y="488"/>
                  </a:lnTo>
                  <a:lnTo>
                    <a:pt x="343" y="494"/>
                  </a:lnTo>
                  <a:lnTo>
                    <a:pt x="330" y="498"/>
                  </a:lnTo>
                  <a:lnTo>
                    <a:pt x="318" y="501"/>
                  </a:lnTo>
                  <a:lnTo>
                    <a:pt x="306" y="504"/>
                  </a:lnTo>
                  <a:lnTo>
                    <a:pt x="294" y="506"/>
                  </a:lnTo>
                  <a:lnTo>
                    <a:pt x="280" y="507"/>
                  </a:lnTo>
                  <a:lnTo>
                    <a:pt x="268" y="508"/>
                  </a:lnTo>
                  <a:lnTo>
                    <a:pt x="255" y="509"/>
                  </a:lnTo>
                  <a:lnTo>
                    <a:pt x="255" y="509"/>
                  </a:lnTo>
                  <a:lnTo>
                    <a:pt x="241" y="508"/>
                  </a:lnTo>
                  <a:lnTo>
                    <a:pt x="229" y="507"/>
                  </a:lnTo>
                  <a:lnTo>
                    <a:pt x="216" y="506"/>
                  </a:lnTo>
                  <a:lnTo>
                    <a:pt x="204" y="504"/>
                  </a:lnTo>
                  <a:lnTo>
                    <a:pt x="191" y="501"/>
                  </a:lnTo>
                  <a:lnTo>
                    <a:pt x="179" y="498"/>
                  </a:lnTo>
                  <a:lnTo>
                    <a:pt x="167" y="494"/>
                  </a:lnTo>
                  <a:lnTo>
                    <a:pt x="156" y="488"/>
                  </a:lnTo>
                  <a:lnTo>
                    <a:pt x="133" y="478"/>
                  </a:lnTo>
                  <a:lnTo>
                    <a:pt x="113" y="465"/>
                  </a:lnTo>
                  <a:lnTo>
                    <a:pt x="93" y="451"/>
                  </a:lnTo>
                  <a:lnTo>
                    <a:pt x="75" y="434"/>
                  </a:lnTo>
                  <a:lnTo>
                    <a:pt x="59" y="416"/>
                  </a:lnTo>
                  <a:lnTo>
                    <a:pt x="44" y="396"/>
                  </a:lnTo>
                  <a:lnTo>
                    <a:pt x="31" y="375"/>
                  </a:lnTo>
                  <a:lnTo>
                    <a:pt x="21" y="354"/>
                  </a:lnTo>
                  <a:lnTo>
                    <a:pt x="16" y="341"/>
                  </a:lnTo>
                  <a:lnTo>
                    <a:pt x="12" y="330"/>
                  </a:lnTo>
                  <a:lnTo>
                    <a:pt x="8" y="318"/>
                  </a:lnTo>
                  <a:lnTo>
                    <a:pt x="5" y="306"/>
                  </a:lnTo>
                  <a:lnTo>
                    <a:pt x="3" y="293"/>
                  </a:lnTo>
                  <a:lnTo>
                    <a:pt x="1" y="280"/>
                  </a:lnTo>
                  <a:lnTo>
                    <a:pt x="0" y="268"/>
                  </a:lnTo>
                  <a:lnTo>
                    <a:pt x="0" y="254"/>
                  </a:lnTo>
                  <a:lnTo>
                    <a:pt x="0" y="2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5" name="Freeform 1968"/>
            <p:cNvSpPr>
              <a:spLocks/>
            </p:cNvSpPr>
            <p:nvPr/>
          </p:nvSpPr>
          <p:spPr bwMode="auto">
            <a:xfrm>
              <a:off x="943252" y="3452495"/>
              <a:ext cx="144213" cy="258382"/>
            </a:xfrm>
            <a:custGeom>
              <a:avLst/>
              <a:gdLst>
                <a:gd name="T0" fmla="*/ 601 w 721"/>
                <a:gd name="T1" fmla="*/ 1288 h 1288"/>
                <a:gd name="T2" fmla="*/ 628 w 721"/>
                <a:gd name="T3" fmla="*/ 1276 h 1288"/>
                <a:gd name="T4" fmla="*/ 628 w 721"/>
                <a:gd name="T5" fmla="*/ 1276 h 1288"/>
                <a:gd name="T6" fmla="*/ 641 w 721"/>
                <a:gd name="T7" fmla="*/ 1267 h 1288"/>
                <a:gd name="T8" fmla="*/ 654 w 721"/>
                <a:gd name="T9" fmla="*/ 1259 h 1288"/>
                <a:gd name="T10" fmla="*/ 665 w 721"/>
                <a:gd name="T11" fmla="*/ 1250 h 1288"/>
                <a:gd name="T12" fmla="*/ 677 w 721"/>
                <a:gd name="T13" fmla="*/ 1240 h 1288"/>
                <a:gd name="T14" fmla="*/ 687 w 721"/>
                <a:gd name="T15" fmla="*/ 1230 h 1288"/>
                <a:gd name="T16" fmla="*/ 695 w 721"/>
                <a:gd name="T17" fmla="*/ 1218 h 1288"/>
                <a:gd name="T18" fmla="*/ 702 w 721"/>
                <a:gd name="T19" fmla="*/ 1206 h 1288"/>
                <a:gd name="T20" fmla="*/ 708 w 721"/>
                <a:gd name="T21" fmla="*/ 1194 h 1288"/>
                <a:gd name="T22" fmla="*/ 713 w 721"/>
                <a:gd name="T23" fmla="*/ 1181 h 1288"/>
                <a:gd name="T24" fmla="*/ 718 w 721"/>
                <a:gd name="T25" fmla="*/ 1168 h 1288"/>
                <a:gd name="T26" fmla="*/ 720 w 721"/>
                <a:gd name="T27" fmla="*/ 1155 h 1288"/>
                <a:gd name="T28" fmla="*/ 721 w 721"/>
                <a:gd name="T29" fmla="*/ 1142 h 1288"/>
                <a:gd name="T30" fmla="*/ 721 w 721"/>
                <a:gd name="T31" fmla="*/ 1129 h 1288"/>
                <a:gd name="T32" fmla="*/ 719 w 721"/>
                <a:gd name="T33" fmla="*/ 1115 h 1288"/>
                <a:gd name="T34" fmla="*/ 714 w 721"/>
                <a:gd name="T35" fmla="*/ 1103 h 1288"/>
                <a:gd name="T36" fmla="*/ 709 w 721"/>
                <a:gd name="T37" fmla="*/ 1090 h 1288"/>
                <a:gd name="T38" fmla="*/ 224 w 721"/>
                <a:gd name="T39" fmla="*/ 71 h 1288"/>
                <a:gd name="T40" fmla="*/ 224 w 721"/>
                <a:gd name="T41" fmla="*/ 71 h 1288"/>
                <a:gd name="T42" fmla="*/ 218 w 721"/>
                <a:gd name="T43" fmla="*/ 59 h 1288"/>
                <a:gd name="T44" fmla="*/ 211 w 721"/>
                <a:gd name="T45" fmla="*/ 48 h 1288"/>
                <a:gd name="T46" fmla="*/ 202 w 721"/>
                <a:gd name="T47" fmla="*/ 38 h 1288"/>
                <a:gd name="T48" fmla="*/ 191 w 721"/>
                <a:gd name="T49" fmla="*/ 30 h 1288"/>
                <a:gd name="T50" fmla="*/ 181 w 721"/>
                <a:gd name="T51" fmla="*/ 22 h 1288"/>
                <a:gd name="T52" fmla="*/ 169 w 721"/>
                <a:gd name="T53" fmla="*/ 16 h 1288"/>
                <a:gd name="T54" fmla="*/ 157 w 721"/>
                <a:gd name="T55" fmla="*/ 11 h 1288"/>
                <a:gd name="T56" fmla="*/ 143 w 721"/>
                <a:gd name="T57" fmla="*/ 7 h 1288"/>
                <a:gd name="T58" fmla="*/ 130 w 721"/>
                <a:gd name="T59" fmla="*/ 3 h 1288"/>
                <a:gd name="T60" fmla="*/ 117 w 721"/>
                <a:gd name="T61" fmla="*/ 1 h 1288"/>
                <a:gd name="T62" fmla="*/ 102 w 721"/>
                <a:gd name="T63" fmla="*/ 0 h 1288"/>
                <a:gd name="T64" fmla="*/ 87 w 721"/>
                <a:gd name="T65" fmla="*/ 1 h 1288"/>
                <a:gd name="T66" fmla="*/ 73 w 721"/>
                <a:gd name="T67" fmla="*/ 3 h 1288"/>
                <a:gd name="T68" fmla="*/ 58 w 721"/>
                <a:gd name="T69" fmla="*/ 8 h 1288"/>
                <a:gd name="T70" fmla="*/ 43 w 721"/>
                <a:gd name="T71" fmla="*/ 12 h 1288"/>
                <a:gd name="T72" fmla="*/ 29 w 721"/>
                <a:gd name="T73" fmla="*/ 18 h 1288"/>
                <a:gd name="T74" fmla="*/ 0 w 721"/>
                <a:gd name="T75" fmla="*/ 32 h 1288"/>
                <a:gd name="T76" fmla="*/ 601 w 721"/>
                <a:gd name="T77" fmla="*/ 1288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1" h="1288">
                  <a:moveTo>
                    <a:pt x="601" y="1288"/>
                  </a:moveTo>
                  <a:lnTo>
                    <a:pt x="628" y="1276"/>
                  </a:lnTo>
                  <a:lnTo>
                    <a:pt x="628" y="1276"/>
                  </a:lnTo>
                  <a:lnTo>
                    <a:pt x="641" y="1267"/>
                  </a:lnTo>
                  <a:lnTo>
                    <a:pt x="654" y="1259"/>
                  </a:lnTo>
                  <a:lnTo>
                    <a:pt x="665" y="1250"/>
                  </a:lnTo>
                  <a:lnTo>
                    <a:pt x="677" y="1240"/>
                  </a:lnTo>
                  <a:lnTo>
                    <a:pt x="687" y="1230"/>
                  </a:lnTo>
                  <a:lnTo>
                    <a:pt x="695" y="1218"/>
                  </a:lnTo>
                  <a:lnTo>
                    <a:pt x="702" y="1206"/>
                  </a:lnTo>
                  <a:lnTo>
                    <a:pt x="708" y="1194"/>
                  </a:lnTo>
                  <a:lnTo>
                    <a:pt x="713" y="1181"/>
                  </a:lnTo>
                  <a:lnTo>
                    <a:pt x="718" y="1168"/>
                  </a:lnTo>
                  <a:lnTo>
                    <a:pt x="720" y="1155"/>
                  </a:lnTo>
                  <a:lnTo>
                    <a:pt x="721" y="1142"/>
                  </a:lnTo>
                  <a:lnTo>
                    <a:pt x="721" y="1129"/>
                  </a:lnTo>
                  <a:lnTo>
                    <a:pt x="719" y="1115"/>
                  </a:lnTo>
                  <a:lnTo>
                    <a:pt x="714" y="1103"/>
                  </a:lnTo>
                  <a:lnTo>
                    <a:pt x="709" y="1090"/>
                  </a:lnTo>
                  <a:lnTo>
                    <a:pt x="224" y="71"/>
                  </a:lnTo>
                  <a:lnTo>
                    <a:pt x="224" y="71"/>
                  </a:lnTo>
                  <a:lnTo>
                    <a:pt x="218" y="59"/>
                  </a:lnTo>
                  <a:lnTo>
                    <a:pt x="211" y="48"/>
                  </a:lnTo>
                  <a:lnTo>
                    <a:pt x="202" y="38"/>
                  </a:lnTo>
                  <a:lnTo>
                    <a:pt x="191" y="30"/>
                  </a:lnTo>
                  <a:lnTo>
                    <a:pt x="181" y="22"/>
                  </a:lnTo>
                  <a:lnTo>
                    <a:pt x="169" y="16"/>
                  </a:lnTo>
                  <a:lnTo>
                    <a:pt x="157" y="11"/>
                  </a:lnTo>
                  <a:lnTo>
                    <a:pt x="143" y="7"/>
                  </a:lnTo>
                  <a:lnTo>
                    <a:pt x="130" y="3"/>
                  </a:lnTo>
                  <a:lnTo>
                    <a:pt x="117" y="1"/>
                  </a:lnTo>
                  <a:lnTo>
                    <a:pt x="102" y="0"/>
                  </a:lnTo>
                  <a:lnTo>
                    <a:pt x="87" y="1"/>
                  </a:lnTo>
                  <a:lnTo>
                    <a:pt x="73" y="3"/>
                  </a:lnTo>
                  <a:lnTo>
                    <a:pt x="58" y="8"/>
                  </a:lnTo>
                  <a:lnTo>
                    <a:pt x="43" y="12"/>
                  </a:lnTo>
                  <a:lnTo>
                    <a:pt x="29" y="18"/>
                  </a:lnTo>
                  <a:lnTo>
                    <a:pt x="0" y="32"/>
                  </a:lnTo>
                  <a:lnTo>
                    <a:pt x="601" y="12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6" name="Freeform 1969"/>
            <p:cNvSpPr>
              <a:spLocks/>
            </p:cNvSpPr>
            <p:nvPr/>
          </p:nvSpPr>
          <p:spPr bwMode="auto">
            <a:xfrm>
              <a:off x="907198" y="3464512"/>
              <a:ext cx="145415" cy="258382"/>
            </a:xfrm>
            <a:custGeom>
              <a:avLst/>
              <a:gdLst>
                <a:gd name="T0" fmla="*/ 123 w 725"/>
                <a:gd name="T1" fmla="*/ 0 h 1287"/>
                <a:gd name="T2" fmla="*/ 94 w 725"/>
                <a:gd name="T3" fmla="*/ 13 h 1287"/>
                <a:gd name="T4" fmla="*/ 94 w 725"/>
                <a:gd name="T5" fmla="*/ 13 h 1287"/>
                <a:gd name="T6" fmla="*/ 80 w 725"/>
                <a:gd name="T7" fmla="*/ 20 h 1287"/>
                <a:gd name="T8" fmla="*/ 67 w 725"/>
                <a:gd name="T9" fmla="*/ 29 h 1287"/>
                <a:gd name="T10" fmla="*/ 56 w 725"/>
                <a:gd name="T11" fmla="*/ 39 h 1287"/>
                <a:gd name="T12" fmla="*/ 44 w 725"/>
                <a:gd name="T13" fmla="*/ 49 h 1287"/>
                <a:gd name="T14" fmla="*/ 35 w 725"/>
                <a:gd name="T15" fmla="*/ 59 h 1287"/>
                <a:gd name="T16" fmla="*/ 26 w 725"/>
                <a:gd name="T17" fmla="*/ 70 h 1287"/>
                <a:gd name="T18" fmla="*/ 19 w 725"/>
                <a:gd name="T19" fmla="*/ 82 h 1287"/>
                <a:gd name="T20" fmla="*/ 13 w 725"/>
                <a:gd name="T21" fmla="*/ 95 h 1287"/>
                <a:gd name="T22" fmla="*/ 7 w 725"/>
                <a:gd name="T23" fmla="*/ 108 h 1287"/>
                <a:gd name="T24" fmla="*/ 3 w 725"/>
                <a:gd name="T25" fmla="*/ 120 h 1287"/>
                <a:gd name="T26" fmla="*/ 1 w 725"/>
                <a:gd name="T27" fmla="*/ 134 h 1287"/>
                <a:gd name="T28" fmla="*/ 0 w 725"/>
                <a:gd name="T29" fmla="*/ 147 h 1287"/>
                <a:gd name="T30" fmla="*/ 1 w 725"/>
                <a:gd name="T31" fmla="*/ 160 h 1287"/>
                <a:gd name="T32" fmla="*/ 3 w 725"/>
                <a:gd name="T33" fmla="*/ 173 h 1287"/>
                <a:gd name="T34" fmla="*/ 6 w 725"/>
                <a:gd name="T35" fmla="*/ 186 h 1287"/>
                <a:gd name="T36" fmla="*/ 12 w 725"/>
                <a:gd name="T37" fmla="*/ 198 h 1287"/>
                <a:gd name="T38" fmla="*/ 497 w 725"/>
                <a:gd name="T39" fmla="*/ 1218 h 1287"/>
                <a:gd name="T40" fmla="*/ 497 w 725"/>
                <a:gd name="T41" fmla="*/ 1218 h 1287"/>
                <a:gd name="T42" fmla="*/ 503 w 725"/>
                <a:gd name="T43" fmla="*/ 1229 h 1287"/>
                <a:gd name="T44" fmla="*/ 511 w 725"/>
                <a:gd name="T45" fmla="*/ 1240 h 1287"/>
                <a:gd name="T46" fmla="*/ 519 w 725"/>
                <a:gd name="T47" fmla="*/ 1250 h 1287"/>
                <a:gd name="T48" fmla="*/ 530 w 725"/>
                <a:gd name="T49" fmla="*/ 1259 h 1287"/>
                <a:gd name="T50" fmla="*/ 541 w 725"/>
                <a:gd name="T51" fmla="*/ 1267 h 1287"/>
                <a:gd name="T52" fmla="*/ 552 w 725"/>
                <a:gd name="T53" fmla="*/ 1273 h 1287"/>
                <a:gd name="T54" fmla="*/ 564 w 725"/>
                <a:gd name="T55" fmla="*/ 1278 h 1287"/>
                <a:gd name="T56" fmla="*/ 578 w 725"/>
                <a:gd name="T57" fmla="*/ 1282 h 1287"/>
                <a:gd name="T58" fmla="*/ 591 w 725"/>
                <a:gd name="T59" fmla="*/ 1285 h 1287"/>
                <a:gd name="T60" fmla="*/ 605 w 725"/>
                <a:gd name="T61" fmla="*/ 1287 h 1287"/>
                <a:gd name="T62" fmla="*/ 620 w 725"/>
                <a:gd name="T63" fmla="*/ 1287 h 1287"/>
                <a:gd name="T64" fmla="*/ 634 w 725"/>
                <a:gd name="T65" fmla="*/ 1287 h 1287"/>
                <a:gd name="T66" fmla="*/ 648 w 725"/>
                <a:gd name="T67" fmla="*/ 1285 h 1287"/>
                <a:gd name="T68" fmla="*/ 664 w 725"/>
                <a:gd name="T69" fmla="*/ 1281 h 1287"/>
                <a:gd name="T70" fmla="*/ 678 w 725"/>
                <a:gd name="T71" fmla="*/ 1277 h 1287"/>
                <a:gd name="T72" fmla="*/ 692 w 725"/>
                <a:gd name="T73" fmla="*/ 1271 h 1287"/>
                <a:gd name="T74" fmla="*/ 725 w 725"/>
                <a:gd name="T75" fmla="*/ 1256 h 1287"/>
                <a:gd name="T76" fmla="*/ 123 w 725"/>
                <a:gd name="T77" fmla="*/ 0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5" h="1287">
                  <a:moveTo>
                    <a:pt x="123" y="0"/>
                  </a:moveTo>
                  <a:lnTo>
                    <a:pt x="94" y="13"/>
                  </a:lnTo>
                  <a:lnTo>
                    <a:pt x="94" y="13"/>
                  </a:lnTo>
                  <a:lnTo>
                    <a:pt x="80" y="20"/>
                  </a:lnTo>
                  <a:lnTo>
                    <a:pt x="67" y="29"/>
                  </a:lnTo>
                  <a:lnTo>
                    <a:pt x="56" y="39"/>
                  </a:lnTo>
                  <a:lnTo>
                    <a:pt x="44" y="49"/>
                  </a:lnTo>
                  <a:lnTo>
                    <a:pt x="35" y="59"/>
                  </a:lnTo>
                  <a:lnTo>
                    <a:pt x="26" y="70"/>
                  </a:lnTo>
                  <a:lnTo>
                    <a:pt x="19" y="82"/>
                  </a:lnTo>
                  <a:lnTo>
                    <a:pt x="13" y="95"/>
                  </a:lnTo>
                  <a:lnTo>
                    <a:pt x="7" y="108"/>
                  </a:lnTo>
                  <a:lnTo>
                    <a:pt x="3" y="120"/>
                  </a:lnTo>
                  <a:lnTo>
                    <a:pt x="1" y="134"/>
                  </a:lnTo>
                  <a:lnTo>
                    <a:pt x="0" y="147"/>
                  </a:lnTo>
                  <a:lnTo>
                    <a:pt x="1" y="160"/>
                  </a:lnTo>
                  <a:lnTo>
                    <a:pt x="3" y="173"/>
                  </a:lnTo>
                  <a:lnTo>
                    <a:pt x="6" y="186"/>
                  </a:lnTo>
                  <a:lnTo>
                    <a:pt x="12" y="198"/>
                  </a:lnTo>
                  <a:lnTo>
                    <a:pt x="497" y="1218"/>
                  </a:lnTo>
                  <a:lnTo>
                    <a:pt x="497" y="1218"/>
                  </a:lnTo>
                  <a:lnTo>
                    <a:pt x="503" y="1229"/>
                  </a:lnTo>
                  <a:lnTo>
                    <a:pt x="511" y="1240"/>
                  </a:lnTo>
                  <a:lnTo>
                    <a:pt x="519" y="1250"/>
                  </a:lnTo>
                  <a:lnTo>
                    <a:pt x="530" y="1259"/>
                  </a:lnTo>
                  <a:lnTo>
                    <a:pt x="541" y="1267"/>
                  </a:lnTo>
                  <a:lnTo>
                    <a:pt x="552" y="1273"/>
                  </a:lnTo>
                  <a:lnTo>
                    <a:pt x="564" y="1278"/>
                  </a:lnTo>
                  <a:lnTo>
                    <a:pt x="578" y="1282"/>
                  </a:lnTo>
                  <a:lnTo>
                    <a:pt x="591" y="1285"/>
                  </a:lnTo>
                  <a:lnTo>
                    <a:pt x="605" y="1287"/>
                  </a:lnTo>
                  <a:lnTo>
                    <a:pt x="620" y="1287"/>
                  </a:lnTo>
                  <a:lnTo>
                    <a:pt x="634" y="1287"/>
                  </a:lnTo>
                  <a:lnTo>
                    <a:pt x="648" y="1285"/>
                  </a:lnTo>
                  <a:lnTo>
                    <a:pt x="664" y="1281"/>
                  </a:lnTo>
                  <a:lnTo>
                    <a:pt x="678" y="1277"/>
                  </a:lnTo>
                  <a:lnTo>
                    <a:pt x="692" y="1271"/>
                  </a:lnTo>
                  <a:lnTo>
                    <a:pt x="725" y="1256"/>
                  </a:lnTo>
                  <a:lnTo>
                    <a:pt x="1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7" name="Freeform 1970"/>
            <p:cNvSpPr>
              <a:spLocks/>
            </p:cNvSpPr>
            <p:nvPr/>
          </p:nvSpPr>
          <p:spPr bwMode="auto">
            <a:xfrm>
              <a:off x="1014156" y="3719289"/>
              <a:ext cx="26439" cy="26439"/>
            </a:xfrm>
            <a:custGeom>
              <a:avLst/>
              <a:gdLst>
                <a:gd name="T0" fmla="*/ 133 w 133"/>
                <a:gd name="T1" fmla="*/ 66 h 132"/>
                <a:gd name="T2" fmla="*/ 133 w 133"/>
                <a:gd name="T3" fmla="*/ 66 h 132"/>
                <a:gd name="T4" fmla="*/ 132 w 133"/>
                <a:gd name="T5" fmla="*/ 59 h 132"/>
                <a:gd name="T6" fmla="*/ 131 w 133"/>
                <a:gd name="T7" fmla="*/ 53 h 132"/>
                <a:gd name="T8" fmla="*/ 130 w 133"/>
                <a:gd name="T9" fmla="*/ 46 h 132"/>
                <a:gd name="T10" fmla="*/ 127 w 133"/>
                <a:gd name="T11" fmla="*/ 40 h 132"/>
                <a:gd name="T12" fmla="*/ 124 w 133"/>
                <a:gd name="T13" fmla="*/ 35 h 132"/>
                <a:gd name="T14" fmla="*/ 121 w 133"/>
                <a:gd name="T15" fmla="*/ 28 h 132"/>
                <a:gd name="T16" fmla="*/ 113 w 133"/>
                <a:gd name="T17" fmla="*/ 19 h 132"/>
                <a:gd name="T18" fmla="*/ 103 w 133"/>
                <a:gd name="T19" fmla="*/ 11 h 132"/>
                <a:gd name="T20" fmla="*/ 98 w 133"/>
                <a:gd name="T21" fmla="*/ 8 h 132"/>
                <a:gd name="T22" fmla="*/ 92 w 133"/>
                <a:gd name="T23" fmla="*/ 5 h 132"/>
                <a:gd name="T24" fmla="*/ 86 w 133"/>
                <a:gd name="T25" fmla="*/ 3 h 132"/>
                <a:gd name="T26" fmla="*/ 79 w 133"/>
                <a:gd name="T27" fmla="*/ 1 h 132"/>
                <a:gd name="T28" fmla="*/ 73 w 133"/>
                <a:gd name="T29" fmla="*/ 0 h 132"/>
                <a:gd name="T30" fmla="*/ 66 w 133"/>
                <a:gd name="T31" fmla="*/ 0 h 132"/>
                <a:gd name="T32" fmla="*/ 66 w 133"/>
                <a:gd name="T33" fmla="*/ 0 h 132"/>
                <a:gd name="T34" fmla="*/ 59 w 133"/>
                <a:gd name="T35" fmla="*/ 0 h 132"/>
                <a:gd name="T36" fmla="*/ 53 w 133"/>
                <a:gd name="T37" fmla="*/ 1 h 132"/>
                <a:gd name="T38" fmla="*/ 47 w 133"/>
                <a:gd name="T39" fmla="*/ 3 h 132"/>
                <a:gd name="T40" fmla="*/ 41 w 133"/>
                <a:gd name="T41" fmla="*/ 5 h 132"/>
                <a:gd name="T42" fmla="*/ 35 w 133"/>
                <a:gd name="T43" fmla="*/ 8 h 132"/>
                <a:gd name="T44" fmla="*/ 29 w 133"/>
                <a:gd name="T45" fmla="*/ 11 h 132"/>
                <a:gd name="T46" fmla="*/ 19 w 133"/>
                <a:gd name="T47" fmla="*/ 19 h 132"/>
                <a:gd name="T48" fmla="*/ 11 w 133"/>
                <a:gd name="T49" fmla="*/ 28 h 132"/>
                <a:gd name="T50" fmla="*/ 8 w 133"/>
                <a:gd name="T51" fmla="*/ 35 h 132"/>
                <a:gd name="T52" fmla="*/ 5 w 133"/>
                <a:gd name="T53" fmla="*/ 40 h 132"/>
                <a:gd name="T54" fmla="*/ 3 w 133"/>
                <a:gd name="T55" fmla="*/ 46 h 132"/>
                <a:gd name="T56" fmla="*/ 2 w 133"/>
                <a:gd name="T57" fmla="*/ 53 h 132"/>
                <a:gd name="T58" fmla="*/ 1 w 133"/>
                <a:gd name="T59" fmla="*/ 59 h 132"/>
                <a:gd name="T60" fmla="*/ 0 w 133"/>
                <a:gd name="T61" fmla="*/ 66 h 132"/>
                <a:gd name="T62" fmla="*/ 0 w 133"/>
                <a:gd name="T63" fmla="*/ 66 h 132"/>
                <a:gd name="T64" fmla="*/ 1 w 133"/>
                <a:gd name="T65" fmla="*/ 72 h 132"/>
                <a:gd name="T66" fmla="*/ 2 w 133"/>
                <a:gd name="T67" fmla="*/ 79 h 132"/>
                <a:gd name="T68" fmla="*/ 3 w 133"/>
                <a:gd name="T69" fmla="*/ 86 h 132"/>
                <a:gd name="T70" fmla="*/ 5 w 133"/>
                <a:gd name="T71" fmla="*/ 92 h 132"/>
                <a:gd name="T72" fmla="*/ 8 w 133"/>
                <a:gd name="T73" fmla="*/ 97 h 132"/>
                <a:gd name="T74" fmla="*/ 11 w 133"/>
                <a:gd name="T75" fmla="*/ 103 h 132"/>
                <a:gd name="T76" fmla="*/ 19 w 133"/>
                <a:gd name="T77" fmla="*/ 112 h 132"/>
                <a:gd name="T78" fmla="*/ 29 w 133"/>
                <a:gd name="T79" fmla="*/ 120 h 132"/>
                <a:gd name="T80" fmla="*/ 35 w 133"/>
                <a:gd name="T81" fmla="*/ 123 h 132"/>
                <a:gd name="T82" fmla="*/ 41 w 133"/>
                <a:gd name="T83" fmla="*/ 127 h 132"/>
                <a:gd name="T84" fmla="*/ 47 w 133"/>
                <a:gd name="T85" fmla="*/ 129 h 132"/>
                <a:gd name="T86" fmla="*/ 53 w 133"/>
                <a:gd name="T87" fmla="*/ 131 h 132"/>
                <a:gd name="T88" fmla="*/ 59 w 133"/>
                <a:gd name="T89" fmla="*/ 132 h 132"/>
                <a:gd name="T90" fmla="*/ 66 w 133"/>
                <a:gd name="T91" fmla="*/ 132 h 132"/>
                <a:gd name="T92" fmla="*/ 66 w 133"/>
                <a:gd name="T93" fmla="*/ 132 h 132"/>
                <a:gd name="T94" fmla="*/ 73 w 133"/>
                <a:gd name="T95" fmla="*/ 132 h 132"/>
                <a:gd name="T96" fmla="*/ 79 w 133"/>
                <a:gd name="T97" fmla="*/ 131 h 132"/>
                <a:gd name="T98" fmla="*/ 86 w 133"/>
                <a:gd name="T99" fmla="*/ 129 h 132"/>
                <a:gd name="T100" fmla="*/ 92 w 133"/>
                <a:gd name="T101" fmla="*/ 127 h 132"/>
                <a:gd name="T102" fmla="*/ 98 w 133"/>
                <a:gd name="T103" fmla="*/ 123 h 132"/>
                <a:gd name="T104" fmla="*/ 103 w 133"/>
                <a:gd name="T105" fmla="*/ 120 h 132"/>
                <a:gd name="T106" fmla="*/ 113 w 133"/>
                <a:gd name="T107" fmla="*/ 112 h 132"/>
                <a:gd name="T108" fmla="*/ 121 w 133"/>
                <a:gd name="T109" fmla="*/ 103 h 132"/>
                <a:gd name="T110" fmla="*/ 124 w 133"/>
                <a:gd name="T111" fmla="*/ 97 h 132"/>
                <a:gd name="T112" fmla="*/ 127 w 133"/>
                <a:gd name="T113" fmla="*/ 92 h 132"/>
                <a:gd name="T114" fmla="*/ 130 w 133"/>
                <a:gd name="T115" fmla="*/ 86 h 132"/>
                <a:gd name="T116" fmla="*/ 131 w 133"/>
                <a:gd name="T117" fmla="*/ 79 h 132"/>
                <a:gd name="T118" fmla="*/ 132 w 133"/>
                <a:gd name="T119" fmla="*/ 72 h 132"/>
                <a:gd name="T120" fmla="*/ 133 w 133"/>
                <a:gd name="T121" fmla="*/ 66 h 132"/>
                <a:gd name="T122" fmla="*/ 133 w 133"/>
                <a:gd name="T123" fmla="*/ 6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132">
                  <a:moveTo>
                    <a:pt x="133" y="66"/>
                  </a:moveTo>
                  <a:lnTo>
                    <a:pt x="133" y="66"/>
                  </a:lnTo>
                  <a:lnTo>
                    <a:pt x="132" y="59"/>
                  </a:lnTo>
                  <a:lnTo>
                    <a:pt x="131" y="53"/>
                  </a:lnTo>
                  <a:lnTo>
                    <a:pt x="130" y="46"/>
                  </a:lnTo>
                  <a:lnTo>
                    <a:pt x="127" y="40"/>
                  </a:lnTo>
                  <a:lnTo>
                    <a:pt x="124" y="35"/>
                  </a:lnTo>
                  <a:lnTo>
                    <a:pt x="121" y="28"/>
                  </a:lnTo>
                  <a:lnTo>
                    <a:pt x="113" y="19"/>
                  </a:lnTo>
                  <a:lnTo>
                    <a:pt x="103" y="11"/>
                  </a:lnTo>
                  <a:lnTo>
                    <a:pt x="98" y="8"/>
                  </a:lnTo>
                  <a:lnTo>
                    <a:pt x="92" y="5"/>
                  </a:lnTo>
                  <a:lnTo>
                    <a:pt x="86" y="3"/>
                  </a:lnTo>
                  <a:lnTo>
                    <a:pt x="79" y="1"/>
                  </a:lnTo>
                  <a:lnTo>
                    <a:pt x="73" y="0"/>
                  </a:lnTo>
                  <a:lnTo>
                    <a:pt x="66" y="0"/>
                  </a:lnTo>
                  <a:lnTo>
                    <a:pt x="66" y="0"/>
                  </a:lnTo>
                  <a:lnTo>
                    <a:pt x="59" y="0"/>
                  </a:lnTo>
                  <a:lnTo>
                    <a:pt x="53" y="1"/>
                  </a:lnTo>
                  <a:lnTo>
                    <a:pt x="47" y="3"/>
                  </a:lnTo>
                  <a:lnTo>
                    <a:pt x="41" y="5"/>
                  </a:lnTo>
                  <a:lnTo>
                    <a:pt x="35" y="8"/>
                  </a:lnTo>
                  <a:lnTo>
                    <a:pt x="29" y="11"/>
                  </a:lnTo>
                  <a:lnTo>
                    <a:pt x="19" y="19"/>
                  </a:lnTo>
                  <a:lnTo>
                    <a:pt x="11" y="28"/>
                  </a:lnTo>
                  <a:lnTo>
                    <a:pt x="8" y="35"/>
                  </a:lnTo>
                  <a:lnTo>
                    <a:pt x="5" y="40"/>
                  </a:lnTo>
                  <a:lnTo>
                    <a:pt x="3" y="46"/>
                  </a:lnTo>
                  <a:lnTo>
                    <a:pt x="2" y="53"/>
                  </a:lnTo>
                  <a:lnTo>
                    <a:pt x="1" y="59"/>
                  </a:lnTo>
                  <a:lnTo>
                    <a:pt x="0" y="66"/>
                  </a:lnTo>
                  <a:lnTo>
                    <a:pt x="0" y="66"/>
                  </a:lnTo>
                  <a:lnTo>
                    <a:pt x="1" y="72"/>
                  </a:lnTo>
                  <a:lnTo>
                    <a:pt x="2" y="79"/>
                  </a:lnTo>
                  <a:lnTo>
                    <a:pt x="3" y="86"/>
                  </a:lnTo>
                  <a:lnTo>
                    <a:pt x="5" y="92"/>
                  </a:lnTo>
                  <a:lnTo>
                    <a:pt x="8" y="97"/>
                  </a:lnTo>
                  <a:lnTo>
                    <a:pt x="11" y="103"/>
                  </a:lnTo>
                  <a:lnTo>
                    <a:pt x="19" y="112"/>
                  </a:lnTo>
                  <a:lnTo>
                    <a:pt x="29" y="120"/>
                  </a:lnTo>
                  <a:lnTo>
                    <a:pt x="35" y="123"/>
                  </a:lnTo>
                  <a:lnTo>
                    <a:pt x="41" y="127"/>
                  </a:lnTo>
                  <a:lnTo>
                    <a:pt x="47" y="129"/>
                  </a:lnTo>
                  <a:lnTo>
                    <a:pt x="53" y="131"/>
                  </a:lnTo>
                  <a:lnTo>
                    <a:pt x="59" y="132"/>
                  </a:lnTo>
                  <a:lnTo>
                    <a:pt x="66" y="132"/>
                  </a:lnTo>
                  <a:lnTo>
                    <a:pt x="66" y="132"/>
                  </a:lnTo>
                  <a:lnTo>
                    <a:pt x="73" y="132"/>
                  </a:lnTo>
                  <a:lnTo>
                    <a:pt x="79" y="131"/>
                  </a:lnTo>
                  <a:lnTo>
                    <a:pt x="86" y="129"/>
                  </a:lnTo>
                  <a:lnTo>
                    <a:pt x="92" y="127"/>
                  </a:lnTo>
                  <a:lnTo>
                    <a:pt x="98" y="123"/>
                  </a:lnTo>
                  <a:lnTo>
                    <a:pt x="103" y="120"/>
                  </a:lnTo>
                  <a:lnTo>
                    <a:pt x="113" y="112"/>
                  </a:lnTo>
                  <a:lnTo>
                    <a:pt x="121" y="103"/>
                  </a:lnTo>
                  <a:lnTo>
                    <a:pt x="124" y="97"/>
                  </a:lnTo>
                  <a:lnTo>
                    <a:pt x="127" y="92"/>
                  </a:lnTo>
                  <a:lnTo>
                    <a:pt x="130" y="86"/>
                  </a:lnTo>
                  <a:lnTo>
                    <a:pt x="131" y="79"/>
                  </a:lnTo>
                  <a:lnTo>
                    <a:pt x="132" y="72"/>
                  </a:lnTo>
                  <a:lnTo>
                    <a:pt x="133" y="66"/>
                  </a:lnTo>
                  <a:lnTo>
                    <a:pt x="133"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8" name="Freeform 1971"/>
            <p:cNvSpPr>
              <a:spLocks/>
            </p:cNvSpPr>
            <p:nvPr/>
          </p:nvSpPr>
          <p:spPr bwMode="auto">
            <a:xfrm>
              <a:off x="855522" y="3376782"/>
              <a:ext cx="175459" cy="342507"/>
            </a:xfrm>
            <a:custGeom>
              <a:avLst/>
              <a:gdLst>
                <a:gd name="T0" fmla="*/ 876 w 876"/>
                <a:gd name="T1" fmla="*/ 1684 h 1710"/>
                <a:gd name="T2" fmla="*/ 823 w 876"/>
                <a:gd name="T3" fmla="*/ 1710 h 1710"/>
                <a:gd name="T4" fmla="*/ 0 w 876"/>
                <a:gd name="T5" fmla="*/ 25 h 1710"/>
                <a:gd name="T6" fmla="*/ 52 w 876"/>
                <a:gd name="T7" fmla="*/ 0 h 1710"/>
                <a:gd name="T8" fmla="*/ 876 w 876"/>
                <a:gd name="T9" fmla="*/ 1684 h 1710"/>
              </a:gdLst>
              <a:ahLst/>
              <a:cxnLst>
                <a:cxn ang="0">
                  <a:pos x="T0" y="T1"/>
                </a:cxn>
                <a:cxn ang="0">
                  <a:pos x="T2" y="T3"/>
                </a:cxn>
                <a:cxn ang="0">
                  <a:pos x="T4" y="T5"/>
                </a:cxn>
                <a:cxn ang="0">
                  <a:pos x="T6" y="T7"/>
                </a:cxn>
                <a:cxn ang="0">
                  <a:pos x="T8" y="T9"/>
                </a:cxn>
              </a:cxnLst>
              <a:rect l="0" t="0" r="r" b="b"/>
              <a:pathLst>
                <a:path w="876" h="1710">
                  <a:moveTo>
                    <a:pt x="876" y="1684"/>
                  </a:moveTo>
                  <a:lnTo>
                    <a:pt x="823" y="1710"/>
                  </a:lnTo>
                  <a:lnTo>
                    <a:pt x="0" y="25"/>
                  </a:lnTo>
                  <a:lnTo>
                    <a:pt x="52" y="0"/>
                  </a:lnTo>
                  <a:lnTo>
                    <a:pt x="876" y="16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9" name="Freeform 1972"/>
            <p:cNvSpPr>
              <a:spLocks/>
            </p:cNvSpPr>
            <p:nvPr/>
          </p:nvSpPr>
          <p:spPr bwMode="auto">
            <a:xfrm>
              <a:off x="799038" y="3290254"/>
              <a:ext cx="88931" cy="145415"/>
            </a:xfrm>
            <a:custGeom>
              <a:avLst/>
              <a:gdLst>
                <a:gd name="T0" fmla="*/ 395 w 442"/>
                <a:gd name="T1" fmla="*/ 704 h 730"/>
                <a:gd name="T2" fmla="*/ 395 w 442"/>
                <a:gd name="T3" fmla="*/ 704 h 730"/>
                <a:gd name="T4" fmla="*/ 404 w 442"/>
                <a:gd name="T5" fmla="*/ 696 h 730"/>
                <a:gd name="T6" fmla="*/ 413 w 442"/>
                <a:gd name="T7" fmla="*/ 687 h 730"/>
                <a:gd name="T8" fmla="*/ 420 w 442"/>
                <a:gd name="T9" fmla="*/ 678 h 730"/>
                <a:gd name="T10" fmla="*/ 427 w 442"/>
                <a:gd name="T11" fmla="*/ 667 h 730"/>
                <a:gd name="T12" fmla="*/ 432 w 442"/>
                <a:gd name="T13" fmla="*/ 656 h 730"/>
                <a:gd name="T14" fmla="*/ 436 w 442"/>
                <a:gd name="T15" fmla="*/ 645 h 730"/>
                <a:gd name="T16" fmla="*/ 439 w 442"/>
                <a:gd name="T17" fmla="*/ 634 h 730"/>
                <a:gd name="T18" fmla="*/ 441 w 442"/>
                <a:gd name="T19" fmla="*/ 622 h 730"/>
                <a:gd name="T20" fmla="*/ 442 w 442"/>
                <a:gd name="T21" fmla="*/ 610 h 730"/>
                <a:gd name="T22" fmla="*/ 441 w 442"/>
                <a:gd name="T23" fmla="*/ 599 h 730"/>
                <a:gd name="T24" fmla="*/ 440 w 442"/>
                <a:gd name="T25" fmla="*/ 587 h 730"/>
                <a:gd name="T26" fmla="*/ 438 w 442"/>
                <a:gd name="T27" fmla="*/ 575 h 730"/>
                <a:gd name="T28" fmla="*/ 434 w 442"/>
                <a:gd name="T29" fmla="*/ 564 h 730"/>
                <a:gd name="T30" fmla="*/ 429 w 442"/>
                <a:gd name="T31" fmla="*/ 553 h 730"/>
                <a:gd name="T32" fmla="*/ 423 w 442"/>
                <a:gd name="T33" fmla="*/ 542 h 730"/>
                <a:gd name="T34" fmla="*/ 416 w 442"/>
                <a:gd name="T35" fmla="*/ 531 h 730"/>
                <a:gd name="T36" fmla="*/ 3 w 442"/>
                <a:gd name="T37" fmla="*/ 3 h 730"/>
                <a:gd name="T38" fmla="*/ 3 w 442"/>
                <a:gd name="T39" fmla="*/ 3 h 730"/>
                <a:gd name="T40" fmla="*/ 0 w 442"/>
                <a:gd name="T41" fmla="*/ 0 h 730"/>
                <a:gd name="T42" fmla="*/ 84 w 442"/>
                <a:gd name="T43" fmla="*/ 483 h 730"/>
                <a:gd name="T44" fmla="*/ 223 w 442"/>
                <a:gd name="T45" fmla="*/ 683 h 730"/>
                <a:gd name="T46" fmla="*/ 223 w 442"/>
                <a:gd name="T47" fmla="*/ 683 h 730"/>
                <a:gd name="T48" fmla="*/ 231 w 442"/>
                <a:gd name="T49" fmla="*/ 693 h 730"/>
                <a:gd name="T50" fmla="*/ 239 w 442"/>
                <a:gd name="T51" fmla="*/ 701 h 730"/>
                <a:gd name="T52" fmla="*/ 249 w 442"/>
                <a:gd name="T53" fmla="*/ 708 h 730"/>
                <a:gd name="T54" fmla="*/ 259 w 442"/>
                <a:gd name="T55" fmla="*/ 714 h 730"/>
                <a:gd name="T56" fmla="*/ 270 w 442"/>
                <a:gd name="T57" fmla="*/ 720 h 730"/>
                <a:gd name="T58" fmla="*/ 281 w 442"/>
                <a:gd name="T59" fmla="*/ 725 h 730"/>
                <a:gd name="T60" fmla="*/ 292 w 442"/>
                <a:gd name="T61" fmla="*/ 728 h 730"/>
                <a:gd name="T62" fmla="*/ 304 w 442"/>
                <a:gd name="T63" fmla="*/ 730 h 730"/>
                <a:gd name="T64" fmla="*/ 316 w 442"/>
                <a:gd name="T65" fmla="*/ 730 h 730"/>
                <a:gd name="T66" fmla="*/ 328 w 442"/>
                <a:gd name="T67" fmla="*/ 730 h 730"/>
                <a:gd name="T68" fmla="*/ 339 w 442"/>
                <a:gd name="T69" fmla="*/ 729 h 730"/>
                <a:gd name="T70" fmla="*/ 351 w 442"/>
                <a:gd name="T71" fmla="*/ 726 h 730"/>
                <a:gd name="T72" fmla="*/ 363 w 442"/>
                <a:gd name="T73" fmla="*/ 722 h 730"/>
                <a:gd name="T74" fmla="*/ 374 w 442"/>
                <a:gd name="T75" fmla="*/ 717 h 730"/>
                <a:gd name="T76" fmla="*/ 384 w 442"/>
                <a:gd name="T77" fmla="*/ 711 h 730"/>
                <a:gd name="T78" fmla="*/ 395 w 442"/>
                <a:gd name="T79" fmla="*/ 704 h 730"/>
                <a:gd name="T80" fmla="*/ 395 w 442"/>
                <a:gd name="T81" fmla="*/ 704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42" h="730">
                  <a:moveTo>
                    <a:pt x="395" y="704"/>
                  </a:moveTo>
                  <a:lnTo>
                    <a:pt x="395" y="704"/>
                  </a:lnTo>
                  <a:lnTo>
                    <a:pt x="404" y="696"/>
                  </a:lnTo>
                  <a:lnTo>
                    <a:pt x="413" y="687"/>
                  </a:lnTo>
                  <a:lnTo>
                    <a:pt x="420" y="678"/>
                  </a:lnTo>
                  <a:lnTo>
                    <a:pt x="427" y="667"/>
                  </a:lnTo>
                  <a:lnTo>
                    <a:pt x="432" y="656"/>
                  </a:lnTo>
                  <a:lnTo>
                    <a:pt x="436" y="645"/>
                  </a:lnTo>
                  <a:lnTo>
                    <a:pt x="439" y="634"/>
                  </a:lnTo>
                  <a:lnTo>
                    <a:pt x="441" y="622"/>
                  </a:lnTo>
                  <a:lnTo>
                    <a:pt x="442" y="610"/>
                  </a:lnTo>
                  <a:lnTo>
                    <a:pt x="441" y="599"/>
                  </a:lnTo>
                  <a:lnTo>
                    <a:pt x="440" y="587"/>
                  </a:lnTo>
                  <a:lnTo>
                    <a:pt x="438" y="575"/>
                  </a:lnTo>
                  <a:lnTo>
                    <a:pt x="434" y="564"/>
                  </a:lnTo>
                  <a:lnTo>
                    <a:pt x="429" y="553"/>
                  </a:lnTo>
                  <a:lnTo>
                    <a:pt x="423" y="542"/>
                  </a:lnTo>
                  <a:lnTo>
                    <a:pt x="416" y="531"/>
                  </a:lnTo>
                  <a:lnTo>
                    <a:pt x="3" y="3"/>
                  </a:lnTo>
                  <a:lnTo>
                    <a:pt x="3" y="3"/>
                  </a:lnTo>
                  <a:lnTo>
                    <a:pt x="0" y="0"/>
                  </a:lnTo>
                  <a:lnTo>
                    <a:pt x="84" y="483"/>
                  </a:lnTo>
                  <a:lnTo>
                    <a:pt x="223" y="683"/>
                  </a:lnTo>
                  <a:lnTo>
                    <a:pt x="223" y="683"/>
                  </a:lnTo>
                  <a:lnTo>
                    <a:pt x="231" y="693"/>
                  </a:lnTo>
                  <a:lnTo>
                    <a:pt x="239" y="701"/>
                  </a:lnTo>
                  <a:lnTo>
                    <a:pt x="249" y="708"/>
                  </a:lnTo>
                  <a:lnTo>
                    <a:pt x="259" y="714"/>
                  </a:lnTo>
                  <a:lnTo>
                    <a:pt x="270" y="720"/>
                  </a:lnTo>
                  <a:lnTo>
                    <a:pt x="281" y="725"/>
                  </a:lnTo>
                  <a:lnTo>
                    <a:pt x="292" y="728"/>
                  </a:lnTo>
                  <a:lnTo>
                    <a:pt x="304" y="730"/>
                  </a:lnTo>
                  <a:lnTo>
                    <a:pt x="316" y="730"/>
                  </a:lnTo>
                  <a:lnTo>
                    <a:pt x="328" y="730"/>
                  </a:lnTo>
                  <a:lnTo>
                    <a:pt x="339" y="729"/>
                  </a:lnTo>
                  <a:lnTo>
                    <a:pt x="351" y="726"/>
                  </a:lnTo>
                  <a:lnTo>
                    <a:pt x="363" y="722"/>
                  </a:lnTo>
                  <a:lnTo>
                    <a:pt x="374" y="717"/>
                  </a:lnTo>
                  <a:lnTo>
                    <a:pt x="384" y="711"/>
                  </a:lnTo>
                  <a:lnTo>
                    <a:pt x="395" y="704"/>
                  </a:lnTo>
                  <a:lnTo>
                    <a:pt x="395" y="7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50" name="Group 949"/>
            <p:cNvGrpSpPr/>
            <p:nvPr/>
          </p:nvGrpSpPr>
          <p:grpSpPr>
            <a:xfrm>
              <a:off x="311117" y="3119602"/>
              <a:ext cx="275207" cy="617713"/>
              <a:chOff x="442913" y="2917825"/>
              <a:chExt cx="363537" cy="815975"/>
            </a:xfrm>
            <a:solidFill>
              <a:schemeClr val="accent5">
                <a:lumMod val="75000"/>
              </a:schemeClr>
            </a:solidFill>
          </p:grpSpPr>
          <p:sp>
            <p:nvSpPr>
              <p:cNvPr id="968" name="Freeform 1973"/>
              <p:cNvSpPr>
                <a:spLocks/>
              </p:cNvSpPr>
              <p:nvPr/>
            </p:nvSpPr>
            <p:spPr bwMode="auto">
              <a:xfrm>
                <a:off x="463550" y="2917825"/>
                <a:ext cx="247650" cy="30163"/>
              </a:xfrm>
              <a:custGeom>
                <a:avLst/>
                <a:gdLst>
                  <a:gd name="T0" fmla="*/ 936 w 936"/>
                  <a:gd name="T1" fmla="*/ 115 h 115"/>
                  <a:gd name="T2" fmla="*/ 936 w 936"/>
                  <a:gd name="T3" fmla="*/ 115 h 115"/>
                  <a:gd name="T4" fmla="*/ 929 w 936"/>
                  <a:gd name="T5" fmla="*/ 67 h 115"/>
                  <a:gd name="T6" fmla="*/ 926 w 936"/>
                  <a:gd name="T7" fmla="*/ 47 h 115"/>
                  <a:gd name="T8" fmla="*/ 922 w 936"/>
                  <a:gd name="T9" fmla="*/ 31 h 115"/>
                  <a:gd name="T10" fmla="*/ 919 w 936"/>
                  <a:gd name="T11" fmla="*/ 17 h 115"/>
                  <a:gd name="T12" fmla="*/ 915 w 936"/>
                  <a:gd name="T13" fmla="*/ 8 h 115"/>
                  <a:gd name="T14" fmla="*/ 912 w 936"/>
                  <a:gd name="T15" fmla="*/ 2 h 115"/>
                  <a:gd name="T16" fmla="*/ 910 w 936"/>
                  <a:gd name="T17" fmla="*/ 1 h 115"/>
                  <a:gd name="T18" fmla="*/ 908 w 936"/>
                  <a:gd name="T19" fmla="*/ 0 h 115"/>
                  <a:gd name="T20" fmla="*/ 29 w 936"/>
                  <a:gd name="T21" fmla="*/ 0 h 115"/>
                  <a:gd name="T22" fmla="*/ 29 w 936"/>
                  <a:gd name="T23" fmla="*/ 0 h 115"/>
                  <a:gd name="T24" fmla="*/ 27 w 936"/>
                  <a:gd name="T25" fmla="*/ 1 h 115"/>
                  <a:gd name="T26" fmla="*/ 25 w 936"/>
                  <a:gd name="T27" fmla="*/ 2 h 115"/>
                  <a:gd name="T28" fmla="*/ 22 w 936"/>
                  <a:gd name="T29" fmla="*/ 8 h 115"/>
                  <a:gd name="T30" fmla="*/ 18 w 936"/>
                  <a:gd name="T31" fmla="*/ 17 h 115"/>
                  <a:gd name="T32" fmla="*/ 14 w 936"/>
                  <a:gd name="T33" fmla="*/ 31 h 115"/>
                  <a:gd name="T34" fmla="*/ 11 w 936"/>
                  <a:gd name="T35" fmla="*/ 47 h 115"/>
                  <a:gd name="T36" fmla="*/ 8 w 936"/>
                  <a:gd name="T37" fmla="*/ 67 h 115"/>
                  <a:gd name="T38" fmla="*/ 0 w 936"/>
                  <a:gd name="T39" fmla="*/ 115 h 115"/>
                  <a:gd name="T40" fmla="*/ 936 w 936"/>
                  <a:gd name="T4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6" h="115">
                    <a:moveTo>
                      <a:pt x="936" y="115"/>
                    </a:moveTo>
                    <a:lnTo>
                      <a:pt x="936" y="115"/>
                    </a:lnTo>
                    <a:lnTo>
                      <a:pt x="929" y="67"/>
                    </a:lnTo>
                    <a:lnTo>
                      <a:pt x="926" y="47"/>
                    </a:lnTo>
                    <a:lnTo>
                      <a:pt x="922" y="31"/>
                    </a:lnTo>
                    <a:lnTo>
                      <a:pt x="919" y="17"/>
                    </a:lnTo>
                    <a:lnTo>
                      <a:pt x="915" y="8"/>
                    </a:lnTo>
                    <a:lnTo>
                      <a:pt x="912" y="2"/>
                    </a:lnTo>
                    <a:lnTo>
                      <a:pt x="910" y="1"/>
                    </a:lnTo>
                    <a:lnTo>
                      <a:pt x="908" y="0"/>
                    </a:lnTo>
                    <a:lnTo>
                      <a:pt x="29" y="0"/>
                    </a:lnTo>
                    <a:lnTo>
                      <a:pt x="29" y="0"/>
                    </a:lnTo>
                    <a:lnTo>
                      <a:pt x="27" y="1"/>
                    </a:lnTo>
                    <a:lnTo>
                      <a:pt x="25" y="2"/>
                    </a:lnTo>
                    <a:lnTo>
                      <a:pt x="22" y="8"/>
                    </a:lnTo>
                    <a:lnTo>
                      <a:pt x="18" y="17"/>
                    </a:lnTo>
                    <a:lnTo>
                      <a:pt x="14" y="31"/>
                    </a:lnTo>
                    <a:lnTo>
                      <a:pt x="11" y="47"/>
                    </a:lnTo>
                    <a:lnTo>
                      <a:pt x="8" y="67"/>
                    </a:lnTo>
                    <a:lnTo>
                      <a:pt x="0" y="115"/>
                    </a:lnTo>
                    <a:lnTo>
                      <a:pt x="936"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69" name="Freeform 1974"/>
              <p:cNvSpPr>
                <a:spLocks/>
              </p:cNvSpPr>
              <p:nvPr/>
            </p:nvSpPr>
            <p:spPr bwMode="auto">
              <a:xfrm>
                <a:off x="442913" y="2968625"/>
                <a:ext cx="290513" cy="765175"/>
              </a:xfrm>
              <a:custGeom>
                <a:avLst/>
                <a:gdLst>
                  <a:gd name="T0" fmla="*/ 72 w 1097"/>
                  <a:gd name="T1" fmla="*/ 0 h 2891"/>
                  <a:gd name="T2" fmla="*/ 72 w 1097"/>
                  <a:gd name="T3" fmla="*/ 0 h 2891"/>
                  <a:gd name="T4" fmla="*/ 64 w 1097"/>
                  <a:gd name="T5" fmla="*/ 87 h 2891"/>
                  <a:gd name="T6" fmla="*/ 57 w 1097"/>
                  <a:gd name="T7" fmla="*/ 184 h 2891"/>
                  <a:gd name="T8" fmla="*/ 50 w 1097"/>
                  <a:gd name="T9" fmla="*/ 290 h 2891"/>
                  <a:gd name="T10" fmla="*/ 43 w 1097"/>
                  <a:gd name="T11" fmla="*/ 403 h 2891"/>
                  <a:gd name="T12" fmla="*/ 30 w 1097"/>
                  <a:gd name="T13" fmla="*/ 637 h 2891"/>
                  <a:gd name="T14" fmla="*/ 20 w 1097"/>
                  <a:gd name="T15" fmla="*/ 870 h 2891"/>
                  <a:gd name="T16" fmla="*/ 11 w 1097"/>
                  <a:gd name="T17" fmla="*/ 1083 h 2891"/>
                  <a:gd name="T18" fmla="*/ 5 w 1097"/>
                  <a:gd name="T19" fmla="*/ 1258 h 2891"/>
                  <a:gd name="T20" fmla="*/ 0 w 1097"/>
                  <a:gd name="T21" fmla="*/ 1419 h 2891"/>
                  <a:gd name="T22" fmla="*/ 0 w 1097"/>
                  <a:gd name="T23" fmla="*/ 1419 h 2891"/>
                  <a:gd name="T24" fmla="*/ 2 w 1097"/>
                  <a:gd name="T25" fmla="*/ 1499 h 2891"/>
                  <a:gd name="T26" fmla="*/ 8 w 1097"/>
                  <a:gd name="T27" fmla="*/ 1675 h 2891"/>
                  <a:gd name="T28" fmla="*/ 18 w 1097"/>
                  <a:gd name="T29" fmla="*/ 1911 h 2891"/>
                  <a:gd name="T30" fmla="*/ 24 w 1097"/>
                  <a:gd name="T31" fmla="*/ 2043 h 2891"/>
                  <a:gd name="T32" fmla="*/ 31 w 1097"/>
                  <a:gd name="T33" fmla="*/ 2178 h 2891"/>
                  <a:gd name="T34" fmla="*/ 39 w 1097"/>
                  <a:gd name="T35" fmla="*/ 2311 h 2891"/>
                  <a:gd name="T36" fmla="*/ 48 w 1097"/>
                  <a:gd name="T37" fmla="*/ 2441 h 2891"/>
                  <a:gd name="T38" fmla="*/ 57 w 1097"/>
                  <a:gd name="T39" fmla="*/ 2562 h 2891"/>
                  <a:gd name="T40" fmla="*/ 66 w 1097"/>
                  <a:gd name="T41" fmla="*/ 2670 h 2891"/>
                  <a:gd name="T42" fmla="*/ 71 w 1097"/>
                  <a:gd name="T43" fmla="*/ 2717 h 2891"/>
                  <a:gd name="T44" fmla="*/ 76 w 1097"/>
                  <a:gd name="T45" fmla="*/ 2760 h 2891"/>
                  <a:gd name="T46" fmla="*/ 81 w 1097"/>
                  <a:gd name="T47" fmla="*/ 2798 h 2891"/>
                  <a:gd name="T48" fmla="*/ 87 w 1097"/>
                  <a:gd name="T49" fmla="*/ 2830 h 2891"/>
                  <a:gd name="T50" fmla="*/ 92 w 1097"/>
                  <a:gd name="T51" fmla="*/ 2856 h 2891"/>
                  <a:gd name="T52" fmla="*/ 98 w 1097"/>
                  <a:gd name="T53" fmla="*/ 2875 h 2891"/>
                  <a:gd name="T54" fmla="*/ 100 w 1097"/>
                  <a:gd name="T55" fmla="*/ 2883 h 2891"/>
                  <a:gd name="T56" fmla="*/ 103 w 1097"/>
                  <a:gd name="T57" fmla="*/ 2887 h 2891"/>
                  <a:gd name="T58" fmla="*/ 106 w 1097"/>
                  <a:gd name="T59" fmla="*/ 2890 h 2891"/>
                  <a:gd name="T60" fmla="*/ 109 w 1097"/>
                  <a:gd name="T61" fmla="*/ 2891 h 2891"/>
                  <a:gd name="T62" fmla="*/ 988 w 1097"/>
                  <a:gd name="T63" fmla="*/ 2891 h 2891"/>
                  <a:gd name="T64" fmla="*/ 988 w 1097"/>
                  <a:gd name="T65" fmla="*/ 2891 h 2891"/>
                  <a:gd name="T66" fmla="*/ 991 w 1097"/>
                  <a:gd name="T67" fmla="*/ 2890 h 2891"/>
                  <a:gd name="T68" fmla="*/ 994 w 1097"/>
                  <a:gd name="T69" fmla="*/ 2887 h 2891"/>
                  <a:gd name="T70" fmla="*/ 996 w 1097"/>
                  <a:gd name="T71" fmla="*/ 2883 h 2891"/>
                  <a:gd name="T72" fmla="*/ 999 w 1097"/>
                  <a:gd name="T73" fmla="*/ 2875 h 2891"/>
                  <a:gd name="T74" fmla="*/ 1004 w 1097"/>
                  <a:gd name="T75" fmla="*/ 2856 h 2891"/>
                  <a:gd name="T76" fmla="*/ 1010 w 1097"/>
                  <a:gd name="T77" fmla="*/ 2830 h 2891"/>
                  <a:gd name="T78" fmla="*/ 1015 w 1097"/>
                  <a:gd name="T79" fmla="*/ 2798 h 2891"/>
                  <a:gd name="T80" fmla="*/ 1020 w 1097"/>
                  <a:gd name="T81" fmla="*/ 2760 h 2891"/>
                  <a:gd name="T82" fmla="*/ 1026 w 1097"/>
                  <a:gd name="T83" fmla="*/ 2717 h 2891"/>
                  <a:gd name="T84" fmla="*/ 1031 w 1097"/>
                  <a:gd name="T85" fmla="*/ 2670 h 2891"/>
                  <a:gd name="T86" fmla="*/ 1040 w 1097"/>
                  <a:gd name="T87" fmla="*/ 2562 h 2891"/>
                  <a:gd name="T88" fmla="*/ 1049 w 1097"/>
                  <a:gd name="T89" fmla="*/ 2441 h 2891"/>
                  <a:gd name="T90" fmla="*/ 1057 w 1097"/>
                  <a:gd name="T91" fmla="*/ 2311 h 2891"/>
                  <a:gd name="T92" fmla="*/ 1065 w 1097"/>
                  <a:gd name="T93" fmla="*/ 2178 h 2891"/>
                  <a:gd name="T94" fmla="*/ 1072 w 1097"/>
                  <a:gd name="T95" fmla="*/ 2043 h 2891"/>
                  <a:gd name="T96" fmla="*/ 1079 w 1097"/>
                  <a:gd name="T97" fmla="*/ 1911 h 2891"/>
                  <a:gd name="T98" fmla="*/ 1088 w 1097"/>
                  <a:gd name="T99" fmla="*/ 1675 h 2891"/>
                  <a:gd name="T100" fmla="*/ 1095 w 1097"/>
                  <a:gd name="T101" fmla="*/ 1499 h 2891"/>
                  <a:gd name="T102" fmla="*/ 1097 w 1097"/>
                  <a:gd name="T103" fmla="*/ 1419 h 2891"/>
                  <a:gd name="T104" fmla="*/ 1097 w 1097"/>
                  <a:gd name="T105" fmla="*/ 1419 h 2891"/>
                  <a:gd name="T106" fmla="*/ 1092 w 1097"/>
                  <a:gd name="T107" fmla="*/ 1258 h 2891"/>
                  <a:gd name="T108" fmla="*/ 1085 w 1097"/>
                  <a:gd name="T109" fmla="*/ 1083 h 2891"/>
                  <a:gd name="T110" fmla="*/ 1077 w 1097"/>
                  <a:gd name="T111" fmla="*/ 870 h 2891"/>
                  <a:gd name="T112" fmla="*/ 1066 w 1097"/>
                  <a:gd name="T113" fmla="*/ 637 h 2891"/>
                  <a:gd name="T114" fmla="*/ 1054 w 1097"/>
                  <a:gd name="T115" fmla="*/ 403 h 2891"/>
                  <a:gd name="T116" fmla="*/ 1047 w 1097"/>
                  <a:gd name="T117" fmla="*/ 290 h 2891"/>
                  <a:gd name="T118" fmla="*/ 1040 w 1097"/>
                  <a:gd name="T119" fmla="*/ 184 h 2891"/>
                  <a:gd name="T120" fmla="*/ 1033 w 1097"/>
                  <a:gd name="T121" fmla="*/ 87 h 2891"/>
                  <a:gd name="T122" fmla="*/ 1025 w 1097"/>
                  <a:gd name="T123" fmla="*/ 0 h 2891"/>
                  <a:gd name="T124" fmla="*/ 72 w 1097"/>
                  <a:gd name="T125" fmla="*/ 0 h 2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7" h="2891">
                    <a:moveTo>
                      <a:pt x="72" y="0"/>
                    </a:moveTo>
                    <a:lnTo>
                      <a:pt x="72" y="0"/>
                    </a:lnTo>
                    <a:lnTo>
                      <a:pt x="64" y="87"/>
                    </a:lnTo>
                    <a:lnTo>
                      <a:pt x="57" y="184"/>
                    </a:lnTo>
                    <a:lnTo>
                      <a:pt x="50" y="290"/>
                    </a:lnTo>
                    <a:lnTo>
                      <a:pt x="43" y="403"/>
                    </a:lnTo>
                    <a:lnTo>
                      <a:pt x="30" y="637"/>
                    </a:lnTo>
                    <a:lnTo>
                      <a:pt x="20" y="870"/>
                    </a:lnTo>
                    <a:lnTo>
                      <a:pt x="11" y="1083"/>
                    </a:lnTo>
                    <a:lnTo>
                      <a:pt x="5" y="1258"/>
                    </a:lnTo>
                    <a:lnTo>
                      <a:pt x="0" y="1419"/>
                    </a:lnTo>
                    <a:lnTo>
                      <a:pt x="0" y="1419"/>
                    </a:lnTo>
                    <a:lnTo>
                      <a:pt x="2" y="1499"/>
                    </a:lnTo>
                    <a:lnTo>
                      <a:pt x="8" y="1675"/>
                    </a:lnTo>
                    <a:lnTo>
                      <a:pt x="18" y="1911"/>
                    </a:lnTo>
                    <a:lnTo>
                      <a:pt x="24" y="2043"/>
                    </a:lnTo>
                    <a:lnTo>
                      <a:pt x="31" y="2178"/>
                    </a:lnTo>
                    <a:lnTo>
                      <a:pt x="39" y="2311"/>
                    </a:lnTo>
                    <a:lnTo>
                      <a:pt x="48" y="2441"/>
                    </a:lnTo>
                    <a:lnTo>
                      <a:pt x="57" y="2562"/>
                    </a:lnTo>
                    <a:lnTo>
                      <a:pt x="66" y="2670"/>
                    </a:lnTo>
                    <a:lnTo>
                      <a:pt x="71" y="2717"/>
                    </a:lnTo>
                    <a:lnTo>
                      <a:pt x="76" y="2760"/>
                    </a:lnTo>
                    <a:lnTo>
                      <a:pt x="81" y="2798"/>
                    </a:lnTo>
                    <a:lnTo>
                      <a:pt x="87" y="2830"/>
                    </a:lnTo>
                    <a:lnTo>
                      <a:pt x="92" y="2856"/>
                    </a:lnTo>
                    <a:lnTo>
                      <a:pt x="98" y="2875"/>
                    </a:lnTo>
                    <a:lnTo>
                      <a:pt x="100" y="2883"/>
                    </a:lnTo>
                    <a:lnTo>
                      <a:pt x="103" y="2887"/>
                    </a:lnTo>
                    <a:lnTo>
                      <a:pt x="106" y="2890"/>
                    </a:lnTo>
                    <a:lnTo>
                      <a:pt x="109" y="2891"/>
                    </a:lnTo>
                    <a:lnTo>
                      <a:pt x="988" y="2891"/>
                    </a:lnTo>
                    <a:lnTo>
                      <a:pt x="988" y="2891"/>
                    </a:lnTo>
                    <a:lnTo>
                      <a:pt x="991" y="2890"/>
                    </a:lnTo>
                    <a:lnTo>
                      <a:pt x="994" y="2887"/>
                    </a:lnTo>
                    <a:lnTo>
                      <a:pt x="996" y="2883"/>
                    </a:lnTo>
                    <a:lnTo>
                      <a:pt x="999" y="2875"/>
                    </a:lnTo>
                    <a:lnTo>
                      <a:pt x="1004" y="2856"/>
                    </a:lnTo>
                    <a:lnTo>
                      <a:pt x="1010" y="2830"/>
                    </a:lnTo>
                    <a:lnTo>
                      <a:pt x="1015" y="2798"/>
                    </a:lnTo>
                    <a:lnTo>
                      <a:pt x="1020" y="2760"/>
                    </a:lnTo>
                    <a:lnTo>
                      <a:pt x="1026" y="2717"/>
                    </a:lnTo>
                    <a:lnTo>
                      <a:pt x="1031" y="2670"/>
                    </a:lnTo>
                    <a:lnTo>
                      <a:pt x="1040" y="2562"/>
                    </a:lnTo>
                    <a:lnTo>
                      <a:pt x="1049" y="2441"/>
                    </a:lnTo>
                    <a:lnTo>
                      <a:pt x="1057" y="2311"/>
                    </a:lnTo>
                    <a:lnTo>
                      <a:pt x="1065" y="2178"/>
                    </a:lnTo>
                    <a:lnTo>
                      <a:pt x="1072" y="2043"/>
                    </a:lnTo>
                    <a:lnTo>
                      <a:pt x="1079" y="1911"/>
                    </a:lnTo>
                    <a:lnTo>
                      <a:pt x="1088" y="1675"/>
                    </a:lnTo>
                    <a:lnTo>
                      <a:pt x="1095" y="1499"/>
                    </a:lnTo>
                    <a:lnTo>
                      <a:pt x="1097" y="1419"/>
                    </a:lnTo>
                    <a:lnTo>
                      <a:pt x="1097" y="1419"/>
                    </a:lnTo>
                    <a:lnTo>
                      <a:pt x="1092" y="1258"/>
                    </a:lnTo>
                    <a:lnTo>
                      <a:pt x="1085" y="1083"/>
                    </a:lnTo>
                    <a:lnTo>
                      <a:pt x="1077" y="870"/>
                    </a:lnTo>
                    <a:lnTo>
                      <a:pt x="1066" y="637"/>
                    </a:lnTo>
                    <a:lnTo>
                      <a:pt x="1054" y="403"/>
                    </a:lnTo>
                    <a:lnTo>
                      <a:pt x="1047" y="290"/>
                    </a:lnTo>
                    <a:lnTo>
                      <a:pt x="1040" y="184"/>
                    </a:lnTo>
                    <a:lnTo>
                      <a:pt x="1033" y="87"/>
                    </a:lnTo>
                    <a:lnTo>
                      <a:pt x="1025" y="0"/>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70" name="Freeform 1975"/>
              <p:cNvSpPr>
                <a:spLocks/>
              </p:cNvSpPr>
              <p:nvPr/>
            </p:nvSpPr>
            <p:spPr bwMode="auto">
              <a:xfrm>
                <a:off x="749300" y="3282950"/>
                <a:ext cx="57150" cy="65088"/>
              </a:xfrm>
              <a:custGeom>
                <a:avLst/>
                <a:gdLst>
                  <a:gd name="T0" fmla="*/ 0 w 217"/>
                  <a:gd name="T1" fmla="*/ 250 h 250"/>
                  <a:gd name="T2" fmla="*/ 0 w 217"/>
                  <a:gd name="T3" fmla="*/ 0 h 250"/>
                  <a:gd name="T4" fmla="*/ 217 w 217"/>
                  <a:gd name="T5" fmla="*/ 125 h 250"/>
                  <a:gd name="T6" fmla="*/ 0 w 217"/>
                  <a:gd name="T7" fmla="*/ 250 h 250"/>
                </a:gdLst>
                <a:ahLst/>
                <a:cxnLst>
                  <a:cxn ang="0">
                    <a:pos x="T0" y="T1"/>
                  </a:cxn>
                  <a:cxn ang="0">
                    <a:pos x="T2" y="T3"/>
                  </a:cxn>
                  <a:cxn ang="0">
                    <a:pos x="T4" y="T5"/>
                  </a:cxn>
                  <a:cxn ang="0">
                    <a:pos x="T6" y="T7"/>
                  </a:cxn>
                </a:cxnLst>
                <a:rect l="0" t="0" r="r" b="b"/>
                <a:pathLst>
                  <a:path w="217" h="250">
                    <a:moveTo>
                      <a:pt x="0" y="250"/>
                    </a:moveTo>
                    <a:lnTo>
                      <a:pt x="0" y="0"/>
                    </a:lnTo>
                    <a:lnTo>
                      <a:pt x="217" y="125"/>
                    </a:lnTo>
                    <a:lnTo>
                      <a:pt x="0"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951" name="Freeform 1976"/>
            <p:cNvSpPr>
              <a:spLocks noEditPoints="1"/>
            </p:cNvSpPr>
            <p:nvPr/>
          </p:nvSpPr>
          <p:spPr bwMode="auto">
            <a:xfrm>
              <a:off x="909602" y="3381589"/>
              <a:ext cx="102151" cy="61291"/>
            </a:xfrm>
            <a:custGeom>
              <a:avLst/>
              <a:gdLst>
                <a:gd name="T0" fmla="*/ 482 w 508"/>
                <a:gd name="T1" fmla="*/ 0 h 309"/>
                <a:gd name="T2" fmla="*/ 90 w 508"/>
                <a:gd name="T3" fmla="*/ 39 h 309"/>
                <a:gd name="T4" fmla="*/ 0 w 508"/>
                <a:gd name="T5" fmla="*/ 185 h 309"/>
                <a:gd name="T6" fmla="*/ 116 w 508"/>
                <a:gd name="T7" fmla="*/ 309 h 309"/>
                <a:gd name="T8" fmla="*/ 508 w 508"/>
                <a:gd name="T9" fmla="*/ 270 h 309"/>
                <a:gd name="T10" fmla="*/ 482 w 508"/>
                <a:gd name="T11" fmla="*/ 0 h 309"/>
                <a:gd name="T12" fmla="*/ 112 w 508"/>
                <a:gd name="T13" fmla="*/ 210 h 309"/>
                <a:gd name="T14" fmla="*/ 112 w 508"/>
                <a:gd name="T15" fmla="*/ 210 h 309"/>
                <a:gd name="T16" fmla="*/ 106 w 508"/>
                <a:gd name="T17" fmla="*/ 209 h 309"/>
                <a:gd name="T18" fmla="*/ 99 w 508"/>
                <a:gd name="T19" fmla="*/ 207 h 309"/>
                <a:gd name="T20" fmla="*/ 94 w 508"/>
                <a:gd name="T21" fmla="*/ 204 h 309"/>
                <a:gd name="T22" fmla="*/ 88 w 508"/>
                <a:gd name="T23" fmla="*/ 200 h 309"/>
                <a:gd name="T24" fmla="*/ 84 w 508"/>
                <a:gd name="T25" fmla="*/ 195 h 309"/>
                <a:gd name="T26" fmla="*/ 81 w 508"/>
                <a:gd name="T27" fmla="*/ 189 h 309"/>
                <a:gd name="T28" fmla="*/ 79 w 508"/>
                <a:gd name="T29" fmla="*/ 183 h 309"/>
                <a:gd name="T30" fmla="*/ 78 w 508"/>
                <a:gd name="T31" fmla="*/ 176 h 309"/>
                <a:gd name="T32" fmla="*/ 78 w 508"/>
                <a:gd name="T33" fmla="*/ 176 h 309"/>
                <a:gd name="T34" fmla="*/ 79 w 508"/>
                <a:gd name="T35" fmla="*/ 169 h 309"/>
                <a:gd name="T36" fmla="*/ 81 w 508"/>
                <a:gd name="T37" fmla="*/ 162 h 309"/>
                <a:gd name="T38" fmla="*/ 84 w 508"/>
                <a:gd name="T39" fmla="*/ 157 h 309"/>
                <a:gd name="T40" fmla="*/ 88 w 508"/>
                <a:gd name="T41" fmla="*/ 152 h 309"/>
                <a:gd name="T42" fmla="*/ 94 w 508"/>
                <a:gd name="T43" fmla="*/ 148 h 309"/>
                <a:gd name="T44" fmla="*/ 99 w 508"/>
                <a:gd name="T45" fmla="*/ 145 h 309"/>
                <a:gd name="T46" fmla="*/ 106 w 508"/>
                <a:gd name="T47" fmla="*/ 143 h 309"/>
                <a:gd name="T48" fmla="*/ 112 w 508"/>
                <a:gd name="T49" fmla="*/ 142 h 309"/>
                <a:gd name="T50" fmla="*/ 112 w 508"/>
                <a:gd name="T51" fmla="*/ 142 h 309"/>
                <a:gd name="T52" fmla="*/ 119 w 508"/>
                <a:gd name="T53" fmla="*/ 143 h 309"/>
                <a:gd name="T54" fmla="*/ 125 w 508"/>
                <a:gd name="T55" fmla="*/ 145 h 309"/>
                <a:gd name="T56" fmla="*/ 131 w 508"/>
                <a:gd name="T57" fmla="*/ 148 h 309"/>
                <a:gd name="T58" fmla="*/ 137 w 508"/>
                <a:gd name="T59" fmla="*/ 152 h 309"/>
                <a:gd name="T60" fmla="*/ 141 w 508"/>
                <a:gd name="T61" fmla="*/ 157 h 309"/>
                <a:gd name="T62" fmla="*/ 144 w 508"/>
                <a:gd name="T63" fmla="*/ 162 h 309"/>
                <a:gd name="T64" fmla="*/ 146 w 508"/>
                <a:gd name="T65" fmla="*/ 169 h 309"/>
                <a:gd name="T66" fmla="*/ 147 w 508"/>
                <a:gd name="T67" fmla="*/ 176 h 309"/>
                <a:gd name="T68" fmla="*/ 147 w 508"/>
                <a:gd name="T69" fmla="*/ 176 h 309"/>
                <a:gd name="T70" fmla="*/ 146 w 508"/>
                <a:gd name="T71" fmla="*/ 183 h 309"/>
                <a:gd name="T72" fmla="*/ 144 w 508"/>
                <a:gd name="T73" fmla="*/ 189 h 309"/>
                <a:gd name="T74" fmla="*/ 141 w 508"/>
                <a:gd name="T75" fmla="*/ 195 h 309"/>
                <a:gd name="T76" fmla="*/ 137 w 508"/>
                <a:gd name="T77" fmla="*/ 200 h 309"/>
                <a:gd name="T78" fmla="*/ 131 w 508"/>
                <a:gd name="T79" fmla="*/ 204 h 309"/>
                <a:gd name="T80" fmla="*/ 125 w 508"/>
                <a:gd name="T81" fmla="*/ 207 h 309"/>
                <a:gd name="T82" fmla="*/ 119 w 508"/>
                <a:gd name="T83" fmla="*/ 209 h 309"/>
                <a:gd name="T84" fmla="*/ 112 w 508"/>
                <a:gd name="T85" fmla="*/ 210 h 309"/>
                <a:gd name="T86" fmla="*/ 112 w 508"/>
                <a:gd name="T87" fmla="*/ 21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8" h="309">
                  <a:moveTo>
                    <a:pt x="482" y="0"/>
                  </a:moveTo>
                  <a:lnTo>
                    <a:pt x="90" y="39"/>
                  </a:lnTo>
                  <a:lnTo>
                    <a:pt x="0" y="185"/>
                  </a:lnTo>
                  <a:lnTo>
                    <a:pt x="116" y="309"/>
                  </a:lnTo>
                  <a:lnTo>
                    <a:pt x="508" y="270"/>
                  </a:lnTo>
                  <a:lnTo>
                    <a:pt x="482" y="0"/>
                  </a:lnTo>
                  <a:close/>
                  <a:moveTo>
                    <a:pt x="112" y="210"/>
                  </a:moveTo>
                  <a:lnTo>
                    <a:pt x="112" y="210"/>
                  </a:lnTo>
                  <a:lnTo>
                    <a:pt x="106" y="209"/>
                  </a:lnTo>
                  <a:lnTo>
                    <a:pt x="99" y="207"/>
                  </a:lnTo>
                  <a:lnTo>
                    <a:pt x="94" y="204"/>
                  </a:lnTo>
                  <a:lnTo>
                    <a:pt x="88" y="200"/>
                  </a:lnTo>
                  <a:lnTo>
                    <a:pt x="84" y="195"/>
                  </a:lnTo>
                  <a:lnTo>
                    <a:pt x="81" y="189"/>
                  </a:lnTo>
                  <a:lnTo>
                    <a:pt x="79" y="183"/>
                  </a:lnTo>
                  <a:lnTo>
                    <a:pt x="78" y="176"/>
                  </a:lnTo>
                  <a:lnTo>
                    <a:pt x="78" y="176"/>
                  </a:lnTo>
                  <a:lnTo>
                    <a:pt x="79" y="169"/>
                  </a:lnTo>
                  <a:lnTo>
                    <a:pt x="81" y="162"/>
                  </a:lnTo>
                  <a:lnTo>
                    <a:pt x="84" y="157"/>
                  </a:lnTo>
                  <a:lnTo>
                    <a:pt x="88" y="152"/>
                  </a:lnTo>
                  <a:lnTo>
                    <a:pt x="94" y="148"/>
                  </a:lnTo>
                  <a:lnTo>
                    <a:pt x="99" y="145"/>
                  </a:lnTo>
                  <a:lnTo>
                    <a:pt x="106" y="143"/>
                  </a:lnTo>
                  <a:lnTo>
                    <a:pt x="112" y="142"/>
                  </a:lnTo>
                  <a:lnTo>
                    <a:pt x="112" y="142"/>
                  </a:lnTo>
                  <a:lnTo>
                    <a:pt x="119" y="143"/>
                  </a:lnTo>
                  <a:lnTo>
                    <a:pt x="125" y="145"/>
                  </a:lnTo>
                  <a:lnTo>
                    <a:pt x="131" y="148"/>
                  </a:lnTo>
                  <a:lnTo>
                    <a:pt x="137" y="152"/>
                  </a:lnTo>
                  <a:lnTo>
                    <a:pt x="141" y="157"/>
                  </a:lnTo>
                  <a:lnTo>
                    <a:pt x="144" y="162"/>
                  </a:lnTo>
                  <a:lnTo>
                    <a:pt x="146" y="169"/>
                  </a:lnTo>
                  <a:lnTo>
                    <a:pt x="147" y="176"/>
                  </a:lnTo>
                  <a:lnTo>
                    <a:pt x="147" y="176"/>
                  </a:lnTo>
                  <a:lnTo>
                    <a:pt x="146" y="183"/>
                  </a:lnTo>
                  <a:lnTo>
                    <a:pt x="144" y="189"/>
                  </a:lnTo>
                  <a:lnTo>
                    <a:pt x="141" y="195"/>
                  </a:lnTo>
                  <a:lnTo>
                    <a:pt x="137" y="200"/>
                  </a:lnTo>
                  <a:lnTo>
                    <a:pt x="131" y="204"/>
                  </a:lnTo>
                  <a:lnTo>
                    <a:pt x="125" y="207"/>
                  </a:lnTo>
                  <a:lnTo>
                    <a:pt x="119" y="209"/>
                  </a:lnTo>
                  <a:lnTo>
                    <a:pt x="112" y="210"/>
                  </a:lnTo>
                  <a:lnTo>
                    <a:pt x="112" y="21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952" name="Group 951"/>
            <p:cNvGrpSpPr/>
            <p:nvPr/>
          </p:nvGrpSpPr>
          <p:grpSpPr>
            <a:xfrm>
              <a:off x="326740" y="3313088"/>
              <a:ext cx="182670" cy="182670"/>
              <a:chOff x="463550" y="3173413"/>
              <a:chExt cx="241300" cy="241300"/>
            </a:xfrm>
            <a:solidFill>
              <a:schemeClr val="bg1"/>
            </a:solidFill>
          </p:grpSpPr>
          <p:sp>
            <p:nvSpPr>
              <p:cNvPr id="960" name="Freeform 1982"/>
              <p:cNvSpPr>
                <a:spLocks/>
              </p:cNvSpPr>
              <p:nvPr/>
            </p:nvSpPr>
            <p:spPr bwMode="auto">
              <a:xfrm>
                <a:off x="463550" y="3370263"/>
                <a:ext cx="46038" cy="44450"/>
              </a:xfrm>
              <a:custGeom>
                <a:avLst/>
                <a:gdLst>
                  <a:gd name="T0" fmla="*/ 169 w 171"/>
                  <a:gd name="T1" fmla="*/ 67 h 172"/>
                  <a:gd name="T2" fmla="*/ 171 w 171"/>
                  <a:gd name="T3" fmla="*/ 87 h 172"/>
                  <a:gd name="T4" fmla="*/ 171 w 171"/>
                  <a:gd name="T5" fmla="*/ 98 h 172"/>
                  <a:gd name="T6" fmla="*/ 169 w 171"/>
                  <a:gd name="T7" fmla="*/ 109 h 172"/>
                  <a:gd name="T8" fmla="*/ 160 w 171"/>
                  <a:gd name="T9" fmla="*/ 129 h 172"/>
                  <a:gd name="T10" fmla="*/ 154 w 171"/>
                  <a:gd name="T11" fmla="*/ 138 h 172"/>
                  <a:gd name="T12" fmla="*/ 146 w 171"/>
                  <a:gd name="T13" fmla="*/ 146 h 172"/>
                  <a:gd name="T14" fmla="*/ 133 w 171"/>
                  <a:gd name="T15" fmla="*/ 158 h 172"/>
                  <a:gd name="T16" fmla="*/ 118 w 171"/>
                  <a:gd name="T17" fmla="*/ 166 h 172"/>
                  <a:gd name="T18" fmla="*/ 110 w 171"/>
                  <a:gd name="T19" fmla="*/ 168 h 172"/>
                  <a:gd name="T20" fmla="*/ 94 w 171"/>
                  <a:gd name="T21" fmla="*/ 171 h 172"/>
                  <a:gd name="T22" fmla="*/ 86 w 171"/>
                  <a:gd name="T23" fmla="*/ 172 h 172"/>
                  <a:gd name="T24" fmla="*/ 70 w 171"/>
                  <a:gd name="T25" fmla="*/ 170 h 172"/>
                  <a:gd name="T26" fmla="*/ 54 w 171"/>
                  <a:gd name="T27" fmla="*/ 165 h 172"/>
                  <a:gd name="T28" fmla="*/ 46 w 171"/>
                  <a:gd name="T29" fmla="*/ 162 h 172"/>
                  <a:gd name="T30" fmla="*/ 32 w 171"/>
                  <a:gd name="T31" fmla="*/ 153 h 172"/>
                  <a:gd name="T32" fmla="*/ 25 w 171"/>
                  <a:gd name="T33" fmla="*/ 146 h 172"/>
                  <a:gd name="T34" fmla="*/ 15 w 171"/>
                  <a:gd name="T35" fmla="*/ 133 h 172"/>
                  <a:gd name="T36" fmla="*/ 7 w 171"/>
                  <a:gd name="T37" fmla="*/ 118 h 172"/>
                  <a:gd name="T38" fmla="*/ 3 w 171"/>
                  <a:gd name="T39" fmla="*/ 111 h 172"/>
                  <a:gd name="T40" fmla="*/ 0 w 171"/>
                  <a:gd name="T41" fmla="*/ 94 h 172"/>
                  <a:gd name="T42" fmla="*/ 0 w 171"/>
                  <a:gd name="T43" fmla="*/ 86 h 172"/>
                  <a:gd name="T44" fmla="*/ 1 w 171"/>
                  <a:gd name="T45" fmla="*/ 70 h 172"/>
                  <a:gd name="T46" fmla="*/ 7 w 171"/>
                  <a:gd name="T47" fmla="*/ 53 h 172"/>
                  <a:gd name="T48" fmla="*/ 10 w 171"/>
                  <a:gd name="T49" fmla="*/ 46 h 172"/>
                  <a:gd name="T50" fmla="*/ 19 w 171"/>
                  <a:gd name="T51" fmla="*/ 32 h 172"/>
                  <a:gd name="T52" fmla="*/ 25 w 171"/>
                  <a:gd name="T53" fmla="*/ 25 h 172"/>
                  <a:gd name="T54" fmla="*/ 43 w 171"/>
                  <a:gd name="T55" fmla="*/ 12 h 172"/>
                  <a:gd name="T56" fmla="*/ 52 w 171"/>
                  <a:gd name="T57" fmla="*/ 6 h 172"/>
                  <a:gd name="T58" fmla="*/ 63 w 171"/>
                  <a:gd name="T59" fmla="*/ 3 h 172"/>
                  <a:gd name="T60" fmla="*/ 84 w 171"/>
                  <a:gd name="T61" fmla="*/ 0 h 172"/>
                  <a:gd name="T62" fmla="*/ 95 w 171"/>
                  <a:gd name="T63" fmla="*/ 1 h 172"/>
                  <a:gd name="T64" fmla="*/ 106 w 171"/>
                  <a:gd name="T65" fmla="*/ 40 h 172"/>
                  <a:gd name="T66" fmla="*/ 98 w 171"/>
                  <a:gd name="T67" fmla="*/ 37 h 172"/>
                  <a:gd name="T68" fmla="*/ 91 w 171"/>
                  <a:gd name="T69" fmla="*/ 36 h 172"/>
                  <a:gd name="T70" fmla="*/ 77 w 171"/>
                  <a:gd name="T71" fmla="*/ 36 h 172"/>
                  <a:gd name="T72" fmla="*/ 70 w 171"/>
                  <a:gd name="T73" fmla="*/ 38 h 172"/>
                  <a:gd name="T74" fmla="*/ 63 w 171"/>
                  <a:gd name="T75" fmla="*/ 41 h 172"/>
                  <a:gd name="T76" fmla="*/ 50 w 171"/>
                  <a:gd name="T77" fmla="*/ 50 h 172"/>
                  <a:gd name="T78" fmla="*/ 43 w 171"/>
                  <a:gd name="T79" fmla="*/ 58 h 172"/>
                  <a:gd name="T80" fmla="*/ 39 w 171"/>
                  <a:gd name="T81" fmla="*/ 67 h 172"/>
                  <a:gd name="T82" fmla="*/ 35 w 171"/>
                  <a:gd name="T83" fmla="*/ 86 h 172"/>
                  <a:gd name="T84" fmla="*/ 36 w 171"/>
                  <a:gd name="T85" fmla="*/ 95 h 172"/>
                  <a:gd name="T86" fmla="*/ 39 w 171"/>
                  <a:gd name="T87" fmla="*/ 105 h 172"/>
                  <a:gd name="T88" fmla="*/ 50 w 171"/>
                  <a:gd name="T89" fmla="*/ 122 h 172"/>
                  <a:gd name="T90" fmla="*/ 59 w 171"/>
                  <a:gd name="T91" fmla="*/ 128 h 172"/>
                  <a:gd name="T92" fmla="*/ 67 w 171"/>
                  <a:gd name="T93" fmla="*/ 133 h 172"/>
                  <a:gd name="T94" fmla="*/ 86 w 171"/>
                  <a:gd name="T95" fmla="*/ 136 h 172"/>
                  <a:gd name="T96" fmla="*/ 95 w 171"/>
                  <a:gd name="T97" fmla="*/ 135 h 172"/>
                  <a:gd name="T98" fmla="*/ 105 w 171"/>
                  <a:gd name="T99" fmla="*/ 133 h 172"/>
                  <a:gd name="T100" fmla="*/ 122 w 171"/>
                  <a:gd name="T101" fmla="*/ 122 h 172"/>
                  <a:gd name="T102" fmla="*/ 127 w 171"/>
                  <a:gd name="T103" fmla="*/ 116 h 172"/>
                  <a:gd name="T104" fmla="*/ 130 w 171"/>
                  <a:gd name="T105" fmla="*/ 110 h 172"/>
                  <a:gd name="T106" fmla="*/ 135 w 171"/>
                  <a:gd name="T107" fmla="*/ 95 h 172"/>
                  <a:gd name="T108" fmla="*/ 136 w 171"/>
                  <a:gd name="T109" fmla="*/ 88 h 172"/>
                  <a:gd name="T110" fmla="*/ 136 w 171"/>
                  <a:gd name="T111" fmla="*/ 81 h 172"/>
                  <a:gd name="T112" fmla="*/ 132 w 171"/>
                  <a:gd name="T113" fmla="*/ 67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 h="172">
                    <a:moveTo>
                      <a:pt x="169" y="67"/>
                    </a:moveTo>
                    <a:lnTo>
                      <a:pt x="169" y="67"/>
                    </a:lnTo>
                    <a:lnTo>
                      <a:pt x="171" y="77"/>
                    </a:lnTo>
                    <a:lnTo>
                      <a:pt x="171" y="87"/>
                    </a:lnTo>
                    <a:lnTo>
                      <a:pt x="171" y="87"/>
                    </a:lnTo>
                    <a:lnTo>
                      <a:pt x="171" y="98"/>
                    </a:lnTo>
                    <a:lnTo>
                      <a:pt x="169" y="109"/>
                    </a:lnTo>
                    <a:lnTo>
                      <a:pt x="169" y="109"/>
                    </a:lnTo>
                    <a:lnTo>
                      <a:pt x="165" y="119"/>
                    </a:lnTo>
                    <a:lnTo>
                      <a:pt x="160" y="129"/>
                    </a:lnTo>
                    <a:lnTo>
                      <a:pt x="160" y="129"/>
                    </a:lnTo>
                    <a:lnTo>
                      <a:pt x="154" y="138"/>
                    </a:lnTo>
                    <a:lnTo>
                      <a:pt x="146" y="146"/>
                    </a:lnTo>
                    <a:lnTo>
                      <a:pt x="146" y="146"/>
                    </a:lnTo>
                    <a:lnTo>
                      <a:pt x="140" y="153"/>
                    </a:lnTo>
                    <a:lnTo>
                      <a:pt x="133" y="158"/>
                    </a:lnTo>
                    <a:lnTo>
                      <a:pt x="126" y="162"/>
                    </a:lnTo>
                    <a:lnTo>
                      <a:pt x="118" y="166"/>
                    </a:lnTo>
                    <a:lnTo>
                      <a:pt x="118" y="166"/>
                    </a:lnTo>
                    <a:lnTo>
                      <a:pt x="110" y="168"/>
                    </a:lnTo>
                    <a:lnTo>
                      <a:pt x="103" y="170"/>
                    </a:lnTo>
                    <a:lnTo>
                      <a:pt x="94" y="171"/>
                    </a:lnTo>
                    <a:lnTo>
                      <a:pt x="86" y="172"/>
                    </a:lnTo>
                    <a:lnTo>
                      <a:pt x="86" y="172"/>
                    </a:lnTo>
                    <a:lnTo>
                      <a:pt x="78" y="171"/>
                    </a:lnTo>
                    <a:lnTo>
                      <a:pt x="70" y="170"/>
                    </a:lnTo>
                    <a:lnTo>
                      <a:pt x="62" y="168"/>
                    </a:lnTo>
                    <a:lnTo>
                      <a:pt x="54" y="165"/>
                    </a:lnTo>
                    <a:lnTo>
                      <a:pt x="54" y="165"/>
                    </a:lnTo>
                    <a:lnTo>
                      <a:pt x="46" y="162"/>
                    </a:lnTo>
                    <a:lnTo>
                      <a:pt x="38" y="158"/>
                    </a:lnTo>
                    <a:lnTo>
                      <a:pt x="32" y="153"/>
                    </a:lnTo>
                    <a:lnTo>
                      <a:pt x="25" y="146"/>
                    </a:lnTo>
                    <a:lnTo>
                      <a:pt x="25" y="146"/>
                    </a:lnTo>
                    <a:lnTo>
                      <a:pt x="20" y="140"/>
                    </a:lnTo>
                    <a:lnTo>
                      <a:pt x="15" y="133"/>
                    </a:lnTo>
                    <a:lnTo>
                      <a:pt x="10" y="126"/>
                    </a:lnTo>
                    <a:lnTo>
                      <a:pt x="7" y="118"/>
                    </a:lnTo>
                    <a:lnTo>
                      <a:pt x="7" y="118"/>
                    </a:lnTo>
                    <a:lnTo>
                      <a:pt x="3" y="111"/>
                    </a:lnTo>
                    <a:lnTo>
                      <a:pt x="1" y="103"/>
                    </a:lnTo>
                    <a:lnTo>
                      <a:pt x="0" y="94"/>
                    </a:lnTo>
                    <a:lnTo>
                      <a:pt x="0" y="86"/>
                    </a:lnTo>
                    <a:lnTo>
                      <a:pt x="0" y="86"/>
                    </a:lnTo>
                    <a:lnTo>
                      <a:pt x="0" y="78"/>
                    </a:lnTo>
                    <a:lnTo>
                      <a:pt x="1" y="70"/>
                    </a:lnTo>
                    <a:lnTo>
                      <a:pt x="3" y="62"/>
                    </a:lnTo>
                    <a:lnTo>
                      <a:pt x="7" y="53"/>
                    </a:lnTo>
                    <a:lnTo>
                      <a:pt x="7" y="53"/>
                    </a:lnTo>
                    <a:lnTo>
                      <a:pt x="10" y="46"/>
                    </a:lnTo>
                    <a:lnTo>
                      <a:pt x="14" y="39"/>
                    </a:lnTo>
                    <a:lnTo>
                      <a:pt x="19" y="32"/>
                    </a:lnTo>
                    <a:lnTo>
                      <a:pt x="25" y="25"/>
                    </a:lnTo>
                    <a:lnTo>
                      <a:pt x="25" y="25"/>
                    </a:lnTo>
                    <a:lnTo>
                      <a:pt x="33" y="18"/>
                    </a:lnTo>
                    <a:lnTo>
                      <a:pt x="43" y="12"/>
                    </a:lnTo>
                    <a:lnTo>
                      <a:pt x="43" y="12"/>
                    </a:lnTo>
                    <a:lnTo>
                      <a:pt x="52" y="6"/>
                    </a:lnTo>
                    <a:lnTo>
                      <a:pt x="63" y="3"/>
                    </a:lnTo>
                    <a:lnTo>
                      <a:pt x="63" y="3"/>
                    </a:lnTo>
                    <a:lnTo>
                      <a:pt x="74" y="1"/>
                    </a:lnTo>
                    <a:lnTo>
                      <a:pt x="84" y="0"/>
                    </a:lnTo>
                    <a:lnTo>
                      <a:pt x="84" y="0"/>
                    </a:lnTo>
                    <a:lnTo>
                      <a:pt x="95" y="1"/>
                    </a:lnTo>
                    <a:lnTo>
                      <a:pt x="106" y="2"/>
                    </a:lnTo>
                    <a:lnTo>
                      <a:pt x="106" y="40"/>
                    </a:lnTo>
                    <a:lnTo>
                      <a:pt x="106" y="40"/>
                    </a:lnTo>
                    <a:lnTo>
                      <a:pt x="98" y="37"/>
                    </a:lnTo>
                    <a:lnTo>
                      <a:pt x="91" y="36"/>
                    </a:lnTo>
                    <a:lnTo>
                      <a:pt x="91" y="36"/>
                    </a:lnTo>
                    <a:lnTo>
                      <a:pt x="84" y="36"/>
                    </a:lnTo>
                    <a:lnTo>
                      <a:pt x="77" y="36"/>
                    </a:lnTo>
                    <a:lnTo>
                      <a:pt x="77" y="36"/>
                    </a:lnTo>
                    <a:lnTo>
                      <a:pt x="70" y="38"/>
                    </a:lnTo>
                    <a:lnTo>
                      <a:pt x="63" y="41"/>
                    </a:lnTo>
                    <a:lnTo>
                      <a:pt x="63" y="41"/>
                    </a:lnTo>
                    <a:lnTo>
                      <a:pt x="56" y="45"/>
                    </a:lnTo>
                    <a:lnTo>
                      <a:pt x="50" y="50"/>
                    </a:lnTo>
                    <a:lnTo>
                      <a:pt x="50" y="50"/>
                    </a:lnTo>
                    <a:lnTo>
                      <a:pt x="43" y="58"/>
                    </a:lnTo>
                    <a:lnTo>
                      <a:pt x="39" y="67"/>
                    </a:lnTo>
                    <a:lnTo>
                      <a:pt x="39" y="67"/>
                    </a:lnTo>
                    <a:lnTo>
                      <a:pt x="36" y="76"/>
                    </a:lnTo>
                    <a:lnTo>
                      <a:pt x="35" y="86"/>
                    </a:lnTo>
                    <a:lnTo>
                      <a:pt x="35" y="86"/>
                    </a:lnTo>
                    <a:lnTo>
                      <a:pt x="36" y="95"/>
                    </a:lnTo>
                    <a:lnTo>
                      <a:pt x="39" y="105"/>
                    </a:lnTo>
                    <a:lnTo>
                      <a:pt x="39" y="105"/>
                    </a:lnTo>
                    <a:lnTo>
                      <a:pt x="43" y="114"/>
                    </a:lnTo>
                    <a:lnTo>
                      <a:pt x="50" y="122"/>
                    </a:lnTo>
                    <a:lnTo>
                      <a:pt x="50" y="122"/>
                    </a:lnTo>
                    <a:lnTo>
                      <a:pt x="59" y="128"/>
                    </a:lnTo>
                    <a:lnTo>
                      <a:pt x="67" y="133"/>
                    </a:lnTo>
                    <a:lnTo>
                      <a:pt x="67" y="133"/>
                    </a:lnTo>
                    <a:lnTo>
                      <a:pt x="76" y="135"/>
                    </a:lnTo>
                    <a:lnTo>
                      <a:pt x="86" y="136"/>
                    </a:lnTo>
                    <a:lnTo>
                      <a:pt x="86" y="136"/>
                    </a:lnTo>
                    <a:lnTo>
                      <a:pt x="95" y="135"/>
                    </a:lnTo>
                    <a:lnTo>
                      <a:pt x="105" y="133"/>
                    </a:lnTo>
                    <a:lnTo>
                      <a:pt x="105" y="133"/>
                    </a:lnTo>
                    <a:lnTo>
                      <a:pt x="114" y="128"/>
                    </a:lnTo>
                    <a:lnTo>
                      <a:pt x="122" y="122"/>
                    </a:lnTo>
                    <a:lnTo>
                      <a:pt x="122" y="122"/>
                    </a:lnTo>
                    <a:lnTo>
                      <a:pt x="127" y="116"/>
                    </a:lnTo>
                    <a:lnTo>
                      <a:pt x="130" y="110"/>
                    </a:lnTo>
                    <a:lnTo>
                      <a:pt x="130" y="110"/>
                    </a:lnTo>
                    <a:lnTo>
                      <a:pt x="133" y="103"/>
                    </a:lnTo>
                    <a:lnTo>
                      <a:pt x="135" y="95"/>
                    </a:lnTo>
                    <a:lnTo>
                      <a:pt x="135" y="95"/>
                    </a:lnTo>
                    <a:lnTo>
                      <a:pt x="136" y="88"/>
                    </a:lnTo>
                    <a:lnTo>
                      <a:pt x="136" y="81"/>
                    </a:lnTo>
                    <a:lnTo>
                      <a:pt x="136" y="81"/>
                    </a:lnTo>
                    <a:lnTo>
                      <a:pt x="134" y="74"/>
                    </a:lnTo>
                    <a:lnTo>
                      <a:pt x="132" y="67"/>
                    </a:lnTo>
                    <a:lnTo>
                      <a:pt x="169"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61" name="Freeform 1983"/>
              <p:cNvSpPr>
                <a:spLocks/>
              </p:cNvSpPr>
              <p:nvPr/>
            </p:nvSpPr>
            <p:spPr bwMode="auto">
              <a:xfrm>
                <a:off x="490538" y="3332163"/>
                <a:ext cx="55563" cy="57150"/>
              </a:xfrm>
              <a:custGeom>
                <a:avLst/>
                <a:gdLst>
                  <a:gd name="T0" fmla="*/ 93 w 214"/>
                  <a:gd name="T1" fmla="*/ 0 h 215"/>
                  <a:gd name="T2" fmla="*/ 214 w 214"/>
                  <a:gd name="T3" fmla="*/ 122 h 215"/>
                  <a:gd name="T4" fmla="*/ 189 w 214"/>
                  <a:gd name="T5" fmla="*/ 146 h 215"/>
                  <a:gd name="T6" fmla="*/ 145 w 214"/>
                  <a:gd name="T7" fmla="*/ 103 h 215"/>
                  <a:gd name="T8" fmla="*/ 103 w 214"/>
                  <a:gd name="T9" fmla="*/ 144 h 215"/>
                  <a:gd name="T10" fmla="*/ 147 w 214"/>
                  <a:gd name="T11" fmla="*/ 189 h 215"/>
                  <a:gd name="T12" fmla="*/ 121 w 214"/>
                  <a:gd name="T13" fmla="*/ 215 h 215"/>
                  <a:gd name="T14" fmla="*/ 0 w 214"/>
                  <a:gd name="T15" fmla="*/ 93 h 215"/>
                  <a:gd name="T16" fmla="*/ 25 w 214"/>
                  <a:gd name="T17" fmla="*/ 68 h 215"/>
                  <a:gd name="T18" fmla="*/ 77 w 214"/>
                  <a:gd name="T19" fmla="*/ 119 h 215"/>
                  <a:gd name="T20" fmla="*/ 119 w 214"/>
                  <a:gd name="T21" fmla="*/ 77 h 215"/>
                  <a:gd name="T22" fmla="*/ 68 w 214"/>
                  <a:gd name="T23" fmla="*/ 26 h 215"/>
                  <a:gd name="T24" fmla="*/ 93 w 214"/>
                  <a:gd name="T25"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4" h="215">
                    <a:moveTo>
                      <a:pt x="93" y="0"/>
                    </a:moveTo>
                    <a:lnTo>
                      <a:pt x="214" y="122"/>
                    </a:lnTo>
                    <a:lnTo>
                      <a:pt x="189" y="146"/>
                    </a:lnTo>
                    <a:lnTo>
                      <a:pt x="145" y="103"/>
                    </a:lnTo>
                    <a:lnTo>
                      <a:pt x="103" y="144"/>
                    </a:lnTo>
                    <a:lnTo>
                      <a:pt x="147" y="189"/>
                    </a:lnTo>
                    <a:lnTo>
                      <a:pt x="121" y="215"/>
                    </a:lnTo>
                    <a:lnTo>
                      <a:pt x="0" y="93"/>
                    </a:lnTo>
                    <a:lnTo>
                      <a:pt x="25" y="68"/>
                    </a:lnTo>
                    <a:lnTo>
                      <a:pt x="77" y="119"/>
                    </a:lnTo>
                    <a:lnTo>
                      <a:pt x="119" y="77"/>
                    </a:lnTo>
                    <a:lnTo>
                      <a:pt x="68" y="26"/>
                    </a:lnTo>
                    <a:lnTo>
                      <a:pt x="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62" name="Freeform 1984"/>
              <p:cNvSpPr>
                <a:spLocks/>
              </p:cNvSpPr>
              <p:nvPr/>
            </p:nvSpPr>
            <p:spPr bwMode="auto">
              <a:xfrm>
                <a:off x="520700" y="3303588"/>
                <a:ext cx="53975" cy="53975"/>
              </a:xfrm>
              <a:custGeom>
                <a:avLst/>
                <a:gdLst>
                  <a:gd name="T0" fmla="*/ 51 w 203"/>
                  <a:gd name="T1" fmla="*/ 83 h 203"/>
                  <a:gd name="T2" fmla="*/ 76 w 203"/>
                  <a:gd name="T3" fmla="*/ 107 h 203"/>
                  <a:gd name="T4" fmla="*/ 130 w 203"/>
                  <a:gd name="T5" fmla="*/ 52 h 203"/>
                  <a:gd name="T6" fmla="*/ 155 w 203"/>
                  <a:gd name="T7" fmla="*/ 78 h 203"/>
                  <a:gd name="T8" fmla="*/ 100 w 203"/>
                  <a:gd name="T9" fmla="*/ 132 h 203"/>
                  <a:gd name="T10" fmla="*/ 122 w 203"/>
                  <a:gd name="T11" fmla="*/ 153 h 203"/>
                  <a:gd name="T12" fmla="*/ 178 w 203"/>
                  <a:gd name="T13" fmla="*/ 96 h 203"/>
                  <a:gd name="T14" fmla="*/ 203 w 203"/>
                  <a:gd name="T15" fmla="*/ 122 h 203"/>
                  <a:gd name="T16" fmla="*/ 122 w 203"/>
                  <a:gd name="T17" fmla="*/ 203 h 203"/>
                  <a:gd name="T18" fmla="*/ 0 w 203"/>
                  <a:gd name="T19" fmla="*/ 83 h 203"/>
                  <a:gd name="T20" fmla="*/ 82 w 203"/>
                  <a:gd name="T21" fmla="*/ 0 h 203"/>
                  <a:gd name="T22" fmla="*/ 107 w 203"/>
                  <a:gd name="T23" fmla="*/ 26 h 203"/>
                  <a:gd name="T24" fmla="*/ 51 w 203"/>
                  <a:gd name="T25" fmla="*/ 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 h="203">
                    <a:moveTo>
                      <a:pt x="51" y="83"/>
                    </a:moveTo>
                    <a:lnTo>
                      <a:pt x="76" y="107"/>
                    </a:lnTo>
                    <a:lnTo>
                      <a:pt x="130" y="52"/>
                    </a:lnTo>
                    <a:lnTo>
                      <a:pt x="155" y="78"/>
                    </a:lnTo>
                    <a:lnTo>
                      <a:pt x="100" y="132"/>
                    </a:lnTo>
                    <a:lnTo>
                      <a:pt x="122" y="153"/>
                    </a:lnTo>
                    <a:lnTo>
                      <a:pt x="178" y="96"/>
                    </a:lnTo>
                    <a:lnTo>
                      <a:pt x="203" y="122"/>
                    </a:lnTo>
                    <a:lnTo>
                      <a:pt x="122" y="203"/>
                    </a:lnTo>
                    <a:lnTo>
                      <a:pt x="0" y="83"/>
                    </a:lnTo>
                    <a:lnTo>
                      <a:pt x="82" y="0"/>
                    </a:lnTo>
                    <a:lnTo>
                      <a:pt x="107" y="26"/>
                    </a:lnTo>
                    <a:lnTo>
                      <a:pt x="51"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63" name="Freeform 1985"/>
              <p:cNvSpPr>
                <a:spLocks/>
              </p:cNvSpPr>
              <p:nvPr/>
            </p:nvSpPr>
            <p:spPr bwMode="auto">
              <a:xfrm>
                <a:off x="557213" y="3276600"/>
                <a:ext cx="46038" cy="44450"/>
              </a:xfrm>
              <a:custGeom>
                <a:avLst/>
                <a:gdLst>
                  <a:gd name="T0" fmla="*/ 170 w 172"/>
                  <a:gd name="T1" fmla="*/ 65 h 170"/>
                  <a:gd name="T2" fmla="*/ 172 w 172"/>
                  <a:gd name="T3" fmla="*/ 87 h 170"/>
                  <a:gd name="T4" fmla="*/ 171 w 172"/>
                  <a:gd name="T5" fmla="*/ 98 h 170"/>
                  <a:gd name="T6" fmla="*/ 169 w 172"/>
                  <a:gd name="T7" fmla="*/ 108 h 170"/>
                  <a:gd name="T8" fmla="*/ 160 w 172"/>
                  <a:gd name="T9" fmla="*/ 128 h 170"/>
                  <a:gd name="T10" fmla="*/ 154 w 172"/>
                  <a:gd name="T11" fmla="*/ 138 h 170"/>
                  <a:gd name="T12" fmla="*/ 146 w 172"/>
                  <a:gd name="T13" fmla="*/ 146 h 170"/>
                  <a:gd name="T14" fmla="*/ 133 w 172"/>
                  <a:gd name="T15" fmla="*/ 157 h 170"/>
                  <a:gd name="T16" fmla="*/ 118 w 172"/>
                  <a:gd name="T17" fmla="*/ 164 h 170"/>
                  <a:gd name="T18" fmla="*/ 110 w 172"/>
                  <a:gd name="T19" fmla="*/ 167 h 170"/>
                  <a:gd name="T20" fmla="*/ 94 w 172"/>
                  <a:gd name="T21" fmla="*/ 170 h 170"/>
                  <a:gd name="T22" fmla="*/ 86 w 172"/>
                  <a:gd name="T23" fmla="*/ 170 h 170"/>
                  <a:gd name="T24" fmla="*/ 69 w 172"/>
                  <a:gd name="T25" fmla="*/ 169 h 170"/>
                  <a:gd name="T26" fmla="*/ 53 w 172"/>
                  <a:gd name="T27" fmla="*/ 164 h 170"/>
                  <a:gd name="T28" fmla="*/ 46 w 172"/>
                  <a:gd name="T29" fmla="*/ 161 h 170"/>
                  <a:gd name="T30" fmla="*/ 32 w 172"/>
                  <a:gd name="T31" fmla="*/ 151 h 170"/>
                  <a:gd name="T32" fmla="*/ 25 w 172"/>
                  <a:gd name="T33" fmla="*/ 146 h 170"/>
                  <a:gd name="T34" fmla="*/ 14 w 172"/>
                  <a:gd name="T35" fmla="*/ 133 h 170"/>
                  <a:gd name="T36" fmla="*/ 6 w 172"/>
                  <a:gd name="T37" fmla="*/ 117 h 170"/>
                  <a:gd name="T38" fmla="*/ 4 w 172"/>
                  <a:gd name="T39" fmla="*/ 109 h 170"/>
                  <a:gd name="T40" fmla="*/ 1 w 172"/>
                  <a:gd name="T41" fmla="*/ 93 h 170"/>
                  <a:gd name="T42" fmla="*/ 0 w 172"/>
                  <a:gd name="T43" fmla="*/ 85 h 170"/>
                  <a:gd name="T44" fmla="*/ 2 w 172"/>
                  <a:gd name="T45" fmla="*/ 68 h 170"/>
                  <a:gd name="T46" fmla="*/ 6 w 172"/>
                  <a:gd name="T47" fmla="*/ 53 h 170"/>
                  <a:gd name="T48" fmla="*/ 10 w 172"/>
                  <a:gd name="T49" fmla="*/ 45 h 170"/>
                  <a:gd name="T50" fmla="*/ 19 w 172"/>
                  <a:gd name="T51" fmla="*/ 30 h 170"/>
                  <a:gd name="T52" fmla="*/ 25 w 172"/>
                  <a:gd name="T53" fmla="*/ 24 h 170"/>
                  <a:gd name="T54" fmla="*/ 43 w 172"/>
                  <a:gd name="T55" fmla="*/ 11 h 170"/>
                  <a:gd name="T56" fmla="*/ 53 w 172"/>
                  <a:gd name="T57" fmla="*/ 6 h 170"/>
                  <a:gd name="T58" fmla="*/ 63 w 172"/>
                  <a:gd name="T59" fmla="*/ 2 h 170"/>
                  <a:gd name="T60" fmla="*/ 84 w 172"/>
                  <a:gd name="T61" fmla="*/ 0 h 170"/>
                  <a:gd name="T62" fmla="*/ 95 w 172"/>
                  <a:gd name="T63" fmla="*/ 0 h 170"/>
                  <a:gd name="T64" fmla="*/ 105 w 172"/>
                  <a:gd name="T65" fmla="*/ 39 h 170"/>
                  <a:gd name="T66" fmla="*/ 98 w 172"/>
                  <a:gd name="T67" fmla="*/ 37 h 170"/>
                  <a:gd name="T68" fmla="*/ 91 w 172"/>
                  <a:gd name="T69" fmla="*/ 35 h 170"/>
                  <a:gd name="T70" fmla="*/ 77 w 172"/>
                  <a:gd name="T71" fmla="*/ 36 h 170"/>
                  <a:gd name="T72" fmla="*/ 69 w 172"/>
                  <a:gd name="T73" fmla="*/ 38 h 170"/>
                  <a:gd name="T74" fmla="*/ 62 w 172"/>
                  <a:gd name="T75" fmla="*/ 41 h 170"/>
                  <a:gd name="T76" fmla="*/ 50 w 172"/>
                  <a:gd name="T77" fmla="*/ 49 h 170"/>
                  <a:gd name="T78" fmla="*/ 44 w 172"/>
                  <a:gd name="T79" fmla="*/ 57 h 170"/>
                  <a:gd name="T80" fmla="*/ 39 w 172"/>
                  <a:gd name="T81" fmla="*/ 66 h 170"/>
                  <a:gd name="T82" fmla="*/ 36 w 172"/>
                  <a:gd name="T83" fmla="*/ 85 h 170"/>
                  <a:gd name="T84" fmla="*/ 37 w 172"/>
                  <a:gd name="T85" fmla="*/ 95 h 170"/>
                  <a:gd name="T86" fmla="*/ 39 w 172"/>
                  <a:gd name="T87" fmla="*/ 104 h 170"/>
                  <a:gd name="T88" fmla="*/ 50 w 172"/>
                  <a:gd name="T89" fmla="*/ 120 h 170"/>
                  <a:gd name="T90" fmla="*/ 58 w 172"/>
                  <a:gd name="T91" fmla="*/ 128 h 170"/>
                  <a:gd name="T92" fmla="*/ 67 w 172"/>
                  <a:gd name="T93" fmla="*/ 132 h 170"/>
                  <a:gd name="T94" fmla="*/ 86 w 172"/>
                  <a:gd name="T95" fmla="*/ 136 h 170"/>
                  <a:gd name="T96" fmla="*/ 95 w 172"/>
                  <a:gd name="T97" fmla="*/ 135 h 170"/>
                  <a:gd name="T98" fmla="*/ 105 w 172"/>
                  <a:gd name="T99" fmla="*/ 132 h 170"/>
                  <a:gd name="T100" fmla="*/ 122 w 172"/>
                  <a:gd name="T101" fmla="*/ 120 h 170"/>
                  <a:gd name="T102" fmla="*/ 127 w 172"/>
                  <a:gd name="T103" fmla="*/ 115 h 170"/>
                  <a:gd name="T104" fmla="*/ 131 w 172"/>
                  <a:gd name="T105" fmla="*/ 108 h 170"/>
                  <a:gd name="T106" fmla="*/ 136 w 172"/>
                  <a:gd name="T107" fmla="*/ 95 h 170"/>
                  <a:gd name="T108" fmla="*/ 136 w 172"/>
                  <a:gd name="T109" fmla="*/ 87 h 170"/>
                  <a:gd name="T110" fmla="*/ 136 w 172"/>
                  <a:gd name="T111" fmla="*/ 80 h 170"/>
                  <a:gd name="T112" fmla="*/ 132 w 172"/>
                  <a:gd name="T113" fmla="*/ 6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2" h="170">
                    <a:moveTo>
                      <a:pt x="170" y="65"/>
                    </a:moveTo>
                    <a:lnTo>
                      <a:pt x="170" y="65"/>
                    </a:lnTo>
                    <a:lnTo>
                      <a:pt x="171" y="76"/>
                    </a:lnTo>
                    <a:lnTo>
                      <a:pt x="172" y="87"/>
                    </a:lnTo>
                    <a:lnTo>
                      <a:pt x="172" y="87"/>
                    </a:lnTo>
                    <a:lnTo>
                      <a:pt x="171" y="98"/>
                    </a:lnTo>
                    <a:lnTo>
                      <a:pt x="169" y="108"/>
                    </a:lnTo>
                    <a:lnTo>
                      <a:pt x="169" y="108"/>
                    </a:lnTo>
                    <a:lnTo>
                      <a:pt x="165" y="118"/>
                    </a:lnTo>
                    <a:lnTo>
                      <a:pt x="160" y="128"/>
                    </a:lnTo>
                    <a:lnTo>
                      <a:pt x="160" y="128"/>
                    </a:lnTo>
                    <a:lnTo>
                      <a:pt x="154" y="138"/>
                    </a:lnTo>
                    <a:lnTo>
                      <a:pt x="146" y="146"/>
                    </a:lnTo>
                    <a:lnTo>
                      <a:pt x="146" y="146"/>
                    </a:lnTo>
                    <a:lnTo>
                      <a:pt x="140" y="152"/>
                    </a:lnTo>
                    <a:lnTo>
                      <a:pt x="133" y="157"/>
                    </a:lnTo>
                    <a:lnTo>
                      <a:pt x="126" y="161"/>
                    </a:lnTo>
                    <a:lnTo>
                      <a:pt x="118" y="164"/>
                    </a:lnTo>
                    <a:lnTo>
                      <a:pt x="118" y="164"/>
                    </a:lnTo>
                    <a:lnTo>
                      <a:pt x="110" y="167"/>
                    </a:lnTo>
                    <a:lnTo>
                      <a:pt x="102" y="169"/>
                    </a:lnTo>
                    <a:lnTo>
                      <a:pt x="94" y="170"/>
                    </a:lnTo>
                    <a:lnTo>
                      <a:pt x="86" y="170"/>
                    </a:lnTo>
                    <a:lnTo>
                      <a:pt x="86" y="170"/>
                    </a:lnTo>
                    <a:lnTo>
                      <a:pt x="78" y="170"/>
                    </a:lnTo>
                    <a:lnTo>
                      <a:pt x="69" y="169"/>
                    </a:lnTo>
                    <a:lnTo>
                      <a:pt x="61" y="167"/>
                    </a:lnTo>
                    <a:lnTo>
                      <a:pt x="53" y="164"/>
                    </a:lnTo>
                    <a:lnTo>
                      <a:pt x="53" y="164"/>
                    </a:lnTo>
                    <a:lnTo>
                      <a:pt x="46" y="161"/>
                    </a:lnTo>
                    <a:lnTo>
                      <a:pt x="39" y="156"/>
                    </a:lnTo>
                    <a:lnTo>
                      <a:pt x="32" y="151"/>
                    </a:lnTo>
                    <a:lnTo>
                      <a:pt x="25" y="146"/>
                    </a:lnTo>
                    <a:lnTo>
                      <a:pt x="25" y="146"/>
                    </a:lnTo>
                    <a:lnTo>
                      <a:pt x="19" y="139"/>
                    </a:lnTo>
                    <a:lnTo>
                      <a:pt x="14" y="133"/>
                    </a:lnTo>
                    <a:lnTo>
                      <a:pt x="10" y="124"/>
                    </a:lnTo>
                    <a:lnTo>
                      <a:pt x="6" y="117"/>
                    </a:lnTo>
                    <a:lnTo>
                      <a:pt x="6" y="117"/>
                    </a:lnTo>
                    <a:lnTo>
                      <a:pt x="4" y="109"/>
                    </a:lnTo>
                    <a:lnTo>
                      <a:pt x="2" y="101"/>
                    </a:lnTo>
                    <a:lnTo>
                      <a:pt x="1" y="93"/>
                    </a:lnTo>
                    <a:lnTo>
                      <a:pt x="0" y="85"/>
                    </a:lnTo>
                    <a:lnTo>
                      <a:pt x="0" y="85"/>
                    </a:lnTo>
                    <a:lnTo>
                      <a:pt x="1" y="76"/>
                    </a:lnTo>
                    <a:lnTo>
                      <a:pt x="2" y="68"/>
                    </a:lnTo>
                    <a:lnTo>
                      <a:pt x="4" y="61"/>
                    </a:lnTo>
                    <a:lnTo>
                      <a:pt x="6" y="53"/>
                    </a:lnTo>
                    <a:lnTo>
                      <a:pt x="6" y="53"/>
                    </a:lnTo>
                    <a:lnTo>
                      <a:pt x="10" y="45"/>
                    </a:lnTo>
                    <a:lnTo>
                      <a:pt x="14" y="38"/>
                    </a:lnTo>
                    <a:lnTo>
                      <a:pt x="19" y="30"/>
                    </a:lnTo>
                    <a:lnTo>
                      <a:pt x="25" y="24"/>
                    </a:lnTo>
                    <a:lnTo>
                      <a:pt x="25" y="24"/>
                    </a:lnTo>
                    <a:lnTo>
                      <a:pt x="34" y="17"/>
                    </a:lnTo>
                    <a:lnTo>
                      <a:pt x="43" y="11"/>
                    </a:lnTo>
                    <a:lnTo>
                      <a:pt x="43" y="11"/>
                    </a:lnTo>
                    <a:lnTo>
                      <a:pt x="53" y="6"/>
                    </a:lnTo>
                    <a:lnTo>
                      <a:pt x="63" y="2"/>
                    </a:lnTo>
                    <a:lnTo>
                      <a:pt x="63" y="2"/>
                    </a:lnTo>
                    <a:lnTo>
                      <a:pt x="74" y="0"/>
                    </a:lnTo>
                    <a:lnTo>
                      <a:pt x="84" y="0"/>
                    </a:lnTo>
                    <a:lnTo>
                      <a:pt x="84" y="0"/>
                    </a:lnTo>
                    <a:lnTo>
                      <a:pt x="95" y="0"/>
                    </a:lnTo>
                    <a:lnTo>
                      <a:pt x="105" y="2"/>
                    </a:lnTo>
                    <a:lnTo>
                      <a:pt x="105" y="39"/>
                    </a:lnTo>
                    <a:lnTo>
                      <a:pt x="105" y="39"/>
                    </a:lnTo>
                    <a:lnTo>
                      <a:pt x="98" y="37"/>
                    </a:lnTo>
                    <a:lnTo>
                      <a:pt x="91" y="35"/>
                    </a:lnTo>
                    <a:lnTo>
                      <a:pt x="91" y="35"/>
                    </a:lnTo>
                    <a:lnTo>
                      <a:pt x="84" y="35"/>
                    </a:lnTo>
                    <a:lnTo>
                      <a:pt x="77" y="36"/>
                    </a:lnTo>
                    <a:lnTo>
                      <a:pt x="77" y="36"/>
                    </a:lnTo>
                    <a:lnTo>
                      <a:pt x="69" y="38"/>
                    </a:lnTo>
                    <a:lnTo>
                      <a:pt x="62" y="41"/>
                    </a:lnTo>
                    <a:lnTo>
                      <a:pt x="62" y="41"/>
                    </a:lnTo>
                    <a:lnTo>
                      <a:pt x="56" y="44"/>
                    </a:lnTo>
                    <a:lnTo>
                      <a:pt x="50" y="49"/>
                    </a:lnTo>
                    <a:lnTo>
                      <a:pt x="50" y="49"/>
                    </a:lnTo>
                    <a:lnTo>
                      <a:pt x="44" y="57"/>
                    </a:lnTo>
                    <a:lnTo>
                      <a:pt x="39" y="66"/>
                    </a:lnTo>
                    <a:lnTo>
                      <a:pt x="39" y="66"/>
                    </a:lnTo>
                    <a:lnTo>
                      <a:pt x="37" y="75"/>
                    </a:lnTo>
                    <a:lnTo>
                      <a:pt x="36" y="85"/>
                    </a:lnTo>
                    <a:lnTo>
                      <a:pt x="36" y="85"/>
                    </a:lnTo>
                    <a:lnTo>
                      <a:pt x="37" y="95"/>
                    </a:lnTo>
                    <a:lnTo>
                      <a:pt x="39" y="104"/>
                    </a:lnTo>
                    <a:lnTo>
                      <a:pt x="39" y="104"/>
                    </a:lnTo>
                    <a:lnTo>
                      <a:pt x="44" y="113"/>
                    </a:lnTo>
                    <a:lnTo>
                      <a:pt x="50" y="120"/>
                    </a:lnTo>
                    <a:lnTo>
                      <a:pt x="50" y="120"/>
                    </a:lnTo>
                    <a:lnTo>
                      <a:pt x="58" y="128"/>
                    </a:lnTo>
                    <a:lnTo>
                      <a:pt x="67" y="132"/>
                    </a:lnTo>
                    <a:lnTo>
                      <a:pt x="67" y="132"/>
                    </a:lnTo>
                    <a:lnTo>
                      <a:pt x="77" y="135"/>
                    </a:lnTo>
                    <a:lnTo>
                      <a:pt x="86" y="136"/>
                    </a:lnTo>
                    <a:lnTo>
                      <a:pt x="86" y="136"/>
                    </a:lnTo>
                    <a:lnTo>
                      <a:pt x="95" y="135"/>
                    </a:lnTo>
                    <a:lnTo>
                      <a:pt x="105" y="132"/>
                    </a:lnTo>
                    <a:lnTo>
                      <a:pt x="105" y="132"/>
                    </a:lnTo>
                    <a:lnTo>
                      <a:pt x="113" y="128"/>
                    </a:lnTo>
                    <a:lnTo>
                      <a:pt x="122" y="120"/>
                    </a:lnTo>
                    <a:lnTo>
                      <a:pt x="122" y="120"/>
                    </a:lnTo>
                    <a:lnTo>
                      <a:pt x="127" y="115"/>
                    </a:lnTo>
                    <a:lnTo>
                      <a:pt x="131" y="108"/>
                    </a:lnTo>
                    <a:lnTo>
                      <a:pt x="131" y="108"/>
                    </a:lnTo>
                    <a:lnTo>
                      <a:pt x="134" y="102"/>
                    </a:lnTo>
                    <a:lnTo>
                      <a:pt x="136" y="95"/>
                    </a:lnTo>
                    <a:lnTo>
                      <a:pt x="136" y="95"/>
                    </a:lnTo>
                    <a:lnTo>
                      <a:pt x="136" y="87"/>
                    </a:lnTo>
                    <a:lnTo>
                      <a:pt x="136" y="80"/>
                    </a:lnTo>
                    <a:lnTo>
                      <a:pt x="136" y="80"/>
                    </a:lnTo>
                    <a:lnTo>
                      <a:pt x="135" y="72"/>
                    </a:lnTo>
                    <a:lnTo>
                      <a:pt x="132" y="65"/>
                    </a:lnTo>
                    <a:lnTo>
                      <a:pt x="170"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64" name="Freeform 1986"/>
              <p:cNvSpPr>
                <a:spLocks/>
              </p:cNvSpPr>
              <p:nvPr/>
            </p:nvSpPr>
            <p:spPr bwMode="auto">
              <a:xfrm>
                <a:off x="584200" y="3238500"/>
                <a:ext cx="58738" cy="57150"/>
              </a:xfrm>
              <a:custGeom>
                <a:avLst/>
                <a:gdLst>
                  <a:gd name="T0" fmla="*/ 93 w 227"/>
                  <a:gd name="T1" fmla="*/ 0 h 214"/>
                  <a:gd name="T2" fmla="*/ 108 w 227"/>
                  <a:gd name="T3" fmla="*/ 18 h 214"/>
                  <a:gd name="T4" fmla="*/ 114 w 227"/>
                  <a:gd name="T5" fmla="*/ 27 h 214"/>
                  <a:gd name="T6" fmla="*/ 120 w 227"/>
                  <a:gd name="T7" fmla="*/ 36 h 214"/>
                  <a:gd name="T8" fmla="*/ 127 w 227"/>
                  <a:gd name="T9" fmla="*/ 52 h 214"/>
                  <a:gd name="T10" fmla="*/ 131 w 227"/>
                  <a:gd name="T11" fmla="*/ 66 h 214"/>
                  <a:gd name="T12" fmla="*/ 132 w 227"/>
                  <a:gd name="T13" fmla="*/ 74 h 214"/>
                  <a:gd name="T14" fmla="*/ 132 w 227"/>
                  <a:gd name="T15" fmla="*/ 90 h 214"/>
                  <a:gd name="T16" fmla="*/ 132 w 227"/>
                  <a:gd name="T17" fmla="*/ 96 h 214"/>
                  <a:gd name="T18" fmla="*/ 147 w 227"/>
                  <a:gd name="T19" fmla="*/ 85 h 214"/>
                  <a:gd name="T20" fmla="*/ 155 w 227"/>
                  <a:gd name="T21" fmla="*/ 82 h 214"/>
                  <a:gd name="T22" fmla="*/ 164 w 227"/>
                  <a:gd name="T23" fmla="*/ 80 h 214"/>
                  <a:gd name="T24" fmla="*/ 180 w 227"/>
                  <a:gd name="T25" fmla="*/ 82 h 214"/>
                  <a:gd name="T26" fmla="*/ 188 w 227"/>
                  <a:gd name="T27" fmla="*/ 84 h 214"/>
                  <a:gd name="T28" fmla="*/ 195 w 227"/>
                  <a:gd name="T29" fmla="*/ 87 h 214"/>
                  <a:gd name="T30" fmla="*/ 212 w 227"/>
                  <a:gd name="T31" fmla="*/ 96 h 214"/>
                  <a:gd name="T32" fmla="*/ 227 w 227"/>
                  <a:gd name="T33" fmla="*/ 108 h 214"/>
                  <a:gd name="T34" fmla="*/ 202 w 227"/>
                  <a:gd name="T35" fmla="*/ 134 h 214"/>
                  <a:gd name="T36" fmla="*/ 191 w 227"/>
                  <a:gd name="T37" fmla="*/ 124 h 214"/>
                  <a:gd name="T38" fmla="*/ 186 w 227"/>
                  <a:gd name="T39" fmla="*/ 122 h 214"/>
                  <a:gd name="T40" fmla="*/ 181 w 227"/>
                  <a:gd name="T41" fmla="*/ 120 h 214"/>
                  <a:gd name="T42" fmla="*/ 172 w 227"/>
                  <a:gd name="T43" fmla="*/ 119 h 214"/>
                  <a:gd name="T44" fmla="*/ 164 w 227"/>
                  <a:gd name="T45" fmla="*/ 120 h 214"/>
                  <a:gd name="T46" fmla="*/ 154 w 227"/>
                  <a:gd name="T47" fmla="*/ 124 h 214"/>
                  <a:gd name="T48" fmla="*/ 117 w 227"/>
                  <a:gd name="T49" fmla="*/ 159 h 214"/>
                  <a:gd name="T50" fmla="*/ 122 w 227"/>
                  <a:gd name="T51" fmla="*/ 214 h 214"/>
                  <a:gd name="T52" fmla="*/ 25 w 227"/>
                  <a:gd name="T53" fmla="*/ 68 h 214"/>
                  <a:gd name="T54" fmla="*/ 80 w 227"/>
                  <a:gd name="T55" fmla="*/ 123 h 214"/>
                  <a:gd name="T56" fmla="*/ 91 w 227"/>
                  <a:gd name="T57" fmla="*/ 107 h 214"/>
                  <a:gd name="T58" fmla="*/ 94 w 227"/>
                  <a:gd name="T59" fmla="*/ 99 h 214"/>
                  <a:gd name="T60" fmla="*/ 96 w 227"/>
                  <a:gd name="T61" fmla="*/ 90 h 214"/>
                  <a:gd name="T62" fmla="*/ 94 w 227"/>
                  <a:gd name="T63" fmla="*/ 73 h 214"/>
                  <a:gd name="T64" fmla="*/ 92 w 227"/>
                  <a:gd name="T65" fmla="*/ 65 h 214"/>
                  <a:gd name="T66" fmla="*/ 90 w 227"/>
                  <a:gd name="T67" fmla="*/ 58 h 214"/>
                  <a:gd name="T68" fmla="*/ 81 w 227"/>
                  <a:gd name="T69" fmla="*/ 41 h 214"/>
                  <a:gd name="T70" fmla="*/ 69 w 227"/>
                  <a:gd name="T71" fmla="*/ 2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7" h="214">
                    <a:moveTo>
                      <a:pt x="93" y="0"/>
                    </a:moveTo>
                    <a:lnTo>
                      <a:pt x="93" y="0"/>
                    </a:lnTo>
                    <a:lnTo>
                      <a:pt x="101" y="9"/>
                    </a:lnTo>
                    <a:lnTo>
                      <a:pt x="108" y="18"/>
                    </a:lnTo>
                    <a:lnTo>
                      <a:pt x="108" y="18"/>
                    </a:lnTo>
                    <a:lnTo>
                      <a:pt x="114" y="27"/>
                    </a:lnTo>
                    <a:lnTo>
                      <a:pt x="120" y="36"/>
                    </a:lnTo>
                    <a:lnTo>
                      <a:pt x="120" y="36"/>
                    </a:lnTo>
                    <a:lnTo>
                      <a:pt x="124" y="44"/>
                    </a:lnTo>
                    <a:lnTo>
                      <a:pt x="127" y="52"/>
                    </a:lnTo>
                    <a:lnTo>
                      <a:pt x="127" y="52"/>
                    </a:lnTo>
                    <a:lnTo>
                      <a:pt x="131" y="66"/>
                    </a:lnTo>
                    <a:lnTo>
                      <a:pt x="131" y="66"/>
                    </a:lnTo>
                    <a:lnTo>
                      <a:pt x="132" y="74"/>
                    </a:lnTo>
                    <a:lnTo>
                      <a:pt x="133" y="82"/>
                    </a:lnTo>
                    <a:lnTo>
                      <a:pt x="132" y="90"/>
                    </a:lnTo>
                    <a:lnTo>
                      <a:pt x="132" y="96"/>
                    </a:lnTo>
                    <a:lnTo>
                      <a:pt x="132" y="96"/>
                    </a:lnTo>
                    <a:lnTo>
                      <a:pt x="139" y="90"/>
                    </a:lnTo>
                    <a:lnTo>
                      <a:pt x="147" y="85"/>
                    </a:lnTo>
                    <a:lnTo>
                      <a:pt x="147" y="85"/>
                    </a:lnTo>
                    <a:lnTo>
                      <a:pt x="155" y="82"/>
                    </a:lnTo>
                    <a:lnTo>
                      <a:pt x="164" y="80"/>
                    </a:lnTo>
                    <a:lnTo>
                      <a:pt x="164" y="80"/>
                    </a:lnTo>
                    <a:lnTo>
                      <a:pt x="172" y="80"/>
                    </a:lnTo>
                    <a:lnTo>
                      <a:pt x="180" y="82"/>
                    </a:lnTo>
                    <a:lnTo>
                      <a:pt x="180" y="82"/>
                    </a:lnTo>
                    <a:lnTo>
                      <a:pt x="188" y="84"/>
                    </a:lnTo>
                    <a:lnTo>
                      <a:pt x="195" y="87"/>
                    </a:lnTo>
                    <a:lnTo>
                      <a:pt x="195" y="87"/>
                    </a:lnTo>
                    <a:lnTo>
                      <a:pt x="203" y="91"/>
                    </a:lnTo>
                    <a:lnTo>
                      <a:pt x="212" y="96"/>
                    </a:lnTo>
                    <a:lnTo>
                      <a:pt x="219" y="102"/>
                    </a:lnTo>
                    <a:lnTo>
                      <a:pt x="227" y="108"/>
                    </a:lnTo>
                    <a:lnTo>
                      <a:pt x="202" y="134"/>
                    </a:lnTo>
                    <a:lnTo>
                      <a:pt x="202" y="134"/>
                    </a:lnTo>
                    <a:lnTo>
                      <a:pt x="196" y="129"/>
                    </a:lnTo>
                    <a:lnTo>
                      <a:pt x="191" y="124"/>
                    </a:lnTo>
                    <a:lnTo>
                      <a:pt x="191" y="124"/>
                    </a:lnTo>
                    <a:lnTo>
                      <a:pt x="186" y="122"/>
                    </a:lnTo>
                    <a:lnTo>
                      <a:pt x="181" y="120"/>
                    </a:lnTo>
                    <a:lnTo>
                      <a:pt x="181" y="120"/>
                    </a:lnTo>
                    <a:lnTo>
                      <a:pt x="176" y="119"/>
                    </a:lnTo>
                    <a:lnTo>
                      <a:pt x="172" y="119"/>
                    </a:lnTo>
                    <a:lnTo>
                      <a:pt x="172" y="119"/>
                    </a:lnTo>
                    <a:lnTo>
                      <a:pt x="164" y="120"/>
                    </a:lnTo>
                    <a:lnTo>
                      <a:pt x="164" y="120"/>
                    </a:lnTo>
                    <a:lnTo>
                      <a:pt x="154" y="124"/>
                    </a:lnTo>
                    <a:lnTo>
                      <a:pt x="146" y="130"/>
                    </a:lnTo>
                    <a:lnTo>
                      <a:pt x="117" y="159"/>
                    </a:lnTo>
                    <a:lnTo>
                      <a:pt x="146" y="190"/>
                    </a:lnTo>
                    <a:lnTo>
                      <a:pt x="122" y="214"/>
                    </a:lnTo>
                    <a:lnTo>
                      <a:pt x="0" y="93"/>
                    </a:lnTo>
                    <a:lnTo>
                      <a:pt x="25" y="68"/>
                    </a:lnTo>
                    <a:lnTo>
                      <a:pt x="80" y="123"/>
                    </a:lnTo>
                    <a:lnTo>
                      <a:pt x="80" y="123"/>
                    </a:lnTo>
                    <a:lnTo>
                      <a:pt x="87" y="115"/>
                    </a:lnTo>
                    <a:lnTo>
                      <a:pt x="91" y="107"/>
                    </a:lnTo>
                    <a:lnTo>
                      <a:pt x="91" y="107"/>
                    </a:lnTo>
                    <a:lnTo>
                      <a:pt x="94" y="99"/>
                    </a:lnTo>
                    <a:lnTo>
                      <a:pt x="96" y="90"/>
                    </a:lnTo>
                    <a:lnTo>
                      <a:pt x="96" y="90"/>
                    </a:lnTo>
                    <a:lnTo>
                      <a:pt x="96" y="82"/>
                    </a:lnTo>
                    <a:lnTo>
                      <a:pt x="94" y="73"/>
                    </a:lnTo>
                    <a:lnTo>
                      <a:pt x="94" y="73"/>
                    </a:lnTo>
                    <a:lnTo>
                      <a:pt x="92" y="65"/>
                    </a:lnTo>
                    <a:lnTo>
                      <a:pt x="90" y="58"/>
                    </a:lnTo>
                    <a:lnTo>
                      <a:pt x="90" y="58"/>
                    </a:lnTo>
                    <a:lnTo>
                      <a:pt x="86" y="50"/>
                    </a:lnTo>
                    <a:lnTo>
                      <a:pt x="81" y="41"/>
                    </a:lnTo>
                    <a:lnTo>
                      <a:pt x="75" y="32"/>
                    </a:lnTo>
                    <a:lnTo>
                      <a:pt x="69" y="24"/>
                    </a:lnTo>
                    <a:lnTo>
                      <a:pt x="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65" name="Freeform 1987"/>
              <p:cNvSpPr>
                <a:spLocks/>
              </p:cNvSpPr>
              <p:nvPr/>
            </p:nvSpPr>
            <p:spPr bwMode="auto">
              <a:xfrm>
                <a:off x="633413" y="3240088"/>
                <a:ext cx="12700" cy="14288"/>
              </a:xfrm>
              <a:custGeom>
                <a:avLst/>
                <a:gdLst>
                  <a:gd name="T0" fmla="*/ 41 w 52"/>
                  <a:gd name="T1" fmla="*/ 0 h 52"/>
                  <a:gd name="T2" fmla="*/ 52 w 52"/>
                  <a:gd name="T3" fmla="*/ 11 h 52"/>
                  <a:gd name="T4" fmla="*/ 11 w 52"/>
                  <a:gd name="T5" fmla="*/ 52 h 52"/>
                  <a:gd name="T6" fmla="*/ 0 w 52"/>
                  <a:gd name="T7" fmla="*/ 41 h 52"/>
                  <a:gd name="T8" fmla="*/ 41 w 52"/>
                  <a:gd name="T9" fmla="*/ 0 h 52"/>
                </a:gdLst>
                <a:ahLst/>
                <a:cxnLst>
                  <a:cxn ang="0">
                    <a:pos x="T0" y="T1"/>
                  </a:cxn>
                  <a:cxn ang="0">
                    <a:pos x="T2" y="T3"/>
                  </a:cxn>
                  <a:cxn ang="0">
                    <a:pos x="T4" y="T5"/>
                  </a:cxn>
                  <a:cxn ang="0">
                    <a:pos x="T6" y="T7"/>
                  </a:cxn>
                  <a:cxn ang="0">
                    <a:pos x="T8" y="T9"/>
                  </a:cxn>
                </a:cxnLst>
                <a:rect l="0" t="0" r="r" b="b"/>
                <a:pathLst>
                  <a:path w="52" h="52">
                    <a:moveTo>
                      <a:pt x="41" y="0"/>
                    </a:moveTo>
                    <a:lnTo>
                      <a:pt x="52" y="11"/>
                    </a:lnTo>
                    <a:lnTo>
                      <a:pt x="11" y="52"/>
                    </a:lnTo>
                    <a:lnTo>
                      <a:pt x="0" y="41"/>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66" name="Freeform 1988"/>
              <p:cNvSpPr>
                <a:spLocks/>
              </p:cNvSpPr>
              <p:nvPr/>
            </p:nvSpPr>
            <p:spPr bwMode="auto">
              <a:xfrm>
                <a:off x="630238" y="3209925"/>
                <a:ext cx="38100" cy="39688"/>
              </a:xfrm>
              <a:custGeom>
                <a:avLst/>
                <a:gdLst>
                  <a:gd name="T0" fmla="*/ 25 w 146"/>
                  <a:gd name="T1" fmla="*/ 0 h 147"/>
                  <a:gd name="T2" fmla="*/ 146 w 146"/>
                  <a:gd name="T3" fmla="*/ 121 h 147"/>
                  <a:gd name="T4" fmla="*/ 121 w 146"/>
                  <a:gd name="T5" fmla="*/ 147 h 147"/>
                  <a:gd name="T6" fmla="*/ 0 w 146"/>
                  <a:gd name="T7" fmla="*/ 25 h 147"/>
                  <a:gd name="T8" fmla="*/ 25 w 146"/>
                  <a:gd name="T9" fmla="*/ 0 h 147"/>
                </a:gdLst>
                <a:ahLst/>
                <a:cxnLst>
                  <a:cxn ang="0">
                    <a:pos x="T0" y="T1"/>
                  </a:cxn>
                  <a:cxn ang="0">
                    <a:pos x="T2" y="T3"/>
                  </a:cxn>
                  <a:cxn ang="0">
                    <a:pos x="T4" y="T5"/>
                  </a:cxn>
                  <a:cxn ang="0">
                    <a:pos x="T6" y="T7"/>
                  </a:cxn>
                  <a:cxn ang="0">
                    <a:pos x="T8" y="T9"/>
                  </a:cxn>
                </a:cxnLst>
                <a:rect l="0" t="0" r="r" b="b"/>
                <a:pathLst>
                  <a:path w="146" h="147">
                    <a:moveTo>
                      <a:pt x="25" y="0"/>
                    </a:moveTo>
                    <a:lnTo>
                      <a:pt x="146" y="121"/>
                    </a:lnTo>
                    <a:lnTo>
                      <a:pt x="121" y="147"/>
                    </a:lnTo>
                    <a:lnTo>
                      <a:pt x="0" y="25"/>
                    </a:lnTo>
                    <a:lnTo>
                      <a:pt x="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67" name="Freeform 1989"/>
              <p:cNvSpPr>
                <a:spLocks/>
              </p:cNvSpPr>
              <p:nvPr/>
            </p:nvSpPr>
            <p:spPr bwMode="auto">
              <a:xfrm>
                <a:off x="644525" y="3173413"/>
                <a:ext cx="60325" cy="61913"/>
              </a:xfrm>
              <a:custGeom>
                <a:avLst/>
                <a:gdLst>
                  <a:gd name="T0" fmla="*/ 81 w 228"/>
                  <a:gd name="T1" fmla="*/ 26 h 228"/>
                  <a:gd name="T2" fmla="*/ 106 w 228"/>
                  <a:gd name="T3" fmla="*/ 0 h 228"/>
                  <a:gd name="T4" fmla="*/ 228 w 228"/>
                  <a:gd name="T5" fmla="*/ 121 h 228"/>
                  <a:gd name="T6" fmla="*/ 199 w 228"/>
                  <a:gd name="T7" fmla="*/ 150 h 228"/>
                  <a:gd name="T8" fmla="*/ 68 w 228"/>
                  <a:gd name="T9" fmla="*/ 123 h 228"/>
                  <a:gd name="T10" fmla="*/ 147 w 228"/>
                  <a:gd name="T11" fmla="*/ 202 h 228"/>
                  <a:gd name="T12" fmla="*/ 122 w 228"/>
                  <a:gd name="T13" fmla="*/ 228 h 228"/>
                  <a:gd name="T14" fmla="*/ 0 w 228"/>
                  <a:gd name="T15" fmla="*/ 107 h 228"/>
                  <a:gd name="T16" fmla="*/ 29 w 228"/>
                  <a:gd name="T17" fmla="*/ 78 h 228"/>
                  <a:gd name="T18" fmla="*/ 159 w 228"/>
                  <a:gd name="T19" fmla="*/ 105 h 228"/>
                  <a:gd name="T20" fmla="*/ 81 w 228"/>
                  <a:gd name="T21" fmla="*/ 2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28">
                    <a:moveTo>
                      <a:pt x="81" y="26"/>
                    </a:moveTo>
                    <a:lnTo>
                      <a:pt x="106" y="0"/>
                    </a:lnTo>
                    <a:lnTo>
                      <a:pt x="228" y="121"/>
                    </a:lnTo>
                    <a:lnTo>
                      <a:pt x="199" y="150"/>
                    </a:lnTo>
                    <a:lnTo>
                      <a:pt x="68" y="123"/>
                    </a:lnTo>
                    <a:lnTo>
                      <a:pt x="147" y="202"/>
                    </a:lnTo>
                    <a:lnTo>
                      <a:pt x="122" y="228"/>
                    </a:lnTo>
                    <a:lnTo>
                      <a:pt x="0" y="107"/>
                    </a:lnTo>
                    <a:lnTo>
                      <a:pt x="29" y="78"/>
                    </a:lnTo>
                    <a:lnTo>
                      <a:pt x="159" y="105"/>
                    </a:lnTo>
                    <a:lnTo>
                      <a:pt x="81"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953" name="Group 952"/>
            <p:cNvGrpSpPr/>
            <p:nvPr/>
          </p:nvGrpSpPr>
          <p:grpSpPr>
            <a:xfrm rot="7486997" flipH="1" flipV="1">
              <a:off x="1009357" y="3282603"/>
              <a:ext cx="62475" cy="111830"/>
              <a:chOff x="2687372" y="3149601"/>
              <a:chExt cx="81465" cy="132564"/>
            </a:xfrm>
            <a:solidFill>
              <a:schemeClr val="accent2"/>
            </a:solidFill>
          </p:grpSpPr>
          <p:sp>
            <p:nvSpPr>
              <p:cNvPr id="95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5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3242" name="Rectangle 3241"/>
          <p:cNvSpPr/>
          <p:nvPr/>
        </p:nvSpPr>
        <p:spPr bwMode="auto">
          <a:xfrm>
            <a:off x="3556475" y="4782510"/>
            <a:ext cx="3330702" cy="141621"/>
          </a:xfrm>
          <a:prstGeom prst="rect">
            <a:avLst/>
          </a:prstGeom>
          <a:pattFill prst="wdUpDiag">
            <a:fgClr>
              <a:schemeClr val="accent5">
                <a:lumMod val="75000"/>
              </a:schemeClr>
            </a:fgClr>
            <a:bgClr>
              <a:schemeClr val="tx1">
                <a:lumMod val="90000"/>
                <a:lumOff val="10000"/>
              </a:schemeClr>
            </a:bgClr>
          </a:pattFill>
          <a:ln w="19050">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974" name="Rectangle 2973"/>
          <p:cNvSpPr/>
          <p:nvPr/>
        </p:nvSpPr>
        <p:spPr bwMode="auto">
          <a:xfrm>
            <a:off x="3131645" y="3089452"/>
            <a:ext cx="1293799" cy="31227"/>
          </a:xfrm>
          <a:prstGeom prst="rect">
            <a:avLst/>
          </a:prstGeom>
          <a:solidFill>
            <a:srgbClr val="005B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62" name="Freeform 2039"/>
          <p:cNvSpPr>
            <a:spLocks/>
          </p:cNvSpPr>
          <p:nvPr/>
        </p:nvSpPr>
        <p:spPr bwMode="auto">
          <a:xfrm>
            <a:off x="9709151" y="1168401"/>
            <a:ext cx="2235200" cy="2511425"/>
          </a:xfrm>
          <a:custGeom>
            <a:avLst/>
            <a:gdLst>
              <a:gd name="T0" fmla="*/ 8448 w 8448"/>
              <a:gd name="T1" fmla="*/ 0 h 9493"/>
              <a:gd name="T2" fmla="*/ 0 w 8448"/>
              <a:gd name="T3" fmla="*/ 0 h 9493"/>
              <a:gd name="T4" fmla="*/ 0 w 8448"/>
              <a:gd name="T5" fmla="*/ 7057 h 9493"/>
              <a:gd name="T6" fmla="*/ 8448 w 8448"/>
              <a:gd name="T7" fmla="*/ 9493 h 9493"/>
              <a:gd name="T8" fmla="*/ 8448 w 8448"/>
              <a:gd name="T9" fmla="*/ 0 h 9493"/>
            </a:gdLst>
            <a:ahLst/>
            <a:cxnLst>
              <a:cxn ang="0">
                <a:pos x="T0" y="T1"/>
              </a:cxn>
              <a:cxn ang="0">
                <a:pos x="T2" y="T3"/>
              </a:cxn>
              <a:cxn ang="0">
                <a:pos x="T4" y="T5"/>
              </a:cxn>
              <a:cxn ang="0">
                <a:pos x="T6" y="T7"/>
              </a:cxn>
              <a:cxn ang="0">
                <a:pos x="T8" y="T9"/>
              </a:cxn>
            </a:cxnLst>
            <a:rect l="0" t="0" r="r" b="b"/>
            <a:pathLst>
              <a:path w="8448" h="9493">
                <a:moveTo>
                  <a:pt x="8448" y="0"/>
                </a:moveTo>
                <a:lnTo>
                  <a:pt x="0" y="0"/>
                </a:lnTo>
                <a:lnTo>
                  <a:pt x="0" y="7057"/>
                </a:lnTo>
                <a:lnTo>
                  <a:pt x="8448" y="9493"/>
                </a:lnTo>
                <a:lnTo>
                  <a:pt x="8448" y="0"/>
                </a:lnTo>
                <a:close/>
              </a:path>
            </a:pathLst>
          </a:custGeom>
          <a:gradFill>
            <a:gsLst>
              <a:gs pos="44000">
                <a:srgbClr val="000608">
                  <a:alpha val="0"/>
                </a:srgbClr>
              </a:gs>
              <a:gs pos="93000">
                <a:schemeClr val="accent1">
                  <a:lumMod val="75000"/>
                  <a:alpha val="22000"/>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0" name="Freeform 2284"/>
          <p:cNvSpPr>
            <a:spLocks/>
          </p:cNvSpPr>
          <p:nvPr/>
        </p:nvSpPr>
        <p:spPr bwMode="auto">
          <a:xfrm>
            <a:off x="7066623" y="3837872"/>
            <a:ext cx="2731558" cy="2025072"/>
          </a:xfrm>
          <a:custGeom>
            <a:avLst/>
            <a:gdLst>
              <a:gd name="T0" fmla="*/ 9663 w 9663"/>
              <a:gd name="T1" fmla="*/ 0 h 7492"/>
              <a:gd name="T2" fmla="*/ 0 w 9663"/>
              <a:gd name="T3" fmla="*/ 0 h 7492"/>
              <a:gd name="T4" fmla="*/ 0 w 9663"/>
              <a:gd name="T5" fmla="*/ 7492 h 7492"/>
              <a:gd name="T6" fmla="*/ 9663 w 9663"/>
              <a:gd name="T7" fmla="*/ 6370 h 7492"/>
              <a:gd name="T8" fmla="*/ 9663 w 9663"/>
              <a:gd name="T9" fmla="*/ 0 h 7492"/>
            </a:gdLst>
            <a:ahLst/>
            <a:cxnLst>
              <a:cxn ang="0">
                <a:pos x="T0" y="T1"/>
              </a:cxn>
              <a:cxn ang="0">
                <a:pos x="T2" y="T3"/>
              </a:cxn>
              <a:cxn ang="0">
                <a:pos x="T4" y="T5"/>
              </a:cxn>
              <a:cxn ang="0">
                <a:pos x="T6" y="T7"/>
              </a:cxn>
              <a:cxn ang="0">
                <a:pos x="T8" y="T9"/>
              </a:cxn>
            </a:cxnLst>
            <a:rect l="0" t="0" r="r" b="b"/>
            <a:pathLst>
              <a:path w="9663" h="7492">
                <a:moveTo>
                  <a:pt x="9663" y="0"/>
                </a:moveTo>
                <a:lnTo>
                  <a:pt x="0" y="0"/>
                </a:lnTo>
                <a:lnTo>
                  <a:pt x="0" y="7492"/>
                </a:lnTo>
                <a:lnTo>
                  <a:pt x="9663" y="6370"/>
                </a:lnTo>
                <a:lnTo>
                  <a:pt x="9663" y="0"/>
                </a:lnTo>
                <a:close/>
              </a:path>
            </a:pathLst>
          </a:custGeom>
          <a:gradFill>
            <a:gsLst>
              <a:gs pos="100000">
                <a:srgbClr val="000608">
                  <a:alpha val="0"/>
                </a:srgbClr>
              </a:gs>
              <a:gs pos="20000">
                <a:schemeClr val="accent1">
                  <a:lumMod val="75000"/>
                  <a:alpha val="36000"/>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2" name="Freeform 2286"/>
          <p:cNvSpPr>
            <a:spLocks/>
          </p:cNvSpPr>
          <p:nvPr/>
        </p:nvSpPr>
        <p:spPr bwMode="auto">
          <a:xfrm>
            <a:off x="9653588" y="3860887"/>
            <a:ext cx="2286000" cy="2165350"/>
          </a:xfrm>
          <a:custGeom>
            <a:avLst/>
            <a:gdLst>
              <a:gd name="T0" fmla="*/ 8637 w 8637"/>
              <a:gd name="T1" fmla="*/ 0 h 8182"/>
              <a:gd name="T2" fmla="*/ 0 w 8637"/>
              <a:gd name="T3" fmla="*/ 0 h 8182"/>
              <a:gd name="T4" fmla="*/ 0 w 8637"/>
              <a:gd name="T5" fmla="*/ 6372 h 8182"/>
              <a:gd name="T6" fmla="*/ 8637 w 8637"/>
              <a:gd name="T7" fmla="*/ 8182 h 8182"/>
              <a:gd name="T8" fmla="*/ 8637 w 8637"/>
              <a:gd name="T9" fmla="*/ 0 h 8182"/>
            </a:gdLst>
            <a:ahLst/>
            <a:cxnLst>
              <a:cxn ang="0">
                <a:pos x="T0" y="T1"/>
              </a:cxn>
              <a:cxn ang="0">
                <a:pos x="T2" y="T3"/>
              </a:cxn>
              <a:cxn ang="0">
                <a:pos x="T4" y="T5"/>
              </a:cxn>
              <a:cxn ang="0">
                <a:pos x="T6" y="T7"/>
              </a:cxn>
              <a:cxn ang="0">
                <a:pos x="T8" y="T9"/>
              </a:cxn>
            </a:cxnLst>
            <a:rect l="0" t="0" r="r" b="b"/>
            <a:pathLst>
              <a:path w="8637" h="8182">
                <a:moveTo>
                  <a:pt x="8637" y="0"/>
                </a:moveTo>
                <a:lnTo>
                  <a:pt x="0" y="0"/>
                </a:lnTo>
                <a:lnTo>
                  <a:pt x="0" y="6372"/>
                </a:lnTo>
                <a:lnTo>
                  <a:pt x="8637" y="8182"/>
                </a:lnTo>
                <a:lnTo>
                  <a:pt x="8637" y="0"/>
                </a:lnTo>
                <a:close/>
              </a:path>
            </a:pathLst>
          </a:custGeom>
          <a:gradFill>
            <a:gsLst>
              <a:gs pos="100000">
                <a:srgbClr val="000608">
                  <a:alpha val="0"/>
                </a:srgbClr>
              </a:gs>
              <a:gs pos="20000">
                <a:schemeClr val="accent1">
                  <a:lumMod val="75000"/>
                  <a:alpha val="36000"/>
                </a:schemeClr>
              </a:gs>
            </a:gsLst>
            <a:lin ang="10800000" scaled="0"/>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63" name="Freeform 2040"/>
          <p:cNvSpPr>
            <a:spLocks/>
          </p:cNvSpPr>
          <p:nvPr/>
        </p:nvSpPr>
        <p:spPr bwMode="auto">
          <a:xfrm>
            <a:off x="10212390" y="2000251"/>
            <a:ext cx="892175" cy="1235075"/>
          </a:xfrm>
          <a:custGeom>
            <a:avLst/>
            <a:gdLst>
              <a:gd name="T0" fmla="*/ 3370 w 3370"/>
              <a:gd name="T1" fmla="*/ 399 h 4669"/>
              <a:gd name="T2" fmla="*/ 0 w 3370"/>
              <a:gd name="T3" fmla="*/ 0 h 4669"/>
              <a:gd name="T4" fmla="*/ 0 w 3370"/>
              <a:gd name="T5" fmla="*/ 3704 h 4669"/>
              <a:gd name="T6" fmla="*/ 3370 w 3370"/>
              <a:gd name="T7" fmla="*/ 4669 h 4669"/>
              <a:gd name="T8" fmla="*/ 3370 w 3370"/>
              <a:gd name="T9" fmla="*/ 399 h 4669"/>
            </a:gdLst>
            <a:ahLst/>
            <a:cxnLst>
              <a:cxn ang="0">
                <a:pos x="T0" y="T1"/>
              </a:cxn>
              <a:cxn ang="0">
                <a:pos x="T2" y="T3"/>
              </a:cxn>
              <a:cxn ang="0">
                <a:pos x="T4" y="T5"/>
              </a:cxn>
              <a:cxn ang="0">
                <a:pos x="T6" y="T7"/>
              </a:cxn>
              <a:cxn ang="0">
                <a:pos x="T8" y="T9"/>
              </a:cxn>
            </a:cxnLst>
            <a:rect l="0" t="0" r="r" b="b"/>
            <a:pathLst>
              <a:path w="3370" h="4669">
                <a:moveTo>
                  <a:pt x="3370" y="399"/>
                </a:moveTo>
                <a:lnTo>
                  <a:pt x="0" y="0"/>
                </a:lnTo>
                <a:lnTo>
                  <a:pt x="0" y="3704"/>
                </a:lnTo>
                <a:lnTo>
                  <a:pt x="3370" y="4669"/>
                </a:lnTo>
                <a:lnTo>
                  <a:pt x="3370" y="399"/>
                </a:lnTo>
                <a:close/>
              </a:path>
            </a:pathLst>
          </a:custGeom>
          <a:solidFill>
            <a:srgbClr val="02566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86" name="Freeform 30"/>
          <p:cNvSpPr>
            <a:spLocks/>
          </p:cNvSpPr>
          <p:nvPr/>
        </p:nvSpPr>
        <p:spPr bwMode="auto">
          <a:xfrm flipH="1">
            <a:off x="10245219" y="2368894"/>
            <a:ext cx="908320" cy="401294"/>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gradFill>
            <a:gsLst>
              <a:gs pos="0">
                <a:schemeClr val="accent4">
                  <a:lumMod val="75000"/>
                </a:schemeClr>
              </a:gs>
              <a:gs pos="100000">
                <a:schemeClr val="accent6">
                  <a:lumMod val="75000"/>
                  <a:alpha val="0"/>
                </a:schemeClr>
              </a:gs>
            </a:gsLst>
            <a:lin ang="54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3" name="Freeform 2287"/>
          <p:cNvSpPr>
            <a:spLocks/>
          </p:cNvSpPr>
          <p:nvPr/>
        </p:nvSpPr>
        <p:spPr bwMode="auto">
          <a:xfrm>
            <a:off x="8274052" y="5259389"/>
            <a:ext cx="1370013" cy="461963"/>
          </a:xfrm>
          <a:custGeom>
            <a:avLst/>
            <a:gdLst>
              <a:gd name="T0" fmla="*/ 0 w 5177"/>
              <a:gd name="T1" fmla="*/ 566 h 1746"/>
              <a:gd name="T2" fmla="*/ 5164 w 5177"/>
              <a:gd name="T3" fmla="*/ 0 h 1746"/>
              <a:gd name="T4" fmla="*/ 5177 w 5177"/>
              <a:gd name="T5" fmla="*/ 1163 h 1746"/>
              <a:gd name="T6" fmla="*/ 5 w 5177"/>
              <a:gd name="T7" fmla="*/ 1746 h 1746"/>
              <a:gd name="T8" fmla="*/ 0 w 5177"/>
              <a:gd name="T9" fmla="*/ 566 h 1746"/>
            </a:gdLst>
            <a:ahLst/>
            <a:cxnLst>
              <a:cxn ang="0">
                <a:pos x="T0" y="T1"/>
              </a:cxn>
              <a:cxn ang="0">
                <a:pos x="T2" y="T3"/>
              </a:cxn>
              <a:cxn ang="0">
                <a:pos x="T4" y="T5"/>
              </a:cxn>
              <a:cxn ang="0">
                <a:pos x="T6" y="T7"/>
              </a:cxn>
              <a:cxn ang="0">
                <a:pos x="T8" y="T9"/>
              </a:cxn>
            </a:cxnLst>
            <a:rect l="0" t="0" r="r" b="b"/>
            <a:pathLst>
              <a:path w="5177" h="1746">
                <a:moveTo>
                  <a:pt x="0" y="566"/>
                </a:moveTo>
                <a:lnTo>
                  <a:pt x="5164" y="0"/>
                </a:lnTo>
                <a:lnTo>
                  <a:pt x="5177" y="1163"/>
                </a:lnTo>
                <a:lnTo>
                  <a:pt x="5" y="1746"/>
                </a:lnTo>
                <a:lnTo>
                  <a:pt x="0" y="566"/>
                </a:lnTo>
                <a:close/>
              </a:path>
            </a:pathLst>
          </a:custGeom>
          <a:solidFill>
            <a:srgbClr val="034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4" name="Freeform 2298"/>
          <p:cNvSpPr>
            <a:spLocks/>
          </p:cNvSpPr>
          <p:nvPr/>
        </p:nvSpPr>
        <p:spPr bwMode="auto">
          <a:xfrm>
            <a:off x="9639302" y="5280026"/>
            <a:ext cx="98425" cy="325438"/>
          </a:xfrm>
          <a:custGeom>
            <a:avLst/>
            <a:gdLst>
              <a:gd name="T0" fmla="*/ 10 w 371"/>
              <a:gd name="T1" fmla="*/ 1173 h 1231"/>
              <a:gd name="T2" fmla="*/ 0 w 371"/>
              <a:gd name="T3" fmla="*/ 0 h 1231"/>
              <a:gd name="T4" fmla="*/ 362 w 371"/>
              <a:gd name="T5" fmla="*/ 57 h 1231"/>
              <a:gd name="T6" fmla="*/ 371 w 371"/>
              <a:gd name="T7" fmla="*/ 1231 h 1231"/>
              <a:gd name="T8" fmla="*/ 10 w 371"/>
              <a:gd name="T9" fmla="*/ 1173 h 1231"/>
            </a:gdLst>
            <a:ahLst/>
            <a:cxnLst>
              <a:cxn ang="0">
                <a:pos x="T0" y="T1"/>
              </a:cxn>
              <a:cxn ang="0">
                <a:pos x="T2" y="T3"/>
              </a:cxn>
              <a:cxn ang="0">
                <a:pos x="T4" y="T5"/>
              </a:cxn>
              <a:cxn ang="0">
                <a:pos x="T6" y="T7"/>
              </a:cxn>
              <a:cxn ang="0">
                <a:pos x="T8" y="T9"/>
              </a:cxn>
            </a:cxnLst>
            <a:rect l="0" t="0" r="r" b="b"/>
            <a:pathLst>
              <a:path w="371" h="1231">
                <a:moveTo>
                  <a:pt x="10" y="1173"/>
                </a:moveTo>
                <a:lnTo>
                  <a:pt x="0" y="0"/>
                </a:lnTo>
                <a:lnTo>
                  <a:pt x="362" y="57"/>
                </a:lnTo>
                <a:lnTo>
                  <a:pt x="371" y="1231"/>
                </a:lnTo>
                <a:lnTo>
                  <a:pt x="10" y="1173"/>
                </a:lnTo>
                <a:close/>
              </a:path>
            </a:pathLst>
          </a:custGeom>
          <a:solidFill>
            <a:srgbClr val="003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5" name="Freeform 2299"/>
          <p:cNvSpPr>
            <a:spLocks/>
          </p:cNvSpPr>
          <p:nvPr/>
        </p:nvSpPr>
        <p:spPr bwMode="auto">
          <a:xfrm>
            <a:off x="8274051" y="5259388"/>
            <a:ext cx="1462088" cy="192088"/>
          </a:xfrm>
          <a:custGeom>
            <a:avLst/>
            <a:gdLst>
              <a:gd name="T0" fmla="*/ 0 w 5524"/>
              <a:gd name="T1" fmla="*/ 566 h 731"/>
              <a:gd name="T2" fmla="*/ 5164 w 5524"/>
              <a:gd name="T3" fmla="*/ 0 h 731"/>
              <a:gd name="T4" fmla="*/ 5524 w 5524"/>
              <a:gd name="T5" fmla="*/ 140 h 731"/>
              <a:gd name="T6" fmla="*/ 321 w 5524"/>
              <a:gd name="T7" fmla="*/ 731 h 731"/>
              <a:gd name="T8" fmla="*/ 0 w 5524"/>
              <a:gd name="T9" fmla="*/ 566 h 731"/>
            </a:gdLst>
            <a:ahLst/>
            <a:cxnLst>
              <a:cxn ang="0">
                <a:pos x="T0" y="T1"/>
              </a:cxn>
              <a:cxn ang="0">
                <a:pos x="T2" y="T3"/>
              </a:cxn>
              <a:cxn ang="0">
                <a:pos x="T4" y="T5"/>
              </a:cxn>
              <a:cxn ang="0">
                <a:pos x="T6" y="T7"/>
              </a:cxn>
              <a:cxn ang="0">
                <a:pos x="T8" y="T9"/>
              </a:cxn>
            </a:cxnLst>
            <a:rect l="0" t="0" r="r" b="b"/>
            <a:pathLst>
              <a:path w="5524" h="731">
                <a:moveTo>
                  <a:pt x="0" y="566"/>
                </a:moveTo>
                <a:lnTo>
                  <a:pt x="5164" y="0"/>
                </a:lnTo>
                <a:lnTo>
                  <a:pt x="5524" y="140"/>
                </a:lnTo>
                <a:lnTo>
                  <a:pt x="321" y="731"/>
                </a:lnTo>
                <a:lnTo>
                  <a:pt x="0" y="566"/>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956" name="Group 2955"/>
          <p:cNvGrpSpPr/>
          <p:nvPr/>
        </p:nvGrpSpPr>
        <p:grpSpPr>
          <a:xfrm>
            <a:off x="7902228" y="4553933"/>
            <a:ext cx="1262185" cy="711502"/>
            <a:chOff x="8264403" y="4509786"/>
            <a:chExt cx="1262185" cy="711502"/>
          </a:xfrm>
        </p:grpSpPr>
        <p:grpSp>
          <p:nvGrpSpPr>
            <p:cNvPr id="2946" name="Group 2945"/>
            <p:cNvGrpSpPr/>
            <p:nvPr/>
          </p:nvGrpSpPr>
          <p:grpSpPr>
            <a:xfrm>
              <a:off x="8401050" y="4592638"/>
              <a:ext cx="1125538" cy="628650"/>
              <a:chOff x="8401050" y="4592638"/>
              <a:chExt cx="1125538" cy="628650"/>
            </a:xfrm>
          </p:grpSpPr>
          <p:sp>
            <p:nvSpPr>
              <p:cNvPr id="3543" name="Freeform 2297"/>
              <p:cNvSpPr>
                <a:spLocks/>
              </p:cNvSpPr>
              <p:nvPr/>
            </p:nvSpPr>
            <p:spPr bwMode="auto">
              <a:xfrm>
                <a:off x="8401050" y="4592638"/>
                <a:ext cx="1125538" cy="628650"/>
              </a:xfrm>
              <a:custGeom>
                <a:avLst/>
                <a:gdLst>
                  <a:gd name="T0" fmla="*/ 0 w 4250"/>
                  <a:gd name="T1" fmla="*/ 2374 h 2374"/>
                  <a:gd name="T2" fmla="*/ 4250 w 4250"/>
                  <a:gd name="T3" fmla="*/ 1984 h 2374"/>
                  <a:gd name="T4" fmla="*/ 4250 w 4250"/>
                  <a:gd name="T5" fmla="*/ 0 h 2374"/>
                  <a:gd name="T6" fmla="*/ 0 w 4250"/>
                  <a:gd name="T7" fmla="*/ 203 h 2374"/>
                  <a:gd name="T8" fmla="*/ 0 w 4250"/>
                  <a:gd name="T9" fmla="*/ 2374 h 2374"/>
                </a:gdLst>
                <a:ahLst/>
                <a:cxnLst>
                  <a:cxn ang="0">
                    <a:pos x="T0" y="T1"/>
                  </a:cxn>
                  <a:cxn ang="0">
                    <a:pos x="T2" y="T3"/>
                  </a:cxn>
                  <a:cxn ang="0">
                    <a:pos x="T4" y="T5"/>
                  </a:cxn>
                  <a:cxn ang="0">
                    <a:pos x="T6" y="T7"/>
                  </a:cxn>
                  <a:cxn ang="0">
                    <a:pos x="T8" y="T9"/>
                  </a:cxn>
                </a:cxnLst>
                <a:rect l="0" t="0" r="r" b="b"/>
                <a:pathLst>
                  <a:path w="4250" h="2374">
                    <a:moveTo>
                      <a:pt x="0" y="2374"/>
                    </a:moveTo>
                    <a:lnTo>
                      <a:pt x="4250" y="1984"/>
                    </a:lnTo>
                    <a:lnTo>
                      <a:pt x="4250" y="0"/>
                    </a:lnTo>
                    <a:lnTo>
                      <a:pt x="0" y="203"/>
                    </a:lnTo>
                    <a:lnTo>
                      <a:pt x="0" y="2374"/>
                    </a:lnTo>
                    <a:close/>
                  </a:path>
                </a:pathLst>
              </a:custGeom>
              <a:solidFill>
                <a:srgbClr val="012C33"/>
              </a:solidFill>
              <a:ln w="9525">
                <a:solidFill>
                  <a:schemeClr val="accent2">
                    <a:lumMod val="50000"/>
                  </a:schemeClr>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2" name="Freeform 2316"/>
              <p:cNvSpPr>
                <a:spLocks/>
              </p:cNvSpPr>
              <p:nvPr/>
            </p:nvSpPr>
            <p:spPr bwMode="auto">
              <a:xfrm>
                <a:off x="8494713" y="4822826"/>
                <a:ext cx="300038" cy="44450"/>
              </a:xfrm>
              <a:custGeom>
                <a:avLst/>
                <a:gdLst>
                  <a:gd name="T0" fmla="*/ 1137 w 1137"/>
                  <a:gd name="T1" fmla="*/ 0 h 164"/>
                  <a:gd name="T2" fmla="*/ 0 w 1137"/>
                  <a:gd name="T3" fmla="*/ 78 h 164"/>
                  <a:gd name="T4" fmla="*/ 1 w 1137"/>
                  <a:gd name="T5" fmla="*/ 164 h 164"/>
                  <a:gd name="T6" fmla="*/ 1137 w 1137"/>
                  <a:gd name="T7" fmla="*/ 86 h 164"/>
                  <a:gd name="T8" fmla="*/ 1137 w 1137"/>
                  <a:gd name="T9" fmla="*/ 0 h 164"/>
                </a:gdLst>
                <a:ahLst/>
                <a:cxnLst>
                  <a:cxn ang="0">
                    <a:pos x="T0" y="T1"/>
                  </a:cxn>
                  <a:cxn ang="0">
                    <a:pos x="T2" y="T3"/>
                  </a:cxn>
                  <a:cxn ang="0">
                    <a:pos x="T4" y="T5"/>
                  </a:cxn>
                  <a:cxn ang="0">
                    <a:pos x="T6" y="T7"/>
                  </a:cxn>
                  <a:cxn ang="0">
                    <a:pos x="T8" y="T9"/>
                  </a:cxn>
                </a:cxnLst>
                <a:rect l="0" t="0" r="r" b="b"/>
                <a:pathLst>
                  <a:path w="1137" h="164">
                    <a:moveTo>
                      <a:pt x="1137" y="0"/>
                    </a:moveTo>
                    <a:lnTo>
                      <a:pt x="0" y="78"/>
                    </a:lnTo>
                    <a:lnTo>
                      <a:pt x="1" y="164"/>
                    </a:lnTo>
                    <a:lnTo>
                      <a:pt x="1137" y="86"/>
                    </a:lnTo>
                    <a:lnTo>
                      <a:pt x="1137"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3" name="Freeform 2317"/>
              <p:cNvSpPr>
                <a:spLocks/>
              </p:cNvSpPr>
              <p:nvPr/>
            </p:nvSpPr>
            <p:spPr bwMode="auto">
              <a:xfrm>
                <a:off x="8494713" y="4887913"/>
                <a:ext cx="261938" cy="41275"/>
              </a:xfrm>
              <a:custGeom>
                <a:avLst/>
                <a:gdLst>
                  <a:gd name="T0" fmla="*/ 993 w 993"/>
                  <a:gd name="T1" fmla="*/ 0 h 155"/>
                  <a:gd name="T2" fmla="*/ 0 w 993"/>
                  <a:gd name="T3" fmla="*/ 69 h 155"/>
                  <a:gd name="T4" fmla="*/ 1 w 993"/>
                  <a:gd name="T5" fmla="*/ 155 h 155"/>
                  <a:gd name="T6" fmla="*/ 993 w 993"/>
                  <a:gd name="T7" fmla="*/ 87 h 155"/>
                  <a:gd name="T8" fmla="*/ 993 w 993"/>
                  <a:gd name="T9" fmla="*/ 0 h 155"/>
                </a:gdLst>
                <a:ahLst/>
                <a:cxnLst>
                  <a:cxn ang="0">
                    <a:pos x="T0" y="T1"/>
                  </a:cxn>
                  <a:cxn ang="0">
                    <a:pos x="T2" y="T3"/>
                  </a:cxn>
                  <a:cxn ang="0">
                    <a:pos x="T4" y="T5"/>
                  </a:cxn>
                  <a:cxn ang="0">
                    <a:pos x="T6" y="T7"/>
                  </a:cxn>
                  <a:cxn ang="0">
                    <a:pos x="T8" y="T9"/>
                  </a:cxn>
                </a:cxnLst>
                <a:rect l="0" t="0" r="r" b="b"/>
                <a:pathLst>
                  <a:path w="993" h="155">
                    <a:moveTo>
                      <a:pt x="993" y="0"/>
                    </a:moveTo>
                    <a:lnTo>
                      <a:pt x="0" y="69"/>
                    </a:lnTo>
                    <a:lnTo>
                      <a:pt x="1" y="155"/>
                    </a:lnTo>
                    <a:lnTo>
                      <a:pt x="993" y="87"/>
                    </a:lnTo>
                    <a:lnTo>
                      <a:pt x="993"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4" name="Freeform 2318"/>
              <p:cNvSpPr>
                <a:spLocks/>
              </p:cNvSpPr>
              <p:nvPr/>
            </p:nvSpPr>
            <p:spPr bwMode="auto">
              <a:xfrm>
                <a:off x="8494713" y="4948238"/>
                <a:ext cx="301625" cy="44450"/>
              </a:xfrm>
              <a:custGeom>
                <a:avLst/>
                <a:gdLst>
                  <a:gd name="T0" fmla="*/ 1137 w 1137"/>
                  <a:gd name="T1" fmla="*/ 0 h 165"/>
                  <a:gd name="T2" fmla="*/ 0 w 1137"/>
                  <a:gd name="T3" fmla="*/ 78 h 165"/>
                  <a:gd name="T4" fmla="*/ 1 w 1137"/>
                  <a:gd name="T5" fmla="*/ 165 h 165"/>
                  <a:gd name="T6" fmla="*/ 1137 w 1137"/>
                  <a:gd name="T7" fmla="*/ 86 h 165"/>
                  <a:gd name="T8" fmla="*/ 1137 w 1137"/>
                  <a:gd name="T9" fmla="*/ 0 h 165"/>
                </a:gdLst>
                <a:ahLst/>
                <a:cxnLst>
                  <a:cxn ang="0">
                    <a:pos x="T0" y="T1"/>
                  </a:cxn>
                  <a:cxn ang="0">
                    <a:pos x="T2" y="T3"/>
                  </a:cxn>
                  <a:cxn ang="0">
                    <a:pos x="T4" y="T5"/>
                  </a:cxn>
                  <a:cxn ang="0">
                    <a:pos x="T6" y="T7"/>
                  </a:cxn>
                  <a:cxn ang="0">
                    <a:pos x="T8" y="T9"/>
                  </a:cxn>
                </a:cxnLst>
                <a:rect l="0" t="0" r="r" b="b"/>
                <a:pathLst>
                  <a:path w="1137" h="165">
                    <a:moveTo>
                      <a:pt x="1137" y="0"/>
                    </a:moveTo>
                    <a:lnTo>
                      <a:pt x="0" y="78"/>
                    </a:lnTo>
                    <a:lnTo>
                      <a:pt x="1" y="165"/>
                    </a:lnTo>
                    <a:lnTo>
                      <a:pt x="1137" y="86"/>
                    </a:lnTo>
                    <a:lnTo>
                      <a:pt x="1137"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5" name="Freeform 2319"/>
              <p:cNvSpPr>
                <a:spLocks/>
              </p:cNvSpPr>
              <p:nvPr/>
            </p:nvSpPr>
            <p:spPr bwMode="auto">
              <a:xfrm>
                <a:off x="8494713" y="5014913"/>
                <a:ext cx="263525" cy="39688"/>
              </a:xfrm>
              <a:custGeom>
                <a:avLst/>
                <a:gdLst>
                  <a:gd name="T0" fmla="*/ 993 w 993"/>
                  <a:gd name="T1" fmla="*/ 0 h 155"/>
                  <a:gd name="T2" fmla="*/ 0 w 993"/>
                  <a:gd name="T3" fmla="*/ 69 h 155"/>
                  <a:gd name="T4" fmla="*/ 0 w 993"/>
                  <a:gd name="T5" fmla="*/ 155 h 155"/>
                  <a:gd name="T6" fmla="*/ 993 w 993"/>
                  <a:gd name="T7" fmla="*/ 86 h 155"/>
                  <a:gd name="T8" fmla="*/ 993 w 993"/>
                  <a:gd name="T9" fmla="*/ 0 h 155"/>
                </a:gdLst>
                <a:ahLst/>
                <a:cxnLst>
                  <a:cxn ang="0">
                    <a:pos x="T0" y="T1"/>
                  </a:cxn>
                  <a:cxn ang="0">
                    <a:pos x="T2" y="T3"/>
                  </a:cxn>
                  <a:cxn ang="0">
                    <a:pos x="T4" y="T5"/>
                  </a:cxn>
                  <a:cxn ang="0">
                    <a:pos x="T6" y="T7"/>
                  </a:cxn>
                  <a:cxn ang="0">
                    <a:pos x="T8" y="T9"/>
                  </a:cxn>
                </a:cxnLst>
                <a:rect l="0" t="0" r="r" b="b"/>
                <a:pathLst>
                  <a:path w="993" h="155">
                    <a:moveTo>
                      <a:pt x="993" y="0"/>
                    </a:moveTo>
                    <a:lnTo>
                      <a:pt x="0" y="69"/>
                    </a:lnTo>
                    <a:lnTo>
                      <a:pt x="0" y="155"/>
                    </a:lnTo>
                    <a:lnTo>
                      <a:pt x="993" y="86"/>
                    </a:lnTo>
                    <a:lnTo>
                      <a:pt x="993"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6" name="Freeform 2320"/>
              <p:cNvSpPr>
                <a:spLocks/>
              </p:cNvSpPr>
              <p:nvPr/>
            </p:nvSpPr>
            <p:spPr bwMode="auto">
              <a:xfrm>
                <a:off x="8494713" y="5073651"/>
                <a:ext cx="301625" cy="44450"/>
              </a:xfrm>
              <a:custGeom>
                <a:avLst/>
                <a:gdLst>
                  <a:gd name="T0" fmla="*/ 1137 w 1137"/>
                  <a:gd name="T1" fmla="*/ 0 h 165"/>
                  <a:gd name="T2" fmla="*/ 0 w 1137"/>
                  <a:gd name="T3" fmla="*/ 79 h 165"/>
                  <a:gd name="T4" fmla="*/ 0 w 1137"/>
                  <a:gd name="T5" fmla="*/ 165 h 165"/>
                  <a:gd name="T6" fmla="*/ 1137 w 1137"/>
                  <a:gd name="T7" fmla="*/ 86 h 165"/>
                  <a:gd name="T8" fmla="*/ 1137 w 1137"/>
                  <a:gd name="T9" fmla="*/ 0 h 165"/>
                </a:gdLst>
                <a:ahLst/>
                <a:cxnLst>
                  <a:cxn ang="0">
                    <a:pos x="T0" y="T1"/>
                  </a:cxn>
                  <a:cxn ang="0">
                    <a:pos x="T2" y="T3"/>
                  </a:cxn>
                  <a:cxn ang="0">
                    <a:pos x="T4" y="T5"/>
                  </a:cxn>
                  <a:cxn ang="0">
                    <a:pos x="T6" y="T7"/>
                  </a:cxn>
                  <a:cxn ang="0">
                    <a:pos x="T8" y="T9"/>
                  </a:cxn>
                </a:cxnLst>
                <a:rect l="0" t="0" r="r" b="b"/>
                <a:pathLst>
                  <a:path w="1137" h="165">
                    <a:moveTo>
                      <a:pt x="1137" y="0"/>
                    </a:moveTo>
                    <a:lnTo>
                      <a:pt x="0" y="79"/>
                    </a:lnTo>
                    <a:lnTo>
                      <a:pt x="0" y="165"/>
                    </a:lnTo>
                    <a:lnTo>
                      <a:pt x="1137" y="86"/>
                    </a:lnTo>
                    <a:lnTo>
                      <a:pt x="1137"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7" name="Freeform 2321"/>
              <p:cNvSpPr>
                <a:spLocks/>
              </p:cNvSpPr>
              <p:nvPr/>
            </p:nvSpPr>
            <p:spPr bwMode="auto">
              <a:xfrm>
                <a:off x="8836025" y="4814888"/>
                <a:ext cx="88900" cy="28575"/>
              </a:xfrm>
              <a:custGeom>
                <a:avLst/>
                <a:gdLst>
                  <a:gd name="T0" fmla="*/ 0 w 337"/>
                  <a:gd name="T1" fmla="*/ 24 h 109"/>
                  <a:gd name="T2" fmla="*/ 337 w 337"/>
                  <a:gd name="T3" fmla="*/ 0 h 109"/>
                  <a:gd name="T4" fmla="*/ 337 w 337"/>
                  <a:gd name="T5" fmla="*/ 86 h 109"/>
                  <a:gd name="T6" fmla="*/ 0 w 337"/>
                  <a:gd name="T7" fmla="*/ 109 h 109"/>
                  <a:gd name="T8" fmla="*/ 0 w 337"/>
                  <a:gd name="T9" fmla="*/ 24 h 109"/>
                </a:gdLst>
                <a:ahLst/>
                <a:cxnLst>
                  <a:cxn ang="0">
                    <a:pos x="T0" y="T1"/>
                  </a:cxn>
                  <a:cxn ang="0">
                    <a:pos x="T2" y="T3"/>
                  </a:cxn>
                  <a:cxn ang="0">
                    <a:pos x="T4" y="T5"/>
                  </a:cxn>
                  <a:cxn ang="0">
                    <a:pos x="T6" y="T7"/>
                  </a:cxn>
                  <a:cxn ang="0">
                    <a:pos x="T8" y="T9"/>
                  </a:cxn>
                </a:cxnLst>
                <a:rect l="0" t="0" r="r" b="b"/>
                <a:pathLst>
                  <a:path w="337" h="109">
                    <a:moveTo>
                      <a:pt x="0" y="24"/>
                    </a:moveTo>
                    <a:lnTo>
                      <a:pt x="337" y="0"/>
                    </a:lnTo>
                    <a:lnTo>
                      <a:pt x="337" y="86"/>
                    </a:lnTo>
                    <a:lnTo>
                      <a:pt x="0" y="109"/>
                    </a:lnTo>
                    <a:lnTo>
                      <a:pt x="0" y="24"/>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8" name="Freeform 2322"/>
              <p:cNvSpPr>
                <a:spLocks/>
              </p:cNvSpPr>
              <p:nvPr/>
            </p:nvSpPr>
            <p:spPr bwMode="auto">
              <a:xfrm>
                <a:off x="8847138" y="4876801"/>
                <a:ext cx="77788" cy="28575"/>
              </a:xfrm>
              <a:custGeom>
                <a:avLst/>
                <a:gdLst>
                  <a:gd name="T0" fmla="*/ 0 w 294"/>
                  <a:gd name="T1" fmla="*/ 20 h 106"/>
                  <a:gd name="T2" fmla="*/ 294 w 294"/>
                  <a:gd name="T3" fmla="*/ 0 h 106"/>
                  <a:gd name="T4" fmla="*/ 294 w 294"/>
                  <a:gd name="T5" fmla="*/ 85 h 106"/>
                  <a:gd name="T6" fmla="*/ 0 w 294"/>
                  <a:gd name="T7" fmla="*/ 106 h 106"/>
                  <a:gd name="T8" fmla="*/ 0 w 294"/>
                  <a:gd name="T9" fmla="*/ 20 h 106"/>
                </a:gdLst>
                <a:ahLst/>
                <a:cxnLst>
                  <a:cxn ang="0">
                    <a:pos x="T0" y="T1"/>
                  </a:cxn>
                  <a:cxn ang="0">
                    <a:pos x="T2" y="T3"/>
                  </a:cxn>
                  <a:cxn ang="0">
                    <a:pos x="T4" y="T5"/>
                  </a:cxn>
                  <a:cxn ang="0">
                    <a:pos x="T6" y="T7"/>
                  </a:cxn>
                  <a:cxn ang="0">
                    <a:pos x="T8" y="T9"/>
                  </a:cxn>
                </a:cxnLst>
                <a:rect l="0" t="0" r="r" b="b"/>
                <a:pathLst>
                  <a:path w="294" h="106">
                    <a:moveTo>
                      <a:pt x="0" y="20"/>
                    </a:moveTo>
                    <a:lnTo>
                      <a:pt x="294" y="0"/>
                    </a:lnTo>
                    <a:lnTo>
                      <a:pt x="294" y="85"/>
                    </a:lnTo>
                    <a:lnTo>
                      <a:pt x="0" y="106"/>
                    </a:lnTo>
                    <a:lnTo>
                      <a:pt x="0" y="2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9" name="Freeform 2323"/>
              <p:cNvSpPr>
                <a:spLocks/>
              </p:cNvSpPr>
              <p:nvPr/>
            </p:nvSpPr>
            <p:spPr bwMode="auto">
              <a:xfrm>
                <a:off x="8836025" y="4940301"/>
                <a:ext cx="88900" cy="28575"/>
              </a:xfrm>
              <a:custGeom>
                <a:avLst/>
                <a:gdLst>
                  <a:gd name="T0" fmla="*/ 0 w 337"/>
                  <a:gd name="T1" fmla="*/ 23 h 108"/>
                  <a:gd name="T2" fmla="*/ 337 w 337"/>
                  <a:gd name="T3" fmla="*/ 0 h 108"/>
                  <a:gd name="T4" fmla="*/ 337 w 337"/>
                  <a:gd name="T5" fmla="*/ 86 h 108"/>
                  <a:gd name="T6" fmla="*/ 0 w 337"/>
                  <a:gd name="T7" fmla="*/ 108 h 108"/>
                  <a:gd name="T8" fmla="*/ 0 w 337"/>
                  <a:gd name="T9" fmla="*/ 23 h 108"/>
                </a:gdLst>
                <a:ahLst/>
                <a:cxnLst>
                  <a:cxn ang="0">
                    <a:pos x="T0" y="T1"/>
                  </a:cxn>
                  <a:cxn ang="0">
                    <a:pos x="T2" y="T3"/>
                  </a:cxn>
                  <a:cxn ang="0">
                    <a:pos x="T4" y="T5"/>
                  </a:cxn>
                  <a:cxn ang="0">
                    <a:pos x="T6" y="T7"/>
                  </a:cxn>
                  <a:cxn ang="0">
                    <a:pos x="T8" y="T9"/>
                  </a:cxn>
                </a:cxnLst>
                <a:rect l="0" t="0" r="r" b="b"/>
                <a:pathLst>
                  <a:path w="337" h="108">
                    <a:moveTo>
                      <a:pt x="0" y="23"/>
                    </a:moveTo>
                    <a:lnTo>
                      <a:pt x="337" y="0"/>
                    </a:lnTo>
                    <a:lnTo>
                      <a:pt x="337" y="86"/>
                    </a:lnTo>
                    <a:lnTo>
                      <a:pt x="0" y="108"/>
                    </a:lnTo>
                    <a:lnTo>
                      <a:pt x="0" y="23"/>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0" name="Freeform 2324"/>
              <p:cNvSpPr>
                <a:spLocks/>
              </p:cNvSpPr>
              <p:nvPr/>
            </p:nvSpPr>
            <p:spPr bwMode="auto">
              <a:xfrm>
                <a:off x="8848725" y="5002213"/>
                <a:ext cx="77788" cy="28575"/>
              </a:xfrm>
              <a:custGeom>
                <a:avLst/>
                <a:gdLst>
                  <a:gd name="T0" fmla="*/ 0 w 294"/>
                  <a:gd name="T1" fmla="*/ 20 h 106"/>
                  <a:gd name="T2" fmla="*/ 294 w 294"/>
                  <a:gd name="T3" fmla="*/ 0 h 106"/>
                  <a:gd name="T4" fmla="*/ 294 w 294"/>
                  <a:gd name="T5" fmla="*/ 86 h 106"/>
                  <a:gd name="T6" fmla="*/ 0 w 294"/>
                  <a:gd name="T7" fmla="*/ 106 h 106"/>
                  <a:gd name="T8" fmla="*/ 0 w 294"/>
                  <a:gd name="T9" fmla="*/ 20 h 106"/>
                </a:gdLst>
                <a:ahLst/>
                <a:cxnLst>
                  <a:cxn ang="0">
                    <a:pos x="T0" y="T1"/>
                  </a:cxn>
                  <a:cxn ang="0">
                    <a:pos x="T2" y="T3"/>
                  </a:cxn>
                  <a:cxn ang="0">
                    <a:pos x="T4" y="T5"/>
                  </a:cxn>
                  <a:cxn ang="0">
                    <a:pos x="T6" y="T7"/>
                  </a:cxn>
                  <a:cxn ang="0">
                    <a:pos x="T8" y="T9"/>
                  </a:cxn>
                </a:cxnLst>
                <a:rect l="0" t="0" r="r" b="b"/>
                <a:pathLst>
                  <a:path w="294" h="106">
                    <a:moveTo>
                      <a:pt x="0" y="20"/>
                    </a:moveTo>
                    <a:lnTo>
                      <a:pt x="294" y="0"/>
                    </a:lnTo>
                    <a:lnTo>
                      <a:pt x="294" y="86"/>
                    </a:lnTo>
                    <a:lnTo>
                      <a:pt x="0" y="106"/>
                    </a:lnTo>
                    <a:lnTo>
                      <a:pt x="0" y="2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1" name="Freeform 2325"/>
              <p:cNvSpPr>
                <a:spLocks/>
              </p:cNvSpPr>
              <p:nvPr/>
            </p:nvSpPr>
            <p:spPr bwMode="auto">
              <a:xfrm>
                <a:off x="8837613" y="5065713"/>
                <a:ext cx="88900" cy="28575"/>
              </a:xfrm>
              <a:custGeom>
                <a:avLst/>
                <a:gdLst>
                  <a:gd name="T0" fmla="*/ 0 w 337"/>
                  <a:gd name="T1" fmla="*/ 22 h 108"/>
                  <a:gd name="T2" fmla="*/ 336 w 337"/>
                  <a:gd name="T3" fmla="*/ 0 h 108"/>
                  <a:gd name="T4" fmla="*/ 337 w 337"/>
                  <a:gd name="T5" fmla="*/ 85 h 108"/>
                  <a:gd name="T6" fmla="*/ 0 w 337"/>
                  <a:gd name="T7" fmla="*/ 108 h 108"/>
                  <a:gd name="T8" fmla="*/ 0 w 337"/>
                  <a:gd name="T9" fmla="*/ 22 h 108"/>
                </a:gdLst>
                <a:ahLst/>
                <a:cxnLst>
                  <a:cxn ang="0">
                    <a:pos x="T0" y="T1"/>
                  </a:cxn>
                  <a:cxn ang="0">
                    <a:pos x="T2" y="T3"/>
                  </a:cxn>
                  <a:cxn ang="0">
                    <a:pos x="T4" y="T5"/>
                  </a:cxn>
                  <a:cxn ang="0">
                    <a:pos x="T6" y="T7"/>
                  </a:cxn>
                  <a:cxn ang="0">
                    <a:pos x="T8" y="T9"/>
                  </a:cxn>
                </a:cxnLst>
                <a:rect l="0" t="0" r="r" b="b"/>
                <a:pathLst>
                  <a:path w="337" h="108">
                    <a:moveTo>
                      <a:pt x="0" y="22"/>
                    </a:moveTo>
                    <a:lnTo>
                      <a:pt x="336" y="0"/>
                    </a:lnTo>
                    <a:lnTo>
                      <a:pt x="337" y="85"/>
                    </a:lnTo>
                    <a:lnTo>
                      <a:pt x="0" y="108"/>
                    </a:lnTo>
                    <a:lnTo>
                      <a:pt x="0" y="22"/>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2" name="Freeform 2326"/>
              <p:cNvSpPr>
                <a:spLocks/>
              </p:cNvSpPr>
              <p:nvPr/>
            </p:nvSpPr>
            <p:spPr bwMode="auto">
              <a:xfrm>
                <a:off x="9028113" y="4779963"/>
                <a:ext cx="288925" cy="46038"/>
              </a:xfrm>
              <a:custGeom>
                <a:avLst/>
                <a:gdLst>
                  <a:gd name="T0" fmla="*/ 1093 w 1094"/>
                  <a:gd name="T1" fmla="*/ 0 h 172"/>
                  <a:gd name="T2" fmla="*/ 0 w 1094"/>
                  <a:gd name="T3" fmla="*/ 86 h 172"/>
                  <a:gd name="T4" fmla="*/ 0 w 1094"/>
                  <a:gd name="T5" fmla="*/ 172 h 172"/>
                  <a:gd name="T6" fmla="*/ 1094 w 1094"/>
                  <a:gd name="T7" fmla="*/ 86 h 172"/>
                  <a:gd name="T8" fmla="*/ 1093 w 1094"/>
                  <a:gd name="T9" fmla="*/ 0 h 172"/>
                </a:gdLst>
                <a:ahLst/>
                <a:cxnLst>
                  <a:cxn ang="0">
                    <a:pos x="T0" y="T1"/>
                  </a:cxn>
                  <a:cxn ang="0">
                    <a:pos x="T2" y="T3"/>
                  </a:cxn>
                  <a:cxn ang="0">
                    <a:pos x="T4" y="T5"/>
                  </a:cxn>
                  <a:cxn ang="0">
                    <a:pos x="T6" y="T7"/>
                  </a:cxn>
                  <a:cxn ang="0">
                    <a:pos x="T8" y="T9"/>
                  </a:cxn>
                </a:cxnLst>
                <a:rect l="0" t="0" r="r" b="b"/>
                <a:pathLst>
                  <a:path w="1094" h="172">
                    <a:moveTo>
                      <a:pt x="1093" y="0"/>
                    </a:moveTo>
                    <a:lnTo>
                      <a:pt x="0" y="86"/>
                    </a:lnTo>
                    <a:lnTo>
                      <a:pt x="0" y="172"/>
                    </a:lnTo>
                    <a:lnTo>
                      <a:pt x="1094" y="86"/>
                    </a:lnTo>
                    <a:lnTo>
                      <a:pt x="1093"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3" name="Freeform 2327"/>
              <p:cNvSpPr>
                <a:spLocks/>
              </p:cNvSpPr>
              <p:nvPr/>
            </p:nvSpPr>
            <p:spPr bwMode="auto">
              <a:xfrm>
                <a:off x="9028113" y="4846638"/>
                <a:ext cx="252413" cy="42863"/>
              </a:xfrm>
              <a:custGeom>
                <a:avLst/>
                <a:gdLst>
                  <a:gd name="T0" fmla="*/ 955 w 955"/>
                  <a:gd name="T1" fmla="*/ 0 h 160"/>
                  <a:gd name="T2" fmla="*/ 0 w 955"/>
                  <a:gd name="T3" fmla="*/ 74 h 160"/>
                  <a:gd name="T4" fmla="*/ 0 w 955"/>
                  <a:gd name="T5" fmla="*/ 160 h 160"/>
                  <a:gd name="T6" fmla="*/ 955 w 955"/>
                  <a:gd name="T7" fmla="*/ 85 h 160"/>
                  <a:gd name="T8" fmla="*/ 955 w 955"/>
                  <a:gd name="T9" fmla="*/ 0 h 160"/>
                </a:gdLst>
                <a:ahLst/>
                <a:cxnLst>
                  <a:cxn ang="0">
                    <a:pos x="T0" y="T1"/>
                  </a:cxn>
                  <a:cxn ang="0">
                    <a:pos x="T2" y="T3"/>
                  </a:cxn>
                  <a:cxn ang="0">
                    <a:pos x="T4" y="T5"/>
                  </a:cxn>
                  <a:cxn ang="0">
                    <a:pos x="T6" y="T7"/>
                  </a:cxn>
                  <a:cxn ang="0">
                    <a:pos x="T8" y="T9"/>
                  </a:cxn>
                </a:cxnLst>
                <a:rect l="0" t="0" r="r" b="b"/>
                <a:pathLst>
                  <a:path w="955" h="160">
                    <a:moveTo>
                      <a:pt x="955" y="0"/>
                    </a:moveTo>
                    <a:lnTo>
                      <a:pt x="0" y="74"/>
                    </a:lnTo>
                    <a:lnTo>
                      <a:pt x="0" y="160"/>
                    </a:lnTo>
                    <a:lnTo>
                      <a:pt x="955" y="85"/>
                    </a:lnTo>
                    <a:lnTo>
                      <a:pt x="955"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4" name="Freeform 2328"/>
              <p:cNvSpPr>
                <a:spLocks/>
              </p:cNvSpPr>
              <p:nvPr/>
            </p:nvSpPr>
            <p:spPr bwMode="auto">
              <a:xfrm>
                <a:off x="9028113" y="4906963"/>
                <a:ext cx="290513" cy="46038"/>
              </a:xfrm>
              <a:custGeom>
                <a:avLst/>
                <a:gdLst>
                  <a:gd name="T0" fmla="*/ 1093 w 1094"/>
                  <a:gd name="T1" fmla="*/ 0 h 173"/>
                  <a:gd name="T2" fmla="*/ 0 w 1094"/>
                  <a:gd name="T3" fmla="*/ 87 h 173"/>
                  <a:gd name="T4" fmla="*/ 0 w 1094"/>
                  <a:gd name="T5" fmla="*/ 173 h 173"/>
                  <a:gd name="T6" fmla="*/ 1094 w 1094"/>
                  <a:gd name="T7" fmla="*/ 87 h 173"/>
                  <a:gd name="T8" fmla="*/ 1093 w 1094"/>
                  <a:gd name="T9" fmla="*/ 0 h 173"/>
                </a:gdLst>
                <a:ahLst/>
                <a:cxnLst>
                  <a:cxn ang="0">
                    <a:pos x="T0" y="T1"/>
                  </a:cxn>
                  <a:cxn ang="0">
                    <a:pos x="T2" y="T3"/>
                  </a:cxn>
                  <a:cxn ang="0">
                    <a:pos x="T4" y="T5"/>
                  </a:cxn>
                  <a:cxn ang="0">
                    <a:pos x="T6" y="T7"/>
                  </a:cxn>
                  <a:cxn ang="0">
                    <a:pos x="T8" y="T9"/>
                  </a:cxn>
                </a:cxnLst>
                <a:rect l="0" t="0" r="r" b="b"/>
                <a:pathLst>
                  <a:path w="1094" h="173">
                    <a:moveTo>
                      <a:pt x="1093" y="0"/>
                    </a:moveTo>
                    <a:lnTo>
                      <a:pt x="0" y="87"/>
                    </a:lnTo>
                    <a:lnTo>
                      <a:pt x="0" y="173"/>
                    </a:lnTo>
                    <a:lnTo>
                      <a:pt x="1094" y="87"/>
                    </a:lnTo>
                    <a:lnTo>
                      <a:pt x="1093"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5" name="Freeform 2329"/>
              <p:cNvSpPr>
                <a:spLocks/>
              </p:cNvSpPr>
              <p:nvPr/>
            </p:nvSpPr>
            <p:spPr bwMode="auto">
              <a:xfrm>
                <a:off x="9028113" y="4972051"/>
                <a:ext cx="254000" cy="42863"/>
              </a:xfrm>
              <a:custGeom>
                <a:avLst/>
                <a:gdLst>
                  <a:gd name="T0" fmla="*/ 955 w 955"/>
                  <a:gd name="T1" fmla="*/ 0 h 160"/>
                  <a:gd name="T2" fmla="*/ 0 w 955"/>
                  <a:gd name="T3" fmla="*/ 74 h 160"/>
                  <a:gd name="T4" fmla="*/ 0 w 955"/>
                  <a:gd name="T5" fmla="*/ 160 h 160"/>
                  <a:gd name="T6" fmla="*/ 955 w 955"/>
                  <a:gd name="T7" fmla="*/ 85 h 160"/>
                  <a:gd name="T8" fmla="*/ 955 w 955"/>
                  <a:gd name="T9" fmla="*/ 0 h 160"/>
                </a:gdLst>
                <a:ahLst/>
                <a:cxnLst>
                  <a:cxn ang="0">
                    <a:pos x="T0" y="T1"/>
                  </a:cxn>
                  <a:cxn ang="0">
                    <a:pos x="T2" y="T3"/>
                  </a:cxn>
                  <a:cxn ang="0">
                    <a:pos x="T4" y="T5"/>
                  </a:cxn>
                  <a:cxn ang="0">
                    <a:pos x="T6" y="T7"/>
                  </a:cxn>
                  <a:cxn ang="0">
                    <a:pos x="T8" y="T9"/>
                  </a:cxn>
                </a:cxnLst>
                <a:rect l="0" t="0" r="r" b="b"/>
                <a:pathLst>
                  <a:path w="955" h="160">
                    <a:moveTo>
                      <a:pt x="955" y="0"/>
                    </a:moveTo>
                    <a:lnTo>
                      <a:pt x="0" y="74"/>
                    </a:lnTo>
                    <a:lnTo>
                      <a:pt x="0" y="160"/>
                    </a:lnTo>
                    <a:lnTo>
                      <a:pt x="955" y="85"/>
                    </a:lnTo>
                    <a:lnTo>
                      <a:pt x="955"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6" name="Freeform 2330"/>
              <p:cNvSpPr>
                <a:spLocks/>
              </p:cNvSpPr>
              <p:nvPr/>
            </p:nvSpPr>
            <p:spPr bwMode="auto">
              <a:xfrm>
                <a:off x="9028113" y="5032376"/>
                <a:ext cx="290513" cy="46038"/>
              </a:xfrm>
              <a:custGeom>
                <a:avLst/>
                <a:gdLst>
                  <a:gd name="T0" fmla="*/ 1094 w 1095"/>
                  <a:gd name="T1" fmla="*/ 0 h 171"/>
                  <a:gd name="T2" fmla="*/ 0 w 1095"/>
                  <a:gd name="T3" fmla="*/ 86 h 171"/>
                  <a:gd name="T4" fmla="*/ 1 w 1095"/>
                  <a:gd name="T5" fmla="*/ 171 h 171"/>
                  <a:gd name="T6" fmla="*/ 1095 w 1095"/>
                  <a:gd name="T7" fmla="*/ 86 h 171"/>
                  <a:gd name="T8" fmla="*/ 1094 w 1095"/>
                  <a:gd name="T9" fmla="*/ 0 h 171"/>
                </a:gdLst>
                <a:ahLst/>
                <a:cxnLst>
                  <a:cxn ang="0">
                    <a:pos x="T0" y="T1"/>
                  </a:cxn>
                  <a:cxn ang="0">
                    <a:pos x="T2" y="T3"/>
                  </a:cxn>
                  <a:cxn ang="0">
                    <a:pos x="T4" y="T5"/>
                  </a:cxn>
                  <a:cxn ang="0">
                    <a:pos x="T6" y="T7"/>
                  </a:cxn>
                  <a:cxn ang="0">
                    <a:pos x="T8" y="T9"/>
                  </a:cxn>
                </a:cxnLst>
                <a:rect l="0" t="0" r="r" b="b"/>
                <a:pathLst>
                  <a:path w="1095" h="171">
                    <a:moveTo>
                      <a:pt x="1094" y="0"/>
                    </a:moveTo>
                    <a:lnTo>
                      <a:pt x="0" y="86"/>
                    </a:lnTo>
                    <a:lnTo>
                      <a:pt x="1" y="171"/>
                    </a:lnTo>
                    <a:lnTo>
                      <a:pt x="1095" y="86"/>
                    </a:lnTo>
                    <a:lnTo>
                      <a:pt x="1094" y="0"/>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7" name="Freeform 2331"/>
              <p:cNvSpPr>
                <a:spLocks/>
              </p:cNvSpPr>
              <p:nvPr/>
            </p:nvSpPr>
            <p:spPr bwMode="auto">
              <a:xfrm>
                <a:off x="9356725" y="4770438"/>
                <a:ext cx="85725" cy="30163"/>
              </a:xfrm>
              <a:custGeom>
                <a:avLst/>
                <a:gdLst>
                  <a:gd name="T0" fmla="*/ 0 w 323"/>
                  <a:gd name="T1" fmla="*/ 25 h 112"/>
                  <a:gd name="T2" fmla="*/ 323 w 323"/>
                  <a:gd name="T3" fmla="*/ 0 h 112"/>
                  <a:gd name="T4" fmla="*/ 323 w 323"/>
                  <a:gd name="T5" fmla="*/ 86 h 112"/>
                  <a:gd name="T6" fmla="*/ 0 w 323"/>
                  <a:gd name="T7" fmla="*/ 112 h 112"/>
                  <a:gd name="T8" fmla="*/ 0 w 323"/>
                  <a:gd name="T9" fmla="*/ 25 h 112"/>
                </a:gdLst>
                <a:ahLst/>
                <a:cxnLst>
                  <a:cxn ang="0">
                    <a:pos x="T0" y="T1"/>
                  </a:cxn>
                  <a:cxn ang="0">
                    <a:pos x="T2" y="T3"/>
                  </a:cxn>
                  <a:cxn ang="0">
                    <a:pos x="T4" y="T5"/>
                  </a:cxn>
                  <a:cxn ang="0">
                    <a:pos x="T6" y="T7"/>
                  </a:cxn>
                  <a:cxn ang="0">
                    <a:pos x="T8" y="T9"/>
                  </a:cxn>
                </a:cxnLst>
                <a:rect l="0" t="0" r="r" b="b"/>
                <a:pathLst>
                  <a:path w="323" h="112">
                    <a:moveTo>
                      <a:pt x="0" y="25"/>
                    </a:moveTo>
                    <a:lnTo>
                      <a:pt x="323" y="0"/>
                    </a:lnTo>
                    <a:lnTo>
                      <a:pt x="323" y="86"/>
                    </a:lnTo>
                    <a:lnTo>
                      <a:pt x="0" y="112"/>
                    </a:lnTo>
                    <a:lnTo>
                      <a:pt x="0" y="25"/>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8" name="Freeform 2332"/>
              <p:cNvSpPr>
                <a:spLocks/>
              </p:cNvSpPr>
              <p:nvPr/>
            </p:nvSpPr>
            <p:spPr bwMode="auto">
              <a:xfrm>
                <a:off x="9367838" y="4833938"/>
                <a:ext cx="74613" cy="28575"/>
              </a:xfrm>
              <a:custGeom>
                <a:avLst/>
                <a:gdLst>
                  <a:gd name="T0" fmla="*/ 0 w 282"/>
                  <a:gd name="T1" fmla="*/ 21 h 108"/>
                  <a:gd name="T2" fmla="*/ 282 w 282"/>
                  <a:gd name="T3" fmla="*/ 0 h 108"/>
                  <a:gd name="T4" fmla="*/ 282 w 282"/>
                  <a:gd name="T5" fmla="*/ 85 h 108"/>
                  <a:gd name="T6" fmla="*/ 0 w 282"/>
                  <a:gd name="T7" fmla="*/ 108 h 108"/>
                  <a:gd name="T8" fmla="*/ 0 w 282"/>
                  <a:gd name="T9" fmla="*/ 21 h 108"/>
                </a:gdLst>
                <a:ahLst/>
                <a:cxnLst>
                  <a:cxn ang="0">
                    <a:pos x="T0" y="T1"/>
                  </a:cxn>
                  <a:cxn ang="0">
                    <a:pos x="T2" y="T3"/>
                  </a:cxn>
                  <a:cxn ang="0">
                    <a:pos x="T4" y="T5"/>
                  </a:cxn>
                  <a:cxn ang="0">
                    <a:pos x="T6" y="T7"/>
                  </a:cxn>
                  <a:cxn ang="0">
                    <a:pos x="T8" y="T9"/>
                  </a:cxn>
                </a:cxnLst>
                <a:rect l="0" t="0" r="r" b="b"/>
                <a:pathLst>
                  <a:path w="282" h="108">
                    <a:moveTo>
                      <a:pt x="0" y="21"/>
                    </a:moveTo>
                    <a:lnTo>
                      <a:pt x="282" y="0"/>
                    </a:lnTo>
                    <a:lnTo>
                      <a:pt x="282" y="85"/>
                    </a:lnTo>
                    <a:lnTo>
                      <a:pt x="0" y="108"/>
                    </a:lnTo>
                    <a:lnTo>
                      <a:pt x="0" y="21"/>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79" name="Freeform 2333"/>
              <p:cNvSpPr>
                <a:spLocks/>
              </p:cNvSpPr>
              <p:nvPr/>
            </p:nvSpPr>
            <p:spPr bwMode="auto">
              <a:xfrm>
                <a:off x="9356725" y="4897438"/>
                <a:ext cx="85725" cy="28575"/>
              </a:xfrm>
              <a:custGeom>
                <a:avLst/>
                <a:gdLst>
                  <a:gd name="T0" fmla="*/ 0 w 324"/>
                  <a:gd name="T1" fmla="*/ 25 h 112"/>
                  <a:gd name="T2" fmla="*/ 324 w 324"/>
                  <a:gd name="T3" fmla="*/ 0 h 112"/>
                  <a:gd name="T4" fmla="*/ 324 w 324"/>
                  <a:gd name="T5" fmla="*/ 86 h 112"/>
                  <a:gd name="T6" fmla="*/ 1 w 324"/>
                  <a:gd name="T7" fmla="*/ 112 h 112"/>
                  <a:gd name="T8" fmla="*/ 0 w 324"/>
                  <a:gd name="T9" fmla="*/ 25 h 112"/>
                </a:gdLst>
                <a:ahLst/>
                <a:cxnLst>
                  <a:cxn ang="0">
                    <a:pos x="T0" y="T1"/>
                  </a:cxn>
                  <a:cxn ang="0">
                    <a:pos x="T2" y="T3"/>
                  </a:cxn>
                  <a:cxn ang="0">
                    <a:pos x="T4" y="T5"/>
                  </a:cxn>
                  <a:cxn ang="0">
                    <a:pos x="T6" y="T7"/>
                  </a:cxn>
                  <a:cxn ang="0">
                    <a:pos x="T8" y="T9"/>
                  </a:cxn>
                </a:cxnLst>
                <a:rect l="0" t="0" r="r" b="b"/>
                <a:pathLst>
                  <a:path w="324" h="112">
                    <a:moveTo>
                      <a:pt x="0" y="25"/>
                    </a:moveTo>
                    <a:lnTo>
                      <a:pt x="324" y="0"/>
                    </a:lnTo>
                    <a:lnTo>
                      <a:pt x="324" y="86"/>
                    </a:lnTo>
                    <a:lnTo>
                      <a:pt x="1" y="112"/>
                    </a:lnTo>
                    <a:lnTo>
                      <a:pt x="0" y="25"/>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0" name="Freeform 2334"/>
              <p:cNvSpPr>
                <a:spLocks/>
              </p:cNvSpPr>
              <p:nvPr/>
            </p:nvSpPr>
            <p:spPr bwMode="auto">
              <a:xfrm>
                <a:off x="9367838" y="4959351"/>
                <a:ext cx="74613" cy="28575"/>
              </a:xfrm>
              <a:custGeom>
                <a:avLst/>
                <a:gdLst>
                  <a:gd name="T0" fmla="*/ 0 w 282"/>
                  <a:gd name="T1" fmla="*/ 22 h 109"/>
                  <a:gd name="T2" fmla="*/ 282 w 282"/>
                  <a:gd name="T3" fmla="*/ 0 h 109"/>
                  <a:gd name="T4" fmla="*/ 282 w 282"/>
                  <a:gd name="T5" fmla="*/ 86 h 109"/>
                  <a:gd name="T6" fmla="*/ 0 w 282"/>
                  <a:gd name="T7" fmla="*/ 109 h 109"/>
                  <a:gd name="T8" fmla="*/ 0 w 282"/>
                  <a:gd name="T9" fmla="*/ 22 h 109"/>
                </a:gdLst>
                <a:ahLst/>
                <a:cxnLst>
                  <a:cxn ang="0">
                    <a:pos x="T0" y="T1"/>
                  </a:cxn>
                  <a:cxn ang="0">
                    <a:pos x="T2" y="T3"/>
                  </a:cxn>
                  <a:cxn ang="0">
                    <a:pos x="T4" y="T5"/>
                  </a:cxn>
                  <a:cxn ang="0">
                    <a:pos x="T6" y="T7"/>
                  </a:cxn>
                  <a:cxn ang="0">
                    <a:pos x="T8" y="T9"/>
                  </a:cxn>
                </a:cxnLst>
                <a:rect l="0" t="0" r="r" b="b"/>
                <a:pathLst>
                  <a:path w="282" h="109">
                    <a:moveTo>
                      <a:pt x="0" y="22"/>
                    </a:moveTo>
                    <a:lnTo>
                      <a:pt x="282" y="0"/>
                    </a:lnTo>
                    <a:lnTo>
                      <a:pt x="282" y="86"/>
                    </a:lnTo>
                    <a:lnTo>
                      <a:pt x="0" y="109"/>
                    </a:lnTo>
                    <a:lnTo>
                      <a:pt x="0" y="22"/>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1" name="Freeform 2335"/>
              <p:cNvSpPr>
                <a:spLocks/>
              </p:cNvSpPr>
              <p:nvPr/>
            </p:nvSpPr>
            <p:spPr bwMode="auto">
              <a:xfrm>
                <a:off x="9356725" y="5022851"/>
                <a:ext cx="87313" cy="30163"/>
              </a:xfrm>
              <a:custGeom>
                <a:avLst/>
                <a:gdLst>
                  <a:gd name="T0" fmla="*/ 0 w 324"/>
                  <a:gd name="T1" fmla="*/ 25 h 112"/>
                  <a:gd name="T2" fmla="*/ 324 w 324"/>
                  <a:gd name="T3" fmla="*/ 0 h 112"/>
                  <a:gd name="T4" fmla="*/ 324 w 324"/>
                  <a:gd name="T5" fmla="*/ 86 h 112"/>
                  <a:gd name="T6" fmla="*/ 1 w 324"/>
                  <a:gd name="T7" fmla="*/ 112 h 112"/>
                  <a:gd name="T8" fmla="*/ 0 w 324"/>
                  <a:gd name="T9" fmla="*/ 25 h 112"/>
                </a:gdLst>
                <a:ahLst/>
                <a:cxnLst>
                  <a:cxn ang="0">
                    <a:pos x="T0" y="T1"/>
                  </a:cxn>
                  <a:cxn ang="0">
                    <a:pos x="T2" y="T3"/>
                  </a:cxn>
                  <a:cxn ang="0">
                    <a:pos x="T4" y="T5"/>
                  </a:cxn>
                  <a:cxn ang="0">
                    <a:pos x="T6" y="T7"/>
                  </a:cxn>
                  <a:cxn ang="0">
                    <a:pos x="T8" y="T9"/>
                  </a:cxn>
                </a:cxnLst>
                <a:rect l="0" t="0" r="r" b="b"/>
                <a:pathLst>
                  <a:path w="324" h="112">
                    <a:moveTo>
                      <a:pt x="0" y="25"/>
                    </a:moveTo>
                    <a:lnTo>
                      <a:pt x="324" y="0"/>
                    </a:lnTo>
                    <a:lnTo>
                      <a:pt x="324" y="86"/>
                    </a:lnTo>
                    <a:lnTo>
                      <a:pt x="1" y="112"/>
                    </a:lnTo>
                    <a:lnTo>
                      <a:pt x="0" y="25"/>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2" name="Freeform 2336"/>
              <p:cNvSpPr>
                <a:spLocks noEditPoints="1"/>
              </p:cNvSpPr>
              <p:nvPr/>
            </p:nvSpPr>
            <p:spPr bwMode="auto">
              <a:xfrm>
                <a:off x="8769350" y="4676776"/>
                <a:ext cx="411163" cy="93663"/>
              </a:xfrm>
              <a:custGeom>
                <a:avLst/>
                <a:gdLst>
                  <a:gd name="T0" fmla="*/ 1439 w 1553"/>
                  <a:gd name="T1" fmla="*/ 216 h 358"/>
                  <a:gd name="T2" fmla="*/ 1384 w 1553"/>
                  <a:gd name="T3" fmla="*/ 229 h 358"/>
                  <a:gd name="T4" fmla="*/ 1334 w 1553"/>
                  <a:gd name="T5" fmla="*/ 175 h 358"/>
                  <a:gd name="T6" fmla="*/ 1239 w 1553"/>
                  <a:gd name="T7" fmla="*/ 234 h 358"/>
                  <a:gd name="T8" fmla="*/ 1223 w 1553"/>
                  <a:gd name="T9" fmla="*/ 223 h 358"/>
                  <a:gd name="T10" fmla="*/ 1186 w 1553"/>
                  <a:gd name="T11" fmla="*/ 164 h 358"/>
                  <a:gd name="T12" fmla="*/ 1087 w 1553"/>
                  <a:gd name="T13" fmla="*/ 248 h 358"/>
                  <a:gd name="T14" fmla="*/ 1044 w 1553"/>
                  <a:gd name="T15" fmla="*/ 250 h 358"/>
                  <a:gd name="T16" fmla="*/ 1136 w 1553"/>
                  <a:gd name="T17" fmla="*/ 75 h 358"/>
                  <a:gd name="T18" fmla="*/ 1119 w 1553"/>
                  <a:gd name="T19" fmla="*/ 33 h 358"/>
                  <a:gd name="T20" fmla="*/ 1068 w 1553"/>
                  <a:gd name="T21" fmla="*/ 26 h 358"/>
                  <a:gd name="T22" fmla="*/ 1009 w 1553"/>
                  <a:gd name="T23" fmla="*/ 34 h 358"/>
                  <a:gd name="T24" fmla="*/ 770 w 1553"/>
                  <a:gd name="T25" fmla="*/ 253 h 358"/>
                  <a:gd name="T26" fmla="*/ 674 w 1553"/>
                  <a:gd name="T27" fmla="*/ 282 h 358"/>
                  <a:gd name="T28" fmla="*/ 633 w 1553"/>
                  <a:gd name="T29" fmla="*/ 257 h 358"/>
                  <a:gd name="T30" fmla="*/ 658 w 1553"/>
                  <a:gd name="T31" fmla="*/ 215 h 358"/>
                  <a:gd name="T32" fmla="*/ 750 w 1553"/>
                  <a:gd name="T33" fmla="*/ 203 h 358"/>
                  <a:gd name="T34" fmla="*/ 832 w 1553"/>
                  <a:gd name="T35" fmla="*/ 127 h 358"/>
                  <a:gd name="T36" fmla="*/ 835 w 1553"/>
                  <a:gd name="T37" fmla="*/ 72 h 358"/>
                  <a:gd name="T38" fmla="*/ 772 w 1553"/>
                  <a:gd name="T39" fmla="*/ 46 h 358"/>
                  <a:gd name="T40" fmla="*/ 659 w 1553"/>
                  <a:gd name="T41" fmla="*/ 89 h 358"/>
                  <a:gd name="T42" fmla="*/ 530 w 1553"/>
                  <a:gd name="T43" fmla="*/ 258 h 358"/>
                  <a:gd name="T44" fmla="*/ 453 w 1553"/>
                  <a:gd name="T45" fmla="*/ 298 h 358"/>
                  <a:gd name="T46" fmla="*/ 527 w 1553"/>
                  <a:gd name="T47" fmla="*/ 132 h 358"/>
                  <a:gd name="T48" fmla="*/ 530 w 1553"/>
                  <a:gd name="T49" fmla="*/ 87 h 358"/>
                  <a:gd name="T50" fmla="*/ 485 w 1553"/>
                  <a:gd name="T51" fmla="*/ 67 h 358"/>
                  <a:gd name="T52" fmla="*/ 390 w 1553"/>
                  <a:gd name="T53" fmla="*/ 107 h 358"/>
                  <a:gd name="T54" fmla="*/ 364 w 1553"/>
                  <a:gd name="T55" fmla="*/ 107 h 358"/>
                  <a:gd name="T56" fmla="*/ 328 w 1553"/>
                  <a:gd name="T57" fmla="*/ 80 h 358"/>
                  <a:gd name="T58" fmla="*/ 252 w 1553"/>
                  <a:gd name="T59" fmla="*/ 96 h 358"/>
                  <a:gd name="T60" fmla="*/ 72 w 1553"/>
                  <a:gd name="T61" fmla="*/ 353 h 358"/>
                  <a:gd name="T62" fmla="*/ 240 w 1553"/>
                  <a:gd name="T63" fmla="*/ 138 h 358"/>
                  <a:gd name="T64" fmla="*/ 292 w 1553"/>
                  <a:gd name="T65" fmla="*/ 135 h 358"/>
                  <a:gd name="T66" fmla="*/ 344 w 1553"/>
                  <a:gd name="T67" fmla="*/ 185 h 358"/>
                  <a:gd name="T68" fmla="*/ 449 w 1553"/>
                  <a:gd name="T69" fmla="*/ 108 h 358"/>
                  <a:gd name="T70" fmla="*/ 382 w 1553"/>
                  <a:gd name="T71" fmla="*/ 261 h 358"/>
                  <a:gd name="T72" fmla="*/ 378 w 1553"/>
                  <a:gd name="T73" fmla="*/ 308 h 358"/>
                  <a:gd name="T74" fmla="*/ 433 w 1553"/>
                  <a:gd name="T75" fmla="*/ 332 h 358"/>
                  <a:gd name="T76" fmla="*/ 539 w 1553"/>
                  <a:gd name="T77" fmla="*/ 291 h 358"/>
                  <a:gd name="T78" fmla="*/ 586 w 1553"/>
                  <a:gd name="T79" fmla="*/ 293 h 358"/>
                  <a:gd name="T80" fmla="*/ 674 w 1553"/>
                  <a:gd name="T81" fmla="*/ 315 h 358"/>
                  <a:gd name="T82" fmla="*/ 786 w 1553"/>
                  <a:gd name="T83" fmla="*/ 278 h 358"/>
                  <a:gd name="T84" fmla="*/ 986 w 1553"/>
                  <a:gd name="T85" fmla="*/ 103 h 358"/>
                  <a:gd name="T86" fmla="*/ 1059 w 1553"/>
                  <a:gd name="T87" fmla="*/ 69 h 358"/>
                  <a:gd name="T88" fmla="*/ 980 w 1553"/>
                  <a:gd name="T89" fmla="*/ 226 h 358"/>
                  <a:gd name="T90" fmla="*/ 989 w 1553"/>
                  <a:gd name="T91" fmla="*/ 275 h 358"/>
                  <a:gd name="T92" fmla="*/ 1045 w 1553"/>
                  <a:gd name="T93" fmla="*/ 290 h 358"/>
                  <a:gd name="T94" fmla="*/ 1151 w 1553"/>
                  <a:gd name="T95" fmla="*/ 241 h 358"/>
                  <a:gd name="T96" fmla="*/ 1193 w 1553"/>
                  <a:gd name="T97" fmla="*/ 278 h 358"/>
                  <a:gd name="T98" fmla="*/ 1288 w 1553"/>
                  <a:gd name="T99" fmla="*/ 240 h 358"/>
                  <a:gd name="T100" fmla="*/ 1319 w 1553"/>
                  <a:gd name="T101" fmla="*/ 244 h 358"/>
                  <a:gd name="T102" fmla="*/ 1383 w 1553"/>
                  <a:gd name="T103" fmla="*/ 265 h 358"/>
                  <a:gd name="T104" fmla="*/ 1492 w 1553"/>
                  <a:gd name="T105" fmla="*/ 213 h 358"/>
                  <a:gd name="T106" fmla="*/ 1522 w 1553"/>
                  <a:gd name="T107" fmla="*/ 140 h 358"/>
                  <a:gd name="T108" fmla="*/ 739 w 1553"/>
                  <a:gd name="T109" fmla="*/ 90 h 358"/>
                  <a:gd name="T110" fmla="*/ 782 w 1553"/>
                  <a:gd name="T111" fmla="*/ 104 h 358"/>
                  <a:gd name="T112" fmla="*/ 748 w 1553"/>
                  <a:gd name="T113" fmla="*/ 165 h 358"/>
                  <a:gd name="T114" fmla="*/ 676 w 1553"/>
                  <a:gd name="T115" fmla="*/ 18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53" h="358">
                    <a:moveTo>
                      <a:pt x="1522" y="140"/>
                    </a:moveTo>
                    <a:lnTo>
                      <a:pt x="1518" y="145"/>
                    </a:lnTo>
                    <a:lnTo>
                      <a:pt x="1518" y="145"/>
                    </a:lnTo>
                    <a:lnTo>
                      <a:pt x="1502" y="162"/>
                    </a:lnTo>
                    <a:lnTo>
                      <a:pt x="1486" y="178"/>
                    </a:lnTo>
                    <a:lnTo>
                      <a:pt x="1469" y="193"/>
                    </a:lnTo>
                    <a:lnTo>
                      <a:pt x="1454" y="205"/>
                    </a:lnTo>
                    <a:lnTo>
                      <a:pt x="1439" y="216"/>
                    </a:lnTo>
                    <a:lnTo>
                      <a:pt x="1425" y="224"/>
                    </a:lnTo>
                    <a:lnTo>
                      <a:pt x="1410" y="229"/>
                    </a:lnTo>
                    <a:lnTo>
                      <a:pt x="1404" y="232"/>
                    </a:lnTo>
                    <a:lnTo>
                      <a:pt x="1398" y="232"/>
                    </a:lnTo>
                    <a:lnTo>
                      <a:pt x="1398" y="232"/>
                    </a:lnTo>
                    <a:lnTo>
                      <a:pt x="1393" y="232"/>
                    </a:lnTo>
                    <a:lnTo>
                      <a:pt x="1388" y="232"/>
                    </a:lnTo>
                    <a:lnTo>
                      <a:pt x="1384" y="229"/>
                    </a:lnTo>
                    <a:lnTo>
                      <a:pt x="1381" y="226"/>
                    </a:lnTo>
                    <a:lnTo>
                      <a:pt x="1380" y="222"/>
                    </a:lnTo>
                    <a:lnTo>
                      <a:pt x="1380" y="217"/>
                    </a:lnTo>
                    <a:lnTo>
                      <a:pt x="1382" y="211"/>
                    </a:lnTo>
                    <a:lnTo>
                      <a:pt x="1385" y="204"/>
                    </a:lnTo>
                    <a:lnTo>
                      <a:pt x="1505" y="0"/>
                    </a:lnTo>
                    <a:lnTo>
                      <a:pt x="1434" y="5"/>
                    </a:lnTo>
                    <a:lnTo>
                      <a:pt x="1334" y="175"/>
                    </a:lnTo>
                    <a:lnTo>
                      <a:pt x="1334" y="175"/>
                    </a:lnTo>
                    <a:lnTo>
                      <a:pt x="1316" y="189"/>
                    </a:lnTo>
                    <a:lnTo>
                      <a:pt x="1299" y="201"/>
                    </a:lnTo>
                    <a:lnTo>
                      <a:pt x="1284" y="211"/>
                    </a:lnTo>
                    <a:lnTo>
                      <a:pt x="1271" y="220"/>
                    </a:lnTo>
                    <a:lnTo>
                      <a:pt x="1259" y="226"/>
                    </a:lnTo>
                    <a:lnTo>
                      <a:pt x="1248" y="232"/>
                    </a:lnTo>
                    <a:lnTo>
                      <a:pt x="1239" y="234"/>
                    </a:lnTo>
                    <a:lnTo>
                      <a:pt x="1235" y="234"/>
                    </a:lnTo>
                    <a:lnTo>
                      <a:pt x="1232" y="234"/>
                    </a:lnTo>
                    <a:lnTo>
                      <a:pt x="1232" y="234"/>
                    </a:lnTo>
                    <a:lnTo>
                      <a:pt x="1229" y="233"/>
                    </a:lnTo>
                    <a:lnTo>
                      <a:pt x="1227" y="232"/>
                    </a:lnTo>
                    <a:lnTo>
                      <a:pt x="1225" y="229"/>
                    </a:lnTo>
                    <a:lnTo>
                      <a:pt x="1224" y="227"/>
                    </a:lnTo>
                    <a:lnTo>
                      <a:pt x="1223" y="223"/>
                    </a:lnTo>
                    <a:lnTo>
                      <a:pt x="1224" y="218"/>
                    </a:lnTo>
                    <a:lnTo>
                      <a:pt x="1226" y="212"/>
                    </a:lnTo>
                    <a:lnTo>
                      <a:pt x="1229" y="207"/>
                    </a:lnTo>
                    <a:lnTo>
                      <a:pt x="1235" y="197"/>
                    </a:lnTo>
                    <a:lnTo>
                      <a:pt x="1345" y="11"/>
                    </a:lnTo>
                    <a:lnTo>
                      <a:pt x="1274" y="16"/>
                    </a:lnTo>
                    <a:lnTo>
                      <a:pt x="1186" y="164"/>
                    </a:lnTo>
                    <a:lnTo>
                      <a:pt x="1186" y="164"/>
                    </a:lnTo>
                    <a:lnTo>
                      <a:pt x="1181" y="168"/>
                    </a:lnTo>
                    <a:lnTo>
                      <a:pt x="1181" y="168"/>
                    </a:lnTo>
                    <a:lnTo>
                      <a:pt x="1165" y="186"/>
                    </a:lnTo>
                    <a:lnTo>
                      <a:pt x="1149" y="202"/>
                    </a:lnTo>
                    <a:lnTo>
                      <a:pt x="1133" y="216"/>
                    </a:lnTo>
                    <a:lnTo>
                      <a:pt x="1116" y="228"/>
                    </a:lnTo>
                    <a:lnTo>
                      <a:pt x="1101" y="240"/>
                    </a:lnTo>
                    <a:lnTo>
                      <a:pt x="1087" y="248"/>
                    </a:lnTo>
                    <a:lnTo>
                      <a:pt x="1074" y="253"/>
                    </a:lnTo>
                    <a:lnTo>
                      <a:pt x="1068" y="255"/>
                    </a:lnTo>
                    <a:lnTo>
                      <a:pt x="1061" y="256"/>
                    </a:lnTo>
                    <a:lnTo>
                      <a:pt x="1061" y="256"/>
                    </a:lnTo>
                    <a:lnTo>
                      <a:pt x="1055" y="256"/>
                    </a:lnTo>
                    <a:lnTo>
                      <a:pt x="1051" y="255"/>
                    </a:lnTo>
                    <a:lnTo>
                      <a:pt x="1047" y="253"/>
                    </a:lnTo>
                    <a:lnTo>
                      <a:pt x="1044" y="250"/>
                    </a:lnTo>
                    <a:lnTo>
                      <a:pt x="1042" y="247"/>
                    </a:lnTo>
                    <a:lnTo>
                      <a:pt x="1043" y="242"/>
                    </a:lnTo>
                    <a:lnTo>
                      <a:pt x="1044" y="236"/>
                    </a:lnTo>
                    <a:lnTo>
                      <a:pt x="1048" y="227"/>
                    </a:lnTo>
                    <a:lnTo>
                      <a:pt x="1130" y="89"/>
                    </a:lnTo>
                    <a:lnTo>
                      <a:pt x="1130" y="89"/>
                    </a:lnTo>
                    <a:lnTo>
                      <a:pt x="1134" y="82"/>
                    </a:lnTo>
                    <a:lnTo>
                      <a:pt x="1136" y="75"/>
                    </a:lnTo>
                    <a:lnTo>
                      <a:pt x="1137" y="68"/>
                    </a:lnTo>
                    <a:lnTo>
                      <a:pt x="1138" y="62"/>
                    </a:lnTo>
                    <a:lnTo>
                      <a:pt x="1137" y="56"/>
                    </a:lnTo>
                    <a:lnTo>
                      <a:pt x="1135" y="49"/>
                    </a:lnTo>
                    <a:lnTo>
                      <a:pt x="1132" y="44"/>
                    </a:lnTo>
                    <a:lnTo>
                      <a:pt x="1129" y="40"/>
                    </a:lnTo>
                    <a:lnTo>
                      <a:pt x="1125" y="36"/>
                    </a:lnTo>
                    <a:lnTo>
                      <a:pt x="1119" y="33"/>
                    </a:lnTo>
                    <a:lnTo>
                      <a:pt x="1113" y="30"/>
                    </a:lnTo>
                    <a:lnTo>
                      <a:pt x="1107" y="27"/>
                    </a:lnTo>
                    <a:lnTo>
                      <a:pt x="1101" y="26"/>
                    </a:lnTo>
                    <a:lnTo>
                      <a:pt x="1094" y="25"/>
                    </a:lnTo>
                    <a:lnTo>
                      <a:pt x="1087" y="24"/>
                    </a:lnTo>
                    <a:lnTo>
                      <a:pt x="1080" y="24"/>
                    </a:lnTo>
                    <a:lnTo>
                      <a:pt x="1080" y="24"/>
                    </a:lnTo>
                    <a:lnTo>
                      <a:pt x="1068" y="26"/>
                    </a:lnTo>
                    <a:lnTo>
                      <a:pt x="1056" y="28"/>
                    </a:lnTo>
                    <a:lnTo>
                      <a:pt x="1045" y="32"/>
                    </a:lnTo>
                    <a:lnTo>
                      <a:pt x="1034" y="37"/>
                    </a:lnTo>
                    <a:lnTo>
                      <a:pt x="1022" y="43"/>
                    </a:lnTo>
                    <a:lnTo>
                      <a:pt x="1011" y="50"/>
                    </a:lnTo>
                    <a:lnTo>
                      <a:pt x="998" y="60"/>
                    </a:lnTo>
                    <a:lnTo>
                      <a:pt x="987" y="70"/>
                    </a:lnTo>
                    <a:lnTo>
                      <a:pt x="1009" y="34"/>
                    </a:lnTo>
                    <a:lnTo>
                      <a:pt x="937" y="39"/>
                    </a:lnTo>
                    <a:lnTo>
                      <a:pt x="849" y="188"/>
                    </a:lnTo>
                    <a:lnTo>
                      <a:pt x="845" y="192"/>
                    </a:lnTo>
                    <a:lnTo>
                      <a:pt x="845" y="192"/>
                    </a:lnTo>
                    <a:lnTo>
                      <a:pt x="828" y="209"/>
                    </a:lnTo>
                    <a:lnTo>
                      <a:pt x="809" y="225"/>
                    </a:lnTo>
                    <a:lnTo>
                      <a:pt x="790" y="241"/>
                    </a:lnTo>
                    <a:lnTo>
                      <a:pt x="770" y="253"/>
                    </a:lnTo>
                    <a:lnTo>
                      <a:pt x="749" y="264"/>
                    </a:lnTo>
                    <a:lnTo>
                      <a:pt x="729" y="273"/>
                    </a:lnTo>
                    <a:lnTo>
                      <a:pt x="719" y="276"/>
                    </a:lnTo>
                    <a:lnTo>
                      <a:pt x="710" y="278"/>
                    </a:lnTo>
                    <a:lnTo>
                      <a:pt x="699" y="280"/>
                    </a:lnTo>
                    <a:lnTo>
                      <a:pt x="690" y="281"/>
                    </a:lnTo>
                    <a:lnTo>
                      <a:pt x="690" y="281"/>
                    </a:lnTo>
                    <a:lnTo>
                      <a:pt x="674" y="282"/>
                    </a:lnTo>
                    <a:lnTo>
                      <a:pt x="661" y="280"/>
                    </a:lnTo>
                    <a:lnTo>
                      <a:pt x="655" y="278"/>
                    </a:lnTo>
                    <a:lnTo>
                      <a:pt x="649" y="276"/>
                    </a:lnTo>
                    <a:lnTo>
                      <a:pt x="645" y="273"/>
                    </a:lnTo>
                    <a:lnTo>
                      <a:pt x="640" y="270"/>
                    </a:lnTo>
                    <a:lnTo>
                      <a:pt x="637" y="266"/>
                    </a:lnTo>
                    <a:lnTo>
                      <a:pt x="634" y="261"/>
                    </a:lnTo>
                    <a:lnTo>
                      <a:pt x="633" y="257"/>
                    </a:lnTo>
                    <a:lnTo>
                      <a:pt x="633" y="251"/>
                    </a:lnTo>
                    <a:lnTo>
                      <a:pt x="633" y="245"/>
                    </a:lnTo>
                    <a:lnTo>
                      <a:pt x="635" y="238"/>
                    </a:lnTo>
                    <a:lnTo>
                      <a:pt x="638" y="231"/>
                    </a:lnTo>
                    <a:lnTo>
                      <a:pt x="642" y="222"/>
                    </a:lnTo>
                    <a:lnTo>
                      <a:pt x="648" y="213"/>
                    </a:lnTo>
                    <a:lnTo>
                      <a:pt x="648" y="213"/>
                    </a:lnTo>
                    <a:lnTo>
                      <a:pt x="658" y="215"/>
                    </a:lnTo>
                    <a:lnTo>
                      <a:pt x="668" y="216"/>
                    </a:lnTo>
                    <a:lnTo>
                      <a:pt x="679" y="216"/>
                    </a:lnTo>
                    <a:lnTo>
                      <a:pt x="690" y="216"/>
                    </a:lnTo>
                    <a:lnTo>
                      <a:pt x="701" y="215"/>
                    </a:lnTo>
                    <a:lnTo>
                      <a:pt x="714" y="213"/>
                    </a:lnTo>
                    <a:lnTo>
                      <a:pt x="726" y="211"/>
                    </a:lnTo>
                    <a:lnTo>
                      <a:pt x="738" y="207"/>
                    </a:lnTo>
                    <a:lnTo>
                      <a:pt x="750" y="203"/>
                    </a:lnTo>
                    <a:lnTo>
                      <a:pt x="762" y="197"/>
                    </a:lnTo>
                    <a:lnTo>
                      <a:pt x="775" y="191"/>
                    </a:lnTo>
                    <a:lnTo>
                      <a:pt x="786" y="183"/>
                    </a:lnTo>
                    <a:lnTo>
                      <a:pt x="796" y="175"/>
                    </a:lnTo>
                    <a:lnTo>
                      <a:pt x="806" y="164"/>
                    </a:lnTo>
                    <a:lnTo>
                      <a:pt x="815" y="153"/>
                    </a:lnTo>
                    <a:lnTo>
                      <a:pt x="825" y="140"/>
                    </a:lnTo>
                    <a:lnTo>
                      <a:pt x="832" y="127"/>
                    </a:lnTo>
                    <a:lnTo>
                      <a:pt x="832" y="127"/>
                    </a:lnTo>
                    <a:lnTo>
                      <a:pt x="837" y="118"/>
                    </a:lnTo>
                    <a:lnTo>
                      <a:pt x="840" y="108"/>
                    </a:lnTo>
                    <a:lnTo>
                      <a:pt x="842" y="100"/>
                    </a:lnTo>
                    <a:lnTo>
                      <a:pt x="842" y="92"/>
                    </a:lnTo>
                    <a:lnTo>
                      <a:pt x="841" y="85"/>
                    </a:lnTo>
                    <a:lnTo>
                      <a:pt x="839" y="78"/>
                    </a:lnTo>
                    <a:lnTo>
                      <a:pt x="835" y="72"/>
                    </a:lnTo>
                    <a:lnTo>
                      <a:pt x="830" y="66"/>
                    </a:lnTo>
                    <a:lnTo>
                      <a:pt x="825" y="62"/>
                    </a:lnTo>
                    <a:lnTo>
                      <a:pt x="817" y="57"/>
                    </a:lnTo>
                    <a:lnTo>
                      <a:pt x="809" y="53"/>
                    </a:lnTo>
                    <a:lnTo>
                      <a:pt x="801" y="50"/>
                    </a:lnTo>
                    <a:lnTo>
                      <a:pt x="792" y="48"/>
                    </a:lnTo>
                    <a:lnTo>
                      <a:pt x="782" y="47"/>
                    </a:lnTo>
                    <a:lnTo>
                      <a:pt x="772" y="46"/>
                    </a:lnTo>
                    <a:lnTo>
                      <a:pt x="761" y="46"/>
                    </a:lnTo>
                    <a:lnTo>
                      <a:pt x="761" y="46"/>
                    </a:lnTo>
                    <a:lnTo>
                      <a:pt x="740" y="49"/>
                    </a:lnTo>
                    <a:lnTo>
                      <a:pt x="721" y="53"/>
                    </a:lnTo>
                    <a:lnTo>
                      <a:pt x="702" y="60"/>
                    </a:lnTo>
                    <a:lnTo>
                      <a:pt x="686" y="68"/>
                    </a:lnTo>
                    <a:lnTo>
                      <a:pt x="672" y="78"/>
                    </a:lnTo>
                    <a:lnTo>
                      <a:pt x="659" y="89"/>
                    </a:lnTo>
                    <a:lnTo>
                      <a:pt x="648" y="101"/>
                    </a:lnTo>
                    <a:lnTo>
                      <a:pt x="637" y="116"/>
                    </a:lnTo>
                    <a:lnTo>
                      <a:pt x="582" y="207"/>
                    </a:lnTo>
                    <a:lnTo>
                      <a:pt x="579" y="211"/>
                    </a:lnTo>
                    <a:lnTo>
                      <a:pt x="579" y="211"/>
                    </a:lnTo>
                    <a:lnTo>
                      <a:pt x="562" y="228"/>
                    </a:lnTo>
                    <a:lnTo>
                      <a:pt x="546" y="244"/>
                    </a:lnTo>
                    <a:lnTo>
                      <a:pt x="530" y="258"/>
                    </a:lnTo>
                    <a:lnTo>
                      <a:pt x="514" y="271"/>
                    </a:lnTo>
                    <a:lnTo>
                      <a:pt x="499" y="281"/>
                    </a:lnTo>
                    <a:lnTo>
                      <a:pt x="485" y="291"/>
                    </a:lnTo>
                    <a:lnTo>
                      <a:pt x="472" y="296"/>
                    </a:lnTo>
                    <a:lnTo>
                      <a:pt x="464" y="297"/>
                    </a:lnTo>
                    <a:lnTo>
                      <a:pt x="459" y="298"/>
                    </a:lnTo>
                    <a:lnTo>
                      <a:pt x="459" y="298"/>
                    </a:lnTo>
                    <a:lnTo>
                      <a:pt x="453" y="298"/>
                    </a:lnTo>
                    <a:lnTo>
                      <a:pt x="448" y="297"/>
                    </a:lnTo>
                    <a:lnTo>
                      <a:pt x="444" y="296"/>
                    </a:lnTo>
                    <a:lnTo>
                      <a:pt x="442" y="293"/>
                    </a:lnTo>
                    <a:lnTo>
                      <a:pt x="440" y="289"/>
                    </a:lnTo>
                    <a:lnTo>
                      <a:pt x="440" y="283"/>
                    </a:lnTo>
                    <a:lnTo>
                      <a:pt x="442" y="277"/>
                    </a:lnTo>
                    <a:lnTo>
                      <a:pt x="446" y="270"/>
                    </a:lnTo>
                    <a:lnTo>
                      <a:pt x="527" y="132"/>
                    </a:lnTo>
                    <a:lnTo>
                      <a:pt x="527" y="132"/>
                    </a:lnTo>
                    <a:lnTo>
                      <a:pt x="531" y="124"/>
                    </a:lnTo>
                    <a:lnTo>
                      <a:pt x="534" y="117"/>
                    </a:lnTo>
                    <a:lnTo>
                      <a:pt x="535" y="110"/>
                    </a:lnTo>
                    <a:lnTo>
                      <a:pt x="535" y="103"/>
                    </a:lnTo>
                    <a:lnTo>
                      <a:pt x="534" y="97"/>
                    </a:lnTo>
                    <a:lnTo>
                      <a:pt x="533" y="92"/>
                    </a:lnTo>
                    <a:lnTo>
                      <a:pt x="530" y="87"/>
                    </a:lnTo>
                    <a:lnTo>
                      <a:pt x="526" y="83"/>
                    </a:lnTo>
                    <a:lnTo>
                      <a:pt x="521" y="79"/>
                    </a:lnTo>
                    <a:lnTo>
                      <a:pt x="516" y="75"/>
                    </a:lnTo>
                    <a:lnTo>
                      <a:pt x="511" y="72"/>
                    </a:lnTo>
                    <a:lnTo>
                      <a:pt x="505" y="70"/>
                    </a:lnTo>
                    <a:lnTo>
                      <a:pt x="499" y="68"/>
                    </a:lnTo>
                    <a:lnTo>
                      <a:pt x="492" y="67"/>
                    </a:lnTo>
                    <a:lnTo>
                      <a:pt x="485" y="67"/>
                    </a:lnTo>
                    <a:lnTo>
                      <a:pt x="477" y="67"/>
                    </a:lnTo>
                    <a:lnTo>
                      <a:pt x="477" y="67"/>
                    </a:lnTo>
                    <a:lnTo>
                      <a:pt x="462" y="69"/>
                    </a:lnTo>
                    <a:lnTo>
                      <a:pt x="448" y="73"/>
                    </a:lnTo>
                    <a:lnTo>
                      <a:pt x="434" y="78"/>
                    </a:lnTo>
                    <a:lnTo>
                      <a:pt x="419" y="86"/>
                    </a:lnTo>
                    <a:lnTo>
                      <a:pt x="404" y="96"/>
                    </a:lnTo>
                    <a:lnTo>
                      <a:pt x="390" y="107"/>
                    </a:lnTo>
                    <a:lnTo>
                      <a:pt x="375" y="122"/>
                    </a:lnTo>
                    <a:lnTo>
                      <a:pt x="360" y="139"/>
                    </a:lnTo>
                    <a:lnTo>
                      <a:pt x="360" y="139"/>
                    </a:lnTo>
                    <a:lnTo>
                      <a:pt x="363" y="132"/>
                    </a:lnTo>
                    <a:lnTo>
                      <a:pt x="365" y="125"/>
                    </a:lnTo>
                    <a:lnTo>
                      <a:pt x="365" y="119"/>
                    </a:lnTo>
                    <a:lnTo>
                      <a:pt x="365" y="113"/>
                    </a:lnTo>
                    <a:lnTo>
                      <a:pt x="364" y="107"/>
                    </a:lnTo>
                    <a:lnTo>
                      <a:pt x="362" y="102"/>
                    </a:lnTo>
                    <a:lnTo>
                      <a:pt x="359" y="97"/>
                    </a:lnTo>
                    <a:lnTo>
                      <a:pt x="355" y="93"/>
                    </a:lnTo>
                    <a:lnTo>
                      <a:pt x="351" y="89"/>
                    </a:lnTo>
                    <a:lnTo>
                      <a:pt x="346" y="86"/>
                    </a:lnTo>
                    <a:lnTo>
                      <a:pt x="340" y="84"/>
                    </a:lnTo>
                    <a:lnTo>
                      <a:pt x="334" y="82"/>
                    </a:lnTo>
                    <a:lnTo>
                      <a:pt x="328" y="80"/>
                    </a:lnTo>
                    <a:lnTo>
                      <a:pt x="321" y="79"/>
                    </a:lnTo>
                    <a:lnTo>
                      <a:pt x="315" y="78"/>
                    </a:lnTo>
                    <a:lnTo>
                      <a:pt x="308" y="79"/>
                    </a:lnTo>
                    <a:lnTo>
                      <a:pt x="308" y="79"/>
                    </a:lnTo>
                    <a:lnTo>
                      <a:pt x="294" y="80"/>
                    </a:lnTo>
                    <a:lnTo>
                      <a:pt x="279" y="84"/>
                    </a:lnTo>
                    <a:lnTo>
                      <a:pt x="266" y="89"/>
                    </a:lnTo>
                    <a:lnTo>
                      <a:pt x="252" y="96"/>
                    </a:lnTo>
                    <a:lnTo>
                      <a:pt x="238" y="106"/>
                    </a:lnTo>
                    <a:lnTo>
                      <a:pt x="223" y="118"/>
                    </a:lnTo>
                    <a:lnTo>
                      <a:pt x="209" y="131"/>
                    </a:lnTo>
                    <a:lnTo>
                      <a:pt x="195" y="146"/>
                    </a:lnTo>
                    <a:lnTo>
                      <a:pt x="229" y="89"/>
                    </a:lnTo>
                    <a:lnTo>
                      <a:pt x="156" y="94"/>
                    </a:lnTo>
                    <a:lnTo>
                      <a:pt x="0" y="358"/>
                    </a:lnTo>
                    <a:lnTo>
                      <a:pt x="72" y="353"/>
                    </a:lnTo>
                    <a:lnTo>
                      <a:pt x="138" y="242"/>
                    </a:lnTo>
                    <a:lnTo>
                      <a:pt x="138" y="242"/>
                    </a:lnTo>
                    <a:lnTo>
                      <a:pt x="157" y="216"/>
                    </a:lnTo>
                    <a:lnTo>
                      <a:pt x="177" y="195"/>
                    </a:lnTo>
                    <a:lnTo>
                      <a:pt x="194" y="176"/>
                    </a:lnTo>
                    <a:lnTo>
                      <a:pt x="211" y="160"/>
                    </a:lnTo>
                    <a:lnTo>
                      <a:pt x="227" y="148"/>
                    </a:lnTo>
                    <a:lnTo>
                      <a:pt x="240" y="138"/>
                    </a:lnTo>
                    <a:lnTo>
                      <a:pt x="252" y="130"/>
                    </a:lnTo>
                    <a:lnTo>
                      <a:pt x="263" y="125"/>
                    </a:lnTo>
                    <a:lnTo>
                      <a:pt x="272" y="122"/>
                    </a:lnTo>
                    <a:lnTo>
                      <a:pt x="279" y="121"/>
                    </a:lnTo>
                    <a:lnTo>
                      <a:pt x="286" y="122"/>
                    </a:lnTo>
                    <a:lnTo>
                      <a:pt x="289" y="125"/>
                    </a:lnTo>
                    <a:lnTo>
                      <a:pt x="291" y="129"/>
                    </a:lnTo>
                    <a:lnTo>
                      <a:pt x="292" y="135"/>
                    </a:lnTo>
                    <a:lnTo>
                      <a:pt x="290" y="141"/>
                    </a:lnTo>
                    <a:lnTo>
                      <a:pt x="286" y="149"/>
                    </a:lnTo>
                    <a:lnTo>
                      <a:pt x="169" y="345"/>
                    </a:lnTo>
                    <a:lnTo>
                      <a:pt x="242" y="340"/>
                    </a:lnTo>
                    <a:lnTo>
                      <a:pt x="305" y="234"/>
                    </a:lnTo>
                    <a:lnTo>
                      <a:pt x="305" y="234"/>
                    </a:lnTo>
                    <a:lnTo>
                      <a:pt x="325" y="207"/>
                    </a:lnTo>
                    <a:lnTo>
                      <a:pt x="344" y="185"/>
                    </a:lnTo>
                    <a:lnTo>
                      <a:pt x="363" y="165"/>
                    </a:lnTo>
                    <a:lnTo>
                      <a:pt x="379" y="149"/>
                    </a:lnTo>
                    <a:lnTo>
                      <a:pt x="394" y="137"/>
                    </a:lnTo>
                    <a:lnTo>
                      <a:pt x="409" y="126"/>
                    </a:lnTo>
                    <a:lnTo>
                      <a:pt x="421" y="119"/>
                    </a:lnTo>
                    <a:lnTo>
                      <a:pt x="432" y="113"/>
                    </a:lnTo>
                    <a:lnTo>
                      <a:pt x="441" y="109"/>
                    </a:lnTo>
                    <a:lnTo>
                      <a:pt x="449" y="108"/>
                    </a:lnTo>
                    <a:lnTo>
                      <a:pt x="454" y="109"/>
                    </a:lnTo>
                    <a:lnTo>
                      <a:pt x="456" y="110"/>
                    </a:lnTo>
                    <a:lnTo>
                      <a:pt x="458" y="113"/>
                    </a:lnTo>
                    <a:lnTo>
                      <a:pt x="460" y="117"/>
                    </a:lnTo>
                    <a:lnTo>
                      <a:pt x="460" y="123"/>
                    </a:lnTo>
                    <a:lnTo>
                      <a:pt x="459" y="130"/>
                    </a:lnTo>
                    <a:lnTo>
                      <a:pt x="455" y="137"/>
                    </a:lnTo>
                    <a:lnTo>
                      <a:pt x="382" y="261"/>
                    </a:lnTo>
                    <a:lnTo>
                      <a:pt x="382" y="261"/>
                    </a:lnTo>
                    <a:lnTo>
                      <a:pt x="378" y="268"/>
                    </a:lnTo>
                    <a:lnTo>
                      <a:pt x="375" y="276"/>
                    </a:lnTo>
                    <a:lnTo>
                      <a:pt x="374" y="283"/>
                    </a:lnTo>
                    <a:lnTo>
                      <a:pt x="373" y="290"/>
                    </a:lnTo>
                    <a:lnTo>
                      <a:pt x="374" y="296"/>
                    </a:lnTo>
                    <a:lnTo>
                      <a:pt x="376" y="302"/>
                    </a:lnTo>
                    <a:lnTo>
                      <a:pt x="378" y="308"/>
                    </a:lnTo>
                    <a:lnTo>
                      <a:pt x="382" y="313"/>
                    </a:lnTo>
                    <a:lnTo>
                      <a:pt x="386" y="318"/>
                    </a:lnTo>
                    <a:lnTo>
                      <a:pt x="392" y="322"/>
                    </a:lnTo>
                    <a:lnTo>
                      <a:pt x="398" y="325"/>
                    </a:lnTo>
                    <a:lnTo>
                      <a:pt x="406" y="328"/>
                    </a:lnTo>
                    <a:lnTo>
                      <a:pt x="414" y="330"/>
                    </a:lnTo>
                    <a:lnTo>
                      <a:pt x="423" y="331"/>
                    </a:lnTo>
                    <a:lnTo>
                      <a:pt x="433" y="332"/>
                    </a:lnTo>
                    <a:lnTo>
                      <a:pt x="443" y="331"/>
                    </a:lnTo>
                    <a:lnTo>
                      <a:pt x="443" y="331"/>
                    </a:lnTo>
                    <a:lnTo>
                      <a:pt x="459" y="329"/>
                    </a:lnTo>
                    <a:lnTo>
                      <a:pt x="475" y="325"/>
                    </a:lnTo>
                    <a:lnTo>
                      <a:pt x="491" y="319"/>
                    </a:lnTo>
                    <a:lnTo>
                      <a:pt x="507" y="311"/>
                    </a:lnTo>
                    <a:lnTo>
                      <a:pt x="522" y="301"/>
                    </a:lnTo>
                    <a:lnTo>
                      <a:pt x="539" y="291"/>
                    </a:lnTo>
                    <a:lnTo>
                      <a:pt x="554" y="278"/>
                    </a:lnTo>
                    <a:lnTo>
                      <a:pt x="569" y="265"/>
                    </a:lnTo>
                    <a:lnTo>
                      <a:pt x="569" y="265"/>
                    </a:lnTo>
                    <a:lnTo>
                      <a:pt x="571" y="271"/>
                    </a:lnTo>
                    <a:lnTo>
                      <a:pt x="573" y="277"/>
                    </a:lnTo>
                    <a:lnTo>
                      <a:pt x="576" y="282"/>
                    </a:lnTo>
                    <a:lnTo>
                      <a:pt x="580" y="287"/>
                    </a:lnTo>
                    <a:lnTo>
                      <a:pt x="586" y="293"/>
                    </a:lnTo>
                    <a:lnTo>
                      <a:pt x="591" y="297"/>
                    </a:lnTo>
                    <a:lnTo>
                      <a:pt x="597" y="301"/>
                    </a:lnTo>
                    <a:lnTo>
                      <a:pt x="603" y="304"/>
                    </a:lnTo>
                    <a:lnTo>
                      <a:pt x="610" y="307"/>
                    </a:lnTo>
                    <a:lnTo>
                      <a:pt x="618" y="310"/>
                    </a:lnTo>
                    <a:lnTo>
                      <a:pt x="634" y="314"/>
                    </a:lnTo>
                    <a:lnTo>
                      <a:pt x="654" y="316"/>
                    </a:lnTo>
                    <a:lnTo>
                      <a:pt x="674" y="315"/>
                    </a:lnTo>
                    <a:lnTo>
                      <a:pt x="674" y="315"/>
                    </a:lnTo>
                    <a:lnTo>
                      <a:pt x="691" y="313"/>
                    </a:lnTo>
                    <a:lnTo>
                      <a:pt x="708" y="310"/>
                    </a:lnTo>
                    <a:lnTo>
                      <a:pt x="724" y="306"/>
                    </a:lnTo>
                    <a:lnTo>
                      <a:pt x="740" y="301"/>
                    </a:lnTo>
                    <a:lnTo>
                      <a:pt x="755" y="294"/>
                    </a:lnTo>
                    <a:lnTo>
                      <a:pt x="771" y="286"/>
                    </a:lnTo>
                    <a:lnTo>
                      <a:pt x="786" y="278"/>
                    </a:lnTo>
                    <a:lnTo>
                      <a:pt x="800" y="270"/>
                    </a:lnTo>
                    <a:lnTo>
                      <a:pt x="781" y="303"/>
                    </a:lnTo>
                    <a:lnTo>
                      <a:pt x="852" y="298"/>
                    </a:lnTo>
                    <a:lnTo>
                      <a:pt x="938" y="152"/>
                    </a:lnTo>
                    <a:lnTo>
                      <a:pt x="938" y="152"/>
                    </a:lnTo>
                    <a:lnTo>
                      <a:pt x="956" y="133"/>
                    </a:lnTo>
                    <a:lnTo>
                      <a:pt x="971" y="117"/>
                    </a:lnTo>
                    <a:lnTo>
                      <a:pt x="986" y="103"/>
                    </a:lnTo>
                    <a:lnTo>
                      <a:pt x="999" y="92"/>
                    </a:lnTo>
                    <a:lnTo>
                      <a:pt x="1012" y="83"/>
                    </a:lnTo>
                    <a:lnTo>
                      <a:pt x="1023" y="76"/>
                    </a:lnTo>
                    <a:lnTo>
                      <a:pt x="1033" y="71"/>
                    </a:lnTo>
                    <a:lnTo>
                      <a:pt x="1042" y="68"/>
                    </a:lnTo>
                    <a:lnTo>
                      <a:pt x="1049" y="67"/>
                    </a:lnTo>
                    <a:lnTo>
                      <a:pt x="1055" y="67"/>
                    </a:lnTo>
                    <a:lnTo>
                      <a:pt x="1059" y="69"/>
                    </a:lnTo>
                    <a:lnTo>
                      <a:pt x="1062" y="72"/>
                    </a:lnTo>
                    <a:lnTo>
                      <a:pt x="1064" y="76"/>
                    </a:lnTo>
                    <a:lnTo>
                      <a:pt x="1064" y="81"/>
                    </a:lnTo>
                    <a:lnTo>
                      <a:pt x="1061" y="88"/>
                    </a:lnTo>
                    <a:lnTo>
                      <a:pt x="1057" y="95"/>
                    </a:lnTo>
                    <a:lnTo>
                      <a:pt x="984" y="218"/>
                    </a:lnTo>
                    <a:lnTo>
                      <a:pt x="984" y="218"/>
                    </a:lnTo>
                    <a:lnTo>
                      <a:pt x="980" y="226"/>
                    </a:lnTo>
                    <a:lnTo>
                      <a:pt x="978" y="234"/>
                    </a:lnTo>
                    <a:lnTo>
                      <a:pt x="976" y="241"/>
                    </a:lnTo>
                    <a:lnTo>
                      <a:pt x="976" y="248"/>
                    </a:lnTo>
                    <a:lnTo>
                      <a:pt x="976" y="254"/>
                    </a:lnTo>
                    <a:lnTo>
                      <a:pt x="978" y="260"/>
                    </a:lnTo>
                    <a:lnTo>
                      <a:pt x="981" y="265"/>
                    </a:lnTo>
                    <a:lnTo>
                      <a:pt x="984" y="270"/>
                    </a:lnTo>
                    <a:lnTo>
                      <a:pt x="989" y="275"/>
                    </a:lnTo>
                    <a:lnTo>
                      <a:pt x="994" y="279"/>
                    </a:lnTo>
                    <a:lnTo>
                      <a:pt x="1000" y="282"/>
                    </a:lnTo>
                    <a:lnTo>
                      <a:pt x="1009" y="285"/>
                    </a:lnTo>
                    <a:lnTo>
                      <a:pt x="1017" y="287"/>
                    </a:lnTo>
                    <a:lnTo>
                      <a:pt x="1025" y="289"/>
                    </a:lnTo>
                    <a:lnTo>
                      <a:pt x="1035" y="290"/>
                    </a:lnTo>
                    <a:lnTo>
                      <a:pt x="1045" y="290"/>
                    </a:lnTo>
                    <a:lnTo>
                      <a:pt x="1045" y="290"/>
                    </a:lnTo>
                    <a:lnTo>
                      <a:pt x="1058" y="287"/>
                    </a:lnTo>
                    <a:lnTo>
                      <a:pt x="1073" y="284"/>
                    </a:lnTo>
                    <a:lnTo>
                      <a:pt x="1086" y="279"/>
                    </a:lnTo>
                    <a:lnTo>
                      <a:pt x="1099" y="274"/>
                    </a:lnTo>
                    <a:lnTo>
                      <a:pt x="1112" y="267"/>
                    </a:lnTo>
                    <a:lnTo>
                      <a:pt x="1126" y="259"/>
                    </a:lnTo>
                    <a:lnTo>
                      <a:pt x="1138" y="250"/>
                    </a:lnTo>
                    <a:lnTo>
                      <a:pt x="1151" y="241"/>
                    </a:lnTo>
                    <a:lnTo>
                      <a:pt x="1151" y="241"/>
                    </a:lnTo>
                    <a:lnTo>
                      <a:pt x="1152" y="249"/>
                    </a:lnTo>
                    <a:lnTo>
                      <a:pt x="1155" y="257"/>
                    </a:lnTo>
                    <a:lnTo>
                      <a:pt x="1159" y="264"/>
                    </a:lnTo>
                    <a:lnTo>
                      <a:pt x="1165" y="269"/>
                    </a:lnTo>
                    <a:lnTo>
                      <a:pt x="1172" y="273"/>
                    </a:lnTo>
                    <a:lnTo>
                      <a:pt x="1181" y="276"/>
                    </a:lnTo>
                    <a:lnTo>
                      <a:pt x="1193" y="278"/>
                    </a:lnTo>
                    <a:lnTo>
                      <a:pt x="1204" y="278"/>
                    </a:lnTo>
                    <a:lnTo>
                      <a:pt x="1204" y="278"/>
                    </a:lnTo>
                    <a:lnTo>
                      <a:pt x="1219" y="275"/>
                    </a:lnTo>
                    <a:lnTo>
                      <a:pt x="1233" y="271"/>
                    </a:lnTo>
                    <a:lnTo>
                      <a:pt x="1248" y="265"/>
                    </a:lnTo>
                    <a:lnTo>
                      <a:pt x="1262" y="258"/>
                    </a:lnTo>
                    <a:lnTo>
                      <a:pt x="1275" y="249"/>
                    </a:lnTo>
                    <a:lnTo>
                      <a:pt x="1288" y="240"/>
                    </a:lnTo>
                    <a:lnTo>
                      <a:pt x="1301" y="229"/>
                    </a:lnTo>
                    <a:lnTo>
                      <a:pt x="1313" y="219"/>
                    </a:lnTo>
                    <a:lnTo>
                      <a:pt x="1313" y="219"/>
                    </a:lnTo>
                    <a:lnTo>
                      <a:pt x="1313" y="225"/>
                    </a:lnTo>
                    <a:lnTo>
                      <a:pt x="1314" y="229"/>
                    </a:lnTo>
                    <a:lnTo>
                      <a:pt x="1315" y="235"/>
                    </a:lnTo>
                    <a:lnTo>
                      <a:pt x="1317" y="240"/>
                    </a:lnTo>
                    <a:lnTo>
                      <a:pt x="1319" y="244"/>
                    </a:lnTo>
                    <a:lnTo>
                      <a:pt x="1322" y="248"/>
                    </a:lnTo>
                    <a:lnTo>
                      <a:pt x="1326" y="251"/>
                    </a:lnTo>
                    <a:lnTo>
                      <a:pt x="1330" y="254"/>
                    </a:lnTo>
                    <a:lnTo>
                      <a:pt x="1340" y="260"/>
                    </a:lnTo>
                    <a:lnTo>
                      <a:pt x="1352" y="264"/>
                    </a:lnTo>
                    <a:lnTo>
                      <a:pt x="1367" y="265"/>
                    </a:lnTo>
                    <a:lnTo>
                      <a:pt x="1383" y="265"/>
                    </a:lnTo>
                    <a:lnTo>
                      <a:pt x="1383" y="265"/>
                    </a:lnTo>
                    <a:lnTo>
                      <a:pt x="1393" y="264"/>
                    </a:lnTo>
                    <a:lnTo>
                      <a:pt x="1404" y="262"/>
                    </a:lnTo>
                    <a:lnTo>
                      <a:pt x="1415" y="258"/>
                    </a:lnTo>
                    <a:lnTo>
                      <a:pt x="1427" y="254"/>
                    </a:lnTo>
                    <a:lnTo>
                      <a:pt x="1438" y="249"/>
                    </a:lnTo>
                    <a:lnTo>
                      <a:pt x="1449" y="244"/>
                    </a:lnTo>
                    <a:lnTo>
                      <a:pt x="1470" y="229"/>
                    </a:lnTo>
                    <a:lnTo>
                      <a:pt x="1492" y="213"/>
                    </a:lnTo>
                    <a:lnTo>
                      <a:pt x="1513" y="196"/>
                    </a:lnTo>
                    <a:lnTo>
                      <a:pt x="1533" y="177"/>
                    </a:lnTo>
                    <a:lnTo>
                      <a:pt x="1553" y="156"/>
                    </a:lnTo>
                    <a:lnTo>
                      <a:pt x="1553" y="156"/>
                    </a:lnTo>
                    <a:lnTo>
                      <a:pt x="1547" y="151"/>
                    </a:lnTo>
                    <a:lnTo>
                      <a:pt x="1539" y="147"/>
                    </a:lnTo>
                    <a:lnTo>
                      <a:pt x="1530" y="143"/>
                    </a:lnTo>
                    <a:lnTo>
                      <a:pt x="1522" y="140"/>
                    </a:lnTo>
                    <a:lnTo>
                      <a:pt x="1522" y="140"/>
                    </a:lnTo>
                    <a:close/>
                    <a:moveTo>
                      <a:pt x="700" y="125"/>
                    </a:moveTo>
                    <a:lnTo>
                      <a:pt x="700" y="125"/>
                    </a:lnTo>
                    <a:lnTo>
                      <a:pt x="708" y="116"/>
                    </a:lnTo>
                    <a:lnTo>
                      <a:pt x="715" y="107"/>
                    </a:lnTo>
                    <a:lnTo>
                      <a:pt x="723" y="100"/>
                    </a:lnTo>
                    <a:lnTo>
                      <a:pt x="731" y="95"/>
                    </a:lnTo>
                    <a:lnTo>
                      <a:pt x="739" y="90"/>
                    </a:lnTo>
                    <a:lnTo>
                      <a:pt x="747" y="88"/>
                    </a:lnTo>
                    <a:lnTo>
                      <a:pt x="754" y="86"/>
                    </a:lnTo>
                    <a:lnTo>
                      <a:pt x="762" y="86"/>
                    </a:lnTo>
                    <a:lnTo>
                      <a:pt x="769" y="87"/>
                    </a:lnTo>
                    <a:lnTo>
                      <a:pt x="774" y="89"/>
                    </a:lnTo>
                    <a:lnTo>
                      <a:pt x="779" y="93"/>
                    </a:lnTo>
                    <a:lnTo>
                      <a:pt x="781" y="98"/>
                    </a:lnTo>
                    <a:lnTo>
                      <a:pt x="782" y="104"/>
                    </a:lnTo>
                    <a:lnTo>
                      <a:pt x="782" y="111"/>
                    </a:lnTo>
                    <a:lnTo>
                      <a:pt x="779" y="121"/>
                    </a:lnTo>
                    <a:lnTo>
                      <a:pt x="774" y="131"/>
                    </a:lnTo>
                    <a:lnTo>
                      <a:pt x="766" y="144"/>
                    </a:lnTo>
                    <a:lnTo>
                      <a:pt x="766" y="144"/>
                    </a:lnTo>
                    <a:lnTo>
                      <a:pt x="760" y="152"/>
                    </a:lnTo>
                    <a:lnTo>
                      <a:pt x="754" y="159"/>
                    </a:lnTo>
                    <a:lnTo>
                      <a:pt x="748" y="165"/>
                    </a:lnTo>
                    <a:lnTo>
                      <a:pt x="742" y="170"/>
                    </a:lnTo>
                    <a:lnTo>
                      <a:pt x="736" y="175"/>
                    </a:lnTo>
                    <a:lnTo>
                      <a:pt x="729" y="179"/>
                    </a:lnTo>
                    <a:lnTo>
                      <a:pt x="722" y="182"/>
                    </a:lnTo>
                    <a:lnTo>
                      <a:pt x="716" y="184"/>
                    </a:lnTo>
                    <a:lnTo>
                      <a:pt x="701" y="187"/>
                    </a:lnTo>
                    <a:lnTo>
                      <a:pt x="688" y="188"/>
                    </a:lnTo>
                    <a:lnTo>
                      <a:pt x="676" y="188"/>
                    </a:lnTo>
                    <a:lnTo>
                      <a:pt x="665" y="186"/>
                    </a:lnTo>
                    <a:lnTo>
                      <a:pt x="700" y="125"/>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724" name="Group 3723"/>
            <p:cNvGrpSpPr/>
            <p:nvPr/>
          </p:nvGrpSpPr>
          <p:grpSpPr>
            <a:xfrm rot="1944111" flipH="1">
              <a:off x="8264403" y="4509786"/>
              <a:ext cx="128118" cy="204630"/>
              <a:chOff x="2658904" y="3122439"/>
              <a:chExt cx="81472" cy="132564"/>
            </a:xfrm>
            <a:solidFill>
              <a:schemeClr val="accent2"/>
            </a:solidFill>
          </p:grpSpPr>
          <p:sp>
            <p:nvSpPr>
              <p:cNvPr id="3725"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726"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727"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2950" name="Freeform 1952"/>
          <p:cNvSpPr>
            <a:spLocks/>
          </p:cNvSpPr>
          <p:nvPr/>
        </p:nvSpPr>
        <p:spPr bwMode="auto">
          <a:xfrm>
            <a:off x="2848137" y="2806730"/>
            <a:ext cx="101023" cy="99580"/>
          </a:xfrm>
          <a:custGeom>
            <a:avLst/>
            <a:gdLst>
              <a:gd name="T0" fmla="*/ 153 w 415"/>
              <a:gd name="T1" fmla="*/ 7 h 413"/>
              <a:gd name="T2" fmla="*/ 182 w 415"/>
              <a:gd name="T3" fmla="*/ 1 h 413"/>
              <a:gd name="T4" fmla="*/ 210 w 415"/>
              <a:gd name="T5" fmla="*/ 0 h 413"/>
              <a:gd name="T6" fmla="*/ 237 w 415"/>
              <a:gd name="T7" fmla="*/ 2 h 413"/>
              <a:gd name="T8" fmla="*/ 265 w 415"/>
              <a:gd name="T9" fmla="*/ 9 h 413"/>
              <a:gd name="T10" fmla="*/ 290 w 415"/>
              <a:gd name="T11" fmla="*/ 21 h 413"/>
              <a:gd name="T12" fmla="*/ 315 w 415"/>
              <a:gd name="T13" fmla="*/ 34 h 413"/>
              <a:gd name="T14" fmla="*/ 337 w 415"/>
              <a:gd name="T15" fmla="*/ 51 h 413"/>
              <a:gd name="T16" fmla="*/ 358 w 415"/>
              <a:gd name="T17" fmla="*/ 71 h 413"/>
              <a:gd name="T18" fmla="*/ 376 w 415"/>
              <a:gd name="T19" fmla="*/ 92 h 413"/>
              <a:gd name="T20" fmla="*/ 390 w 415"/>
              <a:gd name="T21" fmla="*/ 116 h 413"/>
              <a:gd name="T22" fmla="*/ 403 w 415"/>
              <a:gd name="T23" fmla="*/ 141 h 413"/>
              <a:gd name="T24" fmla="*/ 411 w 415"/>
              <a:gd name="T25" fmla="*/ 168 h 413"/>
              <a:gd name="T26" fmla="*/ 415 w 415"/>
              <a:gd name="T27" fmla="*/ 194 h 413"/>
              <a:gd name="T28" fmla="*/ 415 w 415"/>
              <a:gd name="T29" fmla="*/ 222 h 413"/>
              <a:gd name="T30" fmla="*/ 410 w 415"/>
              <a:gd name="T31" fmla="*/ 249 h 413"/>
              <a:gd name="T32" fmla="*/ 400 w 415"/>
              <a:gd name="T33" fmla="*/ 277 h 413"/>
              <a:gd name="T34" fmla="*/ 396 w 415"/>
              <a:gd name="T35" fmla="*/ 290 h 413"/>
              <a:gd name="T36" fmla="*/ 383 w 415"/>
              <a:gd name="T37" fmla="*/ 315 h 413"/>
              <a:gd name="T38" fmla="*/ 368 w 415"/>
              <a:gd name="T39" fmla="*/ 337 h 413"/>
              <a:gd name="T40" fmla="*/ 350 w 415"/>
              <a:gd name="T41" fmla="*/ 357 h 413"/>
              <a:gd name="T42" fmla="*/ 329 w 415"/>
              <a:gd name="T43" fmla="*/ 373 h 413"/>
              <a:gd name="T44" fmla="*/ 307 w 415"/>
              <a:gd name="T45" fmla="*/ 387 h 413"/>
              <a:gd name="T46" fmla="*/ 282 w 415"/>
              <a:gd name="T47" fmla="*/ 399 h 413"/>
              <a:gd name="T48" fmla="*/ 256 w 415"/>
              <a:gd name="T49" fmla="*/ 406 h 413"/>
              <a:gd name="T50" fmla="*/ 229 w 415"/>
              <a:gd name="T51" fmla="*/ 411 h 413"/>
              <a:gd name="T52" fmla="*/ 202 w 415"/>
              <a:gd name="T53" fmla="*/ 413 h 413"/>
              <a:gd name="T54" fmla="*/ 176 w 415"/>
              <a:gd name="T55" fmla="*/ 411 h 413"/>
              <a:gd name="T56" fmla="*/ 149 w 415"/>
              <a:gd name="T57" fmla="*/ 406 h 413"/>
              <a:gd name="T58" fmla="*/ 124 w 415"/>
              <a:gd name="T59" fmla="*/ 398 h 413"/>
              <a:gd name="T60" fmla="*/ 100 w 415"/>
              <a:gd name="T61" fmla="*/ 386 h 413"/>
              <a:gd name="T62" fmla="*/ 79 w 415"/>
              <a:gd name="T63" fmla="*/ 371 h 413"/>
              <a:gd name="T64" fmla="*/ 58 w 415"/>
              <a:gd name="T65" fmla="*/ 352 h 413"/>
              <a:gd name="T66" fmla="*/ 49 w 415"/>
              <a:gd name="T67" fmla="*/ 340 h 413"/>
              <a:gd name="T68" fmla="*/ 33 w 415"/>
              <a:gd name="T69" fmla="*/ 320 h 413"/>
              <a:gd name="T70" fmla="*/ 20 w 415"/>
              <a:gd name="T71" fmla="*/ 297 h 413"/>
              <a:gd name="T72" fmla="*/ 9 w 415"/>
              <a:gd name="T73" fmla="*/ 273 h 413"/>
              <a:gd name="T74" fmla="*/ 3 w 415"/>
              <a:gd name="T75" fmla="*/ 248 h 413"/>
              <a:gd name="T76" fmla="*/ 0 w 415"/>
              <a:gd name="T77" fmla="*/ 223 h 413"/>
              <a:gd name="T78" fmla="*/ 1 w 415"/>
              <a:gd name="T79" fmla="*/ 196 h 413"/>
              <a:gd name="T80" fmla="*/ 4 w 415"/>
              <a:gd name="T81" fmla="*/ 171 h 413"/>
              <a:gd name="T82" fmla="*/ 10 w 415"/>
              <a:gd name="T83" fmla="*/ 145 h 413"/>
              <a:gd name="T84" fmla="*/ 20 w 415"/>
              <a:gd name="T85" fmla="*/ 121 h 413"/>
              <a:gd name="T86" fmla="*/ 32 w 415"/>
              <a:gd name="T87" fmla="*/ 98 h 413"/>
              <a:gd name="T88" fmla="*/ 46 w 415"/>
              <a:gd name="T89" fmla="*/ 77 h 413"/>
              <a:gd name="T90" fmla="*/ 62 w 415"/>
              <a:gd name="T91" fmla="*/ 57 h 413"/>
              <a:gd name="T92" fmla="*/ 82 w 415"/>
              <a:gd name="T93" fmla="*/ 40 h 413"/>
              <a:gd name="T94" fmla="*/ 104 w 415"/>
              <a:gd name="T95" fmla="*/ 26 h 413"/>
              <a:gd name="T96" fmla="*/ 128 w 415"/>
              <a:gd name="T97" fmla="*/ 14 h 413"/>
              <a:gd name="T98" fmla="*/ 153 w 415"/>
              <a:gd name="T99" fmla="*/ 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5" h="413">
                <a:moveTo>
                  <a:pt x="153" y="7"/>
                </a:moveTo>
                <a:lnTo>
                  <a:pt x="153" y="7"/>
                </a:lnTo>
                <a:lnTo>
                  <a:pt x="168" y="4"/>
                </a:lnTo>
                <a:lnTo>
                  <a:pt x="182" y="1"/>
                </a:lnTo>
                <a:lnTo>
                  <a:pt x="196" y="0"/>
                </a:lnTo>
                <a:lnTo>
                  <a:pt x="210" y="0"/>
                </a:lnTo>
                <a:lnTo>
                  <a:pt x="224" y="0"/>
                </a:lnTo>
                <a:lnTo>
                  <a:pt x="237" y="2"/>
                </a:lnTo>
                <a:lnTo>
                  <a:pt x="252" y="5"/>
                </a:lnTo>
                <a:lnTo>
                  <a:pt x="265" y="9"/>
                </a:lnTo>
                <a:lnTo>
                  <a:pt x="278" y="14"/>
                </a:lnTo>
                <a:lnTo>
                  <a:pt x="290" y="21"/>
                </a:lnTo>
                <a:lnTo>
                  <a:pt x="303" y="27"/>
                </a:lnTo>
                <a:lnTo>
                  <a:pt x="315" y="34"/>
                </a:lnTo>
                <a:lnTo>
                  <a:pt x="326" y="42"/>
                </a:lnTo>
                <a:lnTo>
                  <a:pt x="337" y="51"/>
                </a:lnTo>
                <a:lnTo>
                  <a:pt x="349" y="60"/>
                </a:lnTo>
                <a:lnTo>
                  <a:pt x="358" y="71"/>
                </a:lnTo>
                <a:lnTo>
                  <a:pt x="367" y="81"/>
                </a:lnTo>
                <a:lnTo>
                  <a:pt x="376" y="92"/>
                </a:lnTo>
                <a:lnTo>
                  <a:pt x="384" y="103"/>
                </a:lnTo>
                <a:lnTo>
                  <a:pt x="390" y="116"/>
                </a:lnTo>
                <a:lnTo>
                  <a:pt x="398" y="128"/>
                </a:lnTo>
                <a:lnTo>
                  <a:pt x="403" y="141"/>
                </a:lnTo>
                <a:lnTo>
                  <a:pt x="407" y="154"/>
                </a:lnTo>
                <a:lnTo>
                  <a:pt x="411" y="168"/>
                </a:lnTo>
                <a:lnTo>
                  <a:pt x="413" y="181"/>
                </a:lnTo>
                <a:lnTo>
                  <a:pt x="415" y="194"/>
                </a:lnTo>
                <a:lnTo>
                  <a:pt x="415" y="209"/>
                </a:lnTo>
                <a:lnTo>
                  <a:pt x="415" y="222"/>
                </a:lnTo>
                <a:lnTo>
                  <a:pt x="413" y="236"/>
                </a:lnTo>
                <a:lnTo>
                  <a:pt x="410" y="249"/>
                </a:lnTo>
                <a:lnTo>
                  <a:pt x="406" y="264"/>
                </a:lnTo>
                <a:lnTo>
                  <a:pt x="400" y="277"/>
                </a:lnTo>
                <a:lnTo>
                  <a:pt x="400" y="277"/>
                </a:lnTo>
                <a:lnTo>
                  <a:pt x="396" y="290"/>
                </a:lnTo>
                <a:lnTo>
                  <a:pt x="389" y="304"/>
                </a:lnTo>
                <a:lnTo>
                  <a:pt x="383" y="315"/>
                </a:lnTo>
                <a:lnTo>
                  <a:pt x="376" y="327"/>
                </a:lnTo>
                <a:lnTo>
                  <a:pt x="368" y="337"/>
                </a:lnTo>
                <a:lnTo>
                  <a:pt x="359" y="348"/>
                </a:lnTo>
                <a:lnTo>
                  <a:pt x="350" y="357"/>
                </a:lnTo>
                <a:lnTo>
                  <a:pt x="339" y="366"/>
                </a:lnTo>
                <a:lnTo>
                  <a:pt x="329" y="373"/>
                </a:lnTo>
                <a:lnTo>
                  <a:pt x="318" y="381"/>
                </a:lnTo>
                <a:lnTo>
                  <a:pt x="307" y="387"/>
                </a:lnTo>
                <a:lnTo>
                  <a:pt x="294" y="394"/>
                </a:lnTo>
                <a:lnTo>
                  <a:pt x="282" y="399"/>
                </a:lnTo>
                <a:lnTo>
                  <a:pt x="269" y="403"/>
                </a:lnTo>
                <a:lnTo>
                  <a:pt x="256" y="406"/>
                </a:lnTo>
                <a:lnTo>
                  <a:pt x="242" y="409"/>
                </a:lnTo>
                <a:lnTo>
                  <a:pt x="229" y="411"/>
                </a:lnTo>
                <a:lnTo>
                  <a:pt x="216" y="412"/>
                </a:lnTo>
                <a:lnTo>
                  <a:pt x="202" y="413"/>
                </a:lnTo>
                <a:lnTo>
                  <a:pt x="189" y="412"/>
                </a:lnTo>
                <a:lnTo>
                  <a:pt x="176" y="411"/>
                </a:lnTo>
                <a:lnTo>
                  <a:pt x="163" y="409"/>
                </a:lnTo>
                <a:lnTo>
                  <a:pt x="149" y="406"/>
                </a:lnTo>
                <a:lnTo>
                  <a:pt x="137" y="402"/>
                </a:lnTo>
                <a:lnTo>
                  <a:pt x="124" y="398"/>
                </a:lnTo>
                <a:lnTo>
                  <a:pt x="113" y="393"/>
                </a:lnTo>
                <a:lnTo>
                  <a:pt x="100" y="386"/>
                </a:lnTo>
                <a:lnTo>
                  <a:pt x="89" y="378"/>
                </a:lnTo>
                <a:lnTo>
                  <a:pt x="79" y="371"/>
                </a:lnTo>
                <a:lnTo>
                  <a:pt x="69" y="362"/>
                </a:lnTo>
                <a:lnTo>
                  <a:pt x="58" y="352"/>
                </a:lnTo>
                <a:lnTo>
                  <a:pt x="49" y="340"/>
                </a:lnTo>
                <a:lnTo>
                  <a:pt x="49" y="340"/>
                </a:lnTo>
                <a:lnTo>
                  <a:pt x="41" y="330"/>
                </a:lnTo>
                <a:lnTo>
                  <a:pt x="33" y="320"/>
                </a:lnTo>
                <a:lnTo>
                  <a:pt x="26" y="309"/>
                </a:lnTo>
                <a:lnTo>
                  <a:pt x="20" y="297"/>
                </a:lnTo>
                <a:lnTo>
                  <a:pt x="14" y="285"/>
                </a:lnTo>
                <a:lnTo>
                  <a:pt x="9" y="273"/>
                </a:lnTo>
                <a:lnTo>
                  <a:pt x="6" y="261"/>
                </a:lnTo>
                <a:lnTo>
                  <a:pt x="3" y="248"/>
                </a:lnTo>
                <a:lnTo>
                  <a:pt x="1" y="235"/>
                </a:lnTo>
                <a:lnTo>
                  <a:pt x="0" y="223"/>
                </a:lnTo>
                <a:lnTo>
                  <a:pt x="0" y="210"/>
                </a:lnTo>
                <a:lnTo>
                  <a:pt x="1" y="196"/>
                </a:lnTo>
                <a:lnTo>
                  <a:pt x="2" y="183"/>
                </a:lnTo>
                <a:lnTo>
                  <a:pt x="4" y="171"/>
                </a:lnTo>
                <a:lnTo>
                  <a:pt x="7" y="158"/>
                </a:lnTo>
                <a:lnTo>
                  <a:pt x="10" y="145"/>
                </a:lnTo>
                <a:lnTo>
                  <a:pt x="14" y="133"/>
                </a:lnTo>
                <a:lnTo>
                  <a:pt x="20" y="121"/>
                </a:lnTo>
                <a:lnTo>
                  <a:pt x="25" y="109"/>
                </a:lnTo>
                <a:lnTo>
                  <a:pt x="32" y="98"/>
                </a:lnTo>
                <a:lnTo>
                  <a:pt x="38" y="87"/>
                </a:lnTo>
                <a:lnTo>
                  <a:pt x="46" y="77"/>
                </a:lnTo>
                <a:lnTo>
                  <a:pt x="54" y="67"/>
                </a:lnTo>
                <a:lnTo>
                  <a:pt x="62" y="57"/>
                </a:lnTo>
                <a:lnTo>
                  <a:pt x="73" y="48"/>
                </a:lnTo>
                <a:lnTo>
                  <a:pt x="82" y="40"/>
                </a:lnTo>
                <a:lnTo>
                  <a:pt x="93" y="33"/>
                </a:lnTo>
                <a:lnTo>
                  <a:pt x="104" y="26"/>
                </a:lnTo>
                <a:lnTo>
                  <a:pt x="116" y="20"/>
                </a:lnTo>
                <a:lnTo>
                  <a:pt x="128" y="14"/>
                </a:lnTo>
                <a:lnTo>
                  <a:pt x="141" y="10"/>
                </a:lnTo>
                <a:lnTo>
                  <a:pt x="153" y="7"/>
                </a:lnTo>
                <a:lnTo>
                  <a:pt x="153" y="7"/>
                </a:lnTo>
                <a:close/>
              </a:path>
            </a:pathLst>
          </a:custGeom>
          <a:solidFill>
            <a:schemeClr val="accent5">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nvGrpSpPr>
          <p:cNvPr id="18" name="Group 17"/>
          <p:cNvGrpSpPr/>
          <p:nvPr/>
        </p:nvGrpSpPr>
        <p:grpSpPr>
          <a:xfrm>
            <a:off x="2240522" y="2341656"/>
            <a:ext cx="999185" cy="194175"/>
            <a:chOff x="1899267" y="2405429"/>
            <a:chExt cx="1099104" cy="213591"/>
          </a:xfrm>
        </p:grpSpPr>
        <p:sp>
          <p:nvSpPr>
            <p:cNvPr id="2346" name="Rectangle 2345"/>
            <p:cNvSpPr/>
            <p:nvPr/>
          </p:nvSpPr>
          <p:spPr bwMode="auto">
            <a:xfrm>
              <a:off x="1899267" y="2486247"/>
              <a:ext cx="1099104" cy="9669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347" name="Group 2346"/>
            <p:cNvGrpSpPr/>
            <p:nvPr/>
          </p:nvGrpSpPr>
          <p:grpSpPr>
            <a:xfrm>
              <a:off x="2159362" y="2405429"/>
              <a:ext cx="567171" cy="213591"/>
              <a:chOff x="2127250" y="2443163"/>
              <a:chExt cx="623888" cy="234950"/>
            </a:xfrm>
            <a:solidFill>
              <a:schemeClr val="accent1">
                <a:lumMod val="75000"/>
              </a:schemeClr>
            </a:solidFill>
          </p:grpSpPr>
          <p:sp>
            <p:nvSpPr>
              <p:cNvPr id="3016" name="Freeform 2018"/>
              <p:cNvSpPr>
                <a:spLocks/>
              </p:cNvSpPr>
              <p:nvPr/>
            </p:nvSpPr>
            <p:spPr bwMode="auto">
              <a:xfrm>
                <a:off x="2127250" y="2503488"/>
                <a:ext cx="136525" cy="174625"/>
              </a:xfrm>
              <a:custGeom>
                <a:avLst/>
                <a:gdLst>
                  <a:gd name="T0" fmla="*/ 0 w 515"/>
                  <a:gd name="T1" fmla="*/ 313 h 660"/>
                  <a:gd name="T2" fmla="*/ 5 w 515"/>
                  <a:gd name="T3" fmla="*/ 261 h 660"/>
                  <a:gd name="T4" fmla="*/ 15 w 515"/>
                  <a:gd name="T5" fmla="*/ 213 h 660"/>
                  <a:gd name="T6" fmla="*/ 25 w 515"/>
                  <a:gd name="T7" fmla="*/ 182 h 660"/>
                  <a:gd name="T8" fmla="*/ 46 w 515"/>
                  <a:gd name="T9" fmla="*/ 140 h 660"/>
                  <a:gd name="T10" fmla="*/ 71 w 515"/>
                  <a:gd name="T11" fmla="*/ 104 h 660"/>
                  <a:gd name="T12" fmla="*/ 92 w 515"/>
                  <a:gd name="T13" fmla="*/ 82 h 660"/>
                  <a:gd name="T14" fmla="*/ 127 w 515"/>
                  <a:gd name="T15" fmla="*/ 54 h 660"/>
                  <a:gd name="T16" fmla="*/ 165 w 515"/>
                  <a:gd name="T17" fmla="*/ 32 h 660"/>
                  <a:gd name="T18" fmla="*/ 195 w 515"/>
                  <a:gd name="T19" fmla="*/ 20 h 660"/>
                  <a:gd name="T20" fmla="*/ 243 w 515"/>
                  <a:gd name="T21" fmla="*/ 6 h 660"/>
                  <a:gd name="T22" fmla="*/ 295 w 515"/>
                  <a:gd name="T23" fmla="*/ 1 h 660"/>
                  <a:gd name="T24" fmla="*/ 339 w 515"/>
                  <a:gd name="T25" fmla="*/ 1 h 660"/>
                  <a:gd name="T26" fmla="*/ 386 w 515"/>
                  <a:gd name="T27" fmla="*/ 3 h 660"/>
                  <a:gd name="T28" fmla="*/ 431 w 515"/>
                  <a:gd name="T29" fmla="*/ 12 h 660"/>
                  <a:gd name="T30" fmla="*/ 480 w 515"/>
                  <a:gd name="T31" fmla="*/ 26 h 660"/>
                  <a:gd name="T32" fmla="*/ 508 w 515"/>
                  <a:gd name="T33" fmla="*/ 57 h 660"/>
                  <a:gd name="T34" fmla="*/ 501 w 515"/>
                  <a:gd name="T35" fmla="*/ 119 h 660"/>
                  <a:gd name="T36" fmla="*/ 488 w 515"/>
                  <a:gd name="T37" fmla="*/ 159 h 660"/>
                  <a:gd name="T38" fmla="*/ 470 w 515"/>
                  <a:gd name="T39" fmla="*/ 199 h 660"/>
                  <a:gd name="T40" fmla="*/ 433 w 515"/>
                  <a:gd name="T41" fmla="*/ 186 h 660"/>
                  <a:gd name="T42" fmla="*/ 401 w 515"/>
                  <a:gd name="T43" fmla="*/ 180 h 660"/>
                  <a:gd name="T44" fmla="*/ 373 w 515"/>
                  <a:gd name="T45" fmla="*/ 177 h 660"/>
                  <a:gd name="T46" fmla="*/ 329 w 515"/>
                  <a:gd name="T47" fmla="*/ 177 h 660"/>
                  <a:gd name="T48" fmla="*/ 290 w 515"/>
                  <a:gd name="T49" fmla="*/ 185 h 660"/>
                  <a:gd name="T50" fmla="*/ 256 w 515"/>
                  <a:gd name="T51" fmla="*/ 203 h 660"/>
                  <a:gd name="T52" fmla="*/ 237 w 515"/>
                  <a:gd name="T53" fmla="*/ 220 h 660"/>
                  <a:gd name="T54" fmla="*/ 217 w 515"/>
                  <a:gd name="T55" fmla="*/ 259 h 660"/>
                  <a:gd name="T56" fmla="*/ 208 w 515"/>
                  <a:gd name="T57" fmla="*/ 311 h 660"/>
                  <a:gd name="T58" fmla="*/ 208 w 515"/>
                  <a:gd name="T59" fmla="*/ 353 h 660"/>
                  <a:gd name="T60" fmla="*/ 220 w 515"/>
                  <a:gd name="T61" fmla="*/ 406 h 660"/>
                  <a:gd name="T62" fmla="*/ 233 w 515"/>
                  <a:gd name="T63" fmla="*/ 433 h 660"/>
                  <a:gd name="T64" fmla="*/ 250 w 515"/>
                  <a:gd name="T65" fmla="*/ 453 h 660"/>
                  <a:gd name="T66" fmla="*/ 282 w 515"/>
                  <a:gd name="T67" fmla="*/ 473 h 660"/>
                  <a:gd name="T68" fmla="*/ 306 w 515"/>
                  <a:gd name="T69" fmla="*/ 481 h 660"/>
                  <a:gd name="T70" fmla="*/ 347 w 515"/>
                  <a:gd name="T71" fmla="*/ 485 h 660"/>
                  <a:gd name="T72" fmla="*/ 380 w 515"/>
                  <a:gd name="T73" fmla="*/ 483 h 660"/>
                  <a:gd name="T74" fmla="*/ 409 w 515"/>
                  <a:gd name="T75" fmla="*/ 479 h 660"/>
                  <a:gd name="T76" fmla="*/ 470 w 515"/>
                  <a:gd name="T77" fmla="*/ 459 h 660"/>
                  <a:gd name="T78" fmla="*/ 496 w 515"/>
                  <a:gd name="T79" fmla="*/ 512 h 660"/>
                  <a:gd name="T80" fmla="*/ 508 w 515"/>
                  <a:gd name="T81" fmla="*/ 554 h 660"/>
                  <a:gd name="T82" fmla="*/ 515 w 515"/>
                  <a:gd name="T83" fmla="*/ 626 h 660"/>
                  <a:gd name="T84" fmla="*/ 462 w 515"/>
                  <a:gd name="T85" fmla="*/ 644 h 660"/>
                  <a:gd name="T86" fmla="*/ 413 w 515"/>
                  <a:gd name="T87" fmla="*/ 654 h 660"/>
                  <a:gd name="T88" fmla="*/ 343 w 515"/>
                  <a:gd name="T89" fmla="*/ 659 h 660"/>
                  <a:gd name="T90" fmla="*/ 301 w 515"/>
                  <a:gd name="T91" fmla="*/ 659 h 660"/>
                  <a:gd name="T92" fmla="*/ 247 w 515"/>
                  <a:gd name="T93" fmla="*/ 654 h 660"/>
                  <a:gd name="T94" fmla="*/ 198 w 515"/>
                  <a:gd name="T95" fmla="*/ 642 h 660"/>
                  <a:gd name="T96" fmla="*/ 167 w 515"/>
                  <a:gd name="T97" fmla="*/ 631 h 660"/>
                  <a:gd name="T98" fmla="*/ 128 w 515"/>
                  <a:gd name="T99" fmla="*/ 608 h 660"/>
                  <a:gd name="T100" fmla="*/ 93 w 515"/>
                  <a:gd name="T101" fmla="*/ 581 h 660"/>
                  <a:gd name="T102" fmla="*/ 72 w 515"/>
                  <a:gd name="T103" fmla="*/ 559 h 660"/>
                  <a:gd name="T104" fmla="*/ 46 w 515"/>
                  <a:gd name="T105" fmla="*/ 522 h 660"/>
                  <a:gd name="T106" fmla="*/ 25 w 515"/>
                  <a:gd name="T107" fmla="*/ 482 h 660"/>
                  <a:gd name="T108" fmla="*/ 15 w 515"/>
                  <a:gd name="T109" fmla="*/ 452 h 660"/>
                  <a:gd name="T110" fmla="*/ 5 w 515"/>
                  <a:gd name="T111" fmla="*/ 403 h 660"/>
                  <a:gd name="T112" fmla="*/ 0 w 515"/>
                  <a:gd name="T113" fmla="*/ 35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5" h="660">
                    <a:moveTo>
                      <a:pt x="0" y="331"/>
                    </a:moveTo>
                    <a:lnTo>
                      <a:pt x="0" y="331"/>
                    </a:lnTo>
                    <a:lnTo>
                      <a:pt x="0" y="313"/>
                    </a:lnTo>
                    <a:lnTo>
                      <a:pt x="1" y="296"/>
                    </a:lnTo>
                    <a:lnTo>
                      <a:pt x="3" y="278"/>
                    </a:lnTo>
                    <a:lnTo>
                      <a:pt x="5" y="261"/>
                    </a:lnTo>
                    <a:lnTo>
                      <a:pt x="8" y="245"/>
                    </a:lnTo>
                    <a:lnTo>
                      <a:pt x="11" y="228"/>
                    </a:lnTo>
                    <a:lnTo>
                      <a:pt x="15" y="213"/>
                    </a:lnTo>
                    <a:lnTo>
                      <a:pt x="20" y="197"/>
                    </a:lnTo>
                    <a:lnTo>
                      <a:pt x="20" y="197"/>
                    </a:lnTo>
                    <a:lnTo>
                      <a:pt x="25" y="182"/>
                    </a:lnTo>
                    <a:lnTo>
                      <a:pt x="31" y="168"/>
                    </a:lnTo>
                    <a:lnTo>
                      <a:pt x="39" y="154"/>
                    </a:lnTo>
                    <a:lnTo>
                      <a:pt x="46" y="140"/>
                    </a:lnTo>
                    <a:lnTo>
                      <a:pt x="54" y="128"/>
                    </a:lnTo>
                    <a:lnTo>
                      <a:pt x="62" y="116"/>
                    </a:lnTo>
                    <a:lnTo>
                      <a:pt x="71" y="104"/>
                    </a:lnTo>
                    <a:lnTo>
                      <a:pt x="82" y="92"/>
                    </a:lnTo>
                    <a:lnTo>
                      <a:pt x="82" y="92"/>
                    </a:lnTo>
                    <a:lnTo>
                      <a:pt x="92" y="82"/>
                    </a:lnTo>
                    <a:lnTo>
                      <a:pt x="102" y="73"/>
                    </a:lnTo>
                    <a:lnTo>
                      <a:pt x="114" y="63"/>
                    </a:lnTo>
                    <a:lnTo>
                      <a:pt x="127" y="54"/>
                    </a:lnTo>
                    <a:lnTo>
                      <a:pt x="139" y="46"/>
                    </a:lnTo>
                    <a:lnTo>
                      <a:pt x="152" y="38"/>
                    </a:lnTo>
                    <a:lnTo>
                      <a:pt x="165" y="32"/>
                    </a:lnTo>
                    <a:lnTo>
                      <a:pt x="180" y="25"/>
                    </a:lnTo>
                    <a:lnTo>
                      <a:pt x="180" y="25"/>
                    </a:lnTo>
                    <a:lnTo>
                      <a:pt x="195" y="20"/>
                    </a:lnTo>
                    <a:lnTo>
                      <a:pt x="210" y="15"/>
                    </a:lnTo>
                    <a:lnTo>
                      <a:pt x="227" y="11"/>
                    </a:lnTo>
                    <a:lnTo>
                      <a:pt x="243" y="6"/>
                    </a:lnTo>
                    <a:lnTo>
                      <a:pt x="259" y="4"/>
                    </a:lnTo>
                    <a:lnTo>
                      <a:pt x="278" y="2"/>
                    </a:lnTo>
                    <a:lnTo>
                      <a:pt x="295" y="1"/>
                    </a:lnTo>
                    <a:lnTo>
                      <a:pt x="314" y="0"/>
                    </a:lnTo>
                    <a:lnTo>
                      <a:pt x="314" y="0"/>
                    </a:lnTo>
                    <a:lnTo>
                      <a:pt x="339" y="1"/>
                    </a:lnTo>
                    <a:lnTo>
                      <a:pt x="363" y="2"/>
                    </a:lnTo>
                    <a:lnTo>
                      <a:pt x="363" y="2"/>
                    </a:lnTo>
                    <a:lnTo>
                      <a:pt x="386" y="3"/>
                    </a:lnTo>
                    <a:lnTo>
                      <a:pt x="409" y="6"/>
                    </a:lnTo>
                    <a:lnTo>
                      <a:pt x="409" y="6"/>
                    </a:lnTo>
                    <a:lnTo>
                      <a:pt x="431" y="12"/>
                    </a:lnTo>
                    <a:lnTo>
                      <a:pt x="455" y="18"/>
                    </a:lnTo>
                    <a:lnTo>
                      <a:pt x="455" y="18"/>
                    </a:lnTo>
                    <a:lnTo>
                      <a:pt x="480" y="26"/>
                    </a:lnTo>
                    <a:lnTo>
                      <a:pt x="508" y="36"/>
                    </a:lnTo>
                    <a:lnTo>
                      <a:pt x="508" y="36"/>
                    </a:lnTo>
                    <a:lnTo>
                      <a:pt x="508" y="57"/>
                    </a:lnTo>
                    <a:lnTo>
                      <a:pt x="507" y="77"/>
                    </a:lnTo>
                    <a:lnTo>
                      <a:pt x="505" y="98"/>
                    </a:lnTo>
                    <a:lnTo>
                      <a:pt x="501" y="119"/>
                    </a:lnTo>
                    <a:lnTo>
                      <a:pt x="501" y="119"/>
                    </a:lnTo>
                    <a:lnTo>
                      <a:pt x="494" y="138"/>
                    </a:lnTo>
                    <a:lnTo>
                      <a:pt x="488" y="159"/>
                    </a:lnTo>
                    <a:lnTo>
                      <a:pt x="480" y="178"/>
                    </a:lnTo>
                    <a:lnTo>
                      <a:pt x="470" y="199"/>
                    </a:lnTo>
                    <a:lnTo>
                      <a:pt x="470" y="199"/>
                    </a:lnTo>
                    <a:lnTo>
                      <a:pt x="450" y="191"/>
                    </a:lnTo>
                    <a:lnTo>
                      <a:pt x="433" y="186"/>
                    </a:lnTo>
                    <a:lnTo>
                      <a:pt x="433" y="186"/>
                    </a:lnTo>
                    <a:lnTo>
                      <a:pt x="417" y="183"/>
                    </a:lnTo>
                    <a:lnTo>
                      <a:pt x="401" y="180"/>
                    </a:lnTo>
                    <a:lnTo>
                      <a:pt x="401" y="180"/>
                    </a:lnTo>
                    <a:lnTo>
                      <a:pt x="387" y="178"/>
                    </a:lnTo>
                    <a:lnTo>
                      <a:pt x="373" y="177"/>
                    </a:lnTo>
                    <a:lnTo>
                      <a:pt x="373" y="177"/>
                    </a:lnTo>
                    <a:lnTo>
                      <a:pt x="343" y="176"/>
                    </a:lnTo>
                    <a:lnTo>
                      <a:pt x="343" y="176"/>
                    </a:lnTo>
                    <a:lnTo>
                      <a:pt x="329" y="177"/>
                    </a:lnTo>
                    <a:lnTo>
                      <a:pt x="316" y="178"/>
                    </a:lnTo>
                    <a:lnTo>
                      <a:pt x="302" y="181"/>
                    </a:lnTo>
                    <a:lnTo>
                      <a:pt x="290" y="185"/>
                    </a:lnTo>
                    <a:lnTo>
                      <a:pt x="278" y="189"/>
                    </a:lnTo>
                    <a:lnTo>
                      <a:pt x="267" y="196"/>
                    </a:lnTo>
                    <a:lnTo>
                      <a:pt x="256" y="203"/>
                    </a:lnTo>
                    <a:lnTo>
                      <a:pt x="246" y="211"/>
                    </a:lnTo>
                    <a:lnTo>
                      <a:pt x="246" y="211"/>
                    </a:lnTo>
                    <a:lnTo>
                      <a:pt x="237" y="220"/>
                    </a:lnTo>
                    <a:lnTo>
                      <a:pt x="230" y="231"/>
                    </a:lnTo>
                    <a:lnTo>
                      <a:pt x="223" y="245"/>
                    </a:lnTo>
                    <a:lnTo>
                      <a:pt x="217" y="259"/>
                    </a:lnTo>
                    <a:lnTo>
                      <a:pt x="213" y="274"/>
                    </a:lnTo>
                    <a:lnTo>
                      <a:pt x="210" y="292"/>
                    </a:lnTo>
                    <a:lnTo>
                      <a:pt x="208" y="311"/>
                    </a:lnTo>
                    <a:lnTo>
                      <a:pt x="208" y="331"/>
                    </a:lnTo>
                    <a:lnTo>
                      <a:pt x="208" y="331"/>
                    </a:lnTo>
                    <a:lnTo>
                      <a:pt x="208" y="353"/>
                    </a:lnTo>
                    <a:lnTo>
                      <a:pt x="211" y="372"/>
                    </a:lnTo>
                    <a:lnTo>
                      <a:pt x="214" y="390"/>
                    </a:lnTo>
                    <a:lnTo>
                      <a:pt x="220" y="406"/>
                    </a:lnTo>
                    <a:lnTo>
                      <a:pt x="220" y="406"/>
                    </a:lnTo>
                    <a:lnTo>
                      <a:pt x="226" y="420"/>
                    </a:lnTo>
                    <a:lnTo>
                      <a:pt x="233" y="433"/>
                    </a:lnTo>
                    <a:lnTo>
                      <a:pt x="241" y="444"/>
                    </a:lnTo>
                    <a:lnTo>
                      <a:pt x="250" y="453"/>
                    </a:lnTo>
                    <a:lnTo>
                      <a:pt x="250" y="453"/>
                    </a:lnTo>
                    <a:lnTo>
                      <a:pt x="259" y="461"/>
                    </a:lnTo>
                    <a:lnTo>
                      <a:pt x="271" y="467"/>
                    </a:lnTo>
                    <a:lnTo>
                      <a:pt x="282" y="473"/>
                    </a:lnTo>
                    <a:lnTo>
                      <a:pt x="294" y="478"/>
                    </a:lnTo>
                    <a:lnTo>
                      <a:pt x="294" y="478"/>
                    </a:lnTo>
                    <a:lnTo>
                      <a:pt x="306" y="481"/>
                    </a:lnTo>
                    <a:lnTo>
                      <a:pt x="320" y="483"/>
                    </a:lnTo>
                    <a:lnTo>
                      <a:pt x="333" y="484"/>
                    </a:lnTo>
                    <a:lnTo>
                      <a:pt x="347" y="485"/>
                    </a:lnTo>
                    <a:lnTo>
                      <a:pt x="347" y="485"/>
                    </a:lnTo>
                    <a:lnTo>
                      <a:pt x="364" y="484"/>
                    </a:lnTo>
                    <a:lnTo>
                      <a:pt x="380" y="483"/>
                    </a:lnTo>
                    <a:lnTo>
                      <a:pt x="394" y="482"/>
                    </a:lnTo>
                    <a:lnTo>
                      <a:pt x="409" y="479"/>
                    </a:lnTo>
                    <a:lnTo>
                      <a:pt x="409" y="479"/>
                    </a:lnTo>
                    <a:lnTo>
                      <a:pt x="437" y="470"/>
                    </a:lnTo>
                    <a:lnTo>
                      <a:pt x="470" y="459"/>
                    </a:lnTo>
                    <a:lnTo>
                      <a:pt x="470" y="459"/>
                    </a:lnTo>
                    <a:lnTo>
                      <a:pt x="480" y="475"/>
                    </a:lnTo>
                    <a:lnTo>
                      <a:pt x="488" y="494"/>
                    </a:lnTo>
                    <a:lnTo>
                      <a:pt x="496" y="512"/>
                    </a:lnTo>
                    <a:lnTo>
                      <a:pt x="503" y="533"/>
                    </a:lnTo>
                    <a:lnTo>
                      <a:pt x="503" y="533"/>
                    </a:lnTo>
                    <a:lnTo>
                      <a:pt x="508" y="554"/>
                    </a:lnTo>
                    <a:lnTo>
                      <a:pt x="512" y="577"/>
                    </a:lnTo>
                    <a:lnTo>
                      <a:pt x="514" y="600"/>
                    </a:lnTo>
                    <a:lnTo>
                      <a:pt x="515" y="626"/>
                    </a:lnTo>
                    <a:lnTo>
                      <a:pt x="515" y="626"/>
                    </a:lnTo>
                    <a:lnTo>
                      <a:pt x="487" y="636"/>
                    </a:lnTo>
                    <a:lnTo>
                      <a:pt x="462" y="644"/>
                    </a:lnTo>
                    <a:lnTo>
                      <a:pt x="436" y="650"/>
                    </a:lnTo>
                    <a:lnTo>
                      <a:pt x="413" y="654"/>
                    </a:lnTo>
                    <a:lnTo>
                      <a:pt x="413" y="654"/>
                    </a:lnTo>
                    <a:lnTo>
                      <a:pt x="389" y="656"/>
                    </a:lnTo>
                    <a:lnTo>
                      <a:pt x="367" y="658"/>
                    </a:lnTo>
                    <a:lnTo>
                      <a:pt x="343" y="659"/>
                    </a:lnTo>
                    <a:lnTo>
                      <a:pt x="320" y="660"/>
                    </a:lnTo>
                    <a:lnTo>
                      <a:pt x="320" y="660"/>
                    </a:lnTo>
                    <a:lnTo>
                      <a:pt x="301" y="659"/>
                    </a:lnTo>
                    <a:lnTo>
                      <a:pt x="282" y="658"/>
                    </a:lnTo>
                    <a:lnTo>
                      <a:pt x="264" y="656"/>
                    </a:lnTo>
                    <a:lnTo>
                      <a:pt x="247" y="654"/>
                    </a:lnTo>
                    <a:lnTo>
                      <a:pt x="230" y="651"/>
                    </a:lnTo>
                    <a:lnTo>
                      <a:pt x="213" y="647"/>
                    </a:lnTo>
                    <a:lnTo>
                      <a:pt x="198" y="642"/>
                    </a:lnTo>
                    <a:lnTo>
                      <a:pt x="183" y="637"/>
                    </a:lnTo>
                    <a:lnTo>
                      <a:pt x="183" y="637"/>
                    </a:lnTo>
                    <a:lnTo>
                      <a:pt x="167" y="631"/>
                    </a:lnTo>
                    <a:lnTo>
                      <a:pt x="154" y="624"/>
                    </a:lnTo>
                    <a:lnTo>
                      <a:pt x="140" y="617"/>
                    </a:lnTo>
                    <a:lnTo>
                      <a:pt x="128" y="608"/>
                    </a:lnTo>
                    <a:lnTo>
                      <a:pt x="115" y="600"/>
                    </a:lnTo>
                    <a:lnTo>
                      <a:pt x="103" y="591"/>
                    </a:lnTo>
                    <a:lnTo>
                      <a:pt x="93" y="581"/>
                    </a:lnTo>
                    <a:lnTo>
                      <a:pt x="82" y="571"/>
                    </a:lnTo>
                    <a:lnTo>
                      <a:pt x="82" y="571"/>
                    </a:lnTo>
                    <a:lnTo>
                      <a:pt x="72" y="559"/>
                    </a:lnTo>
                    <a:lnTo>
                      <a:pt x="63" y="548"/>
                    </a:lnTo>
                    <a:lnTo>
                      <a:pt x="54" y="536"/>
                    </a:lnTo>
                    <a:lnTo>
                      <a:pt x="46" y="522"/>
                    </a:lnTo>
                    <a:lnTo>
                      <a:pt x="39" y="509"/>
                    </a:lnTo>
                    <a:lnTo>
                      <a:pt x="31" y="496"/>
                    </a:lnTo>
                    <a:lnTo>
                      <a:pt x="25" y="482"/>
                    </a:lnTo>
                    <a:lnTo>
                      <a:pt x="20" y="467"/>
                    </a:lnTo>
                    <a:lnTo>
                      <a:pt x="20" y="467"/>
                    </a:lnTo>
                    <a:lnTo>
                      <a:pt x="15" y="452"/>
                    </a:lnTo>
                    <a:lnTo>
                      <a:pt x="11" y="436"/>
                    </a:lnTo>
                    <a:lnTo>
                      <a:pt x="8" y="419"/>
                    </a:lnTo>
                    <a:lnTo>
                      <a:pt x="5" y="403"/>
                    </a:lnTo>
                    <a:lnTo>
                      <a:pt x="3" y="386"/>
                    </a:lnTo>
                    <a:lnTo>
                      <a:pt x="1" y="368"/>
                    </a:lnTo>
                    <a:lnTo>
                      <a:pt x="0" y="350"/>
                    </a:lnTo>
                    <a:lnTo>
                      <a:pt x="0" y="331"/>
                    </a:lnTo>
                    <a:lnTo>
                      <a:pt x="0"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17" name="Freeform 2019"/>
              <p:cNvSpPr>
                <a:spLocks noEditPoints="1"/>
              </p:cNvSpPr>
              <p:nvPr/>
            </p:nvSpPr>
            <p:spPr bwMode="auto">
              <a:xfrm>
                <a:off x="2278063" y="2503488"/>
                <a:ext cx="142875" cy="173038"/>
              </a:xfrm>
              <a:custGeom>
                <a:avLst/>
                <a:gdLst>
                  <a:gd name="T0" fmla="*/ 2 w 539"/>
                  <a:gd name="T1" fmla="*/ 411 h 658"/>
                  <a:gd name="T2" fmla="*/ 14 w 539"/>
                  <a:gd name="T3" fmla="*/ 362 h 658"/>
                  <a:gd name="T4" fmla="*/ 33 w 539"/>
                  <a:gd name="T5" fmla="*/ 331 h 658"/>
                  <a:gd name="T6" fmla="*/ 63 w 539"/>
                  <a:gd name="T7" fmla="*/ 299 h 658"/>
                  <a:gd name="T8" fmla="*/ 92 w 539"/>
                  <a:gd name="T9" fmla="*/ 278 h 658"/>
                  <a:gd name="T10" fmla="*/ 181 w 539"/>
                  <a:gd name="T11" fmla="*/ 247 h 658"/>
                  <a:gd name="T12" fmla="*/ 252 w 539"/>
                  <a:gd name="T13" fmla="*/ 237 h 658"/>
                  <a:gd name="T14" fmla="*/ 348 w 539"/>
                  <a:gd name="T15" fmla="*/ 227 h 658"/>
                  <a:gd name="T16" fmla="*/ 337 w 539"/>
                  <a:gd name="T17" fmla="*/ 201 h 658"/>
                  <a:gd name="T18" fmla="*/ 310 w 539"/>
                  <a:gd name="T19" fmla="*/ 178 h 658"/>
                  <a:gd name="T20" fmla="*/ 282 w 539"/>
                  <a:gd name="T21" fmla="*/ 169 h 658"/>
                  <a:gd name="T22" fmla="*/ 229 w 539"/>
                  <a:gd name="T23" fmla="*/ 164 h 658"/>
                  <a:gd name="T24" fmla="*/ 180 w 539"/>
                  <a:gd name="T25" fmla="*/ 168 h 658"/>
                  <a:gd name="T26" fmla="*/ 122 w 539"/>
                  <a:gd name="T27" fmla="*/ 179 h 658"/>
                  <a:gd name="T28" fmla="*/ 61 w 539"/>
                  <a:gd name="T29" fmla="*/ 155 h 658"/>
                  <a:gd name="T30" fmla="*/ 49 w 539"/>
                  <a:gd name="T31" fmla="*/ 120 h 658"/>
                  <a:gd name="T32" fmla="*/ 42 w 539"/>
                  <a:gd name="T33" fmla="*/ 63 h 658"/>
                  <a:gd name="T34" fmla="*/ 100 w 539"/>
                  <a:gd name="T35" fmla="*/ 23 h 658"/>
                  <a:gd name="T36" fmla="*/ 186 w 539"/>
                  <a:gd name="T37" fmla="*/ 6 h 658"/>
                  <a:gd name="T38" fmla="*/ 263 w 539"/>
                  <a:gd name="T39" fmla="*/ 0 h 658"/>
                  <a:gd name="T40" fmla="*/ 377 w 539"/>
                  <a:gd name="T41" fmla="*/ 16 h 658"/>
                  <a:gd name="T42" fmla="*/ 413 w 539"/>
                  <a:gd name="T43" fmla="*/ 30 h 658"/>
                  <a:gd name="T44" fmla="*/ 455 w 539"/>
                  <a:gd name="T45" fmla="*/ 56 h 658"/>
                  <a:gd name="T46" fmla="*/ 480 w 539"/>
                  <a:gd name="T47" fmla="*/ 80 h 658"/>
                  <a:gd name="T48" fmla="*/ 509 w 539"/>
                  <a:gd name="T49" fmla="*/ 121 h 658"/>
                  <a:gd name="T50" fmla="*/ 524 w 539"/>
                  <a:gd name="T51" fmla="*/ 157 h 658"/>
                  <a:gd name="T52" fmla="*/ 537 w 539"/>
                  <a:gd name="T53" fmla="*/ 213 h 658"/>
                  <a:gd name="T54" fmla="*/ 539 w 539"/>
                  <a:gd name="T55" fmla="*/ 619 h 658"/>
                  <a:gd name="T56" fmla="*/ 427 w 539"/>
                  <a:gd name="T57" fmla="*/ 645 h 658"/>
                  <a:gd name="T58" fmla="*/ 324 w 539"/>
                  <a:gd name="T59" fmla="*/ 658 h 658"/>
                  <a:gd name="T60" fmla="*/ 227 w 539"/>
                  <a:gd name="T61" fmla="*/ 656 h 658"/>
                  <a:gd name="T62" fmla="*/ 146 w 539"/>
                  <a:gd name="T63" fmla="*/ 641 h 658"/>
                  <a:gd name="T64" fmla="*/ 81 w 539"/>
                  <a:gd name="T65" fmla="*/ 610 h 658"/>
                  <a:gd name="T66" fmla="*/ 54 w 539"/>
                  <a:gd name="T67" fmla="*/ 589 h 658"/>
                  <a:gd name="T68" fmla="*/ 28 w 539"/>
                  <a:gd name="T69" fmla="*/ 553 h 658"/>
                  <a:gd name="T70" fmla="*/ 12 w 539"/>
                  <a:gd name="T71" fmla="*/ 520 h 658"/>
                  <a:gd name="T72" fmla="*/ 2 w 539"/>
                  <a:gd name="T73" fmla="*/ 468 h 658"/>
                  <a:gd name="T74" fmla="*/ 288 w 539"/>
                  <a:gd name="T75" fmla="*/ 508 h 658"/>
                  <a:gd name="T76" fmla="*/ 320 w 539"/>
                  <a:gd name="T77" fmla="*/ 505 h 658"/>
                  <a:gd name="T78" fmla="*/ 280 w 539"/>
                  <a:gd name="T79" fmla="*/ 366 h 658"/>
                  <a:gd name="T80" fmla="*/ 241 w 539"/>
                  <a:gd name="T81" fmla="*/ 371 h 658"/>
                  <a:gd name="T82" fmla="*/ 208 w 539"/>
                  <a:gd name="T83" fmla="*/ 385 h 658"/>
                  <a:gd name="T84" fmla="*/ 191 w 539"/>
                  <a:gd name="T85" fmla="*/ 401 h 658"/>
                  <a:gd name="T86" fmla="*/ 180 w 539"/>
                  <a:gd name="T87" fmla="*/ 427 h 658"/>
                  <a:gd name="T88" fmla="*/ 182 w 539"/>
                  <a:gd name="T89" fmla="*/ 457 h 658"/>
                  <a:gd name="T90" fmla="*/ 196 w 539"/>
                  <a:gd name="T91" fmla="*/ 481 h 658"/>
                  <a:gd name="T92" fmla="*/ 218 w 539"/>
                  <a:gd name="T93" fmla="*/ 496 h 658"/>
                  <a:gd name="T94" fmla="*/ 253 w 539"/>
                  <a:gd name="T95" fmla="*/ 505 h 658"/>
                  <a:gd name="T96" fmla="*/ 288 w 539"/>
                  <a:gd name="T97" fmla="*/ 50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9" h="658">
                    <a:moveTo>
                      <a:pt x="0" y="440"/>
                    </a:moveTo>
                    <a:lnTo>
                      <a:pt x="0" y="440"/>
                    </a:lnTo>
                    <a:lnTo>
                      <a:pt x="1" y="424"/>
                    </a:lnTo>
                    <a:lnTo>
                      <a:pt x="2" y="411"/>
                    </a:lnTo>
                    <a:lnTo>
                      <a:pt x="4" y="398"/>
                    </a:lnTo>
                    <a:lnTo>
                      <a:pt x="6" y="385"/>
                    </a:lnTo>
                    <a:lnTo>
                      <a:pt x="10" y="373"/>
                    </a:lnTo>
                    <a:lnTo>
                      <a:pt x="14" y="362"/>
                    </a:lnTo>
                    <a:lnTo>
                      <a:pt x="19" y="351"/>
                    </a:lnTo>
                    <a:lnTo>
                      <a:pt x="26" y="341"/>
                    </a:lnTo>
                    <a:lnTo>
                      <a:pt x="26" y="341"/>
                    </a:lnTo>
                    <a:lnTo>
                      <a:pt x="33" y="331"/>
                    </a:lnTo>
                    <a:lnTo>
                      <a:pt x="40" y="322"/>
                    </a:lnTo>
                    <a:lnTo>
                      <a:pt x="47" y="314"/>
                    </a:lnTo>
                    <a:lnTo>
                      <a:pt x="55" y="306"/>
                    </a:lnTo>
                    <a:lnTo>
                      <a:pt x="63" y="299"/>
                    </a:lnTo>
                    <a:lnTo>
                      <a:pt x="73" y="292"/>
                    </a:lnTo>
                    <a:lnTo>
                      <a:pt x="82" y="284"/>
                    </a:lnTo>
                    <a:lnTo>
                      <a:pt x="92" y="278"/>
                    </a:lnTo>
                    <a:lnTo>
                      <a:pt x="92" y="278"/>
                    </a:lnTo>
                    <a:lnTo>
                      <a:pt x="112" y="268"/>
                    </a:lnTo>
                    <a:lnTo>
                      <a:pt x="134" y="259"/>
                    </a:lnTo>
                    <a:lnTo>
                      <a:pt x="156" y="252"/>
                    </a:lnTo>
                    <a:lnTo>
                      <a:pt x="181" y="247"/>
                    </a:lnTo>
                    <a:lnTo>
                      <a:pt x="181" y="247"/>
                    </a:lnTo>
                    <a:lnTo>
                      <a:pt x="204" y="243"/>
                    </a:lnTo>
                    <a:lnTo>
                      <a:pt x="229" y="239"/>
                    </a:lnTo>
                    <a:lnTo>
                      <a:pt x="252" y="237"/>
                    </a:lnTo>
                    <a:lnTo>
                      <a:pt x="276" y="237"/>
                    </a:lnTo>
                    <a:lnTo>
                      <a:pt x="350" y="237"/>
                    </a:lnTo>
                    <a:lnTo>
                      <a:pt x="350" y="237"/>
                    </a:lnTo>
                    <a:lnTo>
                      <a:pt x="348" y="227"/>
                    </a:lnTo>
                    <a:lnTo>
                      <a:pt x="346" y="217"/>
                    </a:lnTo>
                    <a:lnTo>
                      <a:pt x="342" y="209"/>
                    </a:lnTo>
                    <a:lnTo>
                      <a:pt x="337" y="201"/>
                    </a:lnTo>
                    <a:lnTo>
                      <a:pt x="337" y="201"/>
                    </a:lnTo>
                    <a:lnTo>
                      <a:pt x="332" y="193"/>
                    </a:lnTo>
                    <a:lnTo>
                      <a:pt x="325" y="187"/>
                    </a:lnTo>
                    <a:lnTo>
                      <a:pt x="318" y="182"/>
                    </a:lnTo>
                    <a:lnTo>
                      <a:pt x="310" y="178"/>
                    </a:lnTo>
                    <a:lnTo>
                      <a:pt x="310" y="178"/>
                    </a:lnTo>
                    <a:lnTo>
                      <a:pt x="300" y="174"/>
                    </a:lnTo>
                    <a:lnTo>
                      <a:pt x="291" y="171"/>
                    </a:lnTo>
                    <a:lnTo>
                      <a:pt x="282" y="169"/>
                    </a:lnTo>
                    <a:lnTo>
                      <a:pt x="272" y="167"/>
                    </a:lnTo>
                    <a:lnTo>
                      <a:pt x="272" y="167"/>
                    </a:lnTo>
                    <a:lnTo>
                      <a:pt x="251" y="165"/>
                    </a:lnTo>
                    <a:lnTo>
                      <a:pt x="229" y="164"/>
                    </a:lnTo>
                    <a:lnTo>
                      <a:pt x="229" y="164"/>
                    </a:lnTo>
                    <a:lnTo>
                      <a:pt x="214" y="165"/>
                    </a:lnTo>
                    <a:lnTo>
                      <a:pt x="197" y="166"/>
                    </a:lnTo>
                    <a:lnTo>
                      <a:pt x="180" y="168"/>
                    </a:lnTo>
                    <a:lnTo>
                      <a:pt x="161" y="171"/>
                    </a:lnTo>
                    <a:lnTo>
                      <a:pt x="161" y="171"/>
                    </a:lnTo>
                    <a:lnTo>
                      <a:pt x="141" y="175"/>
                    </a:lnTo>
                    <a:lnTo>
                      <a:pt x="122" y="179"/>
                    </a:lnTo>
                    <a:lnTo>
                      <a:pt x="101" y="185"/>
                    </a:lnTo>
                    <a:lnTo>
                      <a:pt x="81" y="192"/>
                    </a:lnTo>
                    <a:lnTo>
                      <a:pt x="81" y="192"/>
                    </a:lnTo>
                    <a:lnTo>
                      <a:pt x="61" y="155"/>
                    </a:lnTo>
                    <a:lnTo>
                      <a:pt x="61" y="155"/>
                    </a:lnTo>
                    <a:lnTo>
                      <a:pt x="55" y="137"/>
                    </a:lnTo>
                    <a:lnTo>
                      <a:pt x="49" y="120"/>
                    </a:lnTo>
                    <a:lnTo>
                      <a:pt x="49" y="120"/>
                    </a:lnTo>
                    <a:lnTo>
                      <a:pt x="46" y="102"/>
                    </a:lnTo>
                    <a:lnTo>
                      <a:pt x="44" y="83"/>
                    </a:lnTo>
                    <a:lnTo>
                      <a:pt x="44" y="83"/>
                    </a:lnTo>
                    <a:lnTo>
                      <a:pt x="42" y="63"/>
                    </a:lnTo>
                    <a:lnTo>
                      <a:pt x="42" y="40"/>
                    </a:lnTo>
                    <a:lnTo>
                      <a:pt x="42" y="40"/>
                    </a:lnTo>
                    <a:lnTo>
                      <a:pt x="71" y="31"/>
                    </a:lnTo>
                    <a:lnTo>
                      <a:pt x="100" y="23"/>
                    </a:lnTo>
                    <a:lnTo>
                      <a:pt x="129" y="16"/>
                    </a:lnTo>
                    <a:lnTo>
                      <a:pt x="158" y="11"/>
                    </a:lnTo>
                    <a:lnTo>
                      <a:pt x="158" y="11"/>
                    </a:lnTo>
                    <a:lnTo>
                      <a:pt x="186" y="6"/>
                    </a:lnTo>
                    <a:lnTo>
                      <a:pt x="213" y="3"/>
                    </a:lnTo>
                    <a:lnTo>
                      <a:pt x="238" y="1"/>
                    </a:lnTo>
                    <a:lnTo>
                      <a:pt x="263" y="0"/>
                    </a:lnTo>
                    <a:lnTo>
                      <a:pt x="263" y="0"/>
                    </a:lnTo>
                    <a:lnTo>
                      <a:pt x="293" y="1"/>
                    </a:lnTo>
                    <a:lnTo>
                      <a:pt x="323" y="4"/>
                    </a:lnTo>
                    <a:lnTo>
                      <a:pt x="351" y="10"/>
                    </a:lnTo>
                    <a:lnTo>
                      <a:pt x="377" y="16"/>
                    </a:lnTo>
                    <a:lnTo>
                      <a:pt x="377" y="16"/>
                    </a:lnTo>
                    <a:lnTo>
                      <a:pt x="389" y="20"/>
                    </a:lnTo>
                    <a:lnTo>
                      <a:pt x="402" y="25"/>
                    </a:lnTo>
                    <a:lnTo>
                      <a:pt x="413" y="30"/>
                    </a:lnTo>
                    <a:lnTo>
                      <a:pt x="424" y="35"/>
                    </a:lnTo>
                    <a:lnTo>
                      <a:pt x="434" y="41"/>
                    </a:lnTo>
                    <a:lnTo>
                      <a:pt x="445" y="48"/>
                    </a:lnTo>
                    <a:lnTo>
                      <a:pt x="455" y="56"/>
                    </a:lnTo>
                    <a:lnTo>
                      <a:pt x="464" y="63"/>
                    </a:lnTo>
                    <a:lnTo>
                      <a:pt x="464" y="63"/>
                    </a:lnTo>
                    <a:lnTo>
                      <a:pt x="472" y="71"/>
                    </a:lnTo>
                    <a:lnTo>
                      <a:pt x="480" y="80"/>
                    </a:lnTo>
                    <a:lnTo>
                      <a:pt x="488" y="89"/>
                    </a:lnTo>
                    <a:lnTo>
                      <a:pt x="496" y="99"/>
                    </a:lnTo>
                    <a:lnTo>
                      <a:pt x="503" y="110"/>
                    </a:lnTo>
                    <a:lnTo>
                      <a:pt x="509" y="121"/>
                    </a:lnTo>
                    <a:lnTo>
                      <a:pt x="514" y="132"/>
                    </a:lnTo>
                    <a:lnTo>
                      <a:pt x="519" y="144"/>
                    </a:lnTo>
                    <a:lnTo>
                      <a:pt x="519" y="144"/>
                    </a:lnTo>
                    <a:lnTo>
                      <a:pt x="524" y="157"/>
                    </a:lnTo>
                    <a:lnTo>
                      <a:pt x="527" y="170"/>
                    </a:lnTo>
                    <a:lnTo>
                      <a:pt x="531" y="183"/>
                    </a:lnTo>
                    <a:lnTo>
                      <a:pt x="533" y="199"/>
                    </a:lnTo>
                    <a:lnTo>
                      <a:pt x="537" y="213"/>
                    </a:lnTo>
                    <a:lnTo>
                      <a:pt x="538" y="228"/>
                    </a:lnTo>
                    <a:lnTo>
                      <a:pt x="539" y="245"/>
                    </a:lnTo>
                    <a:lnTo>
                      <a:pt x="539" y="262"/>
                    </a:lnTo>
                    <a:lnTo>
                      <a:pt x="539" y="619"/>
                    </a:lnTo>
                    <a:lnTo>
                      <a:pt x="539" y="619"/>
                    </a:lnTo>
                    <a:lnTo>
                      <a:pt x="514" y="626"/>
                    </a:lnTo>
                    <a:lnTo>
                      <a:pt x="487" y="632"/>
                    </a:lnTo>
                    <a:lnTo>
                      <a:pt x="427" y="645"/>
                    </a:lnTo>
                    <a:lnTo>
                      <a:pt x="427" y="645"/>
                    </a:lnTo>
                    <a:lnTo>
                      <a:pt x="393" y="651"/>
                    </a:lnTo>
                    <a:lnTo>
                      <a:pt x="359" y="655"/>
                    </a:lnTo>
                    <a:lnTo>
                      <a:pt x="324" y="658"/>
                    </a:lnTo>
                    <a:lnTo>
                      <a:pt x="288" y="658"/>
                    </a:lnTo>
                    <a:lnTo>
                      <a:pt x="288" y="658"/>
                    </a:lnTo>
                    <a:lnTo>
                      <a:pt x="257" y="658"/>
                    </a:lnTo>
                    <a:lnTo>
                      <a:pt x="227" y="656"/>
                    </a:lnTo>
                    <a:lnTo>
                      <a:pt x="198" y="652"/>
                    </a:lnTo>
                    <a:lnTo>
                      <a:pt x="172" y="647"/>
                    </a:lnTo>
                    <a:lnTo>
                      <a:pt x="172" y="647"/>
                    </a:lnTo>
                    <a:lnTo>
                      <a:pt x="146" y="641"/>
                    </a:lnTo>
                    <a:lnTo>
                      <a:pt x="123" y="632"/>
                    </a:lnTo>
                    <a:lnTo>
                      <a:pt x="100" y="622"/>
                    </a:lnTo>
                    <a:lnTo>
                      <a:pt x="90" y="617"/>
                    </a:lnTo>
                    <a:lnTo>
                      <a:pt x="81" y="610"/>
                    </a:lnTo>
                    <a:lnTo>
                      <a:pt x="81" y="610"/>
                    </a:lnTo>
                    <a:lnTo>
                      <a:pt x="72" y="603"/>
                    </a:lnTo>
                    <a:lnTo>
                      <a:pt x="62" y="596"/>
                    </a:lnTo>
                    <a:lnTo>
                      <a:pt x="54" y="589"/>
                    </a:lnTo>
                    <a:lnTo>
                      <a:pt x="47" y="581"/>
                    </a:lnTo>
                    <a:lnTo>
                      <a:pt x="40" y="572"/>
                    </a:lnTo>
                    <a:lnTo>
                      <a:pt x="33" y="562"/>
                    </a:lnTo>
                    <a:lnTo>
                      <a:pt x="28" y="553"/>
                    </a:lnTo>
                    <a:lnTo>
                      <a:pt x="21" y="542"/>
                    </a:lnTo>
                    <a:lnTo>
                      <a:pt x="21" y="542"/>
                    </a:lnTo>
                    <a:lnTo>
                      <a:pt x="16" y="532"/>
                    </a:lnTo>
                    <a:lnTo>
                      <a:pt x="12" y="520"/>
                    </a:lnTo>
                    <a:lnTo>
                      <a:pt x="8" y="508"/>
                    </a:lnTo>
                    <a:lnTo>
                      <a:pt x="5" y="496"/>
                    </a:lnTo>
                    <a:lnTo>
                      <a:pt x="3" y="483"/>
                    </a:lnTo>
                    <a:lnTo>
                      <a:pt x="2" y="468"/>
                    </a:lnTo>
                    <a:lnTo>
                      <a:pt x="1" y="454"/>
                    </a:lnTo>
                    <a:lnTo>
                      <a:pt x="0" y="440"/>
                    </a:lnTo>
                    <a:lnTo>
                      <a:pt x="0" y="440"/>
                    </a:lnTo>
                    <a:close/>
                    <a:moveTo>
                      <a:pt x="288" y="508"/>
                    </a:moveTo>
                    <a:lnTo>
                      <a:pt x="288" y="508"/>
                    </a:lnTo>
                    <a:lnTo>
                      <a:pt x="301" y="507"/>
                    </a:lnTo>
                    <a:lnTo>
                      <a:pt x="320" y="505"/>
                    </a:lnTo>
                    <a:lnTo>
                      <a:pt x="320" y="505"/>
                    </a:lnTo>
                    <a:lnTo>
                      <a:pt x="337" y="503"/>
                    </a:lnTo>
                    <a:lnTo>
                      <a:pt x="350" y="500"/>
                    </a:lnTo>
                    <a:lnTo>
                      <a:pt x="350" y="366"/>
                    </a:lnTo>
                    <a:lnTo>
                      <a:pt x="280" y="366"/>
                    </a:lnTo>
                    <a:lnTo>
                      <a:pt x="280" y="366"/>
                    </a:lnTo>
                    <a:lnTo>
                      <a:pt x="260" y="367"/>
                    </a:lnTo>
                    <a:lnTo>
                      <a:pt x="250" y="369"/>
                    </a:lnTo>
                    <a:lnTo>
                      <a:pt x="241" y="371"/>
                    </a:lnTo>
                    <a:lnTo>
                      <a:pt x="232" y="373"/>
                    </a:lnTo>
                    <a:lnTo>
                      <a:pt x="224" y="376"/>
                    </a:lnTo>
                    <a:lnTo>
                      <a:pt x="216" y="380"/>
                    </a:lnTo>
                    <a:lnTo>
                      <a:pt x="208" y="385"/>
                    </a:lnTo>
                    <a:lnTo>
                      <a:pt x="208" y="385"/>
                    </a:lnTo>
                    <a:lnTo>
                      <a:pt x="201" y="390"/>
                    </a:lnTo>
                    <a:lnTo>
                      <a:pt x="196" y="395"/>
                    </a:lnTo>
                    <a:lnTo>
                      <a:pt x="191" y="401"/>
                    </a:lnTo>
                    <a:lnTo>
                      <a:pt x="187" y="407"/>
                    </a:lnTo>
                    <a:lnTo>
                      <a:pt x="184" y="413"/>
                    </a:lnTo>
                    <a:lnTo>
                      <a:pt x="181" y="420"/>
                    </a:lnTo>
                    <a:lnTo>
                      <a:pt x="180" y="427"/>
                    </a:lnTo>
                    <a:lnTo>
                      <a:pt x="179" y="436"/>
                    </a:lnTo>
                    <a:lnTo>
                      <a:pt x="179" y="436"/>
                    </a:lnTo>
                    <a:lnTo>
                      <a:pt x="180" y="447"/>
                    </a:lnTo>
                    <a:lnTo>
                      <a:pt x="182" y="457"/>
                    </a:lnTo>
                    <a:lnTo>
                      <a:pt x="186" y="466"/>
                    </a:lnTo>
                    <a:lnTo>
                      <a:pt x="190" y="474"/>
                    </a:lnTo>
                    <a:lnTo>
                      <a:pt x="190" y="474"/>
                    </a:lnTo>
                    <a:lnTo>
                      <a:pt x="196" y="481"/>
                    </a:lnTo>
                    <a:lnTo>
                      <a:pt x="202" y="487"/>
                    </a:lnTo>
                    <a:lnTo>
                      <a:pt x="210" y="492"/>
                    </a:lnTo>
                    <a:lnTo>
                      <a:pt x="218" y="496"/>
                    </a:lnTo>
                    <a:lnTo>
                      <a:pt x="218" y="496"/>
                    </a:lnTo>
                    <a:lnTo>
                      <a:pt x="226" y="499"/>
                    </a:lnTo>
                    <a:lnTo>
                      <a:pt x="235" y="502"/>
                    </a:lnTo>
                    <a:lnTo>
                      <a:pt x="244" y="504"/>
                    </a:lnTo>
                    <a:lnTo>
                      <a:pt x="253" y="505"/>
                    </a:lnTo>
                    <a:lnTo>
                      <a:pt x="253" y="505"/>
                    </a:lnTo>
                    <a:lnTo>
                      <a:pt x="271" y="507"/>
                    </a:lnTo>
                    <a:lnTo>
                      <a:pt x="288" y="508"/>
                    </a:lnTo>
                    <a:lnTo>
                      <a:pt x="288" y="5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18" name="Freeform 2020"/>
              <p:cNvSpPr>
                <a:spLocks/>
              </p:cNvSpPr>
              <p:nvPr/>
            </p:nvSpPr>
            <p:spPr bwMode="auto">
              <a:xfrm>
                <a:off x="2455863" y="2506663"/>
                <a:ext cx="125413" cy="168275"/>
              </a:xfrm>
              <a:custGeom>
                <a:avLst/>
                <a:gdLst>
                  <a:gd name="T0" fmla="*/ 206 w 476"/>
                  <a:gd name="T1" fmla="*/ 440 h 636"/>
                  <a:gd name="T2" fmla="*/ 206 w 476"/>
                  <a:gd name="T3" fmla="*/ 627 h 636"/>
                  <a:gd name="T4" fmla="*/ 206 w 476"/>
                  <a:gd name="T5" fmla="*/ 627 h 636"/>
                  <a:gd name="T6" fmla="*/ 180 w 476"/>
                  <a:gd name="T7" fmla="*/ 632 h 636"/>
                  <a:gd name="T8" fmla="*/ 154 w 476"/>
                  <a:gd name="T9" fmla="*/ 635 h 636"/>
                  <a:gd name="T10" fmla="*/ 154 w 476"/>
                  <a:gd name="T11" fmla="*/ 635 h 636"/>
                  <a:gd name="T12" fmla="*/ 128 w 476"/>
                  <a:gd name="T13" fmla="*/ 636 h 636"/>
                  <a:gd name="T14" fmla="*/ 104 w 476"/>
                  <a:gd name="T15" fmla="*/ 636 h 636"/>
                  <a:gd name="T16" fmla="*/ 104 w 476"/>
                  <a:gd name="T17" fmla="*/ 636 h 636"/>
                  <a:gd name="T18" fmla="*/ 79 w 476"/>
                  <a:gd name="T19" fmla="*/ 636 h 636"/>
                  <a:gd name="T20" fmla="*/ 53 w 476"/>
                  <a:gd name="T21" fmla="*/ 635 h 636"/>
                  <a:gd name="T22" fmla="*/ 53 w 476"/>
                  <a:gd name="T23" fmla="*/ 635 h 636"/>
                  <a:gd name="T24" fmla="*/ 27 w 476"/>
                  <a:gd name="T25" fmla="*/ 632 h 636"/>
                  <a:gd name="T26" fmla="*/ 0 w 476"/>
                  <a:gd name="T27" fmla="*/ 627 h 636"/>
                  <a:gd name="T28" fmla="*/ 0 w 476"/>
                  <a:gd name="T29" fmla="*/ 0 h 636"/>
                  <a:gd name="T30" fmla="*/ 465 w 476"/>
                  <a:gd name="T31" fmla="*/ 0 h 636"/>
                  <a:gd name="T32" fmla="*/ 465 w 476"/>
                  <a:gd name="T33" fmla="*/ 0 h 636"/>
                  <a:gd name="T34" fmla="*/ 470 w 476"/>
                  <a:gd name="T35" fmla="*/ 23 h 636"/>
                  <a:gd name="T36" fmla="*/ 473 w 476"/>
                  <a:gd name="T37" fmla="*/ 45 h 636"/>
                  <a:gd name="T38" fmla="*/ 473 w 476"/>
                  <a:gd name="T39" fmla="*/ 45 h 636"/>
                  <a:gd name="T40" fmla="*/ 474 w 476"/>
                  <a:gd name="T41" fmla="*/ 65 h 636"/>
                  <a:gd name="T42" fmla="*/ 476 w 476"/>
                  <a:gd name="T43" fmla="*/ 84 h 636"/>
                  <a:gd name="T44" fmla="*/ 476 w 476"/>
                  <a:gd name="T45" fmla="*/ 84 h 636"/>
                  <a:gd name="T46" fmla="*/ 474 w 476"/>
                  <a:gd name="T47" fmla="*/ 105 h 636"/>
                  <a:gd name="T48" fmla="*/ 473 w 476"/>
                  <a:gd name="T49" fmla="*/ 125 h 636"/>
                  <a:gd name="T50" fmla="*/ 473 w 476"/>
                  <a:gd name="T51" fmla="*/ 125 h 636"/>
                  <a:gd name="T52" fmla="*/ 470 w 476"/>
                  <a:gd name="T53" fmla="*/ 148 h 636"/>
                  <a:gd name="T54" fmla="*/ 465 w 476"/>
                  <a:gd name="T55" fmla="*/ 171 h 636"/>
                  <a:gd name="T56" fmla="*/ 206 w 476"/>
                  <a:gd name="T57" fmla="*/ 171 h 636"/>
                  <a:gd name="T58" fmla="*/ 206 w 476"/>
                  <a:gd name="T59" fmla="*/ 268 h 636"/>
                  <a:gd name="T60" fmla="*/ 415 w 476"/>
                  <a:gd name="T61" fmla="*/ 268 h 636"/>
                  <a:gd name="T62" fmla="*/ 415 w 476"/>
                  <a:gd name="T63" fmla="*/ 268 h 636"/>
                  <a:gd name="T64" fmla="*/ 420 w 476"/>
                  <a:gd name="T65" fmla="*/ 292 h 636"/>
                  <a:gd name="T66" fmla="*/ 423 w 476"/>
                  <a:gd name="T67" fmla="*/ 313 h 636"/>
                  <a:gd name="T68" fmla="*/ 423 w 476"/>
                  <a:gd name="T69" fmla="*/ 313 h 636"/>
                  <a:gd name="T70" fmla="*/ 424 w 476"/>
                  <a:gd name="T71" fmla="*/ 334 h 636"/>
                  <a:gd name="T72" fmla="*/ 425 w 476"/>
                  <a:gd name="T73" fmla="*/ 354 h 636"/>
                  <a:gd name="T74" fmla="*/ 425 w 476"/>
                  <a:gd name="T75" fmla="*/ 354 h 636"/>
                  <a:gd name="T76" fmla="*/ 424 w 476"/>
                  <a:gd name="T77" fmla="*/ 374 h 636"/>
                  <a:gd name="T78" fmla="*/ 423 w 476"/>
                  <a:gd name="T79" fmla="*/ 395 h 636"/>
                  <a:gd name="T80" fmla="*/ 423 w 476"/>
                  <a:gd name="T81" fmla="*/ 395 h 636"/>
                  <a:gd name="T82" fmla="*/ 420 w 476"/>
                  <a:gd name="T83" fmla="*/ 417 h 636"/>
                  <a:gd name="T84" fmla="*/ 415 w 476"/>
                  <a:gd name="T85" fmla="*/ 440 h 636"/>
                  <a:gd name="T86" fmla="*/ 206 w 476"/>
                  <a:gd name="T87" fmla="*/ 44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6" h="636">
                    <a:moveTo>
                      <a:pt x="206" y="440"/>
                    </a:moveTo>
                    <a:lnTo>
                      <a:pt x="206" y="627"/>
                    </a:lnTo>
                    <a:lnTo>
                      <a:pt x="206" y="627"/>
                    </a:lnTo>
                    <a:lnTo>
                      <a:pt x="180" y="632"/>
                    </a:lnTo>
                    <a:lnTo>
                      <a:pt x="154" y="635"/>
                    </a:lnTo>
                    <a:lnTo>
                      <a:pt x="154" y="635"/>
                    </a:lnTo>
                    <a:lnTo>
                      <a:pt x="128" y="636"/>
                    </a:lnTo>
                    <a:lnTo>
                      <a:pt x="104" y="636"/>
                    </a:lnTo>
                    <a:lnTo>
                      <a:pt x="104" y="636"/>
                    </a:lnTo>
                    <a:lnTo>
                      <a:pt x="79" y="636"/>
                    </a:lnTo>
                    <a:lnTo>
                      <a:pt x="53" y="635"/>
                    </a:lnTo>
                    <a:lnTo>
                      <a:pt x="53" y="635"/>
                    </a:lnTo>
                    <a:lnTo>
                      <a:pt x="27" y="632"/>
                    </a:lnTo>
                    <a:lnTo>
                      <a:pt x="0" y="627"/>
                    </a:lnTo>
                    <a:lnTo>
                      <a:pt x="0" y="0"/>
                    </a:lnTo>
                    <a:lnTo>
                      <a:pt x="465" y="0"/>
                    </a:lnTo>
                    <a:lnTo>
                      <a:pt x="465" y="0"/>
                    </a:lnTo>
                    <a:lnTo>
                      <a:pt x="470" y="23"/>
                    </a:lnTo>
                    <a:lnTo>
                      <a:pt x="473" y="45"/>
                    </a:lnTo>
                    <a:lnTo>
                      <a:pt x="473" y="45"/>
                    </a:lnTo>
                    <a:lnTo>
                      <a:pt x="474" y="65"/>
                    </a:lnTo>
                    <a:lnTo>
                      <a:pt x="476" y="84"/>
                    </a:lnTo>
                    <a:lnTo>
                      <a:pt x="476" y="84"/>
                    </a:lnTo>
                    <a:lnTo>
                      <a:pt x="474" y="105"/>
                    </a:lnTo>
                    <a:lnTo>
                      <a:pt x="473" y="125"/>
                    </a:lnTo>
                    <a:lnTo>
                      <a:pt x="473" y="125"/>
                    </a:lnTo>
                    <a:lnTo>
                      <a:pt x="470" y="148"/>
                    </a:lnTo>
                    <a:lnTo>
                      <a:pt x="465" y="171"/>
                    </a:lnTo>
                    <a:lnTo>
                      <a:pt x="206" y="171"/>
                    </a:lnTo>
                    <a:lnTo>
                      <a:pt x="206" y="268"/>
                    </a:lnTo>
                    <a:lnTo>
                      <a:pt x="415" y="268"/>
                    </a:lnTo>
                    <a:lnTo>
                      <a:pt x="415" y="268"/>
                    </a:lnTo>
                    <a:lnTo>
                      <a:pt x="420" y="292"/>
                    </a:lnTo>
                    <a:lnTo>
                      <a:pt x="423" y="313"/>
                    </a:lnTo>
                    <a:lnTo>
                      <a:pt x="423" y="313"/>
                    </a:lnTo>
                    <a:lnTo>
                      <a:pt x="424" y="334"/>
                    </a:lnTo>
                    <a:lnTo>
                      <a:pt x="425" y="354"/>
                    </a:lnTo>
                    <a:lnTo>
                      <a:pt x="425" y="354"/>
                    </a:lnTo>
                    <a:lnTo>
                      <a:pt x="424" y="374"/>
                    </a:lnTo>
                    <a:lnTo>
                      <a:pt x="423" y="395"/>
                    </a:lnTo>
                    <a:lnTo>
                      <a:pt x="423" y="395"/>
                    </a:lnTo>
                    <a:lnTo>
                      <a:pt x="420" y="417"/>
                    </a:lnTo>
                    <a:lnTo>
                      <a:pt x="415" y="440"/>
                    </a:lnTo>
                    <a:lnTo>
                      <a:pt x="206" y="4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3019" name="Freeform 2021"/>
              <p:cNvSpPr>
                <a:spLocks noEditPoints="1"/>
              </p:cNvSpPr>
              <p:nvPr/>
            </p:nvSpPr>
            <p:spPr bwMode="auto">
              <a:xfrm>
                <a:off x="2595563" y="2443163"/>
                <a:ext cx="155575" cy="234950"/>
              </a:xfrm>
              <a:custGeom>
                <a:avLst/>
                <a:gdLst>
                  <a:gd name="T0" fmla="*/ 214 w 585"/>
                  <a:gd name="T1" fmla="*/ 643 h 885"/>
                  <a:gd name="T2" fmla="*/ 238 w 585"/>
                  <a:gd name="T3" fmla="*/ 679 h 885"/>
                  <a:gd name="T4" fmla="*/ 262 w 585"/>
                  <a:gd name="T5" fmla="*/ 696 h 885"/>
                  <a:gd name="T6" fmla="*/ 303 w 585"/>
                  <a:gd name="T7" fmla="*/ 709 h 885"/>
                  <a:gd name="T8" fmla="*/ 342 w 585"/>
                  <a:gd name="T9" fmla="*/ 712 h 885"/>
                  <a:gd name="T10" fmla="*/ 421 w 585"/>
                  <a:gd name="T11" fmla="*/ 704 h 885"/>
                  <a:gd name="T12" fmla="*/ 486 w 585"/>
                  <a:gd name="T13" fmla="*/ 686 h 885"/>
                  <a:gd name="T14" fmla="*/ 524 w 585"/>
                  <a:gd name="T15" fmla="*/ 713 h 885"/>
                  <a:gd name="T16" fmla="*/ 543 w 585"/>
                  <a:gd name="T17" fmla="*/ 775 h 885"/>
                  <a:gd name="T18" fmla="*/ 552 w 585"/>
                  <a:gd name="T19" fmla="*/ 845 h 885"/>
                  <a:gd name="T20" fmla="*/ 441 w 585"/>
                  <a:gd name="T21" fmla="*/ 875 h 885"/>
                  <a:gd name="T22" fmla="*/ 330 w 585"/>
                  <a:gd name="T23" fmla="*/ 885 h 885"/>
                  <a:gd name="T24" fmla="*/ 267 w 585"/>
                  <a:gd name="T25" fmla="*/ 881 h 885"/>
                  <a:gd name="T26" fmla="*/ 195 w 585"/>
                  <a:gd name="T27" fmla="*/ 866 h 885"/>
                  <a:gd name="T28" fmla="*/ 149 w 585"/>
                  <a:gd name="T29" fmla="*/ 848 h 885"/>
                  <a:gd name="T30" fmla="*/ 98 w 585"/>
                  <a:gd name="T31" fmla="*/ 814 h 885"/>
                  <a:gd name="T32" fmla="*/ 67 w 585"/>
                  <a:gd name="T33" fmla="*/ 782 h 885"/>
                  <a:gd name="T34" fmla="*/ 35 w 585"/>
                  <a:gd name="T35" fmla="*/ 732 h 885"/>
                  <a:gd name="T36" fmla="*/ 18 w 585"/>
                  <a:gd name="T37" fmla="*/ 690 h 885"/>
                  <a:gd name="T38" fmla="*/ 4 w 585"/>
                  <a:gd name="T39" fmla="*/ 628 h 885"/>
                  <a:gd name="T40" fmla="*/ 0 w 585"/>
                  <a:gd name="T41" fmla="*/ 559 h 885"/>
                  <a:gd name="T42" fmla="*/ 4 w 585"/>
                  <a:gd name="T43" fmla="*/ 492 h 885"/>
                  <a:gd name="T44" fmla="*/ 19 w 585"/>
                  <a:gd name="T45" fmla="*/ 430 h 885"/>
                  <a:gd name="T46" fmla="*/ 36 w 585"/>
                  <a:gd name="T47" fmla="*/ 386 h 885"/>
                  <a:gd name="T48" fmla="*/ 68 w 585"/>
                  <a:gd name="T49" fmla="*/ 335 h 885"/>
                  <a:gd name="T50" fmla="*/ 98 w 585"/>
                  <a:gd name="T51" fmla="*/ 302 h 885"/>
                  <a:gd name="T52" fmla="*/ 147 w 585"/>
                  <a:gd name="T53" fmla="*/ 266 h 885"/>
                  <a:gd name="T54" fmla="*/ 190 w 585"/>
                  <a:gd name="T55" fmla="*/ 246 h 885"/>
                  <a:gd name="T56" fmla="*/ 255 w 585"/>
                  <a:gd name="T57" fmla="*/ 229 h 885"/>
                  <a:gd name="T58" fmla="*/ 311 w 585"/>
                  <a:gd name="T59" fmla="*/ 225 h 885"/>
                  <a:gd name="T60" fmla="*/ 373 w 585"/>
                  <a:gd name="T61" fmla="*/ 231 h 885"/>
                  <a:gd name="T62" fmla="*/ 427 w 585"/>
                  <a:gd name="T63" fmla="*/ 248 h 885"/>
                  <a:gd name="T64" fmla="*/ 463 w 585"/>
                  <a:gd name="T65" fmla="*/ 266 h 885"/>
                  <a:gd name="T66" fmla="*/ 503 w 585"/>
                  <a:gd name="T67" fmla="*/ 299 h 885"/>
                  <a:gd name="T68" fmla="*/ 529 w 585"/>
                  <a:gd name="T69" fmla="*/ 329 h 885"/>
                  <a:gd name="T70" fmla="*/ 556 w 585"/>
                  <a:gd name="T71" fmla="*/ 375 h 885"/>
                  <a:gd name="T72" fmla="*/ 571 w 585"/>
                  <a:gd name="T73" fmla="*/ 414 h 885"/>
                  <a:gd name="T74" fmla="*/ 583 w 585"/>
                  <a:gd name="T75" fmla="*/ 472 h 885"/>
                  <a:gd name="T76" fmla="*/ 584 w 585"/>
                  <a:gd name="T77" fmla="*/ 549 h 885"/>
                  <a:gd name="T78" fmla="*/ 206 w 585"/>
                  <a:gd name="T79" fmla="*/ 621 h 885"/>
                  <a:gd name="T80" fmla="*/ 285 w 585"/>
                  <a:gd name="T81" fmla="*/ 382 h 885"/>
                  <a:gd name="T82" fmla="*/ 252 w 585"/>
                  <a:gd name="T83" fmla="*/ 394 h 885"/>
                  <a:gd name="T84" fmla="*/ 231 w 585"/>
                  <a:gd name="T85" fmla="*/ 411 h 885"/>
                  <a:gd name="T86" fmla="*/ 211 w 585"/>
                  <a:gd name="T87" fmla="*/ 446 h 885"/>
                  <a:gd name="T88" fmla="*/ 399 w 585"/>
                  <a:gd name="T89" fmla="*/ 481 h 885"/>
                  <a:gd name="T90" fmla="*/ 394 w 585"/>
                  <a:gd name="T91" fmla="*/ 450 h 885"/>
                  <a:gd name="T92" fmla="*/ 379 w 585"/>
                  <a:gd name="T93" fmla="*/ 416 h 885"/>
                  <a:gd name="T94" fmla="*/ 359 w 585"/>
                  <a:gd name="T95" fmla="*/ 397 h 885"/>
                  <a:gd name="T96" fmla="*/ 326 w 585"/>
                  <a:gd name="T97" fmla="*/ 383 h 885"/>
                  <a:gd name="T98" fmla="*/ 578 w 585"/>
                  <a:gd name="T99" fmla="*/ 7 h 885"/>
                  <a:gd name="T100" fmla="*/ 526 w 585"/>
                  <a:gd name="T101" fmla="*/ 2 h 885"/>
                  <a:gd name="T102" fmla="*/ 434 w 585"/>
                  <a:gd name="T103" fmla="*/ 0 h 885"/>
                  <a:gd name="T104" fmla="*/ 222 w 585"/>
                  <a:gd name="T105" fmla="*/ 157 h 885"/>
                  <a:gd name="T106" fmla="*/ 265 w 585"/>
                  <a:gd name="T107" fmla="*/ 162 h 885"/>
                  <a:gd name="T108" fmla="*/ 337 w 585"/>
                  <a:gd name="T109" fmla="*/ 163 h 885"/>
                  <a:gd name="T110" fmla="*/ 578 w 585"/>
                  <a:gd name="T111" fmla="*/ 7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5" h="885">
                    <a:moveTo>
                      <a:pt x="206" y="621"/>
                    </a:moveTo>
                    <a:lnTo>
                      <a:pt x="206" y="621"/>
                    </a:lnTo>
                    <a:lnTo>
                      <a:pt x="210" y="633"/>
                    </a:lnTo>
                    <a:lnTo>
                      <a:pt x="214" y="643"/>
                    </a:lnTo>
                    <a:lnTo>
                      <a:pt x="219" y="653"/>
                    </a:lnTo>
                    <a:lnTo>
                      <a:pt x="225" y="664"/>
                    </a:lnTo>
                    <a:lnTo>
                      <a:pt x="231" y="672"/>
                    </a:lnTo>
                    <a:lnTo>
                      <a:pt x="238" y="679"/>
                    </a:lnTo>
                    <a:lnTo>
                      <a:pt x="245" y="685"/>
                    </a:lnTo>
                    <a:lnTo>
                      <a:pt x="253" y="691"/>
                    </a:lnTo>
                    <a:lnTo>
                      <a:pt x="253" y="691"/>
                    </a:lnTo>
                    <a:lnTo>
                      <a:pt x="262" y="696"/>
                    </a:lnTo>
                    <a:lnTo>
                      <a:pt x="272" y="700"/>
                    </a:lnTo>
                    <a:lnTo>
                      <a:pt x="282" y="704"/>
                    </a:lnTo>
                    <a:lnTo>
                      <a:pt x="292" y="707"/>
                    </a:lnTo>
                    <a:lnTo>
                      <a:pt x="303" y="709"/>
                    </a:lnTo>
                    <a:lnTo>
                      <a:pt x="315" y="711"/>
                    </a:lnTo>
                    <a:lnTo>
                      <a:pt x="329" y="712"/>
                    </a:lnTo>
                    <a:lnTo>
                      <a:pt x="342" y="712"/>
                    </a:lnTo>
                    <a:lnTo>
                      <a:pt x="342" y="712"/>
                    </a:lnTo>
                    <a:lnTo>
                      <a:pt x="360" y="712"/>
                    </a:lnTo>
                    <a:lnTo>
                      <a:pt x="379" y="710"/>
                    </a:lnTo>
                    <a:lnTo>
                      <a:pt x="399" y="708"/>
                    </a:lnTo>
                    <a:lnTo>
                      <a:pt x="421" y="704"/>
                    </a:lnTo>
                    <a:lnTo>
                      <a:pt x="421" y="704"/>
                    </a:lnTo>
                    <a:lnTo>
                      <a:pt x="443" y="698"/>
                    </a:lnTo>
                    <a:lnTo>
                      <a:pt x="465" y="692"/>
                    </a:lnTo>
                    <a:lnTo>
                      <a:pt x="486" y="686"/>
                    </a:lnTo>
                    <a:lnTo>
                      <a:pt x="508" y="678"/>
                    </a:lnTo>
                    <a:lnTo>
                      <a:pt x="508" y="678"/>
                    </a:lnTo>
                    <a:lnTo>
                      <a:pt x="516" y="694"/>
                    </a:lnTo>
                    <a:lnTo>
                      <a:pt x="524" y="713"/>
                    </a:lnTo>
                    <a:lnTo>
                      <a:pt x="531" y="732"/>
                    </a:lnTo>
                    <a:lnTo>
                      <a:pt x="537" y="754"/>
                    </a:lnTo>
                    <a:lnTo>
                      <a:pt x="537" y="754"/>
                    </a:lnTo>
                    <a:lnTo>
                      <a:pt x="543" y="775"/>
                    </a:lnTo>
                    <a:lnTo>
                      <a:pt x="547" y="799"/>
                    </a:lnTo>
                    <a:lnTo>
                      <a:pt x="549" y="821"/>
                    </a:lnTo>
                    <a:lnTo>
                      <a:pt x="552" y="845"/>
                    </a:lnTo>
                    <a:lnTo>
                      <a:pt x="552" y="845"/>
                    </a:lnTo>
                    <a:lnTo>
                      <a:pt x="524" y="854"/>
                    </a:lnTo>
                    <a:lnTo>
                      <a:pt x="496" y="862"/>
                    </a:lnTo>
                    <a:lnTo>
                      <a:pt x="470" y="869"/>
                    </a:lnTo>
                    <a:lnTo>
                      <a:pt x="441" y="875"/>
                    </a:lnTo>
                    <a:lnTo>
                      <a:pt x="414" y="879"/>
                    </a:lnTo>
                    <a:lnTo>
                      <a:pt x="386" y="882"/>
                    </a:lnTo>
                    <a:lnTo>
                      <a:pt x="357" y="884"/>
                    </a:lnTo>
                    <a:lnTo>
                      <a:pt x="330" y="885"/>
                    </a:lnTo>
                    <a:lnTo>
                      <a:pt x="330" y="885"/>
                    </a:lnTo>
                    <a:lnTo>
                      <a:pt x="308" y="884"/>
                    </a:lnTo>
                    <a:lnTo>
                      <a:pt x="287" y="883"/>
                    </a:lnTo>
                    <a:lnTo>
                      <a:pt x="267" y="881"/>
                    </a:lnTo>
                    <a:lnTo>
                      <a:pt x="248" y="879"/>
                    </a:lnTo>
                    <a:lnTo>
                      <a:pt x="230" y="875"/>
                    </a:lnTo>
                    <a:lnTo>
                      <a:pt x="212" y="871"/>
                    </a:lnTo>
                    <a:lnTo>
                      <a:pt x="195" y="866"/>
                    </a:lnTo>
                    <a:lnTo>
                      <a:pt x="180" y="861"/>
                    </a:lnTo>
                    <a:lnTo>
                      <a:pt x="180" y="861"/>
                    </a:lnTo>
                    <a:lnTo>
                      <a:pt x="164" y="854"/>
                    </a:lnTo>
                    <a:lnTo>
                      <a:pt x="149" y="848"/>
                    </a:lnTo>
                    <a:lnTo>
                      <a:pt x="136" y="839"/>
                    </a:lnTo>
                    <a:lnTo>
                      <a:pt x="122" y="831"/>
                    </a:lnTo>
                    <a:lnTo>
                      <a:pt x="110" y="823"/>
                    </a:lnTo>
                    <a:lnTo>
                      <a:pt x="98" y="814"/>
                    </a:lnTo>
                    <a:lnTo>
                      <a:pt x="87" y="804"/>
                    </a:lnTo>
                    <a:lnTo>
                      <a:pt x="76" y="793"/>
                    </a:lnTo>
                    <a:lnTo>
                      <a:pt x="76" y="793"/>
                    </a:lnTo>
                    <a:lnTo>
                      <a:pt x="67" y="782"/>
                    </a:lnTo>
                    <a:lnTo>
                      <a:pt x="58" y="770"/>
                    </a:lnTo>
                    <a:lnTo>
                      <a:pt x="50" y="759"/>
                    </a:lnTo>
                    <a:lnTo>
                      <a:pt x="43" y="745"/>
                    </a:lnTo>
                    <a:lnTo>
                      <a:pt x="35" y="732"/>
                    </a:lnTo>
                    <a:lnTo>
                      <a:pt x="29" y="719"/>
                    </a:lnTo>
                    <a:lnTo>
                      <a:pt x="23" y="705"/>
                    </a:lnTo>
                    <a:lnTo>
                      <a:pt x="18" y="690"/>
                    </a:lnTo>
                    <a:lnTo>
                      <a:pt x="18" y="690"/>
                    </a:lnTo>
                    <a:lnTo>
                      <a:pt x="14" y="675"/>
                    </a:lnTo>
                    <a:lnTo>
                      <a:pt x="10" y="660"/>
                    </a:lnTo>
                    <a:lnTo>
                      <a:pt x="7" y="643"/>
                    </a:lnTo>
                    <a:lnTo>
                      <a:pt x="4" y="628"/>
                    </a:lnTo>
                    <a:lnTo>
                      <a:pt x="2" y="612"/>
                    </a:lnTo>
                    <a:lnTo>
                      <a:pt x="1" y="594"/>
                    </a:lnTo>
                    <a:lnTo>
                      <a:pt x="0" y="559"/>
                    </a:lnTo>
                    <a:lnTo>
                      <a:pt x="0" y="559"/>
                    </a:lnTo>
                    <a:lnTo>
                      <a:pt x="0" y="542"/>
                    </a:lnTo>
                    <a:lnTo>
                      <a:pt x="1" y="526"/>
                    </a:lnTo>
                    <a:lnTo>
                      <a:pt x="2" y="508"/>
                    </a:lnTo>
                    <a:lnTo>
                      <a:pt x="4" y="492"/>
                    </a:lnTo>
                    <a:lnTo>
                      <a:pt x="7" y="477"/>
                    </a:lnTo>
                    <a:lnTo>
                      <a:pt x="10" y="460"/>
                    </a:lnTo>
                    <a:lnTo>
                      <a:pt x="14" y="445"/>
                    </a:lnTo>
                    <a:lnTo>
                      <a:pt x="19" y="430"/>
                    </a:lnTo>
                    <a:lnTo>
                      <a:pt x="19" y="430"/>
                    </a:lnTo>
                    <a:lnTo>
                      <a:pt x="24" y="414"/>
                    </a:lnTo>
                    <a:lnTo>
                      <a:pt x="29" y="400"/>
                    </a:lnTo>
                    <a:lnTo>
                      <a:pt x="36" y="386"/>
                    </a:lnTo>
                    <a:lnTo>
                      <a:pt x="44" y="372"/>
                    </a:lnTo>
                    <a:lnTo>
                      <a:pt x="51" y="359"/>
                    </a:lnTo>
                    <a:lnTo>
                      <a:pt x="59" y="347"/>
                    </a:lnTo>
                    <a:lnTo>
                      <a:pt x="68" y="335"/>
                    </a:lnTo>
                    <a:lnTo>
                      <a:pt x="77" y="323"/>
                    </a:lnTo>
                    <a:lnTo>
                      <a:pt x="77" y="323"/>
                    </a:lnTo>
                    <a:lnTo>
                      <a:pt x="88" y="312"/>
                    </a:lnTo>
                    <a:lnTo>
                      <a:pt x="98" y="302"/>
                    </a:lnTo>
                    <a:lnTo>
                      <a:pt x="109" y="292"/>
                    </a:lnTo>
                    <a:lnTo>
                      <a:pt x="121" y="283"/>
                    </a:lnTo>
                    <a:lnTo>
                      <a:pt x="134" y="274"/>
                    </a:lnTo>
                    <a:lnTo>
                      <a:pt x="147" y="266"/>
                    </a:lnTo>
                    <a:lnTo>
                      <a:pt x="160" y="259"/>
                    </a:lnTo>
                    <a:lnTo>
                      <a:pt x="174" y="252"/>
                    </a:lnTo>
                    <a:lnTo>
                      <a:pt x="174" y="252"/>
                    </a:lnTo>
                    <a:lnTo>
                      <a:pt x="190" y="246"/>
                    </a:lnTo>
                    <a:lnTo>
                      <a:pt x="205" y="241"/>
                    </a:lnTo>
                    <a:lnTo>
                      <a:pt x="221" y="237"/>
                    </a:lnTo>
                    <a:lnTo>
                      <a:pt x="238" y="232"/>
                    </a:lnTo>
                    <a:lnTo>
                      <a:pt x="255" y="229"/>
                    </a:lnTo>
                    <a:lnTo>
                      <a:pt x="274" y="227"/>
                    </a:lnTo>
                    <a:lnTo>
                      <a:pt x="292" y="226"/>
                    </a:lnTo>
                    <a:lnTo>
                      <a:pt x="311" y="225"/>
                    </a:lnTo>
                    <a:lnTo>
                      <a:pt x="311" y="225"/>
                    </a:lnTo>
                    <a:lnTo>
                      <a:pt x="327" y="226"/>
                    </a:lnTo>
                    <a:lnTo>
                      <a:pt x="343" y="227"/>
                    </a:lnTo>
                    <a:lnTo>
                      <a:pt x="357" y="229"/>
                    </a:lnTo>
                    <a:lnTo>
                      <a:pt x="373" y="231"/>
                    </a:lnTo>
                    <a:lnTo>
                      <a:pt x="387" y="235"/>
                    </a:lnTo>
                    <a:lnTo>
                      <a:pt x="400" y="239"/>
                    </a:lnTo>
                    <a:lnTo>
                      <a:pt x="414" y="243"/>
                    </a:lnTo>
                    <a:lnTo>
                      <a:pt x="427" y="248"/>
                    </a:lnTo>
                    <a:lnTo>
                      <a:pt x="427" y="248"/>
                    </a:lnTo>
                    <a:lnTo>
                      <a:pt x="439" y="254"/>
                    </a:lnTo>
                    <a:lnTo>
                      <a:pt x="450" y="260"/>
                    </a:lnTo>
                    <a:lnTo>
                      <a:pt x="463" y="266"/>
                    </a:lnTo>
                    <a:lnTo>
                      <a:pt x="473" y="273"/>
                    </a:lnTo>
                    <a:lnTo>
                      <a:pt x="484" y="282"/>
                    </a:lnTo>
                    <a:lnTo>
                      <a:pt x="493" y="290"/>
                    </a:lnTo>
                    <a:lnTo>
                      <a:pt x="503" y="299"/>
                    </a:lnTo>
                    <a:lnTo>
                      <a:pt x="513" y="308"/>
                    </a:lnTo>
                    <a:lnTo>
                      <a:pt x="513" y="308"/>
                    </a:lnTo>
                    <a:lnTo>
                      <a:pt x="521" y="318"/>
                    </a:lnTo>
                    <a:lnTo>
                      <a:pt x="529" y="329"/>
                    </a:lnTo>
                    <a:lnTo>
                      <a:pt x="536" y="339"/>
                    </a:lnTo>
                    <a:lnTo>
                      <a:pt x="543" y="350"/>
                    </a:lnTo>
                    <a:lnTo>
                      <a:pt x="550" y="362"/>
                    </a:lnTo>
                    <a:lnTo>
                      <a:pt x="556" y="375"/>
                    </a:lnTo>
                    <a:lnTo>
                      <a:pt x="562" y="388"/>
                    </a:lnTo>
                    <a:lnTo>
                      <a:pt x="567" y="401"/>
                    </a:lnTo>
                    <a:lnTo>
                      <a:pt x="567" y="401"/>
                    </a:lnTo>
                    <a:lnTo>
                      <a:pt x="571" y="414"/>
                    </a:lnTo>
                    <a:lnTo>
                      <a:pt x="575" y="429"/>
                    </a:lnTo>
                    <a:lnTo>
                      <a:pt x="578" y="443"/>
                    </a:lnTo>
                    <a:lnTo>
                      <a:pt x="581" y="457"/>
                    </a:lnTo>
                    <a:lnTo>
                      <a:pt x="583" y="472"/>
                    </a:lnTo>
                    <a:lnTo>
                      <a:pt x="584" y="487"/>
                    </a:lnTo>
                    <a:lnTo>
                      <a:pt x="585" y="519"/>
                    </a:lnTo>
                    <a:lnTo>
                      <a:pt x="585" y="519"/>
                    </a:lnTo>
                    <a:lnTo>
                      <a:pt x="584" y="549"/>
                    </a:lnTo>
                    <a:lnTo>
                      <a:pt x="582" y="577"/>
                    </a:lnTo>
                    <a:lnTo>
                      <a:pt x="582" y="577"/>
                    </a:lnTo>
                    <a:lnTo>
                      <a:pt x="577" y="621"/>
                    </a:lnTo>
                    <a:lnTo>
                      <a:pt x="206" y="621"/>
                    </a:lnTo>
                    <a:close/>
                    <a:moveTo>
                      <a:pt x="304" y="381"/>
                    </a:moveTo>
                    <a:lnTo>
                      <a:pt x="304" y="381"/>
                    </a:lnTo>
                    <a:lnTo>
                      <a:pt x="294" y="381"/>
                    </a:lnTo>
                    <a:lnTo>
                      <a:pt x="285" y="382"/>
                    </a:lnTo>
                    <a:lnTo>
                      <a:pt x="277" y="384"/>
                    </a:lnTo>
                    <a:lnTo>
                      <a:pt x="267" y="387"/>
                    </a:lnTo>
                    <a:lnTo>
                      <a:pt x="259" y="390"/>
                    </a:lnTo>
                    <a:lnTo>
                      <a:pt x="252" y="394"/>
                    </a:lnTo>
                    <a:lnTo>
                      <a:pt x="244" y="399"/>
                    </a:lnTo>
                    <a:lnTo>
                      <a:pt x="237" y="405"/>
                    </a:lnTo>
                    <a:lnTo>
                      <a:pt x="237" y="405"/>
                    </a:lnTo>
                    <a:lnTo>
                      <a:pt x="231" y="411"/>
                    </a:lnTo>
                    <a:lnTo>
                      <a:pt x="225" y="418"/>
                    </a:lnTo>
                    <a:lnTo>
                      <a:pt x="219" y="427"/>
                    </a:lnTo>
                    <a:lnTo>
                      <a:pt x="214" y="436"/>
                    </a:lnTo>
                    <a:lnTo>
                      <a:pt x="211" y="446"/>
                    </a:lnTo>
                    <a:lnTo>
                      <a:pt x="208" y="456"/>
                    </a:lnTo>
                    <a:lnTo>
                      <a:pt x="206" y="469"/>
                    </a:lnTo>
                    <a:lnTo>
                      <a:pt x="204" y="481"/>
                    </a:lnTo>
                    <a:lnTo>
                      <a:pt x="399" y="481"/>
                    </a:lnTo>
                    <a:lnTo>
                      <a:pt x="399" y="481"/>
                    </a:lnTo>
                    <a:lnTo>
                      <a:pt x="398" y="470"/>
                    </a:lnTo>
                    <a:lnTo>
                      <a:pt x="396" y="460"/>
                    </a:lnTo>
                    <a:lnTo>
                      <a:pt x="394" y="450"/>
                    </a:lnTo>
                    <a:lnTo>
                      <a:pt x="391" y="441"/>
                    </a:lnTo>
                    <a:lnTo>
                      <a:pt x="388" y="433"/>
                    </a:lnTo>
                    <a:lnTo>
                      <a:pt x="383" y="425"/>
                    </a:lnTo>
                    <a:lnTo>
                      <a:pt x="379" y="416"/>
                    </a:lnTo>
                    <a:lnTo>
                      <a:pt x="373" y="409"/>
                    </a:lnTo>
                    <a:lnTo>
                      <a:pt x="373" y="409"/>
                    </a:lnTo>
                    <a:lnTo>
                      <a:pt x="367" y="402"/>
                    </a:lnTo>
                    <a:lnTo>
                      <a:pt x="359" y="397"/>
                    </a:lnTo>
                    <a:lnTo>
                      <a:pt x="352" y="392"/>
                    </a:lnTo>
                    <a:lnTo>
                      <a:pt x="344" y="388"/>
                    </a:lnTo>
                    <a:lnTo>
                      <a:pt x="335" y="385"/>
                    </a:lnTo>
                    <a:lnTo>
                      <a:pt x="326" y="383"/>
                    </a:lnTo>
                    <a:lnTo>
                      <a:pt x="314" y="381"/>
                    </a:lnTo>
                    <a:lnTo>
                      <a:pt x="304" y="381"/>
                    </a:lnTo>
                    <a:lnTo>
                      <a:pt x="304" y="381"/>
                    </a:lnTo>
                    <a:close/>
                    <a:moveTo>
                      <a:pt x="578" y="7"/>
                    </a:moveTo>
                    <a:lnTo>
                      <a:pt x="578" y="7"/>
                    </a:lnTo>
                    <a:lnTo>
                      <a:pt x="555" y="4"/>
                    </a:lnTo>
                    <a:lnTo>
                      <a:pt x="526" y="2"/>
                    </a:lnTo>
                    <a:lnTo>
                      <a:pt x="526" y="2"/>
                    </a:lnTo>
                    <a:lnTo>
                      <a:pt x="496" y="0"/>
                    </a:lnTo>
                    <a:lnTo>
                      <a:pt x="465" y="0"/>
                    </a:lnTo>
                    <a:lnTo>
                      <a:pt x="465" y="0"/>
                    </a:lnTo>
                    <a:lnTo>
                      <a:pt x="434" y="0"/>
                    </a:lnTo>
                    <a:lnTo>
                      <a:pt x="404" y="2"/>
                    </a:lnTo>
                    <a:lnTo>
                      <a:pt x="378" y="4"/>
                    </a:lnTo>
                    <a:lnTo>
                      <a:pt x="352" y="7"/>
                    </a:lnTo>
                    <a:lnTo>
                      <a:pt x="222" y="157"/>
                    </a:lnTo>
                    <a:lnTo>
                      <a:pt x="222" y="157"/>
                    </a:lnTo>
                    <a:lnTo>
                      <a:pt x="244" y="160"/>
                    </a:lnTo>
                    <a:lnTo>
                      <a:pt x="265" y="162"/>
                    </a:lnTo>
                    <a:lnTo>
                      <a:pt x="265" y="162"/>
                    </a:lnTo>
                    <a:lnTo>
                      <a:pt x="288" y="163"/>
                    </a:lnTo>
                    <a:lnTo>
                      <a:pt x="311" y="164"/>
                    </a:lnTo>
                    <a:lnTo>
                      <a:pt x="311" y="164"/>
                    </a:lnTo>
                    <a:lnTo>
                      <a:pt x="337" y="163"/>
                    </a:lnTo>
                    <a:lnTo>
                      <a:pt x="359" y="162"/>
                    </a:lnTo>
                    <a:lnTo>
                      <a:pt x="381" y="160"/>
                    </a:lnTo>
                    <a:lnTo>
                      <a:pt x="400" y="157"/>
                    </a:lnTo>
                    <a:lnTo>
                      <a:pt x="57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2971" name="Group 2970"/>
          <p:cNvGrpSpPr/>
          <p:nvPr/>
        </p:nvGrpSpPr>
        <p:grpSpPr>
          <a:xfrm>
            <a:off x="9240926" y="4665669"/>
            <a:ext cx="565466" cy="926260"/>
            <a:chOff x="9276662" y="4665669"/>
            <a:chExt cx="565466" cy="926260"/>
          </a:xfrm>
        </p:grpSpPr>
        <p:sp>
          <p:nvSpPr>
            <p:cNvPr id="22" name="Freeform 6"/>
            <p:cNvSpPr>
              <a:spLocks/>
            </p:cNvSpPr>
            <p:nvPr/>
          </p:nvSpPr>
          <p:spPr bwMode="auto">
            <a:xfrm>
              <a:off x="9276662" y="4665669"/>
              <a:ext cx="565466" cy="59039"/>
            </a:xfrm>
            <a:custGeom>
              <a:avLst/>
              <a:gdLst>
                <a:gd name="T0" fmla="*/ 0 w 3451"/>
                <a:gd name="T1" fmla="*/ 136 h 355"/>
                <a:gd name="T2" fmla="*/ 808 w 3451"/>
                <a:gd name="T3" fmla="*/ 355 h 355"/>
                <a:gd name="T4" fmla="*/ 3451 w 3451"/>
                <a:gd name="T5" fmla="*/ 206 h 355"/>
                <a:gd name="T6" fmla="*/ 2644 w 3451"/>
                <a:gd name="T7" fmla="*/ 0 h 355"/>
                <a:gd name="T8" fmla="*/ 0 w 3451"/>
                <a:gd name="T9" fmla="*/ 136 h 355"/>
              </a:gdLst>
              <a:ahLst/>
              <a:cxnLst>
                <a:cxn ang="0">
                  <a:pos x="T0" y="T1"/>
                </a:cxn>
                <a:cxn ang="0">
                  <a:pos x="T2" y="T3"/>
                </a:cxn>
                <a:cxn ang="0">
                  <a:pos x="T4" y="T5"/>
                </a:cxn>
                <a:cxn ang="0">
                  <a:pos x="T6" y="T7"/>
                </a:cxn>
                <a:cxn ang="0">
                  <a:pos x="T8" y="T9"/>
                </a:cxn>
              </a:cxnLst>
              <a:rect l="0" t="0" r="r" b="b"/>
              <a:pathLst>
                <a:path w="3451" h="355">
                  <a:moveTo>
                    <a:pt x="0" y="136"/>
                  </a:moveTo>
                  <a:lnTo>
                    <a:pt x="808" y="355"/>
                  </a:lnTo>
                  <a:lnTo>
                    <a:pt x="3451" y="206"/>
                  </a:lnTo>
                  <a:lnTo>
                    <a:pt x="2644" y="0"/>
                  </a:lnTo>
                  <a:lnTo>
                    <a:pt x="0" y="13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83" name="Freeform 7"/>
            <p:cNvSpPr>
              <a:spLocks/>
            </p:cNvSpPr>
            <p:nvPr/>
          </p:nvSpPr>
          <p:spPr bwMode="auto">
            <a:xfrm>
              <a:off x="9276662" y="4687973"/>
              <a:ext cx="132511" cy="903956"/>
            </a:xfrm>
            <a:custGeom>
              <a:avLst/>
              <a:gdLst>
                <a:gd name="T0" fmla="*/ 0 w 808"/>
                <a:gd name="T1" fmla="*/ 0 h 5507"/>
                <a:gd name="T2" fmla="*/ 808 w 808"/>
                <a:gd name="T3" fmla="*/ 219 h 5507"/>
                <a:gd name="T4" fmla="*/ 808 w 808"/>
                <a:gd name="T5" fmla="*/ 5507 h 5507"/>
                <a:gd name="T6" fmla="*/ 0 w 808"/>
                <a:gd name="T7" fmla="*/ 5301 h 5507"/>
                <a:gd name="T8" fmla="*/ 0 w 808"/>
                <a:gd name="T9" fmla="*/ 0 h 5507"/>
              </a:gdLst>
              <a:ahLst/>
              <a:cxnLst>
                <a:cxn ang="0">
                  <a:pos x="T0" y="T1"/>
                </a:cxn>
                <a:cxn ang="0">
                  <a:pos x="T2" y="T3"/>
                </a:cxn>
                <a:cxn ang="0">
                  <a:pos x="T4" y="T5"/>
                </a:cxn>
                <a:cxn ang="0">
                  <a:pos x="T6" y="T7"/>
                </a:cxn>
                <a:cxn ang="0">
                  <a:pos x="T8" y="T9"/>
                </a:cxn>
              </a:cxnLst>
              <a:rect l="0" t="0" r="r" b="b"/>
              <a:pathLst>
                <a:path w="808" h="5507">
                  <a:moveTo>
                    <a:pt x="0" y="0"/>
                  </a:moveTo>
                  <a:lnTo>
                    <a:pt x="808" y="219"/>
                  </a:lnTo>
                  <a:lnTo>
                    <a:pt x="808" y="5507"/>
                  </a:lnTo>
                  <a:lnTo>
                    <a:pt x="0" y="5301"/>
                  </a:lnTo>
                  <a:lnTo>
                    <a:pt x="0"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84" name="Freeform 8"/>
            <p:cNvSpPr>
              <a:spLocks/>
            </p:cNvSpPr>
            <p:nvPr/>
          </p:nvSpPr>
          <p:spPr bwMode="auto">
            <a:xfrm>
              <a:off x="9409173" y="4699781"/>
              <a:ext cx="432955" cy="892148"/>
            </a:xfrm>
            <a:custGeom>
              <a:avLst/>
              <a:gdLst>
                <a:gd name="T0" fmla="*/ 2643 w 2643"/>
                <a:gd name="T1" fmla="*/ 0 h 5437"/>
                <a:gd name="T2" fmla="*/ 0 w 2643"/>
                <a:gd name="T3" fmla="*/ 149 h 5437"/>
                <a:gd name="T4" fmla="*/ 0 w 2643"/>
                <a:gd name="T5" fmla="*/ 5437 h 5437"/>
                <a:gd name="T6" fmla="*/ 2643 w 2643"/>
                <a:gd name="T7" fmla="*/ 5301 h 5437"/>
                <a:gd name="T8" fmla="*/ 2643 w 2643"/>
                <a:gd name="T9" fmla="*/ 0 h 5437"/>
              </a:gdLst>
              <a:ahLst/>
              <a:cxnLst>
                <a:cxn ang="0">
                  <a:pos x="T0" y="T1"/>
                </a:cxn>
                <a:cxn ang="0">
                  <a:pos x="T2" y="T3"/>
                </a:cxn>
                <a:cxn ang="0">
                  <a:pos x="T4" y="T5"/>
                </a:cxn>
                <a:cxn ang="0">
                  <a:pos x="T6" y="T7"/>
                </a:cxn>
                <a:cxn ang="0">
                  <a:pos x="T8" y="T9"/>
                </a:cxn>
              </a:cxnLst>
              <a:rect l="0" t="0" r="r" b="b"/>
              <a:pathLst>
                <a:path w="2643" h="5437">
                  <a:moveTo>
                    <a:pt x="2643" y="0"/>
                  </a:moveTo>
                  <a:lnTo>
                    <a:pt x="0" y="149"/>
                  </a:lnTo>
                  <a:lnTo>
                    <a:pt x="0" y="5437"/>
                  </a:lnTo>
                  <a:lnTo>
                    <a:pt x="2643" y="5301"/>
                  </a:lnTo>
                  <a:lnTo>
                    <a:pt x="2643"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86" name="Freeform 9"/>
            <p:cNvSpPr>
              <a:spLocks/>
            </p:cNvSpPr>
            <p:nvPr/>
          </p:nvSpPr>
          <p:spPr bwMode="auto">
            <a:xfrm>
              <a:off x="9409173" y="5241630"/>
              <a:ext cx="432955" cy="72159"/>
            </a:xfrm>
            <a:custGeom>
              <a:avLst/>
              <a:gdLst>
                <a:gd name="T0" fmla="*/ 2643 w 2643"/>
                <a:gd name="T1" fmla="*/ 0 h 223"/>
                <a:gd name="T2" fmla="*/ 0 w 2643"/>
                <a:gd name="T3" fmla="*/ 151 h 223"/>
                <a:gd name="T4" fmla="*/ 0 w 2643"/>
                <a:gd name="T5" fmla="*/ 223 h 223"/>
                <a:gd name="T6" fmla="*/ 2643 w 2643"/>
                <a:gd name="T7" fmla="*/ 88 h 223"/>
                <a:gd name="T8" fmla="*/ 2643 w 2643"/>
                <a:gd name="T9" fmla="*/ 0 h 223"/>
              </a:gdLst>
              <a:ahLst/>
              <a:cxnLst>
                <a:cxn ang="0">
                  <a:pos x="T0" y="T1"/>
                </a:cxn>
                <a:cxn ang="0">
                  <a:pos x="T2" y="T3"/>
                </a:cxn>
                <a:cxn ang="0">
                  <a:pos x="T4" y="T5"/>
                </a:cxn>
                <a:cxn ang="0">
                  <a:pos x="T6" y="T7"/>
                </a:cxn>
                <a:cxn ang="0">
                  <a:pos x="T8" y="T9"/>
                </a:cxn>
              </a:cxnLst>
              <a:rect l="0" t="0" r="r" b="b"/>
              <a:pathLst>
                <a:path w="2643" h="223">
                  <a:moveTo>
                    <a:pt x="2643" y="0"/>
                  </a:moveTo>
                  <a:lnTo>
                    <a:pt x="0" y="151"/>
                  </a:lnTo>
                  <a:lnTo>
                    <a:pt x="0" y="223"/>
                  </a:lnTo>
                  <a:lnTo>
                    <a:pt x="2643" y="88"/>
                  </a:lnTo>
                  <a:lnTo>
                    <a:pt x="2643" y="0"/>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93" name="Freeform 14"/>
            <p:cNvSpPr>
              <a:spLocks/>
            </p:cNvSpPr>
            <p:nvPr/>
          </p:nvSpPr>
          <p:spPr bwMode="auto">
            <a:xfrm>
              <a:off x="9619090" y="4716836"/>
              <a:ext cx="13120" cy="548409"/>
            </a:xfrm>
            <a:custGeom>
              <a:avLst/>
              <a:gdLst>
                <a:gd name="T0" fmla="*/ 0 w 83"/>
                <a:gd name="T1" fmla="*/ 3603 h 3603"/>
                <a:gd name="T2" fmla="*/ 83 w 83"/>
                <a:gd name="T3" fmla="*/ 3599 h 3603"/>
                <a:gd name="T4" fmla="*/ 83 w 83"/>
                <a:gd name="T5" fmla="*/ 0 h 3603"/>
                <a:gd name="T6" fmla="*/ 0 w 83"/>
                <a:gd name="T7" fmla="*/ 5 h 3603"/>
                <a:gd name="T8" fmla="*/ 0 w 83"/>
                <a:gd name="T9" fmla="*/ 3603 h 3603"/>
              </a:gdLst>
              <a:ahLst/>
              <a:cxnLst>
                <a:cxn ang="0">
                  <a:pos x="T0" y="T1"/>
                </a:cxn>
                <a:cxn ang="0">
                  <a:pos x="T2" y="T3"/>
                </a:cxn>
                <a:cxn ang="0">
                  <a:pos x="T4" y="T5"/>
                </a:cxn>
                <a:cxn ang="0">
                  <a:pos x="T6" y="T7"/>
                </a:cxn>
                <a:cxn ang="0">
                  <a:pos x="T8" y="T9"/>
                </a:cxn>
              </a:cxnLst>
              <a:rect l="0" t="0" r="r" b="b"/>
              <a:pathLst>
                <a:path w="83" h="3603">
                  <a:moveTo>
                    <a:pt x="0" y="3603"/>
                  </a:moveTo>
                  <a:lnTo>
                    <a:pt x="83" y="3599"/>
                  </a:lnTo>
                  <a:lnTo>
                    <a:pt x="83" y="0"/>
                  </a:lnTo>
                  <a:lnTo>
                    <a:pt x="0" y="5"/>
                  </a:lnTo>
                  <a:lnTo>
                    <a:pt x="0" y="360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94" name="Freeform 15"/>
            <p:cNvSpPr>
              <a:spLocks/>
            </p:cNvSpPr>
            <p:nvPr/>
          </p:nvSpPr>
          <p:spPr bwMode="auto">
            <a:xfrm>
              <a:off x="9574483" y="4891330"/>
              <a:ext cx="18368" cy="254525"/>
            </a:xfrm>
            <a:custGeom>
              <a:avLst/>
              <a:gdLst>
                <a:gd name="T0" fmla="*/ 115 w 115"/>
                <a:gd name="T1" fmla="*/ 58 h 1550"/>
                <a:gd name="T2" fmla="*/ 115 w 115"/>
                <a:gd name="T3" fmla="*/ 58 h 1550"/>
                <a:gd name="T4" fmla="*/ 114 w 115"/>
                <a:gd name="T5" fmla="*/ 46 h 1550"/>
                <a:gd name="T6" fmla="*/ 111 w 115"/>
                <a:gd name="T7" fmla="*/ 35 h 1550"/>
                <a:gd name="T8" fmla="*/ 106 w 115"/>
                <a:gd name="T9" fmla="*/ 25 h 1550"/>
                <a:gd name="T10" fmla="*/ 98 w 115"/>
                <a:gd name="T11" fmla="*/ 17 h 1550"/>
                <a:gd name="T12" fmla="*/ 90 w 115"/>
                <a:gd name="T13" fmla="*/ 9 h 1550"/>
                <a:gd name="T14" fmla="*/ 80 w 115"/>
                <a:gd name="T15" fmla="*/ 4 h 1550"/>
                <a:gd name="T16" fmla="*/ 69 w 115"/>
                <a:gd name="T17" fmla="*/ 1 h 1550"/>
                <a:gd name="T18" fmla="*/ 57 w 115"/>
                <a:gd name="T19" fmla="*/ 0 h 1550"/>
                <a:gd name="T20" fmla="*/ 57 w 115"/>
                <a:gd name="T21" fmla="*/ 0 h 1550"/>
                <a:gd name="T22" fmla="*/ 57 w 115"/>
                <a:gd name="T23" fmla="*/ 0 h 1550"/>
                <a:gd name="T24" fmla="*/ 46 w 115"/>
                <a:gd name="T25" fmla="*/ 1 h 1550"/>
                <a:gd name="T26" fmla="*/ 35 w 115"/>
                <a:gd name="T27" fmla="*/ 4 h 1550"/>
                <a:gd name="T28" fmla="*/ 25 w 115"/>
                <a:gd name="T29" fmla="*/ 9 h 1550"/>
                <a:gd name="T30" fmla="*/ 16 w 115"/>
                <a:gd name="T31" fmla="*/ 17 h 1550"/>
                <a:gd name="T32" fmla="*/ 10 w 115"/>
                <a:gd name="T33" fmla="*/ 25 h 1550"/>
                <a:gd name="T34" fmla="*/ 5 w 115"/>
                <a:gd name="T35" fmla="*/ 35 h 1550"/>
                <a:gd name="T36" fmla="*/ 1 w 115"/>
                <a:gd name="T37" fmla="*/ 46 h 1550"/>
                <a:gd name="T38" fmla="*/ 0 w 115"/>
                <a:gd name="T39" fmla="*/ 58 h 1550"/>
                <a:gd name="T40" fmla="*/ 0 w 115"/>
                <a:gd name="T41" fmla="*/ 1492 h 1550"/>
                <a:gd name="T42" fmla="*/ 0 w 115"/>
                <a:gd name="T43" fmla="*/ 1492 h 1550"/>
                <a:gd name="T44" fmla="*/ 1 w 115"/>
                <a:gd name="T45" fmla="*/ 1504 h 1550"/>
                <a:gd name="T46" fmla="*/ 5 w 115"/>
                <a:gd name="T47" fmla="*/ 1515 h 1550"/>
                <a:gd name="T48" fmla="*/ 10 w 115"/>
                <a:gd name="T49" fmla="*/ 1525 h 1550"/>
                <a:gd name="T50" fmla="*/ 16 w 115"/>
                <a:gd name="T51" fmla="*/ 1533 h 1550"/>
                <a:gd name="T52" fmla="*/ 25 w 115"/>
                <a:gd name="T53" fmla="*/ 1541 h 1550"/>
                <a:gd name="T54" fmla="*/ 35 w 115"/>
                <a:gd name="T55" fmla="*/ 1546 h 1550"/>
                <a:gd name="T56" fmla="*/ 46 w 115"/>
                <a:gd name="T57" fmla="*/ 1549 h 1550"/>
                <a:gd name="T58" fmla="*/ 57 w 115"/>
                <a:gd name="T59" fmla="*/ 1550 h 1550"/>
                <a:gd name="T60" fmla="*/ 57 w 115"/>
                <a:gd name="T61" fmla="*/ 1550 h 1550"/>
                <a:gd name="T62" fmla="*/ 57 w 115"/>
                <a:gd name="T63" fmla="*/ 1550 h 1550"/>
                <a:gd name="T64" fmla="*/ 69 w 115"/>
                <a:gd name="T65" fmla="*/ 1549 h 1550"/>
                <a:gd name="T66" fmla="*/ 80 w 115"/>
                <a:gd name="T67" fmla="*/ 1546 h 1550"/>
                <a:gd name="T68" fmla="*/ 90 w 115"/>
                <a:gd name="T69" fmla="*/ 1541 h 1550"/>
                <a:gd name="T70" fmla="*/ 98 w 115"/>
                <a:gd name="T71" fmla="*/ 1533 h 1550"/>
                <a:gd name="T72" fmla="*/ 106 w 115"/>
                <a:gd name="T73" fmla="*/ 1525 h 1550"/>
                <a:gd name="T74" fmla="*/ 111 w 115"/>
                <a:gd name="T75" fmla="*/ 1515 h 1550"/>
                <a:gd name="T76" fmla="*/ 114 w 115"/>
                <a:gd name="T77" fmla="*/ 1504 h 1550"/>
                <a:gd name="T78" fmla="*/ 115 w 115"/>
                <a:gd name="T79" fmla="*/ 1492 h 1550"/>
                <a:gd name="T80" fmla="*/ 115 w 115"/>
                <a:gd name="T81" fmla="*/ 5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5" h="1550">
                  <a:moveTo>
                    <a:pt x="115" y="58"/>
                  </a:moveTo>
                  <a:lnTo>
                    <a:pt x="115" y="58"/>
                  </a:lnTo>
                  <a:lnTo>
                    <a:pt x="114" y="46"/>
                  </a:lnTo>
                  <a:lnTo>
                    <a:pt x="111" y="35"/>
                  </a:lnTo>
                  <a:lnTo>
                    <a:pt x="106" y="25"/>
                  </a:lnTo>
                  <a:lnTo>
                    <a:pt x="98" y="17"/>
                  </a:lnTo>
                  <a:lnTo>
                    <a:pt x="90" y="9"/>
                  </a:lnTo>
                  <a:lnTo>
                    <a:pt x="80" y="4"/>
                  </a:lnTo>
                  <a:lnTo>
                    <a:pt x="69" y="1"/>
                  </a:lnTo>
                  <a:lnTo>
                    <a:pt x="57" y="0"/>
                  </a:lnTo>
                  <a:lnTo>
                    <a:pt x="57" y="0"/>
                  </a:lnTo>
                  <a:lnTo>
                    <a:pt x="57" y="0"/>
                  </a:lnTo>
                  <a:lnTo>
                    <a:pt x="46" y="1"/>
                  </a:lnTo>
                  <a:lnTo>
                    <a:pt x="35" y="4"/>
                  </a:lnTo>
                  <a:lnTo>
                    <a:pt x="25" y="9"/>
                  </a:lnTo>
                  <a:lnTo>
                    <a:pt x="16" y="17"/>
                  </a:lnTo>
                  <a:lnTo>
                    <a:pt x="10" y="25"/>
                  </a:lnTo>
                  <a:lnTo>
                    <a:pt x="5" y="35"/>
                  </a:lnTo>
                  <a:lnTo>
                    <a:pt x="1" y="46"/>
                  </a:lnTo>
                  <a:lnTo>
                    <a:pt x="0" y="58"/>
                  </a:lnTo>
                  <a:lnTo>
                    <a:pt x="0" y="1492"/>
                  </a:lnTo>
                  <a:lnTo>
                    <a:pt x="0" y="1492"/>
                  </a:lnTo>
                  <a:lnTo>
                    <a:pt x="1" y="1504"/>
                  </a:lnTo>
                  <a:lnTo>
                    <a:pt x="5" y="1515"/>
                  </a:lnTo>
                  <a:lnTo>
                    <a:pt x="10" y="1525"/>
                  </a:lnTo>
                  <a:lnTo>
                    <a:pt x="16" y="1533"/>
                  </a:lnTo>
                  <a:lnTo>
                    <a:pt x="25" y="1541"/>
                  </a:lnTo>
                  <a:lnTo>
                    <a:pt x="35" y="1546"/>
                  </a:lnTo>
                  <a:lnTo>
                    <a:pt x="46" y="1549"/>
                  </a:lnTo>
                  <a:lnTo>
                    <a:pt x="57" y="1550"/>
                  </a:lnTo>
                  <a:lnTo>
                    <a:pt x="57" y="1550"/>
                  </a:lnTo>
                  <a:lnTo>
                    <a:pt x="57" y="1550"/>
                  </a:lnTo>
                  <a:lnTo>
                    <a:pt x="69" y="1549"/>
                  </a:lnTo>
                  <a:lnTo>
                    <a:pt x="80" y="1546"/>
                  </a:lnTo>
                  <a:lnTo>
                    <a:pt x="90" y="1541"/>
                  </a:lnTo>
                  <a:lnTo>
                    <a:pt x="98" y="1533"/>
                  </a:lnTo>
                  <a:lnTo>
                    <a:pt x="106" y="1525"/>
                  </a:lnTo>
                  <a:lnTo>
                    <a:pt x="111" y="1515"/>
                  </a:lnTo>
                  <a:lnTo>
                    <a:pt x="114" y="1504"/>
                  </a:lnTo>
                  <a:lnTo>
                    <a:pt x="115" y="1492"/>
                  </a:lnTo>
                  <a:lnTo>
                    <a:pt x="115" y="58"/>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97" name="Freeform 16"/>
            <p:cNvSpPr>
              <a:spLocks/>
            </p:cNvSpPr>
            <p:nvPr/>
          </p:nvSpPr>
          <p:spPr bwMode="auto">
            <a:xfrm>
              <a:off x="9657138" y="4886082"/>
              <a:ext cx="18368" cy="253213"/>
            </a:xfrm>
            <a:custGeom>
              <a:avLst/>
              <a:gdLst>
                <a:gd name="T0" fmla="*/ 115 w 115"/>
                <a:gd name="T1" fmla="*/ 57 h 1550"/>
                <a:gd name="T2" fmla="*/ 115 w 115"/>
                <a:gd name="T3" fmla="*/ 57 h 1550"/>
                <a:gd name="T4" fmla="*/ 114 w 115"/>
                <a:gd name="T5" fmla="*/ 45 h 1550"/>
                <a:gd name="T6" fmla="*/ 111 w 115"/>
                <a:gd name="T7" fmla="*/ 34 h 1550"/>
                <a:gd name="T8" fmla="*/ 105 w 115"/>
                <a:gd name="T9" fmla="*/ 25 h 1550"/>
                <a:gd name="T10" fmla="*/ 98 w 115"/>
                <a:gd name="T11" fmla="*/ 16 h 1550"/>
                <a:gd name="T12" fmla="*/ 89 w 115"/>
                <a:gd name="T13" fmla="*/ 10 h 1550"/>
                <a:gd name="T14" fmla="*/ 80 w 115"/>
                <a:gd name="T15" fmla="*/ 4 h 1550"/>
                <a:gd name="T16" fmla="*/ 69 w 115"/>
                <a:gd name="T17" fmla="*/ 1 h 1550"/>
                <a:gd name="T18" fmla="*/ 57 w 115"/>
                <a:gd name="T19" fmla="*/ 0 h 1550"/>
                <a:gd name="T20" fmla="*/ 57 w 115"/>
                <a:gd name="T21" fmla="*/ 0 h 1550"/>
                <a:gd name="T22" fmla="*/ 57 w 115"/>
                <a:gd name="T23" fmla="*/ 0 h 1550"/>
                <a:gd name="T24" fmla="*/ 45 w 115"/>
                <a:gd name="T25" fmla="*/ 1 h 1550"/>
                <a:gd name="T26" fmla="*/ 34 w 115"/>
                <a:gd name="T27" fmla="*/ 4 h 1550"/>
                <a:gd name="T28" fmla="*/ 25 w 115"/>
                <a:gd name="T29" fmla="*/ 10 h 1550"/>
                <a:gd name="T30" fmla="*/ 16 w 115"/>
                <a:gd name="T31" fmla="*/ 16 h 1550"/>
                <a:gd name="T32" fmla="*/ 10 w 115"/>
                <a:gd name="T33" fmla="*/ 25 h 1550"/>
                <a:gd name="T34" fmla="*/ 4 w 115"/>
                <a:gd name="T35" fmla="*/ 34 h 1550"/>
                <a:gd name="T36" fmla="*/ 1 w 115"/>
                <a:gd name="T37" fmla="*/ 45 h 1550"/>
                <a:gd name="T38" fmla="*/ 0 w 115"/>
                <a:gd name="T39" fmla="*/ 57 h 1550"/>
                <a:gd name="T40" fmla="*/ 0 w 115"/>
                <a:gd name="T41" fmla="*/ 1493 h 1550"/>
                <a:gd name="T42" fmla="*/ 0 w 115"/>
                <a:gd name="T43" fmla="*/ 1493 h 1550"/>
                <a:gd name="T44" fmla="*/ 1 w 115"/>
                <a:gd name="T45" fmla="*/ 1505 h 1550"/>
                <a:gd name="T46" fmla="*/ 4 w 115"/>
                <a:gd name="T47" fmla="*/ 1515 h 1550"/>
                <a:gd name="T48" fmla="*/ 10 w 115"/>
                <a:gd name="T49" fmla="*/ 1525 h 1550"/>
                <a:gd name="T50" fmla="*/ 16 w 115"/>
                <a:gd name="T51" fmla="*/ 1534 h 1550"/>
                <a:gd name="T52" fmla="*/ 25 w 115"/>
                <a:gd name="T53" fmla="*/ 1540 h 1550"/>
                <a:gd name="T54" fmla="*/ 34 w 115"/>
                <a:gd name="T55" fmla="*/ 1545 h 1550"/>
                <a:gd name="T56" fmla="*/ 45 w 115"/>
                <a:gd name="T57" fmla="*/ 1549 h 1550"/>
                <a:gd name="T58" fmla="*/ 57 w 115"/>
                <a:gd name="T59" fmla="*/ 1550 h 1550"/>
                <a:gd name="T60" fmla="*/ 57 w 115"/>
                <a:gd name="T61" fmla="*/ 1550 h 1550"/>
                <a:gd name="T62" fmla="*/ 57 w 115"/>
                <a:gd name="T63" fmla="*/ 1550 h 1550"/>
                <a:gd name="T64" fmla="*/ 69 w 115"/>
                <a:gd name="T65" fmla="*/ 1549 h 1550"/>
                <a:gd name="T66" fmla="*/ 80 w 115"/>
                <a:gd name="T67" fmla="*/ 1545 h 1550"/>
                <a:gd name="T68" fmla="*/ 89 w 115"/>
                <a:gd name="T69" fmla="*/ 1540 h 1550"/>
                <a:gd name="T70" fmla="*/ 98 w 115"/>
                <a:gd name="T71" fmla="*/ 1534 h 1550"/>
                <a:gd name="T72" fmla="*/ 105 w 115"/>
                <a:gd name="T73" fmla="*/ 1525 h 1550"/>
                <a:gd name="T74" fmla="*/ 111 w 115"/>
                <a:gd name="T75" fmla="*/ 1515 h 1550"/>
                <a:gd name="T76" fmla="*/ 114 w 115"/>
                <a:gd name="T77" fmla="*/ 1505 h 1550"/>
                <a:gd name="T78" fmla="*/ 115 w 115"/>
                <a:gd name="T79" fmla="*/ 1493 h 1550"/>
                <a:gd name="T80" fmla="*/ 115 w 115"/>
                <a:gd name="T81" fmla="*/ 57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5" h="1550">
                  <a:moveTo>
                    <a:pt x="115" y="57"/>
                  </a:moveTo>
                  <a:lnTo>
                    <a:pt x="115" y="57"/>
                  </a:lnTo>
                  <a:lnTo>
                    <a:pt x="114" y="45"/>
                  </a:lnTo>
                  <a:lnTo>
                    <a:pt x="111" y="34"/>
                  </a:lnTo>
                  <a:lnTo>
                    <a:pt x="105" y="25"/>
                  </a:lnTo>
                  <a:lnTo>
                    <a:pt x="98" y="16"/>
                  </a:lnTo>
                  <a:lnTo>
                    <a:pt x="89" y="10"/>
                  </a:lnTo>
                  <a:lnTo>
                    <a:pt x="80" y="4"/>
                  </a:lnTo>
                  <a:lnTo>
                    <a:pt x="69" y="1"/>
                  </a:lnTo>
                  <a:lnTo>
                    <a:pt x="57" y="0"/>
                  </a:lnTo>
                  <a:lnTo>
                    <a:pt x="57" y="0"/>
                  </a:lnTo>
                  <a:lnTo>
                    <a:pt x="57" y="0"/>
                  </a:lnTo>
                  <a:lnTo>
                    <a:pt x="45" y="1"/>
                  </a:lnTo>
                  <a:lnTo>
                    <a:pt x="34" y="4"/>
                  </a:lnTo>
                  <a:lnTo>
                    <a:pt x="25" y="10"/>
                  </a:lnTo>
                  <a:lnTo>
                    <a:pt x="16" y="16"/>
                  </a:lnTo>
                  <a:lnTo>
                    <a:pt x="10" y="25"/>
                  </a:lnTo>
                  <a:lnTo>
                    <a:pt x="4" y="34"/>
                  </a:lnTo>
                  <a:lnTo>
                    <a:pt x="1" y="45"/>
                  </a:lnTo>
                  <a:lnTo>
                    <a:pt x="0" y="57"/>
                  </a:lnTo>
                  <a:lnTo>
                    <a:pt x="0" y="1493"/>
                  </a:lnTo>
                  <a:lnTo>
                    <a:pt x="0" y="1493"/>
                  </a:lnTo>
                  <a:lnTo>
                    <a:pt x="1" y="1505"/>
                  </a:lnTo>
                  <a:lnTo>
                    <a:pt x="4" y="1515"/>
                  </a:lnTo>
                  <a:lnTo>
                    <a:pt x="10" y="1525"/>
                  </a:lnTo>
                  <a:lnTo>
                    <a:pt x="16" y="1534"/>
                  </a:lnTo>
                  <a:lnTo>
                    <a:pt x="25" y="1540"/>
                  </a:lnTo>
                  <a:lnTo>
                    <a:pt x="34" y="1545"/>
                  </a:lnTo>
                  <a:lnTo>
                    <a:pt x="45" y="1549"/>
                  </a:lnTo>
                  <a:lnTo>
                    <a:pt x="57" y="1550"/>
                  </a:lnTo>
                  <a:lnTo>
                    <a:pt x="57" y="1550"/>
                  </a:lnTo>
                  <a:lnTo>
                    <a:pt x="57" y="1550"/>
                  </a:lnTo>
                  <a:lnTo>
                    <a:pt x="69" y="1549"/>
                  </a:lnTo>
                  <a:lnTo>
                    <a:pt x="80" y="1545"/>
                  </a:lnTo>
                  <a:lnTo>
                    <a:pt x="89" y="1540"/>
                  </a:lnTo>
                  <a:lnTo>
                    <a:pt x="98" y="1534"/>
                  </a:lnTo>
                  <a:lnTo>
                    <a:pt x="105" y="1525"/>
                  </a:lnTo>
                  <a:lnTo>
                    <a:pt x="111" y="1515"/>
                  </a:lnTo>
                  <a:lnTo>
                    <a:pt x="114" y="1505"/>
                  </a:lnTo>
                  <a:lnTo>
                    <a:pt x="115" y="1493"/>
                  </a:lnTo>
                  <a:lnTo>
                    <a:pt x="115" y="5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06" name="Freeform 17"/>
            <p:cNvSpPr>
              <a:spLocks/>
            </p:cNvSpPr>
            <p:nvPr/>
          </p:nvSpPr>
          <p:spPr bwMode="auto">
            <a:xfrm>
              <a:off x="9541683" y="5304605"/>
              <a:ext cx="167934" cy="40671"/>
            </a:xfrm>
            <a:custGeom>
              <a:avLst/>
              <a:gdLst>
                <a:gd name="T0" fmla="*/ 984 w 1023"/>
                <a:gd name="T1" fmla="*/ 77 h 136"/>
                <a:gd name="T2" fmla="*/ 984 w 1023"/>
                <a:gd name="T3" fmla="*/ 77 h 136"/>
                <a:gd name="T4" fmla="*/ 991 w 1023"/>
                <a:gd name="T5" fmla="*/ 76 h 136"/>
                <a:gd name="T6" fmla="*/ 999 w 1023"/>
                <a:gd name="T7" fmla="*/ 73 h 136"/>
                <a:gd name="T8" fmla="*/ 1005 w 1023"/>
                <a:gd name="T9" fmla="*/ 70 h 136"/>
                <a:gd name="T10" fmla="*/ 1011 w 1023"/>
                <a:gd name="T11" fmla="*/ 64 h 136"/>
                <a:gd name="T12" fmla="*/ 1016 w 1023"/>
                <a:gd name="T13" fmla="*/ 58 h 136"/>
                <a:gd name="T14" fmla="*/ 1019 w 1023"/>
                <a:gd name="T15" fmla="*/ 51 h 136"/>
                <a:gd name="T16" fmla="*/ 1022 w 1023"/>
                <a:gd name="T17" fmla="*/ 44 h 136"/>
                <a:gd name="T18" fmla="*/ 1023 w 1023"/>
                <a:gd name="T19" fmla="*/ 36 h 136"/>
                <a:gd name="T20" fmla="*/ 1023 w 1023"/>
                <a:gd name="T21" fmla="*/ 36 h 136"/>
                <a:gd name="T22" fmla="*/ 1023 w 1023"/>
                <a:gd name="T23" fmla="*/ 36 h 136"/>
                <a:gd name="T24" fmla="*/ 1022 w 1023"/>
                <a:gd name="T25" fmla="*/ 29 h 136"/>
                <a:gd name="T26" fmla="*/ 1019 w 1023"/>
                <a:gd name="T27" fmla="*/ 21 h 136"/>
                <a:gd name="T28" fmla="*/ 1016 w 1023"/>
                <a:gd name="T29" fmla="*/ 15 h 136"/>
                <a:gd name="T30" fmla="*/ 1012 w 1023"/>
                <a:gd name="T31" fmla="*/ 9 h 136"/>
                <a:gd name="T32" fmla="*/ 1007 w 1023"/>
                <a:gd name="T33" fmla="*/ 5 h 136"/>
                <a:gd name="T34" fmla="*/ 1000 w 1023"/>
                <a:gd name="T35" fmla="*/ 2 h 136"/>
                <a:gd name="T36" fmla="*/ 993 w 1023"/>
                <a:gd name="T37" fmla="*/ 1 h 136"/>
                <a:gd name="T38" fmla="*/ 985 w 1023"/>
                <a:gd name="T39" fmla="*/ 0 h 136"/>
                <a:gd name="T40" fmla="*/ 39 w 1023"/>
                <a:gd name="T41" fmla="*/ 60 h 136"/>
                <a:gd name="T42" fmla="*/ 39 w 1023"/>
                <a:gd name="T43" fmla="*/ 60 h 136"/>
                <a:gd name="T44" fmla="*/ 32 w 1023"/>
                <a:gd name="T45" fmla="*/ 61 h 136"/>
                <a:gd name="T46" fmla="*/ 24 w 1023"/>
                <a:gd name="T47" fmla="*/ 63 h 136"/>
                <a:gd name="T48" fmla="*/ 18 w 1023"/>
                <a:gd name="T49" fmla="*/ 68 h 136"/>
                <a:gd name="T50" fmla="*/ 12 w 1023"/>
                <a:gd name="T51" fmla="*/ 73 h 136"/>
                <a:gd name="T52" fmla="*/ 7 w 1023"/>
                <a:gd name="T53" fmla="*/ 78 h 136"/>
                <a:gd name="T54" fmla="*/ 4 w 1023"/>
                <a:gd name="T55" fmla="*/ 85 h 136"/>
                <a:gd name="T56" fmla="*/ 1 w 1023"/>
                <a:gd name="T57" fmla="*/ 92 h 136"/>
                <a:gd name="T58" fmla="*/ 0 w 1023"/>
                <a:gd name="T59" fmla="*/ 101 h 136"/>
                <a:gd name="T60" fmla="*/ 0 w 1023"/>
                <a:gd name="T61" fmla="*/ 101 h 136"/>
                <a:gd name="T62" fmla="*/ 0 w 1023"/>
                <a:gd name="T63" fmla="*/ 101 h 136"/>
                <a:gd name="T64" fmla="*/ 1 w 1023"/>
                <a:gd name="T65" fmla="*/ 108 h 136"/>
                <a:gd name="T66" fmla="*/ 4 w 1023"/>
                <a:gd name="T67" fmla="*/ 115 h 136"/>
                <a:gd name="T68" fmla="*/ 7 w 1023"/>
                <a:gd name="T69" fmla="*/ 121 h 136"/>
                <a:gd name="T70" fmla="*/ 11 w 1023"/>
                <a:gd name="T71" fmla="*/ 127 h 136"/>
                <a:gd name="T72" fmla="*/ 18 w 1023"/>
                <a:gd name="T73" fmla="*/ 131 h 136"/>
                <a:gd name="T74" fmla="*/ 24 w 1023"/>
                <a:gd name="T75" fmla="*/ 134 h 136"/>
                <a:gd name="T76" fmla="*/ 31 w 1023"/>
                <a:gd name="T77" fmla="*/ 136 h 136"/>
                <a:gd name="T78" fmla="*/ 38 w 1023"/>
                <a:gd name="T79" fmla="*/ 136 h 136"/>
                <a:gd name="T80" fmla="*/ 984 w 1023"/>
                <a:gd name="T81" fmla="*/ 7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3" h="136">
                  <a:moveTo>
                    <a:pt x="984" y="77"/>
                  </a:moveTo>
                  <a:lnTo>
                    <a:pt x="984" y="77"/>
                  </a:lnTo>
                  <a:lnTo>
                    <a:pt x="991" y="76"/>
                  </a:lnTo>
                  <a:lnTo>
                    <a:pt x="999" y="73"/>
                  </a:lnTo>
                  <a:lnTo>
                    <a:pt x="1005" y="70"/>
                  </a:lnTo>
                  <a:lnTo>
                    <a:pt x="1011" y="64"/>
                  </a:lnTo>
                  <a:lnTo>
                    <a:pt x="1016" y="58"/>
                  </a:lnTo>
                  <a:lnTo>
                    <a:pt x="1019" y="51"/>
                  </a:lnTo>
                  <a:lnTo>
                    <a:pt x="1022" y="44"/>
                  </a:lnTo>
                  <a:lnTo>
                    <a:pt x="1023" y="36"/>
                  </a:lnTo>
                  <a:lnTo>
                    <a:pt x="1023" y="36"/>
                  </a:lnTo>
                  <a:lnTo>
                    <a:pt x="1023" y="36"/>
                  </a:lnTo>
                  <a:lnTo>
                    <a:pt x="1022" y="29"/>
                  </a:lnTo>
                  <a:lnTo>
                    <a:pt x="1019" y="21"/>
                  </a:lnTo>
                  <a:lnTo>
                    <a:pt x="1016" y="15"/>
                  </a:lnTo>
                  <a:lnTo>
                    <a:pt x="1012" y="9"/>
                  </a:lnTo>
                  <a:lnTo>
                    <a:pt x="1007" y="5"/>
                  </a:lnTo>
                  <a:lnTo>
                    <a:pt x="1000" y="2"/>
                  </a:lnTo>
                  <a:lnTo>
                    <a:pt x="993" y="1"/>
                  </a:lnTo>
                  <a:lnTo>
                    <a:pt x="985" y="0"/>
                  </a:lnTo>
                  <a:lnTo>
                    <a:pt x="39" y="60"/>
                  </a:lnTo>
                  <a:lnTo>
                    <a:pt x="39" y="60"/>
                  </a:lnTo>
                  <a:lnTo>
                    <a:pt x="32" y="61"/>
                  </a:lnTo>
                  <a:lnTo>
                    <a:pt x="24" y="63"/>
                  </a:lnTo>
                  <a:lnTo>
                    <a:pt x="18" y="68"/>
                  </a:lnTo>
                  <a:lnTo>
                    <a:pt x="12" y="73"/>
                  </a:lnTo>
                  <a:lnTo>
                    <a:pt x="7" y="78"/>
                  </a:lnTo>
                  <a:lnTo>
                    <a:pt x="4" y="85"/>
                  </a:lnTo>
                  <a:lnTo>
                    <a:pt x="1" y="92"/>
                  </a:lnTo>
                  <a:lnTo>
                    <a:pt x="0" y="101"/>
                  </a:lnTo>
                  <a:lnTo>
                    <a:pt x="0" y="101"/>
                  </a:lnTo>
                  <a:lnTo>
                    <a:pt x="0" y="101"/>
                  </a:lnTo>
                  <a:lnTo>
                    <a:pt x="1" y="108"/>
                  </a:lnTo>
                  <a:lnTo>
                    <a:pt x="4" y="115"/>
                  </a:lnTo>
                  <a:lnTo>
                    <a:pt x="7" y="121"/>
                  </a:lnTo>
                  <a:lnTo>
                    <a:pt x="11" y="127"/>
                  </a:lnTo>
                  <a:lnTo>
                    <a:pt x="18" y="131"/>
                  </a:lnTo>
                  <a:lnTo>
                    <a:pt x="24" y="134"/>
                  </a:lnTo>
                  <a:lnTo>
                    <a:pt x="31" y="136"/>
                  </a:lnTo>
                  <a:lnTo>
                    <a:pt x="38" y="136"/>
                  </a:lnTo>
                  <a:lnTo>
                    <a:pt x="984" y="7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023" name="Rectangle 2025"/>
          <p:cNvSpPr>
            <a:spLocks noChangeArrowheads="1"/>
          </p:cNvSpPr>
          <p:nvPr/>
        </p:nvSpPr>
        <p:spPr bwMode="auto">
          <a:xfrm>
            <a:off x="2096429" y="3003004"/>
            <a:ext cx="984714" cy="45719"/>
          </a:xfrm>
          <a:prstGeom prst="rect">
            <a:avLst/>
          </a:pr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27" name="Freeform 2029"/>
          <p:cNvSpPr>
            <a:spLocks/>
          </p:cNvSpPr>
          <p:nvPr/>
        </p:nvSpPr>
        <p:spPr bwMode="auto">
          <a:xfrm>
            <a:off x="2806283" y="2914969"/>
            <a:ext cx="180398" cy="60614"/>
          </a:xfrm>
          <a:custGeom>
            <a:avLst/>
            <a:gdLst>
              <a:gd name="T0" fmla="*/ 689 w 747"/>
              <a:gd name="T1" fmla="*/ 69 h 247"/>
              <a:gd name="T2" fmla="*/ 689 w 747"/>
              <a:gd name="T3" fmla="*/ 69 h 247"/>
              <a:gd name="T4" fmla="*/ 675 w 747"/>
              <a:gd name="T5" fmla="*/ 54 h 247"/>
              <a:gd name="T6" fmla="*/ 659 w 747"/>
              <a:gd name="T7" fmla="*/ 42 h 247"/>
              <a:gd name="T8" fmla="*/ 644 w 747"/>
              <a:gd name="T9" fmla="*/ 32 h 247"/>
              <a:gd name="T10" fmla="*/ 628 w 747"/>
              <a:gd name="T11" fmla="*/ 23 h 247"/>
              <a:gd name="T12" fmla="*/ 610 w 747"/>
              <a:gd name="T13" fmla="*/ 16 h 247"/>
              <a:gd name="T14" fmla="*/ 594 w 747"/>
              <a:gd name="T15" fmla="*/ 11 h 247"/>
              <a:gd name="T16" fmla="*/ 576 w 747"/>
              <a:gd name="T17" fmla="*/ 7 h 247"/>
              <a:gd name="T18" fmla="*/ 558 w 747"/>
              <a:gd name="T19" fmla="*/ 4 h 247"/>
              <a:gd name="T20" fmla="*/ 540 w 747"/>
              <a:gd name="T21" fmla="*/ 2 h 247"/>
              <a:gd name="T22" fmla="*/ 523 w 747"/>
              <a:gd name="T23" fmla="*/ 1 h 247"/>
              <a:gd name="T24" fmla="*/ 486 w 747"/>
              <a:gd name="T25" fmla="*/ 0 h 247"/>
              <a:gd name="T26" fmla="*/ 450 w 747"/>
              <a:gd name="T27" fmla="*/ 1 h 247"/>
              <a:gd name="T28" fmla="*/ 415 w 747"/>
              <a:gd name="T29" fmla="*/ 1 h 247"/>
              <a:gd name="T30" fmla="*/ 415 w 747"/>
              <a:gd name="T31" fmla="*/ 1 h 247"/>
              <a:gd name="T32" fmla="*/ 395 w 747"/>
              <a:gd name="T33" fmla="*/ 1 h 247"/>
              <a:gd name="T34" fmla="*/ 375 w 747"/>
              <a:gd name="T35" fmla="*/ 2 h 247"/>
              <a:gd name="T36" fmla="*/ 335 w 747"/>
              <a:gd name="T37" fmla="*/ 1 h 247"/>
              <a:gd name="T38" fmla="*/ 294 w 747"/>
              <a:gd name="T39" fmla="*/ 0 h 247"/>
              <a:gd name="T40" fmla="*/ 253 w 747"/>
              <a:gd name="T41" fmla="*/ 0 h 247"/>
              <a:gd name="T42" fmla="*/ 233 w 747"/>
              <a:gd name="T43" fmla="*/ 0 h 247"/>
              <a:gd name="T44" fmla="*/ 213 w 747"/>
              <a:gd name="T45" fmla="*/ 2 h 247"/>
              <a:gd name="T46" fmla="*/ 192 w 747"/>
              <a:gd name="T47" fmla="*/ 4 h 247"/>
              <a:gd name="T48" fmla="*/ 173 w 747"/>
              <a:gd name="T49" fmla="*/ 7 h 247"/>
              <a:gd name="T50" fmla="*/ 154 w 747"/>
              <a:gd name="T51" fmla="*/ 12 h 247"/>
              <a:gd name="T52" fmla="*/ 133 w 747"/>
              <a:gd name="T53" fmla="*/ 17 h 247"/>
              <a:gd name="T54" fmla="*/ 114 w 747"/>
              <a:gd name="T55" fmla="*/ 25 h 247"/>
              <a:gd name="T56" fmla="*/ 95 w 747"/>
              <a:gd name="T57" fmla="*/ 35 h 247"/>
              <a:gd name="T58" fmla="*/ 95 w 747"/>
              <a:gd name="T59" fmla="*/ 35 h 247"/>
              <a:gd name="T60" fmla="*/ 83 w 747"/>
              <a:gd name="T61" fmla="*/ 41 h 247"/>
              <a:gd name="T62" fmla="*/ 73 w 747"/>
              <a:gd name="T63" fmla="*/ 49 h 247"/>
              <a:gd name="T64" fmla="*/ 63 w 747"/>
              <a:gd name="T65" fmla="*/ 59 h 247"/>
              <a:gd name="T66" fmla="*/ 54 w 747"/>
              <a:gd name="T67" fmla="*/ 69 h 247"/>
              <a:gd name="T68" fmla="*/ 44 w 747"/>
              <a:gd name="T69" fmla="*/ 81 h 247"/>
              <a:gd name="T70" fmla="*/ 37 w 747"/>
              <a:gd name="T71" fmla="*/ 93 h 247"/>
              <a:gd name="T72" fmla="*/ 30 w 747"/>
              <a:gd name="T73" fmla="*/ 106 h 247"/>
              <a:gd name="T74" fmla="*/ 23 w 747"/>
              <a:gd name="T75" fmla="*/ 120 h 247"/>
              <a:gd name="T76" fmla="*/ 18 w 747"/>
              <a:gd name="T77" fmla="*/ 135 h 247"/>
              <a:gd name="T78" fmla="*/ 13 w 747"/>
              <a:gd name="T79" fmla="*/ 150 h 247"/>
              <a:gd name="T80" fmla="*/ 9 w 747"/>
              <a:gd name="T81" fmla="*/ 165 h 247"/>
              <a:gd name="T82" fmla="*/ 5 w 747"/>
              <a:gd name="T83" fmla="*/ 182 h 247"/>
              <a:gd name="T84" fmla="*/ 3 w 747"/>
              <a:gd name="T85" fmla="*/ 198 h 247"/>
              <a:gd name="T86" fmla="*/ 1 w 747"/>
              <a:gd name="T87" fmla="*/ 214 h 247"/>
              <a:gd name="T88" fmla="*/ 0 w 747"/>
              <a:gd name="T89" fmla="*/ 231 h 247"/>
              <a:gd name="T90" fmla="*/ 0 w 747"/>
              <a:gd name="T91" fmla="*/ 247 h 247"/>
              <a:gd name="T92" fmla="*/ 747 w 747"/>
              <a:gd name="T93" fmla="*/ 247 h 247"/>
              <a:gd name="T94" fmla="*/ 747 w 747"/>
              <a:gd name="T95" fmla="*/ 247 h 247"/>
              <a:gd name="T96" fmla="*/ 745 w 747"/>
              <a:gd name="T97" fmla="*/ 222 h 247"/>
              <a:gd name="T98" fmla="*/ 742 w 747"/>
              <a:gd name="T99" fmla="*/ 197 h 247"/>
              <a:gd name="T100" fmla="*/ 738 w 747"/>
              <a:gd name="T101" fmla="*/ 173 h 247"/>
              <a:gd name="T102" fmla="*/ 732 w 747"/>
              <a:gd name="T103" fmla="*/ 149 h 247"/>
              <a:gd name="T104" fmla="*/ 725 w 747"/>
              <a:gd name="T105" fmla="*/ 127 h 247"/>
              <a:gd name="T106" fmla="*/ 721 w 747"/>
              <a:gd name="T107" fmla="*/ 116 h 247"/>
              <a:gd name="T108" fmla="*/ 716 w 747"/>
              <a:gd name="T109" fmla="*/ 106 h 247"/>
              <a:gd name="T110" fmla="*/ 710 w 747"/>
              <a:gd name="T111" fmla="*/ 96 h 247"/>
              <a:gd name="T112" fmla="*/ 703 w 747"/>
              <a:gd name="T113" fmla="*/ 87 h 247"/>
              <a:gd name="T114" fmla="*/ 697 w 747"/>
              <a:gd name="T115" fmla="*/ 77 h 247"/>
              <a:gd name="T116" fmla="*/ 689 w 747"/>
              <a:gd name="T117" fmla="*/ 69 h 247"/>
              <a:gd name="T118" fmla="*/ 689 w 747"/>
              <a:gd name="T119" fmla="*/ 6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7" h="247">
                <a:moveTo>
                  <a:pt x="689" y="69"/>
                </a:moveTo>
                <a:lnTo>
                  <a:pt x="689" y="69"/>
                </a:lnTo>
                <a:lnTo>
                  <a:pt x="675" y="54"/>
                </a:lnTo>
                <a:lnTo>
                  <a:pt x="659" y="42"/>
                </a:lnTo>
                <a:lnTo>
                  <a:pt x="644" y="32"/>
                </a:lnTo>
                <a:lnTo>
                  <a:pt x="628" y="23"/>
                </a:lnTo>
                <a:lnTo>
                  <a:pt x="610" y="16"/>
                </a:lnTo>
                <a:lnTo>
                  <a:pt x="594" y="11"/>
                </a:lnTo>
                <a:lnTo>
                  <a:pt x="576" y="7"/>
                </a:lnTo>
                <a:lnTo>
                  <a:pt x="558" y="4"/>
                </a:lnTo>
                <a:lnTo>
                  <a:pt x="540" y="2"/>
                </a:lnTo>
                <a:lnTo>
                  <a:pt x="523" y="1"/>
                </a:lnTo>
                <a:lnTo>
                  <a:pt x="486" y="0"/>
                </a:lnTo>
                <a:lnTo>
                  <a:pt x="450" y="1"/>
                </a:lnTo>
                <a:lnTo>
                  <a:pt x="415" y="1"/>
                </a:lnTo>
                <a:lnTo>
                  <a:pt x="415" y="1"/>
                </a:lnTo>
                <a:lnTo>
                  <a:pt x="395" y="1"/>
                </a:lnTo>
                <a:lnTo>
                  <a:pt x="375" y="2"/>
                </a:lnTo>
                <a:lnTo>
                  <a:pt x="335" y="1"/>
                </a:lnTo>
                <a:lnTo>
                  <a:pt x="294" y="0"/>
                </a:lnTo>
                <a:lnTo>
                  <a:pt x="253" y="0"/>
                </a:lnTo>
                <a:lnTo>
                  <a:pt x="233" y="0"/>
                </a:lnTo>
                <a:lnTo>
                  <a:pt x="213" y="2"/>
                </a:lnTo>
                <a:lnTo>
                  <a:pt x="192" y="4"/>
                </a:lnTo>
                <a:lnTo>
                  <a:pt x="173" y="7"/>
                </a:lnTo>
                <a:lnTo>
                  <a:pt x="154" y="12"/>
                </a:lnTo>
                <a:lnTo>
                  <a:pt x="133" y="17"/>
                </a:lnTo>
                <a:lnTo>
                  <a:pt x="114" y="25"/>
                </a:lnTo>
                <a:lnTo>
                  <a:pt x="95" y="35"/>
                </a:lnTo>
                <a:lnTo>
                  <a:pt x="95" y="35"/>
                </a:lnTo>
                <a:lnTo>
                  <a:pt x="83" y="41"/>
                </a:lnTo>
                <a:lnTo>
                  <a:pt x="73" y="49"/>
                </a:lnTo>
                <a:lnTo>
                  <a:pt x="63" y="59"/>
                </a:lnTo>
                <a:lnTo>
                  <a:pt x="54" y="69"/>
                </a:lnTo>
                <a:lnTo>
                  <a:pt x="44" y="81"/>
                </a:lnTo>
                <a:lnTo>
                  <a:pt x="37" y="93"/>
                </a:lnTo>
                <a:lnTo>
                  <a:pt x="30" y="106"/>
                </a:lnTo>
                <a:lnTo>
                  <a:pt x="23" y="120"/>
                </a:lnTo>
                <a:lnTo>
                  <a:pt x="18" y="135"/>
                </a:lnTo>
                <a:lnTo>
                  <a:pt x="13" y="150"/>
                </a:lnTo>
                <a:lnTo>
                  <a:pt x="9" y="165"/>
                </a:lnTo>
                <a:lnTo>
                  <a:pt x="5" y="182"/>
                </a:lnTo>
                <a:lnTo>
                  <a:pt x="3" y="198"/>
                </a:lnTo>
                <a:lnTo>
                  <a:pt x="1" y="214"/>
                </a:lnTo>
                <a:lnTo>
                  <a:pt x="0" y="231"/>
                </a:lnTo>
                <a:lnTo>
                  <a:pt x="0" y="247"/>
                </a:lnTo>
                <a:lnTo>
                  <a:pt x="747" y="247"/>
                </a:lnTo>
                <a:lnTo>
                  <a:pt x="747" y="247"/>
                </a:lnTo>
                <a:lnTo>
                  <a:pt x="745" y="222"/>
                </a:lnTo>
                <a:lnTo>
                  <a:pt x="742" y="197"/>
                </a:lnTo>
                <a:lnTo>
                  <a:pt x="738" y="173"/>
                </a:lnTo>
                <a:lnTo>
                  <a:pt x="732" y="149"/>
                </a:lnTo>
                <a:lnTo>
                  <a:pt x="725" y="127"/>
                </a:lnTo>
                <a:lnTo>
                  <a:pt x="721" y="116"/>
                </a:lnTo>
                <a:lnTo>
                  <a:pt x="716" y="106"/>
                </a:lnTo>
                <a:lnTo>
                  <a:pt x="710" y="96"/>
                </a:lnTo>
                <a:lnTo>
                  <a:pt x="703" y="87"/>
                </a:lnTo>
                <a:lnTo>
                  <a:pt x="697" y="77"/>
                </a:lnTo>
                <a:lnTo>
                  <a:pt x="689" y="69"/>
                </a:lnTo>
                <a:lnTo>
                  <a:pt x="689" y="69"/>
                </a:lnTo>
                <a:close/>
              </a:path>
            </a:pathLst>
          </a:custGeom>
          <a:solidFill>
            <a:schemeClr val="accent5">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3264" name="Rectangle 2136"/>
          <p:cNvSpPr>
            <a:spLocks noChangeArrowheads="1"/>
          </p:cNvSpPr>
          <p:nvPr/>
        </p:nvSpPr>
        <p:spPr bwMode="auto">
          <a:xfrm>
            <a:off x="3579269" y="6055694"/>
            <a:ext cx="1586054" cy="185618"/>
          </a:xfrm>
          <a:custGeom>
            <a:avLst/>
            <a:gdLst/>
            <a:ahLst/>
            <a:cxnLst/>
            <a:rect l="l" t="t" r="r" b="b"/>
            <a:pathLst>
              <a:path w="1586054" h="185618">
                <a:moveTo>
                  <a:pt x="0" y="0"/>
                </a:moveTo>
                <a:lnTo>
                  <a:pt x="1586054" y="0"/>
                </a:lnTo>
                <a:cubicBezTo>
                  <a:pt x="1543045" y="26305"/>
                  <a:pt x="1515981" y="74126"/>
                  <a:pt x="1515981" y="128269"/>
                </a:cubicBezTo>
                <a:cubicBezTo>
                  <a:pt x="1515981" y="148607"/>
                  <a:pt x="1519800" y="168053"/>
                  <a:pt x="1527559" y="185618"/>
                </a:cubicBezTo>
                <a:lnTo>
                  <a:pt x="0" y="185618"/>
                </a:lnTo>
                <a:close/>
              </a:path>
            </a:pathLst>
          </a:custGeom>
          <a:solidFill>
            <a:srgbClr val="005E6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508" name="Group 3507"/>
          <p:cNvGrpSpPr/>
          <p:nvPr/>
        </p:nvGrpSpPr>
        <p:grpSpPr>
          <a:xfrm flipH="1">
            <a:off x="4182996" y="4930643"/>
            <a:ext cx="1313936" cy="1173296"/>
            <a:chOff x="3609898" y="4934292"/>
            <a:chExt cx="1743413" cy="1289187"/>
          </a:xfrm>
        </p:grpSpPr>
        <p:sp>
          <p:nvSpPr>
            <p:cNvPr id="3248" name="Rounded Rectangle 914"/>
            <p:cNvSpPr/>
            <p:nvPr/>
          </p:nvSpPr>
          <p:spPr bwMode="auto">
            <a:xfrm>
              <a:off x="4413800" y="4940612"/>
              <a:ext cx="939511" cy="1257280"/>
            </a:xfrm>
            <a:custGeom>
              <a:avLst/>
              <a:gdLst>
                <a:gd name="connsiteX0" fmla="*/ 0 w 480775"/>
                <a:gd name="connsiteY0" fmla="*/ 0 h 601696"/>
                <a:gd name="connsiteX1" fmla="*/ 198283 w 480775"/>
                <a:gd name="connsiteY1" fmla="*/ 0 h 601696"/>
                <a:gd name="connsiteX2" fmla="*/ 376295 w 480775"/>
                <a:gd name="connsiteY2" fmla="*/ 406564 h 601696"/>
                <a:gd name="connsiteX3" fmla="*/ 409977 w 480775"/>
                <a:gd name="connsiteY3" fmla="*/ 405066 h 601696"/>
                <a:gd name="connsiteX4" fmla="*/ 480026 w 480775"/>
                <a:gd name="connsiteY4" fmla="*/ 517867 h 601696"/>
                <a:gd name="connsiteX5" fmla="*/ 400163 w 480775"/>
                <a:gd name="connsiteY5" fmla="*/ 598922 h 601696"/>
                <a:gd name="connsiteX6" fmla="*/ 275243 w 480775"/>
                <a:gd name="connsiteY6" fmla="*/ 601696 h 601696"/>
                <a:gd name="connsiteX7" fmla="*/ 0 w 480775"/>
                <a:gd name="connsiteY7" fmla="*/ 0 h 601696"/>
                <a:gd name="connsiteX0" fmla="*/ 0 w 480775"/>
                <a:gd name="connsiteY0" fmla="*/ 0 h 601696"/>
                <a:gd name="connsiteX1" fmla="*/ 198283 w 480775"/>
                <a:gd name="connsiteY1" fmla="*/ 0 h 601696"/>
                <a:gd name="connsiteX2" fmla="*/ 376295 w 480775"/>
                <a:gd name="connsiteY2" fmla="*/ 406564 h 601696"/>
                <a:gd name="connsiteX3" fmla="*/ 409977 w 480775"/>
                <a:gd name="connsiteY3" fmla="*/ 405066 h 601696"/>
                <a:gd name="connsiteX4" fmla="*/ 480026 w 480775"/>
                <a:gd name="connsiteY4" fmla="*/ 517867 h 601696"/>
                <a:gd name="connsiteX5" fmla="*/ 400163 w 480775"/>
                <a:gd name="connsiteY5" fmla="*/ 598922 h 601696"/>
                <a:gd name="connsiteX6" fmla="*/ 275243 w 480775"/>
                <a:gd name="connsiteY6" fmla="*/ 601696 h 601696"/>
                <a:gd name="connsiteX7" fmla="*/ 0 w 480775"/>
                <a:gd name="connsiteY7" fmla="*/ 0 h 601696"/>
                <a:gd name="connsiteX0" fmla="*/ 0 w 502403"/>
                <a:gd name="connsiteY0" fmla="*/ 0 h 601696"/>
                <a:gd name="connsiteX1" fmla="*/ 198283 w 502403"/>
                <a:gd name="connsiteY1" fmla="*/ 0 h 601696"/>
                <a:gd name="connsiteX2" fmla="*/ 376295 w 502403"/>
                <a:gd name="connsiteY2" fmla="*/ 406564 h 601696"/>
                <a:gd name="connsiteX3" fmla="*/ 409977 w 502403"/>
                <a:gd name="connsiteY3" fmla="*/ 405066 h 601696"/>
                <a:gd name="connsiteX4" fmla="*/ 501867 w 502403"/>
                <a:gd name="connsiteY4" fmla="*/ 505127 h 601696"/>
                <a:gd name="connsiteX5" fmla="*/ 400163 w 502403"/>
                <a:gd name="connsiteY5" fmla="*/ 598922 h 601696"/>
                <a:gd name="connsiteX6" fmla="*/ 275243 w 502403"/>
                <a:gd name="connsiteY6" fmla="*/ 601696 h 601696"/>
                <a:gd name="connsiteX7" fmla="*/ 0 w 502403"/>
                <a:gd name="connsiteY7" fmla="*/ 0 h 601696"/>
                <a:gd name="connsiteX0" fmla="*/ 0 w 501867"/>
                <a:gd name="connsiteY0" fmla="*/ 0 h 601696"/>
                <a:gd name="connsiteX1" fmla="*/ 198283 w 501867"/>
                <a:gd name="connsiteY1" fmla="*/ 0 h 601696"/>
                <a:gd name="connsiteX2" fmla="*/ 376295 w 501867"/>
                <a:gd name="connsiteY2" fmla="*/ 406564 h 601696"/>
                <a:gd name="connsiteX3" fmla="*/ 409977 w 501867"/>
                <a:gd name="connsiteY3" fmla="*/ 405066 h 601696"/>
                <a:gd name="connsiteX4" fmla="*/ 501867 w 501867"/>
                <a:gd name="connsiteY4" fmla="*/ 505127 h 601696"/>
                <a:gd name="connsiteX5" fmla="*/ 400163 w 501867"/>
                <a:gd name="connsiteY5" fmla="*/ 598922 h 601696"/>
                <a:gd name="connsiteX6" fmla="*/ 275243 w 501867"/>
                <a:gd name="connsiteY6" fmla="*/ 601696 h 601696"/>
                <a:gd name="connsiteX7" fmla="*/ 0 w 501867"/>
                <a:gd name="connsiteY7" fmla="*/ 0 h 601696"/>
                <a:gd name="connsiteX0" fmla="*/ 0 w 490947"/>
                <a:gd name="connsiteY0" fmla="*/ 0 h 601696"/>
                <a:gd name="connsiteX1" fmla="*/ 198283 w 490947"/>
                <a:gd name="connsiteY1" fmla="*/ 0 h 601696"/>
                <a:gd name="connsiteX2" fmla="*/ 376295 w 490947"/>
                <a:gd name="connsiteY2" fmla="*/ 406564 h 601696"/>
                <a:gd name="connsiteX3" fmla="*/ 409977 w 490947"/>
                <a:gd name="connsiteY3" fmla="*/ 405066 h 601696"/>
                <a:gd name="connsiteX4" fmla="*/ 490947 w 490947"/>
                <a:gd name="connsiteY4" fmla="*/ 505127 h 601696"/>
                <a:gd name="connsiteX5" fmla="*/ 400163 w 490947"/>
                <a:gd name="connsiteY5" fmla="*/ 598922 h 601696"/>
                <a:gd name="connsiteX6" fmla="*/ 275243 w 490947"/>
                <a:gd name="connsiteY6" fmla="*/ 601696 h 601696"/>
                <a:gd name="connsiteX7" fmla="*/ 0 w 490947"/>
                <a:gd name="connsiteY7" fmla="*/ 0 h 601696"/>
                <a:gd name="connsiteX0" fmla="*/ 0 w 495497"/>
                <a:gd name="connsiteY0" fmla="*/ 0 h 601696"/>
                <a:gd name="connsiteX1" fmla="*/ 198283 w 495497"/>
                <a:gd name="connsiteY1" fmla="*/ 0 h 601696"/>
                <a:gd name="connsiteX2" fmla="*/ 376295 w 495497"/>
                <a:gd name="connsiteY2" fmla="*/ 406564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74475 w 495497"/>
                <a:gd name="connsiteY2" fmla="*/ 402924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39480 w 495497"/>
                <a:gd name="connsiteY2" fmla="*/ 323601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39480 w 495497"/>
                <a:gd name="connsiteY2" fmla="*/ 323601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409977 w 495497"/>
                <a:gd name="connsiteY2" fmla="*/ 405066 h 601696"/>
                <a:gd name="connsiteX3" fmla="*/ 495497 w 495497"/>
                <a:gd name="connsiteY3" fmla="*/ 507857 h 601696"/>
                <a:gd name="connsiteX4" fmla="*/ 400163 w 495497"/>
                <a:gd name="connsiteY4" fmla="*/ 598922 h 601696"/>
                <a:gd name="connsiteX5" fmla="*/ 275243 w 495497"/>
                <a:gd name="connsiteY5" fmla="*/ 601696 h 601696"/>
                <a:gd name="connsiteX6" fmla="*/ 0 w 495497"/>
                <a:gd name="connsiteY6" fmla="*/ 0 h 601696"/>
                <a:gd name="connsiteX0" fmla="*/ 0 w 495497"/>
                <a:gd name="connsiteY0" fmla="*/ 0 h 601696"/>
                <a:gd name="connsiteX1" fmla="*/ 198283 w 495497"/>
                <a:gd name="connsiteY1" fmla="*/ 0 h 601696"/>
                <a:gd name="connsiteX2" fmla="*/ 391313 w 495497"/>
                <a:gd name="connsiteY2" fmla="*/ 398067 h 601696"/>
                <a:gd name="connsiteX3" fmla="*/ 495497 w 495497"/>
                <a:gd name="connsiteY3" fmla="*/ 507857 h 601696"/>
                <a:gd name="connsiteX4" fmla="*/ 400163 w 495497"/>
                <a:gd name="connsiteY4" fmla="*/ 598922 h 601696"/>
                <a:gd name="connsiteX5" fmla="*/ 275243 w 495497"/>
                <a:gd name="connsiteY5" fmla="*/ 601696 h 601696"/>
                <a:gd name="connsiteX6" fmla="*/ 0 w 495497"/>
                <a:gd name="connsiteY6" fmla="*/ 0 h 601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497" h="601696">
                  <a:moveTo>
                    <a:pt x="0" y="0"/>
                  </a:moveTo>
                  <a:lnTo>
                    <a:pt x="198283" y="0"/>
                  </a:lnTo>
                  <a:lnTo>
                    <a:pt x="391313" y="398067"/>
                  </a:lnTo>
                  <a:cubicBezTo>
                    <a:pt x="470261" y="406608"/>
                    <a:pt x="494233" y="475471"/>
                    <a:pt x="495497" y="507857"/>
                  </a:cubicBezTo>
                  <a:cubicBezTo>
                    <a:pt x="486491" y="574749"/>
                    <a:pt x="438839" y="598922"/>
                    <a:pt x="400163" y="598922"/>
                  </a:cubicBezTo>
                  <a:lnTo>
                    <a:pt x="275243" y="601696"/>
                  </a:lnTo>
                  <a:lnTo>
                    <a:pt x="0" y="0"/>
                  </a:lnTo>
                  <a:close/>
                </a:path>
              </a:pathLst>
            </a:custGeom>
            <a:gradFill>
              <a:gsLst>
                <a:gs pos="47000">
                  <a:schemeClr val="accent5">
                    <a:lumMod val="37000"/>
                  </a:schemeClr>
                </a:gs>
                <a:gs pos="25000">
                  <a:schemeClr val="bg2">
                    <a:lumMod val="50000"/>
                  </a:schemeClr>
                </a:gs>
              </a:gsLst>
              <a:lin ang="9000000" scaled="0"/>
            </a:gra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50" name="Freeform 52"/>
            <p:cNvSpPr>
              <a:spLocks noEditPoints="1"/>
            </p:cNvSpPr>
            <p:nvPr/>
          </p:nvSpPr>
          <p:spPr bwMode="auto">
            <a:xfrm>
              <a:off x="3823374" y="4934292"/>
              <a:ext cx="1310960" cy="1286386"/>
            </a:xfrm>
            <a:custGeom>
              <a:avLst/>
              <a:gdLst>
                <a:gd name="T0" fmla="*/ 1024 w 1087"/>
                <a:gd name="T1" fmla="*/ 756 h 1046"/>
                <a:gd name="T2" fmla="*/ 961 w 1087"/>
                <a:gd name="T3" fmla="*/ 630 h 1046"/>
                <a:gd name="T4" fmla="*/ 898 w 1087"/>
                <a:gd name="T5" fmla="*/ 504 h 1046"/>
                <a:gd name="T6" fmla="*/ 857 w 1087"/>
                <a:gd name="T7" fmla="*/ 379 h 1046"/>
                <a:gd name="T8" fmla="*/ 794 w 1087"/>
                <a:gd name="T9" fmla="*/ 252 h 1046"/>
                <a:gd name="T10" fmla="*/ 731 w 1087"/>
                <a:gd name="T11" fmla="*/ 126 h 1046"/>
                <a:gd name="T12" fmla="*/ 668 w 1087"/>
                <a:gd name="T13" fmla="*/ 0 h 1046"/>
                <a:gd name="T14" fmla="*/ 0 w 1087"/>
                <a:gd name="T15" fmla="*/ 0 h 1046"/>
                <a:gd name="T16" fmla="*/ 0 w 1087"/>
                <a:gd name="T17" fmla="*/ 218 h 1046"/>
                <a:gd name="T18" fmla="*/ 545 w 1087"/>
                <a:gd name="T19" fmla="*/ 1046 h 1046"/>
                <a:gd name="T20" fmla="*/ 1087 w 1087"/>
                <a:gd name="T21" fmla="*/ 883 h 1046"/>
                <a:gd name="T22" fmla="*/ 961 w 1087"/>
                <a:gd name="T23" fmla="*/ 794 h 1046"/>
                <a:gd name="T24" fmla="*/ 987 w 1087"/>
                <a:gd name="T25" fmla="*/ 883 h 1046"/>
                <a:gd name="T26" fmla="*/ 520 w 1087"/>
                <a:gd name="T27" fmla="*/ 794 h 1046"/>
                <a:gd name="T28" fmla="*/ 961 w 1087"/>
                <a:gd name="T29" fmla="*/ 794 h 1046"/>
                <a:gd name="T30" fmla="*/ 924 w 1087"/>
                <a:gd name="T31" fmla="*/ 667 h 1046"/>
                <a:gd name="T32" fmla="*/ 457 w 1087"/>
                <a:gd name="T33" fmla="*/ 756 h 1046"/>
                <a:gd name="T34" fmla="*/ 880 w 1087"/>
                <a:gd name="T35" fmla="*/ 667 h 1046"/>
                <a:gd name="T36" fmla="*/ 861 w 1087"/>
                <a:gd name="T37" fmla="*/ 542 h 1046"/>
                <a:gd name="T38" fmla="*/ 394 w 1087"/>
                <a:gd name="T39" fmla="*/ 630 h 1046"/>
                <a:gd name="T40" fmla="*/ 857 w 1087"/>
                <a:gd name="T41" fmla="*/ 542 h 1046"/>
                <a:gd name="T42" fmla="*/ 794 w 1087"/>
                <a:gd name="T43" fmla="*/ 416 h 1046"/>
                <a:gd name="T44" fmla="*/ 819 w 1087"/>
                <a:gd name="T45" fmla="*/ 504 h 1046"/>
                <a:gd name="T46" fmla="*/ 353 w 1087"/>
                <a:gd name="T47" fmla="*/ 504 h 1046"/>
                <a:gd name="T48" fmla="*/ 775 w 1087"/>
                <a:gd name="T49" fmla="*/ 416 h 1046"/>
                <a:gd name="T50" fmla="*/ 731 w 1087"/>
                <a:gd name="T51" fmla="*/ 290 h 1046"/>
                <a:gd name="T52" fmla="*/ 757 w 1087"/>
                <a:gd name="T53" fmla="*/ 379 h 1046"/>
                <a:gd name="T54" fmla="*/ 290 w 1087"/>
                <a:gd name="T55" fmla="*/ 290 h 1046"/>
                <a:gd name="T56" fmla="*/ 731 w 1087"/>
                <a:gd name="T57" fmla="*/ 290 h 1046"/>
                <a:gd name="T58" fmla="*/ 694 w 1087"/>
                <a:gd name="T59" fmla="*/ 163 h 1046"/>
                <a:gd name="T60" fmla="*/ 227 w 1087"/>
                <a:gd name="T61" fmla="*/ 252 h 1046"/>
                <a:gd name="T62" fmla="*/ 650 w 1087"/>
                <a:gd name="T63" fmla="*/ 163 h 1046"/>
                <a:gd name="T64" fmla="*/ 165 w 1087"/>
                <a:gd name="T65" fmla="*/ 38 h 1046"/>
                <a:gd name="T66" fmla="*/ 630 w 1087"/>
                <a:gd name="T67" fmla="*/ 126 h 1046"/>
                <a:gd name="T68" fmla="*/ 165 w 1087"/>
                <a:gd name="T69" fmla="*/ 38 h 1046"/>
                <a:gd name="T70" fmla="*/ 583 w 1087"/>
                <a:gd name="T71" fmla="*/ 1008 h 1046"/>
                <a:gd name="T72" fmla="*/ 1005 w 1087"/>
                <a:gd name="T73" fmla="*/ 920 h 1046"/>
                <a:gd name="T74" fmla="*/ 1049 w 1087"/>
                <a:gd name="T75" fmla="*/ 920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7" h="1046">
                  <a:moveTo>
                    <a:pt x="1024" y="883"/>
                  </a:moveTo>
                  <a:lnTo>
                    <a:pt x="1024" y="756"/>
                  </a:lnTo>
                  <a:lnTo>
                    <a:pt x="961" y="756"/>
                  </a:lnTo>
                  <a:lnTo>
                    <a:pt x="961" y="630"/>
                  </a:lnTo>
                  <a:lnTo>
                    <a:pt x="898" y="630"/>
                  </a:lnTo>
                  <a:lnTo>
                    <a:pt x="898" y="504"/>
                  </a:lnTo>
                  <a:lnTo>
                    <a:pt x="857" y="504"/>
                  </a:lnTo>
                  <a:lnTo>
                    <a:pt x="857" y="379"/>
                  </a:lnTo>
                  <a:lnTo>
                    <a:pt x="794" y="379"/>
                  </a:lnTo>
                  <a:lnTo>
                    <a:pt x="794" y="252"/>
                  </a:lnTo>
                  <a:lnTo>
                    <a:pt x="731" y="252"/>
                  </a:lnTo>
                  <a:lnTo>
                    <a:pt x="731" y="126"/>
                  </a:lnTo>
                  <a:lnTo>
                    <a:pt x="668" y="126"/>
                  </a:lnTo>
                  <a:lnTo>
                    <a:pt x="668" y="0"/>
                  </a:lnTo>
                  <a:lnTo>
                    <a:pt x="151" y="0"/>
                  </a:lnTo>
                  <a:lnTo>
                    <a:pt x="0" y="0"/>
                  </a:lnTo>
                  <a:lnTo>
                    <a:pt x="0" y="38"/>
                  </a:lnTo>
                  <a:lnTo>
                    <a:pt x="0" y="218"/>
                  </a:lnTo>
                  <a:lnTo>
                    <a:pt x="394" y="1046"/>
                  </a:lnTo>
                  <a:lnTo>
                    <a:pt x="545" y="1046"/>
                  </a:lnTo>
                  <a:lnTo>
                    <a:pt x="1087" y="1046"/>
                  </a:lnTo>
                  <a:lnTo>
                    <a:pt x="1087" y="883"/>
                  </a:lnTo>
                  <a:lnTo>
                    <a:pt x="1024" y="883"/>
                  </a:lnTo>
                  <a:close/>
                  <a:moveTo>
                    <a:pt x="961" y="794"/>
                  </a:moveTo>
                  <a:lnTo>
                    <a:pt x="987" y="794"/>
                  </a:lnTo>
                  <a:lnTo>
                    <a:pt x="987" y="883"/>
                  </a:lnTo>
                  <a:lnTo>
                    <a:pt x="520" y="883"/>
                  </a:lnTo>
                  <a:lnTo>
                    <a:pt x="520" y="794"/>
                  </a:lnTo>
                  <a:lnTo>
                    <a:pt x="942" y="794"/>
                  </a:lnTo>
                  <a:lnTo>
                    <a:pt x="961" y="794"/>
                  </a:lnTo>
                  <a:close/>
                  <a:moveTo>
                    <a:pt x="898" y="667"/>
                  </a:moveTo>
                  <a:lnTo>
                    <a:pt x="924" y="667"/>
                  </a:lnTo>
                  <a:lnTo>
                    <a:pt x="924" y="756"/>
                  </a:lnTo>
                  <a:lnTo>
                    <a:pt x="457" y="756"/>
                  </a:lnTo>
                  <a:lnTo>
                    <a:pt x="457" y="667"/>
                  </a:lnTo>
                  <a:lnTo>
                    <a:pt x="880" y="667"/>
                  </a:lnTo>
                  <a:lnTo>
                    <a:pt x="898" y="667"/>
                  </a:lnTo>
                  <a:close/>
                  <a:moveTo>
                    <a:pt x="861" y="542"/>
                  </a:moveTo>
                  <a:lnTo>
                    <a:pt x="861" y="630"/>
                  </a:lnTo>
                  <a:lnTo>
                    <a:pt x="394" y="630"/>
                  </a:lnTo>
                  <a:lnTo>
                    <a:pt x="394" y="542"/>
                  </a:lnTo>
                  <a:lnTo>
                    <a:pt x="857" y="542"/>
                  </a:lnTo>
                  <a:lnTo>
                    <a:pt x="861" y="542"/>
                  </a:lnTo>
                  <a:close/>
                  <a:moveTo>
                    <a:pt x="794" y="416"/>
                  </a:moveTo>
                  <a:lnTo>
                    <a:pt x="819" y="416"/>
                  </a:lnTo>
                  <a:lnTo>
                    <a:pt x="819" y="504"/>
                  </a:lnTo>
                  <a:lnTo>
                    <a:pt x="381" y="504"/>
                  </a:lnTo>
                  <a:lnTo>
                    <a:pt x="353" y="504"/>
                  </a:lnTo>
                  <a:lnTo>
                    <a:pt x="353" y="416"/>
                  </a:lnTo>
                  <a:lnTo>
                    <a:pt x="775" y="416"/>
                  </a:lnTo>
                  <a:lnTo>
                    <a:pt x="794" y="416"/>
                  </a:lnTo>
                  <a:close/>
                  <a:moveTo>
                    <a:pt x="731" y="290"/>
                  </a:moveTo>
                  <a:lnTo>
                    <a:pt x="757" y="290"/>
                  </a:lnTo>
                  <a:lnTo>
                    <a:pt x="757" y="379"/>
                  </a:lnTo>
                  <a:lnTo>
                    <a:pt x="290" y="379"/>
                  </a:lnTo>
                  <a:lnTo>
                    <a:pt x="290" y="290"/>
                  </a:lnTo>
                  <a:lnTo>
                    <a:pt x="713" y="290"/>
                  </a:lnTo>
                  <a:lnTo>
                    <a:pt x="731" y="290"/>
                  </a:lnTo>
                  <a:close/>
                  <a:moveTo>
                    <a:pt x="668" y="163"/>
                  </a:moveTo>
                  <a:lnTo>
                    <a:pt x="694" y="163"/>
                  </a:lnTo>
                  <a:lnTo>
                    <a:pt x="694" y="252"/>
                  </a:lnTo>
                  <a:lnTo>
                    <a:pt x="227" y="252"/>
                  </a:lnTo>
                  <a:lnTo>
                    <a:pt x="227" y="163"/>
                  </a:lnTo>
                  <a:lnTo>
                    <a:pt x="650" y="163"/>
                  </a:lnTo>
                  <a:lnTo>
                    <a:pt x="668" y="163"/>
                  </a:lnTo>
                  <a:close/>
                  <a:moveTo>
                    <a:pt x="165" y="38"/>
                  </a:moveTo>
                  <a:lnTo>
                    <a:pt x="630" y="38"/>
                  </a:lnTo>
                  <a:lnTo>
                    <a:pt x="630" y="126"/>
                  </a:lnTo>
                  <a:lnTo>
                    <a:pt x="165" y="126"/>
                  </a:lnTo>
                  <a:lnTo>
                    <a:pt x="165" y="38"/>
                  </a:lnTo>
                  <a:close/>
                  <a:moveTo>
                    <a:pt x="1049" y="1008"/>
                  </a:moveTo>
                  <a:lnTo>
                    <a:pt x="583" y="1008"/>
                  </a:lnTo>
                  <a:lnTo>
                    <a:pt x="583" y="920"/>
                  </a:lnTo>
                  <a:lnTo>
                    <a:pt x="1005" y="920"/>
                  </a:lnTo>
                  <a:lnTo>
                    <a:pt x="1024" y="920"/>
                  </a:lnTo>
                  <a:lnTo>
                    <a:pt x="1049" y="920"/>
                  </a:lnTo>
                  <a:lnTo>
                    <a:pt x="1049" y="1008"/>
                  </a:lnTo>
                  <a:close/>
                </a:path>
              </a:pathLst>
            </a:custGeom>
            <a:solidFill>
              <a:schemeClr val="tx2">
                <a:lumMod val="50000"/>
              </a:schemeClr>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56" name="Freeform 57"/>
            <p:cNvSpPr>
              <a:spLocks/>
            </p:cNvSpPr>
            <p:nvPr/>
          </p:nvSpPr>
          <p:spPr bwMode="auto">
            <a:xfrm>
              <a:off x="4174655" y="5278528"/>
              <a:ext cx="561322" cy="137160"/>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3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3" y="0"/>
                  </a:lnTo>
                  <a:lnTo>
                    <a:pt x="441" y="0"/>
                  </a:lnTo>
                  <a:close/>
                </a:path>
              </a:pathLst>
            </a:custGeom>
            <a:pattFill prst="dkVert">
              <a:fgClr>
                <a:schemeClr val="bg2">
                  <a:lumMod val="25000"/>
                </a:schemeClr>
              </a:fgClr>
              <a:bgClr>
                <a:schemeClr val="bg2">
                  <a:lumMod val="50000"/>
                </a:schemeClr>
              </a:bgClr>
            </a:patt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57" name="Freeform 58"/>
            <p:cNvSpPr>
              <a:spLocks/>
            </p:cNvSpPr>
            <p:nvPr/>
          </p:nvSpPr>
          <p:spPr bwMode="auto">
            <a:xfrm>
              <a:off x="4098603" y="5121783"/>
              <a:ext cx="561321" cy="137160"/>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3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3" y="0"/>
                  </a:lnTo>
                  <a:lnTo>
                    <a:pt x="441" y="0"/>
                  </a:lnTo>
                  <a:close/>
                </a:path>
              </a:pathLst>
            </a:custGeom>
            <a:pattFill prst="dkVert">
              <a:fgClr>
                <a:schemeClr val="bg2">
                  <a:lumMod val="25000"/>
                </a:schemeClr>
              </a:fgClr>
              <a:bgClr>
                <a:schemeClr val="accent4">
                  <a:lumMod val="50000"/>
                </a:schemeClr>
              </a:bgClr>
            </a:patt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59" name="Freeform 58"/>
            <p:cNvSpPr>
              <a:spLocks/>
            </p:cNvSpPr>
            <p:nvPr/>
          </p:nvSpPr>
          <p:spPr bwMode="auto">
            <a:xfrm>
              <a:off x="4021389" y="4965038"/>
              <a:ext cx="561322" cy="137160"/>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3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3" y="0"/>
                  </a:lnTo>
                  <a:lnTo>
                    <a:pt x="441" y="0"/>
                  </a:lnTo>
                  <a:close/>
                </a:path>
              </a:pathLst>
            </a:custGeom>
            <a:pattFill prst="dkVert">
              <a:fgClr>
                <a:schemeClr val="bg2">
                  <a:lumMod val="25000"/>
                </a:schemeClr>
              </a:fgClr>
              <a:bgClr>
                <a:schemeClr val="accent4">
                  <a:lumMod val="50000"/>
                </a:schemeClr>
              </a:bgClr>
            </a:patt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52" name="Freeform 53"/>
            <p:cNvSpPr>
              <a:spLocks/>
            </p:cNvSpPr>
            <p:nvPr/>
          </p:nvSpPr>
          <p:spPr bwMode="auto">
            <a:xfrm>
              <a:off x="4449881" y="5905509"/>
              <a:ext cx="564945" cy="137160"/>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2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2" y="0"/>
                  </a:lnTo>
                  <a:lnTo>
                    <a:pt x="441" y="0"/>
                  </a:lnTo>
                  <a:close/>
                </a:path>
              </a:pathLst>
            </a:custGeom>
            <a:pattFill prst="dkVert">
              <a:fgClr>
                <a:schemeClr val="bg2">
                  <a:lumMod val="25000"/>
                </a:schemeClr>
              </a:fgClr>
              <a:bgClr>
                <a:schemeClr val="bg2">
                  <a:lumMod val="50000"/>
                </a:schemeClr>
              </a:bgClr>
            </a:patt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53" name="Freeform 54"/>
            <p:cNvSpPr>
              <a:spLocks/>
            </p:cNvSpPr>
            <p:nvPr/>
          </p:nvSpPr>
          <p:spPr bwMode="auto">
            <a:xfrm>
              <a:off x="4373832" y="5748764"/>
              <a:ext cx="564945" cy="137160"/>
            </a:xfrm>
            <a:custGeom>
              <a:avLst/>
              <a:gdLst>
                <a:gd name="T0" fmla="*/ 441 w 467"/>
                <a:gd name="T1" fmla="*/ 0 h 89"/>
                <a:gd name="T2" fmla="*/ 467 w 467"/>
                <a:gd name="T3" fmla="*/ 0 h 89"/>
                <a:gd name="T4" fmla="*/ 467 w 467"/>
                <a:gd name="T5" fmla="*/ 89 h 89"/>
                <a:gd name="T6" fmla="*/ 0 w 467"/>
                <a:gd name="T7" fmla="*/ 89 h 89"/>
                <a:gd name="T8" fmla="*/ 0 w 467"/>
                <a:gd name="T9" fmla="*/ 0 h 89"/>
                <a:gd name="T10" fmla="*/ 423 w 467"/>
                <a:gd name="T11" fmla="*/ 0 h 89"/>
                <a:gd name="T12" fmla="*/ 441 w 46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467" h="89">
                  <a:moveTo>
                    <a:pt x="441" y="0"/>
                  </a:moveTo>
                  <a:lnTo>
                    <a:pt x="467" y="0"/>
                  </a:lnTo>
                  <a:lnTo>
                    <a:pt x="467" y="89"/>
                  </a:lnTo>
                  <a:lnTo>
                    <a:pt x="0" y="89"/>
                  </a:lnTo>
                  <a:lnTo>
                    <a:pt x="0" y="0"/>
                  </a:lnTo>
                  <a:lnTo>
                    <a:pt x="423" y="0"/>
                  </a:lnTo>
                  <a:lnTo>
                    <a:pt x="441" y="0"/>
                  </a:lnTo>
                  <a:close/>
                </a:path>
              </a:pathLst>
            </a:custGeom>
            <a:pattFill prst="dkVert">
              <a:fgClr>
                <a:schemeClr val="bg2">
                  <a:lumMod val="25000"/>
                </a:schemeClr>
              </a:fgClr>
              <a:bgClr>
                <a:schemeClr val="bg2">
                  <a:lumMod val="50000"/>
                </a:schemeClr>
              </a:bgClr>
            </a:patt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54" name="Freeform 55"/>
            <p:cNvSpPr>
              <a:spLocks/>
            </p:cNvSpPr>
            <p:nvPr/>
          </p:nvSpPr>
          <p:spPr bwMode="auto">
            <a:xfrm>
              <a:off x="4297784" y="5592019"/>
              <a:ext cx="564945" cy="137160"/>
            </a:xfrm>
            <a:custGeom>
              <a:avLst/>
              <a:gdLst>
                <a:gd name="T0" fmla="*/ 467 w 467"/>
                <a:gd name="T1" fmla="*/ 0 h 88"/>
                <a:gd name="T2" fmla="*/ 467 w 467"/>
                <a:gd name="T3" fmla="*/ 88 h 88"/>
                <a:gd name="T4" fmla="*/ 0 w 467"/>
                <a:gd name="T5" fmla="*/ 88 h 88"/>
                <a:gd name="T6" fmla="*/ 0 w 467"/>
                <a:gd name="T7" fmla="*/ 0 h 88"/>
                <a:gd name="T8" fmla="*/ 463 w 467"/>
                <a:gd name="T9" fmla="*/ 0 h 88"/>
                <a:gd name="T10" fmla="*/ 467 w 467"/>
                <a:gd name="T11" fmla="*/ 0 h 88"/>
              </a:gdLst>
              <a:ahLst/>
              <a:cxnLst>
                <a:cxn ang="0">
                  <a:pos x="T0" y="T1"/>
                </a:cxn>
                <a:cxn ang="0">
                  <a:pos x="T2" y="T3"/>
                </a:cxn>
                <a:cxn ang="0">
                  <a:pos x="T4" y="T5"/>
                </a:cxn>
                <a:cxn ang="0">
                  <a:pos x="T6" y="T7"/>
                </a:cxn>
                <a:cxn ang="0">
                  <a:pos x="T8" y="T9"/>
                </a:cxn>
                <a:cxn ang="0">
                  <a:pos x="T10" y="T11"/>
                </a:cxn>
              </a:cxnLst>
              <a:rect l="0" t="0" r="r" b="b"/>
              <a:pathLst>
                <a:path w="467" h="88">
                  <a:moveTo>
                    <a:pt x="467" y="0"/>
                  </a:moveTo>
                  <a:lnTo>
                    <a:pt x="467" y="88"/>
                  </a:lnTo>
                  <a:lnTo>
                    <a:pt x="0" y="88"/>
                  </a:lnTo>
                  <a:lnTo>
                    <a:pt x="0" y="0"/>
                  </a:lnTo>
                  <a:lnTo>
                    <a:pt x="463" y="0"/>
                  </a:lnTo>
                  <a:lnTo>
                    <a:pt x="467" y="0"/>
                  </a:lnTo>
                  <a:close/>
                </a:path>
              </a:pathLst>
            </a:custGeom>
            <a:pattFill prst="dkVert">
              <a:fgClr>
                <a:schemeClr val="bg2">
                  <a:lumMod val="25000"/>
                </a:schemeClr>
              </a:fgClr>
              <a:bgClr>
                <a:schemeClr val="bg2">
                  <a:lumMod val="50000"/>
                </a:schemeClr>
              </a:bgClr>
            </a:patt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55" name="Freeform 56"/>
            <p:cNvSpPr>
              <a:spLocks/>
            </p:cNvSpPr>
            <p:nvPr/>
          </p:nvSpPr>
          <p:spPr bwMode="auto">
            <a:xfrm>
              <a:off x="4250704" y="5435274"/>
              <a:ext cx="561322" cy="137160"/>
            </a:xfrm>
            <a:custGeom>
              <a:avLst/>
              <a:gdLst>
                <a:gd name="T0" fmla="*/ 441 w 466"/>
                <a:gd name="T1" fmla="*/ 0 h 88"/>
                <a:gd name="T2" fmla="*/ 466 w 466"/>
                <a:gd name="T3" fmla="*/ 0 h 88"/>
                <a:gd name="T4" fmla="*/ 466 w 466"/>
                <a:gd name="T5" fmla="*/ 88 h 88"/>
                <a:gd name="T6" fmla="*/ 28 w 466"/>
                <a:gd name="T7" fmla="*/ 88 h 88"/>
                <a:gd name="T8" fmla="*/ 0 w 466"/>
                <a:gd name="T9" fmla="*/ 88 h 88"/>
                <a:gd name="T10" fmla="*/ 0 w 466"/>
                <a:gd name="T11" fmla="*/ 0 h 88"/>
                <a:gd name="T12" fmla="*/ 422 w 466"/>
                <a:gd name="T13" fmla="*/ 0 h 88"/>
                <a:gd name="T14" fmla="*/ 441 w 466"/>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6" h="88">
                  <a:moveTo>
                    <a:pt x="441" y="0"/>
                  </a:moveTo>
                  <a:lnTo>
                    <a:pt x="466" y="0"/>
                  </a:lnTo>
                  <a:lnTo>
                    <a:pt x="466" y="88"/>
                  </a:lnTo>
                  <a:lnTo>
                    <a:pt x="28" y="88"/>
                  </a:lnTo>
                  <a:lnTo>
                    <a:pt x="0" y="88"/>
                  </a:lnTo>
                  <a:lnTo>
                    <a:pt x="0" y="0"/>
                  </a:lnTo>
                  <a:lnTo>
                    <a:pt x="422" y="0"/>
                  </a:lnTo>
                  <a:lnTo>
                    <a:pt x="441" y="0"/>
                  </a:lnTo>
                  <a:close/>
                </a:path>
              </a:pathLst>
            </a:custGeom>
            <a:pattFill prst="dkVert">
              <a:fgClr>
                <a:schemeClr val="bg2">
                  <a:lumMod val="25000"/>
                </a:schemeClr>
              </a:fgClr>
              <a:bgClr>
                <a:schemeClr val="bg2">
                  <a:lumMod val="50000"/>
                </a:schemeClr>
              </a:bgClr>
            </a:patt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58" name="Freeform 60"/>
            <p:cNvSpPr>
              <a:spLocks/>
            </p:cNvSpPr>
            <p:nvPr/>
          </p:nvSpPr>
          <p:spPr bwMode="auto">
            <a:xfrm>
              <a:off x="4525931" y="6062254"/>
              <a:ext cx="564945" cy="137160"/>
            </a:xfrm>
            <a:custGeom>
              <a:avLst/>
              <a:gdLst>
                <a:gd name="T0" fmla="*/ 466 w 466"/>
                <a:gd name="T1" fmla="*/ 88 h 88"/>
                <a:gd name="T2" fmla="*/ 0 w 466"/>
                <a:gd name="T3" fmla="*/ 88 h 88"/>
                <a:gd name="T4" fmla="*/ 0 w 466"/>
                <a:gd name="T5" fmla="*/ 0 h 88"/>
                <a:gd name="T6" fmla="*/ 422 w 466"/>
                <a:gd name="T7" fmla="*/ 0 h 88"/>
                <a:gd name="T8" fmla="*/ 441 w 466"/>
                <a:gd name="T9" fmla="*/ 0 h 88"/>
                <a:gd name="T10" fmla="*/ 466 w 466"/>
                <a:gd name="T11" fmla="*/ 0 h 88"/>
                <a:gd name="T12" fmla="*/ 466 w 466"/>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466" h="88">
                  <a:moveTo>
                    <a:pt x="466" y="88"/>
                  </a:moveTo>
                  <a:lnTo>
                    <a:pt x="0" y="88"/>
                  </a:lnTo>
                  <a:lnTo>
                    <a:pt x="0" y="0"/>
                  </a:lnTo>
                  <a:lnTo>
                    <a:pt x="422" y="0"/>
                  </a:lnTo>
                  <a:lnTo>
                    <a:pt x="441" y="0"/>
                  </a:lnTo>
                  <a:lnTo>
                    <a:pt x="466" y="0"/>
                  </a:lnTo>
                  <a:lnTo>
                    <a:pt x="466" y="88"/>
                  </a:lnTo>
                  <a:close/>
                </a:path>
              </a:pathLst>
            </a:custGeom>
            <a:pattFill prst="dkVert">
              <a:fgClr>
                <a:schemeClr val="bg2">
                  <a:lumMod val="25000"/>
                </a:schemeClr>
              </a:fgClr>
              <a:bgClr>
                <a:schemeClr val="bg2">
                  <a:lumMod val="50000"/>
                </a:schemeClr>
              </a:bgClr>
            </a:patt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60" name="Rounded Rectangle 914"/>
            <p:cNvSpPr/>
            <p:nvPr/>
          </p:nvSpPr>
          <p:spPr bwMode="auto">
            <a:xfrm>
              <a:off x="3609898" y="4934499"/>
              <a:ext cx="939511" cy="1288980"/>
            </a:xfrm>
            <a:custGeom>
              <a:avLst/>
              <a:gdLst>
                <a:gd name="connsiteX0" fmla="*/ 0 w 480775"/>
                <a:gd name="connsiteY0" fmla="*/ 0 h 601696"/>
                <a:gd name="connsiteX1" fmla="*/ 198283 w 480775"/>
                <a:gd name="connsiteY1" fmla="*/ 0 h 601696"/>
                <a:gd name="connsiteX2" fmla="*/ 376295 w 480775"/>
                <a:gd name="connsiteY2" fmla="*/ 406564 h 601696"/>
                <a:gd name="connsiteX3" fmla="*/ 409977 w 480775"/>
                <a:gd name="connsiteY3" fmla="*/ 405066 h 601696"/>
                <a:gd name="connsiteX4" fmla="*/ 480026 w 480775"/>
                <a:gd name="connsiteY4" fmla="*/ 517867 h 601696"/>
                <a:gd name="connsiteX5" fmla="*/ 400163 w 480775"/>
                <a:gd name="connsiteY5" fmla="*/ 598922 h 601696"/>
                <a:gd name="connsiteX6" fmla="*/ 275243 w 480775"/>
                <a:gd name="connsiteY6" fmla="*/ 601696 h 601696"/>
                <a:gd name="connsiteX7" fmla="*/ 0 w 480775"/>
                <a:gd name="connsiteY7" fmla="*/ 0 h 601696"/>
                <a:gd name="connsiteX0" fmla="*/ 0 w 480775"/>
                <a:gd name="connsiteY0" fmla="*/ 0 h 601696"/>
                <a:gd name="connsiteX1" fmla="*/ 198283 w 480775"/>
                <a:gd name="connsiteY1" fmla="*/ 0 h 601696"/>
                <a:gd name="connsiteX2" fmla="*/ 376295 w 480775"/>
                <a:gd name="connsiteY2" fmla="*/ 406564 h 601696"/>
                <a:gd name="connsiteX3" fmla="*/ 409977 w 480775"/>
                <a:gd name="connsiteY3" fmla="*/ 405066 h 601696"/>
                <a:gd name="connsiteX4" fmla="*/ 480026 w 480775"/>
                <a:gd name="connsiteY4" fmla="*/ 517867 h 601696"/>
                <a:gd name="connsiteX5" fmla="*/ 400163 w 480775"/>
                <a:gd name="connsiteY5" fmla="*/ 598922 h 601696"/>
                <a:gd name="connsiteX6" fmla="*/ 275243 w 480775"/>
                <a:gd name="connsiteY6" fmla="*/ 601696 h 601696"/>
                <a:gd name="connsiteX7" fmla="*/ 0 w 480775"/>
                <a:gd name="connsiteY7" fmla="*/ 0 h 601696"/>
                <a:gd name="connsiteX0" fmla="*/ 0 w 502403"/>
                <a:gd name="connsiteY0" fmla="*/ 0 h 601696"/>
                <a:gd name="connsiteX1" fmla="*/ 198283 w 502403"/>
                <a:gd name="connsiteY1" fmla="*/ 0 h 601696"/>
                <a:gd name="connsiteX2" fmla="*/ 376295 w 502403"/>
                <a:gd name="connsiteY2" fmla="*/ 406564 h 601696"/>
                <a:gd name="connsiteX3" fmla="*/ 409977 w 502403"/>
                <a:gd name="connsiteY3" fmla="*/ 405066 h 601696"/>
                <a:gd name="connsiteX4" fmla="*/ 501867 w 502403"/>
                <a:gd name="connsiteY4" fmla="*/ 505127 h 601696"/>
                <a:gd name="connsiteX5" fmla="*/ 400163 w 502403"/>
                <a:gd name="connsiteY5" fmla="*/ 598922 h 601696"/>
                <a:gd name="connsiteX6" fmla="*/ 275243 w 502403"/>
                <a:gd name="connsiteY6" fmla="*/ 601696 h 601696"/>
                <a:gd name="connsiteX7" fmla="*/ 0 w 502403"/>
                <a:gd name="connsiteY7" fmla="*/ 0 h 601696"/>
                <a:gd name="connsiteX0" fmla="*/ 0 w 501867"/>
                <a:gd name="connsiteY0" fmla="*/ 0 h 601696"/>
                <a:gd name="connsiteX1" fmla="*/ 198283 w 501867"/>
                <a:gd name="connsiteY1" fmla="*/ 0 h 601696"/>
                <a:gd name="connsiteX2" fmla="*/ 376295 w 501867"/>
                <a:gd name="connsiteY2" fmla="*/ 406564 h 601696"/>
                <a:gd name="connsiteX3" fmla="*/ 409977 w 501867"/>
                <a:gd name="connsiteY3" fmla="*/ 405066 h 601696"/>
                <a:gd name="connsiteX4" fmla="*/ 501867 w 501867"/>
                <a:gd name="connsiteY4" fmla="*/ 505127 h 601696"/>
                <a:gd name="connsiteX5" fmla="*/ 400163 w 501867"/>
                <a:gd name="connsiteY5" fmla="*/ 598922 h 601696"/>
                <a:gd name="connsiteX6" fmla="*/ 275243 w 501867"/>
                <a:gd name="connsiteY6" fmla="*/ 601696 h 601696"/>
                <a:gd name="connsiteX7" fmla="*/ 0 w 501867"/>
                <a:gd name="connsiteY7" fmla="*/ 0 h 601696"/>
                <a:gd name="connsiteX0" fmla="*/ 0 w 490947"/>
                <a:gd name="connsiteY0" fmla="*/ 0 h 601696"/>
                <a:gd name="connsiteX1" fmla="*/ 198283 w 490947"/>
                <a:gd name="connsiteY1" fmla="*/ 0 h 601696"/>
                <a:gd name="connsiteX2" fmla="*/ 376295 w 490947"/>
                <a:gd name="connsiteY2" fmla="*/ 406564 h 601696"/>
                <a:gd name="connsiteX3" fmla="*/ 409977 w 490947"/>
                <a:gd name="connsiteY3" fmla="*/ 405066 h 601696"/>
                <a:gd name="connsiteX4" fmla="*/ 490947 w 490947"/>
                <a:gd name="connsiteY4" fmla="*/ 505127 h 601696"/>
                <a:gd name="connsiteX5" fmla="*/ 400163 w 490947"/>
                <a:gd name="connsiteY5" fmla="*/ 598922 h 601696"/>
                <a:gd name="connsiteX6" fmla="*/ 275243 w 490947"/>
                <a:gd name="connsiteY6" fmla="*/ 601696 h 601696"/>
                <a:gd name="connsiteX7" fmla="*/ 0 w 490947"/>
                <a:gd name="connsiteY7" fmla="*/ 0 h 601696"/>
                <a:gd name="connsiteX0" fmla="*/ 0 w 495497"/>
                <a:gd name="connsiteY0" fmla="*/ 0 h 601696"/>
                <a:gd name="connsiteX1" fmla="*/ 198283 w 495497"/>
                <a:gd name="connsiteY1" fmla="*/ 0 h 601696"/>
                <a:gd name="connsiteX2" fmla="*/ 376295 w 495497"/>
                <a:gd name="connsiteY2" fmla="*/ 406564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74475 w 495497"/>
                <a:gd name="connsiteY2" fmla="*/ 402924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39480 w 495497"/>
                <a:gd name="connsiteY2" fmla="*/ 323601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339480 w 495497"/>
                <a:gd name="connsiteY2" fmla="*/ 323601 h 601696"/>
                <a:gd name="connsiteX3" fmla="*/ 409977 w 495497"/>
                <a:gd name="connsiteY3" fmla="*/ 405066 h 601696"/>
                <a:gd name="connsiteX4" fmla="*/ 495497 w 495497"/>
                <a:gd name="connsiteY4" fmla="*/ 507857 h 601696"/>
                <a:gd name="connsiteX5" fmla="*/ 400163 w 495497"/>
                <a:gd name="connsiteY5" fmla="*/ 598922 h 601696"/>
                <a:gd name="connsiteX6" fmla="*/ 275243 w 495497"/>
                <a:gd name="connsiteY6" fmla="*/ 601696 h 601696"/>
                <a:gd name="connsiteX7" fmla="*/ 0 w 495497"/>
                <a:gd name="connsiteY7" fmla="*/ 0 h 601696"/>
                <a:gd name="connsiteX0" fmla="*/ 0 w 495497"/>
                <a:gd name="connsiteY0" fmla="*/ 0 h 601696"/>
                <a:gd name="connsiteX1" fmla="*/ 198283 w 495497"/>
                <a:gd name="connsiteY1" fmla="*/ 0 h 601696"/>
                <a:gd name="connsiteX2" fmla="*/ 409977 w 495497"/>
                <a:gd name="connsiteY2" fmla="*/ 405066 h 601696"/>
                <a:gd name="connsiteX3" fmla="*/ 495497 w 495497"/>
                <a:gd name="connsiteY3" fmla="*/ 507857 h 601696"/>
                <a:gd name="connsiteX4" fmla="*/ 400163 w 495497"/>
                <a:gd name="connsiteY4" fmla="*/ 598922 h 601696"/>
                <a:gd name="connsiteX5" fmla="*/ 275243 w 495497"/>
                <a:gd name="connsiteY5" fmla="*/ 601696 h 601696"/>
                <a:gd name="connsiteX6" fmla="*/ 0 w 495497"/>
                <a:gd name="connsiteY6" fmla="*/ 0 h 601696"/>
                <a:gd name="connsiteX0" fmla="*/ 0 w 495497"/>
                <a:gd name="connsiteY0" fmla="*/ 0 h 601696"/>
                <a:gd name="connsiteX1" fmla="*/ 198283 w 495497"/>
                <a:gd name="connsiteY1" fmla="*/ 0 h 601696"/>
                <a:gd name="connsiteX2" fmla="*/ 391313 w 495497"/>
                <a:gd name="connsiteY2" fmla="*/ 398067 h 601696"/>
                <a:gd name="connsiteX3" fmla="*/ 495497 w 495497"/>
                <a:gd name="connsiteY3" fmla="*/ 507857 h 601696"/>
                <a:gd name="connsiteX4" fmla="*/ 400163 w 495497"/>
                <a:gd name="connsiteY4" fmla="*/ 598922 h 601696"/>
                <a:gd name="connsiteX5" fmla="*/ 275243 w 495497"/>
                <a:gd name="connsiteY5" fmla="*/ 601696 h 601696"/>
                <a:gd name="connsiteX6" fmla="*/ 0 w 495497"/>
                <a:gd name="connsiteY6" fmla="*/ 0 h 601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497" h="601696">
                  <a:moveTo>
                    <a:pt x="0" y="0"/>
                  </a:moveTo>
                  <a:lnTo>
                    <a:pt x="198283" y="0"/>
                  </a:lnTo>
                  <a:lnTo>
                    <a:pt x="391313" y="398067"/>
                  </a:lnTo>
                  <a:cubicBezTo>
                    <a:pt x="470261" y="406608"/>
                    <a:pt x="494233" y="475471"/>
                    <a:pt x="495497" y="507857"/>
                  </a:cubicBezTo>
                  <a:cubicBezTo>
                    <a:pt x="486491" y="574749"/>
                    <a:pt x="438839" y="598922"/>
                    <a:pt x="400163" y="598922"/>
                  </a:cubicBezTo>
                  <a:lnTo>
                    <a:pt x="275243" y="601696"/>
                  </a:lnTo>
                  <a:lnTo>
                    <a:pt x="0" y="0"/>
                  </a:lnTo>
                  <a:close/>
                </a:path>
              </a:pathLst>
            </a:custGeom>
            <a:gradFill>
              <a:gsLst>
                <a:gs pos="100000">
                  <a:schemeClr val="accent5">
                    <a:lumMod val="50000"/>
                  </a:schemeClr>
                </a:gs>
                <a:gs pos="42000">
                  <a:schemeClr val="bg2">
                    <a:lumMod val="50000"/>
                  </a:schemeClr>
                </a:gs>
              </a:gsLst>
              <a:lin ang="16200000" scaled="0"/>
            </a:gra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3407" name="Rectangle 1915"/>
          <p:cNvSpPr>
            <a:spLocks noChangeArrowheads="1"/>
          </p:cNvSpPr>
          <p:nvPr/>
        </p:nvSpPr>
        <p:spPr bwMode="auto">
          <a:xfrm>
            <a:off x="224950" y="3865132"/>
            <a:ext cx="3303143" cy="847291"/>
          </a:xfrm>
          <a:prstGeom prst="rect">
            <a:avLst/>
          </a:prstGeom>
          <a:gradFill>
            <a:gsLst>
              <a:gs pos="100000">
                <a:srgbClr val="000608">
                  <a:alpha val="0"/>
                </a:srgbClr>
              </a:gs>
              <a:gs pos="20000">
                <a:schemeClr val="accent1">
                  <a:lumMod val="75000"/>
                  <a:alpha val="36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61" name="Freeform 2112"/>
          <p:cNvSpPr>
            <a:spLocks noEditPoints="1"/>
          </p:cNvSpPr>
          <p:nvPr/>
        </p:nvSpPr>
        <p:spPr bwMode="auto">
          <a:xfrm>
            <a:off x="273780" y="4066423"/>
            <a:ext cx="175877" cy="667411"/>
          </a:xfrm>
          <a:custGeom>
            <a:avLst/>
            <a:gdLst>
              <a:gd name="T0" fmla="*/ 426 w 688"/>
              <a:gd name="T1" fmla="*/ 233 h 2606"/>
              <a:gd name="T2" fmla="*/ 454 w 688"/>
              <a:gd name="T3" fmla="*/ 268 h 2606"/>
              <a:gd name="T4" fmla="*/ 431 w 688"/>
              <a:gd name="T5" fmla="*/ 304 h 2606"/>
              <a:gd name="T6" fmla="*/ 607 w 688"/>
              <a:gd name="T7" fmla="*/ 382 h 2606"/>
              <a:gd name="T8" fmla="*/ 634 w 688"/>
              <a:gd name="T9" fmla="*/ 428 h 2606"/>
              <a:gd name="T10" fmla="*/ 670 w 688"/>
              <a:gd name="T11" fmla="*/ 461 h 2606"/>
              <a:gd name="T12" fmla="*/ 589 w 688"/>
              <a:gd name="T13" fmla="*/ 501 h 2606"/>
              <a:gd name="T14" fmla="*/ 601 w 688"/>
              <a:gd name="T15" fmla="*/ 537 h 2606"/>
              <a:gd name="T16" fmla="*/ 484 w 688"/>
              <a:gd name="T17" fmla="*/ 680 h 2606"/>
              <a:gd name="T18" fmla="*/ 437 w 688"/>
              <a:gd name="T19" fmla="*/ 1242 h 2606"/>
              <a:gd name="T20" fmla="*/ 528 w 688"/>
              <a:gd name="T21" fmla="*/ 2307 h 2606"/>
              <a:gd name="T22" fmla="*/ 33 w 688"/>
              <a:gd name="T23" fmla="*/ 2606 h 2606"/>
              <a:gd name="T24" fmla="*/ 200 w 688"/>
              <a:gd name="T25" fmla="*/ 1965 h 2606"/>
              <a:gd name="T26" fmla="*/ 262 w 688"/>
              <a:gd name="T27" fmla="*/ 1253 h 2606"/>
              <a:gd name="T28" fmla="*/ 232 w 688"/>
              <a:gd name="T29" fmla="*/ 881 h 2606"/>
              <a:gd name="T30" fmla="*/ 160 w 688"/>
              <a:gd name="T31" fmla="*/ 557 h 2606"/>
              <a:gd name="T32" fmla="*/ 76 w 688"/>
              <a:gd name="T33" fmla="*/ 526 h 2606"/>
              <a:gd name="T34" fmla="*/ 104 w 688"/>
              <a:gd name="T35" fmla="*/ 501 h 2606"/>
              <a:gd name="T36" fmla="*/ 73 w 688"/>
              <a:gd name="T37" fmla="*/ 468 h 2606"/>
              <a:gd name="T38" fmla="*/ 16 w 688"/>
              <a:gd name="T39" fmla="*/ 443 h 2606"/>
              <a:gd name="T40" fmla="*/ 58 w 688"/>
              <a:gd name="T41" fmla="*/ 404 h 2606"/>
              <a:gd name="T42" fmla="*/ 261 w 688"/>
              <a:gd name="T43" fmla="*/ 324 h 2606"/>
              <a:gd name="T44" fmla="*/ 244 w 688"/>
              <a:gd name="T45" fmla="*/ 282 h 2606"/>
              <a:gd name="T46" fmla="*/ 266 w 688"/>
              <a:gd name="T47" fmla="*/ 247 h 2606"/>
              <a:gd name="T48" fmla="*/ 346 w 688"/>
              <a:gd name="T49" fmla="*/ 0 h 2606"/>
              <a:gd name="T50" fmla="*/ 278 w 688"/>
              <a:gd name="T51" fmla="*/ 956 h 2606"/>
              <a:gd name="T52" fmla="*/ 250 w 688"/>
              <a:gd name="T53" fmla="*/ 607 h 2606"/>
              <a:gd name="T54" fmla="*/ 309 w 688"/>
              <a:gd name="T55" fmla="*/ 758 h 2606"/>
              <a:gd name="T56" fmla="*/ 288 w 688"/>
              <a:gd name="T57" fmla="*/ 712 h 2606"/>
              <a:gd name="T58" fmla="*/ 379 w 688"/>
              <a:gd name="T59" fmla="*/ 628 h 2606"/>
              <a:gd name="T60" fmla="*/ 394 w 688"/>
              <a:gd name="T61" fmla="*/ 746 h 2606"/>
              <a:gd name="T62" fmla="*/ 434 w 688"/>
              <a:gd name="T63" fmla="*/ 615 h 2606"/>
              <a:gd name="T64" fmla="*/ 421 w 688"/>
              <a:gd name="T65" fmla="*/ 956 h 2606"/>
              <a:gd name="T66" fmla="*/ 484 w 688"/>
              <a:gd name="T67" fmla="*/ 563 h 2606"/>
              <a:gd name="T68" fmla="*/ 279 w 688"/>
              <a:gd name="T69" fmla="*/ 1581 h 2606"/>
              <a:gd name="T70" fmla="*/ 256 w 688"/>
              <a:gd name="T71" fmla="*/ 1672 h 2606"/>
              <a:gd name="T72" fmla="*/ 265 w 688"/>
              <a:gd name="T73" fmla="*/ 1697 h 2606"/>
              <a:gd name="T74" fmla="*/ 233 w 688"/>
              <a:gd name="T75" fmla="*/ 1998 h 2606"/>
              <a:gd name="T76" fmla="*/ 237 w 688"/>
              <a:gd name="T77" fmla="*/ 1840 h 2606"/>
              <a:gd name="T78" fmla="*/ 225 w 688"/>
              <a:gd name="T79" fmla="*/ 2044 h 2606"/>
              <a:gd name="T80" fmla="*/ 168 w 688"/>
              <a:gd name="T81" fmla="*/ 2399 h 2606"/>
              <a:gd name="T82" fmla="*/ 199 w 688"/>
              <a:gd name="T83" fmla="*/ 2233 h 2606"/>
              <a:gd name="T84" fmla="*/ 436 w 688"/>
              <a:gd name="T85" fmla="*/ 1622 h 2606"/>
              <a:gd name="T86" fmla="*/ 417 w 688"/>
              <a:gd name="T87" fmla="*/ 1549 h 2606"/>
              <a:gd name="T88" fmla="*/ 444 w 688"/>
              <a:gd name="T89" fmla="*/ 1707 h 2606"/>
              <a:gd name="T90" fmla="*/ 453 w 688"/>
              <a:gd name="T91" fmla="*/ 2002 h 2606"/>
              <a:gd name="T92" fmla="*/ 456 w 688"/>
              <a:gd name="T93" fmla="*/ 1849 h 2606"/>
              <a:gd name="T94" fmla="*/ 484 w 688"/>
              <a:gd name="T95" fmla="*/ 2131 h 2606"/>
              <a:gd name="T96" fmla="*/ 464 w 688"/>
              <a:gd name="T97" fmla="*/ 2040 h 2606"/>
              <a:gd name="T98" fmla="*/ 496 w 688"/>
              <a:gd name="T99" fmla="*/ 2238 h 2606"/>
              <a:gd name="T100" fmla="*/ 491 w 688"/>
              <a:gd name="T101" fmla="*/ 2409 h 2606"/>
              <a:gd name="T102" fmla="*/ 419 w 688"/>
              <a:gd name="T103" fmla="*/ 1847 h 2606"/>
              <a:gd name="T104" fmla="*/ 295 w 688"/>
              <a:gd name="T105" fmla="*/ 1999 h 2606"/>
              <a:gd name="T106" fmla="*/ 256 w 688"/>
              <a:gd name="T107" fmla="*/ 1998 h 2606"/>
              <a:gd name="T108" fmla="*/ 229 w 688"/>
              <a:gd name="T109" fmla="*/ 2307 h 2606"/>
              <a:gd name="T110" fmla="*/ 386 w 688"/>
              <a:gd name="T111" fmla="*/ 2043 h 2606"/>
              <a:gd name="T112" fmla="*/ 464 w 688"/>
              <a:gd name="T113" fmla="*/ 2365 h 2606"/>
              <a:gd name="T114" fmla="*/ 409 w 688"/>
              <a:gd name="T115" fmla="*/ 2037 h 2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8" h="2606">
                <a:moveTo>
                  <a:pt x="346" y="0"/>
                </a:moveTo>
                <a:lnTo>
                  <a:pt x="346" y="0"/>
                </a:lnTo>
                <a:lnTo>
                  <a:pt x="350" y="29"/>
                </a:lnTo>
                <a:lnTo>
                  <a:pt x="353" y="58"/>
                </a:lnTo>
                <a:lnTo>
                  <a:pt x="359" y="117"/>
                </a:lnTo>
                <a:lnTo>
                  <a:pt x="364" y="175"/>
                </a:lnTo>
                <a:lnTo>
                  <a:pt x="369" y="233"/>
                </a:lnTo>
                <a:lnTo>
                  <a:pt x="369" y="233"/>
                </a:lnTo>
                <a:lnTo>
                  <a:pt x="426" y="233"/>
                </a:lnTo>
                <a:lnTo>
                  <a:pt x="426" y="233"/>
                </a:lnTo>
                <a:lnTo>
                  <a:pt x="425" y="242"/>
                </a:lnTo>
                <a:lnTo>
                  <a:pt x="426" y="249"/>
                </a:lnTo>
                <a:lnTo>
                  <a:pt x="427" y="256"/>
                </a:lnTo>
                <a:lnTo>
                  <a:pt x="430" y="260"/>
                </a:lnTo>
                <a:lnTo>
                  <a:pt x="434" y="265"/>
                </a:lnTo>
                <a:lnTo>
                  <a:pt x="440" y="267"/>
                </a:lnTo>
                <a:lnTo>
                  <a:pt x="446" y="268"/>
                </a:lnTo>
                <a:lnTo>
                  <a:pt x="454" y="268"/>
                </a:lnTo>
                <a:lnTo>
                  <a:pt x="454" y="268"/>
                </a:lnTo>
                <a:lnTo>
                  <a:pt x="454" y="272"/>
                </a:lnTo>
                <a:lnTo>
                  <a:pt x="453" y="276"/>
                </a:lnTo>
                <a:lnTo>
                  <a:pt x="450" y="282"/>
                </a:lnTo>
                <a:lnTo>
                  <a:pt x="445" y="286"/>
                </a:lnTo>
                <a:lnTo>
                  <a:pt x="440" y="290"/>
                </a:lnTo>
                <a:lnTo>
                  <a:pt x="436" y="295"/>
                </a:lnTo>
                <a:lnTo>
                  <a:pt x="432" y="301"/>
                </a:lnTo>
                <a:lnTo>
                  <a:pt x="431" y="304"/>
                </a:lnTo>
                <a:lnTo>
                  <a:pt x="431" y="308"/>
                </a:lnTo>
                <a:lnTo>
                  <a:pt x="431" y="313"/>
                </a:lnTo>
                <a:lnTo>
                  <a:pt x="432" y="319"/>
                </a:lnTo>
                <a:lnTo>
                  <a:pt x="432" y="319"/>
                </a:lnTo>
                <a:lnTo>
                  <a:pt x="456" y="329"/>
                </a:lnTo>
                <a:lnTo>
                  <a:pt x="481" y="338"/>
                </a:lnTo>
                <a:lnTo>
                  <a:pt x="532" y="356"/>
                </a:lnTo>
                <a:lnTo>
                  <a:pt x="583" y="373"/>
                </a:lnTo>
                <a:lnTo>
                  <a:pt x="607" y="382"/>
                </a:lnTo>
                <a:lnTo>
                  <a:pt x="631" y="393"/>
                </a:lnTo>
                <a:lnTo>
                  <a:pt x="631" y="393"/>
                </a:lnTo>
                <a:lnTo>
                  <a:pt x="631" y="403"/>
                </a:lnTo>
                <a:lnTo>
                  <a:pt x="631" y="412"/>
                </a:lnTo>
                <a:lnTo>
                  <a:pt x="629" y="420"/>
                </a:lnTo>
                <a:lnTo>
                  <a:pt x="627" y="424"/>
                </a:lnTo>
                <a:lnTo>
                  <a:pt x="625" y="426"/>
                </a:lnTo>
                <a:lnTo>
                  <a:pt x="625" y="426"/>
                </a:lnTo>
                <a:lnTo>
                  <a:pt x="634" y="428"/>
                </a:lnTo>
                <a:lnTo>
                  <a:pt x="642" y="431"/>
                </a:lnTo>
                <a:lnTo>
                  <a:pt x="658" y="438"/>
                </a:lnTo>
                <a:lnTo>
                  <a:pt x="673" y="444"/>
                </a:lnTo>
                <a:lnTo>
                  <a:pt x="688" y="450"/>
                </a:lnTo>
                <a:lnTo>
                  <a:pt x="688" y="450"/>
                </a:lnTo>
                <a:lnTo>
                  <a:pt x="684" y="454"/>
                </a:lnTo>
                <a:lnTo>
                  <a:pt x="680" y="457"/>
                </a:lnTo>
                <a:lnTo>
                  <a:pt x="675" y="459"/>
                </a:lnTo>
                <a:lnTo>
                  <a:pt x="670" y="461"/>
                </a:lnTo>
                <a:lnTo>
                  <a:pt x="658" y="464"/>
                </a:lnTo>
                <a:lnTo>
                  <a:pt x="643" y="465"/>
                </a:lnTo>
                <a:lnTo>
                  <a:pt x="616" y="468"/>
                </a:lnTo>
                <a:lnTo>
                  <a:pt x="603" y="470"/>
                </a:lnTo>
                <a:lnTo>
                  <a:pt x="591" y="472"/>
                </a:lnTo>
                <a:lnTo>
                  <a:pt x="591" y="472"/>
                </a:lnTo>
                <a:lnTo>
                  <a:pt x="589" y="484"/>
                </a:lnTo>
                <a:lnTo>
                  <a:pt x="589" y="494"/>
                </a:lnTo>
                <a:lnTo>
                  <a:pt x="589" y="501"/>
                </a:lnTo>
                <a:lnTo>
                  <a:pt x="590" y="507"/>
                </a:lnTo>
                <a:lnTo>
                  <a:pt x="593" y="512"/>
                </a:lnTo>
                <a:lnTo>
                  <a:pt x="598" y="516"/>
                </a:lnTo>
                <a:lnTo>
                  <a:pt x="605" y="521"/>
                </a:lnTo>
                <a:lnTo>
                  <a:pt x="614" y="524"/>
                </a:lnTo>
                <a:lnTo>
                  <a:pt x="614" y="524"/>
                </a:lnTo>
                <a:lnTo>
                  <a:pt x="610" y="529"/>
                </a:lnTo>
                <a:lnTo>
                  <a:pt x="606" y="533"/>
                </a:lnTo>
                <a:lnTo>
                  <a:pt x="601" y="537"/>
                </a:lnTo>
                <a:lnTo>
                  <a:pt x="596" y="540"/>
                </a:lnTo>
                <a:lnTo>
                  <a:pt x="583" y="545"/>
                </a:lnTo>
                <a:lnTo>
                  <a:pt x="570" y="548"/>
                </a:lnTo>
                <a:lnTo>
                  <a:pt x="540" y="552"/>
                </a:lnTo>
                <a:lnTo>
                  <a:pt x="525" y="555"/>
                </a:lnTo>
                <a:lnTo>
                  <a:pt x="511" y="558"/>
                </a:lnTo>
                <a:lnTo>
                  <a:pt x="511" y="558"/>
                </a:lnTo>
                <a:lnTo>
                  <a:pt x="497" y="619"/>
                </a:lnTo>
                <a:lnTo>
                  <a:pt x="484" y="680"/>
                </a:lnTo>
                <a:lnTo>
                  <a:pt x="472" y="743"/>
                </a:lnTo>
                <a:lnTo>
                  <a:pt x="462" y="807"/>
                </a:lnTo>
                <a:lnTo>
                  <a:pt x="454" y="871"/>
                </a:lnTo>
                <a:lnTo>
                  <a:pt x="447" y="935"/>
                </a:lnTo>
                <a:lnTo>
                  <a:pt x="442" y="1000"/>
                </a:lnTo>
                <a:lnTo>
                  <a:pt x="439" y="1065"/>
                </a:lnTo>
                <a:lnTo>
                  <a:pt x="439" y="1065"/>
                </a:lnTo>
                <a:lnTo>
                  <a:pt x="437" y="1154"/>
                </a:lnTo>
                <a:lnTo>
                  <a:pt x="437" y="1242"/>
                </a:lnTo>
                <a:lnTo>
                  <a:pt x="439" y="1332"/>
                </a:lnTo>
                <a:lnTo>
                  <a:pt x="443" y="1421"/>
                </a:lnTo>
                <a:lnTo>
                  <a:pt x="448" y="1511"/>
                </a:lnTo>
                <a:lnTo>
                  <a:pt x="454" y="1601"/>
                </a:lnTo>
                <a:lnTo>
                  <a:pt x="462" y="1691"/>
                </a:lnTo>
                <a:lnTo>
                  <a:pt x="470" y="1780"/>
                </a:lnTo>
                <a:lnTo>
                  <a:pt x="490" y="1958"/>
                </a:lnTo>
                <a:lnTo>
                  <a:pt x="509" y="2134"/>
                </a:lnTo>
                <a:lnTo>
                  <a:pt x="528" y="2307"/>
                </a:lnTo>
                <a:lnTo>
                  <a:pt x="537" y="2392"/>
                </a:lnTo>
                <a:lnTo>
                  <a:pt x="545" y="2475"/>
                </a:lnTo>
                <a:lnTo>
                  <a:pt x="545" y="2475"/>
                </a:lnTo>
                <a:lnTo>
                  <a:pt x="660" y="2475"/>
                </a:lnTo>
                <a:lnTo>
                  <a:pt x="660" y="2475"/>
                </a:lnTo>
                <a:lnTo>
                  <a:pt x="660" y="2606"/>
                </a:lnTo>
                <a:lnTo>
                  <a:pt x="660" y="2606"/>
                </a:lnTo>
                <a:lnTo>
                  <a:pt x="33" y="2606"/>
                </a:lnTo>
                <a:lnTo>
                  <a:pt x="33" y="2606"/>
                </a:lnTo>
                <a:lnTo>
                  <a:pt x="33" y="2475"/>
                </a:lnTo>
                <a:lnTo>
                  <a:pt x="33" y="2475"/>
                </a:lnTo>
                <a:lnTo>
                  <a:pt x="142" y="2475"/>
                </a:lnTo>
                <a:lnTo>
                  <a:pt x="142" y="2475"/>
                </a:lnTo>
                <a:lnTo>
                  <a:pt x="149" y="2392"/>
                </a:lnTo>
                <a:lnTo>
                  <a:pt x="157" y="2309"/>
                </a:lnTo>
                <a:lnTo>
                  <a:pt x="166" y="2224"/>
                </a:lnTo>
                <a:lnTo>
                  <a:pt x="177" y="2139"/>
                </a:lnTo>
                <a:lnTo>
                  <a:pt x="200" y="1965"/>
                </a:lnTo>
                <a:lnTo>
                  <a:pt x="223" y="1791"/>
                </a:lnTo>
                <a:lnTo>
                  <a:pt x="234" y="1702"/>
                </a:lnTo>
                <a:lnTo>
                  <a:pt x="243" y="1613"/>
                </a:lnTo>
                <a:lnTo>
                  <a:pt x="251" y="1524"/>
                </a:lnTo>
                <a:lnTo>
                  <a:pt x="257" y="1434"/>
                </a:lnTo>
                <a:lnTo>
                  <a:pt x="259" y="1389"/>
                </a:lnTo>
                <a:lnTo>
                  <a:pt x="261" y="1344"/>
                </a:lnTo>
                <a:lnTo>
                  <a:pt x="262" y="1299"/>
                </a:lnTo>
                <a:lnTo>
                  <a:pt x="262" y="1253"/>
                </a:lnTo>
                <a:lnTo>
                  <a:pt x="262" y="1208"/>
                </a:lnTo>
                <a:lnTo>
                  <a:pt x="260" y="1162"/>
                </a:lnTo>
                <a:lnTo>
                  <a:pt x="258" y="1116"/>
                </a:lnTo>
                <a:lnTo>
                  <a:pt x="256" y="1070"/>
                </a:lnTo>
                <a:lnTo>
                  <a:pt x="256" y="1070"/>
                </a:lnTo>
                <a:lnTo>
                  <a:pt x="253" y="1039"/>
                </a:lnTo>
                <a:lnTo>
                  <a:pt x="250" y="1007"/>
                </a:lnTo>
                <a:lnTo>
                  <a:pt x="241" y="945"/>
                </a:lnTo>
                <a:lnTo>
                  <a:pt x="232" y="881"/>
                </a:lnTo>
                <a:lnTo>
                  <a:pt x="221" y="817"/>
                </a:lnTo>
                <a:lnTo>
                  <a:pt x="210" y="753"/>
                </a:lnTo>
                <a:lnTo>
                  <a:pt x="200" y="691"/>
                </a:lnTo>
                <a:lnTo>
                  <a:pt x="192" y="627"/>
                </a:lnTo>
                <a:lnTo>
                  <a:pt x="189" y="595"/>
                </a:lnTo>
                <a:lnTo>
                  <a:pt x="187" y="563"/>
                </a:lnTo>
                <a:lnTo>
                  <a:pt x="187" y="563"/>
                </a:lnTo>
                <a:lnTo>
                  <a:pt x="174" y="560"/>
                </a:lnTo>
                <a:lnTo>
                  <a:pt x="160" y="557"/>
                </a:lnTo>
                <a:lnTo>
                  <a:pt x="132" y="551"/>
                </a:lnTo>
                <a:lnTo>
                  <a:pt x="117" y="548"/>
                </a:lnTo>
                <a:lnTo>
                  <a:pt x="104" y="545"/>
                </a:lnTo>
                <a:lnTo>
                  <a:pt x="91" y="540"/>
                </a:lnTo>
                <a:lnTo>
                  <a:pt x="79" y="535"/>
                </a:lnTo>
                <a:lnTo>
                  <a:pt x="79" y="535"/>
                </a:lnTo>
                <a:lnTo>
                  <a:pt x="77" y="531"/>
                </a:lnTo>
                <a:lnTo>
                  <a:pt x="75" y="528"/>
                </a:lnTo>
                <a:lnTo>
                  <a:pt x="76" y="526"/>
                </a:lnTo>
                <a:lnTo>
                  <a:pt x="77" y="524"/>
                </a:lnTo>
                <a:lnTo>
                  <a:pt x="79" y="522"/>
                </a:lnTo>
                <a:lnTo>
                  <a:pt x="82" y="521"/>
                </a:lnTo>
                <a:lnTo>
                  <a:pt x="89" y="517"/>
                </a:lnTo>
                <a:lnTo>
                  <a:pt x="96" y="513"/>
                </a:lnTo>
                <a:lnTo>
                  <a:pt x="99" y="511"/>
                </a:lnTo>
                <a:lnTo>
                  <a:pt x="102" y="508"/>
                </a:lnTo>
                <a:lnTo>
                  <a:pt x="103" y="505"/>
                </a:lnTo>
                <a:lnTo>
                  <a:pt x="104" y="501"/>
                </a:lnTo>
                <a:lnTo>
                  <a:pt x="104" y="496"/>
                </a:lnTo>
                <a:lnTo>
                  <a:pt x="102" y="489"/>
                </a:lnTo>
                <a:lnTo>
                  <a:pt x="102" y="489"/>
                </a:lnTo>
                <a:lnTo>
                  <a:pt x="99" y="484"/>
                </a:lnTo>
                <a:lnTo>
                  <a:pt x="95" y="479"/>
                </a:lnTo>
                <a:lnTo>
                  <a:pt x="91" y="475"/>
                </a:lnTo>
                <a:lnTo>
                  <a:pt x="86" y="472"/>
                </a:lnTo>
                <a:lnTo>
                  <a:pt x="80" y="469"/>
                </a:lnTo>
                <a:lnTo>
                  <a:pt x="73" y="468"/>
                </a:lnTo>
                <a:lnTo>
                  <a:pt x="59" y="465"/>
                </a:lnTo>
                <a:lnTo>
                  <a:pt x="27" y="462"/>
                </a:lnTo>
                <a:lnTo>
                  <a:pt x="12" y="460"/>
                </a:lnTo>
                <a:lnTo>
                  <a:pt x="6" y="458"/>
                </a:lnTo>
                <a:lnTo>
                  <a:pt x="0" y="456"/>
                </a:lnTo>
                <a:lnTo>
                  <a:pt x="0" y="456"/>
                </a:lnTo>
                <a:lnTo>
                  <a:pt x="4" y="450"/>
                </a:lnTo>
                <a:lnTo>
                  <a:pt x="10" y="446"/>
                </a:lnTo>
                <a:lnTo>
                  <a:pt x="16" y="443"/>
                </a:lnTo>
                <a:lnTo>
                  <a:pt x="23" y="440"/>
                </a:lnTo>
                <a:lnTo>
                  <a:pt x="39" y="436"/>
                </a:lnTo>
                <a:lnTo>
                  <a:pt x="57" y="432"/>
                </a:lnTo>
                <a:lnTo>
                  <a:pt x="57" y="432"/>
                </a:lnTo>
                <a:lnTo>
                  <a:pt x="60" y="428"/>
                </a:lnTo>
                <a:lnTo>
                  <a:pt x="62" y="423"/>
                </a:lnTo>
                <a:lnTo>
                  <a:pt x="62" y="419"/>
                </a:lnTo>
                <a:lnTo>
                  <a:pt x="61" y="414"/>
                </a:lnTo>
                <a:lnTo>
                  <a:pt x="58" y="404"/>
                </a:lnTo>
                <a:lnTo>
                  <a:pt x="57" y="399"/>
                </a:lnTo>
                <a:lnTo>
                  <a:pt x="57" y="393"/>
                </a:lnTo>
                <a:lnTo>
                  <a:pt x="57" y="393"/>
                </a:lnTo>
                <a:lnTo>
                  <a:pt x="106" y="375"/>
                </a:lnTo>
                <a:lnTo>
                  <a:pt x="156" y="356"/>
                </a:lnTo>
                <a:lnTo>
                  <a:pt x="181" y="346"/>
                </a:lnTo>
                <a:lnTo>
                  <a:pt x="206" y="338"/>
                </a:lnTo>
                <a:lnTo>
                  <a:pt x="234" y="331"/>
                </a:lnTo>
                <a:lnTo>
                  <a:pt x="261" y="324"/>
                </a:lnTo>
                <a:lnTo>
                  <a:pt x="261" y="324"/>
                </a:lnTo>
                <a:lnTo>
                  <a:pt x="262" y="319"/>
                </a:lnTo>
                <a:lnTo>
                  <a:pt x="262" y="314"/>
                </a:lnTo>
                <a:lnTo>
                  <a:pt x="262" y="309"/>
                </a:lnTo>
                <a:lnTo>
                  <a:pt x="261" y="305"/>
                </a:lnTo>
                <a:lnTo>
                  <a:pt x="257" y="298"/>
                </a:lnTo>
                <a:lnTo>
                  <a:pt x="253" y="293"/>
                </a:lnTo>
                <a:lnTo>
                  <a:pt x="249" y="288"/>
                </a:lnTo>
                <a:lnTo>
                  <a:pt x="244" y="282"/>
                </a:lnTo>
                <a:lnTo>
                  <a:pt x="241" y="276"/>
                </a:lnTo>
                <a:lnTo>
                  <a:pt x="239" y="268"/>
                </a:lnTo>
                <a:lnTo>
                  <a:pt x="239" y="268"/>
                </a:lnTo>
                <a:lnTo>
                  <a:pt x="245" y="267"/>
                </a:lnTo>
                <a:lnTo>
                  <a:pt x="251" y="265"/>
                </a:lnTo>
                <a:lnTo>
                  <a:pt x="256" y="261"/>
                </a:lnTo>
                <a:lnTo>
                  <a:pt x="260" y="258"/>
                </a:lnTo>
                <a:lnTo>
                  <a:pt x="263" y="253"/>
                </a:lnTo>
                <a:lnTo>
                  <a:pt x="266" y="247"/>
                </a:lnTo>
                <a:lnTo>
                  <a:pt x="267" y="241"/>
                </a:lnTo>
                <a:lnTo>
                  <a:pt x="267" y="233"/>
                </a:lnTo>
                <a:lnTo>
                  <a:pt x="267" y="233"/>
                </a:lnTo>
                <a:lnTo>
                  <a:pt x="324" y="233"/>
                </a:lnTo>
                <a:lnTo>
                  <a:pt x="324" y="233"/>
                </a:lnTo>
                <a:lnTo>
                  <a:pt x="330" y="176"/>
                </a:lnTo>
                <a:lnTo>
                  <a:pt x="336" y="118"/>
                </a:lnTo>
                <a:lnTo>
                  <a:pt x="346" y="0"/>
                </a:lnTo>
                <a:lnTo>
                  <a:pt x="346" y="0"/>
                </a:lnTo>
                <a:close/>
                <a:moveTo>
                  <a:pt x="217" y="575"/>
                </a:moveTo>
                <a:lnTo>
                  <a:pt x="217" y="575"/>
                </a:lnTo>
                <a:lnTo>
                  <a:pt x="226" y="655"/>
                </a:lnTo>
                <a:lnTo>
                  <a:pt x="231" y="696"/>
                </a:lnTo>
                <a:lnTo>
                  <a:pt x="237" y="737"/>
                </a:lnTo>
                <a:lnTo>
                  <a:pt x="244" y="783"/>
                </a:lnTo>
                <a:lnTo>
                  <a:pt x="253" y="833"/>
                </a:lnTo>
                <a:lnTo>
                  <a:pt x="264" y="890"/>
                </a:lnTo>
                <a:lnTo>
                  <a:pt x="278" y="956"/>
                </a:lnTo>
                <a:lnTo>
                  <a:pt x="278" y="956"/>
                </a:lnTo>
                <a:lnTo>
                  <a:pt x="280" y="930"/>
                </a:lnTo>
                <a:lnTo>
                  <a:pt x="280" y="903"/>
                </a:lnTo>
                <a:lnTo>
                  <a:pt x="279" y="873"/>
                </a:lnTo>
                <a:lnTo>
                  <a:pt x="277" y="841"/>
                </a:lnTo>
                <a:lnTo>
                  <a:pt x="272" y="777"/>
                </a:lnTo>
                <a:lnTo>
                  <a:pt x="265" y="712"/>
                </a:lnTo>
                <a:lnTo>
                  <a:pt x="257" y="654"/>
                </a:lnTo>
                <a:lnTo>
                  <a:pt x="250" y="607"/>
                </a:lnTo>
                <a:lnTo>
                  <a:pt x="243" y="563"/>
                </a:lnTo>
                <a:lnTo>
                  <a:pt x="214" y="558"/>
                </a:lnTo>
                <a:lnTo>
                  <a:pt x="214" y="558"/>
                </a:lnTo>
                <a:lnTo>
                  <a:pt x="216" y="564"/>
                </a:lnTo>
                <a:lnTo>
                  <a:pt x="217" y="575"/>
                </a:lnTo>
                <a:lnTo>
                  <a:pt x="217" y="575"/>
                </a:lnTo>
                <a:close/>
                <a:moveTo>
                  <a:pt x="307" y="825"/>
                </a:moveTo>
                <a:lnTo>
                  <a:pt x="307" y="825"/>
                </a:lnTo>
                <a:lnTo>
                  <a:pt x="309" y="758"/>
                </a:lnTo>
                <a:lnTo>
                  <a:pt x="309" y="695"/>
                </a:lnTo>
                <a:lnTo>
                  <a:pt x="308" y="631"/>
                </a:lnTo>
                <a:lnTo>
                  <a:pt x="307" y="567"/>
                </a:lnTo>
                <a:lnTo>
                  <a:pt x="307" y="567"/>
                </a:lnTo>
                <a:lnTo>
                  <a:pt x="275" y="565"/>
                </a:lnTo>
                <a:lnTo>
                  <a:pt x="275" y="565"/>
                </a:lnTo>
                <a:lnTo>
                  <a:pt x="277" y="595"/>
                </a:lnTo>
                <a:lnTo>
                  <a:pt x="283" y="668"/>
                </a:lnTo>
                <a:lnTo>
                  <a:pt x="288" y="712"/>
                </a:lnTo>
                <a:lnTo>
                  <a:pt x="293" y="754"/>
                </a:lnTo>
                <a:lnTo>
                  <a:pt x="299" y="794"/>
                </a:lnTo>
                <a:lnTo>
                  <a:pt x="304" y="811"/>
                </a:lnTo>
                <a:lnTo>
                  <a:pt x="307" y="825"/>
                </a:lnTo>
                <a:lnTo>
                  <a:pt x="307" y="825"/>
                </a:lnTo>
                <a:close/>
                <a:moveTo>
                  <a:pt x="380" y="569"/>
                </a:moveTo>
                <a:lnTo>
                  <a:pt x="380" y="569"/>
                </a:lnTo>
                <a:lnTo>
                  <a:pt x="379" y="598"/>
                </a:lnTo>
                <a:lnTo>
                  <a:pt x="379" y="628"/>
                </a:lnTo>
                <a:lnTo>
                  <a:pt x="379" y="659"/>
                </a:lnTo>
                <a:lnTo>
                  <a:pt x="380" y="691"/>
                </a:lnTo>
                <a:lnTo>
                  <a:pt x="382" y="722"/>
                </a:lnTo>
                <a:lnTo>
                  <a:pt x="384" y="753"/>
                </a:lnTo>
                <a:lnTo>
                  <a:pt x="388" y="785"/>
                </a:lnTo>
                <a:lnTo>
                  <a:pt x="391" y="814"/>
                </a:lnTo>
                <a:lnTo>
                  <a:pt x="391" y="814"/>
                </a:lnTo>
                <a:lnTo>
                  <a:pt x="392" y="782"/>
                </a:lnTo>
                <a:lnTo>
                  <a:pt x="394" y="746"/>
                </a:lnTo>
                <a:lnTo>
                  <a:pt x="397" y="710"/>
                </a:lnTo>
                <a:lnTo>
                  <a:pt x="401" y="674"/>
                </a:lnTo>
                <a:lnTo>
                  <a:pt x="408" y="611"/>
                </a:lnTo>
                <a:lnTo>
                  <a:pt x="410" y="585"/>
                </a:lnTo>
                <a:lnTo>
                  <a:pt x="410" y="567"/>
                </a:lnTo>
                <a:lnTo>
                  <a:pt x="380" y="569"/>
                </a:lnTo>
                <a:close/>
                <a:moveTo>
                  <a:pt x="440" y="569"/>
                </a:moveTo>
                <a:lnTo>
                  <a:pt x="440" y="569"/>
                </a:lnTo>
                <a:lnTo>
                  <a:pt x="434" y="615"/>
                </a:lnTo>
                <a:lnTo>
                  <a:pt x="428" y="662"/>
                </a:lnTo>
                <a:lnTo>
                  <a:pt x="421" y="722"/>
                </a:lnTo>
                <a:lnTo>
                  <a:pt x="416" y="786"/>
                </a:lnTo>
                <a:lnTo>
                  <a:pt x="415" y="818"/>
                </a:lnTo>
                <a:lnTo>
                  <a:pt x="414" y="849"/>
                </a:lnTo>
                <a:lnTo>
                  <a:pt x="414" y="880"/>
                </a:lnTo>
                <a:lnTo>
                  <a:pt x="415" y="908"/>
                </a:lnTo>
                <a:lnTo>
                  <a:pt x="417" y="933"/>
                </a:lnTo>
                <a:lnTo>
                  <a:pt x="421" y="956"/>
                </a:lnTo>
                <a:lnTo>
                  <a:pt x="421" y="956"/>
                </a:lnTo>
                <a:lnTo>
                  <a:pt x="428" y="874"/>
                </a:lnTo>
                <a:lnTo>
                  <a:pt x="436" y="804"/>
                </a:lnTo>
                <a:lnTo>
                  <a:pt x="444" y="745"/>
                </a:lnTo>
                <a:lnTo>
                  <a:pt x="451" y="697"/>
                </a:lnTo>
                <a:lnTo>
                  <a:pt x="459" y="655"/>
                </a:lnTo>
                <a:lnTo>
                  <a:pt x="466" y="621"/>
                </a:lnTo>
                <a:lnTo>
                  <a:pt x="475" y="590"/>
                </a:lnTo>
                <a:lnTo>
                  <a:pt x="484" y="563"/>
                </a:lnTo>
                <a:lnTo>
                  <a:pt x="484" y="563"/>
                </a:lnTo>
                <a:lnTo>
                  <a:pt x="454" y="567"/>
                </a:lnTo>
                <a:lnTo>
                  <a:pt x="440" y="569"/>
                </a:lnTo>
                <a:lnTo>
                  <a:pt x="440" y="569"/>
                </a:lnTo>
                <a:close/>
                <a:moveTo>
                  <a:pt x="256" y="1672"/>
                </a:moveTo>
                <a:lnTo>
                  <a:pt x="271" y="1672"/>
                </a:lnTo>
                <a:lnTo>
                  <a:pt x="271" y="1672"/>
                </a:lnTo>
                <a:lnTo>
                  <a:pt x="276" y="1620"/>
                </a:lnTo>
                <a:lnTo>
                  <a:pt x="279" y="1581"/>
                </a:lnTo>
                <a:lnTo>
                  <a:pt x="280" y="1554"/>
                </a:lnTo>
                <a:lnTo>
                  <a:pt x="280" y="1554"/>
                </a:lnTo>
                <a:lnTo>
                  <a:pt x="280" y="1550"/>
                </a:lnTo>
                <a:lnTo>
                  <a:pt x="278" y="1548"/>
                </a:lnTo>
                <a:lnTo>
                  <a:pt x="276" y="1547"/>
                </a:lnTo>
                <a:lnTo>
                  <a:pt x="274" y="1546"/>
                </a:lnTo>
                <a:lnTo>
                  <a:pt x="269" y="1546"/>
                </a:lnTo>
                <a:lnTo>
                  <a:pt x="268" y="1547"/>
                </a:lnTo>
                <a:lnTo>
                  <a:pt x="256" y="1672"/>
                </a:lnTo>
                <a:close/>
                <a:moveTo>
                  <a:pt x="238" y="1819"/>
                </a:moveTo>
                <a:lnTo>
                  <a:pt x="253" y="1819"/>
                </a:lnTo>
                <a:lnTo>
                  <a:pt x="253" y="1819"/>
                </a:lnTo>
                <a:lnTo>
                  <a:pt x="259" y="1768"/>
                </a:lnTo>
                <a:lnTo>
                  <a:pt x="264" y="1729"/>
                </a:lnTo>
                <a:lnTo>
                  <a:pt x="265" y="1713"/>
                </a:lnTo>
                <a:lnTo>
                  <a:pt x="266" y="1701"/>
                </a:lnTo>
                <a:lnTo>
                  <a:pt x="266" y="1701"/>
                </a:lnTo>
                <a:lnTo>
                  <a:pt x="265" y="1697"/>
                </a:lnTo>
                <a:lnTo>
                  <a:pt x="263" y="1694"/>
                </a:lnTo>
                <a:lnTo>
                  <a:pt x="261" y="1693"/>
                </a:lnTo>
                <a:lnTo>
                  <a:pt x="259" y="1692"/>
                </a:lnTo>
                <a:lnTo>
                  <a:pt x="255" y="1693"/>
                </a:lnTo>
                <a:lnTo>
                  <a:pt x="253" y="1693"/>
                </a:lnTo>
                <a:lnTo>
                  <a:pt x="238" y="1819"/>
                </a:lnTo>
                <a:close/>
                <a:moveTo>
                  <a:pt x="219" y="1998"/>
                </a:moveTo>
                <a:lnTo>
                  <a:pt x="233" y="1998"/>
                </a:lnTo>
                <a:lnTo>
                  <a:pt x="233" y="1998"/>
                </a:lnTo>
                <a:lnTo>
                  <a:pt x="241" y="1931"/>
                </a:lnTo>
                <a:lnTo>
                  <a:pt x="245" y="1880"/>
                </a:lnTo>
                <a:lnTo>
                  <a:pt x="248" y="1848"/>
                </a:lnTo>
                <a:lnTo>
                  <a:pt x="248" y="1848"/>
                </a:lnTo>
                <a:lnTo>
                  <a:pt x="247" y="1844"/>
                </a:lnTo>
                <a:lnTo>
                  <a:pt x="246" y="1842"/>
                </a:lnTo>
                <a:lnTo>
                  <a:pt x="244" y="1840"/>
                </a:lnTo>
                <a:lnTo>
                  <a:pt x="241" y="1840"/>
                </a:lnTo>
                <a:lnTo>
                  <a:pt x="237" y="1840"/>
                </a:lnTo>
                <a:lnTo>
                  <a:pt x="235" y="1841"/>
                </a:lnTo>
                <a:lnTo>
                  <a:pt x="219" y="1998"/>
                </a:lnTo>
                <a:close/>
                <a:moveTo>
                  <a:pt x="193" y="2196"/>
                </a:moveTo>
                <a:lnTo>
                  <a:pt x="208" y="2198"/>
                </a:lnTo>
                <a:lnTo>
                  <a:pt x="208" y="2198"/>
                </a:lnTo>
                <a:lnTo>
                  <a:pt x="217" y="2129"/>
                </a:lnTo>
                <a:lnTo>
                  <a:pt x="222" y="2077"/>
                </a:lnTo>
                <a:lnTo>
                  <a:pt x="224" y="2057"/>
                </a:lnTo>
                <a:lnTo>
                  <a:pt x="225" y="2044"/>
                </a:lnTo>
                <a:lnTo>
                  <a:pt x="225" y="2044"/>
                </a:lnTo>
                <a:lnTo>
                  <a:pt x="224" y="2040"/>
                </a:lnTo>
                <a:lnTo>
                  <a:pt x="223" y="2037"/>
                </a:lnTo>
                <a:lnTo>
                  <a:pt x="221" y="2036"/>
                </a:lnTo>
                <a:lnTo>
                  <a:pt x="219" y="2035"/>
                </a:lnTo>
                <a:lnTo>
                  <a:pt x="213" y="2036"/>
                </a:lnTo>
                <a:lnTo>
                  <a:pt x="211" y="2036"/>
                </a:lnTo>
                <a:lnTo>
                  <a:pt x="193" y="2196"/>
                </a:lnTo>
                <a:close/>
                <a:moveTo>
                  <a:pt x="168" y="2399"/>
                </a:moveTo>
                <a:lnTo>
                  <a:pt x="183" y="2399"/>
                </a:lnTo>
                <a:lnTo>
                  <a:pt x="183" y="2399"/>
                </a:lnTo>
                <a:lnTo>
                  <a:pt x="192" y="2327"/>
                </a:lnTo>
                <a:lnTo>
                  <a:pt x="198" y="2273"/>
                </a:lnTo>
                <a:lnTo>
                  <a:pt x="201" y="2252"/>
                </a:lnTo>
                <a:lnTo>
                  <a:pt x="201" y="2239"/>
                </a:lnTo>
                <a:lnTo>
                  <a:pt x="201" y="2239"/>
                </a:lnTo>
                <a:lnTo>
                  <a:pt x="201" y="2235"/>
                </a:lnTo>
                <a:lnTo>
                  <a:pt x="199" y="2233"/>
                </a:lnTo>
                <a:lnTo>
                  <a:pt x="197" y="2232"/>
                </a:lnTo>
                <a:lnTo>
                  <a:pt x="195" y="2231"/>
                </a:lnTo>
                <a:lnTo>
                  <a:pt x="191" y="2231"/>
                </a:lnTo>
                <a:lnTo>
                  <a:pt x="189" y="2232"/>
                </a:lnTo>
                <a:lnTo>
                  <a:pt x="168" y="2399"/>
                </a:lnTo>
                <a:close/>
                <a:moveTo>
                  <a:pt x="424" y="1667"/>
                </a:moveTo>
                <a:lnTo>
                  <a:pt x="439" y="1669"/>
                </a:lnTo>
                <a:lnTo>
                  <a:pt x="439" y="1669"/>
                </a:lnTo>
                <a:lnTo>
                  <a:pt x="436" y="1622"/>
                </a:lnTo>
                <a:lnTo>
                  <a:pt x="433" y="1586"/>
                </a:lnTo>
                <a:lnTo>
                  <a:pt x="431" y="1570"/>
                </a:lnTo>
                <a:lnTo>
                  <a:pt x="429" y="1560"/>
                </a:lnTo>
                <a:lnTo>
                  <a:pt x="429" y="1560"/>
                </a:lnTo>
                <a:lnTo>
                  <a:pt x="429" y="1554"/>
                </a:lnTo>
                <a:lnTo>
                  <a:pt x="428" y="1551"/>
                </a:lnTo>
                <a:lnTo>
                  <a:pt x="425" y="1549"/>
                </a:lnTo>
                <a:lnTo>
                  <a:pt x="422" y="1549"/>
                </a:lnTo>
                <a:lnTo>
                  <a:pt x="417" y="1549"/>
                </a:lnTo>
                <a:lnTo>
                  <a:pt x="414" y="1550"/>
                </a:lnTo>
                <a:lnTo>
                  <a:pt x="424" y="1667"/>
                </a:lnTo>
                <a:close/>
                <a:moveTo>
                  <a:pt x="439" y="1816"/>
                </a:moveTo>
                <a:lnTo>
                  <a:pt x="454" y="1818"/>
                </a:lnTo>
                <a:lnTo>
                  <a:pt x="454" y="1818"/>
                </a:lnTo>
                <a:lnTo>
                  <a:pt x="451" y="1771"/>
                </a:lnTo>
                <a:lnTo>
                  <a:pt x="448" y="1734"/>
                </a:lnTo>
                <a:lnTo>
                  <a:pt x="446" y="1719"/>
                </a:lnTo>
                <a:lnTo>
                  <a:pt x="444" y="1707"/>
                </a:lnTo>
                <a:lnTo>
                  <a:pt x="444" y="1707"/>
                </a:lnTo>
                <a:lnTo>
                  <a:pt x="444" y="1702"/>
                </a:lnTo>
                <a:lnTo>
                  <a:pt x="442" y="1699"/>
                </a:lnTo>
                <a:lnTo>
                  <a:pt x="440" y="1697"/>
                </a:lnTo>
                <a:lnTo>
                  <a:pt x="437" y="1696"/>
                </a:lnTo>
                <a:lnTo>
                  <a:pt x="432" y="1697"/>
                </a:lnTo>
                <a:lnTo>
                  <a:pt x="429" y="1698"/>
                </a:lnTo>
                <a:lnTo>
                  <a:pt x="439" y="1816"/>
                </a:lnTo>
                <a:close/>
                <a:moveTo>
                  <a:pt x="453" y="2002"/>
                </a:moveTo>
                <a:lnTo>
                  <a:pt x="468" y="2003"/>
                </a:lnTo>
                <a:lnTo>
                  <a:pt x="468" y="2003"/>
                </a:lnTo>
                <a:lnTo>
                  <a:pt x="465" y="1938"/>
                </a:lnTo>
                <a:lnTo>
                  <a:pt x="461" y="1890"/>
                </a:lnTo>
                <a:lnTo>
                  <a:pt x="459" y="1870"/>
                </a:lnTo>
                <a:lnTo>
                  <a:pt x="457" y="1858"/>
                </a:lnTo>
                <a:lnTo>
                  <a:pt x="457" y="1858"/>
                </a:lnTo>
                <a:lnTo>
                  <a:pt x="457" y="1852"/>
                </a:lnTo>
                <a:lnTo>
                  <a:pt x="456" y="1849"/>
                </a:lnTo>
                <a:lnTo>
                  <a:pt x="453" y="1847"/>
                </a:lnTo>
                <a:lnTo>
                  <a:pt x="450" y="1846"/>
                </a:lnTo>
                <a:lnTo>
                  <a:pt x="445" y="1847"/>
                </a:lnTo>
                <a:lnTo>
                  <a:pt x="442" y="1848"/>
                </a:lnTo>
                <a:lnTo>
                  <a:pt x="453" y="2002"/>
                </a:lnTo>
                <a:close/>
                <a:moveTo>
                  <a:pt x="472" y="2194"/>
                </a:moveTo>
                <a:lnTo>
                  <a:pt x="488" y="2196"/>
                </a:lnTo>
                <a:lnTo>
                  <a:pt x="488" y="2196"/>
                </a:lnTo>
                <a:lnTo>
                  <a:pt x="484" y="2131"/>
                </a:lnTo>
                <a:lnTo>
                  <a:pt x="481" y="2083"/>
                </a:lnTo>
                <a:lnTo>
                  <a:pt x="479" y="2064"/>
                </a:lnTo>
                <a:lnTo>
                  <a:pt x="477" y="2050"/>
                </a:lnTo>
                <a:lnTo>
                  <a:pt x="477" y="2050"/>
                </a:lnTo>
                <a:lnTo>
                  <a:pt x="477" y="2045"/>
                </a:lnTo>
                <a:lnTo>
                  <a:pt x="475" y="2042"/>
                </a:lnTo>
                <a:lnTo>
                  <a:pt x="472" y="2040"/>
                </a:lnTo>
                <a:lnTo>
                  <a:pt x="469" y="2039"/>
                </a:lnTo>
                <a:lnTo>
                  <a:pt x="464" y="2040"/>
                </a:lnTo>
                <a:lnTo>
                  <a:pt x="461" y="2041"/>
                </a:lnTo>
                <a:lnTo>
                  <a:pt x="472" y="2194"/>
                </a:lnTo>
                <a:close/>
                <a:moveTo>
                  <a:pt x="491" y="2409"/>
                </a:moveTo>
                <a:lnTo>
                  <a:pt x="509" y="2411"/>
                </a:lnTo>
                <a:lnTo>
                  <a:pt x="509" y="2411"/>
                </a:lnTo>
                <a:lnTo>
                  <a:pt x="505" y="2334"/>
                </a:lnTo>
                <a:lnTo>
                  <a:pt x="501" y="2276"/>
                </a:lnTo>
                <a:lnTo>
                  <a:pt x="498" y="2253"/>
                </a:lnTo>
                <a:lnTo>
                  <a:pt x="496" y="2238"/>
                </a:lnTo>
                <a:lnTo>
                  <a:pt x="496" y="2238"/>
                </a:lnTo>
                <a:lnTo>
                  <a:pt x="496" y="2232"/>
                </a:lnTo>
                <a:lnTo>
                  <a:pt x="494" y="2228"/>
                </a:lnTo>
                <a:lnTo>
                  <a:pt x="491" y="2226"/>
                </a:lnTo>
                <a:lnTo>
                  <a:pt x="488" y="2225"/>
                </a:lnTo>
                <a:lnTo>
                  <a:pt x="484" y="2225"/>
                </a:lnTo>
                <a:lnTo>
                  <a:pt x="481" y="2226"/>
                </a:lnTo>
                <a:lnTo>
                  <a:pt x="478" y="2227"/>
                </a:lnTo>
                <a:lnTo>
                  <a:pt x="491" y="2409"/>
                </a:lnTo>
                <a:close/>
                <a:moveTo>
                  <a:pt x="393" y="1918"/>
                </a:moveTo>
                <a:lnTo>
                  <a:pt x="393" y="1918"/>
                </a:lnTo>
                <a:lnTo>
                  <a:pt x="393" y="1999"/>
                </a:lnTo>
                <a:lnTo>
                  <a:pt x="431" y="2002"/>
                </a:lnTo>
                <a:lnTo>
                  <a:pt x="431" y="2002"/>
                </a:lnTo>
                <a:lnTo>
                  <a:pt x="426" y="1929"/>
                </a:lnTo>
                <a:lnTo>
                  <a:pt x="426" y="1929"/>
                </a:lnTo>
                <a:lnTo>
                  <a:pt x="423" y="1890"/>
                </a:lnTo>
                <a:lnTo>
                  <a:pt x="419" y="1847"/>
                </a:lnTo>
                <a:lnTo>
                  <a:pt x="410" y="1757"/>
                </a:lnTo>
                <a:lnTo>
                  <a:pt x="393" y="1610"/>
                </a:lnTo>
                <a:lnTo>
                  <a:pt x="393" y="1610"/>
                </a:lnTo>
                <a:lnTo>
                  <a:pt x="393" y="1765"/>
                </a:lnTo>
                <a:lnTo>
                  <a:pt x="393" y="1918"/>
                </a:lnTo>
                <a:lnTo>
                  <a:pt x="393" y="1918"/>
                </a:lnTo>
                <a:close/>
                <a:moveTo>
                  <a:pt x="256" y="1998"/>
                </a:moveTo>
                <a:lnTo>
                  <a:pt x="295" y="1999"/>
                </a:lnTo>
                <a:lnTo>
                  <a:pt x="295" y="1999"/>
                </a:lnTo>
                <a:lnTo>
                  <a:pt x="293" y="1834"/>
                </a:lnTo>
                <a:lnTo>
                  <a:pt x="293" y="1705"/>
                </a:lnTo>
                <a:lnTo>
                  <a:pt x="294" y="1653"/>
                </a:lnTo>
                <a:lnTo>
                  <a:pt x="295" y="1616"/>
                </a:lnTo>
                <a:lnTo>
                  <a:pt x="295" y="1616"/>
                </a:lnTo>
                <a:lnTo>
                  <a:pt x="291" y="1667"/>
                </a:lnTo>
                <a:lnTo>
                  <a:pt x="286" y="1727"/>
                </a:lnTo>
                <a:lnTo>
                  <a:pt x="273" y="1852"/>
                </a:lnTo>
                <a:lnTo>
                  <a:pt x="256" y="1998"/>
                </a:lnTo>
                <a:lnTo>
                  <a:pt x="256" y="1998"/>
                </a:lnTo>
                <a:close/>
                <a:moveTo>
                  <a:pt x="261" y="2037"/>
                </a:moveTo>
                <a:lnTo>
                  <a:pt x="261" y="2037"/>
                </a:lnTo>
                <a:lnTo>
                  <a:pt x="257" y="2058"/>
                </a:lnTo>
                <a:lnTo>
                  <a:pt x="252" y="2079"/>
                </a:lnTo>
                <a:lnTo>
                  <a:pt x="246" y="2122"/>
                </a:lnTo>
                <a:lnTo>
                  <a:pt x="240" y="2168"/>
                </a:lnTo>
                <a:lnTo>
                  <a:pt x="236" y="2213"/>
                </a:lnTo>
                <a:lnTo>
                  <a:pt x="229" y="2307"/>
                </a:lnTo>
                <a:lnTo>
                  <a:pt x="222" y="2402"/>
                </a:lnTo>
                <a:lnTo>
                  <a:pt x="222" y="2402"/>
                </a:lnTo>
                <a:lnTo>
                  <a:pt x="295" y="2402"/>
                </a:lnTo>
                <a:lnTo>
                  <a:pt x="295" y="2402"/>
                </a:lnTo>
                <a:lnTo>
                  <a:pt x="295" y="2037"/>
                </a:lnTo>
                <a:lnTo>
                  <a:pt x="295" y="2037"/>
                </a:lnTo>
                <a:lnTo>
                  <a:pt x="261" y="2037"/>
                </a:lnTo>
                <a:lnTo>
                  <a:pt x="261" y="2037"/>
                </a:lnTo>
                <a:close/>
                <a:moveTo>
                  <a:pt x="386" y="2043"/>
                </a:moveTo>
                <a:lnTo>
                  <a:pt x="386" y="2043"/>
                </a:lnTo>
                <a:lnTo>
                  <a:pt x="386" y="2402"/>
                </a:lnTo>
                <a:lnTo>
                  <a:pt x="386" y="2402"/>
                </a:lnTo>
                <a:lnTo>
                  <a:pt x="408" y="2401"/>
                </a:lnTo>
                <a:lnTo>
                  <a:pt x="429" y="2402"/>
                </a:lnTo>
                <a:lnTo>
                  <a:pt x="448" y="2404"/>
                </a:lnTo>
                <a:lnTo>
                  <a:pt x="466" y="2408"/>
                </a:lnTo>
                <a:lnTo>
                  <a:pt x="466" y="2408"/>
                </a:lnTo>
                <a:lnTo>
                  <a:pt x="464" y="2365"/>
                </a:lnTo>
                <a:lnTo>
                  <a:pt x="462" y="2321"/>
                </a:lnTo>
                <a:lnTo>
                  <a:pt x="458" y="2274"/>
                </a:lnTo>
                <a:lnTo>
                  <a:pt x="454" y="2227"/>
                </a:lnTo>
                <a:lnTo>
                  <a:pt x="445" y="2130"/>
                </a:lnTo>
                <a:lnTo>
                  <a:pt x="441" y="2084"/>
                </a:lnTo>
                <a:lnTo>
                  <a:pt x="438" y="2037"/>
                </a:lnTo>
                <a:lnTo>
                  <a:pt x="438" y="2037"/>
                </a:lnTo>
                <a:lnTo>
                  <a:pt x="424" y="2037"/>
                </a:lnTo>
                <a:lnTo>
                  <a:pt x="409" y="2037"/>
                </a:lnTo>
                <a:lnTo>
                  <a:pt x="402" y="2037"/>
                </a:lnTo>
                <a:lnTo>
                  <a:pt x="396" y="2038"/>
                </a:lnTo>
                <a:lnTo>
                  <a:pt x="391" y="2040"/>
                </a:lnTo>
                <a:lnTo>
                  <a:pt x="386" y="2043"/>
                </a:lnTo>
                <a:lnTo>
                  <a:pt x="386" y="2043"/>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03" name="Freeform 30"/>
          <p:cNvSpPr>
            <a:spLocks/>
          </p:cNvSpPr>
          <p:nvPr/>
        </p:nvSpPr>
        <p:spPr bwMode="auto">
          <a:xfrm flipH="1">
            <a:off x="1832569" y="4380168"/>
            <a:ext cx="1679333" cy="526678"/>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chemeClr val="accent6">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04" name="Freeform 30"/>
          <p:cNvSpPr>
            <a:spLocks/>
          </p:cNvSpPr>
          <p:nvPr/>
        </p:nvSpPr>
        <p:spPr bwMode="auto">
          <a:xfrm flipH="1">
            <a:off x="248446" y="4380169"/>
            <a:ext cx="1296193" cy="502982"/>
          </a:xfrm>
          <a:custGeom>
            <a:avLst/>
            <a:gdLst>
              <a:gd name="T0" fmla="*/ 1442 w 2120"/>
              <a:gd name="T1" fmla="*/ 0 h 1537"/>
              <a:gd name="T2" fmla="*/ 1442 w 2120"/>
              <a:gd name="T3" fmla="*/ 0 h 1537"/>
              <a:gd name="T4" fmla="*/ 1442 w 2120"/>
              <a:gd name="T5" fmla="*/ 768 h 1537"/>
              <a:gd name="T6" fmla="*/ 1355 w 2120"/>
              <a:gd name="T7" fmla="*/ 768 h 1537"/>
              <a:gd name="T8" fmla="*/ 1355 w 2120"/>
              <a:gd name="T9" fmla="*/ 207 h 1537"/>
              <a:gd name="T10" fmla="*/ 1282 w 2120"/>
              <a:gd name="T11" fmla="*/ 207 h 1537"/>
              <a:gd name="T12" fmla="*/ 1282 w 2120"/>
              <a:gd name="T13" fmla="*/ 581 h 1537"/>
              <a:gd name="T14" fmla="*/ 1065 w 2120"/>
              <a:gd name="T15" fmla="*/ 581 h 1537"/>
              <a:gd name="T16" fmla="*/ 1065 w 2120"/>
              <a:gd name="T17" fmla="*/ 1039 h 1537"/>
              <a:gd name="T18" fmla="*/ 951 w 2120"/>
              <a:gd name="T19" fmla="*/ 1039 h 1537"/>
              <a:gd name="T20" fmla="*/ 951 w 2120"/>
              <a:gd name="T21" fmla="*/ 851 h 1537"/>
              <a:gd name="T22" fmla="*/ 724 w 2120"/>
              <a:gd name="T23" fmla="*/ 851 h 1537"/>
              <a:gd name="T24" fmla="*/ 724 w 2120"/>
              <a:gd name="T25" fmla="*/ 228 h 1537"/>
              <a:gd name="T26" fmla="*/ 620 w 2120"/>
              <a:gd name="T27" fmla="*/ 228 h 1537"/>
              <a:gd name="T28" fmla="*/ 620 w 2120"/>
              <a:gd name="T29" fmla="*/ 0 h 1537"/>
              <a:gd name="T30" fmla="*/ 475 w 2120"/>
              <a:gd name="T31" fmla="*/ 0 h 1537"/>
              <a:gd name="T32" fmla="*/ 475 w 2120"/>
              <a:gd name="T33" fmla="*/ 1039 h 1537"/>
              <a:gd name="T34" fmla="*/ 382 w 2120"/>
              <a:gd name="T35" fmla="*/ 1039 h 1537"/>
              <a:gd name="T36" fmla="*/ 382 w 2120"/>
              <a:gd name="T37" fmla="*/ 539 h 1537"/>
              <a:gd name="T38" fmla="*/ 227 w 2120"/>
              <a:gd name="T39" fmla="*/ 539 h 1537"/>
              <a:gd name="T40" fmla="*/ 227 w 2120"/>
              <a:gd name="T41" fmla="*/ 810 h 1537"/>
              <a:gd name="T42" fmla="*/ 0 w 2120"/>
              <a:gd name="T43" fmla="*/ 810 h 1537"/>
              <a:gd name="T44" fmla="*/ 0 w 2120"/>
              <a:gd name="T45" fmla="*/ 1537 h 1537"/>
              <a:gd name="T46" fmla="*/ 2120 w 2120"/>
              <a:gd name="T47" fmla="*/ 1537 h 1537"/>
              <a:gd name="T48" fmla="*/ 2120 w 2120"/>
              <a:gd name="T49" fmla="*/ 955 h 1537"/>
              <a:gd name="T50" fmla="*/ 1929 w 2120"/>
              <a:gd name="T51" fmla="*/ 955 h 1537"/>
              <a:gd name="T52" fmla="*/ 1929 w 2120"/>
              <a:gd name="T53" fmla="*/ 768 h 1537"/>
              <a:gd name="T54" fmla="*/ 1851 w 2120"/>
              <a:gd name="T55" fmla="*/ 768 h 1537"/>
              <a:gd name="T56" fmla="*/ 1851 w 2120"/>
              <a:gd name="T57" fmla="*/ 331 h 1537"/>
              <a:gd name="T58" fmla="*/ 1779 w 2120"/>
              <a:gd name="T59" fmla="*/ 331 h 1537"/>
              <a:gd name="T60" fmla="*/ 1779 w 2120"/>
              <a:gd name="T61" fmla="*/ 0 h 1537"/>
              <a:gd name="T62" fmla="*/ 1442 w 2120"/>
              <a:gd name="T63" fmla="*/ 0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20" h="1537">
                <a:moveTo>
                  <a:pt x="1442" y="0"/>
                </a:moveTo>
                <a:lnTo>
                  <a:pt x="1442" y="0"/>
                </a:lnTo>
                <a:lnTo>
                  <a:pt x="1442" y="768"/>
                </a:lnTo>
                <a:lnTo>
                  <a:pt x="1355" y="768"/>
                </a:lnTo>
                <a:lnTo>
                  <a:pt x="1355" y="207"/>
                </a:lnTo>
                <a:lnTo>
                  <a:pt x="1282" y="207"/>
                </a:lnTo>
                <a:lnTo>
                  <a:pt x="1282" y="581"/>
                </a:lnTo>
                <a:lnTo>
                  <a:pt x="1065" y="581"/>
                </a:lnTo>
                <a:lnTo>
                  <a:pt x="1065" y="1039"/>
                </a:lnTo>
                <a:lnTo>
                  <a:pt x="951" y="1039"/>
                </a:lnTo>
                <a:lnTo>
                  <a:pt x="951" y="851"/>
                </a:lnTo>
                <a:lnTo>
                  <a:pt x="724" y="851"/>
                </a:lnTo>
                <a:lnTo>
                  <a:pt x="724" y="228"/>
                </a:lnTo>
                <a:lnTo>
                  <a:pt x="620" y="228"/>
                </a:lnTo>
                <a:lnTo>
                  <a:pt x="620" y="0"/>
                </a:lnTo>
                <a:lnTo>
                  <a:pt x="475" y="0"/>
                </a:lnTo>
                <a:lnTo>
                  <a:pt x="475" y="1039"/>
                </a:lnTo>
                <a:lnTo>
                  <a:pt x="382" y="1039"/>
                </a:lnTo>
                <a:lnTo>
                  <a:pt x="382" y="539"/>
                </a:lnTo>
                <a:lnTo>
                  <a:pt x="227" y="539"/>
                </a:lnTo>
                <a:lnTo>
                  <a:pt x="227" y="810"/>
                </a:lnTo>
                <a:lnTo>
                  <a:pt x="0" y="810"/>
                </a:lnTo>
                <a:lnTo>
                  <a:pt x="0" y="1537"/>
                </a:lnTo>
                <a:lnTo>
                  <a:pt x="2120" y="1537"/>
                </a:lnTo>
                <a:lnTo>
                  <a:pt x="2120" y="955"/>
                </a:lnTo>
                <a:lnTo>
                  <a:pt x="1929" y="955"/>
                </a:lnTo>
                <a:lnTo>
                  <a:pt x="1929" y="768"/>
                </a:lnTo>
                <a:lnTo>
                  <a:pt x="1851" y="768"/>
                </a:lnTo>
                <a:lnTo>
                  <a:pt x="1851" y="331"/>
                </a:lnTo>
                <a:lnTo>
                  <a:pt x="1779" y="331"/>
                </a:lnTo>
                <a:lnTo>
                  <a:pt x="1779" y="0"/>
                </a:lnTo>
                <a:lnTo>
                  <a:pt x="1442" y="0"/>
                </a:lnTo>
                <a:close/>
              </a:path>
            </a:pathLst>
          </a:custGeom>
          <a:solidFill>
            <a:schemeClr val="accent6">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 name="Group 2"/>
          <p:cNvGrpSpPr/>
          <p:nvPr/>
        </p:nvGrpSpPr>
        <p:grpSpPr>
          <a:xfrm>
            <a:off x="198972" y="1156960"/>
            <a:ext cx="6695122" cy="5352972"/>
            <a:chOff x="197384" y="1156960"/>
            <a:chExt cx="6746879" cy="5216941"/>
          </a:xfrm>
        </p:grpSpPr>
        <p:sp>
          <p:nvSpPr>
            <p:cNvPr id="715" name="Rectangle 818"/>
            <p:cNvSpPr/>
            <p:nvPr/>
          </p:nvSpPr>
          <p:spPr bwMode="auto">
            <a:xfrm>
              <a:off x="197384" y="1156960"/>
              <a:ext cx="6746879" cy="2604157"/>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26" name="Rectangle 818"/>
            <p:cNvSpPr/>
            <p:nvPr/>
          </p:nvSpPr>
          <p:spPr bwMode="auto">
            <a:xfrm>
              <a:off x="3571687" y="3769743"/>
              <a:ext cx="3372576" cy="2604157"/>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27" name="Rectangle 818"/>
            <p:cNvSpPr/>
            <p:nvPr/>
          </p:nvSpPr>
          <p:spPr bwMode="auto">
            <a:xfrm>
              <a:off x="197384" y="3769744"/>
              <a:ext cx="3372576" cy="2604157"/>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4" name="Title 3"/>
          <p:cNvSpPr>
            <a:spLocks noGrp="1"/>
          </p:cNvSpPr>
          <p:nvPr>
            <p:ph type="title"/>
          </p:nvPr>
        </p:nvSpPr>
        <p:spPr>
          <a:xfrm>
            <a:off x="1588" y="0"/>
            <a:ext cx="12188825" cy="945292"/>
          </a:xfrm>
          <a:solidFill>
            <a:srgbClr val="4E195C"/>
          </a:solidFill>
        </p:spPr>
        <p:txBody>
          <a:bodyPr vert="horz" wrap="square" lIns="1188720" tIns="0" rIns="0" bIns="0" rtlCol="0" anchor="ctr" anchorCtr="0">
            <a:noAutofit/>
          </a:bodyPr>
          <a:lstStyle/>
          <a:p>
            <a:r>
              <a:rPr lang="en-US" sz="3400" dirty="0"/>
              <a:t>The Internet of Things – Hospitality &amp; Travel</a:t>
            </a:r>
          </a:p>
        </p:txBody>
      </p:sp>
      <p:sp>
        <p:nvSpPr>
          <p:cNvPr id="521" name="Rectangle 520"/>
          <p:cNvSpPr/>
          <p:nvPr/>
        </p:nvSpPr>
        <p:spPr bwMode="auto">
          <a:xfrm>
            <a:off x="1588" y="0"/>
            <a:ext cx="941832" cy="941832"/>
          </a:xfrm>
          <a:prstGeom prst="rect">
            <a:avLst/>
          </a:prstGeom>
          <a:solidFill>
            <a:srgbClr val="3410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9" name="Rectangle 18"/>
          <p:cNvSpPr/>
          <p:nvPr/>
        </p:nvSpPr>
        <p:spPr bwMode="auto">
          <a:xfrm>
            <a:off x="7066623" y="1156961"/>
            <a:ext cx="4900256" cy="2680910"/>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78" name="Rectangle 877"/>
          <p:cNvSpPr/>
          <p:nvPr/>
        </p:nvSpPr>
        <p:spPr bwMode="auto">
          <a:xfrm>
            <a:off x="7066623" y="3830129"/>
            <a:ext cx="4900256" cy="2679803"/>
          </a:xfrm>
          <a:prstGeom prst="rect">
            <a:avLst/>
          </a:prstGeom>
          <a:no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206" name="Freeform 779"/>
          <p:cNvSpPr>
            <a:spLocks/>
          </p:cNvSpPr>
          <p:nvPr/>
        </p:nvSpPr>
        <p:spPr bwMode="auto">
          <a:xfrm flipH="1">
            <a:off x="2447493" y="1115442"/>
            <a:ext cx="2144321" cy="830220"/>
          </a:xfrm>
          <a:custGeom>
            <a:avLst/>
            <a:gdLst>
              <a:gd name="T0" fmla="*/ 6499 w 9362"/>
              <a:gd name="T1" fmla="*/ 379 h 3543"/>
              <a:gd name="T2" fmla="*/ 4873 w 9362"/>
              <a:gd name="T3" fmla="*/ 1025 h 3543"/>
              <a:gd name="T4" fmla="*/ 4010 w 9362"/>
              <a:gd name="T5" fmla="*/ 1358 h 3543"/>
              <a:gd name="T6" fmla="*/ 3588 w 9362"/>
              <a:gd name="T7" fmla="*/ 1207 h 3543"/>
              <a:gd name="T8" fmla="*/ 2621 w 9362"/>
              <a:gd name="T9" fmla="*/ 869 h 3543"/>
              <a:gd name="T10" fmla="*/ 1812 w 9362"/>
              <a:gd name="T11" fmla="*/ 599 h 3543"/>
              <a:gd name="T12" fmla="*/ 1340 w 9362"/>
              <a:gd name="T13" fmla="*/ 451 h 3543"/>
              <a:gd name="T14" fmla="*/ 1059 w 9362"/>
              <a:gd name="T15" fmla="*/ 373 h 3543"/>
              <a:gd name="T16" fmla="*/ 894 w 9362"/>
              <a:gd name="T17" fmla="*/ 338 h 3543"/>
              <a:gd name="T18" fmla="*/ 843 w 9362"/>
              <a:gd name="T19" fmla="*/ 331 h 3543"/>
              <a:gd name="T20" fmla="*/ 692 w 9362"/>
              <a:gd name="T21" fmla="*/ 326 h 3543"/>
              <a:gd name="T22" fmla="*/ 489 w 9362"/>
              <a:gd name="T23" fmla="*/ 339 h 3543"/>
              <a:gd name="T24" fmla="*/ 387 w 9362"/>
              <a:gd name="T25" fmla="*/ 355 h 3543"/>
              <a:gd name="T26" fmla="*/ 290 w 9362"/>
              <a:gd name="T27" fmla="*/ 378 h 3543"/>
              <a:gd name="T28" fmla="*/ 201 w 9362"/>
              <a:gd name="T29" fmla="*/ 407 h 3543"/>
              <a:gd name="T30" fmla="*/ 125 w 9362"/>
              <a:gd name="T31" fmla="*/ 444 h 3543"/>
              <a:gd name="T32" fmla="*/ 64 w 9362"/>
              <a:gd name="T33" fmla="*/ 489 h 3543"/>
              <a:gd name="T34" fmla="*/ 23 w 9362"/>
              <a:gd name="T35" fmla="*/ 540 h 3543"/>
              <a:gd name="T36" fmla="*/ 7 w 9362"/>
              <a:gd name="T37" fmla="*/ 579 h 3543"/>
              <a:gd name="T38" fmla="*/ 0 w 9362"/>
              <a:gd name="T39" fmla="*/ 633 h 3543"/>
              <a:gd name="T40" fmla="*/ 7 w 9362"/>
              <a:gd name="T41" fmla="*/ 713 h 3543"/>
              <a:gd name="T42" fmla="*/ 33 w 9362"/>
              <a:gd name="T43" fmla="*/ 791 h 3543"/>
              <a:gd name="T44" fmla="*/ 75 w 9362"/>
              <a:gd name="T45" fmla="*/ 869 h 3543"/>
              <a:gd name="T46" fmla="*/ 131 w 9362"/>
              <a:gd name="T47" fmla="*/ 944 h 3543"/>
              <a:gd name="T48" fmla="*/ 195 w 9362"/>
              <a:gd name="T49" fmla="*/ 1014 h 3543"/>
              <a:gd name="T50" fmla="*/ 267 w 9362"/>
              <a:gd name="T51" fmla="*/ 1081 h 3543"/>
              <a:gd name="T52" fmla="*/ 418 w 9362"/>
              <a:gd name="T53" fmla="*/ 1200 h 3543"/>
              <a:gd name="T54" fmla="*/ 560 w 9362"/>
              <a:gd name="T55" fmla="*/ 1292 h 3543"/>
              <a:gd name="T56" fmla="*/ 675 w 9362"/>
              <a:gd name="T57" fmla="*/ 1356 h 3543"/>
              <a:gd name="T58" fmla="*/ 849 w 9362"/>
              <a:gd name="T59" fmla="*/ 1436 h 3543"/>
              <a:gd name="T60" fmla="*/ 1024 w 9362"/>
              <a:gd name="T61" fmla="*/ 1503 h 3543"/>
              <a:gd name="T62" fmla="*/ 1252 w 9362"/>
              <a:gd name="T63" fmla="*/ 1579 h 3543"/>
              <a:gd name="T64" fmla="*/ 1466 w 9362"/>
              <a:gd name="T65" fmla="*/ 1649 h 3543"/>
              <a:gd name="T66" fmla="*/ 3232 w 9362"/>
              <a:gd name="T67" fmla="*/ 2238 h 3543"/>
              <a:gd name="T68" fmla="*/ 6178 w 9362"/>
              <a:gd name="T69" fmla="*/ 3208 h 3543"/>
              <a:gd name="T70" fmla="*/ 6315 w 9362"/>
              <a:gd name="T71" fmla="*/ 3256 h 3543"/>
              <a:gd name="T72" fmla="*/ 6590 w 9362"/>
              <a:gd name="T73" fmla="*/ 3362 h 3543"/>
              <a:gd name="T74" fmla="*/ 6798 w 9362"/>
              <a:gd name="T75" fmla="*/ 3439 h 3543"/>
              <a:gd name="T76" fmla="*/ 7011 w 9362"/>
              <a:gd name="T77" fmla="*/ 3501 h 3543"/>
              <a:gd name="T78" fmla="*/ 7120 w 9362"/>
              <a:gd name="T79" fmla="*/ 3523 h 3543"/>
              <a:gd name="T80" fmla="*/ 7230 w 9362"/>
              <a:gd name="T81" fmla="*/ 3537 h 3543"/>
              <a:gd name="T82" fmla="*/ 7305 w 9362"/>
              <a:gd name="T83" fmla="*/ 3542 h 3543"/>
              <a:gd name="T84" fmla="*/ 7516 w 9362"/>
              <a:gd name="T85" fmla="*/ 3540 h 3543"/>
              <a:gd name="T86" fmla="*/ 7752 w 9362"/>
              <a:gd name="T87" fmla="*/ 3524 h 3543"/>
              <a:gd name="T88" fmla="*/ 8003 w 9362"/>
              <a:gd name="T89" fmla="*/ 3496 h 3543"/>
              <a:gd name="T90" fmla="*/ 8428 w 9362"/>
              <a:gd name="T91" fmla="*/ 3433 h 3543"/>
              <a:gd name="T92" fmla="*/ 8894 w 9362"/>
              <a:gd name="T93" fmla="*/ 3349 h 3543"/>
              <a:gd name="T94" fmla="*/ 9302 w 9362"/>
              <a:gd name="T95" fmla="*/ 3266 h 3543"/>
              <a:gd name="T96" fmla="*/ 7814 w 9362"/>
              <a:gd name="T97" fmla="*/ 401 h 3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362" h="3543">
                <a:moveTo>
                  <a:pt x="7460" y="0"/>
                </a:moveTo>
                <a:lnTo>
                  <a:pt x="7460" y="0"/>
                </a:lnTo>
                <a:lnTo>
                  <a:pt x="6499" y="379"/>
                </a:lnTo>
                <a:lnTo>
                  <a:pt x="5651" y="714"/>
                </a:lnTo>
                <a:lnTo>
                  <a:pt x="4873" y="1025"/>
                </a:lnTo>
                <a:lnTo>
                  <a:pt x="4873" y="1025"/>
                </a:lnTo>
                <a:lnTo>
                  <a:pt x="4636" y="1117"/>
                </a:lnTo>
                <a:lnTo>
                  <a:pt x="4351" y="1228"/>
                </a:lnTo>
                <a:lnTo>
                  <a:pt x="4010" y="1358"/>
                </a:lnTo>
                <a:lnTo>
                  <a:pt x="4010" y="1358"/>
                </a:lnTo>
                <a:lnTo>
                  <a:pt x="3895" y="1317"/>
                </a:lnTo>
                <a:lnTo>
                  <a:pt x="3588" y="1207"/>
                </a:lnTo>
                <a:lnTo>
                  <a:pt x="3144" y="1050"/>
                </a:lnTo>
                <a:lnTo>
                  <a:pt x="2889" y="961"/>
                </a:lnTo>
                <a:lnTo>
                  <a:pt x="2621" y="869"/>
                </a:lnTo>
                <a:lnTo>
                  <a:pt x="2348" y="776"/>
                </a:lnTo>
                <a:lnTo>
                  <a:pt x="2076" y="685"/>
                </a:lnTo>
                <a:lnTo>
                  <a:pt x="1812" y="599"/>
                </a:lnTo>
                <a:lnTo>
                  <a:pt x="1565" y="519"/>
                </a:lnTo>
                <a:lnTo>
                  <a:pt x="1449" y="484"/>
                </a:lnTo>
                <a:lnTo>
                  <a:pt x="1340" y="451"/>
                </a:lnTo>
                <a:lnTo>
                  <a:pt x="1237" y="421"/>
                </a:lnTo>
                <a:lnTo>
                  <a:pt x="1144" y="395"/>
                </a:lnTo>
                <a:lnTo>
                  <a:pt x="1059" y="373"/>
                </a:lnTo>
                <a:lnTo>
                  <a:pt x="984" y="355"/>
                </a:lnTo>
                <a:lnTo>
                  <a:pt x="921" y="342"/>
                </a:lnTo>
                <a:lnTo>
                  <a:pt x="894" y="338"/>
                </a:lnTo>
                <a:lnTo>
                  <a:pt x="869" y="334"/>
                </a:lnTo>
                <a:lnTo>
                  <a:pt x="869" y="334"/>
                </a:lnTo>
                <a:lnTo>
                  <a:pt x="843" y="331"/>
                </a:lnTo>
                <a:lnTo>
                  <a:pt x="815" y="328"/>
                </a:lnTo>
                <a:lnTo>
                  <a:pt x="756" y="326"/>
                </a:lnTo>
                <a:lnTo>
                  <a:pt x="692" y="326"/>
                </a:lnTo>
                <a:lnTo>
                  <a:pt x="625" y="327"/>
                </a:lnTo>
                <a:lnTo>
                  <a:pt x="557" y="332"/>
                </a:lnTo>
                <a:lnTo>
                  <a:pt x="489" y="339"/>
                </a:lnTo>
                <a:lnTo>
                  <a:pt x="454" y="343"/>
                </a:lnTo>
                <a:lnTo>
                  <a:pt x="420" y="349"/>
                </a:lnTo>
                <a:lnTo>
                  <a:pt x="387" y="355"/>
                </a:lnTo>
                <a:lnTo>
                  <a:pt x="353" y="362"/>
                </a:lnTo>
                <a:lnTo>
                  <a:pt x="322" y="369"/>
                </a:lnTo>
                <a:lnTo>
                  <a:pt x="290" y="378"/>
                </a:lnTo>
                <a:lnTo>
                  <a:pt x="259" y="387"/>
                </a:lnTo>
                <a:lnTo>
                  <a:pt x="229" y="397"/>
                </a:lnTo>
                <a:lnTo>
                  <a:pt x="201" y="407"/>
                </a:lnTo>
                <a:lnTo>
                  <a:pt x="174" y="419"/>
                </a:lnTo>
                <a:lnTo>
                  <a:pt x="148" y="431"/>
                </a:lnTo>
                <a:lnTo>
                  <a:pt x="125" y="444"/>
                </a:lnTo>
                <a:lnTo>
                  <a:pt x="102" y="458"/>
                </a:lnTo>
                <a:lnTo>
                  <a:pt x="81" y="473"/>
                </a:lnTo>
                <a:lnTo>
                  <a:pt x="64" y="489"/>
                </a:lnTo>
                <a:lnTo>
                  <a:pt x="47" y="505"/>
                </a:lnTo>
                <a:lnTo>
                  <a:pt x="33" y="522"/>
                </a:lnTo>
                <a:lnTo>
                  <a:pt x="23" y="540"/>
                </a:lnTo>
                <a:lnTo>
                  <a:pt x="13" y="560"/>
                </a:lnTo>
                <a:lnTo>
                  <a:pt x="10" y="569"/>
                </a:lnTo>
                <a:lnTo>
                  <a:pt x="7" y="579"/>
                </a:lnTo>
                <a:lnTo>
                  <a:pt x="7" y="579"/>
                </a:lnTo>
                <a:lnTo>
                  <a:pt x="3" y="606"/>
                </a:lnTo>
                <a:lnTo>
                  <a:pt x="0" y="633"/>
                </a:lnTo>
                <a:lnTo>
                  <a:pt x="0" y="659"/>
                </a:lnTo>
                <a:lnTo>
                  <a:pt x="3" y="686"/>
                </a:lnTo>
                <a:lnTo>
                  <a:pt x="7" y="713"/>
                </a:lnTo>
                <a:lnTo>
                  <a:pt x="13" y="739"/>
                </a:lnTo>
                <a:lnTo>
                  <a:pt x="23" y="765"/>
                </a:lnTo>
                <a:lnTo>
                  <a:pt x="33" y="791"/>
                </a:lnTo>
                <a:lnTo>
                  <a:pt x="46" y="817"/>
                </a:lnTo>
                <a:lnTo>
                  <a:pt x="60" y="843"/>
                </a:lnTo>
                <a:lnTo>
                  <a:pt x="75" y="869"/>
                </a:lnTo>
                <a:lnTo>
                  <a:pt x="92" y="894"/>
                </a:lnTo>
                <a:lnTo>
                  <a:pt x="111" y="919"/>
                </a:lnTo>
                <a:lnTo>
                  <a:pt x="131" y="944"/>
                </a:lnTo>
                <a:lnTo>
                  <a:pt x="150" y="967"/>
                </a:lnTo>
                <a:lnTo>
                  <a:pt x="173" y="991"/>
                </a:lnTo>
                <a:lnTo>
                  <a:pt x="195" y="1014"/>
                </a:lnTo>
                <a:lnTo>
                  <a:pt x="218" y="1037"/>
                </a:lnTo>
                <a:lnTo>
                  <a:pt x="242" y="1059"/>
                </a:lnTo>
                <a:lnTo>
                  <a:pt x="267" y="1081"/>
                </a:lnTo>
                <a:lnTo>
                  <a:pt x="317" y="1123"/>
                </a:lnTo>
                <a:lnTo>
                  <a:pt x="367" y="1162"/>
                </a:lnTo>
                <a:lnTo>
                  <a:pt x="418" y="1200"/>
                </a:lnTo>
                <a:lnTo>
                  <a:pt x="468" y="1233"/>
                </a:lnTo>
                <a:lnTo>
                  <a:pt x="515" y="1265"/>
                </a:lnTo>
                <a:lnTo>
                  <a:pt x="560" y="1292"/>
                </a:lnTo>
                <a:lnTo>
                  <a:pt x="560" y="1292"/>
                </a:lnTo>
                <a:lnTo>
                  <a:pt x="617" y="1325"/>
                </a:lnTo>
                <a:lnTo>
                  <a:pt x="675" y="1356"/>
                </a:lnTo>
                <a:lnTo>
                  <a:pt x="733" y="1384"/>
                </a:lnTo>
                <a:lnTo>
                  <a:pt x="791" y="1411"/>
                </a:lnTo>
                <a:lnTo>
                  <a:pt x="849" y="1436"/>
                </a:lnTo>
                <a:lnTo>
                  <a:pt x="908" y="1460"/>
                </a:lnTo>
                <a:lnTo>
                  <a:pt x="967" y="1482"/>
                </a:lnTo>
                <a:lnTo>
                  <a:pt x="1024" y="1503"/>
                </a:lnTo>
                <a:lnTo>
                  <a:pt x="1082" y="1523"/>
                </a:lnTo>
                <a:lnTo>
                  <a:pt x="1139" y="1542"/>
                </a:lnTo>
                <a:lnTo>
                  <a:pt x="1252" y="1579"/>
                </a:lnTo>
                <a:lnTo>
                  <a:pt x="1362" y="1613"/>
                </a:lnTo>
                <a:lnTo>
                  <a:pt x="1466" y="1649"/>
                </a:lnTo>
                <a:lnTo>
                  <a:pt x="1466" y="1649"/>
                </a:lnTo>
                <a:lnTo>
                  <a:pt x="2062" y="1848"/>
                </a:lnTo>
                <a:lnTo>
                  <a:pt x="2649" y="2044"/>
                </a:lnTo>
                <a:lnTo>
                  <a:pt x="3232" y="2238"/>
                </a:lnTo>
                <a:lnTo>
                  <a:pt x="3813" y="2429"/>
                </a:lnTo>
                <a:lnTo>
                  <a:pt x="4982" y="2814"/>
                </a:lnTo>
                <a:lnTo>
                  <a:pt x="6178" y="3208"/>
                </a:lnTo>
                <a:lnTo>
                  <a:pt x="6178" y="3208"/>
                </a:lnTo>
                <a:lnTo>
                  <a:pt x="6246" y="3231"/>
                </a:lnTo>
                <a:lnTo>
                  <a:pt x="6315" y="3256"/>
                </a:lnTo>
                <a:lnTo>
                  <a:pt x="6384" y="3282"/>
                </a:lnTo>
                <a:lnTo>
                  <a:pt x="6452" y="3309"/>
                </a:lnTo>
                <a:lnTo>
                  <a:pt x="6590" y="3362"/>
                </a:lnTo>
                <a:lnTo>
                  <a:pt x="6659" y="3390"/>
                </a:lnTo>
                <a:lnTo>
                  <a:pt x="6729" y="3414"/>
                </a:lnTo>
                <a:lnTo>
                  <a:pt x="6798" y="3439"/>
                </a:lnTo>
                <a:lnTo>
                  <a:pt x="6869" y="3462"/>
                </a:lnTo>
                <a:lnTo>
                  <a:pt x="6939" y="3483"/>
                </a:lnTo>
                <a:lnTo>
                  <a:pt x="7011" y="3501"/>
                </a:lnTo>
                <a:lnTo>
                  <a:pt x="7047" y="3509"/>
                </a:lnTo>
                <a:lnTo>
                  <a:pt x="7083" y="3516"/>
                </a:lnTo>
                <a:lnTo>
                  <a:pt x="7120" y="3523"/>
                </a:lnTo>
                <a:lnTo>
                  <a:pt x="7156" y="3528"/>
                </a:lnTo>
                <a:lnTo>
                  <a:pt x="7193" y="3533"/>
                </a:lnTo>
                <a:lnTo>
                  <a:pt x="7230" y="3537"/>
                </a:lnTo>
                <a:lnTo>
                  <a:pt x="7267" y="3540"/>
                </a:lnTo>
                <a:lnTo>
                  <a:pt x="7305" y="3542"/>
                </a:lnTo>
                <a:lnTo>
                  <a:pt x="7305" y="3542"/>
                </a:lnTo>
                <a:lnTo>
                  <a:pt x="7372" y="3543"/>
                </a:lnTo>
                <a:lnTo>
                  <a:pt x="7442" y="3542"/>
                </a:lnTo>
                <a:lnTo>
                  <a:pt x="7516" y="3540"/>
                </a:lnTo>
                <a:lnTo>
                  <a:pt x="7592" y="3536"/>
                </a:lnTo>
                <a:lnTo>
                  <a:pt x="7671" y="3530"/>
                </a:lnTo>
                <a:lnTo>
                  <a:pt x="7752" y="3524"/>
                </a:lnTo>
                <a:lnTo>
                  <a:pt x="7834" y="3516"/>
                </a:lnTo>
                <a:lnTo>
                  <a:pt x="7918" y="3507"/>
                </a:lnTo>
                <a:lnTo>
                  <a:pt x="8003" y="3496"/>
                </a:lnTo>
                <a:lnTo>
                  <a:pt x="8088" y="3485"/>
                </a:lnTo>
                <a:lnTo>
                  <a:pt x="8259" y="3460"/>
                </a:lnTo>
                <a:lnTo>
                  <a:pt x="8428" y="3433"/>
                </a:lnTo>
                <a:lnTo>
                  <a:pt x="8592" y="3406"/>
                </a:lnTo>
                <a:lnTo>
                  <a:pt x="8748" y="3378"/>
                </a:lnTo>
                <a:lnTo>
                  <a:pt x="8894" y="3349"/>
                </a:lnTo>
                <a:lnTo>
                  <a:pt x="9024" y="3323"/>
                </a:lnTo>
                <a:lnTo>
                  <a:pt x="9138" y="3301"/>
                </a:lnTo>
                <a:lnTo>
                  <a:pt x="9302" y="3266"/>
                </a:lnTo>
                <a:lnTo>
                  <a:pt x="9362" y="3253"/>
                </a:lnTo>
                <a:lnTo>
                  <a:pt x="6376" y="2183"/>
                </a:lnTo>
                <a:lnTo>
                  <a:pt x="7814" y="401"/>
                </a:lnTo>
                <a:lnTo>
                  <a:pt x="74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222" name="Rectangle 795"/>
          <p:cNvSpPr>
            <a:spLocks noChangeArrowheads="1"/>
          </p:cNvSpPr>
          <p:nvPr/>
        </p:nvSpPr>
        <p:spPr bwMode="auto">
          <a:xfrm flipH="1">
            <a:off x="364556" y="1146365"/>
            <a:ext cx="1817703" cy="850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09" name="Rectangle 1915"/>
          <p:cNvSpPr>
            <a:spLocks noChangeArrowheads="1"/>
          </p:cNvSpPr>
          <p:nvPr/>
        </p:nvSpPr>
        <p:spPr bwMode="auto">
          <a:xfrm>
            <a:off x="5486258" y="2272110"/>
            <a:ext cx="1430343" cy="561975"/>
          </a:xfrm>
          <a:prstGeom prst="rect">
            <a:avLst/>
          </a:prstGeom>
          <a:gradFill>
            <a:gsLst>
              <a:gs pos="44000">
                <a:srgbClr val="000608">
                  <a:alpha val="0"/>
                </a:srgbClr>
              </a:gs>
              <a:gs pos="93000">
                <a:schemeClr val="accent1">
                  <a:lumMod val="75000"/>
                  <a:alpha val="22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27" name="Freeform 1933"/>
          <p:cNvSpPr>
            <a:spLocks/>
          </p:cNvSpPr>
          <p:nvPr/>
        </p:nvSpPr>
        <p:spPr bwMode="auto">
          <a:xfrm>
            <a:off x="3004496" y="1482847"/>
            <a:ext cx="1637769" cy="615820"/>
          </a:xfrm>
          <a:custGeom>
            <a:avLst/>
            <a:gdLst>
              <a:gd name="T0" fmla="*/ 2494 w 8158"/>
              <a:gd name="T1" fmla="*/ 328 h 3065"/>
              <a:gd name="T2" fmla="*/ 3912 w 8158"/>
              <a:gd name="T3" fmla="*/ 887 h 3065"/>
              <a:gd name="T4" fmla="*/ 4664 w 8158"/>
              <a:gd name="T5" fmla="*/ 1175 h 3065"/>
              <a:gd name="T6" fmla="*/ 5032 w 8158"/>
              <a:gd name="T7" fmla="*/ 1044 h 3065"/>
              <a:gd name="T8" fmla="*/ 5874 w 8158"/>
              <a:gd name="T9" fmla="*/ 752 h 3065"/>
              <a:gd name="T10" fmla="*/ 6579 w 8158"/>
              <a:gd name="T11" fmla="*/ 518 h 3065"/>
              <a:gd name="T12" fmla="*/ 6991 w 8158"/>
              <a:gd name="T13" fmla="*/ 390 h 3065"/>
              <a:gd name="T14" fmla="*/ 7235 w 8158"/>
              <a:gd name="T15" fmla="*/ 323 h 3065"/>
              <a:gd name="T16" fmla="*/ 7379 w 8158"/>
              <a:gd name="T17" fmla="*/ 292 h 3065"/>
              <a:gd name="T18" fmla="*/ 7423 w 8158"/>
              <a:gd name="T19" fmla="*/ 286 h 3065"/>
              <a:gd name="T20" fmla="*/ 7555 w 8158"/>
              <a:gd name="T21" fmla="*/ 282 h 3065"/>
              <a:gd name="T22" fmla="*/ 7731 w 8158"/>
              <a:gd name="T23" fmla="*/ 293 h 3065"/>
              <a:gd name="T24" fmla="*/ 7820 w 8158"/>
              <a:gd name="T25" fmla="*/ 308 h 3065"/>
              <a:gd name="T26" fmla="*/ 7905 w 8158"/>
              <a:gd name="T27" fmla="*/ 327 h 3065"/>
              <a:gd name="T28" fmla="*/ 7983 w 8158"/>
              <a:gd name="T29" fmla="*/ 353 h 3065"/>
              <a:gd name="T30" fmla="*/ 8049 w 8158"/>
              <a:gd name="T31" fmla="*/ 384 h 3065"/>
              <a:gd name="T32" fmla="*/ 8102 w 8158"/>
              <a:gd name="T33" fmla="*/ 423 h 3065"/>
              <a:gd name="T34" fmla="*/ 8138 w 8158"/>
              <a:gd name="T35" fmla="*/ 467 h 3065"/>
              <a:gd name="T36" fmla="*/ 8151 w 8158"/>
              <a:gd name="T37" fmla="*/ 501 h 3065"/>
              <a:gd name="T38" fmla="*/ 8158 w 8158"/>
              <a:gd name="T39" fmla="*/ 548 h 3065"/>
              <a:gd name="T40" fmla="*/ 8151 w 8158"/>
              <a:gd name="T41" fmla="*/ 617 h 3065"/>
              <a:gd name="T42" fmla="*/ 8129 w 8158"/>
              <a:gd name="T43" fmla="*/ 685 h 3065"/>
              <a:gd name="T44" fmla="*/ 8092 w 8158"/>
              <a:gd name="T45" fmla="*/ 752 h 3065"/>
              <a:gd name="T46" fmla="*/ 8044 w 8158"/>
              <a:gd name="T47" fmla="*/ 816 h 3065"/>
              <a:gd name="T48" fmla="*/ 7988 w 8158"/>
              <a:gd name="T49" fmla="*/ 878 h 3065"/>
              <a:gd name="T50" fmla="*/ 7926 w 8158"/>
              <a:gd name="T51" fmla="*/ 935 h 3065"/>
              <a:gd name="T52" fmla="*/ 7794 w 8158"/>
              <a:gd name="T53" fmla="*/ 1038 h 3065"/>
              <a:gd name="T54" fmla="*/ 7670 w 8158"/>
              <a:gd name="T55" fmla="*/ 1118 h 3065"/>
              <a:gd name="T56" fmla="*/ 7570 w 8158"/>
              <a:gd name="T57" fmla="*/ 1173 h 3065"/>
              <a:gd name="T58" fmla="*/ 7418 w 8158"/>
              <a:gd name="T59" fmla="*/ 1243 h 3065"/>
              <a:gd name="T60" fmla="*/ 7265 w 8158"/>
              <a:gd name="T61" fmla="*/ 1301 h 3065"/>
              <a:gd name="T62" fmla="*/ 7067 w 8158"/>
              <a:gd name="T63" fmla="*/ 1366 h 3065"/>
              <a:gd name="T64" fmla="*/ 6880 w 8158"/>
              <a:gd name="T65" fmla="*/ 1426 h 3065"/>
              <a:gd name="T66" fmla="*/ 5341 w 8158"/>
              <a:gd name="T67" fmla="*/ 1936 h 3065"/>
              <a:gd name="T68" fmla="*/ 2774 w 8158"/>
              <a:gd name="T69" fmla="*/ 2775 h 3065"/>
              <a:gd name="T70" fmla="*/ 2655 w 8158"/>
              <a:gd name="T71" fmla="*/ 2817 h 3065"/>
              <a:gd name="T72" fmla="*/ 2416 w 8158"/>
              <a:gd name="T73" fmla="*/ 2909 h 3065"/>
              <a:gd name="T74" fmla="*/ 2234 w 8158"/>
              <a:gd name="T75" fmla="*/ 2976 h 3065"/>
              <a:gd name="T76" fmla="*/ 2049 w 8158"/>
              <a:gd name="T77" fmla="*/ 3029 h 3065"/>
              <a:gd name="T78" fmla="*/ 1954 w 8158"/>
              <a:gd name="T79" fmla="*/ 3048 h 3065"/>
              <a:gd name="T80" fmla="*/ 1858 w 8158"/>
              <a:gd name="T81" fmla="*/ 3060 h 3065"/>
              <a:gd name="T82" fmla="*/ 1792 w 8158"/>
              <a:gd name="T83" fmla="*/ 3064 h 3065"/>
              <a:gd name="T84" fmla="*/ 1609 w 8158"/>
              <a:gd name="T85" fmla="*/ 3062 h 3065"/>
              <a:gd name="T86" fmla="*/ 1403 w 8158"/>
              <a:gd name="T87" fmla="*/ 3049 h 3065"/>
              <a:gd name="T88" fmla="*/ 1184 w 8158"/>
              <a:gd name="T89" fmla="*/ 3025 h 3065"/>
              <a:gd name="T90" fmla="*/ 814 w 8158"/>
              <a:gd name="T91" fmla="*/ 2970 h 3065"/>
              <a:gd name="T92" fmla="*/ 408 w 8158"/>
              <a:gd name="T93" fmla="*/ 2898 h 3065"/>
              <a:gd name="T94" fmla="*/ 52 w 8158"/>
              <a:gd name="T95" fmla="*/ 2825 h 3065"/>
              <a:gd name="T96" fmla="*/ 1349 w 8158"/>
              <a:gd name="T97" fmla="*/ 347 h 3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58" h="3065">
                <a:moveTo>
                  <a:pt x="1658" y="0"/>
                </a:moveTo>
                <a:lnTo>
                  <a:pt x="1658" y="0"/>
                </a:lnTo>
                <a:lnTo>
                  <a:pt x="2494" y="328"/>
                </a:lnTo>
                <a:lnTo>
                  <a:pt x="3233" y="618"/>
                </a:lnTo>
                <a:lnTo>
                  <a:pt x="3912" y="887"/>
                </a:lnTo>
                <a:lnTo>
                  <a:pt x="3912" y="887"/>
                </a:lnTo>
                <a:lnTo>
                  <a:pt x="4118" y="967"/>
                </a:lnTo>
                <a:lnTo>
                  <a:pt x="4366" y="1063"/>
                </a:lnTo>
                <a:lnTo>
                  <a:pt x="4664" y="1175"/>
                </a:lnTo>
                <a:lnTo>
                  <a:pt x="4664" y="1175"/>
                </a:lnTo>
                <a:lnTo>
                  <a:pt x="4764" y="1139"/>
                </a:lnTo>
                <a:lnTo>
                  <a:pt x="5032" y="1044"/>
                </a:lnTo>
                <a:lnTo>
                  <a:pt x="5418" y="908"/>
                </a:lnTo>
                <a:lnTo>
                  <a:pt x="5641" y="832"/>
                </a:lnTo>
                <a:lnTo>
                  <a:pt x="5874" y="752"/>
                </a:lnTo>
                <a:lnTo>
                  <a:pt x="6112" y="671"/>
                </a:lnTo>
                <a:lnTo>
                  <a:pt x="6349" y="593"/>
                </a:lnTo>
                <a:lnTo>
                  <a:pt x="6579" y="518"/>
                </a:lnTo>
                <a:lnTo>
                  <a:pt x="6794" y="450"/>
                </a:lnTo>
                <a:lnTo>
                  <a:pt x="6896" y="419"/>
                </a:lnTo>
                <a:lnTo>
                  <a:pt x="6991" y="390"/>
                </a:lnTo>
                <a:lnTo>
                  <a:pt x="7079" y="365"/>
                </a:lnTo>
                <a:lnTo>
                  <a:pt x="7161" y="342"/>
                </a:lnTo>
                <a:lnTo>
                  <a:pt x="7235" y="323"/>
                </a:lnTo>
                <a:lnTo>
                  <a:pt x="7300" y="308"/>
                </a:lnTo>
                <a:lnTo>
                  <a:pt x="7355" y="296"/>
                </a:lnTo>
                <a:lnTo>
                  <a:pt x="7379" y="292"/>
                </a:lnTo>
                <a:lnTo>
                  <a:pt x="7400" y="289"/>
                </a:lnTo>
                <a:lnTo>
                  <a:pt x="7400" y="289"/>
                </a:lnTo>
                <a:lnTo>
                  <a:pt x="7423" y="286"/>
                </a:lnTo>
                <a:lnTo>
                  <a:pt x="7447" y="284"/>
                </a:lnTo>
                <a:lnTo>
                  <a:pt x="7499" y="282"/>
                </a:lnTo>
                <a:lnTo>
                  <a:pt x="7555" y="282"/>
                </a:lnTo>
                <a:lnTo>
                  <a:pt x="7613" y="283"/>
                </a:lnTo>
                <a:lnTo>
                  <a:pt x="7672" y="287"/>
                </a:lnTo>
                <a:lnTo>
                  <a:pt x="7731" y="293"/>
                </a:lnTo>
                <a:lnTo>
                  <a:pt x="7762" y="297"/>
                </a:lnTo>
                <a:lnTo>
                  <a:pt x="7792" y="302"/>
                </a:lnTo>
                <a:lnTo>
                  <a:pt x="7820" y="308"/>
                </a:lnTo>
                <a:lnTo>
                  <a:pt x="7850" y="314"/>
                </a:lnTo>
                <a:lnTo>
                  <a:pt x="7878" y="320"/>
                </a:lnTo>
                <a:lnTo>
                  <a:pt x="7905" y="327"/>
                </a:lnTo>
                <a:lnTo>
                  <a:pt x="7932" y="335"/>
                </a:lnTo>
                <a:lnTo>
                  <a:pt x="7958" y="343"/>
                </a:lnTo>
                <a:lnTo>
                  <a:pt x="7983" y="353"/>
                </a:lnTo>
                <a:lnTo>
                  <a:pt x="8006" y="363"/>
                </a:lnTo>
                <a:lnTo>
                  <a:pt x="8029" y="373"/>
                </a:lnTo>
                <a:lnTo>
                  <a:pt x="8049" y="384"/>
                </a:lnTo>
                <a:lnTo>
                  <a:pt x="8069" y="396"/>
                </a:lnTo>
                <a:lnTo>
                  <a:pt x="8087" y="410"/>
                </a:lnTo>
                <a:lnTo>
                  <a:pt x="8102" y="423"/>
                </a:lnTo>
                <a:lnTo>
                  <a:pt x="8117" y="437"/>
                </a:lnTo>
                <a:lnTo>
                  <a:pt x="8129" y="452"/>
                </a:lnTo>
                <a:lnTo>
                  <a:pt x="8138" y="467"/>
                </a:lnTo>
                <a:lnTo>
                  <a:pt x="8146" y="484"/>
                </a:lnTo>
                <a:lnTo>
                  <a:pt x="8149" y="493"/>
                </a:lnTo>
                <a:lnTo>
                  <a:pt x="8151" y="501"/>
                </a:lnTo>
                <a:lnTo>
                  <a:pt x="8151" y="501"/>
                </a:lnTo>
                <a:lnTo>
                  <a:pt x="8155" y="524"/>
                </a:lnTo>
                <a:lnTo>
                  <a:pt x="8158" y="548"/>
                </a:lnTo>
                <a:lnTo>
                  <a:pt x="8158" y="570"/>
                </a:lnTo>
                <a:lnTo>
                  <a:pt x="8155" y="594"/>
                </a:lnTo>
                <a:lnTo>
                  <a:pt x="8151" y="617"/>
                </a:lnTo>
                <a:lnTo>
                  <a:pt x="8146" y="640"/>
                </a:lnTo>
                <a:lnTo>
                  <a:pt x="8138" y="662"/>
                </a:lnTo>
                <a:lnTo>
                  <a:pt x="8129" y="685"/>
                </a:lnTo>
                <a:lnTo>
                  <a:pt x="8118" y="707"/>
                </a:lnTo>
                <a:lnTo>
                  <a:pt x="8105" y="730"/>
                </a:lnTo>
                <a:lnTo>
                  <a:pt x="8092" y="752"/>
                </a:lnTo>
                <a:lnTo>
                  <a:pt x="8078" y="774"/>
                </a:lnTo>
                <a:lnTo>
                  <a:pt x="8061" y="795"/>
                </a:lnTo>
                <a:lnTo>
                  <a:pt x="8044" y="816"/>
                </a:lnTo>
                <a:lnTo>
                  <a:pt x="8027" y="837"/>
                </a:lnTo>
                <a:lnTo>
                  <a:pt x="8007" y="857"/>
                </a:lnTo>
                <a:lnTo>
                  <a:pt x="7988" y="878"/>
                </a:lnTo>
                <a:lnTo>
                  <a:pt x="7967" y="897"/>
                </a:lnTo>
                <a:lnTo>
                  <a:pt x="7947" y="917"/>
                </a:lnTo>
                <a:lnTo>
                  <a:pt x="7926" y="935"/>
                </a:lnTo>
                <a:lnTo>
                  <a:pt x="7882" y="972"/>
                </a:lnTo>
                <a:lnTo>
                  <a:pt x="7838" y="1005"/>
                </a:lnTo>
                <a:lnTo>
                  <a:pt x="7794" y="1038"/>
                </a:lnTo>
                <a:lnTo>
                  <a:pt x="7750" y="1067"/>
                </a:lnTo>
                <a:lnTo>
                  <a:pt x="7709" y="1094"/>
                </a:lnTo>
                <a:lnTo>
                  <a:pt x="7670" y="1118"/>
                </a:lnTo>
                <a:lnTo>
                  <a:pt x="7670" y="1118"/>
                </a:lnTo>
                <a:lnTo>
                  <a:pt x="7620" y="1146"/>
                </a:lnTo>
                <a:lnTo>
                  <a:pt x="7570" y="1173"/>
                </a:lnTo>
                <a:lnTo>
                  <a:pt x="7519" y="1198"/>
                </a:lnTo>
                <a:lnTo>
                  <a:pt x="7469" y="1221"/>
                </a:lnTo>
                <a:lnTo>
                  <a:pt x="7418" y="1243"/>
                </a:lnTo>
                <a:lnTo>
                  <a:pt x="7367" y="1263"/>
                </a:lnTo>
                <a:lnTo>
                  <a:pt x="7316" y="1282"/>
                </a:lnTo>
                <a:lnTo>
                  <a:pt x="7265" y="1301"/>
                </a:lnTo>
                <a:lnTo>
                  <a:pt x="7215" y="1318"/>
                </a:lnTo>
                <a:lnTo>
                  <a:pt x="7165" y="1335"/>
                </a:lnTo>
                <a:lnTo>
                  <a:pt x="7067" y="1366"/>
                </a:lnTo>
                <a:lnTo>
                  <a:pt x="6971" y="1396"/>
                </a:lnTo>
                <a:lnTo>
                  <a:pt x="6880" y="1426"/>
                </a:lnTo>
                <a:lnTo>
                  <a:pt x="6880" y="1426"/>
                </a:lnTo>
                <a:lnTo>
                  <a:pt x="6361" y="1599"/>
                </a:lnTo>
                <a:lnTo>
                  <a:pt x="5849" y="1769"/>
                </a:lnTo>
                <a:lnTo>
                  <a:pt x="5341" y="1936"/>
                </a:lnTo>
                <a:lnTo>
                  <a:pt x="4836" y="2102"/>
                </a:lnTo>
                <a:lnTo>
                  <a:pt x="3817" y="2435"/>
                </a:lnTo>
                <a:lnTo>
                  <a:pt x="2774" y="2775"/>
                </a:lnTo>
                <a:lnTo>
                  <a:pt x="2774" y="2775"/>
                </a:lnTo>
                <a:lnTo>
                  <a:pt x="2715" y="2796"/>
                </a:lnTo>
                <a:lnTo>
                  <a:pt x="2655" y="2817"/>
                </a:lnTo>
                <a:lnTo>
                  <a:pt x="2595" y="2840"/>
                </a:lnTo>
                <a:lnTo>
                  <a:pt x="2535" y="2863"/>
                </a:lnTo>
                <a:lnTo>
                  <a:pt x="2416" y="2909"/>
                </a:lnTo>
                <a:lnTo>
                  <a:pt x="2355" y="2933"/>
                </a:lnTo>
                <a:lnTo>
                  <a:pt x="2294" y="2954"/>
                </a:lnTo>
                <a:lnTo>
                  <a:pt x="2234" y="2976"/>
                </a:lnTo>
                <a:lnTo>
                  <a:pt x="2173" y="2995"/>
                </a:lnTo>
                <a:lnTo>
                  <a:pt x="2111" y="3013"/>
                </a:lnTo>
                <a:lnTo>
                  <a:pt x="2049" y="3029"/>
                </a:lnTo>
                <a:lnTo>
                  <a:pt x="2017" y="3036"/>
                </a:lnTo>
                <a:lnTo>
                  <a:pt x="1986" y="3042"/>
                </a:lnTo>
                <a:lnTo>
                  <a:pt x="1954" y="3048"/>
                </a:lnTo>
                <a:lnTo>
                  <a:pt x="1922" y="3052"/>
                </a:lnTo>
                <a:lnTo>
                  <a:pt x="1890" y="3056"/>
                </a:lnTo>
                <a:lnTo>
                  <a:pt x="1858" y="3060"/>
                </a:lnTo>
                <a:lnTo>
                  <a:pt x="1825" y="3062"/>
                </a:lnTo>
                <a:lnTo>
                  <a:pt x="1792" y="3064"/>
                </a:lnTo>
                <a:lnTo>
                  <a:pt x="1792" y="3064"/>
                </a:lnTo>
                <a:lnTo>
                  <a:pt x="1734" y="3065"/>
                </a:lnTo>
                <a:lnTo>
                  <a:pt x="1673" y="3064"/>
                </a:lnTo>
                <a:lnTo>
                  <a:pt x="1609" y="3062"/>
                </a:lnTo>
                <a:lnTo>
                  <a:pt x="1542" y="3059"/>
                </a:lnTo>
                <a:lnTo>
                  <a:pt x="1474" y="3054"/>
                </a:lnTo>
                <a:lnTo>
                  <a:pt x="1403" y="3049"/>
                </a:lnTo>
                <a:lnTo>
                  <a:pt x="1332" y="3042"/>
                </a:lnTo>
                <a:lnTo>
                  <a:pt x="1258" y="3034"/>
                </a:lnTo>
                <a:lnTo>
                  <a:pt x="1184" y="3025"/>
                </a:lnTo>
                <a:lnTo>
                  <a:pt x="1110" y="3015"/>
                </a:lnTo>
                <a:lnTo>
                  <a:pt x="961" y="2994"/>
                </a:lnTo>
                <a:lnTo>
                  <a:pt x="814" y="2970"/>
                </a:lnTo>
                <a:lnTo>
                  <a:pt x="670" y="2947"/>
                </a:lnTo>
                <a:lnTo>
                  <a:pt x="535" y="2922"/>
                </a:lnTo>
                <a:lnTo>
                  <a:pt x="408" y="2898"/>
                </a:lnTo>
                <a:lnTo>
                  <a:pt x="294" y="2875"/>
                </a:lnTo>
                <a:lnTo>
                  <a:pt x="195" y="2856"/>
                </a:lnTo>
                <a:lnTo>
                  <a:pt x="52" y="2825"/>
                </a:lnTo>
                <a:lnTo>
                  <a:pt x="0" y="2814"/>
                </a:lnTo>
                <a:lnTo>
                  <a:pt x="2602" y="1888"/>
                </a:lnTo>
                <a:lnTo>
                  <a:pt x="1349" y="347"/>
                </a:lnTo>
                <a:lnTo>
                  <a:pt x="16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28" name="Freeform 1934"/>
          <p:cNvSpPr>
            <a:spLocks/>
          </p:cNvSpPr>
          <p:nvPr/>
        </p:nvSpPr>
        <p:spPr bwMode="auto">
          <a:xfrm>
            <a:off x="2954863" y="1831037"/>
            <a:ext cx="309718" cy="194026"/>
          </a:xfrm>
          <a:custGeom>
            <a:avLst/>
            <a:gdLst>
              <a:gd name="T0" fmla="*/ 1542 w 1542"/>
              <a:gd name="T1" fmla="*/ 635 h 963"/>
              <a:gd name="T2" fmla="*/ 655 w 1542"/>
              <a:gd name="T3" fmla="*/ 963 h 963"/>
              <a:gd name="T4" fmla="*/ 0 w 1542"/>
              <a:gd name="T5" fmla="*/ 250 h 963"/>
              <a:gd name="T6" fmla="*/ 231 w 1542"/>
              <a:gd name="T7" fmla="*/ 0 h 963"/>
              <a:gd name="T8" fmla="*/ 1542 w 1542"/>
              <a:gd name="T9" fmla="*/ 635 h 963"/>
            </a:gdLst>
            <a:ahLst/>
            <a:cxnLst>
              <a:cxn ang="0">
                <a:pos x="T0" y="T1"/>
              </a:cxn>
              <a:cxn ang="0">
                <a:pos x="T2" y="T3"/>
              </a:cxn>
              <a:cxn ang="0">
                <a:pos x="T4" y="T5"/>
              </a:cxn>
              <a:cxn ang="0">
                <a:pos x="T6" y="T7"/>
              </a:cxn>
              <a:cxn ang="0">
                <a:pos x="T8" y="T9"/>
              </a:cxn>
            </a:cxnLst>
            <a:rect l="0" t="0" r="r" b="b"/>
            <a:pathLst>
              <a:path w="1542" h="963">
                <a:moveTo>
                  <a:pt x="1542" y="635"/>
                </a:moveTo>
                <a:lnTo>
                  <a:pt x="655" y="963"/>
                </a:lnTo>
                <a:lnTo>
                  <a:pt x="0" y="250"/>
                </a:lnTo>
                <a:lnTo>
                  <a:pt x="231" y="0"/>
                </a:lnTo>
                <a:lnTo>
                  <a:pt x="1542" y="6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034" name="Group 3033"/>
          <p:cNvGrpSpPr/>
          <p:nvPr/>
        </p:nvGrpSpPr>
        <p:grpSpPr>
          <a:xfrm>
            <a:off x="3329880" y="1611797"/>
            <a:ext cx="1105102" cy="394077"/>
            <a:chOff x="2968625" y="1541463"/>
            <a:chExt cx="1455738" cy="519113"/>
          </a:xfrm>
          <a:solidFill>
            <a:schemeClr val="tx2">
              <a:lumMod val="50000"/>
            </a:schemeClr>
          </a:solidFill>
        </p:grpSpPr>
        <p:sp>
          <p:nvSpPr>
            <p:cNvPr id="2929" name="Freeform 1935"/>
            <p:cNvSpPr>
              <a:spLocks/>
            </p:cNvSpPr>
            <p:nvPr/>
          </p:nvSpPr>
          <p:spPr bwMode="auto">
            <a:xfrm>
              <a:off x="2968625" y="2020888"/>
              <a:ext cx="46038" cy="39688"/>
            </a:xfrm>
            <a:custGeom>
              <a:avLst/>
              <a:gdLst>
                <a:gd name="T0" fmla="*/ 164 w 168"/>
                <a:gd name="T1" fmla="*/ 47 h 149"/>
                <a:gd name="T2" fmla="*/ 158 w 168"/>
                <a:gd name="T3" fmla="*/ 34 h 149"/>
                <a:gd name="T4" fmla="*/ 149 w 168"/>
                <a:gd name="T5" fmla="*/ 23 h 149"/>
                <a:gd name="T6" fmla="*/ 138 w 168"/>
                <a:gd name="T7" fmla="*/ 14 h 149"/>
                <a:gd name="T8" fmla="*/ 125 w 168"/>
                <a:gd name="T9" fmla="*/ 7 h 149"/>
                <a:gd name="T10" fmla="*/ 110 w 168"/>
                <a:gd name="T11" fmla="*/ 2 h 149"/>
                <a:gd name="T12" fmla="*/ 94 w 168"/>
                <a:gd name="T13" fmla="*/ 0 h 149"/>
                <a:gd name="T14" fmla="*/ 78 w 168"/>
                <a:gd name="T15" fmla="*/ 2 h 149"/>
                <a:gd name="T16" fmla="*/ 60 w 168"/>
                <a:gd name="T17" fmla="*/ 7 h 149"/>
                <a:gd name="T18" fmla="*/ 52 w 168"/>
                <a:gd name="T19" fmla="*/ 10 h 149"/>
                <a:gd name="T20" fmla="*/ 38 w 168"/>
                <a:gd name="T21" fmla="*/ 18 h 149"/>
                <a:gd name="T22" fmla="*/ 24 w 168"/>
                <a:gd name="T23" fmla="*/ 28 h 149"/>
                <a:gd name="T24" fmla="*/ 14 w 168"/>
                <a:gd name="T25" fmla="*/ 39 h 149"/>
                <a:gd name="T26" fmla="*/ 6 w 168"/>
                <a:gd name="T27" fmla="*/ 53 h 149"/>
                <a:gd name="T28" fmla="*/ 2 w 168"/>
                <a:gd name="T29" fmla="*/ 67 h 149"/>
                <a:gd name="T30" fmla="*/ 0 w 168"/>
                <a:gd name="T31" fmla="*/ 81 h 149"/>
                <a:gd name="T32" fmla="*/ 1 w 168"/>
                <a:gd name="T33" fmla="*/ 95 h 149"/>
                <a:gd name="T34" fmla="*/ 3 w 168"/>
                <a:gd name="T35" fmla="*/ 103 h 149"/>
                <a:gd name="T36" fmla="*/ 9 w 168"/>
                <a:gd name="T37" fmla="*/ 116 h 149"/>
                <a:gd name="T38" fmla="*/ 18 w 168"/>
                <a:gd name="T39" fmla="*/ 127 h 149"/>
                <a:gd name="T40" fmla="*/ 29 w 168"/>
                <a:gd name="T41" fmla="*/ 136 h 149"/>
                <a:gd name="T42" fmla="*/ 43 w 168"/>
                <a:gd name="T43" fmla="*/ 142 h 149"/>
                <a:gd name="T44" fmla="*/ 58 w 168"/>
                <a:gd name="T45" fmla="*/ 147 h 149"/>
                <a:gd name="T46" fmla="*/ 73 w 168"/>
                <a:gd name="T47" fmla="*/ 149 h 149"/>
                <a:gd name="T48" fmla="*/ 91 w 168"/>
                <a:gd name="T49" fmla="*/ 148 h 149"/>
                <a:gd name="T50" fmla="*/ 107 w 168"/>
                <a:gd name="T51" fmla="*/ 143 h 149"/>
                <a:gd name="T52" fmla="*/ 115 w 168"/>
                <a:gd name="T53" fmla="*/ 140 h 149"/>
                <a:gd name="T54" fmla="*/ 130 w 168"/>
                <a:gd name="T55" fmla="*/ 132 h 149"/>
                <a:gd name="T56" fmla="*/ 143 w 168"/>
                <a:gd name="T57" fmla="*/ 122 h 149"/>
                <a:gd name="T58" fmla="*/ 153 w 168"/>
                <a:gd name="T59" fmla="*/ 110 h 149"/>
                <a:gd name="T60" fmla="*/ 161 w 168"/>
                <a:gd name="T61" fmla="*/ 98 h 149"/>
                <a:gd name="T62" fmla="*/ 166 w 168"/>
                <a:gd name="T63" fmla="*/ 83 h 149"/>
                <a:gd name="T64" fmla="*/ 168 w 168"/>
                <a:gd name="T65" fmla="*/ 69 h 149"/>
                <a:gd name="T66" fmla="*/ 166 w 168"/>
                <a:gd name="T67" fmla="*/ 55 h 149"/>
                <a:gd name="T68" fmla="*/ 164 w 168"/>
                <a:gd name="T69" fmla="*/ 4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49">
                  <a:moveTo>
                    <a:pt x="164" y="47"/>
                  </a:moveTo>
                  <a:lnTo>
                    <a:pt x="164" y="47"/>
                  </a:lnTo>
                  <a:lnTo>
                    <a:pt x="162" y="40"/>
                  </a:lnTo>
                  <a:lnTo>
                    <a:pt x="158" y="34"/>
                  </a:lnTo>
                  <a:lnTo>
                    <a:pt x="154" y="28"/>
                  </a:lnTo>
                  <a:lnTo>
                    <a:pt x="149" y="23"/>
                  </a:lnTo>
                  <a:lnTo>
                    <a:pt x="144" y="18"/>
                  </a:lnTo>
                  <a:lnTo>
                    <a:pt x="138" y="14"/>
                  </a:lnTo>
                  <a:lnTo>
                    <a:pt x="132" y="10"/>
                  </a:lnTo>
                  <a:lnTo>
                    <a:pt x="125" y="7"/>
                  </a:lnTo>
                  <a:lnTo>
                    <a:pt x="117" y="5"/>
                  </a:lnTo>
                  <a:lnTo>
                    <a:pt x="110" y="2"/>
                  </a:lnTo>
                  <a:lnTo>
                    <a:pt x="102" y="1"/>
                  </a:lnTo>
                  <a:lnTo>
                    <a:pt x="94" y="0"/>
                  </a:lnTo>
                  <a:lnTo>
                    <a:pt x="86" y="1"/>
                  </a:lnTo>
                  <a:lnTo>
                    <a:pt x="78" y="2"/>
                  </a:lnTo>
                  <a:lnTo>
                    <a:pt x="69" y="4"/>
                  </a:lnTo>
                  <a:lnTo>
                    <a:pt x="60" y="7"/>
                  </a:lnTo>
                  <a:lnTo>
                    <a:pt x="60" y="7"/>
                  </a:lnTo>
                  <a:lnTo>
                    <a:pt x="52" y="10"/>
                  </a:lnTo>
                  <a:lnTo>
                    <a:pt x="45" y="13"/>
                  </a:lnTo>
                  <a:lnTo>
                    <a:pt x="38" y="18"/>
                  </a:lnTo>
                  <a:lnTo>
                    <a:pt x="31" y="22"/>
                  </a:lnTo>
                  <a:lnTo>
                    <a:pt x="24" y="28"/>
                  </a:lnTo>
                  <a:lnTo>
                    <a:pt x="19" y="33"/>
                  </a:lnTo>
                  <a:lnTo>
                    <a:pt x="14" y="39"/>
                  </a:lnTo>
                  <a:lnTo>
                    <a:pt x="10" y="45"/>
                  </a:lnTo>
                  <a:lnTo>
                    <a:pt x="6" y="53"/>
                  </a:lnTo>
                  <a:lnTo>
                    <a:pt x="4" y="60"/>
                  </a:lnTo>
                  <a:lnTo>
                    <a:pt x="2" y="67"/>
                  </a:lnTo>
                  <a:lnTo>
                    <a:pt x="0" y="74"/>
                  </a:lnTo>
                  <a:lnTo>
                    <a:pt x="0" y="81"/>
                  </a:lnTo>
                  <a:lnTo>
                    <a:pt x="0" y="88"/>
                  </a:lnTo>
                  <a:lnTo>
                    <a:pt x="1" y="95"/>
                  </a:lnTo>
                  <a:lnTo>
                    <a:pt x="3" y="103"/>
                  </a:lnTo>
                  <a:lnTo>
                    <a:pt x="3" y="103"/>
                  </a:lnTo>
                  <a:lnTo>
                    <a:pt x="6" y="109"/>
                  </a:lnTo>
                  <a:lnTo>
                    <a:pt x="9" y="116"/>
                  </a:lnTo>
                  <a:lnTo>
                    <a:pt x="13" y="121"/>
                  </a:lnTo>
                  <a:lnTo>
                    <a:pt x="18" y="127"/>
                  </a:lnTo>
                  <a:lnTo>
                    <a:pt x="23" y="131"/>
                  </a:lnTo>
                  <a:lnTo>
                    <a:pt x="29" y="136"/>
                  </a:lnTo>
                  <a:lnTo>
                    <a:pt x="36" y="139"/>
                  </a:lnTo>
                  <a:lnTo>
                    <a:pt x="43" y="142"/>
                  </a:lnTo>
                  <a:lnTo>
                    <a:pt x="50" y="146"/>
                  </a:lnTo>
                  <a:lnTo>
                    <a:pt x="58" y="147"/>
                  </a:lnTo>
                  <a:lnTo>
                    <a:pt x="65" y="149"/>
                  </a:lnTo>
                  <a:lnTo>
                    <a:pt x="73" y="149"/>
                  </a:lnTo>
                  <a:lnTo>
                    <a:pt x="82" y="149"/>
                  </a:lnTo>
                  <a:lnTo>
                    <a:pt x="91" y="148"/>
                  </a:lnTo>
                  <a:lnTo>
                    <a:pt x="99" y="146"/>
                  </a:lnTo>
                  <a:lnTo>
                    <a:pt x="107" y="143"/>
                  </a:lnTo>
                  <a:lnTo>
                    <a:pt x="107" y="143"/>
                  </a:lnTo>
                  <a:lnTo>
                    <a:pt x="115" y="140"/>
                  </a:lnTo>
                  <a:lnTo>
                    <a:pt x="122" y="136"/>
                  </a:lnTo>
                  <a:lnTo>
                    <a:pt x="130" y="132"/>
                  </a:lnTo>
                  <a:lnTo>
                    <a:pt x="137" y="127"/>
                  </a:lnTo>
                  <a:lnTo>
                    <a:pt x="143" y="122"/>
                  </a:lnTo>
                  <a:lnTo>
                    <a:pt x="148" y="116"/>
                  </a:lnTo>
                  <a:lnTo>
                    <a:pt x="153" y="110"/>
                  </a:lnTo>
                  <a:lnTo>
                    <a:pt x="157" y="104"/>
                  </a:lnTo>
                  <a:lnTo>
                    <a:pt x="161" y="98"/>
                  </a:lnTo>
                  <a:lnTo>
                    <a:pt x="164" y="90"/>
                  </a:lnTo>
                  <a:lnTo>
                    <a:pt x="166" y="83"/>
                  </a:lnTo>
                  <a:lnTo>
                    <a:pt x="167" y="76"/>
                  </a:lnTo>
                  <a:lnTo>
                    <a:pt x="168" y="69"/>
                  </a:lnTo>
                  <a:lnTo>
                    <a:pt x="167" y="62"/>
                  </a:lnTo>
                  <a:lnTo>
                    <a:pt x="166" y="55"/>
                  </a:lnTo>
                  <a:lnTo>
                    <a:pt x="164" y="47"/>
                  </a:lnTo>
                  <a:lnTo>
                    <a:pt x="164"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30" name="Freeform 1936"/>
            <p:cNvSpPr>
              <a:spLocks/>
            </p:cNvSpPr>
            <p:nvPr/>
          </p:nvSpPr>
          <p:spPr bwMode="auto">
            <a:xfrm>
              <a:off x="3048000" y="1993900"/>
              <a:ext cx="44450" cy="39688"/>
            </a:xfrm>
            <a:custGeom>
              <a:avLst/>
              <a:gdLst>
                <a:gd name="T0" fmla="*/ 165 w 169"/>
                <a:gd name="T1" fmla="*/ 46 h 148"/>
                <a:gd name="T2" fmla="*/ 159 w 169"/>
                <a:gd name="T3" fmla="*/ 33 h 148"/>
                <a:gd name="T4" fmla="*/ 149 w 169"/>
                <a:gd name="T5" fmla="*/ 22 h 148"/>
                <a:gd name="T6" fmla="*/ 138 w 169"/>
                <a:gd name="T7" fmla="*/ 13 h 148"/>
                <a:gd name="T8" fmla="*/ 125 w 169"/>
                <a:gd name="T9" fmla="*/ 6 h 148"/>
                <a:gd name="T10" fmla="*/ 110 w 169"/>
                <a:gd name="T11" fmla="*/ 2 h 148"/>
                <a:gd name="T12" fmla="*/ 94 w 169"/>
                <a:gd name="T13" fmla="*/ 0 h 148"/>
                <a:gd name="T14" fmla="*/ 78 w 169"/>
                <a:gd name="T15" fmla="*/ 1 h 148"/>
                <a:gd name="T16" fmla="*/ 60 w 169"/>
                <a:gd name="T17" fmla="*/ 5 h 148"/>
                <a:gd name="T18" fmla="*/ 52 w 169"/>
                <a:gd name="T19" fmla="*/ 8 h 148"/>
                <a:gd name="T20" fmla="*/ 38 w 169"/>
                <a:gd name="T21" fmla="*/ 17 h 148"/>
                <a:gd name="T22" fmla="*/ 25 w 169"/>
                <a:gd name="T23" fmla="*/ 27 h 148"/>
                <a:gd name="T24" fmla="*/ 15 w 169"/>
                <a:gd name="T25" fmla="*/ 39 h 148"/>
                <a:gd name="T26" fmla="*/ 6 w 169"/>
                <a:gd name="T27" fmla="*/ 51 h 148"/>
                <a:gd name="T28" fmla="*/ 1 w 169"/>
                <a:gd name="T29" fmla="*/ 66 h 148"/>
                <a:gd name="T30" fmla="*/ 0 w 169"/>
                <a:gd name="T31" fmla="*/ 80 h 148"/>
                <a:gd name="T32" fmla="*/ 1 w 169"/>
                <a:gd name="T33" fmla="*/ 94 h 148"/>
                <a:gd name="T34" fmla="*/ 3 w 169"/>
                <a:gd name="T35" fmla="*/ 101 h 148"/>
                <a:gd name="T36" fmla="*/ 9 w 169"/>
                <a:gd name="T37" fmla="*/ 115 h 148"/>
                <a:gd name="T38" fmla="*/ 19 w 169"/>
                <a:gd name="T39" fmla="*/ 126 h 148"/>
                <a:gd name="T40" fmla="*/ 30 w 169"/>
                <a:gd name="T41" fmla="*/ 135 h 148"/>
                <a:gd name="T42" fmla="*/ 43 w 169"/>
                <a:gd name="T43" fmla="*/ 142 h 148"/>
                <a:gd name="T44" fmla="*/ 58 w 169"/>
                <a:gd name="T45" fmla="*/ 146 h 148"/>
                <a:gd name="T46" fmla="*/ 74 w 169"/>
                <a:gd name="T47" fmla="*/ 148 h 148"/>
                <a:gd name="T48" fmla="*/ 90 w 169"/>
                <a:gd name="T49" fmla="*/ 146 h 148"/>
                <a:gd name="T50" fmla="*/ 107 w 169"/>
                <a:gd name="T51" fmla="*/ 142 h 148"/>
                <a:gd name="T52" fmla="*/ 116 w 169"/>
                <a:gd name="T53" fmla="*/ 139 h 148"/>
                <a:gd name="T54" fmla="*/ 130 w 169"/>
                <a:gd name="T55" fmla="*/ 131 h 148"/>
                <a:gd name="T56" fmla="*/ 143 w 169"/>
                <a:gd name="T57" fmla="*/ 121 h 148"/>
                <a:gd name="T58" fmla="*/ 153 w 169"/>
                <a:gd name="T59" fmla="*/ 110 h 148"/>
                <a:gd name="T60" fmla="*/ 162 w 169"/>
                <a:gd name="T61" fmla="*/ 96 h 148"/>
                <a:gd name="T62" fmla="*/ 167 w 169"/>
                <a:gd name="T63" fmla="*/ 82 h 148"/>
                <a:gd name="T64" fmla="*/ 169 w 169"/>
                <a:gd name="T65" fmla="*/ 68 h 148"/>
                <a:gd name="T66" fmla="*/ 167 w 169"/>
                <a:gd name="T67" fmla="*/ 53 h 148"/>
                <a:gd name="T68" fmla="*/ 165 w 169"/>
                <a:gd name="T69" fmla="*/ 4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9" h="148">
                  <a:moveTo>
                    <a:pt x="165" y="46"/>
                  </a:moveTo>
                  <a:lnTo>
                    <a:pt x="165" y="46"/>
                  </a:lnTo>
                  <a:lnTo>
                    <a:pt x="163" y="40"/>
                  </a:lnTo>
                  <a:lnTo>
                    <a:pt x="159" y="33"/>
                  </a:lnTo>
                  <a:lnTo>
                    <a:pt x="154" y="28"/>
                  </a:lnTo>
                  <a:lnTo>
                    <a:pt x="149" y="22"/>
                  </a:lnTo>
                  <a:lnTo>
                    <a:pt x="144" y="18"/>
                  </a:lnTo>
                  <a:lnTo>
                    <a:pt x="138" y="13"/>
                  </a:lnTo>
                  <a:lnTo>
                    <a:pt x="132" y="9"/>
                  </a:lnTo>
                  <a:lnTo>
                    <a:pt x="125" y="6"/>
                  </a:lnTo>
                  <a:lnTo>
                    <a:pt x="118" y="3"/>
                  </a:lnTo>
                  <a:lnTo>
                    <a:pt x="110" y="2"/>
                  </a:lnTo>
                  <a:lnTo>
                    <a:pt x="102" y="0"/>
                  </a:lnTo>
                  <a:lnTo>
                    <a:pt x="94" y="0"/>
                  </a:lnTo>
                  <a:lnTo>
                    <a:pt x="86" y="0"/>
                  </a:lnTo>
                  <a:lnTo>
                    <a:pt x="78" y="1"/>
                  </a:lnTo>
                  <a:lnTo>
                    <a:pt x="69" y="3"/>
                  </a:lnTo>
                  <a:lnTo>
                    <a:pt x="60" y="5"/>
                  </a:lnTo>
                  <a:lnTo>
                    <a:pt x="60" y="5"/>
                  </a:lnTo>
                  <a:lnTo>
                    <a:pt x="52" y="8"/>
                  </a:lnTo>
                  <a:lnTo>
                    <a:pt x="45" y="13"/>
                  </a:lnTo>
                  <a:lnTo>
                    <a:pt x="38" y="17"/>
                  </a:lnTo>
                  <a:lnTo>
                    <a:pt x="31" y="22"/>
                  </a:lnTo>
                  <a:lnTo>
                    <a:pt x="25" y="27"/>
                  </a:lnTo>
                  <a:lnTo>
                    <a:pt x="20" y="33"/>
                  </a:lnTo>
                  <a:lnTo>
                    <a:pt x="15" y="39"/>
                  </a:lnTo>
                  <a:lnTo>
                    <a:pt x="10" y="45"/>
                  </a:lnTo>
                  <a:lnTo>
                    <a:pt x="6" y="51"/>
                  </a:lnTo>
                  <a:lnTo>
                    <a:pt x="4" y="59"/>
                  </a:lnTo>
                  <a:lnTo>
                    <a:pt x="1" y="66"/>
                  </a:lnTo>
                  <a:lnTo>
                    <a:pt x="0" y="73"/>
                  </a:lnTo>
                  <a:lnTo>
                    <a:pt x="0" y="80"/>
                  </a:lnTo>
                  <a:lnTo>
                    <a:pt x="0" y="87"/>
                  </a:lnTo>
                  <a:lnTo>
                    <a:pt x="1" y="94"/>
                  </a:lnTo>
                  <a:lnTo>
                    <a:pt x="3" y="101"/>
                  </a:lnTo>
                  <a:lnTo>
                    <a:pt x="3" y="101"/>
                  </a:lnTo>
                  <a:lnTo>
                    <a:pt x="5" y="109"/>
                  </a:lnTo>
                  <a:lnTo>
                    <a:pt x="9" y="115"/>
                  </a:lnTo>
                  <a:lnTo>
                    <a:pt x="13" y="121"/>
                  </a:lnTo>
                  <a:lnTo>
                    <a:pt x="19" y="126"/>
                  </a:lnTo>
                  <a:lnTo>
                    <a:pt x="24" y="131"/>
                  </a:lnTo>
                  <a:lnTo>
                    <a:pt x="30" y="135"/>
                  </a:lnTo>
                  <a:lnTo>
                    <a:pt x="36" y="139"/>
                  </a:lnTo>
                  <a:lnTo>
                    <a:pt x="43" y="142"/>
                  </a:lnTo>
                  <a:lnTo>
                    <a:pt x="50" y="144"/>
                  </a:lnTo>
                  <a:lnTo>
                    <a:pt x="58" y="146"/>
                  </a:lnTo>
                  <a:lnTo>
                    <a:pt x="66" y="147"/>
                  </a:lnTo>
                  <a:lnTo>
                    <a:pt x="74" y="148"/>
                  </a:lnTo>
                  <a:lnTo>
                    <a:pt x="82" y="147"/>
                  </a:lnTo>
                  <a:lnTo>
                    <a:pt x="90" y="146"/>
                  </a:lnTo>
                  <a:lnTo>
                    <a:pt x="99" y="145"/>
                  </a:lnTo>
                  <a:lnTo>
                    <a:pt x="107" y="142"/>
                  </a:lnTo>
                  <a:lnTo>
                    <a:pt x="107" y="142"/>
                  </a:lnTo>
                  <a:lnTo>
                    <a:pt x="116" y="139"/>
                  </a:lnTo>
                  <a:lnTo>
                    <a:pt x="123" y="136"/>
                  </a:lnTo>
                  <a:lnTo>
                    <a:pt x="130" y="131"/>
                  </a:lnTo>
                  <a:lnTo>
                    <a:pt x="137" y="127"/>
                  </a:lnTo>
                  <a:lnTo>
                    <a:pt x="143" y="121"/>
                  </a:lnTo>
                  <a:lnTo>
                    <a:pt x="148" y="116"/>
                  </a:lnTo>
                  <a:lnTo>
                    <a:pt x="153" y="110"/>
                  </a:lnTo>
                  <a:lnTo>
                    <a:pt x="158" y="104"/>
                  </a:lnTo>
                  <a:lnTo>
                    <a:pt x="162" y="96"/>
                  </a:lnTo>
                  <a:lnTo>
                    <a:pt x="165" y="89"/>
                  </a:lnTo>
                  <a:lnTo>
                    <a:pt x="167" y="82"/>
                  </a:lnTo>
                  <a:lnTo>
                    <a:pt x="168" y="75"/>
                  </a:lnTo>
                  <a:lnTo>
                    <a:pt x="169" y="68"/>
                  </a:lnTo>
                  <a:lnTo>
                    <a:pt x="168" y="61"/>
                  </a:lnTo>
                  <a:lnTo>
                    <a:pt x="167" y="53"/>
                  </a:lnTo>
                  <a:lnTo>
                    <a:pt x="165" y="46"/>
                  </a:lnTo>
                  <a:lnTo>
                    <a:pt x="165"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31" name="Freeform 1937"/>
            <p:cNvSpPr>
              <a:spLocks/>
            </p:cNvSpPr>
            <p:nvPr/>
          </p:nvSpPr>
          <p:spPr bwMode="auto">
            <a:xfrm>
              <a:off x="3125788" y="1968500"/>
              <a:ext cx="44450" cy="38100"/>
            </a:xfrm>
            <a:custGeom>
              <a:avLst/>
              <a:gdLst>
                <a:gd name="T0" fmla="*/ 165 w 169"/>
                <a:gd name="T1" fmla="*/ 47 h 148"/>
                <a:gd name="T2" fmla="*/ 159 w 169"/>
                <a:gd name="T3" fmla="*/ 34 h 148"/>
                <a:gd name="T4" fmla="*/ 150 w 169"/>
                <a:gd name="T5" fmla="*/ 23 h 148"/>
                <a:gd name="T6" fmla="*/ 138 w 169"/>
                <a:gd name="T7" fmla="*/ 13 h 148"/>
                <a:gd name="T8" fmla="*/ 125 w 169"/>
                <a:gd name="T9" fmla="*/ 6 h 148"/>
                <a:gd name="T10" fmla="*/ 110 w 169"/>
                <a:gd name="T11" fmla="*/ 2 h 148"/>
                <a:gd name="T12" fmla="*/ 95 w 169"/>
                <a:gd name="T13" fmla="*/ 0 h 148"/>
                <a:gd name="T14" fmla="*/ 78 w 169"/>
                <a:gd name="T15" fmla="*/ 1 h 148"/>
                <a:gd name="T16" fmla="*/ 61 w 169"/>
                <a:gd name="T17" fmla="*/ 6 h 148"/>
                <a:gd name="T18" fmla="*/ 53 w 169"/>
                <a:gd name="T19" fmla="*/ 9 h 148"/>
                <a:gd name="T20" fmla="*/ 38 w 169"/>
                <a:gd name="T21" fmla="*/ 18 h 148"/>
                <a:gd name="T22" fmla="*/ 25 w 169"/>
                <a:gd name="T23" fmla="*/ 27 h 148"/>
                <a:gd name="T24" fmla="*/ 15 w 169"/>
                <a:gd name="T25" fmla="*/ 39 h 148"/>
                <a:gd name="T26" fmla="*/ 7 w 169"/>
                <a:gd name="T27" fmla="*/ 52 h 148"/>
                <a:gd name="T28" fmla="*/ 2 w 169"/>
                <a:gd name="T29" fmla="*/ 66 h 148"/>
                <a:gd name="T30" fmla="*/ 0 w 169"/>
                <a:gd name="T31" fmla="*/ 80 h 148"/>
                <a:gd name="T32" fmla="*/ 2 w 169"/>
                <a:gd name="T33" fmla="*/ 95 h 148"/>
                <a:gd name="T34" fmla="*/ 4 w 169"/>
                <a:gd name="T35" fmla="*/ 102 h 148"/>
                <a:gd name="T36" fmla="*/ 10 w 169"/>
                <a:gd name="T37" fmla="*/ 116 h 148"/>
                <a:gd name="T38" fmla="*/ 19 w 169"/>
                <a:gd name="T39" fmla="*/ 127 h 148"/>
                <a:gd name="T40" fmla="*/ 30 w 169"/>
                <a:gd name="T41" fmla="*/ 135 h 148"/>
                <a:gd name="T42" fmla="*/ 43 w 169"/>
                <a:gd name="T43" fmla="*/ 142 h 148"/>
                <a:gd name="T44" fmla="*/ 59 w 169"/>
                <a:gd name="T45" fmla="*/ 146 h 148"/>
                <a:gd name="T46" fmla="*/ 74 w 169"/>
                <a:gd name="T47" fmla="*/ 148 h 148"/>
                <a:gd name="T48" fmla="*/ 90 w 169"/>
                <a:gd name="T49" fmla="*/ 147 h 148"/>
                <a:gd name="T50" fmla="*/ 108 w 169"/>
                <a:gd name="T51" fmla="*/ 143 h 148"/>
                <a:gd name="T52" fmla="*/ 116 w 169"/>
                <a:gd name="T53" fmla="*/ 140 h 148"/>
                <a:gd name="T54" fmla="*/ 130 w 169"/>
                <a:gd name="T55" fmla="*/ 132 h 148"/>
                <a:gd name="T56" fmla="*/ 144 w 169"/>
                <a:gd name="T57" fmla="*/ 122 h 148"/>
                <a:gd name="T58" fmla="*/ 154 w 169"/>
                <a:gd name="T59" fmla="*/ 109 h 148"/>
                <a:gd name="T60" fmla="*/ 162 w 169"/>
                <a:gd name="T61" fmla="*/ 96 h 148"/>
                <a:gd name="T62" fmla="*/ 167 w 169"/>
                <a:gd name="T63" fmla="*/ 83 h 148"/>
                <a:gd name="T64" fmla="*/ 169 w 169"/>
                <a:gd name="T65" fmla="*/ 69 h 148"/>
                <a:gd name="T66" fmla="*/ 167 w 169"/>
                <a:gd name="T67" fmla="*/ 54 h 148"/>
                <a:gd name="T68" fmla="*/ 165 w 169"/>
                <a:gd name="T69" fmla="*/ 4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9" h="148">
                  <a:moveTo>
                    <a:pt x="165" y="47"/>
                  </a:moveTo>
                  <a:lnTo>
                    <a:pt x="165" y="47"/>
                  </a:lnTo>
                  <a:lnTo>
                    <a:pt x="163" y="40"/>
                  </a:lnTo>
                  <a:lnTo>
                    <a:pt x="159" y="34"/>
                  </a:lnTo>
                  <a:lnTo>
                    <a:pt x="155" y="28"/>
                  </a:lnTo>
                  <a:lnTo>
                    <a:pt x="150" y="23"/>
                  </a:lnTo>
                  <a:lnTo>
                    <a:pt x="145" y="18"/>
                  </a:lnTo>
                  <a:lnTo>
                    <a:pt x="138" y="13"/>
                  </a:lnTo>
                  <a:lnTo>
                    <a:pt x="132" y="9"/>
                  </a:lnTo>
                  <a:lnTo>
                    <a:pt x="125" y="6"/>
                  </a:lnTo>
                  <a:lnTo>
                    <a:pt x="118" y="4"/>
                  </a:lnTo>
                  <a:lnTo>
                    <a:pt x="110" y="2"/>
                  </a:lnTo>
                  <a:lnTo>
                    <a:pt x="103" y="1"/>
                  </a:lnTo>
                  <a:lnTo>
                    <a:pt x="95" y="0"/>
                  </a:lnTo>
                  <a:lnTo>
                    <a:pt x="86" y="1"/>
                  </a:lnTo>
                  <a:lnTo>
                    <a:pt x="78" y="1"/>
                  </a:lnTo>
                  <a:lnTo>
                    <a:pt x="69" y="3"/>
                  </a:lnTo>
                  <a:lnTo>
                    <a:pt x="61" y="6"/>
                  </a:lnTo>
                  <a:lnTo>
                    <a:pt x="61" y="6"/>
                  </a:lnTo>
                  <a:lnTo>
                    <a:pt x="53" y="9"/>
                  </a:lnTo>
                  <a:lnTo>
                    <a:pt x="45" y="12"/>
                  </a:lnTo>
                  <a:lnTo>
                    <a:pt x="38" y="18"/>
                  </a:lnTo>
                  <a:lnTo>
                    <a:pt x="31" y="22"/>
                  </a:lnTo>
                  <a:lnTo>
                    <a:pt x="25" y="27"/>
                  </a:lnTo>
                  <a:lnTo>
                    <a:pt x="20" y="33"/>
                  </a:lnTo>
                  <a:lnTo>
                    <a:pt x="15" y="39"/>
                  </a:lnTo>
                  <a:lnTo>
                    <a:pt x="11" y="45"/>
                  </a:lnTo>
                  <a:lnTo>
                    <a:pt x="7" y="52"/>
                  </a:lnTo>
                  <a:lnTo>
                    <a:pt x="5" y="59"/>
                  </a:lnTo>
                  <a:lnTo>
                    <a:pt x="2" y="66"/>
                  </a:lnTo>
                  <a:lnTo>
                    <a:pt x="1" y="73"/>
                  </a:lnTo>
                  <a:lnTo>
                    <a:pt x="0" y="80"/>
                  </a:lnTo>
                  <a:lnTo>
                    <a:pt x="1" y="88"/>
                  </a:lnTo>
                  <a:lnTo>
                    <a:pt x="2" y="95"/>
                  </a:lnTo>
                  <a:lnTo>
                    <a:pt x="4" y="102"/>
                  </a:lnTo>
                  <a:lnTo>
                    <a:pt x="4" y="102"/>
                  </a:lnTo>
                  <a:lnTo>
                    <a:pt x="6" y="108"/>
                  </a:lnTo>
                  <a:lnTo>
                    <a:pt x="10" y="116"/>
                  </a:lnTo>
                  <a:lnTo>
                    <a:pt x="14" y="121"/>
                  </a:lnTo>
                  <a:lnTo>
                    <a:pt x="19" y="127"/>
                  </a:lnTo>
                  <a:lnTo>
                    <a:pt x="24" y="131"/>
                  </a:lnTo>
                  <a:lnTo>
                    <a:pt x="30" y="135"/>
                  </a:lnTo>
                  <a:lnTo>
                    <a:pt x="36" y="139"/>
                  </a:lnTo>
                  <a:lnTo>
                    <a:pt x="43" y="142"/>
                  </a:lnTo>
                  <a:lnTo>
                    <a:pt x="51" y="145"/>
                  </a:lnTo>
                  <a:lnTo>
                    <a:pt x="59" y="146"/>
                  </a:lnTo>
                  <a:lnTo>
                    <a:pt x="66" y="147"/>
                  </a:lnTo>
                  <a:lnTo>
                    <a:pt x="74" y="148"/>
                  </a:lnTo>
                  <a:lnTo>
                    <a:pt x="82" y="148"/>
                  </a:lnTo>
                  <a:lnTo>
                    <a:pt x="90" y="147"/>
                  </a:lnTo>
                  <a:lnTo>
                    <a:pt x="100" y="145"/>
                  </a:lnTo>
                  <a:lnTo>
                    <a:pt x="108" y="143"/>
                  </a:lnTo>
                  <a:lnTo>
                    <a:pt x="108" y="143"/>
                  </a:lnTo>
                  <a:lnTo>
                    <a:pt x="116" y="140"/>
                  </a:lnTo>
                  <a:lnTo>
                    <a:pt x="123" y="136"/>
                  </a:lnTo>
                  <a:lnTo>
                    <a:pt x="130" y="132"/>
                  </a:lnTo>
                  <a:lnTo>
                    <a:pt x="137" y="127"/>
                  </a:lnTo>
                  <a:lnTo>
                    <a:pt x="144" y="122"/>
                  </a:lnTo>
                  <a:lnTo>
                    <a:pt x="149" y="116"/>
                  </a:lnTo>
                  <a:lnTo>
                    <a:pt x="154" y="109"/>
                  </a:lnTo>
                  <a:lnTo>
                    <a:pt x="158" y="103"/>
                  </a:lnTo>
                  <a:lnTo>
                    <a:pt x="162" y="96"/>
                  </a:lnTo>
                  <a:lnTo>
                    <a:pt x="165" y="90"/>
                  </a:lnTo>
                  <a:lnTo>
                    <a:pt x="167" y="83"/>
                  </a:lnTo>
                  <a:lnTo>
                    <a:pt x="168" y="76"/>
                  </a:lnTo>
                  <a:lnTo>
                    <a:pt x="169" y="69"/>
                  </a:lnTo>
                  <a:lnTo>
                    <a:pt x="168" y="61"/>
                  </a:lnTo>
                  <a:lnTo>
                    <a:pt x="167" y="54"/>
                  </a:lnTo>
                  <a:lnTo>
                    <a:pt x="165" y="47"/>
                  </a:lnTo>
                  <a:lnTo>
                    <a:pt x="165"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36" name="Freeform 1938"/>
            <p:cNvSpPr>
              <a:spLocks/>
            </p:cNvSpPr>
            <p:nvPr/>
          </p:nvSpPr>
          <p:spPr bwMode="auto">
            <a:xfrm>
              <a:off x="3203575" y="1941513"/>
              <a:ext cx="46038" cy="38100"/>
            </a:xfrm>
            <a:custGeom>
              <a:avLst/>
              <a:gdLst>
                <a:gd name="T0" fmla="*/ 165 w 168"/>
                <a:gd name="T1" fmla="*/ 46 h 147"/>
                <a:gd name="T2" fmla="*/ 159 w 168"/>
                <a:gd name="T3" fmla="*/ 33 h 147"/>
                <a:gd name="T4" fmla="*/ 150 w 168"/>
                <a:gd name="T5" fmla="*/ 21 h 147"/>
                <a:gd name="T6" fmla="*/ 139 w 168"/>
                <a:gd name="T7" fmla="*/ 12 h 147"/>
                <a:gd name="T8" fmla="*/ 126 w 168"/>
                <a:gd name="T9" fmla="*/ 6 h 147"/>
                <a:gd name="T10" fmla="*/ 110 w 168"/>
                <a:gd name="T11" fmla="*/ 1 h 147"/>
                <a:gd name="T12" fmla="*/ 95 w 168"/>
                <a:gd name="T13" fmla="*/ 0 h 147"/>
                <a:gd name="T14" fmla="*/ 79 w 168"/>
                <a:gd name="T15" fmla="*/ 1 h 147"/>
                <a:gd name="T16" fmla="*/ 61 w 168"/>
                <a:gd name="T17" fmla="*/ 5 h 147"/>
                <a:gd name="T18" fmla="*/ 53 w 168"/>
                <a:gd name="T19" fmla="*/ 8 h 147"/>
                <a:gd name="T20" fmla="*/ 39 w 168"/>
                <a:gd name="T21" fmla="*/ 16 h 147"/>
                <a:gd name="T22" fmla="*/ 25 w 168"/>
                <a:gd name="T23" fmla="*/ 27 h 147"/>
                <a:gd name="T24" fmla="*/ 15 w 168"/>
                <a:gd name="T25" fmla="*/ 38 h 147"/>
                <a:gd name="T26" fmla="*/ 7 w 168"/>
                <a:gd name="T27" fmla="*/ 51 h 147"/>
                <a:gd name="T28" fmla="*/ 2 w 168"/>
                <a:gd name="T29" fmla="*/ 65 h 147"/>
                <a:gd name="T30" fmla="*/ 0 w 168"/>
                <a:gd name="T31" fmla="*/ 80 h 147"/>
                <a:gd name="T32" fmla="*/ 2 w 168"/>
                <a:gd name="T33" fmla="*/ 94 h 147"/>
                <a:gd name="T34" fmla="*/ 4 w 168"/>
                <a:gd name="T35" fmla="*/ 101 h 147"/>
                <a:gd name="T36" fmla="*/ 10 w 168"/>
                <a:gd name="T37" fmla="*/ 114 h 147"/>
                <a:gd name="T38" fmla="*/ 19 w 168"/>
                <a:gd name="T39" fmla="*/ 126 h 147"/>
                <a:gd name="T40" fmla="*/ 31 w 168"/>
                <a:gd name="T41" fmla="*/ 135 h 147"/>
                <a:gd name="T42" fmla="*/ 44 w 168"/>
                <a:gd name="T43" fmla="*/ 142 h 147"/>
                <a:gd name="T44" fmla="*/ 59 w 168"/>
                <a:gd name="T45" fmla="*/ 146 h 147"/>
                <a:gd name="T46" fmla="*/ 74 w 168"/>
                <a:gd name="T47" fmla="*/ 147 h 147"/>
                <a:gd name="T48" fmla="*/ 91 w 168"/>
                <a:gd name="T49" fmla="*/ 146 h 147"/>
                <a:gd name="T50" fmla="*/ 108 w 168"/>
                <a:gd name="T51" fmla="*/ 142 h 147"/>
                <a:gd name="T52" fmla="*/ 116 w 168"/>
                <a:gd name="T53" fmla="*/ 139 h 147"/>
                <a:gd name="T54" fmla="*/ 131 w 168"/>
                <a:gd name="T55" fmla="*/ 131 h 147"/>
                <a:gd name="T56" fmla="*/ 144 w 168"/>
                <a:gd name="T57" fmla="*/ 121 h 147"/>
                <a:gd name="T58" fmla="*/ 154 w 168"/>
                <a:gd name="T59" fmla="*/ 109 h 147"/>
                <a:gd name="T60" fmla="*/ 162 w 168"/>
                <a:gd name="T61" fmla="*/ 96 h 147"/>
                <a:gd name="T62" fmla="*/ 167 w 168"/>
                <a:gd name="T63" fmla="*/ 82 h 147"/>
                <a:gd name="T64" fmla="*/ 168 w 168"/>
                <a:gd name="T65" fmla="*/ 67 h 147"/>
                <a:gd name="T66" fmla="*/ 167 w 168"/>
                <a:gd name="T67" fmla="*/ 53 h 147"/>
                <a:gd name="T68" fmla="*/ 165 w 168"/>
                <a:gd name="T69" fmla="*/ 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47">
                  <a:moveTo>
                    <a:pt x="165" y="46"/>
                  </a:moveTo>
                  <a:lnTo>
                    <a:pt x="165" y="46"/>
                  </a:lnTo>
                  <a:lnTo>
                    <a:pt x="163" y="39"/>
                  </a:lnTo>
                  <a:lnTo>
                    <a:pt x="159" y="33"/>
                  </a:lnTo>
                  <a:lnTo>
                    <a:pt x="155" y="27"/>
                  </a:lnTo>
                  <a:lnTo>
                    <a:pt x="150" y="21"/>
                  </a:lnTo>
                  <a:lnTo>
                    <a:pt x="145" y="16"/>
                  </a:lnTo>
                  <a:lnTo>
                    <a:pt x="139" y="12"/>
                  </a:lnTo>
                  <a:lnTo>
                    <a:pt x="133" y="9"/>
                  </a:lnTo>
                  <a:lnTo>
                    <a:pt x="126" y="6"/>
                  </a:lnTo>
                  <a:lnTo>
                    <a:pt x="118" y="3"/>
                  </a:lnTo>
                  <a:lnTo>
                    <a:pt x="110" y="1"/>
                  </a:lnTo>
                  <a:lnTo>
                    <a:pt x="103" y="0"/>
                  </a:lnTo>
                  <a:lnTo>
                    <a:pt x="95" y="0"/>
                  </a:lnTo>
                  <a:lnTo>
                    <a:pt x="87" y="0"/>
                  </a:lnTo>
                  <a:lnTo>
                    <a:pt x="79" y="1"/>
                  </a:lnTo>
                  <a:lnTo>
                    <a:pt x="69" y="3"/>
                  </a:lnTo>
                  <a:lnTo>
                    <a:pt x="61" y="5"/>
                  </a:lnTo>
                  <a:lnTo>
                    <a:pt x="61" y="5"/>
                  </a:lnTo>
                  <a:lnTo>
                    <a:pt x="53" y="8"/>
                  </a:lnTo>
                  <a:lnTo>
                    <a:pt x="46" y="12"/>
                  </a:lnTo>
                  <a:lnTo>
                    <a:pt x="39" y="16"/>
                  </a:lnTo>
                  <a:lnTo>
                    <a:pt x="32" y="21"/>
                  </a:lnTo>
                  <a:lnTo>
                    <a:pt x="25" y="27"/>
                  </a:lnTo>
                  <a:lnTo>
                    <a:pt x="20" y="32"/>
                  </a:lnTo>
                  <a:lnTo>
                    <a:pt x="15" y="38"/>
                  </a:lnTo>
                  <a:lnTo>
                    <a:pt x="11" y="45"/>
                  </a:lnTo>
                  <a:lnTo>
                    <a:pt x="7" y="51"/>
                  </a:lnTo>
                  <a:lnTo>
                    <a:pt x="4" y="58"/>
                  </a:lnTo>
                  <a:lnTo>
                    <a:pt x="2" y="65"/>
                  </a:lnTo>
                  <a:lnTo>
                    <a:pt x="1" y="73"/>
                  </a:lnTo>
                  <a:lnTo>
                    <a:pt x="0" y="80"/>
                  </a:lnTo>
                  <a:lnTo>
                    <a:pt x="1" y="87"/>
                  </a:lnTo>
                  <a:lnTo>
                    <a:pt x="2" y="94"/>
                  </a:lnTo>
                  <a:lnTo>
                    <a:pt x="4" y="101"/>
                  </a:lnTo>
                  <a:lnTo>
                    <a:pt x="4" y="101"/>
                  </a:lnTo>
                  <a:lnTo>
                    <a:pt x="6" y="108"/>
                  </a:lnTo>
                  <a:lnTo>
                    <a:pt x="10" y="114"/>
                  </a:lnTo>
                  <a:lnTo>
                    <a:pt x="14" y="121"/>
                  </a:lnTo>
                  <a:lnTo>
                    <a:pt x="19" y="126"/>
                  </a:lnTo>
                  <a:lnTo>
                    <a:pt x="24" y="131"/>
                  </a:lnTo>
                  <a:lnTo>
                    <a:pt x="31" y="135"/>
                  </a:lnTo>
                  <a:lnTo>
                    <a:pt x="37" y="139"/>
                  </a:lnTo>
                  <a:lnTo>
                    <a:pt x="44" y="142"/>
                  </a:lnTo>
                  <a:lnTo>
                    <a:pt x="51" y="144"/>
                  </a:lnTo>
                  <a:lnTo>
                    <a:pt x="59" y="146"/>
                  </a:lnTo>
                  <a:lnTo>
                    <a:pt x="66" y="147"/>
                  </a:lnTo>
                  <a:lnTo>
                    <a:pt x="74" y="147"/>
                  </a:lnTo>
                  <a:lnTo>
                    <a:pt x="83" y="147"/>
                  </a:lnTo>
                  <a:lnTo>
                    <a:pt x="91" y="146"/>
                  </a:lnTo>
                  <a:lnTo>
                    <a:pt x="100" y="145"/>
                  </a:lnTo>
                  <a:lnTo>
                    <a:pt x="108" y="142"/>
                  </a:lnTo>
                  <a:lnTo>
                    <a:pt x="108" y="142"/>
                  </a:lnTo>
                  <a:lnTo>
                    <a:pt x="116" y="139"/>
                  </a:lnTo>
                  <a:lnTo>
                    <a:pt x="123" y="135"/>
                  </a:lnTo>
                  <a:lnTo>
                    <a:pt x="131" y="131"/>
                  </a:lnTo>
                  <a:lnTo>
                    <a:pt x="138" y="126"/>
                  </a:lnTo>
                  <a:lnTo>
                    <a:pt x="144" y="121"/>
                  </a:lnTo>
                  <a:lnTo>
                    <a:pt x="149" y="115"/>
                  </a:lnTo>
                  <a:lnTo>
                    <a:pt x="154" y="109"/>
                  </a:lnTo>
                  <a:lnTo>
                    <a:pt x="158" y="102"/>
                  </a:lnTo>
                  <a:lnTo>
                    <a:pt x="162" y="96"/>
                  </a:lnTo>
                  <a:lnTo>
                    <a:pt x="164" y="89"/>
                  </a:lnTo>
                  <a:lnTo>
                    <a:pt x="167" y="82"/>
                  </a:lnTo>
                  <a:lnTo>
                    <a:pt x="168" y="75"/>
                  </a:lnTo>
                  <a:lnTo>
                    <a:pt x="168" y="67"/>
                  </a:lnTo>
                  <a:lnTo>
                    <a:pt x="168" y="60"/>
                  </a:lnTo>
                  <a:lnTo>
                    <a:pt x="167" y="53"/>
                  </a:lnTo>
                  <a:lnTo>
                    <a:pt x="165" y="46"/>
                  </a:lnTo>
                  <a:lnTo>
                    <a:pt x="165"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37" name="Freeform 1939"/>
            <p:cNvSpPr>
              <a:spLocks/>
            </p:cNvSpPr>
            <p:nvPr/>
          </p:nvSpPr>
          <p:spPr bwMode="auto">
            <a:xfrm>
              <a:off x="3910013" y="1701800"/>
              <a:ext cx="44450" cy="38100"/>
            </a:xfrm>
            <a:custGeom>
              <a:avLst/>
              <a:gdLst>
                <a:gd name="T0" fmla="*/ 165 w 168"/>
                <a:gd name="T1" fmla="*/ 46 h 147"/>
                <a:gd name="T2" fmla="*/ 159 w 168"/>
                <a:gd name="T3" fmla="*/ 32 h 147"/>
                <a:gd name="T4" fmla="*/ 150 w 168"/>
                <a:gd name="T5" fmla="*/ 21 h 147"/>
                <a:gd name="T6" fmla="*/ 138 w 168"/>
                <a:gd name="T7" fmla="*/ 12 h 147"/>
                <a:gd name="T8" fmla="*/ 125 w 168"/>
                <a:gd name="T9" fmla="*/ 5 h 147"/>
                <a:gd name="T10" fmla="*/ 110 w 168"/>
                <a:gd name="T11" fmla="*/ 1 h 147"/>
                <a:gd name="T12" fmla="*/ 94 w 168"/>
                <a:gd name="T13" fmla="*/ 0 h 147"/>
                <a:gd name="T14" fmla="*/ 78 w 168"/>
                <a:gd name="T15" fmla="*/ 1 h 147"/>
                <a:gd name="T16" fmla="*/ 61 w 168"/>
                <a:gd name="T17" fmla="*/ 5 h 147"/>
                <a:gd name="T18" fmla="*/ 53 w 168"/>
                <a:gd name="T19" fmla="*/ 8 h 147"/>
                <a:gd name="T20" fmla="*/ 38 w 168"/>
                <a:gd name="T21" fmla="*/ 16 h 147"/>
                <a:gd name="T22" fmla="*/ 25 w 168"/>
                <a:gd name="T23" fmla="*/ 26 h 147"/>
                <a:gd name="T24" fmla="*/ 14 w 168"/>
                <a:gd name="T25" fmla="*/ 37 h 147"/>
                <a:gd name="T26" fmla="*/ 7 w 168"/>
                <a:gd name="T27" fmla="*/ 51 h 147"/>
                <a:gd name="T28" fmla="*/ 2 w 168"/>
                <a:gd name="T29" fmla="*/ 65 h 147"/>
                <a:gd name="T30" fmla="*/ 0 w 168"/>
                <a:gd name="T31" fmla="*/ 79 h 147"/>
                <a:gd name="T32" fmla="*/ 1 w 168"/>
                <a:gd name="T33" fmla="*/ 94 h 147"/>
                <a:gd name="T34" fmla="*/ 3 w 168"/>
                <a:gd name="T35" fmla="*/ 101 h 147"/>
                <a:gd name="T36" fmla="*/ 9 w 168"/>
                <a:gd name="T37" fmla="*/ 114 h 147"/>
                <a:gd name="T38" fmla="*/ 18 w 168"/>
                <a:gd name="T39" fmla="*/ 125 h 147"/>
                <a:gd name="T40" fmla="*/ 30 w 168"/>
                <a:gd name="T41" fmla="*/ 135 h 147"/>
                <a:gd name="T42" fmla="*/ 44 w 168"/>
                <a:gd name="T43" fmla="*/ 141 h 147"/>
                <a:gd name="T44" fmla="*/ 58 w 168"/>
                <a:gd name="T45" fmla="*/ 146 h 147"/>
                <a:gd name="T46" fmla="*/ 74 w 168"/>
                <a:gd name="T47" fmla="*/ 147 h 147"/>
                <a:gd name="T48" fmla="*/ 91 w 168"/>
                <a:gd name="T49" fmla="*/ 146 h 147"/>
                <a:gd name="T50" fmla="*/ 107 w 168"/>
                <a:gd name="T51" fmla="*/ 142 h 147"/>
                <a:gd name="T52" fmla="*/ 115 w 168"/>
                <a:gd name="T53" fmla="*/ 139 h 147"/>
                <a:gd name="T54" fmla="*/ 131 w 168"/>
                <a:gd name="T55" fmla="*/ 130 h 147"/>
                <a:gd name="T56" fmla="*/ 143 w 168"/>
                <a:gd name="T57" fmla="*/ 120 h 147"/>
                <a:gd name="T58" fmla="*/ 153 w 168"/>
                <a:gd name="T59" fmla="*/ 109 h 147"/>
                <a:gd name="T60" fmla="*/ 161 w 168"/>
                <a:gd name="T61" fmla="*/ 96 h 147"/>
                <a:gd name="T62" fmla="*/ 166 w 168"/>
                <a:gd name="T63" fmla="*/ 81 h 147"/>
                <a:gd name="T64" fmla="*/ 168 w 168"/>
                <a:gd name="T65" fmla="*/ 67 h 147"/>
                <a:gd name="T66" fmla="*/ 167 w 168"/>
                <a:gd name="T67" fmla="*/ 53 h 147"/>
                <a:gd name="T68" fmla="*/ 165 w 168"/>
                <a:gd name="T69" fmla="*/ 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47">
                  <a:moveTo>
                    <a:pt x="165" y="46"/>
                  </a:moveTo>
                  <a:lnTo>
                    <a:pt x="165" y="46"/>
                  </a:lnTo>
                  <a:lnTo>
                    <a:pt x="162" y="38"/>
                  </a:lnTo>
                  <a:lnTo>
                    <a:pt x="159" y="32"/>
                  </a:lnTo>
                  <a:lnTo>
                    <a:pt x="154" y="26"/>
                  </a:lnTo>
                  <a:lnTo>
                    <a:pt x="150" y="21"/>
                  </a:lnTo>
                  <a:lnTo>
                    <a:pt x="144" y="16"/>
                  </a:lnTo>
                  <a:lnTo>
                    <a:pt x="138" y="12"/>
                  </a:lnTo>
                  <a:lnTo>
                    <a:pt x="132" y="9"/>
                  </a:lnTo>
                  <a:lnTo>
                    <a:pt x="125" y="5"/>
                  </a:lnTo>
                  <a:lnTo>
                    <a:pt x="117" y="3"/>
                  </a:lnTo>
                  <a:lnTo>
                    <a:pt x="110" y="1"/>
                  </a:lnTo>
                  <a:lnTo>
                    <a:pt x="102" y="0"/>
                  </a:lnTo>
                  <a:lnTo>
                    <a:pt x="94" y="0"/>
                  </a:lnTo>
                  <a:lnTo>
                    <a:pt x="86" y="0"/>
                  </a:lnTo>
                  <a:lnTo>
                    <a:pt x="78" y="1"/>
                  </a:lnTo>
                  <a:lnTo>
                    <a:pt x="69" y="2"/>
                  </a:lnTo>
                  <a:lnTo>
                    <a:pt x="61" y="5"/>
                  </a:lnTo>
                  <a:lnTo>
                    <a:pt x="61" y="5"/>
                  </a:lnTo>
                  <a:lnTo>
                    <a:pt x="53" y="8"/>
                  </a:lnTo>
                  <a:lnTo>
                    <a:pt x="45" y="12"/>
                  </a:lnTo>
                  <a:lnTo>
                    <a:pt x="38" y="16"/>
                  </a:lnTo>
                  <a:lnTo>
                    <a:pt x="32" y="21"/>
                  </a:lnTo>
                  <a:lnTo>
                    <a:pt x="25" y="26"/>
                  </a:lnTo>
                  <a:lnTo>
                    <a:pt x="19" y="31"/>
                  </a:lnTo>
                  <a:lnTo>
                    <a:pt x="14" y="37"/>
                  </a:lnTo>
                  <a:lnTo>
                    <a:pt x="10" y="45"/>
                  </a:lnTo>
                  <a:lnTo>
                    <a:pt x="7" y="51"/>
                  </a:lnTo>
                  <a:lnTo>
                    <a:pt x="4" y="58"/>
                  </a:lnTo>
                  <a:lnTo>
                    <a:pt x="2" y="65"/>
                  </a:lnTo>
                  <a:lnTo>
                    <a:pt x="1" y="72"/>
                  </a:lnTo>
                  <a:lnTo>
                    <a:pt x="0" y="79"/>
                  </a:lnTo>
                  <a:lnTo>
                    <a:pt x="0" y="86"/>
                  </a:lnTo>
                  <a:lnTo>
                    <a:pt x="1" y="94"/>
                  </a:lnTo>
                  <a:lnTo>
                    <a:pt x="3" y="101"/>
                  </a:lnTo>
                  <a:lnTo>
                    <a:pt x="3" y="101"/>
                  </a:lnTo>
                  <a:lnTo>
                    <a:pt x="6" y="108"/>
                  </a:lnTo>
                  <a:lnTo>
                    <a:pt x="9" y="114"/>
                  </a:lnTo>
                  <a:lnTo>
                    <a:pt x="13" y="120"/>
                  </a:lnTo>
                  <a:lnTo>
                    <a:pt x="18" y="125"/>
                  </a:lnTo>
                  <a:lnTo>
                    <a:pt x="24" y="130"/>
                  </a:lnTo>
                  <a:lnTo>
                    <a:pt x="30" y="135"/>
                  </a:lnTo>
                  <a:lnTo>
                    <a:pt x="37" y="138"/>
                  </a:lnTo>
                  <a:lnTo>
                    <a:pt x="44" y="141"/>
                  </a:lnTo>
                  <a:lnTo>
                    <a:pt x="51" y="144"/>
                  </a:lnTo>
                  <a:lnTo>
                    <a:pt x="58" y="146"/>
                  </a:lnTo>
                  <a:lnTo>
                    <a:pt x="66" y="147"/>
                  </a:lnTo>
                  <a:lnTo>
                    <a:pt x="74" y="147"/>
                  </a:lnTo>
                  <a:lnTo>
                    <a:pt x="83" y="147"/>
                  </a:lnTo>
                  <a:lnTo>
                    <a:pt x="91" y="146"/>
                  </a:lnTo>
                  <a:lnTo>
                    <a:pt x="99" y="144"/>
                  </a:lnTo>
                  <a:lnTo>
                    <a:pt x="107" y="142"/>
                  </a:lnTo>
                  <a:lnTo>
                    <a:pt x="107" y="142"/>
                  </a:lnTo>
                  <a:lnTo>
                    <a:pt x="115" y="139"/>
                  </a:lnTo>
                  <a:lnTo>
                    <a:pt x="124" y="135"/>
                  </a:lnTo>
                  <a:lnTo>
                    <a:pt x="131" y="130"/>
                  </a:lnTo>
                  <a:lnTo>
                    <a:pt x="137" y="125"/>
                  </a:lnTo>
                  <a:lnTo>
                    <a:pt x="143" y="120"/>
                  </a:lnTo>
                  <a:lnTo>
                    <a:pt x="149" y="115"/>
                  </a:lnTo>
                  <a:lnTo>
                    <a:pt x="153" y="109"/>
                  </a:lnTo>
                  <a:lnTo>
                    <a:pt x="158" y="102"/>
                  </a:lnTo>
                  <a:lnTo>
                    <a:pt x="161" y="96"/>
                  </a:lnTo>
                  <a:lnTo>
                    <a:pt x="164" y="89"/>
                  </a:lnTo>
                  <a:lnTo>
                    <a:pt x="166" y="81"/>
                  </a:lnTo>
                  <a:lnTo>
                    <a:pt x="167" y="74"/>
                  </a:lnTo>
                  <a:lnTo>
                    <a:pt x="168" y="67"/>
                  </a:lnTo>
                  <a:lnTo>
                    <a:pt x="168" y="60"/>
                  </a:lnTo>
                  <a:lnTo>
                    <a:pt x="167" y="53"/>
                  </a:lnTo>
                  <a:lnTo>
                    <a:pt x="165" y="46"/>
                  </a:lnTo>
                  <a:lnTo>
                    <a:pt x="165"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38" name="Freeform 1940"/>
            <p:cNvSpPr>
              <a:spLocks/>
            </p:cNvSpPr>
            <p:nvPr/>
          </p:nvSpPr>
          <p:spPr bwMode="auto">
            <a:xfrm>
              <a:off x="3987800" y="1674813"/>
              <a:ext cx="44450" cy="39688"/>
            </a:xfrm>
            <a:custGeom>
              <a:avLst/>
              <a:gdLst>
                <a:gd name="T0" fmla="*/ 166 w 169"/>
                <a:gd name="T1" fmla="*/ 46 h 149"/>
                <a:gd name="T2" fmla="*/ 160 w 169"/>
                <a:gd name="T3" fmla="*/ 33 h 149"/>
                <a:gd name="T4" fmla="*/ 150 w 169"/>
                <a:gd name="T5" fmla="*/ 22 h 149"/>
                <a:gd name="T6" fmla="*/ 138 w 169"/>
                <a:gd name="T7" fmla="*/ 14 h 149"/>
                <a:gd name="T8" fmla="*/ 125 w 169"/>
                <a:gd name="T9" fmla="*/ 7 h 149"/>
                <a:gd name="T10" fmla="*/ 111 w 169"/>
                <a:gd name="T11" fmla="*/ 3 h 149"/>
                <a:gd name="T12" fmla="*/ 94 w 169"/>
                <a:gd name="T13" fmla="*/ 0 h 149"/>
                <a:gd name="T14" fmla="*/ 78 w 169"/>
                <a:gd name="T15" fmla="*/ 1 h 149"/>
                <a:gd name="T16" fmla="*/ 62 w 169"/>
                <a:gd name="T17" fmla="*/ 6 h 149"/>
                <a:gd name="T18" fmla="*/ 53 w 169"/>
                <a:gd name="T19" fmla="*/ 9 h 149"/>
                <a:gd name="T20" fmla="*/ 38 w 169"/>
                <a:gd name="T21" fmla="*/ 17 h 149"/>
                <a:gd name="T22" fmla="*/ 26 w 169"/>
                <a:gd name="T23" fmla="*/ 27 h 149"/>
                <a:gd name="T24" fmla="*/ 15 w 169"/>
                <a:gd name="T25" fmla="*/ 39 h 149"/>
                <a:gd name="T26" fmla="*/ 7 w 169"/>
                <a:gd name="T27" fmla="*/ 53 h 149"/>
                <a:gd name="T28" fmla="*/ 2 w 169"/>
                <a:gd name="T29" fmla="*/ 66 h 149"/>
                <a:gd name="T30" fmla="*/ 0 w 169"/>
                <a:gd name="T31" fmla="*/ 80 h 149"/>
                <a:gd name="T32" fmla="*/ 1 w 169"/>
                <a:gd name="T33" fmla="*/ 94 h 149"/>
                <a:gd name="T34" fmla="*/ 3 w 169"/>
                <a:gd name="T35" fmla="*/ 102 h 149"/>
                <a:gd name="T36" fmla="*/ 9 w 169"/>
                <a:gd name="T37" fmla="*/ 115 h 149"/>
                <a:gd name="T38" fmla="*/ 19 w 169"/>
                <a:gd name="T39" fmla="*/ 126 h 149"/>
                <a:gd name="T40" fmla="*/ 30 w 169"/>
                <a:gd name="T41" fmla="*/ 135 h 149"/>
                <a:gd name="T42" fmla="*/ 43 w 169"/>
                <a:gd name="T43" fmla="*/ 143 h 149"/>
                <a:gd name="T44" fmla="*/ 58 w 169"/>
                <a:gd name="T45" fmla="*/ 147 h 149"/>
                <a:gd name="T46" fmla="*/ 75 w 169"/>
                <a:gd name="T47" fmla="*/ 149 h 149"/>
                <a:gd name="T48" fmla="*/ 91 w 169"/>
                <a:gd name="T49" fmla="*/ 148 h 149"/>
                <a:gd name="T50" fmla="*/ 108 w 169"/>
                <a:gd name="T51" fmla="*/ 144 h 149"/>
                <a:gd name="T52" fmla="*/ 116 w 169"/>
                <a:gd name="T53" fmla="*/ 139 h 149"/>
                <a:gd name="T54" fmla="*/ 131 w 169"/>
                <a:gd name="T55" fmla="*/ 131 h 149"/>
                <a:gd name="T56" fmla="*/ 143 w 169"/>
                <a:gd name="T57" fmla="*/ 122 h 149"/>
                <a:gd name="T58" fmla="*/ 153 w 169"/>
                <a:gd name="T59" fmla="*/ 110 h 149"/>
                <a:gd name="T60" fmla="*/ 162 w 169"/>
                <a:gd name="T61" fmla="*/ 97 h 149"/>
                <a:gd name="T62" fmla="*/ 167 w 169"/>
                <a:gd name="T63" fmla="*/ 83 h 149"/>
                <a:gd name="T64" fmla="*/ 169 w 169"/>
                <a:gd name="T65" fmla="*/ 69 h 149"/>
                <a:gd name="T66" fmla="*/ 168 w 169"/>
                <a:gd name="T67" fmla="*/ 54 h 149"/>
                <a:gd name="T68" fmla="*/ 166 w 169"/>
                <a:gd name="T69" fmla="*/ 4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9" h="149">
                  <a:moveTo>
                    <a:pt x="166" y="46"/>
                  </a:moveTo>
                  <a:lnTo>
                    <a:pt x="166" y="46"/>
                  </a:lnTo>
                  <a:lnTo>
                    <a:pt x="163" y="40"/>
                  </a:lnTo>
                  <a:lnTo>
                    <a:pt x="160" y="33"/>
                  </a:lnTo>
                  <a:lnTo>
                    <a:pt x="155" y="28"/>
                  </a:lnTo>
                  <a:lnTo>
                    <a:pt x="150" y="22"/>
                  </a:lnTo>
                  <a:lnTo>
                    <a:pt x="144" y="18"/>
                  </a:lnTo>
                  <a:lnTo>
                    <a:pt x="138" y="14"/>
                  </a:lnTo>
                  <a:lnTo>
                    <a:pt x="132" y="10"/>
                  </a:lnTo>
                  <a:lnTo>
                    <a:pt x="125" y="7"/>
                  </a:lnTo>
                  <a:lnTo>
                    <a:pt x="118" y="4"/>
                  </a:lnTo>
                  <a:lnTo>
                    <a:pt x="111" y="3"/>
                  </a:lnTo>
                  <a:lnTo>
                    <a:pt x="102" y="1"/>
                  </a:lnTo>
                  <a:lnTo>
                    <a:pt x="94" y="0"/>
                  </a:lnTo>
                  <a:lnTo>
                    <a:pt x="86" y="0"/>
                  </a:lnTo>
                  <a:lnTo>
                    <a:pt x="78" y="1"/>
                  </a:lnTo>
                  <a:lnTo>
                    <a:pt x="70" y="4"/>
                  </a:lnTo>
                  <a:lnTo>
                    <a:pt x="62" y="6"/>
                  </a:lnTo>
                  <a:lnTo>
                    <a:pt x="62" y="6"/>
                  </a:lnTo>
                  <a:lnTo>
                    <a:pt x="53" y="9"/>
                  </a:lnTo>
                  <a:lnTo>
                    <a:pt x="45" y="13"/>
                  </a:lnTo>
                  <a:lnTo>
                    <a:pt x="38" y="17"/>
                  </a:lnTo>
                  <a:lnTo>
                    <a:pt x="32" y="22"/>
                  </a:lnTo>
                  <a:lnTo>
                    <a:pt x="26" y="27"/>
                  </a:lnTo>
                  <a:lnTo>
                    <a:pt x="20" y="33"/>
                  </a:lnTo>
                  <a:lnTo>
                    <a:pt x="15" y="39"/>
                  </a:lnTo>
                  <a:lnTo>
                    <a:pt x="10" y="45"/>
                  </a:lnTo>
                  <a:lnTo>
                    <a:pt x="7" y="53"/>
                  </a:lnTo>
                  <a:lnTo>
                    <a:pt x="4" y="59"/>
                  </a:lnTo>
                  <a:lnTo>
                    <a:pt x="2" y="66"/>
                  </a:lnTo>
                  <a:lnTo>
                    <a:pt x="0" y="73"/>
                  </a:lnTo>
                  <a:lnTo>
                    <a:pt x="0" y="80"/>
                  </a:lnTo>
                  <a:lnTo>
                    <a:pt x="0" y="87"/>
                  </a:lnTo>
                  <a:lnTo>
                    <a:pt x="1" y="94"/>
                  </a:lnTo>
                  <a:lnTo>
                    <a:pt x="3" y="102"/>
                  </a:lnTo>
                  <a:lnTo>
                    <a:pt x="3" y="102"/>
                  </a:lnTo>
                  <a:lnTo>
                    <a:pt x="6" y="109"/>
                  </a:lnTo>
                  <a:lnTo>
                    <a:pt x="9" y="115"/>
                  </a:lnTo>
                  <a:lnTo>
                    <a:pt x="13" y="121"/>
                  </a:lnTo>
                  <a:lnTo>
                    <a:pt x="19" y="126"/>
                  </a:lnTo>
                  <a:lnTo>
                    <a:pt x="25" y="131"/>
                  </a:lnTo>
                  <a:lnTo>
                    <a:pt x="30" y="135"/>
                  </a:lnTo>
                  <a:lnTo>
                    <a:pt x="37" y="139"/>
                  </a:lnTo>
                  <a:lnTo>
                    <a:pt x="43" y="143"/>
                  </a:lnTo>
                  <a:lnTo>
                    <a:pt x="51" y="145"/>
                  </a:lnTo>
                  <a:lnTo>
                    <a:pt x="58" y="147"/>
                  </a:lnTo>
                  <a:lnTo>
                    <a:pt x="67" y="148"/>
                  </a:lnTo>
                  <a:lnTo>
                    <a:pt x="75" y="149"/>
                  </a:lnTo>
                  <a:lnTo>
                    <a:pt x="83" y="148"/>
                  </a:lnTo>
                  <a:lnTo>
                    <a:pt x="91" y="148"/>
                  </a:lnTo>
                  <a:lnTo>
                    <a:pt x="99" y="146"/>
                  </a:lnTo>
                  <a:lnTo>
                    <a:pt x="108" y="144"/>
                  </a:lnTo>
                  <a:lnTo>
                    <a:pt x="108" y="144"/>
                  </a:lnTo>
                  <a:lnTo>
                    <a:pt x="116" y="139"/>
                  </a:lnTo>
                  <a:lnTo>
                    <a:pt x="124" y="136"/>
                  </a:lnTo>
                  <a:lnTo>
                    <a:pt x="131" y="131"/>
                  </a:lnTo>
                  <a:lnTo>
                    <a:pt x="137" y="127"/>
                  </a:lnTo>
                  <a:lnTo>
                    <a:pt x="143" y="122"/>
                  </a:lnTo>
                  <a:lnTo>
                    <a:pt x="149" y="116"/>
                  </a:lnTo>
                  <a:lnTo>
                    <a:pt x="153" y="110"/>
                  </a:lnTo>
                  <a:lnTo>
                    <a:pt x="159" y="104"/>
                  </a:lnTo>
                  <a:lnTo>
                    <a:pt x="162" y="97"/>
                  </a:lnTo>
                  <a:lnTo>
                    <a:pt x="165" y="89"/>
                  </a:lnTo>
                  <a:lnTo>
                    <a:pt x="167" y="83"/>
                  </a:lnTo>
                  <a:lnTo>
                    <a:pt x="168" y="76"/>
                  </a:lnTo>
                  <a:lnTo>
                    <a:pt x="169" y="69"/>
                  </a:lnTo>
                  <a:lnTo>
                    <a:pt x="169" y="61"/>
                  </a:lnTo>
                  <a:lnTo>
                    <a:pt x="168" y="54"/>
                  </a:lnTo>
                  <a:lnTo>
                    <a:pt x="166" y="46"/>
                  </a:lnTo>
                  <a:lnTo>
                    <a:pt x="166"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39" name="Freeform 1941"/>
            <p:cNvSpPr>
              <a:spLocks/>
            </p:cNvSpPr>
            <p:nvPr/>
          </p:nvSpPr>
          <p:spPr bwMode="auto">
            <a:xfrm>
              <a:off x="4067175" y="1647825"/>
              <a:ext cx="44450" cy="39688"/>
            </a:xfrm>
            <a:custGeom>
              <a:avLst/>
              <a:gdLst>
                <a:gd name="T0" fmla="*/ 165 w 168"/>
                <a:gd name="T1" fmla="*/ 47 h 148"/>
                <a:gd name="T2" fmla="*/ 159 w 168"/>
                <a:gd name="T3" fmla="*/ 34 h 148"/>
                <a:gd name="T4" fmla="*/ 150 w 168"/>
                <a:gd name="T5" fmla="*/ 23 h 148"/>
                <a:gd name="T6" fmla="*/ 137 w 168"/>
                <a:gd name="T7" fmla="*/ 14 h 148"/>
                <a:gd name="T8" fmla="*/ 124 w 168"/>
                <a:gd name="T9" fmla="*/ 6 h 148"/>
                <a:gd name="T10" fmla="*/ 110 w 168"/>
                <a:gd name="T11" fmla="*/ 2 h 148"/>
                <a:gd name="T12" fmla="*/ 94 w 168"/>
                <a:gd name="T13" fmla="*/ 0 h 148"/>
                <a:gd name="T14" fmla="*/ 77 w 168"/>
                <a:gd name="T15" fmla="*/ 2 h 148"/>
                <a:gd name="T16" fmla="*/ 61 w 168"/>
                <a:gd name="T17" fmla="*/ 6 h 148"/>
                <a:gd name="T18" fmla="*/ 53 w 168"/>
                <a:gd name="T19" fmla="*/ 10 h 148"/>
                <a:gd name="T20" fmla="*/ 37 w 168"/>
                <a:gd name="T21" fmla="*/ 18 h 148"/>
                <a:gd name="T22" fmla="*/ 25 w 168"/>
                <a:gd name="T23" fmla="*/ 28 h 148"/>
                <a:gd name="T24" fmla="*/ 14 w 168"/>
                <a:gd name="T25" fmla="*/ 39 h 148"/>
                <a:gd name="T26" fmla="*/ 7 w 168"/>
                <a:gd name="T27" fmla="*/ 52 h 148"/>
                <a:gd name="T28" fmla="*/ 2 w 168"/>
                <a:gd name="T29" fmla="*/ 67 h 148"/>
                <a:gd name="T30" fmla="*/ 0 w 168"/>
                <a:gd name="T31" fmla="*/ 81 h 148"/>
                <a:gd name="T32" fmla="*/ 1 w 168"/>
                <a:gd name="T33" fmla="*/ 95 h 148"/>
                <a:gd name="T34" fmla="*/ 3 w 168"/>
                <a:gd name="T35" fmla="*/ 102 h 148"/>
                <a:gd name="T36" fmla="*/ 9 w 168"/>
                <a:gd name="T37" fmla="*/ 116 h 148"/>
                <a:gd name="T38" fmla="*/ 18 w 168"/>
                <a:gd name="T39" fmla="*/ 127 h 148"/>
                <a:gd name="T40" fmla="*/ 29 w 168"/>
                <a:gd name="T41" fmla="*/ 136 h 148"/>
                <a:gd name="T42" fmla="*/ 42 w 168"/>
                <a:gd name="T43" fmla="*/ 142 h 148"/>
                <a:gd name="T44" fmla="*/ 58 w 168"/>
                <a:gd name="T45" fmla="*/ 147 h 148"/>
                <a:gd name="T46" fmla="*/ 74 w 168"/>
                <a:gd name="T47" fmla="*/ 148 h 148"/>
                <a:gd name="T48" fmla="*/ 90 w 168"/>
                <a:gd name="T49" fmla="*/ 147 h 148"/>
                <a:gd name="T50" fmla="*/ 107 w 168"/>
                <a:gd name="T51" fmla="*/ 143 h 148"/>
                <a:gd name="T52" fmla="*/ 115 w 168"/>
                <a:gd name="T53" fmla="*/ 140 h 148"/>
                <a:gd name="T54" fmla="*/ 130 w 168"/>
                <a:gd name="T55" fmla="*/ 132 h 148"/>
                <a:gd name="T56" fmla="*/ 143 w 168"/>
                <a:gd name="T57" fmla="*/ 122 h 148"/>
                <a:gd name="T58" fmla="*/ 153 w 168"/>
                <a:gd name="T59" fmla="*/ 110 h 148"/>
                <a:gd name="T60" fmla="*/ 161 w 168"/>
                <a:gd name="T61" fmla="*/ 97 h 148"/>
                <a:gd name="T62" fmla="*/ 166 w 168"/>
                <a:gd name="T63" fmla="*/ 83 h 148"/>
                <a:gd name="T64" fmla="*/ 168 w 168"/>
                <a:gd name="T65" fmla="*/ 69 h 148"/>
                <a:gd name="T66" fmla="*/ 167 w 168"/>
                <a:gd name="T67" fmla="*/ 54 h 148"/>
                <a:gd name="T68" fmla="*/ 165 w 168"/>
                <a:gd name="T69" fmla="*/ 4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48">
                  <a:moveTo>
                    <a:pt x="165" y="47"/>
                  </a:moveTo>
                  <a:lnTo>
                    <a:pt x="165" y="47"/>
                  </a:lnTo>
                  <a:lnTo>
                    <a:pt x="162" y="40"/>
                  </a:lnTo>
                  <a:lnTo>
                    <a:pt x="159" y="34"/>
                  </a:lnTo>
                  <a:lnTo>
                    <a:pt x="154" y="28"/>
                  </a:lnTo>
                  <a:lnTo>
                    <a:pt x="150" y="23"/>
                  </a:lnTo>
                  <a:lnTo>
                    <a:pt x="144" y="18"/>
                  </a:lnTo>
                  <a:lnTo>
                    <a:pt x="137" y="14"/>
                  </a:lnTo>
                  <a:lnTo>
                    <a:pt x="131" y="10"/>
                  </a:lnTo>
                  <a:lnTo>
                    <a:pt x="124" y="6"/>
                  </a:lnTo>
                  <a:lnTo>
                    <a:pt x="117" y="4"/>
                  </a:lnTo>
                  <a:lnTo>
                    <a:pt x="110" y="2"/>
                  </a:lnTo>
                  <a:lnTo>
                    <a:pt x="102" y="1"/>
                  </a:lnTo>
                  <a:lnTo>
                    <a:pt x="94" y="0"/>
                  </a:lnTo>
                  <a:lnTo>
                    <a:pt x="85" y="1"/>
                  </a:lnTo>
                  <a:lnTo>
                    <a:pt x="77" y="2"/>
                  </a:lnTo>
                  <a:lnTo>
                    <a:pt x="69" y="3"/>
                  </a:lnTo>
                  <a:lnTo>
                    <a:pt x="61" y="6"/>
                  </a:lnTo>
                  <a:lnTo>
                    <a:pt x="61" y="6"/>
                  </a:lnTo>
                  <a:lnTo>
                    <a:pt x="53" y="10"/>
                  </a:lnTo>
                  <a:lnTo>
                    <a:pt x="45" y="13"/>
                  </a:lnTo>
                  <a:lnTo>
                    <a:pt x="37" y="18"/>
                  </a:lnTo>
                  <a:lnTo>
                    <a:pt x="31" y="22"/>
                  </a:lnTo>
                  <a:lnTo>
                    <a:pt x="25" y="28"/>
                  </a:lnTo>
                  <a:lnTo>
                    <a:pt x="19" y="33"/>
                  </a:lnTo>
                  <a:lnTo>
                    <a:pt x="14" y="39"/>
                  </a:lnTo>
                  <a:lnTo>
                    <a:pt x="10" y="45"/>
                  </a:lnTo>
                  <a:lnTo>
                    <a:pt x="7" y="52"/>
                  </a:lnTo>
                  <a:lnTo>
                    <a:pt x="4" y="60"/>
                  </a:lnTo>
                  <a:lnTo>
                    <a:pt x="2" y="67"/>
                  </a:lnTo>
                  <a:lnTo>
                    <a:pt x="0" y="74"/>
                  </a:lnTo>
                  <a:lnTo>
                    <a:pt x="0" y="81"/>
                  </a:lnTo>
                  <a:lnTo>
                    <a:pt x="0" y="88"/>
                  </a:lnTo>
                  <a:lnTo>
                    <a:pt x="1" y="95"/>
                  </a:lnTo>
                  <a:lnTo>
                    <a:pt x="3" y="102"/>
                  </a:lnTo>
                  <a:lnTo>
                    <a:pt x="3" y="102"/>
                  </a:lnTo>
                  <a:lnTo>
                    <a:pt x="6" y="109"/>
                  </a:lnTo>
                  <a:lnTo>
                    <a:pt x="9" y="116"/>
                  </a:lnTo>
                  <a:lnTo>
                    <a:pt x="13" y="121"/>
                  </a:lnTo>
                  <a:lnTo>
                    <a:pt x="18" y="127"/>
                  </a:lnTo>
                  <a:lnTo>
                    <a:pt x="23" y="131"/>
                  </a:lnTo>
                  <a:lnTo>
                    <a:pt x="29" y="136"/>
                  </a:lnTo>
                  <a:lnTo>
                    <a:pt x="36" y="139"/>
                  </a:lnTo>
                  <a:lnTo>
                    <a:pt x="42" y="142"/>
                  </a:lnTo>
                  <a:lnTo>
                    <a:pt x="51" y="145"/>
                  </a:lnTo>
                  <a:lnTo>
                    <a:pt x="58" y="147"/>
                  </a:lnTo>
                  <a:lnTo>
                    <a:pt x="66" y="148"/>
                  </a:lnTo>
                  <a:lnTo>
                    <a:pt x="74" y="148"/>
                  </a:lnTo>
                  <a:lnTo>
                    <a:pt x="82" y="148"/>
                  </a:lnTo>
                  <a:lnTo>
                    <a:pt x="90" y="147"/>
                  </a:lnTo>
                  <a:lnTo>
                    <a:pt x="99" y="145"/>
                  </a:lnTo>
                  <a:lnTo>
                    <a:pt x="107" y="143"/>
                  </a:lnTo>
                  <a:lnTo>
                    <a:pt x="107" y="143"/>
                  </a:lnTo>
                  <a:lnTo>
                    <a:pt x="115" y="140"/>
                  </a:lnTo>
                  <a:lnTo>
                    <a:pt x="123" y="136"/>
                  </a:lnTo>
                  <a:lnTo>
                    <a:pt x="130" y="132"/>
                  </a:lnTo>
                  <a:lnTo>
                    <a:pt x="136" y="127"/>
                  </a:lnTo>
                  <a:lnTo>
                    <a:pt x="143" y="122"/>
                  </a:lnTo>
                  <a:lnTo>
                    <a:pt x="149" y="116"/>
                  </a:lnTo>
                  <a:lnTo>
                    <a:pt x="153" y="110"/>
                  </a:lnTo>
                  <a:lnTo>
                    <a:pt x="158" y="104"/>
                  </a:lnTo>
                  <a:lnTo>
                    <a:pt x="161" y="97"/>
                  </a:lnTo>
                  <a:lnTo>
                    <a:pt x="164" y="90"/>
                  </a:lnTo>
                  <a:lnTo>
                    <a:pt x="166" y="83"/>
                  </a:lnTo>
                  <a:lnTo>
                    <a:pt x="167" y="76"/>
                  </a:lnTo>
                  <a:lnTo>
                    <a:pt x="168" y="69"/>
                  </a:lnTo>
                  <a:lnTo>
                    <a:pt x="168" y="62"/>
                  </a:lnTo>
                  <a:lnTo>
                    <a:pt x="167" y="54"/>
                  </a:lnTo>
                  <a:lnTo>
                    <a:pt x="165" y="47"/>
                  </a:lnTo>
                  <a:lnTo>
                    <a:pt x="165"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40" name="Freeform 1942"/>
            <p:cNvSpPr>
              <a:spLocks/>
            </p:cNvSpPr>
            <p:nvPr/>
          </p:nvSpPr>
          <p:spPr bwMode="auto">
            <a:xfrm>
              <a:off x="4144963" y="1620838"/>
              <a:ext cx="44450" cy="39688"/>
            </a:xfrm>
            <a:custGeom>
              <a:avLst/>
              <a:gdLst>
                <a:gd name="T0" fmla="*/ 165 w 168"/>
                <a:gd name="T1" fmla="*/ 46 h 148"/>
                <a:gd name="T2" fmla="*/ 158 w 168"/>
                <a:gd name="T3" fmla="*/ 33 h 148"/>
                <a:gd name="T4" fmla="*/ 150 w 168"/>
                <a:gd name="T5" fmla="*/ 22 h 148"/>
                <a:gd name="T6" fmla="*/ 138 w 168"/>
                <a:gd name="T7" fmla="*/ 12 h 148"/>
                <a:gd name="T8" fmla="*/ 125 w 168"/>
                <a:gd name="T9" fmla="*/ 6 h 148"/>
                <a:gd name="T10" fmla="*/ 110 w 168"/>
                <a:gd name="T11" fmla="*/ 2 h 148"/>
                <a:gd name="T12" fmla="*/ 94 w 168"/>
                <a:gd name="T13" fmla="*/ 0 h 148"/>
                <a:gd name="T14" fmla="*/ 78 w 168"/>
                <a:gd name="T15" fmla="*/ 1 h 148"/>
                <a:gd name="T16" fmla="*/ 60 w 168"/>
                <a:gd name="T17" fmla="*/ 5 h 148"/>
                <a:gd name="T18" fmla="*/ 52 w 168"/>
                <a:gd name="T19" fmla="*/ 8 h 148"/>
                <a:gd name="T20" fmla="*/ 38 w 168"/>
                <a:gd name="T21" fmla="*/ 17 h 148"/>
                <a:gd name="T22" fmla="*/ 24 w 168"/>
                <a:gd name="T23" fmla="*/ 27 h 148"/>
                <a:gd name="T24" fmla="*/ 14 w 168"/>
                <a:gd name="T25" fmla="*/ 39 h 148"/>
                <a:gd name="T26" fmla="*/ 7 w 168"/>
                <a:gd name="T27" fmla="*/ 51 h 148"/>
                <a:gd name="T28" fmla="*/ 2 w 168"/>
                <a:gd name="T29" fmla="*/ 66 h 148"/>
                <a:gd name="T30" fmla="*/ 0 w 168"/>
                <a:gd name="T31" fmla="*/ 80 h 148"/>
                <a:gd name="T32" fmla="*/ 1 w 168"/>
                <a:gd name="T33" fmla="*/ 94 h 148"/>
                <a:gd name="T34" fmla="*/ 3 w 168"/>
                <a:gd name="T35" fmla="*/ 101 h 148"/>
                <a:gd name="T36" fmla="*/ 9 w 168"/>
                <a:gd name="T37" fmla="*/ 115 h 148"/>
                <a:gd name="T38" fmla="*/ 18 w 168"/>
                <a:gd name="T39" fmla="*/ 126 h 148"/>
                <a:gd name="T40" fmla="*/ 30 w 168"/>
                <a:gd name="T41" fmla="*/ 135 h 148"/>
                <a:gd name="T42" fmla="*/ 43 w 168"/>
                <a:gd name="T43" fmla="*/ 142 h 148"/>
                <a:gd name="T44" fmla="*/ 58 w 168"/>
                <a:gd name="T45" fmla="*/ 146 h 148"/>
                <a:gd name="T46" fmla="*/ 74 w 168"/>
                <a:gd name="T47" fmla="*/ 148 h 148"/>
                <a:gd name="T48" fmla="*/ 91 w 168"/>
                <a:gd name="T49" fmla="*/ 146 h 148"/>
                <a:gd name="T50" fmla="*/ 107 w 168"/>
                <a:gd name="T51" fmla="*/ 142 h 148"/>
                <a:gd name="T52" fmla="*/ 115 w 168"/>
                <a:gd name="T53" fmla="*/ 139 h 148"/>
                <a:gd name="T54" fmla="*/ 131 w 168"/>
                <a:gd name="T55" fmla="*/ 131 h 148"/>
                <a:gd name="T56" fmla="*/ 143 w 168"/>
                <a:gd name="T57" fmla="*/ 121 h 148"/>
                <a:gd name="T58" fmla="*/ 153 w 168"/>
                <a:gd name="T59" fmla="*/ 110 h 148"/>
                <a:gd name="T60" fmla="*/ 161 w 168"/>
                <a:gd name="T61" fmla="*/ 96 h 148"/>
                <a:gd name="T62" fmla="*/ 166 w 168"/>
                <a:gd name="T63" fmla="*/ 82 h 148"/>
                <a:gd name="T64" fmla="*/ 168 w 168"/>
                <a:gd name="T65" fmla="*/ 68 h 148"/>
                <a:gd name="T66" fmla="*/ 167 w 168"/>
                <a:gd name="T67" fmla="*/ 53 h 148"/>
                <a:gd name="T68" fmla="*/ 165 w 168"/>
                <a:gd name="T69" fmla="*/ 4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48">
                  <a:moveTo>
                    <a:pt x="165" y="46"/>
                  </a:moveTo>
                  <a:lnTo>
                    <a:pt x="165" y="46"/>
                  </a:lnTo>
                  <a:lnTo>
                    <a:pt x="162" y="40"/>
                  </a:lnTo>
                  <a:lnTo>
                    <a:pt x="158" y="33"/>
                  </a:lnTo>
                  <a:lnTo>
                    <a:pt x="154" y="28"/>
                  </a:lnTo>
                  <a:lnTo>
                    <a:pt x="150" y="22"/>
                  </a:lnTo>
                  <a:lnTo>
                    <a:pt x="144" y="18"/>
                  </a:lnTo>
                  <a:lnTo>
                    <a:pt x="138" y="12"/>
                  </a:lnTo>
                  <a:lnTo>
                    <a:pt x="132" y="9"/>
                  </a:lnTo>
                  <a:lnTo>
                    <a:pt x="125" y="6"/>
                  </a:lnTo>
                  <a:lnTo>
                    <a:pt x="117" y="3"/>
                  </a:lnTo>
                  <a:lnTo>
                    <a:pt x="110" y="2"/>
                  </a:lnTo>
                  <a:lnTo>
                    <a:pt x="102" y="0"/>
                  </a:lnTo>
                  <a:lnTo>
                    <a:pt x="94" y="0"/>
                  </a:lnTo>
                  <a:lnTo>
                    <a:pt x="86" y="0"/>
                  </a:lnTo>
                  <a:lnTo>
                    <a:pt x="78" y="1"/>
                  </a:lnTo>
                  <a:lnTo>
                    <a:pt x="69" y="3"/>
                  </a:lnTo>
                  <a:lnTo>
                    <a:pt x="60" y="5"/>
                  </a:lnTo>
                  <a:lnTo>
                    <a:pt x="60" y="5"/>
                  </a:lnTo>
                  <a:lnTo>
                    <a:pt x="52" y="8"/>
                  </a:lnTo>
                  <a:lnTo>
                    <a:pt x="45" y="12"/>
                  </a:lnTo>
                  <a:lnTo>
                    <a:pt x="38" y="17"/>
                  </a:lnTo>
                  <a:lnTo>
                    <a:pt x="31" y="22"/>
                  </a:lnTo>
                  <a:lnTo>
                    <a:pt x="24" y="27"/>
                  </a:lnTo>
                  <a:lnTo>
                    <a:pt x="19" y="33"/>
                  </a:lnTo>
                  <a:lnTo>
                    <a:pt x="14" y="39"/>
                  </a:lnTo>
                  <a:lnTo>
                    <a:pt x="10" y="45"/>
                  </a:lnTo>
                  <a:lnTo>
                    <a:pt x="7" y="51"/>
                  </a:lnTo>
                  <a:lnTo>
                    <a:pt x="4" y="58"/>
                  </a:lnTo>
                  <a:lnTo>
                    <a:pt x="2" y="66"/>
                  </a:lnTo>
                  <a:lnTo>
                    <a:pt x="0" y="73"/>
                  </a:lnTo>
                  <a:lnTo>
                    <a:pt x="0" y="80"/>
                  </a:lnTo>
                  <a:lnTo>
                    <a:pt x="0" y="87"/>
                  </a:lnTo>
                  <a:lnTo>
                    <a:pt x="1" y="94"/>
                  </a:lnTo>
                  <a:lnTo>
                    <a:pt x="3" y="101"/>
                  </a:lnTo>
                  <a:lnTo>
                    <a:pt x="3" y="101"/>
                  </a:lnTo>
                  <a:lnTo>
                    <a:pt x="6" y="108"/>
                  </a:lnTo>
                  <a:lnTo>
                    <a:pt x="9" y="115"/>
                  </a:lnTo>
                  <a:lnTo>
                    <a:pt x="13" y="121"/>
                  </a:lnTo>
                  <a:lnTo>
                    <a:pt x="18" y="126"/>
                  </a:lnTo>
                  <a:lnTo>
                    <a:pt x="23" y="131"/>
                  </a:lnTo>
                  <a:lnTo>
                    <a:pt x="30" y="135"/>
                  </a:lnTo>
                  <a:lnTo>
                    <a:pt x="37" y="139"/>
                  </a:lnTo>
                  <a:lnTo>
                    <a:pt x="43" y="142"/>
                  </a:lnTo>
                  <a:lnTo>
                    <a:pt x="50" y="144"/>
                  </a:lnTo>
                  <a:lnTo>
                    <a:pt x="58" y="146"/>
                  </a:lnTo>
                  <a:lnTo>
                    <a:pt x="66" y="147"/>
                  </a:lnTo>
                  <a:lnTo>
                    <a:pt x="74" y="148"/>
                  </a:lnTo>
                  <a:lnTo>
                    <a:pt x="83" y="147"/>
                  </a:lnTo>
                  <a:lnTo>
                    <a:pt x="91" y="146"/>
                  </a:lnTo>
                  <a:lnTo>
                    <a:pt x="99" y="145"/>
                  </a:lnTo>
                  <a:lnTo>
                    <a:pt x="107" y="142"/>
                  </a:lnTo>
                  <a:lnTo>
                    <a:pt x="107" y="142"/>
                  </a:lnTo>
                  <a:lnTo>
                    <a:pt x="115" y="139"/>
                  </a:lnTo>
                  <a:lnTo>
                    <a:pt x="124" y="136"/>
                  </a:lnTo>
                  <a:lnTo>
                    <a:pt x="131" y="131"/>
                  </a:lnTo>
                  <a:lnTo>
                    <a:pt x="137" y="127"/>
                  </a:lnTo>
                  <a:lnTo>
                    <a:pt x="143" y="121"/>
                  </a:lnTo>
                  <a:lnTo>
                    <a:pt x="149" y="116"/>
                  </a:lnTo>
                  <a:lnTo>
                    <a:pt x="153" y="110"/>
                  </a:lnTo>
                  <a:lnTo>
                    <a:pt x="157" y="103"/>
                  </a:lnTo>
                  <a:lnTo>
                    <a:pt x="161" y="96"/>
                  </a:lnTo>
                  <a:lnTo>
                    <a:pt x="164" y="89"/>
                  </a:lnTo>
                  <a:lnTo>
                    <a:pt x="166" y="82"/>
                  </a:lnTo>
                  <a:lnTo>
                    <a:pt x="167" y="75"/>
                  </a:lnTo>
                  <a:lnTo>
                    <a:pt x="168" y="68"/>
                  </a:lnTo>
                  <a:lnTo>
                    <a:pt x="168" y="60"/>
                  </a:lnTo>
                  <a:lnTo>
                    <a:pt x="167" y="53"/>
                  </a:lnTo>
                  <a:lnTo>
                    <a:pt x="165" y="46"/>
                  </a:lnTo>
                  <a:lnTo>
                    <a:pt x="165"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41" name="Freeform 1943"/>
            <p:cNvSpPr>
              <a:spLocks/>
            </p:cNvSpPr>
            <p:nvPr/>
          </p:nvSpPr>
          <p:spPr bwMode="auto">
            <a:xfrm>
              <a:off x="4224338" y="1595438"/>
              <a:ext cx="44450" cy="38100"/>
            </a:xfrm>
            <a:custGeom>
              <a:avLst/>
              <a:gdLst>
                <a:gd name="T0" fmla="*/ 166 w 169"/>
                <a:gd name="T1" fmla="*/ 47 h 148"/>
                <a:gd name="T2" fmla="*/ 159 w 169"/>
                <a:gd name="T3" fmla="*/ 34 h 148"/>
                <a:gd name="T4" fmla="*/ 149 w 169"/>
                <a:gd name="T5" fmla="*/ 22 h 148"/>
                <a:gd name="T6" fmla="*/ 138 w 169"/>
                <a:gd name="T7" fmla="*/ 13 h 148"/>
                <a:gd name="T8" fmla="*/ 125 w 169"/>
                <a:gd name="T9" fmla="*/ 6 h 148"/>
                <a:gd name="T10" fmla="*/ 111 w 169"/>
                <a:gd name="T11" fmla="*/ 2 h 148"/>
                <a:gd name="T12" fmla="*/ 94 w 169"/>
                <a:gd name="T13" fmla="*/ 0 h 148"/>
                <a:gd name="T14" fmla="*/ 78 w 169"/>
                <a:gd name="T15" fmla="*/ 1 h 148"/>
                <a:gd name="T16" fmla="*/ 61 w 169"/>
                <a:gd name="T17" fmla="*/ 6 h 148"/>
                <a:gd name="T18" fmla="*/ 52 w 169"/>
                <a:gd name="T19" fmla="*/ 9 h 148"/>
                <a:gd name="T20" fmla="*/ 38 w 169"/>
                <a:gd name="T21" fmla="*/ 17 h 148"/>
                <a:gd name="T22" fmla="*/ 25 w 169"/>
                <a:gd name="T23" fmla="*/ 28 h 148"/>
                <a:gd name="T24" fmla="*/ 15 w 169"/>
                <a:gd name="T25" fmla="*/ 39 h 148"/>
                <a:gd name="T26" fmla="*/ 7 w 169"/>
                <a:gd name="T27" fmla="*/ 52 h 148"/>
                <a:gd name="T28" fmla="*/ 2 w 169"/>
                <a:gd name="T29" fmla="*/ 65 h 148"/>
                <a:gd name="T30" fmla="*/ 0 w 169"/>
                <a:gd name="T31" fmla="*/ 81 h 148"/>
                <a:gd name="T32" fmla="*/ 1 w 169"/>
                <a:gd name="T33" fmla="*/ 95 h 148"/>
                <a:gd name="T34" fmla="*/ 3 w 169"/>
                <a:gd name="T35" fmla="*/ 102 h 148"/>
                <a:gd name="T36" fmla="*/ 9 w 169"/>
                <a:gd name="T37" fmla="*/ 115 h 148"/>
                <a:gd name="T38" fmla="*/ 19 w 169"/>
                <a:gd name="T39" fmla="*/ 127 h 148"/>
                <a:gd name="T40" fmla="*/ 30 w 169"/>
                <a:gd name="T41" fmla="*/ 135 h 148"/>
                <a:gd name="T42" fmla="*/ 43 w 169"/>
                <a:gd name="T43" fmla="*/ 142 h 148"/>
                <a:gd name="T44" fmla="*/ 58 w 169"/>
                <a:gd name="T45" fmla="*/ 146 h 148"/>
                <a:gd name="T46" fmla="*/ 74 w 169"/>
                <a:gd name="T47" fmla="*/ 148 h 148"/>
                <a:gd name="T48" fmla="*/ 91 w 169"/>
                <a:gd name="T49" fmla="*/ 147 h 148"/>
                <a:gd name="T50" fmla="*/ 108 w 169"/>
                <a:gd name="T51" fmla="*/ 143 h 148"/>
                <a:gd name="T52" fmla="*/ 116 w 169"/>
                <a:gd name="T53" fmla="*/ 140 h 148"/>
                <a:gd name="T54" fmla="*/ 131 w 169"/>
                <a:gd name="T55" fmla="*/ 132 h 148"/>
                <a:gd name="T56" fmla="*/ 143 w 169"/>
                <a:gd name="T57" fmla="*/ 122 h 148"/>
                <a:gd name="T58" fmla="*/ 153 w 169"/>
                <a:gd name="T59" fmla="*/ 109 h 148"/>
                <a:gd name="T60" fmla="*/ 162 w 169"/>
                <a:gd name="T61" fmla="*/ 97 h 148"/>
                <a:gd name="T62" fmla="*/ 167 w 169"/>
                <a:gd name="T63" fmla="*/ 83 h 148"/>
                <a:gd name="T64" fmla="*/ 169 w 169"/>
                <a:gd name="T65" fmla="*/ 68 h 148"/>
                <a:gd name="T66" fmla="*/ 167 w 169"/>
                <a:gd name="T67" fmla="*/ 54 h 148"/>
                <a:gd name="T68" fmla="*/ 166 w 169"/>
                <a:gd name="T69" fmla="*/ 4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9" h="148">
                  <a:moveTo>
                    <a:pt x="166" y="47"/>
                  </a:moveTo>
                  <a:lnTo>
                    <a:pt x="166" y="47"/>
                  </a:lnTo>
                  <a:lnTo>
                    <a:pt x="163" y="40"/>
                  </a:lnTo>
                  <a:lnTo>
                    <a:pt x="159" y="34"/>
                  </a:lnTo>
                  <a:lnTo>
                    <a:pt x="155" y="28"/>
                  </a:lnTo>
                  <a:lnTo>
                    <a:pt x="149" y="22"/>
                  </a:lnTo>
                  <a:lnTo>
                    <a:pt x="144" y="17"/>
                  </a:lnTo>
                  <a:lnTo>
                    <a:pt x="138" y="13"/>
                  </a:lnTo>
                  <a:lnTo>
                    <a:pt x="132" y="9"/>
                  </a:lnTo>
                  <a:lnTo>
                    <a:pt x="125" y="6"/>
                  </a:lnTo>
                  <a:lnTo>
                    <a:pt x="118" y="4"/>
                  </a:lnTo>
                  <a:lnTo>
                    <a:pt x="111" y="2"/>
                  </a:lnTo>
                  <a:lnTo>
                    <a:pt x="102" y="1"/>
                  </a:lnTo>
                  <a:lnTo>
                    <a:pt x="94" y="0"/>
                  </a:lnTo>
                  <a:lnTo>
                    <a:pt x="86" y="1"/>
                  </a:lnTo>
                  <a:lnTo>
                    <a:pt x="78" y="1"/>
                  </a:lnTo>
                  <a:lnTo>
                    <a:pt x="70" y="3"/>
                  </a:lnTo>
                  <a:lnTo>
                    <a:pt x="61" y="6"/>
                  </a:lnTo>
                  <a:lnTo>
                    <a:pt x="61" y="6"/>
                  </a:lnTo>
                  <a:lnTo>
                    <a:pt x="52" y="9"/>
                  </a:lnTo>
                  <a:lnTo>
                    <a:pt x="45" y="12"/>
                  </a:lnTo>
                  <a:lnTo>
                    <a:pt x="38" y="17"/>
                  </a:lnTo>
                  <a:lnTo>
                    <a:pt x="31" y="21"/>
                  </a:lnTo>
                  <a:lnTo>
                    <a:pt x="25" y="28"/>
                  </a:lnTo>
                  <a:lnTo>
                    <a:pt x="20" y="33"/>
                  </a:lnTo>
                  <a:lnTo>
                    <a:pt x="15" y="39"/>
                  </a:lnTo>
                  <a:lnTo>
                    <a:pt x="10" y="45"/>
                  </a:lnTo>
                  <a:lnTo>
                    <a:pt x="7" y="52"/>
                  </a:lnTo>
                  <a:lnTo>
                    <a:pt x="4" y="59"/>
                  </a:lnTo>
                  <a:lnTo>
                    <a:pt x="2" y="65"/>
                  </a:lnTo>
                  <a:lnTo>
                    <a:pt x="0" y="73"/>
                  </a:lnTo>
                  <a:lnTo>
                    <a:pt x="0" y="81"/>
                  </a:lnTo>
                  <a:lnTo>
                    <a:pt x="0" y="88"/>
                  </a:lnTo>
                  <a:lnTo>
                    <a:pt x="1" y="95"/>
                  </a:lnTo>
                  <a:lnTo>
                    <a:pt x="3" y="102"/>
                  </a:lnTo>
                  <a:lnTo>
                    <a:pt x="3" y="102"/>
                  </a:lnTo>
                  <a:lnTo>
                    <a:pt x="6" y="108"/>
                  </a:lnTo>
                  <a:lnTo>
                    <a:pt x="9" y="115"/>
                  </a:lnTo>
                  <a:lnTo>
                    <a:pt x="14" y="121"/>
                  </a:lnTo>
                  <a:lnTo>
                    <a:pt x="19" y="127"/>
                  </a:lnTo>
                  <a:lnTo>
                    <a:pt x="24" y="131"/>
                  </a:lnTo>
                  <a:lnTo>
                    <a:pt x="30" y="135"/>
                  </a:lnTo>
                  <a:lnTo>
                    <a:pt x="37" y="139"/>
                  </a:lnTo>
                  <a:lnTo>
                    <a:pt x="43" y="142"/>
                  </a:lnTo>
                  <a:lnTo>
                    <a:pt x="50" y="145"/>
                  </a:lnTo>
                  <a:lnTo>
                    <a:pt x="58" y="146"/>
                  </a:lnTo>
                  <a:lnTo>
                    <a:pt x="67" y="148"/>
                  </a:lnTo>
                  <a:lnTo>
                    <a:pt x="74" y="148"/>
                  </a:lnTo>
                  <a:lnTo>
                    <a:pt x="82" y="148"/>
                  </a:lnTo>
                  <a:lnTo>
                    <a:pt x="91" y="147"/>
                  </a:lnTo>
                  <a:lnTo>
                    <a:pt x="99" y="145"/>
                  </a:lnTo>
                  <a:lnTo>
                    <a:pt x="108" y="143"/>
                  </a:lnTo>
                  <a:lnTo>
                    <a:pt x="108" y="143"/>
                  </a:lnTo>
                  <a:lnTo>
                    <a:pt x="116" y="140"/>
                  </a:lnTo>
                  <a:lnTo>
                    <a:pt x="124" y="136"/>
                  </a:lnTo>
                  <a:lnTo>
                    <a:pt x="131" y="132"/>
                  </a:lnTo>
                  <a:lnTo>
                    <a:pt x="137" y="127"/>
                  </a:lnTo>
                  <a:lnTo>
                    <a:pt x="143" y="122"/>
                  </a:lnTo>
                  <a:lnTo>
                    <a:pt x="148" y="115"/>
                  </a:lnTo>
                  <a:lnTo>
                    <a:pt x="153" y="109"/>
                  </a:lnTo>
                  <a:lnTo>
                    <a:pt x="158" y="103"/>
                  </a:lnTo>
                  <a:lnTo>
                    <a:pt x="162" y="97"/>
                  </a:lnTo>
                  <a:lnTo>
                    <a:pt x="165" y="90"/>
                  </a:lnTo>
                  <a:lnTo>
                    <a:pt x="167" y="83"/>
                  </a:lnTo>
                  <a:lnTo>
                    <a:pt x="168" y="76"/>
                  </a:lnTo>
                  <a:lnTo>
                    <a:pt x="169" y="68"/>
                  </a:lnTo>
                  <a:lnTo>
                    <a:pt x="169" y="61"/>
                  </a:lnTo>
                  <a:lnTo>
                    <a:pt x="167" y="54"/>
                  </a:lnTo>
                  <a:lnTo>
                    <a:pt x="166" y="47"/>
                  </a:lnTo>
                  <a:lnTo>
                    <a:pt x="166"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42" name="Freeform 1944"/>
            <p:cNvSpPr>
              <a:spLocks/>
            </p:cNvSpPr>
            <p:nvPr/>
          </p:nvSpPr>
          <p:spPr bwMode="auto">
            <a:xfrm>
              <a:off x="4302125" y="1568450"/>
              <a:ext cx="44450" cy="38100"/>
            </a:xfrm>
            <a:custGeom>
              <a:avLst/>
              <a:gdLst>
                <a:gd name="T0" fmla="*/ 165 w 168"/>
                <a:gd name="T1" fmla="*/ 46 h 147"/>
                <a:gd name="T2" fmla="*/ 158 w 168"/>
                <a:gd name="T3" fmla="*/ 33 h 147"/>
                <a:gd name="T4" fmla="*/ 149 w 168"/>
                <a:gd name="T5" fmla="*/ 21 h 147"/>
                <a:gd name="T6" fmla="*/ 138 w 168"/>
                <a:gd name="T7" fmla="*/ 12 h 147"/>
                <a:gd name="T8" fmla="*/ 124 w 168"/>
                <a:gd name="T9" fmla="*/ 6 h 147"/>
                <a:gd name="T10" fmla="*/ 110 w 168"/>
                <a:gd name="T11" fmla="*/ 1 h 147"/>
                <a:gd name="T12" fmla="*/ 94 w 168"/>
                <a:gd name="T13" fmla="*/ 0 h 147"/>
                <a:gd name="T14" fmla="*/ 77 w 168"/>
                <a:gd name="T15" fmla="*/ 1 h 147"/>
                <a:gd name="T16" fmla="*/ 60 w 168"/>
                <a:gd name="T17" fmla="*/ 5 h 147"/>
                <a:gd name="T18" fmla="*/ 52 w 168"/>
                <a:gd name="T19" fmla="*/ 8 h 147"/>
                <a:gd name="T20" fmla="*/ 37 w 168"/>
                <a:gd name="T21" fmla="*/ 16 h 147"/>
                <a:gd name="T22" fmla="*/ 24 w 168"/>
                <a:gd name="T23" fmla="*/ 26 h 147"/>
                <a:gd name="T24" fmla="*/ 14 w 168"/>
                <a:gd name="T25" fmla="*/ 38 h 147"/>
                <a:gd name="T26" fmla="*/ 7 w 168"/>
                <a:gd name="T27" fmla="*/ 51 h 147"/>
                <a:gd name="T28" fmla="*/ 2 w 168"/>
                <a:gd name="T29" fmla="*/ 65 h 147"/>
                <a:gd name="T30" fmla="*/ 0 w 168"/>
                <a:gd name="T31" fmla="*/ 80 h 147"/>
                <a:gd name="T32" fmla="*/ 1 w 168"/>
                <a:gd name="T33" fmla="*/ 94 h 147"/>
                <a:gd name="T34" fmla="*/ 3 w 168"/>
                <a:gd name="T35" fmla="*/ 101 h 147"/>
                <a:gd name="T36" fmla="*/ 9 w 168"/>
                <a:gd name="T37" fmla="*/ 114 h 147"/>
                <a:gd name="T38" fmla="*/ 18 w 168"/>
                <a:gd name="T39" fmla="*/ 126 h 147"/>
                <a:gd name="T40" fmla="*/ 29 w 168"/>
                <a:gd name="T41" fmla="*/ 135 h 147"/>
                <a:gd name="T42" fmla="*/ 42 w 168"/>
                <a:gd name="T43" fmla="*/ 142 h 147"/>
                <a:gd name="T44" fmla="*/ 58 w 168"/>
                <a:gd name="T45" fmla="*/ 146 h 147"/>
                <a:gd name="T46" fmla="*/ 73 w 168"/>
                <a:gd name="T47" fmla="*/ 147 h 147"/>
                <a:gd name="T48" fmla="*/ 90 w 168"/>
                <a:gd name="T49" fmla="*/ 146 h 147"/>
                <a:gd name="T50" fmla="*/ 107 w 168"/>
                <a:gd name="T51" fmla="*/ 142 h 147"/>
                <a:gd name="T52" fmla="*/ 115 w 168"/>
                <a:gd name="T53" fmla="*/ 139 h 147"/>
                <a:gd name="T54" fmla="*/ 130 w 168"/>
                <a:gd name="T55" fmla="*/ 131 h 147"/>
                <a:gd name="T56" fmla="*/ 143 w 168"/>
                <a:gd name="T57" fmla="*/ 120 h 147"/>
                <a:gd name="T58" fmla="*/ 153 w 168"/>
                <a:gd name="T59" fmla="*/ 109 h 147"/>
                <a:gd name="T60" fmla="*/ 161 w 168"/>
                <a:gd name="T61" fmla="*/ 96 h 147"/>
                <a:gd name="T62" fmla="*/ 166 w 168"/>
                <a:gd name="T63" fmla="*/ 82 h 147"/>
                <a:gd name="T64" fmla="*/ 168 w 168"/>
                <a:gd name="T65" fmla="*/ 67 h 147"/>
                <a:gd name="T66" fmla="*/ 166 w 168"/>
                <a:gd name="T67" fmla="*/ 53 h 147"/>
                <a:gd name="T68" fmla="*/ 165 w 168"/>
                <a:gd name="T69" fmla="*/ 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47">
                  <a:moveTo>
                    <a:pt x="165" y="46"/>
                  </a:moveTo>
                  <a:lnTo>
                    <a:pt x="165" y="46"/>
                  </a:lnTo>
                  <a:lnTo>
                    <a:pt x="162" y="39"/>
                  </a:lnTo>
                  <a:lnTo>
                    <a:pt x="158" y="33"/>
                  </a:lnTo>
                  <a:lnTo>
                    <a:pt x="154" y="26"/>
                  </a:lnTo>
                  <a:lnTo>
                    <a:pt x="149" y="21"/>
                  </a:lnTo>
                  <a:lnTo>
                    <a:pt x="144" y="16"/>
                  </a:lnTo>
                  <a:lnTo>
                    <a:pt x="138" y="12"/>
                  </a:lnTo>
                  <a:lnTo>
                    <a:pt x="131" y="9"/>
                  </a:lnTo>
                  <a:lnTo>
                    <a:pt x="124" y="6"/>
                  </a:lnTo>
                  <a:lnTo>
                    <a:pt x="117" y="3"/>
                  </a:lnTo>
                  <a:lnTo>
                    <a:pt x="110" y="1"/>
                  </a:lnTo>
                  <a:lnTo>
                    <a:pt x="102" y="0"/>
                  </a:lnTo>
                  <a:lnTo>
                    <a:pt x="94" y="0"/>
                  </a:lnTo>
                  <a:lnTo>
                    <a:pt x="85" y="0"/>
                  </a:lnTo>
                  <a:lnTo>
                    <a:pt x="77" y="1"/>
                  </a:lnTo>
                  <a:lnTo>
                    <a:pt x="69" y="3"/>
                  </a:lnTo>
                  <a:lnTo>
                    <a:pt x="60" y="5"/>
                  </a:lnTo>
                  <a:lnTo>
                    <a:pt x="60" y="5"/>
                  </a:lnTo>
                  <a:lnTo>
                    <a:pt x="52" y="8"/>
                  </a:lnTo>
                  <a:lnTo>
                    <a:pt x="45" y="12"/>
                  </a:lnTo>
                  <a:lnTo>
                    <a:pt x="37" y="16"/>
                  </a:lnTo>
                  <a:lnTo>
                    <a:pt x="30" y="21"/>
                  </a:lnTo>
                  <a:lnTo>
                    <a:pt x="24" y="26"/>
                  </a:lnTo>
                  <a:lnTo>
                    <a:pt x="19" y="33"/>
                  </a:lnTo>
                  <a:lnTo>
                    <a:pt x="14" y="38"/>
                  </a:lnTo>
                  <a:lnTo>
                    <a:pt x="10" y="45"/>
                  </a:lnTo>
                  <a:lnTo>
                    <a:pt x="7" y="51"/>
                  </a:lnTo>
                  <a:lnTo>
                    <a:pt x="4" y="58"/>
                  </a:lnTo>
                  <a:lnTo>
                    <a:pt x="2" y="65"/>
                  </a:lnTo>
                  <a:lnTo>
                    <a:pt x="0" y="72"/>
                  </a:lnTo>
                  <a:lnTo>
                    <a:pt x="0" y="80"/>
                  </a:lnTo>
                  <a:lnTo>
                    <a:pt x="0" y="87"/>
                  </a:lnTo>
                  <a:lnTo>
                    <a:pt x="1" y="94"/>
                  </a:lnTo>
                  <a:lnTo>
                    <a:pt x="3" y="101"/>
                  </a:lnTo>
                  <a:lnTo>
                    <a:pt x="3" y="101"/>
                  </a:lnTo>
                  <a:lnTo>
                    <a:pt x="6" y="108"/>
                  </a:lnTo>
                  <a:lnTo>
                    <a:pt x="9" y="114"/>
                  </a:lnTo>
                  <a:lnTo>
                    <a:pt x="13" y="120"/>
                  </a:lnTo>
                  <a:lnTo>
                    <a:pt x="18" y="126"/>
                  </a:lnTo>
                  <a:lnTo>
                    <a:pt x="23" y="131"/>
                  </a:lnTo>
                  <a:lnTo>
                    <a:pt x="29" y="135"/>
                  </a:lnTo>
                  <a:lnTo>
                    <a:pt x="36" y="139"/>
                  </a:lnTo>
                  <a:lnTo>
                    <a:pt x="42" y="142"/>
                  </a:lnTo>
                  <a:lnTo>
                    <a:pt x="50" y="144"/>
                  </a:lnTo>
                  <a:lnTo>
                    <a:pt x="58" y="146"/>
                  </a:lnTo>
                  <a:lnTo>
                    <a:pt x="65" y="147"/>
                  </a:lnTo>
                  <a:lnTo>
                    <a:pt x="73" y="147"/>
                  </a:lnTo>
                  <a:lnTo>
                    <a:pt x="81" y="147"/>
                  </a:lnTo>
                  <a:lnTo>
                    <a:pt x="90" y="146"/>
                  </a:lnTo>
                  <a:lnTo>
                    <a:pt x="99" y="145"/>
                  </a:lnTo>
                  <a:lnTo>
                    <a:pt x="107" y="142"/>
                  </a:lnTo>
                  <a:lnTo>
                    <a:pt x="107" y="142"/>
                  </a:lnTo>
                  <a:lnTo>
                    <a:pt x="115" y="139"/>
                  </a:lnTo>
                  <a:lnTo>
                    <a:pt x="122" y="135"/>
                  </a:lnTo>
                  <a:lnTo>
                    <a:pt x="130" y="131"/>
                  </a:lnTo>
                  <a:lnTo>
                    <a:pt x="136" y="126"/>
                  </a:lnTo>
                  <a:lnTo>
                    <a:pt x="143" y="120"/>
                  </a:lnTo>
                  <a:lnTo>
                    <a:pt x="148" y="115"/>
                  </a:lnTo>
                  <a:lnTo>
                    <a:pt x="153" y="109"/>
                  </a:lnTo>
                  <a:lnTo>
                    <a:pt x="157" y="102"/>
                  </a:lnTo>
                  <a:lnTo>
                    <a:pt x="161" y="96"/>
                  </a:lnTo>
                  <a:lnTo>
                    <a:pt x="164" y="89"/>
                  </a:lnTo>
                  <a:lnTo>
                    <a:pt x="166" y="82"/>
                  </a:lnTo>
                  <a:lnTo>
                    <a:pt x="167" y="74"/>
                  </a:lnTo>
                  <a:lnTo>
                    <a:pt x="168" y="67"/>
                  </a:lnTo>
                  <a:lnTo>
                    <a:pt x="168" y="60"/>
                  </a:lnTo>
                  <a:lnTo>
                    <a:pt x="166" y="53"/>
                  </a:lnTo>
                  <a:lnTo>
                    <a:pt x="165" y="46"/>
                  </a:lnTo>
                  <a:lnTo>
                    <a:pt x="165"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43" name="Freeform 1945"/>
            <p:cNvSpPr>
              <a:spLocks/>
            </p:cNvSpPr>
            <p:nvPr/>
          </p:nvSpPr>
          <p:spPr bwMode="auto">
            <a:xfrm>
              <a:off x="4379913" y="1541463"/>
              <a:ext cx="44450" cy="39688"/>
            </a:xfrm>
            <a:custGeom>
              <a:avLst/>
              <a:gdLst>
                <a:gd name="T0" fmla="*/ 164 w 168"/>
                <a:gd name="T1" fmla="*/ 47 h 148"/>
                <a:gd name="T2" fmla="*/ 158 w 168"/>
                <a:gd name="T3" fmla="*/ 33 h 148"/>
                <a:gd name="T4" fmla="*/ 149 w 168"/>
                <a:gd name="T5" fmla="*/ 22 h 148"/>
                <a:gd name="T6" fmla="*/ 138 w 168"/>
                <a:gd name="T7" fmla="*/ 13 h 148"/>
                <a:gd name="T8" fmla="*/ 125 w 168"/>
                <a:gd name="T9" fmla="*/ 6 h 148"/>
                <a:gd name="T10" fmla="*/ 110 w 168"/>
                <a:gd name="T11" fmla="*/ 2 h 148"/>
                <a:gd name="T12" fmla="*/ 94 w 168"/>
                <a:gd name="T13" fmla="*/ 0 h 148"/>
                <a:gd name="T14" fmla="*/ 78 w 168"/>
                <a:gd name="T15" fmla="*/ 1 h 148"/>
                <a:gd name="T16" fmla="*/ 60 w 168"/>
                <a:gd name="T17" fmla="*/ 5 h 148"/>
                <a:gd name="T18" fmla="*/ 52 w 168"/>
                <a:gd name="T19" fmla="*/ 8 h 148"/>
                <a:gd name="T20" fmla="*/ 38 w 168"/>
                <a:gd name="T21" fmla="*/ 16 h 148"/>
                <a:gd name="T22" fmla="*/ 24 w 168"/>
                <a:gd name="T23" fmla="*/ 26 h 148"/>
                <a:gd name="T24" fmla="*/ 14 w 168"/>
                <a:gd name="T25" fmla="*/ 39 h 148"/>
                <a:gd name="T26" fmla="*/ 6 w 168"/>
                <a:gd name="T27" fmla="*/ 52 h 148"/>
                <a:gd name="T28" fmla="*/ 2 w 168"/>
                <a:gd name="T29" fmla="*/ 65 h 148"/>
                <a:gd name="T30" fmla="*/ 0 w 168"/>
                <a:gd name="T31" fmla="*/ 79 h 148"/>
                <a:gd name="T32" fmla="*/ 1 w 168"/>
                <a:gd name="T33" fmla="*/ 95 h 148"/>
                <a:gd name="T34" fmla="*/ 3 w 168"/>
                <a:gd name="T35" fmla="*/ 102 h 148"/>
                <a:gd name="T36" fmla="*/ 9 w 168"/>
                <a:gd name="T37" fmla="*/ 114 h 148"/>
                <a:gd name="T38" fmla="*/ 18 w 168"/>
                <a:gd name="T39" fmla="*/ 125 h 148"/>
                <a:gd name="T40" fmla="*/ 30 w 168"/>
                <a:gd name="T41" fmla="*/ 135 h 148"/>
                <a:gd name="T42" fmla="*/ 43 w 168"/>
                <a:gd name="T43" fmla="*/ 142 h 148"/>
                <a:gd name="T44" fmla="*/ 58 w 168"/>
                <a:gd name="T45" fmla="*/ 146 h 148"/>
                <a:gd name="T46" fmla="*/ 73 w 168"/>
                <a:gd name="T47" fmla="*/ 148 h 148"/>
                <a:gd name="T48" fmla="*/ 91 w 168"/>
                <a:gd name="T49" fmla="*/ 147 h 148"/>
                <a:gd name="T50" fmla="*/ 107 w 168"/>
                <a:gd name="T51" fmla="*/ 143 h 148"/>
                <a:gd name="T52" fmla="*/ 115 w 168"/>
                <a:gd name="T53" fmla="*/ 140 h 148"/>
                <a:gd name="T54" fmla="*/ 130 w 168"/>
                <a:gd name="T55" fmla="*/ 132 h 148"/>
                <a:gd name="T56" fmla="*/ 143 w 168"/>
                <a:gd name="T57" fmla="*/ 121 h 148"/>
                <a:gd name="T58" fmla="*/ 153 w 168"/>
                <a:gd name="T59" fmla="*/ 109 h 148"/>
                <a:gd name="T60" fmla="*/ 161 w 168"/>
                <a:gd name="T61" fmla="*/ 96 h 148"/>
                <a:gd name="T62" fmla="*/ 166 w 168"/>
                <a:gd name="T63" fmla="*/ 82 h 148"/>
                <a:gd name="T64" fmla="*/ 168 w 168"/>
                <a:gd name="T65" fmla="*/ 68 h 148"/>
                <a:gd name="T66" fmla="*/ 166 w 168"/>
                <a:gd name="T67" fmla="*/ 54 h 148"/>
                <a:gd name="T68" fmla="*/ 164 w 168"/>
                <a:gd name="T69" fmla="*/ 4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48">
                  <a:moveTo>
                    <a:pt x="164" y="47"/>
                  </a:moveTo>
                  <a:lnTo>
                    <a:pt x="164" y="47"/>
                  </a:lnTo>
                  <a:lnTo>
                    <a:pt x="162" y="40"/>
                  </a:lnTo>
                  <a:lnTo>
                    <a:pt x="158" y="33"/>
                  </a:lnTo>
                  <a:lnTo>
                    <a:pt x="154" y="27"/>
                  </a:lnTo>
                  <a:lnTo>
                    <a:pt x="149" y="22"/>
                  </a:lnTo>
                  <a:lnTo>
                    <a:pt x="144" y="17"/>
                  </a:lnTo>
                  <a:lnTo>
                    <a:pt x="138" y="13"/>
                  </a:lnTo>
                  <a:lnTo>
                    <a:pt x="132" y="9"/>
                  </a:lnTo>
                  <a:lnTo>
                    <a:pt x="125" y="6"/>
                  </a:lnTo>
                  <a:lnTo>
                    <a:pt x="117" y="4"/>
                  </a:lnTo>
                  <a:lnTo>
                    <a:pt x="110" y="2"/>
                  </a:lnTo>
                  <a:lnTo>
                    <a:pt x="102" y="1"/>
                  </a:lnTo>
                  <a:lnTo>
                    <a:pt x="94" y="0"/>
                  </a:lnTo>
                  <a:lnTo>
                    <a:pt x="86" y="0"/>
                  </a:lnTo>
                  <a:lnTo>
                    <a:pt x="78" y="1"/>
                  </a:lnTo>
                  <a:lnTo>
                    <a:pt x="69" y="3"/>
                  </a:lnTo>
                  <a:lnTo>
                    <a:pt x="60" y="5"/>
                  </a:lnTo>
                  <a:lnTo>
                    <a:pt x="60" y="5"/>
                  </a:lnTo>
                  <a:lnTo>
                    <a:pt x="52" y="8"/>
                  </a:lnTo>
                  <a:lnTo>
                    <a:pt x="45" y="12"/>
                  </a:lnTo>
                  <a:lnTo>
                    <a:pt x="38" y="16"/>
                  </a:lnTo>
                  <a:lnTo>
                    <a:pt x="31" y="21"/>
                  </a:lnTo>
                  <a:lnTo>
                    <a:pt x="24" y="26"/>
                  </a:lnTo>
                  <a:lnTo>
                    <a:pt x="19" y="32"/>
                  </a:lnTo>
                  <a:lnTo>
                    <a:pt x="14" y="39"/>
                  </a:lnTo>
                  <a:lnTo>
                    <a:pt x="10" y="45"/>
                  </a:lnTo>
                  <a:lnTo>
                    <a:pt x="6" y="52"/>
                  </a:lnTo>
                  <a:lnTo>
                    <a:pt x="4" y="58"/>
                  </a:lnTo>
                  <a:lnTo>
                    <a:pt x="2" y="65"/>
                  </a:lnTo>
                  <a:lnTo>
                    <a:pt x="0" y="72"/>
                  </a:lnTo>
                  <a:lnTo>
                    <a:pt x="0" y="79"/>
                  </a:lnTo>
                  <a:lnTo>
                    <a:pt x="0" y="87"/>
                  </a:lnTo>
                  <a:lnTo>
                    <a:pt x="1" y="95"/>
                  </a:lnTo>
                  <a:lnTo>
                    <a:pt x="3" y="102"/>
                  </a:lnTo>
                  <a:lnTo>
                    <a:pt x="3" y="102"/>
                  </a:lnTo>
                  <a:lnTo>
                    <a:pt x="6" y="108"/>
                  </a:lnTo>
                  <a:lnTo>
                    <a:pt x="9" y="114"/>
                  </a:lnTo>
                  <a:lnTo>
                    <a:pt x="13" y="120"/>
                  </a:lnTo>
                  <a:lnTo>
                    <a:pt x="18" y="125"/>
                  </a:lnTo>
                  <a:lnTo>
                    <a:pt x="23" y="131"/>
                  </a:lnTo>
                  <a:lnTo>
                    <a:pt x="30" y="135"/>
                  </a:lnTo>
                  <a:lnTo>
                    <a:pt x="36" y="139"/>
                  </a:lnTo>
                  <a:lnTo>
                    <a:pt x="43" y="142"/>
                  </a:lnTo>
                  <a:lnTo>
                    <a:pt x="50" y="144"/>
                  </a:lnTo>
                  <a:lnTo>
                    <a:pt x="58" y="146"/>
                  </a:lnTo>
                  <a:lnTo>
                    <a:pt x="65" y="147"/>
                  </a:lnTo>
                  <a:lnTo>
                    <a:pt x="73" y="148"/>
                  </a:lnTo>
                  <a:lnTo>
                    <a:pt x="82" y="148"/>
                  </a:lnTo>
                  <a:lnTo>
                    <a:pt x="91" y="147"/>
                  </a:lnTo>
                  <a:lnTo>
                    <a:pt x="99" y="145"/>
                  </a:lnTo>
                  <a:lnTo>
                    <a:pt x="107" y="143"/>
                  </a:lnTo>
                  <a:lnTo>
                    <a:pt x="107" y="143"/>
                  </a:lnTo>
                  <a:lnTo>
                    <a:pt x="115" y="140"/>
                  </a:lnTo>
                  <a:lnTo>
                    <a:pt x="123" y="136"/>
                  </a:lnTo>
                  <a:lnTo>
                    <a:pt x="130" y="132"/>
                  </a:lnTo>
                  <a:lnTo>
                    <a:pt x="137" y="126"/>
                  </a:lnTo>
                  <a:lnTo>
                    <a:pt x="143" y="121"/>
                  </a:lnTo>
                  <a:lnTo>
                    <a:pt x="148" y="115"/>
                  </a:lnTo>
                  <a:lnTo>
                    <a:pt x="153" y="109"/>
                  </a:lnTo>
                  <a:lnTo>
                    <a:pt x="157" y="103"/>
                  </a:lnTo>
                  <a:lnTo>
                    <a:pt x="161" y="96"/>
                  </a:lnTo>
                  <a:lnTo>
                    <a:pt x="164" y="90"/>
                  </a:lnTo>
                  <a:lnTo>
                    <a:pt x="166" y="82"/>
                  </a:lnTo>
                  <a:lnTo>
                    <a:pt x="167" y="75"/>
                  </a:lnTo>
                  <a:lnTo>
                    <a:pt x="168" y="68"/>
                  </a:lnTo>
                  <a:lnTo>
                    <a:pt x="167" y="61"/>
                  </a:lnTo>
                  <a:lnTo>
                    <a:pt x="166" y="54"/>
                  </a:lnTo>
                  <a:lnTo>
                    <a:pt x="164" y="47"/>
                  </a:lnTo>
                  <a:lnTo>
                    <a:pt x="164"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336" name="Group 2335"/>
          <p:cNvGrpSpPr/>
          <p:nvPr/>
        </p:nvGrpSpPr>
        <p:grpSpPr>
          <a:xfrm>
            <a:off x="4908326" y="1438515"/>
            <a:ext cx="1856925" cy="582427"/>
            <a:chOff x="831806" y="3541921"/>
            <a:chExt cx="1002800" cy="1261872"/>
          </a:xfrm>
        </p:grpSpPr>
        <p:sp>
          <p:nvSpPr>
            <p:cNvPr id="2337" name="Rectangle 2336"/>
            <p:cNvSpPr/>
            <p:nvPr/>
          </p:nvSpPr>
          <p:spPr bwMode="auto">
            <a:xfrm>
              <a:off x="831806" y="3541921"/>
              <a:ext cx="1002800"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Save money with more accurate arrival time predictions</a:t>
              </a:r>
            </a:p>
          </p:txBody>
        </p:sp>
        <p:cxnSp>
          <p:nvCxnSpPr>
            <p:cNvPr id="2338" name="Straight Connector 2337"/>
            <p:cNvCxnSpPr/>
            <p:nvPr/>
          </p:nvCxnSpPr>
          <p:spPr>
            <a:xfrm flipV="1">
              <a:off x="831806" y="3541921"/>
              <a:ext cx="0" cy="1261872"/>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2339" name="Group 2338"/>
          <p:cNvGrpSpPr/>
          <p:nvPr/>
        </p:nvGrpSpPr>
        <p:grpSpPr>
          <a:xfrm>
            <a:off x="421756" y="1410111"/>
            <a:ext cx="2334397" cy="645805"/>
            <a:chOff x="2139184" y="1326826"/>
            <a:chExt cx="1056160" cy="1404858"/>
          </a:xfrm>
        </p:grpSpPr>
        <p:sp>
          <p:nvSpPr>
            <p:cNvPr id="2340" name="Rectangle 2339"/>
            <p:cNvSpPr/>
            <p:nvPr/>
          </p:nvSpPr>
          <p:spPr bwMode="auto">
            <a:xfrm>
              <a:off x="2139184" y="1337449"/>
              <a:ext cx="1056160" cy="1394235"/>
            </a:xfrm>
            <a:prstGeom prst="rect">
              <a:avLst/>
            </a:prstGeom>
            <a:solidFill>
              <a:schemeClr val="tx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Provide a seamless traveler experience from the curb to the gate, and enable context-sensitive notifications</a:t>
              </a:r>
            </a:p>
          </p:txBody>
        </p:sp>
        <p:cxnSp>
          <p:nvCxnSpPr>
            <p:cNvPr id="2341" name="Straight Connector 2340"/>
            <p:cNvCxnSpPr/>
            <p:nvPr/>
          </p:nvCxnSpPr>
          <p:spPr>
            <a:xfrm flipH="1" flipV="1">
              <a:off x="2139544" y="1326826"/>
              <a:ext cx="2076" cy="14003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167" name="Group 3166"/>
          <p:cNvGrpSpPr/>
          <p:nvPr/>
        </p:nvGrpSpPr>
        <p:grpSpPr>
          <a:xfrm>
            <a:off x="3153728" y="2272110"/>
            <a:ext cx="245856" cy="1489075"/>
            <a:chOff x="2984285" y="2272109"/>
            <a:chExt cx="245856" cy="1489075"/>
          </a:xfrm>
        </p:grpSpPr>
        <p:sp>
          <p:nvSpPr>
            <p:cNvPr id="3022" name="Rectangle 2024"/>
            <p:cNvSpPr>
              <a:spLocks noChangeArrowheads="1"/>
            </p:cNvSpPr>
            <p:nvPr/>
          </p:nvSpPr>
          <p:spPr bwMode="auto">
            <a:xfrm>
              <a:off x="3096252" y="2272109"/>
              <a:ext cx="38100" cy="1489075"/>
            </a:xfrm>
            <a:prstGeom prst="rect">
              <a:avLst/>
            </a:prstGeom>
            <a:solidFill>
              <a:srgbClr val="00708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351" name="Group 2350"/>
            <p:cNvGrpSpPr/>
            <p:nvPr/>
          </p:nvGrpSpPr>
          <p:grpSpPr>
            <a:xfrm>
              <a:off x="2984285" y="2904089"/>
              <a:ext cx="245856" cy="245856"/>
              <a:chOff x="4826727" y="1390548"/>
              <a:chExt cx="502642" cy="502642"/>
            </a:xfrm>
          </p:grpSpPr>
          <p:sp>
            <p:nvSpPr>
              <p:cNvPr id="2352" name="Oval 2351"/>
              <p:cNvSpPr/>
              <p:nvPr/>
            </p:nvSpPr>
            <p:spPr bwMode="auto">
              <a:xfrm>
                <a:off x="4826727" y="1390548"/>
                <a:ext cx="502642" cy="502642"/>
              </a:xfrm>
              <a:prstGeom prst="ellipse">
                <a:avLst/>
              </a:prstGeom>
              <a:solidFill>
                <a:schemeClr val="bg2">
                  <a:lumMod val="10000"/>
                </a:schemeClr>
              </a:solidFill>
              <a:ln w="28575">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53" name="Left Arrow 2352"/>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2361" name="Rectangle 2038"/>
          <p:cNvSpPr>
            <a:spLocks noChangeArrowheads="1"/>
          </p:cNvSpPr>
          <p:nvPr/>
        </p:nvSpPr>
        <p:spPr bwMode="auto">
          <a:xfrm>
            <a:off x="7499351" y="1168400"/>
            <a:ext cx="2209800" cy="1866900"/>
          </a:xfrm>
          <a:prstGeom prst="rect">
            <a:avLst/>
          </a:prstGeom>
          <a:gradFill>
            <a:gsLst>
              <a:gs pos="44000">
                <a:srgbClr val="000608">
                  <a:alpha val="0"/>
                </a:srgbClr>
              </a:gs>
              <a:gs pos="93000">
                <a:schemeClr val="accent1">
                  <a:lumMod val="75000"/>
                  <a:alpha val="22000"/>
                </a:scheme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64" name="Freeform 2041"/>
          <p:cNvSpPr>
            <a:spLocks/>
          </p:cNvSpPr>
          <p:nvPr/>
        </p:nvSpPr>
        <p:spPr bwMode="auto">
          <a:xfrm>
            <a:off x="10121901" y="2979738"/>
            <a:ext cx="1155700" cy="317500"/>
          </a:xfrm>
          <a:custGeom>
            <a:avLst/>
            <a:gdLst>
              <a:gd name="T0" fmla="*/ 3824 w 4371"/>
              <a:gd name="T1" fmla="*/ 1201 h 1201"/>
              <a:gd name="T2" fmla="*/ 0 w 4371"/>
              <a:gd name="T3" fmla="*/ 64 h 1201"/>
              <a:gd name="T4" fmla="*/ 406 w 4371"/>
              <a:gd name="T5" fmla="*/ 0 h 1201"/>
              <a:gd name="T6" fmla="*/ 4371 w 4371"/>
              <a:gd name="T7" fmla="*/ 1114 h 1201"/>
              <a:gd name="T8" fmla="*/ 3824 w 4371"/>
              <a:gd name="T9" fmla="*/ 1201 h 1201"/>
            </a:gdLst>
            <a:ahLst/>
            <a:cxnLst>
              <a:cxn ang="0">
                <a:pos x="T0" y="T1"/>
              </a:cxn>
              <a:cxn ang="0">
                <a:pos x="T2" y="T3"/>
              </a:cxn>
              <a:cxn ang="0">
                <a:pos x="T4" y="T5"/>
              </a:cxn>
              <a:cxn ang="0">
                <a:pos x="T6" y="T7"/>
              </a:cxn>
              <a:cxn ang="0">
                <a:pos x="T8" y="T9"/>
              </a:cxn>
            </a:cxnLst>
            <a:rect l="0" t="0" r="r" b="b"/>
            <a:pathLst>
              <a:path w="4371" h="1201">
                <a:moveTo>
                  <a:pt x="3824" y="1201"/>
                </a:moveTo>
                <a:lnTo>
                  <a:pt x="0" y="64"/>
                </a:lnTo>
                <a:lnTo>
                  <a:pt x="406" y="0"/>
                </a:lnTo>
                <a:lnTo>
                  <a:pt x="4371" y="1114"/>
                </a:lnTo>
                <a:lnTo>
                  <a:pt x="3824" y="1201"/>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65" name="Freeform 2042"/>
          <p:cNvSpPr>
            <a:spLocks/>
          </p:cNvSpPr>
          <p:nvPr/>
        </p:nvSpPr>
        <p:spPr bwMode="auto">
          <a:xfrm>
            <a:off x="10117139" y="2997200"/>
            <a:ext cx="1017588" cy="520700"/>
          </a:xfrm>
          <a:custGeom>
            <a:avLst/>
            <a:gdLst>
              <a:gd name="T0" fmla="*/ 3842 w 3849"/>
              <a:gd name="T1" fmla="*/ 1137 h 1969"/>
              <a:gd name="T2" fmla="*/ 18 w 3849"/>
              <a:gd name="T3" fmla="*/ 0 h 1969"/>
              <a:gd name="T4" fmla="*/ 0 w 3849"/>
              <a:gd name="T5" fmla="*/ 729 h 1969"/>
              <a:gd name="T6" fmla="*/ 3849 w 3849"/>
              <a:gd name="T7" fmla="*/ 1969 h 1969"/>
              <a:gd name="T8" fmla="*/ 3842 w 3849"/>
              <a:gd name="T9" fmla="*/ 1137 h 1969"/>
            </a:gdLst>
            <a:ahLst/>
            <a:cxnLst>
              <a:cxn ang="0">
                <a:pos x="T0" y="T1"/>
              </a:cxn>
              <a:cxn ang="0">
                <a:pos x="T2" y="T3"/>
              </a:cxn>
              <a:cxn ang="0">
                <a:pos x="T4" y="T5"/>
              </a:cxn>
              <a:cxn ang="0">
                <a:pos x="T6" y="T7"/>
              </a:cxn>
              <a:cxn ang="0">
                <a:pos x="T8" y="T9"/>
              </a:cxn>
            </a:cxnLst>
            <a:rect l="0" t="0" r="r" b="b"/>
            <a:pathLst>
              <a:path w="3849" h="1969">
                <a:moveTo>
                  <a:pt x="3842" y="1137"/>
                </a:moveTo>
                <a:lnTo>
                  <a:pt x="18" y="0"/>
                </a:lnTo>
                <a:lnTo>
                  <a:pt x="0" y="729"/>
                </a:lnTo>
                <a:lnTo>
                  <a:pt x="3849" y="1969"/>
                </a:lnTo>
                <a:lnTo>
                  <a:pt x="3842" y="1137"/>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66" name="Freeform 2043"/>
          <p:cNvSpPr>
            <a:spLocks/>
          </p:cNvSpPr>
          <p:nvPr/>
        </p:nvSpPr>
        <p:spPr bwMode="auto">
          <a:xfrm>
            <a:off x="11133140" y="3275013"/>
            <a:ext cx="144463" cy="242888"/>
          </a:xfrm>
          <a:custGeom>
            <a:avLst/>
            <a:gdLst>
              <a:gd name="T0" fmla="*/ 0 w 547"/>
              <a:gd name="T1" fmla="*/ 87 h 919"/>
              <a:gd name="T2" fmla="*/ 547 w 547"/>
              <a:gd name="T3" fmla="*/ 0 h 919"/>
              <a:gd name="T4" fmla="*/ 547 w 547"/>
              <a:gd name="T5" fmla="*/ 820 h 919"/>
              <a:gd name="T6" fmla="*/ 7 w 547"/>
              <a:gd name="T7" fmla="*/ 919 h 919"/>
              <a:gd name="T8" fmla="*/ 0 w 547"/>
              <a:gd name="T9" fmla="*/ 87 h 919"/>
            </a:gdLst>
            <a:ahLst/>
            <a:cxnLst>
              <a:cxn ang="0">
                <a:pos x="T0" y="T1"/>
              </a:cxn>
              <a:cxn ang="0">
                <a:pos x="T2" y="T3"/>
              </a:cxn>
              <a:cxn ang="0">
                <a:pos x="T4" y="T5"/>
              </a:cxn>
              <a:cxn ang="0">
                <a:pos x="T6" y="T7"/>
              </a:cxn>
              <a:cxn ang="0">
                <a:pos x="T8" y="T9"/>
              </a:cxn>
            </a:cxnLst>
            <a:rect l="0" t="0" r="r" b="b"/>
            <a:pathLst>
              <a:path w="547" h="919">
                <a:moveTo>
                  <a:pt x="0" y="87"/>
                </a:moveTo>
                <a:lnTo>
                  <a:pt x="547" y="0"/>
                </a:lnTo>
                <a:lnTo>
                  <a:pt x="547" y="820"/>
                </a:lnTo>
                <a:lnTo>
                  <a:pt x="7" y="919"/>
                </a:lnTo>
                <a:lnTo>
                  <a:pt x="0" y="87"/>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67" name="Freeform 2044"/>
          <p:cNvSpPr>
            <a:spLocks/>
          </p:cNvSpPr>
          <p:nvPr/>
        </p:nvSpPr>
        <p:spPr bwMode="auto">
          <a:xfrm>
            <a:off x="7102477" y="1168401"/>
            <a:ext cx="396875" cy="2511425"/>
          </a:xfrm>
          <a:custGeom>
            <a:avLst/>
            <a:gdLst>
              <a:gd name="T0" fmla="*/ 0 w 1502"/>
              <a:gd name="T1" fmla="*/ 0 h 9493"/>
              <a:gd name="T2" fmla="*/ 1502 w 1502"/>
              <a:gd name="T3" fmla="*/ 0 h 9493"/>
              <a:gd name="T4" fmla="*/ 1502 w 1502"/>
              <a:gd name="T5" fmla="*/ 7086 h 9493"/>
              <a:gd name="T6" fmla="*/ 0 w 1502"/>
              <a:gd name="T7" fmla="*/ 9493 h 9493"/>
              <a:gd name="T8" fmla="*/ 0 w 1502"/>
              <a:gd name="T9" fmla="*/ 0 h 9493"/>
            </a:gdLst>
            <a:ahLst/>
            <a:cxnLst>
              <a:cxn ang="0">
                <a:pos x="T0" y="T1"/>
              </a:cxn>
              <a:cxn ang="0">
                <a:pos x="T2" y="T3"/>
              </a:cxn>
              <a:cxn ang="0">
                <a:pos x="T4" y="T5"/>
              </a:cxn>
              <a:cxn ang="0">
                <a:pos x="T6" y="T7"/>
              </a:cxn>
              <a:cxn ang="0">
                <a:pos x="T8" y="T9"/>
              </a:cxn>
            </a:cxnLst>
            <a:rect l="0" t="0" r="r" b="b"/>
            <a:pathLst>
              <a:path w="1502" h="9493">
                <a:moveTo>
                  <a:pt x="0" y="0"/>
                </a:moveTo>
                <a:lnTo>
                  <a:pt x="1502" y="0"/>
                </a:lnTo>
                <a:lnTo>
                  <a:pt x="1502" y="7086"/>
                </a:lnTo>
                <a:lnTo>
                  <a:pt x="0" y="9493"/>
                </a:lnTo>
                <a:lnTo>
                  <a:pt x="0" y="0"/>
                </a:lnTo>
                <a:close/>
              </a:path>
            </a:pathLst>
          </a:custGeom>
          <a:gradFill>
            <a:gsLst>
              <a:gs pos="44000">
                <a:srgbClr val="000608">
                  <a:alpha val="0"/>
                </a:srgbClr>
              </a:gs>
              <a:gs pos="93000">
                <a:schemeClr val="accent1">
                  <a:lumMod val="75000"/>
                  <a:alpha val="22000"/>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0" name="Freeform 2045"/>
          <p:cNvSpPr>
            <a:spLocks/>
          </p:cNvSpPr>
          <p:nvPr/>
        </p:nvSpPr>
        <p:spPr bwMode="auto">
          <a:xfrm>
            <a:off x="9404352" y="3073401"/>
            <a:ext cx="322263" cy="87313"/>
          </a:xfrm>
          <a:custGeom>
            <a:avLst/>
            <a:gdLst>
              <a:gd name="T0" fmla="*/ 1219 w 1219"/>
              <a:gd name="T1" fmla="*/ 165 h 330"/>
              <a:gd name="T2" fmla="*/ 1216 w 1219"/>
              <a:gd name="T3" fmla="*/ 148 h 330"/>
              <a:gd name="T4" fmla="*/ 1207 w 1219"/>
              <a:gd name="T5" fmla="*/ 132 h 330"/>
              <a:gd name="T6" fmla="*/ 1191 w 1219"/>
              <a:gd name="T7" fmla="*/ 116 h 330"/>
              <a:gd name="T8" fmla="*/ 1171 w 1219"/>
              <a:gd name="T9" fmla="*/ 101 h 330"/>
              <a:gd name="T10" fmla="*/ 1146 w 1219"/>
              <a:gd name="T11" fmla="*/ 87 h 330"/>
              <a:gd name="T12" fmla="*/ 1115 w 1219"/>
              <a:gd name="T13" fmla="*/ 73 h 330"/>
              <a:gd name="T14" fmla="*/ 1040 w 1219"/>
              <a:gd name="T15" fmla="*/ 48 h 330"/>
              <a:gd name="T16" fmla="*/ 950 w 1219"/>
              <a:gd name="T17" fmla="*/ 28 h 330"/>
              <a:gd name="T18" fmla="*/ 847 w 1219"/>
              <a:gd name="T19" fmla="*/ 13 h 330"/>
              <a:gd name="T20" fmla="*/ 732 w 1219"/>
              <a:gd name="T21" fmla="*/ 3 h 330"/>
              <a:gd name="T22" fmla="*/ 610 w 1219"/>
              <a:gd name="T23" fmla="*/ 0 h 330"/>
              <a:gd name="T24" fmla="*/ 547 w 1219"/>
              <a:gd name="T25" fmla="*/ 1 h 330"/>
              <a:gd name="T26" fmla="*/ 429 w 1219"/>
              <a:gd name="T27" fmla="*/ 7 h 330"/>
              <a:gd name="T28" fmla="*/ 319 w 1219"/>
              <a:gd name="T29" fmla="*/ 20 h 330"/>
              <a:gd name="T30" fmla="*/ 222 w 1219"/>
              <a:gd name="T31" fmla="*/ 38 h 330"/>
              <a:gd name="T32" fmla="*/ 139 w 1219"/>
              <a:gd name="T33" fmla="*/ 60 h 330"/>
              <a:gd name="T34" fmla="*/ 88 w 1219"/>
              <a:gd name="T35" fmla="*/ 80 h 330"/>
              <a:gd name="T36" fmla="*/ 60 w 1219"/>
              <a:gd name="T37" fmla="*/ 94 h 330"/>
              <a:gd name="T38" fmla="*/ 37 w 1219"/>
              <a:gd name="T39" fmla="*/ 108 h 330"/>
              <a:gd name="T40" fmla="*/ 19 w 1219"/>
              <a:gd name="T41" fmla="*/ 123 h 330"/>
              <a:gd name="T42" fmla="*/ 7 w 1219"/>
              <a:gd name="T43" fmla="*/ 140 h 330"/>
              <a:gd name="T44" fmla="*/ 0 w 1219"/>
              <a:gd name="T45" fmla="*/ 156 h 330"/>
              <a:gd name="T46" fmla="*/ 0 w 1219"/>
              <a:gd name="T47" fmla="*/ 165 h 330"/>
              <a:gd name="T48" fmla="*/ 4 w 1219"/>
              <a:gd name="T49" fmla="*/ 181 h 330"/>
              <a:gd name="T50" fmla="*/ 13 w 1219"/>
              <a:gd name="T51" fmla="*/ 198 h 330"/>
              <a:gd name="T52" fmla="*/ 27 w 1219"/>
              <a:gd name="T53" fmla="*/ 214 h 330"/>
              <a:gd name="T54" fmla="*/ 48 w 1219"/>
              <a:gd name="T55" fmla="*/ 229 h 330"/>
              <a:gd name="T56" fmla="*/ 74 w 1219"/>
              <a:gd name="T57" fmla="*/ 243 h 330"/>
              <a:gd name="T58" fmla="*/ 104 w 1219"/>
              <a:gd name="T59" fmla="*/ 257 h 330"/>
              <a:gd name="T60" fmla="*/ 178 w 1219"/>
              <a:gd name="T61" fmla="*/ 281 h 330"/>
              <a:gd name="T62" fmla="*/ 269 w 1219"/>
              <a:gd name="T63" fmla="*/ 301 h 330"/>
              <a:gd name="T64" fmla="*/ 372 w 1219"/>
              <a:gd name="T65" fmla="*/ 317 h 330"/>
              <a:gd name="T66" fmla="*/ 487 w 1219"/>
              <a:gd name="T67" fmla="*/ 327 h 330"/>
              <a:gd name="T68" fmla="*/ 610 w 1219"/>
              <a:gd name="T69" fmla="*/ 330 h 330"/>
              <a:gd name="T70" fmla="*/ 672 w 1219"/>
              <a:gd name="T71" fmla="*/ 329 h 330"/>
              <a:gd name="T72" fmla="*/ 791 w 1219"/>
              <a:gd name="T73" fmla="*/ 323 h 330"/>
              <a:gd name="T74" fmla="*/ 899 w 1219"/>
              <a:gd name="T75" fmla="*/ 310 h 330"/>
              <a:gd name="T76" fmla="*/ 997 w 1219"/>
              <a:gd name="T77" fmla="*/ 292 h 330"/>
              <a:gd name="T78" fmla="*/ 1080 w 1219"/>
              <a:gd name="T79" fmla="*/ 270 h 330"/>
              <a:gd name="T80" fmla="*/ 1130 w 1219"/>
              <a:gd name="T81" fmla="*/ 251 h 330"/>
              <a:gd name="T82" fmla="*/ 1159 w 1219"/>
              <a:gd name="T83" fmla="*/ 236 h 330"/>
              <a:gd name="T84" fmla="*/ 1182 w 1219"/>
              <a:gd name="T85" fmla="*/ 222 h 330"/>
              <a:gd name="T86" fmla="*/ 1200 w 1219"/>
              <a:gd name="T87" fmla="*/ 206 h 330"/>
              <a:gd name="T88" fmla="*/ 1212 w 1219"/>
              <a:gd name="T89" fmla="*/ 191 h 330"/>
              <a:gd name="T90" fmla="*/ 1218 w 1219"/>
              <a:gd name="T91" fmla="*/ 173 h 330"/>
              <a:gd name="T92" fmla="*/ 1219 w 1219"/>
              <a:gd name="T93" fmla="*/ 16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19" h="330">
                <a:moveTo>
                  <a:pt x="1219" y="165"/>
                </a:moveTo>
                <a:lnTo>
                  <a:pt x="1219" y="165"/>
                </a:lnTo>
                <a:lnTo>
                  <a:pt x="1218" y="156"/>
                </a:lnTo>
                <a:lnTo>
                  <a:pt x="1216" y="148"/>
                </a:lnTo>
                <a:lnTo>
                  <a:pt x="1212" y="140"/>
                </a:lnTo>
                <a:lnTo>
                  <a:pt x="1207" y="132"/>
                </a:lnTo>
                <a:lnTo>
                  <a:pt x="1200" y="123"/>
                </a:lnTo>
                <a:lnTo>
                  <a:pt x="1191" y="116"/>
                </a:lnTo>
                <a:lnTo>
                  <a:pt x="1182" y="108"/>
                </a:lnTo>
                <a:lnTo>
                  <a:pt x="1171" y="101"/>
                </a:lnTo>
                <a:lnTo>
                  <a:pt x="1159" y="94"/>
                </a:lnTo>
                <a:lnTo>
                  <a:pt x="1146" y="87"/>
                </a:lnTo>
                <a:lnTo>
                  <a:pt x="1130" y="80"/>
                </a:lnTo>
                <a:lnTo>
                  <a:pt x="1115" y="73"/>
                </a:lnTo>
                <a:lnTo>
                  <a:pt x="1080" y="60"/>
                </a:lnTo>
                <a:lnTo>
                  <a:pt x="1040" y="48"/>
                </a:lnTo>
                <a:lnTo>
                  <a:pt x="997" y="38"/>
                </a:lnTo>
                <a:lnTo>
                  <a:pt x="950" y="28"/>
                </a:lnTo>
                <a:lnTo>
                  <a:pt x="899" y="20"/>
                </a:lnTo>
                <a:lnTo>
                  <a:pt x="847" y="13"/>
                </a:lnTo>
                <a:lnTo>
                  <a:pt x="791" y="7"/>
                </a:lnTo>
                <a:lnTo>
                  <a:pt x="732" y="3"/>
                </a:lnTo>
                <a:lnTo>
                  <a:pt x="672" y="1"/>
                </a:lnTo>
                <a:lnTo>
                  <a:pt x="610" y="0"/>
                </a:lnTo>
                <a:lnTo>
                  <a:pt x="610" y="0"/>
                </a:lnTo>
                <a:lnTo>
                  <a:pt x="547" y="1"/>
                </a:lnTo>
                <a:lnTo>
                  <a:pt x="487" y="3"/>
                </a:lnTo>
                <a:lnTo>
                  <a:pt x="429" y="7"/>
                </a:lnTo>
                <a:lnTo>
                  <a:pt x="372" y="13"/>
                </a:lnTo>
                <a:lnTo>
                  <a:pt x="319" y="20"/>
                </a:lnTo>
                <a:lnTo>
                  <a:pt x="269" y="28"/>
                </a:lnTo>
                <a:lnTo>
                  <a:pt x="222" y="38"/>
                </a:lnTo>
                <a:lnTo>
                  <a:pt x="178" y="48"/>
                </a:lnTo>
                <a:lnTo>
                  <a:pt x="139" y="60"/>
                </a:lnTo>
                <a:lnTo>
                  <a:pt x="104" y="73"/>
                </a:lnTo>
                <a:lnTo>
                  <a:pt x="88" y="80"/>
                </a:lnTo>
                <a:lnTo>
                  <a:pt x="74" y="87"/>
                </a:lnTo>
                <a:lnTo>
                  <a:pt x="60" y="94"/>
                </a:lnTo>
                <a:lnTo>
                  <a:pt x="48" y="101"/>
                </a:lnTo>
                <a:lnTo>
                  <a:pt x="37" y="108"/>
                </a:lnTo>
                <a:lnTo>
                  <a:pt x="27" y="116"/>
                </a:lnTo>
                <a:lnTo>
                  <a:pt x="19" y="123"/>
                </a:lnTo>
                <a:lnTo>
                  <a:pt x="13" y="132"/>
                </a:lnTo>
                <a:lnTo>
                  <a:pt x="7" y="140"/>
                </a:lnTo>
                <a:lnTo>
                  <a:pt x="4" y="148"/>
                </a:lnTo>
                <a:lnTo>
                  <a:pt x="0" y="156"/>
                </a:lnTo>
                <a:lnTo>
                  <a:pt x="0" y="165"/>
                </a:lnTo>
                <a:lnTo>
                  <a:pt x="0" y="165"/>
                </a:lnTo>
                <a:lnTo>
                  <a:pt x="0" y="173"/>
                </a:lnTo>
                <a:lnTo>
                  <a:pt x="4" y="181"/>
                </a:lnTo>
                <a:lnTo>
                  <a:pt x="7" y="191"/>
                </a:lnTo>
                <a:lnTo>
                  <a:pt x="13" y="198"/>
                </a:lnTo>
                <a:lnTo>
                  <a:pt x="19" y="206"/>
                </a:lnTo>
                <a:lnTo>
                  <a:pt x="27" y="214"/>
                </a:lnTo>
                <a:lnTo>
                  <a:pt x="37" y="222"/>
                </a:lnTo>
                <a:lnTo>
                  <a:pt x="48" y="229"/>
                </a:lnTo>
                <a:lnTo>
                  <a:pt x="60" y="236"/>
                </a:lnTo>
                <a:lnTo>
                  <a:pt x="74" y="243"/>
                </a:lnTo>
                <a:lnTo>
                  <a:pt x="88" y="251"/>
                </a:lnTo>
                <a:lnTo>
                  <a:pt x="104" y="257"/>
                </a:lnTo>
                <a:lnTo>
                  <a:pt x="139" y="270"/>
                </a:lnTo>
                <a:lnTo>
                  <a:pt x="178" y="281"/>
                </a:lnTo>
                <a:lnTo>
                  <a:pt x="222" y="292"/>
                </a:lnTo>
                <a:lnTo>
                  <a:pt x="269" y="301"/>
                </a:lnTo>
                <a:lnTo>
                  <a:pt x="319" y="310"/>
                </a:lnTo>
                <a:lnTo>
                  <a:pt x="372" y="317"/>
                </a:lnTo>
                <a:lnTo>
                  <a:pt x="429" y="323"/>
                </a:lnTo>
                <a:lnTo>
                  <a:pt x="487" y="327"/>
                </a:lnTo>
                <a:lnTo>
                  <a:pt x="547" y="329"/>
                </a:lnTo>
                <a:lnTo>
                  <a:pt x="610" y="330"/>
                </a:lnTo>
                <a:lnTo>
                  <a:pt x="610" y="330"/>
                </a:lnTo>
                <a:lnTo>
                  <a:pt x="672" y="329"/>
                </a:lnTo>
                <a:lnTo>
                  <a:pt x="732" y="327"/>
                </a:lnTo>
                <a:lnTo>
                  <a:pt x="791" y="323"/>
                </a:lnTo>
                <a:lnTo>
                  <a:pt x="847" y="317"/>
                </a:lnTo>
                <a:lnTo>
                  <a:pt x="899" y="310"/>
                </a:lnTo>
                <a:lnTo>
                  <a:pt x="950" y="301"/>
                </a:lnTo>
                <a:lnTo>
                  <a:pt x="997" y="292"/>
                </a:lnTo>
                <a:lnTo>
                  <a:pt x="1040" y="281"/>
                </a:lnTo>
                <a:lnTo>
                  <a:pt x="1080" y="270"/>
                </a:lnTo>
                <a:lnTo>
                  <a:pt x="1115" y="257"/>
                </a:lnTo>
                <a:lnTo>
                  <a:pt x="1130" y="251"/>
                </a:lnTo>
                <a:lnTo>
                  <a:pt x="1146" y="243"/>
                </a:lnTo>
                <a:lnTo>
                  <a:pt x="1159" y="236"/>
                </a:lnTo>
                <a:lnTo>
                  <a:pt x="1171" y="229"/>
                </a:lnTo>
                <a:lnTo>
                  <a:pt x="1182" y="222"/>
                </a:lnTo>
                <a:lnTo>
                  <a:pt x="1191" y="214"/>
                </a:lnTo>
                <a:lnTo>
                  <a:pt x="1200" y="206"/>
                </a:lnTo>
                <a:lnTo>
                  <a:pt x="1207" y="198"/>
                </a:lnTo>
                <a:lnTo>
                  <a:pt x="1212" y="191"/>
                </a:lnTo>
                <a:lnTo>
                  <a:pt x="1216" y="181"/>
                </a:lnTo>
                <a:lnTo>
                  <a:pt x="1218" y="173"/>
                </a:lnTo>
                <a:lnTo>
                  <a:pt x="1219" y="165"/>
                </a:lnTo>
                <a:lnTo>
                  <a:pt x="1219" y="165"/>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1" name="Freeform 2046"/>
          <p:cNvSpPr>
            <a:spLocks/>
          </p:cNvSpPr>
          <p:nvPr/>
        </p:nvSpPr>
        <p:spPr bwMode="auto">
          <a:xfrm>
            <a:off x="9404352" y="3117850"/>
            <a:ext cx="322263" cy="63500"/>
          </a:xfrm>
          <a:custGeom>
            <a:avLst/>
            <a:gdLst>
              <a:gd name="T0" fmla="*/ 610 w 1219"/>
              <a:gd name="T1" fmla="*/ 165 h 241"/>
              <a:gd name="T2" fmla="*/ 487 w 1219"/>
              <a:gd name="T3" fmla="*/ 162 h 241"/>
              <a:gd name="T4" fmla="*/ 372 w 1219"/>
              <a:gd name="T5" fmla="*/ 152 h 241"/>
              <a:gd name="T6" fmla="*/ 269 w 1219"/>
              <a:gd name="T7" fmla="*/ 136 h 241"/>
              <a:gd name="T8" fmla="*/ 178 w 1219"/>
              <a:gd name="T9" fmla="*/ 116 h 241"/>
              <a:gd name="T10" fmla="*/ 104 w 1219"/>
              <a:gd name="T11" fmla="*/ 92 h 241"/>
              <a:gd name="T12" fmla="*/ 74 w 1219"/>
              <a:gd name="T13" fmla="*/ 78 h 241"/>
              <a:gd name="T14" fmla="*/ 48 w 1219"/>
              <a:gd name="T15" fmla="*/ 64 h 241"/>
              <a:gd name="T16" fmla="*/ 27 w 1219"/>
              <a:gd name="T17" fmla="*/ 49 h 241"/>
              <a:gd name="T18" fmla="*/ 13 w 1219"/>
              <a:gd name="T19" fmla="*/ 33 h 241"/>
              <a:gd name="T20" fmla="*/ 4 w 1219"/>
              <a:gd name="T21" fmla="*/ 16 h 241"/>
              <a:gd name="T22" fmla="*/ 0 w 1219"/>
              <a:gd name="T23" fmla="*/ 0 h 241"/>
              <a:gd name="T24" fmla="*/ 0 w 1219"/>
              <a:gd name="T25" fmla="*/ 76 h 241"/>
              <a:gd name="T26" fmla="*/ 0 w 1219"/>
              <a:gd name="T27" fmla="*/ 85 h 241"/>
              <a:gd name="T28" fmla="*/ 7 w 1219"/>
              <a:gd name="T29" fmla="*/ 102 h 241"/>
              <a:gd name="T30" fmla="*/ 19 w 1219"/>
              <a:gd name="T31" fmla="*/ 118 h 241"/>
              <a:gd name="T32" fmla="*/ 37 w 1219"/>
              <a:gd name="T33" fmla="*/ 133 h 241"/>
              <a:gd name="T34" fmla="*/ 60 w 1219"/>
              <a:gd name="T35" fmla="*/ 148 h 241"/>
              <a:gd name="T36" fmla="*/ 88 w 1219"/>
              <a:gd name="T37" fmla="*/ 162 h 241"/>
              <a:gd name="T38" fmla="*/ 139 w 1219"/>
              <a:gd name="T39" fmla="*/ 181 h 241"/>
              <a:gd name="T40" fmla="*/ 222 w 1219"/>
              <a:gd name="T41" fmla="*/ 204 h 241"/>
              <a:gd name="T42" fmla="*/ 319 w 1219"/>
              <a:gd name="T43" fmla="*/ 222 h 241"/>
              <a:gd name="T44" fmla="*/ 429 w 1219"/>
              <a:gd name="T45" fmla="*/ 234 h 241"/>
              <a:gd name="T46" fmla="*/ 547 w 1219"/>
              <a:gd name="T47" fmla="*/ 240 h 241"/>
              <a:gd name="T48" fmla="*/ 610 w 1219"/>
              <a:gd name="T49" fmla="*/ 241 h 241"/>
              <a:gd name="T50" fmla="*/ 732 w 1219"/>
              <a:gd name="T51" fmla="*/ 238 h 241"/>
              <a:gd name="T52" fmla="*/ 847 w 1219"/>
              <a:gd name="T53" fmla="*/ 228 h 241"/>
              <a:gd name="T54" fmla="*/ 950 w 1219"/>
              <a:gd name="T55" fmla="*/ 213 h 241"/>
              <a:gd name="T56" fmla="*/ 1040 w 1219"/>
              <a:gd name="T57" fmla="*/ 193 h 241"/>
              <a:gd name="T58" fmla="*/ 1115 w 1219"/>
              <a:gd name="T59" fmla="*/ 169 h 241"/>
              <a:gd name="T60" fmla="*/ 1146 w 1219"/>
              <a:gd name="T61" fmla="*/ 155 h 241"/>
              <a:gd name="T62" fmla="*/ 1171 w 1219"/>
              <a:gd name="T63" fmla="*/ 140 h 241"/>
              <a:gd name="T64" fmla="*/ 1191 w 1219"/>
              <a:gd name="T65" fmla="*/ 125 h 241"/>
              <a:gd name="T66" fmla="*/ 1207 w 1219"/>
              <a:gd name="T67" fmla="*/ 110 h 241"/>
              <a:gd name="T68" fmla="*/ 1216 w 1219"/>
              <a:gd name="T69" fmla="*/ 94 h 241"/>
              <a:gd name="T70" fmla="*/ 1219 w 1219"/>
              <a:gd name="T71" fmla="*/ 76 h 241"/>
              <a:gd name="T72" fmla="*/ 1219 w 1219"/>
              <a:gd name="T73" fmla="*/ 0 h 241"/>
              <a:gd name="T74" fmla="*/ 1218 w 1219"/>
              <a:gd name="T75" fmla="*/ 8 h 241"/>
              <a:gd name="T76" fmla="*/ 1212 w 1219"/>
              <a:gd name="T77" fmla="*/ 26 h 241"/>
              <a:gd name="T78" fmla="*/ 1200 w 1219"/>
              <a:gd name="T79" fmla="*/ 41 h 241"/>
              <a:gd name="T80" fmla="*/ 1182 w 1219"/>
              <a:gd name="T81" fmla="*/ 57 h 241"/>
              <a:gd name="T82" fmla="*/ 1159 w 1219"/>
              <a:gd name="T83" fmla="*/ 71 h 241"/>
              <a:gd name="T84" fmla="*/ 1130 w 1219"/>
              <a:gd name="T85" fmla="*/ 86 h 241"/>
              <a:gd name="T86" fmla="*/ 1080 w 1219"/>
              <a:gd name="T87" fmla="*/ 105 h 241"/>
              <a:gd name="T88" fmla="*/ 997 w 1219"/>
              <a:gd name="T89" fmla="*/ 127 h 241"/>
              <a:gd name="T90" fmla="*/ 899 w 1219"/>
              <a:gd name="T91" fmla="*/ 145 h 241"/>
              <a:gd name="T92" fmla="*/ 791 w 1219"/>
              <a:gd name="T93" fmla="*/ 158 h 241"/>
              <a:gd name="T94" fmla="*/ 672 w 1219"/>
              <a:gd name="T95" fmla="*/ 164 h 241"/>
              <a:gd name="T96" fmla="*/ 610 w 1219"/>
              <a:gd name="T97" fmla="*/ 16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19" h="241">
                <a:moveTo>
                  <a:pt x="610" y="165"/>
                </a:moveTo>
                <a:lnTo>
                  <a:pt x="610" y="165"/>
                </a:lnTo>
                <a:lnTo>
                  <a:pt x="547" y="164"/>
                </a:lnTo>
                <a:lnTo>
                  <a:pt x="487" y="162"/>
                </a:lnTo>
                <a:lnTo>
                  <a:pt x="429" y="158"/>
                </a:lnTo>
                <a:lnTo>
                  <a:pt x="372" y="152"/>
                </a:lnTo>
                <a:lnTo>
                  <a:pt x="319" y="145"/>
                </a:lnTo>
                <a:lnTo>
                  <a:pt x="269" y="136"/>
                </a:lnTo>
                <a:lnTo>
                  <a:pt x="222" y="127"/>
                </a:lnTo>
                <a:lnTo>
                  <a:pt x="178" y="116"/>
                </a:lnTo>
                <a:lnTo>
                  <a:pt x="139" y="105"/>
                </a:lnTo>
                <a:lnTo>
                  <a:pt x="104" y="92"/>
                </a:lnTo>
                <a:lnTo>
                  <a:pt x="88" y="86"/>
                </a:lnTo>
                <a:lnTo>
                  <a:pt x="74" y="78"/>
                </a:lnTo>
                <a:lnTo>
                  <a:pt x="60" y="71"/>
                </a:lnTo>
                <a:lnTo>
                  <a:pt x="48" y="64"/>
                </a:lnTo>
                <a:lnTo>
                  <a:pt x="37" y="57"/>
                </a:lnTo>
                <a:lnTo>
                  <a:pt x="27" y="49"/>
                </a:lnTo>
                <a:lnTo>
                  <a:pt x="19" y="41"/>
                </a:lnTo>
                <a:lnTo>
                  <a:pt x="13" y="33"/>
                </a:lnTo>
                <a:lnTo>
                  <a:pt x="7" y="26"/>
                </a:lnTo>
                <a:lnTo>
                  <a:pt x="4" y="16"/>
                </a:lnTo>
                <a:lnTo>
                  <a:pt x="0" y="8"/>
                </a:lnTo>
                <a:lnTo>
                  <a:pt x="0" y="0"/>
                </a:lnTo>
                <a:lnTo>
                  <a:pt x="0" y="0"/>
                </a:lnTo>
                <a:lnTo>
                  <a:pt x="0" y="76"/>
                </a:lnTo>
                <a:lnTo>
                  <a:pt x="0" y="76"/>
                </a:lnTo>
                <a:lnTo>
                  <a:pt x="0" y="85"/>
                </a:lnTo>
                <a:lnTo>
                  <a:pt x="4" y="94"/>
                </a:lnTo>
                <a:lnTo>
                  <a:pt x="7" y="102"/>
                </a:lnTo>
                <a:lnTo>
                  <a:pt x="13" y="110"/>
                </a:lnTo>
                <a:lnTo>
                  <a:pt x="19" y="118"/>
                </a:lnTo>
                <a:lnTo>
                  <a:pt x="27" y="125"/>
                </a:lnTo>
                <a:lnTo>
                  <a:pt x="37" y="133"/>
                </a:lnTo>
                <a:lnTo>
                  <a:pt x="48" y="140"/>
                </a:lnTo>
                <a:lnTo>
                  <a:pt x="60" y="148"/>
                </a:lnTo>
                <a:lnTo>
                  <a:pt x="74" y="155"/>
                </a:lnTo>
                <a:lnTo>
                  <a:pt x="88" y="162"/>
                </a:lnTo>
                <a:lnTo>
                  <a:pt x="104" y="169"/>
                </a:lnTo>
                <a:lnTo>
                  <a:pt x="139" y="181"/>
                </a:lnTo>
                <a:lnTo>
                  <a:pt x="178" y="193"/>
                </a:lnTo>
                <a:lnTo>
                  <a:pt x="222" y="204"/>
                </a:lnTo>
                <a:lnTo>
                  <a:pt x="269" y="213"/>
                </a:lnTo>
                <a:lnTo>
                  <a:pt x="319" y="222"/>
                </a:lnTo>
                <a:lnTo>
                  <a:pt x="372" y="228"/>
                </a:lnTo>
                <a:lnTo>
                  <a:pt x="429" y="234"/>
                </a:lnTo>
                <a:lnTo>
                  <a:pt x="487" y="238"/>
                </a:lnTo>
                <a:lnTo>
                  <a:pt x="547" y="240"/>
                </a:lnTo>
                <a:lnTo>
                  <a:pt x="610" y="241"/>
                </a:lnTo>
                <a:lnTo>
                  <a:pt x="610" y="241"/>
                </a:lnTo>
                <a:lnTo>
                  <a:pt x="672" y="240"/>
                </a:lnTo>
                <a:lnTo>
                  <a:pt x="732" y="238"/>
                </a:lnTo>
                <a:lnTo>
                  <a:pt x="791" y="234"/>
                </a:lnTo>
                <a:lnTo>
                  <a:pt x="847" y="228"/>
                </a:lnTo>
                <a:lnTo>
                  <a:pt x="899" y="222"/>
                </a:lnTo>
                <a:lnTo>
                  <a:pt x="950" y="213"/>
                </a:lnTo>
                <a:lnTo>
                  <a:pt x="997" y="204"/>
                </a:lnTo>
                <a:lnTo>
                  <a:pt x="1040" y="193"/>
                </a:lnTo>
                <a:lnTo>
                  <a:pt x="1080" y="181"/>
                </a:lnTo>
                <a:lnTo>
                  <a:pt x="1115" y="169"/>
                </a:lnTo>
                <a:lnTo>
                  <a:pt x="1130" y="162"/>
                </a:lnTo>
                <a:lnTo>
                  <a:pt x="1146" y="155"/>
                </a:lnTo>
                <a:lnTo>
                  <a:pt x="1159" y="148"/>
                </a:lnTo>
                <a:lnTo>
                  <a:pt x="1171" y="140"/>
                </a:lnTo>
                <a:lnTo>
                  <a:pt x="1182" y="133"/>
                </a:lnTo>
                <a:lnTo>
                  <a:pt x="1191" y="125"/>
                </a:lnTo>
                <a:lnTo>
                  <a:pt x="1200" y="118"/>
                </a:lnTo>
                <a:lnTo>
                  <a:pt x="1207" y="110"/>
                </a:lnTo>
                <a:lnTo>
                  <a:pt x="1212" y="102"/>
                </a:lnTo>
                <a:lnTo>
                  <a:pt x="1216" y="94"/>
                </a:lnTo>
                <a:lnTo>
                  <a:pt x="1218" y="85"/>
                </a:lnTo>
                <a:lnTo>
                  <a:pt x="1219" y="76"/>
                </a:lnTo>
                <a:lnTo>
                  <a:pt x="1219" y="76"/>
                </a:lnTo>
                <a:lnTo>
                  <a:pt x="1219" y="0"/>
                </a:lnTo>
                <a:lnTo>
                  <a:pt x="1219" y="0"/>
                </a:lnTo>
                <a:lnTo>
                  <a:pt x="1218" y="8"/>
                </a:lnTo>
                <a:lnTo>
                  <a:pt x="1216" y="16"/>
                </a:lnTo>
                <a:lnTo>
                  <a:pt x="1212" y="26"/>
                </a:lnTo>
                <a:lnTo>
                  <a:pt x="1207" y="33"/>
                </a:lnTo>
                <a:lnTo>
                  <a:pt x="1200" y="41"/>
                </a:lnTo>
                <a:lnTo>
                  <a:pt x="1191" y="49"/>
                </a:lnTo>
                <a:lnTo>
                  <a:pt x="1182" y="57"/>
                </a:lnTo>
                <a:lnTo>
                  <a:pt x="1171" y="64"/>
                </a:lnTo>
                <a:lnTo>
                  <a:pt x="1159" y="71"/>
                </a:lnTo>
                <a:lnTo>
                  <a:pt x="1146" y="78"/>
                </a:lnTo>
                <a:lnTo>
                  <a:pt x="1130" y="86"/>
                </a:lnTo>
                <a:lnTo>
                  <a:pt x="1115" y="92"/>
                </a:lnTo>
                <a:lnTo>
                  <a:pt x="1080" y="105"/>
                </a:lnTo>
                <a:lnTo>
                  <a:pt x="1040" y="116"/>
                </a:lnTo>
                <a:lnTo>
                  <a:pt x="997" y="127"/>
                </a:lnTo>
                <a:lnTo>
                  <a:pt x="950" y="136"/>
                </a:lnTo>
                <a:lnTo>
                  <a:pt x="899" y="145"/>
                </a:lnTo>
                <a:lnTo>
                  <a:pt x="847" y="152"/>
                </a:lnTo>
                <a:lnTo>
                  <a:pt x="791" y="158"/>
                </a:lnTo>
                <a:lnTo>
                  <a:pt x="732" y="162"/>
                </a:lnTo>
                <a:lnTo>
                  <a:pt x="672" y="164"/>
                </a:lnTo>
                <a:lnTo>
                  <a:pt x="610" y="165"/>
                </a:lnTo>
                <a:lnTo>
                  <a:pt x="610" y="165"/>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2" name="Freeform 2047"/>
          <p:cNvSpPr>
            <a:spLocks/>
          </p:cNvSpPr>
          <p:nvPr/>
        </p:nvSpPr>
        <p:spPr bwMode="auto">
          <a:xfrm>
            <a:off x="9404351" y="3113089"/>
            <a:ext cx="0" cy="4763"/>
          </a:xfrm>
          <a:custGeom>
            <a:avLst/>
            <a:gdLst>
              <a:gd name="T0" fmla="*/ 0 w 1"/>
              <a:gd name="T1" fmla="*/ 0 h 12"/>
              <a:gd name="T2" fmla="*/ 0 w 1"/>
              <a:gd name="T3" fmla="*/ 0 h 12"/>
              <a:gd name="T4" fmla="*/ 0 w 1"/>
              <a:gd name="T5" fmla="*/ 12 h 12"/>
              <a:gd name="T6" fmla="*/ 0 w 1"/>
              <a:gd name="T7" fmla="*/ 12 h 12"/>
              <a:gd name="T8" fmla="*/ 0 w 1"/>
              <a:gd name="T9" fmla="*/ 6 h 12"/>
              <a:gd name="T10" fmla="*/ 1 w 1"/>
              <a:gd name="T11" fmla="*/ 0 h 12"/>
              <a:gd name="T12" fmla="*/ 1 w 1"/>
              <a:gd name="T13" fmla="*/ 0 h 12"/>
              <a:gd name="T14" fmla="*/ 0 w 1"/>
              <a:gd name="T15" fmla="*/ 0 h 12"/>
              <a:gd name="T16" fmla="*/ 0 w 1"/>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2">
                <a:moveTo>
                  <a:pt x="0" y="0"/>
                </a:moveTo>
                <a:lnTo>
                  <a:pt x="0" y="0"/>
                </a:lnTo>
                <a:lnTo>
                  <a:pt x="0" y="12"/>
                </a:lnTo>
                <a:lnTo>
                  <a:pt x="0" y="12"/>
                </a:lnTo>
                <a:lnTo>
                  <a:pt x="0" y="6"/>
                </a:lnTo>
                <a:lnTo>
                  <a:pt x="1" y="0"/>
                </a:lnTo>
                <a:lnTo>
                  <a:pt x="1" y="0"/>
                </a:lnTo>
                <a:lnTo>
                  <a:pt x="0" y="0"/>
                </a:lnTo>
                <a:lnTo>
                  <a:pt x="0" y="0"/>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3" name="Freeform 2048"/>
          <p:cNvSpPr>
            <a:spLocks/>
          </p:cNvSpPr>
          <p:nvPr/>
        </p:nvSpPr>
        <p:spPr bwMode="auto">
          <a:xfrm>
            <a:off x="9544052" y="2911476"/>
            <a:ext cx="41275" cy="206375"/>
          </a:xfrm>
          <a:custGeom>
            <a:avLst/>
            <a:gdLst>
              <a:gd name="T0" fmla="*/ 0 w 157"/>
              <a:gd name="T1" fmla="*/ 12 h 781"/>
              <a:gd name="T2" fmla="*/ 0 w 157"/>
              <a:gd name="T3" fmla="*/ 12 h 781"/>
              <a:gd name="T4" fmla="*/ 1 w 157"/>
              <a:gd name="T5" fmla="*/ 7 h 781"/>
              <a:gd name="T6" fmla="*/ 3 w 157"/>
              <a:gd name="T7" fmla="*/ 4 h 781"/>
              <a:gd name="T8" fmla="*/ 7 w 157"/>
              <a:gd name="T9" fmla="*/ 1 h 781"/>
              <a:gd name="T10" fmla="*/ 13 w 157"/>
              <a:gd name="T11" fmla="*/ 0 h 781"/>
              <a:gd name="T12" fmla="*/ 145 w 157"/>
              <a:gd name="T13" fmla="*/ 0 h 781"/>
              <a:gd name="T14" fmla="*/ 145 w 157"/>
              <a:gd name="T15" fmla="*/ 0 h 781"/>
              <a:gd name="T16" fmla="*/ 149 w 157"/>
              <a:gd name="T17" fmla="*/ 1 h 781"/>
              <a:gd name="T18" fmla="*/ 153 w 157"/>
              <a:gd name="T19" fmla="*/ 4 h 781"/>
              <a:gd name="T20" fmla="*/ 156 w 157"/>
              <a:gd name="T21" fmla="*/ 7 h 781"/>
              <a:gd name="T22" fmla="*/ 157 w 157"/>
              <a:gd name="T23" fmla="*/ 12 h 781"/>
              <a:gd name="T24" fmla="*/ 157 w 157"/>
              <a:gd name="T25" fmla="*/ 769 h 781"/>
              <a:gd name="T26" fmla="*/ 157 w 157"/>
              <a:gd name="T27" fmla="*/ 769 h 781"/>
              <a:gd name="T28" fmla="*/ 156 w 157"/>
              <a:gd name="T29" fmla="*/ 773 h 781"/>
              <a:gd name="T30" fmla="*/ 153 w 157"/>
              <a:gd name="T31" fmla="*/ 777 h 781"/>
              <a:gd name="T32" fmla="*/ 149 w 157"/>
              <a:gd name="T33" fmla="*/ 780 h 781"/>
              <a:gd name="T34" fmla="*/ 145 w 157"/>
              <a:gd name="T35" fmla="*/ 781 h 781"/>
              <a:gd name="T36" fmla="*/ 13 w 157"/>
              <a:gd name="T37" fmla="*/ 781 h 781"/>
              <a:gd name="T38" fmla="*/ 13 w 157"/>
              <a:gd name="T39" fmla="*/ 781 h 781"/>
              <a:gd name="T40" fmla="*/ 7 w 157"/>
              <a:gd name="T41" fmla="*/ 780 h 781"/>
              <a:gd name="T42" fmla="*/ 3 w 157"/>
              <a:gd name="T43" fmla="*/ 777 h 781"/>
              <a:gd name="T44" fmla="*/ 1 w 157"/>
              <a:gd name="T45" fmla="*/ 773 h 781"/>
              <a:gd name="T46" fmla="*/ 0 w 157"/>
              <a:gd name="T47" fmla="*/ 769 h 781"/>
              <a:gd name="T48" fmla="*/ 0 w 157"/>
              <a:gd name="T49" fmla="*/ 12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7" h="781">
                <a:moveTo>
                  <a:pt x="0" y="12"/>
                </a:moveTo>
                <a:lnTo>
                  <a:pt x="0" y="12"/>
                </a:lnTo>
                <a:lnTo>
                  <a:pt x="1" y="7"/>
                </a:lnTo>
                <a:lnTo>
                  <a:pt x="3" y="4"/>
                </a:lnTo>
                <a:lnTo>
                  <a:pt x="7" y="1"/>
                </a:lnTo>
                <a:lnTo>
                  <a:pt x="13" y="0"/>
                </a:lnTo>
                <a:lnTo>
                  <a:pt x="145" y="0"/>
                </a:lnTo>
                <a:lnTo>
                  <a:pt x="145" y="0"/>
                </a:lnTo>
                <a:lnTo>
                  <a:pt x="149" y="1"/>
                </a:lnTo>
                <a:lnTo>
                  <a:pt x="153" y="4"/>
                </a:lnTo>
                <a:lnTo>
                  <a:pt x="156" y="7"/>
                </a:lnTo>
                <a:lnTo>
                  <a:pt x="157" y="12"/>
                </a:lnTo>
                <a:lnTo>
                  <a:pt x="157" y="769"/>
                </a:lnTo>
                <a:lnTo>
                  <a:pt x="157" y="769"/>
                </a:lnTo>
                <a:lnTo>
                  <a:pt x="156" y="773"/>
                </a:lnTo>
                <a:lnTo>
                  <a:pt x="153" y="777"/>
                </a:lnTo>
                <a:lnTo>
                  <a:pt x="149" y="780"/>
                </a:lnTo>
                <a:lnTo>
                  <a:pt x="145" y="781"/>
                </a:lnTo>
                <a:lnTo>
                  <a:pt x="13" y="781"/>
                </a:lnTo>
                <a:lnTo>
                  <a:pt x="13" y="781"/>
                </a:lnTo>
                <a:lnTo>
                  <a:pt x="7" y="780"/>
                </a:lnTo>
                <a:lnTo>
                  <a:pt x="3" y="777"/>
                </a:lnTo>
                <a:lnTo>
                  <a:pt x="1" y="773"/>
                </a:lnTo>
                <a:lnTo>
                  <a:pt x="0" y="769"/>
                </a:lnTo>
                <a:lnTo>
                  <a:pt x="0" y="12"/>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4" name="Freeform 2049"/>
          <p:cNvSpPr>
            <a:spLocks/>
          </p:cNvSpPr>
          <p:nvPr/>
        </p:nvSpPr>
        <p:spPr bwMode="auto">
          <a:xfrm>
            <a:off x="9229727" y="2752725"/>
            <a:ext cx="671513" cy="147638"/>
          </a:xfrm>
          <a:custGeom>
            <a:avLst/>
            <a:gdLst>
              <a:gd name="T0" fmla="*/ 2538 w 2538"/>
              <a:gd name="T1" fmla="*/ 273 h 561"/>
              <a:gd name="T2" fmla="*/ 2532 w 2538"/>
              <a:gd name="T3" fmla="*/ 252 h 561"/>
              <a:gd name="T4" fmla="*/ 2518 w 2538"/>
              <a:gd name="T5" fmla="*/ 232 h 561"/>
              <a:gd name="T6" fmla="*/ 2481 w 2538"/>
              <a:gd name="T7" fmla="*/ 197 h 561"/>
              <a:gd name="T8" fmla="*/ 2413 w 2538"/>
              <a:gd name="T9" fmla="*/ 159 h 561"/>
              <a:gd name="T10" fmla="*/ 2321 w 2538"/>
              <a:gd name="T11" fmla="*/ 124 h 561"/>
              <a:gd name="T12" fmla="*/ 2208 w 2538"/>
              <a:gd name="T13" fmla="*/ 92 h 561"/>
              <a:gd name="T14" fmla="*/ 2076 w 2538"/>
              <a:gd name="T15" fmla="*/ 64 h 561"/>
              <a:gd name="T16" fmla="*/ 1927 w 2538"/>
              <a:gd name="T17" fmla="*/ 40 h 561"/>
              <a:gd name="T18" fmla="*/ 1763 w 2538"/>
              <a:gd name="T19" fmla="*/ 22 h 561"/>
              <a:gd name="T20" fmla="*/ 1586 w 2538"/>
              <a:gd name="T21" fmla="*/ 9 h 561"/>
              <a:gd name="T22" fmla="*/ 1399 w 2538"/>
              <a:gd name="T23" fmla="*/ 2 h 561"/>
              <a:gd name="T24" fmla="*/ 1270 w 2538"/>
              <a:gd name="T25" fmla="*/ 0 h 561"/>
              <a:gd name="T26" fmla="*/ 1076 w 2538"/>
              <a:gd name="T27" fmla="*/ 3 h 561"/>
              <a:gd name="T28" fmla="*/ 892 w 2538"/>
              <a:gd name="T29" fmla="*/ 13 h 561"/>
              <a:gd name="T30" fmla="*/ 719 w 2538"/>
              <a:gd name="T31" fmla="*/ 28 h 561"/>
              <a:gd name="T32" fmla="*/ 560 w 2538"/>
              <a:gd name="T33" fmla="*/ 48 h 561"/>
              <a:gd name="T34" fmla="*/ 416 w 2538"/>
              <a:gd name="T35" fmla="*/ 73 h 561"/>
              <a:gd name="T36" fmla="*/ 290 w 2538"/>
              <a:gd name="T37" fmla="*/ 102 h 561"/>
              <a:gd name="T38" fmla="*/ 185 w 2538"/>
              <a:gd name="T39" fmla="*/ 135 h 561"/>
              <a:gd name="T40" fmla="*/ 100 w 2538"/>
              <a:gd name="T41" fmla="*/ 172 h 561"/>
              <a:gd name="T42" fmla="*/ 41 w 2538"/>
              <a:gd name="T43" fmla="*/ 210 h 561"/>
              <a:gd name="T44" fmla="*/ 16 w 2538"/>
              <a:gd name="T45" fmla="*/ 238 h 561"/>
              <a:gd name="T46" fmla="*/ 4 w 2538"/>
              <a:gd name="T47" fmla="*/ 259 h 561"/>
              <a:gd name="T48" fmla="*/ 0 w 2538"/>
              <a:gd name="T49" fmla="*/ 280 h 561"/>
              <a:gd name="T50" fmla="*/ 2 w 2538"/>
              <a:gd name="T51" fmla="*/ 296 h 561"/>
              <a:gd name="T52" fmla="*/ 11 w 2538"/>
              <a:gd name="T53" fmla="*/ 317 h 561"/>
              <a:gd name="T54" fmla="*/ 27 w 2538"/>
              <a:gd name="T55" fmla="*/ 337 h 561"/>
              <a:gd name="T56" fmla="*/ 78 w 2538"/>
              <a:gd name="T57" fmla="*/ 377 h 561"/>
              <a:gd name="T58" fmla="*/ 154 w 2538"/>
              <a:gd name="T59" fmla="*/ 415 h 561"/>
              <a:gd name="T60" fmla="*/ 253 w 2538"/>
              <a:gd name="T61" fmla="*/ 449 h 561"/>
              <a:gd name="T62" fmla="*/ 373 w 2538"/>
              <a:gd name="T63" fmla="*/ 480 h 561"/>
              <a:gd name="T64" fmla="*/ 510 w 2538"/>
              <a:gd name="T65" fmla="*/ 506 h 561"/>
              <a:gd name="T66" fmla="*/ 665 w 2538"/>
              <a:gd name="T67" fmla="*/ 528 h 561"/>
              <a:gd name="T68" fmla="*/ 833 w 2538"/>
              <a:gd name="T69" fmla="*/ 545 h 561"/>
              <a:gd name="T70" fmla="*/ 1013 w 2538"/>
              <a:gd name="T71" fmla="*/ 556 h 561"/>
              <a:gd name="T72" fmla="*/ 1205 w 2538"/>
              <a:gd name="T73" fmla="*/ 561 h 561"/>
              <a:gd name="T74" fmla="*/ 1335 w 2538"/>
              <a:gd name="T75" fmla="*/ 561 h 561"/>
              <a:gd name="T76" fmla="*/ 1525 w 2538"/>
              <a:gd name="T77" fmla="*/ 556 h 561"/>
              <a:gd name="T78" fmla="*/ 1706 w 2538"/>
              <a:gd name="T79" fmla="*/ 545 h 561"/>
              <a:gd name="T80" fmla="*/ 1874 w 2538"/>
              <a:gd name="T81" fmla="*/ 528 h 561"/>
              <a:gd name="T82" fmla="*/ 2028 w 2538"/>
              <a:gd name="T83" fmla="*/ 506 h 561"/>
              <a:gd name="T84" fmla="*/ 2167 w 2538"/>
              <a:gd name="T85" fmla="*/ 480 h 561"/>
              <a:gd name="T86" fmla="*/ 2286 w 2538"/>
              <a:gd name="T87" fmla="*/ 449 h 561"/>
              <a:gd name="T88" fmla="*/ 2384 w 2538"/>
              <a:gd name="T89" fmla="*/ 415 h 561"/>
              <a:gd name="T90" fmla="*/ 2461 w 2538"/>
              <a:gd name="T91" fmla="*/ 377 h 561"/>
              <a:gd name="T92" fmla="*/ 2512 w 2538"/>
              <a:gd name="T93" fmla="*/ 337 h 561"/>
              <a:gd name="T94" fmla="*/ 2528 w 2538"/>
              <a:gd name="T95" fmla="*/ 317 h 561"/>
              <a:gd name="T96" fmla="*/ 2536 w 2538"/>
              <a:gd name="T97" fmla="*/ 296 h 561"/>
              <a:gd name="T98" fmla="*/ 2538 w 2538"/>
              <a:gd name="T99" fmla="*/ 28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38" h="561">
                <a:moveTo>
                  <a:pt x="2538" y="280"/>
                </a:moveTo>
                <a:lnTo>
                  <a:pt x="2538" y="280"/>
                </a:lnTo>
                <a:lnTo>
                  <a:pt x="2538" y="273"/>
                </a:lnTo>
                <a:lnTo>
                  <a:pt x="2536" y="266"/>
                </a:lnTo>
                <a:lnTo>
                  <a:pt x="2534" y="259"/>
                </a:lnTo>
                <a:lnTo>
                  <a:pt x="2532" y="252"/>
                </a:lnTo>
                <a:lnTo>
                  <a:pt x="2528" y="245"/>
                </a:lnTo>
                <a:lnTo>
                  <a:pt x="2524" y="238"/>
                </a:lnTo>
                <a:lnTo>
                  <a:pt x="2518" y="232"/>
                </a:lnTo>
                <a:lnTo>
                  <a:pt x="2512" y="225"/>
                </a:lnTo>
                <a:lnTo>
                  <a:pt x="2498" y="210"/>
                </a:lnTo>
                <a:lnTo>
                  <a:pt x="2481" y="197"/>
                </a:lnTo>
                <a:lnTo>
                  <a:pt x="2461" y="184"/>
                </a:lnTo>
                <a:lnTo>
                  <a:pt x="2438" y="172"/>
                </a:lnTo>
                <a:lnTo>
                  <a:pt x="2413" y="159"/>
                </a:lnTo>
                <a:lnTo>
                  <a:pt x="2384" y="147"/>
                </a:lnTo>
                <a:lnTo>
                  <a:pt x="2354" y="135"/>
                </a:lnTo>
                <a:lnTo>
                  <a:pt x="2321" y="124"/>
                </a:lnTo>
                <a:lnTo>
                  <a:pt x="2286" y="113"/>
                </a:lnTo>
                <a:lnTo>
                  <a:pt x="2248" y="102"/>
                </a:lnTo>
                <a:lnTo>
                  <a:pt x="2208" y="92"/>
                </a:lnTo>
                <a:lnTo>
                  <a:pt x="2167" y="82"/>
                </a:lnTo>
                <a:lnTo>
                  <a:pt x="2122" y="73"/>
                </a:lnTo>
                <a:lnTo>
                  <a:pt x="2076" y="64"/>
                </a:lnTo>
                <a:lnTo>
                  <a:pt x="2028" y="56"/>
                </a:lnTo>
                <a:lnTo>
                  <a:pt x="1979" y="48"/>
                </a:lnTo>
                <a:lnTo>
                  <a:pt x="1927" y="40"/>
                </a:lnTo>
                <a:lnTo>
                  <a:pt x="1874" y="34"/>
                </a:lnTo>
                <a:lnTo>
                  <a:pt x="1819" y="28"/>
                </a:lnTo>
                <a:lnTo>
                  <a:pt x="1763" y="22"/>
                </a:lnTo>
                <a:lnTo>
                  <a:pt x="1706" y="17"/>
                </a:lnTo>
                <a:lnTo>
                  <a:pt x="1647" y="13"/>
                </a:lnTo>
                <a:lnTo>
                  <a:pt x="1586" y="9"/>
                </a:lnTo>
                <a:lnTo>
                  <a:pt x="1525" y="6"/>
                </a:lnTo>
                <a:lnTo>
                  <a:pt x="1463" y="3"/>
                </a:lnTo>
                <a:lnTo>
                  <a:pt x="1399" y="2"/>
                </a:lnTo>
                <a:lnTo>
                  <a:pt x="1335" y="1"/>
                </a:lnTo>
                <a:lnTo>
                  <a:pt x="1270" y="0"/>
                </a:lnTo>
                <a:lnTo>
                  <a:pt x="1270" y="0"/>
                </a:lnTo>
                <a:lnTo>
                  <a:pt x="1205" y="1"/>
                </a:lnTo>
                <a:lnTo>
                  <a:pt x="1139" y="2"/>
                </a:lnTo>
                <a:lnTo>
                  <a:pt x="1076" y="3"/>
                </a:lnTo>
                <a:lnTo>
                  <a:pt x="1013" y="6"/>
                </a:lnTo>
                <a:lnTo>
                  <a:pt x="952" y="9"/>
                </a:lnTo>
                <a:lnTo>
                  <a:pt x="892" y="13"/>
                </a:lnTo>
                <a:lnTo>
                  <a:pt x="833" y="17"/>
                </a:lnTo>
                <a:lnTo>
                  <a:pt x="775" y="22"/>
                </a:lnTo>
                <a:lnTo>
                  <a:pt x="719" y="28"/>
                </a:lnTo>
                <a:lnTo>
                  <a:pt x="665" y="34"/>
                </a:lnTo>
                <a:lnTo>
                  <a:pt x="612" y="40"/>
                </a:lnTo>
                <a:lnTo>
                  <a:pt x="560" y="48"/>
                </a:lnTo>
                <a:lnTo>
                  <a:pt x="510" y="56"/>
                </a:lnTo>
                <a:lnTo>
                  <a:pt x="462" y="64"/>
                </a:lnTo>
                <a:lnTo>
                  <a:pt x="416" y="73"/>
                </a:lnTo>
                <a:lnTo>
                  <a:pt x="373" y="82"/>
                </a:lnTo>
                <a:lnTo>
                  <a:pt x="330" y="92"/>
                </a:lnTo>
                <a:lnTo>
                  <a:pt x="290" y="102"/>
                </a:lnTo>
                <a:lnTo>
                  <a:pt x="253" y="113"/>
                </a:lnTo>
                <a:lnTo>
                  <a:pt x="217" y="124"/>
                </a:lnTo>
                <a:lnTo>
                  <a:pt x="185" y="135"/>
                </a:lnTo>
                <a:lnTo>
                  <a:pt x="154" y="147"/>
                </a:lnTo>
                <a:lnTo>
                  <a:pt x="126" y="159"/>
                </a:lnTo>
                <a:lnTo>
                  <a:pt x="100" y="172"/>
                </a:lnTo>
                <a:lnTo>
                  <a:pt x="78" y="184"/>
                </a:lnTo>
                <a:lnTo>
                  <a:pt x="58" y="197"/>
                </a:lnTo>
                <a:lnTo>
                  <a:pt x="41" y="210"/>
                </a:lnTo>
                <a:lnTo>
                  <a:pt x="27" y="225"/>
                </a:lnTo>
                <a:lnTo>
                  <a:pt x="21" y="232"/>
                </a:lnTo>
                <a:lnTo>
                  <a:pt x="16" y="238"/>
                </a:lnTo>
                <a:lnTo>
                  <a:pt x="11" y="245"/>
                </a:lnTo>
                <a:lnTo>
                  <a:pt x="8" y="252"/>
                </a:lnTo>
                <a:lnTo>
                  <a:pt x="4" y="259"/>
                </a:lnTo>
                <a:lnTo>
                  <a:pt x="2" y="266"/>
                </a:lnTo>
                <a:lnTo>
                  <a:pt x="1" y="273"/>
                </a:lnTo>
                <a:lnTo>
                  <a:pt x="0" y="280"/>
                </a:lnTo>
                <a:lnTo>
                  <a:pt x="0" y="280"/>
                </a:lnTo>
                <a:lnTo>
                  <a:pt x="1" y="289"/>
                </a:lnTo>
                <a:lnTo>
                  <a:pt x="2" y="296"/>
                </a:lnTo>
                <a:lnTo>
                  <a:pt x="4" y="303"/>
                </a:lnTo>
                <a:lnTo>
                  <a:pt x="8" y="310"/>
                </a:lnTo>
                <a:lnTo>
                  <a:pt x="11" y="317"/>
                </a:lnTo>
                <a:lnTo>
                  <a:pt x="16" y="323"/>
                </a:lnTo>
                <a:lnTo>
                  <a:pt x="21" y="330"/>
                </a:lnTo>
                <a:lnTo>
                  <a:pt x="27" y="337"/>
                </a:lnTo>
                <a:lnTo>
                  <a:pt x="41" y="351"/>
                </a:lnTo>
                <a:lnTo>
                  <a:pt x="58" y="364"/>
                </a:lnTo>
                <a:lnTo>
                  <a:pt x="78" y="377"/>
                </a:lnTo>
                <a:lnTo>
                  <a:pt x="100" y="390"/>
                </a:lnTo>
                <a:lnTo>
                  <a:pt x="126" y="403"/>
                </a:lnTo>
                <a:lnTo>
                  <a:pt x="154" y="415"/>
                </a:lnTo>
                <a:lnTo>
                  <a:pt x="185" y="427"/>
                </a:lnTo>
                <a:lnTo>
                  <a:pt x="217" y="438"/>
                </a:lnTo>
                <a:lnTo>
                  <a:pt x="253" y="449"/>
                </a:lnTo>
                <a:lnTo>
                  <a:pt x="290" y="460"/>
                </a:lnTo>
                <a:lnTo>
                  <a:pt x="330" y="470"/>
                </a:lnTo>
                <a:lnTo>
                  <a:pt x="373" y="480"/>
                </a:lnTo>
                <a:lnTo>
                  <a:pt x="416" y="489"/>
                </a:lnTo>
                <a:lnTo>
                  <a:pt x="462" y="497"/>
                </a:lnTo>
                <a:lnTo>
                  <a:pt x="510" y="506"/>
                </a:lnTo>
                <a:lnTo>
                  <a:pt x="560" y="513"/>
                </a:lnTo>
                <a:lnTo>
                  <a:pt x="612" y="521"/>
                </a:lnTo>
                <a:lnTo>
                  <a:pt x="665" y="528"/>
                </a:lnTo>
                <a:lnTo>
                  <a:pt x="719" y="534"/>
                </a:lnTo>
                <a:lnTo>
                  <a:pt x="775" y="540"/>
                </a:lnTo>
                <a:lnTo>
                  <a:pt x="833" y="545"/>
                </a:lnTo>
                <a:lnTo>
                  <a:pt x="892" y="549"/>
                </a:lnTo>
                <a:lnTo>
                  <a:pt x="952" y="553"/>
                </a:lnTo>
                <a:lnTo>
                  <a:pt x="1013" y="556"/>
                </a:lnTo>
                <a:lnTo>
                  <a:pt x="1076" y="558"/>
                </a:lnTo>
                <a:lnTo>
                  <a:pt x="1139" y="560"/>
                </a:lnTo>
                <a:lnTo>
                  <a:pt x="1205" y="561"/>
                </a:lnTo>
                <a:lnTo>
                  <a:pt x="1270" y="561"/>
                </a:lnTo>
                <a:lnTo>
                  <a:pt x="1270" y="561"/>
                </a:lnTo>
                <a:lnTo>
                  <a:pt x="1335" y="561"/>
                </a:lnTo>
                <a:lnTo>
                  <a:pt x="1399" y="560"/>
                </a:lnTo>
                <a:lnTo>
                  <a:pt x="1463" y="558"/>
                </a:lnTo>
                <a:lnTo>
                  <a:pt x="1525" y="556"/>
                </a:lnTo>
                <a:lnTo>
                  <a:pt x="1586" y="553"/>
                </a:lnTo>
                <a:lnTo>
                  <a:pt x="1647" y="549"/>
                </a:lnTo>
                <a:lnTo>
                  <a:pt x="1706" y="545"/>
                </a:lnTo>
                <a:lnTo>
                  <a:pt x="1763" y="540"/>
                </a:lnTo>
                <a:lnTo>
                  <a:pt x="1819" y="534"/>
                </a:lnTo>
                <a:lnTo>
                  <a:pt x="1874" y="528"/>
                </a:lnTo>
                <a:lnTo>
                  <a:pt x="1927" y="521"/>
                </a:lnTo>
                <a:lnTo>
                  <a:pt x="1979" y="513"/>
                </a:lnTo>
                <a:lnTo>
                  <a:pt x="2028" y="506"/>
                </a:lnTo>
                <a:lnTo>
                  <a:pt x="2076" y="497"/>
                </a:lnTo>
                <a:lnTo>
                  <a:pt x="2122" y="489"/>
                </a:lnTo>
                <a:lnTo>
                  <a:pt x="2167" y="480"/>
                </a:lnTo>
                <a:lnTo>
                  <a:pt x="2208" y="470"/>
                </a:lnTo>
                <a:lnTo>
                  <a:pt x="2248" y="460"/>
                </a:lnTo>
                <a:lnTo>
                  <a:pt x="2286" y="449"/>
                </a:lnTo>
                <a:lnTo>
                  <a:pt x="2321" y="438"/>
                </a:lnTo>
                <a:lnTo>
                  <a:pt x="2354" y="427"/>
                </a:lnTo>
                <a:lnTo>
                  <a:pt x="2384" y="415"/>
                </a:lnTo>
                <a:lnTo>
                  <a:pt x="2413" y="403"/>
                </a:lnTo>
                <a:lnTo>
                  <a:pt x="2438" y="390"/>
                </a:lnTo>
                <a:lnTo>
                  <a:pt x="2461" y="377"/>
                </a:lnTo>
                <a:lnTo>
                  <a:pt x="2481" y="364"/>
                </a:lnTo>
                <a:lnTo>
                  <a:pt x="2498" y="351"/>
                </a:lnTo>
                <a:lnTo>
                  <a:pt x="2512" y="337"/>
                </a:lnTo>
                <a:lnTo>
                  <a:pt x="2518" y="330"/>
                </a:lnTo>
                <a:lnTo>
                  <a:pt x="2524" y="323"/>
                </a:lnTo>
                <a:lnTo>
                  <a:pt x="2528" y="317"/>
                </a:lnTo>
                <a:lnTo>
                  <a:pt x="2532" y="310"/>
                </a:lnTo>
                <a:lnTo>
                  <a:pt x="2534" y="303"/>
                </a:lnTo>
                <a:lnTo>
                  <a:pt x="2536" y="296"/>
                </a:lnTo>
                <a:lnTo>
                  <a:pt x="2538" y="289"/>
                </a:lnTo>
                <a:lnTo>
                  <a:pt x="2538" y="280"/>
                </a:lnTo>
                <a:lnTo>
                  <a:pt x="2538" y="28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5" name="Freeform 2050"/>
          <p:cNvSpPr>
            <a:spLocks/>
          </p:cNvSpPr>
          <p:nvPr/>
        </p:nvSpPr>
        <p:spPr bwMode="auto">
          <a:xfrm>
            <a:off x="9229727" y="2827338"/>
            <a:ext cx="671513" cy="107950"/>
          </a:xfrm>
          <a:custGeom>
            <a:avLst/>
            <a:gdLst>
              <a:gd name="T0" fmla="*/ 1205 w 2538"/>
              <a:gd name="T1" fmla="*/ 281 h 412"/>
              <a:gd name="T2" fmla="*/ 1013 w 2538"/>
              <a:gd name="T3" fmla="*/ 276 h 412"/>
              <a:gd name="T4" fmla="*/ 833 w 2538"/>
              <a:gd name="T5" fmla="*/ 265 h 412"/>
              <a:gd name="T6" fmla="*/ 665 w 2538"/>
              <a:gd name="T7" fmla="*/ 248 h 412"/>
              <a:gd name="T8" fmla="*/ 510 w 2538"/>
              <a:gd name="T9" fmla="*/ 226 h 412"/>
              <a:gd name="T10" fmla="*/ 373 w 2538"/>
              <a:gd name="T11" fmla="*/ 200 h 412"/>
              <a:gd name="T12" fmla="*/ 253 w 2538"/>
              <a:gd name="T13" fmla="*/ 169 h 412"/>
              <a:gd name="T14" fmla="*/ 154 w 2538"/>
              <a:gd name="T15" fmla="*/ 135 h 412"/>
              <a:gd name="T16" fmla="*/ 78 w 2538"/>
              <a:gd name="T17" fmla="*/ 97 h 412"/>
              <a:gd name="T18" fmla="*/ 27 w 2538"/>
              <a:gd name="T19" fmla="*/ 57 h 412"/>
              <a:gd name="T20" fmla="*/ 11 w 2538"/>
              <a:gd name="T21" fmla="*/ 37 h 412"/>
              <a:gd name="T22" fmla="*/ 2 w 2538"/>
              <a:gd name="T23" fmla="*/ 16 h 412"/>
              <a:gd name="T24" fmla="*/ 0 w 2538"/>
              <a:gd name="T25" fmla="*/ 0 h 412"/>
              <a:gd name="T26" fmla="*/ 1 w 2538"/>
              <a:gd name="T27" fmla="*/ 139 h 412"/>
              <a:gd name="T28" fmla="*/ 8 w 2538"/>
              <a:gd name="T29" fmla="*/ 160 h 412"/>
              <a:gd name="T30" fmla="*/ 21 w 2538"/>
              <a:gd name="T31" fmla="*/ 181 h 412"/>
              <a:gd name="T32" fmla="*/ 58 w 2538"/>
              <a:gd name="T33" fmla="*/ 215 h 412"/>
              <a:gd name="T34" fmla="*/ 126 w 2538"/>
              <a:gd name="T35" fmla="*/ 253 h 412"/>
              <a:gd name="T36" fmla="*/ 217 w 2538"/>
              <a:gd name="T37" fmla="*/ 288 h 412"/>
              <a:gd name="T38" fmla="*/ 330 w 2538"/>
              <a:gd name="T39" fmla="*/ 320 h 412"/>
              <a:gd name="T40" fmla="*/ 462 w 2538"/>
              <a:gd name="T41" fmla="*/ 348 h 412"/>
              <a:gd name="T42" fmla="*/ 612 w 2538"/>
              <a:gd name="T43" fmla="*/ 372 h 412"/>
              <a:gd name="T44" fmla="*/ 775 w 2538"/>
              <a:gd name="T45" fmla="*/ 390 h 412"/>
              <a:gd name="T46" fmla="*/ 952 w 2538"/>
              <a:gd name="T47" fmla="*/ 403 h 412"/>
              <a:gd name="T48" fmla="*/ 1139 w 2538"/>
              <a:gd name="T49" fmla="*/ 410 h 412"/>
              <a:gd name="T50" fmla="*/ 1270 w 2538"/>
              <a:gd name="T51" fmla="*/ 412 h 412"/>
              <a:gd name="T52" fmla="*/ 1463 w 2538"/>
              <a:gd name="T53" fmla="*/ 408 h 412"/>
              <a:gd name="T54" fmla="*/ 1647 w 2538"/>
              <a:gd name="T55" fmla="*/ 399 h 412"/>
              <a:gd name="T56" fmla="*/ 1819 w 2538"/>
              <a:gd name="T57" fmla="*/ 384 h 412"/>
              <a:gd name="T58" fmla="*/ 1979 w 2538"/>
              <a:gd name="T59" fmla="*/ 364 h 412"/>
              <a:gd name="T60" fmla="*/ 2122 w 2538"/>
              <a:gd name="T61" fmla="*/ 339 h 412"/>
              <a:gd name="T62" fmla="*/ 2248 w 2538"/>
              <a:gd name="T63" fmla="*/ 310 h 412"/>
              <a:gd name="T64" fmla="*/ 2354 w 2538"/>
              <a:gd name="T65" fmla="*/ 277 h 412"/>
              <a:gd name="T66" fmla="*/ 2438 w 2538"/>
              <a:gd name="T67" fmla="*/ 241 h 412"/>
              <a:gd name="T68" fmla="*/ 2498 w 2538"/>
              <a:gd name="T69" fmla="*/ 202 h 412"/>
              <a:gd name="T70" fmla="*/ 2524 w 2538"/>
              <a:gd name="T71" fmla="*/ 174 h 412"/>
              <a:gd name="T72" fmla="*/ 2534 w 2538"/>
              <a:gd name="T73" fmla="*/ 153 h 412"/>
              <a:gd name="T74" fmla="*/ 2538 w 2538"/>
              <a:gd name="T75" fmla="*/ 132 h 412"/>
              <a:gd name="T76" fmla="*/ 2538 w 2538"/>
              <a:gd name="T77" fmla="*/ 0 h 412"/>
              <a:gd name="T78" fmla="*/ 2534 w 2538"/>
              <a:gd name="T79" fmla="*/ 23 h 412"/>
              <a:gd name="T80" fmla="*/ 2524 w 2538"/>
              <a:gd name="T81" fmla="*/ 43 h 412"/>
              <a:gd name="T82" fmla="*/ 2498 w 2538"/>
              <a:gd name="T83" fmla="*/ 71 h 412"/>
              <a:gd name="T84" fmla="*/ 2438 w 2538"/>
              <a:gd name="T85" fmla="*/ 110 h 412"/>
              <a:gd name="T86" fmla="*/ 2354 w 2538"/>
              <a:gd name="T87" fmla="*/ 147 h 412"/>
              <a:gd name="T88" fmla="*/ 2248 w 2538"/>
              <a:gd name="T89" fmla="*/ 180 h 412"/>
              <a:gd name="T90" fmla="*/ 2122 w 2538"/>
              <a:gd name="T91" fmla="*/ 209 h 412"/>
              <a:gd name="T92" fmla="*/ 1979 w 2538"/>
              <a:gd name="T93" fmla="*/ 233 h 412"/>
              <a:gd name="T94" fmla="*/ 1819 w 2538"/>
              <a:gd name="T95" fmla="*/ 254 h 412"/>
              <a:gd name="T96" fmla="*/ 1647 w 2538"/>
              <a:gd name="T97" fmla="*/ 269 h 412"/>
              <a:gd name="T98" fmla="*/ 1463 w 2538"/>
              <a:gd name="T99" fmla="*/ 278 h 412"/>
              <a:gd name="T100" fmla="*/ 1270 w 2538"/>
              <a:gd name="T101" fmla="*/ 281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38" h="412">
                <a:moveTo>
                  <a:pt x="1270" y="281"/>
                </a:moveTo>
                <a:lnTo>
                  <a:pt x="1270" y="281"/>
                </a:lnTo>
                <a:lnTo>
                  <a:pt x="1205" y="281"/>
                </a:lnTo>
                <a:lnTo>
                  <a:pt x="1139" y="280"/>
                </a:lnTo>
                <a:lnTo>
                  <a:pt x="1076" y="278"/>
                </a:lnTo>
                <a:lnTo>
                  <a:pt x="1013" y="276"/>
                </a:lnTo>
                <a:lnTo>
                  <a:pt x="952" y="273"/>
                </a:lnTo>
                <a:lnTo>
                  <a:pt x="892" y="269"/>
                </a:lnTo>
                <a:lnTo>
                  <a:pt x="833" y="265"/>
                </a:lnTo>
                <a:lnTo>
                  <a:pt x="775" y="260"/>
                </a:lnTo>
                <a:lnTo>
                  <a:pt x="719" y="254"/>
                </a:lnTo>
                <a:lnTo>
                  <a:pt x="665" y="248"/>
                </a:lnTo>
                <a:lnTo>
                  <a:pt x="612" y="241"/>
                </a:lnTo>
                <a:lnTo>
                  <a:pt x="560" y="233"/>
                </a:lnTo>
                <a:lnTo>
                  <a:pt x="510" y="226"/>
                </a:lnTo>
                <a:lnTo>
                  <a:pt x="462" y="217"/>
                </a:lnTo>
                <a:lnTo>
                  <a:pt x="416" y="209"/>
                </a:lnTo>
                <a:lnTo>
                  <a:pt x="373" y="200"/>
                </a:lnTo>
                <a:lnTo>
                  <a:pt x="330" y="190"/>
                </a:lnTo>
                <a:lnTo>
                  <a:pt x="290" y="180"/>
                </a:lnTo>
                <a:lnTo>
                  <a:pt x="253" y="169"/>
                </a:lnTo>
                <a:lnTo>
                  <a:pt x="217" y="158"/>
                </a:lnTo>
                <a:lnTo>
                  <a:pt x="185" y="147"/>
                </a:lnTo>
                <a:lnTo>
                  <a:pt x="154" y="135"/>
                </a:lnTo>
                <a:lnTo>
                  <a:pt x="126" y="123"/>
                </a:lnTo>
                <a:lnTo>
                  <a:pt x="100" y="110"/>
                </a:lnTo>
                <a:lnTo>
                  <a:pt x="78" y="97"/>
                </a:lnTo>
                <a:lnTo>
                  <a:pt x="58" y="84"/>
                </a:lnTo>
                <a:lnTo>
                  <a:pt x="41" y="71"/>
                </a:lnTo>
                <a:lnTo>
                  <a:pt x="27" y="57"/>
                </a:lnTo>
                <a:lnTo>
                  <a:pt x="21" y="50"/>
                </a:lnTo>
                <a:lnTo>
                  <a:pt x="16" y="43"/>
                </a:lnTo>
                <a:lnTo>
                  <a:pt x="11" y="37"/>
                </a:lnTo>
                <a:lnTo>
                  <a:pt x="8" y="30"/>
                </a:lnTo>
                <a:lnTo>
                  <a:pt x="4" y="23"/>
                </a:lnTo>
                <a:lnTo>
                  <a:pt x="2" y="16"/>
                </a:lnTo>
                <a:lnTo>
                  <a:pt x="1" y="9"/>
                </a:lnTo>
                <a:lnTo>
                  <a:pt x="0" y="0"/>
                </a:lnTo>
                <a:lnTo>
                  <a:pt x="0" y="0"/>
                </a:lnTo>
                <a:lnTo>
                  <a:pt x="0" y="132"/>
                </a:lnTo>
                <a:lnTo>
                  <a:pt x="0" y="132"/>
                </a:lnTo>
                <a:lnTo>
                  <a:pt x="1" y="139"/>
                </a:lnTo>
                <a:lnTo>
                  <a:pt x="2" y="146"/>
                </a:lnTo>
                <a:lnTo>
                  <a:pt x="4" y="153"/>
                </a:lnTo>
                <a:lnTo>
                  <a:pt x="8" y="160"/>
                </a:lnTo>
                <a:lnTo>
                  <a:pt x="11" y="167"/>
                </a:lnTo>
                <a:lnTo>
                  <a:pt x="16" y="174"/>
                </a:lnTo>
                <a:lnTo>
                  <a:pt x="21" y="181"/>
                </a:lnTo>
                <a:lnTo>
                  <a:pt x="27" y="188"/>
                </a:lnTo>
                <a:lnTo>
                  <a:pt x="41" y="202"/>
                </a:lnTo>
                <a:lnTo>
                  <a:pt x="58" y="215"/>
                </a:lnTo>
                <a:lnTo>
                  <a:pt x="78" y="227"/>
                </a:lnTo>
                <a:lnTo>
                  <a:pt x="100" y="241"/>
                </a:lnTo>
                <a:lnTo>
                  <a:pt x="126" y="253"/>
                </a:lnTo>
                <a:lnTo>
                  <a:pt x="154" y="265"/>
                </a:lnTo>
                <a:lnTo>
                  <a:pt x="185" y="277"/>
                </a:lnTo>
                <a:lnTo>
                  <a:pt x="217" y="288"/>
                </a:lnTo>
                <a:lnTo>
                  <a:pt x="253" y="300"/>
                </a:lnTo>
                <a:lnTo>
                  <a:pt x="290" y="310"/>
                </a:lnTo>
                <a:lnTo>
                  <a:pt x="330" y="320"/>
                </a:lnTo>
                <a:lnTo>
                  <a:pt x="373" y="330"/>
                </a:lnTo>
                <a:lnTo>
                  <a:pt x="416" y="339"/>
                </a:lnTo>
                <a:lnTo>
                  <a:pt x="462" y="348"/>
                </a:lnTo>
                <a:lnTo>
                  <a:pt x="510" y="357"/>
                </a:lnTo>
                <a:lnTo>
                  <a:pt x="560" y="364"/>
                </a:lnTo>
                <a:lnTo>
                  <a:pt x="612" y="372"/>
                </a:lnTo>
                <a:lnTo>
                  <a:pt x="665" y="378"/>
                </a:lnTo>
                <a:lnTo>
                  <a:pt x="719" y="384"/>
                </a:lnTo>
                <a:lnTo>
                  <a:pt x="775" y="390"/>
                </a:lnTo>
                <a:lnTo>
                  <a:pt x="833" y="395"/>
                </a:lnTo>
                <a:lnTo>
                  <a:pt x="892" y="399"/>
                </a:lnTo>
                <a:lnTo>
                  <a:pt x="952" y="403"/>
                </a:lnTo>
                <a:lnTo>
                  <a:pt x="1013" y="406"/>
                </a:lnTo>
                <a:lnTo>
                  <a:pt x="1076" y="408"/>
                </a:lnTo>
                <a:lnTo>
                  <a:pt x="1139" y="410"/>
                </a:lnTo>
                <a:lnTo>
                  <a:pt x="1205" y="411"/>
                </a:lnTo>
                <a:lnTo>
                  <a:pt x="1270" y="412"/>
                </a:lnTo>
                <a:lnTo>
                  <a:pt x="1270" y="412"/>
                </a:lnTo>
                <a:lnTo>
                  <a:pt x="1335" y="411"/>
                </a:lnTo>
                <a:lnTo>
                  <a:pt x="1399" y="410"/>
                </a:lnTo>
                <a:lnTo>
                  <a:pt x="1463" y="408"/>
                </a:lnTo>
                <a:lnTo>
                  <a:pt x="1525" y="406"/>
                </a:lnTo>
                <a:lnTo>
                  <a:pt x="1586" y="403"/>
                </a:lnTo>
                <a:lnTo>
                  <a:pt x="1647" y="399"/>
                </a:lnTo>
                <a:lnTo>
                  <a:pt x="1706" y="395"/>
                </a:lnTo>
                <a:lnTo>
                  <a:pt x="1763" y="390"/>
                </a:lnTo>
                <a:lnTo>
                  <a:pt x="1819" y="384"/>
                </a:lnTo>
                <a:lnTo>
                  <a:pt x="1874" y="378"/>
                </a:lnTo>
                <a:lnTo>
                  <a:pt x="1927" y="372"/>
                </a:lnTo>
                <a:lnTo>
                  <a:pt x="1979" y="364"/>
                </a:lnTo>
                <a:lnTo>
                  <a:pt x="2028" y="357"/>
                </a:lnTo>
                <a:lnTo>
                  <a:pt x="2076" y="348"/>
                </a:lnTo>
                <a:lnTo>
                  <a:pt x="2122" y="339"/>
                </a:lnTo>
                <a:lnTo>
                  <a:pt x="2167" y="330"/>
                </a:lnTo>
                <a:lnTo>
                  <a:pt x="2208" y="320"/>
                </a:lnTo>
                <a:lnTo>
                  <a:pt x="2248" y="310"/>
                </a:lnTo>
                <a:lnTo>
                  <a:pt x="2286" y="300"/>
                </a:lnTo>
                <a:lnTo>
                  <a:pt x="2321" y="288"/>
                </a:lnTo>
                <a:lnTo>
                  <a:pt x="2354" y="277"/>
                </a:lnTo>
                <a:lnTo>
                  <a:pt x="2384" y="265"/>
                </a:lnTo>
                <a:lnTo>
                  <a:pt x="2413" y="253"/>
                </a:lnTo>
                <a:lnTo>
                  <a:pt x="2438" y="241"/>
                </a:lnTo>
                <a:lnTo>
                  <a:pt x="2461" y="227"/>
                </a:lnTo>
                <a:lnTo>
                  <a:pt x="2481" y="215"/>
                </a:lnTo>
                <a:lnTo>
                  <a:pt x="2498" y="202"/>
                </a:lnTo>
                <a:lnTo>
                  <a:pt x="2512" y="188"/>
                </a:lnTo>
                <a:lnTo>
                  <a:pt x="2518" y="181"/>
                </a:lnTo>
                <a:lnTo>
                  <a:pt x="2524" y="174"/>
                </a:lnTo>
                <a:lnTo>
                  <a:pt x="2528" y="167"/>
                </a:lnTo>
                <a:lnTo>
                  <a:pt x="2532" y="160"/>
                </a:lnTo>
                <a:lnTo>
                  <a:pt x="2534" y="153"/>
                </a:lnTo>
                <a:lnTo>
                  <a:pt x="2536" y="146"/>
                </a:lnTo>
                <a:lnTo>
                  <a:pt x="2538" y="139"/>
                </a:lnTo>
                <a:lnTo>
                  <a:pt x="2538" y="132"/>
                </a:lnTo>
                <a:lnTo>
                  <a:pt x="2538" y="132"/>
                </a:lnTo>
                <a:lnTo>
                  <a:pt x="2538" y="0"/>
                </a:lnTo>
                <a:lnTo>
                  <a:pt x="2538" y="0"/>
                </a:lnTo>
                <a:lnTo>
                  <a:pt x="2538" y="9"/>
                </a:lnTo>
                <a:lnTo>
                  <a:pt x="2536" y="16"/>
                </a:lnTo>
                <a:lnTo>
                  <a:pt x="2534" y="23"/>
                </a:lnTo>
                <a:lnTo>
                  <a:pt x="2532" y="30"/>
                </a:lnTo>
                <a:lnTo>
                  <a:pt x="2528" y="37"/>
                </a:lnTo>
                <a:lnTo>
                  <a:pt x="2524" y="43"/>
                </a:lnTo>
                <a:lnTo>
                  <a:pt x="2518" y="50"/>
                </a:lnTo>
                <a:lnTo>
                  <a:pt x="2512" y="57"/>
                </a:lnTo>
                <a:lnTo>
                  <a:pt x="2498" y="71"/>
                </a:lnTo>
                <a:lnTo>
                  <a:pt x="2481" y="84"/>
                </a:lnTo>
                <a:lnTo>
                  <a:pt x="2461" y="97"/>
                </a:lnTo>
                <a:lnTo>
                  <a:pt x="2438" y="110"/>
                </a:lnTo>
                <a:lnTo>
                  <a:pt x="2413" y="123"/>
                </a:lnTo>
                <a:lnTo>
                  <a:pt x="2384" y="135"/>
                </a:lnTo>
                <a:lnTo>
                  <a:pt x="2354" y="147"/>
                </a:lnTo>
                <a:lnTo>
                  <a:pt x="2321" y="158"/>
                </a:lnTo>
                <a:lnTo>
                  <a:pt x="2286" y="169"/>
                </a:lnTo>
                <a:lnTo>
                  <a:pt x="2248" y="180"/>
                </a:lnTo>
                <a:lnTo>
                  <a:pt x="2208" y="190"/>
                </a:lnTo>
                <a:lnTo>
                  <a:pt x="2167" y="200"/>
                </a:lnTo>
                <a:lnTo>
                  <a:pt x="2122" y="209"/>
                </a:lnTo>
                <a:lnTo>
                  <a:pt x="2076" y="217"/>
                </a:lnTo>
                <a:lnTo>
                  <a:pt x="2028" y="226"/>
                </a:lnTo>
                <a:lnTo>
                  <a:pt x="1979" y="233"/>
                </a:lnTo>
                <a:lnTo>
                  <a:pt x="1927" y="241"/>
                </a:lnTo>
                <a:lnTo>
                  <a:pt x="1874" y="248"/>
                </a:lnTo>
                <a:lnTo>
                  <a:pt x="1819" y="254"/>
                </a:lnTo>
                <a:lnTo>
                  <a:pt x="1763" y="260"/>
                </a:lnTo>
                <a:lnTo>
                  <a:pt x="1706" y="265"/>
                </a:lnTo>
                <a:lnTo>
                  <a:pt x="1647" y="269"/>
                </a:lnTo>
                <a:lnTo>
                  <a:pt x="1586" y="273"/>
                </a:lnTo>
                <a:lnTo>
                  <a:pt x="1525" y="276"/>
                </a:lnTo>
                <a:lnTo>
                  <a:pt x="1463" y="278"/>
                </a:lnTo>
                <a:lnTo>
                  <a:pt x="1399" y="280"/>
                </a:lnTo>
                <a:lnTo>
                  <a:pt x="1335" y="281"/>
                </a:lnTo>
                <a:lnTo>
                  <a:pt x="1270" y="281"/>
                </a:lnTo>
                <a:lnTo>
                  <a:pt x="1270" y="281"/>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6" name="Freeform 2051"/>
          <p:cNvSpPr>
            <a:spLocks/>
          </p:cNvSpPr>
          <p:nvPr/>
        </p:nvSpPr>
        <p:spPr bwMode="auto">
          <a:xfrm>
            <a:off x="9229726" y="2820988"/>
            <a:ext cx="1588" cy="6350"/>
          </a:xfrm>
          <a:custGeom>
            <a:avLst/>
            <a:gdLst>
              <a:gd name="T0" fmla="*/ 0 w 4"/>
              <a:gd name="T1" fmla="*/ 1 h 20"/>
              <a:gd name="T2" fmla="*/ 0 w 4"/>
              <a:gd name="T3" fmla="*/ 1 h 20"/>
              <a:gd name="T4" fmla="*/ 0 w 4"/>
              <a:gd name="T5" fmla="*/ 20 h 20"/>
              <a:gd name="T6" fmla="*/ 0 w 4"/>
              <a:gd name="T7" fmla="*/ 20 h 20"/>
              <a:gd name="T8" fmla="*/ 1 w 4"/>
              <a:gd name="T9" fmla="*/ 10 h 20"/>
              <a:gd name="T10" fmla="*/ 4 w 4"/>
              <a:gd name="T11" fmla="*/ 0 h 20"/>
              <a:gd name="T12" fmla="*/ 4 w 4"/>
              <a:gd name="T13" fmla="*/ 0 h 20"/>
              <a:gd name="T14" fmla="*/ 0 w 4"/>
              <a:gd name="T15" fmla="*/ 1 h 20"/>
              <a:gd name="T16" fmla="*/ 0 w 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0">
                <a:moveTo>
                  <a:pt x="0" y="1"/>
                </a:moveTo>
                <a:lnTo>
                  <a:pt x="0" y="1"/>
                </a:lnTo>
                <a:lnTo>
                  <a:pt x="0" y="20"/>
                </a:lnTo>
                <a:lnTo>
                  <a:pt x="0" y="20"/>
                </a:lnTo>
                <a:lnTo>
                  <a:pt x="1" y="10"/>
                </a:lnTo>
                <a:lnTo>
                  <a:pt x="4" y="0"/>
                </a:lnTo>
                <a:lnTo>
                  <a:pt x="4" y="0"/>
                </a:lnTo>
                <a:lnTo>
                  <a:pt x="0" y="1"/>
                </a:lnTo>
                <a:lnTo>
                  <a:pt x="0" y="1"/>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7" name="Freeform 2052"/>
          <p:cNvSpPr>
            <a:spLocks/>
          </p:cNvSpPr>
          <p:nvPr/>
        </p:nvSpPr>
        <p:spPr bwMode="auto">
          <a:xfrm>
            <a:off x="7999415" y="2786064"/>
            <a:ext cx="1516063" cy="714375"/>
          </a:xfrm>
          <a:custGeom>
            <a:avLst/>
            <a:gdLst>
              <a:gd name="T0" fmla="*/ 1805 w 5733"/>
              <a:gd name="T1" fmla="*/ 34 h 2698"/>
              <a:gd name="T2" fmla="*/ 1424 w 5733"/>
              <a:gd name="T3" fmla="*/ 28 h 2698"/>
              <a:gd name="T4" fmla="*/ 758 w 5733"/>
              <a:gd name="T5" fmla="*/ 4 h 2698"/>
              <a:gd name="T6" fmla="*/ 379 w 5733"/>
              <a:gd name="T7" fmla="*/ 1 h 2698"/>
              <a:gd name="T8" fmla="*/ 249 w 5733"/>
              <a:gd name="T9" fmla="*/ 5 h 2698"/>
              <a:gd name="T10" fmla="*/ 187 w 5733"/>
              <a:gd name="T11" fmla="*/ 15 h 2698"/>
              <a:gd name="T12" fmla="*/ 135 w 5733"/>
              <a:gd name="T13" fmla="*/ 33 h 2698"/>
              <a:gd name="T14" fmla="*/ 93 w 5733"/>
              <a:gd name="T15" fmla="*/ 60 h 2698"/>
              <a:gd name="T16" fmla="*/ 61 w 5733"/>
              <a:gd name="T17" fmla="*/ 92 h 2698"/>
              <a:gd name="T18" fmla="*/ 19 w 5733"/>
              <a:gd name="T19" fmla="*/ 174 h 2698"/>
              <a:gd name="T20" fmla="*/ 2 w 5733"/>
              <a:gd name="T21" fmla="*/ 272 h 2698"/>
              <a:gd name="T22" fmla="*/ 3 w 5733"/>
              <a:gd name="T23" fmla="*/ 408 h 2698"/>
              <a:gd name="T24" fmla="*/ 21 w 5733"/>
              <a:gd name="T25" fmla="*/ 656 h 2698"/>
              <a:gd name="T26" fmla="*/ 20 w 5733"/>
              <a:gd name="T27" fmla="*/ 719 h 2698"/>
              <a:gd name="T28" fmla="*/ 6 w 5733"/>
              <a:gd name="T29" fmla="*/ 892 h 2698"/>
              <a:gd name="T30" fmla="*/ 8 w 5733"/>
              <a:gd name="T31" fmla="*/ 988 h 2698"/>
              <a:gd name="T32" fmla="*/ 22 w 5733"/>
              <a:gd name="T33" fmla="*/ 1044 h 2698"/>
              <a:gd name="T34" fmla="*/ 293 w 5733"/>
              <a:gd name="T35" fmla="*/ 1612 h 2698"/>
              <a:gd name="T36" fmla="*/ 399 w 5733"/>
              <a:gd name="T37" fmla="*/ 1845 h 2698"/>
              <a:gd name="T38" fmla="*/ 527 w 5733"/>
              <a:gd name="T39" fmla="*/ 2151 h 2698"/>
              <a:gd name="T40" fmla="*/ 608 w 5733"/>
              <a:gd name="T41" fmla="*/ 2324 h 2698"/>
              <a:gd name="T42" fmla="*/ 704 w 5733"/>
              <a:gd name="T43" fmla="*/ 2485 h 2698"/>
              <a:gd name="T44" fmla="*/ 739 w 5733"/>
              <a:gd name="T45" fmla="*/ 2528 h 2698"/>
              <a:gd name="T46" fmla="*/ 790 w 5733"/>
              <a:gd name="T47" fmla="*/ 2577 h 2698"/>
              <a:gd name="T48" fmla="*/ 847 w 5733"/>
              <a:gd name="T49" fmla="*/ 2615 h 2698"/>
              <a:gd name="T50" fmla="*/ 957 w 5733"/>
              <a:gd name="T51" fmla="*/ 2663 h 2698"/>
              <a:gd name="T52" fmla="*/ 1096 w 5733"/>
              <a:gd name="T53" fmla="*/ 2691 h 2698"/>
              <a:gd name="T54" fmla="*/ 1244 w 5733"/>
              <a:gd name="T55" fmla="*/ 2698 h 2698"/>
              <a:gd name="T56" fmla="*/ 1435 w 5733"/>
              <a:gd name="T57" fmla="*/ 2689 h 2698"/>
              <a:gd name="T58" fmla="*/ 1724 w 5733"/>
              <a:gd name="T59" fmla="*/ 2665 h 2698"/>
              <a:gd name="T60" fmla="*/ 2169 w 5733"/>
              <a:gd name="T61" fmla="*/ 2664 h 2698"/>
              <a:gd name="T62" fmla="*/ 3617 w 5733"/>
              <a:gd name="T63" fmla="*/ 2665 h 2698"/>
              <a:gd name="T64" fmla="*/ 4550 w 5733"/>
              <a:gd name="T65" fmla="*/ 2674 h 2698"/>
              <a:gd name="T66" fmla="*/ 5075 w 5733"/>
              <a:gd name="T67" fmla="*/ 2691 h 2698"/>
              <a:gd name="T68" fmla="*/ 5390 w 5733"/>
              <a:gd name="T69" fmla="*/ 2692 h 2698"/>
              <a:gd name="T70" fmla="*/ 5513 w 5733"/>
              <a:gd name="T71" fmla="*/ 2689 h 2698"/>
              <a:gd name="T72" fmla="*/ 5609 w 5733"/>
              <a:gd name="T73" fmla="*/ 2675 h 2698"/>
              <a:gd name="T74" fmla="*/ 5655 w 5733"/>
              <a:gd name="T75" fmla="*/ 2656 h 2698"/>
              <a:gd name="T76" fmla="*/ 5693 w 5733"/>
              <a:gd name="T77" fmla="*/ 2624 h 2698"/>
              <a:gd name="T78" fmla="*/ 5718 w 5733"/>
              <a:gd name="T79" fmla="*/ 2579 h 2698"/>
              <a:gd name="T80" fmla="*/ 5731 w 5733"/>
              <a:gd name="T81" fmla="*/ 2514 h 2698"/>
              <a:gd name="T82" fmla="*/ 5733 w 5733"/>
              <a:gd name="T83" fmla="*/ 2296 h 2698"/>
              <a:gd name="T84" fmla="*/ 5726 w 5733"/>
              <a:gd name="T85" fmla="*/ 1702 h 2698"/>
              <a:gd name="T86" fmla="*/ 5731 w 5733"/>
              <a:gd name="T87" fmla="*/ 1538 h 2698"/>
              <a:gd name="T88" fmla="*/ 5728 w 5733"/>
              <a:gd name="T89" fmla="*/ 1382 h 2698"/>
              <a:gd name="T90" fmla="*/ 5716 w 5733"/>
              <a:gd name="T91" fmla="*/ 1308 h 2698"/>
              <a:gd name="T92" fmla="*/ 5693 w 5733"/>
              <a:gd name="T93" fmla="*/ 1237 h 2698"/>
              <a:gd name="T94" fmla="*/ 5653 w 5733"/>
              <a:gd name="T95" fmla="*/ 1169 h 2698"/>
              <a:gd name="T96" fmla="*/ 5596 w 5733"/>
              <a:gd name="T97" fmla="*/ 1103 h 2698"/>
              <a:gd name="T98" fmla="*/ 5544 w 5733"/>
              <a:gd name="T99" fmla="*/ 1060 h 2698"/>
              <a:gd name="T100" fmla="*/ 5452 w 5733"/>
              <a:gd name="T101" fmla="*/ 998 h 2698"/>
              <a:gd name="T102" fmla="*/ 5291 w 5733"/>
              <a:gd name="T103" fmla="*/ 922 h 2698"/>
              <a:gd name="T104" fmla="*/ 5039 w 5733"/>
              <a:gd name="T105" fmla="*/ 825 h 2698"/>
              <a:gd name="T106" fmla="*/ 4856 w 5733"/>
              <a:gd name="T107" fmla="*/ 745 h 2698"/>
              <a:gd name="T108" fmla="*/ 4151 w 5733"/>
              <a:gd name="T109" fmla="*/ 409 h 2698"/>
              <a:gd name="T110" fmla="*/ 3546 w 5733"/>
              <a:gd name="T111" fmla="*/ 116 h 2698"/>
              <a:gd name="T112" fmla="*/ 3438 w 5733"/>
              <a:gd name="T113" fmla="*/ 55 h 2698"/>
              <a:gd name="T114" fmla="*/ 3381 w 5733"/>
              <a:gd name="T115" fmla="*/ 35 h 2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33" h="2698">
                <a:moveTo>
                  <a:pt x="3369" y="34"/>
                </a:moveTo>
                <a:lnTo>
                  <a:pt x="3369" y="34"/>
                </a:lnTo>
                <a:lnTo>
                  <a:pt x="1805" y="34"/>
                </a:lnTo>
                <a:lnTo>
                  <a:pt x="1805" y="34"/>
                </a:lnTo>
                <a:lnTo>
                  <a:pt x="1710" y="34"/>
                </a:lnTo>
                <a:lnTo>
                  <a:pt x="1615" y="33"/>
                </a:lnTo>
                <a:lnTo>
                  <a:pt x="1520" y="30"/>
                </a:lnTo>
                <a:lnTo>
                  <a:pt x="1424" y="28"/>
                </a:lnTo>
                <a:lnTo>
                  <a:pt x="1234" y="21"/>
                </a:lnTo>
                <a:lnTo>
                  <a:pt x="1044" y="14"/>
                </a:lnTo>
                <a:lnTo>
                  <a:pt x="853" y="7"/>
                </a:lnTo>
                <a:lnTo>
                  <a:pt x="758" y="4"/>
                </a:lnTo>
                <a:lnTo>
                  <a:pt x="664" y="2"/>
                </a:lnTo>
                <a:lnTo>
                  <a:pt x="568" y="1"/>
                </a:lnTo>
                <a:lnTo>
                  <a:pt x="474" y="0"/>
                </a:lnTo>
                <a:lnTo>
                  <a:pt x="379" y="1"/>
                </a:lnTo>
                <a:lnTo>
                  <a:pt x="284" y="3"/>
                </a:lnTo>
                <a:lnTo>
                  <a:pt x="284" y="3"/>
                </a:lnTo>
                <a:lnTo>
                  <a:pt x="266" y="3"/>
                </a:lnTo>
                <a:lnTo>
                  <a:pt x="249" y="5"/>
                </a:lnTo>
                <a:lnTo>
                  <a:pt x="233" y="6"/>
                </a:lnTo>
                <a:lnTo>
                  <a:pt x="216" y="9"/>
                </a:lnTo>
                <a:lnTo>
                  <a:pt x="201" y="12"/>
                </a:lnTo>
                <a:lnTo>
                  <a:pt x="187" y="15"/>
                </a:lnTo>
                <a:lnTo>
                  <a:pt x="173" y="19"/>
                </a:lnTo>
                <a:lnTo>
                  <a:pt x="159" y="23"/>
                </a:lnTo>
                <a:lnTo>
                  <a:pt x="147" y="28"/>
                </a:lnTo>
                <a:lnTo>
                  <a:pt x="135" y="33"/>
                </a:lnTo>
                <a:lnTo>
                  <a:pt x="124" y="40"/>
                </a:lnTo>
                <a:lnTo>
                  <a:pt x="113" y="46"/>
                </a:lnTo>
                <a:lnTo>
                  <a:pt x="103" y="53"/>
                </a:lnTo>
                <a:lnTo>
                  <a:pt x="93" y="60"/>
                </a:lnTo>
                <a:lnTo>
                  <a:pt x="84" y="67"/>
                </a:lnTo>
                <a:lnTo>
                  <a:pt x="76" y="75"/>
                </a:lnTo>
                <a:lnTo>
                  <a:pt x="68" y="83"/>
                </a:lnTo>
                <a:lnTo>
                  <a:pt x="61" y="92"/>
                </a:lnTo>
                <a:lnTo>
                  <a:pt x="47" y="111"/>
                </a:lnTo>
                <a:lnTo>
                  <a:pt x="36" y="130"/>
                </a:lnTo>
                <a:lnTo>
                  <a:pt x="27" y="151"/>
                </a:lnTo>
                <a:lnTo>
                  <a:pt x="19" y="174"/>
                </a:lnTo>
                <a:lnTo>
                  <a:pt x="13" y="197"/>
                </a:lnTo>
                <a:lnTo>
                  <a:pt x="8" y="221"/>
                </a:lnTo>
                <a:lnTo>
                  <a:pt x="5" y="246"/>
                </a:lnTo>
                <a:lnTo>
                  <a:pt x="2" y="272"/>
                </a:lnTo>
                <a:lnTo>
                  <a:pt x="1" y="298"/>
                </a:lnTo>
                <a:lnTo>
                  <a:pt x="0" y="325"/>
                </a:lnTo>
                <a:lnTo>
                  <a:pt x="1" y="353"/>
                </a:lnTo>
                <a:lnTo>
                  <a:pt x="3" y="408"/>
                </a:lnTo>
                <a:lnTo>
                  <a:pt x="7" y="465"/>
                </a:lnTo>
                <a:lnTo>
                  <a:pt x="17" y="577"/>
                </a:lnTo>
                <a:lnTo>
                  <a:pt x="20" y="631"/>
                </a:lnTo>
                <a:lnTo>
                  <a:pt x="21" y="656"/>
                </a:lnTo>
                <a:lnTo>
                  <a:pt x="22" y="681"/>
                </a:lnTo>
                <a:lnTo>
                  <a:pt x="22" y="681"/>
                </a:lnTo>
                <a:lnTo>
                  <a:pt x="21" y="699"/>
                </a:lnTo>
                <a:lnTo>
                  <a:pt x="20" y="719"/>
                </a:lnTo>
                <a:lnTo>
                  <a:pt x="17" y="764"/>
                </a:lnTo>
                <a:lnTo>
                  <a:pt x="12" y="814"/>
                </a:lnTo>
                <a:lnTo>
                  <a:pt x="8" y="866"/>
                </a:lnTo>
                <a:lnTo>
                  <a:pt x="6" y="892"/>
                </a:lnTo>
                <a:lnTo>
                  <a:pt x="5" y="917"/>
                </a:lnTo>
                <a:lnTo>
                  <a:pt x="5" y="942"/>
                </a:lnTo>
                <a:lnTo>
                  <a:pt x="6" y="965"/>
                </a:lnTo>
                <a:lnTo>
                  <a:pt x="8" y="988"/>
                </a:lnTo>
                <a:lnTo>
                  <a:pt x="11" y="1009"/>
                </a:lnTo>
                <a:lnTo>
                  <a:pt x="16" y="1027"/>
                </a:lnTo>
                <a:lnTo>
                  <a:pt x="19" y="1035"/>
                </a:lnTo>
                <a:lnTo>
                  <a:pt x="22" y="1044"/>
                </a:lnTo>
                <a:lnTo>
                  <a:pt x="22" y="1044"/>
                </a:lnTo>
                <a:lnTo>
                  <a:pt x="112" y="1233"/>
                </a:lnTo>
                <a:lnTo>
                  <a:pt x="202" y="1422"/>
                </a:lnTo>
                <a:lnTo>
                  <a:pt x="293" y="1612"/>
                </a:lnTo>
                <a:lnTo>
                  <a:pt x="336" y="1707"/>
                </a:lnTo>
                <a:lnTo>
                  <a:pt x="381" y="1803"/>
                </a:lnTo>
                <a:lnTo>
                  <a:pt x="381" y="1803"/>
                </a:lnTo>
                <a:lnTo>
                  <a:pt x="399" y="1845"/>
                </a:lnTo>
                <a:lnTo>
                  <a:pt x="418" y="1888"/>
                </a:lnTo>
                <a:lnTo>
                  <a:pt x="454" y="1975"/>
                </a:lnTo>
                <a:lnTo>
                  <a:pt x="490" y="2064"/>
                </a:lnTo>
                <a:lnTo>
                  <a:pt x="527" y="2151"/>
                </a:lnTo>
                <a:lnTo>
                  <a:pt x="547" y="2195"/>
                </a:lnTo>
                <a:lnTo>
                  <a:pt x="566" y="2239"/>
                </a:lnTo>
                <a:lnTo>
                  <a:pt x="586" y="2282"/>
                </a:lnTo>
                <a:lnTo>
                  <a:pt x="608" y="2324"/>
                </a:lnTo>
                <a:lnTo>
                  <a:pt x="630" y="2366"/>
                </a:lnTo>
                <a:lnTo>
                  <a:pt x="654" y="2407"/>
                </a:lnTo>
                <a:lnTo>
                  <a:pt x="678" y="2446"/>
                </a:lnTo>
                <a:lnTo>
                  <a:pt x="704" y="2485"/>
                </a:lnTo>
                <a:lnTo>
                  <a:pt x="704" y="2485"/>
                </a:lnTo>
                <a:lnTo>
                  <a:pt x="716" y="2499"/>
                </a:lnTo>
                <a:lnTo>
                  <a:pt x="727" y="2515"/>
                </a:lnTo>
                <a:lnTo>
                  <a:pt x="739" y="2528"/>
                </a:lnTo>
                <a:lnTo>
                  <a:pt x="751" y="2541"/>
                </a:lnTo>
                <a:lnTo>
                  <a:pt x="763" y="2553"/>
                </a:lnTo>
                <a:lnTo>
                  <a:pt x="777" y="2565"/>
                </a:lnTo>
                <a:lnTo>
                  <a:pt x="790" y="2577"/>
                </a:lnTo>
                <a:lnTo>
                  <a:pt x="804" y="2587"/>
                </a:lnTo>
                <a:lnTo>
                  <a:pt x="817" y="2597"/>
                </a:lnTo>
                <a:lnTo>
                  <a:pt x="832" y="2606"/>
                </a:lnTo>
                <a:lnTo>
                  <a:pt x="847" y="2615"/>
                </a:lnTo>
                <a:lnTo>
                  <a:pt x="862" y="2623"/>
                </a:lnTo>
                <a:lnTo>
                  <a:pt x="893" y="2639"/>
                </a:lnTo>
                <a:lnTo>
                  <a:pt x="924" y="2652"/>
                </a:lnTo>
                <a:lnTo>
                  <a:pt x="957" y="2663"/>
                </a:lnTo>
                <a:lnTo>
                  <a:pt x="990" y="2672"/>
                </a:lnTo>
                <a:lnTo>
                  <a:pt x="1025" y="2679"/>
                </a:lnTo>
                <a:lnTo>
                  <a:pt x="1060" y="2686"/>
                </a:lnTo>
                <a:lnTo>
                  <a:pt x="1096" y="2691"/>
                </a:lnTo>
                <a:lnTo>
                  <a:pt x="1133" y="2694"/>
                </a:lnTo>
                <a:lnTo>
                  <a:pt x="1169" y="2697"/>
                </a:lnTo>
                <a:lnTo>
                  <a:pt x="1207" y="2698"/>
                </a:lnTo>
                <a:lnTo>
                  <a:pt x="1244" y="2698"/>
                </a:lnTo>
                <a:lnTo>
                  <a:pt x="1282" y="2697"/>
                </a:lnTo>
                <a:lnTo>
                  <a:pt x="1321" y="2696"/>
                </a:lnTo>
                <a:lnTo>
                  <a:pt x="1358" y="2694"/>
                </a:lnTo>
                <a:lnTo>
                  <a:pt x="1435" y="2689"/>
                </a:lnTo>
                <a:lnTo>
                  <a:pt x="1510" y="2681"/>
                </a:lnTo>
                <a:lnTo>
                  <a:pt x="1584" y="2675"/>
                </a:lnTo>
                <a:lnTo>
                  <a:pt x="1655" y="2669"/>
                </a:lnTo>
                <a:lnTo>
                  <a:pt x="1724" y="2665"/>
                </a:lnTo>
                <a:lnTo>
                  <a:pt x="1758" y="2664"/>
                </a:lnTo>
                <a:lnTo>
                  <a:pt x="1790" y="2664"/>
                </a:lnTo>
                <a:lnTo>
                  <a:pt x="1790" y="2664"/>
                </a:lnTo>
                <a:lnTo>
                  <a:pt x="2169" y="2664"/>
                </a:lnTo>
                <a:lnTo>
                  <a:pt x="2548" y="2664"/>
                </a:lnTo>
                <a:lnTo>
                  <a:pt x="3306" y="2664"/>
                </a:lnTo>
                <a:lnTo>
                  <a:pt x="3306" y="2664"/>
                </a:lnTo>
                <a:lnTo>
                  <a:pt x="3617" y="2665"/>
                </a:lnTo>
                <a:lnTo>
                  <a:pt x="3927" y="2668"/>
                </a:lnTo>
                <a:lnTo>
                  <a:pt x="4239" y="2671"/>
                </a:lnTo>
                <a:lnTo>
                  <a:pt x="4550" y="2674"/>
                </a:lnTo>
                <a:lnTo>
                  <a:pt x="4550" y="2674"/>
                </a:lnTo>
                <a:lnTo>
                  <a:pt x="4654" y="2675"/>
                </a:lnTo>
                <a:lnTo>
                  <a:pt x="4759" y="2678"/>
                </a:lnTo>
                <a:lnTo>
                  <a:pt x="4970" y="2687"/>
                </a:lnTo>
                <a:lnTo>
                  <a:pt x="5075" y="2691"/>
                </a:lnTo>
                <a:lnTo>
                  <a:pt x="5180" y="2693"/>
                </a:lnTo>
                <a:lnTo>
                  <a:pt x="5285" y="2694"/>
                </a:lnTo>
                <a:lnTo>
                  <a:pt x="5338" y="2693"/>
                </a:lnTo>
                <a:lnTo>
                  <a:pt x="5390" y="2692"/>
                </a:lnTo>
                <a:lnTo>
                  <a:pt x="5390" y="2692"/>
                </a:lnTo>
                <a:lnTo>
                  <a:pt x="5452" y="2691"/>
                </a:lnTo>
                <a:lnTo>
                  <a:pt x="5482" y="2690"/>
                </a:lnTo>
                <a:lnTo>
                  <a:pt x="5513" y="2689"/>
                </a:lnTo>
                <a:lnTo>
                  <a:pt x="5542" y="2687"/>
                </a:lnTo>
                <a:lnTo>
                  <a:pt x="5570" y="2683"/>
                </a:lnTo>
                <a:lnTo>
                  <a:pt x="5596" y="2678"/>
                </a:lnTo>
                <a:lnTo>
                  <a:pt x="5609" y="2675"/>
                </a:lnTo>
                <a:lnTo>
                  <a:pt x="5622" y="2671"/>
                </a:lnTo>
                <a:lnTo>
                  <a:pt x="5634" y="2666"/>
                </a:lnTo>
                <a:lnTo>
                  <a:pt x="5645" y="2661"/>
                </a:lnTo>
                <a:lnTo>
                  <a:pt x="5655" y="2656"/>
                </a:lnTo>
                <a:lnTo>
                  <a:pt x="5665" y="2649"/>
                </a:lnTo>
                <a:lnTo>
                  <a:pt x="5676" y="2642"/>
                </a:lnTo>
                <a:lnTo>
                  <a:pt x="5685" y="2634"/>
                </a:lnTo>
                <a:lnTo>
                  <a:pt x="5693" y="2624"/>
                </a:lnTo>
                <a:lnTo>
                  <a:pt x="5700" y="2614"/>
                </a:lnTo>
                <a:lnTo>
                  <a:pt x="5707" y="2604"/>
                </a:lnTo>
                <a:lnTo>
                  <a:pt x="5713" y="2592"/>
                </a:lnTo>
                <a:lnTo>
                  <a:pt x="5718" y="2579"/>
                </a:lnTo>
                <a:lnTo>
                  <a:pt x="5723" y="2564"/>
                </a:lnTo>
                <a:lnTo>
                  <a:pt x="5726" y="2548"/>
                </a:lnTo>
                <a:lnTo>
                  <a:pt x="5729" y="2532"/>
                </a:lnTo>
                <a:lnTo>
                  <a:pt x="5731" y="2514"/>
                </a:lnTo>
                <a:lnTo>
                  <a:pt x="5731" y="2494"/>
                </a:lnTo>
                <a:lnTo>
                  <a:pt x="5731" y="2494"/>
                </a:lnTo>
                <a:lnTo>
                  <a:pt x="5733" y="2396"/>
                </a:lnTo>
                <a:lnTo>
                  <a:pt x="5733" y="2296"/>
                </a:lnTo>
                <a:lnTo>
                  <a:pt x="5730" y="2098"/>
                </a:lnTo>
                <a:lnTo>
                  <a:pt x="5727" y="1900"/>
                </a:lnTo>
                <a:lnTo>
                  <a:pt x="5726" y="1800"/>
                </a:lnTo>
                <a:lnTo>
                  <a:pt x="5726" y="1702"/>
                </a:lnTo>
                <a:lnTo>
                  <a:pt x="5726" y="1702"/>
                </a:lnTo>
                <a:lnTo>
                  <a:pt x="5726" y="1660"/>
                </a:lnTo>
                <a:lnTo>
                  <a:pt x="5728" y="1619"/>
                </a:lnTo>
                <a:lnTo>
                  <a:pt x="5731" y="1538"/>
                </a:lnTo>
                <a:lnTo>
                  <a:pt x="5733" y="1498"/>
                </a:lnTo>
                <a:lnTo>
                  <a:pt x="5733" y="1460"/>
                </a:lnTo>
                <a:lnTo>
                  <a:pt x="5731" y="1421"/>
                </a:lnTo>
                <a:lnTo>
                  <a:pt x="5728" y="1382"/>
                </a:lnTo>
                <a:lnTo>
                  <a:pt x="5726" y="1364"/>
                </a:lnTo>
                <a:lnTo>
                  <a:pt x="5724" y="1346"/>
                </a:lnTo>
                <a:lnTo>
                  <a:pt x="5720" y="1326"/>
                </a:lnTo>
                <a:lnTo>
                  <a:pt x="5716" y="1308"/>
                </a:lnTo>
                <a:lnTo>
                  <a:pt x="5712" y="1291"/>
                </a:lnTo>
                <a:lnTo>
                  <a:pt x="5706" y="1273"/>
                </a:lnTo>
                <a:lnTo>
                  <a:pt x="5700" y="1254"/>
                </a:lnTo>
                <a:lnTo>
                  <a:pt x="5693" y="1237"/>
                </a:lnTo>
                <a:lnTo>
                  <a:pt x="5685" y="1220"/>
                </a:lnTo>
                <a:lnTo>
                  <a:pt x="5676" y="1202"/>
                </a:lnTo>
                <a:lnTo>
                  <a:pt x="5664" y="1185"/>
                </a:lnTo>
                <a:lnTo>
                  <a:pt x="5653" y="1169"/>
                </a:lnTo>
                <a:lnTo>
                  <a:pt x="5641" y="1151"/>
                </a:lnTo>
                <a:lnTo>
                  <a:pt x="5627" y="1135"/>
                </a:lnTo>
                <a:lnTo>
                  <a:pt x="5613" y="1119"/>
                </a:lnTo>
                <a:lnTo>
                  <a:pt x="5596" y="1103"/>
                </a:lnTo>
                <a:lnTo>
                  <a:pt x="5596" y="1103"/>
                </a:lnTo>
                <a:lnTo>
                  <a:pt x="5579" y="1087"/>
                </a:lnTo>
                <a:lnTo>
                  <a:pt x="5562" y="1073"/>
                </a:lnTo>
                <a:lnTo>
                  <a:pt x="5544" y="1060"/>
                </a:lnTo>
                <a:lnTo>
                  <a:pt x="5527" y="1046"/>
                </a:lnTo>
                <a:lnTo>
                  <a:pt x="5509" y="1033"/>
                </a:lnTo>
                <a:lnTo>
                  <a:pt x="5489" y="1021"/>
                </a:lnTo>
                <a:lnTo>
                  <a:pt x="5452" y="998"/>
                </a:lnTo>
                <a:lnTo>
                  <a:pt x="5413" y="976"/>
                </a:lnTo>
                <a:lnTo>
                  <a:pt x="5372" y="957"/>
                </a:lnTo>
                <a:lnTo>
                  <a:pt x="5332" y="939"/>
                </a:lnTo>
                <a:lnTo>
                  <a:pt x="5291" y="922"/>
                </a:lnTo>
                <a:lnTo>
                  <a:pt x="5248" y="904"/>
                </a:lnTo>
                <a:lnTo>
                  <a:pt x="5207" y="888"/>
                </a:lnTo>
                <a:lnTo>
                  <a:pt x="5122" y="856"/>
                </a:lnTo>
                <a:lnTo>
                  <a:pt x="5039" y="825"/>
                </a:lnTo>
                <a:lnTo>
                  <a:pt x="4997" y="808"/>
                </a:lnTo>
                <a:lnTo>
                  <a:pt x="4957" y="790"/>
                </a:lnTo>
                <a:lnTo>
                  <a:pt x="4957" y="790"/>
                </a:lnTo>
                <a:lnTo>
                  <a:pt x="4856" y="745"/>
                </a:lnTo>
                <a:lnTo>
                  <a:pt x="4754" y="698"/>
                </a:lnTo>
                <a:lnTo>
                  <a:pt x="4553" y="602"/>
                </a:lnTo>
                <a:lnTo>
                  <a:pt x="4151" y="409"/>
                </a:lnTo>
                <a:lnTo>
                  <a:pt x="4151" y="409"/>
                </a:lnTo>
                <a:lnTo>
                  <a:pt x="3595" y="143"/>
                </a:lnTo>
                <a:lnTo>
                  <a:pt x="3595" y="143"/>
                </a:lnTo>
                <a:lnTo>
                  <a:pt x="3572" y="131"/>
                </a:lnTo>
                <a:lnTo>
                  <a:pt x="3546" y="116"/>
                </a:lnTo>
                <a:lnTo>
                  <a:pt x="3516" y="98"/>
                </a:lnTo>
                <a:lnTo>
                  <a:pt x="3485" y="79"/>
                </a:lnTo>
                <a:lnTo>
                  <a:pt x="3453" y="62"/>
                </a:lnTo>
                <a:lnTo>
                  <a:pt x="3438" y="55"/>
                </a:lnTo>
                <a:lnTo>
                  <a:pt x="3423" y="48"/>
                </a:lnTo>
                <a:lnTo>
                  <a:pt x="3408" y="43"/>
                </a:lnTo>
                <a:lnTo>
                  <a:pt x="3394" y="39"/>
                </a:lnTo>
                <a:lnTo>
                  <a:pt x="3381" y="35"/>
                </a:lnTo>
                <a:lnTo>
                  <a:pt x="3369" y="34"/>
                </a:lnTo>
                <a:lnTo>
                  <a:pt x="3369" y="34"/>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8" name="Freeform 2053"/>
          <p:cNvSpPr>
            <a:spLocks/>
          </p:cNvSpPr>
          <p:nvPr/>
        </p:nvSpPr>
        <p:spPr bwMode="auto">
          <a:xfrm>
            <a:off x="8504240" y="2674939"/>
            <a:ext cx="461963" cy="155575"/>
          </a:xfrm>
          <a:custGeom>
            <a:avLst/>
            <a:gdLst>
              <a:gd name="T0" fmla="*/ 1672 w 1744"/>
              <a:gd name="T1" fmla="*/ 276 h 589"/>
              <a:gd name="T2" fmla="*/ 1668 w 1744"/>
              <a:gd name="T3" fmla="*/ 245 h 589"/>
              <a:gd name="T4" fmla="*/ 1655 w 1744"/>
              <a:gd name="T5" fmla="*/ 214 h 589"/>
              <a:gd name="T6" fmla="*/ 1635 w 1744"/>
              <a:gd name="T7" fmla="*/ 186 h 589"/>
              <a:gd name="T8" fmla="*/ 1608 w 1744"/>
              <a:gd name="T9" fmla="*/ 159 h 589"/>
              <a:gd name="T10" fmla="*/ 1574 w 1744"/>
              <a:gd name="T11" fmla="*/ 135 h 589"/>
              <a:gd name="T12" fmla="*/ 1535 w 1744"/>
              <a:gd name="T13" fmla="*/ 113 h 589"/>
              <a:gd name="T14" fmla="*/ 1492 w 1744"/>
              <a:gd name="T15" fmla="*/ 92 h 589"/>
              <a:gd name="T16" fmla="*/ 1444 w 1744"/>
              <a:gd name="T17" fmla="*/ 73 h 589"/>
              <a:gd name="T18" fmla="*/ 1393 w 1744"/>
              <a:gd name="T19" fmla="*/ 57 h 589"/>
              <a:gd name="T20" fmla="*/ 1339 w 1744"/>
              <a:gd name="T21" fmla="*/ 41 h 589"/>
              <a:gd name="T22" fmla="*/ 1283 w 1744"/>
              <a:gd name="T23" fmla="*/ 29 h 589"/>
              <a:gd name="T24" fmla="*/ 1167 w 1744"/>
              <a:gd name="T25" fmla="*/ 10 h 589"/>
              <a:gd name="T26" fmla="*/ 1052 w 1744"/>
              <a:gd name="T27" fmla="*/ 1 h 589"/>
              <a:gd name="T28" fmla="*/ 458 w 1744"/>
              <a:gd name="T29" fmla="*/ 0 h 589"/>
              <a:gd name="T30" fmla="*/ 431 w 1744"/>
              <a:gd name="T31" fmla="*/ 0 h 589"/>
              <a:gd name="T32" fmla="*/ 379 w 1744"/>
              <a:gd name="T33" fmla="*/ 2 h 589"/>
              <a:gd name="T34" fmla="*/ 330 w 1744"/>
              <a:gd name="T35" fmla="*/ 7 h 589"/>
              <a:gd name="T36" fmla="*/ 284 w 1744"/>
              <a:gd name="T37" fmla="*/ 14 h 589"/>
              <a:gd name="T38" fmla="*/ 242 w 1744"/>
              <a:gd name="T39" fmla="*/ 23 h 589"/>
              <a:gd name="T40" fmla="*/ 203 w 1744"/>
              <a:gd name="T41" fmla="*/ 35 h 589"/>
              <a:gd name="T42" fmla="*/ 166 w 1744"/>
              <a:gd name="T43" fmla="*/ 49 h 589"/>
              <a:gd name="T44" fmla="*/ 134 w 1744"/>
              <a:gd name="T45" fmla="*/ 65 h 589"/>
              <a:gd name="T46" fmla="*/ 104 w 1744"/>
              <a:gd name="T47" fmla="*/ 82 h 589"/>
              <a:gd name="T48" fmla="*/ 79 w 1744"/>
              <a:gd name="T49" fmla="*/ 102 h 589"/>
              <a:gd name="T50" fmla="*/ 57 w 1744"/>
              <a:gd name="T51" fmla="*/ 124 h 589"/>
              <a:gd name="T52" fmla="*/ 37 w 1744"/>
              <a:gd name="T53" fmla="*/ 147 h 589"/>
              <a:gd name="T54" fmla="*/ 23 w 1744"/>
              <a:gd name="T55" fmla="*/ 173 h 589"/>
              <a:gd name="T56" fmla="*/ 11 w 1744"/>
              <a:gd name="T57" fmla="*/ 200 h 589"/>
              <a:gd name="T58" fmla="*/ 4 w 1744"/>
              <a:gd name="T59" fmla="*/ 230 h 589"/>
              <a:gd name="T60" fmla="*/ 0 w 1744"/>
              <a:gd name="T61" fmla="*/ 260 h 589"/>
              <a:gd name="T62" fmla="*/ 0 w 1744"/>
              <a:gd name="T63" fmla="*/ 276 h 589"/>
              <a:gd name="T64" fmla="*/ 0 w 1744"/>
              <a:gd name="T65" fmla="*/ 292 h 589"/>
              <a:gd name="T66" fmla="*/ 6 w 1744"/>
              <a:gd name="T67" fmla="*/ 323 h 589"/>
              <a:gd name="T68" fmla="*/ 16 w 1744"/>
              <a:gd name="T69" fmla="*/ 354 h 589"/>
              <a:gd name="T70" fmla="*/ 31 w 1744"/>
              <a:gd name="T71" fmla="*/ 383 h 589"/>
              <a:gd name="T72" fmla="*/ 51 w 1744"/>
              <a:gd name="T73" fmla="*/ 412 h 589"/>
              <a:gd name="T74" fmla="*/ 76 w 1744"/>
              <a:gd name="T75" fmla="*/ 438 h 589"/>
              <a:gd name="T76" fmla="*/ 104 w 1744"/>
              <a:gd name="T77" fmla="*/ 463 h 589"/>
              <a:gd name="T78" fmla="*/ 137 w 1744"/>
              <a:gd name="T79" fmla="*/ 486 h 589"/>
              <a:gd name="T80" fmla="*/ 174 w 1744"/>
              <a:gd name="T81" fmla="*/ 507 h 589"/>
              <a:gd name="T82" fmla="*/ 212 w 1744"/>
              <a:gd name="T83" fmla="*/ 527 h 589"/>
              <a:gd name="T84" fmla="*/ 255 w 1744"/>
              <a:gd name="T85" fmla="*/ 543 h 589"/>
              <a:gd name="T86" fmla="*/ 301 w 1744"/>
              <a:gd name="T87" fmla="*/ 558 h 589"/>
              <a:gd name="T88" fmla="*/ 347 w 1744"/>
              <a:gd name="T89" fmla="*/ 569 h 589"/>
              <a:gd name="T90" fmla="*/ 397 w 1744"/>
              <a:gd name="T91" fmla="*/ 579 h 589"/>
              <a:gd name="T92" fmla="*/ 449 w 1744"/>
              <a:gd name="T93" fmla="*/ 585 h 589"/>
              <a:gd name="T94" fmla="*/ 503 w 1744"/>
              <a:gd name="T95" fmla="*/ 588 h 589"/>
              <a:gd name="T96" fmla="*/ 1285 w 1744"/>
              <a:gd name="T97" fmla="*/ 552 h 589"/>
              <a:gd name="T98" fmla="*/ 1339 w 1744"/>
              <a:gd name="T99" fmla="*/ 553 h 589"/>
              <a:gd name="T100" fmla="*/ 1437 w 1744"/>
              <a:gd name="T101" fmla="*/ 558 h 589"/>
              <a:gd name="T102" fmla="*/ 1560 w 1744"/>
              <a:gd name="T103" fmla="*/ 567 h 589"/>
              <a:gd name="T104" fmla="*/ 1625 w 1744"/>
              <a:gd name="T105" fmla="*/ 569 h 589"/>
              <a:gd name="T106" fmla="*/ 1652 w 1744"/>
              <a:gd name="T107" fmla="*/ 567 h 589"/>
              <a:gd name="T108" fmla="*/ 1677 w 1744"/>
              <a:gd name="T109" fmla="*/ 562 h 589"/>
              <a:gd name="T110" fmla="*/ 1697 w 1744"/>
              <a:gd name="T111" fmla="*/ 555 h 589"/>
              <a:gd name="T112" fmla="*/ 1713 w 1744"/>
              <a:gd name="T113" fmla="*/ 544 h 589"/>
              <a:gd name="T114" fmla="*/ 1726 w 1744"/>
              <a:gd name="T115" fmla="*/ 530 h 589"/>
              <a:gd name="T116" fmla="*/ 1737 w 1744"/>
              <a:gd name="T117" fmla="*/ 510 h 589"/>
              <a:gd name="T118" fmla="*/ 1742 w 1744"/>
              <a:gd name="T119" fmla="*/ 486 h 589"/>
              <a:gd name="T120" fmla="*/ 1744 w 1744"/>
              <a:gd name="T121" fmla="*/ 456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4" h="589">
                <a:moveTo>
                  <a:pt x="1672" y="276"/>
                </a:moveTo>
                <a:lnTo>
                  <a:pt x="1672" y="276"/>
                </a:lnTo>
                <a:lnTo>
                  <a:pt x="1671" y="260"/>
                </a:lnTo>
                <a:lnTo>
                  <a:pt x="1668" y="245"/>
                </a:lnTo>
                <a:lnTo>
                  <a:pt x="1662" y="230"/>
                </a:lnTo>
                <a:lnTo>
                  <a:pt x="1655" y="214"/>
                </a:lnTo>
                <a:lnTo>
                  <a:pt x="1646" y="200"/>
                </a:lnTo>
                <a:lnTo>
                  <a:pt x="1635" y="186"/>
                </a:lnTo>
                <a:lnTo>
                  <a:pt x="1622" y="173"/>
                </a:lnTo>
                <a:lnTo>
                  <a:pt x="1608" y="159"/>
                </a:lnTo>
                <a:lnTo>
                  <a:pt x="1591" y="147"/>
                </a:lnTo>
                <a:lnTo>
                  <a:pt x="1574" y="135"/>
                </a:lnTo>
                <a:lnTo>
                  <a:pt x="1556" y="124"/>
                </a:lnTo>
                <a:lnTo>
                  <a:pt x="1535" y="113"/>
                </a:lnTo>
                <a:lnTo>
                  <a:pt x="1514" y="102"/>
                </a:lnTo>
                <a:lnTo>
                  <a:pt x="1492" y="92"/>
                </a:lnTo>
                <a:lnTo>
                  <a:pt x="1468" y="82"/>
                </a:lnTo>
                <a:lnTo>
                  <a:pt x="1444" y="73"/>
                </a:lnTo>
                <a:lnTo>
                  <a:pt x="1419" y="65"/>
                </a:lnTo>
                <a:lnTo>
                  <a:pt x="1393" y="57"/>
                </a:lnTo>
                <a:lnTo>
                  <a:pt x="1366" y="49"/>
                </a:lnTo>
                <a:lnTo>
                  <a:pt x="1339" y="41"/>
                </a:lnTo>
                <a:lnTo>
                  <a:pt x="1312" y="35"/>
                </a:lnTo>
                <a:lnTo>
                  <a:pt x="1283" y="29"/>
                </a:lnTo>
                <a:lnTo>
                  <a:pt x="1225" y="18"/>
                </a:lnTo>
                <a:lnTo>
                  <a:pt x="1167" y="10"/>
                </a:lnTo>
                <a:lnTo>
                  <a:pt x="1109" y="5"/>
                </a:lnTo>
                <a:lnTo>
                  <a:pt x="1052" y="1"/>
                </a:lnTo>
                <a:lnTo>
                  <a:pt x="996" y="0"/>
                </a:lnTo>
                <a:lnTo>
                  <a:pt x="458" y="0"/>
                </a:lnTo>
                <a:lnTo>
                  <a:pt x="458" y="0"/>
                </a:lnTo>
                <a:lnTo>
                  <a:pt x="431" y="0"/>
                </a:lnTo>
                <a:lnTo>
                  <a:pt x="404" y="1"/>
                </a:lnTo>
                <a:lnTo>
                  <a:pt x="379" y="2"/>
                </a:lnTo>
                <a:lnTo>
                  <a:pt x="355" y="5"/>
                </a:lnTo>
                <a:lnTo>
                  <a:pt x="330" y="7"/>
                </a:lnTo>
                <a:lnTo>
                  <a:pt x="307" y="10"/>
                </a:lnTo>
                <a:lnTo>
                  <a:pt x="284" y="14"/>
                </a:lnTo>
                <a:lnTo>
                  <a:pt x="263" y="18"/>
                </a:lnTo>
                <a:lnTo>
                  <a:pt x="242" y="23"/>
                </a:lnTo>
                <a:lnTo>
                  <a:pt x="221" y="29"/>
                </a:lnTo>
                <a:lnTo>
                  <a:pt x="203" y="35"/>
                </a:lnTo>
                <a:lnTo>
                  <a:pt x="184" y="41"/>
                </a:lnTo>
                <a:lnTo>
                  <a:pt x="166" y="49"/>
                </a:lnTo>
                <a:lnTo>
                  <a:pt x="150" y="57"/>
                </a:lnTo>
                <a:lnTo>
                  <a:pt x="134" y="65"/>
                </a:lnTo>
                <a:lnTo>
                  <a:pt x="119" y="73"/>
                </a:lnTo>
                <a:lnTo>
                  <a:pt x="104" y="82"/>
                </a:lnTo>
                <a:lnTo>
                  <a:pt x="91" y="92"/>
                </a:lnTo>
                <a:lnTo>
                  <a:pt x="79" y="102"/>
                </a:lnTo>
                <a:lnTo>
                  <a:pt x="67" y="113"/>
                </a:lnTo>
                <a:lnTo>
                  <a:pt x="57" y="124"/>
                </a:lnTo>
                <a:lnTo>
                  <a:pt x="46" y="135"/>
                </a:lnTo>
                <a:lnTo>
                  <a:pt x="37" y="147"/>
                </a:lnTo>
                <a:lnTo>
                  <a:pt x="30" y="159"/>
                </a:lnTo>
                <a:lnTo>
                  <a:pt x="23" y="173"/>
                </a:lnTo>
                <a:lnTo>
                  <a:pt x="17" y="186"/>
                </a:lnTo>
                <a:lnTo>
                  <a:pt x="11" y="200"/>
                </a:lnTo>
                <a:lnTo>
                  <a:pt x="7" y="214"/>
                </a:lnTo>
                <a:lnTo>
                  <a:pt x="4" y="230"/>
                </a:lnTo>
                <a:lnTo>
                  <a:pt x="1" y="245"/>
                </a:lnTo>
                <a:lnTo>
                  <a:pt x="0" y="260"/>
                </a:lnTo>
                <a:lnTo>
                  <a:pt x="0" y="276"/>
                </a:lnTo>
                <a:lnTo>
                  <a:pt x="0" y="276"/>
                </a:lnTo>
                <a:lnTo>
                  <a:pt x="0" y="276"/>
                </a:lnTo>
                <a:lnTo>
                  <a:pt x="0" y="292"/>
                </a:lnTo>
                <a:lnTo>
                  <a:pt x="2" y="308"/>
                </a:lnTo>
                <a:lnTo>
                  <a:pt x="6" y="323"/>
                </a:lnTo>
                <a:lnTo>
                  <a:pt x="10" y="338"/>
                </a:lnTo>
                <a:lnTo>
                  <a:pt x="16" y="354"/>
                </a:lnTo>
                <a:lnTo>
                  <a:pt x="23" y="369"/>
                </a:lnTo>
                <a:lnTo>
                  <a:pt x="31" y="383"/>
                </a:lnTo>
                <a:lnTo>
                  <a:pt x="41" y="397"/>
                </a:lnTo>
                <a:lnTo>
                  <a:pt x="51" y="412"/>
                </a:lnTo>
                <a:lnTo>
                  <a:pt x="64" y="425"/>
                </a:lnTo>
                <a:lnTo>
                  <a:pt x="76" y="438"/>
                </a:lnTo>
                <a:lnTo>
                  <a:pt x="90" y="450"/>
                </a:lnTo>
                <a:lnTo>
                  <a:pt x="104" y="463"/>
                </a:lnTo>
                <a:lnTo>
                  <a:pt x="121" y="475"/>
                </a:lnTo>
                <a:lnTo>
                  <a:pt x="137" y="486"/>
                </a:lnTo>
                <a:lnTo>
                  <a:pt x="155" y="497"/>
                </a:lnTo>
                <a:lnTo>
                  <a:pt x="174" y="507"/>
                </a:lnTo>
                <a:lnTo>
                  <a:pt x="193" y="517"/>
                </a:lnTo>
                <a:lnTo>
                  <a:pt x="212" y="527"/>
                </a:lnTo>
                <a:lnTo>
                  <a:pt x="234" y="535"/>
                </a:lnTo>
                <a:lnTo>
                  <a:pt x="255" y="543"/>
                </a:lnTo>
                <a:lnTo>
                  <a:pt x="277" y="551"/>
                </a:lnTo>
                <a:lnTo>
                  <a:pt x="301" y="558"/>
                </a:lnTo>
                <a:lnTo>
                  <a:pt x="324" y="564"/>
                </a:lnTo>
                <a:lnTo>
                  <a:pt x="347" y="569"/>
                </a:lnTo>
                <a:lnTo>
                  <a:pt x="373" y="574"/>
                </a:lnTo>
                <a:lnTo>
                  <a:pt x="397" y="579"/>
                </a:lnTo>
                <a:lnTo>
                  <a:pt x="424" y="583"/>
                </a:lnTo>
                <a:lnTo>
                  <a:pt x="449" y="585"/>
                </a:lnTo>
                <a:lnTo>
                  <a:pt x="477" y="587"/>
                </a:lnTo>
                <a:lnTo>
                  <a:pt x="503" y="588"/>
                </a:lnTo>
                <a:lnTo>
                  <a:pt x="530" y="589"/>
                </a:lnTo>
                <a:lnTo>
                  <a:pt x="1285" y="552"/>
                </a:lnTo>
                <a:lnTo>
                  <a:pt x="1285" y="552"/>
                </a:lnTo>
                <a:lnTo>
                  <a:pt x="1339" y="553"/>
                </a:lnTo>
                <a:lnTo>
                  <a:pt x="1389" y="555"/>
                </a:lnTo>
                <a:lnTo>
                  <a:pt x="1437" y="558"/>
                </a:lnTo>
                <a:lnTo>
                  <a:pt x="1480" y="561"/>
                </a:lnTo>
                <a:lnTo>
                  <a:pt x="1560" y="567"/>
                </a:lnTo>
                <a:lnTo>
                  <a:pt x="1593" y="569"/>
                </a:lnTo>
                <a:lnTo>
                  <a:pt x="1625" y="569"/>
                </a:lnTo>
                <a:lnTo>
                  <a:pt x="1639" y="568"/>
                </a:lnTo>
                <a:lnTo>
                  <a:pt x="1652" y="567"/>
                </a:lnTo>
                <a:lnTo>
                  <a:pt x="1664" y="565"/>
                </a:lnTo>
                <a:lnTo>
                  <a:pt x="1677" y="562"/>
                </a:lnTo>
                <a:lnTo>
                  <a:pt x="1687" y="559"/>
                </a:lnTo>
                <a:lnTo>
                  <a:pt x="1697" y="555"/>
                </a:lnTo>
                <a:lnTo>
                  <a:pt x="1706" y="550"/>
                </a:lnTo>
                <a:lnTo>
                  <a:pt x="1713" y="544"/>
                </a:lnTo>
                <a:lnTo>
                  <a:pt x="1720" y="538"/>
                </a:lnTo>
                <a:lnTo>
                  <a:pt x="1726" y="530"/>
                </a:lnTo>
                <a:lnTo>
                  <a:pt x="1733" y="521"/>
                </a:lnTo>
                <a:lnTo>
                  <a:pt x="1737" y="510"/>
                </a:lnTo>
                <a:lnTo>
                  <a:pt x="1740" y="499"/>
                </a:lnTo>
                <a:lnTo>
                  <a:pt x="1742" y="486"/>
                </a:lnTo>
                <a:lnTo>
                  <a:pt x="1744" y="472"/>
                </a:lnTo>
                <a:lnTo>
                  <a:pt x="1744" y="456"/>
                </a:lnTo>
                <a:lnTo>
                  <a:pt x="1672" y="276"/>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49" name="Freeform 2054"/>
          <p:cNvSpPr>
            <a:spLocks/>
          </p:cNvSpPr>
          <p:nvPr/>
        </p:nvSpPr>
        <p:spPr bwMode="auto">
          <a:xfrm>
            <a:off x="10968040" y="2416176"/>
            <a:ext cx="868363" cy="931863"/>
          </a:xfrm>
          <a:custGeom>
            <a:avLst/>
            <a:gdLst>
              <a:gd name="T0" fmla="*/ 3278 w 3278"/>
              <a:gd name="T1" fmla="*/ 493 h 3523"/>
              <a:gd name="T2" fmla="*/ 3278 w 3278"/>
              <a:gd name="T3" fmla="*/ 493 h 3523"/>
              <a:gd name="T4" fmla="*/ 3277 w 3278"/>
              <a:gd name="T5" fmla="*/ 488 h 3523"/>
              <a:gd name="T6" fmla="*/ 3275 w 3278"/>
              <a:gd name="T7" fmla="*/ 484 h 3523"/>
              <a:gd name="T8" fmla="*/ 3271 w 3278"/>
              <a:gd name="T9" fmla="*/ 481 h 3523"/>
              <a:gd name="T10" fmla="*/ 3266 w 3278"/>
              <a:gd name="T11" fmla="*/ 479 h 3523"/>
              <a:gd name="T12" fmla="*/ 13 w 3278"/>
              <a:gd name="T13" fmla="*/ 0 h 3523"/>
              <a:gd name="T14" fmla="*/ 13 w 3278"/>
              <a:gd name="T15" fmla="*/ 0 h 3523"/>
              <a:gd name="T16" fmla="*/ 7 w 3278"/>
              <a:gd name="T17" fmla="*/ 1 h 3523"/>
              <a:gd name="T18" fmla="*/ 3 w 3278"/>
              <a:gd name="T19" fmla="*/ 3 h 3523"/>
              <a:gd name="T20" fmla="*/ 1 w 3278"/>
              <a:gd name="T21" fmla="*/ 6 h 3523"/>
              <a:gd name="T22" fmla="*/ 0 w 3278"/>
              <a:gd name="T23" fmla="*/ 11 h 3523"/>
              <a:gd name="T24" fmla="*/ 0 w 3278"/>
              <a:gd name="T25" fmla="*/ 2609 h 3523"/>
              <a:gd name="T26" fmla="*/ 0 w 3278"/>
              <a:gd name="T27" fmla="*/ 2609 h 3523"/>
              <a:gd name="T28" fmla="*/ 1 w 3278"/>
              <a:gd name="T29" fmla="*/ 2614 h 3523"/>
              <a:gd name="T30" fmla="*/ 3 w 3278"/>
              <a:gd name="T31" fmla="*/ 2619 h 3523"/>
              <a:gd name="T32" fmla="*/ 7 w 3278"/>
              <a:gd name="T33" fmla="*/ 2623 h 3523"/>
              <a:gd name="T34" fmla="*/ 12 w 3278"/>
              <a:gd name="T35" fmla="*/ 2625 h 3523"/>
              <a:gd name="T36" fmla="*/ 3267 w 3278"/>
              <a:gd name="T37" fmla="*/ 3523 h 3523"/>
              <a:gd name="T38" fmla="*/ 3267 w 3278"/>
              <a:gd name="T39" fmla="*/ 3523 h 3523"/>
              <a:gd name="T40" fmla="*/ 3271 w 3278"/>
              <a:gd name="T41" fmla="*/ 3523 h 3523"/>
              <a:gd name="T42" fmla="*/ 3275 w 3278"/>
              <a:gd name="T43" fmla="*/ 3522 h 3523"/>
              <a:gd name="T44" fmla="*/ 3277 w 3278"/>
              <a:gd name="T45" fmla="*/ 3519 h 3523"/>
              <a:gd name="T46" fmla="*/ 3278 w 3278"/>
              <a:gd name="T47" fmla="*/ 3514 h 3523"/>
              <a:gd name="T48" fmla="*/ 3278 w 3278"/>
              <a:gd name="T49" fmla="*/ 493 h 3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78" h="3523">
                <a:moveTo>
                  <a:pt x="3278" y="493"/>
                </a:moveTo>
                <a:lnTo>
                  <a:pt x="3278" y="493"/>
                </a:lnTo>
                <a:lnTo>
                  <a:pt x="3277" y="488"/>
                </a:lnTo>
                <a:lnTo>
                  <a:pt x="3275" y="484"/>
                </a:lnTo>
                <a:lnTo>
                  <a:pt x="3271" y="481"/>
                </a:lnTo>
                <a:lnTo>
                  <a:pt x="3266" y="479"/>
                </a:lnTo>
                <a:lnTo>
                  <a:pt x="13" y="0"/>
                </a:lnTo>
                <a:lnTo>
                  <a:pt x="13" y="0"/>
                </a:lnTo>
                <a:lnTo>
                  <a:pt x="7" y="1"/>
                </a:lnTo>
                <a:lnTo>
                  <a:pt x="3" y="3"/>
                </a:lnTo>
                <a:lnTo>
                  <a:pt x="1" y="6"/>
                </a:lnTo>
                <a:lnTo>
                  <a:pt x="0" y="11"/>
                </a:lnTo>
                <a:lnTo>
                  <a:pt x="0" y="2609"/>
                </a:lnTo>
                <a:lnTo>
                  <a:pt x="0" y="2609"/>
                </a:lnTo>
                <a:lnTo>
                  <a:pt x="1" y="2614"/>
                </a:lnTo>
                <a:lnTo>
                  <a:pt x="3" y="2619"/>
                </a:lnTo>
                <a:lnTo>
                  <a:pt x="7" y="2623"/>
                </a:lnTo>
                <a:lnTo>
                  <a:pt x="12" y="2625"/>
                </a:lnTo>
                <a:lnTo>
                  <a:pt x="3267" y="3523"/>
                </a:lnTo>
                <a:lnTo>
                  <a:pt x="3267" y="3523"/>
                </a:lnTo>
                <a:lnTo>
                  <a:pt x="3271" y="3523"/>
                </a:lnTo>
                <a:lnTo>
                  <a:pt x="3275" y="3522"/>
                </a:lnTo>
                <a:lnTo>
                  <a:pt x="3277" y="3519"/>
                </a:lnTo>
                <a:lnTo>
                  <a:pt x="3278" y="3514"/>
                </a:lnTo>
                <a:lnTo>
                  <a:pt x="3278" y="493"/>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0" name="Freeform 2055"/>
          <p:cNvSpPr>
            <a:spLocks/>
          </p:cNvSpPr>
          <p:nvPr/>
        </p:nvSpPr>
        <p:spPr bwMode="auto">
          <a:xfrm>
            <a:off x="8035926" y="2665414"/>
            <a:ext cx="527050" cy="169863"/>
          </a:xfrm>
          <a:custGeom>
            <a:avLst/>
            <a:gdLst>
              <a:gd name="T0" fmla="*/ 1925 w 1989"/>
              <a:gd name="T1" fmla="*/ 313 h 642"/>
              <a:gd name="T2" fmla="*/ 1922 w 1989"/>
              <a:gd name="T3" fmla="*/ 281 h 642"/>
              <a:gd name="T4" fmla="*/ 1912 w 1989"/>
              <a:gd name="T5" fmla="*/ 250 h 642"/>
              <a:gd name="T6" fmla="*/ 1895 w 1989"/>
              <a:gd name="T7" fmla="*/ 220 h 642"/>
              <a:gd name="T8" fmla="*/ 1872 w 1989"/>
              <a:gd name="T9" fmla="*/ 191 h 642"/>
              <a:gd name="T10" fmla="*/ 1845 w 1989"/>
              <a:gd name="T11" fmla="*/ 164 h 642"/>
              <a:gd name="T12" fmla="*/ 1812 w 1989"/>
              <a:gd name="T13" fmla="*/ 138 h 642"/>
              <a:gd name="T14" fmla="*/ 1775 w 1989"/>
              <a:gd name="T15" fmla="*/ 114 h 642"/>
              <a:gd name="T16" fmla="*/ 1734 w 1989"/>
              <a:gd name="T17" fmla="*/ 92 h 642"/>
              <a:gd name="T18" fmla="*/ 1689 w 1989"/>
              <a:gd name="T19" fmla="*/ 71 h 642"/>
              <a:gd name="T20" fmla="*/ 1642 w 1989"/>
              <a:gd name="T21" fmla="*/ 54 h 642"/>
              <a:gd name="T22" fmla="*/ 1592 w 1989"/>
              <a:gd name="T23" fmla="*/ 38 h 642"/>
              <a:gd name="T24" fmla="*/ 1540 w 1989"/>
              <a:gd name="T25" fmla="*/ 24 h 642"/>
              <a:gd name="T26" fmla="*/ 1487 w 1989"/>
              <a:gd name="T27" fmla="*/ 14 h 642"/>
              <a:gd name="T28" fmla="*/ 1432 w 1989"/>
              <a:gd name="T29" fmla="*/ 7 h 642"/>
              <a:gd name="T30" fmla="*/ 1377 w 1989"/>
              <a:gd name="T31" fmla="*/ 2 h 642"/>
              <a:gd name="T32" fmla="*/ 1322 w 1989"/>
              <a:gd name="T33" fmla="*/ 0 h 642"/>
              <a:gd name="T34" fmla="*/ 676 w 1989"/>
              <a:gd name="T35" fmla="*/ 0 h 642"/>
              <a:gd name="T36" fmla="*/ 620 w 1989"/>
              <a:gd name="T37" fmla="*/ 2 h 642"/>
              <a:gd name="T38" fmla="*/ 562 w 1989"/>
              <a:gd name="T39" fmla="*/ 7 h 642"/>
              <a:gd name="T40" fmla="*/ 504 w 1989"/>
              <a:gd name="T41" fmla="*/ 14 h 642"/>
              <a:gd name="T42" fmla="*/ 446 w 1989"/>
              <a:gd name="T43" fmla="*/ 24 h 642"/>
              <a:gd name="T44" fmla="*/ 390 w 1989"/>
              <a:gd name="T45" fmla="*/ 38 h 642"/>
              <a:gd name="T46" fmla="*/ 333 w 1989"/>
              <a:gd name="T47" fmla="*/ 54 h 642"/>
              <a:gd name="T48" fmla="*/ 279 w 1989"/>
              <a:gd name="T49" fmla="*/ 71 h 642"/>
              <a:gd name="T50" fmla="*/ 228 w 1989"/>
              <a:gd name="T51" fmla="*/ 92 h 642"/>
              <a:gd name="T52" fmla="*/ 180 w 1989"/>
              <a:gd name="T53" fmla="*/ 114 h 642"/>
              <a:gd name="T54" fmla="*/ 136 w 1989"/>
              <a:gd name="T55" fmla="*/ 138 h 642"/>
              <a:gd name="T56" fmla="*/ 98 w 1989"/>
              <a:gd name="T57" fmla="*/ 164 h 642"/>
              <a:gd name="T58" fmla="*/ 64 w 1989"/>
              <a:gd name="T59" fmla="*/ 191 h 642"/>
              <a:gd name="T60" fmla="*/ 38 w 1989"/>
              <a:gd name="T61" fmla="*/ 220 h 642"/>
              <a:gd name="T62" fmla="*/ 17 w 1989"/>
              <a:gd name="T63" fmla="*/ 250 h 642"/>
              <a:gd name="T64" fmla="*/ 4 w 1989"/>
              <a:gd name="T65" fmla="*/ 281 h 642"/>
              <a:gd name="T66" fmla="*/ 0 w 1989"/>
              <a:gd name="T67" fmla="*/ 313 h 642"/>
              <a:gd name="T68" fmla="*/ 144 w 1989"/>
              <a:gd name="T69" fmla="*/ 530 h 642"/>
              <a:gd name="T70" fmla="*/ 147 w 1989"/>
              <a:gd name="T71" fmla="*/ 560 h 642"/>
              <a:gd name="T72" fmla="*/ 156 w 1989"/>
              <a:gd name="T73" fmla="*/ 583 h 642"/>
              <a:gd name="T74" fmla="*/ 169 w 1989"/>
              <a:gd name="T75" fmla="*/ 602 h 642"/>
              <a:gd name="T76" fmla="*/ 186 w 1989"/>
              <a:gd name="T77" fmla="*/ 618 h 642"/>
              <a:gd name="T78" fmla="*/ 209 w 1989"/>
              <a:gd name="T79" fmla="*/ 629 h 642"/>
              <a:gd name="T80" fmla="*/ 235 w 1989"/>
              <a:gd name="T81" fmla="*/ 636 h 642"/>
              <a:gd name="T82" fmla="*/ 265 w 1989"/>
              <a:gd name="T83" fmla="*/ 640 h 642"/>
              <a:gd name="T84" fmla="*/ 300 w 1989"/>
              <a:gd name="T85" fmla="*/ 642 h 642"/>
              <a:gd name="T86" fmla="*/ 378 w 1989"/>
              <a:gd name="T87" fmla="*/ 641 h 642"/>
              <a:gd name="T88" fmla="*/ 518 w 1989"/>
              <a:gd name="T89" fmla="*/ 632 h 642"/>
              <a:gd name="T90" fmla="*/ 621 w 1989"/>
              <a:gd name="T91" fmla="*/ 627 h 642"/>
              <a:gd name="T92" fmla="*/ 1828 w 1989"/>
              <a:gd name="T93" fmla="*/ 626 h 642"/>
              <a:gd name="T94" fmla="*/ 1854 w 1989"/>
              <a:gd name="T95" fmla="*/ 625 h 642"/>
              <a:gd name="T96" fmla="*/ 1898 w 1989"/>
              <a:gd name="T97" fmla="*/ 622 h 642"/>
              <a:gd name="T98" fmla="*/ 1932 w 1989"/>
              <a:gd name="T99" fmla="*/ 616 h 642"/>
              <a:gd name="T100" fmla="*/ 1957 w 1989"/>
              <a:gd name="T101" fmla="*/ 606 h 642"/>
              <a:gd name="T102" fmla="*/ 1974 w 1989"/>
              <a:gd name="T103" fmla="*/ 595 h 642"/>
              <a:gd name="T104" fmla="*/ 1984 w 1989"/>
              <a:gd name="T105" fmla="*/ 580 h 642"/>
              <a:gd name="T106" fmla="*/ 1989 w 1989"/>
              <a:gd name="T107" fmla="*/ 564 h 642"/>
              <a:gd name="T108" fmla="*/ 1988 w 1989"/>
              <a:gd name="T109" fmla="*/ 544 h 642"/>
              <a:gd name="T110" fmla="*/ 1984 w 1989"/>
              <a:gd name="T111" fmla="*/ 523 h 642"/>
              <a:gd name="T112" fmla="*/ 1972 w 1989"/>
              <a:gd name="T113" fmla="*/ 487 h 642"/>
              <a:gd name="T114" fmla="*/ 1941 w 1989"/>
              <a:gd name="T115" fmla="*/ 406 h 642"/>
              <a:gd name="T116" fmla="*/ 1933 w 1989"/>
              <a:gd name="T117" fmla="*/ 375 h 642"/>
              <a:gd name="T118" fmla="*/ 1927 w 1989"/>
              <a:gd name="T119" fmla="*/ 345 h 642"/>
              <a:gd name="T120" fmla="*/ 1925 w 1989"/>
              <a:gd name="T121" fmla="*/ 313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89" h="642">
                <a:moveTo>
                  <a:pt x="1925" y="313"/>
                </a:moveTo>
                <a:lnTo>
                  <a:pt x="1925" y="313"/>
                </a:lnTo>
                <a:lnTo>
                  <a:pt x="1925" y="297"/>
                </a:lnTo>
                <a:lnTo>
                  <a:pt x="1922" y="281"/>
                </a:lnTo>
                <a:lnTo>
                  <a:pt x="1918" y="266"/>
                </a:lnTo>
                <a:lnTo>
                  <a:pt x="1912" y="250"/>
                </a:lnTo>
                <a:lnTo>
                  <a:pt x="1904" y="235"/>
                </a:lnTo>
                <a:lnTo>
                  <a:pt x="1895" y="220"/>
                </a:lnTo>
                <a:lnTo>
                  <a:pt x="1885" y="206"/>
                </a:lnTo>
                <a:lnTo>
                  <a:pt x="1872" y="191"/>
                </a:lnTo>
                <a:lnTo>
                  <a:pt x="1859" y="177"/>
                </a:lnTo>
                <a:lnTo>
                  <a:pt x="1845" y="164"/>
                </a:lnTo>
                <a:lnTo>
                  <a:pt x="1829" y="151"/>
                </a:lnTo>
                <a:lnTo>
                  <a:pt x="1812" y="138"/>
                </a:lnTo>
                <a:lnTo>
                  <a:pt x="1794" y="126"/>
                </a:lnTo>
                <a:lnTo>
                  <a:pt x="1775" y="114"/>
                </a:lnTo>
                <a:lnTo>
                  <a:pt x="1754" y="103"/>
                </a:lnTo>
                <a:lnTo>
                  <a:pt x="1734" y="92"/>
                </a:lnTo>
                <a:lnTo>
                  <a:pt x="1712" y="81"/>
                </a:lnTo>
                <a:lnTo>
                  <a:pt x="1689" y="71"/>
                </a:lnTo>
                <a:lnTo>
                  <a:pt x="1666" y="62"/>
                </a:lnTo>
                <a:lnTo>
                  <a:pt x="1642" y="54"/>
                </a:lnTo>
                <a:lnTo>
                  <a:pt x="1617" y="46"/>
                </a:lnTo>
                <a:lnTo>
                  <a:pt x="1592" y="38"/>
                </a:lnTo>
                <a:lnTo>
                  <a:pt x="1566" y="32"/>
                </a:lnTo>
                <a:lnTo>
                  <a:pt x="1540" y="24"/>
                </a:lnTo>
                <a:lnTo>
                  <a:pt x="1513" y="19"/>
                </a:lnTo>
                <a:lnTo>
                  <a:pt x="1487" y="14"/>
                </a:lnTo>
                <a:lnTo>
                  <a:pt x="1459" y="10"/>
                </a:lnTo>
                <a:lnTo>
                  <a:pt x="1432" y="7"/>
                </a:lnTo>
                <a:lnTo>
                  <a:pt x="1405" y="4"/>
                </a:lnTo>
                <a:lnTo>
                  <a:pt x="1377" y="2"/>
                </a:lnTo>
                <a:lnTo>
                  <a:pt x="1350" y="1"/>
                </a:lnTo>
                <a:lnTo>
                  <a:pt x="1322" y="0"/>
                </a:lnTo>
                <a:lnTo>
                  <a:pt x="676" y="0"/>
                </a:lnTo>
                <a:lnTo>
                  <a:pt x="676" y="0"/>
                </a:lnTo>
                <a:lnTo>
                  <a:pt x="648" y="1"/>
                </a:lnTo>
                <a:lnTo>
                  <a:pt x="620" y="2"/>
                </a:lnTo>
                <a:lnTo>
                  <a:pt x="591" y="4"/>
                </a:lnTo>
                <a:lnTo>
                  <a:pt x="562" y="7"/>
                </a:lnTo>
                <a:lnTo>
                  <a:pt x="534" y="10"/>
                </a:lnTo>
                <a:lnTo>
                  <a:pt x="504" y="14"/>
                </a:lnTo>
                <a:lnTo>
                  <a:pt x="475" y="19"/>
                </a:lnTo>
                <a:lnTo>
                  <a:pt x="446" y="24"/>
                </a:lnTo>
                <a:lnTo>
                  <a:pt x="418" y="32"/>
                </a:lnTo>
                <a:lnTo>
                  <a:pt x="390" y="38"/>
                </a:lnTo>
                <a:lnTo>
                  <a:pt x="361" y="46"/>
                </a:lnTo>
                <a:lnTo>
                  <a:pt x="333" y="54"/>
                </a:lnTo>
                <a:lnTo>
                  <a:pt x="306" y="62"/>
                </a:lnTo>
                <a:lnTo>
                  <a:pt x="279" y="71"/>
                </a:lnTo>
                <a:lnTo>
                  <a:pt x="253" y="81"/>
                </a:lnTo>
                <a:lnTo>
                  <a:pt x="228" y="92"/>
                </a:lnTo>
                <a:lnTo>
                  <a:pt x="203" y="103"/>
                </a:lnTo>
                <a:lnTo>
                  <a:pt x="180" y="114"/>
                </a:lnTo>
                <a:lnTo>
                  <a:pt x="158" y="126"/>
                </a:lnTo>
                <a:lnTo>
                  <a:pt x="136" y="138"/>
                </a:lnTo>
                <a:lnTo>
                  <a:pt x="117" y="151"/>
                </a:lnTo>
                <a:lnTo>
                  <a:pt x="98" y="164"/>
                </a:lnTo>
                <a:lnTo>
                  <a:pt x="80" y="177"/>
                </a:lnTo>
                <a:lnTo>
                  <a:pt x="64" y="191"/>
                </a:lnTo>
                <a:lnTo>
                  <a:pt x="50" y="206"/>
                </a:lnTo>
                <a:lnTo>
                  <a:pt x="38" y="220"/>
                </a:lnTo>
                <a:lnTo>
                  <a:pt x="26" y="235"/>
                </a:lnTo>
                <a:lnTo>
                  <a:pt x="17" y="250"/>
                </a:lnTo>
                <a:lnTo>
                  <a:pt x="10" y="266"/>
                </a:lnTo>
                <a:lnTo>
                  <a:pt x="4" y="281"/>
                </a:lnTo>
                <a:lnTo>
                  <a:pt x="1" y="297"/>
                </a:lnTo>
                <a:lnTo>
                  <a:pt x="0" y="313"/>
                </a:lnTo>
                <a:lnTo>
                  <a:pt x="144" y="530"/>
                </a:lnTo>
                <a:lnTo>
                  <a:pt x="144" y="530"/>
                </a:lnTo>
                <a:lnTo>
                  <a:pt x="145" y="545"/>
                </a:lnTo>
                <a:lnTo>
                  <a:pt x="147" y="560"/>
                </a:lnTo>
                <a:lnTo>
                  <a:pt x="151" y="572"/>
                </a:lnTo>
                <a:lnTo>
                  <a:pt x="156" y="583"/>
                </a:lnTo>
                <a:lnTo>
                  <a:pt x="162" y="593"/>
                </a:lnTo>
                <a:lnTo>
                  <a:pt x="169" y="602"/>
                </a:lnTo>
                <a:lnTo>
                  <a:pt x="177" y="610"/>
                </a:lnTo>
                <a:lnTo>
                  <a:pt x="186" y="618"/>
                </a:lnTo>
                <a:lnTo>
                  <a:pt x="197" y="624"/>
                </a:lnTo>
                <a:lnTo>
                  <a:pt x="209" y="629"/>
                </a:lnTo>
                <a:lnTo>
                  <a:pt x="222" y="633"/>
                </a:lnTo>
                <a:lnTo>
                  <a:pt x="235" y="636"/>
                </a:lnTo>
                <a:lnTo>
                  <a:pt x="250" y="638"/>
                </a:lnTo>
                <a:lnTo>
                  <a:pt x="265" y="640"/>
                </a:lnTo>
                <a:lnTo>
                  <a:pt x="283" y="642"/>
                </a:lnTo>
                <a:lnTo>
                  <a:pt x="300" y="642"/>
                </a:lnTo>
                <a:lnTo>
                  <a:pt x="338" y="642"/>
                </a:lnTo>
                <a:lnTo>
                  <a:pt x="378" y="641"/>
                </a:lnTo>
                <a:lnTo>
                  <a:pt x="469" y="635"/>
                </a:lnTo>
                <a:lnTo>
                  <a:pt x="518" y="632"/>
                </a:lnTo>
                <a:lnTo>
                  <a:pt x="569" y="629"/>
                </a:lnTo>
                <a:lnTo>
                  <a:pt x="621" y="627"/>
                </a:lnTo>
                <a:lnTo>
                  <a:pt x="676" y="626"/>
                </a:lnTo>
                <a:lnTo>
                  <a:pt x="1828" y="626"/>
                </a:lnTo>
                <a:lnTo>
                  <a:pt x="1828" y="626"/>
                </a:lnTo>
                <a:lnTo>
                  <a:pt x="1854" y="625"/>
                </a:lnTo>
                <a:lnTo>
                  <a:pt x="1877" y="624"/>
                </a:lnTo>
                <a:lnTo>
                  <a:pt x="1898" y="622"/>
                </a:lnTo>
                <a:lnTo>
                  <a:pt x="1916" y="620"/>
                </a:lnTo>
                <a:lnTo>
                  <a:pt x="1932" y="616"/>
                </a:lnTo>
                <a:lnTo>
                  <a:pt x="1946" y="611"/>
                </a:lnTo>
                <a:lnTo>
                  <a:pt x="1957" y="606"/>
                </a:lnTo>
                <a:lnTo>
                  <a:pt x="1967" y="601"/>
                </a:lnTo>
                <a:lnTo>
                  <a:pt x="1974" y="595"/>
                </a:lnTo>
                <a:lnTo>
                  <a:pt x="1980" y="588"/>
                </a:lnTo>
                <a:lnTo>
                  <a:pt x="1984" y="580"/>
                </a:lnTo>
                <a:lnTo>
                  <a:pt x="1987" y="572"/>
                </a:lnTo>
                <a:lnTo>
                  <a:pt x="1989" y="564"/>
                </a:lnTo>
                <a:lnTo>
                  <a:pt x="1989" y="554"/>
                </a:lnTo>
                <a:lnTo>
                  <a:pt x="1988" y="544"/>
                </a:lnTo>
                <a:lnTo>
                  <a:pt x="1986" y="534"/>
                </a:lnTo>
                <a:lnTo>
                  <a:pt x="1984" y="523"/>
                </a:lnTo>
                <a:lnTo>
                  <a:pt x="1980" y="512"/>
                </a:lnTo>
                <a:lnTo>
                  <a:pt x="1972" y="487"/>
                </a:lnTo>
                <a:lnTo>
                  <a:pt x="1952" y="434"/>
                </a:lnTo>
                <a:lnTo>
                  <a:pt x="1941" y="406"/>
                </a:lnTo>
                <a:lnTo>
                  <a:pt x="1937" y="391"/>
                </a:lnTo>
                <a:lnTo>
                  <a:pt x="1933" y="375"/>
                </a:lnTo>
                <a:lnTo>
                  <a:pt x="1930" y="360"/>
                </a:lnTo>
                <a:lnTo>
                  <a:pt x="1927" y="345"/>
                </a:lnTo>
                <a:lnTo>
                  <a:pt x="1926" y="329"/>
                </a:lnTo>
                <a:lnTo>
                  <a:pt x="1925" y="313"/>
                </a:lnTo>
                <a:lnTo>
                  <a:pt x="1925" y="313"/>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3" name="Freeform 2058"/>
          <p:cNvSpPr>
            <a:spLocks/>
          </p:cNvSpPr>
          <p:nvPr/>
        </p:nvSpPr>
        <p:spPr bwMode="auto">
          <a:xfrm>
            <a:off x="9972676" y="1866900"/>
            <a:ext cx="285750" cy="1333500"/>
          </a:xfrm>
          <a:custGeom>
            <a:avLst/>
            <a:gdLst>
              <a:gd name="T0" fmla="*/ 275 w 1078"/>
              <a:gd name="T1" fmla="*/ 321 h 5042"/>
              <a:gd name="T2" fmla="*/ 272 w 1078"/>
              <a:gd name="T3" fmla="*/ 745 h 5042"/>
              <a:gd name="T4" fmla="*/ 262 w 1078"/>
              <a:gd name="T5" fmla="*/ 1510 h 5042"/>
              <a:gd name="T6" fmla="*/ 271 w 1078"/>
              <a:gd name="T7" fmla="*/ 1984 h 5042"/>
              <a:gd name="T8" fmla="*/ 278 w 1078"/>
              <a:gd name="T9" fmla="*/ 2269 h 5042"/>
              <a:gd name="T10" fmla="*/ 270 w 1078"/>
              <a:gd name="T11" fmla="*/ 2622 h 5042"/>
              <a:gd name="T12" fmla="*/ 229 w 1078"/>
              <a:gd name="T13" fmla="*/ 3241 h 5042"/>
              <a:gd name="T14" fmla="*/ 203 w 1078"/>
              <a:gd name="T15" fmla="*/ 3613 h 5042"/>
              <a:gd name="T16" fmla="*/ 161 w 1078"/>
              <a:gd name="T17" fmla="*/ 3904 h 5042"/>
              <a:gd name="T18" fmla="*/ 76 w 1078"/>
              <a:gd name="T19" fmla="*/ 4300 h 5042"/>
              <a:gd name="T20" fmla="*/ 10 w 1078"/>
              <a:gd name="T21" fmla="*/ 4641 h 5042"/>
              <a:gd name="T22" fmla="*/ 0 w 1078"/>
              <a:gd name="T23" fmla="*/ 4730 h 5042"/>
              <a:gd name="T24" fmla="*/ 14 w 1078"/>
              <a:gd name="T25" fmla="*/ 4811 h 5042"/>
              <a:gd name="T26" fmla="*/ 47 w 1078"/>
              <a:gd name="T27" fmla="*/ 4853 h 5042"/>
              <a:gd name="T28" fmla="*/ 93 w 1078"/>
              <a:gd name="T29" fmla="*/ 4869 h 5042"/>
              <a:gd name="T30" fmla="*/ 144 w 1078"/>
              <a:gd name="T31" fmla="*/ 4864 h 5042"/>
              <a:gd name="T32" fmla="*/ 221 w 1078"/>
              <a:gd name="T33" fmla="*/ 4837 h 5042"/>
              <a:gd name="T34" fmla="*/ 269 w 1078"/>
              <a:gd name="T35" fmla="*/ 4858 h 5042"/>
              <a:gd name="T36" fmla="*/ 308 w 1078"/>
              <a:gd name="T37" fmla="*/ 4910 h 5042"/>
              <a:gd name="T38" fmla="*/ 352 w 1078"/>
              <a:gd name="T39" fmla="*/ 4935 h 5042"/>
              <a:gd name="T40" fmla="*/ 421 w 1078"/>
              <a:gd name="T41" fmla="*/ 4929 h 5042"/>
              <a:gd name="T42" fmla="*/ 483 w 1078"/>
              <a:gd name="T43" fmla="*/ 4929 h 5042"/>
              <a:gd name="T44" fmla="*/ 552 w 1078"/>
              <a:gd name="T45" fmla="*/ 4978 h 5042"/>
              <a:gd name="T46" fmla="*/ 630 w 1078"/>
              <a:gd name="T47" fmla="*/ 5016 h 5042"/>
              <a:gd name="T48" fmla="*/ 713 w 1078"/>
              <a:gd name="T49" fmla="*/ 5037 h 5042"/>
              <a:gd name="T50" fmla="*/ 797 w 1078"/>
              <a:gd name="T51" fmla="*/ 5041 h 5042"/>
              <a:gd name="T52" fmla="*/ 875 w 1078"/>
              <a:gd name="T53" fmla="*/ 5025 h 5042"/>
              <a:gd name="T54" fmla="*/ 940 w 1078"/>
              <a:gd name="T55" fmla="*/ 4984 h 5042"/>
              <a:gd name="T56" fmla="*/ 989 w 1078"/>
              <a:gd name="T57" fmla="*/ 4918 h 5042"/>
              <a:gd name="T58" fmla="*/ 1011 w 1078"/>
              <a:gd name="T59" fmla="*/ 4849 h 5042"/>
              <a:gd name="T60" fmla="*/ 1037 w 1078"/>
              <a:gd name="T61" fmla="*/ 4661 h 5042"/>
              <a:gd name="T62" fmla="*/ 1044 w 1078"/>
              <a:gd name="T63" fmla="*/ 4488 h 5042"/>
              <a:gd name="T64" fmla="*/ 1039 w 1078"/>
              <a:gd name="T65" fmla="*/ 4125 h 5042"/>
              <a:gd name="T66" fmla="*/ 1044 w 1078"/>
              <a:gd name="T67" fmla="*/ 3635 h 5042"/>
              <a:gd name="T68" fmla="*/ 1072 w 1078"/>
              <a:gd name="T69" fmla="*/ 2491 h 5042"/>
              <a:gd name="T70" fmla="*/ 1077 w 1078"/>
              <a:gd name="T71" fmla="*/ 1838 h 5042"/>
              <a:gd name="T72" fmla="*/ 1067 w 1078"/>
              <a:gd name="T73" fmla="*/ 1418 h 5042"/>
              <a:gd name="T74" fmla="*/ 1039 w 1078"/>
              <a:gd name="T75" fmla="*/ 957 h 5042"/>
              <a:gd name="T76" fmla="*/ 1012 w 1078"/>
              <a:gd name="T77" fmla="*/ 497 h 5042"/>
              <a:gd name="T78" fmla="*/ 1011 w 1078"/>
              <a:gd name="T79" fmla="*/ 128 h 5042"/>
              <a:gd name="T80" fmla="*/ 965 w 1078"/>
              <a:gd name="T81" fmla="*/ 30 h 5042"/>
              <a:gd name="T82" fmla="*/ 876 w 1078"/>
              <a:gd name="T83" fmla="*/ 31 h 5042"/>
              <a:gd name="T84" fmla="*/ 727 w 1078"/>
              <a:gd name="T85" fmla="*/ 46 h 5042"/>
              <a:gd name="T86" fmla="*/ 651 w 1078"/>
              <a:gd name="T87" fmla="*/ 44 h 5042"/>
              <a:gd name="T88" fmla="*/ 456 w 1078"/>
              <a:gd name="T89" fmla="*/ 14 h 5042"/>
              <a:gd name="T90" fmla="*/ 335 w 1078"/>
              <a:gd name="T91" fmla="*/ 0 h 5042"/>
              <a:gd name="T92" fmla="*/ 262 w 1078"/>
              <a:gd name="T93" fmla="*/ 3 h 5042"/>
              <a:gd name="T94" fmla="*/ 250 w 1078"/>
              <a:gd name="T95" fmla="*/ 16 h 5042"/>
              <a:gd name="T96" fmla="*/ 244 w 1078"/>
              <a:gd name="T97" fmla="*/ 70 h 5042"/>
              <a:gd name="T98" fmla="*/ 258 w 1078"/>
              <a:gd name="T99" fmla="*/ 195 h 5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8" h="5042">
                <a:moveTo>
                  <a:pt x="272" y="283"/>
                </a:moveTo>
                <a:lnTo>
                  <a:pt x="272" y="283"/>
                </a:lnTo>
                <a:lnTo>
                  <a:pt x="273" y="300"/>
                </a:lnTo>
                <a:lnTo>
                  <a:pt x="275" y="321"/>
                </a:lnTo>
                <a:lnTo>
                  <a:pt x="276" y="378"/>
                </a:lnTo>
                <a:lnTo>
                  <a:pt x="276" y="450"/>
                </a:lnTo>
                <a:lnTo>
                  <a:pt x="275" y="537"/>
                </a:lnTo>
                <a:lnTo>
                  <a:pt x="272" y="745"/>
                </a:lnTo>
                <a:lnTo>
                  <a:pt x="268" y="988"/>
                </a:lnTo>
                <a:lnTo>
                  <a:pt x="264" y="1247"/>
                </a:lnTo>
                <a:lnTo>
                  <a:pt x="263" y="1379"/>
                </a:lnTo>
                <a:lnTo>
                  <a:pt x="262" y="1510"/>
                </a:lnTo>
                <a:lnTo>
                  <a:pt x="263" y="1638"/>
                </a:lnTo>
                <a:lnTo>
                  <a:pt x="264" y="1761"/>
                </a:lnTo>
                <a:lnTo>
                  <a:pt x="267" y="1877"/>
                </a:lnTo>
                <a:lnTo>
                  <a:pt x="271" y="1984"/>
                </a:lnTo>
                <a:lnTo>
                  <a:pt x="271" y="1984"/>
                </a:lnTo>
                <a:lnTo>
                  <a:pt x="275" y="2082"/>
                </a:lnTo>
                <a:lnTo>
                  <a:pt x="277" y="2177"/>
                </a:lnTo>
                <a:lnTo>
                  <a:pt x="278" y="2269"/>
                </a:lnTo>
                <a:lnTo>
                  <a:pt x="278" y="2360"/>
                </a:lnTo>
                <a:lnTo>
                  <a:pt x="276" y="2448"/>
                </a:lnTo>
                <a:lnTo>
                  <a:pt x="274" y="2536"/>
                </a:lnTo>
                <a:lnTo>
                  <a:pt x="270" y="2622"/>
                </a:lnTo>
                <a:lnTo>
                  <a:pt x="266" y="2709"/>
                </a:lnTo>
                <a:lnTo>
                  <a:pt x="255" y="2882"/>
                </a:lnTo>
                <a:lnTo>
                  <a:pt x="242" y="3058"/>
                </a:lnTo>
                <a:lnTo>
                  <a:pt x="229" y="3241"/>
                </a:lnTo>
                <a:lnTo>
                  <a:pt x="217" y="3434"/>
                </a:lnTo>
                <a:lnTo>
                  <a:pt x="217" y="3434"/>
                </a:lnTo>
                <a:lnTo>
                  <a:pt x="211" y="3528"/>
                </a:lnTo>
                <a:lnTo>
                  <a:pt x="203" y="3613"/>
                </a:lnTo>
                <a:lnTo>
                  <a:pt x="194" y="3693"/>
                </a:lnTo>
                <a:lnTo>
                  <a:pt x="184" y="3767"/>
                </a:lnTo>
                <a:lnTo>
                  <a:pt x="173" y="3837"/>
                </a:lnTo>
                <a:lnTo>
                  <a:pt x="161" y="3904"/>
                </a:lnTo>
                <a:lnTo>
                  <a:pt x="149" y="3968"/>
                </a:lnTo>
                <a:lnTo>
                  <a:pt x="136" y="4032"/>
                </a:lnTo>
                <a:lnTo>
                  <a:pt x="106" y="4161"/>
                </a:lnTo>
                <a:lnTo>
                  <a:pt x="76" y="4300"/>
                </a:lnTo>
                <a:lnTo>
                  <a:pt x="59" y="4375"/>
                </a:lnTo>
                <a:lnTo>
                  <a:pt x="43" y="4457"/>
                </a:lnTo>
                <a:lnTo>
                  <a:pt x="26" y="4545"/>
                </a:lnTo>
                <a:lnTo>
                  <a:pt x="10" y="4641"/>
                </a:lnTo>
                <a:lnTo>
                  <a:pt x="10" y="4641"/>
                </a:lnTo>
                <a:lnTo>
                  <a:pt x="4" y="4674"/>
                </a:lnTo>
                <a:lnTo>
                  <a:pt x="1" y="4704"/>
                </a:lnTo>
                <a:lnTo>
                  <a:pt x="0" y="4730"/>
                </a:lnTo>
                <a:lnTo>
                  <a:pt x="1" y="4755"/>
                </a:lnTo>
                <a:lnTo>
                  <a:pt x="4" y="4775"/>
                </a:lnTo>
                <a:lnTo>
                  <a:pt x="9" y="4794"/>
                </a:lnTo>
                <a:lnTo>
                  <a:pt x="14" y="4811"/>
                </a:lnTo>
                <a:lnTo>
                  <a:pt x="21" y="4825"/>
                </a:lnTo>
                <a:lnTo>
                  <a:pt x="28" y="4836"/>
                </a:lnTo>
                <a:lnTo>
                  <a:pt x="37" y="4846"/>
                </a:lnTo>
                <a:lnTo>
                  <a:pt x="47" y="4853"/>
                </a:lnTo>
                <a:lnTo>
                  <a:pt x="57" y="4859"/>
                </a:lnTo>
                <a:lnTo>
                  <a:pt x="69" y="4864"/>
                </a:lnTo>
                <a:lnTo>
                  <a:pt x="81" y="4867"/>
                </a:lnTo>
                <a:lnTo>
                  <a:pt x="93" y="4869"/>
                </a:lnTo>
                <a:lnTo>
                  <a:pt x="105" y="4870"/>
                </a:lnTo>
                <a:lnTo>
                  <a:pt x="118" y="4869"/>
                </a:lnTo>
                <a:lnTo>
                  <a:pt x="131" y="4867"/>
                </a:lnTo>
                <a:lnTo>
                  <a:pt x="144" y="4864"/>
                </a:lnTo>
                <a:lnTo>
                  <a:pt x="156" y="4861"/>
                </a:lnTo>
                <a:lnTo>
                  <a:pt x="180" y="4854"/>
                </a:lnTo>
                <a:lnTo>
                  <a:pt x="202" y="4845"/>
                </a:lnTo>
                <a:lnTo>
                  <a:pt x="221" y="4837"/>
                </a:lnTo>
                <a:lnTo>
                  <a:pt x="235" y="4830"/>
                </a:lnTo>
                <a:lnTo>
                  <a:pt x="249" y="4822"/>
                </a:lnTo>
                <a:lnTo>
                  <a:pt x="249" y="4822"/>
                </a:lnTo>
                <a:lnTo>
                  <a:pt x="269" y="4858"/>
                </a:lnTo>
                <a:lnTo>
                  <a:pt x="279" y="4874"/>
                </a:lnTo>
                <a:lnTo>
                  <a:pt x="288" y="4888"/>
                </a:lnTo>
                <a:lnTo>
                  <a:pt x="297" y="4900"/>
                </a:lnTo>
                <a:lnTo>
                  <a:pt x="308" y="4910"/>
                </a:lnTo>
                <a:lnTo>
                  <a:pt x="317" y="4919"/>
                </a:lnTo>
                <a:lnTo>
                  <a:pt x="328" y="4926"/>
                </a:lnTo>
                <a:lnTo>
                  <a:pt x="339" y="4932"/>
                </a:lnTo>
                <a:lnTo>
                  <a:pt x="352" y="4935"/>
                </a:lnTo>
                <a:lnTo>
                  <a:pt x="367" y="4937"/>
                </a:lnTo>
                <a:lnTo>
                  <a:pt x="383" y="4936"/>
                </a:lnTo>
                <a:lnTo>
                  <a:pt x="401" y="4934"/>
                </a:lnTo>
                <a:lnTo>
                  <a:pt x="421" y="4929"/>
                </a:lnTo>
                <a:lnTo>
                  <a:pt x="444" y="4922"/>
                </a:lnTo>
                <a:lnTo>
                  <a:pt x="469" y="4914"/>
                </a:lnTo>
                <a:lnTo>
                  <a:pt x="469" y="4914"/>
                </a:lnTo>
                <a:lnTo>
                  <a:pt x="483" y="4929"/>
                </a:lnTo>
                <a:lnTo>
                  <a:pt x="500" y="4942"/>
                </a:lnTo>
                <a:lnTo>
                  <a:pt x="516" y="4955"/>
                </a:lnTo>
                <a:lnTo>
                  <a:pt x="533" y="4967"/>
                </a:lnTo>
                <a:lnTo>
                  <a:pt x="552" y="4978"/>
                </a:lnTo>
                <a:lnTo>
                  <a:pt x="570" y="4989"/>
                </a:lnTo>
                <a:lnTo>
                  <a:pt x="589" y="4999"/>
                </a:lnTo>
                <a:lnTo>
                  <a:pt x="610" y="5008"/>
                </a:lnTo>
                <a:lnTo>
                  <a:pt x="630" y="5016"/>
                </a:lnTo>
                <a:lnTo>
                  <a:pt x="650" y="5023"/>
                </a:lnTo>
                <a:lnTo>
                  <a:pt x="672" y="5029"/>
                </a:lnTo>
                <a:lnTo>
                  <a:pt x="692" y="5034"/>
                </a:lnTo>
                <a:lnTo>
                  <a:pt x="713" y="5037"/>
                </a:lnTo>
                <a:lnTo>
                  <a:pt x="735" y="5040"/>
                </a:lnTo>
                <a:lnTo>
                  <a:pt x="756" y="5042"/>
                </a:lnTo>
                <a:lnTo>
                  <a:pt x="776" y="5042"/>
                </a:lnTo>
                <a:lnTo>
                  <a:pt x="797" y="5041"/>
                </a:lnTo>
                <a:lnTo>
                  <a:pt x="817" y="5039"/>
                </a:lnTo>
                <a:lnTo>
                  <a:pt x="836" y="5036"/>
                </a:lnTo>
                <a:lnTo>
                  <a:pt x="856" y="5031"/>
                </a:lnTo>
                <a:lnTo>
                  <a:pt x="875" y="5025"/>
                </a:lnTo>
                <a:lnTo>
                  <a:pt x="892" y="5017"/>
                </a:lnTo>
                <a:lnTo>
                  <a:pt x="910" y="5008"/>
                </a:lnTo>
                <a:lnTo>
                  <a:pt x="926" y="4997"/>
                </a:lnTo>
                <a:lnTo>
                  <a:pt x="940" y="4984"/>
                </a:lnTo>
                <a:lnTo>
                  <a:pt x="954" y="4970"/>
                </a:lnTo>
                <a:lnTo>
                  <a:pt x="968" y="4955"/>
                </a:lnTo>
                <a:lnTo>
                  <a:pt x="979" y="4938"/>
                </a:lnTo>
                <a:lnTo>
                  <a:pt x="989" y="4918"/>
                </a:lnTo>
                <a:lnTo>
                  <a:pt x="998" y="4897"/>
                </a:lnTo>
                <a:lnTo>
                  <a:pt x="1005" y="4874"/>
                </a:lnTo>
                <a:lnTo>
                  <a:pt x="1011" y="4849"/>
                </a:lnTo>
                <a:lnTo>
                  <a:pt x="1011" y="4849"/>
                </a:lnTo>
                <a:lnTo>
                  <a:pt x="1019" y="4800"/>
                </a:lnTo>
                <a:lnTo>
                  <a:pt x="1027" y="4753"/>
                </a:lnTo>
                <a:lnTo>
                  <a:pt x="1033" y="4707"/>
                </a:lnTo>
                <a:lnTo>
                  <a:pt x="1037" y="4661"/>
                </a:lnTo>
                <a:lnTo>
                  <a:pt x="1040" y="4617"/>
                </a:lnTo>
                <a:lnTo>
                  <a:pt x="1042" y="4573"/>
                </a:lnTo>
                <a:lnTo>
                  <a:pt x="1043" y="4531"/>
                </a:lnTo>
                <a:lnTo>
                  <a:pt x="1044" y="4488"/>
                </a:lnTo>
                <a:lnTo>
                  <a:pt x="1043" y="4403"/>
                </a:lnTo>
                <a:lnTo>
                  <a:pt x="1041" y="4314"/>
                </a:lnTo>
                <a:lnTo>
                  <a:pt x="1039" y="4223"/>
                </a:lnTo>
                <a:lnTo>
                  <a:pt x="1039" y="4125"/>
                </a:lnTo>
                <a:lnTo>
                  <a:pt x="1039" y="4125"/>
                </a:lnTo>
                <a:lnTo>
                  <a:pt x="1039" y="3961"/>
                </a:lnTo>
                <a:lnTo>
                  <a:pt x="1041" y="3797"/>
                </a:lnTo>
                <a:lnTo>
                  <a:pt x="1044" y="3635"/>
                </a:lnTo>
                <a:lnTo>
                  <a:pt x="1048" y="3471"/>
                </a:lnTo>
                <a:lnTo>
                  <a:pt x="1056" y="3144"/>
                </a:lnTo>
                <a:lnTo>
                  <a:pt x="1065" y="2818"/>
                </a:lnTo>
                <a:lnTo>
                  <a:pt x="1072" y="2491"/>
                </a:lnTo>
                <a:lnTo>
                  <a:pt x="1075" y="2328"/>
                </a:lnTo>
                <a:lnTo>
                  <a:pt x="1077" y="2165"/>
                </a:lnTo>
                <a:lnTo>
                  <a:pt x="1078" y="2002"/>
                </a:lnTo>
                <a:lnTo>
                  <a:pt x="1077" y="1838"/>
                </a:lnTo>
                <a:lnTo>
                  <a:pt x="1075" y="1674"/>
                </a:lnTo>
                <a:lnTo>
                  <a:pt x="1071" y="1510"/>
                </a:lnTo>
                <a:lnTo>
                  <a:pt x="1071" y="1510"/>
                </a:lnTo>
                <a:lnTo>
                  <a:pt x="1067" y="1418"/>
                </a:lnTo>
                <a:lnTo>
                  <a:pt x="1063" y="1326"/>
                </a:lnTo>
                <a:lnTo>
                  <a:pt x="1058" y="1234"/>
                </a:lnTo>
                <a:lnTo>
                  <a:pt x="1052" y="1141"/>
                </a:lnTo>
                <a:lnTo>
                  <a:pt x="1039" y="957"/>
                </a:lnTo>
                <a:lnTo>
                  <a:pt x="1027" y="773"/>
                </a:lnTo>
                <a:lnTo>
                  <a:pt x="1020" y="681"/>
                </a:lnTo>
                <a:lnTo>
                  <a:pt x="1015" y="589"/>
                </a:lnTo>
                <a:lnTo>
                  <a:pt x="1012" y="497"/>
                </a:lnTo>
                <a:lnTo>
                  <a:pt x="1009" y="405"/>
                </a:lnTo>
                <a:lnTo>
                  <a:pt x="1008" y="312"/>
                </a:lnTo>
                <a:lnTo>
                  <a:pt x="1008" y="221"/>
                </a:lnTo>
                <a:lnTo>
                  <a:pt x="1011" y="128"/>
                </a:lnTo>
                <a:lnTo>
                  <a:pt x="1015" y="35"/>
                </a:lnTo>
                <a:lnTo>
                  <a:pt x="1015" y="35"/>
                </a:lnTo>
                <a:lnTo>
                  <a:pt x="989" y="32"/>
                </a:lnTo>
                <a:lnTo>
                  <a:pt x="965" y="30"/>
                </a:lnTo>
                <a:lnTo>
                  <a:pt x="941" y="29"/>
                </a:lnTo>
                <a:lnTo>
                  <a:pt x="919" y="29"/>
                </a:lnTo>
                <a:lnTo>
                  <a:pt x="896" y="30"/>
                </a:lnTo>
                <a:lnTo>
                  <a:pt x="876" y="31"/>
                </a:lnTo>
                <a:lnTo>
                  <a:pt x="834" y="35"/>
                </a:lnTo>
                <a:lnTo>
                  <a:pt x="793" y="40"/>
                </a:lnTo>
                <a:lnTo>
                  <a:pt x="750" y="44"/>
                </a:lnTo>
                <a:lnTo>
                  <a:pt x="727" y="46"/>
                </a:lnTo>
                <a:lnTo>
                  <a:pt x="703" y="46"/>
                </a:lnTo>
                <a:lnTo>
                  <a:pt x="678" y="46"/>
                </a:lnTo>
                <a:lnTo>
                  <a:pt x="651" y="44"/>
                </a:lnTo>
                <a:lnTo>
                  <a:pt x="651" y="44"/>
                </a:lnTo>
                <a:lnTo>
                  <a:pt x="627" y="42"/>
                </a:lnTo>
                <a:lnTo>
                  <a:pt x="601" y="39"/>
                </a:lnTo>
                <a:lnTo>
                  <a:pt x="554" y="31"/>
                </a:lnTo>
                <a:lnTo>
                  <a:pt x="456" y="14"/>
                </a:lnTo>
                <a:lnTo>
                  <a:pt x="408" y="6"/>
                </a:lnTo>
                <a:lnTo>
                  <a:pt x="384" y="3"/>
                </a:lnTo>
                <a:lnTo>
                  <a:pt x="359" y="1"/>
                </a:lnTo>
                <a:lnTo>
                  <a:pt x="335" y="0"/>
                </a:lnTo>
                <a:lnTo>
                  <a:pt x="311" y="0"/>
                </a:lnTo>
                <a:lnTo>
                  <a:pt x="286" y="0"/>
                </a:lnTo>
                <a:lnTo>
                  <a:pt x="262" y="3"/>
                </a:lnTo>
                <a:lnTo>
                  <a:pt x="262" y="3"/>
                </a:lnTo>
                <a:lnTo>
                  <a:pt x="258" y="4"/>
                </a:lnTo>
                <a:lnTo>
                  <a:pt x="255" y="7"/>
                </a:lnTo>
                <a:lnTo>
                  <a:pt x="252" y="11"/>
                </a:lnTo>
                <a:lnTo>
                  <a:pt x="250" y="16"/>
                </a:lnTo>
                <a:lnTo>
                  <a:pt x="248" y="23"/>
                </a:lnTo>
                <a:lnTo>
                  <a:pt x="246" y="30"/>
                </a:lnTo>
                <a:lnTo>
                  <a:pt x="245" y="49"/>
                </a:lnTo>
                <a:lnTo>
                  <a:pt x="244" y="70"/>
                </a:lnTo>
                <a:lnTo>
                  <a:pt x="245" y="93"/>
                </a:lnTo>
                <a:lnTo>
                  <a:pt x="248" y="119"/>
                </a:lnTo>
                <a:lnTo>
                  <a:pt x="251" y="144"/>
                </a:lnTo>
                <a:lnTo>
                  <a:pt x="258" y="195"/>
                </a:lnTo>
                <a:lnTo>
                  <a:pt x="265" y="240"/>
                </a:lnTo>
                <a:lnTo>
                  <a:pt x="272" y="283"/>
                </a:lnTo>
                <a:lnTo>
                  <a:pt x="272" y="28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4" name="Freeform 2059"/>
          <p:cNvSpPr>
            <a:spLocks/>
          </p:cNvSpPr>
          <p:nvPr/>
        </p:nvSpPr>
        <p:spPr bwMode="auto">
          <a:xfrm>
            <a:off x="8482014" y="2676526"/>
            <a:ext cx="192088" cy="182563"/>
          </a:xfrm>
          <a:custGeom>
            <a:avLst/>
            <a:gdLst>
              <a:gd name="T0" fmla="*/ 722 w 722"/>
              <a:gd name="T1" fmla="*/ 289 h 686"/>
              <a:gd name="T2" fmla="*/ 721 w 722"/>
              <a:gd name="T3" fmla="*/ 254 h 686"/>
              <a:gd name="T4" fmla="*/ 717 w 722"/>
              <a:gd name="T5" fmla="*/ 210 h 686"/>
              <a:gd name="T6" fmla="*/ 709 w 722"/>
              <a:gd name="T7" fmla="*/ 163 h 686"/>
              <a:gd name="T8" fmla="*/ 698 w 722"/>
              <a:gd name="T9" fmla="*/ 115 h 686"/>
              <a:gd name="T10" fmla="*/ 684 w 722"/>
              <a:gd name="T11" fmla="*/ 71 h 686"/>
              <a:gd name="T12" fmla="*/ 664 w 722"/>
              <a:gd name="T13" fmla="*/ 34 h 686"/>
              <a:gd name="T14" fmla="*/ 654 w 722"/>
              <a:gd name="T15" fmla="*/ 20 h 686"/>
              <a:gd name="T16" fmla="*/ 642 w 722"/>
              <a:gd name="T17" fmla="*/ 9 h 686"/>
              <a:gd name="T18" fmla="*/ 629 w 722"/>
              <a:gd name="T19" fmla="*/ 3 h 686"/>
              <a:gd name="T20" fmla="*/ 614 w 722"/>
              <a:gd name="T21" fmla="*/ 0 h 686"/>
              <a:gd name="T22" fmla="*/ 72 w 722"/>
              <a:gd name="T23" fmla="*/ 0 h 686"/>
              <a:gd name="T24" fmla="*/ 65 w 722"/>
              <a:gd name="T25" fmla="*/ 1 h 686"/>
              <a:gd name="T26" fmla="*/ 52 w 722"/>
              <a:gd name="T27" fmla="*/ 6 h 686"/>
              <a:gd name="T28" fmla="*/ 41 w 722"/>
              <a:gd name="T29" fmla="*/ 14 h 686"/>
              <a:gd name="T30" fmla="*/ 32 w 722"/>
              <a:gd name="T31" fmla="*/ 26 h 686"/>
              <a:gd name="T32" fmla="*/ 21 w 722"/>
              <a:gd name="T33" fmla="*/ 51 h 686"/>
              <a:gd name="T34" fmla="*/ 10 w 722"/>
              <a:gd name="T35" fmla="*/ 92 h 686"/>
              <a:gd name="T36" fmla="*/ 4 w 722"/>
              <a:gd name="T37" fmla="*/ 138 h 686"/>
              <a:gd name="T38" fmla="*/ 0 w 722"/>
              <a:gd name="T39" fmla="*/ 210 h 686"/>
              <a:gd name="T40" fmla="*/ 0 w 722"/>
              <a:gd name="T41" fmla="*/ 289 h 686"/>
              <a:gd name="T42" fmla="*/ 37 w 722"/>
              <a:gd name="T43" fmla="*/ 541 h 686"/>
              <a:gd name="T44" fmla="*/ 37 w 722"/>
              <a:gd name="T45" fmla="*/ 597 h 686"/>
              <a:gd name="T46" fmla="*/ 38 w 722"/>
              <a:gd name="T47" fmla="*/ 621 h 686"/>
              <a:gd name="T48" fmla="*/ 43 w 722"/>
              <a:gd name="T49" fmla="*/ 643 h 686"/>
              <a:gd name="T50" fmla="*/ 51 w 722"/>
              <a:gd name="T51" fmla="*/ 660 h 686"/>
              <a:gd name="T52" fmla="*/ 64 w 722"/>
              <a:gd name="T53" fmla="*/ 673 h 686"/>
              <a:gd name="T54" fmla="*/ 83 w 722"/>
              <a:gd name="T55" fmla="*/ 682 h 686"/>
              <a:gd name="T56" fmla="*/ 109 w 722"/>
              <a:gd name="T57" fmla="*/ 686 h 686"/>
              <a:gd name="T58" fmla="*/ 650 w 722"/>
              <a:gd name="T59" fmla="*/ 686 h 686"/>
              <a:gd name="T60" fmla="*/ 657 w 722"/>
              <a:gd name="T61" fmla="*/ 685 h 686"/>
              <a:gd name="T62" fmla="*/ 670 w 722"/>
              <a:gd name="T63" fmla="*/ 682 h 686"/>
              <a:gd name="T64" fmla="*/ 682 w 722"/>
              <a:gd name="T65" fmla="*/ 678 h 686"/>
              <a:gd name="T66" fmla="*/ 695 w 722"/>
              <a:gd name="T67" fmla="*/ 668 h 686"/>
              <a:gd name="T68" fmla="*/ 708 w 722"/>
              <a:gd name="T69" fmla="*/ 649 h 686"/>
              <a:gd name="T70" fmla="*/ 716 w 722"/>
              <a:gd name="T71" fmla="*/ 624 h 686"/>
              <a:gd name="T72" fmla="*/ 720 w 722"/>
              <a:gd name="T73" fmla="*/ 597 h 686"/>
              <a:gd name="T74" fmla="*/ 722 w 722"/>
              <a:gd name="T75" fmla="*/ 535 h 686"/>
              <a:gd name="T76" fmla="*/ 722 w 722"/>
              <a:gd name="T77" fmla="*/ 289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2" h="686">
                <a:moveTo>
                  <a:pt x="722" y="289"/>
                </a:moveTo>
                <a:lnTo>
                  <a:pt x="722" y="289"/>
                </a:lnTo>
                <a:lnTo>
                  <a:pt x="722" y="273"/>
                </a:lnTo>
                <a:lnTo>
                  <a:pt x="721" y="254"/>
                </a:lnTo>
                <a:lnTo>
                  <a:pt x="719" y="233"/>
                </a:lnTo>
                <a:lnTo>
                  <a:pt x="717" y="210"/>
                </a:lnTo>
                <a:lnTo>
                  <a:pt x="713" y="187"/>
                </a:lnTo>
                <a:lnTo>
                  <a:pt x="709" y="163"/>
                </a:lnTo>
                <a:lnTo>
                  <a:pt x="704" y="138"/>
                </a:lnTo>
                <a:lnTo>
                  <a:pt x="698" y="115"/>
                </a:lnTo>
                <a:lnTo>
                  <a:pt x="692" y="92"/>
                </a:lnTo>
                <a:lnTo>
                  <a:pt x="684" y="71"/>
                </a:lnTo>
                <a:lnTo>
                  <a:pt x="674" y="51"/>
                </a:lnTo>
                <a:lnTo>
                  <a:pt x="664" y="34"/>
                </a:lnTo>
                <a:lnTo>
                  <a:pt x="659" y="26"/>
                </a:lnTo>
                <a:lnTo>
                  <a:pt x="654" y="20"/>
                </a:lnTo>
                <a:lnTo>
                  <a:pt x="648" y="14"/>
                </a:lnTo>
                <a:lnTo>
                  <a:pt x="642" y="9"/>
                </a:lnTo>
                <a:lnTo>
                  <a:pt x="635" y="6"/>
                </a:lnTo>
                <a:lnTo>
                  <a:pt x="629" y="3"/>
                </a:lnTo>
                <a:lnTo>
                  <a:pt x="622" y="1"/>
                </a:lnTo>
                <a:lnTo>
                  <a:pt x="614" y="0"/>
                </a:lnTo>
                <a:lnTo>
                  <a:pt x="386" y="36"/>
                </a:lnTo>
                <a:lnTo>
                  <a:pt x="72" y="0"/>
                </a:lnTo>
                <a:lnTo>
                  <a:pt x="72" y="0"/>
                </a:lnTo>
                <a:lnTo>
                  <a:pt x="65" y="1"/>
                </a:lnTo>
                <a:lnTo>
                  <a:pt x="58" y="3"/>
                </a:lnTo>
                <a:lnTo>
                  <a:pt x="52" y="6"/>
                </a:lnTo>
                <a:lnTo>
                  <a:pt x="47" y="9"/>
                </a:lnTo>
                <a:lnTo>
                  <a:pt x="41" y="14"/>
                </a:lnTo>
                <a:lnTo>
                  <a:pt x="37" y="20"/>
                </a:lnTo>
                <a:lnTo>
                  <a:pt x="32" y="26"/>
                </a:lnTo>
                <a:lnTo>
                  <a:pt x="28" y="34"/>
                </a:lnTo>
                <a:lnTo>
                  <a:pt x="21" y="51"/>
                </a:lnTo>
                <a:lnTo>
                  <a:pt x="14" y="71"/>
                </a:lnTo>
                <a:lnTo>
                  <a:pt x="10" y="92"/>
                </a:lnTo>
                <a:lnTo>
                  <a:pt x="6" y="115"/>
                </a:lnTo>
                <a:lnTo>
                  <a:pt x="4" y="138"/>
                </a:lnTo>
                <a:lnTo>
                  <a:pt x="2" y="163"/>
                </a:lnTo>
                <a:lnTo>
                  <a:pt x="0" y="210"/>
                </a:lnTo>
                <a:lnTo>
                  <a:pt x="0" y="254"/>
                </a:lnTo>
                <a:lnTo>
                  <a:pt x="0" y="289"/>
                </a:lnTo>
                <a:lnTo>
                  <a:pt x="37" y="541"/>
                </a:lnTo>
                <a:lnTo>
                  <a:pt x="37" y="541"/>
                </a:lnTo>
                <a:lnTo>
                  <a:pt x="37" y="570"/>
                </a:lnTo>
                <a:lnTo>
                  <a:pt x="37" y="597"/>
                </a:lnTo>
                <a:lnTo>
                  <a:pt x="37" y="609"/>
                </a:lnTo>
                <a:lnTo>
                  <a:pt x="38" y="621"/>
                </a:lnTo>
                <a:lnTo>
                  <a:pt x="40" y="633"/>
                </a:lnTo>
                <a:lnTo>
                  <a:pt x="43" y="643"/>
                </a:lnTo>
                <a:lnTo>
                  <a:pt x="46" y="652"/>
                </a:lnTo>
                <a:lnTo>
                  <a:pt x="51" y="660"/>
                </a:lnTo>
                <a:lnTo>
                  <a:pt x="56" y="667"/>
                </a:lnTo>
                <a:lnTo>
                  <a:pt x="64" y="673"/>
                </a:lnTo>
                <a:lnTo>
                  <a:pt x="72" y="678"/>
                </a:lnTo>
                <a:lnTo>
                  <a:pt x="83" y="682"/>
                </a:lnTo>
                <a:lnTo>
                  <a:pt x="95" y="685"/>
                </a:lnTo>
                <a:lnTo>
                  <a:pt x="109" y="686"/>
                </a:lnTo>
                <a:lnTo>
                  <a:pt x="361" y="649"/>
                </a:lnTo>
                <a:lnTo>
                  <a:pt x="650" y="686"/>
                </a:lnTo>
                <a:lnTo>
                  <a:pt x="650" y="686"/>
                </a:lnTo>
                <a:lnTo>
                  <a:pt x="657" y="685"/>
                </a:lnTo>
                <a:lnTo>
                  <a:pt x="664" y="683"/>
                </a:lnTo>
                <a:lnTo>
                  <a:pt x="670" y="682"/>
                </a:lnTo>
                <a:lnTo>
                  <a:pt x="677" y="680"/>
                </a:lnTo>
                <a:lnTo>
                  <a:pt x="682" y="678"/>
                </a:lnTo>
                <a:lnTo>
                  <a:pt x="687" y="675"/>
                </a:lnTo>
                <a:lnTo>
                  <a:pt x="695" y="668"/>
                </a:lnTo>
                <a:lnTo>
                  <a:pt x="702" y="659"/>
                </a:lnTo>
                <a:lnTo>
                  <a:pt x="708" y="649"/>
                </a:lnTo>
                <a:lnTo>
                  <a:pt x="713" y="638"/>
                </a:lnTo>
                <a:lnTo>
                  <a:pt x="716" y="624"/>
                </a:lnTo>
                <a:lnTo>
                  <a:pt x="719" y="611"/>
                </a:lnTo>
                <a:lnTo>
                  <a:pt x="720" y="597"/>
                </a:lnTo>
                <a:lnTo>
                  <a:pt x="722" y="566"/>
                </a:lnTo>
                <a:lnTo>
                  <a:pt x="722" y="535"/>
                </a:lnTo>
                <a:lnTo>
                  <a:pt x="722" y="504"/>
                </a:lnTo>
                <a:lnTo>
                  <a:pt x="722" y="289"/>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5" name="Freeform 2060"/>
          <p:cNvSpPr>
            <a:spLocks/>
          </p:cNvSpPr>
          <p:nvPr/>
        </p:nvSpPr>
        <p:spPr bwMode="auto">
          <a:xfrm>
            <a:off x="8661401" y="2719389"/>
            <a:ext cx="192088" cy="180975"/>
          </a:xfrm>
          <a:custGeom>
            <a:avLst/>
            <a:gdLst>
              <a:gd name="T0" fmla="*/ 722 w 722"/>
              <a:gd name="T1" fmla="*/ 289 h 684"/>
              <a:gd name="T2" fmla="*/ 721 w 722"/>
              <a:gd name="T3" fmla="*/ 254 h 684"/>
              <a:gd name="T4" fmla="*/ 716 w 722"/>
              <a:gd name="T5" fmla="*/ 210 h 684"/>
              <a:gd name="T6" fmla="*/ 708 w 722"/>
              <a:gd name="T7" fmla="*/ 162 h 684"/>
              <a:gd name="T8" fmla="*/ 697 w 722"/>
              <a:gd name="T9" fmla="*/ 115 h 684"/>
              <a:gd name="T10" fmla="*/ 683 w 722"/>
              <a:gd name="T11" fmla="*/ 70 h 684"/>
              <a:gd name="T12" fmla="*/ 664 w 722"/>
              <a:gd name="T13" fmla="*/ 34 h 684"/>
              <a:gd name="T14" fmla="*/ 652 w 722"/>
              <a:gd name="T15" fmla="*/ 20 h 684"/>
              <a:gd name="T16" fmla="*/ 640 w 722"/>
              <a:gd name="T17" fmla="*/ 9 h 684"/>
              <a:gd name="T18" fmla="*/ 628 w 722"/>
              <a:gd name="T19" fmla="*/ 3 h 684"/>
              <a:gd name="T20" fmla="*/ 613 w 722"/>
              <a:gd name="T21" fmla="*/ 0 h 684"/>
              <a:gd name="T22" fmla="*/ 72 w 722"/>
              <a:gd name="T23" fmla="*/ 0 h 684"/>
              <a:gd name="T24" fmla="*/ 65 w 722"/>
              <a:gd name="T25" fmla="*/ 1 h 684"/>
              <a:gd name="T26" fmla="*/ 51 w 722"/>
              <a:gd name="T27" fmla="*/ 5 h 684"/>
              <a:gd name="T28" fmla="*/ 40 w 722"/>
              <a:gd name="T29" fmla="*/ 14 h 684"/>
              <a:gd name="T30" fmla="*/ 31 w 722"/>
              <a:gd name="T31" fmla="*/ 26 h 684"/>
              <a:gd name="T32" fmla="*/ 20 w 722"/>
              <a:gd name="T33" fmla="*/ 50 h 684"/>
              <a:gd name="T34" fmla="*/ 9 w 722"/>
              <a:gd name="T35" fmla="*/ 91 h 684"/>
              <a:gd name="T36" fmla="*/ 3 w 722"/>
              <a:gd name="T37" fmla="*/ 138 h 684"/>
              <a:gd name="T38" fmla="*/ 0 w 722"/>
              <a:gd name="T39" fmla="*/ 210 h 684"/>
              <a:gd name="T40" fmla="*/ 0 w 722"/>
              <a:gd name="T41" fmla="*/ 289 h 684"/>
              <a:gd name="T42" fmla="*/ 35 w 722"/>
              <a:gd name="T43" fmla="*/ 540 h 684"/>
              <a:gd name="T44" fmla="*/ 35 w 722"/>
              <a:gd name="T45" fmla="*/ 597 h 684"/>
              <a:gd name="T46" fmla="*/ 37 w 722"/>
              <a:gd name="T47" fmla="*/ 621 h 684"/>
              <a:gd name="T48" fmla="*/ 41 w 722"/>
              <a:gd name="T49" fmla="*/ 643 h 684"/>
              <a:gd name="T50" fmla="*/ 49 w 722"/>
              <a:gd name="T51" fmla="*/ 660 h 684"/>
              <a:gd name="T52" fmla="*/ 63 w 722"/>
              <a:gd name="T53" fmla="*/ 673 h 684"/>
              <a:gd name="T54" fmla="*/ 82 w 722"/>
              <a:gd name="T55" fmla="*/ 682 h 684"/>
              <a:gd name="T56" fmla="*/ 107 w 722"/>
              <a:gd name="T57" fmla="*/ 684 h 684"/>
              <a:gd name="T58" fmla="*/ 649 w 722"/>
              <a:gd name="T59" fmla="*/ 684 h 684"/>
              <a:gd name="T60" fmla="*/ 657 w 722"/>
              <a:gd name="T61" fmla="*/ 684 h 684"/>
              <a:gd name="T62" fmla="*/ 670 w 722"/>
              <a:gd name="T63" fmla="*/ 682 h 684"/>
              <a:gd name="T64" fmla="*/ 681 w 722"/>
              <a:gd name="T65" fmla="*/ 678 h 684"/>
              <a:gd name="T66" fmla="*/ 694 w 722"/>
              <a:gd name="T67" fmla="*/ 668 h 684"/>
              <a:gd name="T68" fmla="*/ 707 w 722"/>
              <a:gd name="T69" fmla="*/ 649 h 684"/>
              <a:gd name="T70" fmla="*/ 716 w 722"/>
              <a:gd name="T71" fmla="*/ 624 h 684"/>
              <a:gd name="T72" fmla="*/ 720 w 722"/>
              <a:gd name="T73" fmla="*/ 597 h 684"/>
              <a:gd name="T74" fmla="*/ 722 w 722"/>
              <a:gd name="T75" fmla="*/ 535 h 684"/>
              <a:gd name="T76" fmla="*/ 722 w 722"/>
              <a:gd name="T77" fmla="*/ 289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2" h="684">
                <a:moveTo>
                  <a:pt x="722" y="289"/>
                </a:moveTo>
                <a:lnTo>
                  <a:pt x="722" y="289"/>
                </a:lnTo>
                <a:lnTo>
                  <a:pt x="722" y="272"/>
                </a:lnTo>
                <a:lnTo>
                  <a:pt x="721" y="254"/>
                </a:lnTo>
                <a:lnTo>
                  <a:pt x="719" y="233"/>
                </a:lnTo>
                <a:lnTo>
                  <a:pt x="716" y="210"/>
                </a:lnTo>
                <a:lnTo>
                  <a:pt x="712" y="187"/>
                </a:lnTo>
                <a:lnTo>
                  <a:pt x="708" y="162"/>
                </a:lnTo>
                <a:lnTo>
                  <a:pt x="703" y="138"/>
                </a:lnTo>
                <a:lnTo>
                  <a:pt x="697" y="115"/>
                </a:lnTo>
                <a:lnTo>
                  <a:pt x="690" y="91"/>
                </a:lnTo>
                <a:lnTo>
                  <a:pt x="683" y="70"/>
                </a:lnTo>
                <a:lnTo>
                  <a:pt x="674" y="50"/>
                </a:lnTo>
                <a:lnTo>
                  <a:pt x="664" y="34"/>
                </a:lnTo>
                <a:lnTo>
                  <a:pt x="659" y="26"/>
                </a:lnTo>
                <a:lnTo>
                  <a:pt x="652" y="20"/>
                </a:lnTo>
                <a:lnTo>
                  <a:pt x="647" y="14"/>
                </a:lnTo>
                <a:lnTo>
                  <a:pt x="640" y="9"/>
                </a:lnTo>
                <a:lnTo>
                  <a:pt x="634" y="5"/>
                </a:lnTo>
                <a:lnTo>
                  <a:pt x="628" y="3"/>
                </a:lnTo>
                <a:lnTo>
                  <a:pt x="621" y="1"/>
                </a:lnTo>
                <a:lnTo>
                  <a:pt x="613" y="0"/>
                </a:lnTo>
                <a:lnTo>
                  <a:pt x="385" y="36"/>
                </a:lnTo>
                <a:lnTo>
                  <a:pt x="72" y="0"/>
                </a:lnTo>
                <a:lnTo>
                  <a:pt x="72" y="0"/>
                </a:lnTo>
                <a:lnTo>
                  <a:pt x="65" y="1"/>
                </a:lnTo>
                <a:lnTo>
                  <a:pt x="58" y="3"/>
                </a:lnTo>
                <a:lnTo>
                  <a:pt x="51" y="5"/>
                </a:lnTo>
                <a:lnTo>
                  <a:pt x="45" y="9"/>
                </a:lnTo>
                <a:lnTo>
                  <a:pt x="40" y="14"/>
                </a:lnTo>
                <a:lnTo>
                  <a:pt x="35" y="20"/>
                </a:lnTo>
                <a:lnTo>
                  <a:pt x="31" y="26"/>
                </a:lnTo>
                <a:lnTo>
                  <a:pt x="27" y="34"/>
                </a:lnTo>
                <a:lnTo>
                  <a:pt x="20" y="50"/>
                </a:lnTo>
                <a:lnTo>
                  <a:pt x="14" y="70"/>
                </a:lnTo>
                <a:lnTo>
                  <a:pt x="9" y="91"/>
                </a:lnTo>
                <a:lnTo>
                  <a:pt x="6" y="115"/>
                </a:lnTo>
                <a:lnTo>
                  <a:pt x="3" y="138"/>
                </a:lnTo>
                <a:lnTo>
                  <a:pt x="2" y="162"/>
                </a:lnTo>
                <a:lnTo>
                  <a:pt x="0" y="210"/>
                </a:lnTo>
                <a:lnTo>
                  <a:pt x="0" y="254"/>
                </a:lnTo>
                <a:lnTo>
                  <a:pt x="0" y="289"/>
                </a:lnTo>
                <a:lnTo>
                  <a:pt x="35" y="540"/>
                </a:lnTo>
                <a:lnTo>
                  <a:pt x="35" y="540"/>
                </a:lnTo>
                <a:lnTo>
                  <a:pt x="35" y="569"/>
                </a:lnTo>
                <a:lnTo>
                  <a:pt x="35" y="597"/>
                </a:lnTo>
                <a:lnTo>
                  <a:pt x="36" y="609"/>
                </a:lnTo>
                <a:lnTo>
                  <a:pt x="37" y="621"/>
                </a:lnTo>
                <a:lnTo>
                  <a:pt x="39" y="632"/>
                </a:lnTo>
                <a:lnTo>
                  <a:pt x="41" y="643"/>
                </a:lnTo>
                <a:lnTo>
                  <a:pt x="45" y="652"/>
                </a:lnTo>
                <a:lnTo>
                  <a:pt x="49" y="660"/>
                </a:lnTo>
                <a:lnTo>
                  <a:pt x="55" y="667"/>
                </a:lnTo>
                <a:lnTo>
                  <a:pt x="63" y="673"/>
                </a:lnTo>
                <a:lnTo>
                  <a:pt x="72" y="678"/>
                </a:lnTo>
                <a:lnTo>
                  <a:pt x="82" y="682"/>
                </a:lnTo>
                <a:lnTo>
                  <a:pt x="94" y="684"/>
                </a:lnTo>
                <a:lnTo>
                  <a:pt x="107" y="684"/>
                </a:lnTo>
                <a:lnTo>
                  <a:pt x="361" y="649"/>
                </a:lnTo>
                <a:lnTo>
                  <a:pt x="649" y="684"/>
                </a:lnTo>
                <a:lnTo>
                  <a:pt x="649" y="684"/>
                </a:lnTo>
                <a:lnTo>
                  <a:pt x="657" y="684"/>
                </a:lnTo>
                <a:lnTo>
                  <a:pt x="664" y="683"/>
                </a:lnTo>
                <a:lnTo>
                  <a:pt x="670" y="682"/>
                </a:lnTo>
                <a:lnTo>
                  <a:pt x="675" y="680"/>
                </a:lnTo>
                <a:lnTo>
                  <a:pt x="681" y="678"/>
                </a:lnTo>
                <a:lnTo>
                  <a:pt x="686" y="675"/>
                </a:lnTo>
                <a:lnTo>
                  <a:pt x="694" y="668"/>
                </a:lnTo>
                <a:lnTo>
                  <a:pt x="701" y="659"/>
                </a:lnTo>
                <a:lnTo>
                  <a:pt x="707" y="649"/>
                </a:lnTo>
                <a:lnTo>
                  <a:pt x="711" y="637"/>
                </a:lnTo>
                <a:lnTo>
                  <a:pt x="716" y="624"/>
                </a:lnTo>
                <a:lnTo>
                  <a:pt x="718" y="611"/>
                </a:lnTo>
                <a:lnTo>
                  <a:pt x="720" y="597"/>
                </a:lnTo>
                <a:lnTo>
                  <a:pt x="722" y="566"/>
                </a:lnTo>
                <a:lnTo>
                  <a:pt x="722" y="535"/>
                </a:lnTo>
                <a:lnTo>
                  <a:pt x="722" y="504"/>
                </a:lnTo>
                <a:lnTo>
                  <a:pt x="722" y="28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6" name="Freeform 2061"/>
          <p:cNvSpPr>
            <a:spLocks/>
          </p:cNvSpPr>
          <p:nvPr/>
        </p:nvSpPr>
        <p:spPr bwMode="auto">
          <a:xfrm>
            <a:off x="8251826" y="2809875"/>
            <a:ext cx="311150" cy="96838"/>
          </a:xfrm>
          <a:custGeom>
            <a:avLst/>
            <a:gdLst>
              <a:gd name="T0" fmla="*/ 1177 w 1177"/>
              <a:gd name="T1" fmla="*/ 183 h 364"/>
              <a:gd name="T2" fmla="*/ 1174 w 1177"/>
              <a:gd name="T3" fmla="*/ 146 h 364"/>
              <a:gd name="T4" fmla="*/ 1165 w 1177"/>
              <a:gd name="T5" fmla="*/ 111 h 364"/>
              <a:gd name="T6" fmla="*/ 1150 w 1177"/>
              <a:gd name="T7" fmla="*/ 81 h 364"/>
              <a:gd name="T8" fmla="*/ 1131 w 1177"/>
              <a:gd name="T9" fmla="*/ 53 h 364"/>
              <a:gd name="T10" fmla="*/ 1107 w 1177"/>
              <a:gd name="T11" fmla="*/ 31 h 364"/>
              <a:gd name="T12" fmla="*/ 1080 w 1177"/>
              <a:gd name="T13" fmla="*/ 15 h 364"/>
              <a:gd name="T14" fmla="*/ 1049 w 1177"/>
              <a:gd name="T15" fmla="*/ 3 h 364"/>
              <a:gd name="T16" fmla="*/ 1017 w 1177"/>
              <a:gd name="T17" fmla="*/ 0 h 364"/>
              <a:gd name="T18" fmla="*/ 160 w 1177"/>
              <a:gd name="T19" fmla="*/ 0 h 364"/>
              <a:gd name="T20" fmla="*/ 128 w 1177"/>
              <a:gd name="T21" fmla="*/ 3 h 364"/>
              <a:gd name="T22" fmla="*/ 97 w 1177"/>
              <a:gd name="T23" fmla="*/ 15 h 364"/>
              <a:gd name="T24" fmla="*/ 70 w 1177"/>
              <a:gd name="T25" fmla="*/ 31 h 364"/>
              <a:gd name="T26" fmla="*/ 46 w 1177"/>
              <a:gd name="T27" fmla="*/ 53 h 364"/>
              <a:gd name="T28" fmla="*/ 27 w 1177"/>
              <a:gd name="T29" fmla="*/ 81 h 364"/>
              <a:gd name="T30" fmla="*/ 12 w 1177"/>
              <a:gd name="T31" fmla="*/ 111 h 364"/>
              <a:gd name="T32" fmla="*/ 3 w 1177"/>
              <a:gd name="T33" fmla="*/ 146 h 364"/>
              <a:gd name="T34" fmla="*/ 0 w 1177"/>
              <a:gd name="T35" fmla="*/ 183 h 364"/>
              <a:gd name="T36" fmla="*/ 0 w 1177"/>
              <a:gd name="T37" fmla="*/ 183 h 364"/>
              <a:gd name="T38" fmla="*/ 3 w 1177"/>
              <a:gd name="T39" fmla="*/ 219 h 364"/>
              <a:gd name="T40" fmla="*/ 12 w 1177"/>
              <a:gd name="T41" fmla="*/ 253 h 364"/>
              <a:gd name="T42" fmla="*/ 27 w 1177"/>
              <a:gd name="T43" fmla="*/ 283 h 364"/>
              <a:gd name="T44" fmla="*/ 46 w 1177"/>
              <a:gd name="T45" fmla="*/ 311 h 364"/>
              <a:gd name="T46" fmla="*/ 70 w 1177"/>
              <a:gd name="T47" fmla="*/ 333 h 364"/>
              <a:gd name="T48" fmla="*/ 97 w 1177"/>
              <a:gd name="T49" fmla="*/ 349 h 364"/>
              <a:gd name="T50" fmla="*/ 128 w 1177"/>
              <a:gd name="T51" fmla="*/ 361 h 364"/>
              <a:gd name="T52" fmla="*/ 160 w 1177"/>
              <a:gd name="T53" fmla="*/ 364 h 364"/>
              <a:gd name="T54" fmla="*/ 1017 w 1177"/>
              <a:gd name="T55" fmla="*/ 364 h 364"/>
              <a:gd name="T56" fmla="*/ 1049 w 1177"/>
              <a:gd name="T57" fmla="*/ 361 h 364"/>
              <a:gd name="T58" fmla="*/ 1080 w 1177"/>
              <a:gd name="T59" fmla="*/ 349 h 364"/>
              <a:gd name="T60" fmla="*/ 1107 w 1177"/>
              <a:gd name="T61" fmla="*/ 333 h 364"/>
              <a:gd name="T62" fmla="*/ 1131 w 1177"/>
              <a:gd name="T63" fmla="*/ 311 h 364"/>
              <a:gd name="T64" fmla="*/ 1150 w 1177"/>
              <a:gd name="T65" fmla="*/ 283 h 364"/>
              <a:gd name="T66" fmla="*/ 1165 w 1177"/>
              <a:gd name="T67" fmla="*/ 253 h 364"/>
              <a:gd name="T68" fmla="*/ 1174 w 1177"/>
              <a:gd name="T69" fmla="*/ 219 h 364"/>
              <a:gd name="T70" fmla="*/ 1177 w 1177"/>
              <a:gd name="T71" fmla="*/ 18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7" h="364">
                <a:moveTo>
                  <a:pt x="1177" y="183"/>
                </a:moveTo>
                <a:lnTo>
                  <a:pt x="1177" y="183"/>
                </a:lnTo>
                <a:lnTo>
                  <a:pt x="1176" y="163"/>
                </a:lnTo>
                <a:lnTo>
                  <a:pt x="1174" y="146"/>
                </a:lnTo>
                <a:lnTo>
                  <a:pt x="1170" y="128"/>
                </a:lnTo>
                <a:lnTo>
                  <a:pt x="1165" y="111"/>
                </a:lnTo>
                <a:lnTo>
                  <a:pt x="1158" y="95"/>
                </a:lnTo>
                <a:lnTo>
                  <a:pt x="1150" y="81"/>
                </a:lnTo>
                <a:lnTo>
                  <a:pt x="1141" y="67"/>
                </a:lnTo>
                <a:lnTo>
                  <a:pt x="1131" y="53"/>
                </a:lnTo>
                <a:lnTo>
                  <a:pt x="1119" y="42"/>
                </a:lnTo>
                <a:lnTo>
                  <a:pt x="1107" y="31"/>
                </a:lnTo>
                <a:lnTo>
                  <a:pt x="1094" y="22"/>
                </a:lnTo>
                <a:lnTo>
                  <a:pt x="1080" y="15"/>
                </a:lnTo>
                <a:lnTo>
                  <a:pt x="1064" y="9"/>
                </a:lnTo>
                <a:lnTo>
                  <a:pt x="1049" y="3"/>
                </a:lnTo>
                <a:lnTo>
                  <a:pt x="1034" y="1"/>
                </a:lnTo>
                <a:lnTo>
                  <a:pt x="1017" y="0"/>
                </a:lnTo>
                <a:lnTo>
                  <a:pt x="160" y="0"/>
                </a:lnTo>
                <a:lnTo>
                  <a:pt x="160" y="0"/>
                </a:lnTo>
                <a:lnTo>
                  <a:pt x="143" y="1"/>
                </a:lnTo>
                <a:lnTo>
                  <a:pt x="128" y="3"/>
                </a:lnTo>
                <a:lnTo>
                  <a:pt x="112" y="9"/>
                </a:lnTo>
                <a:lnTo>
                  <a:pt x="97" y="15"/>
                </a:lnTo>
                <a:lnTo>
                  <a:pt x="83" y="22"/>
                </a:lnTo>
                <a:lnTo>
                  <a:pt x="70" y="31"/>
                </a:lnTo>
                <a:lnTo>
                  <a:pt x="58" y="42"/>
                </a:lnTo>
                <a:lnTo>
                  <a:pt x="46" y="53"/>
                </a:lnTo>
                <a:lnTo>
                  <a:pt x="36" y="67"/>
                </a:lnTo>
                <a:lnTo>
                  <a:pt x="27" y="81"/>
                </a:lnTo>
                <a:lnTo>
                  <a:pt x="19" y="95"/>
                </a:lnTo>
                <a:lnTo>
                  <a:pt x="12" y="111"/>
                </a:lnTo>
                <a:lnTo>
                  <a:pt x="7" y="128"/>
                </a:lnTo>
                <a:lnTo>
                  <a:pt x="3" y="146"/>
                </a:lnTo>
                <a:lnTo>
                  <a:pt x="1" y="163"/>
                </a:lnTo>
                <a:lnTo>
                  <a:pt x="0" y="183"/>
                </a:lnTo>
                <a:lnTo>
                  <a:pt x="0" y="183"/>
                </a:lnTo>
                <a:lnTo>
                  <a:pt x="0" y="183"/>
                </a:lnTo>
                <a:lnTo>
                  <a:pt x="1" y="201"/>
                </a:lnTo>
                <a:lnTo>
                  <a:pt x="3" y="219"/>
                </a:lnTo>
                <a:lnTo>
                  <a:pt x="7" y="236"/>
                </a:lnTo>
                <a:lnTo>
                  <a:pt x="12" y="253"/>
                </a:lnTo>
                <a:lnTo>
                  <a:pt x="19" y="269"/>
                </a:lnTo>
                <a:lnTo>
                  <a:pt x="27" y="283"/>
                </a:lnTo>
                <a:lnTo>
                  <a:pt x="36" y="297"/>
                </a:lnTo>
                <a:lnTo>
                  <a:pt x="46" y="311"/>
                </a:lnTo>
                <a:lnTo>
                  <a:pt x="58" y="322"/>
                </a:lnTo>
                <a:lnTo>
                  <a:pt x="70" y="333"/>
                </a:lnTo>
                <a:lnTo>
                  <a:pt x="83" y="342"/>
                </a:lnTo>
                <a:lnTo>
                  <a:pt x="97" y="349"/>
                </a:lnTo>
                <a:lnTo>
                  <a:pt x="112" y="355"/>
                </a:lnTo>
                <a:lnTo>
                  <a:pt x="128" y="361"/>
                </a:lnTo>
                <a:lnTo>
                  <a:pt x="143" y="363"/>
                </a:lnTo>
                <a:lnTo>
                  <a:pt x="160" y="364"/>
                </a:lnTo>
                <a:lnTo>
                  <a:pt x="1017" y="364"/>
                </a:lnTo>
                <a:lnTo>
                  <a:pt x="1017" y="364"/>
                </a:lnTo>
                <a:lnTo>
                  <a:pt x="1034" y="363"/>
                </a:lnTo>
                <a:lnTo>
                  <a:pt x="1049" y="361"/>
                </a:lnTo>
                <a:lnTo>
                  <a:pt x="1064" y="355"/>
                </a:lnTo>
                <a:lnTo>
                  <a:pt x="1080" y="349"/>
                </a:lnTo>
                <a:lnTo>
                  <a:pt x="1094" y="342"/>
                </a:lnTo>
                <a:lnTo>
                  <a:pt x="1107" y="333"/>
                </a:lnTo>
                <a:lnTo>
                  <a:pt x="1119" y="322"/>
                </a:lnTo>
                <a:lnTo>
                  <a:pt x="1131" y="311"/>
                </a:lnTo>
                <a:lnTo>
                  <a:pt x="1141" y="297"/>
                </a:lnTo>
                <a:lnTo>
                  <a:pt x="1150" y="283"/>
                </a:lnTo>
                <a:lnTo>
                  <a:pt x="1158" y="269"/>
                </a:lnTo>
                <a:lnTo>
                  <a:pt x="1165" y="253"/>
                </a:lnTo>
                <a:lnTo>
                  <a:pt x="1170" y="236"/>
                </a:lnTo>
                <a:lnTo>
                  <a:pt x="1174" y="219"/>
                </a:lnTo>
                <a:lnTo>
                  <a:pt x="1176" y="201"/>
                </a:lnTo>
                <a:lnTo>
                  <a:pt x="1177" y="183"/>
                </a:lnTo>
                <a:lnTo>
                  <a:pt x="1177" y="183"/>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7" name="Freeform 2062"/>
          <p:cNvSpPr>
            <a:spLocks/>
          </p:cNvSpPr>
          <p:nvPr/>
        </p:nvSpPr>
        <p:spPr bwMode="auto">
          <a:xfrm>
            <a:off x="11003757" y="1978421"/>
            <a:ext cx="292100" cy="1620838"/>
          </a:xfrm>
          <a:custGeom>
            <a:avLst/>
            <a:gdLst>
              <a:gd name="T0" fmla="*/ 280 w 1101"/>
              <a:gd name="T1" fmla="*/ 461 h 6126"/>
              <a:gd name="T2" fmla="*/ 277 w 1101"/>
              <a:gd name="T3" fmla="*/ 969 h 6126"/>
              <a:gd name="T4" fmla="*/ 268 w 1101"/>
              <a:gd name="T5" fmla="*/ 1887 h 6126"/>
              <a:gd name="T6" fmla="*/ 276 w 1101"/>
              <a:gd name="T7" fmla="*/ 2456 h 6126"/>
              <a:gd name="T8" fmla="*/ 284 w 1101"/>
              <a:gd name="T9" fmla="*/ 2797 h 6126"/>
              <a:gd name="T10" fmla="*/ 275 w 1101"/>
              <a:gd name="T11" fmla="*/ 3222 h 6126"/>
              <a:gd name="T12" fmla="*/ 233 w 1101"/>
              <a:gd name="T13" fmla="*/ 3964 h 6126"/>
              <a:gd name="T14" fmla="*/ 207 w 1101"/>
              <a:gd name="T15" fmla="*/ 4411 h 6126"/>
              <a:gd name="T16" fmla="*/ 164 w 1101"/>
              <a:gd name="T17" fmla="*/ 4759 h 6126"/>
              <a:gd name="T18" fmla="*/ 77 w 1101"/>
              <a:gd name="T19" fmla="*/ 5235 h 6126"/>
              <a:gd name="T20" fmla="*/ 8 w 1101"/>
              <a:gd name="T21" fmla="*/ 5644 h 6126"/>
              <a:gd name="T22" fmla="*/ 0 w 1101"/>
              <a:gd name="T23" fmla="*/ 5751 h 6126"/>
              <a:gd name="T24" fmla="*/ 13 w 1101"/>
              <a:gd name="T25" fmla="*/ 5847 h 6126"/>
              <a:gd name="T26" fmla="*/ 47 w 1101"/>
              <a:gd name="T27" fmla="*/ 5899 h 6126"/>
              <a:gd name="T28" fmla="*/ 94 w 1101"/>
              <a:gd name="T29" fmla="*/ 5917 h 6126"/>
              <a:gd name="T30" fmla="*/ 146 w 1101"/>
              <a:gd name="T31" fmla="*/ 5912 h 6126"/>
              <a:gd name="T32" fmla="*/ 206 w 1101"/>
              <a:gd name="T33" fmla="*/ 5889 h 6126"/>
              <a:gd name="T34" fmla="*/ 252 w 1101"/>
              <a:gd name="T35" fmla="*/ 5860 h 6126"/>
              <a:gd name="T36" fmla="*/ 303 w 1101"/>
              <a:gd name="T37" fmla="*/ 5954 h 6126"/>
              <a:gd name="T38" fmla="*/ 340 w 1101"/>
              <a:gd name="T39" fmla="*/ 5989 h 6126"/>
              <a:gd name="T40" fmla="*/ 366 w 1101"/>
              <a:gd name="T41" fmla="*/ 5997 h 6126"/>
              <a:gd name="T42" fmla="*/ 429 w 1101"/>
              <a:gd name="T43" fmla="*/ 5989 h 6126"/>
              <a:gd name="T44" fmla="*/ 493 w 1101"/>
              <a:gd name="T45" fmla="*/ 5988 h 6126"/>
              <a:gd name="T46" fmla="*/ 563 w 1101"/>
              <a:gd name="T47" fmla="*/ 6049 h 6126"/>
              <a:gd name="T48" fmla="*/ 643 w 1101"/>
              <a:gd name="T49" fmla="*/ 6093 h 6126"/>
              <a:gd name="T50" fmla="*/ 728 w 1101"/>
              <a:gd name="T51" fmla="*/ 6120 h 6126"/>
              <a:gd name="T52" fmla="*/ 814 w 1101"/>
              <a:gd name="T53" fmla="*/ 6125 h 6126"/>
              <a:gd name="T54" fmla="*/ 893 w 1101"/>
              <a:gd name="T55" fmla="*/ 6105 h 6126"/>
              <a:gd name="T56" fmla="*/ 960 w 1101"/>
              <a:gd name="T57" fmla="*/ 6056 h 6126"/>
              <a:gd name="T58" fmla="*/ 1010 w 1101"/>
              <a:gd name="T59" fmla="*/ 5976 h 6126"/>
              <a:gd name="T60" fmla="*/ 1033 w 1101"/>
              <a:gd name="T61" fmla="*/ 5893 h 6126"/>
              <a:gd name="T62" fmla="*/ 1058 w 1101"/>
              <a:gd name="T63" fmla="*/ 5668 h 6126"/>
              <a:gd name="T64" fmla="*/ 1065 w 1101"/>
              <a:gd name="T65" fmla="*/ 5460 h 6126"/>
              <a:gd name="T66" fmla="*/ 1060 w 1101"/>
              <a:gd name="T67" fmla="*/ 5024 h 6126"/>
              <a:gd name="T68" fmla="*/ 1066 w 1101"/>
              <a:gd name="T69" fmla="*/ 4435 h 6126"/>
              <a:gd name="T70" fmla="*/ 1091 w 1101"/>
              <a:gd name="T71" fmla="*/ 3260 h 6126"/>
              <a:gd name="T72" fmla="*/ 1101 w 1101"/>
              <a:gd name="T73" fmla="*/ 2476 h 6126"/>
              <a:gd name="T74" fmla="*/ 1094 w 1101"/>
              <a:gd name="T75" fmla="*/ 1888 h 6126"/>
              <a:gd name="T76" fmla="*/ 1074 w 1101"/>
              <a:gd name="T77" fmla="*/ 1444 h 6126"/>
              <a:gd name="T78" fmla="*/ 1037 w 1101"/>
              <a:gd name="T79" fmla="*/ 781 h 6126"/>
              <a:gd name="T80" fmla="*/ 1029 w 1101"/>
              <a:gd name="T81" fmla="*/ 340 h 6126"/>
              <a:gd name="T82" fmla="*/ 1010 w 1101"/>
              <a:gd name="T83" fmla="*/ 114 h 6126"/>
              <a:gd name="T84" fmla="*/ 916 w 1101"/>
              <a:gd name="T85" fmla="*/ 112 h 6126"/>
              <a:gd name="T86" fmla="*/ 765 w 1101"/>
              <a:gd name="T87" fmla="*/ 128 h 6126"/>
              <a:gd name="T88" fmla="*/ 664 w 1101"/>
              <a:gd name="T89" fmla="*/ 128 h 6126"/>
              <a:gd name="T90" fmla="*/ 615 w 1101"/>
              <a:gd name="T91" fmla="*/ 119 h 6126"/>
              <a:gd name="T92" fmla="*/ 515 w 1101"/>
              <a:gd name="T93" fmla="*/ 78 h 6126"/>
              <a:gd name="T94" fmla="*/ 392 w 1101"/>
              <a:gd name="T95" fmla="*/ 20 h 6126"/>
              <a:gd name="T96" fmla="*/ 317 w 1101"/>
              <a:gd name="T97" fmla="*/ 1 h 6126"/>
              <a:gd name="T98" fmla="*/ 267 w 1101"/>
              <a:gd name="T99" fmla="*/ 2 h 6126"/>
              <a:gd name="T100" fmla="*/ 257 w 1101"/>
              <a:gd name="T101" fmla="*/ 13 h 6126"/>
              <a:gd name="T102" fmla="*/ 249 w 1101"/>
              <a:gd name="T103" fmla="*/ 69 h 6126"/>
              <a:gd name="T104" fmla="*/ 256 w 1101"/>
              <a:gd name="T105" fmla="*/ 210 h 6126"/>
              <a:gd name="T106" fmla="*/ 277 w 1101"/>
              <a:gd name="T107" fmla="*/ 414 h 6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1" h="6126">
                <a:moveTo>
                  <a:pt x="277" y="414"/>
                </a:moveTo>
                <a:lnTo>
                  <a:pt x="277" y="414"/>
                </a:lnTo>
                <a:lnTo>
                  <a:pt x="279" y="434"/>
                </a:lnTo>
                <a:lnTo>
                  <a:pt x="280" y="461"/>
                </a:lnTo>
                <a:lnTo>
                  <a:pt x="281" y="529"/>
                </a:lnTo>
                <a:lnTo>
                  <a:pt x="281" y="615"/>
                </a:lnTo>
                <a:lnTo>
                  <a:pt x="281" y="720"/>
                </a:lnTo>
                <a:lnTo>
                  <a:pt x="277" y="969"/>
                </a:lnTo>
                <a:lnTo>
                  <a:pt x="273" y="1259"/>
                </a:lnTo>
                <a:lnTo>
                  <a:pt x="269" y="1572"/>
                </a:lnTo>
                <a:lnTo>
                  <a:pt x="268" y="1730"/>
                </a:lnTo>
                <a:lnTo>
                  <a:pt x="268" y="1887"/>
                </a:lnTo>
                <a:lnTo>
                  <a:pt x="268" y="2041"/>
                </a:lnTo>
                <a:lnTo>
                  <a:pt x="269" y="2188"/>
                </a:lnTo>
                <a:lnTo>
                  <a:pt x="272" y="2327"/>
                </a:lnTo>
                <a:lnTo>
                  <a:pt x="276" y="2456"/>
                </a:lnTo>
                <a:lnTo>
                  <a:pt x="276" y="2456"/>
                </a:lnTo>
                <a:lnTo>
                  <a:pt x="280" y="2573"/>
                </a:lnTo>
                <a:lnTo>
                  <a:pt x="283" y="2687"/>
                </a:lnTo>
                <a:lnTo>
                  <a:pt x="284" y="2797"/>
                </a:lnTo>
                <a:lnTo>
                  <a:pt x="283" y="2906"/>
                </a:lnTo>
                <a:lnTo>
                  <a:pt x="282" y="3012"/>
                </a:lnTo>
                <a:lnTo>
                  <a:pt x="279" y="3118"/>
                </a:lnTo>
                <a:lnTo>
                  <a:pt x="275" y="3222"/>
                </a:lnTo>
                <a:lnTo>
                  <a:pt x="271" y="3325"/>
                </a:lnTo>
                <a:lnTo>
                  <a:pt x="260" y="3533"/>
                </a:lnTo>
                <a:lnTo>
                  <a:pt x="246" y="3744"/>
                </a:lnTo>
                <a:lnTo>
                  <a:pt x="233" y="3964"/>
                </a:lnTo>
                <a:lnTo>
                  <a:pt x="221" y="4195"/>
                </a:lnTo>
                <a:lnTo>
                  <a:pt x="221" y="4195"/>
                </a:lnTo>
                <a:lnTo>
                  <a:pt x="215" y="4307"/>
                </a:lnTo>
                <a:lnTo>
                  <a:pt x="207" y="4411"/>
                </a:lnTo>
                <a:lnTo>
                  <a:pt x="198" y="4505"/>
                </a:lnTo>
                <a:lnTo>
                  <a:pt x="187" y="4595"/>
                </a:lnTo>
                <a:lnTo>
                  <a:pt x="176" y="4678"/>
                </a:lnTo>
                <a:lnTo>
                  <a:pt x="164" y="4759"/>
                </a:lnTo>
                <a:lnTo>
                  <a:pt x="152" y="4837"/>
                </a:lnTo>
                <a:lnTo>
                  <a:pt x="138" y="4913"/>
                </a:lnTo>
                <a:lnTo>
                  <a:pt x="108" y="5068"/>
                </a:lnTo>
                <a:lnTo>
                  <a:pt x="77" y="5235"/>
                </a:lnTo>
                <a:lnTo>
                  <a:pt x="60" y="5325"/>
                </a:lnTo>
                <a:lnTo>
                  <a:pt x="43" y="5423"/>
                </a:lnTo>
                <a:lnTo>
                  <a:pt x="26" y="5528"/>
                </a:lnTo>
                <a:lnTo>
                  <a:pt x="8" y="5644"/>
                </a:lnTo>
                <a:lnTo>
                  <a:pt x="8" y="5644"/>
                </a:lnTo>
                <a:lnTo>
                  <a:pt x="4" y="5682"/>
                </a:lnTo>
                <a:lnTo>
                  <a:pt x="1" y="5718"/>
                </a:lnTo>
                <a:lnTo>
                  <a:pt x="0" y="5751"/>
                </a:lnTo>
                <a:lnTo>
                  <a:pt x="1" y="5779"/>
                </a:lnTo>
                <a:lnTo>
                  <a:pt x="3" y="5804"/>
                </a:lnTo>
                <a:lnTo>
                  <a:pt x="7" y="5827"/>
                </a:lnTo>
                <a:lnTo>
                  <a:pt x="13" y="5847"/>
                </a:lnTo>
                <a:lnTo>
                  <a:pt x="21" y="5863"/>
                </a:lnTo>
                <a:lnTo>
                  <a:pt x="29" y="5878"/>
                </a:lnTo>
                <a:lnTo>
                  <a:pt x="37" y="5889"/>
                </a:lnTo>
                <a:lnTo>
                  <a:pt x="47" y="5899"/>
                </a:lnTo>
                <a:lnTo>
                  <a:pt x="58" y="5906"/>
                </a:lnTo>
                <a:lnTo>
                  <a:pt x="69" y="5911"/>
                </a:lnTo>
                <a:lnTo>
                  <a:pt x="82" y="5915"/>
                </a:lnTo>
                <a:lnTo>
                  <a:pt x="94" y="5917"/>
                </a:lnTo>
                <a:lnTo>
                  <a:pt x="107" y="5917"/>
                </a:lnTo>
                <a:lnTo>
                  <a:pt x="120" y="5916"/>
                </a:lnTo>
                <a:lnTo>
                  <a:pt x="133" y="5914"/>
                </a:lnTo>
                <a:lnTo>
                  <a:pt x="146" y="5912"/>
                </a:lnTo>
                <a:lnTo>
                  <a:pt x="159" y="5908"/>
                </a:lnTo>
                <a:lnTo>
                  <a:pt x="171" y="5904"/>
                </a:lnTo>
                <a:lnTo>
                  <a:pt x="183" y="5899"/>
                </a:lnTo>
                <a:lnTo>
                  <a:pt x="206" y="5889"/>
                </a:lnTo>
                <a:lnTo>
                  <a:pt x="225" y="5879"/>
                </a:lnTo>
                <a:lnTo>
                  <a:pt x="240" y="5870"/>
                </a:lnTo>
                <a:lnTo>
                  <a:pt x="252" y="5860"/>
                </a:lnTo>
                <a:lnTo>
                  <a:pt x="252" y="5860"/>
                </a:lnTo>
                <a:lnTo>
                  <a:pt x="275" y="5904"/>
                </a:lnTo>
                <a:lnTo>
                  <a:pt x="284" y="5922"/>
                </a:lnTo>
                <a:lnTo>
                  <a:pt x="294" y="5940"/>
                </a:lnTo>
                <a:lnTo>
                  <a:pt x="303" y="5954"/>
                </a:lnTo>
                <a:lnTo>
                  <a:pt x="313" y="5966"/>
                </a:lnTo>
                <a:lnTo>
                  <a:pt x="324" y="5977"/>
                </a:lnTo>
                <a:lnTo>
                  <a:pt x="334" y="5986"/>
                </a:lnTo>
                <a:lnTo>
                  <a:pt x="340" y="5989"/>
                </a:lnTo>
                <a:lnTo>
                  <a:pt x="346" y="5992"/>
                </a:lnTo>
                <a:lnTo>
                  <a:pt x="352" y="5994"/>
                </a:lnTo>
                <a:lnTo>
                  <a:pt x="359" y="5996"/>
                </a:lnTo>
                <a:lnTo>
                  <a:pt x="366" y="5997"/>
                </a:lnTo>
                <a:lnTo>
                  <a:pt x="373" y="5998"/>
                </a:lnTo>
                <a:lnTo>
                  <a:pt x="391" y="5997"/>
                </a:lnTo>
                <a:lnTo>
                  <a:pt x="409" y="5995"/>
                </a:lnTo>
                <a:lnTo>
                  <a:pt x="429" y="5989"/>
                </a:lnTo>
                <a:lnTo>
                  <a:pt x="453" y="5981"/>
                </a:lnTo>
                <a:lnTo>
                  <a:pt x="479" y="5971"/>
                </a:lnTo>
                <a:lnTo>
                  <a:pt x="479" y="5971"/>
                </a:lnTo>
                <a:lnTo>
                  <a:pt x="493" y="5988"/>
                </a:lnTo>
                <a:lnTo>
                  <a:pt x="510" y="6004"/>
                </a:lnTo>
                <a:lnTo>
                  <a:pt x="526" y="6020"/>
                </a:lnTo>
                <a:lnTo>
                  <a:pt x="544" y="6034"/>
                </a:lnTo>
                <a:lnTo>
                  <a:pt x="563" y="6049"/>
                </a:lnTo>
                <a:lnTo>
                  <a:pt x="582" y="6061"/>
                </a:lnTo>
                <a:lnTo>
                  <a:pt x="601" y="6073"/>
                </a:lnTo>
                <a:lnTo>
                  <a:pt x="622" y="6083"/>
                </a:lnTo>
                <a:lnTo>
                  <a:pt x="643" y="6093"/>
                </a:lnTo>
                <a:lnTo>
                  <a:pt x="664" y="6102"/>
                </a:lnTo>
                <a:lnTo>
                  <a:pt x="686" y="6109"/>
                </a:lnTo>
                <a:lnTo>
                  <a:pt x="707" y="6115"/>
                </a:lnTo>
                <a:lnTo>
                  <a:pt x="728" y="6120"/>
                </a:lnTo>
                <a:lnTo>
                  <a:pt x="750" y="6123"/>
                </a:lnTo>
                <a:lnTo>
                  <a:pt x="771" y="6125"/>
                </a:lnTo>
                <a:lnTo>
                  <a:pt x="792" y="6126"/>
                </a:lnTo>
                <a:lnTo>
                  <a:pt x="814" y="6125"/>
                </a:lnTo>
                <a:lnTo>
                  <a:pt x="834" y="6122"/>
                </a:lnTo>
                <a:lnTo>
                  <a:pt x="855" y="6118"/>
                </a:lnTo>
                <a:lnTo>
                  <a:pt x="874" y="6112"/>
                </a:lnTo>
                <a:lnTo>
                  <a:pt x="893" y="6105"/>
                </a:lnTo>
                <a:lnTo>
                  <a:pt x="911" y="6095"/>
                </a:lnTo>
                <a:lnTo>
                  <a:pt x="929" y="6084"/>
                </a:lnTo>
                <a:lnTo>
                  <a:pt x="945" y="6071"/>
                </a:lnTo>
                <a:lnTo>
                  <a:pt x="960" y="6056"/>
                </a:lnTo>
                <a:lnTo>
                  <a:pt x="975" y="6039"/>
                </a:lnTo>
                <a:lnTo>
                  <a:pt x="988" y="6020"/>
                </a:lnTo>
                <a:lnTo>
                  <a:pt x="1000" y="5999"/>
                </a:lnTo>
                <a:lnTo>
                  <a:pt x="1010" y="5976"/>
                </a:lnTo>
                <a:lnTo>
                  <a:pt x="1019" y="5951"/>
                </a:lnTo>
                <a:lnTo>
                  <a:pt x="1026" y="5924"/>
                </a:lnTo>
                <a:lnTo>
                  <a:pt x="1033" y="5893"/>
                </a:lnTo>
                <a:lnTo>
                  <a:pt x="1033" y="5893"/>
                </a:lnTo>
                <a:lnTo>
                  <a:pt x="1041" y="5834"/>
                </a:lnTo>
                <a:lnTo>
                  <a:pt x="1048" y="5777"/>
                </a:lnTo>
                <a:lnTo>
                  <a:pt x="1054" y="5722"/>
                </a:lnTo>
                <a:lnTo>
                  <a:pt x="1058" y="5668"/>
                </a:lnTo>
                <a:lnTo>
                  <a:pt x="1061" y="5615"/>
                </a:lnTo>
                <a:lnTo>
                  <a:pt x="1064" y="5563"/>
                </a:lnTo>
                <a:lnTo>
                  <a:pt x="1065" y="5512"/>
                </a:lnTo>
                <a:lnTo>
                  <a:pt x="1065" y="5460"/>
                </a:lnTo>
                <a:lnTo>
                  <a:pt x="1065" y="5357"/>
                </a:lnTo>
                <a:lnTo>
                  <a:pt x="1063" y="5251"/>
                </a:lnTo>
                <a:lnTo>
                  <a:pt x="1061" y="5141"/>
                </a:lnTo>
                <a:lnTo>
                  <a:pt x="1060" y="5024"/>
                </a:lnTo>
                <a:lnTo>
                  <a:pt x="1060" y="5024"/>
                </a:lnTo>
                <a:lnTo>
                  <a:pt x="1061" y="4828"/>
                </a:lnTo>
                <a:lnTo>
                  <a:pt x="1063" y="4632"/>
                </a:lnTo>
                <a:lnTo>
                  <a:pt x="1066" y="4435"/>
                </a:lnTo>
                <a:lnTo>
                  <a:pt x="1069" y="4240"/>
                </a:lnTo>
                <a:lnTo>
                  <a:pt x="1078" y="3848"/>
                </a:lnTo>
                <a:lnTo>
                  <a:pt x="1087" y="3457"/>
                </a:lnTo>
                <a:lnTo>
                  <a:pt x="1091" y="3260"/>
                </a:lnTo>
                <a:lnTo>
                  <a:pt x="1096" y="3064"/>
                </a:lnTo>
                <a:lnTo>
                  <a:pt x="1099" y="2869"/>
                </a:lnTo>
                <a:lnTo>
                  <a:pt x="1100" y="2672"/>
                </a:lnTo>
                <a:lnTo>
                  <a:pt x="1101" y="2476"/>
                </a:lnTo>
                <a:lnTo>
                  <a:pt x="1100" y="2281"/>
                </a:lnTo>
                <a:lnTo>
                  <a:pt x="1098" y="2084"/>
                </a:lnTo>
                <a:lnTo>
                  <a:pt x="1094" y="1888"/>
                </a:lnTo>
                <a:lnTo>
                  <a:pt x="1094" y="1888"/>
                </a:lnTo>
                <a:lnTo>
                  <a:pt x="1090" y="1777"/>
                </a:lnTo>
                <a:lnTo>
                  <a:pt x="1085" y="1666"/>
                </a:lnTo>
                <a:lnTo>
                  <a:pt x="1080" y="1555"/>
                </a:lnTo>
                <a:lnTo>
                  <a:pt x="1074" y="1444"/>
                </a:lnTo>
                <a:lnTo>
                  <a:pt x="1061" y="1224"/>
                </a:lnTo>
                <a:lnTo>
                  <a:pt x="1048" y="1003"/>
                </a:lnTo>
                <a:lnTo>
                  <a:pt x="1042" y="892"/>
                </a:lnTo>
                <a:lnTo>
                  <a:pt x="1037" y="781"/>
                </a:lnTo>
                <a:lnTo>
                  <a:pt x="1034" y="671"/>
                </a:lnTo>
                <a:lnTo>
                  <a:pt x="1030" y="560"/>
                </a:lnTo>
                <a:lnTo>
                  <a:pt x="1029" y="451"/>
                </a:lnTo>
                <a:lnTo>
                  <a:pt x="1029" y="340"/>
                </a:lnTo>
                <a:lnTo>
                  <a:pt x="1033" y="229"/>
                </a:lnTo>
                <a:lnTo>
                  <a:pt x="1037" y="118"/>
                </a:lnTo>
                <a:lnTo>
                  <a:pt x="1037" y="118"/>
                </a:lnTo>
                <a:lnTo>
                  <a:pt x="1010" y="114"/>
                </a:lnTo>
                <a:lnTo>
                  <a:pt x="985" y="112"/>
                </a:lnTo>
                <a:lnTo>
                  <a:pt x="961" y="111"/>
                </a:lnTo>
                <a:lnTo>
                  <a:pt x="938" y="111"/>
                </a:lnTo>
                <a:lnTo>
                  <a:pt x="916" y="112"/>
                </a:lnTo>
                <a:lnTo>
                  <a:pt x="894" y="113"/>
                </a:lnTo>
                <a:lnTo>
                  <a:pt x="851" y="118"/>
                </a:lnTo>
                <a:lnTo>
                  <a:pt x="810" y="123"/>
                </a:lnTo>
                <a:lnTo>
                  <a:pt x="765" y="128"/>
                </a:lnTo>
                <a:lnTo>
                  <a:pt x="742" y="129"/>
                </a:lnTo>
                <a:lnTo>
                  <a:pt x="717" y="130"/>
                </a:lnTo>
                <a:lnTo>
                  <a:pt x="692" y="129"/>
                </a:lnTo>
                <a:lnTo>
                  <a:pt x="664" y="128"/>
                </a:lnTo>
                <a:lnTo>
                  <a:pt x="664" y="128"/>
                </a:lnTo>
                <a:lnTo>
                  <a:pt x="652" y="126"/>
                </a:lnTo>
                <a:lnTo>
                  <a:pt x="639" y="124"/>
                </a:lnTo>
                <a:lnTo>
                  <a:pt x="615" y="119"/>
                </a:lnTo>
                <a:lnTo>
                  <a:pt x="589" y="111"/>
                </a:lnTo>
                <a:lnTo>
                  <a:pt x="565" y="101"/>
                </a:lnTo>
                <a:lnTo>
                  <a:pt x="539" y="89"/>
                </a:lnTo>
                <a:lnTo>
                  <a:pt x="515" y="78"/>
                </a:lnTo>
                <a:lnTo>
                  <a:pt x="466" y="53"/>
                </a:lnTo>
                <a:lnTo>
                  <a:pt x="441" y="42"/>
                </a:lnTo>
                <a:lnTo>
                  <a:pt x="416" y="30"/>
                </a:lnTo>
                <a:lnTo>
                  <a:pt x="392" y="20"/>
                </a:lnTo>
                <a:lnTo>
                  <a:pt x="366" y="11"/>
                </a:lnTo>
                <a:lnTo>
                  <a:pt x="342" y="5"/>
                </a:lnTo>
                <a:lnTo>
                  <a:pt x="330" y="3"/>
                </a:lnTo>
                <a:lnTo>
                  <a:pt x="317" y="1"/>
                </a:lnTo>
                <a:lnTo>
                  <a:pt x="304" y="0"/>
                </a:lnTo>
                <a:lnTo>
                  <a:pt x="292" y="0"/>
                </a:lnTo>
                <a:lnTo>
                  <a:pt x="279" y="0"/>
                </a:lnTo>
                <a:lnTo>
                  <a:pt x="267" y="2"/>
                </a:lnTo>
                <a:lnTo>
                  <a:pt x="267" y="2"/>
                </a:lnTo>
                <a:lnTo>
                  <a:pt x="263" y="3"/>
                </a:lnTo>
                <a:lnTo>
                  <a:pt x="260" y="7"/>
                </a:lnTo>
                <a:lnTo>
                  <a:pt x="257" y="13"/>
                </a:lnTo>
                <a:lnTo>
                  <a:pt x="254" y="21"/>
                </a:lnTo>
                <a:lnTo>
                  <a:pt x="252" y="30"/>
                </a:lnTo>
                <a:lnTo>
                  <a:pt x="251" y="42"/>
                </a:lnTo>
                <a:lnTo>
                  <a:pt x="249" y="69"/>
                </a:lnTo>
                <a:lnTo>
                  <a:pt x="249" y="101"/>
                </a:lnTo>
                <a:lnTo>
                  <a:pt x="250" y="135"/>
                </a:lnTo>
                <a:lnTo>
                  <a:pt x="252" y="172"/>
                </a:lnTo>
                <a:lnTo>
                  <a:pt x="256" y="210"/>
                </a:lnTo>
                <a:lnTo>
                  <a:pt x="263" y="286"/>
                </a:lnTo>
                <a:lnTo>
                  <a:pt x="270" y="351"/>
                </a:lnTo>
                <a:lnTo>
                  <a:pt x="277" y="414"/>
                </a:lnTo>
                <a:lnTo>
                  <a:pt x="277" y="41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8" name="Freeform 2063"/>
          <p:cNvSpPr>
            <a:spLocks/>
          </p:cNvSpPr>
          <p:nvPr/>
        </p:nvSpPr>
        <p:spPr bwMode="auto">
          <a:xfrm>
            <a:off x="7629527" y="2836864"/>
            <a:ext cx="284163" cy="55563"/>
          </a:xfrm>
          <a:custGeom>
            <a:avLst/>
            <a:gdLst>
              <a:gd name="T0" fmla="*/ 928 w 1072"/>
              <a:gd name="T1" fmla="*/ 0 h 210"/>
              <a:gd name="T2" fmla="*/ 145 w 1072"/>
              <a:gd name="T3" fmla="*/ 0 h 210"/>
              <a:gd name="T4" fmla="*/ 0 w 1072"/>
              <a:gd name="T5" fmla="*/ 210 h 210"/>
              <a:gd name="T6" fmla="*/ 1072 w 1072"/>
              <a:gd name="T7" fmla="*/ 210 h 210"/>
              <a:gd name="T8" fmla="*/ 928 w 1072"/>
              <a:gd name="T9" fmla="*/ 0 h 210"/>
            </a:gdLst>
            <a:ahLst/>
            <a:cxnLst>
              <a:cxn ang="0">
                <a:pos x="T0" y="T1"/>
              </a:cxn>
              <a:cxn ang="0">
                <a:pos x="T2" y="T3"/>
              </a:cxn>
              <a:cxn ang="0">
                <a:pos x="T4" y="T5"/>
              </a:cxn>
              <a:cxn ang="0">
                <a:pos x="T6" y="T7"/>
              </a:cxn>
              <a:cxn ang="0">
                <a:pos x="T8" y="T9"/>
              </a:cxn>
            </a:cxnLst>
            <a:rect l="0" t="0" r="r" b="b"/>
            <a:pathLst>
              <a:path w="1072" h="210">
                <a:moveTo>
                  <a:pt x="928" y="0"/>
                </a:moveTo>
                <a:lnTo>
                  <a:pt x="145" y="0"/>
                </a:lnTo>
                <a:lnTo>
                  <a:pt x="0" y="210"/>
                </a:lnTo>
                <a:lnTo>
                  <a:pt x="1072" y="210"/>
                </a:lnTo>
                <a:lnTo>
                  <a:pt x="928" y="0"/>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9" name="Freeform 2064"/>
          <p:cNvSpPr>
            <a:spLocks/>
          </p:cNvSpPr>
          <p:nvPr/>
        </p:nvSpPr>
        <p:spPr bwMode="auto">
          <a:xfrm>
            <a:off x="7648577" y="2924176"/>
            <a:ext cx="246063" cy="180975"/>
          </a:xfrm>
          <a:custGeom>
            <a:avLst/>
            <a:gdLst>
              <a:gd name="T0" fmla="*/ 818 w 927"/>
              <a:gd name="T1" fmla="*/ 0 h 687"/>
              <a:gd name="T2" fmla="*/ 108 w 927"/>
              <a:gd name="T3" fmla="*/ 0 h 687"/>
              <a:gd name="T4" fmla="*/ 0 w 927"/>
              <a:gd name="T5" fmla="*/ 0 h 687"/>
              <a:gd name="T6" fmla="*/ 0 w 927"/>
              <a:gd name="T7" fmla="*/ 601 h 687"/>
              <a:gd name="T8" fmla="*/ 0 w 927"/>
              <a:gd name="T9" fmla="*/ 687 h 687"/>
              <a:gd name="T10" fmla="*/ 108 w 927"/>
              <a:gd name="T11" fmla="*/ 687 h 687"/>
              <a:gd name="T12" fmla="*/ 108 w 927"/>
              <a:gd name="T13" fmla="*/ 601 h 687"/>
              <a:gd name="T14" fmla="*/ 818 w 927"/>
              <a:gd name="T15" fmla="*/ 601 h 687"/>
              <a:gd name="T16" fmla="*/ 818 w 927"/>
              <a:gd name="T17" fmla="*/ 687 h 687"/>
              <a:gd name="T18" fmla="*/ 927 w 927"/>
              <a:gd name="T19" fmla="*/ 687 h 687"/>
              <a:gd name="T20" fmla="*/ 927 w 927"/>
              <a:gd name="T21" fmla="*/ 601 h 687"/>
              <a:gd name="T22" fmla="*/ 927 w 927"/>
              <a:gd name="T23" fmla="*/ 0 h 687"/>
              <a:gd name="T24" fmla="*/ 818 w 927"/>
              <a:gd name="T25" fmla="*/ 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7" h="687">
                <a:moveTo>
                  <a:pt x="818" y="0"/>
                </a:moveTo>
                <a:lnTo>
                  <a:pt x="108" y="0"/>
                </a:lnTo>
                <a:lnTo>
                  <a:pt x="0" y="0"/>
                </a:lnTo>
                <a:lnTo>
                  <a:pt x="0" y="601"/>
                </a:lnTo>
                <a:lnTo>
                  <a:pt x="0" y="687"/>
                </a:lnTo>
                <a:lnTo>
                  <a:pt x="108" y="687"/>
                </a:lnTo>
                <a:lnTo>
                  <a:pt x="108" y="601"/>
                </a:lnTo>
                <a:lnTo>
                  <a:pt x="818" y="601"/>
                </a:lnTo>
                <a:lnTo>
                  <a:pt x="818" y="687"/>
                </a:lnTo>
                <a:lnTo>
                  <a:pt x="927" y="687"/>
                </a:lnTo>
                <a:lnTo>
                  <a:pt x="927" y="601"/>
                </a:lnTo>
                <a:lnTo>
                  <a:pt x="927" y="0"/>
                </a:lnTo>
                <a:lnTo>
                  <a:pt x="818" y="0"/>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0" name="Rectangle 2065"/>
          <p:cNvSpPr>
            <a:spLocks noChangeArrowheads="1"/>
          </p:cNvSpPr>
          <p:nvPr/>
        </p:nvSpPr>
        <p:spPr bwMode="auto">
          <a:xfrm>
            <a:off x="7670802" y="2951163"/>
            <a:ext cx="200025" cy="46038"/>
          </a:xfrm>
          <a:prstGeom prst="rect">
            <a:avLst/>
          </a:prstGeom>
          <a:solidFill>
            <a:srgbClr val="0256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1" name="Rectangle 2066"/>
          <p:cNvSpPr>
            <a:spLocks noChangeArrowheads="1"/>
          </p:cNvSpPr>
          <p:nvPr/>
        </p:nvSpPr>
        <p:spPr bwMode="auto">
          <a:xfrm>
            <a:off x="7670802" y="3014663"/>
            <a:ext cx="200025" cy="46038"/>
          </a:xfrm>
          <a:prstGeom prst="rect">
            <a:avLst/>
          </a:prstGeom>
          <a:solidFill>
            <a:srgbClr val="0256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2" name="Rectangle 2067"/>
          <p:cNvSpPr>
            <a:spLocks noChangeArrowheads="1"/>
          </p:cNvSpPr>
          <p:nvPr/>
        </p:nvSpPr>
        <p:spPr bwMode="auto">
          <a:xfrm>
            <a:off x="7629527" y="2892425"/>
            <a:ext cx="284163" cy="38100"/>
          </a:xfrm>
          <a:prstGeom prst="rect">
            <a:avLst/>
          </a:pr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3" name="Rectangle 2068"/>
          <p:cNvSpPr>
            <a:spLocks noChangeArrowheads="1"/>
          </p:cNvSpPr>
          <p:nvPr/>
        </p:nvSpPr>
        <p:spPr bwMode="auto">
          <a:xfrm>
            <a:off x="8089902" y="2249488"/>
            <a:ext cx="708025" cy="317500"/>
          </a:xfrm>
          <a:prstGeom prst="rect">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4" name="Rectangle 2069"/>
          <p:cNvSpPr>
            <a:spLocks noChangeArrowheads="1"/>
          </p:cNvSpPr>
          <p:nvPr/>
        </p:nvSpPr>
        <p:spPr bwMode="auto">
          <a:xfrm>
            <a:off x="8116889" y="2276476"/>
            <a:ext cx="654050" cy="265113"/>
          </a:xfrm>
          <a:prstGeom prst="rect">
            <a:avLst/>
          </a:pr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5" name="Freeform 2070"/>
          <p:cNvSpPr>
            <a:spLocks/>
          </p:cNvSpPr>
          <p:nvPr/>
        </p:nvSpPr>
        <p:spPr bwMode="auto">
          <a:xfrm>
            <a:off x="7761290" y="2968625"/>
            <a:ext cx="15875" cy="14288"/>
          </a:xfrm>
          <a:custGeom>
            <a:avLst/>
            <a:gdLst>
              <a:gd name="T0" fmla="*/ 56 w 56"/>
              <a:gd name="T1" fmla="*/ 27 h 55"/>
              <a:gd name="T2" fmla="*/ 56 w 56"/>
              <a:gd name="T3" fmla="*/ 27 h 55"/>
              <a:gd name="T4" fmla="*/ 56 w 56"/>
              <a:gd name="T5" fmla="*/ 22 h 55"/>
              <a:gd name="T6" fmla="*/ 54 w 56"/>
              <a:gd name="T7" fmla="*/ 16 h 55"/>
              <a:gd name="T8" fmla="*/ 52 w 56"/>
              <a:gd name="T9" fmla="*/ 12 h 55"/>
              <a:gd name="T10" fmla="*/ 47 w 56"/>
              <a:gd name="T11" fmla="*/ 8 h 55"/>
              <a:gd name="T12" fmla="*/ 43 w 56"/>
              <a:gd name="T13" fmla="*/ 4 h 55"/>
              <a:gd name="T14" fmla="*/ 38 w 56"/>
              <a:gd name="T15" fmla="*/ 2 h 55"/>
              <a:gd name="T16" fmla="*/ 33 w 56"/>
              <a:gd name="T17" fmla="*/ 0 h 55"/>
              <a:gd name="T18" fmla="*/ 28 w 56"/>
              <a:gd name="T19" fmla="*/ 0 h 55"/>
              <a:gd name="T20" fmla="*/ 28 w 56"/>
              <a:gd name="T21" fmla="*/ 0 h 55"/>
              <a:gd name="T22" fmla="*/ 22 w 56"/>
              <a:gd name="T23" fmla="*/ 0 h 55"/>
              <a:gd name="T24" fmla="*/ 17 w 56"/>
              <a:gd name="T25" fmla="*/ 2 h 55"/>
              <a:gd name="T26" fmla="*/ 13 w 56"/>
              <a:gd name="T27" fmla="*/ 4 h 55"/>
              <a:gd name="T28" fmla="*/ 8 w 56"/>
              <a:gd name="T29" fmla="*/ 8 h 55"/>
              <a:gd name="T30" fmla="*/ 5 w 56"/>
              <a:gd name="T31" fmla="*/ 12 h 55"/>
              <a:gd name="T32" fmla="*/ 3 w 56"/>
              <a:gd name="T33" fmla="*/ 16 h 55"/>
              <a:gd name="T34" fmla="*/ 1 w 56"/>
              <a:gd name="T35" fmla="*/ 22 h 55"/>
              <a:gd name="T36" fmla="*/ 0 w 56"/>
              <a:gd name="T37" fmla="*/ 27 h 55"/>
              <a:gd name="T38" fmla="*/ 0 w 56"/>
              <a:gd name="T39" fmla="*/ 27 h 55"/>
              <a:gd name="T40" fmla="*/ 1 w 56"/>
              <a:gd name="T41" fmla="*/ 33 h 55"/>
              <a:gd name="T42" fmla="*/ 3 w 56"/>
              <a:gd name="T43" fmla="*/ 38 h 55"/>
              <a:gd name="T44" fmla="*/ 5 w 56"/>
              <a:gd name="T45" fmla="*/ 42 h 55"/>
              <a:gd name="T46" fmla="*/ 8 w 56"/>
              <a:gd name="T47" fmla="*/ 46 h 55"/>
              <a:gd name="T48" fmla="*/ 13 w 56"/>
              <a:gd name="T49" fmla="*/ 50 h 55"/>
              <a:gd name="T50" fmla="*/ 17 w 56"/>
              <a:gd name="T51" fmla="*/ 52 h 55"/>
              <a:gd name="T52" fmla="*/ 22 w 56"/>
              <a:gd name="T53" fmla="*/ 55 h 55"/>
              <a:gd name="T54" fmla="*/ 28 w 56"/>
              <a:gd name="T55" fmla="*/ 55 h 55"/>
              <a:gd name="T56" fmla="*/ 28 w 56"/>
              <a:gd name="T57" fmla="*/ 55 h 55"/>
              <a:gd name="T58" fmla="*/ 33 w 56"/>
              <a:gd name="T59" fmla="*/ 55 h 55"/>
              <a:gd name="T60" fmla="*/ 38 w 56"/>
              <a:gd name="T61" fmla="*/ 52 h 55"/>
              <a:gd name="T62" fmla="*/ 43 w 56"/>
              <a:gd name="T63" fmla="*/ 50 h 55"/>
              <a:gd name="T64" fmla="*/ 47 w 56"/>
              <a:gd name="T65" fmla="*/ 46 h 55"/>
              <a:gd name="T66" fmla="*/ 52 w 56"/>
              <a:gd name="T67" fmla="*/ 42 h 55"/>
              <a:gd name="T68" fmla="*/ 54 w 56"/>
              <a:gd name="T69" fmla="*/ 38 h 55"/>
              <a:gd name="T70" fmla="*/ 56 w 56"/>
              <a:gd name="T71" fmla="*/ 33 h 55"/>
              <a:gd name="T72" fmla="*/ 56 w 56"/>
              <a:gd name="T73" fmla="*/ 27 h 55"/>
              <a:gd name="T74" fmla="*/ 56 w 56"/>
              <a:gd name="T7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55">
                <a:moveTo>
                  <a:pt x="56" y="27"/>
                </a:moveTo>
                <a:lnTo>
                  <a:pt x="56" y="27"/>
                </a:lnTo>
                <a:lnTo>
                  <a:pt x="56" y="22"/>
                </a:lnTo>
                <a:lnTo>
                  <a:pt x="54" y="16"/>
                </a:lnTo>
                <a:lnTo>
                  <a:pt x="52" y="12"/>
                </a:lnTo>
                <a:lnTo>
                  <a:pt x="47" y="8"/>
                </a:lnTo>
                <a:lnTo>
                  <a:pt x="43" y="4"/>
                </a:lnTo>
                <a:lnTo>
                  <a:pt x="38" y="2"/>
                </a:lnTo>
                <a:lnTo>
                  <a:pt x="33" y="0"/>
                </a:lnTo>
                <a:lnTo>
                  <a:pt x="28" y="0"/>
                </a:lnTo>
                <a:lnTo>
                  <a:pt x="28" y="0"/>
                </a:lnTo>
                <a:lnTo>
                  <a:pt x="22" y="0"/>
                </a:lnTo>
                <a:lnTo>
                  <a:pt x="17" y="2"/>
                </a:lnTo>
                <a:lnTo>
                  <a:pt x="13" y="4"/>
                </a:lnTo>
                <a:lnTo>
                  <a:pt x="8" y="8"/>
                </a:lnTo>
                <a:lnTo>
                  <a:pt x="5" y="12"/>
                </a:lnTo>
                <a:lnTo>
                  <a:pt x="3" y="16"/>
                </a:lnTo>
                <a:lnTo>
                  <a:pt x="1" y="22"/>
                </a:lnTo>
                <a:lnTo>
                  <a:pt x="0" y="27"/>
                </a:lnTo>
                <a:lnTo>
                  <a:pt x="0" y="27"/>
                </a:lnTo>
                <a:lnTo>
                  <a:pt x="1" y="33"/>
                </a:lnTo>
                <a:lnTo>
                  <a:pt x="3" y="38"/>
                </a:lnTo>
                <a:lnTo>
                  <a:pt x="5" y="42"/>
                </a:lnTo>
                <a:lnTo>
                  <a:pt x="8" y="46"/>
                </a:lnTo>
                <a:lnTo>
                  <a:pt x="13" y="50"/>
                </a:lnTo>
                <a:lnTo>
                  <a:pt x="17" y="52"/>
                </a:lnTo>
                <a:lnTo>
                  <a:pt x="22" y="55"/>
                </a:lnTo>
                <a:lnTo>
                  <a:pt x="28" y="55"/>
                </a:lnTo>
                <a:lnTo>
                  <a:pt x="28" y="55"/>
                </a:lnTo>
                <a:lnTo>
                  <a:pt x="33" y="55"/>
                </a:lnTo>
                <a:lnTo>
                  <a:pt x="38" y="52"/>
                </a:lnTo>
                <a:lnTo>
                  <a:pt x="43" y="50"/>
                </a:lnTo>
                <a:lnTo>
                  <a:pt x="47" y="46"/>
                </a:lnTo>
                <a:lnTo>
                  <a:pt x="52" y="42"/>
                </a:lnTo>
                <a:lnTo>
                  <a:pt x="54" y="38"/>
                </a:lnTo>
                <a:lnTo>
                  <a:pt x="56" y="33"/>
                </a:lnTo>
                <a:lnTo>
                  <a:pt x="56" y="27"/>
                </a:lnTo>
                <a:lnTo>
                  <a:pt x="56" y="27"/>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6" name="Freeform 2071"/>
          <p:cNvSpPr>
            <a:spLocks/>
          </p:cNvSpPr>
          <p:nvPr/>
        </p:nvSpPr>
        <p:spPr bwMode="auto">
          <a:xfrm>
            <a:off x="7761290" y="3030538"/>
            <a:ext cx="15875" cy="14288"/>
          </a:xfrm>
          <a:custGeom>
            <a:avLst/>
            <a:gdLst>
              <a:gd name="T0" fmla="*/ 56 w 56"/>
              <a:gd name="T1" fmla="*/ 28 h 55"/>
              <a:gd name="T2" fmla="*/ 56 w 56"/>
              <a:gd name="T3" fmla="*/ 28 h 55"/>
              <a:gd name="T4" fmla="*/ 56 w 56"/>
              <a:gd name="T5" fmla="*/ 22 h 55"/>
              <a:gd name="T6" fmla="*/ 54 w 56"/>
              <a:gd name="T7" fmla="*/ 17 h 55"/>
              <a:gd name="T8" fmla="*/ 52 w 56"/>
              <a:gd name="T9" fmla="*/ 13 h 55"/>
              <a:gd name="T10" fmla="*/ 47 w 56"/>
              <a:gd name="T11" fmla="*/ 8 h 55"/>
              <a:gd name="T12" fmla="*/ 43 w 56"/>
              <a:gd name="T13" fmla="*/ 5 h 55"/>
              <a:gd name="T14" fmla="*/ 38 w 56"/>
              <a:gd name="T15" fmla="*/ 3 h 55"/>
              <a:gd name="T16" fmla="*/ 33 w 56"/>
              <a:gd name="T17" fmla="*/ 1 h 55"/>
              <a:gd name="T18" fmla="*/ 28 w 56"/>
              <a:gd name="T19" fmla="*/ 0 h 55"/>
              <a:gd name="T20" fmla="*/ 28 w 56"/>
              <a:gd name="T21" fmla="*/ 0 h 55"/>
              <a:gd name="T22" fmla="*/ 22 w 56"/>
              <a:gd name="T23" fmla="*/ 1 h 55"/>
              <a:gd name="T24" fmla="*/ 17 w 56"/>
              <a:gd name="T25" fmla="*/ 3 h 55"/>
              <a:gd name="T26" fmla="*/ 13 w 56"/>
              <a:gd name="T27" fmla="*/ 5 h 55"/>
              <a:gd name="T28" fmla="*/ 8 w 56"/>
              <a:gd name="T29" fmla="*/ 8 h 55"/>
              <a:gd name="T30" fmla="*/ 5 w 56"/>
              <a:gd name="T31" fmla="*/ 13 h 55"/>
              <a:gd name="T32" fmla="*/ 3 w 56"/>
              <a:gd name="T33" fmla="*/ 17 h 55"/>
              <a:gd name="T34" fmla="*/ 1 w 56"/>
              <a:gd name="T35" fmla="*/ 22 h 55"/>
              <a:gd name="T36" fmla="*/ 0 w 56"/>
              <a:gd name="T37" fmla="*/ 28 h 55"/>
              <a:gd name="T38" fmla="*/ 0 w 56"/>
              <a:gd name="T39" fmla="*/ 28 h 55"/>
              <a:gd name="T40" fmla="*/ 1 w 56"/>
              <a:gd name="T41" fmla="*/ 33 h 55"/>
              <a:gd name="T42" fmla="*/ 3 w 56"/>
              <a:gd name="T43" fmla="*/ 38 h 55"/>
              <a:gd name="T44" fmla="*/ 5 w 56"/>
              <a:gd name="T45" fmla="*/ 43 h 55"/>
              <a:gd name="T46" fmla="*/ 8 w 56"/>
              <a:gd name="T47" fmla="*/ 47 h 55"/>
              <a:gd name="T48" fmla="*/ 13 w 56"/>
              <a:gd name="T49" fmla="*/ 51 h 55"/>
              <a:gd name="T50" fmla="*/ 17 w 56"/>
              <a:gd name="T51" fmla="*/ 53 h 55"/>
              <a:gd name="T52" fmla="*/ 22 w 56"/>
              <a:gd name="T53" fmla="*/ 55 h 55"/>
              <a:gd name="T54" fmla="*/ 28 w 56"/>
              <a:gd name="T55" fmla="*/ 55 h 55"/>
              <a:gd name="T56" fmla="*/ 28 w 56"/>
              <a:gd name="T57" fmla="*/ 55 h 55"/>
              <a:gd name="T58" fmla="*/ 33 w 56"/>
              <a:gd name="T59" fmla="*/ 55 h 55"/>
              <a:gd name="T60" fmla="*/ 38 w 56"/>
              <a:gd name="T61" fmla="*/ 53 h 55"/>
              <a:gd name="T62" fmla="*/ 43 w 56"/>
              <a:gd name="T63" fmla="*/ 51 h 55"/>
              <a:gd name="T64" fmla="*/ 47 w 56"/>
              <a:gd name="T65" fmla="*/ 47 h 55"/>
              <a:gd name="T66" fmla="*/ 52 w 56"/>
              <a:gd name="T67" fmla="*/ 43 h 55"/>
              <a:gd name="T68" fmla="*/ 54 w 56"/>
              <a:gd name="T69" fmla="*/ 38 h 55"/>
              <a:gd name="T70" fmla="*/ 56 w 56"/>
              <a:gd name="T71" fmla="*/ 33 h 55"/>
              <a:gd name="T72" fmla="*/ 56 w 56"/>
              <a:gd name="T73" fmla="*/ 28 h 55"/>
              <a:gd name="T74" fmla="*/ 56 w 56"/>
              <a:gd name="T7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55">
                <a:moveTo>
                  <a:pt x="56" y="28"/>
                </a:moveTo>
                <a:lnTo>
                  <a:pt x="56" y="28"/>
                </a:lnTo>
                <a:lnTo>
                  <a:pt x="56" y="22"/>
                </a:lnTo>
                <a:lnTo>
                  <a:pt x="54" y="17"/>
                </a:lnTo>
                <a:lnTo>
                  <a:pt x="52" y="13"/>
                </a:lnTo>
                <a:lnTo>
                  <a:pt x="47" y="8"/>
                </a:lnTo>
                <a:lnTo>
                  <a:pt x="43" y="5"/>
                </a:lnTo>
                <a:lnTo>
                  <a:pt x="38" y="3"/>
                </a:lnTo>
                <a:lnTo>
                  <a:pt x="33" y="1"/>
                </a:lnTo>
                <a:lnTo>
                  <a:pt x="28" y="0"/>
                </a:lnTo>
                <a:lnTo>
                  <a:pt x="28" y="0"/>
                </a:lnTo>
                <a:lnTo>
                  <a:pt x="22" y="1"/>
                </a:lnTo>
                <a:lnTo>
                  <a:pt x="17" y="3"/>
                </a:lnTo>
                <a:lnTo>
                  <a:pt x="13" y="5"/>
                </a:lnTo>
                <a:lnTo>
                  <a:pt x="8" y="8"/>
                </a:lnTo>
                <a:lnTo>
                  <a:pt x="5" y="13"/>
                </a:lnTo>
                <a:lnTo>
                  <a:pt x="3" y="17"/>
                </a:lnTo>
                <a:lnTo>
                  <a:pt x="1" y="22"/>
                </a:lnTo>
                <a:lnTo>
                  <a:pt x="0" y="28"/>
                </a:lnTo>
                <a:lnTo>
                  <a:pt x="0" y="28"/>
                </a:lnTo>
                <a:lnTo>
                  <a:pt x="1" y="33"/>
                </a:lnTo>
                <a:lnTo>
                  <a:pt x="3" y="38"/>
                </a:lnTo>
                <a:lnTo>
                  <a:pt x="5" y="43"/>
                </a:lnTo>
                <a:lnTo>
                  <a:pt x="8" y="47"/>
                </a:lnTo>
                <a:lnTo>
                  <a:pt x="13" y="51"/>
                </a:lnTo>
                <a:lnTo>
                  <a:pt x="17" y="53"/>
                </a:lnTo>
                <a:lnTo>
                  <a:pt x="22" y="55"/>
                </a:lnTo>
                <a:lnTo>
                  <a:pt x="28" y="55"/>
                </a:lnTo>
                <a:lnTo>
                  <a:pt x="28" y="55"/>
                </a:lnTo>
                <a:lnTo>
                  <a:pt x="33" y="55"/>
                </a:lnTo>
                <a:lnTo>
                  <a:pt x="38" y="53"/>
                </a:lnTo>
                <a:lnTo>
                  <a:pt x="43" y="51"/>
                </a:lnTo>
                <a:lnTo>
                  <a:pt x="47" y="47"/>
                </a:lnTo>
                <a:lnTo>
                  <a:pt x="52" y="43"/>
                </a:lnTo>
                <a:lnTo>
                  <a:pt x="54" y="38"/>
                </a:lnTo>
                <a:lnTo>
                  <a:pt x="56" y="33"/>
                </a:lnTo>
                <a:lnTo>
                  <a:pt x="56" y="28"/>
                </a:lnTo>
                <a:lnTo>
                  <a:pt x="56" y="28"/>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7" name="Freeform 2072"/>
          <p:cNvSpPr>
            <a:spLocks/>
          </p:cNvSpPr>
          <p:nvPr/>
        </p:nvSpPr>
        <p:spPr bwMode="auto">
          <a:xfrm>
            <a:off x="7716840" y="2682875"/>
            <a:ext cx="98425" cy="171450"/>
          </a:xfrm>
          <a:custGeom>
            <a:avLst/>
            <a:gdLst>
              <a:gd name="T0" fmla="*/ 375 w 375"/>
              <a:gd name="T1" fmla="*/ 332 h 644"/>
              <a:gd name="T2" fmla="*/ 371 w 375"/>
              <a:gd name="T3" fmla="*/ 265 h 644"/>
              <a:gd name="T4" fmla="*/ 360 w 375"/>
              <a:gd name="T5" fmla="*/ 203 h 644"/>
              <a:gd name="T6" fmla="*/ 343 w 375"/>
              <a:gd name="T7" fmla="*/ 147 h 644"/>
              <a:gd name="T8" fmla="*/ 320 w 375"/>
              <a:gd name="T9" fmla="*/ 98 h 644"/>
              <a:gd name="T10" fmla="*/ 292 w 375"/>
              <a:gd name="T11" fmla="*/ 57 h 644"/>
              <a:gd name="T12" fmla="*/ 276 w 375"/>
              <a:gd name="T13" fmla="*/ 40 h 644"/>
              <a:gd name="T14" fmla="*/ 260 w 375"/>
              <a:gd name="T15" fmla="*/ 27 h 644"/>
              <a:gd name="T16" fmla="*/ 243 w 375"/>
              <a:gd name="T17" fmla="*/ 16 h 644"/>
              <a:gd name="T18" fmla="*/ 225 w 375"/>
              <a:gd name="T19" fmla="*/ 7 h 644"/>
              <a:gd name="T20" fmla="*/ 206 w 375"/>
              <a:gd name="T21" fmla="*/ 2 h 644"/>
              <a:gd name="T22" fmla="*/ 187 w 375"/>
              <a:gd name="T23" fmla="*/ 0 h 644"/>
              <a:gd name="T24" fmla="*/ 178 w 375"/>
              <a:gd name="T25" fmla="*/ 1 h 644"/>
              <a:gd name="T26" fmla="*/ 158 w 375"/>
              <a:gd name="T27" fmla="*/ 4 h 644"/>
              <a:gd name="T28" fmla="*/ 140 w 375"/>
              <a:gd name="T29" fmla="*/ 10 h 644"/>
              <a:gd name="T30" fmla="*/ 123 w 375"/>
              <a:gd name="T31" fmla="*/ 21 h 644"/>
              <a:gd name="T32" fmla="*/ 106 w 375"/>
              <a:gd name="T33" fmla="*/ 33 h 644"/>
              <a:gd name="T34" fmla="*/ 90 w 375"/>
              <a:gd name="T35" fmla="*/ 48 h 644"/>
              <a:gd name="T36" fmla="*/ 68 w 375"/>
              <a:gd name="T37" fmla="*/ 77 h 644"/>
              <a:gd name="T38" fmla="*/ 43 w 375"/>
              <a:gd name="T39" fmla="*/ 121 h 644"/>
              <a:gd name="T40" fmla="*/ 22 w 375"/>
              <a:gd name="T41" fmla="*/ 174 h 644"/>
              <a:gd name="T42" fmla="*/ 8 w 375"/>
              <a:gd name="T43" fmla="*/ 233 h 644"/>
              <a:gd name="T44" fmla="*/ 1 w 375"/>
              <a:gd name="T45" fmla="*/ 298 h 644"/>
              <a:gd name="T46" fmla="*/ 0 w 375"/>
              <a:gd name="T47" fmla="*/ 332 h 644"/>
              <a:gd name="T48" fmla="*/ 1 w 375"/>
              <a:gd name="T49" fmla="*/ 376 h 644"/>
              <a:gd name="T50" fmla="*/ 6 w 375"/>
              <a:gd name="T51" fmla="*/ 417 h 644"/>
              <a:gd name="T52" fmla="*/ 14 w 375"/>
              <a:gd name="T53" fmla="*/ 458 h 644"/>
              <a:gd name="T54" fmla="*/ 24 w 375"/>
              <a:gd name="T55" fmla="*/ 495 h 644"/>
              <a:gd name="T56" fmla="*/ 36 w 375"/>
              <a:gd name="T57" fmla="*/ 530 h 644"/>
              <a:gd name="T58" fmla="*/ 52 w 375"/>
              <a:gd name="T59" fmla="*/ 562 h 644"/>
              <a:gd name="T60" fmla="*/ 69 w 375"/>
              <a:gd name="T61" fmla="*/ 589 h 644"/>
              <a:gd name="T62" fmla="*/ 88 w 375"/>
              <a:gd name="T63" fmla="*/ 614 h 644"/>
              <a:gd name="T64" fmla="*/ 94 w 375"/>
              <a:gd name="T65" fmla="*/ 619 h 644"/>
              <a:gd name="T66" fmla="*/ 108 w 375"/>
              <a:gd name="T67" fmla="*/ 628 h 644"/>
              <a:gd name="T68" fmla="*/ 132 w 375"/>
              <a:gd name="T69" fmla="*/ 637 h 644"/>
              <a:gd name="T70" fmla="*/ 164 w 375"/>
              <a:gd name="T71" fmla="*/ 643 h 644"/>
              <a:gd name="T72" fmla="*/ 187 w 375"/>
              <a:gd name="T73" fmla="*/ 644 h 644"/>
              <a:gd name="T74" fmla="*/ 198 w 375"/>
              <a:gd name="T75" fmla="*/ 644 h 644"/>
              <a:gd name="T76" fmla="*/ 226 w 375"/>
              <a:gd name="T77" fmla="*/ 641 h 644"/>
              <a:gd name="T78" fmla="*/ 258 w 375"/>
              <a:gd name="T79" fmla="*/ 631 h 644"/>
              <a:gd name="T80" fmla="*/ 273 w 375"/>
              <a:gd name="T81" fmla="*/ 624 h 644"/>
              <a:gd name="T82" fmla="*/ 287 w 375"/>
              <a:gd name="T83" fmla="*/ 613 h 644"/>
              <a:gd name="T84" fmla="*/ 296 w 375"/>
              <a:gd name="T85" fmla="*/ 601 h 644"/>
              <a:gd name="T86" fmla="*/ 314 w 375"/>
              <a:gd name="T87" fmla="*/ 576 h 644"/>
              <a:gd name="T88" fmla="*/ 330 w 375"/>
              <a:gd name="T89" fmla="*/ 546 h 644"/>
              <a:gd name="T90" fmla="*/ 345 w 375"/>
              <a:gd name="T91" fmla="*/ 513 h 644"/>
              <a:gd name="T92" fmla="*/ 356 w 375"/>
              <a:gd name="T93" fmla="*/ 476 h 644"/>
              <a:gd name="T94" fmla="*/ 365 w 375"/>
              <a:gd name="T95" fmla="*/ 438 h 644"/>
              <a:gd name="T96" fmla="*/ 371 w 375"/>
              <a:gd name="T97" fmla="*/ 397 h 644"/>
              <a:gd name="T98" fmla="*/ 374 w 375"/>
              <a:gd name="T99" fmla="*/ 354 h 644"/>
              <a:gd name="T100" fmla="*/ 375 w 375"/>
              <a:gd name="T101" fmla="*/ 332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5" h="644">
                <a:moveTo>
                  <a:pt x="375" y="332"/>
                </a:moveTo>
                <a:lnTo>
                  <a:pt x="375" y="332"/>
                </a:lnTo>
                <a:lnTo>
                  <a:pt x="374" y="298"/>
                </a:lnTo>
                <a:lnTo>
                  <a:pt x="371" y="265"/>
                </a:lnTo>
                <a:lnTo>
                  <a:pt x="366" y="233"/>
                </a:lnTo>
                <a:lnTo>
                  <a:pt x="360" y="203"/>
                </a:lnTo>
                <a:lnTo>
                  <a:pt x="352" y="174"/>
                </a:lnTo>
                <a:lnTo>
                  <a:pt x="343" y="147"/>
                </a:lnTo>
                <a:lnTo>
                  <a:pt x="332" y="121"/>
                </a:lnTo>
                <a:lnTo>
                  <a:pt x="320" y="98"/>
                </a:lnTo>
                <a:lnTo>
                  <a:pt x="307" y="77"/>
                </a:lnTo>
                <a:lnTo>
                  <a:pt x="292" y="57"/>
                </a:lnTo>
                <a:lnTo>
                  <a:pt x="285" y="48"/>
                </a:lnTo>
                <a:lnTo>
                  <a:pt x="276" y="40"/>
                </a:lnTo>
                <a:lnTo>
                  <a:pt x="268" y="33"/>
                </a:lnTo>
                <a:lnTo>
                  <a:pt x="260" y="27"/>
                </a:lnTo>
                <a:lnTo>
                  <a:pt x="252" y="21"/>
                </a:lnTo>
                <a:lnTo>
                  <a:pt x="243" y="16"/>
                </a:lnTo>
                <a:lnTo>
                  <a:pt x="234" y="10"/>
                </a:lnTo>
                <a:lnTo>
                  <a:pt x="225" y="7"/>
                </a:lnTo>
                <a:lnTo>
                  <a:pt x="215" y="4"/>
                </a:lnTo>
                <a:lnTo>
                  <a:pt x="206" y="2"/>
                </a:lnTo>
                <a:lnTo>
                  <a:pt x="197" y="1"/>
                </a:lnTo>
                <a:lnTo>
                  <a:pt x="187" y="0"/>
                </a:lnTo>
                <a:lnTo>
                  <a:pt x="187" y="0"/>
                </a:lnTo>
                <a:lnTo>
                  <a:pt x="178" y="1"/>
                </a:lnTo>
                <a:lnTo>
                  <a:pt x="168" y="2"/>
                </a:lnTo>
                <a:lnTo>
                  <a:pt x="158" y="4"/>
                </a:lnTo>
                <a:lnTo>
                  <a:pt x="149" y="7"/>
                </a:lnTo>
                <a:lnTo>
                  <a:pt x="140" y="10"/>
                </a:lnTo>
                <a:lnTo>
                  <a:pt x="131" y="16"/>
                </a:lnTo>
                <a:lnTo>
                  <a:pt x="123" y="21"/>
                </a:lnTo>
                <a:lnTo>
                  <a:pt x="114" y="27"/>
                </a:lnTo>
                <a:lnTo>
                  <a:pt x="106" y="33"/>
                </a:lnTo>
                <a:lnTo>
                  <a:pt x="97" y="40"/>
                </a:lnTo>
                <a:lnTo>
                  <a:pt x="90" y="48"/>
                </a:lnTo>
                <a:lnTo>
                  <a:pt x="82" y="57"/>
                </a:lnTo>
                <a:lnTo>
                  <a:pt x="68" y="77"/>
                </a:lnTo>
                <a:lnTo>
                  <a:pt x="55" y="98"/>
                </a:lnTo>
                <a:lnTo>
                  <a:pt x="43" y="121"/>
                </a:lnTo>
                <a:lnTo>
                  <a:pt x="31" y="147"/>
                </a:lnTo>
                <a:lnTo>
                  <a:pt x="22" y="174"/>
                </a:lnTo>
                <a:lnTo>
                  <a:pt x="14" y="203"/>
                </a:lnTo>
                <a:lnTo>
                  <a:pt x="8" y="233"/>
                </a:lnTo>
                <a:lnTo>
                  <a:pt x="4" y="265"/>
                </a:lnTo>
                <a:lnTo>
                  <a:pt x="1" y="298"/>
                </a:lnTo>
                <a:lnTo>
                  <a:pt x="0" y="332"/>
                </a:lnTo>
                <a:lnTo>
                  <a:pt x="0" y="332"/>
                </a:lnTo>
                <a:lnTo>
                  <a:pt x="0" y="354"/>
                </a:lnTo>
                <a:lnTo>
                  <a:pt x="1" y="376"/>
                </a:lnTo>
                <a:lnTo>
                  <a:pt x="3" y="397"/>
                </a:lnTo>
                <a:lnTo>
                  <a:pt x="6" y="417"/>
                </a:lnTo>
                <a:lnTo>
                  <a:pt x="9" y="438"/>
                </a:lnTo>
                <a:lnTo>
                  <a:pt x="14" y="458"/>
                </a:lnTo>
                <a:lnTo>
                  <a:pt x="18" y="476"/>
                </a:lnTo>
                <a:lnTo>
                  <a:pt x="24" y="495"/>
                </a:lnTo>
                <a:lnTo>
                  <a:pt x="30" y="513"/>
                </a:lnTo>
                <a:lnTo>
                  <a:pt x="36" y="530"/>
                </a:lnTo>
                <a:lnTo>
                  <a:pt x="45" y="546"/>
                </a:lnTo>
                <a:lnTo>
                  <a:pt x="52" y="562"/>
                </a:lnTo>
                <a:lnTo>
                  <a:pt x="60" y="576"/>
                </a:lnTo>
                <a:lnTo>
                  <a:pt x="69" y="589"/>
                </a:lnTo>
                <a:lnTo>
                  <a:pt x="78" y="601"/>
                </a:lnTo>
                <a:lnTo>
                  <a:pt x="88" y="614"/>
                </a:lnTo>
                <a:lnTo>
                  <a:pt x="88" y="614"/>
                </a:lnTo>
                <a:lnTo>
                  <a:pt x="94" y="619"/>
                </a:lnTo>
                <a:lnTo>
                  <a:pt x="100" y="624"/>
                </a:lnTo>
                <a:lnTo>
                  <a:pt x="108" y="628"/>
                </a:lnTo>
                <a:lnTo>
                  <a:pt x="116" y="631"/>
                </a:lnTo>
                <a:lnTo>
                  <a:pt x="132" y="637"/>
                </a:lnTo>
                <a:lnTo>
                  <a:pt x="148" y="641"/>
                </a:lnTo>
                <a:lnTo>
                  <a:pt x="164" y="643"/>
                </a:lnTo>
                <a:lnTo>
                  <a:pt x="176" y="644"/>
                </a:lnTo>
                <a:lnTo>
                  <a:pt x="187" y="644"/>
                </a:lnTo>
                <a:lnTo>
                  <a:pt x="187" y="644"/>
                </a:lnTo>
                <a:lnTo>
                  <a:pt x="198" y="644"/>
                </a:lnTo>
                <a:lnTo>
                  <a:pt x="211" y="643"/>
                </a:lnTo>
                <a:lnTo>
                  <a:pt x="226" y="641"/>
                </a:lnTo>
                <a:lnTo>
                  <a:pt x="242" y="637"/>
                </a:lnTo>
                <a:lnTo>
                  <a:pt x="258" y="631"/>
                </a:lnTo>
                <a:lnTo>
                  <a:pt x="266" y="628"/>
                </a:lnTo>
                <a:lnTo>
                  <a:pt x="273" y="624"/>
                </a:lnTo>
                <a:lnTo>
                  <a:pt x="280" y="619"/>
                </a:lnTo>
                <a:lnTo>
                  <a:pt x="287" y="613"/>
                </a:lnTo>
                <a:lnTo>
                  <a:pt x="287" y="613"/>
                </a:lnTo>
                <a:lnTo>
                  <a:pt x="296" y="601"/>
                </a:lnTo>
                <a:lnTo>
                  <a:pt x="305" y="589"/>
                </a:lnTo>
                <a:lnTo>
                  <a:pt x="314" y="576"/>
                </a:lnTo>
                <a:lnTo>
                  <a:pt x="322" y="561"/>
                </a:lnTo>
                <a:lnTo>
                  <a:pt x="330" y="546"/>
                </a:lnTo>
                <a:lnTo>
                  <a:pt x="337" y="529"/>
                </a:lnTo>
                <a:lnTo>
                  <a:pt x="345" y="513"/>
                </a:lnTo>
                <a:lnTo>
                  <a:pt x="351" y="495"/>
                </a:lnTo>
                <a:lnTo>
                  <a:pt x="356" y="476"/>
                </a:lnTo>
                <a:lnTo>
                  <a:pt x="361" y="458"/>
                </a:lnTo>
                <a:lnTo>
                  <a:pt x="365" y="438"/>
                </a:lnTo>
                <a:lnTo>
                  <a:pt x="368" y="417"/>
                </a:lnTo>
                <a:lnTo>
                  <a:pt x="371" y="397"/>
                </a:lnTo>
                <a:lnTo>
                  <a:pt x="373" y="376"/>
                </a:lnTo>
                <a:lnTo>
                  <a:pt x="374" y="354"/>
                </a:lnTo>
                <a:lnTo>
                  <a:pt x="375" y="332"/>
                </a:lnTo>
                <a:lnTo>
                  <a:pt x="375" y="33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8" name="Freeform 2073"/>
          <p:cNvSpPr>
            <a:spLocks/>
          </p:cNvSpPr>
          <p:nvPr/>
        </p:nvSpPr>
        <p:spPr bwMode="auto">
          <a:xfrm>
            <a:off x="7637464" y="2576514"/>
            <a:ext cx="255588" cy="155575"/>
          </a:xfrm>
          <a:custGeom>
            <a:avLst/>
            <a:gdLst>
              <a:gd name="T0" fmla="*/ 715 w 966"/>
              <a:gd name="T1" fmla="*/ 0 h 591"/>
              <a:gd name="T2" fmla="*/ 251 w 966"/>
              <a:gd name="T3" fmla="*/ 0 h 591"/>
              <a:gd name="T4" fmla="*/ 251 w 966"/>
              <a:gd name="T5" fmla="*/ 0 h 591"/>
              <a:gd name="T6" fmla="*/ 244 w 966"/>
              <a:gd name="T7" fmla="*/ 10 h 591"/>
              <a:gd name="T8" fmla="*/ 237 w 966"/>
              <a:gd name="T9" fmla="*/ 22 h 591"/>
              <a:gd name="T10" fmla="*/ 221 w 966"/>
              <a:gd name="T11" fmla="*/ 49 h 591"/>
              <a:gd name="T12" fmla="*/ 202 w 966"/>
              <a:gd name="T13" fmla="*/ 82 h 591"/>
              <a:gd name="T14" fmla="*/ 183 w 966"/>
              <a:gd name="T15" fmla="*/ 120 h 591"/>
              <a:gd name="T16" fmla="*/ 163 w 966"/>
              <a:gd name="T17" fmla="*/ 162 h 591"/>
              <a:gd name="T18" fmla="*/ 141 w 966"/>
              <a:gd name="T19" fmla="*/ 207 h 591"/>
              <a:gd name="T20" fmla="*/ 101 w 966"/>
              <a:gd name="T21" fmla="*/ 298 h 591"/>
              <a:gd name="T22" fmla="*/ 64 w 966"/>
              <a:gd name="T23" fmla="*/ 389 h 591"/>
              <a:gd name="T24" fmla="*/ 32 w 966"/>
              <a:gd name="T25" fmla="*/ 467 h 591"/>
              <a:gd name="T26" fmla="*/ 10 w 966"/>
              <a:gd name="T27" fmla="*/ 526 h 591"/>
              <a:gd name="T28" fmla="*/ 3 w 966"/>
              <a:gd name="T29" fmla="*/ 547 h 591"/>
              <a:gd name="T30" fmla="*/ 0 w 966"/>
              <a:gd name="T31" fmla="*/ 558 h 591"/>
              <a:gd name="T32" fmla="*/ 0 w 966"/>
              <a:gd name="T33" fmla="*/ 558 h 591"/>
              <a:gd name="T34" fmla="*/ 0 w 966"/>
              <a:gd name="T35" fmla="*/ 560 h 591"/>
              <a:gd name="T36" fmla="*/ 2 w 966"/>
              <a:gd name="T37" fmla="*/ 562 h 591"/>
              <a:gd name="T38" fmla="*/ 5 w 966"/>
              <a:gd name="T39" fmla="*/ 564 h 591"/>
              <a:gd name="T40" fmla="*/ 9 w 966"/>
              <a:gd name="T41" fmla="*/ 565 h 591"/>
              <a:gd name="T42" fmla="*/ 22 w 966"/>
              <a:gd name="T43" fmla="*/ 569 h 591"/>
              <a:gd name="T44" fmla="*/ 40 w 966"/>
              <a:gd name="T45" fmla="*/ 572 h 591"/>
              <a:gd name="T46" fmla="*/ 61 w 966"/>
              <a:gd name="T47" fmla="*/ 575 h 591"/>
              <a:gd name="T48" fmla="*/ 86 w 966"/>
              <a:gd name="T49" fmla="*/ 578 h 591"/>
              <a:gd name="T50" fmla="*/ 147 w 966"/>
              <a:gd name="T51" fmla="*/ 583 h 591"/>
              <a:gd name="T52" fmla="*/ 221 w 966"/>
              <a:gd name="T53" fmla="*/ 586 h 591"/>
              <a:gd name="T54" fmla="*/ 302 w 966"/>
              <a:gd name="T55" fmla="*/ 589 h 591"/>
              <a:gd name="T56" fmla="*/ 389 w 966"/>
              <a:gd name="T57" fmla="*/ 590 h 591"/>
              <a:gd name="T58" fmla="*/ 480 w 966"/>
              <a:gd name="T59" fmla="*/ 591 h 591"/>
              <a:gd name="T60" fmla="*/ 570 w 966"/>
              <a:gd name="T61" fmla="*/ 590 h 591"/>
              <a:gd name="T62" fmla="*/ 658 w 966"/>
              <a:gd name="T63" fmla="*/ 589 h 591"/>
              <a:gd name="T64" fmla="*/ 740 w 966"/>
              <a:gd name="T65" fmla="*/ 586 h 591"/>
              <a:gd name="T66" fmla="*/ 814 w 966"/>
              <a:gd name="T67" fmla="*/ 583 h 591"/>
              <a:gd name="T68" fmla="*/ 877 w 966"/>
              <a:gd name="T69" fmla="*/ 578 h 591"/>
              <a:gd name="T70" fmla="*/ 902 w 966"/>
              <a:gd name="T71" fmla="*/ 575 h 591"/>
              <a:gd name="T72" fmla="*/ 924 w 966"/>
              <a:gd name="T73" fmla="*/ 572 h 591"/>
              <a:gd name="T74" fmla="*/ 943 w 966"/>
              <a:gd name="T75" fmla="*/ 569 h 591"/>
              <a:gd name="T76" fmla="*/ 956 w 966"/>
              <a:gd name="T77" fmla="*/ 566 h 591"/>
              <a:gd name="T78" fmla="*/ 960 w 966"/>
              <a:gd name="T79" fmla="*/ 564 h 591"/>
              <a:gd name="T80" fmla="*/ 964 w 966"/>
              <a:gd name="T81" fmla="*/ 562 h 591"/>
              <a:gd name="T82" fmla="*/ 966 w 966"/>
              <a:gd name="T83" fmla="*/ 560 h 591"/>
              <a:gd name="T84" fmla="*/ 966 w 966"/>
              <a:gd name="T85" fmla="*/ 558 h 591"/>
              <a:gd name="T86" fmla="*/ 966 w 966"/>
              <a:gd name="T87" fmla="*/ 558 h 591"/>
              <a:gd name="T88" fmla="*/ 966 w 966"/>
              <a:gd name="T89" fmla="*/ 550 h 591"/>
              <a:gd name="T90" fmla="*/ 965 w 966"/>
              <a:gd name="T91" fmla="*/ 541 h 591"/>
              <a:gd name="T92" fmla="*/ 959 w 966"/>
              <a:gd name="T93" fmla="*/ 517 h 591"/>
              <a:gd name="T94" fmla="*/ 950 w 966"/>
              <a:gd name="T95" fmla="*/ 488 h 591"/>
              <a:gd name="T96" fmla="*/ 937 w 966"/>
              <a:gd name="T97" fmla="*/ 454 h 591"/>
              <a:gd name="T98" fmla="*/ 922 w 966"/>
              <a:gd name="T99" fmla="*/ 415 h 591"/>
              <a:gd name="T100" fmla="*/ 905 w 966"/>
              <a:gd name="T101" fmla="*/ 374 h 591"/>
              <a:gd name="T102" fmla="*/ 886 w 966"/>
              <a:gd name="T103" fmla="*/ 331 h 591"/>
              <a:gd name="T104" fmla="*/ 865 w 966"/>
              <a:gd name="T105" fmla="*/ 286 h 591"/>
              <a:gd name="T106" fmla="*/ 824 w 966"/>
              <a:gd name="T107" fmla="*/ 198 h 591"/>
              <a:gd name="T108" fmla="*/ 802 w 966"/>
              <a:gd name="T109" fmla="*/ 155 h 591"/>
              <a:gd name="T110" fmla="*/ 782 w 966"/>
              <a:gd name="T111" fmla="*/ 115 h 591"/>
              <a:gd name="T112" fmla="*/ 763 w 966"/>
              <a:gd name="T113" fmla="*/ 79 h 591"/>
              <a:gd name="T114" fmla="*/ 744 w 966"/>
              <a:gd name="T115" fmla="*/ 47 h 591"/>
              <a:gd name="T116" fmla="*/ 729 w 966"/>
              <a:gd name="T117" fmla="*/ 21 h 591"/>
              <a:gd name="T118" fmla="*/ 715 w 966"/>
              <a:gd name="T119" fmla="*/ 0 h 591"/>
              <a:gd name="T120" fmla="*/ 715 w 966"/>
              <a:gd name="T121" fmla="*/ 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6" h="591">
                <a:moveTo>
                  <a:pt x="715" y="0"/>
                </a:moveTo>
                <a:lnTo>
                  <a:pt x="251" y="0"/>
                </a:lnTo>
                <a:lnTo>
                  <a:pt x="251" y="0"/>
                </a:lnTo>
                <a:lnTo>
                  <a:pt x="244" y="10"/>
                </a:lnTo>
                <a:lnTo>
                  <a:pt x="237" y="22"/>
                </a:lnTo>
                <a:lnTo>
                  <a:pt x="221" y="49"/>
                </a:lnTo>
                <a:lnTo>
                  <a:pt x="202" y="82"/>
                </a:lnTo>
                <a:lnTo>
                  <a:pt x="183" y="120"/>
                </a:lnTo>
                <a:lnTo>
                  <a:pt x="163" y="162"/>
                </a:lnTo>
                <a:lnTo>
                  <a:pt x="141" y="207"/>
                </a:lnTo>
                <a:lnTo>
                  <a:pt x="101" y="298"/>
                </a:lnTo>
                <a:lnTo>
                  <a:pt x="64" y="389"/>
                </a:lnTo>
                <a:lnTo>
                  <a:pt x="32" y="467"/>
                </a:lnTo>
                <a:lnTo>
                  <a:pt x="10" y="526"/>
                </a:lnTo>
                <a:lnTo>
                  <a:pt x="3" y="547"/>
                </a:lnTo>
                <a:lnTo>
                  <a:pt x="0" y="558"/>
                </a:lnTo>
                <a:lnTo>
                  <a:pt x="0" y="558"/>
                </a:lnTo>
                <a:lnTo>
                  <a:pt x="0" y="560"/>
                </a:lnTo>
                <a:lnTo>
                  <a:pt x="2" y="562"/>
                </a:lnTo>
                <a:lnTo>
                  <a:pt x="5" y="564"/>
                </a:lnTo>
                <a:lnTo>
                  <a:pt x="9" y="565"/>
                </a:lnTo>
                <a:lnTo>
                  <a:pt x="22" y="569"/>
                </a:lnTo>
                <a:lnTo>
                  <a:pt x="40" y="572"/>
                </a:lnTo>
                <a:lnTo>
                  <a:pt x="61" y="575"/>
                </a:lnTo>
                <a:lnTo>
                  <a:pt x="86" y="578"/>
                </a:lnTo>
                <a:lnTo>
                  <a:pt x="147" y="583"/>
                </a:lnTo>
                <a:lnTo>
                  <a:pt x="221" y="586"/>
                </a:lnTo>
                <a:lnTo>
                  <a:pt x="302" y="589"/>
                </a:lnTo>
                <a:lnTo>
                  <a:pt x="389" y="590"/>
                </a:lnTo>
                <a:lnTo>
                  <a:pt x="480" y="591"/>
                </a:lnTo>
                <a:lnTo>
                  <a:pt x="570" y="590"/>
                </a:lnTo>
                <a:lnTo>
                  <a:pt x="658" y="589"/>
                </a:lnTo>
                <a:lnTo>
                  <a:pt x="740" y="586"/>
                </a:lnTo>
                <a:lnTo>
                  <a:pt x="814" y="583"/>
                </a:lnTo>
                <a:lnTo>
                  <a:pt x="877" y="578"/>
                </a:lnTo>
                <a:lnTo>
                  <a:pt x="902" y="575"/>
                </a:lnTo>
                <a:lnTo>
                  <a:pt x="924" y="572"/>
                </a:lnTo>
                <a:lnTo>
                  <a:pt x="943" y="569"/>
                </a:lnTo>
                <a:lnTo>
                  <a:pt x="956" y="566"/>
                </a:lnTo>
                <a:lnTo>
                  <a:pt x="960" y="564"/>
                </a:lnTo>
                <a:lnTo>
                  <a:pt x="964" y="562"/>
                </a:lnTo>
                <a:lnTo>
                  <a:pt x="966" y="560"/>
                </a:lnTo>
                <a:lnTo>
                  <a:pt x="966" y="558"/>
                </a:lnTo>
                <a:lnTo>
                  <a:pt x="966" y="558"/>
                </a:lnTo>
                <a:lnTo>
                  <a:pt x="966" y="550"/>
                </a:lnTo>
                <a:lnTo>
                  <a:pt x="965" y="541"/>
                </a:lnTo>
                <a:lnTo>
                  <a:pt x="959" y="517"/>
                </a:lnTo>
                <a:lnTo>
                  <a:pt x="950" y="488"/>
                </a:lnTo>
                <a:lnTo>
                  <a:pt x="937" y="454"/>
                </a:lnTo>
                <a:lnTo>
                  <a:pt x="922" y="415"/>
                </a:lnTo>
                <a:lnTo>
                  <a:pt x="905" y="374"/>
                </a:lnTo>
                <a:lnTo>
                  <a:pt x="886" y="331"/>
                </a:lnTo>
                <a:lnTo>
                  <a:pt x="865" y="286"/>
                </a:lnTo>
                <a:lnTo>
                  <a:pt x="824" y="198"/>
                </a:lnTo>
                <a:lnTo>
                  <a:pt x="802" y="155"/>
                </a:lnTo>
                <a:lnTo>
                  <a:pt x="782" y="115"/>
                </a:lnTo>
                <a:lnTo>
                  <a:pt x="763" y="79"/>
                </a:lnTo>
                <a:lnTo>
                  <a:pt x="744" y="47"/>
                </a:lnTo>
                <a:lnTo>
                  <a:pt x="729" y="21"/>
                </a:lnTo>
                <a:lnTo>
                  <a:pt x="715" y="0"/>
                </a:lnTo>
                <a:lnTo>
                  <a:pt x="715" y="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69" name="Freeform 2074"/>
          <p:cNvSpPr>
            <a:spLocks/>
          </p:cNvSpPr>
          <p:nvPr/>
        </p:nvSpPr>
        <p:spPr bwMode="auto">
          <a:xfrm>
            <a:off x="8861426" y="3184209"/>
            <a:ext cx="1093788" cy="615950"/>
          </a:xfrm>
          <a:custGeom>
            <a:avLst/>
            <a:gdLst>
              <a:gd name="T0" fmla="*/ 1902 w 4131"/>
              <a:gd name="T1" fmla="*/ 2173 h 2344"/>
              <a:gd name="T2" fmla="*/ 1865 w 4131"/>
              <a:gd name="T3" fmla="*/ 1330 h 2344"/>
              <a:gd name="T4" fmla="*/ 1988 w 4131"/>
              <a:gd name="T5" fmla="*/ 1074 h 2344"/>
              <a:gd name="T6" fmla="*/ 2396 w 4131"/>
              <a:gd name="T7" fmla="*/ 1329 h 2344"/>
              <a:gd name="T8" fmla="*/ 2941 w 4131"/>
              <a:gd name="T9" fmla="*/ 1669 h 2344"/>
              <a:gd name="T10" fmla="*/ 3063 w 4131"/>
              <a:gd name="T11" fmla="*/ 1584 h 2344"/>
              <a:gd name="T12" fmla="*/ 3240 w 4131"/>
              <a:gd name="T13" fmla="*/ 1449 h 2344"/>
              <a:gd name="T14" fmla="*/ 3411 w 4131"/>
              <a:gd name="T15" fmla="*/ 1307 h 2344"/>
              <a:gd name="T16" fmla="*/ 3748 w 4131"/>
              <a:gd name="T17" fmla="*/ 1017 h 2344"/>
              <a:gd name="T18" fmla="*/ 3863 w 4131"/>
              <a:gd name="T19" fmla="*/ 924 h 2344"/>
              <a:gd name="T20" fmla="*/ 3981 w 4131"/>
              <a:gd name="T21" fmla="*/ 816 h 2344"/>
              <a:gd name="T22" fmla="*/ 4047 w 4131"/>
              <a:gd name="T23" fmla="*/ 746 h 2344"/>
              <a:gd name="T24" fmla="*/ 4092 w 4131"/>
              <a:gd name="T25" fmla="*/ 682 h 2344"/>
              <a:gd name="T26" fmla="*/ 4112 w 4131"/>
              <a:gd name="T27" fmla="*/ 640 h 2344"/>
              <a:gd name="T28" fmla="*/ 4125 w 4131"/>
              <a:gd name="T29" fmla="*/ 595 h 2344"/>
              <a:gd name="T30" fmla="*/ 4131 w 4131"/>
              <a:gd name="T31" fmla="*/ 549 h 2344"/>
              <a:gd name="T32" fmla="*/ 4130 w 4131"/>
              <a:gd name="T33" fmla="*/ 516 h 2344"/>
              <a:gd name="T34" fmla="*/ 4127 w 4131"/>
              <a:gd name="T35" fmla="*/ 457 h 2344"/>
              <a:gd name="T36" fmla="*/ 4109 w 4131"/>
              <a:gd name="T37" fmla="*/ 403 h 2344"/>
              <a:gd name="T38" fmla="*/ 4078 w 4131"/>
              <a:gd name="T39" fmla="*/ 355 h 2344"/>
              <a:gd name="T40" fmla="*/ 4038 w 4131"/>
              <a:gd name="T41" fmla="*/ 315 h 2344"/>
              <a:gd name="T42" fmla="*/ 3989 w 4131"/>
              <a:gd name="T43" fmla="*/ 280 h 2344"/>
              <a:gd name="T44" fmla="*/ 3935 w 4131"/>
              <a:gd name="T45" fmla="*/ 256 h 2344"/>
              <a:gd name="T46" fmla="*/ 3877 w 4131"/>
              <a:gd name="T47" fmla="*/ 240 h 2344"/>
              <a:gd name="T48" fmla="*/ 3818 w 4131"/>
              <a:gd name="T49" fmla="*/ 235 h 2344"/>
              <a:gd name="T50" fmla="*/ 3760 w 4131"/>
              <a:gd name="T51" fmla="*/ 241 h 2344"/>
              <a:gd name="T52" fmla="*/ 3705 w 4131"/>
              <a:gd name="T53" fmla="*/ 260 h 2344"/>
              <a:gd name="T54" fmla="*/ 3672 w 4131"/>
              <a:gd name="T55" fmla="*/ 280 h 2344"/>
              <a:gd name="T56" fmla="*/ 3513 w 4131"/>
              <a:gd name="T57" fmla="*/ 382 h 2344"/>
              <a:gd name="T58" fmla="*/ 3361 w 4131"/>
              <a:gd name="T59" fmla="*/ 493 h 2344"/>
              <a:gd name="T60" fmla="*/ 3165 w 4131"/>
              <a:gd name="T61" fmla="*/ 649 h 2344"/>
              <a:gd name="T62" fmla="*/ 2921 w 4131"/>
              <a:gd name="T63" fmla="*/ 846 h 2344"/>
              <a:gd name="T64" fmla="*/ 2792 w 4131"/>
              <a:gd name="T65" fmla="*/ 833 h 2344"/>
              <a:gd name="T66" fmla="*/ 2558 w 4131"/>
              <a:gd name="T67" fmla="*/ 676 h 2344"/>
              <a:gd name="T68" fmla="*/ 2173 w 4131"/>
              <a:gd name="T69" fmla="*/ 407 h 2344"/>
              <a:gd name="T70" fmla="*/ 1937 w 4131"/>
              <a:gd name="T71" fmla="*/ 253 h 2344"/>
              <a:gd name="T72" fmla="*/ 1733 w 4131"/>
              <a:gd name="T73" fmla="*/ 135 h 2344"/>
              <a:gd name="T74" fmla="*/ 1608 w 4131"/>
              <a:gd name="T75" fmla="*/ 71 h 2344"/>
              <a:gd name="T76" fmla="*/ 1488 w 4131"/>
              <a:gd name="T77" fmla="*/ 44 h 2344"/>
              <a:gd name="T78" fmla="*/ 1329 w 4131"/>
              <a:gd name="T79" fmla="*/ 23 h 2344"/>
              <a:gd name="T80" fmla="*/ 1182 w 4131"/>
              <a:gd name="T81" fmla="*/ 15 h 2344"/>
              <a:gd name="T82" fmla="*/ 929 w 4131"/>
              <a:gd name="T83" fmla="*/ 13 h 2344"/>
              <a:gd name="T84" fmla="*/ 750 w 4131"/>
              <a:gd name="T85" fmla="*/ 0 h 2344"/>
              <a:gd name="T86" fmla="*/ 680 w 4131"/>
              <a:gd name="T87" fmla="*/ 4 h 2344"/>
              <a:gd name="T88" fmla="*/ 585 w 4131"/>
              <a:gd name="T89" fmla="*/ 23 h 2344"/>
              <a:gd name="T90" fmla="*/ 503 w 4131"/>
              <a:gd name="T91" fmla="*/ 55 h 2344"/>
              <a:gd name="T92" fmla="*/ 430 w 4131"/>
              <a:gd name="T93" fmla="*/ 102 h 2344"/>
              <a:gd name="T94" fmla="*/ 369 w 4131"/>
              <a:gd name="T95" fmla="*/ 162 h 2344"/>
              <a:gd name="T96" fmla="*/ 317 w 4131"/>
              <a:gd name="T97" fmla="*/ 233 h 2344"/>
              <a:gd name="T98" fmla="*/ 273 w 4131"/>
              <a:gd name="T99" fmla="*/ 317 h 2344"/>
              <a:gd name="T100" fmla="*/ 234 w 4131"/>
              <a:gd name="T101" fmla="*/ 409 h 2344"/>
              <a:gd name="T102" fmla="*/ 203 w 4131"/>
              <a:gd name="T103" fmla="*/ 512 h 2344"/>
              <a:gd name="T104" fmla="*/ 167 w 4131"/>
              <a:gd name="T105" fmla="*/ 662 h 2344"/>
              <a:gd name="T106" fmla="*/ 125 w 4131"/>
              <a:gd name="T107" fmla="*/ 990 h 2344"/>
              <a:gd name="T108" fmla="*/ 65 w 4131"/>
              <a:gd name="T109" fmla="*/ 1542 h 2344"/>
              <a:gd name="T110" fmla="*/ 25 w 4131"/>
              <a:gd name="T111" fmla="*/ 1987 h 2344"/>
              <a:gd name="T112" fmla="*/ 0 w 4131"/>
              <a:gd name="T113" fmla="*/ 2344 h 2344"/>
              <a:gd name="T114" fmla="*/ 1726 w 4131"/>
              <a:gd name="T115" fmla="*/ 2343 h 2344"/>
              <a:gd name="T116" fmla="*/ 1910 w 4131"/>
              <a:gd name="T117" fmla="*/ 2342 h 2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31" h="2344">
                <a:moveTo>
                  <a:pt x="1910" y="2342"/>
                </a:moveTo>
                <a:lnTo>
                  <a:pt x="1910" y="2342"/>
                </a:lnTo>
                <a:lnTo>
                  <a:pt x="1902" y="2173"/>
                </a:lnTo>
                <a:lnTo>
                  <a:pt x="1894" y="2004"/>
                </a:lnTo>
                <a:lnTo>
                  <a:pt x="1880" y="1668"/>
                </a:lnTo>
                <a:lnTo>
                  <a:pt x="1865" y="1330"/>
                </a:lnTo>
                <a:lnTo>
                  <a:pt x="1850" y="993"/>
                </a:lnTo>
                <a:lnTo>
                  <a:pt x="1850" y="993"/>
                </a:lnTo>
                <a:lnTo>
                  <a:pt x="1988" y="1074"/>
                </a:lnTo>
                <a:lnTo>
                  <a:pt x="2125" y="1158"/>
                </a:lnTo>
                <a:lnTo>
                  <a:pt x="2261" y="1243"/>
                </a:lnTo>
                <a:lnTo>
                  <a:pt x="2396" y="1329"/>
                </a:lnTo>
                <a:lnTo>
                  <a:pt x="2668" y="1500"/>
                </a:lnTo>
                <a:lnTo>
                  <a:pt x="2804" y="1584"/>
                </a:lnTo>
                <a:lnTo>
                  <a:pt x="2941" y="1669"/>
                </a:lnTo>
                <a:lnTo>
                  <a:pt x="2941" y="1669"/>
                </a:lnTo>
                <a:lnTo>
                  <a:pt x="3003" y="1627"/>
                </a:lnTo>
                <a:lnTo>
                  <a:pt x="3063" y="1584"/>
                </a:lnTo>
                <a:lnTo>
                  <a:pt x="3123" y="1540"/>
                </a:lnTo>
                <a:lnTo>
                  <a:pt x="3182" y="1495"/>
                </a:lnTo>
                <a:lnTo>
                  <a:pt x="3240" y="1449"/>
                </a:lnTo>
                <a:lnTo>
                  <a:pt x="3297" y="1402"/>
                </a:lnTo>
                <a:lnTo>
                  <a:pt x="3354" y="1355"/>
                </a:lnTo>
                <a:lnTo>
                  <a:pt x="3411" y="1307"/>
                </a:lnTo>
                <a:lnTo>
                  <a:pt x="3523" y="1210"/>
                </a:lnTo>
                <a:lnTo>
                  <a:pt x="3635" y="1113"/>
                </a:lnTo>
                <a:lnTo>
                  <a:pt x="3748" y="1017"/>
                </a:lnTo>
                <a:lnTo>
                  <a:pt x="3805" y="971"/>
                </a:lnTo>
                <a:lnTo>
                  <a:pt x="3863" y="924"/>
                </a:lnTo>
                <a:lnTo>
                  <a:pt x="3863" y="924"/>
                </a:lnTo>
                <a:lnTo>
                  <a:pt x="3909" y="882"/>
                </a:lnTo>
                <a:lnTo>
                  <a:pt x="3957" y="838"/>
                </a:lnTo>
                <a:lnTo>
                  <a:pt x="3981" y="816"/>
                </a:lnTo>
                <a:lnTo>
                  <a:pt x="4004" y="794"/>
                </a:lnTo>
                <a:lnTo>
                  <a:pt x="4025" y="770"/>
                </a:lnTo>
                <a:lnTo>
                  <a:pt x="4047" y="746"/>
                </a:lnTo>
                <a:lnTo>
                  <a:pt x="4066" y="720"/>
                </a:lnTo>
                <a:lnTo>
                  <a:pt x="4083" y="695"/>
                </a:lnTo>
                <a:lnTo>
                  <a:pt x="4092" y="682"/>
                </a:lnTo>
                <a:lnTo>
                  <a:pt x="4099" y="668"/>
                </a:lnTo>
                <a:lnTo>
                  <a:pt x="4106" y="654"/>
                </a:lnTo>
                <a:lnTo>
                  <a:pt x="4112" y="640"/>
                </a:lnTo>
                <a:lnTo>
                  <a:pt x="4117" y="626"/>
                </a:lnTo>
                <a:lnTo>
                  <a:pt x="4121" y="611"/>
                </a:lnTo>
                <a:lnTo>
                  <a:pt x="4125" y="595"/>
                </a:lnTo>
                <a:lnTo>
                  <a:pt x="4128" y="580"/>
                </a:lnTo>
                <a:lnTo>
                  <a:pt x="4130" y="565"/>
                </a:lnTo>
                <a:lnTo>
                  <a:pt x="4131" y="549"/>
                </a:lnTo>
                <a:lnTo>
                  <a:pt x="4131" y="533"/>
                </a:lnTo>
                <a:lnTo>
                  <a:pt x="4130" y="516"/>
                </a:lnTo>
                <a:lnTo>
                  <a:pt x="4130" y="516"/>
                </a:lnTo>
                <a:lnTo>
                  <a:pt x="4130" y="496"/>
                </a:lnTo>
                <a:lnTo>
                  <a:pt x="4129" y="476"/>
                </a:lnTo>
                <a:lnTo>
                  <a:pt x="4127" y="457"/>
                </a:lnTo>
                <a:lnTo>
                  <a:pt x="4122" y="439"/>
                </a:lnTo>
                <a:lnTo>
                  <a:pt x="4116" y="420"/>
                </a:lnTo>
                <a:lnTo>
                  <a:pt x="4109" y="403"/>
                </a:lnTo>
                <a:lnTo>
                  <a:pt x="4100" y="387"/>
                </a:lnTo>
                <a:lnTo>
                  <a:pt x="4090" y="370"/>
                </a:lnTo>
                <a:lnTo>
                  <a:pt x="4078" y="355"/>
                </a:lnTo>
                <a:lnTo>
                  <a:pt x="4066" y="341"/>
                </a:lnTo>
                <a:lnTo>
                  <a:pt x="4052" y="327"/>
                </a:lnTo>
                <a:lnTo>
                  <a:pt x="4038" y="315"/>
                </a:lnTo>
                <a:lnTo>
                  <a:pt x="4022" y="302"/>
                </a:lnTo>
                <a:lnTo>
                  <a:pt x="4006" y="291"/>
                </a:lnTo>
                <a:lnTo>
                  <a:pt x="3989" y="280"/>
                </a:lnTo>
                <a:lnTo>
                  <a:pt x="3972" y="271"/>
                </a:lnTo>
                <a:lnTo>
                  <a:pt x="3953" y="263"/>
                </a:lnTo>
                <a:lnTo>
                  <a:pt x="3935" y="256"/>
                </a:lnTo>
                <a:lnTo>
                  <a:pt x="3916" y="249"/>
                </a:lnTo>
                <a:lnTo>
                  <a:pt x="3896" y="244"/>
                </a:lnTo>
                <a:lnTo>
                  <a:pt x="3877" y="240"/>
                </a:lnTo>
                <a:lnTo>
                  <a:pt x="3858" y="237"/>
                </a:lnTo>
                <a:lnTo>
                  <a:pt x="3837" y="235"/>
                </a:lnTo>
                <a:lnTo>
                  <a:pt x="3818" y="235"/>
                </a:lnTo>
                <a:lnTo>
                  <a:pt x="3799" y="235"/>
                </a:lnTo>
                <a:lnTo>
                  <a:pt x="3779" y="238"/>
                </a:lnTo>
                <a:lnTo>
                  <a:pt x="3760" y="241"/>
                </a:lnTo>
                <a:lnTo>
                  <a:pt x="3741" y="246"/>
                </a:lnTo>
                <a:lnTo>
                  <a:pt x="3722" y="252"/>
                </a:lnTo>
                <a:lnTo>
                  <a:pt x="3705" y="260"/>
                </a:lnTo>
                <a:lnTo>
                  <a:pt x="3688" y="269"/>
                </a:lnTo>
                <a:lnTo>
                  <a:pt x="3672" y="280"/>
                </a:lnTo>
                <a:lnTo>
                  <a:pt x="3672" y="280"/>
                </a:lnTo>
                <a:lnTo>
                  <a:pt x="3618" y="312"/>
                </a:lnTo>
                <a:lnTo>
                  <a:pt x="3565" y="346"/>
                </a:lnTo>
                <a:lnTo>
                  <a:pt x="3513" y="382"/>
                </a:lnTo>
                <a:lnTo>
                  <a:pt x="3461" y="418"/>
                </a:lnTo>
                <a:lnTo>
                  <a:pt x="3411" y="455"/>
                </a:lnTo>
                <a:lnTo>
                  <a:pt x="3361" y="493"/>
                </a:lnTo>
                <a:lnTo>
                  <a:pt x="3312" y="531"/>
                </a:lnTo>
                <a:lnTo>
                  <a:pt x="3263" y="570"/>
                </a:lnTo>
                <a:lnTo>
                  <a:pt x="3165" y="649"/>
                </a:lnTo>
                <a:lnTo>
                  <a:pt x="3067" y="729"/>
                </a:lnTo>
                <a:lnTo>
                  <a:pt x="2970" y="807"/>
                </a:lnTo>
                <a:lnTo>
                  <a:pt x="2921" y="846"/>
                </a:lnTo>
                <a:lnTo>
                  <a:pt x="2871" y="884"/>
                </a:lnTo>
                <a:lnTo>
                  <a:pt x="2871" y="884"/>
                </a:lnTo>
                <a:lnTo>
                  <a:pt x="2792" y="833"/>
                </a:lnTo>
                <a:lnTo>
                  <a:pt x="2714" y="781"/>
                </a:lnTo>
                <a:lnTo>
                  <a:pt x="2636" y="729"/>
                </a:lnTo>
                <a:lnTo>
                  <a:pt x="2558" y="676"/>
                </a:lnTo>
                <a:lnTo>
                  <a:pt x="2404" y="568"/>
                </a:lnTo>
                <a:lnTo>
                  <a:pt x="2250" y="460"/>
                </a:lnTo>
                <a:lnTo>
                  <a:pt x="2173" y="407"/>
                </a:lnTo>
                <a:lnTo>
                  <a:pt x="2095" y="354"/>
                </a:lnTo>
                <a:lnTo>
                  <a:pt x="2016" y="303"/>
                </a:lnTo>
                <a:lnTo>
                  <a:pt x="1937" y="253"/>
                </a:lnTo>
                <a:lnTo>
                  <a:pt x="1856" y="205"/>
                </a:lnTo>
                <a:lnTo>
                  <a:pt x="1775" y="158"/>
                </a:lnTo>
                <a:lnTo>
                  <a:pt x="1733" y="135"/>
                </a:lnTo>
                <a:lnTo>
                  <a:pt x="1691" y="113"/>
                </a:lnTo>
                <a:lnTo>
                  <a:pt x="1650" y="92"/>
                </a:lnTo>
                <a:lnTo>
                  <a:pt x="1608" y="71"/>
                </a:lnTo>
                <a:lnTo>
                  <a:pt x="1608" y="71"/>
                </a:lnTo>
                <a:lnTo>
                  <a:pt x="1546" y="56"/>
                </a:lnTo>
                <a:lnTo>
                  <a:pt x="1488" y="44"/>
                </a:lnTo>
                <a:lnTo>
                  <a:pt x="1433" y="34"/>
                </a:lnTo>
                <a:lnTo>
                  <a:pt x="1380" y="27"/>
                </a:lnTo>
                <a:lnTo>
                  <a:pt x="1329" y="23"/>
                </a:lnTo>
                <a:lnTo>
                  <a:pt x="1280" y="18"/>
                </a:lnTo>
                <a:lnTo>
                  <a:pt x="1231" y="16"/>
                </a:lnTo>
                <a:lnTo>
                  <a:pt x="1182" y="15"/>
                </a:lnTo>
                <a:lnTo>
                  <a:pt x="1084" y="15"/>
                </a:lnTo>
                <a:lnTo>
                  <a:pt x="983" y="14"/>
                </a:lnTo>
                <a:lnTo>
                  <a:pt x="929" y="13"/>
                </a:lnTo>
                <a:lnTo>
                  <a:pt x="872" y="10"/>
                </a:lnTo>
                <a:lnTo>
                  <a:pt x="813" y="6"/>
                </a:lnTo>
                <a:lnTo>
                  <a:pt x="750" y="0"/>
                </a:lnTo>
                <a:lnTo>
                  <a:pt x="750" y="0"/>
                </a:lnTo>
                <a:lnTo>
                  <a:pt x="714" y="1"/>
                </a:lnTo>
                <a:lnTo>
                  <a:pt x="680" y="4"/>
                </a:lnTo>
                <a:lnTo>
                  <a:pt x="646" y="8"/>
                </a:lnTo>
                <a:lnTo>
                  <a:pt x="614" y="14"/>
                </a:lnTo>
                <a:lnTo>
                  <a:pt x="585" y="23"/>
                </a:lnTo>
                <a:lnTo>
                  <a:pt x="555" y="32"/>
                </a:lnTo>
                <a:lnTo>
                  <a:pt x="528" y="43"/>
                </a:lnTo>
                <a:lnTo>
                  <a:pt x="503" y="55"/>
                </a:lnTo>
                <a:lnTo>
                  <a:pt x="477" y="69"/>
                </a:lnTo>
                <a:lnTo>
                  <a:pt x="454" y="85"/>
                </a:lnTo>
                <a:lnTo>
                  <a:pt x="430" y="102"/>
                </a:lnTo>
                <a:lnTo>
                  <a:pt x="409" y="120"/>
                </a:lnTo>
                <a:lnTo>
                  <a:pt x="389" y="141"/>
                </a:lnTo>
                <a:lnTo>
                  <a:pt x="369" y="162"/>
                </a:lnTo>
                <a:lnTo>
                  <a:pt x="351" y="184"/>
                </a:lnTo>
                <a:lnTo>
                  <a:pt x="334" y="209"/>
                </a:lnTo>
                <a:lnTo>
                  <a:pt x="317" y="233"/>
                </a:lnTo>
                <a:lnTo>
                  <a:pt x="301" y="260"/>
                </a:lnTo>
                <a:lnTo>
                  <a:pt x="286" y="288"/>
                </a:lnTo>
                <a:lnTo>
                  <a:pt x="273" y="317"/>
                </a:lnTo>
                <a:lnTo>
                  <a:pt x="260" y="346"/>
                </a:lnTo>
                <a:lnTo>
                  <a:pt x="246" y="378"/>
                </a:lnTo>
                <a:lnTo>
                  <a:pt x="234" y="409"/>
                </a:lnTo>
                <a:lnTo>
                  <a:pt x="223" y="443"/>
                </a:lnTo>
                <a:lnTo>
                  <a:pt x="213" y="477"/>
                </a:lnTo>
                <a:lnTo>
                  <a:pt x="203" y="512"/>
                </a:lnTo>
                <a:lnTo>
                  <a:pt x="192" y="549"/>
                </a:lnTo>
                <a:lnTo>
                  <a:pt x="183" y="585"/>
                </a:lnTo>
                <a:lnTo>
                  <a:pt x="167" y="662"/>
                </a:lnTo>
                <a:lnTo>
                  <a:pt x="151" y="742"/>
                </a:lnTo>
                <a:lnTo>
                  <a:pt x="151" y="742"/>
                </a:lnTo>
                <a:lnTo>
                  <a:pt x="125" y="990"/>
                </a:lnTo>
                <a:lnTo>
                  <a:pt x="103" y="1198"/>
                </a:lnTo>
                <a:lnTo>
                  <a:pt x="84" y="1377"/>
                </a:lnTo>
                <a:lnTo>
                  <a:pt x="65" y="1542"/>
                </a:lnTo>
                <a:lnTo>
                  <a:pt x="49" y="1708"/>
                </a:lnTo>
                <a:lnTo>
                  <a:pt x="33" y="1887"/>
                </a:lnTo>
                <a:lnTo>
                  <a:pt x="25" y="1987"/>
                </a:lnTo>
                <a:lnTo>
                  <a:pt x="16" y="2095"/>
                </a:lnTo>
                <a:lnTo>
                  <a:pt x="9" y="2214"/>
                </a:lnTo>
                <a:lnTo>
                  <a:pt x="0" y="2344"/>
                </a:lnTo>
                <a:lnTo>
                  <a:pt x="0" y="2344"/>
                </a:lnTo>
                <a:lnTo>
                  <a:pt x="1057" y="2343"/>
                </a:lnTo>
                <a:lnTo>
                  <a:pt x="1726" y="2343"/>
                </a:lnTo>
                <a:lnTo>
                  <a:pt x="1906" y="2342"/>
                </a:lnTo>
                <a:lnTo>
                  <a:pt x="1934" y="2342"/>
                </a:lnTo>
                <a:lnTo>
                  <a:pt x="1910" y="2342"/>
                </a:lnTo>
                <a:lnTo>
                  <a:pt x="1910" y="23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72" name="Freeform 2077"/>
          <p:cNvSpPr>
            <a:spLocks/>
          </p:cNvSpPr>
          <p:nvPr/>
        </p:nvSpPr>
        <p:spPr bwMode="auto">
          <a:xfrm>
            <a:off x="8982077" y="2814639"/>
            <a:ext cx="365125" cy="352425"/>
          </a:xfrm>
          <a:custGeom>
            <a:avLst/>
            <a:gdLst>
              <a:gd name="T0" fmla="*/ 609 w 1380"/>
              <a:gd name="T1" fmla="*/ 4 h 1332"/>
              <a:gd name="T2" fmla="*/ 675 w 1380"/>
              <a:gd name="T3" fmla="*/ 0 h 1332"/>
              <a:gd name="T4" fmla="*/ 740 w 1380"/>
              <a:gd name="T5" fmla="*/ 3 h 1332"/>
              <a:gd name="T6" fmla="*/ 805 w 1380"/>
              <a:gd name="T7" fmla="*/ 13 h 1332"/>
              <a:gd name="T8" fmla="*/ 868 w 1380"/>
              <a:gd name="T9" fmla="*/ 29 h 1332"/>
              <a:gd name="T10" fmla="*/ 929 w 1380"/>
              <a:gd name="T11" fmla="*/ 52 h 1332"/>
              <a:gd name="T12" fmla="*/ 989 w 1380"/>
              <a:gd name="T13" fmla="*/ 80 h 1332"/>
              <a:gd name="T14" fmla="*/ 1045 w 1380"/>
              <a:gd name="T15" fmla="*/ 113 h 1332"/>
              <a:gd name="T16" fmla="*/ 1099 w 1380"/>
              <a:gd name="T17" fmla="*/ 151 h 1332"/>
              <a:gd name="T18" fmla="*/ 1149 w 1380"/>
              <a:gd name="T19" fmla="*/ 194 h 1332"/>
              <a:gd name="T20" fmla="*/ 1196 w 1380"/>
              <a:gd name="T21" fmla="*/ 240 h 1332"/>
              <a:gd name="T22" fmla="*/ 1239 w 1380"/>
              <a:gd name="T23" fmla="*/ 290 h 1332"/>
              <a:gd name="T24" fmla="*/ 1275 w 1380"/>
              <a:gd name="T25" fmla="*/ 343 h 1332"/>
              <a:gd name="T26" fmla="*/ 1308 w 1380"/>
              <a:gd name="T27" fmla="*/ 398 h 1332"/>
              <a:gd name="T28" fmla="*/ 1335 w 1380"/>
              <a:gd name="T29" fmla="*/ 456 h 1332"/>
              <a:gd name="T30" fmla="*/ 1355 w 1380"/>
              <a:gd name="T31" fmla="*/ 516 h 1332"/>
              <a:gd name="T32" fmla="*/ 1371 w 1380"/>
              <a:gd name="T33" fmla="*/ 578 h 1332"/>
              <a:gd name="T34" fmla="*/ 1379 w 1380"/>
              <a:gd name="T35" fmla="*/ 640 h 1332"/>
              <a:gd name="T36" fmla="*/ 1380 w 1380"/>
              <a:gd name="T37" fmla="*/ 703 h 1332"/>
              <a:gd name="T38" fmla="*/ 1373 w 1380"/>
              <a:gd name="T39" fmla="*/ 766 h 1332"/>
              <a:gd name="T40" fmla="*/ 1358 w 1380"/>
              <a:gd name="T41" fmla="*/ 829 h 1332"/>
              <a:gd name="T42" fmla="*/ 1335 w 1380"/>
              <a:gd name="T43" fmla="*/ 891 h 1332"/>
              <a:gd name="T44" fmla="*/ 1319 w 1380"/>
              <a:gd name="T45" fmla="*/ 938 h 1332"/>
              <a:gd name="T46" fmla="*/ 1288 w 1380"/>
              <a:gd name="T47" fmla="*/ 1003 h 1332"/>
              <a:gd name="T48" fmla="*/ 1250 w 1380"/>
              <a:gd name="T49" fmla="*/ 1063 h 1332"/>
              <a:gd name="T50" fmla="*/ 1204 w 1380"/>
              <a:gd name="T51" fmla="*/ 1118 h 1332"/>
              <a:gd name="T52" fmla="*/ 1151 w 1380"/>
              <a:gd name="T53" fmla="*/ 1166 h 1332"/>
              <a:gd name="T54" fmla="*/ 1093 w 1380"/>
              <a:gd name="T55" fmla="*/ 1208 h 1332"/>
              <a:gd name="T56" fmla="*/ 1030 w 1380"/>
              <a:gd name="T57" fmla="*/ 1245 h 1332"/>
              <a:gd name="T58" fmla="*/ 963 w 1380"/>
              <a:gd name="T59" fmla="*/ 1274 h 1332"/>
              <a:gd name="T60" fmla="*/ 893 w 1380"/>
              <a:gd name="T61" fmla="*/ 1299 h 1332"/>
              <a:gd name="T62" fmla="*/ 821 w 1380"/>
              <a:gd name="T63" fmla="*/ 1316 h 1332"/>
              <a:gd name="T64" fmla="*/ 746 w 1380"/>
              <a:gd name="T65" fmla="*/ 1327 h 1332"/>
              <a:gd name="T66" fmla="*/ 671 w 1380"/>
              <a:gd name="T67" fmla="*/ 1332 h 1332"/>
              <a:gd name="T68" fmla="*/ 597 w 1380"/>
              <a:gd name="T69" fmla="*/ 1329 h 1332"/>
              <a:gd name="T70" fmla="*/ 524 w 1380"/>
              <a:gd name="T71" fmla="*/ 1321 h 1332"/>
              <a:gd name="T72" fmla="*/ 451 w 1380"/>
              <a:gd name="T73" fmla="*/ 1305 h 1332"/>
              <a:gd name="T74" fmla="*/ 382 w 1380"/>
              <a:gd name="T75" fmla="*/ 1281 h 1332"/>
              <a:gd name="T76" fmla="*/ 317 w 1380"/>
              <a:gd name="T77" fmla="*/ 1252 h 1332"/>
              <a:gd name="T78" fmla="*/ 256 w 1380"/>
              <a:gd name="T79" fmla="*/ 1214 h 1332"/>
              <a:gd name="T80" fmla="*/ 200 w 1380"/>
              <a:gd name="T81" fmla="*/ 1171 h 1332"/>
              <a:gd name="T82" fmla="*/ 150 w 1380"/>
              <a:gd name="T83" fmla="*/ 1119 h 1332"/>
              <a:gd name="T84" fmla="*/ 108 w 1380"/>
              <a:gd name="T85" fmla="*/ 1059 h 1332"/>
              <a:gd name="T86" fmla="*/ 83 w 1380"/>
              <a:gd name="T87" fmla="*/ 1015 h 1332"/>
              <a:gd name="T88" fmla="*/ 55 w 1380"/>
              <a:gd name="T89" fmla="*/ 959 h 1332"/>
              <a:gd name="T90" fmla="*/ 33 w 1380"/>
              <a:gd name="T91" fmla="*/ 901 h 1332"/>
              <a:gd name="T92" fmla="*/ 16 w 1380"/>
              <a:gd name="T93" fmla="*/ 841 h 1332"/>
              <a:gd name="T94" fmla="*/ 6 w 1380"/>
              <a:gd name="T95" fmla="*/ 780 h 1332"/>
              <a:gd name="T96" fmla="*/ 0 w 1380"/>
              <a:gd name="T97" fmla="*/ 698 h 1332"/>
              <a:gd name="T98" fmla="*/ 9 w 1380"/>
              <a:gd name="T99" fmla="*/ 574 h 1332"/>
              <a:gd name="T100" fmla="*/ 38 w 1380"/>
              <a:gd name="T101" fmla="*/ 454 h 1332"/>
              <a:gd name="T102" fmla="*/ 87 w 1380"/>
              <a:gd name="T103" fmla="*/ 342 h 1332"/>
              <a:gd name="T104" fmla="*/ 142 w 1380"/>
              <a:gd name="T105" fmla="*/ 255 h 1332"/>
              <a:gd name="T106" fmla="*/ 181 w 1380"/>
              <a:gd name="T107" fmla="*/ 208 h 1332"/>
              <a:gd name="T108" fmla="*/ 224 w 1380"/>
              <a:gd name="T109" fmla="*/ 165 h 1332"/>
              <a:gd name="T110" fmla="*/ 271 w 1380"/>
              <a:gd name="T111" fmla="*/ 126 h 1332"/>
              <a:gd name="T112" fmla="*/ 322 w 1380"/>
              <a:gd name="T113" fmla="*/ 91 h 1332"/>
              <a:gd name="T114" fmla="*/ 377 w 1380"/>
              <a:gd name="T115" fmla="*/ 62 h 1332"/>
              <a:gd name="T116" fmla="*/ 436 w 1380"/>
              <a:gd name="T117" fmla="*/ 38 h 1332"/>
              <a:gd name="T118" fmla="*/ 498 w 1380"/>
              <a:gd name="T119" fmla="*/ 20 h 1332"/>
              <a:gd name="T120" fmla="*/ 564 w 1380"/>
              <a:gd name="T121" fmla="*/ 10 h 1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0" h="1332">
                <a:moveTo>
                  <a:pt x="588" y="8"/>
                </a:moveTo>
                <a:lnTo>
                  <a:pt x="588" y="8"/>
                </a:lnTo>
                <a:lnTo>
                  <a:pt x="609" y="4"/>
                </a:lnTo>
                <a:lnTo>
                  <a:pt x="631" y="2"/>
                </a:lnTo>
                <a:lnTo>
                  <a:pt x="653" y="1"/>
                </a:lnTo>
                <a:lnTo>
                  <a:pt x="675" y="0"/>
                </a:lnTo>
                <a:lnTo>
                  <a:pt x="697" y="0"/>
                </a:lnTo>
                <a:lnTo>
                  <a:pt x="719" y="1"/>
                </a:lnTo>
                <a:lnTo>
                  <a:pt x="740" y="3"/>
                </a:lnTo>
                <a:lnTo>
                  <a:pt x="763" y="6"/>
                </a:lnTo>
                <a:lnTo>
                  <a:pt x="784" y="9"/>
                </a:lnTo>
                <a:lnTo>
                  <a:pt x="805" y="13"/>
                </a:lnTo>
                <a:lnTo>
                  <a:pt x="827" y="18"/>
                </a:lnTo>
                <a:lnTo>
                  <a:pt x="847" y="23"/>
                </a:lnTo>
                <a:lnTo>
                  <a:pt x="868" y="29"/>
                </a:lnTo>
                <a:lnTo>
                  <a:pt x="889" y="36"/>
                </a:lnTo>
                <a:lnTo>
                  <a:pt x="909" y="43"/>
                </a:lnTo>
                <a:lnTo>
                  <a:pt x="929" y="52"/>
                </a:lnTo>
                <a:lnTo>
                  <a:pt x="950" y="61"/>
                </a:lnTo>
                <a:lnTo>
                  <a:pt x="969" y="70"/>
                </a:lnTo>
                <a:lnTo>
                  <a:pt x="989" y="80"/>
                </a:lnTo>
                <a:lnTo>
                  <a:pt x="1008" y="90"/>
                </a:lnTo>
                <a:lnTo>
                  <a:pt x="1027" y="101"/>
                </a:lnTo>
                <a:lnTo>
                  <a:pt x="1045" y="113"/>
                </a:lnTo>
                <a:lnTo>
                  <a:pt x="1064" y="125"/>
                </a:lnTo>
                <a:lnTo>
                  <a:pt x="1082" y="138"/>
                </a:lnTo>
                <a:lnTo>
                  <a:pt x="1099" y="151"/>
                </a:lnTo>
                <a:lnTo>
                  <a:pt x="1116" y="165"/>
                </a:lnTo>
                <a:lnTo>
                  <a:pt x="1133" y="179"/>
                </a:lnTo>
                <a:lnTo>
                  <a:pt x="1149" y="194"/>
                </a:lnTo>
                <a:lnTo>
                  <a:pt x="1165" y="208"/>
                </a:lnTo>
                <a:lnTo>
                  <a:pt x="1181" y="225"/>
                </a:lnTo>
                <a:lnTo>
                  <a:pt x="1196" y="240"/>
                </a:lnTo>
                <a:lnTo>
                  <a:pt x="1210" y="256"/>
                </a:lnTo>
                <a:lnTo>
                  <a:pt x="1224" y="273"/>
                </a:lnTo>
                <a:lnTo>
                  <a:pt x="1239" y="290"/>
                </a:lnTo>
                <a:lnTo>
                  <a:pt x="1251" y="307"/>
                </a:lnTo>
                <a:lnTo>
                  <a:pt x="1264" y="325"/>
                </a:lnTo>
                <a:lnTo>
                  <a:pt x="1275" y="343"/>
                </a:lnTo>
                <a:lnTo>
                  <a:pt x="1287" y="361"/>
                </a:lnTo>
                <a:lnTo>
                  <a:pt x="1298" y="380"/>
                </a:lnTo>
                <a:lnTo>
                  <a:pt x="1308" y="398"/>
                </a:lnTo>
                <a:lnTo>
                  <a:pt x="1318" y="418"/>
                </a:lnTo>
                <a:lnTo>
                  <a:pt x="1327" y="437"/>
                </a:lnTo>
                <a:lnTo>
                  <a:pt x="1335" y="456"/>
                </a:lnTo>
                <a:lnTo>
                  <a:pt x="1342" y="477"/>
                </a:lnTo>
                <a:lnTo>
                  <a:pt x="1349" y="496"/>
                </a:lnTo>
                <a:lnTo>
                  <a:pt x="1355" y="516"/>
                </a:lnTo>
                <a:lnTo>
                  <a:pt x="1362" y="537"/>
                </a:lnTo>
                <a:lnTo>
                  <a:pt x="1367" y="557"/>
                </a:lnTo>
                <a:lnTo>
                  <a:pt x="1371" y="578"/>
                </a:lnTo>
                <a:lnTo>
                  <a:pt x="1374" y="599"/>
                </a:lnTo>
                <a:lnTo>
                  <a:pt x="1377" y="619"/>
                </a:lnTo>
                <a:lnTo>
                  <a:pt x="1379" y="640"/>
                </a:lnTo>
                <a:lnTo>
                  <a:pt x="1380" y="661"/>
                </a:lnTo>
                <a:lnTo>
                  <a:pt x="1380" y="682"/>
                </a:lnTo>
                <a:lnTo>
                  <a:pt x="1380" y="703"/>
                </a:lnTo>
                <a:lnTo>
                  <a:pt x="1378" y="724"/>
                </a:lnTo>
                <a:lnTo>
                  <a:pt x="1376" y="744"/>
                </a:lnTo>
                <a:lnTo>
                  <a:pt x="1373" y="766"/>
                </a:lnTo>
                <a:lnTo>
                  <a:pt x="1369" y="787"/>
                </a:lnTo>
                <a:lnTo>
                  <a:pt x="1364" y="807"/>
                </a:lnTo>
                <a:lnTo>
                  <a:pt x="1358" y="829"/>
                </a:lnTo>
                <a:lnTo>
                  <a:pt x="1351" y="849"/>
                </a:lnTo>
                <a:lnTo>
                  <a:pt x="1343" y="869"/>
                </a:lnTo>
                <a:lnTo>
                  <a:pt x="1335" y="891"/>
                </a:lnTo>
                <a:lnTo>
                  <a:pt x="1335" y="891"/>
                </a:lnTo>
                <a:lnTo>
                  <a:pt x="1328" y="914"/>
                </a:lnTo>
                <a:lnTo>
                  <a:pt x="1319" y="938"/>
                </a:lnTo>
                <a:lnTo>
                  <a:pt x="1310" y="960"/>
                </a:lnTo>
                <a:lnTo>
                  <a:pt x="1300" y="981"/>
                </a:lnTo>
                <a:lnTo>
                  <a:pt x="1288" y="1003"/>
                </a:lnTo>
                <a:lnTo>
                  <a:pt x="1277" y="1024"/>
                </a:lnTo>
                <a:lnTo>
                  <a:pt x="1264" y="1043"/>
                </a:lnTo>
                <a:lnTo>
                  <a:pt x="1250" y="1063"/>
                </a:lnTo>
                <a:lnTo>
                  <a:pt x="1235" y="1082"/>
                </a:lnTo>
                <a:lnTo>
                  <a:pt x="1220" y="1100"/>
                </a:lnTo>
                <a:lnTo>
                  <a:pt x="1204" y="1118"/>
                </a:lnTo>
                <a:lnTo>
                  <a:pt x="1187" y="1134"/>
                </a:lnTo>
                <a:lnTo>
                  <a:pt x="1169" y="1150"/>
                </a:lnTo>
                <a:lnTo>
                  <a:pt x="1151" y="1166"/>
                </a:lnTo>
                <a:lnTo>
                  <a:pt x="1133" y="1181"/>
                </a:lnTo>
                <a:lnTo>
                  <a:pt x="1113" y="1195"/>
                </a:lnTo>
                <a:lnTo>
                  <a:pt x="1093" y="1208"/>
                </a:lnTo>
                <a:lnTo>
                  <a:pt x="1073" y="1221"/>
                </a:lnTo>
                <a:lnTo>
                  <a:pt x="1051" y="1234"/>
                </a:lnTo>
                <a:lnTo>
                  <a:pt x="1030" y="1245"/>
                </a:lnTo>
                <a:lnTo>
                  <a:pt x="1008" y="1255"/>
                </a:lnTo>
                <a:lnTo>
                  <a:pt x="985" y="1265"/>
                </a:lnTo>
                <a:lnTo>
                  <a:pt x="963" y="1274"/>
                </a:lnTo>
                <a:lnTo>
                  <a:pt x="940" y="1284"/>
                </a:lnTo>
                <a:lnTo>
                  <a:pt x="916" y="1292"/>
                </a:lnTo>
                <a:lnTo>
                  <a:pt x="893" y="1299"/>
                </a:lnTo>
                <a:lnTo>
                  <a:pt x="868" y="1305"/>
                </a:lnTo>
                <a:lnTo>
                  <a:pt x="845" y="1311"/>
                </a:lnTo>
                <a:lnTo>
                  <a:pt x="821" y="1316"/>
                </a:lnTo>
                <a:lnTo>
                  <a:pt x="795" y="1321"/>
                </a:lnTo>
                <a:lnTo>
                  <a:pt x="771" y="1324"/>
                </a:lnTo>
                <a:lnTo>
                  <a:pt x="746" y="1327"/>
                </a:lnTo>
                <a:lnTo>
                  <a:pt x="721" y="1329"/>
                </a:lnTo>
                <a:lnTo>
                  <a:pt x="696" y="1331"/>
                </a:lnTo>
                <a:lnTo>
                  <a:pt x="671" y="1332"/>
                </a:lnTo>
                <a:lnTo>
                  <a:pt x="647" y="1332"/>
                </a:lnTo>
                <a:lnTo>
                  <a:pt x="621" y="1331"/>
                </a:lnTo>
                <a:lnTo>
                  <a:pt x="597" y="1329"/>
                </a:lnTo>
                <a:lnTo>
                  <a:pt x="572" y="1327"/>
                </a:lnTo>
                <a:lnTo>
                  <a:pt x="548" y="1324"/>
                </a:lnTo>
                <a:lnTo>
                  <a:pt x="524" y="1321"/>
                </a:lnTo>
                <a:lnTo>
                  <a:pt x="499" y="1316"/>
                </a:lnTo>
                <a:lnTo>
                  <a:pt x="475" y="1311"/>
                </a:lnTo>
                <a:lnTo>
                  <a:pt x="451" y="1305"/>
                </a:lnTo>
                <a:lnTo>
                  <a:pt x="428" y="1298"/>
                </a:lnTo>
                <a:lnTo>
                  <a:pt x="406" y="1291"/>
                </a:lnTo>
                <a:lnTo>
                  <a:pt x="382" y="1281"/>
                </a:lnTo>
                <a:lnTo>
                  <a:pt x="361" y="1272"/>
                </a:lnTo>
                <a:lnTo>
                  <a:pt x="338" y="1263"/>
                </a:lnTo>
                <a:lnTo>
                  <a:pt x="317" y="1252"/>
                </a:lnTo>
                <a:lnTo>
                  <a:pt x="297" y="1241"/>
                </a:lnTo>
                <a:lnTo>
                  <a:pt x="276" y="1228"/>
                </a:lnTo>
                <a:lnTo>
                  <a:pt x="256" y="1214"/>
                </a:lnTo>
                <a:lnTo>
                  <a:pt x="237" y="1201"/>
                </a:lnTo>
                <a:lnTo>
                  <a:pt x="218" y="1186"/>
                </a:lnTo>
                <a:lnTo>
                  <a:pt x="200" y="1171"/>
                </a:lnTo>
                <a:lnTo>
                  <a:pt x="183" y="1154"/>
                </a:lnTo>
                <a:lnTo>
                  <a:pt x="167" y="1137"/>
                </a:lnTo>
                <a:lnTo>
                  <a:pt x="150" y="1119"/>
                </a:lnTo>
                <a:lnTo>
                  <a:pt x="135" y="1099"/>
                </a:lnTo>
                <a:lnTo>
                  <a:pt x="121" y="1080"/>
                </a:lnTo>
                <a:lnTo>
                  <a:pt x="108" y="1059"/>
                </a:lnTo>
                <a:lnTo>
                  <a:pt x="95" y="1037"/>
                </a:lnTo>
                <a:lnTo>
                  <a:pt x="83" y="1015"/>
                </a:lnTo>
                <a:lnTo>
                  <a:pt x="83" y="1015"/>
                </a:lnTo>
                <a:lnTo>
                  <a:pt x="73" y="997"/>
                </a:lnTo>
                <a:lnTo>
                  <a:pt x="64" y="978"/>
                </a:lnTo>
                <a:lnTo>
                  <a:pt x="55" y="959"/>
                </a:lnTo>
                <a:lnTo>
                  <a:pt x="47" y="940"/>
                </a:lnTo>
                <a:lnTo>
                  <a:pt x="39" y="920"/>
                </a:lnTo>
                <a:lnTo>
                  <a:pt x="33" y="901"/>
                </a:lnTo>
                <a:lnTo>
                  <a:pt x="27" y="881"/>
                </a:lnTo>
                <a:lnTo>
                  <a:pt x="21" y="860"/>
                </a:lnTo>
                <a:lnTo>
                  <a:pt x="16" y="841"/>
                </a:lnTo>
                <a:lnTo>
                  <a:pt x="12" y="821"/>
                </a:lnTo>
                <a:lnTo>
                  <a:pt x="9" y="800"/>
                </a:lnTo>
                <a:lnTo>
                  <a:pt x="6" y="780"/>
                </a:lnTo>
                <a:lnTo>
                  <a:pt x="4" y="760"/>
                </a:lnTo>
                <a:lnTo>
                  <a:pt x="2" y="738"/>
                </a:lnTo>
                <a:lnTo>
                  <a:pt x="0" y="698"/>
                </a:lnTo>
                <a:lnTo>
                  <a:pt x="1" y="656"/>
                </a:lnTo>
                <a:lnTo>
                  <a:pt x="4" y="615"/>
                </a:lnTo>
                <a:lnTo>
                  <a:pt x="9" y="574"/>
                </a:lnTo>
                <a:lnTo>
                  <a:pt x="17" y="534"/>
                </a:lnTo>
                <a:lnTo>
                  <a:pt x="26" y="494"/>
                </a:lnTo>
                <a:lnTo>
                  <a:pt x="38" y="454"/>
                </a:lnTo>
                <a:lnTo>
                  <a:pt x="53" y="416"/>
                </a:lnTo>
                <a:lnTo>
                  <a:pt x="69" y="378"/>
                </a:lnTo>
                <a:lnTo>
                  <a:pt x="87" y="342"/>
                </a:lnTo>
                <a:lnTo>
                  <a:pt x="108" y="306"/>
                </a:lnTo>
                <a:lnTo>
                  <a:pt x="130" y="272"/>
                </a:lnTo>
                <a:lnTo>
                  <a:pt x="142" y="255"/>
                </a:lnTo>
                <a:lnTo>
                  <a:pt x="154" y="239"/>
                </a:lnTo>
                <a:lnTo>
                  <a:pt x="168" y="224"/>
                </a:lnTo>
                <a:lnTo>
                  <a:pt x="181" y="208"/>
                </a:lnTo>
                <a:lnTo>
                  <a:pt x="195" y="193"/>
                </a:lnTo>
                <a:lnTo>
                  <a:pt x="209" y="179"/>
                </a:lnTo>
                <a:lnTo>
                  <a:pt x="224" y="165"/>
                </a:lnTo>
                <a:lnTo>
                  <a:pt x="239" y="151"/>
                </a:lnTo>
                <a:lnTo>
                  <a:pt x="255" y="138"/>
                </a:lnTo>
                <a:lnTo>
                  <a:pt x="271" y="126"/>
                </a:lnTo>
                <a:lnTo>
                  <a:pt x="288" y="114"/>
                </a:lnTo>
                <a:lnTo>
                  <a:pt x="305" y="102"/>
                </a:lnTo>
                <a:lnTo>
                  <a:pt x="322" y="91"/>
                </a:lnTo>
                <a:lnTo>
                  <a:pt x="341" y="81"/>
                </a:lnTo>
                <a:lnTo>
                  <a:pt x="359" y="71"/>
                </a:lnTo>
                <a:lnTo>
                  <a:pt x="377" y="62"/>
                </a:lnTo>
                <a:lnTo>
                  <a:pt x="396" y="54"/>
                </a:lnTo>
                <a:lnTo>
                  <a:pt x="416" y="45"/>
                </a:lnTo>
                <a:lnTo>
                  <a:pt x="436" y="38"/>
                </a:lnTo>
                <a:lnTo>
                  <a:pt x="456" y="31"/>
                </a:lnTo>
                <a:lnTo>
                  <a:pt x="478" y="26"/>
                </a:lnTo>
                <a:lnTo>
                  <a:pt x="498" y="20"/>
                </a:lnTo>
                <a:lnTo>
                  <a:pt x="521" y="16"/>
                </a:lnTo>
                <a:lnTo>
                  <a:pt x="542" y="13"/>
                </a:lnTo>
                <a:lnTo>
                  <a:pt x="564" y="10"/>
                </a:lnTo>
                <a:lnTo>
                  <a:pt x="588" y="8"/>
                </a:lnTo>
                <a:lnTo>
                  <a:pt x="588"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79" name="Freeform 2084"/>
          <p:cNvSpPr>
            <a:spLocks/>
          </p:cNvSpPr>
          <p:nvPr/>
        </p:nvSpPr>
        <p:spPr bwMode="auto">
          <a:xfrm>
            <a:off x="10799764" y="3162300"/>
            <a:ext cx="1144588" cy="400050"/>
          </a:xfrm>
          <a:custGeom>
            <a:avLst/>
            <a:gdLst>
              <a:gd name="T0" fmla="*/ 4327 w 4327"/>
              <a:gd name="T1" fmla="*/ 829 h 1512"/>
              <a:gd name="T2" fmla="*/ 1462 w 4327"/>
              <a:gd name="T3" fmla="*/ 0 h 1512"/>
              <a:gd name="T4" fmla="*/ 0 w 4327"/>
              <a:gd name="T5" fmla="*/ 260 h 1512"/>
              <a:gd name="T6" fmla="*/ 3835 w 4327"/>
              <a:gd name="T7" fmla="*/ 1512 h 1512"/>
              <a:gd name="T8" fmla="*/ 4327 w 4327"/>
              <a:gd name="T9" fmla="*/ 1454 h 1512"/>
              <a:gd name="T10" fmla="*/ 4327 w 4327"/>
              <a:gd name="T11" fmla="*/ 829 h 1512"/>
            </a:gdLst>
            <a:ahLst/>
            <a:cxnLst>
              <a:cxn ang="0">
                <a:pos x="T0" y="T1"/>
              </a:cxn>
              <a:cxn ang="0">
                <a:pos x="T2" y="T3"/>
              </a:cxn>
              <a:cxn ang="0">
                <a:pos x="T4" y="T5"/>
              </a:cxn>
              <a:cxn ang="0">
                <a:pos x="T6" y="T7"/>
              </a:cxn>
              <a:cxn ang="0">
                <a:pos x="T8" y="T9"/>
              </a:cxn>
              <a:cxn ang="0">
                <a:pos x="T10" y="T11"/>
              </a:cxn>
            </a:cxnLst>
            <a:rect l="0" t="0" r="r" b="b"/>
            <a:pathLst>
              <a:path w="4327" h="1512">
                <a:moveTo>
                  <a:pt x="4327" y="829"/>
                </a:moveTo>
                <a:lnTo>
                  <a:pt x="1462" y="0"/>
                </a:lnTo>
                <a:lnTo>
                  <a:pt x="0" y="260"/>
                </a:lnTo>
                <a:lnTo>
                  <a:pt x="3835" y="1512"/>
                </a:lnTo>
                <a:lnTo>
                  <a:pt x="4327" y="1454"/>
                </a:lnTo>
                <a:lnTo>
                  <a:pt x="4327" y="829"/>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1" name="Freeform 2086"/>
          <p:cNvSpPr>
            <a:spLocks/>
          </p:cNvSpPr>
          <p:nvPr/>
        </p:nvSpPr>
        <p:spPr bwMode="auto">
          <a:xfrm>
            <a:off x="11168065" y="3227388"/>
            <a:ext cx="506413" cy="122238"/>
          </a:xfrm>
          <a:custGeom>
            <a:avLst/>
            <a:gdLst>
              <a:gd name="T0" fmla="*/ 1910 w 1910"/>
              <a:gd name="T1" fmla="*/ 394 h 465"/>
              <a:gd name="T2" fmla="*/ 632 w 1910"/>
              <a:gd name="T3" fmla="*/ 0 h 465"/>
              <a:gd name="T4" fmla="*/ 0 w 1910"/>
              <a:gd name="T5" fmla="*/ 71 h 465"/>
              <a:gd name="T6" fmla="*/ 1278 w 1910"/>
              <a:gd name="T7" fmla="*/ 465 h 465"/>
              <a:gd name="T8" fmla="*/ 1910 w 1910"/>
              <a:gd name="T9" fmla="*/ 394 h 465"/>
            </a:gdLst>
            <a:ahLst/>
            <a:cxnLst>
              <a:cxn ang="0">
                <a:pos x="T0" y="T1"/>
              </a:cxn>
              <a:cxn ang="0">
                <a:pos x="T2" y="T3"/>
              </a:cxn>
              <a:cxn ang="0">
                <a:pos x="T4" y="T5"/>
              </a:cxn>
              <a:cxn ang="0">
                <a:pos x="T6" y="T7"/>
              </a:cxn>
              <a:cxn ang="0">
                <a:pos x="T8" y="T9"/>
              </a:cxn>
            </a:cxnLst>
            <a:rect l="0" t="0" r="r" b="b"/>
            <a:pathLst>
              <a:path w="1910" h="465">
                <a:moveTo>
                  <a:pt x="1910" y="394"/>
                </a:moveTo>
                <a:lnTo>
                  <a:pt x="632" y="0"/>
                </a:lnTo>
                <a:lnTo>
                  <a:pt x="0" y="71"/>
                </a:lnTo>
                <a:lnTo>
                  <a:pt x="1278" y="465"/>
                </a:lnTo>
                <a:lnTo>
                  <a:pt x="1910" y="394"/>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2" name="Freeform 2087"/>
          <p:cNvSpPr>
            <a:spLocks/>
          </p:cNvSpPr>
          <p:nvPr/>
        </p:nvSpPr>
        <p:spPr bwMode="auto">
          <a:xfrm>
            <a:off x="11164889" y="3244851"/>
            <a:ext cx="342900" cy="130175"/>
          </a:xfrm>
          <a:custGeom>
            <a:avLst/>
            <a:gdLst>
              <a:gd name="T0" fmla="*/ 1288 w 1290"/>
              <a:gd name="T1" fmla="*/ 489 h 489"/>
              <a:gd name="T2" fmla="*/ 0 w 1290"/>
              <a:gd name="T3" fmla="*/ 67 h 489"/>
              <a:gd name="T4" fmla="*/ 0 w 1290"/>
              <a:gd name="T5" fmla="*/ 0 h 489"/>
              <a:gd name="T6" fmla="*/ 1290 w 1290"/>
              <a:gd name="T7" fmla="*/ 394 h 489"/>
              <a:gd name="T8" fmla="*/ 1288 w 1290"/>
              <a:gd name="T9" fmla="*/ 489 h 489"/>
            </a:gdLst>
            <a:ahLst/>
            <a:cxnLst>
              <a:cxn ang="0">
                <a:pos x="T0" y="T1"/>
              </a:cxn>
              <a:cxn ang="0">
                <a:pos x="T2" y="T3"/>
              </a:cxn>
              <a:cxn ang="0">
                <a:pos x="T4" y="T5"/>
              </a:cxn>
              <a:cxn ang="0">
                <a:pos x="T6" y="T7"/>
              </a:cxn>
              <a:cxn ang="0">
                <a:pos x="T8" y="T9"/>
              </a:cxn>
            </a:cxnLst>
            <a:rect l="0" t="0" r="r" b="b"/>
            <a:pathLst>
              <a:path w="1290" h="489">
                <a:moveTo>
                  <a:pt x="1288" y="489"/>
                </a:moveTo>
                <a:lnTo>
                  <a:pt x="0" y="67"/>
                </a:lnTo>
                <a:lnTo>
                  <a:pt x="0" y="0"/>
                </a:lnTo>
                <a:lnTo>
                  <a:pt x="1290" y="394"/>
                </a:lnTo>
                <a:lnTo>
                  <a:pt x="1288" y="489"/>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3" name="Freeform 2088"/>
          <p:cNvSpPr>
            <a:spLocks/>
          </p:cNvSpPr>
          <p:nvPr/>
        </p:nvSpPr>
        <p:spPr bwMode="auto">
          <a:xfrm>
            <a:off x="11506202" y="3330575"/>
            <a:ext cx="168275" cy="44450"/>
          </a:xfrm>
          <a:custGeom>
            <a:avLst/>
            <a:gdLst>
              <a:gd name="T0" fmla="*/ 0 w 634"/>
              <a:gd name="T1" fmla="*/ 166 h 166"/>
              <a:gd name="T2" fmla="*/ 634 w 634"/>
              <a:gd name="T3" fmla="*/ 75 h 166"/>
              <a:gd name="T4" fmla="*/ 634 w 634"/>
              <a:gd name="T5" fmla="*/ 0 h 166"/>
              <a:gd name="T6" fmla="*/ 2 w 634"/>
              <a:gd name="T7" fmla="*/ 71 h 166"/>
              <a:gd name="T8" fmla="*/ 0 w 634"/>
              <a:gd name="T9" fmla="*/ 166 h 166"/>
            </a:gdLst>
            <a:ahLst/>
            <a:cxnLst>
              <a:cxn ang="0">
                <a:pos x="T0" y="T1"/>
              </a:cxn>
              <a:cxn ang="0">
                <a:pos x="T2" y="T3"/>
              </a:cxn>
              <a:cxn ang="0">
                <a:pos x="T4" y="T5"/>
              </a:cxn>
              <a:cxn ang="0">
                <a:pos x="T6" y="T7"/>
              </a:cxn>
              <a:cxn ang="0">
                <a:pos x="T8" y="T9"/>
              </a:cxn>
            </a:cxnLst>
            <a:rect l="0" t="0" r="r" b="b"/>
            <a:pathLst>
              <a:path w="634" h="166">
                <a:moveTo>
                  <a:pt x="0" y="166"/>
                </a:moveTo>
                <a:lnTo>
                  <a:pt x="634" y="75"/>
                </a:lnTo>
                <a:lnTo>
                  <a:pt x="634" y="0"/>
                </a:lnTo>
                <a:lnTo>
                  <a:pt x="2" y="71"/>
                </a:lnTo>
                <a:lnTo>
                  <a:pt x="0" y="166"/>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4" name="Freeform 2089"/>
          <p:cNvSpPr>
            <a:spLocks/>
          </p:cNvSpPr>
          <p:nvPr/>
        </p:nvSpPr>
        <p:spPr bwMode="auto">
          <a:xfrm>
            <a:off x="11385552" y="3086101"/>
            <a:ext cx="79375" cy="212725"/>
          </a:xfrm>
          <a:custGeom>
            <a:avLst/>
            <a:gdLst>
              <a:gd name="T0" fmla="*/ 0 w 298"/>
              <a:gd name="T1" fmla="*/ 87 h 803"/>
              <a:gd name="T2" fmla="*/ 3 w 298"/>
              <a:gd name="T3" fmla="*/ 65 h 803"/>
              <a:gd name="T4" fmla="*/ 9 w 298"/>
              <a:gd name="T5" fmla="*/ 47 h 803"/>
              <a:gd name="T6" fmla="*/ 18 w 298"/>
              <a:gd name="T7" fmla="*/ 31 h 803"/>
              <a:gd name="T8" fmla="*/ 31 w 298"/>
              <a:gd name="T9" fmla="*/ 17 h 803"/>
              <a:gd name="T10" fmla="*/ 46 w 298"/>
              <a:gd name="T11" fmla="*/ 8 h 803"/>
              <a:gd name="T12" fmla="*/ 65 w 298"/>
              <a:gd name="T13" fmla="*/ 2 h 803"/>
              <a:gd name="T14" fmla="*/ 84 w 298"/>
              <a:gd name="T15" fmla="*/ 0 h 803"/>
              <a:gd name="T16" fmla="*/ 105 w 298"/>
              <a:gd name="T17" fmla="*/ 3 h 803"/>
              <a:gd name="T18" fmla="*/ 192 w 298"/>
              <a:gd name="T19" fmla="*/ 25 h 803"/>
              <a:gd name="T20" fmla="*/ 213 w 298"/>
              <a:gd name="T21" fmla="*/ 32 h 803"/>
              <a:gd name="T22" fmla="*/ 233 w 298"/>
              <a:gd name="T23" fmla="*/ 43 h 803"/>
              <a:gd name="T24" fmla="*/ 251 w 298"/>
              <a:gd name="T25" fmla="*/ 57 h 803"/>
              <a:gd name="T26" fmla="*/ 266 w 298"/>
              <a:gd name="T27" fmla="*/ 73 h 803"/>
              <a:gd name="T28" fmla="*/ 279 w 298"/>
              <a:gd name="T29" fmla="*/ 93 h 803"/>
              <a:gd name="T30" fmla="*/ 289 w 298"/>
              <a:gd name="T31" fmla="*/ 114 h 803"/>
              <a:gd name="T32" fmla="*/ 296 w 298"/>
              <a:gd name="T33" fmla="*/ 135 h 803"/>
              <a:gd name="T34" fmla="*/ 298 w 298"/>
              <a:gd name="T35" fmla="*/ 158 h 803"/>
              <a:gd name="T36" fmla="*/ 298 w 298"/>
              <a:gd name="T37" fmla="*/ 681 h 803"/>
              <a:gd name="T38" fmla="*/ 295 w 298"/>
              <a:gd name="T39" fmla="*/ 712 h 803"/>
              <a:gd name="T40" fmla="*/ 287 w 298"/>
              <a:gd name="T41" fmla="*/ 740 h 803"/>
              <a:gd name="T42" fmla="*/ 272 w 298"/>
              <a:gd name="T43" fmla="*/ 762 h 803"/>
              <a:gd name="T44" fmla="*/ 253 w 298"/>
              <a:gd name="T45" fmla="*/ 780 h 803"/>
              <a:gd name="T46" fmla="*/ 228 w 298"/>
              <a:gd name="T47" fmla="*/ 794 h 803"/>
              <a:gd name="T48" fmla="*/ 197 w 298"/>
              <a:gd name="T49" fmla="*/ 801 h 803"/>
              <a:gd name="T50" fmla="*/ 160 w 298"/>
              <a:gd name="T51" fmla="*/ 803 h 803"/>
              <a:gd name="T52" fmla="*/ 118 w 298"/>
              <a:gd name="T53" fmla="*/ 799 h 803"/>
              <a:gd name="T54" fmla="*/ 113 w 298"/>
              <a:gd name="T55" fmla="*/ 798 h 803"/>
              <a:gd name="T56" fmla="*/ 90 w 298"/>
              <a:gd name="T57" fmla="*/ 793 h 803"/>
              <a:gd name="T58" fmla="*/ 70 w 298"/>
              <a:gd name="T59" fmla="*/ 784 h 803"/>
              <a:gd name="T60" fmla="*/ 48 w 298"/>
              <a:gd name="T61" fmla="*/ 770 h 803"/>
              <a:gd name="T62" fmla="*/ 27 w 298"/>
              <a:gd name="T63" fmla="*/ 749 h 803"/>
              <a:gd name="T64" fmla="*/ 15 w 298"/>
              <a:gd name="T65" fmla="*/ 726 h 803"/>
              <a:gd name="T66" fmla="*/ 8 w 298"/>
              <a:gd name="T67" fmla="*/ 708 h 803"/>
              <a:gd name="T68" fmla="*/ 3 w 298"/>
              <a:gd name="T69" fmla="*/ 688 h 803"/>
              <a:gd name="T70" fmla="*/ 1 w 298"/>
              <a:gd name="T71" fmla="*/ 663 h 803"/>
              <a:gd name="T72" fmla="*/ 0 w 298"/>
              <a:gd name="T73" fmla="*/ 87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8" h="803">
                <a:moveTo>
                  <a:pt x="0" y="87"/>
                </a:moveTo>
                <a:lnTo>
                  <a:pt x="0" y="87"/>
                </a:lnTo>
                <a:lnTo>
                  <a:pt x="1" y="75"/>
                </a:lnTo>
                <a:lnTo>
                  <a:pt x="3" y="65"/>
                </a:lnTo>
                <a:lnTo>
                  <a:pt x="5" y="56"/>
                </a:lnTo>
                <a:lnTo>
                  <a:pt x="9" y="47"/>
                </a:lnTo>
                <a:lnTo>
                  <a:pt x="13" y="38"/>
                </a:lnTo>
                <a:lnTo>
                  <a:pt x="18" y="31"/>
                </a:lnTo>
                <a:lnTo>
                  <a:pt x="24" y="24"/>
                </a:lnTo>
                <a:lnTo>
                  <a:pt x="31" y="17"/>
                </a:lnTo>
                <a:lnTo>
                  <a:pt x="38" y="12"/>
                </a:lnTo>
                <a:lnTo>
                  <a:pt x="46" y="8"/>
                </a:lnTo>
                <a:lnTo>
                  <a:pt x="56" y="4"/>
                </a:lnTo>
                <a:lnTo>
                  <a:pt x="65" y="2"/>
                </a:lnTo>
                <a:lnTo>
                  <a:pt x="74" y="1"/>
                </a:lnTo>
                <a:lnTo>
                  <a:pt x="84" y="0"/>
                </a:lnTo>
                <a:lnTo>
                  <a:pt x="94" y="1"/>
                </a:lnTo>
                <a:lnTo>
                  <a:pt x="105" y="3"/>
                </a:lnTo>
                <a:lnTo>
                  <a:pt x="192" y="25"/>
                </a:lnTo>
                <a:lnTo>
                  <a:pt x="192" y="25"/>
                </a:lnTo>
                <a:lnTo>
                  <a:pt x="203" y="28"/>
                </a:lnTo>
                <a:lnTo>
                  <a:pt x="213" y="32"/>
                </a:lnTo>
                <a:lnTo>
                  <a:pt x="223" y="37"/>
                </a:lnTo>
                <a:lnTo>
                  <a:pt x="233" y="43"/>
                </a:lnTo>
                <a:lnTo>
                  <a:pt x="242" y="49"/>
                </a:lnTo>
                <a:lnTo>
                  <a:pt x="251" y="57"/>
                </a:lnTo>
                <a:lnTo>
                  <a:pt x="259" y="65"/>
                </a:lnTo>
                <a:lnTo>
                  <a:pt x="266" y="73"/>
                </a:lnTo>
                <a:lnTo>
                  <a:pt x="273" y="84"/>
                </a:lnTo>
                <a:lnTo>
                  <a:pt x="279" y="93"/>
                </a:lnTo>
                <a:lnTo>
                  <a:pt x="284" y="103"/>
                </a:lnTo>
                <a:lnTo>
                  <a:pt x="289" y="114"/>
                </a:lnTo>
                <a:lnTo>
                  <a:pt x="293" y="124"/>
                </a:lnTo>
                <a:lnTo>
                  <a:pt x="296" y="135"/>
                </a:lnTo>
                <a:lnTo>
                  <a:pt x="297" y="147"/>
                </a:lnTo>
                <a:lnTo>
                  <a:pt x="298" y="158"/>
                </a:lnTo>
                <a:lnTo>
                  <a:pt x="298" y="681"/>
                </a:lnTo>
                <a:lnTo>
                  <a:pt x="298" y="681"/>
                </a:lnTo>
                <a:lnTo>
                  <a:pt x="297" y="697"/>
                </a:lnTo>
                <a:lnTo>
                  <a:pt x="295" y="712"/>
                </a:lnTo>
                <a:lnTo>
                  <a:pt x="292" y="726"/>
                </a:lnTo>
                <a:lnTo>
                  <a:pt x="287" y="740"/>
                </a:lnTo>
                <a:lnTo>
                  <a:pt x="280" y="752"/>
                </a:lnTo>
                <a:lnTo>
                  <a:pt x="272" y="762"/>
                </a:lnTo>
                <a:lnTo>
                  <a:pt x="263" y="772"/>
                </a:lnTo>
                <a:lnTo>
                  <a:pt x="253" y="780"/>
                </a:lnTo>
                <a:lnTo>
                  <a:pt x="241" y="788"/>
                </a:lnTo>
                <a:lnTo>
                  <a:pt x="228" y="794"/>
                </a:lnTo>
                <a:lnTo>
                  <a:pt x="213" y="798"/>
                </a:lnTo>
                <a:lnTo>
                  <a:pt x="197" y="801"/>
                </a:lnTo>
                <a:lnTo>
                  <a:pt x="179" y="803"/>
                </a:lnTo>
                <a:lnTo>
                  <a:pt x="160" y="803"/>
                </a:lnTo>
                <a:lnTo>
                  <a:pt x="140" y="802"/>
                </a:lnTo>
                <a:lnTo>
                  <a:pt x="118" y="799"/>
                </a:lnTo>
                <a:lnTo>
                  <a:pt x="118" y="799"/>
                </a:lnTo>
                <a:lnTo>
                  <a:pt x="113" y="798"/>
                </a:lnTo>
                <a:lnTo>
                  <a:pt x="99" y="796"/>
                </a:lnTo>
                <a:lnTo>
                  <a:pt x="90" y="793"/>
                </a:lnTo>
                <a:lnTo>
                  <a:pt x="81" y="790"/>
                </a:lnTo>
                <a:lnTo>
                  <a:pt x="70" y="784"/>
                </a:lnTo>
                <a:lnTo>
                  <a:pt x="59" y="778"/>
                </a:lnTo>
                <a:lnTo>
                  <a:pt x="48" y="770"/>
                </a:lnTo>
                <a:lnTo>
                  <a:pt x="37" y="760"/>
                </a:lnTo>
                <a:lnTo>
                  <a:pt x="27" y="749"/>
                </a:lnTo>
                <a:lnTo>
                  <a:pt x="18" y="735"/>
                </a:lnTo>
                <a:lnTo>
                  <a:pt x="15" y="726"/>
                </a:lnTo>
                <a:lnTo>
                  <a:pt x="11" y="717"/>
                </a:lnTo>
                <a:lnTo>
                  <a:pt x="8" y="708"/>
                </a:lnTo>
                <a:lnTo>
                  <a:pt x="5" y="698"/>
                </a:lnTo>
                <a:lnTo>
                  <a:pt x="3" y="688"/>
                </a:lnTo>
                <a:lnTo>
                  <a:pt x="2" y="676"/>
                </a:lnTo>
                <a:lnTo>
                  <a:pt x="1" y="663"/>
                </a:lnTo>
                <a:lnTo>
                  <a:pt x="0" y="651"/>
                </a:lnTo>
                <a:lnTo>
                  <a:pt x="0" y="87"/>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5" name="Freeform 2090"/>
          <p:cNvSpPr>
            <a:spLocks/>
          </p:cNvSpPr>
          <p:nvPr/>
        </p:nvSpPr>
        <p:spPr bwMode="auto">
          <a:xfrm>
            <a:off x="10968040" y="2405064"/>
            <a:ext cx="906463" cy="936625"/>
          </a:xfrm>
          <a:custGeom>
            <a:avLst/>
            <a:gdLst>
              <a:gd name="T0" fmla="*/ 3423 w 3423"/>
              <a:gd name="T1" fmla="*/ 512 h 3538"/>
              <a:gd name="T2" fmla="*/ 3421 w 3423"/>
              <a:gd name="T3" fmla="*/ 490 h 3538"/>
              <a:gd name="T4" fmla="*/ 3414 w 3423"/>
              <a:gd name="T5" fmla="*/ 468 h 3538"/>
              <a:gd name="T6" fmla="*/ 3404 w 3423"/>
              <a:gd name="T7" fmla="*/ 449 h 3538"/>
              <a:gd name="T8" fmla="*/ 3392 w 3423"/>
              <a:gd name="T9" fmla="*/ 431 h 3538"/>
              <a:gd name="T10" fmla="*/ 3376 w 3423"/>
              <a:gd name="T11" fmla="*/ 415 h 3538"/>
              <a:gd name="T12" fmla="*/ 3357 w 3423"/>
              <a:gd name="T13" fmla="*/ 402 h 3538"/>
              <a:gd name="T14" fmla="*/ 3338 w 3423"/>
              <a:gd name="T15" fmla="*/ 393 h 3538"/>
              <a:gd name="T16" fmla="*/ 3317 w 3423"/>
              <a:gd name="T17" fmla="*/ 388 h 3538"/>
              <a:gd name="T18" fmla="*/ 106 w 3423"/>
              <a:gd name="T19" fmla="*/ 52 h 3538"/>
              <a:gd name="T20" fmla="*/ 96 w 3423"/>
              <a:gd name="T21" fmla="*/ 51 h 3538"/>
              <a:gd name="T22" fmla="*/ 75 w 3423"/>
              <a:gd name="T23" fmla="*/ 52 h 3538"/>
              <a:gd name="T24" fmla="*/ 56 w 3423"/>
              <a:gd name="T25" fmla="*/ 58 h 3538"/>
              <a:gd name="T26" fmla="*/ 39 w 3423"/>
              <a:gd name="T27" fmla="*/ 68 h 3538"/>
              <a:gd name="T28" fmla="*/ 25 w 3423"/>
              <a:gd name="T29" fmla="*/ 80 h 3538"/>
              <a:gd name="T30" fmla="*/ 13 w 3423"/>
              <a:gd name="T31" fmla="*/ 95 h 3538"/>
              <a:gd name="T32" fmla="*/ 5 w 3423"/>
              <a:gd name="T33" fmla="*/ 113 h 3538"/>
              <a:gd name="T34" fmla="*/ 0 w 3423"/>
              <a:gd name="T35" fmla="*/ 134 h 3538"/>
              <a:gd name="T36" fmla="*/ 0 w 3423"/>
              <a:gd name="T37" fmla="*/ 2551 h 3538"/>
              <a:gd name="T38" fmla="*/ 0 w 3423"/>
              <a:gd name="T39" fmla="*/ 2562 h 3538"/>
              <a:gd name="T40" fmla="*/ 4 w 3423"/>
              <a:gd name="T41" fmla="*/ 2584 h 3538"/>
              <a:gd name="T42" fmla="*/ 13 w 3423"/>
              <a:gd name="T43" fmla="*/ 2606 h 3538"/>
              <a:gd name="T44" fmla="*/ 24 w 3423"/>
              <a:gd name="T45" fmla="*/ 2626 h 3538"/>
              <a:gd name="T46" fmla="*/ 38 w 3423"/>
              <a:gd name="T47" fmla="*/ 2644 h 3538"/>
              <a:gd name="T48" fmla="*/ 54 w 3423"/>
              <a:gd name="T49" fmla="*/ 2661 h 3538"/>
              <a:gd name="T50" fmla="*/ 73 w 3423"/>
              <a:gd name="T51" fmla="*/ 2674 h 3538"/>
              <a:gd name="T52" fmla="*/ 93 w 3423"/>
              <a:gd name="T53" fmla="*/ 2684 h 3538"/>
              <a:gd name="T54" fmla="*/ 3175 w 3423"/>
              <a:gd name="T55" fmla="*/ 3535 h 3538"/>
              <a:gd name="T56" fmla="*/ 3182 w 3423"/>
              <a:gd name="T57" fmla="*/ 3538 h 3538"/>
              <a:gd name="T58" fmla="*/ 3202 w 3423"/>
              <a:gd name="T59" fmla="*/ 3538 h 3538"/>
              <a:gd name="T60" fmla="*/ 3238 w 3423"/>
              <a:gd name="T61" fmla="*/ 3531 h 3538"/>
              <a:gd name="T62" fmla="*/ 3278 w 3423"/>
              <a:gd name="T63" fmla="*/ 3519 h 3538"/>
              <a:gd name="T64" fmla="*/ 3321 w 3423"/>
              <a:gd name="T65" fmla="*/ 3502 h 3538"/>
              <a:gd name="T66" fmla="*/ 3360 w 3423"/>
              <a:gd name="T67" fmla="*/ 3482 h 3538"/>
              <a:gd name="T68" fmla="*/ 3392 w 3423"/>
              <a:gd name="T69" fmla="*/ 3459 h 3538"/>
              <a:gd name="T70" fmla="*/ 3410 w 3423"/>
              <a:gd name="T71" fmla="*/ 3441 h 3538"/>
              <a:gd name="T72" fmla="*/ 3418 w 3423"/>
              <a:gd name="T73" fmla="*/ 3430 h 3538"/>
              <a:gd name="T74" fmla="*/ 3423 w 3423"/>
              <a:gd name="T75" fmla="*/ 3417 h 3538"/>
              <a:gd name="T76" fmla="*/ 3423 w 3423"/>
              <a:gd name="T77" fmla="*/ 512 h 3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23" h="3538">
                <a:moveTo>
                  <a:pt x="3423" y="512"/>
                </a:moveTo>
                <a:lnTo>
                  <a:pt x="3423" y="512"/>
                </a:lnTo>
                <a:lnTo>
                  <a:pt x="3423" y="501"/>
                </a:lnTo>
                <a:lnTo>
                  <a:pt x="3421" y="490"/>
                </a:lnTo>
                <a:lnTo>
                  <a:pt x="3418" y="479"/>
                </a:lnTo>
                <a:lnTo>
                  <a:pt x="3414" y="468"/>
                </a:lnTo>
                <a:lnTo>
                  <a:pt x="3410" y="458"/>
                </a:lnTo>
                <a:lnTo>
                  <a:pt x="3404" y="449"/>
                </a:lnTo>
                <a:lnTo>
                  <a:pt x="3398" y="439"/>
                </a:lnTo>
                <a:lnTo>
                  <a:pt x="3392" y="431"/>
                </a:lnTo>
                <a:lnTo>
                  <a:pt x="3384" y="423"/>
                </a:lnTo>
                <a:lnTo>
                  <a:pt x="3376" y="415"/>
                </a:lnTo>
                <a:lnTo>
                  <a:pt x="3367" y="408"/>
                </a:lnTo>
                <a:lnTo>
                  <a:pt x="3357" y="402"/>
                </a:lnTo>
                <a:lnTo>
                  <a:pt x="3348" y="397"/>
                </a:lnTo>
                <a:lnTo>
                  <a:pt x="3338" y="393"/>
                </a:lnTo>
                <a:lnTo>
                  <a:pt x="3327" y="390"/>
                </a:lnTo>
                <a:lnTo>
                  <a:pt x="3317" y="388"/>
                </a:lnTo>
                <a:lnTo>
                  <a:pt x="341" y="0"/>
                </a:lnTo>
                <a:lnTo>
                  <a:pt x="106" y="52"/>
                </a:lnTo>
                <a:lnTo>
                  <a:pt x="106" y="52"/>
                </a:lnTo>
                <a:lnTo>
                  <a:pt x="96" y="51"/>
                </a:lnTo>
                <a:lnTo>
                  <a:pt x="85" y="51"/>
                </a:lnTo>
                <a:lnTo>
                  <a:pt x="75" y="52"/>
                </a:lnTo>
                <a:lnTo>
                  <a:pt x="65" y="54"/>
                </a:lnTo>
                <a:lnTo>
                  <a:pt x="56" y="58"/>
                </a:lnTo>
                <a:lnTo>
                  <a:pt x="47" y="62"/>
                </a:lnTo>
                <a:lnTo>
                  <a:pt x="39" y="68"/>
                </a:lnTo>
                <a:lnTo>
                  <a:pt x="32" y="73"/>
                </a:lnTo>
                <a:lnTo>
                  <a:pt x="25" y="80"/>
                </a:lnTo>
                <a:lnTo>
                  <a:pt x="19" y="87"/>
                </a:lnTo>
                <a:lnTo>
                  <a:pt x="13" y="95"/>
                </a:lnTo>
                <a:lnTo>
                  <a:pt x="8" y="104"/>
                </a:lnTo>
                <a:lnTo>
                  <a:pt x="5" y="113"/>
                </a:lnTo>
                <a:lnTo>
                  <a:pt x="2" y="124"/>
                </a:lnTo>
                <a:lnTo>
                  <a:pt x="0" y="134"/>
                </a:lnTo>
                <a:lnTo>
                  <a:pt x="0" y="145"/>
                </a:lnTo>
                <a:lnTo>
                  <a:pt x="0" y="2551"/>
                </a:lnTo>
                <a:lnTo>
                  <a:pt x="0" y="2551"/>
                </a:lnTo>
                <a:lnTo>
                  <a:pt x="0" y="2562"/>
                </a:lnTo>
                <a:lnTo>
                  <a:pt x="2" y="2573"/>
                </a:lnTo>
                <a:lnTo>
                  <a:pt x="4" y="2584"/>
                </a:lnTo>
                <a:lnTo>
                  <a:pt x="8" y="2596"/>
                </a:lnTo>
                <a:lnTo>
                  <a:pt x="13" y="2606"/>
                </a:lnTo>
                <a:lnTo>
                  <a:pt x="18" y="2616"/>
                </a:lnTo>
                <a:lnTo>
                  <a:pt x="24" y="2626"/>
                </a:lnTo>
                <a:lnTo>
                  <a:pt x="31" y="2636"/>
                </a:lnTo>
                <a:lnTo>
                  <a:pt x="38" y="2644"/>
                </a:lnTo>
                <a:lnTo>
                  <a:pt x="46" y="2654"/>
                </a:lnTo>
                <a:lnTo>
                  <a:pt x="54" y="2661"/>
                </a:lnTo>
                <a:lnTo>
                  <a:pt x="63" y="2668"/>
                </a:lnTo>
                <a:lnTo>
                  <a:pt x="73" y="2674"/>
                </a:lnTo>
                <a:lnTo>
                  <a:pt x="83" y="2680"/>
                </a:lnTo>
                <a:lnTo>
                  <a:pt x="93" y="2684"/>
                </a:lnTo>
                <a:lnTo>
                  <a:pt x="103" y="2688"/>
                </a:lnTo>
                <a:lnTo>
                  <a:pt x="3175" y="3535"/>
                </a:lnTo>
                <a:lnTo>
                  <a:pt x="3175" y="3535"/>
                </a:lnTo>
                <a:lnTo>
                  <a:pt x="3182" y="3538"/>
                </a:lnTo>
                <a:lnTo>
                  <a:pt x="3188" y="3538"/>
                </a:lnTo>
                <a:lnTo>
                  <a:pt x="3202" y="3538"/>
                </a:lnTo>
                <a:lnTo>
                  <a:pt x="3219" y="3535"/>
                </a:lnTo>
                <a:lnTo>
                  <a:pt x="3238" y="3531"/>
                </a:lnTo>
                <a:lnTo>
                  <a:pt x="3258" y="3526"/>
                </a:lnTo>
                <a:lnTo>
                  <a:pt x="3278" y="3519"/>
                </a:lnTo>
                <a:lnTo>
                  <a:pt x="3300" y="3511"/>
                </a:lnTo>
                <a:lnTo>
                  <a:pt x="3321" y="3502"/>
                </a:lnTo>
                <a:lnTo>
                  <a:pt x="3340" y="3492"/>
                </a:lnTo>
                <a:lnTo>
                  <a:pt x="3360" y="3482"/>
                </a:lnTo>
                <a:lnTo>
                  <a:pt x="3377" y="3470"/>
                </a:lnTo>
                <a:lnTo>
                  <a:pt x="3392" y="3459"/>
                </a:lnTo>
                <a:lnTo>
                  <a:pt x="3405" y="3447"/>
                </a:lnTo>
                <a:lnTo>
                  <a:pt x="3410" y="3441"/>
                </a:lnTo>
                <a:lnTo>
                  <a:pt x="3414" y="3435"/>
                </a:lnTo>
                <a:lnTo>
                  <a:pt x="3418" y="3430"/>
                </a:lnTo>
                <a:lnTo>
                  <a:pt x="3421" y="3424"/>
                </a:lnTo>
                <a:lnTo>
                  <a:pt x="3423" y="3417"/>
                </a:lnTo>
                <a:lnTo>
                  <a:pt x="3423" y="3412"/>
                </a:lnTo>
                <a:lnTo>
                  <a:pt x="3423" y="512"/>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6" name="Freeform 2091"/>
          <p:cNvSpPr>
            <a:spLocks/>
          </p:cNvSpPr>
          <p:nvPr/>
        </p:nvSpPr>
        <p:spPr bwMode="auto">
          <a:xfrm>
            <a:off x="10968040" y="2421883"/>
            <a:ext cx="868363" cy="922338"/>
          </a:xfrm>
          <a:custGeom>
            <a:avLst/>
            <a:gdLst>
              <a:gd name="T0" fmla="*/ 3278 w 3278"/>
              <a:gd name="T1" fmla="*/ 577 h 3489"/>
              <a:gd name="T2" fmla="*/ 3276 w 3278"/>
              <a:gd name="T3" fmla="*/ 555 h 3489"/>
              <a:gd name="T4" fmla="*/ 3270 w 3278"/>
              <a:gd name="T5" fmla="*/ 533 h 3489"/>
              <a:gd name="T6" fmla="*/ 3260 w 3278"/>
              <a:gd name="T7" fmla="*/ 514 h 3489"/>
              <a:gd name="T8" fmla="*/ 3248 w 3278"/>
              <a:gd name="T9" fmla="*/ 496 h 3489"/>
              <a:gd name="T10" fmla="*/ 3231 w 3278"/>
              <a:gd name="T11" fmla="*/ 480 h 3489"/>
              <a:gd name="T12" fmla="*/ 3213 w 3278"/>
              <a:gd name="T13" fmla="*/ 467 h 3489"/>
              <a:gd name="T14" fmla="*/ 3194 w 3278"/>
              <a:gd name="T15" fmla="*/ 458 h 3489"/>
              <a:gd name="T16" fmla="*/ 3172 w 3278"/>
              <a:gd name="T17" fmla="*/ 453 h 3489"/>
              <a:gd name="T18" fmla="*/ 106 w 3278"/>
              <a:gd name="T19" fmla="*/ 1 h 3489"/>
              <a:gd name="T20" fmla="*/ 85 w 3278"/>
              <a:gd name="T21" fmla="*/ 0 h 3489"/>
              <a:gd name="T22" fmla="*/ 65 w 3278"/>
              <a:gd name="T23" fmla="*/ 3 h 3489"/>
              <a:gd name="T24" fmla="*/ 47 w 3278"/>
              <a:gd name="T25" fmla="*/ 11 h 3489"/>
              <a:gd name="T26" fmla="*/ 32 w 3278"/>
              <a:gd name="T27" fmla="*/ 22 h 3489"/>
              <a:gd name="T28" fmla="*/ 19 w 3278"/>
              <a:gd name="T29" fmla="*/ 36 h 3489"/>
              <a:gd name="T30" fmla="*/ 8 w 3278"/>
              <a:gd name="T31" fmla="*/ 53 h 3489"/>
              <a:gd name="T32" fmla="*/ 2 w 3278"/>
              <a:gd name="T33" fmla="*/ 73 h 3489"/>
              <a:gd name="T34" fmla="*/ 0 w 3278"/>
              <a:gd name="T35" fmla="*/ 94 h 3489"/>
              <a:gd name="T36" fmla="*/ 0 w 3278"/>
              <a:gd name="T37" fmla="*/ 2500 h 3489"/>
              <a:gd name="T38" fmla="*/ 2 w 3278"/>
              <a:gd name="T39" fmla="*/ 2522 h 3489"/>
              <a:gd name="T40" fmla="*/ 8 w 3278"/>
              <a:gd name="T41" fmla="*/ 2545 h 3489"/>
              <a:gd name="T42" fmla="*/ 18 w 3278"/>
              <a:gd name="T43" fmla="*/ 2565 h 3489"/>
              <a:gd name="T44" fmla="*/ 31 w 3278"/>
              <a:gd name="T45" fmla="*/ 2585 h 3489"/>
              <a:gd name="T46" fmla="*/ 46 w 3278"/>
              <a:gd name="T47" fmla="*/ 2603 h 3489"/>
              <a:gd name="T48" fmla="*/ 63 w 3278"/>
              <a:gd name="T49" fmla="*/ 2617 h 3489"/>
              <a:gd name="T50" fmla="*/ 83 w 3278"/>
              <a:gd name="T51" fmla="*/ 2629 h 3489"/>
              <a:gd name="T52" fmla="*/ 103 w 3278"/>
              <a:gd name="T53" fmla="*/ 2637 h 3489"/>
              <a:gd name="T54" fmla="*/ 3175 w 3278"/>
              <a:gd name="T55" fmla="*/ 3484 h 3489"/>
              <a:gd name="T56" fmla="*/ 3196 w 3278"/>
              <a:gd name="T57" fmla="*/ 3489 h 3489"/>
              <a:gd name="T58" fmla="*/ 3215 w 3278"/>
              <a:gd name="T59" fmla="*/ 3488 h 3489"/>
              <a:gd name="T60" fmla="*/ 3233 w 3278"/>
              <a:gd name="T61" fmla="*/ 3482 h 3489"/>
              <a:gd name="T62" fmla="*/ 3249 w 3278"/>
              <a:gd name="T63" fmla="*/ 3473 h 3489"/>
              <a:gd name="T64" fmla="*/ 3261 w 3278"/>
              <a:gd name="T65" fmla="*/ 3460 h 3489"/>
              <a:gd name="T66" fmla="*/ 3270 w 3278"/>
              <a:gd name="T67" fmla="*/ 3445 h 3489"/>
              <a:gd name="T68" fmla="*/ 3276 w 3278"/>
              <a:gd name="T69" fmla="*/ 3426 h 3489"/>
              <a:gd name="T70" fmla="*/ 3278 w 3278"/>
              <a:gd name="T71" fmla="*/ 3405 h 3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78" h="3489">
                <a:moveTo>
                  <a:pt x="3278" y="577"/>
                </a:moveTo>
                <a:lnTo>
                  <a:pt x="3278" y="577"/>
                </a:lnTo>
                <a:lnTo>
                  <a:pt x="3278" y="566"/>
                </a:lnTo>
                <a:lnTo>
                  <a:pt x="3276" y="555"/>
                </a:lnTo>
                <a:lnTo>
                  <a:pt x="3274" y="544"/>
                </a:lnTo>
                <a:lnTo>
                  <a:pt x="3270" y="533"/>
                </a:lnTo>
                <a:lnTo>
                  <a:pt x="3266" y="523"/>
                </a:lnTo>
                <a:lnTo>
                  <a:pt x="3260" y="514"/>
                </a:lnTo>
                <a:lnTo>
                  <a:pt x="3254" y="505"/>
                </a:lnTo>
                <a:lnTo>
                  <a:pt x="3248" y="496"/>
                </a:lnTo>
                <a:lnTo>
                  <a:pt x="3240" y="488"/>
                </a:lnTo>
                <a:lnTo>
                  <a:pt x="3231" y="480"/>
                </a:lnTo>
                <a:lnTo>
                  <a:pt x="3222" y="473"/>
                </a:lnTo>
                <a:lnTo>
                  <a:pt x="3213" y="467"/>
                </a:lnTo>
                <a:lnTo>
                  <a:pt x="3204" y="462"/>
                </a:lnTo>
                <a:lnTo>
                  <a:pt x="3194" y="458"/>
                </a:lnTo>
                <a:lnTo>
                  <a:pt x="3183" y="455"/>
                </a:lnTo>
                <a:lnTo>
                  <a:pt x="3172" y="453"/>
                </a:lnTo>
                <a:lnTo>
                  <a:pt x="106" y="1"/>
                </a:lnTo>
                <a:lnTo>
                  <a:pt x="106" y="1"/>
                </a:lnTo>
                <a:lnTo>
                  <a:pt x="96" y="0"/>
                </a:lnTo>
                <a:lnTo>
                  <a:pt x="85" y="0"/>
                </a:lnTo>
                <a:lnTo>
                  <a:pt x="75" y="1"/>
                </a:lnTo>
                <a:lnTo>
                  <a:pt x="65" y="3"/>
                </a:lnTo>
                <a:lnTo>
                  <a:pt x="56" y="7"/>
                </a:lnTo>
                <a:lnTo>
                  <a:pt x="47" y="11"/>
                </a:lnTo>
                <a:lnTo>
                  <a:pt x="39" y="17"/>
                </a:lnTo>
                <a:lnTo>
                  <a:pt x="32" y="22"/>
                </a:lnTo>
                <a:lnTo>
                  <a:pt x="25" y="29"/>
                </a:lnTo>
                <a:lnTo>
                  <a:pt x="19" y="36"/>
                </a:lnTo>
                <a:lnTo>
                  <a:pt x="13" y="44"/>
                </a:lnTo>
                <a:lnTo>
                  <a:pt x="8" y="53"/>
                </a:lnTo>
                <a:lnTo>
                  <a:pt x="5" y="62"/>
                </a:lnTo>
                <a:lnTo>
                  <a:pt x="2" y="73"/>
                </a:lnTo>
                <a:lnTo>
                  <a:pt x="0" y="83"/>
                </a:lnTo>
                <a:lnTo>
                  <a:pt x="0" y="94"/>
                </a:lnTo>
                <a:lnTo>
                  <a:pt x="0" y="2500"/>
                </a:lnTo>
                <a:lnTo>
                  <a:pt x="0" y="2500"/>
                </a:lnTo>
                <a:lnTo>
                  <a:pt x="0" y="2511"/>
                </a:lnTo>
                <a:lnTo>
                  <a:pt x="2" y="2522"/>
                </a:lnTo>
                <a:lnTo>
                  <a:pt x="4" y="2533"/>
                </a:lnTo>
                <a:lnTo>
                  <a:pt x="8" y="2545"/>
                </a:lnTo>
                <a:lnTo>
                  <a:pt x="13" y="2555"/>
                </a:lnTo>
                <a:lnTo>
                  <a:pt x="18" y="2565"/>
                </a:lnTo>
                <a:lnTo>
                  <a:pt x="24" y="2575"/>
                </a:lnTo>
                <a:lnTo>
                  <a:pt x="31" y="2585"/>
                </a:lnTo>
                <a:lnTo>
                  <a:pt x="38" y="2593"/>
                </a:lnTo>
                <a:lnTo>
                  <a:pt x="46" y="2603"/>
                </a:lnTo>
                <a:lnTo>
                  <a:pt x="54" y="2610"/>
                </a:lnTo>
                <a:lnTo>
                  <a:pt x="63" y="2617"/>
                </a:lnTo>
                <a:lnTo>
                  <a:pt x="73" y="2623"/>
                </a:lnTo>
                <a:lnTo>
                  <a:pt x="83" y="2629"/>
                </a:lnTo>
                <a:lnTo>
                  <a:pt x="93" y="2633"/>
                </a:lnTo>
                <a:lnTo>
                  <a:pt x="103" y="2637"/>
                </a:lnTo>
                <a:lnTo>
                  <a:pt x="3175" y="3484"/>
                </a:lnTo>
                <a:lnTo>
                  <a:pt x="3175" y="3484"/>
                </a:lnTo>
                <a:lnTo>
                  <a:pt x="3186" y="3488"/>
                </a:lnTo>
                <a:lnTo>
                  <a:pt x="3196" y="3489"/>
                </a:lnTo>
                <a:lnTo>
                  <a:pt x="3206" y="3489"/>
                </a:lnTo>
                <a:lnTo>
                  <a:pt x="3215" y="3488"/>
                </a:lnTo>
                <a:lnTo>
                  <a:pt x="3224" y="3486"/>
                </a:lnTo>
                <a:lnTo>
                  <a:pt x="3233" y="3482"/>
                </a:lnTo>
                <a:lnTo>
                  <a:pt x="3241" y="3478"/>
                </a:lnTo>
                <a:lnTo>
                  <a:pt x="3249" y="3473"/>
                </a:lnTo>
                <a:lnTo>
                  <a:pt x="3255" y="3467"/>
                </a:lnTo>
                <a:lnTo>
                  <a:pt x="3261" y="3460"/>
                </a:lnTo>
                <a:lnTo>
                  <a:pt x="3266" y="3453"/>
                </a:lnTo>
                <a:lnTo>
                  <a:pt x="3270" y="3445"/>
                </a:lnTo>
                <a:lnTo>
                  <a:pt x="3274" y="3436"/>
                </a:lnTo>
                <a:lnTo>
                  <a:pt x="3276" y="3426"/>
                </a:lnTo>
                <a:lnTo>
                  <a:pt x="3278" y="3415"/>
                </a:lnTo>
                <a:lnTo>
                  <a:pt x="3278" y="3405"/>
                </a:lnTo>
                <a:lnTo>
                  <a:pt x="3278" y="577"/>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7" name="Freeform 2092"/>
          <p:cNvSpPr>
            <a:spLocks/>
          </p:cNvSpPr>
          <p:nvPr/>
        </p:nvSpPr>
        <p:spPr bwMode="auto">
          <a:xfrm>
            <a:off x="11006140" y="2459038"/>
            <a:ext cx="792163" cy="838200"/>
          </a:xfrm>
          <a:custGeom>
            <a:avLst/>
            <a:gdLst>
              <a:gd name="T0" fmla="*/ 6 w 2989"/>
              <a:gd name="T1" fmla="*/ 2344 h 3168"/>
              <a:gd name="T2" fmla="*/ 6 w 2989"/>
              <a:gd name="T3" fmla="*/ 2344 h 3168"/>
              <a:gd name="T4" fmla="*/ 3 w 2989"/>
              <a:gd name="T5" fmla="*/ 2340 h 3168"/>
              <a:gd name="T6" fmla="*/ 0 w 2989"/>
              <a:gd name="T7" fmla="*/ 2336 h 3168"/>
              <a:gd name="T8" fmla="*/ 0 w 2989"/>
              <a:gd name="T9" fmla="*/ 0 h 3168"/>
              <a:gd name="T10" fmla="*/ 2989 w 2989"/>
              <a:gd name="T11" fmla="*/ 440 h 3168"/>
              <a:gd name="T12" fmla="*/ 2989 w 2989"/>
              <a:gd name="T13" fmla="*/ 3168 h 3168"/>
              <a:gd name="T14" fmla="*/ 6 w 2989"/>
              <a:gd name="T15" fmla="*/ 2344 h 3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89" h="3168">
                <a:moveTo>
                  <a:pt x="6" y="2344"/>
                </a:moveTo>
                <a:lnTo>
                  <a:pt x="6" y="2344"/>
                </a:lnTo>
                <a:lnTo>
                  <a:pt x="3" y="2340"/>
                </a:lnTo>
                <a:lnTo>
                  <a:pt x="0" y="2336"/>
                </a:lnTo>
                <a:lnTo>
                  <a:pt x="0" y="0"/>
                </a:lnTo>
                <a:lnTo>
                  <a:pt x="2989" y="440"/>
                </a:lnTo>
                <a:lnTo>
                  <a:pt x="2989" y="3168"/>
                </a:lnTo>
                <a:lnTo>
                  <a:pt x="6" y="2344"/>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8" name="Freeform 2093"/>
          <p:cNvSpPr>
            <a:spLocks/>
          </p:cNvSpPr>
          <p:nvPr/>
        </p:nvSpPr>
        <p:spPr bwMode="auto">
          <a:xfrm>
            <a:off x="9358315" y="2665413"/>
            <a:ext cx="258763" cy="158750"/>
          </a:xfrm>
          <a:prstGeom prst="round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9" name="Freeform 2094"/>
          <p:cNvSpPr>
            <a:spLocks/>
          </p:cNvSpPr>
          <p:nvPr/>
        </p:nvSpPr>
        <p:spPr bwMode="auto">
          <a:xfrm>
            <a:off x="9382126" y="2695576"/>
            <a:ext cx="96838" cy="98425"/>
          </a:xfrm>
          <a:custGeom>
            <a:avLst/>
            <a:gdLst>
              <a:gd name="T0" fmla="*/ 370 w 370"/>
              <a:gd name="T1" fmla="*/ 185 h 370"/>
              <a:gd name="T2" fmla="*/ 366 w 370"/>
              <a:gd name="T3" fmla="*/ 148 h 370"/>
              <a:gd name="T4" fmla="*/ 356 w 370"/>
              <a:gd name="T5" fmla="*/ 113 h 370"/>
              <a:gd name="T6" fmla="*/ 339 w 370"/>
              <a:gd name="T7" fmla="*/ 81 h 370"/>
              <a:gd name="T8" fmla="*/ 316 w 370"/>
              <a:gd name="T9" fmla="*/ 54 h 370"/>
              <a:gd name="T10" fmla="*/ 289 w 370"/>
              <a:gd name="T11" fmla="*/ 32 h 370"/>
              <a:gd name="T12" fmla="*/ 257 w 370"/>
              <a:gd name="T13" fmla="*/ 14 h 370"/>
              <a:gd name="T14" fmla="*/ 223 w 370"/>
              <a:gd name="T15" fmla="*/ 4 h 370"/>
              <a:gd name="T16" fmla="*/ 185 w 370"/>
              <a:gd name="T17" fmla="*/ 0 h 370"/>
              <a:gd name="T18" fmla="*/ 166 w 370"/>
              <a:gd name="T19" fmla="*/ 1 h 370"/>
              <a:gd name="T20" fmla="*/ 130 w 370"/>
              <a:gd name="T21" fmla="*/ 8 h 370"/>
              <a:gd name="T22" fmla="*/ 97 w 370"/>
              <a:gd name="T23" fmla="*/ 22 h 370"/>
              <a:gd name="T24" fmla="*/ 67 w 370"/>
              <a:gd name="T25" fmla="*/ 42 h 370"/>
              <a:gd name="T26" fmla="*/ 43 w 370"/>
              <a:gd name="T27" fmla="*/ 67 h 370"/>
              <a:gd name="T28" fmla="*/ 22 w 370"/>
              <a:gd name="T29" fmla="*/ 97 h 370"/>
              <a:gd name="T30" fmla="*/ 8 w 370"/>
              <a:gd name="T31" fmla="*/ 130 h 370"/>
              <a:gd name="T32" fmla="*/ 1 w 370"/>
              <a:gd name="T33" fmla="*/ 166 h 370"/>
              <a:gd name="T34" fmla="*/ 0 w 370"/>
              <a:gd name="T35" fmla="*/ 185 h 370"/>
              <a:gd name="T36" fmla="*/ 4 w 370"/>
              <a:gd name="T37" fmla="*/ 222 h 370"/>
              <a:gd name="T38" fmla="*/ 14 w 370"/>
              <a:gd name="T39" fmla="*/ 257 h 370"/>
              <a:gd name="T40" fmla="*/ 32 w 370"/>
              <a:gd name="T41" fmla="*/ 289 h 370"/>
              <a:gd name="T42" fmla="*/ 54 w 370"/>
              <a:gd name="T43" fmla="*/ 315 h 370"/>
              <a:gd name="T44" fmla="*/ 81 w 370"/>
              <a:gd name="T45" fmla="*/ 339 h 370"/>
              <a:gd name="T46" fmla="*/ 113 w 370"/>
              <a:gd name="T47" fmla="*/ 355 h 370"/>
              <a:gd name="T48" fmla="*/ 147 w 370"/>
              <a:gd name="T49" fmla="*/ 366 h 370"/>
              <a:gd name="T50" fmla="*/ 185 w 370"/>
              <a:gd name="T51" fmla="*/ 370 h 370"/>
              <a:gd name="T52" fmla="*/ 204 w 370"/>
              <a:gd name="T53" fmla="*/ 369 h 370"/>
              <a:gd name="T54" fmla="*/ 240 w 370"/>
              <a:gd name="T55" fmla="*/ 362 h 370"/>
              <a:gd name="T56" fmla="*/ 274 w 370"/>
              <a:gd name="T57" fmla="*/ 348 h 370"/>
              <a:gd name="T58" fmla="*/ 303 w 370"/>
              <a:gd name="T59" fmla="*/ 328 h 370"/>
              <a:gd name="T60" fmla="*/ 327 w 370"/>
              <a:gd name="T61" fmla="*/ 303 h 370"/>
              <a:gd name="T62" fmla="*/ 348 w 370"/>
              <a:gd name="T63" fmla="*/ 274 h 370"/>
              <a:gd name="T64" fmla="*/ 362 w 370"/>
              <a:gd name="T65" fmla="*/ 240 h 370"/>
              <a:gd name="T66" fmla="*/ 369 w 370"/>
              <a:gd name="T67" fmla="*/ 204 h 370"/>
              <a:gd name="T68" fmla="*/ 370 w 370"/>
              <a:gd name="T69" fmla="*/ 185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0" h="370">
                <a:moveTo>
                  <a:pt x="370" y="185"/>
                </a:moveTo>
                <a:lnTo>
                  <a:pt x="370" y="185"/>
                </a:lnTo>
                <a:lnTo>
                  <a:pt x="369" y="166"/>
                </a:lnTo>
                <a:lnTo>
                  <a:pt x="366" y="148"/>
                </a:lnTo>
                <a:lnTo>
                  <a:pt x="362" y="130"/>
                </a:lnTo>
                <a:lnTo>
                  <a:pt x="356" y="113"/>
                </a:lnTo>
                <a:lnTo>
                  <a:pt x="348" y="97"/>
                </a:lnTo>
                <a:lnTo>
                  <a:pt x="339" y="81"/>
                </a:lnTo>
                <a:lnTo>
                  <a:pt x="327" y="67"/>
                </a:lnTo>
                <a:lnTo>
                  <a:pt x="316" y="54"/>
                </a:lnTo>
                <a:lnTo>
                  <a:pt x="303" y="42"/>
                </a:lnTo>
                <a:lnTo>
                  <a:pt x="289" y="32"/>
                </a:lnTo>
                <a:lnTo>
                  <a:pt x="274" y="22"/>
                </a:lnTo>
                <a:lnTo>
                  <a:pt x="257" y="14"/>
                </a:lnTo>
                <a:lnTo>
                  <a:pt x="240" y="8"/>
                </a:lnTo>
                <a:lnTo>
                  <a:pt x="223" y="4"/>
                </a:lnTo>
                <a:lnTo>
                  <a:pt x="204" y="1"/>
                </a:lnTo>
                <a:lnTo>
                  <a:pt x="185" y="0"/>
                </a:lnTo>
                <a:lnTo>
                  <a:pt x="185" y="0"/>
                </a:lnTo>
                <a:lnTo>
                  <a:pt x="166" y="1"/>
                </a:lnTo>
                <a:lnTo>
                  <a:pt x="147" y="4"/>
                </a:lnTo>
                <a:lnTo>
                  <a:pt x="130" y="8"/>
                </a:lnTo>
                <a:lnTo>
                  <a:pt x="113" y="14"/>
                </a:lnTo>
                <a:lnTo>
                  <a:pt x="97" y="22"/>
                </a:lnTo>
                <a:lnTo>
                  <a:pt x="81" y="32"/>
                </a:lnTo>
                <a:lnTo>
                  <a:pt x="67" y="42"/>
                </a:lnTo>
                <a:lnTo>
                  <a:pt x="54" y="54"/>
                </a:lnTo>
                <a:lnTo>
                  <a:pt x="43" y="67"/>
                </a:lnTo>
                <a:lnTo>
                  <a:pt x="32" y="81"/>
                </a:lnTo>
                <a:lnTo>
                  <a:pt x="22" y="97"/>
                </a:lnTo>
                <a:lnTo>
                  <a:pt x="14" y="113"/>
                </a:lnTo>
                <a:lnTo>
                  <a:pt x="8" y="130"/>
                </a:lnTo>
                <a:lnTo>
                  <a:pt x="4" y="148"/>
                </a:lnTo>
                <a:lnTo>
                  <a:pt x="1" y="166"/>
                </a:lnTo>
                <a:lnTo>
                  <a:pt x="0" y="185"/>
                </a:lnTo>
                <a:lnTo>
                  <a:pt x="0" y="185"/>
                </a:lnTo>
                <a:lnTo>
                  <a:pt x="1" y="204"/>
                </a:lnTo>
                <a:lnTo>
                  <a:pt x="4" y="222"/>
                </a:lnTo>
                <a:lnTo>
                  <a:pt x="8" y="240"/>
                </a:lnTo>
                <a:lnTo>
                  <a:pt x="14" y="257"/>
                </a:lnTo>
                <a:lnTo>
                  <a:pt x="22" y="274"/>
                </a:lnTo>
                <a:lnTo>
                  <a:pt x="32" y="289"/>
                </a:lnTo>
                <a:lnTo>
                  <a:pt x="43" y="303"/>
                </a:lnTo>
                <a:lnTo>
                  <a:pt x="54" y="315"/>
                </a:lnTo>
                <a:lnTo>
                  <a:pt x="67" y="328"/>
                </a:lnTo>
                <a:lnTo>
                  <a:pt x="81" y="339"/>
                </a:lnTo>
                <a:lnTo>
                  <a:pt x="97" y="348"/>
                </a:lnTo>
                <a:lnTo>
                  <a:pt x="113" y="355"/>
                </a:lnTo>
                <a:lnTo>
                  <a:pt x="130" y="362"/>
                </a:lnTo>
                <a:lnTo>
                  <a:pt x="147" y="366"/>
                </a:lnTo>
                <a:lnTo>
                  <a:pt x="166" y="369"/>
                </a:lnTo>
                <a:lnTo>
                  <a:pt x="185" y="370"/>
                </a:lnTo>
                <a:lnTo>
                  <a:pt x="185" y="370"/>
                </a:lnTo>
                <a:lnTo>
                  <a:pt x="204" y="369"/>
                </a:lnTo>
                <a:lnTo>
                  <a:pt x="223" y="366"/>
                </a:lnTo>
                <a:lnTo>
                  <a:pt x="240" y="362"/>
                </a:lnTo>
                <a:lnTo>
                  <a:pt x="257" y="355"/>
                </a:lnTo>
                <a:lnTo>
                  <a:pt x="274" y="348"/>
                </a:lnTo>
                <a:lnTo>
                  <a:pt x="289" y="339"/>
                </a:lnTo>
                <a:lnTo>
                  <a:pt x="303" y="328"/>
                </a:lnTo>
                <a:lnTo>
                  <a:pt x="316" y="315"/>
                </a:lnTo>
                <a:lnTo>
                  <a:pt x="327" y="303"/>
                </a:lnTo>
                <a:lnTo>
                  <a:pt x="339" y="289"/>
                </a:lnTo>
                <a:lnTo>
                  <a:pt x="348" y="274"/>
                </a:lnTo>
                <a:lnTo>
                  <a:pt x="356" y="257"/>
                </a:lnTo>
                <a:lnTo>
                  <a:pt x="362" y="240"/>
                </a:lnTo>
                <a:lnTo>
                  <a:pt x="366" y="222"/>
                </a:lnTo>
                <a:lnTo>
                  <a:pt x="369" y="204"/>
                </a:lnTo>
                <a:lnTo>
                  <a:pt x="370" y="185"/>
                </a:lnTo>
                <a:lnTo>
                  <a:pt x="370" y="185"/>
                </a:lnTo>
                <a:close/>
              </a:path>
            </a:pathLst>
          </a:custGeom>
          <a:pattFill prst="lgConfetti">
            <a:fgClr>
              <a:srgbClr val="025666"/>
            </a:fgClr>
            <a:bgClr>
              <a:schemeClr val="accent5">
                <a:lumMod val="75000"/>
              </a:schemeClr>
            </a:bgClr>
          </a:patt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0" name="Freeform 2095"/>
          <p:cNvSpPr>
            <a:spLocks/>
          </p:cNvSpPr>
          <p:nvPr/>
        </p:nvSpPr>
        <p:spPr bwMode="auto">
          <a:xfrm>
            <a:off x="9504365" y="2692401"/>
            <a:ext cx="80963" cy="104775"/>
          </a:xfrm>
          <a:custGeom>
            <a:avLst/>
            <a:gdLst>
              <a:gd name="T0" fmla="*/ 304 w 304"/>
              <a:gd name="T1" fmla="*/ 360 h 396"/>
              <a:gd name="T2" fmla="*/ 304 w 304"/>
              <a:gd name="T3" fmla="*/ 360 h 396"/>
              <a:gd name="T4" fmla="*/ 304 w 304"/>
              <a:gd name="T5" fmla="*/ 367 h 396"/>
              <a:gd name="T6" fmla="*/ 303 w 304"/>
              <a:gd name="T7" fmla="*/ 373 h 396"/>
              <a:gd name="T8" fmla="*/ 301 w 304"/>
              <a:gd name="T9" fmla="*/ 378 h 396"/>
              <a:gd name="T10" fmla="*/ 299 w 304"/>
              <a:gd name="T11" fmla="*/ 382 h 396"/>
              <a:gd name="T12" fmla="*/ 296 w 304"/>
              <a:gd name="T13" fmla="*/ 385 h 396"/>
              <a:gd name="T14" fmla="*/ 292 w 304"/>
              <a:gd name="T15" fmla="*/ 388 h 396"/>
              <a:gd name="T16" fmla="*/ 288 w 304"/>
              <a:gd name="T17" fmla="*/ 390 h 396"/>
              <a:gd name="T18" fmla="*/ 283 w 304"/>
              <a:gd name="T19" fmla="*/ 392 h 396"/>
              <a:gd name="T20" fmla="*/ 272 w 304"/>
              <a:gd name="T21" fmla="*/ 395 h 396"/>
              <a:gd name="T22" fmla="*/ 260 w 304"/>
              <a:gd name="T23" fmla="*/ 396 h 396"/>
              <a:gd name="T24" fmla="*/ 232 w 304"/>
              <a:gd name="T25" fmla="*/ 396 h 396"/>
              <a:gd name="T26" fmla="*/ 72 w 304"/>
              <a:gd name="T27" fmla="*/ 396 h 396"/>
              <a:gd name="T28" fmla="*/ 72 w 304"/>
              <a:gd name="T29" fmla="*/ 396 h 396"/>
              <a:gd name="T30" fmla="*/ 45 w 304"/>
              <a:gd name="T31" fmla="*/ 396 h 396"/>
              <a:gd name="T32" fmla="*/ 32 w 304"/>
              <a:gd name="T33" fmla="*/ 395 h 396"/>
              <a:gd name="T34" fmla="*/ 21 w 304"/>
              <a:gd name="T35" fmla="*/ 392 h 396"/>
              <a:gd name="T36" fmla="*/ 17 w 304"/>
              <a:gd name="T37" fmla="*/ 390 h 396"/>
              <a:gd name="T38" fmla="*/ 12 w 304"/>
              <a:gd name="T39" fmla="*/ 388 h 396"/>
              <a:gd name="T40" fmla="*/ 9 w 304"/>
              <a:gd name="T41" fmla="*/ 385 h 396"/>
              <a:gd name="T42" fmla="*/ 6 w 304"/>
              <a:gd name="T43" fmla="*/ 382 h 396"/>
              <a:gd name="T44" fmla="*/ 4 w 304"/>
              <a:gd name="T45" fmla="*/ 378 h 396"/>
              <a:gd name="T46" fmla="*/ 2 w 304"/>
              <a:gd name="T47" fmla="*/ 373 h 396"/>
              <a:gd name="T48" fmla="*/ 1 w 304"/>
              <a:gd name="T49" fmla="*/ 367 h 396"/>
              <a:gd name="T50" fmla="*/ 0 w 304"/>
              <a:gd name="T51" fmla="*/ 360 h 396"/>
              <a:gd name="T52" fmla="*/ 0 w 304"/>
              <a:gd name="T53" fmla="*/ 36 h 396"/>
              <a:gd name="T54" fmla="*/ 0 w 304"/>
              <a:gd name="T55" fmla="*/ 36 h 396"/>
              <a:gd name="T56" fmla="*/ 1 w 304"/>
              <a:gd name="T57" fmla="*/ 29 h 396"/>
              <a:gd name="T58" fmla="*/ 2 w 304"/>
              <a:gd name="T59" fmla="*/ 23 h 396"/>
              <a:gd name="T60" fmla="*/ 4 w 304"/>
              <a:gd name="T61" fmla="*/ 18 h 396"/>
              <a:gd name="T62" fmla="*/ 6 w 304"/>
              <a:gd name="T63" fmla="*/ 14 h 396"/>
              <a:gd name="T64" fmla="*/ 9 w 304"/>
              <a:gd name="T65" fmla="*/ 10 h 396"/>
              <a:gd name="T66" fmla="*/ 12 w 304"/>
              <a:gd name="T67" fmla="*/ 7 h 396"/>
              <a:gd name="T68" fmla="*/ 17 w 304"/>
              <a:gd name="T69" fmla="*/ 5 h 396"/>
              <a:gd name="T70" fmla="*/ 21 w 304"/>
              <a:gd name="T71" fmla="*/ 3 h 396"/>
              <a:gd name="T72" fmla="*/ 32 w 304"/>
              <a:gd name="T73" fmla="*/ 1 h 396"/>
              <a:gd name="T74" fmla="*/ 45 w 304"/>
              <a:gd name="T75" fmla="*/ 0 h 396"/>
              <a:gd name="T76" fmla="*/ 72 w 304"/>
              <a:gd name="T77" fmla="*/ 0 h 396"/>
              <a:gd name="T78" fmla="*/ 232 w 304"/>
              <a:gd name="T79" fmla="*/ 0 h 396"/>
              <a:gd name="T80" fmla="*/ 232 w 304"/>
              <a:gd name="T81" fmla="*/ 0 h 396"/>
              <a:gd name="T82" fmla="*/ 260 w 304"/>
              <a:gd name="T83" fmla="*/ 0 h 396"/>
              <a:gd name="T84" fmla="*/ 272 w 304"/>
              <a:gd name="T85" fmla="*/ 1 h 396"/>
              <a:gd name="T86" fmla="*/ 283 w 304"/>
              <a:gd name="T87" fmla="*/ 3 h 396"/>
              <a:gd name="T88" fmla="*/ 288 w 304"/>
              <a:gd name="T89" fmla="*/ 5 h 396"/>
              <a:gd name="T90" fmla="*/ 292 w 304"/>
              <a:gd name="T91" fmla="*/ 7 h 396"/>
              <a:gd name="T92" fmla="*/ 296 w 304"/>
              <a:gd name="T93" fmla="*/ 10 h 396"/>
              <a:gd name="T94" fmla="*/ 299 w 304"/>
              <a:gd name="T95" fmla="*/ 14 h 396"/>
              <a:gd name="T96" fmla="*/ 301 w 304"/>
              <a:gd name="T97" fmla="*/ 18 h 396"/>
              <a:gd name="T98" fmla="*/ 303 w 304"/>
              <a:gd name="T99" fmla="*/ 23 h 396"/>
              <a:gd name="T100" fmla="*/ 304 w 304"/>
              <a:gd name="T101" fmla="*/ 29 h 396"/>
              <a:gd name="T102" fmla="*/ 304 w 304"/>
              <a:gd name="T103" fmla="*/ 36 h 396"/>
              <a:gd name="T104" fmla="*/ 304 w 304"/>
              <a:gd name="T105" fmla="*/ 36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396">
                <a:moveTo>
                  <a:pt x="304" y="360"/>
                </a:moveTo>
                <a:lnTo>
                  <a:pt x="304" y="360"/>
                </a:lnTo>
                <a:lnTo>
                  <a:pt x="304" y="367"/>
                </a:lnTo>
                <a:lnTo>
                  <a:pt x="303" y="373"/>
                </a:lnTo>
                <a:lnTo>
                  <a:pt x="301" y="378"/>
                </a:lnTo>
                <a:lnTo>
                  <a:pt x="299" y="382"/>
                </a:lnTo>
                <a:lnTo>
                  <a:pt x="296" y="385"/>
                </a:lnTo>
                <a:lnTo>
                  <a:pt x="292" y="388"/>
                </a:lnTo>
                <a:lnTo>
                  <a:pt x="288" y="390"/>
                </a:lnTo>
                <a:lnTo>
                  <a:pt x="283" y="392"/>
                </a:lnTo>
                <a:lnTo>
                  <a:pt x="272" y="395"/>
                </a:lnTo>
                <a:lnTo>
                  <a:pt x="260" y="396"/>
                </a:lnTo>
                <a:lnTo>
                  <a:pt x="232" y="396"/>
                </a:lnTo>
                <a:lnTo>
                  <a:pt x="72" y="396"/>
                </a:lnTo>
                <a:lnTo>
                  <a:pt x="72" y="396"/>
                </a:lnTo>
                <a:lnTo>
                  <a:pt x="45" y="396"/>
                </a:lnTo>
                <a:lnTo>
                  <a:pt x="32" y="395"/>
                </a:lnTo>
                <a:lnTo>
                  <a:pt x="21" y="392"/>
                </a:lnTo>
                <a:lnTo>
                  <a:pt x="17" y="390"/>
                </a:lnTo>
                <a:lnTo>
                  <a:pt x="12" y="388"/>
                </a:lnTo>
                <a:lnTo>
                  <a:pt x="9" y="385"/>
                </a:lnTo>
                <a:lnTo>
                  <a:pt x="6" y="382"/>
                </a:lnTo>
                <a:lnTo>
                  <a:pt x="4" y="378"/>
                </a:lnTo>
                <a:lnTo>
                  <a:pt x="2" y="373"/>
                </a:lnTo>
                <a:lnTo>
                  <a:pt x="1" y="367"/>
                </a:lnTo>
                <a:lnTo>
                  <a:pt x="0" y="360"/>
                </a:lnTo>
                <a:lnTo>
                  <a:pt x="0" y="36"/>
                </a:lnTo>
                <a:lnTo>
                  <a:pt x="0" y="36"/>
                </a:lnTo>
                <a:lnTo>
                  <a:pt x="1" y="29"/>
                </a:lnTo>
                <a:lnTo>
                  <a:pt x="2" y="23"/>
                </a:lnTo>
                <a:lnTo>
                  <a:pt x="4" y="18"/>
                </a:lnTo>
                <a:lnTo>
                  <a:pt x="6" y="14"/>
                </a:lnTo>
                <a:lnTo>
                  <a:pt x="9" y="10"/>
                </a:lnTo>
                <a:lnTo>
                  <a:pt x="12" y="7"/>
                </a:lnTo>
                <a:lnTo>
                  <a:pt x="17" y="5"/>
                </a:lnTo>
                <a:lnTo>
                  <a:pt x="21" y="3"/>
                </a:lnTo>
                <a:lnTo>
                  <a:pt x="32" y="1"/>
                </a:lnTo>
                <a:lnTo>
                  <a:pt x="45" y="0"/>
                </a:lnTo>
                <a:lnTo>
                  <a:pt x="72" y="0"/>
                </a:lnTo>
                <a:lnTo>
                  <a:pt x="232" y="0"/>
                </a:lnTo>
                <a:lnTo>
                  <a:pt x="232" y="0"/>
                </a:lnTo>
                <a:lnTo>
                  <a:pt x="260" y="0"/>
                </a:lnTo>
                <a:lnTo>
                  <a:pt x="272" y="1"/>
                </a:lnTo>
                <a:lnTo>
                  <a:pt x="283" y="3"/>
                </a:lnTo>
                <a:lnTo>
                  <a:pt x="288" y="5"/>
                </a:lnTo>
                <a:lnTo>
                  <a:pt x="292" y="7"/>
                </a:lnTo>
                <a:lnTo>
                  <a:pt x="296" y="10"/>
                </a:lnTo>
                <a:lnTo>
                  <a:pt x="299" y="14"/>
                </a:lnTo>
                <a:lnTo>
                  <a:pt x="301" y="18"/>
                </a:lnTo>
                <a:lnTo>
                  <a:pt x="303" y="23"/>
                </a:lnTo>
                <a:lnTo>
                  <a:pt x="304" y="29"/>
                </a:lnTo>
                <a:lnTo>
                  <a:pt x="304" y="36"/>
                </a:lnTo>
                <a:lnTo>
                  <a:pt x="304" y="360"/>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1" name="Freeform 2096"/>
          <p:cNvSpPr>
            <a:spLocks/>
          </p:cNvSpPr>
          <p:nvPr/>
        </p:nvSpPr>
        <p:spPr bwMode="auto">
          <a:xfrm>
            <a:off x="10790239" y="3230564"/>
            <a:ext cx="1023938" cy="581025"/>
          </a:xfrm>
          <a:custGeom>
            <a:avLst/>
            <a:gdLst>
              <a:gd name="T0" fmla="*/ 0 w 3873"/>
              <a:gd name="T1" fmla="*/ 1656 h 2196"/>
              <a:gd name="T2" fmla="*/ 1458 w 3873"/>
              <a:gd name="T3" fmla="*/ 2196 h 2196"/>
              <a:gd name="T4" fmla="*/ 3871 w 3873"/>
              <a:gd name="T5" fmla="*/ 2196 h 2196"/>
              <a:gd name="T6" fmla="*/ 3873 w 3873"/>
              <a:gd name="T7" fmla="*/ 1252 h 2196"/>
              <a:gd name="T8" fmla="*/ 38 w 3873"/>
              <a:gd name="T9" fmla="*/ 0 h 2196"/>
              <a:gd name="T10" fmla="*/ 0 w 3873"/>
              <a:gd name="T11" fmla="*/ 1656 h 2196"/>
            </a:gdLst>
            <a:ahLst/>
            <a:cxnLst>
              <a:cxn ang="0">
                <a:pos x="T0" y="T1"/>
              </a:cxn>
              <a:cxn ang="0">
                <a:pos x="T2" y="T3"/>
              </a:cxn>
              <a:cxn ang="0">
                <a:pos x="T4" y="T5"/>
              </a:cxn>
              <a:cxn ang="0">
                <a:pos x="T6" y="T7"/>
              </a:cxn>
              <a:cxn ang="0">
                <a:pos x="T8" y="T9"/>
              </a:cxn>
              <a:cxn ang="0">
                <a:pos x="T10" y="T11"/>
              </a:cxn>
            </a:cxnLst>
            <a:rect l="0" t="0" r="r" b="b"/>
            <a:pathLst>
              <a:path w="3873" h="2196">
                <a:moveTo>
                  <a:pt x="0" y="1656"/>
                </a:moveTo>
                <a:lnTo>
                  <a:pt x="1458" y="2196"/>
                </a:lnTo>
                <a:lnTo>
                  <a:pt x="3871" y="2196"/>
                </a:lnTo>
                <a:lnTo>
                  <a:pt x="3873" y="1252"/>
                </a:lnTo>
                <a:lnTo>
                  <a:pt x="38" y="0"/>
                </a:lnTo>
                <a:lnTo>
                  <a:pt x="0" y="1656"/>
                </a:ln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2" name="Freeform 2097"/>
          <p:cNvSpPr>
            <a:spLocks/>
          </p:cNvSpPr>
          <p:nvPr/>
        </p:nvSpPr>
        <p:spPr bwMode="auto">
          <a:xfrm>
            <a:off x="11814177" y="3546476"/>
            <a:ext cx="130175" cy="265113"/>
          </a:xfrm>
          <a:custGeom>
            <a:avLst/>
            <a:gdLst>
              <a:gd name="T0" fmla="*/ 494 w 494"/>
              <a:gd name="T1" fmla="*/ 1003 h 1003"/>
              <a:gd name="T2" fmla="*/ 494 w 494"/>
              <a:gd name="T3" fmla="*/ 0 h 1003"/>
              <a:gd name="T4" fmla="*/ 2 w 494"/>
              <a:gd name="T5" fmla="*/ 59 h 1003"/>
              <a:gd name="T6" fmla="*/ 0 w 494"/>
              <a:gd name="T7" fmla="*/ 1003 h 1003"/>
              <a:gd name="T8" fmla="*/ 494 w 494"/>
              <a:gd name="T9" fmla="*/ 1003 h 1003"/>
            </a:gdLst>
            <a:ahLst/>
            <a:cxnLst>
              <a:cxn ang="0">
                <a:pos x="T0" y="T1"/>
              </a:cxn>
              <a:cxn ang="0">
                <a:pos x="T2" y="T3"/>
              </a:cxn>
              <a:cxn ang="0">
                <a:pos x="T4" y="T5"/>
              </a:cxn>
              <a:cxn ang="0">
                <a:pos x="T6" y="T7"/>
              </a:cxn>
              <a:cxn ang="0">
                <a:pos x="T8" y="T9"/>
              </a:cxn>
            </a:cxnLst>
            <a:rect l="0" t="0" r="r" b="b"/>
            <a:pathLst>
              <a:path w="494" h="1003">
                <a:moveTo>
                  <a:pt x="494" y="1003"/>
                </a:moveTo>
                <a:lnTo>
                  <a:pt x="494" y="0"/>
                </a:lnTo>
                <a:lnTo>
                  <a:pt x="2" y="59"/>
                </a:lnTo>
                <a:lnTo>
                  <a:pt x="0" y="1003"/>
                </a:lnTo>
                <a:lnTo>
                  <a:pt x="494" y="1003"/>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376" name="Group 2375"/>
          <p:cNvGrpSpPr/>
          <p:nvPr/>
        </p:nvGrpSpPr>
        <p:grpSpPr>
          <a:xfrm>
            <a:off x="11148943" y="2706689"/>
            <a:ext cx="474807" cy="219075"/>
            <a:chOff x="11123613" y="2706688"/>
            <a:chExt cx="522288" cy="219075"/>
          </a:xfrm>
        </p:grpSpPr>
        <p:sp>
          <p:nvSpPr>
            <p:cNvPr id="3093" name="Freeform 2098"/>
            <p:cNvSpPr>
              <a:spLocks/>
            </p:cNvSpPr>
            <p:nvPr/>
          </p:nvSpPr>
          <p:spPr bwMode="auto">
            <a:xfrm>
              <a:off x="11528426" y="2770188"/>
              <a:ext cx="84138" cy="85725"/>
            </a:xfrm>
            <a:custGeom>
              <a:avLst/>
              <a:gdLst>
                <a:gd name="T0" fmla="*/ 118 w 319"/>
                <a:gd name="T1" fmla="*/ 1 h 321"/>
                <a:gd name="T2" fmla="*/ 139 w 319"/>
                <a:gd name="T3" fmla="*/ 0 h 321"/>
                <a:gd name="T4" fmla="*/ 162 w 319"/>
                <a:gd name="T5" fmla="*/ 2 h 321"/>
                <a:gd name="T6" fmla="*/ 183 w 319"/>
                <a:gd name="T7" fmla="*/ 8 h 321"/>
                <a:gd name="T8" fmla="*/ 203 w 319"/>
                <a:gd name="T9" fmla="*/ 16 h 321"/>
                <a:gd name="T10" fmla="*/ 224 w 319"/>
                <a:gd name="T11" fmla="*/ 28 h 321"/>
                <a:gd name="T12" fmla="*/ 242 w 319"/>
                <a:gd name="T13" fmla="*/ 42 h 321"/>
                <a:gd name="T14" fmla="*/ 259 w 319"/>
                <a:gd name="T15" fmla="*/ 58 h 321"/>
                <a:gd name="T16" fmla="*/ 289 w 319"/>
                <a:gd name="T17" fmla="*/ 94 h 321"/>
                <a:gd name="T18" fmla="*/ 301 w 319"/>
                <a:gd name="T19" fmla="*/ 115 h 321"/>
                <a:gd name="T20" fmla="*/ 310 w 319"/>
                <a:gd name="T21" fmla="*/ 135 h 321"/>
                <a:gd name="T22" fmla="*/ 316 w 319"/>
                <a:gd name="T23" fmla="*/ 157 h 321"/>
                <a:gd name="T24" fmla="*/ 319 w 319"/>
                <a:gd name="T25" fmla="*/ 179 h 321"/>
                <a:gd name="T26" fmla="*/ 319 w 319"/>
                <a:gd name="T27" fmla="*/ 199 h 321"/>
                <a:gd name="T28" fmla="*/ 315 w 319"/>
                <a:gd name="T29" fmla="*/ 221 h 321"/>
                <a:gd name="T30" fmla="*/ 307 w 319"/>
                <a:gd name="T31" fmla="*/ 240 h 321"/>
                <a:gd name="T32" fmla="*/ 304 w 319"/>
                <a:gd name="T33" fmla="*/ 250 h 321"/>
                <a:gd name="T34" fmla="*/ 295 w 319"/>
                <a:gd name="T35" fmla="*/ 267 h 321"/>
                <a:gd name="T36" fmla="*/ 283 w 319"/>
                <a:gd name="T37" fmla="*/ 283 h 321"/>
                <a:gd name="T38" fmla="*/ 269 w 319"/>
                <a:gd name="T39" fmla="*/ 296 h 321"/>
                <a:gd name="T40" fmla="*/ 253 w 319"/>
                <a:gd name="T41" fmla="*/ 306 h 321"/>
                <a:gd name="T42" fmla="*/ 236 w 319"/>
                <a:gd name="T43" fmla="*/ 313 h 321"/>
                <a:gd name="T44" fmla="*/ 216 w 319"/>
                <a:gd name="T45" fmla="*/ 318 h 321"/>
                <a:gd name="T46" fmla="*/ 197 w 319"/>
                <a:gd name="T47" fmla="*/ 321 h 321"/>
                <a:gd name="T48" fmla="*/ 176 w 319"/>
                <a:gd name="T49" fmla="*/ 321 h 321"/>
                <a:gd name="T50" fmla="*/ 155 w 319"/>
                <a:gd name="T51" fmla="*/ 319 h 321"/>
                <a:gd name="T52" fmla="*/ 135 w 319"/>
                <a:gd name="T53" fmla="*/ 314 h 321"/>
                <a:gd name="T54" fmla="*/ 115 w 319"/>
                <a:gd name="T55" fmla="*/ 307 h 321"/>
                <a:gd name="T56" fmla="*/ 95 w 319"/>
                <a:gd name="T57" fmla="*/ 298 h 321"/>
                <a:gd name="T58" fmla="*/ 77 w 319"/>
                <a:gd name="T59" fmla="*/ 286 h 321"/>
                <a:gd name="T60" fmla="*/ 60 w 319"/>
                <a:gd name="T61" fmla="*/ 270 h 321"/>
                <a:gd name="T62" fmla="*/ 45 w 319"/>
                <a:gd name="T63" fmla="*/ 254 h 321"/>
                <a:gd name="T64" fmla="*/ 37 w 319"/>
                <a:gd name="T65" fmla="*/ 244 h 321"/>
                <a:gd name="T66" fmla="*/ 24 w 319"/>
                <a:gd name="T67" fmla="*/ 226 h 321"/>
                <a:gd name="T68" fmla="*/ 14 w 319"/>
                <a:gd name="T69" fmla="*/ 206 h 321"/>
                <a:gd name="T70" fmla="*/ 7 w 319"/>
                <a:gd name="T71" fmla="*/ 187 h 321"/>
                <a:gd name="T72" fmla="*/ 2 w 319"/>
                <a:gd name="T73" fmla="*/ 167 h 321"/>
                <a:gd name="T74" fmla="*/ 0 w 319"/>
                <a:gd name="T75" fmla="*/ 146 h 321"/>
                <a:gd name="T76" fmla="*/ 3 w 319"/>
                <a:gd name="T77" fmla="*/ 108 h 321"/>
                <a:gd name="T78" fmla="*/ 11 w 319"/>
                <a:gd name="T79" fmla="*/ 79 h 321"/>
                <a:gd name="T80" fmla="*/ 19 w 319"/>
                <a:gd name="T81" fmla="*/ 63 h 321"/>
                <a:gd name="T82" fmla="*/ 29 w 319"/>
                <a:gd name="T83" fmla="*/ 47 h 321"/>
                <a:gd name="T84" fmla="*/ 41 w 319"/>
                <a:gd name="T85" fmla="*/ 33 h 321"/>
                <a:gd name="T86" fmla="*/ 55 w 319"/>
                <a:gd name="T87" fmla="*/ 21 h 321"/>
                <a:gd name="T88" fmla="*/ 71 w 319"/>
                <a:gd name="T89" fmla="*/ 12 h 321"/>
                <a:gd name="T90" fmla="*/ 88 w 319"/>
                <a:gd name="T91" fmla="*/ 5 h 321"/>
                <a:gd name="T92" fmla="*/ 108 w 319"/>
                <a:gd name="T93" fmla="*/ 2 h 321"/>
                <a:gd name="T94" fmla="*/ 118 w 319"/>
                <a:gd name="T95" fmla="*/ 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9" h="321">
                  <a:moveTo>
                    <a:pt x="118" y="1"/>
                  </a:moveTo>
                  <a:lnTo>
                    <a:pt x="118" y="1"/>
                  </a:lnTo>
                  <a:lnTo>
                    <a:pt x="129" y="0"/>
                  </a:lnTo>
                  <a:lnTo>
                    <a:pt x="139" y="0"/>
                  </a:lnTo>
                  <a:lnTo>
                    <a:pt x="150" y="0"/>
                  </a:lnTo>
                  <a:lnTo>
                    <a:pt x="162" y="2"/>
                  </a:lnTo>
                  <a:lnTo>
                    <a:pt x="172" y="4"/>
                  </a:lnTo>
                  <a:lnTo>
                    <a:pt x="183" y="8"/>
                  </a:lnTo>
                  <a:lnTo>
                    <a:pt x="193" y="12"/>
                  </a:lnTo>
                  <a:lnTo>
                    <a:pt x="203" y="16"/>
                  </a:lnTo>
                  <a:lnTo>
                    <a:pt x="213" y="22"/>
                  </a:lnTo>
                  <a:lnTo>
                    <a:pt x="224" y="28"/>
                  </a:lnTo>
                  <a:lnTo>
                    <a:pt x="233" y="34"/>
                  </a:lnTo>
                  <a:lnTo>
                    <a:pt x="242" y="42"/>
                  </a:lnTo>
                  <a:lnTo>
                    <a:pt x="251" y="50"/>
                  </a:lnTo>
                  <a:lnTo>
                    <a:pt x="259" y="58"/>
                  </a:lnTo>
                  <a:lnTo>
                    <a:pt x="275" y="75"/>
                  </a:lnTo>
                  <a:lnTo>
                    <a:pt x="289" y="94"/>
                  </a:lnTo>
                  <a:lnTo>
                    <a:pt x="295" y="105"/>
                  </a:lnTo>
                  <a:lnTo>
                    <a:pt x="301" y="115"/>
                  </a:lnTo>
                  <a:lnTo>
                    <a:pt x="306" y="125"/>
                  </a:lnTo>
                  <a:lnTo>
                    <a:pt x="310" y="135"/>
                  </a:lnTo>
                  <a:lnTo>
                    <a:pt x="313" y="146"/>
                  </a:lnTo>
                  <a:lnTo>
                    <a:pt x="316" y="157"/>
                  </a:lnTo>
                  <a:lnTo>
                    <a:pt x="318" y="168"/>
                  </a:lnTo>
                  <a:lnTo>
                    <a:pt x="319" y="179"/>
                  </a:lnTo>
                  <a:lnTo>
                    <a:pt x="319" y="189"/>
                  </a:lnTo>
                  <a:lnTo>
                    <a:pt x="319" y="199"/>
                  </a:lnTo>
                  <a:lnTo>
                    <a:pt x="317" y="210"/>
                  </a:lnTo>
                  <a:lnTo>
                    <a:pt x="315" y="221"/>
                  </a:lnTo>
                  <a:lnTo>
                    <a:pt x="312" y="231"/>
                  </a:lnTo>
                  <a:lnTo>
                    <a:pt x="307" y="240"/>
                  </a:lnTo>
                  <a:lnTo>
                    <a:pt x="307" y="240"/>
                  </a:lnTo>
                  <a:lnTo>
                    <a:pt x="304" y="250"/>
                  </a:lnTo>
                  <a:lnTo>
                    <a:pt x="300" y="259"/>
                  </a:lnTo>
                  <a:lnTo>
                    <a:pt x="295" y="267"/>
                  </a:lnTo>
                  <a:lnTo>
                    <a:pt x="290" y="276"/>
                  </a:lnTo>
                  <a:lnTo>
                    <a:pt x="283" y="283"/>
                  </a:lnTo>
                  <a:lnTo>
                    <a:pt x="276" y="290"/>
                  </a:lnTo>
                  <a:lnTo>
                    <a:pt x="269" y="296"/>
                  </a:lnTo>
                  <a:lnTo>
                    <a:pt x="261" y="301"/>
                  </a:lnTo>
                  <a:lnTo>
                    <a:pt x="253" y="306"/>
                  </a:lnTo>
                  <a:lnTo>
                    <a:pt x="244" y="310"/>
                  </a:lnTo>
                  <a:lnTo>
                    <a:pt x="236" y="313"/>
                  </a:lnTo>
                  <a:lnTo>
                    <a:pt x="226" y="316"/>
                  </a:lnTo>
                  <a:lnTo>
                    <a:pt x="216" y="318"/>
                  </a:lnTo>
                  <a:lnTo>
                    <a:pt x="206" y="320"/>
                  </a:lnTo>
                  <a:lnTo>
                    <a:pt x="197" y="321"/>
                  </a:lnTo>
                  <a:lnTo>
                    <a:pt x="187" y="321"/>
                  </a:lnTo>
                  <a:lnTo>
                    <a:pt x="176" y="321"/>
                  </a:lnTo>
                  <a:lnTo>
                    <a:pt x="166" y="320"/>
                  </a:lnTo>
                  <a:lnTo>
                    <a:pt x="155" y="319"/>
                  </a:lnTo>
                  <a:lnTo>
                    <a:pt x="145" y="317"/>
                  </a:lnTo>
                  <a:lnTo>
                    <a:pt x="135" y="314"/>
                  </a:lnTo>
                  <a:lnTo>
                    <a:pt x="125" y="311"/>
                  </a:lnTo>
                  <a:lnTo>
                    <a:pt x="115" y="307"/>
                  </a:lnTo>
                  <a:lnTo>
                    <a:pt x="105" y="303"/>
                  </a:lnTo>
                  <a:lnTo>
                    <a:pt x="95" y="298"/>
                  </a:lnTo>
                  <a:lnTo>
                    <a:pt x="86" y="292"/>
                  </a:lnTo>
                  <a:lnTo>
                    <a:pt x="77" y="286"/>
                  </a:lnTo>
                  <a:lnTo>
                    <a:pt x="68" y="279"/>
                  </a:lnTo>
                  <a:lnTo>
                    <a:pt x="60" y="270"/>
                  </a:lnTo>
                  <a:lnTo>
                    <a:pt x="52" y="262"/>
                  </a:lnTo>
                  <a:lnTo>
                    <a:pt x="45" y="254"/>
                  </a:lnTo>
                  <a:lnTo>
                    <a:pt x="37" y="244"/>
                  </a:lnTo>
                  <a:lnTo>
                    <a:pt x="37" y="244"/>
                  </a:lnTo>
                  <a:lnTo>
                    <a:pt x="30" y="235"/>
                  </a:lnTo>
                  <a:lnTo>
                    <a:pt x="24" y="226"/>
                  </a:lnTo>
                  <a:lnTo>
                    <a:pt x="19" y="217"/>
                  </a:lnTo>
                  <a:lnTo>
                    <a:pt x="14" y="206"/>
                  </a:lnTo>
                  <a:lnTo>
                    <a:pt x="10" y="197"/>
                  </a:lnTo>
                  <a:lnTo>
                    <a:pt x="7" y="187"/>
                  </a:lnTo>
                  <a:lnTo>
                    <a:pt x="4" y="177"/>
                  </a:lnTo>
                  <a:lnTo>
                    <a:pt x="2" y="167"/>
                  </a:lnTo>
                  <a:lnTo>
                    <a:pt x="1" y="157"/>
                  </a:lnTo>
                  <a:lnTo>
                    <a:pt x="0" y="146"/>
                  </a:lnTo>
                  <a:lnTo>
                    <a:pt x="0" y="127"/>
                  </a:lnTo>
                  <a:lnTo>
                    <a:pt x="3" y="108"/>
                  </a:lnTo>
                  <a:lnTo>
                    <a:pt x="7" y="88"/>
                  </a:lnTo>
                  <a:lnTo>
                    <a:pt x="11" y="79"/>
                  </a:lnTo>
                  <a:lnTo>
                    <a:pt x="14" y="71"/>
                  </a:lnTo>
                  <a:lnTo>
                    <a:pt x="19" y="63"/>
                  </a:lnTo>
                  <a:lnTo>
                    <a:pt x="23" y="55"/>
                  </a:lnTo>
                  <a:lnTo>
                    <a:pt x="29" y="47"/>
                  </a:lnTo>
                  <a:lnTo>
                    <a:pt x="34" y="40"/>
                  </a:lnTo>
                  <a:lnTo>
                    <a:pt x="41" y="33"/>
                  </a:lnTo>
                  <a:lnTo>
                    <a:pt x="48" y="27"/>
                  </a:lnTo>
                  <a:lnTo>
                    <a:pt x="55" y="21"/>
                  </a:lnTo>
                  <a:lnTo>
                    <a:pt x="63" y="16"/>
                  </a:lnTo>
                  <a:lnTo>
                    <a:pt x="71" y="12"/>
                  </a:lnTo>
                  <a:lnTo>
                    <a:pt x="79" y="8"/>
                  </a:lnTo>
                  <a:lnTo>
                    <a:pt x="88" y="5"/>
                  </a:lnTo>
                  <a:lnTo>
                    <a:pt x="97" y="3"/>
                  </a:lnTo>
                  <a:lnTo>
                    <a:pt x="108" y="2"/>
                  </a:lnTo>
                  <a:lnTo>
                    <a:pt x="118" y="1"/>
                  </a:lnTo>
                  <a:lnTo>
                    <a:pt x="11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4" name="Freeform 2099"/>
            <p:cNvSpPr>
              <a:spLocks/>
            </p:cNvSpPr>
            <p:nvPr/>
          </p:nvSpPr>
          <p:spPr bwMode="auto">
            <a:xfrm>
              <a:off x="11493501" y="2857500"/>
              <a:ext cx="152400" cy="68263"/>
            </a:xfrm>
            <a:custGeom>
              <a:avLst/>
              <a:gdLst>
                <a:gd name="T0" fmla="*/ 530 w 575"/>
                <a:gd name="T1" fmla="*/ 114 h 259"/>
                <a:gd name="T2" fmla="*/ 530 w 575"/>
                <a:gd name="T3" fmla="*/ 114 h 259"/>
                <a:gd name="T4" fmla="*/ 519 w 575"/>
                <a:gd name="T5" fmla="*/ 101 h 259"/>
                <a:gd name="T6" fmla="*/ 507 w 575"/>
                <a:gd name="T7" fmla="*/ 90 h 259"/>
                <a:gd name="T8" fmla="*/ 495 w 575"/>
                <a:gd name="T9" fmla="*/ 80 h 259"/>
                <a:gd name="T10" fmla="*/ 483 w 575"/>
                <a:gd name="T11" fmla="*/ 71 h 259"/>
                <a:gd name="T12" fmla="*/ 469 w 575"/>
                <a:gd name="T13" fmla="*/ 64 h 259"/>
                <a:gd name="T14" fmla="*/ 456 w 575"/>
                <a:gd name="T15" fmla="*/ 57 h 259"/>
                <a:gd name="T16" fmla="*/ 443 w 575"/>
                <a:gd name="T17" fmla="*/ 51 h 259"/>
                <a:gd name="T18" fmla="*/ 429 w 575"/>
                <a:gd name="T19" fmla="*/ 47 h 259"/>
                <a:gd name="T20" fmla="*/ 416 w 575"/>
                <a:gd name="T21" fmla="*/ 43 h 259"/>
                <a:gd name="T22" fmla="*/ 401 w 575"/>
                <a:gd name="T23" fmla="*/ 40 h 259"/>
                <a:gd name="T24" fmla="*/ 374 w 575"/>
                <a:gd name="T25" fmla="*/ 35 h 259"/>
                <a:gd name="T26" fmla="*/ 345 w 575"/>
                <a:gd name="T27" fmla="*/ 31 h 259"/>
                <a:gd name="T28" fmla="*/ 319 w 575"/>
                <a:gd name="T29" fmla="*/ 26 h 259"/>
                <a:gd name="T30" fmla="*/ 319 w 575"/>
                <a:gd name="T31" fmla="*/ 26 h 259"/>
                <a:gd name="T32" fmla="*/ 287 w 575"/>
                <a:gd name="T33" fmla="*/ 22 h 259"/>
                <a:gd name="T34" fmla="*/ 257 w 575"/>
                <a:gd name="T35" fmla="*/ 16 h 259"/>
                <a:gd name="T36" fmla="*/ 225 w 575"/>
                <a:gd name="T37" fmla="*/ 10 h 259"/>
                <a:gd name="T38" fmla="*/ 194 w 575"/>
                <a:gd name="T39" fmla="*/ 5 h 259"/>
                <a:gd name="T40" fmla="*/ 162 w 575"/>
                <a:gd name="T41" fmla="*/ 2 h 259"/>
                <a:gd name="T42" fmla="*/ 147 w 575"/>
                <a:gd name="T43" fmla="*/ 0 h 259"/>
                <a:gd name="T44" fmla="*/ 132 w 575"/>
                <a:gd name="T45" fmla="*/ 0 h 259"/>
                <a:gd name="T46" fmla="*/ 117 w 575"/>
                <a:gd name="T47" fmla="*/ 2 h 259"/>
                <a:gd name="T48" fmla="*/ 101 w 575"/>
                <a:gd name="T49" fmla="*/ 4 h 259"/>
                <a:gd name="T50" fmla="*/ 87 w 575"/>
                <a:gd name="T51" fmla="*/ 7 h 259"/>
                <a:gd name="T52" fmla="*/ 72 w 575"/>
                <a:gd name="T53" fmla="*/ 12 h 259"/>
                <a:gd name="T54" fmla="*/ 72 w 575"/>
                <a:gd name="T55" fmla="*/ 12 h 259"/>
                <a:gd name="T56" fmla="*/ 63 w 575"/>
                <a:gd name="T57" fmla="*/ 15 h 259"/>
                <a:gd name="T58" fmla="*/ 54 w 575"/>
                <a:gd name="T59" fmla="*/ 20 h 259"/>
                <a:gd name="T60" fmla="*/ 47 w 575"/>
                <a:gd name="T61" fmla="*/ 26 h 259"/>
                <a:gd name="T62" fmla="*/ 39 w 575"/>
                <a:gd name="T63" fmla="*/ 33 h 259"/>
                <a:gd name="T64" fmla="*/ 33 w 575"/>
                <a:gd name="T65" fmla="*/ 40 h 259"/>
                <a:gd name="T66" fmla="*/ 27 w 575"/>
                <a:gd name="T67" fmla="*/ 49 h 259"/>
                <a:gd name="T68" fmla="*/ 22 w 575"/>
                <a:gd name="T69" fmla="*/ 58 h 259"/>
                <a:gd name="T70" fmla="*/ 17 w 575"/>
                <a:gd name="T71" fmla="*/ 69 h 259"/>
                <a:gd name="T72" fmla="*/ 13 w 575"/>
                <a:gd name="T73" fmla="*/ 79 h 259"/>
                <a:gd name="T74" fmla="*/ 9 w 575"/>
                <a:gd name="T75" fmla="*/ 90 h 259"/>
                <a:gd name="T76" fmla="*/ 6 w 575"/>
                <a:gd name="T77" fmla="*/ 101 h 259"/>
                <a:gd name="T78" fmla="*/ 3 w 575"/>
                <a:gd name="T79" fmla="*/ 113 h 259"/>
                <a:gd name="T80" fmla="*/ 2 w 575"/>
                <a:gd name="T81" fmla="*/ 126 h 259"/>
                <a:gd name="T82" fmla="*/ 0 w 575"/>
                <a:gd name="T83" fmla="*/ 138 h 259"/>
                <a:gd name="T84" fmla="*/ 0 w 575"/>
                <a:gd name="T85" fmla="*/ 150 h 259"/>
                <a:gd name="T86" fmla="*/ 0 w 575"/>
                <a:gd name="T87" fmla="*/ 163 h 259"/>
                <a:gd name="T88" fmla="*/ 575 w 575"/>
                <a:gd name="T89" fmla="*/ 259 h 259"/>
                <a:gd name="T90" fmla="*/ 575 w 575"/>
                <a:gd name="T91" fmla="*/ 259 h 259"/>
                <a:gd name="T92" fmla="*/ 573 w 575"/>
                <a:gd name="T93" fmla="*/ 240 h 259"/>
                <a:gd name="T94" fmla="*/ 571 w 575"/>
                <a:gd name="T95" fmla="*/ 220 h 259"/>
                <a:gd name="T96" fmla="*/ 568 w 575"/>
                <a:gd name="T97" fmla="*/ 201 h 259"/>
                <a:gd name="T98" fmla="*/ 563 w 575"/>
                <a:gd name="T99" fmla="*/ 182 h 259"/>
                <a:gd name="T100" fmla="*/ 558 w 575"/>
                <a:gd name="T101" fmla="*/ 163 h 259"/>
                <a:gd name="T102" fmla="*/ 550 w 575"/>
                <a:gd name="T103" fmla="*/ 146 h 259"/>
                <a:gd name="T104" fmla="*/ 541 w 575"/>
                <a:gd name="T105" fmla="*/ 130 h 259"/>
                <a:gd name="T106" fmla="*/ 530 w 575"/>
                <a:gd name="T107" fmla="*/ 114 h 259"/>
                <a:gd name="T108" fmla="*/ 530 w 575"/>
                <a:gd name="T109" fmla="*/ 114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5" h="259">
                  <a:moveTo>
                    <a:pt x="530" y="114"/>
                  </a:moveTo>
                  <a:lnTo>
                    <a:pt x="530" y="114"/>
                  </a:lnTo>
                  <a:lnTo>
                    <a:pt x="519" y="101"/>
                  </a:lnTo>
                  <a:lnTo>
                    <a:pt x="507" y="90"/>
                  </a:lnTo>
                  <a:lnTo>
                    <a:pt x="495" y="80"/>
                  </a:lnTo>
                  <a:lnTo>
                    <a:pt x="483" y="71"/>
                  </a:lnTo>
                  <a:lnTo>
                    <a:pt x="469" y="64"/>
                  </a:lnTo>
                  <a:lnTo>
                    <a:pt x="456" y="57"/>
                  </a:lnTo>
                  <a:lnTo>
                    <a:pt x="443" y="51"/>
                  </a:lnTo>
                  <a:lnTo>
                    <a:pt x="429" y="47"/>
                  </a:lnTo>
                  <a:lnTo>
                    <a:pt x="416" y="43"/>
                  </a:lnTo>
                  <a:lnTo>
                    <a:pt x="401" y="40"/>
                  </a:lnTo>
                  <a:lnTo>
                    <a:pt x="374" y="35"/>
                  </a:lnTo>
                  <a:lnTo>
                    <a:pt x="345" y="31"/>
                  </a:lnTo>
                  <a:lnTo>
                    <a:pt x="319" y="26"/>
                  </a:lnTo>
                  <a:lnTo>
                    <a:pt x="319" y="26"/>
                  </a:lnTo>
                  <a:lnTo>
                    <a:pt x="287" y="22"/>
                  </a:lnTo>
                  <a:lnTo>
                    <a:pt x="257" y="16"/>
                  </a:lnTo>
                  <a:lnTo>
                    <a:pt x="225" y="10"/>
                  </a:lnTo>
                  <a:lnTo>
                    <a:pt x="194" y="5"/>
                  </a:lnTo>
                  <a:lnTo>
                    <a:pt x="162" y="2"/>
                  </a:lnTo>
                  <a:lnTo>
                    <a:pt x="147" y="0"/>
                  </a:lnTo>
                  <a:lnTo>
                    <a:pt x="132" y="0"/>
                  </a:lnTo>
                  <a:lnTo>
                    <a:pt x="117" y="2"/>
                  </a:lnTo>
                  <a:lnTo>
                    <a:pt x="101" y="4"/>
                  </a:lnTo>
                  <a:lnTo>
                    <a:pt x="87" y="7"/>
                  </a:lnTo>
                  <a:lnTo>
                    <a:pt x="72" y="12"/>
                  </a:lnTo>
                  <a:lnTo>
                    <a:pt x="72" y="12"/>
                  </a:lnTo>
                  <a:lnTo>
                    <a:pt x="63" y="15"/>
                  </a:lnTo>
                  <a:lnTo>
                    <a:pt x="54" y="20"/>
                  </a:lnTo>
                  <a:lnTo>
                    <a:pt x="47" y="26"/>
                  </a:lnTo>
                  <a:lnTo>
                    <a:pt x="39" y="33"/>
                  </a:lnTo>
                  <a:lnTo>
                    <a:pt x="33" y="40"/>
                  </a:lnTo>
                  <a:lnTo>
                    <a:pt x="27" y="49"/>
                  </a:lnTo>
                  <a:lnTo>
                    <a:pt x="22" y="58"/>
                  </a:lnTo>
                  <a:lnTo>
                    <a:pt x="17" y="69"/>
                  </a:lnTo>
                  <a:lnTo>
                    <a:pt x="13" y="79"/>
                  </a:lnTo>
                  <a:lnTo>
                    <a:pt x="9" y="90"/>
                  </a:lnTo>
                  <a:lnTo>
                    <a:pt x="6" y="101"/>
                  </a:lnTo>
                  <a:lnTo>
                    <a:pt x="3" y="113"/>
                  </a:lnTo>
                  <a:lnTo>
                    <a:pt x="2" y="126"/>
                  </a:lnTo>
                  <a:lnTo>
                    <a:pt x="0" y="138"/>
                  </a:lnTo>
                  <a:lnTo>
                    <a:pt x="0" y="150"/>
                  </a:lnTo>
                  <a:lnTo>
                    <a:pt x="0" y="163"/>
                  </a:lnTo>
                  <a:lnTo>
                    <a:pt x="575" y="259"/>
                  </a:lnTo>
                  <a:lnTo>
                    <a:pt x="575" y="259"/>
                  </a:lnTo>
                  <a:lnTo>
                    <a:pt x="573" y="240"/>
                  </a:lnTo>
                  <a:lnTo>
                    <a:pt x="571" y="220"/>
                  </a:lnTo>
                  <a:lnTo>
                    <a:pt x="568" y="201"/>
                  </a:lnTo>
                  <a:lnTo>
                    <a:pt x="563" y="182"/>
                  </a:lnTo>
                  <a:lnTo>
                    <a:pt x="558" y="163"/>
                  </a:lnTo>
                  <a:lnTo>
                    <a:pt x="550" y="146"/>
                  </a:lnTo>
                  <a:lnTo>
                    <a:pt x="541" y="130"/>
                  </a:lnTo>
                  <a:lnTo>
                    <a:pt x="530" y="114"/>
                  </a:lnTo>
                  <a:lnTo>
                    <a:pt x="530" y="1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5" name="Freeform 2100"/>
            <p:cNvSpPr>
              <a:spLocks/>
            </p:cNvSpPr>
            <p:nvPr/>
          </p:nvSpPr>
          <p:spPr bwMode="auto">
            <a:xfrm>
              <a:off x="11123613" y="2706688"/>
              <a:ext cx="82550" cy="114300"/>
            </a:xfrm>
            <a:custGeom>
              <a:avLst/>
              <a:gdLst>
                <a:gd name="T0" fmla="*/ 0 w 308"/>
                <a:gd name="T1" fmla="*/ 0 h 429"/>
                <a:gd name="T2" fmla="*/ 66 w 308"/>
                <a:gd name="T3" fmla="*/ 12 h 429"/>
                <a:gd name="T4" fmla="*/ 66 w 308"/>
                <a:gd name="T5" fmla="*/ 161 h 429"/>
                <a:gd name="T6" fmla="*/ 241 w 308"/>
                <a:gd name="T7" fmla="*/ 192 h 429"/>
                <a:gd name="T8" fmla="*/ 241 w 308"/>
                <a:gd name="T9" fmla="*/ 44 h 429"/>
                <a:gd name="T10" fmla="*/ 308 w 308"/>
                <a:gd name="T11" fmla="*/ 55 h 429"/>
                <a:gd name="T12" fmla="*/ 308 w 308"/>
                <a:gd name="T13" fmla="*/ 429 h 429"/>
                <a:gd name="T14" fmla="*/ 241 w 308"/>
                <a:gd name="T15" fmla="*/ 417 h 429"/>
                <a:gd name="T16" fmla="*/ 241 w 308"/>
                <a:gd name="T17" fmla="*/ 252 h 429"/>
                <a:gd name="T18" fmla="*/ 66 w 308"/>
                <a:gd name="T19" fmla="*/ 222 h 429"/>
                <a:gd name="T20" fmla="*/ 66 w 308"/>
                <a:gd name="T21" fmla="*/ 386 h 429"/>
                <a:gd name="T22" fmla="*/ 0 w 308"/>
                <a:gd name="T23" fmla="*/ 374 h 429"/>
                <a:gd name="T24" fmla="*/ 0 w 308"/>
                <a:gd name="T25"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429">
                  <a:moveTo>
                    <a:pt x="0" y="0"/>
                  </a:moveTo>
                  <a:lnTo>
                    <a:pt x="66" y="12"/>
                  </a:lnTo>
                  <a:lnTo>
                    <a:pt x="66" y="161"/>
                  </a:lnTo>
                  <a:lnTo>
                    <a:pt x="241" y="192"/>
                  </a:lnTo>
                  <a:lnTo>
                    <a:pt x="241" y="44"/>
                  </a:lnTo>
                  <a:lnTo>
                    <a:pt x="308" y="55"/>
                  </a:lnTo>
                  <a:lnTo>
                    <a:pt x="308" y="429"/>
                  </a:lnTo>
                  <a:lnTo>
                    <a:pt x="241" y="417"/>
                  </a:lnTo>
                  <a:lnTo>
                    <a:pt x="241" y="252"/>
                  </a:lnTo>
                  <a:lnTo>
                    <a:pt x="66" y="222"/>
                  </a:lnTo>
                  <a:lnTo>
                    <a:pt x="66" y="386"/>
                  </a:lnTo>
                  <a:lnTo>
                    <a:pt x="0" y="37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6" name="Freeform 2101"/>
            <p:cNvSpPr>
              <a:spLocks noEditPoints="1"/>
            </p:cNvSpPr>
            <p:nvPr/>
          </p:nvSpPr>
          <p:spPr bwMode="auto">
            <a:xfrm>
              <a:off x="11210926" y="2757488"/>
              <a:ext cx="68263" cy="73025"/>
            </a:xfrm>
            <a:custGeom>
              <a:avLst/>
              <a:gdLst>
                <a:gd name="T0" fmla="*/ 63 w 256"/>
                <a:gd name="T1" fmla="*/ 145 h 272"/>
                <a:gd name="T2" fmla="*/ 70 w 256"/>
                <a:gd name="T3" fmla="*/ 171 h 272"/>
                <a:gd name="T4" fmla="*/ 85 w 256"/>
                <a:gd name="T5" fmla="*/ 193 h 272"/>
                <a:gd name="T6" fmla="*/ 95 w 256"/>
                <a:gd name="T7" fmla="*/ 201 h 272"/>
                <a:gd name="T8" fmla="*/ 118 w 256"/>
                <a:gd name="T9" fmla="*/ 214 h 272"/>
                <a:gd name="T10" fmla="*/ 131 w 256"/>
                <a:gd name="T11" fmla="*/ 217 h 272"/>
                <a:gd name="T12" fmla="*/ 152 w 256"/>
                <a:gd name="T13" fmla="*/ 219 h 272"/>
                <a:gd name="T14" fmla="*/ 171 w 256"/>
                <a:gd name="T15" fmla="*/ 215 h 272"/>
                <a:gd name="T16" fmla="*/ 179 w 256"/>
                <a:gd name="T17" fmla="*/ 211 h 272"/>
                <a:gd name="T18" fmla="*/ 193 w 256"/>
                <a:gd name="T19" fmla="*/ 200 h 272"/>
                <a:gd name="T20" fmla="*/ 244 w 256"/>
                <a:gd name="T21" fmla="*/ 237 h 272"/>
                <a:gd name="T22" fmla="*/ 233 w 256"/>
                <a:gd name="T23" fmla="*/ 248 h 272"/>
                <a:gd name="T24" fmla="*/ 208 w 256"/>
                <a:gd name="T25" fmla="*/ 264 h 272"/>
                <a:gd name="T26" fmla="*/ 195 w 256"/>
                <a:gd name="T27" fmla="*/ 268 h 272"/>
                <a:gd name="T28" fmla="*/ 167 w 256"/>
                <a:gd name="T29" fmla="*/ 272 h 272"/>
                <a:gd name="T30" fmla="*/ 137 w 256"/>
                <a:gd name="T31" fmla="*/ 269 h 272"/>
                <a:gd name="T32" fmla="*/ 123 w 256"/>
                <a:gd name="T33" fmla="*/ 266 h 272"/>
                <a:gd name="T34" fmla="*/ 96 w 256"/>
                <a:gd name="T35" fmla="*/ 256 h 272"/>
                <a:gd name="T36" fmla="*/ 83 w 256"/>
                <a:gd name="T37" fmla="*/ 249 h 272"/>
                <a:gd name="T38" fmla="*/ 60 w 256"/>
                <a:gd name="T39" fmla="*/ 234 h 272"/>
                <a:gd name="T40" fmla="*/ 39 w 256"/>
                <a:gd name="T41" fmla="*/ 215 h 272"/>
                <a:gd name="T42" fmla="*/ 30 w 256"/>
                <a:gd name="T43" fmla="*/ 205 h 272"/>
                <a:gd name="T44" fmla="*/ 16 w 256"/>
                <a:gd name="T45" fmla="*/ 181 h 272"/>
                <a:gd name="T46" fmla="*/ 10 w 256"/>
                <a:gd name="T47" fmla="*/ 168 h 272"/>
                <a:gd name="T48" fmla="*/ 2 w 256"/>
                <a:gd name="T49" fmla="*/ 140 h 272"/>
                <a:gd name="T50" fmla="*/ 0 w 256"/>
                <a:gd name="T51" fmla="*/ 111 h 272"/>
                <a:gd name="T52" fmla="*/ 0 w 256"/>
                <a:gd name="T53" fmla="*/ 97 h 272"/>
                <a:gd name="T54" fmla="*/ 6 w 256"/>
                <a:gd name="T55" fmla="*/ 70 h 272"/>
                <a:gd name="T56" fmla="*/ 10 w 256"/>
                <a:gd name="T57" fmla="*/ 58 h 272"/>
                <a:gd name="T58" fmla="*/ 23 w 256"/>
                <a:gd name="T59" fmla="*/ 38 h 272"/>
                <a:gd name="T60" fmla="*/ 39 w 256"/>
                <a:gd name="T61" fmla="*/ 21 h 272"/>
                <a:gd name="T62" fmla="*/ 50 w 256"/>
                <a:gd name="T63" fmla="*/ 15 h 272"/>
                <a:gd name="T64" fmla="*/ 71 w 256"/>
                <a:gd name="T65" fmla="*/ 6 h 272"/>
                <a:gd name="T66" fmla="*/ 83 w 256"/>
                <a:gd name="T67" fmla="*/ 2 h 272"/>
                <a:gd name="T68" fmla="*/ 110 w 256"/>
                <a:gd name="T69" fmla="*/ 0 h 272"/>
                <a:gd name="T70" fmla="*/ 137 w 256"/>
                <a:gd name="T71" fmla="*/ 3 h 272"/>
                <a:gd name="T72" fmla="*/ 150 w 256"/>
                <a:gd name="T73" fmla="*/ 5 h 272"/>
                <a:gd name="T74" fmla="*/ 175 w 256"/>
                <a:gd name="T75" fmla="*/ 14 h 272"/>
                <a:gd name="T76" fmla="*/ 186 w 256"/>
                <a:gd name="T77" fmla="*/ 20 h 272"/>
                <a:gd name="T78" fmla="*/ 206 w 256"/>
                <a:gd name="T79" fmla="*/ 36 h 272"/>
                <a:gd name="T80" fmla="*/ 223 w 256"/>
                <a:gd name="T81" fmla="*/ 54 h 272"/>
                <a:gd name="T82" fmla="*/ 231 w 256"/>
                <a:gd name="T83" fmla="*/ 64 h 272"/>
                <a:gd name="T84" fmla="*/ 243 w 256"/>
                <a:gd name="T85" fmla="*/ 89 h 272"/>
                <a:gd name="T86" fmla="*/ 247 w 256"/>
                <a:gd name="T87" fmla="*/ 101 h 272"/>
                <a:gd name="T88" fmla="*/ 254 w 256"/>
                <a:gd name="T89" fmla="*/ 130 h 272"/>
                <a:gd name="T90" fmla="*/ 256 w 256"/>
                <a:gd name="T91" fmla="*/ 162 h 272"/>
                <a:gd name="T92" fmla="*/ 63 w 256"/>
                <a:gd name="T93" fmla="*/ 145 h 272"/>
                <a:gd name="T94" fmla="*/ 193 w 256"/>
                <a:gd name="T95" fmla="*/ 120 h 272"/>
                <a:gd name="T96" fmla="*/ 188 w 256"/>
                <a:gd name="T97" fmla="*/ 95 h 272"/>
                <a:gd name="T98" fmla="*/ 175 w 256"/>
                <a:gd name="T99" fmla="*/ 73 h 272"/>
                <a:gd name="T100" fmla="*/ 166 w 256"/>
                <a:gd name="T101" fmla="*/ 64 h 272"/>
                <a:gd name="T102" fmla="*/ 142 w 256"/>
                <a:gd name="T103" fmla="*/ 52 h 272"/>
                <a:gd name="T104" fmla="*/ 128 w 256"/>
                <a:gd name="T105" fmla="*/ 49 h 272"/>
                <a:gd name="T106" fmla="*/ 103 w 256"/>
                <a:gd name="T107" fmla="*/ 48 h 272"/>
                <a:gd name="T108" fmla="*/ 92 w 256"/>
                <a:gd name="T109" fmla="*/ 51 h 272"/>
                <a:gd name="T110" fmla="*/ 83 w 256"/>
                <a:gd name="T111" fmla="*/ 57 h 272"/>
                <a:gd name="T112" fmla="*/ 75 w 256"/>
                <a:gd name="T113" fmla="*/ 64 h 272"/>
                <a:gd name="T114" fmla="*/ 65 w 256"/>
                <a:gd name="T115" fmla="*/ 84 h 272"/>
                <a:gd name="T116" fmla="*/ 193 w 256"/>
                <a:gd name="T117" fmla="*/ 12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6" h="272">
                  <a:moveTo>
                    <a:pt x="63" y="145"/>
                  </a:moveTo>
                  <a:lnTo>
                    <a:pt x="63" y="145"/>
                  </a:lnTo>
                  <a:lnTo>
                    <a:pt x="65" y="159"/>
                  </a:lnTo>
                  <a:lnTo>
                    <a:pt x="70" y="171"/>
                  </a:lnTo>
                  <a:lnTo>
                    <a:pt x="76" y="183"/>
                  </a:lnTo>
                  <a:lnTo>
                    <a:pt x="85" y="193"/>
                  </a:lnTo>
                  <a:lnTo>
                    <a:pt x="85" y="193"/>
                  </a:lnTo>
                  <a:lnTo>
                    <a:pt x="95" y="201"/>
                  </a:lnTo>
                  <a:lnTo>
                    <a:pt x="106" y="209"/>
                  </a:lnTo>
                  <a:lnTo>
                    <a:pt x="118" y="214"/>
                  </a:lnTo>
                  <a:lnTo>
                    <a:pt x="131" y="217"/>
                  </a:lnTo>
                  <a:lnTo>
                    <a:pt x="131" y="217"/>
                  </a:lnTo>
                  <a:lnTo>
                    <a:pt x="142" y="219"/>
                  </a:lnTo>
                  <a:lnTo>
                    <a:pt x="152" y="219"/>
                  </a:lnTo>
                  <a:lnTo>
                    <a:pt x="163" y="217"/>
                  </a:lnTo>
                  <a:lnTo>
                    <a:pt x="171" y="215"/>
                  </a:lnTo>
                  <a:lnTo>
                    <a:pt x="171" y="215"/>
                  </a:lnTo>
                  <a:lnTo>
                    <a:pt x="179" y="211"/>
                  </a:lnTo>
                  <a:lnTo>
                    <a:pt x="186" y="206"/>
                  </a:lnTo>
                  <a:lnTo>
                    <a:pt x="193" y="200"/>
                  </a:lnTo>
                  <a:lnTo>
                    <a:pt x="199" y="194"/>
                  </a:lnTo>
                  <a:lnTo>
                    <a:pt x="244" y="237"/>
                  </a:lnTo>
                  <a:lnTo>
                    <a:pt x="244" y="237"/>
                  </a:lnTo>
                  <a:lnTo>
                    <a:pt x="233" y="248"/>
                  </a:lnTo>
                  <a:lnTo>
                    <a:pt x="220" y="256"/>
                  </a:lnTo>
                  <a:lnTo>
                    <a:pt x="208" y="264"/>
                  </a:lnTo>
                  <a:lnTo>
                    <a:pt x="195" y="268"/>
                  </a:lnTo>
                  <a:lnTo>
                    <a:pt x="195" y="268"/>
                  </a:lnTo>
                  <a:lnTo>
                    <a:pt x="181" y="270"/>
                  </a:lnTo>
                  <a:lnTo>
                    <a:pt x="167" y="272"/>
                  </a:lnTo>
                  <a:lnTo>
                    <a:pt x="152" y="271"/>
                  </a:lnTo>
                  <a:lnTo>
                    <a:pt x="137" y="269"/>
                  </a:lnTo>
                  <a:lnTo>
                    <a:pt x="137" y="269"/>
                  </a:lnTo>
                  <a:lnTo>
                    <a:pt x="123" y="266"/>
                  </a:lnTo>
                  <a:lnTo>
                    <a:pt x="110" y="261"/>
                  </a:lnTo>
                  <a:lnTo>
                    <a:pt x="96" y="256"/>
                  </a:lnTo>
                  <a:lnTo>
                    <a:pt x="83" y="249"/>
                  </a:lnTo>
                  <a:lnTo>
                    <a:pt x="83" y="249"/>
                  </a:lnTo>
                  <a:lnTo>
                    <a:pt x="71" y="242"/>
                  </a:lnTo>
                  <a:lnTo>
                    <a:pt x="60" y="234"/>
                  </a:lnTo>
                  <a:lnTo>
                    <a:pt x="50" y="225"/>
                  </a:lnTo>
                  <a:lnTo>
                    <a:pt x="39" y="215"/>
                  </a:lnTo>
                  <a:lnTo>
                    <a:pt x="39" y="215"/>
                  </a:lnTo>
                  <a:lnTo>
                    <a:pt x="30" y="205"/>
                  </a:lnTo>
                  <a:lnTo>
                    <a:pt x="23" y="193"/>
                  </a:lnTo>
                  <a:lnTo>
                    <a:pt x="16" y="181"/>
                  </a:lnTo>
                  <a:lnTo>
                    <a:pt x="10" y="168"/>
                  </a:lnTo>
                  <a:lnTo>
                    <a:pt x="10" y="168"/>
                  </a:lnTo>
                  <a:lnTo>
                    <a:pt x="6" y="155"/>
                  </a:lnTo>
                  <a:lnTo>
                    <a:pt x="2" y="140"/>
                  </a:lnTo>
                  <a:lnTo>
                    <a:pt x="0" y="126"/>
                  </a:lnTo>
                  <a:lnTo>
                    <a:pt x="0" y="111"/>
                  </a:lnTo>
                  <a:lnTo>
                    <a:pt x="0" y="111"/>
                  </a:lnTo>
                  <a:lnTo>
                    <a:pt x="0" y="97"/>
                  </a:lnTo>
                  <a:lnTo>
                    <a:pt x="2" y="83"/>
                  </a:lnTo>
                  <a:lnTo>
                    <a:pt x="6" y="70"/>
                  </a:lnTo>
                  <a:lnTo>
                    <a:pt x="10" y="58"/>
                  </a:lnTo>
                  <a:lnTo>
                    <a:pt x="10" y="58"/>
                  </a:lnTo>
                  <a:lnTo>
                    <a:pt x="16" y="48"/>
                  </a:lnTo>
                  <a:lnTo>
                    <a:pt x="23" y="38"/>
                  </a:lnTo>
                  <a:lnTo>
                    <a:pt x="30" y="30"/>
                  </a:lnTo>
                  <a:lnTo>
                    <a:pt x="39" y="21"/>
                  </a:lnTo>
                  <a:lnTo>
                    <a:pt x="39" y="21"/>
                  </a:lnTo>
                  <a:lnTo>
                    <a:pt x="50" y="15"/>
                  </a:lnTo>
                  <a:lnTo>
                    <a:pt x="60" y="10"/>
                  </a:lnTo>
                  <a:lnTo>
                    <a:pt x="71" y="6"/>
                  </a:lnTo>
                  <a:lnTo>
                    <a:pt x="83" y="2"/>
                  </a:lnTo>
                  <a:lnTo>
                    <a:pt x="83" y="2"/>
                  </a:lnTo>
                  <a:lnTo>
                    <a:pt x="96" y="1"/>
                  </a:lnTo>
                  <a:lnTo>
                    <a:pt x="110" y="0"/>
                  </a:lnTo>
                  <a:lnTo>
                    <a:pt x="123" y="1"/>
                  </a:lnTo>
                  <a:lnTo>
                    <a:pt x="137" y="3"/>
                  </a:lnTo>
                  <a:lnTo>
                    <a:pt x="137" y="3"/>
                  </a:lnTo>
                  <a:lnTo>
                    <a:pt x="150" y="5"/>
                  </a:lnTo>
                  <a:lnTo>
                    <a:pt x="163" y="9"/>
                  </a:lnTo>
                  <a:lnTo>
                    <a:pt x="175" y="14"/>
                  </a:lnTo>
                  <a:lnTo>
                    <a:pt x="186" y="20"/>
                  </a:lnTo>
                  <a:lnTo>
                    <a:pt x="186" y="20"/>
                  </a:lnTo>
                  <a:lnTo>
                    <a:pt x="196" y="28"/>
                  </a:lnTo>
                  <a:lnTo>
                    <a:pt x="206" y="36"/>
                  </a:lnTo>
                  <a:lnTo>
                    <a:pt x="214" y="44"/>
                  </a:lnTo>
                  <a:lnTo>
                    <a:pt x="223" y="54"/>
                  </a:lnTo>
                  <a:lnTo>
                    <a:pt x="223" y="54"/>
                  </a:lnTo>
                  <a:lnTo>
                    <a:pt x="231" y="64"/>
                  </a:lnTo>
                  <a:lnTo>
                    <a:pt x="237" y="75"/>
                  </a:lnTo>
                  <a:lnTo>
                    <a:pt x="243" y="89"/>
                  </a:lnTo>
                  <a:lnTo>
                    <a:pt x="247" y="101"/>
                  </a:lnTo>
                  <a:lnTo>
                    <a:pt x="247" y="101"/>
                  </a:lnTo>
                  <a:lnTo>
                    <a:pt x="251" y="115"/>
                  </a:lnTo>
                  <a:lnTo>
                    <a:pt x="254" y="130"/>
                  </a:lnTo>
                  <a:lnTo>
                    <a:pt x="255" y="146"/>
                  </a:lnTo>
                  <a:lnTo>
                    <a:pt x="256" y="162"/>
                  </a:lnTo>
                  <a:lnTo>
                    <a:pt x="256" y="179"/>
                  </a:lnTo>
                  <a:lnTo>
                    <a:pt x="63" y="145"/>
                  </a:lnTo>
                  <a:close/>
                  <a:moveTo>
                    <a:pt x="193" y="120"/>
                  </a:moveTo>
                  <a:lnTo>
                    <a:pt x="193" y="120"/>
                  </a:lnTo>
                  <a:lnTo>
                    <a:pt x="191" y="107"/>
                  </a:lnTo>
                  <a:lnTo>
                    <a:pt x="188" y="95"/>
                  </a:lnTo>
                  <a:lnTo>
                    <a:pt x="183" y="83"/>
                  </a:lnTo>
                  <a:lnTo>
                    <a:pt x="175" y="73"/>
                  </a:lnTo>
                  <a:lnTo>
                    <a:pt x="175" y="73"/>
                  </a:lnTo>
                  <a:lnTo>
                    <a:pt x="166" y="64"/>
                  </a:lnTo>
                  <a:lnTo>
                    <a:pt x="155" y="57"/>
                  </a:lnTo>
                  <a:lnTo>
                    <a:pt x="142" y="52"/>
                  </a:lnTo>
                  <a:lnTo>
                    <a:pt x="128" y="49"/>
                  </a:lnTo>
                  <a:lnTo>
                    <a:pt x="128" y="49"/>
                  </a:lnTo>
                  <a:lnTo>
                    <a:pt x="115" y="47"/>
                  </a:lnTo>
                  <a:lnTo>
                    <a:pt x="103" y="48"/>
                  </a:lnTo>
                  <a:lnTo>
                    <a:pt x="97" y="50"/>
                  </a:lnTo>
                  <a:lnTo>
                    <a:pt x="92" y="51"/>
                  </a:lnTo>
                  <a:lnTo>
                    <a:pt x="87" y="54"/>
                  </a:lnTo>
                  <a:lnTo>
                    <a:pt x="83" y="57"/>
                  </a:lnTo>
                  <a:lnTo>
                    <a:pt x="83" y="57"/>
                  </a:lnTo>
                  <a:lnTo>
                    <a:pt x="75" y="64"/>
                  </a:lnTo>
                  <a:lnTo>
                    <a:pt x="70" y="73"/>
                  </a:lnTo>
                  <a:lnTo>
                    <a:pt x="65" y="84"/>
                  </a:lnTo>
                  <a:lnTo>
                    <a:pt x="63" y="97"/>
                  </a:lnTo>
                  <a:lnTo>
                    <a:pt x="193"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7" name="Freeform 2102"/>
            <p:cNvSpPr>
              <a:spLocks/>
            </p:cNvSpPr>
            <p:nvPr/>
          </p:nvSpPr>
          <p:spPr bwMode="auto">
            <a:xfrm>
              <a:off x="11285538" y="2732088"/>
              <a:ext cx="17463" cy="107950"/>
            </a:xfrm>
            <a:custGeom>
              <a:avLst/>
              <a:gdLst>
                <a:gd name="T0" fmla="*/ 0 w 63"/>
                <a:gd name="T1" fmla="*/ 0 h 411"/>
                <a:gd name="T2" fmla="*/ 63 w 63"/>
                <a:gd name="T3" fmla="*/ 12 h 411"/>
                <a:gd name="T4" fmla="*/ 63 w 63"/>
                <a:gd name="T5" fmla="*/ 411 h 411"/>
                <a:gd name="T6" fmla="*/ 0 w 63"/>
                <a:gd name="T7" fmla="*/ 400 h 411"/>
                <a:gd name="T8" fmla="*/ 0 w 63"/>
                <a:gd name="T9" fmla="*/ 0 h 411"/>
              </a:gdLst>
              <a:ahLst/>
              <a:cxnLst>
                <a:cxn ang="0">
                  <a:pos x="T0" y="T1"/>
                </a:cxn>
                <a:cxn ang="0">
                  <a:pos x="T2" y="T3"/>
                </a:cxn>
                <a:cxn ang="0">
                  <a:pos x="T4" y="T5"/>
                </a:cxn>
                <a:cxn ang="0">
                  <a:pos x="T6" y="T7"/>
                </a:cxn>
                <a:cxn ang="0">
                  <a:pos x="T8" y="T9"/>
                </a:cxn>
              </a:cxnLst>
              <a:rect l="0" t="0" r="r" b="b"/>
              <a:pathLst>
                <a:path w="63" h="411">
                  <a:moveTo>
                    <a:pt x="0" y="0"/>
                  </a:moveTo>
                  <a:lnTo>
                    <a:pt x="63" y="12"/>
                  </a:lnTo>
                  <a:lnTo>
                    <a:pt x="63" y="411"/>
                  </a:lnTo>
                  <a:lnTo>
                    <a:pt x="0" y="40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8" name="Freeform 2103"/>
            <p:cNvSpPr>
              <a:spLocks/>
            </p:cNvSpPr>
            <p:nvPr/>
          </p:nvSpPr>
          <p:spPr bwMode="auto">
            <a:xfrm>
              <a:off x="11314113" y="2736850"/>
              <a:ext cx="15875" cy="107950"/>
            </a:xfrm>
            <a:custGeom>
              <a:avLst/>
              <a:gdLst>
                <a:gd name="T0" fmla="*/ 0 w 63"/>
                <a:gd name="T1" fmla="*/ 0 h 411"/>
                <a:gd name="T2" fmla="*/ 63 w 63"/>
                <a:gd name="T3" fmla="*/ 11 h 411"/>
                <a:gd name="T4" fmla="*/ 63 w 63"/>
                <a:gd name="T5" fmla="*/ 411 h 411"/>
                <a:gd name="T6" fmla="*/ 0 w 63"/>
                <a:gd name="T7" fmla="*/ 399 h 411"/>
                <a:gd name="T8" fmla="*/ 0 w 63"/>
                <a:gd name="T9" fmla="*/ 0 h 411"/>
              </a:gdLst>
              <a:ahLst/>
              <a:cxnLst>
                <a:cxn ang="0">
                  <a:pos x="T0" y="T1"/>
                </a:cxn>
                <a:cxn ang="0">
                  <a:pos x="T2" y="T3"/>
                </a:cxn>
                <a:cxn ang="0">
                  <a:pos x="T4" y="T5"/>
                </a:cxn>
                <a:cxn ang="0">
                  <a:pos x="T6" y="T7"/>
                </a:cxn>
                <a:cxn ang="0">
                  <a:pos x="T8" y="T9"/>
                </a:cxn>
              </a:cxnLst>
              <a:rect l="0" t="0" r="r" b="b"/>
              <a:pathLst>
                <a:path w="63" h="411">
                  <a:moveTo>
                    <a:pt x="0" y="0"/>
                  </a:moveTo>
                  <a:lnTo>
                    <a:pt x="63" y="11"/>
                  </a:lnTo>
                  <a:lnTo>
                    <a:pt x="63" y="411"/>
                  </a:lnTo>
                  <a:lnTo>
                    <a:pt x="0" y="39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99" name="Freeform 2104"/>
            <p:cNvSpPr>
              <a:spLocks noEditPoints="1"/>
            </p:cNvSpPr>
            <p:nvPr/>
          </p:nvSpPr>
          <p:spPr bwMode="auto">
            <a:xfrm>
              <a:off x="11339513" y="2785737"/>
              <a:ext cx="73025" cy="71438"/>
            </a:xfrm>
            <a:custGeom>
              <a:avLst/>
              <a:gdLst>
                <a:gd name="T0" fmla="*/ 0 w 275"/>
                <a:gd name="T1" fmla="*/ 96 h 271"/>
                <a:gd name="T2" fmla="*/ 10 w 275"/>
                <a:gd name="T3" fmla="*/ 58 h 271"/>
                <a:gd name="T4" fmla="*/ 23 w 275"/>
                <a:gd name="T5" fmla="*/ 37 h 271"/>
                <a:gd name="T6" fmla="*/ 40 w 275"/>
                <a:gd name="T7" fmla="*/ 21 h 271"/>
                <a:gd name="T8" fmla="*/ 71 w 275"/>
                <a:gd name="T9" fmla="*/ 6 h 271"/>
                <a:gd name="T10" fmla="*/ 96 w 275"/>
                <a:gd name="T11" fmla="*/ 1 h 271"/>
                <a:gd name="T12" fmla="*/ 137 w 275"/>
                <a:gd name="T13" fmla="*/ 3 h 271"/>
                <a:gd name="T14" fmla="*/ 165 w 275"/>
                <a:gd name="T15" fmla="*/ 10 h 271"/>
                <a:gd name="T16" fmla="*/ 191 w 275"/>
                <a:gd name="T17" fmla="*/ 21 h 271"/>
                <a:gd name="T18" fmla="*/ 226 w 275"/>
                <a:gd name="T19" fmla="*/ 46 h 271"/>
                <a:gd name="T20" fmla="*/ 244 w 275"/>
                <a:gd name="T21" fmla="*/ 67 h 271"/>
                <a:gd name="T22" fmla="*/ 264 w 275"/>
                <a:gd name="T23" fmla="*/ 103 h 271"/>
                <a:gd name="T24" fmla="*/ 272 w 275"/>
                <a:gd name="T25" fmla="*/ 131 h 271"/>
                <a:gd name="T26" fmla="*/ 275 w 275"/>
                <a:gd name="T27" fmla="*/ 159 h 271"/>
                <a:gd name="T28" fmla="*/ 269 w 275"/>
                <a:gd name="T29" fmla="*/ 201 h 271"/>
                <a:gd name="T30" fmla="*/ 258 w 275"/>
                <a:gd name="T31" fmla="*/ 223 h 271"/>
                <a:gd name="T32" fmla="*/ 235 w 275"/>
                <a:gd name="T33" fmla="*/ 249 h 271"/>
                <a:gd name="T34" fmla="*/ 214 w 275"/>
                <a:gd name="T35" fmla="*/ 261 h 271"/>
                <a:gd name="T36" fmla="*/ 191 w 275"/>
                <a:gd name="T37" fmla="*/ 268 h 271"/>
                <a:gd name="T38" fmla="*/ 151 w 275"/>
                <a:gd name="T39" fmla="*/ 270 h 271"/>
                <a:gd name="T40" fmla="*/ 123 w 275"/>
                <a:gd name="T41" fmla="*/ 265 h 271"/>
                <a:gd name="T42" fmla="*/ 83 w 275"/>
                <a:gd name="T43" fmla="*/ 249 h 271"/>
                <a:gd name="T44" fmla="*/ 60 w 275"/>
                <a:gd name="T45" fmla="*/ 234 h 271"/>
                <a:gd name="T46" fmla="*/ 40 w 275"/>
                <a:gd name="T47" fmla="*/ 214 h 271"/>
                <a:gd name="T48" fmla="*/ 16 w 275"/>
                <a:gd name="T49" fmla="*/ 181 h 271"/>
                <a:gd name="T50" fmla="*/ 6 w 275"/>
                <a:gd name="T51" fmla="*/ 154 h 271"/>
                <a:gd name="T52" fmla="*/ 0 w 275"/>
                <a:gd name="T53" fmla="*/ 111 h 271"/>
                <a:gd name="T54" fmla="*/ 63 w 275"/>
                <a:gd name="T55" fmla="*/ 122 h 271"/>
                <a:gd name="T56" fmla="*/ 66 w 275"/>
                <a:gd name="T57" fmla="*/ 144 h 271"/>
                <a:gd name="T58" fmla="*/ 71 w 275"/>
                <a:gd name="T59" fmla="*/ 158 h 271"/>
                <a:gd name="T60" fmla="*/ 82 w 275"/>
                <a:gd name="T61" fmla="*/ 179 h 271"/>
                <a:gd name="T62" fmla="*/ 93 w 275"/>
                <a:gd name="T63" fmla="*/ 190 h 271"/>
                <a:gd name="T64" fmla="*/ 107 w 275"/>
                <a:gd name="T65" fmla="*/ 199 h 271"/>
                <a:gd name="T66" fmla="*/ 129 w 275"/>
                <a:gd name="T67" fmla="*/ 209 h 271"/>
                <a:gd name="T68" fmla="*/ 146 w 275"/>
                <a:gd name="T69" fmla="*/ 212 h 271"/>
                <a:gd name="T70" fmla="*/ 169 w 275"/>
                <a:gd name="T71" fmla="*/ 210 h 271"/>
                <a:gd name="T72" fmla="*/ 181 w 275"/>
                <a:gd name="T73" fmla="*/ 205 h 271"/>
                <a:gd name="T74" fmla="*/ 192 w 275"/>
                <a:gd name="T75" fmla="*/ 198 h 271"/>
                <a:gd name="T76" fmla="*/ 204 w 275"/>
                <a:gd name="T77" fmla="*/ 183 h 271"/>
                <a:gd name="T78" fmla="*/ 209 w 275"/>
                <a:gd name="T79" fmla="*/ 170 h 271"/>
                <a:gd name="T80" fmla="*/ 211 w 275"/>
                <a:gd name="T81" fmla="*/ 148 h 271"/>
                <a:gd name="T82" fmla="*/ 210 w 275"/>
                <a:gd name="T83" fmla="*/ 134 h 271"/>
                <a:gd name="T84" fmla="*/ 204 w 275"/>
                <a:gd name="T85" fmla="*/ 112 h 271"/>
                <a:gd name="T86" fmla="*/ 192 w 275"/>
                <a:gd name="T87" fmla="*/ 92 h 271"/>
                <a:gd name="T88" fmla="*/ 181 w 275"/>
                <a:gd name="T89" fmla="*/ 81 h 271"/>
                <a:gd name="T90" fmla="*/ 169 w 275"/>
                <a:gd name="T91" fmla="*/ 71 h 271"/>
                <a:gd name="T92" fmla="*/ 146 w 275"/>
                <a:gd name="T93" fmla="*/ 62 h 271"/>
                <a:gd name="T94" fmla="*/ 129 w 275"/>
                <a:gd name="T95" fmla="*/ 59 h 271"/>
                <a:gd name="T96" fmla="*/ 107 w 275"/>
                <a:gd name="T97" fmla="*/ 60 h 271"/>
                <a:gd name="T98" fmla="*/ 93 w 275"/>
                <a:gd name="T99" fmla="*/ 65 h 271"/>
                <a:gd name="T100" fmla="*/ 82 w 275"/>
                <a:gd name="T101" fmla="*/ 73 h 271"/>
                <a:gd name="T102" fmla="*/ 71 w 275"/>
                <a:gd name="T103" fmla="*/ 88 h 271"/>
                <a:gd name="T104" fmla="*/ 66 w 275"/>
                <a:gd name="T105" fmla="*/ 101 h 271"/>
                <a:gd name="T106" fmla="*/ 63 w 275"/>
                <a:gd name="T107" fmla="*/ 12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5" h="271">
                  <a:moveTo>
                    <a:pt x="0" y="111"/>
                  </a:moveTo>
                  <a:lnTo>
                    <a:pt x="0" y="111"/>
                  </a:lnTo>
                  <a:lnTo>
                    <a:pt x="0" y="96"/>
                  </a:lnTo>
                  <a:lnTo>
                    <a:pt x="2" y="83"/>
                  </a:lnTo>
                  <a:lnTo>
                    <a:pt x="6" y="70"/>
                  </a:lnTo>
                  <a:lnTo>
                    <a:pt x="10" y="58"/>
                  </a:lnTo>
                  <a:lnTo>
                    <a:pt x="10" y="58"/>
                  </a:lnTo>
                  <a:lnTo>
                    <a:pt x="16" y="47"/>
                  </a:lnTo>
                  <a:lnTo>
                    <a:pt x="23" y="37"/>
                  </a:lnTo>
                  <a:lnTo>
                    <a:pt x="31" y="29"/>
                  </a:lnTo>
                  <a:lnTo>
                    <a:pt x="40" y="21"/>
                  </a:lnTo>
                  <a:lnTo>
                    <a:pt x="40" y="21"/>
                  </a:lnTo>
                  <a:lnTo>
                    <a:pt x="50" y="15"/>
                  </a:lnTo>
                  <a:lnTo>
                    <a:pt x="60" y="10"/>
                  </a:lnTo>
                  <a:lnTo>
                    <a:pt x="71" y="6"/>
                  </a:lnTo>
                  <a:lnTo>
                    <a:pt x="83" y="2"/>
                  </a:lnTo>
                  <a:lnTo>
                    <a:pt x="83" y="2"/>
                  </a:lnTo>
                  <a:lnTo>
                    <a:pt x="96" y="1"/>
                  </a:lnTo>
                  <a:lnTo>
                    <a:pt x="110" y="0"/>
                  </a:lnTo>
                  <a:lnTo>
                    <a:pt x="123" y="1"/>
                  </a:lnTo>
                  <a:lnTo>
                    <a:pt x="137" y="3"/>
                  </a:lnTo>
                  <a:lnTo>
                    <a:pt x="137" y="3"/>
                  </a:lnTo>
                  <a:lnTo>
                    <a:pt x="151" y="6"/>
                  </a:lnTo>
                  <a:lnTo>
                    <a:pt x="165" y="10"/>
                  </a:lnTo>
                  <a:lnTo>
                    <a:pt x="179" y="15"/>
                  </a:lnTo>
                  <a:lnTo>
                    <a:pt x="191" y="21"/>
                  </a:lnTo>
                  <a:lnTo>
                    <a:pt x="191" y="21"/>
                  </a:lnTo>
                  <a:lnTo>
                    <a:pt x="203" y="29"/>
                  </a:lnTo>
                  <a:lnTo>
                    <a:pt x="214" y="37"/>
                  </a:lnTo>
                  <a:lnTo>
                    <a:pt x="226" y="46"/>
                  </a:lnTo>
                  <a:lnTo>
                    <a:pt x="235" y="56"/>
                  </a:lnTo>
                  <a:lnTo>
                    <a:pt x="235" y="56"/>
                  </a:lnTo>
                  <a:lnTo>
                    <a:pt x="244" y="67"/>
                  </a:lnTo>
                  <a:lnTo>
                    <a:pt x="252" y="78"/>
                  </a:lnTo>
                  <a:lnTo>
                    <a:pt x="258" y="90"/>
                  </a:lnTo>
                  <a:lnTo>
                    <a:pt x="264" y="103"/>
                  </a:lnTo>
                  <a:lnTo>
                    <a:pt x="264" y="103"/>
                  </a:lnTo>
                  <a:lnTo>
                    <a:pt x="269" y="117"/>
                  </a:lnTo>
                  <a:lnTo>
                    <a:pt x="272" y="131"/>
                  </a:lnTo>
                  <a:lnTo>
                    <a:pt x="274" y="145"/>
                  </a:lnTo>
                  <a:lnTo>
                    <a:pt x="275" y="159"/>
                  </a:lnTo>
                  <a:lnTo>
                    <a:pt x="275" y="159"/>
                  </a:lnTo>
                  <a:lnTo>
                    <a:pt x="274" y="175"/>
                  </a:lnTo>
                  <a:lnTo>
                    <a:pt x="272" y="188"/>
                  </a:lnTo>
                  <a:lnTo>
                    <a:pt x="269" y="201"/>
                  </a:lnTo>
                  <a:lnTo>
                    <a:pt x="264" y="212"/>
                  </a:lnTo>
                  <a:lnTo>
                    <a:pt x="264" y="212"/>
                  </a:lnTo>
                  <a:lnTo>
                    <a:pt x="258" y="223"/>
                  </a:lnTo>
                  <a:lnTo>
                    <a:pt x="252" y="233"/>
                  </a:lnTo>
                  <a:lnTo>
                    <a:pt x="244" y="242"/>
                  </a:lnTo>
                  <a:lnTo>
                    <a:pt x="235" y="249"/>
                  </a:lnTo>
                  <a:lnTo>
                    <a:pt x="235" y="249"/>
                  </a:lnTo>
                  <a:lnTo>
                    <a:pt x="226" y="256"/>
                  </a:lnTo>
                  <a:lnTo>
                    <a:pt x="214" y="261"/>
                  </a:lnTo>
                  <a:lnTo>
                    <a:pt x="203" y="265"/>
                  </a:lnTo>
                  <a:lnTo>
                    <a:pt x="191" y="268"/>
                  </a:lnTo>
                  <a:lnTo>
                    <a:pt x="191" y="268"/>
                  </a:lnTo>
                  <a:lnTo>
                    <a:pt x="179" y="270"/>
                  </a:lnTo>
                  <a:lnTo>
                    <a:pt x="165" y="271"/>
                  </a:lnTo>
                  <a:lnTo>
                    <a:pt x="151" y="270"/>
                  </a:lnTo>
                  <a:lnTo>
                    <a:pt x="137" y="268"/>
                  </a:lnTo>
                  <a:lnTo>
                    <a:pt x="137" y="268"/>
                  </a:lnTo>
                  <a:lnTo>
                    <a:pt x="123" y="265"/>
                  </a:lnTo>
                  <a:lnTo>
                    <a:pt x="110" y="261"/>
                  </a:lnTo>
                  <a:lnTo>
                    <a:pt x="96" y="256"/>
                  </a:lnTo>
                  <a:lnTo>
                    <a:pt x="83" y="249"/>
                  </a:lnTo>
                  <a:lnTo>
                    <a:pt x="83" y="249"/>
                  </a:lnTo>
                  <a:lnTo>
                    <a:pt x="71" y="242"/>
                  </a:lnTo>
                  <a:lnTo>
                    <a:pt x="60" y="234"/>
                  </a:lnTo>
                  <a:lnTo>
                    <a:pt x="50" y="224"/>
                  </a:lnTo>
                  <a:lnTo>
                    <a:pt x="40" y="214"/>
                  </a:lnTo>
                  <a:lnTo>
                    <a:pt x="40" y="214"/>
                  </a:lnTo>
                  <a:lnTo>
                    <a:pt x="31" y="204"/>
                  </a:lnTo>
                  <a:lnTo>
                    <a:pt x="23" y="193"/>
                  </a:lnTo>
                  <a:lnTo>
                    <a:pt x="16" y="181"/>
                  </a:lnTo>
                  <a:lnTo>
                    <a:pt x="10" y="167"/>
                  </a:lnTo>
                  <a:lnTo>
                    <a:pt x="10" y="167"/>
                  </a:lnTo>
                  <a:lnTo>
                    <a:pt x="6" y="154"/>
                  </a:lnTo>
                  <a:lnTo>
                    <a:pt x="2" y="140"/>
                  </a:lnTo>
                  <a:lnTo>
                    <a:pt x="0" y="126"/>
                  </a:lnTo>
                  <a:lnTo>
                    <a:pt x="0" y="111"/>
                  </a:lnTo>
                  <a:lnTo>
                    <a:pt x="0" y="111"/>
                  </a:lnTo>
                  <a:close/>
                  <a:moveTo>
                    <a:pt x="63" y="122"/>
                  </a:moveTo>
                  <a:lnTo>
                    <a:pt x="63" y="122"/>
                  </a:lnTo>
                  <a:lnTo>
                    <a:pt x="63" y="130"/>
                  </a:lnTo>
                  <a:lnTo>
                    <a:pt x="64" y="137"/>
                  </a:lnTo>
                  <a:lnTo>
                    <a:pt x="66" y="144"/>
                  </a:lnTo>
                  <a:lnTo>
                    <a:pt x="68" y="151"/>
                  </a:lnTo>
                  <a:lnTo>
                    <a:pt x="68" y="151"/>
                  </a:lnTo>
                  <a:lnTo>
                    <a:pt x="71" y="158"/>
                  </a:lnTo>
                  <a:lnTo>
                    <a:pt x="74" y="165"/>
                  </a:lnTo>
                  <a:lnTo>
                    <a:pt x="78" y="173"/>
                  </a:lnTo>
                  <a:lnTo>
                    <a:pt x="82" y="179"/>
                  </a:lnTo>
                  <a:lnTo>
                    <a:pt x="82" y="179"/>
                  </a:lnTo>
                  <a:lnTo>
                    <a:pt x="88" y="185"/>
                  </a:lnTo>
                  <a:lnTo>
                    <a:pt x="93" y="190"/>
                  </a:lnTo>
                  <a:lnTo>
                    <a:pt x="100" y="195"/>
                  </a:lnTo>
                  <a:lnTo>
                    <a:pt x="107" y="199"/>
                  </a:lnTo>
                  <a:lnTo>
                    <a:pt x="107" y="199"/>
                  </a:lnTo>
                  <a:lnTo>
                    <a:pt x="114" y="203"/>
                  </a:lnTo>
                  <a:lnTo>
                    <a:pt x="121" y="207"/>
                  </a:lnTo>
                  <a:lnTo>
                    <a:pt x="129" y="209"/>
                  </a:lnTo>
                  <a:lnTo>
                    <a:pt x="137" y="211"/>
                  </a:lnTo>
                  <a:lnTo>
                    <a:pt x="137" y="211"/>
                  </a:lnTo>
                  <a:lnTo>
                    <a:pt x="146" y="212"/>
                  </a:lnTo>
                  <a:lnTo>
                    <a:pt x="153" y="212"/>
                  </a:lnTo>
                  <a:lnTo>
                    <a:pt x="162" y="212"/>
                  </a:lnTo>
                  <a:lnTo>
                    <a:pt x="169" y="210"/>
                  </a:lnTo>
                  <a:lnTo>
                    <a:pt x="169" y="210"/>
                  </a:lnTo>
                  <a:lnTo>
                    <a:pt x="175" y="208"/>
                  </a:lnTo>
                  <a:lnTo>
                    <a:pt x="181" y="205"/>
                  </a:lnTo>
                  <a:lnTo>
                    <a:pt x="187" y="202"/>
                  </a:lnTo>
                  <a:lnTo>
                    <a:pt x="192" y="198"/>
                  </a:lnTo>
                  <a:lnTo>
                    <a:pt x="192" y="198"/>
                  </a:lnTo>
                  <a:lnTo>
                    <a:pt x="196" y="193"/>
                  </a:lnTo>
                  <a:lnTo>
                    <a:pt x="200" y="188"/>
                  </a:lnTo>
                  <a:lnTo>
                    <a:pt x="204" y="183"/>
                  </a:lnTo>
                  <a:lnTo>
                    <a:pt x="206" y="177"/>
                  </a:lnTo>
                  <a:lnTo>
                    <a:pt x="206" y="177"/>
                  </a:lnTo>
                  <a:lnTo>
                    <a:pt x="209" y="170"/>
                  </a:lnTo>
                  <a:lnTo>
                    <a:pt x="210" y="162"/>
                  </a:lnTo>
                  <a:lnTo>
                    <a:pt x="211" y="156"/>
                  </a:lnTo>
                  <a:lnTo>
                    <a:pt x="211" y="148"/>
                  </a:lnTo>
                  <a:lnTo>
                    <a:pt x="211" y="148"/>
                  </a:lnTo>
                  <a:lnTo>
                    <a:pt x="211" y="141"/>
                  </a:lnTo>
                  <a:lnTo>
                    <a:pt x="210" y="134"/>
                  </a:lnTo>
                  <a:lnTo>
                    <a:pt x="206" y="119"/>
                  </a:lnTo>
                  <a:lnTo>
                    <a:pt x="206" y="119"/>
                  </a:lnTo>
                  <a:lnTo>
                    <a:pt x="204" y="112"/>
                  </a:lnTo>
                  <a:lnTo>
                    <a:pt x="200" y="105"/>
                  </a:lnTo>
                  <a:lnTo>
                    <a:pt x="196" y="98"/>
                  </a:lnTo>
                  <a:lnTo>
                    <a:pt x="192" y="92"/>
                  </a:lnTo>
                  <a:lnTo>
                    <a:pt x="192" y="92"/>
                  </a:lnTo>
                  <a:lnTo>
                    <a:pt x="187" y="86"/>
                  </a:lnTo>
                  <a:lnTo>
                    <a:pt x="181" y="81"/>
                  </a:lnTo>
                  <a:lnTo>
                    <a:pt x="175" y="76"/>
                  </a:lnTo>
                  <a:lnTo>
                    <a:pt x="169" y="71"/>
                  </a:lnTo>
                  <a:lnTo>
                    <a:pt x="169" y="71"/>
                  </a:lnTo>
                  <a:lnTo>
                    <a:pt x="162" y="67"/>
                  </a:lnTo>
                  <a:lnTo>
                    <a:pt x="153" y="64"/>
                  </a:lnTo>
                  <a:lnTo>
                    <a:pt x="146" y="62"/>
                  </a:lnTo>
                  <a:lnTo>
                    <a:pt x="137" y="60"/>
                  </a:lnTo>
                  <a:lnTo>
                    <a:pt x="137" y="60"/>
                  </a:lnTo>
                  <a:lnTo>
                    <a:pt x="129" y="59"/>
                  </a:lnTo>
                  <a:lnTo>
                    <a:pt x="121" y="58"/>
                  </a:lnTo>
                  <a:lnTo>
                    <a:pt x="114" y="59"/>
                  </a:lnTo>
                  <a:lnTo>
                    <a:pt x="107" y="60"/>
                  </a:lnTo>
                  <a:lnTo>
                    <a:pt x="107" y="60"/>
                  </a:lnTo>
                  <a:lnTo>
                    <a:pt x="100" y="63"/>
                  </a:lnTo>
                  <a:lnTo>
                    <a:pt x="93" y="65"/>
                  </a:lnTo>
                  <a:lnTo>
                    <a:pt x="88" y="69"/>
                  </a:lnTo>
                  <a:lnTo>
                    <a:pt x="82" y="73"/>
                  </a:lnTo>
                  <a:lnTo>
                    <a:pt x="82" y="73"/>
                  </a:lnTo>
                  <a:lnTo>
                    <a:pt x="78" y="78"/>
                  </a:lnTo>
                  <a:lnTo>
                    <a:pt x="74" y="83"/>
                  </a:lnTo>
                  <a:lnTo>
                    <a:pt x="71" y="88"/>
                  </a:lnTo>
                  <a:lnTo>
                    <a:pt x="68" y="94"/>
                  </a:lnTo>
                  <a:lnTo>
                    <a:pt x="68" y="94"/>
                  </a:lnTo>
                  <a:lnTo>
                    <a:pt x="66" y="101"/>
                  </a:lnTo>
                  <a:lnTo>
                    <a:pt x="64" y="107"/>
                  </a:lnTo>
                  <a:lnTo>
                    <a:pt x="63" y="115"/>
                  </a:lnTo>
                  <a:lnTo>
                    <a:pt x="63" y="122"/>
                  </a:lnTo>
                  <a:lnTo>
                    <a:pt x="63"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101" name="Group 3100"/>
          <p:cNvGrpSpPr/>
          <p:nvPr/>
        </p:nvGrpSpPr>
        <p:grpSpPr>
          <a:xfrm>
            <a:off x="9959979" y="1814511"/>
            <a:ext cx="1416051" cy="215901"/>
            <a:chOff x="9958390" y="1814510"/>
            <a:chExt cx="1416051" cy="215901"/>
          </a:xfrm>
        </p:grpSpPr>
        <p:sp>
          <p:nvSpPr>
            <p:cNvPr id="3100" name="Rectangle 3099"/>
            <p:cNvSpPr/>
            <p:nvPr/>
          </p:nvSpPr>
          <p:spPr bwMode="auto">
            <a:xfrm rot="385898">
              <a:off x="9991457" y="1906376"/>
              <a:ext cx="1340808" cy="2838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051" name="Freeform 2056"/>
            <p:cNvSpPr>
              <a:spLocks/>
            </p:cNvSpPr>
            <p:nvPr/>
          </p:nvSpPr>
          <p:spPr bwMode="auto">
            <a:xfrm>
              <a:off x="11309353" y="1965323"/>
              <a:ext cx="65088" cy="65088"/>
            </a:xfrm>
            <a:custGeom>
              <a:avLst/>
              <a:gdLst>
                <a:gd name="T0" fmla="*/ 248 w 248"/>
                <a:gd name="T1" fmla="*/ 124 h 248"/>
                <a:gd name="T2" fmla="*/ 246 w 248"/>
                <a:gd name="T3" fmla="*/ 98 h 248"/>
                <a:gd name="T4" fmla="*/ 239 w 248"/>
                <a:gd name="T5" fmla="*/ 76 h 248"/>
                <a:gd name="T6" fmla="*/ 227 w 248"/>
                <a:gd name="T7" fmla="*/ 55 h 248"/>
                <a:gd name="T8" fmla="*/ 213 w 248"/>
                <a:gd name="T9" fmla="*/ 36 h 248"/>
                <a:gd name="T10" fmla="*/ 193 w 248"/>
                <a:gd name="T11" fmla="*/ 21 h 248"/>
                <a:gd name="T12" fmla="*/ 173 w 248"/>
                <a:gd name="T13" fmla="*/ 10 h 248"/>
                <a:gd name="T14" fmla="*/ 150 w 248"/>
                <a:gd name="T15" fmla="*/ 2 h 248"/>
                <a:gd name="T16" fmla="*/ 124 w 248"/>
                <a:gd name="T17" fmla="*/ 0 h 248"/>
                <a:gd name="T18" fmla="*/ 112 w 248"/>
                <a:gd name="T19" fmla="*/ 1 h 248"/>
                <a:gd name="T20" fmla="*/ 88 w 248"/>
                <a:gd name="T21" fmla="*/ 5 h 248"/>
                <a:gd name="T22" fmla="*/ 65 w 248"/>
                <a:gd name="T23" fmla="*/ 15 h 248"/>
                <a:gd name="T24" fmla="*/ 46 w 248"/>
                <a:gd name="T25" fmla="*/ 28 h 248"/>
                <a:gd name="T26" fmla="*/ 29 w 248"/>
                <a:gd name="T27" fmla="*/ 44 h 248"/>
                <a:gd name="T28" fmla="*/ 15 w 248"/>
                <a:gd name="T29" fmla="*/ 65 h 248"/>
                <a:gd name="T30" fmla="*/ 6 w 248"/>
                <a:gd name="T31" fmla="*/ 87 h 248"/>
                <a:gd name="T32" fmla="*/ 1 w 248"/>
                <a:gd name="T33" fmla="*/ 112 h 248"/>
                <a:gd name="T34" fmla="*/ 0 w 248"/>
                <a:gd name="T35" fmla="*/ 124 h 248"/>
                <a:gd name="T36" fmla="*/ 3 w 248"/>
                <a:gd name="T37" fmla="*/ 149 h 248"/>
                <a:gd name="T38" fmla="*/ 10 w 248"/>
                <a:gd name="T39" fmla="*/ 173 h 248"/>
                <a:gd name="T40" fmla="*/ 22 w 248"/>
                <a:gd name="T41" fmla="*/ 193 h 248"/>
                <a:gd name="T42" fmla="*/ 37 w 248"/>
                <a:gd name="T43" fmla="*/ 211 h 248"/>
                <a:gd name="T44" fmla="*/ 55 w 248"/>
                <a:gd name="T45" fmla="*/ 226 h 248"/>
                <a:gd name="T46" fmla="*/ 76 w 248"/>
                <a:gd name="T47" fmla="*/ 238 h 248"/>
                <a:gd name="T48" fmla="*/ 100 w 248"/>
                <a:gd name="T49" fmla="*/ 246 h 248"/>
                <a:gd name="T50" fmla="*/ 124 w 248"/>
                <a:gd name="T51" fmla="*/ 248 h 248"/>
                <a:gd name="T52" fmla="*/ 137 w 248"/>
                <a:gd name="T53" fmla="*/ 247 h 248"/>
                <a:gd name="T54" fmla="*/ 162 w 248"/>
                <a:gd name="T55" fmla="*/ 243 h 248"/>
                <a:gd name="T56" fmla="*/ 183 w 248"/>
                <a:gd name="T57" fmla="*/ 233 h 248"/>
                <a:gd name="T58" fmla="*/ 204 w 248"/>
                <a:gd name="T59" fmla="*/ 219 h 248"/>
                <a:gd name="T60" fmla="*/ 220 w 248"/>
                <a:gd name="T61" fmla="*/ 203 h 248"/>
                <a:gd name="T62" fmla="*/ 234 w 248"/>
                <a:gd name="T63" fmla="*/ 183 h 248"/>
                <a:gd name="T64" fmla="*/ 243 w 248"/>
                <a:gd name="T65" fmla="*/ 160 h 248"/>
                <a:gd name="T66" fmla="*/ 248 w 248"/>
                <a:gd name="T67" fmla="*/ 137 h 248"/>
                <a:gd name="T68" fmla="*/ 248 w 248"/>
                <a:gd name="T69" fmla="*/ 12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8" h="248">
                  <a:moveTo>
                    <a:pt x="248" y="124"/>
                  </a:moveTo>
                  <a:lnTo>
                    <a:pt x="248" y="124"/>
                  </a:lnTo>
                  <a:lnTo>
                    <a:pt x="248" y="112"/>
                  </a:lnTo>
                  <a:lnTo>
                    <a:pt x="246" y="98"/>
                  </a:lnTo>
                  <a:lnTo>
                    <a:pt x="243" y="87"/>
                  </a:lnTo>
                  <a:lnTo>
                    <a:pt x="239" y="76"/>
                  </a:lnTo>
                  <a:lnTo>
                    <a:pt x="234" y="65"/>
                  </a:lnTo>
                  <a:lnTo>
                    <a:pt x="227" y="55"/>
                  </a:lnTo>
                  <a:lnTo>
                    <a:pt x="220" y="44"/>
                  </a:lnTo>
                  <a:lnTo>
                    <a:pt x="213" y="36"/>
                  </a:lnTo>
                  <a:lnTo>
                    <a:pt x="204" y="28"/>
                  </a:lnTo>
                  <a:lnTo>
                    <a:pt x="193" y="21"/>
                  </a:lnTo>
                  <a:lnTo>
                    <a:pt x="183" y="15"/>
                  </a:lnTo>
                  <a:lnTo>
                    <a:pt x="173" y="10"/>
                  </a:lnTo>
                  <a:lnTo>
                    <a:pt x="162" y="5"/>
                  </a:lnTo>
                  <a:lnTo>
                    <a:pt x="150" y="2"/>
                  </a:lnTo>
                  <a:lnTo>
                    <a:pt x="137" y="1"/>
                  </a:lnTo>
                  <a:lnTo>
                    <a:pt x="124" y="0"/>
                  </a:lnTo>
                  <a:lnTo>
                    <a:pt x="124" y="0"/>
                  </a:lnTo>
                  <a:lnTo>
                    <a:pt x="112" y="1"/>
                  </a:lnTo>
                  <a:lnTo>
                    <a:pt x="100" y="2"/>
                  </a:lnTo>
                  <a:lnTo>
                    <a:pt x="88" y="5"/>
                  </a:lnTo>
                  <a:lnTo>
                    <a:pt x="76" y="10"/>
                  </a:lnTo>
                  <a:lnTo>
                    <a:pt x="65" y="15"/>
                  </a:lnTo>
                  <a:lnTo>
                    <a:pt x="55" y="21"/>
                  </a:lnTo>
                  <a:lnTo>
                    <a:pt x="46" y="28"/>
                  </a:lnTo>
                  <a:lnTo>
                    <a:pt x="37" y="36"/>
                  </a:lnTo>
                  <a:lnTo>
                    <a:pt x="29" y="44"/>
                  </a:lnTo>
                  <a:lnTo>
                    <a:pt x="22" y="55"/>
                  </a:lnTo>
                  <a:lnTo>
                    <a:pt x="15" y="65"/>
                  </a:lnTo>
                  <a:lnTo>
                    <a:pt x="10" y="76"/>
                  </a:lnTo>
                  <a:lnTo>
                    <a:pt x="6" y="87"/>
                  </a:lnTo>
                  <a:lnTo>
                    <a:pt x="3" y="98"/>
                  </a:lnTo>
                  <a:lnTo>
                    <a:pt x="1" y="112"/>
                  </a:lnTo>
                  <a:lnTo>
                    <a:pt x="0" y="124"/>
                  </a:lnTo>
                  <a:lnTo>
                    <a:pt x="0" y="124"/>
                  </a:lnTo>
                  <a:lnTo>
                    <a:pt x="1" y="137"/>
                  </a:lnTo>
                  <a:lnTo>
                    <a:pt x="3" y="149"/>
                  </a:lnTo>
                  <a:lnTo>
                    <a:pt x="6" y="160"/>
                  </a:lnTo>
                  <a:lnTo>
                    <a:pt x="10" y="173"/>
                  </a:lnTo>
                  <a:lnTo>
                    <a:pt x="15" y="183"/>
                  </a:lnTo>
                  <a:lnTo>
                    <a:pt x="22" y="193"/>
                  </a:lnTo>
                  <a:lnTo>
                    <a:pt x="29" y="203"/>
                  </a:lnTo>
                  <a:lnTo>
                    <a:pt x="37" y="211"/>
                  </a:lnTo>
                  <a:lnTo>
                    <a:pt x="46" y="219"/>
                  </a:lnTo>
                  <a:lnTo>
                    <a:pt x="55" y="226"/>
                  </a:lnTo>
                  <a:lnTo>
                    <a:pt x="65" y="233"/>
                  </a:lnTo>
                  <a:lnTo>
                    <a:pt x="76" y="238"/>
                  </a:lnTo>
                  <a:lnTo>
                    <a:pt x="88" y="243"/>
                  </a:lnTo>
                  <a:lnTo>
                    <a:pt x="100" y="246"/>
                  </a:lnTo>
                  <a:lnTo>
                    <a:pt x="112" y="247"/>
                  </a:lnTo>
                  <a:lnTo>
                    <a:pt x="124" y="248"/>
                  </a:lnTo>
                  <a:lnTo>
                    <a:pt x="124" y="248"/>
                  </a:lnTo>
                  <a:lnTo>
                    <a:pt x="137" y="247"/>
                  </a:lnTo>
                  <a:lnTo>
                    <a:pt x="150" y="246"/>
                  </a:lnTo>
                  <a:lnTo>
                    <a:pt x="162" y="243"/>
                  </a:lnTo>
                  <a:lnTo>
                    <a:pt x="173" y="238"/>
                  </a:lnTo>
                  <a:lnTo>
                    <a:pt x="183" y="233"/>
                  </a:lnTo>
                  <a:lnTo>
                    <a:pt x="193" y="226"/>
                  </a:lnTo>
                  <a:lnTo>
                    <a:pt x="204" y="219"/>
                  </a:lnTo>
                  <a:lnTo>
                    <a:pt x="213" y="211"/>
                  </a:lnTo>
                  <a:lnTo>
                    <a:pt x="220" y="203"/>
                  </a:lnTo>
                  <a:lnTo>
                    <a:pt x="227" y="193"/>
                  </a:lnTo>
                  <a:lnTo>
                    <a:pt x="234" y="183"/>
                  </a:lnTo>
                  <a:lnTo>
                    <a:pt x="239" y="173"/>
                  </a:lnTo>
                  <a:lnTo>
                    <a:pt x="243" y="160"/>
                  </a:lnTo>
                  <a:lnTo>
                    <a:pt x="246" y="149"/>
                  </a:lnTo>
                  <a:lnTo>
                    <a:pt x="248" y="137"/>
                  </a:lnTo>
                  <a:lnTo>
                    <a:pt x="248" y="124"/>
                  </a:lnTo>
                  <a:lnTo>
                    <a:pt x="248" y="124"/>
                  </a:ln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52" name="Freeform 2057"/>
            <p:cNvSpPr>
              <a:spLocks/>
            </p:cNvSpPr>
            <p:nvPr/>
          </p:nvSpPr>
          <p:spPr bwMode="auto">
            <a:xfrm>
              <a:off x="9958390" y="1814510"/>
              <a:ext cx="65088" cy="66675"/>
            </a:xfrm>
            <a:custGeom>
              <a:avLst/>
              <a:gdLst>
                <a:gd name="T0" fmla="*/ 248 w 248"/>
                <a:gd name="T1" fmla="*/ 124 h 248"/>
                <a:gd name="T2" fmla="*/ 246 w 248"/>
                <a:gd name="T3" fmla="*/ 100 h 248"/>
                <a:gd name="T4" fmla="*/ 238 w 248"/>
                <a:gd name="T5" fmla="*/ 76 h 248"/>
                <a:gd name="T6" fmla="*/ 227 w 248"/>
                <a:gd name="T7" fmla="*/ 55 h 248"/>
                <a:gd name="T8" fmla="*/ 211 w 248"/>
                <a:gd name="T9" fmla="*/ 37 h 248"/>
                <a:gd name="T10" fmla="*/ 193 w 248"/>
                <a:gd name="T11" fmla="*/ 21 h 248"/>
                <a:gd name="T12" fmla="*/ 173 w 248"/>
                <a:gd name="T13" fmla="*/ 10 h 248"/>
                <a:gd name="T14" fmla="*/ 149 w 248"/>
                <a:gd name="T15" fmla="*/ 3 h 248"/>
                <a:gd name="T16" fmla="*/ 124 w 248"/>
                <a:gd name="T17" fmla="*/ 0 h 248"/>
                <a:gd name="T18" fmla="*/ 112 w 248"/>
                <a:gd name="T19" fmla="*/ 1 h 248"/>
                <a:gd name="T20" fmla="*/ 87 w 248"/>
                <a:gd name="T21" fmla="*/ 6 h 248"/>
                <a:gd name="T22" fmla="*/ 65 w 248"/>
                <a:gd name="T23" fmla="*/ 15 h 248"/>
                <a:gd name="T24" fmla="*/ 45 w 248"/>
                <a:gd name="T25" fmla="*/ 28 h 248"/>
                <a:gd name="T26" fmla="*/ 28 w 248"/>
                <a:gd name="T27" fmla="*/ 46 h 248"/>
                <a:gd name="T28" fmla="*/ 15 w 248"/>
                <a:gd name="T29" fmla="*/ 65 h 248"/>
                <a:gd name="T30" fmla="*/ 5 w 248"/>
                <a:gd name="T31" fmla="*/ 87 h 248"/>
                <a:gd name="T32" fmla="*/ 1 w 248"/>
                <a:gd name="T33" fmla="*/ 112 h 248"/>
                <a:gd name="T34" fmla="*/ 0 w 248"/>
                <a:gd name="T35" fmla="*/ 124 h 248"/>
                <a:gd name="T36" fmla="*/ 2 w 248"/>
                <a:gd name="T37" fmla="*/ 150 h 248"/>
                <a:gd name="T38" fmla="*/ 10 w 248"/>
                <a:gd name="T39" fmla="*/ 173 h 248"/>
                <a:gd name="T40" fmla="*/ 21 w 248"/>
                <a:gd name="T41" fmla="*/ 193 h 248"/>
                <a:gd name="T42" fmla="*/ 36 w 248"/>
                <a:gd name="T43" fmla="*/ 212 h 248"/>
                <a:gd name="T44" fmla="*/ 55 w 248"/>
                <a:gd name="T45" fmla="*/ 227 h 248"/>
                <a:gd name="T46" fmla="*/ 76 w 248"/>
                <a:gd name="T47" fmla="*/ 239 h 248"/>
                <a:gd name="T48" fmla="*/ 98 w 248"/>
                <a:gd name="T49" fmla="*/ 246 h 248"/>
                <a:gd name="T50" fmla="*/ 124 w 248"/>
                <a:gd name="T51" fmla="*/ 248 h 248"/>
                <a:gd name="T52" fmla="*/ 136 w 248"/>
                <a:gd name="T53" fmla="*/ 248 h 248"/>
                <a:gd name="T54" fmla="*/ 160 w 248"/>
                <a:gd name="T55" fmla="*/ 243 h 248"/>
                <a:gd name="T56" fmla="*/ 183 w 248"/>
                <a:gd name="T57" fmla="*/ 233 h 248"/>
                <a:gd name="T58" fmla="*/ 203 w 248"/>
                <a:gd name="T59" fmla="*/ 220 h 248"/>
                <a:gd name="T60" fmla="*/ 219 w 248"/>
                <a:gd name="T61" fmla="*/ 203 h 248"/>
                <a:gd name="T62" fmla="*/ 233 w 248"/>
                <a:gd name="T63" fmla="*/ 183 h 248"/>
                <a:gd name="T64" fmla="*/ 243 w 248"/>
                <a:gd name="T65" fmla="*/ 161 h 248"/>
                <a:gd name="T66" fmla="*/ 247 w 248"/>
                <a:gd name="T67" fmla="*/ 137 h 248"/>
                <a:gd name="T68" fmla="*/ 248 w 248"/>
                <a:gd name="T69" fmla="*/ 12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8" h="248">
                  <a:moveTo>
                    <a:pt x="248" y="124"/>
                  </a:moveTo>
                  <a:lnTo>
                    <a:pt x="248" y="124"/>
                  </a:lnTo>
                  <a:lnTo>
                    <a:pt x="247" y="112"/>
                  </a:lnTo>
                  <a:lnTo>
                    <a:pt x="246" y="100"/>
                  </a:lnTo>
                  <a:lnTo>
                    <a:pt x="243" y="87"/>
                  </a:lnTo>
                  <a:lnTo>
                    <a:pt x="238" y="76"/>
                  </a:lnTo>
                  <a:lnTo>
                    <a:pt x="233" y="65"/>
                  </a:lnTo>
                  <a:lnTo>
                    <a:pt x="227" y="55"/>
                  </a:lnTo>
                  <a:lnTo>
                    <a:pt x="219" y="46"/>
                  </a:lnTo>
                  <a:lnTo>
                    <a:pt x="211" y="37"/>
                  </a:lnTo>
                  <a:lnTo>
                    <a:pt x="203" y="28"/>
                  </a:lnTo>
                  <a:lnTo>
                    <a:pt x="193" y="21"/>
                  </a:lnTo>
                  <a:lnTo>
                    <a:pt x="183" y="15"/>
                  </a:lnTo>
                  <a:lnTo>
                    <a:pt x="173" y="10"/>
                  </a:lnTo>
                  <a:lnTo>
                    <a:pt x="160" y="6"/>
                  </a:lnTo>
                  <a:lnTo>
                    <a:pt x="149" y="3"/>
                  </a:lnTo>
                  <a:lnTo>
                    <a:pt x="136" y="1"/>
                  </a:lnTo>
                  <a:lnTo>
                    <a:pt x="124" y="0"/>
                  </a:lnTo>
                  <a:lnTo>
                    <a:pt x="124" y="0"/>
                  </a:lnTo>
                  <a:lnTo>
                    <a:pt x="112" y="1"/>
                  </a:lnTo>
                  <a:lnTo>
                    <a:pt x="98" y="3"/>
                  </a:lnTo>
                  <a:lnTo>
                    <a:pt x="87" y="6"/>
                  </a:lnTo>
                  <a:lnTo>
                    <a:pt x="76" y="10"/>
                  </a:lnTo>
                  <a:lnTo>
                    <a:pt x="65" y="15"/>
                  </a:lnTo>
                  <a:lnTo>
                    <a:pt x="55" y="21"/>
                  </a:lnTo>
                  <a:lnTo>
                    <a:pt x="45" y="28"/>
                  </a:lnTo>
                  <a:lnTo>
                    <a:pt x="36" y="37"/>
                  </a:lnTo>
                  <a:lnTo>
                    <a:pt x="28" y="46"/>
                  </a:lnTo>
                  <a:lnTo>
                    <a:pt x="21" y="55"/>
                  </a:lnTo>
                  <a:lnTo>
                    <a:pt x="15" y="65"/>
                  </a:lnTo>
                  <a:lnTo>
                    <a:pt x="10" y="76"/>
                  </a:lnTo>
                  <a:lnTo>
                    <a:pt x="5" y="87"/>
                  </a:lnTo>
                  <a:lnTo>
                    <a:pt x="2" y="100"/>
                  </a:lnTo>
                  <a:lnTo>
                    <a:pt x="1" y="112"/>
                  </a:lnTo>
                  <a:lnTo>
                    <a:pt x="0" y="124"/>
                  </a:lnTo>
                  <a:lnTo>
                    <a:pt x="0" y="124"/>
                  </a:lnTo>
                  <a:lnTo>
                    <a:pt x="1" y="137"/>
                  </a:lnTo>
                  <a:lnTo>
                    <a:pt x="2" y="150"/>
                  </a:lnTo>
                  <a:lnTo>
                    <a:pt x="5" y="161"/>
                  </a:lnTo>
                  <a:lnTo>
                    <a:pt x="10" y="173"/>
                  </a:lnTo>
                  <a:lnTo>
                    <a:pt x="15" y="183"/>
                  </a:lnTo>
                  <a:lnTo>
                    <a:pt x="21" y="193"/>
                  </a:lnTo>
                  <a:lnTo>
                    <a:pt x="28" y="203"/>
                  </a:lnTo>
                  <a:lnTo>
                    <a:pt x="36" y="212"/>
                  </a:lnTo>
                  <a:lnTo>
                    <a:pt x="45" y="220"/>
                  </a:lnTo>
                  <a:lnTo>
                    <a:pt x="55" y="227"/>
                  </a:lnTo>
                  <a:lnTo>
                    <a:pt x="65" y="233"/>
                  </a:lnTo>
                  <a:lnTo>
                    <a:pt x="76" y="239"/>
                  </a:lnTo>
                  <a:lnTo>
                    <a:pt x="87" y="243"/>
                  </a:lnTo>
                  <a:lnTo>
                    <a:pt x="98" y="246"/>
                  </a:lnTo>
                  <a:lnTo>
                    <a:pt x="112" y="248"/>
                  </a:lnTo>
                  <a:lnTo>
                    <a:pt x="124" y="248"/>
                  </a:lnTo>
                  <a:lnTo>
                    <a:pt x="124" y="248"/>
                  </a:lnTo>
                  <a:lnTo>
                    <a:pt x="136" y="248"/>
                  </a:lnTo>
                  <a:lnTo>
                    <a:pt x="149" y="246"/>
                  </a:lnTo>
                  <a:lnTo>
                    <a:pt x="160" y="243"/>
                  </a:lnTo>
                  <a:lnTo>
                    <a:pt x="173" y="239"/>
                  </a:lnTo>
                  <a:lnTo>
                    <a:pt x="183" y="233"/>
                  </a:lnTo>
                  <a:lnTo>
                    <a:pt x="193" y="227"/>
                  </a:lnTo>
                  <a:lnTo>
                    <a:pt x="203" y="220"/>
                  </a:lnTo>
                  <a:lnTo>
                    <a:pt x="211" y="212"/>
                  </a:lnTo>
                  <a:lnTo>
                    <a:pt x="219" y="203"/>
                  </a:lnTo>
                  <a:lnTo>
                    <a:pt x="227" y="193"/>
                  </a:lnTo>
                  <a:lnTo>
                    <a:pt x="233" y="183"/>
                  </a:lnTo>
                  <a:lnTo>
                    <a:pt x="238" y="173"/>
                  </a:lnTo>
                  <a:lnTo>
                    <a:pt x="243" y="161"/>
                  </a:lnTo>
                  <a:lnTo>
                    <a:pt x="246" y="150"/>
                  </a:lnTo>
                  <a:lnTo>
                    <a:pt x="247" y="137"/>
                  </a:lnTo>
                  <a:lnTo>
                    <a:pt x="248" y="124"/>
                  </a:lnTo>
                  <a:lnTo>
                    <a:pt x="248" y="124"/>
                  </a:ln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368" name="Group 2367"/>
          <p:cNvGrpSpPr/>
          <p:nvPr/>
        </p:nvGrpSpPr>
        <p:grpSpPr>
          <a:xfrm>
            <a:off x="7227663" y="1434194"/>
            <a:ext cx="2649762" cy="605246"/>
            <a:chOff x="831806" y="3541921"/>
            <a:chExt cx="1430958" cy="1261872"/>
          </a:xfrm>
        </p:grpSpPr>
        <p:sp>
          <p:nvSpPr>
            <p:cNvPr id="2369" name="Rectangle 2368"/>
            <p:cNvSpPr/>
            <p:nvPr/>
          </p:nvSpPr>
          <p:spPr bwMode="auto">
            <a:xfrm>
              <a:off x="831806" y="3541921"/>
              <a:ext cx="1430958"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Provide guests with a connected tablet to control room settings, request services, and provide feedback—and save their preferences</a:t>
              </a:r>
            </a:p>
          </p:txBody>
        </p:sp>
        <p:cxnSp>
          <p:nvCxnSpPr>
            <p:cNvPr id="2370" name="Straight Connector 2369"/>
            <p:cNvCxnSpPr/>
            <p:nvPr/>
          </p:nvCxnSpPr>
          <p:spPr>
            <a:xfrm flipV="1">
              <a:off x="831806" y="3541921"/>
              <a:ext cx="0" cy="1261872"/>
            </a:xfrm>
            <a:prstGeom prst="line">
              <a:avLst/>
            </a:prstGeom>
            <a:solidFill>
              <a:srgbClr val="8DC548">
                <a:alpha val="50000"/>
              </a:srgbClr>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5" name="Group 14"/>
          <p:cNvGrpSpPr/>
          <p:nvPr/>
        </p:nvGrpSpPr>
        <p:grpSpPr>
          <a:xfrm>
            <a:off x="9551657" y="2858064"/>
            <a:ext cx="526129" cy="571953"/>
            <a:chOff x="9615488" y="2929185"/>
            <a:chExt cx="395288" cy="429718"/>
          </a:xfrm>
        </p:grpSpPr>
        <p:sp>
          <p:nvSpPr>
            <p:cNvPr id="3070" name="Freeform 2075"/>
            <p:cNvSpPr>
              <a:spLocks/>
            </p:cNvSpPr>
            <p:nvPr/>
          </p:nvSpPr>
          <p:spPr bwMode="auto">
            <a:xfrm>
              <a:off x="9615488" y="2929185"/>
              <a:ext cx="395288" cy="429718"/>
            </a:xfrm>
            <a:custGeom>
              <a:avLst/>
              <a:gdLst>
                <a:gd name="T0" fmla="*/ 129 w 1494"/>
                <a:gd name="T1" fmla="*/ 1327 h 1530"/>
                <a:gd name="T2" fmla="*/ 94 w 1494"/>
                <a:gd name="T3" fmla="*/ 1314 h 1530"/>
                <a:gd name="T4" fmla="*/ 64 w 1494"/>
                <a:gd name="T5" fmla="*/ 1300 h 1530"/>
                <a:gd name="T6" fmla="*/ 40 w 1494"/>
                <a:gd name="T7" fmla="*/ 1284 h 1530"/>
                <a:gd name="T8" fmla="*/ 21 w 1494"/>
                <a:gd name="T9" fmla="*/ 1265 h 1530"/>
                <a:gd name="T10" fmla="*/ 8 w 1494"/>
                <a:gd name="T11" fmla="*/ 1244 h 1530"/>
                <a:gd name="T12" fmla="*/ 1 w 1494"/>
                <a:gd name="T13" fmla="*/ 1221 h 1530"/>
                <a:gd name="T14" fmla="*/ 0 w 1494"/>
                <a:gd name="T15" fmla="*/ 1194 h 1530"/>
                <a:gd name="T16" fmla="*/ 4 w 1494"/>
                <a:gd name="T17" fmla="*/ 1166 h 1530"/>
                <a:gd name="T18" fmla="*/ 367 w 1494"/>
                <a:gd name="T19" fmla="*/ 146 h 1530"/>
                <a:gd name="T20" fmla="*/ 382 w 1494"/>
                <a:gd name="T21" fmla="*/ 114 h 1530"/>
                <a:gd name="T22" fmla="*/ 401 w 1494"/>
                <a:gd name="T23" fmla="*/ 82 h 1530"/>
                <a:gd name="T24" fmla="*/ 422 w 1494"/>
                <a:gd name="T25" fmla="*/ 55 h 1530"/>
                <a:gd name="T26" fmla="*/ 446 w 1494"/>
                <a:gd name="T27" fmla="*/ 31 h 1530"/>
                <a:gd name="T28" fmla="*/ 475 w 1494"/>
                <a:gd name="T29" fmla="*/ 14 h 1530"/>
                <a:gd name="T30" fmla="*/ 506 w 1494"/>
                <a:gd name="T31" fmla="*/ 3 h 1530"/>
                <a:gd name="T32" fmla="*/ 543 w 1494"/>
                <a:gd name="T33" fmla="*/ 0 h 1530"/>
                <a:gd name="T34" fmla="*/ 583 w 1494"/>
                <a:gd name="T35" fmla="*/ 5 h 1530"/>
                <a:gd name="T36" fmla="*/ 1356 w 1494"/>
                <a:gd name="T37" fmla="*/ 109 h 1530"/>
                <a:gd name="T38" fmla="*/ 1392 w 1494"/>
                <a:gd name="T39" fmla="*/ 112 h 1530"/>
                <a:gd name="T40" fmla="*/ 1425 w 1494"/>
                <a:gd name="T41" fmla="*/ 121 h 1530"/>
                <a:gd name="T42" fmla="*/ 1452 w 1494"/>
                <a:gd name="T43" fmla="*/ 136 h 1530"/>
                <a:gd name="T44" fmla="*/ 1473 w 1494"/>
                <a:gd name="T45" fmla="*/ 157 h 1530"/>
                <a:gd name="T46" fmla="*/ 1487 w 1494"/>
                <a:gd name="T47" fmla="*/ 181 h 1530"/>
                <a:gd name="T48" fmla="*/ 1493 w 1494"/>
                <a:gd name="T49" fmla="*/ 208 h 1530"/>
                <a:gd name="T50" fmla="*/ 1493 w 1494"/>
                <a:gd name="T51" fmla="*/ 239 h 1530"/>
                <a:gd name="T52" fmla="*/ 1484 w 1494"/>
                <a:gd name="T53" fmla="*/ 271 h 1530"/>
                <a:gd name="T54" fmla="*/ 1048 w 1494"/>
                <a:gd name="T55" fmla="*/ 1366 h 1530"/>
                <a:gd name="T56" fmla="*/ 1031 w 1494"/>
                <a:gd name="T57" fmla="*/ 1399 h 1530"/>
                <a:gd name="T58" fmla="*/ 1008 w 1494"/>
                <a:gd name="T59" fmla="*/ 1429 h 1530"/>
                <a:gd name="T60" fmla="*/ 979 w 1494"/>
                <a:gd name="T61" fmla="*/ 1458 h 1530"/>
                <a:gd name="T62" fmla="*/ 946 w 1494"/>
                <a:gd name="T63" fmla="*/ 1481 h 1530"/>
                <a:gd name="T64" fmla="*/ 909 w 1494"/>
                <a:gd name="T65" fmla="*/ 1501 h 1530"/>
                <a:gd name="T66" fmla="*/ 870 w 1494"/>
                <a:gd name="T67" fmla="*/ 1517 h 1530"/>
                <a:gd name="T68" fmla="*/ 830 w 1494"/>
                <a:gd name="T69" fmla="*/ 1527 h 1530"/>
                <a:gd name="T70" fmla="*/ 790 w 1494"/>
                <a:gd name="T71" fmla="*/ 1530 h 1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94" h="1530">
                  <a:moveTo>
                    <a:pt x="129" y="1327"/>
                  </a:moveTo>
                  <a:lnTo>
                    <a:pt x="129" y="1327"/>
                  </a:lnTo>
                  <a:lnTo>
                    <a:pt x="111" y="1321"/>
                  </a:lnTo>
                  <a:lnTo>
                    <a:pt x="94" y="1314"/>
                  </a:lnTo>
                  <a:lnTo>
                    <a:pt x="78" y="1307"/>
                  </a:lnTo>
                  <a:lnTo>
                    <a:pt x="64" y="1300"/>
                  </a:lnTo>
                  <a:lnTo>
                    <a:pt x="52" y="1292"/>
                  </a:lnTo>
                  <a:lnTo>
                    <a:pt x="40" y="1284"/>
                  </a:lnTo>
                  <a:lnTo>
                    <a:pt x="30" y="1275"/>
                  </a:lnTo>
                  <a:lnTo>
                    <a:pt x="21" y="1265"/>
                  </a:lnTo>
                  <a:lnTo>
                    <a:pt x="14" y="1255"/>
                  </a:lnTo>
                  <a:lnTo>
                    <a:pt x="8" y="1244"/>
                  </a:lnTo>
                  <a:lnTo>
                    <a:pt x="4" y="1233"/>
                  </a:lnTo>
                  <a:lnTo>
                    <a:pt x="1" y="1221"/>
                  </a:lnTo>
                  <a:lnTo>
                    <a:pt x="0" y="1208"/>
                  </a:lnTo>
                  <a:lnTo>
                    <a:pt x="0" y="1194"/>
                  </a:lnTo>
                  <a:lnTo>
                    <a:pt x="1" y="1181"/>
                  </a:lnTo>
                  <a:lnTo>
                    <a:pt x="4" y="1166"/>
                  </a:lnTo>
                  <a:lnTo>
                    <a:pt x="367" y="146"/>
                  </a:lnTo>
                  <a:lnTo>
                    <a:pt x="367" y="146"/>
                  </a:lnTo>
                  <a:lnTo>
                    <a:pt x="374" y="130"/>
                  </a:lnTo>
                  <a:lnTo>
                    <a:pt x="382" y="114"/>
                  </a:lnTo>
                  <a:lnTo>
                    <a:pt x="390" y="98"/>
                  </a:lnTo>
                  <a:lnTo>
                    <a:pt x="401" y="82"/>
                  </a:lnTo>
                  <a:lnTo>
                    <a:pt x="411" y="68"/>
                  </a:lnTo>
                  <a:lnTo>
                    <a:pt x="422" y="55"/>
                  </a:lnTo>
                  <a:lnTo>
                    <a:pt x="434" y="43"/>
                  </a:lnTo>
                  <a:lnTo>
                    <a:pt x="446" y="31"/>
                  </a:lnTo>
                  <a:lnTo>
                    <a:pt x="461" y="22"/>
                  </a:lnTo>
                  <a:lnTo>
                    <a:pt x="475" y="14"/>
                  </a:lnTo>
                  <a:lnTo>
                    <a:pt x="490" y="8"/>
                  </a:lnTo>
                  <a:lnTo>
                    <a:pt x="506" y="3"/>
                  </a:lnTo>
                  <a:lnTo>
                    <a:pt x="525" y="0"/>
                  </a:lnTo>
                  <a:lnTo>
                    <a:pt x="543" y="0"/>
                  </a:lnTo>
                  <a:lnTo>
                    <a:pt x="562" y="1"/>
                  </a:lnTo>
                  <a:lnTo>
                    <a:pt x="583" y="5"/>
                  </a:lnTo>
                  <a:lnTo>
                    <a:pt x="1356" y="109"/>
                  </a:lnTo>
                  <a:lnTo>
                    <a:pt x="1356" y="109"/>
                  </a:lnTo>
                  <a:lnTo>
                    <a:pt x="1375" y="110"/>
                  </a:lnTo>
                  <a:lnTo>
                    <a:pt x="1392" y="112"/>
                  </a:lnTo>
                  <a:lnTo>
                    <a:pt x="1409" y="116"/>
                  </a:lnTo>
                  <a:lnTo>
                    <a:pt x="1425" y="121"/>
                  </a:lnTo>
                  <a:lnTo>
                    <a:pt x="1439" y="128"/>
                  </a:lnTo>
                  <a:lnTo>
                    <a:pt x="1452" y="136"/>
                  </a:lnTo>
                  <a:lnTo>
                    <a:pt x="1463" y="146"/>
                  </a:lnTo>
                  <a:lnTo>
                    <a:pt x="1473" y="157"/>
                  </a:lnTo>
                  <a:lnTo>
                    <a:pt x="1481" y="168"/>
                  </a:lnTo>
                  <a:lnTo>
                    <a:pt x="1487" y="181"/>
                  </a:lnTo>
                  <a:lnTo>
                    <a:pt x="1491" y="194"/>
                  </a:lnTo>
                  <a:lnTo>
                    <a:pt x="1493" y="208"/>
                  </a:lnTo>
                  <a:lnTo>
                    <a:pt x="1494" y="224"/>
                  </a:lnTo>
                  <a:lnTo>
                    <a:pt x="1493" y="239"/>
                  </a:lnTo>
                  <a:lnTo>
                    <a:pt x="1489" y="255"/>
                  </a:lnTo>
                  <a:lnTo>
                    <a:pt x="1484" y="271"/>
                  </a:lnTo>
                  <a:lnTo>
                    <a:pt x="1048" y="1366"/>
                  </a:lnTo>
                  <a:lnTo>
                    <a:pt x="1048" y="1366"/>
                  </a:lnTo>
                  <a:lnTo>
                    <a:pt x="1040" y="1382"/>
                  </a:lnTo>
                  <a:lnTo>
                    <a:pt x="1031" y="1399"/>
                  </a:lnTo>
                  <a:lnTo>
                    <a:pt x="1020" y="1414"/>
                  </a:lnTo>
                  <a:lnTo>
                    <a:pt x="1008" y="1429"/>
                  </a:lnTo>
                  <a:lnTo>
                    <a:pt x="993" y="1443"/>
                  </a:lnTo>
                  <a:lnTo>
                    <a:pt x="979" y="1458"/>
                  </a:lnTo>
                  <a:lnTo>
                    <a:pt x="963" y="1470"/>
                  </a:lnTo>
                  <a:lnTo>
                    <a:pt x="946" y="1481"/>
                  </a:lnTo>
                  <a:lnTo>
                    <a:pt x="927" y="1492"/>
                  </a:lnTo>
                  <a:lnTo>
                    <a:pt x="909" y="1501"/>
                  </a:lnTo>
                  <a:lnTo>
                    <a:pt x="890" y="1510"/>
                  </a:lnTo>
                  <a:lnTo>
                    <a:pt x="870" y="1517"/>
                  </a:lnTo>
                  <a:lnTo>
                    <a:pt x="850" y="1523"/>
                  </a:lnTo>
                  <a:lnTo>
                    <a:pt x="830" y="1527"/>
                  </a:lnTo>
                  <a:lnTo>
                    <a:pt x="810" y="1529"/>
                  </a:lnTo>
                  <a:lnTo>
                    <a:pt x="790" y="1530"/>
                  </a:lnTo>
                  <a:lnTo>
                    <a:pt x="129" y="132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4" name="Group 13"/>
            <p:cNvGrpSpPr/>
            <p:nvPr/>
          </p:nvGrpSpPr>
          <p:grpSpPr>
            <a:xfrm>
              <a:off x="9638205" y="2949742"/>
              <a:ext cx="341916" cy="382254"/>
              <a:chOff x="9667876" y="2982913"/>
              <a:chExt cx="282575" cy="315913"/>
            </a:xfrm>
          </p:grpSpPr>
          <p:sp>
            <p:nvSpPr>
              <p:cNvPr id="3071" name="Freeform 2076"/>
              <p:cNvSpPr>
                <a:spLocks/>
              </p:cNvSpPr>
              <p:nvPr/>
            </p:nvSpPr>
            <p:spPr bwMode="auto">
              <a:xfrm>
                <a:off x="9667876" y="2982913"/>
                <a:ext cx="282575" cy="315913"/>
              </a:xfrm>
              <a:custGeom>
                <a:avLst/>
                <a:gdLst>
                  <a:gd name="T0" fmla="*/ 313 w 1068"/>
                  <a:gd name="T1" fmla="*/ 53 h 1197"/>
                  <a:gd name="T2" fmla="*/ 328 w 1068"/>
                  <a:gd name="T3" fmla="*/ 31 h 1197"/>
                  <a:gd name="T4" fmla="*/ 343 w 1068"/>
                  <a:gd name="T5" fmla="*/ 16 h 1197"/>
                  <a:gd name="T6" fmla="*/ 359 w 1068"/>
                  <a:gd name="T7" fmla="*/ 7 h 1197"/>
                  <a:gd name="T8" fmla="*/ 375 w 1068"/>
                  <a:gd name="T9" fmla="*/ 3 h 1197"/>
                  <a:gd name="T10" fmla="*/ 392 w 1068"/>
                  <a:gd name="T11" fmla="*/ 0 h 1197"/>
                  <a:gd name="T12" fmla="*/ 420 w 1068"/>
                  <a:gd name="T13" fmla="*/ 3 h 1197"/>
                  <a:gd name="T14" fmla="*/ 431 w 1068"/>
                  <a:gd name="T15" fmla="*/ 3 h 1197"/>
                  <a:gd name="T16" fmla="*/ 606 w 1068"/>
                  <a:gd name="T17" fmla="*/ 30 h 1197"/>
                  <a:gd name="T18" fmla="*/ 741 w 1068"/>
                  <a:gd name="T19" fmla="*/ 49 h 1197"/>
                  <a:gd name="T20" fmla="*/ 875 w 1068"/>
                  <a:gd name="T21" fmla="*/ 69 h 1197"/>
                  <a:gd name="T22" fmla="*/ 914 w 1068"/>
                  <a:gd name="T23" fmla="*/ 74 h 1197"/>
                  <a:gd name="T24" fmla="*/ 978 w 1068"/>
                  <a:gd name="T25" fmla="*/ 82 h 1197"/>
                  <a:gd name="T26" fmla="*/ 1017 w 1068"/>
                  <a:gd name="T27" fmla="*/ 92 h 1197"/>
                  <a:gd name="T28" fmla="*/ 1035 w 1068"/>
                  <a:gd name="T29" fmla="*/ 99 h 1197"/>
                  <a:gd name="T30" fmla="*/ 1053 w 1068"/>
                  <a:gd name="T31" fmla="*/ 111 h 1197"/>
                  <a:gd name="T32" fmla="*/ 1063 w 1068"/>
                  <a:gd name="T33" fmla="*/ 127 h 1197"/>
                  <a:gd name="T34" fmla="*/ 1067 w 1068"/>
                  <a:gd name="T35" fmla="*/ 143 h 1197"/>
                  <a:gd name="T36" fmla="*/ 1068 w 1068"/>
                  <a:gd name="T37" fmla="*/ 161 h 1197"/>
                  <a:gd name="T38" fmla="*/ 1065 w 1068"/>
                  <a:gd name="T39" fmla="*/ 180 h 1197"/>
                  <a:gd name="T40" fmla="*/ 1051 w 1068"/>
                  <a:gd name="T41" fmla="*/ 228 h 1197"/>
                  <a:gd name="T42" fmla="*/ 704 w 1068"/>
                  <a:gd name="T43" fmla="*/ 1101 h 1197"/>
                  <a:gd name="T44" fmla="*/ 692 w 1068"/>
                  <a:gd name="T45" fmla="*/ 1128 h 1197"/>
                  <a:gd name="T46" fmla="*/ 674 w 1068"/>
                  <a:gd name="T47" fmla="*/ 1159 h 1197"/>
                  <a:gd name="T48" fmla="*/ 661 w 1068"/>
                  <a:gd name="T49" fmla="*/ 1175 h 1197"/>
                  <a:gd name="T50" fmla="*/ 646 w 1068"/>
                  <a:gd name="T51" fmla="*/ 1188 h 1197"/>
                  <a:gd name="T52" fmla="*/ 628 w 1068"/>
                  <a:gd name="T53" fmla="*/ 1195 h 1197"/>
                  <a:gd name="T54" fmla="*/ 605 w 1068"/>
                  <a:gd name="T55" fmla="*/ 1197 h 1197"/>
                  <a:gd name="T56" fmla="*/ 578 w 1068"/>
                  <a:gd name="T57" fmla="*/ 1193 h 1197"/>
                  <a:gd name="T58" fmla="*/ 563 w 1068"/>
                  <a:gd name="T59" fmla="*/ 1189 h 1197"/>
                  <a:gd name="T60" fmla="*/ 431 w 1068"/>
                  <a:gd name="T61" fmla="*/ 1152 h 1197"/>
                  <a:gd name="T62" fmla="*/ 153 w 1068"/>
                  <a:gd name="T63" fmla="*/ 1075 h 1197"/>
                  <a:gd name="T64" fmla="*/ 127 w 1068"/>
                  <a:gd name="T65" fmla="*/ 1069 h 1197"/>
                  <a:gd name="T66" fmla="*/ 102 w 1068"/>
                  <a:gd name="T67" fmla="*/ 1062 h 1197"/>
                  <a:gd name="T68" fmla="*/ 69 w 1068"/>
                  <a:gd name="T69" fmla="*/ 1051 h 1197"/>
                  <a:gd name="T70" fmla="*/ 33 w 1068"/>
                  <a:gd name="T71" fmla="*/ 1037 h 1197"/>
                  <a:gd name="T72" fmla="*/ 16 w 1068"/>
                  <a:gd name="T73" fmla="*/ 1028 h 1197"/>
                  <a:gd name="T74" fmla="*/ 5 w 1068"/>
                  <a:gd name="T75" fmla="*/ 1016 h 1197"/>
                  <a:gd name="T76" fmla="*/ 1 w 1068"/>
                  <a:gd name="T77" fmla="*/ 1001 h 1197"/>
                  <a:gd name="T78" fmla="*/ 1 w 1068"/>
                  <a:gd name="T79" fmla="*/ 981 h 1197"/>
                  <a:gd name="T80" fmla="*/ 7 w 1068"/>
                  <a:gd name="T81" fmla="*/ 956 h 1197"/>
                  <a:gd name="T82" fmla="*/ 12 w 1068"/>
                  <a:gd name="T83" fmla="*/ 940 h 1197"/>
                  <a:gd name="T84" fmla="*/ 22 w 1068"/>
                  <a:gd name="T85" fmla="*/ 915 h 1197"/>
                  <a:gd name="T86" fmla="*/ 33 w 1068"/>
                  <a:gd name="T87" fmla="*/ 891 h 1197"/>
                  <a:gd name="T88" fmla="*/ 42 w 1068"/>
                  <a:gd name="T89" fmla="*/ 862 h 1197"/>
                  <a:gd name="T90" fmla="*/ 52 w 1068"/>
                  <a:gd name="T91" fmla="*/ 834 h 1197"/>
                  <a:gd name="T92" fmla="*/ 121 w 1068"/>
                  <a:gd name="T93" fmla="*/ 628 h 1197"/>
                  <a:gd name="T94" fmla="*/ 205 w 1068"/>
                  <a:gd name="T95" fmla="*/ 378 h 1197"/>
                  <a:gd name="T96" fmla="*/ 278 w 1068"/>
                  <a:gd name="T97" fmla="*/ 159 h 1197"/>
                  <a:gd name="T98" fmla="*/ 313 w 1068"/>
                  <a:gd name="T99" fmla="*/ 55 h 1197"/>
                  <a:gd name="T100" fmla="*/ 313 w 1068"/>
                  <a:gd name="T101" fmla="*/ 53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68" h="1197">
                    <a:moveTo>
                      <a:pt x="313" y="53"/>
                    </a:moveTo>
                    <a:lnTo>
                      <a:pt x="313" y="53"/>
                    </a:lnTo>
                    <a:lnTo>
                      <a:pt x="321" y="41"/>
                    </a:lnTo>
                    <a:lnTo>
                      <a:pt x="328" y="31"/>
                    </a:lnTo>
                    <a:lnTo>
                      <a:pt x="335" y="23"/>
                    </a:lnTo>
                    <a:lnTo>
                      <a:pt x="343" y="16"/>
                    </a:lnTo>
                    <a:lnTo>
                      <a:pt x="351" y="11"/>
                    </a:lnTo>
                    <a:lnTo>
                      <a:pt x="359" y="7"/>
                    </a:lnTo>
                    <a:lnTo>
                      <a:pt x="367" y="4"/>
                    </a:lnTo>
                    <a:lnTo>
                      <a:pt x="375" y="3"/>
                    </a:lnTo>
                    <a:lnTo>
                      <a:pt x="384" y="0"/>
                    </a:lnTo>
                    <a:lnTo>
                      <a:pt x="392" y="0"/>
                    </a:lnTo>
                    <a:lnTo>
                      <a:pt x="407" y="0"/>
                    </a:lnTo>
                    <a:lnTo>
                      <a:pt x="420" y="3"/>
                    </a:lnTo>
                    <a:lnTo>
                      <a:pt x="431" y="3"/>
                    </a:lnTo>
                    <a:lnTo>
                      <a:pt x="431" y="3"/>
                    </a:lnTo>
                    <a:lnTo>
                      <a:pt x="606" y="30"/>
                    </a:lnTo>
                    <a:lnTo>
                      <a:pt x="606" y="30"/>
                    </a:lnTo>
                    <a:lnTo>
                      <a:pt x="676" y="40"/>
                    </a:lnTo>
                    <a:lnTo>
                      <a:pt x="741" y="49"/>
                    </a:lnTo>
                    <a:lnTo>
                      <a:pt x="805" y="57"/>
                    </a:lnTo>
                    <a:lnTo>
                      <a:pt x="875" y="69"/>
                    </a:lnTo>
                    <a:lnTo>
                      <a:pt x="875" y="69"/>
                    </a:lnTo>
                    <a:lnTo>
                      <a:pt x="914" y="74"/>
                    </a:lnTo>
                    <a:lnTo>
                      <a:pt x="956" y="78"/>
                    </a:lnTo>
                    <a:lnTo>
                      <a:pt x="978" y="82"/>
                    </a:lnTo>
                    <a:lnTo>
                      <a:pt x="998" y="86"/>
                    </a:lnTo>
                    <a:lnTo>
                      <a:pt x="1017" y="92"/>
                    </a:lnTo>
                    <a:lnTo>
                      <a:pt x="1035" y="99"/>
                    </a:lnTo>
                    <a:lnTo>
                      <a:pt x="1035" y="99"/>
                    </a:lnTo>
                    <a:lnTo>
                      <a:pt x="1045" y="105"/>
                    </a:lnTo>
                    <a:lnTo>
                      <a:pt x="1053" y="111"/>
                    </a:lnTo>
                    <a:lnTo>
                      <a:pt x="1059" y="118"/>
                    </a:lnTo>
                    <a:lnTo>
                      <a:pt x="1063" y="127"/>
                    </a:lnTo>
                    <a:lnTo>
                      <a:pt x="1066" y="135"/>
                    </a:lnTo>
                    <a:lnTo>
                      <a:pt x="1067" y="143"/>
                    </a:lnTo>
                    <a:lnTo>
                      <a:pt x="1068" y="152"/>
                    </a:lnTo>
                    <a:lnTo>
                      <a:pt x="1068" y="161"/>
                    </a:lnTo>
                    <a:lnTo>
                      <a:pt x="1067" y="170"/>
                    </a:lnTo>
                    <a:lnTo>
                      <a:pt x="1065" y="180"/>
                    </a:lnTo>
                    <a:lnTo>
                      <a:pt x="1060" y="198"/>
                    </a:lnTo>
                    <a:lnTo>
                      <a:pt x="1051" y="228"/>
                    </a:lnTo>
                    <a:lnTo>
                      <a:pt x="1051" y="228"/>
                    </a:lnTo>
                    <a:lnTo>
                      <a:pt x="704" y="1101"/>
                    </a:lnTo>
                    <a:lnTo>
                      <a:pt x="704" y="1101"/>
                    </a:lnTo>
                    <a:lnTo>
                      <a:pt x="692" y="1128"/>
                    </a:lnTo>
                    <a:lnTo>
                      <a:pt x="681" y="1150"/>
                    </a:lnTo>
                    <a:lnTo>
                      <a:pt x="674" y="1159"/>
                    </a:lnTo>
                    <a:lnTo>
                      <a:pt x="668" y="1168"/>
                    </a:lnTo>
                    <a:lnTo>
                      <a:pt x="661" y="1175"/>
                    </a:lnTo>
                    <a:lnTo>
                      <a:pt x="654" y="1183"/>
                    </a:lnTo>
                    <a:lnTo>
                      <a:pt x="646" y="1188"/>
                    </a:lnTo>
                    <a:lnTo>
                      <a:pt x="637" y="1192"/>
                    </a:lnTo>
                    <a:lnTo>
                      <a:pt x="628" y="1195"/>
                    </a:lnTo>
                    <a:lnTo>
                      <a:pt x="616" y="1196"/>
                    </a:lnTo>
                    <a:lnTo>
                      <a:pt x="605" y="1197"/>
                    </a:lnTo>
                    <a:lnTo>
                      <a:pt x="592" y="1195"/>
                    </a:lnTo>
                    <a:lnTo>
                      <a:pt x="578" y="1193"/>
                    </a:lnTo>
                    <a:lnTo>
                      <a:pt x="563" y="1189"/>
                    </a:lnTo>
                    <a:lnTo>
                      <a:pt x="563" y="1189"/>
                    </a:lnTo>
                    <a:lnTo>
                      <a:pt x="431" y="1152"/>
                    </a:lnTo>
                    <a:lnTo>
                      <a:pt x="431" y="1152"/>
                    </a:lnTo>
                    <a:lnTo>
                      <a:pt x="153" y="1075"/>
                    </a:lnTo>
                    <a:lnTo>
                      <a:pt x="153" y="1075"/>
                    </a:lnTo>
                    <a:lnTo>
                      <a:pt x="135" y="1071"/>
                    </a:lnTo>
                    <a:lnTo>
                      <a:pt x="127" y="1069"/>
                    </a:lnTo>
                    <a:lnTo>
                      <a:pt x="119" y="1067"/>
                    </a:lnTo>
                    <a:lnTo>
                      <a:pt x="102" y="1062"/>
                    </a:lnTo>
                    <a:lnTo>
                      <a:pt x="102" y="1062"/>
                    </a:lnTo>
                    <a:lnTo>
                      <a:pt x="69" y="1051"/>
                    </a:lnTo>
                    <a:lnTo>
                      <a:pt x="44" y="1042"/>
                    </a:lnTo>
                    <a:lnTo>
                      <a:pt x="33" y="1037"/>
                    </a:lnTo>
                    <a:lnTo>
                      <a:pt x="24" y="1033"/>
                    </a:lnTo>
                    <a:lnTo>
                      <a:pt x="16" y="1028"/>
                    </a:lnTo>
                    <a:lnTo>
                      <a:pt x="10" y="1022"/>
                    </a:lnTo>
                    <a:lnTo>
                      <a:pt x="5" y="1016"/>
                    </a:lnTo>
                    <a:lnTo>
                      <a:pt x="2" y="1009"/>
                    </a:lnTo>
                    <a:lnTo>
                      <a:pt x="1" y="1001"/>
                    </a:lnTo>
                    <a:lnTo>
                      <a:pt x="0" y="991"/>
                    </a:lnTo>
                    <a:lnTo>
                      <a:pt x="1" y="981"/>
                    </a:lnTo>
                    <a:lnTo>
                      <a:pt x="4" y="969"/>
                    </a:lnTo>
                    <a:lnTo>
                      <a:pt x="7" y="956"/>
                    </a:lnTo>
                    <a:lnTo>
                      <a:pt x="12" y="940"/>
                    </a:lnTo>
                    <a:lnTo>
                      <a:pt x="12" y="940"/>
                    </a:lnTo>
                    <a:lnTo>
                      <a:pt x="18" y="922"/>
                    </a:lnTo>
                    <a:lnTo>
                      <a:pt x="22" y="915"/>
                    </a:lnTo>
                    <a:lnTo>
                      <a:pt x="26" y="909"/>
                    </a:lnTo>
                    <a:lnTo>
                      <a:pt x="33" y="891"/>
                    </a:lnTo>
                    <a:lnTo>
                      <a:pt x="33" y="891"/>
                    </a:lnTo>
                    <a:lnTo>
                      <a:pt x="42" y="862"/>
                    </a:lnTo>
                    <a:lnTo>
                      <a:pt x="52" y="834"/>
                    </a:lnTo>
                    <a:lnTo>
                      <a:pt x="52" y="834"/>
                    </a:lnTo>
                    <a:lnTo>
                      <a:pt x="121" y="628"/>
                    </a:lnTo>
                    <a:lnTo>
                      <a:pt x="121" y="628"/>
                    </a:lnTo>
                    <a:lnTo>
                      <a:pt x="205" y="378"/>
                    </a:lnTo>
                    <a:lnTo>
                      <a:pt x="205" y="378"/>
                    </a:lnTo>
                    <a:lnTo>
                      <a:pt x="278" y="159"/>
                    </a:lnTo>
                    <a:lnTo>
                      <a:pt x="278" y="159"/>
                    </a:lnTo>
                    <a:lnTo>
                      <a:pt x="313" y="55"/>
                    </a:lnTo>
                    <a:lnTo>
                      <a:pt x="313" y="55"/>
                    </a:lnTo>
                    <a:lnTo>
                      <a:pt x="313" y="53"/>
                    </a:lnTo>
                    <a:lnTo>
                      <a:pt x="313" y="53"/>
                    </a:lnTo>
                    <a:close/>
                  </a:path>
                </a:pathLst>
              </a:custGeom>
              <a:solidFill>
                <a:schemeClr val="accent5">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102" name="Group 3101"/>
              <p:cNvGrpSpPr/>
              <p:nvPr/>
            </p:nvGrpSpPr>
            <p:grpSpPr>
              <a:xfrm rot="961939">
                <a:off x="9720678" y="3004886"/>
                <a:ext cx="184324" cy="244962"/>
                <a:chOff x="9368878" y="2713591"/>
                <a:chExt cx="535094" cy="782238"/>
              </a:xfrm>
              <a:scene3d>
                <a:camera prst="isometricOffAxis1Left">
                  <a:rot lat="0" lon="2400000" rev="0"/>
                </a:camera>
                <a:lightRig rig="threePt" dir="t"/>
              </a:scene3d>
            </p:grpSpPr>
            <p:sp>
              <p:nvSpPr>
                <p:cNvPr id="2371" name="Freeform 62"/>
                <p:cNvSpPr>
                  <a:spLocks noEditPoints="1"/>
                </p:cNvSpPr>
                <p:nvPr/>
              </p:nvSpPr>
              <p:spPr bwMode="black">
                <a:xfrm>
                  <a:off x="9413431" y="2789884"/>
                  <a:ext cx="490541" cy="49054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4"/>
                </a:solidFill>
                <a:ln>
                  <a:noFill/>
                </a:ln>
              </p:spPr>
              <p:txBody>
                <a:bodyPr vert="horz" wrap="square" lIns="61737" tIns="30869" rIns="61737" bIns="3086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endParaRPr>
                </a:p>
              </p:txBody>
            </p:sp>
            <p:sp>
              <p:nvSpPr>
                <p:cNvPr id="2372" name="Freeform 38"/>
                <p:cNvSpPr>
                  <a:spLocks noEditPoints="1"/>
                </p:cNvSpPr>
                <p:nvPr/>
              </p:nvSpPr>
              <p:spPr bwMode="auto">
                <a:xfrm>
                  <a:off x="9382125" y="2713591"/>
                  <a:ext cx="148776" cy="246544"/>
                </a:xfrm>
                <a:custGeom>
                  <a:avLst/>
                  <a:gdLst>
                    <a:gd name="T0" fmla="*/ 195 w 423"/>
                    <a:gd name="T1" fmla="*/ 129 h 695"/>
                    <a:gd name="T2" fmla="*/ 156 w 423"/>
                    <a:gd name="T3" fmla="*/ 148 h 695"/>
                    <a:gd name="T4" fmla="*/ 128 w 423"/>
                    <a:gd name="T5" fmla="*/ 180 h 695"/>
                    <a:gd name="T6" fmla="*/ 119 w 423"/>
                    <a:gd name="T7" fmla="*/ 219 h 695"/>
                    <a:gd name="T8" fmla="*/ 129 w 423"/>
                    <a:gd name="T9" fmla="*/ 261 h 695"/>
                    <a:gd name="T10" fmla="*/ 154 w 423"/>
                    <a:gd name="T11" fmla="*/ 294 h 695"/>
                    <a:gd name="T12" fmla="*/ 190 w 423"/>
                    <a:gd name="T13" fmla="*/ 312 h 695"/>
                    <a:gd name="T14" fmla="*/ 230 w 423"/>
                    <a:gd name="T15" fmla="*/ 315 h 695"/>
                    <a:gd name="T16" fmla="*/ 264 w 423"/>
                    <a:gd name="T17" fmla="*/ 299 h 695"/>
                    <a:gd name="T18" fmla="*/ 289 w 423"/>
                    <a:gd name="T19" fmla="*/ 270 h 695"/>
                    <a:gd name="T20" fmla="*/ 304 w 423"/>
                    <a:gd name="T21" fmla="*/ 234 h 695"/>
                    <a:gd name="T22" fmla="*/ 302 w 423"/>
                    <a:gd name="T23" fmla="*/ 196 h 695"/>
                    <a:gd name="T24" fmla="*/ 284 w 423"/>
                    <a:gd name="T25" fmla="*/ 161 h 695"/>
                    <a:gd name="T26" fmla="*/ 254 w 423"/>
                    <a:gd name="T27" fmla="*/ 139 h 695"/>
                    <a:gd name="T28" fmla="*/ 214 w 423"/>
                    <a:gd name="T29" fmla="*/ 128 h 695"/>
                    <a:gd name="T30" fmla="*/ 263 w 423"/>
                    <a:gd name="T31" fmla="*/ 0 h 695"/>
                    <a:gd name="T32" fmla="*/ 332 w 423"/>
                    <a:gd name="T33" fmla="*/ 40 h 695"/>
                    <a:gd name="T34" fmla="*/ 372 w 423"/>
                    <a:gd name="T35" fmla="*/ 73 h 695"/>
                    <a:gd name="T36" fmla="*/ 401 w 423"/>
                    <a:gd name="T37" fmla="*/ 121 h 695"/>
                    <a:gd name="T38" fmla="*/ 418 w 423"/>
                    <a:gd name="T39" fmla="*/ 177 h 695"/>
                    <a:gd name="T40" fmla="*/ 423 w 423"/>
                    <a:gd name="T41" fmla="*/ 234 h 695"/>
                    <a:gd name="T42" fmla="*/ 412 w 423"/>
                    <a:gd name="T43" fmla="*/ 289 h 695"/>
                    <a:gd name="T44" fmla="*/ 389 w 423"/>
                    <a:gd name="T45" fmla="*/ 340 h 695"/>
                    <a:gd name="T46" fmla="*/ 357 w 423"/>
                    <a:gd name="T47" fmla="*/ 384 h 695"/>
                    <a:gd name="T48" fmla="*/ 310 w 423"/>
                    <a:gd name="T49" fmla="*/ 442 h 695"/>
                    <a:gd name="T50" fmla="*/ 267 w 423"/>
                    <a:gd name="T51" fmla="*/ 521 h 695"/>
                    <a:gd name="T52" fmla="*/ 243 w 423"/>
                    <a:gd name="T53" fmla="*/ 609 h 695"/>
                    <a:gd name="T54" fmla="*/ 237 w 423"/>
                    <a:gd name="T55" fmla="*/ 673 h 695"/>
                    <a:gd name="T56" fmla="*/ 234 w 423"/>
                    <a:gd name="T57" fmla="*/ 690 h 695"/>
                    <a:gd name="T58" fmla="*/ 218 w 423"/>
                    <a:gd name="T59" fmla="*/ 695 h 695"/>
                    <a:gd name="T60" fmla="*/ 199 w 423"/>
                    <a:gd name="T61" fmla="*/ 691 h 695"/>
                    <a:gd name="T62" fmla="*/ 192 w 423"/>
                    <a:gd name="T63" fmla="*/ 673 h 695"/>
                    <a:gd name="T64" fmla="*/ 191 w 423"/>
                    <a:gd name="T65" fmla="*/ 625 h 695"/>
                    <a:gd name="T66" fmla="*/ 179 w 423"/>
                    <a:gd name="T67" fmla="*/ 568 h 695"/>
                    <a:gd name="T68" fmla="*/ 151 w 423"/>
                    <a:gd name="T69" fmla="*/ 503 h 695"/>
                    <a:gd name="T70" fmla="*/ 114 w 423"/>
                    <a:gd name="T71" fmla="*/ 445 h 695"/>
                    <a:gd name="T72" fmla="*/ 67 w 423"/>
                    <a:gd name="T73" fmla="*/ 384 h 695"/>
                    <a:gd name="T74" fmla="*/ 23 w 423"/>
                    <a:gd name="T75" fmla="*/ 315 h 695"/>
                    <a:gd name="T76" fmla="*/ 4 w 423"/>
                    <a:gd name="T77" fmla="*/ 261 h 695"/>
                    <a:gd name="T78" fmla="*/ 0 w 423"/>
                    <a:gd name="T79" fmla="*/ 205 h 695"/>
                    <a:gd name="T80" fmla="*/ 11 w 423"/>
                    <a:gd name="T81" fmla="*/ 149 h 695"/>
                    <a:gd name="T82" fmla="*/ 38 w 423"/>
                    <a:gd name="T83" fmla="*/ 97 h 695"/>
                    <a:gd name="T84" fmla="*/ 86 w 423"/>
                    <a:gd name="T85" fmla="*/ 48 h 695"/>
                    <a:gd name="T86" fmla="*/ 150 w 423"/>
                    <a:gd name="T87" fmla="*/ 10 h 695"/>
                    <a:gd name="T88" fmla="*/ 155 w 423"/>
                    <a:gd name="T89" fmla="*/ 6 h 695"/>
                    <a:gd name="T90" fmla="*/ 160 w 423"/>
                    <a:gd name="T9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3" h="695">
                      <a:moveTo>
                        <a:pt x="214" y="128"/>
                      </a:moveTo>
                      <a:lnTo>
                        <a:pt x="195" y="129"/>
                      </a:lnTo>
                      <a:lnTo>
                        <a:pt x="175" y="136"/>
                      </a:lnTo>
                      <a:lnTo>
                        <a:pt x="156" y="148"/>
                      </a:lnTo>
                      <a:lnTo>
                        <a:pt x="141" y="163"/>
                      </a:lnTo>
                      <a:lnTo>
                        <a:pt x="128" y="180"/>
                      </a:lnTo>
                      <a:lnTo>
                        <a:pt x="120" y="199"/>
                      </a:lnTo>
                      <a:lnTo>
                        <a:pt x="119" y="219"/>
                      </a:lnTo>
                      <a:lnTo>
                        <a:pt x="122" y="242"/>
                      </a:lnTo>
                      <a:lnTo>
                        <a:pt x="129" y="261"/>
                      </a:lnTo>
                      <a:lnTo>
                        <a:pt x="141" y="279"/>
                      </a:lnTo>
                      <a:lnTo>
                        <a:pt x="154" y="294"/>
                      </a:lnTo>
                      <a:lnTo>
                        <a:pt x="171" y="304"/>
                      </a:lnTo>
                      <a:lnTo>
                        <a:pt x="190" y="312"/>
                      </a:lnTo>
                      <a:lnTo>
                        <a:pt x="211" y="314"/>
                      </a:lnTo>
                      <a:lnTo>
                        <a:pt x="230" y="315"/>
                      </a:lnTo>
                      <a:lnTo>
                        <a:pt x="248" y="309"/>
                      </a:lnTo>
                      <a:lnTo>
                        <a:pt x="264" y="299"/>
                      </a:lnTo>
                      <a:lnTo>
                        <a:pt x="278" y="285"/>
                      </a:lnTo>
                      <a:lnTo>
                        <a:pt x="289" y="270"/>
                      </a:lnTo>
                      <a:lnTo>
                        <a:pt x="299" y="252"/>
                      </a:lnTo>
                      <a:lnTo>
                        <a:pt x="304" y="234"/>
                      </a:lnTo>
                      <a:lnTo>
                        <a:pt x="305" y="217"/>
                      </a:lnTo>
                      <a:lnTo>
                        <a:pt x="302" y="196"/>
                      </a:lnTo>
                      <a:lnTo>
                        <a:pt x="295" y="178"/>
                      </a:lnTo>
                      <a:lnTo>
                        <a:pt x="284" y="161"/>
                      </a:lnTo>
                      <a:lnTo>
                        <a:pt x="271" y="149"/>
                      </a:lnTo>
                      <a:lnTo>
                        <a:pt x="254" y="139"/>
                      </a:lnTo>
                      <a:lnTo>
                        <a:pt x="235" y="131"/>
                      </a:lnTo>
                      <a:lnTo>
                        <a:pt x="214" y="128"/>
                      </a:lnTo>
                      <a:close/>
                      <a:moveTo>
                        <a:pt x="160" y="0"/>
                      </a:moveTo>
                      <a:lnTo>
                        <a:pt x="263" y="0"/>
                      </a:lnTo>
                      <a:lnTo>
                        <a:pt x="298" y="20"/>
                      </a:lnTo>
                      <a:lnTo>
                        <a:pt x="332" y="40"/>
                      </a:lnTo>
                      <a:lnTo>
                        <a:pt x="353" y="54"/>
                      </a:lnTo>
                      <a:lnTo>
                        <a:pt x="372" y="73"/>
                      </a:lnTo>
                      <a:lnTo>
                        <a:pt x="387" y="96"/>
                      </a:lnTo>
                      <a:lnTo>
                        <a:pt x="401" y="121"/>
                      </a:lnTo>
                      <a:lnTo>
                        <a:pt x="411" y="149"/>
                      </a:lnTo>
                      <a:lnTo>
                        <a:pt x="418" y="177"/>
                      </a:lnTo>
                      <a:lnTo>
                        <a:pt x="423" y="206"/>
                      </a:lnTo>
                      <a:lnTo>
                        <a:pt x="423" y="234"/>
                      </a:lnTo>
                      <a:lnTo>
                        <a:pt x="420" y="260"/>
                      </a:lnTo>
                      <a:lnTo>
                        <a:pt x="412" y="289"/>
                      </a:lnTo>
                      <a:lnTo>
                        <a:pt x="403" y="316"/>
                      </a:lnTo>
                      <a:lnTo>
                        <a:pt x="389" y="340"/>
                      </a:lnTo>
                      <a:lnTo>
                        <a:pt x="375" y="363"/>
                      </a:lnTo>
                      <a:lnTo>
                        <a:pt x="357" y="384"/>
                      </a:lnTo>
                      <a:lnTo>
                        <a:pt x="339" y="405"/>
                      </a:lnTo>
                      <a:lnTo>
                        <a:pt x="310" y="442"/>
                      </a:lnTo>
                      <a:lnTo>
                        <a:pt x="285" y="480"/>
                      </a:lnTo>
                      <a:lnTo>
                        <a:pt x="267" y="521"/>
                      </a:lnTo>
                      <a:lnTo>
                        <a:pt x="252" y="564"/>
                      </a:lnTo>
                      <a:lnTo>
                        <a:pt x="243" y="609"/>
                      </a:lnTo>
                      <a:lnTo>
                        <a:pt x="239" y="641"/>
                      </a:lnTo>
                      <a:lnTo>
                        <a:pt x="237" y="673"/>
                      </a:lnTo>
                      <a:lnTo>
                        <a:pt x="237" y="682"/>
                      </a:lnTo>
                      <a:lnTo>
                        <a:pt x="234" y="690"/>
                      </a:lnTo>
                      <a:lnTo>
                        <a:pt x="228" y="694"/>
                      </a:lnTo>
                      <a:lnTo>
                        <a:pt x="218" y="695"/>
                      </a:lnTo>
                      <a:lnTo>
                        <a:pt x="207" y="695"/>
                      </a:lnTo>
                      <a:lnTo>
                        <a:pt x="199" y="691"/>
                      </a:lnTo>
                      <a:lnTo>
                        <a:pt x="194" y="684"/>
                      </a:lnTo>
                      <a:lnTo>
                        <a:pt x="192" y="673"/>
                      </a:lnTo>
                      <a:lnTo>
                        <a:pt x="192" y="649"/>
                      </a:lnTo>
                      <a:lnTo>
                        <a:pt x="191" y="625"/>
                      </a:lnTo>
                      <a:lnTo>
                        <a:pt x="188" y="602"/>
                      </a:lnTo>
                      <a:lnTo>
                        <a:pt x="179" y="568"/>
                      </a:lnTo>
                      <a:lnTo>
                        <a:pt x="167" y="534"/>
                      </a:lnTo>
                      <a:lnTo>
                        <a:pt x="151" y="503"/>
                      </a:lnTo>
                      <a:lnTo>
                        <a:pt x="133" y="474"/>
                      </a:lnTo>
                      <a:lnTo>
                        <a:pt x="114" y="445"/>
                      </a:lnTo>
                      <a:lnTo>
                        <a:pt x="92" y="417"/>
                      </a:lnTo>
                      <a:lnTo>
                        <a:pt x="67" y="384"/>
                      </a:lnTo>
                      <a:lnTo>
                        <a:pt x="43" y="350"/>
                      </a:lnTo>
                      <a:lnTo>
                        <a:pt x="23" y="315"/>
                      </a:lnTo>
                      <a:lnTo>
                        <a:pt x="12" y="289"/>
                      </a:lnTo>
                      <a:lnTo>
                        <a:pt x="4" y="261"/>
                      </a:lnTo>
                      <a:lnTo>
                        <a:pt x="0" y="233"/>
                      </a:lnTo>
                      <a:lnTo>
                        <a:pt x="0" y="205"/>
                      </a:lnTo>
                      <a:lnTo>
                        <a:pt x="3" y="177"/>
                      </a:lnTo>
                      <a:lnTo>
                        <a:pt x="11" y="149"/>
                      </a:lnTo>
                      <a:lnTo>
                        <a:pt x="22" y="122"/>
                      </a:lnTo>
                      <a:lnTo>
                        <a:pt x="38" y="97"/>
                      </a:lnTo>
                      <a:lnTo>
                        <a:pt x="57" y="73"/>
                      </a:lnTo>
                      <a:lnTo>
                        <a:pt x="86" y="48"/>
                      </a:lnTo>
                      <a:lnTo>
                        <a:pt x="117" y="28"/>
                      </a:lnTo>
                      <a:lnTo>
                        <a:pt x="150" y="10"/>
                      </a:lnTo>
                      <a:lnTo>
                        <a:pt x="153" y="8"/>
                      </a:lnTo>
                      <a:lnTo>
                        <a:pt x="155" y="6"/>
                      </a:lnTo>
                      <a:lnTo>
                        <a:pt x="158" y="3"/>
                      </a:lnTo>
                      <a:lnTo>
                        <a:pt x="16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cxnSp>
              <p:nvCxnSpPr>
                <p:cNvPr id="2373" name="Straight Connector 2372"/>
                <p:cNvCxnSpPr/>
                <p:nvPr/>
              </p:nvCxnSpPr>
              <p:spPr>
                <a:xfrm>
                  <a:off x="9368878" y="3371608"/>
                  <a:ext cx="24527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74" name="Straight Connector 2373"/>
                <p:cNvCxnSpPr/>
                <p:nvPr/>
              </p:nvCxnSpPr>
              <p:spPr>
                <a:xfrm>
                  <a:off x="9368878" y="3434869"/>
                  <a:ext cx="24527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75" name="Straight Connector 2374"/>
                <p:cNvCxnSpPr/>
                <p:nvPr/>
              </p:nvCxnSpPr>
              <p:spPr>
                <a:xfrm>
                  <a:off x="9368878" y="3495829"/>
                  <a:ext cx="24527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grpSp>
      <p:sp>
        <p:nvSpPr>
          <p:cNvPr id="2380" name="Freeform 38"/>
          <p:cNvSpPr>
            <a:spLocks noEditPoints="1"/>
          </p:cNvSpPr>
          <p:nvPr/>
        </p:nvSpPr>
        <p:spPr bwMode="auto">
          <a:xfrm>
            <a:off x="11304083" y="2323220"/>
            <a:ext cx="148776" cy="246544"/>
          </a:xfrm>
          <a:custGeom>
            <a:avLst/>
            <a:gdLst>
              <a:gd name="T0" fmla="*/ 195 w 423"/>
              <a:gd name="T1" fmla="*/ 129 h 695"/>
              <a:gd name="T2" fmla="*/ 156 w 423"/>
              <a:gd name="T3" fmla="*/ 148 h 695"/>
              <a:gd name="T4" fmla="*/ 128 w 423"/>
              <a:gd name="T5" fmla="*/ 180 h 695"/>
              <a:gd name="T6" fmla="*/ 119 w 423"/>
              <a:gd name="T7" fmla="*/ 219 h 695"/>
              <a:gd name="T8" fmla="*/ 129 w 423"/>
              <a:gd name="T9" fmla="*/ 261 h 695"/>
              <a:gd name="T10" fmla="*/ 154 w 423"/>
              <a:gd name="T11" fmla="*/ 294 h 695"/>
              <a:gd name="T12" fmla="*/ 190 w 423"/>
              <a:gd name="T13" fmla="*/ 312 h 695"/>
              <a:gd name="T14" fmla="*/ 230 w 423"/>
              <a:gd name="T15" fmla="*/ 315 h 695"/>
              <a:gd name="T16" fmla="*/ 264 w 423"/>
              <a:gd name="T17" fmla="*/ 299 h 695"/>
              <a:gd name="T18" fmla="*/ 289 w 423"/>
              <a:gd name="T19" fmla="*/ 270 h 695"/>
              <a:gd name="T20" fmla="*/ 304 w 423"/>
              <a:gd name="T21" fmla="*/ 234 h 695"/>
              <a:gd name="T22" fmla="*/ 302 w 423"/>
              <a:gd name="T23" fmla="*/ 196 h 695"/>
              <a:gd name="T24" fmla="*/ 284 w 423"/>
              <a:gd name="T25" fmla="*/ 161 h 695"/>
              <a:gd name="T26" fmla="*/ 254 w 423"/>
              <a:gd name="T27" fmla="*/ 139 h 695"/>
              <a:gd name="T28" fmla="*/ 214 w 423"/>
              <a:gd name="T29" fmla="*/ 128 h 695"/>
              <a:gd name="T30" fmla="*/ 263 w 423"/>
              <a:gd name="T31" fmla="*/ 0 h 695"/>
              <a:gd name="T32" fmla="*/ 332 w 423"/>
              <a:gd name="T33" fmla="*/ 40 h 695"/>
              <a:gd name="T34" fmla="*/ 372 w 423"/>
              <a:gd name="T35" fmla="*/ 73 h 695"/>
              <a:gd name="T36" fmla="*/ 401 w 423"/>
              <a:gd name="T37" fmla="*/ 121 h 695"/>
              <a:gd name="T38" fmla="*/ 418 w 423"/>
              <a:gd name="T39" fmla="*/ 177 h 695"/>
              <a:gd name="T40" fmla="*/ 423 w 423"/>
              <a:gd name="T41" fmla="*/ 234 h 695"/>
              <a:gd name="T42" fmla="*/ 412 w 423"/>
              <a:gd name="T43" fmla="*/ 289 h 695"/>
              <a:gd name="T44" fmla="*/ 389 w 423"/>
              <a:gd name="T45" fmla="*/ 340 h 695"/>
              <a:gd name="T46" fmla="*/ 357 w 423"/>
              <a:gd name="T47" fmla="*/ 384 h 695"/>
              <a:gd name="T48" fmla="*/ 310 w 423"/>
              <a:gd name="T49" fmla="*/ 442 h 695"/>
              <a:gd name="T50" fmla="*/ 267 w 423"/>
              <a:gd name="T51" fmla="*/ 521 h 695"/>
              <a:gd name="T52" fmla="*/ 243 w 423"/>
              <a:gd name="T53" fmla="*/ 609 h 695"/>
              <a:gd name="T54" fmla="*/ 237 w 423"/>
              <a:gd name="T55" fmla="*/ 673 h 695"/>
              <a:gd name="T56" fmla="*/ 234 w 423"/>
              <a:gd name="T57" fmla="*/ 690 h 695"/>
              <a:gd name="T58" fmla="*/ 218 w 423"/>
              <a:gd name="T59" fmla="*/ 695 h 695"/>
              <a:gd name="T60" fmla="*/ 199 w 423"/>
              <a:gd name="T61" fmla="*/ 691 h 695"/>
              <a:gd name="T62" fmla="*/ 192 w 423"/>
              <a:gd name="T63" fmla="*/ 673 h 695"/>
              <a:gd name="T64" fmla="*/ 191 w 423"/>
              <a:gd name="T65" fmla="*/ 625 h 695"/>
              <a:gd name="T66" fmla="*/ 179 w 423"/>
              <a:gd name="T67" fmla="*/ 568 h 695"/>
              <a:gd name="T68" fmla="*/ 151 w 423"/>
              <a:gd name="T69" fmla="*/ 503 h 695"/>
              <a:gd name="T70" fmla="*/ 114 w 423"/>
              <a:gd name="T71" fmla="*/ 445 h 695"/>
              <a:gd name="T72" fmla="*/ 67 w 423"/>
              <a:gd name="T73" fmla="*/ 384 h 695"/>
              <a:gd name="T74" fmla="*/ 23 w 423"/>
              <a:gd name="T75" fmla="*/ 315 h 695"/>
              <a:gd name="T76" fmla="*/ 4 w 423"/>
              <a:gd name="T77" fmla="*/ 261 h 695"/>
              <a:gd name="T78" fmla="*/ 0 w 423"/>
              <a:gd name="T79" fmla="*/ 205 h 695"/>
              <a:gd name="T80" fmla="*/ 11 w 423"/>
              <a:gd name="T81" fmla="*/ 149 h 695"/>
              <a:gd name="T82" fmla="*/ 38 w 423"/>
              <a:gd name="T83" fmla="*/ 97 h 695"/>
              <a:gd name="T84" fmla="*/ 86 w 423"/>
              <a:gd name="T85" fmla="*/ 48 h 695"/>
              <a:gd name="T86" fmla="*/ 150 w 423"/>
              <a:gd name="T87" fmla="*/ 10 h 695"/>
              <a:gd name="T88" fmla="*/ 155 w 423"/>
              <a:gd name="T89" fmla="*/ 6 h 695"/>
              <a:gd name="T90" fmla="*/ 160 w 423"/>
              <a:gd name="T9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3" h="695">
                <a:moveTo>
                  <a:pt x="214" y="128"/>
                </a:moveTo>
                <a:lnTo>
                  <a:pt x="195" y="129"/>
                </a:lnTo>
                <a:lnTo>
                  <a:pt x="175" y="136"/>
                </a:lnTo>
                <a:lnTo>
                  <a:pt x="156" y="148"/>
                </a:lnTo>
                <a:lnTo>
                  <a:pt x="141" y="163"/>
                </a:lnTo>
                <a:lnTo>
                  <a:pt x="128" y="180"/>
                </a:lnTo>
                <a:lnTo>
                  <a:pt x="120" y="199"/>
                </a:lnTo>
                <a:lnTo>
                  <a:pt x="119" y="219"/>
                </a:lnTo>
                <a:lnTo>
                  <a:pt x="122" y="242"/>
                </a:lnTo>
                <a:lnTo>
                  <a:pt x="129" y="261"/>
                </a:lnTo>
                <a:lnTo>
                  <a:pt x="141" y="279"/>
                </a:lnTo>
                <a:lnTo>
                  <a:pt x="154" y="294"/>
                </a:lnTo>
                <a:lnTo>
                  <a:pt x="171" y="304"/>
                </a:lnTo>
                <a:lnTo>
                  <a:pt x="190" y="312"/>
                </a:lnTo>
                <a:lnTo>
                  <a:pt x="211" y="314"/>
                </a:lnTo>
                <a:lnTo>
                  <a:pt x="230" y="315"/>
                </a:lnTo>
                <a:lnTo>
                  <a:pt x="248" y="309"/>
                </a:lnTo>
                <a:lnTo>
                  <a:pt x="264" y="299"/>
                </a:lnTo>
                <a:lnTo>
                  <a:pt x="278" y="285"/>
                </a:lnTo>
                <a:lnTo>
                  <a:pt x="289" y="270"/>
                </a:lnTo>
                <a:lnTo>
                  <a:pt x="299" y="252"/>
                </a:lnTo>
                <a:lnTo>
                  <a:pt x="304" y="234"/>
                </a:lnTo>
                <a:lnTo>
                  <a:pt x="305" y="217"/>
                </a:lnTo>
                <a:lnTo>
                  <a:pt x="302" y="196"/>
                </a:lnTo>
                <a:lnTo>
                  <a:pt x="295" y="178"/>
                </a:lnTo>
                <a:lnTo>
                  <a:pt x="284" y="161"/>
                </a:lnTo>
                <a:lnTo>
                  <a:pt x="271" y="149"/>
                </a:lnTo>
                <a:lnTo>
                  <a:pt x="254" y="139"/>
                </a:lnTo>
                <a:lnTo>
                  <a:pt x="235" y="131"/>
                </a:lnTo>
                <a:lnTo>
                  <a:pt x="214" y="128"/>
                </a:lnTo>
                <a:close/>
                <a:moveTo>
                  <a:pt x="160" y="0"/>
                </a:moveTo>
                <a:lnTo>
                  <a:pt x="263" y="0"/>
                </a:lnTo>
                <a:lnTo>
                  <a:pt x="298" y="20"/>
                </a:lnTo>
                <a:lnTo>
                  <a:pt x="332" y="40"/>
                </a:lnTo>
                <a:lnTo>
                  <a:pt x="353" y="54"/>
                </a:lnTo>
                <a:lnTo>
                  <a:pt x="372" y="73"/>
                </a:lnTo>
                <a:lnTo>
                  <a:pt x="387" y="96"/>
                </a:lnTo>
                <a:lnTo>
                  <a:pt x="401" y="121"/>
                </a:lnTo>
                <a:lnTo>
                  <a:pt x="411" y="149"/>
                </a:lnTo>
                <a:lnTo>
                  <a:pt x="418" y="177"/>
                </a:lnTo>
                <a:lnTo>
                  <a:pt x="423" y="206"/>
                </a:lnTo>
                <a:lnTo>
                  <a:pt x="423" y="234"/>
                </a:lnTo>
                <a:lnTo>
                  <a:pt x="420" y="260"/>
                </a:lnTo>
                <a:lnTo>
                  <a:pt x="412" y="289"/>
                </a:lnTo>
                <a:lnTo>
                  <a:pt x="403" y="316"/>
                </a:lnTo>
                <a:lnTo>
                  <a:pt x="389" y="340"/>
                </a:lnTo>
                <a:lnTo>
                  <a:pt x="375" y="363"/>
                </a:lnTo>
                <a:lnTo>
                  <a:pt x="357" y="384"/>
                </a:lnTo>
                <a:lnTo>
                  <a:pt x="339" y="405"/>
                </a:lnTo>
                <a:lnTo>
                  <a:pt x="310" y="442"/>
                </a:lnTo>
                <a:lnTo>
                  <a:pt x="285" y="480"/>
                </a:lnTo>
                <a:lnTo>
                  <a:pt x="267" y="521"/>
                </a:lnTo>
                <a:lnTo>
                  <a:pt x="252" y="564"/>
                </a:lnTo>
                <a:lnTo>
                  <a:pt x="243" y="609"/>
                </a:lnTo>
                <a:lnTo>
                  <a:pt x="239" y="641"/>
                </a:lnTo>
                <a:lnTo>
                  <a:pt x="237" y="673"/>
                </a:lnTo>
                <a:lnTo>
                  <a:pt x="237" y="682"/>
                </a:lnTo>
                <a:lnTo>
                  <a:pt x="234" y="690"/>
                </a:lnTo>
                <a:lnTo>
                  <a:pt x="228" y="694"/>
                </a:lnTo>
                <a:lnTo>
                  <a:pt x="218" y="695"/>
                </a:lnTo>
                <a:lnTo>
                  <a:pt x="207" y="695"/>
                </a:lnTo>
                <a:lnTo>
                  <a:pt x="199" y="691"/>
                </a:lnTo>
                <a:lnTo>
                  <a:pt x="194" y="684"/>
                </a:lnTo>
                <a:lnTo>
                  <a:pt x="192" y="673"/>
                </a:lnTo>
                <a:lnTo>
                  <a:pt x="192" y="649"/>
                </a:lnTo>
                <a:lnTo>
                  <a:pt x="191" y="625"/>
                </a:lnTo>
                <a:lnTo>
                  <a:pt x="188" y="602"/>
                </a:lnTo>
                <a:lnTo>
                  <a:pt x="179" y="568"/>
                </a:lnTo>
                <a:lnTo>
                  <a:pt x="167" y="534"/>
                </a:lnTo>
                <a:lnTo>
                  <a:pt x="151" y="503"/>
                </a:lnTo>
                <a:lnTo>
                  <a:pt x="133" y="474"/>
                </a:lnTo>
                <a:lnTo>
                  <a:pt x="114" y="445"/>
                </a:lnTo>
                <a:lnTo>
                  <a:pt x="92" y="417"/>
                </a:lnTo>
                <a:lnTo>
                  <a:pt x="67" y="384"/>
                </a:lnTo>
                <a:lnTo>
                  <a:pt x="43" y="350"/>
                </a:lnTo>
                <a:lnTo>
                  <a:pt x="23" y="315"/>
                </a:lnTo>
                <a:lnTo>
                  <a:pt x="12" y="289"/>
                </a:lnTo>
                <a:lnTo>
                  <a:pt x="4" y="261"/>
                </a:lnTo>
                <a:lnTo>
                  <a:pt x="0" y="233"/>
                </a:lnTo>
                <a:lnTo>
                  <a:pt x="0" y="205"/>
                </a:lnTo>
                <a:lnTo>
                  <a:pt x="3" y="177"/>
                </a:lnTo>
                <a:lnTo>
                  <a:pt x="11" y="149"/>
                </a:lnTo>
                <a:lnTo>
                  <a:pt x="22" y="122"/>
                </a:lnTo>
                <a:lnTo>
                  <a:pt x="38" y="97"/>
                </a:lnTo>
                <a:lnTo>
                  <a:pt x="57" y="73"/>
                </a:lnTo>
                <a:lnTo>
                  <a:pt x="86" y="48"/>
                </a:lnTo>
                <a:lnTo>
                  <a:pt x="117" y="28"/>
                </a:lnTo>
                <a:lnTo>
                  <a:pt x="150" y="10"/>
                </a:lnTo>
                <a:lnTo>
                  <a:pt x="153" y="8"/>
                </a:lnTo>
                <a:lnTo>
                  <a:pt x="155" y="6"/>
                </a:lnTo>
                <a:lnTo>
                  <a:pt x="158" y="3"/>
                </a:lnTo>
                <a:lnTo>
                  <a:pt x="16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115" name="Group 3114"/>
          <p:cNvGrpSpPr/>
          <p:nvPr/>
        </p:nvGrpSpPr>
        <p:grpSpPr>
          <a:xfrm rot="5400000" flipH="1" flipV="1">
            <a:off x="7726529" y="2427436"/>
            <a:ext cx="82527" cy="147723"/>
            <a:chOff x="2687372" y="3149601"/>
            <a:chExt cx="81465" cy="132564"/>
          </a:xfrm>
          <a:solidFill>
            <a:schemeClr val="accent3"/>
          </a:solidFill>
        </p:grpSpPr>
        <p:sp>
          <p:nvSpPr>
            <p:cNvPr id="3116"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7"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8"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9"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20"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21"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122" name="Group 3121"/>
          <p:cNvGrpSpPr/>
          <p:nvPr/>
        </p:nvGrpSpPr>
        <p:grpSpPr>
          <a:xfrm rot="5400000" flipH="1" flipV="1">
            <a:off x="9392483" y="2508398"/>
            <a:ext cx="82527" cy="147723"/>
            <a:chOff x="2687372" y="3149601"/>
            <a:chExt cx="81465" cy="132564"/>
          </a:xfrm>
          <a:solidFill>
            <a:schemeClr val="accent3"/>
          </a:solidFill>
        </p:grpSpPr>
        <p:sp>
          <p:nvSpPr>
            <p:cNvPr id="312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2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25"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2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2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2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3073" name="Freeform 2078"/>
          <p:cNvSpPr>
            <a:spLocks/>
          </p:cNvSpPr>
          <p:nvPr/>
        </p:nvSpPr>
        <p:spPr bwMode="auto">
          <a:xfrm>
            <a:off x="9749786" y="2296163"/>
            <a:ext cx="257398" cy="265081"/>
          </a:xfrm>
          <a:custGeom>
            <a:avLst/>
            <a:gdLst>
              <a:gd name="T0" fmla="*/ 809 w 809"/>
              <a:gd name="T1" fmla="*/ 171 h 825"/>
              <a:gd name="T2" fmla="*/ 809 w 809"/>
              <a:gd name="T3" fmla="*/ 171 h 825"/>
              <a:gd name="T4" fmla="*/ 808 w 809"/>
              <a:gd name="T5" fmla="*/ 168 h 825"/>
              <a:gd name="T6" fmla="*/ 806 w 809"/>
              <a:gd name="T7" fmla="*/ 165 h 825"/>
              <a:gd name="T8" fmla="*/ 804 w 809"/>
              <a:gd name="T9" fmla="*/ 163 h 825"/>
              <a:gd name="T10" fmla="*/ 801 w 809"/>
              <a:gd name="T11" fmla="*/ 161 h 825"/>
              <a:gd name="T12" fmla="*/ 8 w 809"/>
              <a:gd name="T13" fmla="*/ 0 h 825"/>
              <a:gd name="T14" fmla="*/ 8 w 809"/>
              <a:gd name="T15" fmla="*/ 0 h 825"/>
              <a:gd name="T16" fmla="*/ 5 w 809"/>
              <a:gd name="T17" fmla="*/ 0 h 825"/>
              <a:gd name="T18" fmla="*/ 3 w 809"/>
              <a:gd name="T19" fmla="*/ 1 h 825"/>
              <a:gd name="T20" fmla="*/ 1 w 809"/>
              <a:gd name="T21" fmla="*/ 3 h 825"/>
              <a:gd name="T22" fmla="*/ 0 w 809"/>
              <a:gd name="T23" fmla="*/ 6 h 825"/>
              <a:gd name="T24" fmla="*/ 0 w 809"/>
              <a:gd name="T25" fmla="*/ 653 h 825"/>
              <a:gd name="T26" fmla="*/ 0 w 809"/>
              <a:gd name="T27" fmla="*/ 653 h 825"/>
              <a:gd name="T28" fmla="*/ 1 w 809"/>
              <a:gd name="T29" fmla="*/ 657 h 825"/>
              <a:gd name="T30" fmla="*/ 3 w 809"/>
              <a:gd name="T31" fmla="*/ 660 h 825"/>
              <a:gd name="T32" fmla="*/ 5 w 809"/>
              <a:gd name="T33" fmla="*/ 662 h 825"/>
              <a:gd name="T34" fmla="*/ 8 w 809"/>
              <a:gd name="T35" fmla="*/ 663 h 825"/>
              <a:gd name="T36" fmla="*/ 801 w 809"/>
              <a:gd name="T37" fmla="*/ 825 h 825"/>
              <a:gd name="T38" fmla="*/ 801 w 809"/>
              <a:gd name="T39" fmla="*/ 825 h 825"/>
              <a:gd name="T40" fmla="*/ 804 w 809"/>
              <a:gd name="T41" fmla="*/ 825 h 825"/>
              <a:gd name="T42" fmla="*/ 806 w 809"/>
              <a:gd name="T43" fmla="*/ 823 h 825"/>
              <a:gd name="T44" fmla="*/ 808 w 809"/>
              <a:gd name="T45" fmla="*/ 821 h 825"/>
              <a:gd name="T46" fmla="*/ 809 w 809"/>
              <a:gd name="T47" fmla="*/ 818 h 825"/>
              <a:gd name="T48" fmla="*/ 809 w 809"/>
              <a:gd name="T49" fmla="*/ 171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9" h="825">
                <a:moveTo>
                  <a:pt x="809" y="171"/>
                </a:moveTo>
                <a:lnTo>
                  <a:pt x="809" y="171"/>
                </a:lnTo>
                <a:lnTo>
                  <a:pt x="808" y="168"/>
                </a:lnTo>
                <a:lnTo>
                  <a:pt x="806" y="165"/>
                </a:lnTo>
                <a:lnTo>
                  <a:pt x="804" y="163"/>
                </a:lnTo>
                <a:lnTo>
                  <a:pt x="801" y="161"/>
                </a:lnTo>
                <a:lnTo>
                  <a:pt x="8" y="0"/>
                </a:lnTo>
                <a:lnTo>
                  <a:pt x="8" y="0"/>
                </a:lnTo>
                <a:lnTo>
                  <a:pt x="5" y="0"/>
                </a:lnTo>
                <a:lnTo>
                  <a:pt x="3" y="1"/>
                </a:lnTo>
                <a:lnTo>
                  <a:pt x="1" y="3"/>
                </a:lnTo>
                <a:lnTo>
                  <a:pt x="0" y="6"/>
                </a:lnTo>
                <a:lnTo>
                  <a:pt x="0" y="653"/>
                </a:lnTo>
                <a:lnTo>
                  <a:pt x="0" y="653"/>
                </a:lnTo>
                <a:lnTo>
                  <a:pt x="1" y="657"/>
                </a:lnTo>
                <a:lnTo>
                  <a:pt x="3" y="660"/>
                </a:lnTo>
                <a:lnTo>
                  <a:pt x="5" y="662"/>
                </a:lnTo>
                <a:lnTo>
                  <a:pt x="8" y="663"/>
                </a:lnTo>
                <a:lnTo>
                  <a:pt x="801" y="825"/>
                </a:lnTo>
                <a:lnTo>
                  <a:pt x="801" y="825"/>
                </a:lnTo>
                <a:lnTo>
                  <a:pt x="804" y="825"/>
                </a:lnTo>
                <a:lnTo>
                  <a:pt x="806" y="823"/>
                </a:lnTo>
                <a:lnTo>
                  <a:pt x="808" y="821"/>
                </a:lnTo>
                <a:lnTo>
                  <a:pt x="809" y="818"/>
                </a:lnTo>
                <a:lnTo>
                  <a:pt x="809" y="171"/>
                </a:lnTo>
                <a:close/>
              </a:path>
            </a:pathLst>
          </a:custGeom>
          <a:solidFill>
            <a:schemeClr val="accent3">
              <a:lumMod val="75000"/>
            </a:schemeClr>
          </a:solidFill>
          <a:ln w="3175">
            <a:solidFill>
              <a:schemeClr val="tx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74" name="Freeform 2079"/>
          <p:cNvSpPr>
            <a:spLocks/>
          </p:cNvSpPr>
          <p:nvPr/>
        </p:nvSpPr>
        <p:spPr bwMode="auto">
          <a:xfrm>
            <a:off x="9770412" y="2321895"/>
            <a:ext cx="224297" cy="223335"/>
          </a:xfrm>
          <a:custGeom>
            <a:avLst/>
            <a:gdLst>
              <a:gd name="T0" fmla="*/ 601 w 601"/>
              <a:gd name="T1" fmla="*/ 126 h 614"/>
              <a:gd name="T2" fmla="*/ 601 w 601"/>
              <a:gd name="T3" fmla="*/ 126 h 614"/>
              <a:gd name="T4" fmla="*/ 600 w 601"/>
              <a:gd name="T5" fmla="*/ 123 h 614"/>
              <a:gd name="T6" fmla="*/ 597 w 601"/>
              <a:gd name="T7" fmla="*/ 121 h 614"/>
              <a:gd name="T8" fmla="*/ 4 w 601"/>
              <a:gd name="T9" fmla="*/ 0 h 614"/>
              <a:gd name="T10" fmla="*/ 4 w 601"/>
              <a:gd name="T11" fmla="*/ 0 h 614"/>
              <a:gd name="T12" fmla="*/ 3 w 601"/>
              <a:gd name="T13" fmla="*/ 0 h 614"/>
              <a:gd name="T14" fmla="*/ 1 w 601"/>
              <a:gd name="T15" fmla="*/ 1 h 614"/>
              <a:gd name="T16" fmla="*/ 1 w 601"/>
              <a:gd name="T17" fmla="*/ 2 h 614"/>
              <a:gd name="T18" fmla="*/ 0 w 601"/>
              <a:gd name="T19" fmla="*/ 4 h 614"/>
              <a:gd name="T20" fmla="*/ 0 w 601"/>
              <a:gd name="T21" fmla="*/ 489 h 614"/>
              <a:gd name="T22" fmla="*/ 0 w 601"/>
              <a:gd name="T23" fmla="*/ 489 h 614"/>
              <a:gd name="T24" fmla="*/ 1 w 601"/>
              <a:gd name="T25" fmla="*/ 492 h 614"/>
              <a:gd name="T26" fmla="*/ 4 w 601"/>
              <a:gd name="T27" fmla="*/ 493 h 614"/>
              <a:gd name="T28" fmla="*/ 597 w 601"/>
              <a:gd name="T29" fmla="*/ 614 h 614"/>
              <a:gd name="T30" fmla="*/ 597 w 601"/>
              <a:gd name="T31" fmla="*/ 614 h 614"/>
              <a:gd name="T32" fmla="*/ 598 w 601"/>
              <a:gd name="T33" fmla="*/ 614 h 614"/>
              <a:gd name="T34" fmla="*/ 600 w 601"/>
              <a:gd name="T35" fmla="*/ 613 h 614"/>
              <a:gd name="T36" fmla="*/ 600 w 601"/>
              <a:gd name="T37" fmla="*/ 612 h 614"/>
              <a:gd name="T38" fmla="*/ 601 w 601"/>
              <a:gd name="T39" fmla="*/ 611 h 614"/>
              <a:gd name="T40" fmla="*/ 601 w 601"/>
              <a:gd name="T41" fmla="*/ 126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1" h="614">
                <a:moveTo>
                  <a:pt x="601" y="126"/>
                </a:moveTo>
                <a:lnTo>
                  <a:pt x="601" y="126"/>
                </a:lnTo>
                <a:lnTo>
                  <a:pt x="600" y="123"/>
                </a:lnTo>
                <a:lnTo>
                  <a:pt x="597" y="121"/>
                </a:lnTo>
                <a:lnTo>
                  <a:pt x="4" y="0"/>
                </a:lnTo>
                <a:lnTo>
                  <a:pt x="4" y="0"/>
                </a:lnTo>
                <a:lnTo>
                  <a:pt x="3" y="0"/>
                </a:lnTo>
                <a:lnTo>
                  <a:pt x="1" y="1"/>
                </a:lnTo>
                <a:lnTo>
                  <a:pt x="1" y="2"/>
                </a:lnTo>
                <a:lnTo>
                  <a:pt x="0" y="4"/>
                </a:lnTo>
                <a:lnTo>
                  <a:pt x="0" y="489"/>
                </a:lnTo>
                <a:lnTo>
                  <a:pt x="0" y="489"/>
                </a:lnTo>
                <a:lnTo>
                  <a:pt x="1" y="492"/>
                </a:lnTo>
                <a:lnTo>
                  <a:pt x="4" y="493"/>
                </a:lnTo>
                <a:lnTo>
                  <a:pt x="597" y="614"/>
                </a:lnTo>
                <a:lnTo>
                  <a:pt x="597" y="614"/>
                </a:lnTo>
                <a:lnTo>
                  <a:pt x="598" y="614"/>
                </a:lnTo>
                <a:lnTo>
                  <a:pt x="600" y="613"/>
                </a:lnTo>
                <a:lnTo>
                  <a:pt x="600" y="612"/>
                </a:lnTo>
                <a:lnTo>
                  <a:pt x="601" y="611"/>
                </a:lnTo>
                <a:lnTo>
                  <a:pt x="601" y="126"/>
                </a:lnTo>
                <a:close/>
              </a:path>
            </a:pathLst>
          </a:custGeom>
          <a:solidFill>
            <a:schemeClr val="accent4">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1B3B41"/>
              </a:solidFill>
              <a:effectLst/>
              <a:uLnTx/>
              <a:uFillTx/>
            </a:endParaRPr>
          </a:p>
        </p:txBody>
      </p:sp>
      <p:grpSp>
        <p:nvGrpSpPr>
          <p:cNvPr id="5" name="Group 4"/>
          <p:cNvGrpSpPr/>
          <p:nvPr/>
        </p:nvGrpSpPr>
        <p:grpSpPr>
          <a:xfrm rot="21428259">
            <a:off x="9857850" y="2392592"/>
            <a:ext cx="115050" cy="74144"/>
            <a:chOff x="9864219" y="2399122"/>
            <a:chExt cx="95083" cy="61276"/>
          </a:xfrm>
        </p:grpSpPr>
        <p:sp>
          <p:nvSpPr>
            <p:cNvPr id="3075" name="Freeform 2080"/>
            <p:cNvSpPr>
              <a:spLocks/>
            </p:cNvSpPr>
            <p:nvPr/>
          </p:nvSpPr>
          <p:spPr bwMode="auto">
            <a:xfrm>
              <a:off x="9864219" y="2399122"/>
              <a:ext cx="31695" cy="50711"/>
            </a:xfrm>
            <a:custGeom>
              <a:avLst/>
              <a:gdLst>
                <a:gd name="T0" fmla="*/ 0 w 95"/>
                <a:gd name="T1" fmla="*/ 0 h 148"/>
                <a:gd name="T2" fmla="*/ 95 w 95"/>
                <a:gd name="T3" fmla="*/ 20 h 148"/>
                <a:gd name="T4" fmla="*/ 95 w 95"/>
                <a:gd name="T5" fmla="*/ 41 h 148"/>
                <a:gd name="T6" fmla="*/ 39 w 95"/>
                <a:gd name="T7" fmla="*/ 148 h 148"/>
                <a:gd name="T8" fmla="*/ 12 w 95"/>
                <a:gd name="T9" fmla="*/ 143 h 148"/>
                <a:gd name="T10" fmla="*/ 68 w 95"/>
                <a:gd name="T11" fmla="*/ 37 h 148"/>
                <a:gd name="T12" fmla="*/ 0 w 95"/>
                <a:gd name="T13" fmla="*/ 24 h 148"/>
                <a:gd name="T14" fmla="*/ 0 w 95"/>
                <a:gd name="T15" fmla="*/ 0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8">
                  <a:moveTo>
                    <a:pt x="0" y="0"/>
                  </a:moveTo>
                  <a:lnTo>
                    <a:pt x="95" y="20"/>
                  </a:lnTo>
                  <a:lnTo>
                    <a:pt x="95" y="41"/>
                  </a:lnTo>
                  <a:lnTo>
                    <a:pt x="39" y="148"/>
                  </a:lnTo>
                  <a:lnTo>
                    <a:pt x="12" y="143"/>
                  </a:lnTo>
                  <a:lnTo>
                    <a:pt x="68" y="37"/>
                  </a:lnTo>
                  <a:lnTo>
                    <a:pt x="0" y="2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76" name="Freeform 2081"/>
            <p:cNvSpPr>
              <a:spLocks/>
            </p:cNvSpPr>
            <p:nvPr/>
          </p:nvSpPr>
          <p:spPr bwMode="auto">
            <a:xfrm>
              <a:off x="9898026" y="2407573"/>
              <a:ext cx="33808" cy="52825"/>
            </a:xfrm>
            <a:custGeom>
              <a:avLst/>
              <a:gdLst>
                <a:gd name="T0" fmla="*/ 55 w 95"/>
                <a:gd name="T1" fmla="*/ 67 h 152"/>
                <a:gd name="T2" fmla="*/ 60 w 95"/>
                <a:gd name="T3" fmla="*/ 63 h 152"/>
                <a:gd name="T4" fmla="*/ 64 w 95"/>
                <a:gd name="T5" fmla="*/ 58 h 152"/>
                <a:gd name="T6" fmla="*/ 68 w 95"/>
                <a:gd name="T7" fmla="*/ 53 h 152"/>
                <a:gd name="T8" fmla="*/ 69 w 95"/>
                <a:gd name="T9" fmla="*/ 50 h 152"/>
                <a:gd name="T10" fmla="*/ 69 w 95"/>
                <a:gd name="T11" fmla="*/ 47 h 152"/>
                <a:gd name="T12" fmla="*/ 67 w 95"/>
                <a:gd name="T13" fmla="*/ 38 h 152"/>
                <a:gd name="T14" fmla="*/ 65 w 95"/>
                <a:gd name="T15" fmla="*/ 34 h 152"/>
                <a:gd name="T16" fmla="*/ 63 w 95"/>
                <a:gd name="T17" fmla="*/ 31 h 152"/>
                <a:gd name="T18" fmla="*/ 57 w 95"/>
                <a:gd name="T19" fmla="*/ 26 h 152"/>
                <a:gd name="T20" fmla="*/ 49 w 95"/>
                <a:gd name="T21" fmla="*/ 24 h 152"/>
                <a:gd name="T22" fmla="*/ 45 w 95"/>
                <a:gd name="T23" fmla="*/ 23 h 152"/>
                <a:gd name="T24" fmla="*/ 38 w 95"/>
                <a:gd name="T25" fmla="*/ 24 h 152"/>
                <a:gd name="T26" fmla="*/ 35 w 95"/>
                <a:gd name="T27" fmla="*/ 26 h 152"/>
                <a:gd name="T28" fmla="*/ 29 w 95"/>
                <a:gd name="T29" fmla="*/ 31 h 152"/>
                <a:gd name="T30" fmla="*/ 27 w 95"/>
                <a:gd name="T31" fmla="*/ 38 h 152"/>
                <a:gd name="T32" fmla="*/ 2 w 95"/>
                <a:gd name="T33" fmla="*/ 31 h 152"/>
                <a:gd name="T34" fmla="*/ 7 w 95"/>
                <a:gd name="T35" fmla="*/ 16 h 152"/>
                <a:gd name="T36" fmla="*/ 11 w 95"/>
                <a:gd name="T37" fmla="*/ 10 h 152"/>
                <a:gd name="T38" fmla="*/ 17 w 95"/>
                <a:gd name="T39" fmla="*/ 5 h 152"/>
                <a:gd name="T40" fmla="*/ 32 w 95"/>
                <a:gd name="T41" fmla="*/ 1 h 152"/>
                <a:gd name="T42" fmla="*/ 40 w 95"/>
                <a:gd name="T43" fmla="*/ 0 h 152"/>
                <a:gd name="T44" fmla="*/ 49 w 95"/>
                <a:gd name="T45" fmla="*/ 1 h 152"/>
                <a:gd name="T46" fmla="*/ 66 w 95"/>
                <a:gd name="T47" fmla="*/ 7 h 152"/>
                <a:gd name="T48" fmla="*/ 74 w 95"/>
                <a:gd name="T49" fmla="*/ 12 h 152"/>
                <a:gd name="T50" fmla="*/ 80 w 95"/>
                <a:gd name="T51" fmla="*/ 17 h 152"/>
                <a:gd name="T52" fmla="*/ 91 w 95"/>
                <a:gd name="T53" fmla="*/ 31 h 152"/>
                <a:gd name="T54" fmla="*/ 94 w 95"/>
                <a:gd name="T55" fmla="*/ 40 h 152"/>
                <a:gd name="T56" fmla="*/ 95 w 95"/>
                <a:gd name="T57" fmla="*/ 50 h 152"/>
                <a:gd name="T58" fmla="*/ 93 w 95"/>
                <a:gd name="T59" fmla="*/ 62 h 152"/>
                <a:gd name="T60" fmla="*/ 88 w 95"/>
                <a:gd name="T61" fmla="*/ 71 h 152"/>
                <a:gd name="T62" fmla="*/ 81 w 95"/>
                <a:gd name="T63" fmla="*/ 79 h 152"/>
                <a:gd name="T64" fmla="*/ 29 w 95"/>
                <a:gd name="T65" fmla="*/ 119 h 152"/>
                <a:gd name="T66" fmla="*/ 95 w 95"/>
                <a:gd name="T67" fmla="*/ 152 h 152"/>
                <a:gd name="T68" fmla="*/ 0 w 95"/>
                <a:gd name="T69" fmla="*/ 10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 h="152">
                  <a:moveTo>
                    <a:pt x="0" y="109"/>
                  </a:moveTo>
                  <a:lnTo>
                    <a:pt x="55" y="67"/>
                  </a:lnTo>
                  <a:lnTo>
                    <a:pt x="55" y="67"/>
                  </a:lnTo>
                  <a:lnTo>
                    <a:pt x="60" y="63"/>
                  </a:lnTo>
                  <a:lnTo>
                    <a:pt x="60" y="63"/>
                  </a:lnTo>
                  <a:lnTo>
                    <a:pt x="64" y="58"/>
                  </a:lnTo>
                  <a:lnTo>
                    <a:pt x="64" y="58"/>
                  </a:lnTo>
                  <a:lnTo>
                    <a:pt x="68" y="53"/>
                  </a:lnTo>
                  <a:lnTo>
                    <a:pt x="68" y="53"/>
                  </a:lnTo>
                  <a:lnTo>
                    <a:pt x="69" y="50"/>
                  </a:lnTo>
                  <a:lnTo>
                    <a:pt x="69" y="47"/>
                  </a:lnTo>
                  <a:lnTo>
                    <a:pt x="69" y="47"/>
                  </a:lnTo>
                  <a:lnTo>
                    <a:pt x="69" y="41"/>
                  </a:lnTo>
                  <a:lnTo>
                    <a:pt x="67" y="38"/>
                  </a:lnTo>
                  <a:lnTo>
                    <a:pt x="67" y="38"/>
                  </a:lnTo>
                  <a:lnTo>
                    <a:pt x="65" y="34"/>
                  </a:lnTo>
                  <a:lnTo>
                    <a:pt x="63" y="31"/>
                  </a:lnTo>
                  <a:lnTo>
                    <a:pt x="63" y="31"/>
                  </a:lnTo>
                  <a:lnTo>
                    <a:pt x="57" y="26"/>
                  </a:lnTo>
                  <a:lnTo>
                    <a:pt x="57" y="26"/>
                  </a:lnTo>
                  <a:lnTo>
                    <a:pt x="53" y="25"/>
                  </a:lnTo>
                  <a:lnTo>
                    <a:pt x="49" y="24"/>
                  </a:lnTo>
                  <a:lnTo>
                    <a:pt x="49" y="24"/>
                  </a:lnTo>
                  <a:lnTo>
                    <a:pt x="45" y="23"/>
                  </a:lnTo>
                  <a:lnTo>
                    <a:pt x="41" y="23"/>
                  </a:lnTo>
                  <a:lnTo>
                    <a:pt x="38" y="24"/>
                  </a:lnTo>
                  <a:lnTo>
                    <a:pt x="35" y="26"/>
                  </a:lnTo>
                  <a:lnTo>
                    <a:pt x="35" y="26"/>
                  </a:lnTo>
                  <a:lnTo>
                    <a:pt x="32" y="28"/>
                  </a:lnTo>
                  <a:lnTo>
                    <a:pt x="29" y="31"/>
                  </a:lnTo>
                  <a:lnTo>
                    <a:pt x="28" y="34"/>
                  </a:lnTo>
                  <a:lnTo>
                    <a:pt x="27" y="38"/>
                  </a:lnTo>
                  <a:lnTo>
                    <a:pt x="2" y="31"/>
                  </a:lnTo>
                  <a:lnTo>
                    <a:pt x="2" y="31"/>
                  </a:lnTo>
                  <a:lnTo>
                    <a:pt x="4" y="23"/>
                  </a:lnTo>
                  <a:lnTo>
                    <a:pt x="7" y="16"/>
                  </a:lnTo>
                  <a:lnTo>
                    <a:pt x="7" y="16"/>
                  </a:lnTo>
                  <a:lnTo>
                    <a:pt x="11" y="10"/>
                  </a:lnTo>
                  <a:lnTo>
                    <a:pt x="17" y="5"/>
                  </a:lnTo>
                  <a:lnTo>
                    <a:pt x="17" y="5"/>
                  </a:lnTo>
                  <a:lnTo>
                    <a:pt x="23" y="2"/>
                  </a:lnTo>
                  <a:lnTo>
                    <a:pt x="32" y="1"/>
                  </a:lnTo>
                  <a:lnTo>
                    <a:pt x="32" y="1"/>
                  </a:lnTo>
                  <a:lnTo>
                    <a:pt x="40" y="0"/>
                  </a:lnTo>
                  <a:lnTo>
                    <a:pt x="49" y="1"/>
                  </a:lnTo>
                  <a:lnTo>
                    <a:pt x="49" y="1"/>
                  </a:lnTo>
                  <a:lnTo>
                    <a:pt x="58" y="4"/>
                  </a:lnTo>
                  <a:lnTo>
                    <a:pt x="66" y="7"/>
                  </a:lnTo>
                  <a:lnTo>
                    <a:pt x="66" y="7"/>
                  </a:lnTo>
                  <a:lnTo>
                    <a:pt x="74" y="12"/>
                  </a:lnTo>
                  <a:lnTo>
                    <a:pt x="80" y="17"/>
                  </a:lnTo>
                  <a:lnTo>
                    <a:pt x="80" y="17"/>
                  </a:lnTo>
                  <a:lnTo>
                    <a:pt x="86" y="24"/>
                  </a:lnTo>
                  <a:lnTo>
                    <a:pt x="91" y="31"/>
                  </a:lnTo>
                  <a:lnTo>
                    <a:pt x="91" y="31"/>
                  </a:lnTo>
                  <a:lnTo>
                    <a:pt x="94" y="40"/>
                  </a:lnTo>
                  <a:lnTo>
                    <a:pt x="95" y="50"/>
                  </a:lnTo>
                  <a:lnTo>
                    <a:pt x="95" y="50"/>
                  </a:lnTo>
                  <a:lnTo>
                    <a:pt x="94" y="56"/>
                  </a:lnTo>
                  <a:lnTo>
                    <a:pt x="93" y="62"/>
                  </a:lnTo>
                  <a:lnTo>
                    <a:pt x="91" y="67"/>
                  </a:lnTo>
                  <a:lnTo>
                    <a:pt x="88" y="71"/>
                  </a:lnTo>
                  <a:lnTo>
                    <a:pt x="88" y="71"/>
                  </a:lnTo>
                  <a:lnTo>
                    <a:pt x="81" y="79"/>
                  </a:lnTo>
                  <a:lnTo>
                    <a:pt x="72" y="86"/>
                  </a:lnTo>
                  <a:lnTo>
                    <a:pt x="29" y="119"/>
                  </a:lnTo>
                  <a:lnTo>
                    <a:pt x="95" y="131"/>
                  </a:lnTo>
                  <a:lnTo>
                    <a:pt x="95" y="152"/>
                  </a:lnTo>
                  <a:lnTo>
                    <a:pt x="0" y="134"/>
                  </a:lnTo>
                  <a:lnTo>
                    <a:pt x="0" y="1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77" name="Freeform 2082"/>
            <p:cNvSpPr>
              <a:spLocks noEditPoints="1"/>
            </p:cNvSpPr>
            <p:nvPr/>
          </p:nvSpPr>
          <p:spPr bwMode="auto">
            <a:xfrm>
              <a:off x="9940285" y="2418138"/>
              <a:ext cx="19017" cy="19017"/>
            </a:xfrm>
            <a:custGeom>
              <a:avLst/>
              <a:gdLst>
                <a:gd name="T0" fmla="*/ 26 w 54"/>
                <a:gd name="T1" fmla="*/ 54 h 54"/>
                <a:gd name="T2" fmla="*/ 16 w 54"/>
                <a:gd name="T3" fmla="*/ 49 h 54"/>
                <a:gd name="T4" fmla="*/ 8 w 54"/>
                <a:gd name="T5" fmla="*/ 42 h 54"/>
                <a:gd name="T6" fmla="*/ 2 w 54"/>
                <a:gd name="T7" fmla="*/ 33 h 54"/>
                <a:gd name="T8" fmla="*/ 0 w 54"/>
                <a:gd name="T9" fmla="*/ 22 h 54"/>
                <a:gd name="T10" fmla="*/ 1 w 54"/>
                <a:gd name="T11" fmla="*/ 17 h 54"/>
                <a:gd name="T12" fmla="*/ 5 w 54"/>
                <a:gd name="T13" fmla="*/ 7 h 54"/>
                <a:gd name="T14" fmla="*/ 12 w 54"/>
                <a:gd name="T15" fmla="*/ 2 h 54"/>
                <a:gd name="T16" fmla="*/ 21 w 54"/>
                <a:gd name="T17" fmla="*/ 0 h 54"/>
                <a:gd name="T18" fmla="*/ 26 w 54"/>
                <a:gd name="T19" fmla="*/ 0 h 54"/>
                <a:gd name="T20" fmla="*/ 38 w 54"/>
                <a:gd name="T21" fmla="*/ 4 h 54"/>
                <a:gd name="T22" fmla="*/ 46 w 54"/>
                <a:gd name="T23" fmla="*/ 11 h 54"/>
                <a:gd name="T24" fmla="*/ 51 w 54"/>
                <a:gd name="T25" fmla="*/ 22 h 54"/>
                <a:gd name="T26" fmla="*/ 54 w 54"/>
                <a:gd name="T27" fmla="*/ 32 h 54"/>
                <a:gd name="T28" fmla="*/ 53 w 54"/>
                <a:gd name="T29" fmla="*/ 38 h 54"/>
                <a:gd name="T30" fmla="*/ 49 w 54"/>
                <a:gd name="T31" fmla="*/ 46 h 54"/>
                <a:gd name="T32" fmla="*/ 42 w 54"/>
                <a:gd name="T33" fmla="*/ 52 h 54"/>
                <a:gd name="T34" fmla="*/ 32 w 54"/>
                <a:gd name="T35" fmla="*/ 54 h 54"/>
                <a:gd name="T36" fmla="*/ 26 w 54"/>
                <a:gd name="T37" fmla="*/ 54 h 54"/>
                <a:gd name="T38" fmla="*/ 26 w 54"/>
                <a:gd name="T39" fmla="*/ 10 h 54"/>
                <a:gd name="T40" fmla="*/ 20 w 54"/>
                <a:gd name="T41" fmla="*/ 10 h 54"/>
                <a:gd name="T42" fmla="*/ 15 w 54"/>
                <a:gd name="T43" fmla="*/ 14 h 54"/>
                <a:gd name="T44" fmla="*/ 11 w 54"/>
                <a:gd name="T45" fmla="*/ 18 h 54"/>
                <a:gd name="T46" fmla="*/ 10 w 54"/>
                <a:gd name="T47" fmla="*/ 24 h 54"/>
                <a:gd name="T48" fmla="*/ 10 w 54"/>
                <a:gd name="T49" fmla="*/ 27 h 54"/>
                <a:gd name="T50" fmla="*/ 15 w 54"/>
                <a:gd name="T51" fmla="*/ 37 h 54"/>
                <a:gd name="T52" fmla="*/ 23 w 54"/>
                <a:gd name="T53" fmla="*/ 43 h 54"/>
                <a:gd name="T54" fmla="*/ 26 w 54"/>
                <a:gd name="T55" fmla="*/ 44 h 54"/>
                <a:gd name="T56" fmla="*/ 34 w 54"/>
                <a:gd name="T57" fmla="*/ 43 h 54"/>
                <a:gd name="T58" fmla="*/ 39 w 54"/>
                <a:gd name="T59" fmla="*/ 41 h 54"/>
                <a:gd name="T60" fmla="*/ 42 w 54"/>
                <a:gd name="T61" fmla="*/ 36 h 54"/>
                <a:gd name="T62" fmla="*/ 44 w 54"/>
                <a:gd name="T63" fmla="*/ 30 h 54"/>
                <a:gd name="T64" fmla="*/ 43 w 54"/>
                <a:gd name="T65" fmla="*/ 27 h 54"/>
                <a:gd name="T66" fmla="*/ 39 w 54"/>
                <a:gd name="T67" fmla="*/ 18 h 54"/>
                <a:gd name="T68" fmla="*/ 30 w 54"/>
                <a:gd name="T69" fmla="*/ 11 h 54"/>
                <a:gd name="T70" fmla="*/ 26 w 54"/>
                <a:gd name="T71"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54">
                  <a:moveTo>
                    <a:pt x="26" y="54"/>
                  </a:moveTo>
                  <a:lnTo>
                    <a:pt x="26" y="54"/>
                  </a:lnTo>
                  <a:lnTo>
                    <a:pt x="21" y="52"/>
                  </a:lnTo>
                  <a:lnTo>
                    <a:pt x="16" y="49"/>
                  </a:lnTo>
                  <a:lnTo>
                    <a:pt x="12" y="46"/>
                  </a:lnTo>
                  <a:lnTo>
                    <a:pt x="8" y="42"/>
                  </a:lnTo>
                  <a:lnTo>
                    <a:pt x="5" y="38"/>
                  </a:lnTo>
                  <a:lnTo>
                    <a:pt x="2" y="33"/>
                  </a:lnTo>
                  <a:lnTo>
                    <a:pt x="1" y="28"/>
                  </a:lnTo>
                  <a:lnTo>
                    <a:pt x="0" y="22"/>
                  </a:lnTo>
                  <a:lnTo>
                    <a:pt x="0" y="22"/>
                  </a:lnTo>
                  <a:lnTo>
                    <a:pt x="1" y="17"/>
                  </a:lnTo>
                  <a:lnTo>
                    <a:pt x="2" y="11"/>
                  </a:lnTo>
                  <a:lnTo>
                    <a:pt x="5" y="7"/>
                  </a:lnTo>
                  <a:lnTo>
                    <a:pt x="8" y="4"/>
                  </a:lnTo>
                  <a:lnTo>
                    <a:pt x="12" y="2"/>
                  </a:lnTo>
                  <a:lnTo>
                    <a:pt x="16" y="0"/>
                  </a:lnTo>
                  <a:lnTo>
                    <a:pt x="21" y="0"/>
                  </a:lnTo>
                  <a:lnTo>
                    <a:pt x="26" y="0"/>
                  </a:lnTo>
                  <a:lnTo>
                    <a:pt x="26" y="0"/>
                  </a:lnTo>
                  <a:lnTo>
                    <a:pt x="32" y="2"/>
                  </a:lnTo>
                  <a:lnTo>
                    <a:pt x="38" y="4"/>
                  </a:lnTo>
                  <a:lnTo>
                    <a:pt x="42" y="7"/>
                  </a:lnTo>
                  <a:lnTo>
                    <a:pt x="46" y="11"/>
                  </a:lnTo>
                  <a:lnTo>
                    <a:pt x="49" y="17"/>
                  </a:lnTo>
                  <a:lnTo>
                    <a:pt x="51" y="22"/>
                  </a:lnTo>
                  <a:lnTo>
                    <a:pt x="53" y="27"/>
                  </a:lnTo>
                  <a:lnTo>
                    <a:pt x="54" y="32"/>
                  </a:lnTo>
                  <a:lnTo>
                    <a:pt x="54" y="32"/>
                  </a:lnTo>
                  <a:lnTo>
                    <a:pt x="53" y="38"/>
                  </a:lnTo>
                  <a:lnTo>
                    <a:pt x="51" y="42"/>
                  </a:lnTo>
                  <a:lnTo>
                    <a:pt x="49" y="46"/>
                  </a:lnTo>
                  <a:lnTo>
                    <a:pt x="46" y="49"/>
                  </a:lnTo>
                  <a:lnTo>
                    <a:pt x="42" y="52"/>
                  </a:lnTo>
                  <a:lnTo>
                    <a:pt x="38" y="53"/>
                  </a:lnTo>
                  <a:lnTo>
                    <a:pt x="32" y="54"/>
                  </a:lnTo>
                  <a:lnTo>
                    <a:pt x="26" y="54"/>
                  </a:lnTo>
                  <a:lnTo>
                    <a:pt x="26" y="54"/>
                  </a:lnTo>
                  <a:close/>
                  <a:moveTo>
                    <a:pt x="26" y="10"/>
                  </a:moveTo>
                  <a:lnTo>
                    <a:pt x="26" y="10"/>
                  </a:lnTo>
                  <a:lnTo>
                    <a:pt x="23" y="10"/>
                  </a:lnTo>
                  <a:lnTo>
                    <a:pt x="20" y="10"/>
                  </a:lnTo>
                  <a:lnTo>
                    <a:pt x="17" y="11"/>
                  </a:lnTo>
                  <a:lnTo>
                    <a:pt x="15" y="14"/>
                  </a:lnTo>
                  <a:lnTo>
                    <a:pt x="13" y="16"/>
                  </a:lnTo>
                  <a:lnTo>
                    <a:pt x="11" y="18"/>
                  </a:lnTo>
                  <a:lnTo>
                    <a:pt x="10" y="21"/>
                  </a:lnTo>
                  <a:lnTo>
                    <a:pt x="10" y="24"/>
                  </a:lnTo>
                  <a:lnTo>
                    <a:pt x="10" y="24"/>
                  </a:lnTo>
                  <a:lnTo>
                    <a:pt x="10" y="27"/>
                  </a:lnTo>
                  <a:lnTo>
                    <a:pt x="11" y="31"/>
                  </a:lnTo>
                  <a:lnTo>
                    <a:pt x="15" y="37"/>
                  </a:lnTo>
                  <a:lnTo>
                    <a:pt x="20" y="41"/>
                  </a:lnTo>
                  <a:lnTo>
                    <a:pt x="23" y="43"/>
                  </a:lnTo>
                  <a:lnTo>
                    <a:pt x="26" y="44"/>
                  </a:lnTo>
                  <a:lnTo>
                    <a:pt x="26" y="44"/>
                  </a:lnTo>
                  <a:lnTo>
                    <a:pt x="30" y="44"/>
                  </a:lnTo>
                  <a:lnTo>
                    <a:pt x="34" y="43"/>
                  </a:lnTo>
                  <a:lnTo>
                    <a:pt x="36" y="42"/>
                  </a:lnTo>
                  <a:lnTo>
                    <a:pt x="39" y="41"/>
                  </a:lnTo>
                  <a:lnTo>
                    <a:pt x="41" y="39"/>
                  </a:lnTo>
                  <a:lnTo>
                    <a:pt x="42" y="36"/>
                  </a:lnTo>
                  <a:lnTo>
                    <a:pt x="43" y="34"/>
                  </a:lnTo>
                  <a:lnTo>
                    <a:pt x="44" y="30"/>
                  </a:lnTo>
                  <a:lnTo>
                    <a:pt x="44" y="30"/>
                  </a:lnTo>
                  <a:lnTo>
                    <a:pt x="43" y="27"/>
                  </a:lnTo>
                  <a:lnTo>
                    <a:pt x="42" y="24"/>
                  </a:lnTo>
                  <a:lnTo>
                    <a:pt x="39" y="18"/>
                  </a:lnTo>
                  <a:lnTo>
                    <a:pt x="34" y="14"/>
                  </a:lnTo>
                  <a:lnTo>
                    <a:pt x="30" y="11"/>
                  </a:lnTo>
                  <a:lnTo>
                    <a:pt x="26" y="10"/>
                  </a:lnTo>
                  <a:lnTo>
                    <a:pt x="2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078" name="Freeform 2083"/>
          <p:cNvSpPr>
            <a:spLocks noEditPoints="1"/>
          </p:cNvSpPr>
          <p:nvPr/>
        </p:nvSpPr>
        <p:spPr bwMode="auto">
          <a:xfrm>
            <a:off x="9782222" y="2352625"/>
            <a:ext cx="51865" cy="51865"/>
          </a:xfrm>
          <a:custGeom>
            <a:avLst/>
            <a:gdLst>
              <a:gd name="T0" fmla="*/ 80 w 160"/>
              <a:gd name="T1" fmla="*/ 3 h 166"/>
              <a:gd name="T2" fmla="*/ 64 w 160"/>
              <a:gd name="T3" fmla="*/ 0 h 166"/>
              <a:gd name="T4" fmla="*/ 50 w 160"/>
              <a:gd name="T5" fmla="*/ 1 h 166"/>
              <a:gd name="T6" fmla="*/ 35 w 160"/>
              <a:gd name="T7" fmla="*/ 4 h 166"/>
              <a:gd name="T8" fmla="*/ 24 w 160"/>
              <a:gd name="T9" fmla="*/ 11 h 166"/>
              <a:gd name="T10" fmla="*/ 14 w 160"/>
              <a:gd name="T11" fmla="*/ 20 h 166"/>
              <a:gd name="T12" fmla="*/ 7 w 160"/>
              <a:gd name="T13" fmla="*/ 33 h 166"/>
              <a:gd name="T14" fmla="*/ 2 w 160"/>
              <a:gd name="T15" fmla="*/ 46 h 166"/>
              <a:gd name="T16" fmla="*/ 0 w 160"/>
              <a:gd name="T17" fmla="*/ 62 h 166"/>
              <a:gd name="T18" fmla="*/ 1 w 160"/>
              <a:gd name="T19" fmla="*/ 70 h 166"/>
              <a:gd name="T20" fmla="*/ 4 w 160"/>
              <a:gd name="T21" fmla="*/ 87 h 166"/>
              <a:gd name="T22" fmla="*/ 10 w 160"/>
              <a:gd name="T23" fmla="*/ 103 h 166"/>
              <a:gd name="T24" fmla="*/ 18 w 160"/>
              <a:gd name="T25" fmla="*/ 117 h 166"/>
              <a:gd name="T26" fmla="*/ 29 w 160"/>
              <a:gd name="T27" fmla="*/ 131 h 166"/>
              <a:gd name="T28" fmla="*/ 42 w 160"/>
              <a:gd name="T29" fmla="*/ 144 h 166"/>
              <a:gd name="T30" fmla="*/ 57 w 160"/>
              <a:gd name="T31" fmla="*/ 153 h 166"/>
              <a:gd name="T32" fmla="*/ 72 w 160"/>
              <a:gd name="T33" fmla="*/ 161 h 166"/>
              <a:gd name="T34" fmla="*/ 80 w 160"/>
              <a:gd name="T35" fmla="*/ 163 h 166"/>
              <a:gd name="T36" fmla="*/ 96 w 160"/>
              <a:gd name="T37" fmla="*/ 166 h 166"/>
              <a:gd name="T38" fmla="*/ 112 w 160"/>
              <a:gd name="T39" fmla="*/ 165 h 166"/>
              <a:gd name="T40" fmla="*/ 125 w 160"/>
              <a:gd name="T41" fmla="*/ 161 h 166"/>
              <a:gd name="T42" fmla="*/ 137 w 160"/>
              <a:gd name="T43" fmla="*/ 155 h 166"/>
              <a:gd name="T44" fmla="*/ 147 w 160"/>
              <a:gd name="T45" fmla="*/ 146 h 166"/>
              <a:gd name="T46" fmla="*/ 154 w 160"/>
              <a:gd name="T47" fmla="*/ 133 h 166"/>
              <a:gd name="T48" fmla="*/ 158 w 160"/>
              <a:gd name="T49" fmla="*/ 119 h 166"/>
              <a:gd name="T50" fmla="*/ 160 w 160"/>
              <a:gd name="T51" fmla="*/ 104 h 166"/>
              <a:gd name="T52" fmla="*/ 160 w 160"/>
              <a:gd name="T53" fmla="*/ 96 h 166"/>
              <a:gd name="T54" fmla="*/ 157 w 160"/>
              <a:gd name="T55" fmla="*/ 79 h 166"/>
              <a:gd name="T56" fmla="*/ 151 w 160"/>
              <a:gd name="T57" fmla="*/ 63 h 166"/>
              <a:gd name="T58" fmla="*/ 142 w 160"/>
              <a:gd name="T59" fmla="*/ 48 h 166"/>
              <a:gd name="T60" fmla="*/ 131 w 160"/>
              <a:gd name="T61" fmla="*/ 35 h 166"/>
              <a:gd name="T62" fmla="*/ 119 w 160"/>
              <a:gd name="T63" fmla="*/ 22 h 166"/>
              <a:gd name="T64" fmla="*/ 104 w 160"/>
              <a:gd name="T65" fmla="*/ 12 h 166"/>
              <a:gd name="T66" fmla="*/ 88 w 160"/>
              <a:gd name="T67" fmla="*/ 5 h 166"/>
              <a:gd name="T68" fmla="*/ 80 w 160"/>
              <a:gd name="T69" fmla="*/ 3 h 166"/>
              <a:gd name="T70" fmla="*/ 80 w 160"/>
              <a:gd name="T71" fmla="*/ 41 h 166"/>
              <a:gd name="T72" fmla="*/ 41 w 160"/>
              <a:gd name="T73" fmla="*/ 9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166">
                <a:moveTo>
                  <a:pt x="80" y="3"/>
                </a:moveTo>
                <a:lnTo>
                  <a:pt x="80" y="3"/>
                </a:lnTo>
                <a:lnTo>
                  <a:pt x="72" y="1"/>
                </a:lnTo>
                <a:lnTo>
                  <a:pt x="64" y="0"/>
                </a:lnTo>
                <a:lnTo>
                  <a:pt x="57" y="0"/>
                </a:lnTo>
                <a:lnTo>
                  <a:pt x="50" y="1"/>
                </a:lnTo>
                <a:lnTo>
                  <a:pt x="42" y="2"/>
                </a:lnTo>
                <a:lnTo>
                  <a:pt x="35" y="4"/>
                </a:lnTo>
                <a:lnTo>
                  <a:pt x="29" y="7"/>
                </a:lnTo>
                <a:lnTo>
                  <a:pt x="24" y="11"/>
                </a:lnTo>
                <a:lnTo>
                  <a:pt x="18" y="15"/>
                </a:lnTo>
                <a:lnTo>
                  <a:pt x="14" y="20"/>
                </a:lnTo>
                <a:lnTo>
                  <a:pt x="10" y="27"/>
                </a:lnTo>
                <a:lnTo>
                  <a:pt x="7" y="33"/>
                </a:lnTo>
                <a:lnTo>
                  <a:pt x="4" y="39"/>
                </a:lnTo>
                <a:lnTo>
                  <a:pt x="2" y="46"/>
                </a:lnTo>
                <a:lnTo>
                  <a:pt x="1" y="54"/>
                </a:lnTo>
                <a:lnTo>
                  <a:pt x="0" y="62"/>
                </a:lnTo>
                <a:lnTo>
                  <a:pt x="0" y="62"/>
                </a:lnTo>
                <a:lnTo>
                  <a:pt x="1" y="70"/>
                </a:lnTo>
                <a:lnTo>
                  <a:pt x="2" y="78"/>
                </a:lnTo>
                <a:lnTo>
                  <a:pt x="4" y="87"/>
                </a:lnTo>
                <a:lnTo>
                  <a:pt x="7" y="95"/>
                </a:lnTo>
                <a:lnTo>
                  <a:pt x="10" y="103"/>
                </a:lnTo>
                <a:lnTo>
                  <a:pt x="14" y="110"/>
                </a:lnTo>
                <a:lnTo>
                  <a:pt x="18" y="117"/>
                </a:lnTo>
                <a:lnTo>
                  <a:pt x="24" y="124"/>
                </a:lnTo>
                <a:lnTo>
                  <a:pt x="29" y="131"/>
                </a:lnTo>
                <a:lnTo>
                  <a:pt x="35" y="137"/>
                </a:lnTo>
                <a:lnTo>
                  <a:pt x="42" y="144"/>
                </a:lnTo>
                <a:lnTo>
                  <a:pt x="50" y="149"/>
                </a:lnTo>
                <a:lnTo>
                  <a:pt x="57" y="153"/>
                </a:lnTo>
                <a:lnTo>
                  <a:pt x="64" y="157"/>
                </a:lnTo>
                <a:lnTo>
                  <a:pt x="72" y="161"/>
                </a:lnTo>
                <a:lnTo>
                  <a:pt x="80" y="163"/>
                </a:lnTo>
                <a:lnTo>
                  <a:pt x="80" y="163"/>
                </a:lnTo>
                <a:lnTo>
                  <a:pt x="88" y="165"/>
                </a:lnTo>
                <a:lnTo>
                  <a:pt x="96" y="166"/>
                </a:lnTo>
                <a:lnTo>
                  <a:pt x="104" y="166"/>
                </a:lnTo>
                <a:lnTo>
                  <a:pt x="112" y="165"/>
                </a:lnTo>
                <a:lnTo>
                  <a:pt x="119" y="163"/>
                </a:lnTo>
                <a:lnTo>
                  <a:pt x="125" y="161"/>
                </a:lnTo>
                <a:lnTo>
                  <a:pt x="131" y="158"/>
                </a:lnTo>
                <a:lnTo>
                  <a:pt x="137" y="155"/>
                </a:lnTo>
                <a:lnTo>
                  <a:pt x="142" y="150"/>
                </a:lnTo>
                <a:lnTo>
                  <a:pt x="147" y="146"/>
                </a:lnTo>
                <a:lnTo>
                  <a:pt x="151" y="139"/>
                </a:lnTo>
                <a:lnTo>
                  <a:pt x="154" y="133"/>
                </a:lnTo>
                <a:lnTo>
                  <a:pt x="157" y="127"/>
                </a:lnTo>
                <a:lnTo>
                  <a:pt x="158" y="119"/>
                </a:lnTo>
                <a:lnTo>
                  <a:pt x="160" y="112"/>
                </a:lnTo>
                <a:lnTo>
                  <a:pt x="160" y="104"/>
                </a:lnTo>
                <a:lnTo>
                  <a:pt x="160" y="104"/>
                </a:lnTo>
                <a:lnTo>
                  <a:pt x="160" y="96"/>
                </a:lnTo>
                <a:lnTo>
                  <a:pt x="158" y="88"/>
                </a:lnTo>
                <a:lnTo>
                  <a:pt x="157" y="79"/>
                </a:lnTo>
                <a:lnTo>
                  <a:pt x="154" y="71"/>
                </a:lnTo>
                <a:lnTo>
                  <a:pt x="151" y="63"/>
                </a:lnTo>
                <a:lnTo>
                  <a:pt x="147" y="55"/>
                </a:lnTo>
                <a:lnTo>
                  <a:pt x="142" y="48"/>
                </a:lnTo>
                <a:lnTo>
                  <a:pt x="137" y="41"/>
                </a:lnTo>
                <a:lnTo>
                  <a:pt x="131" y="35"/>
                </a:lnTo>
                <a:lnTo>
                  <a:pt x="125" y="29"/>
                </a:lnTo>
                <a:lnTo>
                  <a:pt x="119" y="22"/>
                </a:lnTo>
                <a:lnTo>
                  <a:pt x="112" y="17"/>
                </a:lnTo>
                <a:lnTo>
                  <a:pt x="104" y="12"/>
                </a:lnTo>
                <a:lnTo>
                  <a:pt x="96" y="8"/>
                </a:lnTo>
                <a:lnTo>
                  <a:pt x="88" y="5"/>
                </a:lnTo>
                <a:lnTo>
                  <a:pt x="80" y="3"/>
                </a:lnTo>
                <a:lnTo>
                  <a:pt x="80" y="3"/>
                </a:lnTo>
                <a:close/>
                <a:moveTo>
                  <a:pt x="41" y="97"/>
                </a:moveTo>
                <a:lnTo>
                  <a:pt x="80" y="41"/>
                </a:lnTo>
                <a:lnTo>
                  <a:pt x="119" y="117"/>
                </a:lnTo>
                <a:lnTo>
                  <a:pt x="41" y="9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80" name="Freeform 2085"/>
          <p:cNvSpPr>
            <a:spLocks noEditPoints="1"/>
          </p:cNvSpPr>
          <p:nvPr/>
        </p:nvSpPr>
        <p:spPr bwMode="auto">
          <a:xfrm>
            <a:off x="9782222" y="2417935"/>
            <a:ext cx="51865" cy="53785"/>
          </a:xfrm>
          <a:custGeom>
            <a:avLst/>
            <a:gdLst>
              <a:gd name="T0" fmla="*/ 80 w 160"/>
              <a:gd name="T1" fmla="*/ 162 h 164"/>
              <a:gd name="T2" fmla="*/ 96 w 160"/>
              <a:gd name="T3" fmla="*/ 164 h 164"/>
              <a:gd name="T4" fmla="*/ 112 w 160"/>
              <a:gd name="T5" fmla="*/ 164 h 164"/>
              <a:gd name="T6" fmla="*/ 125 w 160"/>
              <a:gd name="T7" fmla="*/ 160 h 164"/>
              <a:gd name="T8" fmla="*/ 137 w 160"/>
              <a:gd name="T9" fmla="*/ 153 h 164"/>
              <a:gd name="T10" fmla="*/ 147 w 160"/>
              <a:gd name="T11" fmla="*/ 144 h 164"/>
              <a:gd name="T12" fmla="*/ 154 w 160"/>
              <a:gd name="T13" fmla="*/ 133 h 164"/>
              <a:gd name="T14" fmla="*/ 158 w 160"/>
              <a:gd name="T15" fmla="*/ 119 h 164"/>
              <a:gd name="T16" fmla="*/ 160 w 160"/>
              <a:gd name="T17" fmla="*/ 103 h 164"/>
              <a:gd name="T18" fmla="*/ 160 w 160"/>
              <a:gd name="T19" fmla="*/ 94 h 164"/>
              <a:gd name="T20" fmla="*/ 157 w 160"/>
              <a:gd name="T21" fmla="*/ 78 h 164"/>
              <a:gd name="T22" fmla="*/ 151 w 160"/>
              <a:gd name="T23" fmla="*/ 63 h 164"/>
              <a:gd name="T24" fmla="*/ 142 w 160"/>
              <a:gd name="T25" fmla="*/ 47 h 164"/>
              <a:gd name="T26" fmla="*/ 131 w 160"/>
              <a:gd name="T27" fmla="*/ 33 h 164"/>
              <a:gd name="T28" fmla="*/ 119 w 160"/>
              <a:gd name="T29" fmla="*/ 22 h 164"/>
              <a:gd name="T30" fmla="*/ 104 w 160"/>
              <a:gd name="T31" fmla="*/ 12 h 164"/>
              <a:gd name="T32" fmla="*/ 88 w 160"/>
              <a:gd name="T33" fmla="*/ 5 h 164"/>
              <a:gd name="T34" fmla="*/ 80 w 160"/>
              <a:gd name="T35" fmla="*/ 2 h 164"/>
              <a:gd name="T36" fmla="*/ 64 w 160"/>
              <a:gd name="T37" fmla="*/ 0 h 164"/>
              <a:gd name="T38" fmla="*/ 50 w 160"/>
              <a:gd name="T39" fmla="*/ 0 h 164"/>
              <a:gd name="T40" fmla="*/ 35 w 160"/>
              <a:gd name="T41" fmla="*/ 4 h 164"/>
              <a:gd name="T42" fmla="*/ 24 w 160"/>
              <a:gd name="T43" fmla="*/ 11 h 164"/>
              <a:gd name="T44" fmla="*/ 14 w 160"/>
              <a:gd name="T45" fmla="*/ 20 h 164"/>
              <a:gd name="T46" fmla="*/ 7 w 160"/>
              <a:gd name="T47" fmla="*/ 31 h 164"/>
              <a:gd name="T48" fmla="*/ 2 w 160"/>
              <a:gd name="T49" fmla="*/ 45 h 164"/>
              <a:gd name="T50" fmla="*/ 0 w 160"/>
              <a:gd name="T51" fmla="*/ 61 h 164"/>
              <a:gd name="T52" fmla="*/ 1 w 160"/>
              <a:gd name="T53" fmla="*/ 69 h 164"/>
              <a:gd name="T54" fmla="*/ 4 w 160"/>
              <a:gd name="T55" fmla="*/ 86 h 164"/>
              <a:gd name="T56" fmla="*/ 10 w 160"/>
              <a:gd name="T57" fmla="*/ 101 h 164"/>
              <a:gd name="T58" fmla="*/ 18 w 160"/>
              <a:gd name="T59" fmla="*/ 117 h 164"/>
              <a:gd name="T60" fmla="*/ 29 w 160"/>
              <a:gd name="T61" fmla="*/ 131 h 164"/>
              <a:gd name="T62" fmla="*/ 42 w 160"/>
              <a:gd name="T63" fmla="*/ 142 h 164"/>
              <a:gd name="T64" fmla="*/ 57 w 160"/>
              <a:gd name="T65" fmla="*/ 152 h 164"/>
              <a:gd name="T66" fmla="*/ 72 w 160"/>
              <a:gd name="T67" fmla="*/ 159 h 164"/>
              <a:gd name="T68" fmla="*/ 80 w 160"/>
              <a:gd name="T69" fmla="*/ 162 h 164"/>
              <a:gd name="T70" fmla="*/ 80 w 160"/>
              <a:gd name="T71" fmla="*/ 125 h 164"/>
              <a:gd name="T72" fmla="*/ 119 w 160"/>
              <a:gd name="T73" fmla="*/ 68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164">
                <a:moveTo>
                  <a:pt x="80" y="162"/>
                </a:moveTo>
                <a:lnTo>
                  <a:pt x="80" y="162"/>
                </a:lnTo>
                <a:lnTo>
                  <a:pt x="88" y="163"/>
                </a:lnTo>
                <a:lnTo>
                  <a:pt x="96" y="164"/>
                </a:lnTo>
                <a:lnTo>
                  <a:pt x="104" y="164"/>
                </a:lnTo>
                <a:lnTo>
                  <a:pt x="112" y="164"/>
                </a:lnTo>
                <a:lnTo>
                  <a:pt x="119" y="162"/>
                </a:lnTo>
                <a:lnTo>
                  <a:pt x="125" y="160"/>
                </a:lnTo>
                <a:lnTo>
                  <a:pt x="131" y="157"/>
                </a:lnTo>
                <a:lnTo>
                  <a:pt x="137" y="153"/>
                </a:lnTo>
                <a:lnTo>
                  <a:pt x="142" y="149"/>
                </a:lnTo>
                <a:lnTo>
                  <a:pt x="147" y="144"/>
                </a:lnTo>
                <a:lnTo>
                  <a:pt x="151" y="139"/>
                </a:lnTo>
                <a:lnTo>
                  <a:pt x="154" y="133"/>
                </a:lnTo>
                <a:lnTo>
                  <a:pt x="157" y="126"/>
                </a:lnTo>
                <a:lnTo>
                  <a:pt x="158" y="119"/>
                </a:lnTo>
                <a:lnTo>
                  <a:pt x="160" y="112"/>
                </a:lnTo>
                <a:lnTo>
                  <a:pt x="160" y="103"/>
                </a:lnTo>
                <a:lnTo>
                  <a:pt x="160" y="103"/>
                </a:lnTo>
                <a:lnTo>
                  <a:pt x="160" y="94"/>
                </a:lnTo>
                <a:lnTo>
                  <a:pt x="158" y="86"/>
                </a:lnTo>
                <a:lnTo>
                  <a:pt x="157" y="78"/>
                </a:lnTo>
                <a:lnTo>
                  <a:pt x="154" y="70"/>
                </a:lnTo>
                <a:lnTo>
                  <a:pt x="151" y="63"/>
                </a:lnTo>
                <a:lnTo>
                  <a:pt x="147" y="55"/>
                </a:lnTo>
                <a:lnTo>
                  <a:pt x="142" y="47"/>
                </a:lnTo>
                <a:lnTo>
                  <a:pt x="137" y="40"/>
                </a:lnTo>
                <a:lnTo>
                  <a:pt x="131" y="33"/>
                </a:lnTo>
                <a:lnTo>
                  <a:pt x="125" y="27"/>
                </a:lnTo>
                <a:lnTo>
                  <a:pt x="119" y="22"/>
                </a:lnTo>
                <a:lnTo>
                  <a:pt x="112" y="16"/>
                </a:lnTo>
                <a:lnTo>
                  <a:pt x="104" y="12"/>
                </a:lnTo>
                <a:lnTo>
                  <a:pt x="96" y="8"/>
                </a:lnTo>
                <a:lnTo>
                  <a:pt x="88" y="5"/>
                </a:lnTo>
                <a:lnTo>
                  <a:pt x="80" y="2"/>
                </a:lnTo>
                <a:lnTo>
                  <a:pt x="80" y="2"/>
                </a:lnTo>
                <a:lnTo>
                  <a:pt x="72" y="0"/>
                </a:lnTo>
                <a:lnTo>
                  <a:pt x="64" y="0"/>
                </a:lnTo>
                <a:lnTo>
                  <a:pt x="57" y="0"/>
                </a:lnTo>
                <a:lnTo>
                  <a:pt x="50" y="0"/>
                </a:lnTo>
                <a:lnTo>
                  <a:pt x="42" y="2"/>
                </a:lnTo>
                <a:lnTo>
                  <a:pt x="35" y="4"/>
                </a:lnTo>
                <a:lnTo>
                  <a:pt x="29" y="7"/>
                </a:lnTo>
                <a:lnTo>
                  <a:pt x="24" y="11"/>
                </a:lnTo>
                <a:lnTo>
                  <a:pt x="18" y="15"/>
                </a:lnTo>
                <a:lnTo>
                  <a:pt x="14" y="20"/>
                </a:lnTo>
                <a:lnTo>
                  <a:pt x="10" y="25"/>
                </a:lnTo>
                <a:lnTo>
                  <a:pt x="7" y="31"/>
                </a:lnTo>
                <a:lnTo>
                  <a:pt x="4" y="38"/>
                </a:lnTo>
                <a:lnTo>
                  <a:pt x="2" y="45"/>
                </a:lnTo>
                <a:lnTo>
                  <a:pt x="1" y="53"/>
                </a:lnTo>
                <a:lnTo>
                  <a:pt x="0" y="61"/>
                </a:lnTo>
                <a:lnTo>
                  <a:pt x="0" y="61"/>
                </a:lnTo>
                <a:lnTo>
                  <a:pt x="1" y="69"/>
                </a:lnTo>
                <a:lnTo>
                  <a:pt x="2" y="78"/>
                </a:lnTo>
                <a:lnTo>
                  <a:pt x="4" y="86"/>
                </a:lnTo>
                <a:lnTo>
                  <a:pt x="7" y="93"/>
                </a:lnTo>
                <a:lnTo>
                  <a:pt x="10" y="101"/>
                </a:lnTo>
                <a:lnTo>
                  <a:pt x="14" y="110"/>
                </a:lnTo>
                <a:lnTo>
                  <a:pt x="18" y="117"/>
                </a:lnTo>
                <a:lnTo>
                  <a:pt x="24" y="124"/>
                </a:lnTo>
                <a:lnTo>
                  <a:pt x="29" y="131"/>
                </a:lnTo>
                <a:lnTo>
                  <a:pt x="35" y="137"/>
                </a:lnTo>
                <a:lnTo>
                  <a:pt x="42" y="142"/>
                </a:lnTo>
                <a:lnTo>
                  <a:pt x="50" y="147"/>
                </a:lnTo>
                <a:lnTo>
                  <a:pt x="57" y="152"/>
                </a:lnTo>
                <a:lnTo>
                  <a:pt x="64" y="156"/>
                </a:lnTo>
                <a:lnTo>
                  <a:pt x="72" y="159"/>
                </a:lnTo>
                <a:lnTo>
                  <a:pt x="80" y="162"/>
                </a:lnTo>
                <a:lnTo>
                  <a:pt x="80" y="162"/>
                </a:lnTo>
                <a:close/>
                <a:moveTo>
                  <a:pt x="119" y="68"/>
                </a:moveTo>
                <a:lnTo>
                  <a:pt x="80" y="125"/>
                </a:lnTo>
                <a:lnTo>
                  <a:pt x="41" y="47"/>
                </a:lnTo>
                <a:lnTo>
                  <a:pt x="119" y="68"/>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129" name="Group 3128"/>
          <p:cNvGrpSpPr/>
          <p:nvPr/>
        </p:nvGrpSpPr>
        <p:grpSpPr>
          <a:xfrm rot="6151252" flipH="1" flipV="1">
            <a:off x="9839458" y="2138650"/>
            <a:ext cx="109844" cy="196620"/>
            <a:chOff x="2687372" y="3149601"/>
            <a:chExt cx="81465" cy="132564"/>
          </a:xfrm>
          <a:solidFill>
            <a:schemeClr val="accent3"/>
          </a:solidFill>
        </p:grpSpPr>
        <p:sp>
          <p:nvSpPr>
            <p:cNvPr id="313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3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3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3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3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3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136" name="Group 3135"/>
          <p:cNvGrpSpPr/>
          <p:nvPr/>
        </p:nvGrpSpPr>
        <p:grpSpPr>
          <a:xfrm rot="5400000" flipH="1" flipV="1">
            <a:off x="10080638" y="1685509"/>
            <a:ext cx="82527" cy="147723"/>
            <a:chOff x="2687372" y="3149601"/>
            <a:chExt cx="81465" cy="132564"/>
          </a:xfrm>
          <a:solidFill>
            <a:schemeClr val="accent3"/>
          </a:solidFill>
        </p:grpSpPr>
        <p:sp>
          <p:nvSpPr>
            <p:cNvPr id="3137"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38"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3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0"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1"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143" name="Group 3142"/>
          <p:cNvGrpSpPr/>
          <p:nvPr/>
        </p:nvGrpSpPr>
        <p:grpSpPr>
          <a:xfrm rot="5400000" flipH="1" flipV="1">
            <a:off x="11142067" y="1790916"/>
            <a:ext cx="82527" cy="147723"/>
            <a:chOff x="2687372" y="3149601"/>
            <a:chExt cx="81465" cy="132564"/>
          </a:xfrm>
          <a:solidFill>
            <a:schemeClr val="accent3"/>
          </a:solidFill>
        </p:grpSpPr>
        <p:sp>
          <p:nvSpPr>
            <p:cNvPr id="314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4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3152" name="Oval 3151"/>
          <p:cNvSpPr/>
          <p:nvPr/>
        </p:nvSpPr>
        <p:spPr bwMode="auto">
          <a:xfrm>
            <a:off x="6373524" y="2263712"/>
            <a:ext cx="1184487" cy="1830010"/>
          </a:xfrm>
          <a:prstGeom prst="ellipse">
            <a:avLst/>
          </a:prstGeom>
          <a:solidFill>
            <a:srgbClr val="005D6E"/>
          </a:solidFill>
          <a:ln>
            <a:noFill/>
            <a:headEnd type="none" w="med" len="med"/>
            <a:tailEnd type="none" w="med" len="med"/>
          </a:ln>
          <a:effectLst>
            <a:softEdge rad="2794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953" name="Freeform 1955"/>
          <p:cNvSpPr>
            <a:spLocks/>
          </p:cNvSpPr>
          <p:nvPr/>
        </p:nvSpPr>
        <p:spPr bwMode="auto">
          <a:xfrm rot="21114214">
            <a:off x="6925851" y="2826965"/>
            <a:ext cx="546966" cy="828386"/>
          </a:xfrm>
          <a:custGeom>
            <a:avLst/>
            <a:gdLst>
              <a:gd name="T0" fmla="*/ 1022 w 2272"/>
              <a:gd name="T1" fmla="*/ 12 h 3440"/>
              <a:gd name="T2" fmla="*/ 1143 w 2272"/>
              <a:gd name="T3" fmla="*/ 1 h 3440"/>
              <a:gd name="T4" fmla="*/ 1352 w 2272"/>
              <a:gd name="T5" fmla="*/ 42 h 3440"/>
              <a:gd name="T6" fmla="*/ 1964 w 2272"/>
              <a:gd name="T7" fmla="*/ 209 h 3440"/>
              <a:gd name="T8" fmla="*/ 2082 w 2272"/>
              <a:gd name="T9" fmla="*/ 254 h 3440"/>
              <a:gd name="T10" fmla="*/ 2171 w 2272"/>
              <a:gd name="T11" fmla="*/ 338 h 3440"/>
              <a:gd name="T12" fmla="*/ 2232 w 2272"/>
              <a:gd name="T13" fmla="*/ 448 h 3440"/>
              <a:gd name="T14" fmla="*/ 2265 w 2272"/>
              <a:gd name="T15" fmla="*/ 572 h 3440"/>
              <a:gd name="T16" fmla="*/ 2271 w 2272"/>
              <a:gd name="T17" fmla="*/ 698 h 3440"/>
              <a:gd name="T18" fmla="*/ 2195 w 2272"/>
              <a:gd name="T19" fmla="*/ 1078 h 3440"/>
              <a:gd name="T20" fmla="*/ 2058 w 2272"/>
              <a:gd name="T21" fmla="*/ 1675 h 3440"/>
              <a:gd name="T22" fmla="*/ 2018 w 2272"/>
              <a:gd name="T23" fmla="*/ 1774 h 3440"/>
              <a:gd name="T24" fmla="*/ 1963 w 2272"/>
              <a:gd name="T25" fmla="*/ 1823 h 3440"/>
              <a:gd name="T26" fmla="*/ 1911 w 2272"/>
              <a:gd name="T27" fmla="*/ 1831 h 3440"/>
              <a:gd name="T28" fmla="*/ 1865 w 2272"/>
              <a:gd name="T29" fmla="*/ 1828 h 3440"/>
              <a:gd name="T30" fmla="*/ 1820 w 2272"/>
              <a:gd name="T31" fmla="*/ 1806 h 3440"/>
              <a:gd name="T32" fmla="*/ 1771 w 2272"/>
              <a:gd name="T33" fmla="*/ 1721 h 3440"/>
              <a:gd name="T34" fmla="*/ 1775 w 2272"/>
              <a:gd name="T35" fmla="*/ 1636 h 3440"/>
              <a:gd name="T36" fmla="*/ 1971 w 2272"/>
              <a:gd name="T37" fmla="*/ 754 h 3440"/>
              <a:gd name="T38" fmla="*/ 1630 w 2272"/>
              <a:gd name="T39" fmla="*/ 1980 h 3440"/>
              <a:gd name="T40" fmla="*/ 1337 w 2272"/>
              <a:gd name="T41" fmla="*/ 3275 h 3440"/>
              <a:gd name="T42" fmla="*/ 1301 w 2272"/>
              <a:gd name="T43" fmla="*/ 3345 h 3440"/>
              <a:gd name="T44" fmla="*/ 1245 w 2272"/>
              <a:gd name="T45" fmla="*/ 3399 h 3440"/>
              <a:gd name="T46" fmla="*/ 1175 w 2272"/>
              <a:gd name="T47" fmla="*/ 3432 h 3440"/>
              <a:gd name="T48" fmla="*/ 1099 w 2272"/>
              <a:gd name="T49" fmla="*/ 3439 h 3440"/>
              <a:gd name="T50" fmla="*/ 1022 w 2272"/>
              <a:gd name="T51" fmla="*/ 3413 h 3440"/>
              <a:gd name="T52" fmla="*/ 980 w 2272"/>
              <a:gd name="T53" fmla="*/ 3378 h 3440"/>
              <a:gd name="T54" fmla="*/ 941 w 2272"/>
              <a:gd name="T55" fmla="*/ 3295 h 3440"/>
              <a:gd name="T56" fmla="*/ 940 w 2272"/>
              <a:gd name="T57" fmla="*/ 3167 h 3440"/>
              <a:gd name="T58" fmla="*/ 1116 w 2272"/>
              <a:gd name="T59" fmla="*/ 2402 h 3440"/>
              <a:gd name="T60" fmla="*/ 1214 w 2272"/>
              <a:gd name="T61" fmla="*/ 1705 h 3440"/>
              <a:gd name="T62" fmla="*/ 1155 w 2272"/>
              <a:gd name="T63" fmla="*/ 2006 h 3440"/>
              <a:gd name="T64" fmla="*/ 1084 w 2272"/>
              <a:gd name="T65" fmla="*/ 2220 h 3440"/>
              <a:gd name="T66" fmla="*/ 777 w 2272"/>
              <a:gd name="T67" fmla="*/ 2432 h 3440"/>
              <a:gd name="T68" fmla="*/ 276 w 2272"/>
              <a:gd name="T69" fmla="*/ 2695 h 3440"/>
              <a:gd name="T70" fmla="*/ 207 w 2272"/>
              <a:gd name="T71" fmla="*/ 2718 h 3440"/>
              <a:gd name="T72" fmla="*/ 136 w 2272"/>
              <a:gd name="T73" fmla="*/ 2711 h 3440"/>
              <a:gd name="T74" fmla="*/ 75 w 2272"/>
              <a:gd name="T75" fmla="*/ 2680 h 3440"/>
              <a:gd name="T76" fmla="*/ 28 w 2272"/>
              <a:gd name="T77" fmla="*/ 2629 h 3440"/>
              <a:gd name="T78" fmla="*/ 3 w 2272"/>
              <a:gd name="T79" fmla="*/ 2561 h 3440"/>
              <a:gd name="T80" fmla="*/ 6 w 2272"/>
              <a:gd name="T81" fmla="*/ 2483 h 3440"/>
              <a:gd name="T82" fmla="*/ 58 w 2272"/>
              <a:gd name="T83" fmla="*/ 2395 h 3440"/>
              <a:gd name="T84" fmla="*/ 158 w 2272"/>
              <a:gd name="T85" fmla="*/ 2322 h 3440"/>
              <a:gd name="T86" fmla="*/ 738 w 2272"/>
              <a:gd name="T87" fmla="*/ 2003 h 3440"/>
              <a:gd name="T88" fmla="*/ 1020 w 2272"/>
              <a:gd name="T89" fmla="*/ 771 h 3440"/>
              <a:gd name="T90" fmla="*/ 538 w 2272"/>
              <a:gd name="T91" fmla="*/ 797 h 3440"/>
              <a:gd name="T92" fmla="*/ 320 w 2272"/>
              <a:gd name="T93" fmla="*/ 960 h 3440"/>
              <a:gd name="T94" fmla="*/ 262 w 2272"/>
              <a:gd name="T95" fmla="*/ 983 h 3440"/>
              <a:gd name="T96" fmla="*/ 154 w 2272"/>
              <a:gd name="T97" fmla="*/ 965 h 3440"/>
              <a:gd name="T98" fmla="*/ 99 w 2272"/>
              <a:gd name="T99" fmla="*/ 919 h 3440"/>
              <a:gd name="T100" fmla="*/ 73 w 2272"/>
              <a:gd name="T101" fmla="*/ 872 h 3440"/>
              <a:gd name="T102" fmla="*/ 86 w 2272"/>
              <a:gd name="T103" fmla="*/ 764 h 3440"/>
              <a:gd name="T104" fmla="*/ 154 w 2272"/>
              <a:gd name="T105" fmla="*/ 675 h 3440"/>
              <a:gd name="T106" fmla="*/ 765 w 2272"/>
              <a:gd name="T107" fmla="*/ 194 h 3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72" h="3440">
                <a:moveTo>
                  <a:pt x="951" y="51"/>
                </a:moveTo>
                <a:lnTo>
                  <a:pt x="951" y="51"/>
                </a:lnTo>
                <a:lnTo>
                  <a:pt x="967" y="39"/>
                </a:lnTo>
                <a:lnTo>
                  <a:pt x="985" y="27"/>
                </a:lnTo>
                <a:lnTo>
                  <a:pt x="1004" y="19"/>
                </a:lnTo>
                <a:lnTo>
                  <a:pt x="1022" y="12"/>
                </a:lnTo>
                <a:lnTo>
                  <a:pt x="1042" y="7"/>
                </a:lnTo>
                <a:lnTo>
                  <a:pt x="1061" y="3"/>
                </a:lnTo>
                <a:lnTo>
                  <a:pt x="1082" y="1"/>
                </a:lnTo>
                <a:lnTo>
                  <a:pt x="1102" y="0"/>
                </a:lnTo>
                <a:lnTo>
                  <a:pt x="1122" y="0"/>
                </a:lnTo>
                <a:lnTo>
                  <a:pt x="1143" y="1"/>
                </a:lnTo>
                <a:lnTo>
                  <a:pt x="1163" y="3"/>
                </a:lnTo>
                <a:lnTo>
                  <a:pt x="1184" y="6"/>
                </a:lnTo>
                <a:lnTo>
                  <a:pt x="1225" y="13"/>
                </a:lnTo>
                <a:lnTo>
                  <a:pt x="1264" y="20"/>
                </a:lnTo>
                <a:lnTo>
                  <a:pt x="1264" y="20"/>
                </a:lnTo>
                <a:lnTo>
                  <a:pt x="1352" y="42"/>
                </a:lnTo>
                <a:lnTo>
                  <a:pt x="1440" y="64"/>
                </a:lnTo>
                <a:lnTo>
                  <a:pt x="1528" y="88"/>
                </a:lnTo>
                <a:lnTo>
                  <a:pt x="1615" y="112"/>
                </a:lnTo>
                <a:lnTo>
                  <a:pt x="1790" y="161"/>
                </a:lnTo>
                <a:lnTo>
                  <a:pt x="1964" y="209"/>
                </a:lnTo>
                <a:lnTo>
                  <a:pt x="1964" y="209"/>
                </a:lnTo>
                <a:lnTo>
                  <a:pt x="1986" y="213"/>
                </a:lnTo>
                <a:lnTo>
                  <a:pt x="2007" y="219"/>
                </a:lnTo>
                <a:lnTo>
                  <a:pt x="2027" y="226"/>
                </a:lnTo>
                <a:lnTo>
                  <a:pt x="2046" y="234"/>
                </a:lnTo>
                <a:lnTo>
                  <a:pt x="2065" y="243"/>
                </a:lnTo>
                <a:lnTo>
                  <a:pt x="2082" y="254"/>
                </a:lnTo>
                <a:lnTo>
                  <a:pt x="2099" y="265"/>
                </a:lnTo>
                <a:lnTo>
                  <a:pt x="2115" y="278"/>
                </a:lnTo>
                <a:lnTo>
                  <a:pt x="2130" y="292"/>
                </a:lnTo>
                <a:lnTo>
                  <a:pt x="2144" y="306"/>
                </a:lnTo>
                <a:lnTo>
                  <a:pt x="2159" y="322"/>
                </a:lnTo>
                <a:lnTo>
                  <a:pt x="2171" y="338"/>
                </a:lnTo>
                <a:lnTo>
                  <a:pt x="2183" y="354"/>
                </a:lnTo>
                <a:lnTo>
                  <a:pt x="2194" y="372"/>
                </a:lnTo>
                <a:lnTo>
                  <a:pt x="2206" y="390"/>
                </a:lnTo>
                <a:lnTo>
                  <a:pt x="2215" y="410"/>
                </a:lnTo>
                <a:lnTo>
                  <a:pt x="2224" y="428"/>
                </a:lnTo>
                <a:lnTo>
                  <a:pt x="2232" y="448"/>
                </a:lnTo>
                <a:lnTo>
                  <a:pt x="2239" y="468"/>
                </a:lnTo>
                <a:lnTo>
                  <a:pt x="2246" y="488"/>
                </a:lnTo>
                <a:lnTo>
                  <a:pt x="2252" y="510"/>
                </a:lnTo>
                <a:lnTo>
                  <a:pt x="2257" y="530"/>
                </a:lnTo>
                <a:lnTo>
                  <a:pt x="2262" y="552"/>
                </a:lnTo>
                <a:lnTo>
                  <a:pt x="2265" y="572"/>
                </a:lnTo>
                <a:lnTo>
                  <a:pt x="2268" y="593"/>
                </a:lnTo>
                <a:lnTo>
                  <a:pt x="2270" y="615"/>
                </a:lnTo>
                <a:lnTo>
                  <a:pt x="2271" y="636"/>
                </a:lnTo>
                <a:lnTo>
                  <a:pt x="2272" y="657"/>
                </a:lnTo>
                <a:lnTo>
                  <a:pt x="2271" y="677"/>
                </a:lnTo>
                <a:lnTo>
                  <a:pt x="2271" y="698"/>
                </a:lnTo>
                <a:lnTo>
                  <a:pt x="2269" y="718"/>
                </a:lnTo>
                <a:lnTo>
                  <a:pt x="2266" y="739"/>
                </a:lnTo>
                <a:lnTo>
                  <a:pt x="2266" y="739"/>
                </a:lnTo>
                <a:lnTo>
                  <a:pt x="2243" y="852"/>
                </a:lnTo>
                <a:lnTo>
                  <a:pt x="2220" y="964"/>
                </a:lnTo>
                <a:lnTo>
                  <a:pt x="2195" y="1078"/>
                </a:lnTo>
                <a:lnTo>
                  <a:pt x="2169" y="1190"/>
                </a:lnTo>
                <a:lnTo>
                  <a:pt x="2118" y="1416"/>
                </a:lnTo>
                <a:lnTo>
                  <a:pt x="2092" y="1528"/>
                </a:lnTo>
                <a:lnTo>
                  <a:pt x="2067" y="1642"/>
                </a:lnTo>
                <a:lnTo>
                  <a:pt x="2067" y="1642"/>
                </a:lnTo>
                <a:lnTo>
                  <a:pt x="2058" y="1675"/>
                </a:lnTo>
                <a:lnTo>
                  <a:pt x="2054" y="1691"/>
                </a:lnTo>
                <a:lnTo>
                  <a:pt x="2048" y="1708"/>
                </a:lnTo>
                <a:lnTo>
                  <a:pt x="2042" y="1726"/>
                </a:lnTo>
                <a:lnTo>
                  <a:pt x="2035" y="1742"/>
                </a:lnTo>
                <a:lnTo>
                  <a:pt x="2027" y="1758"/>
                </a:lnTo>
                <a:lnTo>
                  <a:pt x="2018" y="1774"/>
                </a:lnTo>
                <a:lnTo>
                  <a:pt x="2008" y="1787"/>
                </a:lnTo>
                <a:lnTo>
                  <a:pt x="1997" y="1799"/>
                </a:lnTo>
                <a:lnTo>
                  <a:pt x="1985" y="1810"/>
                </a:lnTo>
                <a:lnTo>
                  <a:pt x="1978" y="1816"/>
                </a:lnTo>
                <a:lnTo>
                  <a:pt x="1971" y="1820"/>
                </a:lnTo>
                <a:lnTo>
                  <a:pt x="1963" y="1823"/>
                </a:lnTo>
                <a:lnTo>
                  <a:pt x="1956" y="1826"/>
                </a:lnTo>
                <a:lnTo>
                  <a:pt x="1948" y="1828"/>
                </a:lnTo>
                <a:lnTo>
                  <a:pt x="1939" y="1830"/>
                </a:lnTo>
                <a:lnTo>
                  <a:pt x="1931" y="1831"/>
                </a:lnTo>
                <a:lnTo>
                  <a:pt x="1922" y="1831"/>
                </a:lnTo>
                <a:lnTo>
                  <a:pt x="1911" y="1831"/>
                </a:lnTo>
                <a:lnTo>
                  <a:pt x="1902" y="1830"/>
                </a:lnTo>
                <a:lnTo>
                  <a:pt x="1902" y="1830"/>
                </a:lnTo>
                <a:lnTo>
                  <a:pt x="1892" y="1830"/>
                </a:lnTo>
                <a:lnTo>
                  <a:pt x="1883" y="1830"/>
                </a:lnTo>
                <a:lnTo>
                  <a:pt x="1873" y="1830"/>
                </a:lnTo>
                <a:lnTo>
                  <a:pt x="1865" y="1828"/>
                </a:lnTo>
                <a:lnTo>
                  <a:pt x="1857" y="1826"/>
                </a:lnTo>
                <a:lnTo>
                  <a:pt x="1849" y="1823"/>
                </a:lnTo>
                <a:lnTo>
                  <a:pt x="1842" y="1820"/>
                </a:lnTo>
                <a:lnTo>
                  <a:pt x="1834" y="1816"/>
                </a:lnTo>
                <a:lnTo>
                  <a:pt x="1827" y="1811"/>
                </a:lnTo>
                <a:lnTo>
                  <a:pt x="1820" y="1806"/>
                </a:lnTo>
                <a:lnTo>
                  <a:pt x="1808" y="1795"/>
                </a:lnTo>
                <a:lnTo>
                  <a:pt x="1798" y="1783"/>
                </a:lnTo>
                <a:lnTo>
                  <a:pt x="1789" y="1769"/>
                </a:lnTo>
                <a:lnTo>
                  <a:pt x="1782" y="1753"/>
                </a:lnTo>
                <a:lnTo>
                  <a:pt x="1775" y="1737"/>
                </a:lnTo>
                <a:lnTo>
                  <a:pt x="1771" y="1721"/>
                </a:lnTo>
                <a:lnTo>
                  <a:pt x="1768" y="1703"/>
                </a:lnTo>
                <a:lnTo>
                  <a:pt x="1767" y="1686"/>
                </a:lnTo>
                <a:lnTo>
                  <a:pt x="1768" y="1668"/>
                </a:lnTo>
                <a:lnTo>
                  <a:pt x="1770" y="1652"/>
                </a:lnTo>
                <a:lnTo>
                  <a:pt x="1775" y="1636"/>
                </a:lnTo>
                <a:lnTo>
                  <a:pt x="1775" y="1636"/>
                </a:lnTo>
                <a:lnTo>
                  <a:pt x="1798" y="1524"/>
                </a:lnTo>
                <a:lnTo>
                  <a:pt x="1820" y="1414"/>
                </a:lnTo>
                <a:lnTo>
                  <a:pt x="1869" y="1193"/>
                </a:lnTo>
                <a:lnTo>
                  <a:pt x="1919" y="974"/>
                </a:lnTo>
                <a:lnTo>
                  <a:pt x="1971" y="754"/>
                </a:lnTo>
                <a:lnTo>
                  <a:pt x="1971" y="754"/>
                </a:lnTo>
                <a:lnTo>
                  <a:pt x="1925" y="714"/>
                </a:lnTo>
                <a:lnTo>
                  <a:pt x="1925" y="714"/>
                </a:lnTo>
                <a:lnTo>
                  <a:pt x="1849" y="1030"/>
                </a:lnTo>
                <a:lnTo>
                  <a:pt x="1775" y="1347"/>
                </a:lnTo>
                <a:lnTo>
                  <a:pt x="1702" y="1663"/>
                </a:lnTo>
                <a:lnTo>
                  <a:pt x="1630" y="1980"/>
                </a:lnTo>
                <a:lnTo>
                  <a:pt x="1487" y="2615"/>
                </a:lnTo>
                <a:lnTo>
                  <a:pt x="1415" y="2931"/>
                </a:lnTo>
                <a:lnTo>
                  <a:pt x="1342" y="3248"/>
                </a:lnTo>
                <a:lnTo>
                  <a:pt x="1342" y="3248"/>
                </a:lnTo>
                <a:lnTo>
                  <a:pt x="1340" y="3261"/>
                </a:lnTo>
                <a:lnTo>
                  <a:pt x="1337" y="3275"/>
                </a:lnTo>
                <a:lnTo>
                  <a:pt x="1333" y="3287"/>
                </a:lnTo>
                <a:lnTo>
                  <a:pt x="1328" y="3299"/>
                </a:lnTo>
                <a:lnTo>
                  <a:pt x="1322" y="3312"/>
                </a:lnTo>
                <a:lnTo>
                  <a:pt x="1316" y="3323"/>
                </a:lnTo>
                <a:lnTo>
                  <a:pt x="1308" y="3334"/>
                </a:lnTo>
                <a:lnTo>
                  <a:pt x="1301" y="3345"/>
                </a:lnTo>
                <a:lnTo>
                  <a:pt x="1293" y="3355"/>
                </a:lnTo>
                <a:lnTo>
                  <a:pt x="1285" y="3365"/>
                </a:lnTo>
                <a:lnTo>
                  <a:pt x="1276" y="3375"/>
                </a:lnTo>
                <a:lnTo>
                  <a:pt x="1265" y="3383"/>
                </a:lnTo>
                <a:lnTo>
                  <a:pt x="1255" y="3391"/>
                </a:lnTo>
                <a:lnTo>
                  <a:pt x="1245" y="3399"/>
                </a:lnTo>
                <a:lnTo>
                  <a:pt x="1234" y="3407"/>
                </a:lnTo>
                <a:lnTo>
                  <a:pt x="1223" y="3413"/>
                </a:lnTo>
                <a:lnTo>
                  <a:pt x="1211" y="3419"/>
                </a:lnTo>
                <a:lnTo>
                  <a:pt x="1199" y="3424"/>
                </a:lnTo>
                <a:lnTo>
                  <a:pt x="1187" y="3429"/>
                </a:lnTo>
                <a:lnTo>
                  <a:pt x="1175" y="3432"/>
                </a:lnTo>
                <a:lnTo>
                  <a:pt x="1162" y="3435"/>
                </a:lnTo>
                <a:lnTo>
                  <a:pt x="1150" y="3438"/>
                </a:lnTo>
                <a:lnTo>
                  <a:pt x="1137" y="3439"/>
                </a:lnTo>
                <a:lnTo>
                  <a:pt x="1124" y="3440"/>
                </a:lnTo>
                <a:lnTo>
                  <a:pt x="1111" y="3440"/>
                </a:lnTo>
                <a:lnTo>
                  <a:pt x="1099" y="3439"/>
                </a:lnTo>
                <a:lnTo>
                  <a:pt x="1086" y="3437"/>
                </a:lnTo>
                <a:lnTo>
                  <a:pt x="1072" y="3434"/>
                </a:lnTo>
                <a:lnTo>
                  <a:pt x="1060" y="3430"/>
                </a:lnTo>
                <a:lnTo>
                  <a:pt x="1048" y="3425"/>
                </a:lnTo>
                <a:lnTo>
                  <a:pt x="1035" y="3420"/>
                </a:lnTo>
                <a:lnTo>
                  <a:pt x="1022" y="3413"/>
                </a:lnTo>
                <a:lnTo>
                  <a:pt x="1022" y="3413"/>
                </a:lnTo>
                <a:lnTo>
                  <a:pt x="1013" y="3407"/>
                </a:lnTo>
                <a:lnTo>
                  <a:pt x="1004" y="3400"/>
                </a:lnTo>
                <a:lnTo>
                  <a:pt x="996" y="3393"/>
                </a:lnTo>
                <a:lnTo>
                  <a:pt x="988" y="3386"/>
                </a:lnTo>
                <a:lnTo>
                  <a:pt x="980" y="3378"/>
                </a:lnTo>
                <a:lnTo>
                  <a:pt x="974" y="3370"/>
                </a:lnTo>
                <a:lnTo>
                  <a:pt x="968" y="3362"/>
                </a:lnTo>
                <a:lnTo>
                  <a:pt x="962" y="3353"/>
                </a:lnTo>
                <a:lnTo>
                  <a:pt x="953" y="3335"/>
                </a:lnTo>
                <a:lnTo>
                  <a:pt x="946" y="3316"/>
                </a:lnTo>
                <a:lnTo>
                  <a:pt x="941" y="3295"/>
                </a:lnTo>
                <a:lnTo>
                  <a:pt x="937" y="3275"/>
                </a:lnTo>
                <a:lnTo>
                  <a:pt x="935" y="3254"/>
                </a:lnTo>
                <a:lnTo>
                  <a:pt x="934" y="3233"/>
                </a:lnTo>
                <a:lnTo>
                  <a:pt x="935" y="3210"/>
                </a:lnTo>
                <a:lnTo>
                  <a:pt x="937" y="3189"/>
                </a:lnTo>
                <a:lnTo>
                  <a:pt x="940" y="3167"/>
                </a:lnTo>
                <a:lnTo>
                  <a:pt x="944" y="3147"/>
                </a:lnTo>
                <a:lnTo>
                  <a:pt x="948" y="3127"/>
                </a:lnTo>
                <a:lnTo>
                  <a:pt x="953" y="3106"/>
                </a:lnTo>
                <a:lnTo>
                  <a:pt x="953" y="3106"/>
                </a:lnTo>
                <a:lnTo>
                  <a:pt x="1035" y="2755"/>
                </a:lnTo>
                <a:lnTo>
                  <a:pt x="1116" y="2402"/>
                </a:lnTo>
                <a:lnTo>
                  <a:pt x="1199" y="2051"/>
                </a:lnTo>
                <a:lnTo>
                  <a:pt x="1281" y="1698"/>
                </a:lnTo>
                <a:lnTo>
                  <a:pt x="1281" y="1698"/>
                </a:lnTo>
                <a:lnTo>
                  <a:pt x="1225" y="1669"/>
                </a:lnTo>
                <a:lnTo>
                  <a:pt x="1225" y="1669"/>
                </a:lnTo>
                <a:lnTo>
                  <a:pt x="1214" y="1705"/>
                </a:lnTo>
                <a:lnTo>
                  <a:pt x="1205" y="1742"/>
                </a:lnTo>
                <a:lnTo>
                  <a:pt x="1197" y="1780"/>
                </a:lnTo>
                <a:lnTo>
                  <a:pt x="1190" y="1817"/>
                </a:lnTo>
                <a:lnTo>
                  <a:pt x="1177" y="1893"/>
                </a:lnTo>
                <a:lnTo>
                  <a:pt x="1162" y="1969"/>
                </a:lnTo>
                <a:lnTo>
                  <a:pt x="1155" y="2006"/>
                </a:lnTo>
                <a:lnTo>
                  <a:pt x="1147" y="2043"/>
                </a:lnTo>
                <a:lnTo>
                  <a:pt x="1137" y="2080"/>
                </a:lnTo>
                <a:lnTo>
                  <a:pt x="1127" y="2116"/>
                </a:lnTo>
                <a:lnTo>
                  <a:pt x="1114" y="2152"/>
                </a:lnTo>
                <a:lnTo>
                  <a:pt x="1100" y="2186"/>
                </a:lnTo>
                <a:lnTo>
                  <a:pt x="1084" y="2220"/>
                </a:lnTo>
                <a:lnTo>
                  <a:pt x="1075" y="2237"/>
                </a:lnTo>
                <a:lnTo>
                  <a:pt x="1065" y="2253"/>
                </a:lnTo>
                <a:lnTo>
                  <a:pt x="1065" y="2253"/>
                </a:lnTo>
                <a:lnTo>
                  <a:pt x="971" y="2314"/>
                </a:lnTo>
                <a:lnTo>
                  <a:pt x="875" y="2375"/>
                </a:lnTo>
                <a:lnTo>
                  <a:pt x="777" y="2432"/>
                </a:lnTo>
                <a:lnTo>
                  <a:pt x="679" y="2488"/>
                </a:lnTo>
                <a:lnTo>
                  <a:pt x="580" y="2543"/>
                </a:lnTo>
                <a:lnTo>
                  <a:pt x="480" y="2595"/>
                </a:lnTo>
                <a:lnTo>
                  <a:pt x="379" y="2646"/>
                </a:lnTo>
                <a:lnTo>
                  <a:pt x="276" y="2695"/>
                </a:lnTo>
                <a:lnTo>
                  <a:pt x="276" y="2695"/>
                </a:lnTo>
                <a:lnTo>
                  <a:pt x="265" y="2701"/>
                </a:lnTo>
                <a:lnTo>
                  <a:pt x="254" y="2707"/>
                </a:lnTo>
                <a:lnTo>
                  <a:pt x="242" y="2711"/>
                </a:lnTo>
                <a:lnTo>
                  <a:pt x="230" y="2714"/>
                </a:lnTo>
                <a:lnTo>
                  <a:pt x="218" y="2716"/>
                </a:lnTo>
                <a:lnTo>
                  <a:pt x="207" y="2718"/>
                </a:lnTo>
                <a:lnTo>
                  <a:pt x="195" y="2719"/>
                </a:lnTo>
                <a:lnTo>
                  <a:pt x="182" y="2719"/>
                </a:lnTo>
                <a:lnTo>
                  <a:pt x="171" y="2718"/>
                </a:lnTo>
                <a:lnTo>
                  <a:pt x="160" y="2717"/>
                </a:lnTo>
                <a:lnTo>
                  <a:pt x="148" y="2714"/>
                </a:lnTo>
                <a:lnTo>
                  <a:pt x="136" y="2711"/>
                </a:lnTo>
                <a:lnTo>
                  <a:pt x="125" y="2708"/>
                </a:lnTo>
                <a:lnTo>
                  <a:pt x="115" y="2704"/>
                </a:lnTo>
                <a:lnTo>
                  <a:pt x="104" y="2698"/>
                </a:lnTo>
                <a:lnTo>
                  <a:pt x="93" y="2693"/>
                </a:lnTo>
                <a:lnTo>
                  <a:pt x="84" y="2687"/>
                </a:lnTo>
                <a:lnTo>
                  <a:pt x="75" y="2680"/>
                </a:lnTo>
                <a:lnTo>
                  <a:pt x="66" y="2673"/>
                </a:lnTo>
                <a:lnTo>
                  <a:pt x="57" y="2665"/>
                </a:lnTo>
                <a:lnTo>
                  <a:pt x="48" y="2657"/>
                </a:lnTo>
                <a:lnTo>
                  <a:pt x="41" y="2647"/>
                </a:lnTo>
                <a:lnTo>
                  <a:pt x="34" y="2638"/>
                </a:lnTo>
                <a:lnTo>
                  <a:pt x="28" y="2629"/>
                </a:lnTo>
                <a:lnTo>
                  <a:pt x="22" y="2619"/>
                </a:lnTo>
                <a:lnTo>
                  <a:pt x="17" y="2607"/>
                </a:lnTo>
                <a:lnTo>
                  <a:pt x="13" y="2596"/>
                </a:lnTo>
                <a:lnTo>
                  <a:pt x="9" y="2585"/>
                </a:lnTo>
                <a:lnTo>
                  <a:pt x="6" y="2574"/>
                </a:lnTo>
                <a:lnTo>
                  <a:pt x="3" y="2561"/>
                </a:lnTo>
                <a:lnTo>
                  <a:pt x="2" y="2549"/>
                </a:lnTo>
                <a:lnTo>
                  <a:pt x="1" y="2536"/>
                </a:lnTo>
                <a:lnTo>
                  <a:pt x="1" y="2536"/>
                </a:lnTo>
                <a:lnTo>
                  <a:pt x="0" y="2518"/>
                </a:lnTo>
                <a:lnTo>
                  <a:pt x="1" y="2500"/>
                </a:lnTo>
                <a:lnTo>
                  <a:pt x="6" y="2483"/>
                </a:lnTo>
                <a:lnTo>
                  <a:pt x="11" y="2466"/>
                </a:lnTo>
                <a:lnTo>
                  <a:pt x="17" y="2450"/>
                </a:lnTo>
                <a:lnTo>
                  <a:pt x="25" y="2436"/>
                </a:lnTo>
                <a:lnTo>
                  <a:pt x="35" y="2422"/>
                </a:lnTo>
                <a:lnTo>
                  <a:pt x="45" y="2407"/>
                </a:lnTo>
                <a:lnTo>
                  <a:pt x="58" y="2395"/>
                </a:lnTo>
                <a:lnTo>
                  <a:pt x="71" y="2383"/>
                </a:lnTo>
                <a:lnTo>
                  <a:pt x="84" y="2370"/>
                </a:lnTo>
                <a:lnTo>
                  <a:pt x="99" y="2360"/>
                </a:lnTo>
                <a:lnTo>
                  <a:pt x="113" y="2349"/>
                </a:lnTo>
                <a:lnTo>
                  <a:pt x="127" y="2340"/>
                </a:lnTo>
                <a:lnTo>
                  <a:pt x="158" y="2322"/>
                </a:lnTo>
                <a:lnTo>
                  <a:pt x="158" y="2322"/>
                </a:lnTo>
                <a:lnTo>
                  <a:pt x="302" y="2242"/>
                </a:lnTo>
                <a:lnTo>
                  <a:pt x="447" y="2161"/>
                </a:lnTo>
                <a:lnTo>
                  <a:pt x="592" y="2081"/>
                </a:lnTo>
                <a:lnTo>
                  <a:pt x="738" y="2003"/>
                </a:lnTo>
                <a:lnTo>
                  <a:pt x="738" y="2003"/>
                </a:lnTo>
                <a:lnTo>
                  <a:pt x="788" y="1798"/>
                </a:lnTo>
                <a:lnTo>
                  <a:pt x="836" y="1593"/>
                </a:lnTo>
                <a:lnTo>
                  <a:pt x="883" y="1387"/>
                </a:lnTo>
                <a:lnTo>
                  <a:pt x="930" y="1182"/>
                </a:lnTo>
                <a:lnTo>
                  <a:pt x="975" y="977"/>
                </a:lnTo>
                <a:lnTo>
                  <a:pt x="1020" y="771"/>
                </a:lnTo>
                <a:lnTo>
                  <a:pt x="1109" y="359"/>
                </a:lnTo>
                <a:lnTo>
                  <a:pt x="1109" y="359"/>
                </a:lnTo>
                <a:lnTo>
                  <a:pt x="1014" y="432"/>
                </a:lnTo>
                <a:lnTo>
                  <a:pt x="919" y="505"/>
                </a:lnTo>
                <a:lnTo>
                  <a:pt x="728" y="651"/>
                </a:lnTo>
                <a:lnTo>
                  <a:pt x="538" y="797"/>
                </a:lnTo>
                <a:lnTo>
                  <a:pt x="443" y="869"/>
                </a:lnTo>
                <a:lnTo>
                  <a:pt x="347" y="941"/>
                </a:lnTo>
                <a:lnTo>
                  <a:pt x="347" y="941"/>
                </a:lnTo>
                <a:lnTo>
                  <a:pt x="339" y="948"/>
                </a:lnTo>
                <a:lnTo>
                  <a:pt x="329" y="955"/>
                </a:lnTo>
                <a:lnTo>
                  <a:pt x="320" y="960"/>
                </a:lnTo>
                <a:lnTo>
                  <a:pt x="311" y="966"/>
                </a:lnTo>
                <a:lnTo>
                  <a:pt x="302" y="971"/>
                </a:lnTo>
                <a:lnTo>
                  <a:pt x="292" y="975"/>
                </a:lnTo>
                <a:lnTo>
                  <a:pt x="282" y="978"/>
                </a:lnTo>
                <a:lnTo>
                  <a:pt x="272" y="981"/>
                </a:lnTo>
                <a:lnTo>
                  <a:pt x="262" y="983"/>
                </a:lnTo>
                <a:lnTo>
                  <a:pt x="252" y="984"/>
                </a:lnTo>
                <a:lnTo>
                  <a:pt x="231" y="985"/>
                </a:lnTo>
                <a:lnTo>
                  <a:pt x="211" y="983"/>
                </a:lnTo>
                <a:lnTo>
                  <a:pt x="192" y="980"/>
                </a:lnTo>
                <a:lnTo>
                  <a:pt x="172" y="974"/>
                </a:lnTo>
                <a:lnTo>
                  <a:pt x="154" y="965"/>
                </a:lnTo>
                <a:lnTo>
                  <a:pt x="135" y="955"/>
                </a:lnTo>
                <a:lnTo>
                  <a:pt x="127" y="949"/>
                </a:lnTo>
                <a:lnTo>
                  <a:pt x="120" y="942"/>
                </a:lnTo>
                <a:lnTo>
                  <a:pt x="112" y="935"/>
                </a:lnTo>
                <a:lnTo>
                  <a:pt x="105" y="928"/>
                </a:lnTo>
                <a:lnTo>
                  <a:pt x="99" y="919"/>
                </a:lnTo>
                <a:lnTo>
                  <a:pt x="92" y="911"/>
                </a:lnTo>
                <a:lnTo>
                  <a:pt x="86" y="902"/>
                </a:lnTo>
                <a:lnTo>
                  <a:pt x="81" y="893"/>
                </a:lnTo>
                <a:lnTo>
                  <a:pt x="77" y="883"/>
                </a:lnTo>
                <a:lnTo>
                  <a:pt x="73" y="872"/>
                </a:lnTo>
                <a:lnTo>
                  <a:pt x="73" y="872"/>
                </a:lnTo>
                <a:lnTo>
                  <a:pt x="69" y="853"/>
                </a:lnTo>
                <a:lnTo>
                  <a:pt x="69" y="835"/>
                </a:lnTo>
                <a:lnTo>
                  <a:pt x="70" y="816"/>
                </a:lnTo>
                <a:lnTo>
                  <a:pt x="74" y="799"/>
                </a:lnTo>
                <a:lnTo>
                  <a:pt x="79" y="781"/>
                </a:lnTo>
                <a:lnTo>
                  <a:pt x="86" y="764"/>
                </a:lnTo>
                <a:lnTo>
                  <a:pt x="94" y="749"/>
                </a:lnTo>
                <a:lnTo>
                  <a:pt x="105" y="732"/>
                </a:lnTo>
                <a:lnTo>
                  <a:pt x="116" y="718"/>
                </a:lnTo>
                <a:lnTo>
                  <a:pt x="128" y="703"/>
                </a:lnTo>
                <a:lnTo>
                  <a:pt x="140" y="690"/>
                </a:lnTo>
                <a:lnTo>
                  <a:pt x="154" y="675"/>
                </a:lnTo>
                <a:lnTo>
                  <a:pt x="182" y="651"/>
                </a:lnTo>
                <a:lnTo>
                  <a:pt x="210" y="627"/>
                </a:lnTo>
                <a:lnTo>
                  <a:pt x="210" y="627"/>
                </a:lnTo>
                <a:lnTo>
                  <a:pt x="395" y="483"/>
                </a:lnTo>
                <a:lnTo>
                  <a:pt x="580" y="338"/>
                </a:lnTo>
                <a:lnTo>
                  <a:pt x="765" y="194"/>
                </a:lnTo>
                <a:lnTo>
                  <a:pt x="858" y="122"/>
                </a:lnTo>
                <a:lnTo>
                  <a:pt x="951" y="51"/>
                </a:lnTo>
                <a:lnTo>
                  <a:pt x="951"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157" name="Group 3156"/>
          <p:cNvGrpSpPr/>
          <p:nvPr/>
        </p:nvGrpSpPr>
        <p:grpSpPr>
          <a:xfrm>
            <a:off x="6659070" y="3083345"/>
            <a:ext cx="329643" cy="551465"/>
            <a:chOff x="6657481" y="3083344"/>
            <a:chExt cx="329643" cy="551465"/>
          </a:xfrm>
        </p:grpSpPr>
        <p:sp>
          <p:nvSpPr>
            <p:cNvPr id="2976" name="Freeform 1978"/>
            <p:cNvSpPr>
              <a:spLocks/>
            </p:cNvSpPr>
            <p:nvPr/>
          </p:nvSpPr>
          <p:spPr bwMode="auto">
            <a:xfrm rot="21114214">
              <a:off x="6709913" y="3218639"/>
              <a:ext cx="212148" cy="375227"/>
            </a:xfrm>
            <a:custGeom>
              <a:avLst/>
              <a:gdLst>
                <a:gd name="T0" fmla="*/ 730 w 878"/>
                <a:gd name="T1" fmla="*/ 0 h 1563"/>
                <a:gd name="T2" fmla="*/ 765 w 878"/>
                <a:gd name="T3" fmla="*/ 17 h 1563"/>
                <a:gd name="T4" fmla="*/ 765 w 878"/>
                <a:gd name="T5" fmla="*/ 17 h 1563"/>
                <a:gd name="T6" fmla="*/ 782 w 878"/>
                <a:gd name="T7" fmla="*/ 25 h 1563"/>
                <a:gd name="T8" fmla="*/ 798 w 878"/>
                <a:gd name="T9" fmla="*/ 35 h 1563"/>
                <a:gd name="T10" fmla="*/ 812 w 878"/>
                <a:gd name="T11" fmla="*/ 47 h 1563"/>
                <a:gd name="T12" fmla="*/ 825 w 878"/>
                <a:gd name="T13" fmla="*/ 59 h 1563"/>
                <a:gd name="T14" fmla="*/ 838 w 878"/>
                <a:gd name="T15" fmla="*/ 72 h 1563"/>
                <a:gd name="T16" fmla="*/ 848 w 878"/>
                <a:gd name="T17" fmla="*/ 86 h 1563"/>
                <a:gd name="T18" fmla="*/ 857 w 878"/>
                <a:gd name="T19" fmla="*/ 101 h 1563"/>
                <a:gd name="T20" fmla="*/ 864 w 878"/>
                <a:gd name="T21" fmla="*/ 116 h 1563"/>
                <a:gd name="T22" fmla="*/ 870 w 878"/>
                <a:gd name="T23" fmla="*/ 131 h 1563"/>
                <a:gd name="T24" fmla="*/ 874 w 878"/>
                <a:gd name="T25" fmla="*/ 147 h 1563"/>
                <a:gd name="T26" fmla="*/ 877 w 878"/>
                <a:gd name="T27" fmla="*/ 163 h 1563"/>
                <a:gd name="T28" fmla="*/ 878 w 878"/>
                <a:gd name="T29" fmla="*/ 178 h 1563"/>
                <a:gd name="T30" fmla="*/ 877 w 878"/>
                <a:gd name="T31" fmla="*/ 195 h 1563"/>
                <a:gd name="T32" fmla="*/ 875 w 878"/>
                <a:gd name="T33" fmla="*/ 210 h 1563"/>
                <a:gd name="T34" fmla="*/ 871 w 878"/>
                <a:gd name="T35" fmla="*/ 226 h 1563"/>
                <a:gd name="T36" fmla="*/ 865 w 878"/>
                <a:gd name="T37" fmla="*/ 241 h 1563"/>
                <a:gd name="T38" fmla="*/ 277 w 878"/>
                <a:gd name="T39" fmla="*/ 1478 h 1563"/>
                <a:gd name="T40" fmla="*/ 277 w 878"/>
                <a:gd name="T41" fmla="*/ 1478 h 1563"/>
                <a:gd name="T42" fmla="*/ 268 w 878"/>
                <a:gd name="T43" fmla="*/ 1492 h 1563"/>
                <a:gd name="T44" fmla="*/ 259 w 878"/>
                <a:gd name="T45" fmla="*/ 1506 h 1563"/>
                <a:gd name="T46" fmla="*/ 248 w 878"/>
                <a:gd name="T47" fmla="*/ 1518 h 1563"/>
                <a:gd name="T48" fmla="*/ 237 w 878"/>
                <a:gd name="T49" fmla="*/ 1528 h 1563"/>
                <a:gd name="T50" fmla="*/ 223 w 878"/>
                <a:gd name="T51" fmla="*/ 1537 h 1563"/>
                <a:gd name="T52" fmla="*/ 209 w 878"/>
                <a:gd name="T53" fmla="*/ 1546 h 1563"/>
                <a:gd name="T54" fmla="*/ 194 w 878"/>
                <a:gd name="T55" fmla="*/ 1552 h 1563"/>
                <a:gd name="T56" fmla="*/ 178 w 878"/>
                <a:gd name="T57" fmla="*/ 1557 h 1563"/>
                <a:gd name="T58" fmla="*/ 162 w 878"/>
                <a:gd name="T59" fmla="*/ 1561 h 1563"/>
                <a:gd name="T60" fmla="*/ 145 w 878"/>
                <a:gd name="T61" fmla="*/ 1563 h 1563"/>
                <a:gd name="T62" fmla="*/ 127 w 878"/>
                <a:gd name="T63" fmla="*/ 1563 h 1563"/>
                <a:gd name="T64" fmla="*/ 110 w 878"/>
                <a:gd name="T65" fmla="*/ 1562 h 1563"/>
                <a:gd name="T66" fmla="*/ 93 w 878"/>
                <a:gd name="T67" fmla="*/ 1560 h 1563"/>
                <a:gd name="T68" fmla="*/ 74 w 878"/>
                <a:gd name="T69" fmla="*/ 1556 h 1563"/>
                <a:gd name="T70" fmla="*/ 57 w 878"/>
                <a:gd name="T71" fmla="*/ 1550 h 1563"/>
                <a:gd name="T72" fmla="*/ 38 w 878"/>
                <a:gd name="T73" fmla="*/ 1543 h 1563"/>
                <a:gd name="T74" fmla="*/ 0 w 878"/>
                <a:gd name="T75" fmla="*/ 1524 h 1563"/>
                <a:gd name="T76" fmla="*/ 730 w 878"/>
                <a:gd name="T77" fmla="*/ 0 h 1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8" h="1563">
                  <a:moveTo>
                    <a:pt x="730" y="0"/>
                  </a:moveTo>
                  <a:lnTo>
                    <a:pt x="765" y="17"/>
                  </a:lnTo>
                  <a:lnTo>
                    <a:pt x="765" y="17"/>
                  </a:lnTo>
                  <a:lnTo>
                    <a:pt x="782" y="25"/>
                  </a:lnTo>
                  <a:lnTo>
                    <a:pt x="798" y="35"/>
                  </a:lnTo>
                  <a:lnTo>
                    <a:pt x="812" y="47"/>
                  </a:lnTo>
                  <a:lnTo>
                    <a:pt x="825" y="59"/>
                  </a:lnTo>
                  <a:lnTo>
                    <a:pt x="838" y="72"/>
                  </a:lnTo>
                  <a:lnTo>
                    <a:pt x="848" y="86"/>
                  </a:lnTo>
                  <a:lnTo>
                    <a:pt x="857" y="101"/>
                  </a:lnTo>
                  <a:lnTo>
                    <a:pt x="864" y="116"/>
                  </a:lnTo>
                  <a:lnTo>
                    <a:pt x="870" y="131"/>
                  </a:lnTo>
                  <a:lnTo>
                    <a:pt x="874" y="147"/>
                  </a:lnTo>
                  <a:lnTo>
                    <a:pt x="877" y="163"/>
                  </a:lnTo>
                  <a:lnTo>
                    <a:pt x="878" y="178"/>
                  </a:lnTo>
                  <a:lnTo>
                    <a:pt x="877" y="195"/>
                  </a:lnTo>
                  <a:lnTo>
                    <a:pt x="875" y="210"/>
                  </a:lnTo>
                  <a:lnTo>
                    <a:pt x="871" y="226"/>
                  </a:lnTo>
                  <a:lnTo>
                    <a:pt x="865" y="241"/>
                  </a:lnTo>
                  <a:lnTo>
                    <a:pt x="277" y="1478"/>
                  </a:lnTo>
                  <a:lnTo>
                    <a:pt x="277" y="1478"/>
                  </a:lnTo>
                  <a:lnTo>
                    <a:pt x="268" y="1492"/>
                  </a:lnTo>
                  <a:lnTo>
                    <a:pt x="259" y="1506"/>
                  </a:lnTo>
                  <a:lnTo>
                    <a:pt x="248" y="1518"/>
                  </a:lnTo>
                  <a:lnTo>
                    <a:pt x="237" y="1528"/>
                  </a:lnTo>
                  <a:lnTo>
                    <a:pt x="223" y="1537"/>
                  </a:lnTo>
                  <a:lnTo>
                    <a:pt x="209" y="1546"/>
                  </a:lnTo>
                  <a:lnTo>
                    <a:pt x="194" y="1552"/>
                  </a:lnTo>
                  <a:lnTo>
                    <a:pt x="178" y="1557"/>
                  </a:lnTo>
                  <a:lnTo>
                    <a:pt x="162" y="1561"/>
                  </a:lnTo>
                  <a:lnTo>
                    <a:pt x="145" y="1563"/>
                  </a:lnTo>
                  <a:lnTo>
                    <a:pt x="127" y="1563"/>
                  </a:lnTo>
                  <a:lnTo>
                    <a:pt x="110" y="1562"/>
                  </a:lnTo>
                  <a:lnTo>
                    <a:pt x="93" y="1560"/>
                  </a:lnTo>
                  <a:lnTo>
                    <a:pt x="74" y="1556"/>
                  </a:lnTo>
                  <a:lnTo>
                    <a:pt x="57" y="1550"/>
                  </a:lnTo>
                  <a:lnTo>
                    <a:pt x="38" y="1543"/>
                  </a:lnTo>
                  <a:lnTo>
                    <a:pt x="0" y="1524"/>
                  </a:lnTo>
                  <a:lnTo>
                    <a:pt x="7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75" name="Freeform 1977"/>
            <p:cNvSpPr>
              <a:spLocks/>
            </p:cNvSpPr>
            <p:nvPr/>
          </p:nvSpPr>
          <p:spPr bwMode="auto">
            <a:xfrm rot="21114214">
              <a:off x="6657481" y="3208811"/>
              <a:ext cx="209262" cy="375227"/>
            </a:xfrm>
            <a:custGeom>
              <a:avLst/>
              <a:gdLst>
                <a:gd name="T0" fmla="*/ 144 w 875"/>
                <a:gd name="T1" fmla="*/ 1561 h 1561"/>
                <a:gd name="T2" fmla="*/ 113 w 875"/>
                <a:gd name="T3" fmla="*/ 1546 h 1561"/>
                <a:gd name="T4" fmla="*/ 113 w 875"/>
                <a:gd name="T5" fmla="*/ 1546 h 1561"/>
                <a:gd name="T6" fmla="*/ 96 w 875"/>
                <a:gd name="T7" fmla="*/ 1538 h 1561"/>
                <a:gd name="T8" fmla="*/ 81 w 875"/>
                <a:gd name="T9" fmla="*/ 1528 h 1561"/>
                <a:gd name="T10" fmla="*/ 66 w 875"/>
                <a:gd name="T11" fmla="*/ 1516 h 1561"/>
                <a:gd name="T12" fmla="*/ 53 w 875"/>
                <a:gd name="T13" fmla="*/ 1504 h 1561"/>
                <a:gd name="T14" fmla="*/ 41 w 875"/>
                <a:gd name="T15" fmla="*/ 1491 h 1561"/>
                <a:gd name="T16" fmla="*/ 31 w 875"/>
                <a:gd name="T17" fmla="*/ 1477 h 1561"/>
                <a:gd name="T18" fmla="*/ 22 w 875"/>
                <a:gd name="T19" fmla="*/ 1462 h 1561"/>
                <a:gd name="T20" fmla="*/ 14 w 875"/>
                <a:gd name="T21" fmla="*/ 1447 h 1561"/>
                <a:gd name="T22" fmla="*/ 8 w 875"/>
                <a:gd name="T23" fmla="*/ 1432 h 1561"/>
                <a:gd name="T24" fmla="*/ 4 w 875"/>
                <a:gd name="T25" fmla="*/ 1416 h 1561"/>
                <a:gd name="T26" fmla="*/ 1 w 875"/>
                <a:gd name="T27" fmla="*/ 1400 h 1561"/>
                <a:gd name="T28" fmla="*/ 0 w 875"/>
                <a:gd name="T29" fmla="*/ 1385 h 1561"/>
                <a:gd name="T30" fmla="*/ 0 w 875"/>
                <a:gd name="T31" fmla="*/ 1368 h 1561"/>
                <a:gd name="T32" fmla="*/ 3 w 875"/>
                <a:gd name="T33" fmla="*/ 1353 h 1561"/>
                <a:gd name="T34" fmla="*/ 7 w 875"/>
                <a:gd name="T35" fmla="*/ 1337 h 1561"/>
                <a:gd name="T36" fmla="*/ 13 w 875"/>
                <a:gd name="T37" fmla="*/ 1321 h 1561"/>
                <a:gd name="T38" fmla="*/ 602 w 875"/>
                <a:gd name="T39" fmla="*/ 85 h 1561"/>
                <a:gd name="T40" fmla="*/ 602 w 875"/>
                <a:gd name="T41" fmla="*/ 85 h 1561"/>
                <a:gd name="T42" fmla="*/ 610 w 875"/>
                <a:gd name="T43" fmla="*/ 71 h 1561"/>
                <a:gd name="T44" fmla="*/ 619 w 875"/>
                <a:gd name="T45" fmla="*/ 57 h 1561"/>
                <a:gd name="T46" fmla="*/ 631 w 875"/>
                <a:gd name="T47" fmla="*/ 45 h 1561"/>
                <a:gd name="T48" fmla="*/ 642 w 875"/>
                <a:gd name="T49" fmla="*/ 35 h 1561"/>
                <a:gd name="T50" fmla="*/ 655 w 875"/>
                <a:gd name="T51" fmla="*/ 26 h 1561"/>
                <a:gd name="T52" fmla="*/ 669 w 875"/>
                <a:gd name="T53" fmla="*/ 17 h 1561"/>
                <a:gd name="T54" fmla="*/ 685 w 875"/>
                <a:gd name="T55" fmla="*/ 11 h 1561"/>
                <a:gd name="T56" fmla="*/ 700 w 875"/>
                <a:gd name="T57" fmla="*/ 6 h 1561"/>
                <a:gd name="T58" fmla="*/ 716 w 875"/>
                <a:gd name="T59" fmla="*/ 2 h 1561"/>
                <a:gd name="T60" fmla="*/ 734 w 875"/>
                <a:gd name="T61" fmla="*/ 0 h 1561"/>
                <a:gd name="T62" fmla="*/ 751 w 875"/>
                <a:gd name="T63" fmla="*/ 0 h 1561"/>
                <a:gd name="T64" fmla="*/ 768 w 875"/>
                <a:gd name="T65" fmla="*/ 1 h 1561"/>
                <a:gd name="T66" fmla="*/ 786 w 875"/>
                <a:gd name="T67" fmla="*/ 3 h 1561"/>
                <a:gd name="T68" fmla="*/ 804 w 875"/>
                <a:gd name="T69" fmla="*/ 7 h 1561"/>
                <a:gd name="T70" fmla="*/ 822 w 875"/>
                <a:gd name="T71" fmla="*/ 13 h 1561"/>
                <a:gd name="T72" fmla="*/ 839 w 875"/>
                <a:gd name="T73" fmla="*/ 20 h 1561"/>
                <a:gd name="T74" fmla="*/ 875 w 875"/>
                <a:gd name="T75" fmla="*/ 38 h 1561"/>
                <a:gd name="T76" fmla="*/ 144 w 875"/>
                <a:gd name="T77" fmla="*/ 1561 h 1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5" h="1561">
                  <a:moveTo>
                    <a:pt x="144" y="1561"/>
                  </a:moveTo>
                  <a:lnTo>
                    <a:pt x="113" y="1546"/>
                  </a:lnTo>
                  <a:lnTo>
                    <a:pt x="113" y="1546"/>
                  </a:lnTo>
                  <a:lnTo>
                    <a:pt x="96" y="1538"/>
                  </a:lnTo>
                  <a:lnTo>
                    <a:pt x="81" y="1528"/>
                  </a:lnTo>
                  <a:lnTo>
                    <a:pt x="66" y="1516"/>
                  </a:lnTo>
                  <a:lnTo>
                    <a:pt x="53" y="1504"/>
                  </a:lnTo>
                  <a:lnTo>
                    <a:pt x="41" y="1491"/>
                  </a:lnTo>
                  <a:lnTo>
                    <a:pt x="31" y="1477"/>
                  </a:lnTo>
                  <a:lnTo>
                    <a:pt x="22" y="1462"/>
                  </a:lnTo>
                  <a:lnTo>
                    <a:pt x="14" y="1447"/>
                  </a:lnTo>
                  <a:lnTo>
                    <a:pt x="8" y="1432"/>
                  </a:lnTo>
                  <a:lnTo>
                    <a:pt x="4" y="1416"/>
                  </a:lnTo>
                  <a:lnTo>
                    <a:pt x="1" y="1400"/>
                  </a:lnTo>
                  <a:lnTo>
                    <a:pt x="0" y="1385"/>
                  </a:lnTo>
                  <a:lnTo>
                    <a:pt x="0" y="1368"/>
                  </a:lnTo>
                  <a:lnTo>
                    <a:pt x="3" y="1353"/>
                  </a:lnTo>
                  <a:lnTo>
                    <a:pt x="7" y="1337"/>
                  </a:lnTo>
                  <a:lnTo>
                    <a:pt x="13" y="1321"/>
                  </a:lnTo>
                  <a:lnTo>
                    <a:pt x="602" y="85"/>
                  </a:lnTo>
                  <a:lnTo>
                    <a:pt x="602" y="85"/>
                  </a:lnTo>
                  <a:lnTo>
                    <a:pt x="610" y="71"/>
                  </a:lnTo>
                  <a:lnTo>
                    <a:pt x="619" y="57"/>
                  </a:lnTo>
                  <a:lnTo>
                    <a:pt x="631" y="45"/>
                  </a:lnTo>
                  <a:lnTo>
                    <a:pt x="642" y="35"/>
                  </a:lnTo>
                  <a:lnTo>
                    <a:pt x="655" y="26"/>
                  </a:lnTo>
                  <a:lnTo>
                    <a:pt x="669" y="17"/>
                  </a:lnTo>
                  <a:lnTo>
                    <a:pt x="685" y="11"/>
                  </a:lnTo>
                  <a:lnTo>
                    <a:pt x="700" y="6"/>
                  </a:lnTo>
                  <a:lnTo>
                    <a:pt x="716" y="2"/>
                  </a:lnTo>
                  <a:lnTo>
                    <a:pt x="734" y="0"/>
                  </a:lnTo>
                  <a:lnTo>
                    <a:pt x="751" y="0"/>
                  </a:lnTo>
                  <a:lnTo>
                    <a:pt x="768" y="1"/>
                  </a:lnTo>
                  <a:lnTo>
                    <a:pt x="786" y="3"/>
                  </a:lnTo>
                  <a:lnTo>
                    <a:pt x="804" y="7"/>
                  </a:lnTo>
                  <a:lnTo>
                    <a:pt x="822" y="13"/>
                  </a:lnTo>
                  <a:lnTo>
                    <a:pt x="839" y="20"/>
                  </a:lnTo>
                  <a:lnTo>
                    <a:pt x="875" y="38"/>
                  </a:lnTo>
                  <a:lnTo>
                    <a:pt x="144" y="15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77" name="Freeform 1979"/>
            <p:cNvSpPr>
              <a:spLocks/>
            </p:cNvSpPr>
            <p:nvPr/>
          </p:nvSpPr>
          <p:spPr bwMode="auto">
            <a:xfrm rot="21114214">
              <a:off x="6756276" y="3595843"/>
              <a:ext cx="38966" cy="38966"/>
            </a:xfrm>
            <a:custGeom>
              <a:avLst/>
              <a:gdLst>
                <a:gd name="T0" fmla="*/ 0 w 161"/>
                <a:gd name="T1" fmla="*/ 80 h 161"/>
                <a:gd name="T2" fmla="*/ 2 w 161"/>
                <a:gd name="T3" fmla="*/ 64 h 161"/>
                <a:gd name="T4" fmla="*/ 6 w 161"/>
                <a:gd name="T5" fmla="*/ 50 h 161"/>
                <a:gd name="T6" fmla="*/ 14 w 161"/>
                <a:gd name="T7" fmla="*/ 35 h 161"/>
                <a:gd name="T8" fmla="*/ 24 w 161"/>
                <a:gd name="T9" fmla="*/ 24 h 161"/>
                <a:gd name="T10" fmla="*/ 36 w 161"/>
                <a:gd name="T11" fmla="*/ 14 h 161"/>
                <a:gd name="T12" fmla="*/ 49 w 161"/>
                <a:gd name="T13" fmla="*/ 7 h 161"/>
                <a:gd name="T14" fmla="*/ 65 w 161"/>
                <a:gd name="T15" fmla="*/ 1 h 161"/>
                <a:gd name="T16" fmla="*/ 81 w 161"/>
                <a:gd name="T17" fmla="*/ 0 h 161"/>
                <a:gd name="T18" fmla="*/ 89 w 161"/>
                <a:gd name="T19" fmla="*/ 0 h 161"/>
                <a:gd name="T20" fmla="*/ 104 w 161"/>
                <a:gd name="T21" fmla="*/ 4 h 161"/>
                <a:gd name="T22" fmla="*/ 119 w 161"/>
                <a:gd name="T23" fmla="*/ 10 h 161"/>
                <a:gd name="T24" fmla="*/ 132 w 161"/>
                <a:gd name="T25" fmla="*/ 19 h 161"/>
                <a:gd name="T26" fmla="*/ 142 w 161"/>
                <a:gd name="T27" fmla="*/ 29 h 161"/>
                <a:gd name="T28" fmla="*/ 151 w 161"/>
                <a:gd name="T29" fmla="*/ 42 h 161"/>
                <a:gd name="T30" fmla="*/ 158 w 161"/>
                <a:gd name="T31" fmla="*/ 57 h 161"/>
                <a:gd name="T32" fmla="*/ 161 w 161"/>
                <a:gd name="T33" fmla="*/ 72 h 161"/>
                <a:gd name="T34" fmla="*/ 161 w 161"/>
                <a:gd name="T35" fmla="*/ 80 h 161"/>
                <a:gd name="T36" fmla="*/ 160 w 161"/>
                <a:gd name="T37" fmla="*/ 97 h 161"/>
                <a:gd name="T38" fmla="*/ 154 w 161"/>
                <a:gd name="T39" fmla="*/ 112 h 161"/>
                <a:gd name="T40" fmla="*/ 147 w 161"/>
                <a:gd name="T41" fmla="*/ 125 h 161"/>
                <a:gd name="T42" fmla="*/ 137 w 161"/>
                <a:gd name="T43" fmla="*/ 137 h 161"/>
                <a:gd name="T44" fmla="*/ 126 w 161"/>
                <a:gd name="T45" fmla="*/ 147 h 161"/>
                <a:gd name="T46" fmla="*/ 112 w 161"/>
                <a:gd name="T47" fmla="*/ 155 h 161"/>
                <a:gd name="T48" fmla="*/ 96 w 161"/>
                <a:gd name="T49" fmla="*/ 159 h 161"/>
                <a:gd name="T50" fmla="*/ 81 w 161"/>
                <a:gd name="T51" fmla="*/ 161 h 161"/>
                <a:gd name="T52" fmla="*/ 73 w 161"/>
                <a:gd name="T53" fmla="*/ 160 h 161"/>
                <a:gd name="T54" fmla="*/ 56 w 161"/>
                <a:gd name="T55" fmla="*/ 157 h 161"/>
                <a:gd name="T56" fmla="*/ 42 w 161"/>
                <a:gd name="T57" fmla="*/ 151 h 161"/>
                <a:gd name="T58" fmla="*/ 30 w 161"/>
                <a:gd name="T59" fmla="*/ 142 h 161"/>
                <a:gd name="T60" fmla="*/ 19 w 161"/>
                <a:gd name="T61" fmla="*/ 131 h 161"/>
                <a:gd name="T62" fmla="*/ 10 w 161"/>
                <a:gd name="T63" fmla="*/ 119 h 161"/>
                <a:gd name="T64" fmla="*/ 4 w 161"/>
                <a:gd name="T65" fmla="*/ 105 h 161"/>
                <a:gd name="T66" fmla="*/ 1 w 161"/>
                <a:gd name="T67" fmla="*/ 88 h 161"/>
                <a:gd name="T68" fmla="*/ 0 w 161"/>
                <a:gd name="T69" fmla="*/ 8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161">
                  <a:moveTo>
                    <a:pt x="0" y="80"/>
                  </a:moveTo>
                  <a:lnTo>
                    <a:pt x="0" y="80"/>
                  </a:lnTo>
                  <a:lnTo>
                    <a:pt x="1" y="72"/>
                  </a:lnTo>
                  <a:lnTo>
                    <a:pt x="2" y="64"/>
                  </a:lnTo>
                  <a:lnTo>
                    <a:pt x="4" y="57"/>
                  </a:lnTo>
                  <a:lnTo>
                    <a:pt x="6" y="50"/>
                  </a:lnTo>
                  <a:lnTo>
                    <a:pt x="10" y="42"/>
                  </a:lnTo>
                  <a:lnTo>
                    <a:pt x="14" y="35"/>
                  </a:lnTo>
                  <a:lnTo>
                    <a:pt x="19" y="29"/>
                  </a:lnTo>
                  <a:lnTo>
                    <a:pt x="24" y="24"/>
                  </a:lnTo>
                  <a:lnTo>
                    <a:pt x="30" y="19"/>
                  </a:lnTo>
                  <a:lnTo>
                    <a:pt x="36" y="14"/>
                  </a:lnTo>
                  <a:lnTo>
                    <a:pt x="42" y="10"/>
                  </a:lnTo>
                  <a:lnTo>
                    <a:pt x="49" y="7"/>
                  </a:lnTo>
                  <a:lnTo>
                    <a:pt x="56" y="4"/>
                  </a:lnTo>
                  <a:lnTo>
                    <a:pt x="65" y="1"/>
                  </a:lnTo>
                  <a:lnTo>
                    <a:pt x="73" y="0"/>
                  </a:lnTo>
                  <a:lnTo>
                    <a:pt x="81" y="0"/>
                  </a:lnTo>
                  <a:lnTo>
                    <a:pt x="81" y="0"/>
                  </a:lnTo>
                  <a:lnTo>
                    <a:pt x="89" y="0"/>
                  </a:lnTo>
                  <a:lnTo>
                    <a:pt x="96" y="1"/>
                  </a:lnTo>
                  <a:lnTo>
                    <a:pt x="104" y="4"/>
                  </a:lnTo>
                  <a:lnTo>
                    <a:pt x="112" y="7"/>
                  </a:lnTo>
                  <a:lnTo>
                    <a:pt x="119" y="10"/>
                  </a:lnTo>
                  <a:lnTo>
                    <a:pt x="126" y="14"/>
                  </a:lnTo>
                  <a:lnTo>
                    <a:pt x="132" y="19"/>
                  </a:lnTo>
                  <a:lnTo>
                    <a:pt x="137" y="24"/>
                  </a:lnTo>
                  <a:lnTo>
                    <a:pt x="142" y="29"/>
                  </a:lnTo>
                  <a:lnTo>
                    <a:pt x="147" y="35"/>
                  </a:lnTo>
                  <a:lnTo>
                    <a:pt x="151" y="42"/>
                  </a:lnTo>
                  <a:lnTo>
                    <a:pt x="154" y="50"/>
                  </a:lnTo>
                  <a:lnTo>
                    <a:pt x="158" y="57"/>
                  </a:lnTo>
                  <a:lnTo>
                    <a:pt x="160" y="64"/>
                  </a:lnTo>
                  <a:lnTo>
                    <a:pt x="161" y="72"/>
                  </a:lnTo>
                  <a:lnTo>
                    <a:pt x="161" y="80"/>
                  </a:lnTo>
                  <a:lnTo>
                    <a:pt x="161" y="80"/>
                  </a:lnTo>
                  <a:lnTo>
                    <a:pt x="161" y="88"/>
                  </a:lnTo>
                  <a:lnTo>
                    <a:pt x="160" y="97"/>
                  </a:lnTo>
                  <a:lnTo>
                    <a:pt x="158" y="105"/>
                  </a:lnTo>
                  <a:lnTo>
                    <a:pt x="154" y="112"/>
                  </a:lnTo>
                  <a:lnTo>
                    <a:pt x="151" y="119"/>
                  </a:lnTo>
                  <a:lnTo>
                    <a:pt x="147" y="125"/>
                  </a:lnTo>
                  <a:lnTo>
                    <a:pt x="142" y="131"/>
                  </a:lnTo>
                  <a:lnTo>
                    <a:pt x="137" y="137"/>
                  </a:lnTo>
                  <a:lnTo>
                    <a:pt x="132" y="142"/>
                  </a:lnTo>
                  <a:lnTo>
                    <a:pt x="126" y="147"/>
                  </a:lnTo>
                  <a:lnTo>
                    <a:pt x="119" y="151"/>
                  </a:lnTo>
                  <a:lnTo>
                    <a:pt x="112" y="155"/>
                  </a:lnTo>
                  <a:lnTo>
                    <a:pt x="104" y="157"/>
                  </a:lnTo>
                  <a:lnTo>
                    <a:pt x="96" y="159"/>
                  </a:lnTo>
                  <a:lnTo>
                    <a:pt x="89" y="160"/>
                  </a:lnTo>
                  <a:lnTo>
                    <a:pt x="81" y="161"/>
                  </a:lnTo>
                  <a:lnTo>
                    <a:pt x="81" y="161"/>
                  </a:lnTo>
                  <a:lnTo>
                    <a:pt x="73" y="160"/>
                  </a:lnTo>
                  <a:lnTo>
                    <a:pt x="65" y="159"/>
                  </a:lnTo>
                  <a:lnTo>
                    <a:pt x="56" y="157"/>
                  </a:lnTo>
                  <a:lnTo>
                    <a:pt x="49" y="155"/>
                  </a:lnTo>
                  <a:lnTo>
                    <a:pt x="42" y="151"/>
                  </a:lnTo>
                  <a:lnTo>
                    <a:pt x="36" y="147"/>
                  </a:lnTo>
                  <a:lnTo>
                    <a:pt x="30" y="142"/>
                  </a:lnTo>
                  <a:lnTo>
                    <a:pt x="24" y="137"/>
                  </a:lnTo>
                  <a:lnTo>
                    <a:pt x="19" y="131"/>
                  </a:lnTo>
                  <a:lnTo>
                    <a:pt x="14" y="125"/>
                  </a:lnTo>
                  <a:lnTo>
                    <a:pt x="10" y="119"/>
                  </a:lnTo>
                  <a:lnTo>
                    <a:pt x="6" y="112"/>
                  </a:lnTo>
                  <a:lnTo>
                    <a:pt x="4" y="105"/>
                  </a:lnTo>
                  <a:lnTo>
                    <a:pt x="2" y="97"/>
                  </a:lnTo>
                  <a:lnTo>
                    <a:pt x="1" y="88"/>
                  </a:lnTo>
                  <a:lnTo>
                    <a:pt x="0" y="80"/>
                  </a:lnTo>
                  <a:lnTo>
                    <a:pt x="0"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78" name="Freeform 1980"/>
            <p:cNvSpPr>
              <a:spLocks/>
            </p:cNvSpPr>
            <p:nvPr/>
          </p:nvSpPr>
          <p:spPr bwMode="auto">
            <a:xfrm rot="21114214">
              <a:off x="6731680" y="3083344"/>
              <a:ext cx="255444" cy="497898"/>
            </a:xfrm>
            <a:custGeom>
              <a:avLst/>
              <a:gdLst>
                <a:gd name="T0" fmla="*/ 0 w 1063"/>
                <a:gd name="T1" fmla="*/ 2045 h 2075"/>
                <a:gd name="T2" fmla="*/ 63 w 1063"/>
                <a:gd name="T3" fmla="*/ 2075 h 2075"/>
                <a:gd name="T4" fmla="*/ 1063 w 1063"/>
                <a:gd name="T5" fmla="*/ 31 h 2075"/>
                <a:gd name="T6" fmla="*/ 1001 w 1063"/>
                <a:gd name="T7" fmla="*/ 0 h 2075"/>
                <a:gd name="T8" fmla="*/ 0 w 1063"/>
                <a:gd name="T9" fmla="*/ 2045 h 2075"/>
              </a:gdLst>
              <a:ahLst/>
              <a:cxnLst>
                <a:cxn ang="0">
                  <a:pos x="T0" y="T1"/>
                </a:cxn>
                <a:cxn ang="0">
                  <a:pos x="T2" y="T3"/>
                </a:cxn>
                <a:cxn ang="0">
                  <a:pos x="T4" y="T5"/>
                </a:cxn>
                <a:cxn ang="0">
                  <a:pos x="T6" y="T7"/>
                </a:cxn>
                <a:cxn ang="0">
                  <a:pos x="T8" y="T9"/>
                </a:cxn>
              </a:cxnLst>
              <a:rect l="0" t="0" r="r" b="b"/>
              <a:pathLst>
                <a:path w="1063" h="2075">
                  <a:moveTo>
                    <a:pt x="0" y="2045"/>
                  </a:moveTo>
                  <a:lnTo>
                    <a:pt x="63" y="2075"/>
                  </a:lnTo>
                  <a:lnTo>
                    <a:pt x="1063" y="31"/>
                  </a:lnTo>
                  <a:lnTo>
                    <a:pt x="1001" y="0"/>
                  </a:lnTo>
                  <a:lnTo>
                    <a:pt x="0" y="20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2979" name="Freeform 1981"/>
          <p:cNvSpPr>
            <a:spLocks noEditPoints="1"/>
          </p:cNvSpPr>
          <p:nvPr/>
        </p:nvSpPr>
        <p:spPr bwMode="auto">
          <a:xfrm rot="402529">
            <a:off x="6658626" y="3098948"/>
            <a:ext cx="148648" cy="90921"/>
          </a:xfrm>
          <a:custGeom>
            <a:avLst/>
            <a:gdLst>
              <a:gd name="T0" fmla="*/ 0 w 617"/>
              <a:gd name="T1" fmla="*/ 328 h 376"/>
              <a:gd name="T2" fmla="*/ 476 w 617"/>
              <a:gd name="T3" fmla="*/ 376 h 376"/>
              <a:gd name="T4" fmla="*/ 617 w 617"/>
              <a:gd name="T5" fmla="*/ 225 h 376"/>
              <a:gd name="T6" fmla="*/ 509 w 617"/>
              <a:gd name="T7" fmla="*/ 48 h 376"/>
              <a:gd name="T8" fmla="*/ 33 w 617"/>
              <a:gd name="T9" fmla="*/ 0 h 376"/>
              <a:gd name="T10" fmla="*/ 0 w 617"/>
              <a:gd name="T11" fmla="*/ 328 h 376"/>
              <a:gd name="T12" fmla="*/ 439 w 617"/>
              <a:gd name="T13" fmla="*/ 214 h 376"/>
              <a:gd name="T14" fmla="*/ 439 w 617"/>
              <a:gd name="T15" fmla="*/ 214 h 376"/>
              <a:gd name="T16" fmla="*/ 440 w 617"/>
              <a:gd name="T17" fmla="*/ 205 h 376"/>
              <a:gd name="T18" fmla="*/ 442 w 617"/>
              <a:gd name="T19" fmla="*/ 198 h 376"/>
              <a:gd name="T20" fmla="*/ 446 w 617"/>
              <a:gd name="T21" fmla="*/ 191 h 376"/>
              <a:gd name="T22" fmla="*/ 452 w 617"/>
              <a:gd name="T23" fmla="*/ 185 h 376"/>
              <a:gd name="T24" fmla="*/ 458 w 617"/>
              <a:gd name="T25" fmla="*/ 180 h 376"/>
              <a:gd name="T26" fmla="*/ 465 w 617"/>
              <a:gd name="T27" fmla="*/ 175 h 376"/>
              <a:gd name="T28" fmla="*/ 473 w 617"/>
              <a:gd name="T29" fmla="*/ 173 h 376"/>
              <a:gd name="T30" fmla="*/ 481 w 617"/>
              <a:gd name="T31" fmla="*/ 172 h 376"/>
              <a:gd name="T32" fmla="*/ 481 w 617"/>
              <a:gd name="T33" fmla="*/ 172 h 376"/>
              <a:gd name="T34" fmla="*/ 489 w 617"/>
              <a:gd name="T35" fmla="*/ 173 h 376"/>
              <a:gd name="T36" fmla="*/ 498 w 617"/>
              <a:gd name="T37" fmla="*/ 175 h 376"/>
              <a:gd name="T38" fmla="*/ 504 w 617"/>
              <a:gd name="T39" fmla="*/ 180 h 376"/>
              <a:gd name="T40" fmla="*/ 510 w 617"/>
              <a:gd name="T41" fmla="*/ 185 h 376"/>
              <a:gd name="T42" fmla="*/ 515 w 617"/>
              <a:gd name="T43" fmla="*/ 191 h 376"/>
              <a:gd name="T44" fmla="*/ 519 w 617"/>
              <a:gd name="T45" fmla="*/ 198 h 376"/>
              <a:gd name="T46" fmla="*/ 522 w 617"/>
              <a:gd name="T47" fmla="*/ 205 h 376"/>
              <a:gd name="T48" fmla="*/ 522 w 617"/>
              <a:gd name="T49" fmla="*/ 214 h 376"/>
              <a:gd name="T50" fmla="*/ 522 w 617"/>
              <a:gd name="T51" fmla="*/ 214 h 376"/>
              <a:gd name="T52" fmla="*/ 522 w 617"/>
              <a:gd name="T53" fmla="*/ 222 h 376"/>
              <a:gd name="T54" fmla="*/ 519 w 617"/>
              <a:gd name="T55" fmla="*/ 230 h 376"/>
              <a:gd name="T56" fmla="*/ 515 w 617"/>
              <a:gd name="T57" fmla="*/ 237 h 376"/>
              <a:gd name="T58" fmla="*/ 510 w 617"/>
              <a:gd name="T59" fmla="*/ 243 h 376"/>
              <a:gd name="T60" fmla="*/ 504 w 617"/>
              <a:gd name="T61" fmla="*/ 248 h 376"/>
              <a:gd name="T62" fmla="*/ 498 w 617"/>
              <a:gd name="T63" fmla="*/ 252 h 376"/>
              <a:gd name="T64" fmla="*/ 489 w 617"/>
              <a:gd name="T65" fmla="*/ 254 h 376"/>
              <a:gd name="T66" fmla="*/ 481 w 617"/>
              <a:gd name="T67" fmla="*/ 255 h 376"/>
              <a:gd name="T68" fmla="*/ 481 w 617"/>
              <a:gd name="T69" fmla="*/ 255 h 376"/>
              <a:gd name="T70" fmla="*/ 473 w 617"/>
              <a:gd name="T71" fmla="*/ 254 h 376"/>
              <a:gd name="T72" fmla="*/ 465 w 617"/>
              <a:gd name="T73" fmla="*/ 252 h 376"/>
              <a:gd name="T74" fmla="*/ 458 w 617"/>
              <a:gd name="T75" fmla="*/ 248 h 376"/>
              <a:gd name="T76" fmla="*/ 452 w 617"/>
              <a:gd name="T77" fmla="*/ 243 h 376"/>
              <a:gd name="T78" fmla="*/ 446 w 617"/>
              <a:gd name="T79" fmla="*/ 237 h 376"/>
              <a:gd name="T80" fmla="*/ 442 w 617"/>
              <a:gd name="T81" fmla="*/ 230 h 376"/>
              <a:gd name="T82" fmla="*/ 440 w 617"/>
              <a:gd name="T83" fmla="*/ 222 h 376"/>
              <a:gd name="T84" fmla="*/ 439 w 617"/>
              <a:gd name="T85" fmla="*/ 214 h 376"/>
              <a:gd name="T86" fmla="*/ 439 w 617"/>
              <a:gd name="T87" fmla="*/ 21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7" h="376">
                <a:moveTo>
                  <a:pt x="0" y="328"/>
                </a:moveTo>
                <a:lnTo>
                  <a:pt x="476" y="376"/>
                </a:lnTo>
                <a:lnTo>
                  <a:pt x="617" y="225"/>
                </a:lnTo>
                <a:lnTo>
                  <a:pt x="509" y="48"/>
                </a:lnTo>
                <a:lnTo>
                  <a:pt x="33" y="0"/>
                </a:lnTo>
                <a:lnTo>
                  <a:pt x="0" y="328"/>
                </a:lnTo>
                <a:close/>
                <a:moveTo>
                  <a:pt x="439" y="214"/>
                </a:moveTo>
                <a:lnTo>
                  <a:pt x="439" y="214"/>
                </a:lnTo>
                <a:lnTo>
                  <a:pt x="440" y="205"/>
                </a:lnTo>
                <a:lnTo>
                  <a:pt x="442" y="198"/>
                </a:lnTo>
                <a:lnTo>
                  <a:pt x="446" y="191"/>
                </a:lnTo>
                <a:lnTo>
                  <a:pt x="452" y="185"/>
                </a:lnTo>
                <a:lnTo>
                  <a:pt x="458" y="180"/>
                </a:lnTo>
                <a:lnTo>
                  <a:pt x="465" y="175"/>
                </a:lnTo>
                <a:lnTo>
                  <a:pt x="473" y="173"/>
                </a:lnTo>
                <a:lnTo>
                  <a:pt x="481" y="172"/>
                </a:lnTo>
                <a:lnTo>
                  <a:pt x="481" y="172"/>
                </a:lnTo>
                <a:lnTo>
                  <a:pt x="489" y="173"/>
                </a:lnTo>
                <a:lnTo>
                  <a:pt x="498" y="175"/>
                </a:lnTo>
                <a:lnTo>
                  <a:pt x="504" y="180"/>
                </a:lnTo>
                <a:lnTo>
                  <a:pt x="510" y="185"/>
                </a:lnTo>
                <a:lnTo>
                  <a:pt x="515" y="191"/>
                </a:lnTo>
                <a:lnTo>
                  <a:pt x="519" y="198"/>
                </a:lnTo>
                <a:lnTo>
                  <a:pt x="522" y="205"/>
                </a:lnTo>
                <a:lnTo>
                  <a:pt x="522" y="214"/>
                </a:lnTo>
                <a:lnTo>
                  <a:pt x="522" y="214"/>
                </a:lnTo>
                <a:lnTo>
                  <a:pt x="522" y="222"/>
                </a:lnTo>
                <a:lnTo>
                  <a:pt x="519" y="230"/>
                </a:lnTo>
                <a:lnTo>
                  <a:pt x="515" y="237"/>
                </a:lnTo>
                <a:lnTo>
                  <a:pt x="510" y="243"/>
                </a:lnTo>
                <a:lnTo>
                  <a:pt x="504" y="248"/>
                </a:lnTo>
                <a:lnTo>
                  <a:pt x="498" y="252"/>
                </a:lnTo>
                <a:lnTo>
                  <a:pt x="489" y="254"/>
                </a:lnTo>
                <a:lnTo>
                  <a:pt x="481" y="255"/>
                </a:lnTo>
                <a:lnTo>
                  <a:pt x="481" y="255"/>
                </a:lnTo>
                <a:lnTo>
                  <a:pt x="473" y="254"/>
                </a:lnTo>
                <a:lnTo>
                  <a:pt x="465" y="252"/>
                </a:lnTo>
                <a:lnTo>
                  <a:pt x="458" y="248"/>
                </a:lnTo>
                <a:lnTo>
                  <a:pt x="452" y="243"/>
                </a:lnTo>
                <a:lnTo>
                  <a:pt x="446" y="237"/>
                </a:lnTo>
                <a:lnTo>
                  <a:pt x="442" y="230"/>
                </a:lnTo>
                <a:lnTo>
                  <a:pt x="440" y="222"/>
                </a:lnTo>
                <a:lnTo>
                  <a:pt x="439" y="214"/>
                </a:lnTo>
                <a:lnTo>
                  <a:pt x="439" y="21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32" name="Freeform 2034"/>
          <p:cNvSpPr>
            <a:spLocks/>
          </p:cNvSpPr>
          <p:nvPr/>
        </p:nvSpPr>
        <p:spPr bwMode="auto">
          <a:xfrm rot="21114214">
            <a:off x="7196629" y="2662362"/>
            <a:ext cx="163080" cy="165966"/>
          </a:xfrm>
          <a:custGeom>
            <a:avLst/>
            <a:gdLst>
              <a:gd name="T0" fmla="*/ 210 w 675"/>
              <a:gd name="T1" fmla="*/ 25 h 687"/>
              <a:gd name="T2" fmla="*/ 253 w 675"/>
              <a:gd name="T3" fmla="*/ 10 h 687"/>
              <a:gd name="T4" fmla="*/ 298 w 675"/>
              <a:gd name="T5" fmla="*/ 2 h 687"/>
              <a:gd name="T6" fmla="*/ 342 w 675"/>
              <a:gd name="T7" fmla="*/ 0 h 687"/>
              <a:gd name="T8" fmla="*/ 385 w 675"/>
              <a:gd name="T9" fmla="*/ 6 h 687"/>
              <a:gd name="T10" fmla="*/ 428 w 675"/>
              <a:gd name="T11" fmla="*/ 17 h 687"/>
              <a:gd name="T12" fmla="*/ 469 w 675"/>
              <a:gd name="T13" fmla="*/ 33 h 687"/>
              <a:gd name="T14" fmla="*/ 508 w 675"/>
              <a:gd name="T15" fmla="*/ 55 h 687"/>
              <a:gd name="T16" fmla="*/ 544 w 675"/>
              <a:gd name="T17" fmla="*/ 80 h 687"/>
              <a:gd name="T18" fmla="*/ 577 w 675"/>
              <a:gd name="T19" fmla="*/ 110 h 687"/>
              <a:gd name="T20" fmla="*/ 606 w 675"/>
              <a:gd name="T21" fmla="*/ 144 h 687"/>
              <a:gd name="T22" fmla="*/ 631 w 675"/>
              <a:gd name="T23" fmla="*/ 180 h 687"/>
              <a:gd name="T24" fmla="*/ 651 w 675"/>
              <a:gd name="T25" fmla="*/ 219 h 687"/>
              <a:gd name="T26" fmla="*/ 665 w 675"/>
              <a:gd name="T27" fmla="*/ 261 h 687"/>
              <a:gd name="T28" fmla="*/ 674 w 675"/>
              <a:gd name="T29" fmla="*/ 304 h 687"/>
              <a:gd name="T30" fmla="*/ 675 w 675"/>
              <a:gd name="T31" fmla="*/ 349 h 687"/>
              <a:gd name="T32" fmla="*/ 670 w 675"/>
              <a:gd name="T33" fmla="*/ 394 h 687"/>
              <a:gd name="T34" fmla="*/ 667 w 675"/>
              <a:gd name="T35" fmla="*/ 415 h 687"/>
              <a:gd name="T36" fmla="*/ 657 w 675"/>
              <a:gd name="T37" fmla="*/ 456 h 687"/>
              <a:gd name="T38" fmla="*/ 640 w 675"/>
              <a:gd name="T39" fmla="*/ 495 h 687"/>
              <a:gd name="T40" fmla="*/ 619 w 675"/>
              <a:gd name="T41" fmla="*/ 531 h 687"/>
              <a:gd name="T42" fmla="*/ 593 w 675"/>
              <a:gd name="T43" fmla="*/ 563 h 687"/>
              <a:gd name="T44" fmla="*/ 564 w 675"/>
              <a:gd name="T45" fmla="*/ 593 h 687"/>
              <a:gd name="T46" fmla="*/ 531 w 675"/>
              <a:gd name="T47" fmla="*/ 620 h 687"/>
              <a:gd name="T48" fmla="*/ 496 w 675"/>
              <a:gd name="T49" fmla="*/ 642 h 687"/>
              <a:gd name="T50" fmla="*/ 458 w 675"/>
              <a:gd name="T51" fmla="*/ 660 h 687"/>
              <a:gd name="T52" fmla="*/ 419 w 675"/>
              <a:gd name="T53" fmla="*/ 674 h 687"/>
              <a:gd name="T54" fmla="*/ 378 w 675"/>
              <a:gd name="T55" fmla="*/ 683 h 687"/>
              <a:gd name="T56" fmla="*/ 337 w 675"/>
              <a:gd name="T57" fmla="*/ 687 h 687"/>
              <a:gd name="T58" fmla="*/ 295 w 675"/>
              <a:gd name="T59" fmla="*/ 686 h 687"/>
              <a:gd name="T60" fmla="*/ 254 w 675"/>
              <a:gd name="T61" fmla="*/ 679 h 687"/>
              <a:gd name="T62" fmla="*/ 214 w 675"/>
              <a:gd name="T63" fmla="*/ 667 h 687"/>
              <a:gd name="T64" fmla="*/ 176 w 675"/>
              <a:gd name="T65" fmla="*/ 648 h 687"/>
              <a:gd name="T66" fmla="*/ 158 w 675"/>
              <a:gd name="T67" fmla="*/ 637 h 687"/>
              <a:gd name="T68" fmla="*/ 116 w 675"/>
              <a:gd name="T69" fmla="*/ 610 h 687"/>
              <a:gd name="T70" fmla="*/ 81 w 675"/>
              <a:gd name="T71" fmla="*/ 578 h 687"/>
              <a:gd name="T72" fmla="*/ 53 w 675"/>
              <a:gd name="T73" fmla="*/ 541 h 687"/>
              <a:gd name="T74" fmla="*/ 30 w 675"/>
              <a:gd name="T75" fmla="*/ 500 h 687"/>
              <a:gd name="T76" fmla="*/ 14 w 675"/>
              <a:gd name="T77" fmla="*/ 457 h 687"/>
              <a:gd name="T78" fmla="*/ 4 w 675"/>
              <a:gd name="T79" fmla="*/ 411 h 687"/>
              <a:gd name="T80" fmla="*/ 0 w 675"/>
              <a:gd name="T81" fmla="*/ 365 h 687"/>
              <a:gd name="T82" fmla="*/ 2 w 675"/>
              <a:gd name="T83" fmla="*/ 317 h 687"/>
              <a:gd name="T84" fmla="*/ 9 w 675"/>
              <a:gd name="T85" fmla="*/ 271 h 687"/>
              <a:gd name="T86" fmla="*/ 21 w 675"/>
              <a:gd name="T87" fmla="*/ 225 h 687"/>
              <a:gd name="T88" fmla="*/ 40 w 675"/>
              <a:gd name="T89" fmla="*/ 182 h 687"/>
              <a:gd name="T90" fmla="*/ 64 w 675"/>
              <a:gd name="T91" fmla="*/ 141 h 687"/>
              <a:gd name="T92" fmla="*/ 93 w 675"/>
              <a:gd name="T93" fmla="*/ 105 h 687"/>
              <a:gd name="T94" fmla="*/ 127 w 675"/>
              <a:gd name="T95" fmla="*/ 73 h 687"/>
              <a:gd name="T96" fmla="*/ 166 w 675"/>
              <a:gd name="T97" fmla="*/ 45 h 687"/>
              <a:gd name="T98" fmla="*/ 210 w 675"/>
              <a:gd name="T99" fmla="*/ 25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5" h="687">
                <a:moveTo>
                  <a:pt x="210" y="25"/>
                </a:moveTo>
                <a:lnTo>
                  <a:pt x="210" y="25"/>
                </a:lnTo>
                <a:lnTo>
                  <a:pt x="232" y="17"/>
                </a:lnTo>
                <a:lnTo>
                  <a:pt x="253" y="10"/>
                </a:lnTo>
                <a:lnTo>
                  <a:pt x="276" y="6"/>
                </a:lnTo>
                <a:lnTo>
                  <a:pt x="298" y="2"/>
                </a:lnTo>
                <a:lnTo>
                  <a:pt x="320" y="0"/>
                </a:lnTo>
                <a:lnTo>
                  <a:pt x="342" y="0"/>
                </a:lnTo>
                <a:lnTo>
                  <a:pt x="363" y="2"/>
                </a:lnTo>
                <a:lnTo>
                  <a:pt x="385" y="6"/>
                </a:lnTo>
                <a:lnTo>
                  <a:pt x="406" y="11"/>
                </a:lnTo>
                <a:lnTo>
                  <a:pt x="428" y="17"/>
                </a:lnTo>
                <a:lnTo>
                  <a:pt x="448" y="24"/>
                </a:lnTo>
                <a:lnTo>
                  <a:pt x="469" y="33"/>
                </a:lnTo>
                <a:lnTo>
                  <a:pt x="488" y="43"/>
                </a:lnTo>
                <a:lnTo>
                  <a:pt x="508" y="55"/>
                </a:lnTo>
                <a:lnTo>
                  <a:pt x="526" y="67"/>
                </a:lnTo>
                <a:lnTo>
                  <a:pt x="544" y="80"/>
                </a:lnTo>
                <a:lnTo>
                  <a:pt x="561" y="94"/>
                </a:lnTo>
                <a:lnTo>
                  <a:pt x="577" y="110"/>
                </a:lnTo>
                <a:lnTo>
                  <a:pt x="592" y="126"/>
                </a:lnTo>
                <a:lnTo>
                  <a:pt x="606" y="144"/>
                </a:lnTo>
                <a:lnTo>
                  <a:pt x="619" y="162"/>
                </a:lnTo>
                <a:lnTo>
                  <a:pt x="631" y="180"/>
                </a:lnTo>
                <a:lnTo>
                  <a:pt x="641" y="200"/>
                </a:lnTo>
                <a:lnTo>
                  <a:pt x="651" y="219"/>
                </a:lnTo>
                <a:lnTo>
                  <a:pt x="659" y="240"/>
                </a:lnTo>
                <a:lnTo>
                  <a:pt x="665" y="261"/>
                </a:lnTo>
                <a:lnTo>
                  <a:pt x="670" y="282"/>
                </a:lnTo>
                <a:lnTo>
                  <a:pt x="674" y="304"/>
                </a:lnTo>
                <a:lnTo>
                  <a:pt x="675" y="326"/>
                </a:lnTo>
                <a:lnTo>
                  <a:pt x="675" y="349"/>
                </a:lnTo>
                <a:lnTo>
                  <a:pt x="674" y="371"/>
                </a:lnTo>
                <a:lnTo>
                  <a:pt x="670" y="394"/>
                </a:lnTo>
                <a:lnTo>
                  <a:pt x="670" y="394"/>
                </a:lnTo>
                <a:lnTo>
                  <a:pt x="667" y="415"/>
                </a:lnTo>
                <a:lnTo>
                  <a:pt x="663" y="437"/>
                </a:lnTo>
                <a:lnTo>
                  <a:pt x="657" y="456"/>
                </a:lnTo>
                <a:lnTo>
                  <a:pt x="649" y="477"/>
                </a:lnTo>
                <a:lnTo>
                  <a:pt x="640" y="495"/>
                </a:lnTo>
                <a:lnTo>
                  <a:pt x="630" y="513"/>
                </a:lnTo>
                <a:lnTo>
                  <a:pt x="619" y="531"/>
                </a:lnTo>
                <a:lnTo>
                  <a:pt x="607" y="548"/>
                </a:lnTo>
                <a:lnTo>
                  <a:pt x="593" y="563"/>
                </a:lnTo>
                <a:lnTo>
                  <a:pt x="579" y="579"/>
                </a:lnTo>
                <a:lnTo>
                  <a:pt x="564" y="593"/>
                </a:lnTo>
                <a:lnTo>
                  <a:pt x="548" y="607"/>
                </a:lnTo>
                <a:lnTo>
                  <a:pt x="531" y="620"/>
                </a:lnTo>
                <a:lnTo>
                  <a:pt x="514" y="631"/>
                </a:lnTo>
                <a:lnTo>
                  <a:pt x="496" y="642"/>
                </a:lnTo>
                <a:lnTo>
                  <a:pt x="477" y="651"/>
                </a:lnTo>
                <a:lnTo>
                  <a:pt x="458" y="660"/>
                </a:lnTo>
                <a:lnTo>
                  <a:pt x="439" y="668"/>
                </a:lnTo>
                <a:lnTo>
                  <a:pt x="419" y="674"/>
                </a:lnTo>
                <a:lnTo>
                  <a:pt x="398" y="679"/>
                </a:lnTo>
                <a:lnTo>
                  <a:pt x="378" y="683"/>
                </a:lnTo>
                <a:lnTo>
                  <a:pt x="357" y="685"/>
                </a:lnTo>
                <a:lnTo>
                  <a:pt x="337" y="687"/>
                </a:lnTo>
                <a:lnTo>
                  <a:pt x="316" y="687"/>
                </a:lnTo>
                <a:lnTo>
                  <a:pt x="295" y="686"/>
                </a:lnTo>
                <a:lnTo>
                  <a:pt x="275" y="683"/>
                </a:lnTo>
                <a:lnTo>
                  <a:pt x="254" y="679"/>
                </a:lnTo>
                <a:lnTo>
                  <a:pt x="235" y="674"/>
                </a:lnTo>
                <a:lnTo>
                  <a:pt x="214" y="667"/>
                </a:lnTo>
                <a:lnTo>
                  <a:pt x="195" y="659"/>
                </a:lnTo>
                <a:lnTo>
                  <a:pt x="176" y="648"/>
                </a:lnTo>
                <a:lnTo>
                  <a:pt x="158" y="637"/>
                </a:lnTo>
                <a:lnTo>
                  <a:pt x="158" y="637"/>
                </a:lnTo>
                <a:lnTo>
                  <a:pt x="137" y="624"/>
                </a:lnTo>
                <a:lnTo>
                  <a:pt x="116" y="610"/>
                </a:lnTo>
                <a:lnTo>
                  <a:pt x="98" y="594"/>
                </a:lnTo>
                <a:lnTo>
                  <a:pt x="81" y="578"/>
                </a:lnTo>
                <a:lnTo>
                  <a:pt x="66" y="559"/>
                </a:lnTo>
                <a:lnTo>
                  <a:pt x="53" y="541"/>
                </a:lnTo>
                <a:lnTo>
                  <a:pt x="41" y="522"/>
                </a:lnTo>
                <a:lnTo>
                  <a:pt x="30" y="500"/>
                </a:lnTo>
                <a:lnTo>
                  <a:pt x="21" y="479"/>
                </a:lnTo>
                <a:lnTo>
                  <a:pt x="14" y="457"/>
                </a:lnTo>
                <a:lnTo>
                  <a:pt x="8" y="435"/>
                </a:lnTo>
                <a:lnTo>
                  <a:pt x="4" y="411"/>
                </a:lnTo>
                <a:lnTo>
                  <a:pt x="1" y="389"/>
                </a:lnTo>
                <a:lnTo>
                  <a:pt x="0" y="365"/>
                </a:lnTo>
                <a:lnTo>
                  <a:pt x="0" y="342"/>
                </a:lnTo>
                <a:lnTo>
                  <a:pt x="2" y="317"/>
                </a:lnTo>
                <a:lnTo>
                  <a:pt x="4" y="295"/>
                </a:lnTo>
                <a:lnTo>
                  <a:pt x="9" y="271"/>
                </a:lnTo>
                <a:lnTo>
                  <a:pt x="14" y="248"/>
                </a:lnTo>
                <a:lnTo>
                  <a:pt x="21" y="225"/>
                </a:lnTo>
                <a:lnTo>
                  <a:pt x="30" y="204"/>
                </a:lnTo>
                <a:lnTo>
                  <a:pt x="40" y="182"/>
                </a:lnTo>
                <a:lnTo>
                  <a:pt x="51" y="162"/>
                </a:lnTo>
                <a:lnTo>
                  <a:pt x="64" y="141"/>
                </a:lnTo>
                <a:lnTo>
                  <a:pt x="77" y="123"/>
                </a:lnTo>
                <a:lnTo>
                  <a:pt x="93" y="105"/>
                </a:lnTo>
                <a:lnTo>
                  <a:pt x="109" y="88"/>
                </a:lnTo>
                <a:lnTo>
                  <a:pt x="127" y="73"/>
                </a:lnTo>
                <a:lnTo>
                  <a:pt x="146" y="59"/>
                </a:lnTo>
                <a:lnTo>
                  <a:pt x="166" y="45"/>
                </a:lnTo>
                <a:lnTo>
                  <a:pt x="188" y="35"/>
                </a:lnTo>
                <a:lnTo>
                  <a:pt x="210" y="25"/>
                </a:lnTo>
                <a:lnTo>
                  <a:pt x="21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108" name="Group 3107"/>
          <p:cNvGrpSpPr/>
          <p:nvPr/>
        </p:nvGrpSpPr>
        <p:grpSpPr>
          <a:xfrm rot="7001211" flipH="1" flipV="1">
            <a:off x="6767675" y="2992367"/>
            <a:ext cx="75025" cy="134294"/>
            <a:chOff x="2687372" y="3149601"/>
            <a:chExt cx="81465" cy="132564"/>
          </a:xfrm>
          <a:solidFill>
            <a:schemeClr val="accent2"/>
          </a:solidFill>
        </p:grpSpPr>
        <p:sp>
          <p:nvSpPr>
            <p:cNvPr id="3109"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0"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1"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2"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3"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14"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184" name="Group 3183"/>
          <p:cNvGrpSpPr>
            <a:grpSpLocks noChangeAspect="1"/>
          </p:cNvGrpSpPr>
          <p:nvPr/>
        </p:nvGrpSpPr>
        <p:grpSpPr>
          <a:xfrm>
            <a:off x="3803909" y="4933198"/>
            <a:ext cx="841115" cy="325713"/>
            <a:chOff x="2514238" y="5445919"/>
            <a:chExt cx="794832" cy="313547"/>
          </a:xfrm>
        </p:grpSpPr>
        <p:sp>
          <p:nvSpPr>
            <p:cNvPr id="3185" name="Freeform 262"/>
            <p:cNvSpPr>
              <a:spLocks/>
            </p:cNvSpPr>
            <p:nvPr/>
          </p:nvSpPr>
          <p:spPr bwMode="auto">
            <a:xfrm>
              <a:off x="2514238" y="5507313"/>
              <a:ext cx="794832" cy="252153"/>
            </a:xfrm>
            <a:custGeom>
              <a:avLst/>
              <a:gdLst>
                <a:gd name="T0" fmla="*/ 2176 w 2176"/>
                <a:gd name="T1" fmla="*/ 48 h 691"/>
                <a:gd name="T2" fmla="*/ 2176 w 2176"/>
                <a:gd name="T3" fmla="*/ 48 h 691"/>
                <a:gd name="T4" fmla="*/ 2174 w 2176"/>
                <a:gd name="T5" fmla="*/ 39 h 691"/>
                <a:gd name="T6" fmla="*/ 2172 w 2176"/>
                <a:gd name="T7" fmla="*/ 29 h 691"/>
                <a:gd name="T8" fmla="*/ 2166 w 2176"/>
                <a:gd name="T9" fmla="*/ 21 h 691"/>
                <a:gd name="T10" fmla="*/ 2161 w 2176"/>
                <a:gd name="T11" fmla="*/ 13 h 691"/>
                <a:gd name="T12" fmla="*/ 2154 w 2176"/>
                <a:gd name="T13" fmla="*/ 8 h 691"/>
                <a:gd name="T14" fmla="*/ 2145 w 2176"/>
                <a:gd name="T15" fmla="*/ 4 h 691"/>
                <a:gd name="T16" fmla="*/ 2136 w 2176"/>
                <a:gd name="T17" fmla="*/ 0 h 691"/>
                <a:gd name="T18" fmla="*/ 2126 w 2176"/>
                <a:gd name="T19" fmla="*/ 0 h 691"/>
                <a:gd name="T20" fmla="*/ 48 w 2176"/>
                <a:gd name="T21" fmla="*/ 0 h 691"/>
                <a:gd name="T22" fmla="*/ 48 w 2176"/>
                <a:gd name="T23" fmla="*/ 0 h 691"/>
                <a:gd name="T24" fmla="*/ 38 w 2176"/>
                <a:gd name="T25" fmla="*/ 0 h 691"/>
                <a:gd name="T26" fmla="*/ 29 w 2176"/>
                <a:gd name="T27" fmla="*/ 4 h 691"/>
                <a:gd name="T28" fmla="*/ 21 w 2176"/>
                <a:gd name="T29" fmla="*/ 8 h 691"/>
                <a:gd name="T30" fmla="*/ 13 w 2176"/>
                <a:gd name="T31" fmla="*/ 13 h 691"/>
                <a:gd name="T32" fmla="*/ 8 w 2176"/>
                <a:gd name="T33" fmla="*/ 21 h 691"/>
                <a:gd name="T34" fmla="*/ 4 w 2176"/>
                <a:gd name="T35" fmla="*/ 29 h 691"/>
                <a:gd name="T36" fmla="*/ 0 w 2176"/>
                <a:gd name="T37" fmla="*/ 39 h 691"/>
                <a:gd name="T38" fmla="*/ 0 w 2176"/>
                <a:gd name="T39" fmla="*/ 48 h 691"/>
                <a:gd name="T40" fmla="*/ 0 w 2176"/>
                <a:gd name="T41" fmla="*/ 642 h 691"/>
                <a:gd name="T42" fmla="*/ 0 w 2176"/>
                <a:gd name="T43" fmla="*/ 642 h 691"/>
                <a:gd name="T44" fmla="*/ 0 w 2176"/>
                <a:gd name="T45" fmla="*/ 652 h 691"/>
                <a:gd name="T46" fmla="*/ 4 w 2176"/>
                <a:gd name="T47" fmla="*/ 662 h 691"/>
                <a:gd name="T48" fmla="*/ 8 w 2176"/>
                <a:gd name="T49" fmla="*/ 670 h 691"/>
                <a:gd name="T50" fmla="*/ 13 w 2176"/>
                <a:gd name="T51" fmla="*/ 676 h 691"/>
                <a:gd name="T52" fmla="*/ 21 w 2176"/>
                <a:gd name="T53" fmla="*/ 683 h 691"/>
                <a:gd name="T54" fmla="*/ 29 w 2176"/>
                <a:gd name="T55" fmla="*/ 687 h 691"/>
                <a:gd name="T56" fmla="*/ 38 w 2176"/>
                <a:gd name="T57" fmla="*/ 690 h 691"/>
                <a:gd name="T58" fmla="*/ 48 w 2176"/>
                <a:gd name="T59" fmla="*/ 691 h 691"/>
                <a:gd name="T60" fmla="*/ 2126 w 2176"/>
                <a:gd name="T61" fmla="*/ 691 h 691"/>
                <a:gd name="T62" fmla="*/ 2126 w 2176"/>
                <a:gd name="T63" fmla="*/ 691 h 691"/>
                <a:gd name="T64" fmla="*/ 2136 w 2176"/>
                <a:gd name="T65" fmla="*/ 690 h 691"/>
                <a:gd name="T66" fmla="*/ 2145 w 2176"/>
                <a:gd name="T67" fmla="*/ 687 h 691"/>
                <a:gd name="T68" fmla="*/ 2154 w 2176"/>
                <a:gd name="T69" fmla="*/ 683 h 691"/>
                <a:gd name="T70" fmla="*/ 2161 w 2176"/>
                <a:gd name="T71" fmla="*/ 676 h 691"/>
                <a:gd name="T72" fmla="*/ 2166 w 2176"/>
                <a:gd name="T73" fmla="*/ 670 h 691"/>
                <a:gd name="T74" fmla="*/ 2172 w 2176"/>
                <a:gd name="T75" fmla="*/ 662 h 691"/>
                <a:gd name="T76" fmla="*/ 2174 w 2176"/>
                <a:gd name="T77" fmla="*/ 652 h 691"/>
                <a:gd name="T78" fmla="*/ 2176 w 2176"/>
                <a:gd name="T79" fmla="*/ 642 h 691"/>
                <a:gd name="T80" fmla="*/ 2176 w 2176"/>
                <a:gd name="T81" fmla="*/ 48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6" h="691">
                  <a:moveTo>
                    <a:pt x="2176" y="48"/>
                  </a:moveTo>
                  <a:lnTo>
                    <a:pt x="2176" y="48"/>
                  </a:lnTo>
                  <a:lnTo>
                    <a:pt x="2174" y="39"/>
                  </a:lnTo>
                  <a:lnTo>
                    <a:pt x="2172" y="29"/>
                  </a:lnTo>
                  <a:lnTo>
                    <a:pt x="2166" y="21"/>
                  </a:lnTo>
                  <a:lnTo>
                    <a:pt x="2161" y="13"/>
                  </a:lnTo>
                  <a:lnTo>
                    <a:pt x="2154" y="8"/>
                  </a:lnTo>
                  <a:lnTo>
                    <a:pt x="2145" y="4"/>
                  </a:lnTo>
                  <a:lnTo>
                    <a:pt x="2136" y="0"/>
                  </a:lnTo>
                  <a:lnTo>
                    <a:pt x="2126" y="0"/>
                  </a:lnTo>
                  <a:lnTo>
                    <a:pt x="48" y="0"/>
                  </a:lnTo>
                  <a:lnTo>
                    <a:pt x="48" y="0"/>
                  </a:lnTo>
                  <a:lnTo>
                    <a:pt x="38" y="0"/>
                  </a:lnTo>
                  <a:lnTo>
                    <a:pt x="29" y="4"/>
                  </a:lnTo>
                  <a:lnTo>
                    <a:pt x="21" y="8"/>
                  </a:lnTo>
                  <a:lnTo>
                    <a:pt x="13" y="13"/>
                  </a:lnTo>
                  <a:lnTo>
                    <a:pt x="8" y="21"/>
                  </a:lnTo>
                  <a:lnTo>
                    <a:pt x="4" y="29"/>
                  </a:lnTo>
                  <a:lnTo>
                    <a:pt x="0" y="39"/>
                  </a:lnTo>
                  <a:lnTo>
                    <a:pt x="0" y="48"/>
                  </a:lnTo>
                  <a:lnTo>
                    <a:pt x="0" y="642"/>
                  </a:lnTo>
                  <a:lnTo>
                    <a:pt x="0" y="642"/>
                  </a:lnTo>
                  <a:lnTo>
                    <a:pt x="0" y="652"/>
                  </a:lnTo>
                  <a:lnTo>
                    <a:pt x="4" y="662"/>
                  </a:lnTo>
                  <a:lnTo>
                    <a:pt x="8" y="670"/>
                  </a:lnTo>
                  <a:lnTo>
                    <a:pt x="13" y="676"/>
                  </a:lnTo>
                  <a:lnTo>
                    <a:pt x="21" y="683"/>
                  </a:lnTo>
                  <a:lnTo>
                    <a:pt x="29" y="687"/>
                  </a:lnTo>
                  <a:lnTo>
                    <a:pt x="38" y="690"/>
                  </a:lnTo>
                  <a:lnTo>
                    <a:pt x="48" y="691"/>
                  </a:lnTo>
                  <a:lnTo>
                    <a:pt x="2126" y="691"/>
                  </a:lnTo>
                  <a:lnTo>
                    <a:pt x="2126" y="691"/>
                  </a:lnTo>
                  <a:lnTo>
                    <a:pt x="2136" y="690"/>
                  </a:lnTo>
                  <a:lnTo>
                    <a:pt x="2145" y="687"/>
                  </a:lnTo>
                  <a:lnTo>
                    <a:pt x="2154" y="683"/>
                  </a:lnTo>
                  <a:lnTo>
                    <a:pt x="2161" y="676"/>
                  </a:lnTo>
                  <a:lnTo>
                    <a:pt x="2166" y="670"/>
                  </a:lnTo>
                  <a:lnTo>
                    <a:pt x="2172" y="662"/>
                  </a:lnTo>
                  <a:lnTo>
                    <a:pt x="2174" y="652"/>
                  </a:lnTo>
                  <a:lnTo>
                    <a:pt x="2176" y="642"/>
                  </a:lnTo>
                  <a:lnTo>
                    <a:pt x="2176" y="48"/>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86" name="Rectangle 263"/>
            <p:cNvSpPr>
              <a:spLocks noChangeArrowheads="1"/>
            </p:cNvSpPr>
            <p:nvPr/>
          </p:nvSpPr>
          <p:spPr bwMode="auto">
            <a:xfrm>
              <a:off x="2540550" y="5533624"/>
              <a:ext cx="741112" cy="198434"/>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187" name="Group 3186"/>
            <p:cNvGrpSpPr/>
            <p:nvPr/>
          </p:nvGrpSpPr>
          <p:grpSpPr>
            <a:xfrm>
              <a:off x="2570150" y="5540202"/>
              <a:ext cx="686296" cy="171027"/>
              <a:chOff x="2570150" y="5540202"/>
              <a:chExt cx="686296" cy="171027"/>
            </a:xfrm>
            <a:solidFill>
              <a:schemeClr val="bg2"/>
            </a:solidFill>
          </p:grpSpPr>
          <p:sp>
            <p:nvSpPr>
              <p:cNvPr id="3189" name="Freeform 264"/>
              <p:cNvSpPr>
                <a:spLocks noEditPoints="1"/>
              </p:cNvSpPr>
              <p:nvPr/>
            </p:nvSpPr>
            <p:spPr bwMode="auto">
              <a:xfrm>
                <a:off x="3184089" y="5540202"/>
                <a:ext cx="72357" cy="73454"/>
              </a:xfrm>
              <a:custGeom>
                <a:avLst/>
                <a:gdLst>
                  <a:gd name="T0" fmla="*/ 98 w 199"/>
                  <a:gd name="T1" fmla="*/ 201 h 201"/>
                  <a:gd name="T2" fmla="*/ 78 w 199"/>
                  <a:gd name="T3" fmla="*/ 198 h 201"/>
                  <a:gd name="T4" fmla="*/ 60 w 199"/>
                  <a:gd name="T5" fmla="*/ 193 h 201"/>
                  <a:gd name="T6" fmla="*/ 42 w 199"/>
                  <a:gd name="T7" fmla="*/ 183 h 201"/>
                  <a:gd name="T8" fmla="*/ 28 w 199"/>
                  <a:gd name="T9" fmla="*/ 171 h 201"/>
                  <a:gd name="T10" fmla="*/ 16 w 199"/>
                  <a:gd name="T11" fmla="*/ 157 h 201"/>
                  <a:gd name="T12" fmla="*/ 6 w 199"/>
                  <a:gd name="T13" fmla="*/ 139 h 201"/>
                  <a:gd name="T14" fmla="*/ 1 w 199"/>
                  <a:gd name="T15" fmla="*/ 121 h 201"/>
                  <a:gd name="T16" fmla="*/ 0 w 199"/>
                  <a:gd name="T17" fmla="*/ 100 h 201"/>
                  <a:gd name="T18" fmla="*/ 0 w 199"/>
                  <a:gd name="T19" fmla="*/ 91 h 201"/>
                  <a:gd name="T20" fmla="*/ 4 w 199"/>
                  <a:gd name="T21" fmla="*/ 71 h 201"/>
                  <a:gd name="T22" fmla="*/ 12 w 199"/>
                  <a:gd name="T23" fmla="*/ 54 h 201"/>
                  <a:gd name="T24" fmla="*/ 22 w 199"/>
                  <a:gd name="T25" fmla="*/ 38 h 201"/>
                  <a:gd name="T26" fmla="*/ 36 w 199"/>
                  <a:gd name="T27" fmla="*/ 24 h 201"/>
                  <a:gd name="T28" fmla="*/ 52 w 199"/>
                  <a:gd name="T29" fmla="*/ 12 h 201"/>
                  <a:gd name="T30" fmla="*/ 69 w 199"/>
                  <a:gd name="T31" fmla="*/ 6 h 201"/>
                  <a:gd name="T32" fmla="*/ 89 w 199"/>
                  <a:gd name="T33" fmla="*/ 2 h 201"/>
                  <a:gd name="T34" fmla="*/ 98 w 199"/>
                  <a:gd name="T35" fmla="*/ 0 h 201"/>
                  <a:gd name="T36" fmla="*/ 118 w 199"/>
                  <a:gd name="T37" fmla="*/ 3 h 201"/>
                  <a:gd name="T38" fmla="*/ 137 w 199"/>
                  <a:gd name="T39" fmla="*/ 8 h 201"/>
                  <a:gd name="T40" fmla="*/ 155 w 199"/>
                  <a:gd name="T41" fmla="*/ 18 h 201"/>
                  <a:gd name="T42" fmla="*/ 169 w 199"/>
                  <a:gd name="T43" fmla="*/ 30 h 201"/>
                  <a:gd name="T44" fmla="*/ 181 w 199"/>
                  <a:gd name="T45" fmla="*/ 44 h 201"/>
                  <a:gd name="T46" fmla="*/ 191 w 199"/>
                  <a:gd name="T47" fmla="*/ 62 h 201"/>
                  <a:gd name="T48" fmla="*/ 196 w 199"/>
                  <a:gd name="T49" fmla="*/ 80 h 201"/>
                  <a:gd name="T50" fmla="*/ 199 w 199"/>
                  <a:gd name="T51" fmla="*/ 100 h 201"/>
                  <a:gd name="T52" fmla="*/ 197 w 199"/>
                  <a:gd name="T53" fmla="*/ 111 h 201"/>
                  <a:gd name="T54" fmla="*/ 193 w 199"/>
                  <a:gd name="T55" fmla="*/ 130 h 201"/>
                  <a:gd name="T56" fmla="*/ 187 w 199"/>
                  <a:gd name="T57" fmla="*/ 149 h 201"/>
                  <a:gd name="T58" fmla="*/ 176 w 199"/>
                  <a:gd name="T59" fmla="*/ 165 h 201"/>
                  <a:gd name="T60" fmla="*/ 163 w 199"/>
                  <a:gd name="T61" fmla="*/ 178 h 201"/>
                  <a:gd name="T62" fmla="*/ 147 w 199"/>
                  <a:gd name="T63" fmla="*/ 189 h 201"/>
                  <a:gd name="T64" fmla="*/ 128 w 199"/>
                  <a:gd name="T65" fmla="*/ 195 h 201"/>
                  <a:gd name="T66" fmla="*/ 109 w 199"/>
                  <a:gd name="T67" fmla="*/ 199 h 201"/>
                  <a:gd name="T68" fmla="*/ 98 w 199"/>
                  <a:gd name="T69" fmla="*/ 201 h 201"/>
                  <a:gd name="T70" fmla="*/ 98 w 199"/>
                  <a:gd name="T71" fmla="*/ 26 h 201"/>
                  <a:gd name="T72" fmla="*/ 69 w 199"/>
                  <a:gd name="T73" fmla="*/ 31 h 201"/>
                  <a:gd name="T74" fmla="*/ 45 w 199"/>
                  <a:gd name="T75" fmla="*/ 47 h 201"/>
                  <a:gd name="T76" fmla="*/ 29 w 199"/>
                  <a:gd name="T77" fmla="*/ 71 h 201"/>
                  <a:gd name="T78" fmla="*/ 24 w 199"/>
                  <a:gd name="T79" fmla="*/ 100 h 201"/>
                  <a:gd name="T80" fmla="*/ 25 w 199"/>
                  <a:gd name="T81" fmla="*/ 115 h 201"/>
                  <a:gd name="T82" fmla="*/ 36 w 199"/>
                  <a:gd name="T83" fmla="*/ 143 h 201"/>
                  <a:gd name="T84" fmla="*/ 57 w 199"/>
                  <a:gd name="T85" fmla="*/ 163 h 201"/>
                  <a:gd name="T86" fmla="*/ 84 w 199"/>
                  <a:gd name="T87" fmla="*/ 174 h 201"/>
                  <a:gd name="T88" fmla="*/ 98 w 199"/>
                  <a:gd name="T89" fmla="*/ 177 h 201"/>
                  <a:gd name="T90" fmla="*/ 128 w 199"/>
                  <a:gd name="T91" fmla="*/ 170 h 201"/>
                  <a:gd name="T92" fmla="*/ 152 w 199"/>
                  <a:gd name="T93" fmla="*/ 154 h 201"/>
                  <a:gd name="T94" fmla="*/ 168 w 199"/>
                  <a:gd name="T95" fmla="*/ 130 h 201"/>
                  <a:gd name="T96" fmla="*/ 175 w 199"/>
                  <a:gd name="T97" fmla="*/ 100 h 201"/>
                  <a:gd name="T98" fmla="*/ 172 w 199"/>
                  <a:gd name="T99" fmla="*/ 86 h 201"/>
                  <a:gd name="T100" fmla="*/ 161 w 199"/>
                  <a:gd name="T101" fmla="*/ 59 h 201"/>
                  <a:gd name="T102" fmla="*/ 141 w 199"/>
                  <a:gd name="T103" fmla="*/ 38 h 201"/>
                  <a:gd name="T104" fmla="*/ 114 w 199"/>
                  <a:gd name="T105" fmla="*/ 27 h 201"/>
                  <a:gd name="T106" fmla="*/ 98 w 199"/>
                  <a:gd name="T107" fmla="*/ 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9" h="201">
                    <a:moveTo>
                      <a:pt x="98" y="201"/>
                    </a:moveTo>
                    <a:lnTo>
                      <a:pt x="98" y="201"/>
                    </a:lnTo>
                    <a:lnTo>
                      <a:pt x="89" y="199"/>
                    </a:lnTo>
                    <a:lnTo>
                      <a:pt x="78" y="198"/>
                    </a:lnTo>
                    <a:lnTo>
                      <a:pt x="69" y="195"/>
                    </a:lnTo>
                    <a:lnTo>
                      <a:pt x="60" y="193"/>
                    </a:lnTo>
                    <a:lnTo>
                      <a:pt x="52" y="189"/>
                    </a:lnTo>
                    <a:lnTo>
                      <a:pt x="42" y="183"/>
                    </a:lnTo>
                    <a:lnTo>
                      <a:pt x="36" y="178"/>
                    </a:lnTo>
                    <a:lnTo>
                      <a:pt x="28" y="171"/>
                    </a:lnTo>
                    <a:lnTo>
                      <a:pt x="22" y="165"/>
                    </a:lnTo>
                    <a:lnTo>
                      <a:pt x="16" y="157"/>
                    </a:lnTo>
                    <a:lnTo>
                      <a:pt x="12" y="149"/>
                    </a:lnTo>
                    <a:lnTo>
                      <a:pt x="6" y="139"/>
                    </a:lnTo>
                    <a:lnTo>
                      <a:pt x="4" y="130"/>
                    </a:lnTo>
                    <a:lnTo>
                      <a:pt x="1" y="121"/>
                    </a:lnTo>
                    <a:lnTo>
                      <a:pt x="0" y="111"/>
                    </a:lnTo>
                    <a:lnTo>
                      <a:pt x="0" y="100"/>
                    </a:lnTo>
                    <a:lnTo>
                      <a:pt x="0" y="100"/>
                    </a:lnTo>
                    <a:lnTo>
                      <a:pt x="0" y="91"/>
                    </a:lnTo>
                    <a:lnTo>
                      <a:pt x="1" y="80"/>
                    </a:lnTo>
                    <a:lnTo>
                      <a:pt x="4" y="71"/>
                    </a:lnTo>
                    <a:lnTo>
                      <a:pt x="6" y="62"/>
                    </a:lnTo>
                    <a:lnTo>
                      <a:pt x="12" y="54"/>
                    </a:lnTo>
                    <a:lnTo>
                      <a:pt x="16" y="44"/>
                    </a:lnTo>
                    <a:lnTo>
                      <a:pt x="22" y="38"/>
                    </a:lnTo>
                    <a:lnTo>
                      <a:pt x="28" y="30"/>
                    </a:lnTo>
                    <a:lnTo>
                      <a:pt x="36" y="24"/>
                    </a:lnTo>
                    <a:lnTo>
                      <a:pt x="42" y="18"/>
                    </a:lnTo>
                    <a:lnTo>
                      <a:pt x="52" y="12"/>
                    </a:lnTo>
                    <a:lnTo>
                      <a:pt x="60" y="8"/>
                    </a:lnTo>
                    <a:lnTo>
                      <a:pt x="69" y="6"/>
                    </a:lnTo>
                    <a:lnTo>
                      <a:pt x="78" y="3"/>
                    </a:lnTo>
                    <a:lnTo>
                      <a:pt x="89" y="2"/>
                    </a:lnTo>
                    <a:lnTo>
                      <a:pt x="98" y="0"/>
                    </a:lnTo>
                    <a:lnTo>
                      <a:pt x="98" y="0"/>
                    </a:lnTo>
                    <a:lnTo>
                      <a:pt x="109" y="2"/>
                    </a:lnTo>
                    <a:lnTo>
                      <a:pt x="118" y="3"/>
                    </a:lnTo>
                    <a:lnTo>
                      <a:pt x="128" y="6"/>
                    </a:lnTo>
                    <a:lnTo>
                      <a:pt x="137" y="8"/>
                    </a:lnTo>
                    <a:lnTo>
                      <a:pt x="147" y="12"/>
                    </a:lnTo>
                    <a:lnTo>
                      <a:pt x="155" y="18"/>
                    </a:lnTo>
                    <a:lnTo>
                      <a:pt x="163" y="24"/>
                    </a:lnTo>
                    <a:lnTo>
                      <a:pt x="169" y="30"/>
                    </a:lnTo>
                    <a:lnTo>
                      <a:pt x="176" y="38"/>
                    </a:lnTo>
                    <a:lnTo>
                      <a:pt x="181" y="44"/>
                    </a:lnTo>
                    <a:lnTo>
                      <a:pt x="187" y="54"/>
                    </a:lnTo>
                    <a:lnTo>
                      <a:pt x="191" y="62"/>
                    </a:lnTo>
                    <a:lnTo>
                      <a:pt x="193" y="71"/>
                    </a:lnTo>
                    <a:lnTo>
                      <a:pt x="196" y="80"/>
                    </a:lnTo>
                    <a:lnTo>
                      <a:pt x="197" y="91"/>
                    </a:lnTo>
                    <a:lnTo>
                      <a:pt x="199" y="100"/>
                    </a:lnTo>
                    <a:lnTo>
                      <a:pt x="199" y="100"/>
                    </a:lnTo>
                    <a:lnTo>
                      <a:pt x="197" y="111"/>
                    </a:lnTo>
                    <a:lnTo>
                      <a:pt x="196" y="121"/>
                    </a:lnTo>
                    <a:lnTo>
                      <a:pt x="193" y="130"/>
                    </a:lnTo>
                    <a:lnTo>
                      <a:pt x="191" y="139"/>
                    </a:lnTo>
                    <a:lnTo>
                      <a:pt x="187" y="149"/>
                    </a:lnTo>
                    <a:lnTo>
                      <a:pt x="181" y="157"/>
                    </a:lnTo>
                    <a:lnTo>
                      <a:pt x="176" y="165"/>
                    </a:lnTo>
                    <a:lnTo>
                      <a:pt x="169" y="171"/>
                    </a:lnTo>
                    <a:lnTo>
                      <a:pt x="163" y="178"/>
                    </a:lnTo>
                    <a:lnTo>
                      <a:pt x="155" y="183"/>
                    </a:lnTo>
                    <a:lnTo>
                      <a:pt x="147" y="189"/>
                    </a:lnTo>
                    <a:lnTo>
                      <a:pt x="137" y="193"/>
                    </a:lnTo>
                    <a:lnTo>
                      <a:pt x="128" y="195"/>
                    </a:lnTo>
                    <a:lnTo>
                      <a:pt x="118" y="198"/>
                    </a:lnTo>
                    <a:lnTo>
                      <a:pt x="109" y="199"/>
                    </a:lnTo>
                    <a:lnTo>
                      <a:pt x="98" y="201"/>
                    </a:lnTo>
                    <a:lnTo>
                      <a:pt x="98" y="201"/>
                    </a:lnTo>
                    <a:close/>
                    <a:moveTo>
                      <a:pt x="98" y="26"/>
                    </a:moveTo>
                    <a:lnTo>
                      <a:pt x="98" y="26"/>
                    </a:lnTo>
                    <a:lnTo>
                      <a:pt x="84" y="27"/>
                    </a:lnTo>
                    <a:lnTo>
                      <a:pt x="69" y="31"/>
                    </a:lnTo>
                    <a:lnTo>
                      <a:pt x="57" y="38"/>
                    </a:lnTo>
                    <a:lnTo>
                      <a:pt x="45" y="47"/>
                    </a:lnTo>
                    <a:lnTo>
                      <a:pt x="36" y="59"/>
                    </a:lnTo>
                    <a:lnTo>
                      <a:pt x="29" y="71"/>
                    </a:lnTo>
                    <a:lnTo>
                      <a:pt x="25" y="86"/>
                    </a:lnTo>
                    <a:lnTo>
                      <a:pt x="24" y="100"/>
                    </a:lnTo>
                    <a:lnTo>
                      <a:pt x="24" y="100"/>
                    </a:lnTo>
                    <a:lnTo>
                      <a:pt x="25" y="115"/>
                    </a:lnTo>
                    <a:lnTo>
                      <a:pt x="29" y="130"/>
                    </a:lnTo>
                    <a:lnTo>
                      <a:pt x="36" y="143"/>
                    </a:lnTo>
                    <a:lnTo>
                      <a:pt x="45" y="154"/>
                    </a:lnTo>
                    <a:lnTo>
                      <a:pt x="57" y="163"/>
                    </a:lnTo>
                    <a:lnTo>
                      <a:pt x="69" y="170"/>
                    </a:lnTo>
                    <a:lnTo>
                      <a:pt x="84" y="174"/>
                    </a:lnTo>
                    <a:lnTo>
                      <a:pt x="98" y="177"/>
                    </a:lnTo>
                    <a:lnTo>
                      <a:pt x="98" y="177"/>
                    </a:lnTo>
                    <a:lnTo>
                      <a:pt x="114" y="174"/>
                    </a:lnTo>
                    <a:lnTo>
                      <a:pt x="128" y="170"/>
                    </a:lnTo>
                    <a:lnTo>
                      <a:pt x="141" y="163"/>
                    </a:lnTo>
                    <a:lnTo>
                      <a:pt x="152" y="154"/>
                    </a:lnTo>
                    <a:lnTo>
                      <a:pt x="161" y="143"/>
                    </a:lnTo>
                    <a:lnTo>
                      <a:pt x="168" y="130"/>
                    </a:lnTo>
                    <a:lnTo>
                      <a:pt x="172" y="115"/>
                    </a:lnTo>
                    <a:lnTo>
                      <a:pt x="175" y="100"/>
                    </a:lnTo>
                    <a:lnTo>
                      <a:pt x="175" y="100"/>
                    </a:lnTo>
                    <a:lnTo>
                      <a:pt x="172" y="86"/>
                    </a:lnTo>
                    <a:lnTo>
                      <a:pt x="168" y="71"/>
                    </a:lnTo>
                    <a:lnTo>
                      <a:pt x="161" y="59"/>
                    </a:lnTo>
                    <a:lnTo>
                      <a:pt x="152" y="47"/>
                    </a:lnTo>
                    <a:lnTo>
                      <a:pt x="141" y="38"/>
                    </a:lnTo>
                    <a:lnTo>
                      <a:pt x="128" y="31"/>
                    </a:lnTo>
                    <a:lnTo>
                      <a:pt x="114" y="27"/>
                    </a:lnTo>
                    <a:lnTo>
                      <a:pt x="98" y="26"/>
                    </a:lnTo>
                    <a:lnTo>
                      <a:pt x="98"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0" name="Freeform 265"/>
              <p:cNvSpPr>
                <a:spLocks noEditPoints="1"/>
              </p:cNvSpPr>
              <p:nvPr/>
            </p:nvSpPr>
            <p:spPr bwMode="auto">
              <a:xfrm>
                <a:off x="3209305" y="5557744"/>
                <a:ext cx="24119" cy="36179"/>
              </a:xfrm>
              <a:custGeom>
                <a:avLst/>
                <a:gdLst>
                  <a:gd name="T0" fmla="*/ 57 w 67"/>
                  <a:gd name="T1" fmla="*/ 83 h 98"/>
                  <a:gd name="T2" fmla="*/ 61 w 67"/>
                  <a:gd name="T3" fmla="*/ 83 h 98"/>
                  <a:gd name="T4" fmla="*/ 64 w 67"/>
                  <a:gd name="T5" fmla="*/ 84 h 98"/>
                  <a:gd name="T6" fmla="*/ 67 w 67"/>
                  <a:gd name="T7" fmla="*/ 90 h 98"/>
                  <a:gd name="T8" fmla="*/ 65 w 67"/>
                  <a:gd name="T9" fmla="*/ 94 h 98"/>
                  <a:gd name="T10" fmla="*/ 64 w 67"/>
                  <a:gd name="T11" fmla="*/ 96 h 98"/>
                  <a:gd name="T12" fmla="*/ 57 w 67"/>
                  <a:gd name="T13" fmla="*/ 98 h 98"/>
                  <a:gd name="T14" fmla="*/ 9 w 67"/>
                  <a:gd name="T15" fmla="*/ 98 h 98"/>
                  <a:gd name="T16" fmla="*/ 1 w 67"/>
                  <a:gd name="T17" fmla="*/ 96 h 98"/>
                  <a:gd name="T18" fmla="*/ 0 w 67"/>
                  <a:gd name="T19" fmla="*/ 94 h 98"/>
                  <a:gd name="T20" fmla="*/ 0 w 67"/>
                  <a:gd name="T21" fmla="*/ 90 h 98"/>
                  <a:gd name="T22" fmla="*/ 1 w 67"/>
                  <a:gd name="T23" fmla="*/ 84 h 98"/>
                  <a:gd name="T24" fmla="*/ 4 w 67"/>
                  <a:gd name="T25" fmla="*/ 83 h 98"/>
                  <a:gd name="T26" fmla="*/ 24 w 67"/>
                  <a:gd name="T27" fmla="*/ 83 h 98"/>
                  <a:gd name="T28" fmla="*/ 16 w 67"/>
                  <a:gd name="T29" fmla="*/ 48 h 98"/>
                  <a:gd name="T30" fmla="*/ 12 w 67"/>
                  <a:gd name="T31" fmla="*/ 47 h 98"/>
                  <a:gd name="T32" fmla="*/ 9 w 67"/>
                  <a:gd name="T33" fmla="*/ 45 h 98"/>
                  <a:gd name="T34" fmla="*/ 6 w 67"/>
                  <a:gd name="T35" fmla="*/ 40 h 98"/>
                  <a:gd name="T36" fmla="*/ 8 w 67"/>
                  <a:gd name="T37" fmla="*/ 36 h 98"/>
                  <a:gd name="T38" fmla="*/ 9 w 67"/>
                  <a:gd name="T39" fmla="*/ 33 h 98"/>
                  <a:gd name="T40" fmla="*/ 16 w 67"/>
                  <a:gd name="T41" fmla="*/ 32 h 98"/>
                  <a:gd name="T42" fmla="*/ 37 w 67"/>
                  <a:gd name="T43" fmla="*/ 32 h 98"/>
                  <a:gd name="T44" fmla="*/ 40 w 67"/>
                  <a:gd name="T45" fmla="*/ 32 h 98"/>
                  <a:gd name="T46" fmla="*/ 41 w 67"/>
                  <a:gd name="T47" fmla="*/ 83 h 98"/>
                  <a:gd name="T48" fmla="*/ 32 w 67"/>
                  <a:gd name="T49" fmla="*/ 0 h 98"/>
                  <a:gd name="T50" fmla="*/ 38 w 67"/>
                  <a:gd name="T51" fmla="*/ 1 h 98"/>
                  <a:gd name="T52" fmla="*/ 40 w 67"/>
                  <a:gd name="T53" fmla="*/ 5 h 98"/>
                  <a:gd name="T54" fmla="*/ 40 w 67"/>
                  <a:gd name="T55" fmla="*/ 11 h 98"/>
                  <a:gd name="T56" fmla="*/ 38 w 67"/>
                  <a:gd name="T57" fmla="*/ 20 h 98"/>
                  <a:gd name="T58" fmla="*/ 36 w 67"/>
                  <a:gd name="T59" fmla="*/ 21 h 98"/>
                  <a:gd name="T60" fmla="*/ 30 w 67"/>
                  <a:gd name="T61" fmla="*/ 21 h 98"/>
                  <a:gd name="T62" fmla="*/ 24 w 67"/>
                  <a:gd name="T63" fmla="*/ 20 h 98"/>
                  <a:gd name="T64" fmla="*/ 22 w 67"/>
                  <a:gd name="T65" fmla="*/ 17 h 98"/>
                  <a:gd name="T66" fmla="*/ 22 w 67"/>
                  <a:gd name="T67" fmla="*/ 13 h 98"/>
                  <a:gd name="T68" fmla="*/ 24 w 67"/>
                  <a:gd name="T69" fmla="*/ 3 h 98"/>
                  <a:gd name="T70" fmla="*/ 26 w 67"/>
                  <a:gd name="T71" fmla="*/ 0 h 98"/>
                  <a:gd name="T72" fmla="*/ 32 w 67"/>
                  <a:gd name="T7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98">
                    <a:moveTo>
                      <a:pt x="41" y="83"/>
                    </a:moveTo>
                    <a:lnTo>
                      <a:pt x="57" y="83"/>
                    </a:lnTo>
                    <a:lnTo>
                      <a:pt x="57" y="83"/>
                    </a:lnTo>
                    <a:lnTo>
                      <a:pt x="61" y="83"/>
                    </a:lnTo>
                    <a:lnTo>
                      <a:pt x="64" y="84"/>
                    </a:lnTo>
                    <a:lnTo>
                      <a:pt x="64" y="84"/>
                    </a:lnTo>
                    <a:lnTo>
                      <a:pt x="65" y="87"/>
                    </a:lnTo>
                    <a:lnTo>
                      <a:pt x="67" y="90"/>
                    </a:lnTo>
                    <a:lnTo>
                      <a:pt x="67" y="90"/>
                    </a:lnTo>
                    <a:lnTo>
                      <a:pt x="65" y="94"/>
                    </a:lnTo>
                    <a:lnTo>
                      <a:pt x="64" y="96"/>
                    </a:lnTo>
                    <a:lnTo>
                      <a:pt x="64" y="96"/>
                    </a:lnTo>
                    <a:lnTo>
                      <a:pt x="61" y="98"/>
                    </a:lnTo>
                    <a:lnTo>
                      <a:pt x="57" y="98"/>
                    </a:lnTo>
                    <a:lnTo>
                      <a:pt x="9" y="98"/>
                    </a:lnTo>
                    <a:lnTo>
                      <a:pt x="9" y="98"/>
                    </a:lnTo>
                    <a:lnTo>
                      <a:pt x="5" y="98"/>
                    </a:lnTo>
                    <a:lnTo>
                      <a:pt x="1" y="96"/>
                    </a:lnTo>
                    <a:lnTo>
                      <a:pt x="1" y="96"/>
                    </a:lnTo>
                    <a:lnTo>
                      <a:pt x="0" y="94"/>
                    </a:lnTo>
                    <a:lnTo>
                      <a:pt x="0" y="90"/>
                    </a:lnTo>
                    <a:lnTo>
                      <a:pt x="0" y="90"/>
                    </a:lnTo>
                    <a:lnTo>
                      <a:pt x="0" y="87"/>
                    </a:lnTo>
                    <a:lnTo>
                      <a:pt x="1" y="84"/>
                    </a:lnTo>
                    <a:lnTo>
                      <a:pt x="1" y="84"/>
                    </a:lnTo>
                    <a:lnTo>
                      <a:pt x="4" y="83"/>
                    </a:lnTo>
                    <a:lnTo>
                      <a:pt x="9" y="83"/>
                    </a:lnTo>
                    <a:lnTo>
                      <a:pt x="24" y="83"/>
                    </a:lnTo>
                    <a:lnTo>
                      <a:pt x="24" y="48"/>
                    </a:lnTo>
                    <a:lnTo>
                      <a:pt x="16" y="48"/>
                    </a:lnTo>
                    <a:lnTo>
                      <a:pt x="16" y="48"/>
                    </a:lnTo>
                    <a:lnTo>
                      <a:pt x="12" y="47"/>
                    </a:lnTo>
                    <a:lnTo>
                      <a:pt x="9" y="45"/>
                    </a:lnTo>
                    <a:lnTo>
                      <a:pt x="9" y="45"/>
                    </a:lnTo>
                    <a:lnTo>
                      <a:pt x="8" y="43"/>
                    </a:lnTo>
                    <a:lnTo>
                      <a:pt x="6" y="40"/>
                    </a:lnTo>
                    <a:lnTo>
                      <a:pt x="6" y="40"/>
                    </a:lnTo>
                    <a:lnTo>
                      <a:pt x="8" y="36"/>
                    </a:lnTo>
                    <a:lnTo>
                      <a:pt x="9" y="33"/>
                    </a:lnTo>
                    <a:lnTo>
                      <a:pt x="9" y="33"/>
                    </a:lnTo>
                    <a:lnTo>
                      <a:pt x="12" y="32"/>
                    </a:lnTo>
                    <a:lnTo>
                      <a:pt x="16" y="32"/>
                    </a:lnTo>
                    <a:lnTo>
                      <a:pt x="37" y="32"/>
                    </a:lnTo>
                    <a:lnTo>
                      <a:pt x="37" y="32"/>
                    </a:lnTo>
                    <a:lnTo>
                      <a:pt x="40" y="32"/>
                    </a:lnTo>
                    <a:lnTo>
                      <a:pt x="40" y="32"/>
                    </a:lnTo>
                    <a:lnTo>
                      <a:pt x="41" y="35"/>
                    </a:lnTo>
                    <a:lnTo>
                      <a:pt x="41" y="83"/>
                    </a:lnTo>
                    <a:close/>
                    <a:moveTo>
                      <a:pt x="32" y="0"/>
                    </a:moveTo>
                    <a:lnTo>
                      <a:pt x="32" y="0"/>
                    </a:lnTo>
                    <a:lnTo>
                      <a:pt x="36" y="0"/>
                    </a:lnTo>
                    <a:lnTo>
                      <a:pt x="38" y="1"/>
                    </a:lnTo>
                    <a:lnTo>
                      <a:pt x="38" y="1"/>
                    </a:lnTo>
                    <a:lnTo>
                      <a:pt x="40" y="5"/>
                    </a:lnTo>
                    <a:lnTo>
                      <a:pt x="40" y="11"/>
                    </a:lnTo>
                    <a:lnTo>
                      <a:pt x="40" y="11"/>
                    </a:lnTo>
                    <a:lnTo>
                      <a:pt x="40" y="17"/>
                    </a:lnTo>
                    <a:lnTo>
                      <a:pt x="38" y="20"/>
                    </a:lnTo>
                    <a:lnTo>
                      <a:pt x="38" y="20"/>
                    </a:lnTo>
                    <a:lnTo>
                      <a:pt x="36" y="21"/>
                    </a:lnTo>
                    <a:lnTo>
                      <a:pt x="30" y="21"/>
                    </a:lnTo>
                    <a:lnTo>
                      <a:pt x="30" y="21"/>
                    </a:lnTo>
                    <a:lnTo>
                      <a:pt x="26" y="21"/>
                    </a:lnTo>
                    <a:lnTo>
                      <a:pt x="24" y="20"/>
                    </a:lnTo>
                    <a:lnTo>
                      <a:pt x="24" y="20"/>
                    </a:lnTo>
                    <a:lnTo>
                      <a:pt x="22" y="17"/>
                    </a:lnTo>
                    <a:lnTo>
                      <a:pt x="22" y="13"/>
                    </a:lnTo>
                    <a:lnTo>
                      <a:pt x="22" y="13"/>
                    </a:lnTo>
                    <a:lnTo>
                      <a:pt x="22" y="7"/>
                    </a:lnTo>
                    <a:lnTo>
                      <a:pt x="24" y="3"/>
                    </a:lnTo>
                    <a:lnTo>
                      <a:pt x="24" y="3"/>
                    </a:lnTo>
                    <a:lnTo>
                      <a:pt x="26" y="0"/>
                    </a:lnTo>
                    <a:lnTo>
                      <a:pt x="32" y="0"/>
                    </a:ln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1" name="Freeform 266"/>
              <p:cNvSpPr>
                <a:spLocks/>
              </p:cNvSpPr>
              <p:nvPr/>
            </p:nvSpPr>
            <p:spPr bwMode="auto">
              <a:xfrm>
                <a:off x="2570150" y="5553358"/>
                <a:ext cx="33986" cy="41660"/>
              </a:xfrm>
              <a:custGeom>
                <a:avLst/>
                <a:gdLst>
                  <a:gd name="T0" fmla="*/ 60 w 93"/>
                  <a:gd name="T1" fmla="*/ 113 h 113"/>
                  <a:gd name="T2" fmla="*/ 28 w 93"/>
                  <a:gd name="T3" fmla="*/ 44 h 113"/>
                  <a:gd name="T4" fmla="*/ 26 w 93"/>
                  <a:gd name="T5" fmla="*/ 44 h 113"/>
                  <a:gd name="T6" fmla="*/ 28 w 93"/>
                  <a:gd name="T7" fmla="*/ 113 h 113"/>
                  <a:gd name="T8" fmla="*/ 0 w 93"/>
                  <a:gd name="T9" fmla="*/ 113 h 113"/>
                  <a:gd name="T10" fmla="*/ 0 w 93"/>
                  <a:gd name="T11" fmla="*/ 0 h 113"/>
                  <a:gd name="T12" fmla="*/ 34 w 93"/>
                  <a:gd name="T13" fmla="*/ 0 h 113"/>
                  <a:gd name="T14" fmla="*/ 67 w 93"/>
                  <a:gd name="T15" fmla="*/ 70 h 113"/>
                  <a:gd name="T16" fmla="*/ 67 w 93"/>
                  <a:gd name="T17" fmla="*/ 70 h 113"/>
                  <a:gd name="T18" fmla="*/ 67 w 93"/>
                  <a:gd name="T19" fmla="*/ 0 h 113"/>
                  <a:gd name="T20" fmla="*/ 93 w 93"/>
                  <a:gd name="T21" fmla="*/ 0 h 113"/>
                  <a:gd name="T22" fmla="*/ 93 w 93"/>
                  <a:gd name="T23" fmla="*/ 113 h 113"/>
                  <a:gd name="T24" fmla="*/ 60 w 93"/>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13">
                    <a:moveTo>
                      <a:pt x="60" y="113"/>
                    </a:moveTo>
                    <a:lnTo>
                      <a:pt x="28" y="44"/>
                    </a:lnTo>
                    <a:lnTo>
                      <a:pt x="26" y="44"/>
                    </a:lnTo>
                    <a:lnTo>
                      <a:pt x="28" y="113"/>
                    </a:lnTo>
                    <a:lnTo>
                      <a:pt x="0" y="113"/>
                    </a:lnTo>
                    <a:lnTo>
                      <a:pt x="0" y="0"/>
                    </a:lnTo>
                    <a:lnTo>
                      <a:pt x="34" y="0"/>
                    </a:lnTo>
                    <a:lnTo>
                      <a:pt x="67" y="70"/>
                    </a:lnTo>
                    <a:lnTo>
                      <a:pt x="67" y="70"/>
                    </a:lnTo>
                    <a:lnTo>
                      <a:pt x="67" y="0"/>
                    </a:lnTo>
                    <a:lnTo>
                      <a:pt x="93" y="0"/>
                    </a:lnTo>
                    <a:lnTo>
                      <a:pt x="93" y="113"/>
                    </a:lnTo>
                    <a:lnTo>
                      <a:pt x="6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2" name="Freeform 267"/>
              <p:cNvSpPr>
                <a:spLocks noEditPoints="1"/>
              </p:cNvSpPr>
              <p:nvPr/>
            </p:nvSpPr>
            <p:spPr bwMode="auto">
              <a:xfrm>
                <a:off x="2611810" y="5553358"/>
                <a:ext cx="39467" cy="42757"/>
              </a:xfrm>
              <a:custGeom>
                <a:avLst/>
                <a:gdLst>
                  <a:gd name="T0" fmla="*/ 108 w 108"/>
                  <a:gd name="T1" fmla="*/ 58 h 119"/>
                  <a:gd name="T2" fmla="*/ 104 w 108"/>
                  <a:gd name="T3" fmla="*/ 83 h 119"/>
                  <a:gd name="T4" fmla="*/ 99 w 108"/>
                  <a:gd name="T5" fmla="*/ 93 h 119"/>
                  <a:gd name="T6" fmla="*/ 94 w 108"/>
                  <a:gd name="T7" fmla="*/ 101 h 119"/>
                  <a:gd name="T8" fmla="*/ 76 w 108"/>
                  <a:gd name="T9" fmla="*/ 113 h 119"/>
                  <a:gd name="T10" fmla="*/ 66 w 108"/>
                  <a:gd name="T11" fmla="*/ 117 h 119"/>
                  <a:gd name="T12" fmla="*/ 53 w 108"/>
                  <a:gd name="T13" fmla="*/ 119 h 119"/>
                  <a:gd name="T14" fmla="*/ 32 w 108"/>
                  <a:gd name="T15" fmla="*/ 113 h 119"/>
                  <a:gd name="T16" fmla="*/ 23 w 108"/>
                  <a:gd name="T17" fmla="*/ 108 h 119"/>
                  <a:gd name="T18" fmla="*/ 15 w 108"/>
                  <a:gd name="T19" fmla="*/ 101 h 119"/>
                  <a:gd name="T20" fmla="*/ 4 w 108"/>
                  <a:gd name="T21" fmla="*/ 83 h 119"/>
                  <a:gd name="T22" fmla="*/ 1 w 108"/>
                  <a:gd name="T23" fmla="*/ 72 h 119"/>
                  <a:gd name="T24" fmla="*/ 0 w 108"/>
                  <a:gd name="T25" fmla="*/ 58 h 119"/>
                  <a:gd name="T26" fmla="*/ 4 w 108"/>
                  <a:gd name="T27" fmla="*/ 34 h 119"/>
                  <a:gd name="T28" fmla="*/ 8 w 108"/>
                  <a:gd name="T29" fmla="*/ 24 h 119"/>
                  <a:gd name="T30" fmla="*/ 15 w 108"/>
                  <a:gd name="T31" fmla="*/ 16 h 119"/>
                  <a:gd name="T32" fmla="*/ 32 w 108"/>
                  <a:gd name="T33" fmla="*/ 4 h 119"/>
                  <a:gd name="T34" fmla="*/ 43 w 108"/>
                  <a:gd name="T35" fmla="*/ 1 h 119"/>
                  <a:gd name="T36" fmla="*/ 53 w 108"/>
                  <a:gd name="T37" fmla="*/ 0 h 119"/>
                  <a:gd name="T38" fmla="*/ 76 w 108"/>
                  <a:gd name="T39" fmla="*/ 4 h 119"/>
                  <a:gd name="T40" fmla="*/ 86 w 108"/>
                  <a:gd name="T41" fmla="*/ 9 h 119"/>
                  <a:gd name="T42" fmla="*/ 94 w 108"/>
                  <a:gd name="T43" fmla="*/ 16 h 119"/>
                  <a:gd name="T44" fmla="*/ 104 w 108"/>
                  <a:gd name="T45" fmla="*/ 34 h 119"/>
                  <a:gd name="T46" fmla="*/ 107 w 108"/>
                  <a:gd name="T47" fmla="*/ 46 h 119"/>
                  <a:gd name="T48" fmla="*/ 108 w 108"/>
                  <a:gd name="T49" fmla="*/ 58 h 119"/>
                  <a:gd name="T50" fmla="*/ 75 w 108"/>
                  <a:gd name="T51" fmla="*/ 58 h 119"/>
                  <a:gd name="T52" fmla="*/ 74 w 108"/>
                  <a:gd name="T53" fmla="*/ 45 h 119"/>
                  <a:gd name="T54" fmla="*/ 70 w 108"/>
                  <a:gd name="T55" fmla="*/ 34 h 119"/>
                  <a:gd name="T56" fmla="*/ 67 w 108"/>
                  <a:gd name="T57" fmla="*/ 30 h 119"/>
                  <a:gd name="T58" fmla="*/ 63 w 108"/>
                  <a:gd name="T59" fmla="*/ 26 h 119"/>
                  <a:gd name="T60" fmla="*/ 53 w 108"/>
                  <a:gd name="T61" fmla="*/ 24 h 119"/>
                  <a:gd name="T62" fmla="*/ 49 w 108"/>
                  <a:gd name="T63" fmla="*/ 25 h 119"/>
                  <a:gd name="T64" fmla="*/ 45 w 108"/>
                  <a:gd name="T65" fmla="*/ 26 h 119"/>
                  <a:gd name="T66" fmla="*/ 37 w 108"/>
                  <a:gd name="T67" fmla="*/ 34 h 119"/>
                  <a:gd name="T68" fmla="*/ 36 w 108"/>
                  <a:gd name="T69" fmla="*/ 40 h 119"/>
                  <a:gd name="T70" fmla="*/ 35 w 108"/>
                  <a:gd name="T71" fmla="*/ 45 h 119"/>
                  <a:gd name="T72" fmla="*/ 33 w 108"/>
                  <a:gd name="T73" fmla="*/ 58 h 119"/>
                  <a:gd name="T74" fmla="*/ 35 w 108"/>
                  <a:gd name="T75" fmla="*/ 72 h 119"/>
                  <a:gd name="T76" fmla="*/ 37 w 108"/>
                  <a:gd name="T77" fmla="*/ 83 h 119"/>
                  <a:gd name="T78" fmla="*/ 41 w 108"/>
                  <a:gd name="T79" fmla="*/ 88 h 119"/>
                  <a:gd name="T80" fmla="*/ 45 w 108"/>
                  <a:gd name="T81" fmla="*/ 91 h 119"/>
                  <a:gd name="T82" fmla="*/ 53 w 108"/>
                  <a:gd name="T83" fmla="*/ 93 h 119"/>
                  <a:gd name="T84" fmla="*/ 59 w 108"/>
                  <a:gd name="T85" fmla="*/ 92 h 119"/>
                  <a:gd name="T86" fmla="*/ 63 w 108"/>
                  <a:gd name="T87" fmla="*/ 91 h 119"/>
                  <a:gd name="T88" fmla="*/ 70 w 108"/>
                  <a:gd name="T89" fmla="*/ 83 h 119"/>
                  <a:gd name="T90" fmla="*/ 72 w 108"/>
                  <a:gd name="T91" fmla="*/ 79 h 119"/>
                  <a:gd name="T92" fmla="*/ 74 w 108"/>
                  <a:gd name="T93" fmla="*/ 72 h 119"/>
                  <a:gd name="T94" fmla="*/ 75 w 108"/>
                  <a:gd name="T9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 h="119">
                    <a:moveTo>
                      <a:pt x="108" y="58"/>
                    </a:moveTo>
                    <a:lnTo>
                      <a:pt x="108" y="58"/>
                    </a:lnTo>
                    <a:lnTo>
                      <a:pt x="107" y="72"/>
                    </a:lnTo>
                    <a:lnTo>
                      <a:pt x="104" y="83"/>
                    </a:lnTo>
                    <a:lnTo>
                      <a:pt x="104" y="83"/>
                    </a:lnTo>
                    <a:lnTo>
                      <a:pt x="99" y="93"/>
                    </a:lnTo>
                    <a:lnTo>
                      <a:pt x="94" y="101"/>
                    </a:lnTo>
                    <a:lnTo>
                      <a:pt x="94" y="101"/>
                    </a:lnTo>
                    <a:lnTo>
                      <a:pt x="86" y="108"/>
                    </a:lnTo>
                    <a:lnTo>
                      <a:pt x="76" y="113"/>
                    </a:lnTo>
                    <a:lnTo>
                      <a:pt x="76" y="113"/>
                    </a:lnTo>
                    <a:lnTo>
                      <a:pt x="66" y="117"/>
                    </a:lnTo>
                    <a:lnTo>
                      <a:pt x="53" y="119"/>
                    </a:lnTo>
                    <a:lnTo>
                      <a:pt x="53" y="119"/>
                    </a:lnTo>
                    <a:lnTo>
                      <a:pt x="43" y="117"/>
                    </a:lnTo>
                    <a:lnTo>
                      <a:pt x="32" y="113"/>
                    </a:lnTo>
                    <a:lnTo>
                      <a:pt x="32" y="113"/>
                    </a:lnTo>
                    <a:lnTo>
                      <a:pt x="23" y="108"/>
                    </a:lnTo>
                    <a:lnTo>
                      <a:pt x="15" y="101"/>
                    </a:lnTo>
                    <a:lnTo>
                      <a:pt x="15" y="101"/>
                    </a:lnTo>
                    <a:lnTo>
                      <a:pt x="9" y="93"/>
                    </a:lnTo>
                    <a:lnTo>
                      <a:pt x="4" y="83"/>
                    </a:lnTo>
                    <a:lnTo>
                      <a:pt x="4" y="83"/>
                    </a:lnTo>
                    <a:lnTo>
                      <a:pt x="1" y="72"/>
                    </a:lnTo>
                    <a:lnTo>
                      <a:pt x="0" y="58"/>
                    </a:lnTo>
                    <a:lnTo>
                      <a:pt x="0" y="58"/>
                    </a:lnTo>
                    <a:lnTo>
                      <a:pt x="1" y="46"/>
                    </a:lnTo>
                    <a:lnTo>
                      <a:pt x="4" y="34"/>
                    </a:lnTo>
                    <a:lnTo>
                      <a:pt x="4" y="34"/>
                    </a:lnTo>
                    <a:lnTo>
                      <a:pt x="8" y="24"/>
                    </a:lnTo>
                    <a:lnTo>
                      <a:pt x="15" y="16"/>
                    </a:lnTo>
                    <a:lnTo>
                      <a:pt x="15" y="16"/>
                    </a:lnTo>
                    <a:lnTo>
                      <a:pt x="23" y="9"/>
                    </a:lnTo>
                    <a:lnTo>
                      <a:pt x="32" y="4"/>
                    </a:lnTo>
                    <a:lnTo>
                      <a:pt x="32" y="4"/>
                    </a:lnTo>
                    <a:lnTo>
                      <a:pt x="43" y="1"/>
                    </a:lnTo>
                    <a:lnTo>
                      <a:pt x="53" y="0"/>
                    </a:lnTo>
                    <a:lnTo>
                      <a:pt x="53" y="0"/>
                    </a:lnTo>
                    <a:lnTo>
                      <a:pt x="66" y="1"/>
                    </a:lnTo>
                    <a:lnTo>
                      <a:pt x="76" y="4"/>
                    </a:lnTo>
                    <a:lnTo>
                      <a:pt x="76" y="4"/>
                    </a:lnTo>
                    <a:lnTo>
                      <a:pt x="86" y="9"/>
                    </a:lnTo>
                    <a:lnTo>
                      <a:pt x="94" y="16"/>
                    </a:lnTo>
                    <a:lnTo>
                      <a:pt x="94" y="16"/>
                    </a:lnTo>
                    <a:lnTo>
                      <a:pt x="99" y="24"/>
                    </a:lnTo>
                    <a:lnTo>
                      <a:pt x="104" y="34"/>
                    </a:lnTo>
                    <a:lnTo>
                      <a:pt x="104" y="34"/>
                    </a:lnTo>
                    <a:lnTo>
                      <a:pt x="107" y="46"/>
                    </a:lnTo>
                    <a:lnTo>
                      <a:pt x="108" y="58"/>
                    </a:lnTo>
                    <a:lnTo>
                      <a:pt x="108" y="58"/>
                    </a:lnTo>
                    <a:close/>
                    <a:moveTo>
                      <a:pt x="75" y="58"/>
                    </a:moveTo>
                    <a:lnTo>
                      <a:pt x="75" y="58"/>
                    </a:lnTo>
                    <a:lnTo>
                      <a:pt x="74" y="45"/>
                    </a:lnTo>
                    <a:lnTo>
                      <a:pt x="74" y="45"/>
                    </a:lnTo>
                    <a:lnTo>
                      <a:pt x="72" y="40"/>
                    </a:lnTo>
                    <a:lnTo>
                      <a:pt x="70" y="34"/>
                    </a:lnTo>
                    <a:lnTo>
                      <a:pt x="70" y="34"/>
                    </a:lnTo>
                    <a:lnTo>
                      <a:pt x="67" y="30"/>
                    </a:lnTo>
                    <a:lnTo>
                      <a:pt x="63" y="26"/>
                    </a:lnTo>
                    <a:lnTo>
                      <a:pt x="63" y="26"/>
                    </a:lnTo>
                    <a:lnTo>
                      <a:pt x="59" y="25"/>
                    </a:lnTo>
                    <a:lnTo>
                      <a:pt x="53" y="24"/>
                    </a:lnTo>
                    <a:lnTo>
                      <a:pt x="53" y="24"/>
                    </a:lnTo>
                    <a:lnTo>
                      <a:pt x="49" y="25"/>
                    </a:lnTo>
                    <a:lnTo>
                      <a:pt x="45" y="26"/>
                    </a:lnTo>
                    <a:lnTo>
                      <a:pt x="45" y="26"/>
                    </a:lnTo>
                    <a:lnTo>
                      <a:pt x="41" y="30"/>
                    </a:lnTo>
                    <a:lnTo>
                      <a:pt x="37" y="34"/>
                    </a:lnTo>
                    <a:lnTo>
                      <a:pt x="37" y="34"/>
                    </a:lnTo>
                    <a:lnTo>
                      <a:pt x="36" y="40"/>
                    </a:lnTo>
                    <a:lnTo>
                      <a:pt x="35" y="45"/>
                    </a:lnTo>
                    <a:lnTo>
                      <a:pt x="35" y="45"/>
                    </a:lnTo>
                    <a:lnTo>
                      <a:pt x="33" y="58"/>
                    </a:lnTo>
                    <a:lnTo>
                      <a:pt x="33" y="58"/>
                    </a:lnTo>
                    <a:lnTo>
                      <a:pt x="35" y="72"/>
                    </a:lnTo>
                    <a:lnTo>
                      <a:pt x="35" y="72"/>
                    </a:lnTo>
                    <a:lnTo>
                      <a:pt x="36" y="79"/>
                    </a:lnTo>
                    <a:lnTo>
                      <a:pt x="37" y="83"/>
                    </a:lnTo>
                    <a:lnTo>
                      <a:pt x="37" y="83"/>
                    </a:lnTo>
                    <a:lnTo>
                      <a:pt x="41" y="88"/>
                    </a:lnTo>
                    <a:lnTo>
                      <a:pt x="45" y="91"/>
                    </a:lnTo>
                    <a:lnTo>
                      <a:pt x="45" y="91"/>
                    </a:lnTo>
                    <a:lnTo>
                      <a:pt x="49" y="92"/>
                    </a:lnTo>
                    <a:lnTo>
                      <a:pt x="53" y="93"/>
                    </a:lnTo>
                    <a:lnTo>
                      <a:pt x="53" y="93"/>
                    </a:lnTo>
                    <a:lnTo>
                      <a:pt x="59" y="92"/>
                    </a:lnTo>
                    <a:lnTo>
                      <a:pt x="63" y="91"/>
                    </a:lnTo>
                    <a:lnTo>
                      <a:pt x="63" y="91"/>
                    </a:lnTo>
                    <a:lnTo>
                      <a:pt x="67" y="88"/>
                    </a:lnTo>
                    <a:lnTo>
                      <a:pt x="70" y="83"/>
                    </a:lnTo>
                    <a:lnTo>
                      <a:pt x="70" y="83"/>
                    </a:lnTo>
                    <a:lnTo>
                      <a:pt x="72" y="79"/>
                    </a:lnTo>
                    <a:lnTo>
                      <a:pt x="74" y="72"/>
                    </a:lnTo>
                    <a:lnTo>
                      <a:pt x="74" y="72"/>
                    </a:lnTo>
                    <a:lnTo>
                      <a:pt x="75" y="58"/>
                    </a:lnTo>
                    <a:lnTo>
                      <a:pt x="75"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3" name="Freeform 268"/>
              <p:cNvSpPr>
                <a:spLocks/>
              </p:cNvSpPr>
              <p:nvPr/>
            </p:nvSpPr>
            <p:spPr bwMode="auto">
              <a:xfrm>
                <a:off x="2653470" y="5553358"/>
                <a:ext cx="57008" cy="41660"/>
              </a:xfrm>
              <a:custGeom>
                <a:avLst/>
                <a:gdLst>
                  <a:gd name="T0" fmla="*/ 127 w 154"/>
                  <a:gd name="T1" fmla="*/ 113 h 113"/>
                  <a:gd name="T2" fmla="*/ 94 w 154"/>
                  <a:gd name="T3" fmla="*/ 113 h 113"/>
                  <a:gd name="T4" fmla="*/ 76 w 154"/>
                  <a:gd name="T5" fmla="*/ 38 h 113"/>
                  <a:gd name="T6" fmla="*/ 76 w 154"/>
                  <a:gd name="T7" fmla="*/ 38 h 113"/>
                  <a:gd name="T8" fmla="*/ 60 w 154"/>
                  <a:gd name="T9" fmla="*/ 113 h 113"/>
                  <a:gd name="T10" fmla="*/ 26 w 154"/>
                  <a:gd name="T11" fmla="*/ 113 h 113"/>
                  <a:gd name="T12" fmla="*/ 0 w 154"/>
                  <a:gd name="T13" fmla="*/ 0 h 113"/>
                  <a:gd name="T14" fmla="*/ 32 w 154"/>
                  <a:gd name="T15" fmla="*/ 0 h 113"/>
                  <a:gd name="T16" fmla="*/ 47 w 154"/>
                  <a:gd name="T17" fmla="*/ 79 h 113"/>
                  <a:gd name="T18" fmla="*/ 47 w 154"/>
                  <a:gd name="T19" fmla="*/ 79 h 113"/>
                  <a:gd name="T20" fmla="*/ 63 w 154"/>
                  <a:gd name="T21" fmla="*/ 0 h 113"/>
                  <a:gd name="T22" fmla="*/ 93 w 154"/>
                  <a:gd name="T23" fmla="*/ 0 h 113"/>
                  <a:gd name="T24" fmla="*/ 109 w 154"/>
                  <a:gd name="T25" fmla="*/ 79 h 113"/>
                  <a:gd name="T26" fmla="*/ 110 w 154"/>
                  <a:gd name="T27" fmla="*/ 79 h 113"/>
                  <a:gd name="T28" fmla="*/ 123 w 154"/>
                  <a:gd name="T29" fmla="*/ 0 h 113"/>
                  <a:gd name="T30" fmla="*/ 154 w 154"/>
                  <a:gd name="T31" fmla="*/ 0 h 113"/>
                  <a:gd name="T32" fmla="*/ 127 w 154"/>
                  <a:gd name="T33"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13">
                    <a:moveTo>
                      <a:pt x="127" y="113"/>
                    </a:moveTo>
                    <a:lnTo>
                      <a:pt x="94" y="113"/>
                    </a:lnTo>
                    <a:lnTo>
                      <a:pt x="76" y="38"/>
                    </a:lnTo>
                    <a:lnTo>
                      <a:pt x="76" y="38"/>
                    </a:lnTo>
                    <a:lnTo>
                      <a:pt x="60" y="113"/>
                    </a:lnTo>
                    <a:lnTo>
                      <a:pt x="26" y="113"/>
                    </a:lnTo>
                    <a:lnTo>
                      <a:pt x="0" y="0"/>
                    </a:lnTo>
                    <a:lnTo>
                      <a:pt x="32" y="0"/>
                    </a:lnTo>
                    <a:lnTo>
                      <a:pt x="47" y="79"/>
                    </a:lnTo>
                    <a:lnTo>
                      <a:pt x="47" y="79"/>
                    </a:lnTo>
                    <a:lnTo>
                      <a:pt x="63" y="0"/>
                    </a:lnTo>
                    <a:lnTo>
                      <a:pt x="93" y="0"/>
                    </a:lnTo>
                    <a:lnTo>
                      <a:pt x="109" y="79"/>
                    </a:lnTo>
                    <a:lnTo>
                      <a:pt x="110" y="79"/>
                    </a:lnTo>
                    <a:lnTo>
                      <a:pt x="123" y="0"/>
                    </a:lnTo>
                    <a:lnTo>
                      <a:pt x="154" y="0"/>
                    </a:lnTo>
                    <a:lnTo>
                      <a:pt x="127"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4" name="Freeform 269"/>
              <p:cNvSpPr>
                <a:spLocks noEditPoints="1"/>
              </p:cNvSpPr>
              <p:nvPr/>
            </p:nvSpPr>
            <p:spPr bwMode="auto">
              <a:xfrm>
                <a:off x="2722539" y="5553358"/>
                <a:ext cx="39467" cy="41660"/>
              </a:xfrm>
              <a:custGeom>
                <a:avLst/>
                <a:gdLst>
                  <a:gd name="T0" fmla="*/ 75 w 107"/>
                  <a:gd name="T1" fmla="*/ 113 h 113"/>
                  <a:gd name="T2" fmla="*/ 69 w 107"/>
                  <a:gd name="T3" fmla="*/ 93 h 113"/>
                  <a:gd name="T4" fmla="*/ 37 w 107"/>
                  <a:gd name="T5" fmla="*/ 93 h 113"/>
                  <a:gd name="T6" fmla="*/ 32 w 107"/>
                  <a:gd name="T7" fmla="*/ 113 h 113"/>
                  <a:gd name="T8" fmla="*/ 0 w 107"/>
                  <a:gd name="T9" fmla="*/ 113 h 113"/>
                  <a:gd name="T10" fmla="*/ 35 w 107"/>
                  <a:gd name="T11" fmla="*/ 0 h 113"/>
                  <a:gd name="T12" fmla="*/ 73 w 107"/>
                  <a:gd name="T13" fmla="*/ 0 h 113"/>
                  <a:gd name="T14" fmla="*/ 107 w 107"/>
                  <a:gd name="T15" fmla="*/ 113 h 113"/>
                  <a:gd name="T16" fmla="*/ 75 w 107"/>
                  <a:gd name="T17" fmla="*/ 113 h 113"/>
                  <a:gd name="T18" fmla="*/ 53 w 107"/>
                  <a:gd name="T19" fmla="*/ 26 h 113"/>
                  <a:gd name="T20" fmla="*/ 53 w 107"/>
                  <a:gd name="T21" fmla="*/ 26 h 113"/>
                  <a:gd name="T22" fmla="*/ 41 w 107"/>
                  <a:gd name="T23" fmla="*/ 73 h 113"/>
                  <a:gd name="T24" fmla="*/ 65 w 107"/>
                  <a:gd name="T25" fmla="*/ 73 h 113"/>
                  <a:gd name="T26" fmla="*/ 53 w 107"/>
                  <a:gd name="T27" fmla="*/ 2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113">
                    <a:moveTo>
                      <a:pt x="75" y="113"/>
                    </a:moveTo>
                    <a:lnTo>
                      <a:pt x="69" y="93"/>
                    </a:lnTo>
                    <a:lnTo>
                      <a:pt x="37" y="93"/>
                    </a:lnTo>
                    <a:lnTo>
                      <a:pt x="32" y="113"/>
                    </a:lnTo>
                    <a:lnTo>
                      <a:pt x="0" y="113"/>
                    </a:lnTo>
                    <a:lnTo>
                      <a:pt x="35" y="0"/>
                    </a:lnTo>
                    <a:lnTo>
                      <a:pt x="73" y="0"/>
                    </a:lnTo>
                    <a:lnTo>
                      <a:pt x="107" y="113"/>
                    </a:lnTo>
                    <a:lnTo>
                      <a:pt x="75" y="113"/>
                    </a:lnTo>
                    <a:close/>
                    <a:moveTo>
                      <a:pt x="53" y="26"/>
                    </a:moveTo>
                    <a:lnTo>
                      <a:pt x="53" y="26"/>
                    </a:lnTo>
                    <a:lnTo>
                      <a:pt x="41" y="73"/>
                    </a:lnTo>
                    <a:lnTo>
                      <a:pt x="65" y="73"/>
                    </a:lnTo>
                    <a:lnTo>
                      <a:pt x="5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5" name="Freeform 270"/>
              <p:cNvSpPr>
                <a:spLocks noEditPoints="1"/>
              </p:cNvSpPr>
              <p:nvPr/>
            </p:nvSpPr>
            <p:spPr bwMode="auto">
              <a:xfrm>
                <a:off x="2766391" y="5553358"/>
                <a:ext cx="33986" cy="41660"/>
              </a:xfrm>
              <a:custGeom>
                <a:avLst/>
                <a:gdLst>
                  <a:gd name="T0" fmla="*/ 58 w 91"/>
                  <a:gd name="T1" fmla="*/ 113 h 113"/>
                  <a:gd name="T2" fmla="*/ 39 w 91"/>
                  <a:gd name="T3" fmla="*/ 68 h 113"/>
                  <a:gd name="T4" fmla="*/ 29 w 91"/>
                  <a:gd name="T5" fmla="*/ 68 h 113"/>
                  <a:gd name="T6" fmla="*/ 29 w 91"/>
                  <a:gd name="T7" fmla="*/ 113 h 113"/>
                  <a:gd name="T8" fmla="*/ 0 w 91"/>
                  <a:gd name="T9" fmla="*/ 113 h 113"/>
                  <a:gd name="T10" fmla="*/ 0 w 91"/>
                  <a:gd name="T11" fmla="*/ 0 h 113"/>
                  <a:gd name="T12" fmla="*/ 44 w 91"/>
                  <a:gd name="T13" fmla="*/ 0 h 113"/>
                  <a:gd name="T14" fmla="*/ 44 w 91"/>
                  <a:gd name="T15" fmla="*/ 0 h 113"/>
                  <a:gd name="T16" fmla="*/ 54 w 91"/>
                  <a:gd name="T17" fmla="*/ 2 h 113"/>
                  <a:gd name="T18" fmla="*/ 62 w 91"/>
                  <a:gd name="T19" fmla="*/ 3 h 113"/>
                  <a:gd name="T20" fmla="*/ 70 w 91"/>
                  <a:gd name="T21" fmla="*/ 6 h 113"/>
                  <a:gd name="T22" fmla="*/ 75 w 91"/>
                  <a:gd name="T23" fmla="*/ 10 h 113"/>
                  <a:gd name="T24" fmla="*/ 75 w 91"/>
                  <a:gd name="T25" fmla="*/ 10 h 113"/>
                  <a:gd name="T26" fmla="*/ 80 w 91"/>
                  <a:gd name="T27" fmla="*/ 14 h 113"/>
                  <a:gd name="T28" fmla="*/ 84 w 91"/>
                  <a:gd name="T29" fmla="*/ 20 h 113"/>
                  <a:gd name="T30" fmla="*/ 86 w 91"/>
                  <a:gd name="T31" fmla="*/ 27 h 113"/>
                  <a:gd name="T32" fmla="*/ 87 w 91"/>
                  <a:gd name="T33" fmla="*/ 35 h 113"/>
                  <a:gd name="T34" fmla="*/ 87 w 91"/>
                  <a:gd name="T35" fmla="*/ 35 h 113"/>
                  <a:gd name="T36" fmla="*/ 86 w 91"/>
                  <a:gd name="T37" fmla="*/ 40 h 113"/>
                  <a:gd name="T38" fmla="*/ 86 w 91"/>
                  <a:gd name="T39" fmla="*/ 46 h 113"/>
                  <a:gd name="T40" fmla="*/ 86 w 91"/>
                  <a:gd name="T41" fmla="*/ 46 h 113"/>
                  <a:gd name="T42" fmla="*/ 83 w 91"/>
                  <a:gd name="T43" fmla="*/ 50 h 113"/>
                  <a:gd name="T44" fmla="*/ 80 w 91"/>
                  <a:gd name="T45" fmla="*/ 54 h 113"/>
                  <a:gd name="T46" fmla="*/ 80 w 91"/>
                  <a:gd name="T47" fmla="*/ 54 h 113"/>
                  <a:gd name="T48" fmla="*/ 74 w 91"/>
                  <a:gd name="T49" fmla="*/ 59 h 113"/>
                  <a:gd name="T50" fmla="*/ 74 w 91"/>
                  <a:gd name="T51" fmla="*/ 59 h 113"/>
                  <a:gd name="T52" fmla="*/ 67 w 91"/>
                  <a:gd name="T53" fmla="*/ 63 h 113"/>
                  <a:gd name="T54" fmla="*/ 91 w 91"/>
                  <a:gd name="T55" fmla="*/ 113 h 113"/>
                  <a:gd name="T56" fmla="*/ 58 w 91"/>
                  <a:gd name="T57" fmla="*/ 113 h 113"/>
                  <a:gd name="T58" fmla="*/ 56 w 91"/>
                  <a:gd name="T59" fmla="*/ 36 h 113"/>
                  <a:gd name="T60" fmla="*/ 56 w 91"/>
                  <a:gd name="T61" fmla="*/ 36 h 113"/>
                  <a:gd name="T62" fmla="*/ 55 w 91"/>
                  <a:gd name="T63" fmla="*/ 32 h 113"/>
                  <a:gd name="T64" fmla="*/ 55 w 91"/>
                  <a:gd name="T65" fmla="*/ 28 h 113"/>
                  <a:gd name="T66" fmla="*/ 55 w 91"/>
                  <a:gd name="T67" fmla="*/ 28 h 113"/>
                  <a:gd name="T68" fmla="*/ 51 w 91"/>
                  <a:gd name="T69" fmla="*/ 24 h 113"/>
                  <a:gd name="T70" fmla="*/ 51 w 91"/>
                  <a:gd name="T71" fmla="*/ 24 h 113"/>
                  <a:gd name="T72" fmla="*/ 46 w 91"/>
                  <a:gd name="T73" fmla="*/ 23 h 113"/>
                  <a:gd name="T74" fmla="*/ 46 w 91"/>
                  <a:gd name="T75" fmla="*/ 23 h 113"/>
                  <a:gd name="T76" fmla="*/ 40 w 91"/>
                  <a:gd name="T77" fmla="*/ 22 h 113"/>
                  <a:gd name="T78" fmla="*/ 29 w 91"/>
                  <a:gd name="T79" fmla="*/ 22 h 113"/>
                  <a:gd name="T80" fmla="*/ 29 w 91"/>
                  <a:gd name="T81" fmla="*/ 50 h 113"/>
                  <a:gd name="T82" fmla="*/ 39 w 91"/>
                  <a:gd name="T83" fmla="*/ 50 h 113"/>
                  <a:gd name="T84" fmla="*/ 39 w 91"/>
                  <a:gd name="T85" fmla="*/ 50 h 113"/>
                  <a:gd name="T86" fmla="*/ 46 w 91"/>
                  <a:gd name="T87" fmla="*/ 50 h 113"/>
                  <a:gd name="T88" fmla="*/ 51 w 91"/>
                  <a:gd name="T89" fmla="*/ 47 h 113"/>
                  <a:gd name="T90" fmla="*/ 51 w 91"/>
                  <a:gd name="T91" fmla="*/ 47 h 113"/>
                  <a:gd name="T92" fmla="*/ 54 w 91"/>
                  <a:gd name="T93" fmla="*/ 44 h 113"/>
                  <a:gd name="T94" fmla="*/ 55 w 91"/>
                  <a:gd name="T95" fmla="*/ 43 h 113"/>
                  <a:gd name="T96" fmla="*/ 56 w 91"/>
                  <a:gd name="T97" fmla="*/ 36 h 113"/>
                  <a:gd name="T98" fmla="*/ 56 w 91"/>
                  <a:gd name="T99" fmla="*/ 3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 h="113">
                    <a:moveTo>
                      <a:pt x="58" y="113"/>
                    </a:moveTo>
                    <a:lnTo>
                      <a:pt x="39" y="68"/>
                    </a:lnTo>
                    <a:lnTo>
                      <a:pt x="29" y="68"/>
                    </a:lnTo>
                    <a:lnTo>
                      <a:pt x="29" y="113"/>
                    </a:lnTo>
                    <a:lnTo>
                      <a:pt x="0" y="113"/>
                    </a:lnTo>
                    <a:lnTo>
                      <a:pt x="0" y="0"/>
                    </a:lnTo>
                    <a:lnTo>
                      <a:pt x="44" y="0"/>
                    </a:lnTo>
                    <a:lnTo>
                      <a:pt x="44" y="0"/>
                    </a:lnTo>
                    <a:lnTo>
                      <a:pt x="54" y="2"/>
                    </a:lnTo>
                    <a:lnTo>
                      <a:pt x="62" y="3"/>
                    </a:lnTo>
                    <a:lnTo>
                      <a:pt x="70" y="6"/>
                    </a:lnTo>
                    <a:lnTo>
                      <a:pt x="75" y="10"/>
                    </a:lnTo>
                    <a:lnTo>
                      <a:pt x="75" y="10"/>
                    </a:lnTo>
                    <a:lnTo>
                      <a:pt x="80" y="14"/>
                    </a:lnTo>
                    <a:lnTo>
                      <a:pt x="84" y="20"/>
                    </a:lnTo>
                    <a:lnTo>
                      <a:pt x="86" y="27"/>
                    </a:lnTo>
                    <a:lnTo>
                      <a:pt x="87" y="35"/>
                    </a:lnTo>
                    <a:lnTo>
                      <a:pt x="87" y="35"/>
                    </a:lnTo>
                    <a:lnTo>
                      <a:pt x="86" y="40"/>
                    </a:lnTo>
                    <a:lnTo>
                      <a:pt x="86" y="46"/>
                    </a:lnTo>
                    <a:lnTo>
                      <a:pt x="86" y="46"/>
                    </a:lnTo>
                    <a:lnTo>
                      <a:pt x="83" y="50"/>
                    </a:lnTo>
                    <a:lnTo>
                      <a:pt x="80" y="54"/>
                    </a:lnTo>
                    <a:lnTo>
                      <a:pt x="80" y="54"/>
                    </a:lnTo>
                    <a:lnTo>
                      <a:pt x="74" y="59"/>
                    </a:lnTo>
                    <a:lnTo>
                      <a:pt x="74" y="59"/>
                    </a:lnTo>
                    <a:lnTo>
                      <a:pt x="67" y="63"/>
                    </a:lnTo>
                    <a:lnTo>
                      <a:pt x="91" y="113"/>
                    </a:lnTo>
                    <a:lnTo>
                      <a:pt x="58" y="113"/>
                    </a:lnTo>
                    <a:close/>
                    <a:moveTo>
                      <a:pt x="56" y="36"/>
                    </a:moveTo>
                    <a:lnTo>
                      <a:pt x="56" y="36"/>
                    </a:lnTo>
                    <a:lnTo>
                      <a:pt x="55" y="32"/>
                    </a:lnTo>
                    <a:lnTo>
                      <a:pt x="55" y="28"/>
                    </a:lnTo>
                    <a:lnTo>
                      <a:pt x="55" y="28"/>
                    </a:lnTo>
                    <a:lnTo>
                      <a:pt x="51" y="24"/>
                    </a:lnTo>
                    <a:lnTo>
                      <a:pt x="51" y="24"/>
                    </a:lnTo>
                    <a:lnTo>
                      <a:pt x="46" y="23"/>
                    </a:lnTo>
                    <a:lnTo>
                      <a:pt x="46" y="23"/>
                    </a:lnTo>
                    <a:lnTo>
                      <a:pt x="40" y="22"/>
                    </a:lnTo>
                    <a:lnTo>
                      <a:pt x="29" y="22"/>
                    </a:lnTo>
                    <a:lnTo>
                      <a:pt x="29" y="50"/>
                    </a:lnTo>
                    <a:lnTo>
                      <a:pt x="39" y="50"/>
                    </a:lnTo>
                    <a:lnTo>
                      <a:pt x="39" y="50"/>
                    </a:lnTo>
                    <a:lnTo>
                      <a:pt x="46" y="50"/>
                    </a:lnTo>
                    <a:lnTo>
                      <a:pt x="51" y="47"/>
                    </a:lnTo>
                    <a:lnTo>
                      <a:pt x="51" y="47"/>
                    </a:lnTo>
                    <a:lnTo>
                      <a:pt x="54" y="44"/>
                    </a:lnTo>
                    <a:lnTo>
                      <a:pt x="55" y="43"/>
                    </a:lnTo>
                    <a:lnTo>
                      <a:pt x="56" y="36"/>
                    </a:lnTo>
                    <a:lnTo>
                      <a:pt x="5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6" name="Freeform 271"/>
              <p:cNvSpPr>
                <a:spLocks noEditPoints="1"/>
              </p:cNvSpPr>
              <p:nvPr/>
            </p:nvSpPr>
            <p:spPr bwMode="auto">
              <a:xfrm>
                <a:off x="2805859" y="5553358"/>
                <a:ext cx="32890" cy="41660"/>
              </a:xfrm>
              <a:custGeom>
                <a:avLst/>
                <a:gdLst>
                  <a:gd name="T0" fmla="*/ 58 w 92"/>
                  <a:gd name="T1" fmla="*/ 113 h 113"/>
                  <a:gd name="T2" fmla="*/ 40 w 92"/>
                  <a:gd name="T3" fmla="*/ 68 h 113"/>
                  <a:gd name="T4" fmla="*/ 30 w 92"/>
                  <a:gd name="T5" fmla="*/ 68 h 113"/>
                  <a:gd name="T6" fmla="*/ 30 w 92"/>
                  <a:gd name="T7" fmla="*/ 113 h 113"/>
                  <a:gd name="T8" fmla="*/ 0 w 92"/>
                  <a:gd name="T9" fmla="*/ 113 h 113"/>
                  <a:gd name="T10" fmla="*/ 0 w 92"/>
                  <a:gd name="T11" fmla="*/ 0 h 113"/>
                  <a:gd name="T12" fmla="*/ 45 w 92"/>
                  <a:gd name="T13" fmla="*/ 0 h 113"/>
                  <a:gd name="T14" fmla="*/ 45 w 92"/>
                  <a:gd name="T15" fmla="*/ 0 h 113"/>
                  <a:gd name="T16" fmla="*/ 54 w 92"/>
                  <a:gd name="T17" fmla="*/ 2 h 113"/>
                  <a:gd name="T18" fmla="*/ 62 w 92"/>
                  <a:gd name="T19" fmla="*/ 3 h 113"/>
                  <a:gd name="T20" fmla="*/ 70 w 92"/>
                  <a:gd name="T21" fmla="*/ 6 h 113"/>
                  <a:gd name="T22" fmla="*/ 76 w 92"/>
                  <a:gd name="T23" fmla="*/ 10 h 113"/>
                  <a:gd name="T24" fmla="*/ 76 w 92"/>
                  <a:gd name="T25" fmla="*/ 10 h 113"/>
                  <a:gd name="T26" fmla="*/ 81 w 92"/>
                  <a:gd name="T27" fmla="*/ 14 h 113"/>
                  <a:gd name="T28" fmla="*/ 84 w 92"/>
                  <a:gd name="T29" fmla="*/ 20 h 113"/>
                  <a:gd name="T30" fmla="*/ 87 w 92"/>
                  <a:gd name="T31" fmla="*/ 27 h 113"/>
                  <a:gd name="T32" fmla="*/ 88 w 92"/>
                  <a:gd name="T33" fmla="*/ 35 h 113"/>
                  <a:gd name="T34" fmla="*/ 88 w 92"/>
                  <a:gd name="T35" fmla="*/ 35 h 113"/>
                  <a:gd name="T36" fmla="*/ 87 w 92"/>
                  <a:gd name="T37" fmla="*/ 40 h 113"/>
                  <a:gd name="T38" fmla="*/ 85 w 92"/>
                  <a:gd name="T39" fmla="*/ 46 h 113"/>
                  <a:gd name="T40" fmla="*/ 85 w 92"/>
                  <a:gd name="T41" fmla="*/ 46 h 113"/>
                  <a:gd name="T42" fmla="*/ 84 w 92"/>
                  <a:gd name="T43" fmla="*/ 50 h 113"/>
                  <a:gd name="T44" fmla="*/ 81 w 92"/>
                  <a:gd name="T45" fmla="*/ 54 h 113"/>
                  <a:gd name="T46" fmla="*/ 81 w 92"/>
                  <a:gd name="T47" fmla="*/ 54 h 113"/>
                  <a:gd name="T48" fmla="*/ 74 w 92"/>
                  <a:gd name="T49" fmla="*/ 59 h 113"/>
                  <a:gd name="T50" fmla="*/ 74 w 92"/>
                  <a:gd name="T51" fmla="*/ 59 h 113"/>
                  <a:gd name="T52" fmla="*/ 68 w 92"/>
                  <a:gd name="T53" fmla="*/ 63 h 113"/>
                  <a:gd name="T54" fmla="*/ 92 w 92"/>
                  <a:gd name="T55" fmla="*/ 113 h 113"/>
                  <a:gd name="T56" fmla="*/ 58 w 92"/>
                  <a:gd name="T57" fmla="*/ 113 h 113"/>
                  <a:gd name="T58" fmla="*/ 56 w 92"/>
                  <a:gd name="T59" fmla="*/ 36 h 113"/>
                  <a:gd name="T60" fmla="*/ 56 w 92"/>
                  <a:gd name="T61" fmla="*/ 36 h 113"/>
                  <a:gd name="T62" fmla="*/ 56 w 92"/>
                  <a:gd name="T63" fmla="*/ 32 h 113"/>
                  <a:gd name="T64" fmla="*/ 54 w 92"/>
                  <a:gd name="T65" fmla="*/ 28 h 113"/>
                  <a:gd name="T66" fmla="*/ 54 w 92"/>
                  <a:gd name="T67" fmla="*/ 28 h 113"/>
                  <a:gd name="T68" fmla="*/ 50 w 92"/>
                  <a:gd name="T69" fmla="*/ 24 h 113"/>
                  <a:gd name="T70" fmla="*/ 50 w 92"/>
                  <a:gd name="T71" fmla="*/ 24 h 113"/>
                  <a:gd name="T72" fmla="*/ 45 w 92"/>
                  <a:gd name="T73" fmla="*/ 23 h 113"/>
                  <a:gd name="T74" fmla="*/ 45 w 92"/>
                  <a:gd name="T75" fmla="*/ 23 h 113"/>
                  <a:gd name="T76" fmla="*/ 40 w 92"/>
                  <a:gd name="T77" fmla="*/ 22 h 113"/>
                  <a:gd name="T78" fmla="*/ 30 w 92"/>
                  <a:gd name="T79" fmla="*/ 22 h 113"/>
                  <a:gd name="T80" fmla="*/ 30 w 92"/>
                  <a:gd name="T81" fmla="*/ 50 h 113"/>
                  <a:gd name="T82" fmla="*/ 40 w 92"/>
                  <a:gd name="T83" fmla="*/ 50 h 113"/>
                  <a:gd name="T84" fmla="*/ 40 w 92"/>
                  <a:gd name="T85" fmla="*/ 50 h 113"/>
                  <a:gd name="T86" fmla="*/ 46 w 92"/>
                  <a:gd name="T87" fmla="*/ 50 h 113"/>
                  <a:gd name="T88" fmla="*/ 52 w 92"/>
                  <a:gd name="T89" fmla="*/ 47 h 113"/>
                  <a:gd name="T90" fmla="*/ 52 w 92"/>
                  <a:gd name="T91" fmla="*/ 47 h 113"/>
                  <a:gd name="T92" fmla="*/ 53 w 92"/>
                  <a:gd name="T93" fmla="*/ 44 h 113"/>
                  <a:gd name="T94" fmla="*/ 54 w 92"/>
                  <a:gd name="T95" fmla="*/ 43 h 113"/>
                  <a:gd name="T96" fmla="*/ 56 w 92"/>
                  <a:gd name="T97" fmla="*/ 36 h 113"/>
                  <a:gd name="T98" fmla="*/ 56 w 92"/>
                  <a:gd name="T99" fmla="*/ 3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113">
                    <a:moveTo>
                      <a:pt x="58" y="113"/>
                    </a:moveTo>
                    <a:lnTo>
                      <a:pt x="40" y="68"/>
                    </a:lnTo>
                    <a:lnTo>
                      <a:pt x="30" y="68"/>
                    </a:lnTo>
                    <a:lnTo>
                      <a:pt x="30" y="113"/>
                    </a:lnTo>
                    <a:lnTo>
                      <a:pt x="0" y="113"/>
                    </a:lnTo>
                    <a:lnTo>
                      <a:pt x="0" y="0"/>
                    </a:lnTo>
                    <a:lnTo>
                      <a:pt x="45" y="0"/>
                    </a:lnTo>
                    <a:lnTo>
                      <a:pt x="45" y="0"/>
                    </a:lnTo>
                    <a:lnTo>
                      <a:pt x="54" y="2"/>
                    </a:lnTo>
                    <a:lnTo>
                      <a:pt x="62" y="3"/>
                    </a:lnTo>
                    <a:lnTo>
                      <a:pt x="70" y="6"/>
                    </a:lnTo>
                    <a:lnTo>
                      <a:pt x="76" y="10"/>
                    </a:lnTo>
                    <a:lnTo>
                      <a:pt x="76" y="10"/>
                    </a:lnTo>
                    <a:lnTo>
                      <a:pt x="81" y="14"/>
                    </a:lnTo>
                    <a:lnTo>
                      <a:pt x="84" y="20"/>
                    </a:lnTo>
                    <a:lnTo>
                      <a:pt x="87" y="27"/>
                    </a:lnTo>
                    <a:lnTo>
                      <a:pt x="88" y="35"/>
                    </a:lnTo>
                    <a:lnTo>
                      <a:pt x="88" y="35"/>
                    </a:lnTo>
                    <a:lnTo>
                      <a:pt x="87" y="40"/>
                    </a:lnTo>
                    <a:lnTo>
                      <a:pt x="85" y="46"/>
                    </a:lnTo>
                    <a:lnTo>
                      <a:pt x="85" y="46"/>
                    </a:lnTo>
                    <a:lnTo>
                      <a:pt x="84" y="50"/>
                    </a:lnTo>
                    <a:lnTo>
                      <a:pt x="81" y="54"/>
                    </a:lnTo>
                    <a:lnTo>
                      <a:pt x="81" y="54"/>
                    </a:lnTo>
                    <a:lnTo>
                      <a:pt x="74" y="59"/>
                    </a:lnTo>
                    <a:lnTo>
                      <a:pt x="74" y="59"/>
                    </a:lnTo>
                    <a:lnTo>
                      <a:pt x="68" y="63"/>
                    </a:lnTo>
                    <a:lnTo>
                      <a:pt x="92" y="113"/>
                    </a:lnTo>
                    <a:lnTo>
                      <a:pt x="58" y="113"/>
                    </a:lnTo>
                    <a:close/>
                    <a:moveTo>
                      <a:pt x="56" y="36"/>
                    </a:moveTo>
                    <a:lnTo>
                      <a:pt x="56" y="36"/>
                    </a:lnTo>
                    <a:lnTo>
                      <a:pt x="56" y="32"/>
                    </a:lnTo>
                    <a:lnTo>
                      <a:pt x="54" y="28"/>
                    </a:lnTo>
                    <a:lnTo>
                      <a:pt x="54" y="28"/>
                    </a:lnTo>
                    <a:lnTo>
                      <a:pt x="50" y="24"/>
                    </a:lnTo>
                    <a:lnTo>
                      <a:pt x="50" y="24"/>
                    </a:lnTo>
                    <a:lnTo>
                      <a:pt x="45" y="23"/>
                    </a:lnTo>
                    <a:lnTo>
                      <a:pt x="45" y="23"/>
                    </a:lnTo>
                    <a:lnTo>
                      <a:pt x="40" y="22"/>
                    </a:lnTo>
                    <a:lnTo>
                      <a:pt x="30" y="22"/>
                    </a:lnTo>
                    <a:lnTo>
                      <a:pt x="30" y="50"/>
                    </a:lnTo>
                    <a:lnTo>
                      <a:pt x="40" y="50"/>
                    </a:lnTo>
                    <a:lnTo>
                      <a:pt x="40" y="50"/>
                    </a:lnTo>
                    <a:lnTo>
                      <a:pt x="46" y="50"/>
                    </a:lnTo>
                    <a:lnTo>
                      <a:pt x="52" y="47"/>
                    </a:lnTo>
                    <a:lnTo>
                      <a:pt x="52" y="47"/>
                    </a:lnTo>
                    <a:lnTo>
                      <a:pt x="53" y="44"/>
                    </a:lnTo>
                    <a:lnTo>
                      <a:pt x="54" y="43"/>
                    </a:lnTo>
                    <a:lnTo>
                      <a:pt x="56" y="36"/>
                    </a:lnTo>
                    <a:lnTo>
                      <a:pt x="5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7" name="Rectangle 272"/>
              <p:cNvSpPr>
                <a:spLocks noChangeArrowheads="1"/>
              </p:cNvSpPr>
              <p:nvPr/>
            </p:nvSpPr>
            <p:spPr bwMode="auto">
              <a:xfrm>
                <a:off x="2844230" y="5553358"/>
                <a:ext cx="12060" cy="416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8" name="Freeform 273"/>
              <p:cNvSpPr>
                <a:spLocks/>
              </p:cNvSpPr>
              <p:nvPr/>
            </p:nvSpPr>
            <p:spPr bwMode="auto">
              <a:xfrm>
                <a:off x="2860675" y="5553358"/>
                <a:ext cx="39467" cy="41660"/>
              </a:xfrm>
              <a:custGeom>
                <a:avLst/>
                <a:gdLst>
                  <a:gd name="T0" fmla="*/ 73 w 108"/>
                  <a:gd name="T1" fmla="*/ 113 h 113"/>
                  <a:gd name="T2" fmla="*/ 33 w 108"/>
                  <a:gd name="T3" fmla="*/ 113 h 113"/>
                  <a:gd name="T4" fmla="*/ 0 w 108"/>
                  <a:gd name="T5" fmla="*/ 0 h 113"/>
                  <a:gd name="T6" fmla="*/ 34 w 108"/>
                  <a:gd name="T7" fmla="*/ 0 h 113"/>
                  <a:gd name="T8" fmla="*/ 54 w 108"/>
                  <a:gd name="T9" fmla="*/ 83 h 113"/>
                  <a:gd name="T10" fmla="*/ 54 w 108"/>
                  <a:gd name="T11" fmla="*/ 83 h 113"/>
                  <a:gd name="T12" fmla="*/ 73 w 108"/>
                  <a:gd name="T13" fmla="*/ 0 h 113"/>
                  <a:gd name="T14" fmla="*/ 108 w 108"/>
                  <a:gd name="T15" fmla="*/ 0 h 113"/>
                  <a:gd name="T16" fmla="*/ 73 w 108"/>
                  <a:gd name="T17"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13">
                    <a:moveTo>
                      <a:pt x="73" y="113"/>
                    </a:moveTo>
                    <a:lnTo>
                      <a:pt x="33" y="113"/>
                    </a:lnTo>
                    <a:lnTo>
                      <a:pt x="0" y="0"/>
                    </a:lnTo>
                    <a:lnTo>
                      <a:pt x="34" y="0"/>
                    </a:lnTo>
                    <a:lnTo>
                      <a:pt x="54" y="83"/>
                    </a:lnTo>
                    <a:lnTo>
                      <a:pt x="54" y="83"/>
                    </a:lnTo>
                    <a:lnTo>
                      <a:pt x="73" y="0"/>
                    </a:lnTo>
                    <a:lnTo>
                      <a:pt x="108" y="0"/>
                    </a:lnTo>
                    <a:lnTo>
                      <a:pt x="73"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199" name="Rectangle 274"/>
              <p:cNvSpPr>
                <a:spLocks noChangeArrowheads="1"/>
              </p:cNvSpPr>
              <p:nvPr/>
            </p:nvSpPr>
            <p:spPr bwMode="auto">
              <a:xfrm>
                <a:off x="2904528" y="5553358"/>
                <a:ext cx="10963" cy="416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0" name="Freeform 275"/>
              <p:cNvSpPr>
                <a:spLocks/>
              </p:cNvSpPr>
              <p:nvPr/>
            </p:nvSpPr>
            <p:spPr bwMode="auto">
              <a:xfrm>
                <a:off x="2925357" y="5553358"/>
                <a:ext cx="33986" cy="41660"/>
              </a:xfrm>
              <a:custGeom>
                <a:avLst/>
                <a:gdLst>
                  <a:gd name="T0" fmla="*/ 60 w 94"/>
                  <a:gd name="T1" fmla="*/ 113 h 113"/>
                  <a:gd name="T2" fmla="*/ 28 w 94"/>
                  <a:gd name="T3" fmla="*/ 44 h 113"/>
                  <a:gd name="T4" fmla="*/ 27 w 94"/>
                  <a:gd name="T5" fmla="*/ 44 h 113"/>
                  <a:gd name="T6" fmla="*/ 28 w 94"/>
                  <a:gd name="T7" fmla="*/ 113 h 113"/>
                  <a:gd name="T8" fmla="*/ 0 w 94"/>
                  <a:gd name="T9" fmla="*/ 113 h 113"/>
                  <a:gd name="T10" fmla="*/ 0 w 94"/>
                  <a:gd name="T11" fmla="*/ 0 h 113"/>
                  <a:gd name="T12" fmla="*/ 35 w 94"/>
                  <a:gd name="T13" fmla="*/ 0 h 113"/>
                  <a:gd name="T14" fmla="*/ 67 w 94"/>
                  <a:gd name="T15" fmla="*/ 70 h 113"/>
                  <a:gd name="T16" fmla="*/ 67 w 94"/>
                  <a:gd name="T17" fmla="*/ 70 h 113"/>
                  <a:gd name="T18" fmla="*/ 67 w 94"/>
                  <a:gd name="T19" fmla="*/ 0 h 113"/>
                  <a:gd name="T20" fmla="*/ 94 w 94"/>
                  <a:gd name="T21" fmla="*/ 0 h 113"/>
                  <a:gd name="T22" fmla="*/ 94 w 94"/>
                  <a:gd name="T23" fmla="*/ 113 h 113"/>
                  <a:gd name="T24" fmla="*/ 60 w 94"/>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13">
                    <a:moveTo>
                      <a:pt x="60" y="113"/>
                    </a:moveTo>
                    <a:lnTo>
                      <a:pt x="28" y="44"/>
                    </a:lnTo>
                    <a:lnTo>
                      <a:pt x="27" y="44"/>
                    </a:lnTo>
                    <a:lnTo>
                      <a:pt x="28" y="113"/>
                    </a:lnTo>
                    <a:lnTo>
                      <a:pt x="0" y="113"/>
                    </a:lnTo>
                    <a:lnTo>
                      <a:pt x="0" y="0"/>
                    </a:lnTo>
                    <a:lnTo>
                      <a:pt x="35" y="0"/>
                    </a:lnTo>
                    <a:lnTo>
                      <a:pt x="67" y="70"/>
                    </a:lnTo>
                    <a:lnTo>
                      <a:pt x="67" y="70"/>
                    </a:lnTo>
                    <a:lnTo>
                      <a:pt x="67" y="0"/>
                    </a:lnTo>
                    <a:lnTo>
                      <a:pt x="94" y="0"/>
                    </a:lnTo>
                    <a:lnTo>
                      <a:pt x="94" y="113"/>
                    </a:lnTo>
                    <a:lnTo>
                      <a:pt x="6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1" name="Freeform 276"/>
              <p:cNvSpPr>
                <a:spLocks/>
              </p:cNvSpPr>
              <p:nvPr/>
            </p:nvSpPr>
            <p:spPr bwMode="auto">
              <a:xfrm>
                <a:off x="2965922" y="5553358"/>
                <a:ext cx="35082" cy="42757"/>
              </a:xfrm>
              <a:custGeom>
                <a:avLst/>
                <a:gdLst>
                  <a:gd name="T0" fmla="*/ 79 w 95"/>
                  <a:gd name="T1" fmla="*/ 115 h 117"/>
                  <a:gd name="T2" fmla="*/ 57 w 95"/>
                  <a:gd name="T3" fmla="*/ 117 h 117"/>
                  <a:gd name="T4" fmla="*/ 45 w 95"/>
                  <a:gd name="T5" fmla="*/ 116 h 117"/>
                  <a:gd name="T6" fmla="*/ 34 w 95"/>
                  <a:gd name="T7" fmla="*/ 113 h 117"/>
                  <a:gd name="T8" fmla="*/ 16 w 95"/>
                  <a:gd name="T9" fmla="*/ 101 h 117"/>
                  <a:gd name="T10" fmla="*/ 10 w 95"/>
                  <a:gd name="T11" fmla="*/ 93 h 117"/>
                  <a:gd name="T12" fmla="*/ 4 w 95"/>
                  <a:gd name="T13" fmla="*/ 83 h 117"/>
                  <a:gd name="T14" fmla="*/ 0 w 95"/>
                  <a:gd name="T15" fmla="*/ 58 h 117"/>
                  <a:gd name="T16" fmla="*/ 2 w 95"/>
                  <a:gd name="T17" fmla="*/ 46 h 117"/>
                  <a:gd name="T18" fmla="*/ 4 w 95"/>
                  <a:gd name="T19" fmla="*/ 34 h 117"/>
                  <a:gd name="T20" fmla="*/ 15 w 95"/>
                  <a:gd name="T21" fmla="*/ 16 h 117"/>
                  <a:gd name="T22" fmla="*/ 23 w 95"/>
                  <a:gd name="T23" fmla="*/ 9 h 117"/>
                  <a:gd name="T24" fmla="*/ 32 w 95"/>
                  <a:gd name="T25" fmla="*/ 4 h 117"/>
                  <a:gd name="T26" fmla="*/ 55 w 95"/>
                  <a:gd name="T27" fmla="*/ 0 h 117"/>
                  <a:gd name="T28" fmla="*/ 69 w 95"/>
                  <a:gd name="T29" fmla="*/ 1 h 117"/>
                  <a:gd name="T30" fmla="*/ 79 w 95"/>
                  <a:gd name="T31" fmla="*/ 4 h 117"/>
                  <a:gd name="T32" fmla="*/ 94 w 95"/>
                  <a:gd name="T33" fmla="*/ 13 h 117"/>
                  <a:gd name="T34" fmla="*/ 77 w 95"/>
                  <a:gd name="T35" fmla="*/ 32 h 117"/>
                  <a:gd name="T36" fmla="*/ 69 w 95"/>
                  <a:gd name="T37" fmla="*/ 26 h 117"/>
                  <a:gd name="T38" fmla="*/ 58 w 95"/>
                  <a:gd name="T39" fmla="*/ 24 h 117"/>
                  <a:gd name="T40" fmla="*/ 51 w 95"/>
                  <a:gd name="T41" fmla="*/ 25 h 117"/>
                  <a:gd name="T42" fmla="*/ 46 w 95"/>
                  <a:gd name="T43" fmla="*/ 26 h 117"/>
                  <a:gd name="T44" fmla="*/ 38 w 95"/>
                  <a:gd name="T45" fmla="*/ 34 h 117"/>
                  <a:gd name="T46" fmla="*/ 35 w 95"/>
                  <a:gd name="T47" fmla="*/ 40 h 117"/>
                  <a:gd name="T48" fmla="*/ 34 w 95"/>
                  <a:gd name="T49" fmla="*/ 45 h 117"/>
                  <a:gd name="T50" fmla="*/ 32 w 95"/>
                  <a:gd name="T51" fmla="*/ 58 h 117"/>
                  <a:gd name="T52" fmla="*/ 34 w 95"/>
                  <a:gd name="T53" fmla="*/ 72 h 117"/>
                  <a:gd name="T54" fmla="*/ 38 w 95"/>
                  <a:gd name="T55" fmla="*/ 84 h 117"/>
                  <a:gd name="T56" fmla="*/ 42 w 95"/>
                  <a:gd name="T57" fmla="*/ 88 h 117"/>
                  <a:gd name="T58" fmla="*/ 46 w 95"/>
                  <a:gd name="T59" fmla="*/ 91 h 117"/>
                  <a:gd name="T60" fmla="*/ 57 w 95"/>
                  <a:gd name="T61" fmla="*/ 95 h 117"/>
                  <a:gd name="T62" fmla="*/ 63 w 95"/>
                  <a:gd name="T63" fmla="*/ 93 h 117"/>
                  <a:gd name="T64" fmla="*/ 67 w 95"/>
                  <a:gd name="T65" fmla="*/ 70 h 117"/>
                  <a:gd name="T66" fmla="*/ 53 w 95"/>
                  <a:gd name="T67" fmla="*/ 49 h 117"/>
                  <a:gd name="T68" fmla="*/ 95 w 95"/>
                  <a:gd name="T69" fmla="*/ 108 h 117"/>
                  <a:gd name="T70" fmla="*/ 89 w 95"/>
                  <a:gd name="T71" fmla="*/ 112 h 117"/>
                  <a:gd name="T72" fmla="*/ 79 w 95"/>
                  <a:gd name="T73"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5" h="117">
                    <a:moveTo>
                      <a:pt x="79" y="115"/>
                    </a:moveTo>
                    <a:lnTo>
                      <a:pt x="79" y="115"/>
                    </a:lnTo>
                    <a:lnTo>
                      <a:pt x="69" y="117"/>
                    </a:lnTo>
                    <a:lnTo>
                      <a:pt x="57" y="117"/>
                    </a:lnTo>
                    <a:lnTo>
                      <a:pt x="57" y="117"/>
                    </a:lnTo>
                    <a:lnTo>
                      <a:pt x="45" y="116"/>
                    </a:lnTo>
                    <a:lnTo>
                      <a:pt x="34" y="113"/>
                    </a:lnTo>
                    <a:lnTo>
                      <a:pt x="34" y="113"/>
                    </a:lnTo>
                    <a:lnTo>
                      <a:pt x="24" y="108"/>
                    </a:lnTo>
                    <a:lnTo>
                      <a:pt x="16" y="101"/>
                    </a:lnTo>
                    <a:lnTo>
                      <a:pt x="16" y="101"/>
                    </a:lnTo>
                    <a:lnTo>
                      <a:pt x="10" y="93"/>
                    </a:lnTo>
                    <a:lnTo>
                      <a:pt x="4" y="83"/>
                    </a:lnTo>
                    <a:lnTo>
                      <a:pt x="4" y="83"/>
                    </a:lnTo>
                    <a:lnTo>
                      <a:pt x="2" y="72"/>
                    </a:lnTo>
                    <a:lnTo>
                      <a:pt x="0" y="58"/>
                    </a:lnTo>
                    <a:lnTo>
                      <a:pt x="0" y="58"/>
                    </a:lnTo>
                    <a:lnTo>
                      <a:pt x="2" y="46"/>
                    </a:lnTo>
                    <a:lnTo>
                      <a:pt x="4" y="34"/>
                    </a:lnTo>
                    <a:lnTo>
                      <a:pt x="4" y="34"/>
                    </a:lnTo>
                    <a:lnTo>
                      <a:pt x="10" y="25"/>
                    </a:lnTo>
                    <a:lnTo>
                      <a:pt x="15" y="16"/>
                    </a:lnTo>
                    <a:lnTo>
                      <a:pt x="15" y="16"/>
                    </a:lnTo>
                    <a:lnTo>
                      <a:pt x="23" y="9"/>
                    </a:lnTo>
                    <a:lnTo>
                      <a:pt x="32" y="4"/>
                    </a:lnTo>
                    <a:lnTo>
                      <a:pt x="32" y="4"/>
                    </a:lnTo>
                    <a:lnTo>
                      <a:pt x="43" y="1"/>
                    </a:lnTo>
                    <a:lnTo>
                      <a:pt x="55" y="0"/>
                    </a:lnTo>
                    <a:lnTo>
                      <a:pt x="55" y="0"/>
                    </a:lnTo>
                    <a:lnTo>
                      <a:pt x="69" y="1"/>
                    </a:lnTo>
                    <a:lnTo>
                      <a:pt x="79" y="4"/>
                    </a:lnTo>
                    <a:lnTo>
                      <a:pt x="79" y="4"/>
                    </a:lnTo>
                    <a:lnTo>
                      <a:pt x="87" y="8"/>
                    </a:lnTo>
                    <a:lnTo>
                      <a:pt x="94" y="13"/>
                    </a:lnTo>
                    <a:lnTo>
                      <a:pt x="77" y="32"/>
                    </a:lnTo>
                    <a:lnTo>
                      <a:pt x="77" y="32"/>
                    </a:lnTo>
                    <a:lnTo>
                      <a:pt x="73" y="29"/>
                    </a:lnTo>
                    <a:lnTo>
                      <a:pt x="69" y="26"/>
                    </a:lnTo>
                    <a:lnTo>
                      <a:pt x="63" y="25"/>
                    </a:lnTo>
                    <a:lnTo>
                      <a:pt x="58" y="24"/>
                    </a:lnTo>
                    <a:lnTo>
                      <a:pt x="58" y="24"/>
                    </a:lnTo>
                    <a:lnTo>
                      <a:pt x="51" y="25"/>
                    </a:lnTo>
                    <a:lnTo>
                      <a:pt x="46" y="26"/>
                    </a:lnTo>
                    <a:lnTo>
                      <a:pt x="46" y="26"/>
                    </a:lnTo>
                    <a:lnTo>
                      <a:pt x="42" y="30"/>
                    </a:lnTo>
                    <a:lnTo>
                      <a:pt x="38" y="34"/>
                    </a:lnTo>
                    <a:lnTo>
                      <a:pt x="38" y="34"/>
                    </a:lnTo>
                    <a:lnTo>
                      <a:pt x="35" y="40"/>
                    </a:lnTo>
                    <a:lnTo>
                      <a:pt x="34" y="45"/>
                    </a:lnTo>
                    <a:lnTo>
                      <a:pt x="34" y="45"/>
                    </a:lnTo>
                    <a:lnTo>
                      <a:pt x="32" y="58"/>
                    </a:lnTo>
                    <a:lnTo>
                      <a:pt x="32" y="58"/>
                    </a:lnTo>
                    <a:lnTo>
                      <a:pt x="34" y="72"/>
                    </a:lnTo>
                    <a:lnTo>
                      <a:pt x="34" y="72"/>
                    </a:lnTo>
                    <a:lnTo>
                      <a:pt x="35" y="79"/>
                    </a:lnTo>
                    <a:lnTo>
                      <a:pt x="38" y="84"/>
                    </a:lnTo>
                    <a:lnTo>
                      <a:pt x="38" y="84"/>
                    </a:lnTo>
                    <a:lnTo>
                      <a:pt x="42" y="88"/>
                    </a:lnTo>
                    <a:lnTo>
                      <a:pt x="46" y="91"/>
                    </a:lnTo>
                    <a:lnTo>
                      <a:pt x="46" y="91"/>
                    </a:lnTo>
                    <a:lnTo>
                      <a:pt x="51" y="93"/>
                    </a:lnTo>
                    <a:lnTo>
                      <a:pt x="57" y="95"/>
                    </a:lnTo>
                    <a:lnTo>
                      <a:pt x="57" y="95"/>
                    </a:lnTo>
                    <a:lnTo>
                      <a:pt x="63" y="93"/>
                    </a:lnTo>
                    <a:lnTo>
                      <a:pt x="67" y="92"/>
                    </a:lnTo>
                    <a:lnTo>
                      <a:pt x="67" y="70"/>
                    </a:lnTo>
                    <a:lnTo>
                      <a:pt x="53" y="70"/>
                    </a:lnTo>
                    <a:lnTo>
                      <a:pt x="53" y="49"/>
                    </a:lnTo>
                    <a:lnTo>
                      <a:pt x="95" y="49"/>
                    </a:lnTo>
                    <a:lnTo>
                      <a:pt x="95" y="108"/>
                    </a:lnTo>
                    <a:lnTo>
                      <a:pt x="95" y="108"/>
                    </a:lnTo>
                    <a:lnTo>
                      <a:pt x="89" y="112"/>
                    </a:lnTo>
                    <a:lnTo>
                      <a:pt x="79" y="115"/>
                    </a:lnTo>
                    <a:lnTo>
                      <a:pt x="79"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2" name="Rectangle 277"/>
              <p:cNvSpPr>
                <a:spLocks noChangeArrowheads="1"/>
              </p:cNvSpPr>
              <p:nvPr/>
            </p:nvSpPr>
            <p:spPr bwMode="auto">
              <a:xfrm>
                <a:off x="2729117" y="5619137"/>
                <a:ext cx="388097"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3" name="Rectangle 278"/>
              <p:cNvSpPr>
                <a:spLocks noChangeArrowheads="1"/>
              </p:cNvSpPr>
              <p:nvPr/>
            </p:nvSpPr>
            <p:spPr bwMode="auto">
              <a:xfrm>
                <a:off x="2571247" y="5619137"/>
                <a:ext cx="109632"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4" name="Rectangle 279"/>
              <p:cNvSpPr>
                <a:spLocks noChangeArrowheads="1"/>
              </p:cNvSpPr>
              <p:nvPr/>
            </p:nvSpPr>
            <p:spPr bwMode="auto">
              <a:xfrm>
                <a:off x="2729117" y="5658605"/>
                <a:ext cx="353015"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5" name="Rectangle 280"/>
              <p:cNvSpPr>
                <a:spLocks noChangeArrowheads="1"/>
              </p:cNvSpPr>
              <p:nvPr/>
            </p:nvSpPr>
            <p:spPr bwMode="auto">
              <a:xfrm>
                <a:off x="2571247" y="5658605"/>
                <a:ext cx="109632"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6" name="Rectangle 281"/>
              <p:cNvSpPr>
                <a:spLocks noChangeArrowheads="1"/>
              </p:cNvSpPr>
              <p:nvPr/>
            </p:nvSpPr>
            <p:spPr bwMode="auto">
              <a:xfrm>
                <a:off x="2729117" y="5696976"/>
                <a:ext cx="424276"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07" name="Rectangle 282"/>
              <p:cNvSpPr>
                <a:spLocks noChangeArrowheads="1"/>
              </p:cNvSpPr>
              <p:nvPr/>
            </p:nvSpPr>
            <p:spPr bwMode="auto">
              <a:xfrm>
                <a:off x="2571247" y="5696976"/>
                <a:ext cx="109632" cy="14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188" name="Rectangle 283"/>
            <p:cNvSpPr>
              <a:spLocks noChangeArrowheads="1"/>
            </p:cNvSpPr>
            <p:nvPr/>
          </p:nvSpPr>
          <p:spPr bwMode="auto">
            <a:xfrm>
              <a:off x="2838749" y="5445919"/>
              <a:ext cx="144714" cy="6139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215" name="Group 3214"/>
          <p:cNvGrpSpPr/>
          <p:nvPr/>
        </p:nvGrpSpPr>
        <p:grpSpPr>
          <a:xfrm rot="8309841" flipV="1">
            <a:off x="3681007" y="5213880"/>
            <a:ext cx="108664" cy="173558"/>
            <a:chOff x="2658904" y="3122439"/>
            <a:chExt cx="81472" cy="132564"/>
          </a:xfrm>
          <a:solidFill>
            <a:schemeClr val="accent3"/>
          </a:solidFill>
        </p:grpSpPr>
        <p:sp>
          <p:nvSpPr>
            <p:cNvPr id="3216"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17"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18"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3265" name="Freeform 2137"/>
          <p:cNvSpPr>
            <a:spLocks/>
          </p:cNvSpPr>
          <p:nvPr/>
        </p:nvSpPr>
        <p:spPr bwMode="auto">
          <a:xfrm>
            <a:off x="1995489" y="4495737"/>
            <a:ext cx="317500" cy="190500"/>
          </a:xfrm>
          <a:custGeom>
            <a:avLst/>
            <a:gdLst>
              <a:gd name="T0" fmla="*/ 1203 w 1203"/>
              <a:gd name="T1" fmla="*/ 687 h 718"/>
              <a:gd name="T2" fmla="*/ 1203 w 1203"/>
              <a:gd name="T3" fmla="*/ 687 h 718"/>
              <a:gd name="T4" fmla="*/ 1202 w 1203"/>
              <a:gd name="T5" fmla="*/ 693 h 718"/>
              <a:gd name="T6" fmla="*/ 1200 w 1203"/>
              <a:gd name="T7" fmla="*/ 699 h 718"/>
              <a:gd name="T8" fmla="*/ 1197 w 1203"/>
              <a:gd name="T9" fmla="*/ 705 h 718"/>
              <a:gd name="T10" fmla="*/ 1194 w 1203"/>
              <a:gd name="T11" fmla="*/ 709 h 718"/>
              <a:gd name="T12" fmla="*/ 1189 w 1203"/>
              <a:gd name="T13" fmla="*/ 713 h 718"/>
              <a:gd name="T14" fmla="*/ 1183 w 1203"/>
              <a:gd name="T15" fmla="*/ 716 h 718"/>
              <a:gd name="T16" fmla="*/ 1177 w 1203"/>
              <a:gd name="T17" fmla="*/ 718 h 718"/>
              <a:gd name="T18" fmla="*/ 1170 w 1203"/>
              <a:gd name="T19" fmla="*/ 718 h 718"/>
              <a:gd name="T20" fmla="*/ 32 w 1203"/>
              <a:gd name="T21" fmla="*/ 718 h 718"/>
              <a:gd name="T22" fmla="*/ 32 w 1203"/>
              <a:gd name="T23" fmla="*/ 718 h 718"/>
              <a:gd name="T24" fmla="*/ 25 w 1203"/>
              <a:gd name="T25" fmla="*/ 718 h 718"/>
              <a:gd name="T26" fmla="*/ 19 w 1203"/>
              <a:gd name="T27" fmla="*/ 716 h 718"/>
              <a:gd name="T28" fmla="*/ 14 w 1203"/>
              <a:gd name="T29" fmla="*/ 713 h 718"/>
              <a:gd name="T30" fmla="*/ 9 w 1203"/>
              <a:gd name="T31" fmla="*/ 709 h 718"/>
              <a:gd name="T32" fmla="*/ 6 w 1203"/>
              <a:gd name="T33" fmla="*/ 705 h 718"/>
              <a:gd name="T34" fmla="*/ 3 w 1203"/>
              <a:gd name="T35" fmla="*/ 699 h 718"/>
              <a:gd name="T36" fmla="*/ 1 w 1203"/>
              <a:gd name="T37" fmla="*/ 693 h 718"/>
              <a:gd name="T38" fmla="*/ 0 w 1203"/>
              <a:gd name="T39" fmla="*/ 687 h 718"/>
              <a:gd name="T40" fmla="*/ 159 w 1203"/>
              <a:gd name="T41" fmla="*/ 31 h 718"/>
              <a:gd name="T42" fmla="*/ 159 w 1203"/>
              <a:gd name="T43" fmla="*/ 31 h 718"/>
              <a:gd name="T44" fmla="*/ 160 w 1203"/>
              <a:gd name="T45" fmla="*/ 25 h 718"/>
              <a:gd name="T46" fmla="*/ 162 w 1203"/>
              <a:gd name="T47" fmla="*/ 19 h 718"/>
              <a:gd name="T48" fmla="*/ 164 w 1203"/>
              <a:gd name="T49" fmla="*/ 14 h 718"/>
              <a:gd name="T50" fmla="*/ 168 w 1203"/>
              <a:gd name="T51" fmla="*/ 9 h 718"/>
              <a:gd name="T52" fmla="*/ 173 w 1203"/>
              <a:gd name="T53" fmla="*/ 5 h 718"/>
              <a:gd name="T54" fmla="*/ 178 w 1203"/>
              <a:gd name="T55" fmla="*/ 2 h 718"/>
              <a:gd name="T56" fmla="*/ 184 w 1203"/>
              <a:gd name="T57" fmla="*/ 0 h 718"/>
              <a:gd name="T58" fmla="*/ 190 w 1203"/>
              <a:gd name="T59" fmla="*/ 0 h 718"/>
              <a:gd name="T60" fmla="*/ 695 w 1203"/>
              <a:gd name="T61" fmla="*/ 0 h 718"/>
              <a:gd name="T62" fmla="*/ 695 w 1203"/>
              <a:gd name="T63" fmla="*/ 0 h 718"/>
              <a:gd name="T64" fmla="*/ 701 w 1203"/>
              <a:gd name="T65" fmla="*/ 0 h 718"/>
              <a:gd name="T66" fmla="*/ 707 w 1203"/>
              <a:gd name="T67" fmla="*/ 2 h 718"/>
              <a:gd name="T68" fmla="*/ 713 w 1203"/>
              <a:gd name="T69" fmla="*/ 5 h 718"/>
              <a:gd name="T70" fmla="*/ 717 w 1203"/>
              <a:gd name="T71" fmla="*/ 9 h 718"/>
              <a:gd name="T72" fmla="*/ 721 w 1203"/>
              <a:gd name="T73" fmla="*/ 14 h 718"/>
              <a:gd name="T74" fmla="*/ 724 w 1203"/>
              <a:gd name="T75" fmla="*/ 19 h 718"/>
              <a:gd name="T76" fmla="*/ 726 w 1203"/>
              <a:gd name="T77" fmla="*/ 25 h 718"/>
              <a:gd name="T78" fmla="*/ 727 w 1203"/>
              <a:gd name="T79" fmla="*/ 31 h 718"/>
              <a:gd name="T80" fmla="*/ 1203 w 1203"/>
              <a:gd name="T81" fmla="*/ 687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03" h="718">
                <a:moveTo>
                  <a:pt x="1203" y="687"/>
                </a:moveTo>
                <a:lnTo>
                  <a:pt x="1203" y="687"/>
                </a:lnTo>
                <a:lnTo>
                  <a:pt x="1202" y="693"/>
                </a:lnTo>
                <a:lnTo>
                  <a:pt x="1200" y="699"/>
                </a:lnTo>
                <a:lnTo>
                  <a:pt x="1197" y="705"/>
                </a:lnTo>
                <a:lnTo>
                  <a:pt x="1194" y="709"/>
                </a:lnTo>
                <a:lnTo>
                  <a:pt x="1189" y="713"/>
                </a:lnTo>
                <a:lnTo>
                  <a:pt x="1183" y="716"/>
                </a:lnTo>
                <a:lnTo>
                  <a:pt x="1177" y="718"/>
                </a:lnTo>
                <a:lnTo>
                  <a:pt x="1170" y="718"/>
                </a:lnTo>
                <a:lnTo>
                  <a:pt x="32" y="718"/>
                </a:lnTo>
                <a:lnTo>
                  <a:pt x="32" y="718"/>
                </a:lnTo>
                <a:lnTo>
                  <a:pt x="25" y="718"/>
                </a:lnTo>
                <a:lnTo>
                  <a:pt x="19" y="716"/>
                </a:lnTo>
                <a:lnTo>
                  <a:pt x="14" y="713"/>
                </a:lnTo>
                <a:lnTo>
                  <a:pt x="9" y="709"/>
                </a:lnTo>
                <a:lnTo>
                  <a:pt x="6" y="705"/>
                </a:lnTo>
                <a:lnTo>
                  <a:pt x="3" y="699"/>
                </a:lnTo>
                <a:lnTo>
                  <a:pt x="1" y="693"/>
                </a:lnTo>
                <a:lnTo>
                  <a:pt x="0" y="687"/>
                </a:lnTo>
                <a:lnTo>
                  <a:pt x="159" y="31"/>
                </a:lnTo>
                <a:lnTo>
                  <a:pt x="159" y="31"/>
                </a:lnTo>
                <a:lnTo>
                  <a:pt x="160" y="25"/>
                </a:lnTo>
                <a:lnTo>
                  <a:pt x="162" y="19"/>
                </a:lnTo>
                <a:lnTo>
                  <a:pt x="164" y="14"/>
                </a:lnTo>
                <a:lnTo>
                  <a:pt x="168" y="9"/>
                </a:lnTo>
                <a:lnTo>
                  <a:pt x="173" y="5"/>
                </a:lnTo>
                <a:lnTo>
                  <a:pt x="178" y="2"/>
                </a:lnTo>
                <a:lnTo>
                  <a:pt x="184" y="0"/>
                </a:lnTo>
                <a:lnTo>
                  <a:pt x="190" y="0"/>
                </a:lnTo>
                <a:lnTo>
                  <a:pt x="695" y="0"/>
                </a:lnTo>
                <a:lnTo>
                  <a:pt x="695" y="0"/>
                </a:lnTo>
                <a:lnTo>
                  <a:pt x="701" y="0"/>
                </a:lnTo>
                <a:lnTo>
                  <a:pt x="707" y="2"/>
                </a:lnTo>
                <a:lnTo>
                  <a:pt x="713" y="5"/>
                </a:lnTo>
                <a:lnTo>
                  <a:pt x="717" y="9"/>
                </a:lnTo>
                <a:lnTo>
                  <a:pt x="721" y="14"/>
                </a:lnTo>
                <a:lnTo>
                  <a:pt x="724" y="19"/>
                </a:lnTo>
                <a:lnTo>
                  <a:pt x="726" y="25"/>
                </a:lnTo>
                <a:lnTo>
                  <a:pt x="727" y="31"/>
                </a:lnTo>
                <a:lnTo>
                  <a:pt x="1203" y="6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66" name="Freeform 2138"/>
          <p:cNvSpPr>
            <a:spLocks/>
          </p:cNvSpPr>
          <p:nvPr/>
        </p:nvSpPr>
        <p:spPr bwMode="auto">
          <a:xfrm>
            <a:off x="1595439" y="4495737"/>
            <a:ext cx="317500" cy="190500"/>
          </a:xfrm>
          <a:custGeom>
            <a:avLst/>
            <a:gdLst>
              <a:gd name="T0" fmla="*/ 1203 w 1203"/>
              <a:gd name="T1" fmla="*/ 687 h 718"/>
              <a:gd name="T2" fmla="*/ 1203 w 1203"/>
              <a:gd name="T3" fmla="*/ 687 h 718"/>
              <a:gd name="T4" fmla="*/ 1202 w 1203"/>
              <a:gd name="T5" fmla="*/ 693 h 718"/>
              <a:gd name="T6" fmla="*/ 1200 w 1203"/>
              <a:gd name="T7" fmla="*/ 699 h 718"/>
              <a:gd name="T8" fmla="*/ 1197 w 1203"/>
              <a:gd name="T9" fmla="*/ 705 h 718"/>
              <a:gd name="T10" fmla="*/ 1193 w 1203"/>
              <a:gd name="T11" fmla="*/ 709 h 718"/>
              <a:gd name="T12" fmla="*/ 1188 w 1203"/>
              <a:gd name="T13" fmla="*/ 713 h 718"/>
              <a:gd name="T14" fmla="*/ 1183 w 1203"/>
              <a:gd name="T15" fmla="*/ 716 h 718"/>
              <a:gd name="T16" fmla="*/ 1177 w 1203"/>
              <a:gd name="T17" fmla="*/ 718 h 718"/>
              <a:gd name="T18" fmla="*/ 1170 w 1203"/>
              <a:gd name="T19" fmla="*/ 718 h 718"/>
              <a:gd name="T20" fmla="*/ 32 w 1203"/>
              <a:gd name="T21" fmla="*/ 718 h 718"/>
              <a:gd name="T22" fmla="*/ 32 w 1203"/>
              <a:gd name="T23" fmla="*/ 718 h 718"/>
              <a:gd name="T24" fmla="*/ 25 w 1203"/>
              <a:gd name="T25" fmla="*/ 718 h 718"/>
              <a:gd name="T26" fmla="*/ 19 w 1203"/>
              <a:gd name="T27" fmla="*/ 716 h 718"/>
              <a:gd name="T28" fmla="*/ 14 w 1203"/>
              <a:gd name="T29" fmla="*/ 713 h 718"/>
              <a:gd name="T30" fmla="*/ 9 w 1203"/>
              <a:gd name="T31" fmla="*/ 709 h 718"/>
              <a:gd name="T32" fmla="*/ 6 w 1203"/>
              <a:gd name="T33" fmla="*/ 705 h 718"/>
              <a:gd name="T34" fmla="*/ 3 w 1203"/>
              <a:gd name="T35" fmla="*/ 699 h 718"/>
              <a:gd name="T36" fmla="*/ 1 w 1203"/>
              <a:gd name="T37" fmla="*/ 693 h 718"/>
              <a:gd name="T38" fmla="*/ 0 w 1203"/>
              <a:gd name="T39" fmla="*/ 687 h 718"/>
              <a:gd name="T40" fmla="*/ 159 w 1203"/>
              <a:gd name="T41" fmla="*/ 31 h 718"/>
              <a:gd name="T42" fmla="*/ 159 w 1203"/>
              <a:gd name="T43" fmla="*/ 31 h 718"/>
              <a:gd name="T44" fmla="*/ 160 w 1203"/>
              <a:gd name="T45" fmla="*/ 25 h 718"/>
              <a:gd name="T46" fmla="*/ 162 w 1203"/>
              <a:gd name="T47" fmla="*/ 19 h 718"/>
              <a:gd name="T48" fmla="*/ 164 w 1203"/>
              <a:gd name="T49" fmla="*/ 14 h 718"/>
              <a:gd name="T50" fmla="*/ 168 w 1203"/>
              <a:gd name="T51" fmla="*/ 9 h 718"/>
              <a:gd name="T52" fmla="*/ 173 w 1203"/>
              <a:gd name="T53" fmla="*/ 5 h 718"/>
              <a:gd name="T54" fmla="*/ 178 w 1203"/>
              <a:gd name="T55" fmla="*/ 2 h 718"/>
              <a:gd name="T56" fmla="*/ 184 w 1203"/>
              <a:gd name="T57" fmla="*/ 0 h 718"/>
              <a:gd name="T58" fmla="*/ 190 w 1203"/>
              <a:gd name="T59" fmla="*/ 0 h 718"/>
              <a:gd name="T60" fmla="*/ 695 w 1203"/>
              <a:gd name="T61" fmla="*/ 0 h 718"/>
              <a:gd name="T62" fmla="*/ 695 w 1203"/>
              <a:gd name="T63" fmla="*/ 0 h 718"/>
              <a:gd name="T64" fmla="*/ 701 w 1203"/>
              <a:gd name="T65" fmla="*/ 0 h 718"/>
              <a:gd name="T66" fmla="*/ 707 w 1203"/>
              <a:gd name="T67" fmla="*/ 2 h 718"/>
              <a:gd name="T68" fmla="*/ 713 w 1203"/>
              <a:gd name="T69" fmla="*/ 5 h 718"/>
              <a:gd name="T70" fmla="*/ 717 w 1203"/>
              <a:gd name="T71" fmla="*/ 9 h 718"/>
              <a:gd name="T72" fmla="*/ 721 w 1203"/>
              <a:gd name="T73" fmla="*/ 14 h 718"/>
              <a:gd name="T74" fmla="*/ 724 w 1203"/>
              <a:gd name="T75" fmla="*/ 19 h 718"/>
              <a:gd name="T76" fmla="*/ 726 w 1203"/>
              <a:gd name="T77" fmla="*/ 25 h 718"/>
              <a:gd name="T78" fmla="*/ 727 w 1203"/>
              <a:gd name="T79" fmla="*/ 31 h 718"/>
              <a:gd name="T80" fmla="*/ 1203 w 1203"/>
              <a:gd name="T81" fmla="*/ 687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03" h="718">
                <a:moveTo>
                  <a:pt x="1203" y="687"/>
                </a:moveTo>
                <a:lnTo>
                  <a:pt x="1203" y="687"/>
                </a:lnTo>
                <a:lnTo>
                  <a:pt x="1202" y="693"/>
                </a:lnTo>
                <a:lnTo>
                  <a:pt x="1200" y="699"/>
                </a:lnTo>
                <a:lnTo>
                  <a:pt x="1197" y="705"/>
                </a:lnTo>
                <a:lnTo>
                  <a:pt x="1193" y="709"/>
                </a:lnTo>
                <a:lnTo>
                  <a:pt x="1188" y="713"/>
                </a:lnTo>
                <a:lnTo>
                  <a:pt x="1183" y="716"/>
                </a:lnTo>
                <a:lnTo>
                  <a:pt x="1177" y="718"/>
                </a:lnTo>
                <a:lnTo>
                  <a:pt x="1170" y="718"/>
                </a:lnTo>
                <a:lnTo>
                  <a:pt x="32" y="718"/>
                </a:lnTo>
                <a:lnTo>
                  <a:pt x="32" y="718"/>
                </a:lnTo>
                <a:lnTo>
                  <a:pt x="25" y="718"/>
                </a:lnTo>
                <a:lnTo>
                  <a:pt x="19" y="716"/>
                </a:lnTo>
                <a:lnTo>
                  <a:pt x="14" y="713"/>
                </a:lnTo>
                <a:lnTo>
                  <a:pt x="9" y="709"/>
                </a:lnTo>
                <a:lnTo>
                  <a:pt x="6" y="705"/>
                </a:lnTo>
                <a:lnTo>
                  <a:pt x="3" y="699"/>
                </a:lnTo>
                <a:lnTo>
                  <a:pt x="1" y="693"/>
                </a:lnTo>
                <a:lnTo>
                  <a:pt x="0" y="687"/>
                </a:lnTo>
                <a:lnTo>
                  <a:pt x="159" y="31"/>
                </a:lnTo>
                <a:lnTo>
                  <a:pt x="159" y="31"/>
                </a:lnTo>
                <a:lnTo>
                  <a:pt x="160" y="25"/>
                </a:lnTo>
                <a:lnTo>
                  <a:pt x="162" y="19"/>
                </a:lnTo>
                <a:lnTo>
                  <a:pt x="164" y="14"/>
                </a:lnTo>
                <a:lnTo>
                  <a:pt x="168" y="9"/>
                </a:lnTo>
                <a:lnTo>
                  <a:pt x="173" y="5"/>
                </a:lnTo>
                <a:lnTo>
                  <a:pt x="178" y="2"/>
                </a:lnTo>
                <a:lnTo>
                  <a:pt x="184" y="0"/>
                </a:lnTo>
                <a:lnTo>
                  <a:pt x="190" y="0"/>
                </a:lnTo>
                <a:lnTo>
                  <a:pt x="695" y="0"/>
                </a:lnTo>
                <a:lnTo>
                  <a:pt x="695" y="0"/>
                </a:lnTo>
                <a:lnTo>
                  <a:pt x="701" y="0"/>
                </a:lnTo>
                <a:lnTo>
                  <a:pt x="707" y="2"/>
                </a:lnTo>
                <a:lnTo>
                  <a:pt x="713" y="5"/>
                </a:lnTo>
                <a:lnTo>
                  <a:pt x="717" y="9"/>
                </a:lnTo>
                <a:lnTo>
                  <a:pt x="721" y="14"/>
                </a:lnTo>
                <a:lnTo>
                  <a:pt x="724" y="19"/>
                </a:lnTo>
                <a:lnTo>
                  <a:pt x="726" y="25"/>
                </a:lnTo>
                <a:lnTo>
                  <a:pt x="727" y="31"/>
                </a:lnTo>
                <a:lnTo>
                  <a:pt x="1203" y="6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67" name="Freeform 2139"/>
          <p:cNvSpPr>
            <a:spLocks/>
          </p:cNvSpPr>
          <p:nvPr/>
        </p:nvSpPr>
        <p:spPr bwMode="auto">
          <a:xfrm>
            <a:off x="1195389" y="4495737"/>
            <a:ext cx="317500" cy="190500"/>
          </a:xfrm>
          <a:custGeom>
            <a:avLst/>
            <a:gdLst>
              <a:gd name="T0" fmla="*/ 1202 w 1202"/>
              <a:gd name="T1" fmla="*/ 687 h 718"/>
              <a:gd name="T2" fmla="*/ 1202 w 1202"/>
              <a:gd name="T3" fmla="*/ 687 h 718"/>
              <a:gd name="T4" fmla="*/ 1201 w 1202"/>
              <a:gd name="T5" fmla="*/ 693 h 718"/>
              <a:gd name="T6" fmla="*/ 1199 w 1202"/>
              <a:gd name="T7" fmla="*/ 699 h 718"/>
              <a:gd name="T8" fmla="*/ 1196 w 1202"/>
              <a:gd name="T9" fmla="*/ 705 h 718"/>
              <a:gd name="T10" fmla="*/ 1193 w 1202"/>
              <a:gd name="T11" fmla="*/ 709 h 718"/>
              <a:gd name="T12" fmla="*/ 1188 w 1202"/>
              <a:gd name="T13" fmla="*/ 713 h 718"/>
              <a:gd name="T14" fmla="*/ 1183 w 1202"/>
              <a:gd name="T15" fmla="*/ 716 h 718"/>
              <a:gd name="T16" fmla="*/ 1177 w 1202"/>
              <a:gd name="T17" fmla="*/ 718 h 718"/>
              <a:gd name="T18" fmla="*/ 1170 w 1202"/>
              <a:gd name="T19" fmla="*/ 718 h 718"/>
              <a:gd name="T20" fmla="*/ 32 w 1202"/>
              <a:gd name="T21" fmla="*/ 718 h 718"/>
              <a:gd name="T22" fmla="*/ 32 w 1202"/>
              <a:gd name="T23" fmla="*/ 718 h 718"/>
              <a:gd name="T24" fmla="*/ 25 w 1202"/>
              <a:gd name="T25" fmla="*/ 718 h 718"/>
              <a:gd name="T26" fmla="*/ 19 w 1202"/>
              <a:gd name="T27" fmla="*/ 716 h 718"/>
              <a:gd name="T28" fmla="*/ 14 w 1202"/>
              <a:gd name="T29" fmla="*/ 713 h 718"/>
              <a:gd name="T30" fmla="*/ 9 w 1202"/>
              <a:gd name="T31" fmla="*/ 709 h 718"/>
              <a:gd name="T32" fmla="*/ 6 w 1202"/>
              <a:gd name="T33" fmla="*/ 705 h 718"/>
              <a:gd name="T34" fmla="*/ 3 w 1202"/>
              <a:gd name="T35" fmla="*/ 699 h 718"/>
              <a:gd name="T36" fmla="*/ 1 w 1202"/>
              <a:gd name="T37" fmla="*/ 693 h 718"/>
              <a:gd name="T38" fmla="*/ 0 w 1202"/>
              <a:gd name="T39" fmla="*/ 687 h 718"/>
              <a:gd name="T40" fmla="*/ 159 w 1202"/>
              <a:gd name="T41" fmla="*/ 31 h 718"/>
              <a:gd name="T42" fmla="*/ 159 w 1202"/>
              <a:gd name="T43" fmla="*/ 31 h 718"/>
              <a:gd name="T44" fmla="*/ 160 w 1202"/>
              <a:gd name="T45" fmla="*/ 25 h 718"/>
              <a:gd name="T46" fmla="*/ 162 w 1202"/>
              <a:gd name="T47" fmla="*/ 19 h 718"/>
              <a:gd name="T48" fmla="*/ 164 w 1202"/>
              <a:gd name="T49" fmla="*/ 14 h 718"/>
              <a:gd name="T50" fmla="*/ 168 w 1202"/>
              <a:gd name="T51" fmla="*/ 9 h 718"/>
              <a:gd name="T52" fmla="*/ 173 w 1202"/>
              <a:gd name="T53" fmla="*/ 5 h 718"/>
              <a:gd name="T54" fmla="*/ 178 w 1202"/>
              <a:gd name="T55" fmla="*/ 2 h 718"/>
              <a:gd name="T56" fmla="*/ 184 w 1202"/>
              <a:gd name="T57" fmla="*/ 0 h 718"/>
              <a:gd name="T58" fmla="*/ 190 w 1202"/>
              <a:gd name="T59" fmla="*/ 0 h 718"/>
              <a:gd name="T60" fmla="*/ 695 w 1202"/>
              <a:gd name="T61" fmla="*/ 0 h 718"/>
              <a:gd name="T62" fmla="*/ 695 w 1202"/>
              <a:gd name="T63" fmla="*/ 0 h 718"/>
              <a:gd name="T64" fmla="*/ 701 w 1202"/>
              <a:gd name="T65" fmla="*/ 0 h 718"/>
              <a:gd name="T66" fmla="*/ 707 w 1202"/>
              <a:gd name="T67" fmla="*/ 2 h 718"/>
              <a:gd name="T68" fmla="*/ 713 w 1202"/>
              <a:gd name="T69" fmla="*/ 5 h 718"/>
              <a:gd name="T70" fmla="*/ 717 w 1202"/>
              <a:gd name="T71" fmla="*/ 9 h 718"/>
              <a:gd name="T72" fmla="*/ 721 w 1202"/>
              <a:gd name="T73" fmla="*/ 14 h 718"/>
              <a:gd name="T74" fmla="*/ 724 w 1202"/>
              <a:gd name="T75" fmla="*/ 19 h 718"/>
              <a:gd name="T76" fmla="*/ 726 w 1202"/>
              <a:gd name="T77" fmla="*/ 25 h 718"/>
              <a:gd name="T78" fmla="*/ 726 w 1202"/>
              <a:gd name="T79" fmla="*/ 31 h 718"/>
              <a:gd name="T80" fmla="*/ 1202 w 1202"/>
              <a:gd name="T81" fmla="*/ 687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02" h="718">
                <a:moveTo>
                  <a:pt x="1202" y="687"/>
                </a:moveTo>
                <a:lnTo>
                  <a:pt x="1202" y="687"/>
                </a:lnTo>
                <a:lnTo>
                  <a:pt x="1201" y="693"/>
                </a:lnTo>
                <a:lnTo>
                  <a:pt x="1199" y="699"/>
                </a:lnTo>
                <a:lnTo>
                  <a:pt x="1196" y="705"/>
                </a:lnTo>
                <a:lnTo>
                  <a:pt x="1193" y="709"/>
                </a:lnTo>
                <a:lnTo>
                  <a:pt x="1188" y="713"/>
                </a:lnTo>
                <a:lnTo>
                  <a:pt x="1183" y="716"/>
                </a:lnTo>
                <a:lnTo>
                  <a:pt x="1177" y="718"/>
                </a:lnTo>
                <a:lnTo>
                  <a:pt x="1170" y="718"/>
                </a:lnTo>
                <a:lnTo>
                  <a:pt x="32" y="718"/>
                </a:lnTo>
                <a:lnTo>
                  <a:pt x="32" y="718"/>
                </a:lnTo>
                <a:lnTo>
                  <a:pt x="25" y="718"/>
                </a:lnTo>
                <a:lnTo>
                  <a:pt x="19" y="716"/>
                </a:lnTo>
                <a:lnTo>
                  <a:pt x="14" y="713"/>
                </a:lnTo>
                <a:lnTo>
                  <a:pt x="9" y="709"/>
                </a:lnTo>
                <a:lnTo>
                  <a:pt x="6" y="705"/>
                </a:lnTo>
                <a:lnTo>
                  <a:pt x="3" y="699"/>
                </a:lnTo>
                <a:lnTo>
                  <a:pt x="1" y="693"/>
                </a:lnTo>
                <a:lnTo>
                  <a:pt x="0" y="687"/>
                </a:lnTo>
                <a:lnTo>
                  <a:pt x="159" y="31"/>
                </a:lnTo>
                <a:lnTo>
                  <a:pt x="159" y="31"/>
                </a:lnTo>
                <a:lnTo>
                  <a:pt x="160" y="25"/>
                </a:lnTo>
                <a:lnTo>
                  <a:pt x="162" y="19"/>
                </a:lnTo>
                <a:lnTo>
                  <a:pt x="164" y="14"/>
                </a:lnTo>
                <a:lnTo>
                  <a:pt x="168" y="9"/>
                </a:lnTo>
                <a:lnTo>
                  <a:pt x="173" y="5"/>
                </a:lnTo>
                <a:lnTo>
                  <a:pt x="178" y="2"/>
                </a:lnTo>
                <a:lnTo>
                  <a:pt x="184" y="0"/>
                </a:lnTo>
                <a:lnTo>
                  <a:pt x="190" y="0"/>
                </a:lnTo>
                <a:lnTo>
                  <a:pt x="695" y="0"/>
                </a:lnTo>
                <a:lnTo>
                  <a:pt x="695" y="0"/>
                </a:lnTo>
                <a:lnTo>
                  <a:pt x="701" y="0"/>
                </a:lnTo>
                <a:lnTo>
                  <a:pt x="707" y="2"/>
                </a:lnTo>
                <a:lnTo>
                  <a:pt x="713" y="5"/>
                </a:lnTo>
                <a:lnTo>
                  <a:pt x="717" y="9"/>
                </a:lnTo>
                <a:lnTo>
                  <a:pt x="721" y="14"/>
                </a:lnTo>
                <a:lnTo>
                  <a:pt x="724" y="19"/>
                </a:lnTo>
                <a:lnTo>
                  <a:pt x="726" y="25"/>
                </a:lnTo>
                <a:lnTo>
                  <a:pt x="726" y="31"/>
                </a:lnTo>
                <a:lnTo>
                  <a:pt x="1202" y="6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68" name="Freeform 2140"/>
          <p:cNvSpPr>
            <a:spLocks/>
          </p:cNvSpPr>
          <p:nvPr/>
        </p:nvSpPr>
        <p:spPr bwMode="auto">
          <a:xfrm>
            <a:off x="855665" y="4652899"/>
            <a:ext cx="1971675" cy="366712"/>
          </a:xfrm>
          <a:custGeom>
            <a:avLst/>
            <a:gdLst>
              <a:gd name="T0" fmla="*/ 7451 w 7451"/>
              <a:gd name="T1" fmla="*/ 1340 h 1387"/>
              <a:gd name="T2" fmla="*/ 7451 w 7451"/>
              <a:gd name="T3" fmla="*/ 1340 h 1387"/>
              <a:gd name="T4" fmla="*/ 7450 w 7451"/>
              <a:gd name="T5" fmla="*/ 1349 h 1387"/>
              <a:gd name="T6" fmla="*/ 7447 w 7451"/>
              <a:gd name="T7" fmla="*/ 1358 h 1387"/>
              <a:gd name="T8" fmla="*/ 7442 w 7451"/>
              <a:gd name="T9" fmla="*/ 1366 h 1387"/>
              <a:gd name="T10" fmla="*/ 7436 w 7451"/>
              <a:gd name="T11" fmla="*/ 1373 h 1387"/>
              <a:gd name="T12" fmla="*/ 7428 w 7451"/>
              <a:gd name="T13" fmla="*/ 1379 h 1387"/>
              <a:gd name="T14" fmla="*/ 7419 w 7451"/>
              <a:gd name="T15" fmla="*/ 1384 h 1387"/>
              <a:gd name="T16" fmla="*/ 7410 w 7451"/>
              <a:gd name="T17" fmla="*/ 1386 h 1387"/>
              <a:gd name="T18" fmla="*/ 7400 w 7451"/>
              <a:gd name="T19" fmla="*/ 1387 h 1387"/>
              <a:gd name="T20" fmla="*/ 51 w 7451"/>
              <a:gd name="T21" fmla="*/ 1387 h 1387"/>
              <a:gd name="T22" fmla="*/ 51 w 7451"/>
              <a:gd name="T23" fmla="*/ 1387 h 1387"/>
              <a:gd name="T24" fmla="*/ 41 w 7451"/>
              <a:gd name="T25" fmla="*/ 1386 h 1387"/>
              <a:gd name="T26" fmla="*/ 32 w 7451"/>
              <a:gd name="T27" fmla="*/ 1384 h 1387"/>
              <a:gd name="T28" fmla="*/ 23 w 7451"/>
              <a:gd name="T29" fmla="*/ 1379 h 1387"/>
              <a:gd name="T30" fmla="*/ 15 w 7451"/>
              <a:gd name="T31" fmla="*/ 1373 h 1387"/>
              <a:gd name="T32" fmla="*/ 9 w 7451"/>
              <a:gd name="T33" fmla="*/ 1366 h 1387"/>
              <a:gd name="T34" fmla="*/ 4 w 7451"/>
              <a:gd name="T35" fmla="*/ 1358 h 1387"/>
              <a:gd name="T36" fmla="*/ 1 w 7451"/>
              <a:gd name="T37" fmla="*/ 1349 h 1387"/>
              <a:gd name="T38" fmla="*/ 0 w 7451"/>
              <a:gd name="T39" fmla="*/ 1340 h 1387"/>
              <a:gd name="T40" fmla="*/ 293 w 7451"/>
              <a:gd name="T41" fmla="*/ 48 h 1387"/>
              <a:gd name="T42" fmla="*/ 293 w 7451"/>
              <a:gd name="T43" fmla="*/ 48 h 1387"/>
              <a:gd name="T44" fmla="*/ 294 w 7451"/>
              <a:gd name="T45" fmla="*/ 38 h 1387"/>
              <a:gd name="T46" fmla="*/ 297 w 7451"/>
              <a:gd name="T47" fmla="*/ 29 h 1387"/>
              <a:gd name="T48" fmla="*/ 302 w 7451"/>
              <a:gd name="T49" fmla="*/ 21 h 1387"/>
              <a:gd name="T50" fmla="*/ 308 w 7451"/>
              <a:gd name="T51" fmla="*/ 14 h 1387"/>
              <a:gd name="T52" fmla="*/ 315 w 7451"/>
              <a:gd name="T53" fmla="*/ 8 h 1387"/>
              <a:gd name="T54" fmla="*/ 324 w 7451"/>
              <a:gd name="T55" fmla="*/ 4 h 1387"/>
              <a:gd name="T56" fmla="*/ 333 w 7451"/>
              <a:gd name="T57" fmla="*/ 1 h 1387"/>
              <a:gd name="T58" fmla="*/ 343 w 7451"/>
              <a:gd name="T59" fmla="*/ 0 h 1387"/>
              <a:gd name="T60" fmla="*/ 7044 w 7451"/>
              <a:gd name="T61" fmla="*/ 0 h 1387"/>
              <a:gd name="T62" fmla="*/ 7044 w 7451"/>
              <a:gd name="T63" fmla="*/ 0 h 1387"/>
              <a:gd name="T64" fmla="*/ 7054 w 7451"/>
              <a:gd name="T65" fmla="*/ 1 h 1387"/>
              <a:gd name="T66" fmla="*/ 7063 w 7451"/>
              <a:gd name="T67" fmla="*/ 4 h 1387"/>
              <a:gd name="T68" fmla="*/ 7072 w 7451"/>
              <a:gd name="T69" fmla="*/ 8 h 1387"/>
              <a:gd name="T70" fmla="*/ 7080 w 7451"/>
              <a:gd name="T71" fmla="*/ 14 h 1387"/>
              <a:gd name="T72" fmla="*/ 7086 w 7451"/>
              <a:gd name="T73" fmla="*/ 21 h 1387"/>
              <a:gd name="T74" fmla="*/ 7091 w 7451"/>
              <a:gd name="T75" fmla="*/ 29 h 1387"/>
              <a:gd name="T76" fmla="*/ 7094 w 7451"/>
              <a:gd name="T77" fmla="*/ 38 h 1387"/>
              <a:gd name="T78" fmla="*/ 7095 w 7451"/>
              <a:gd name="T79" fmla="*/ 48 h 1387"/>
              <a:gd name="T80" fmla="*/ 7451 w 7451"/>
              <a:gd name="T81" fmla="*/ 1340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51" h="1387">
                <a:moveTo>
                  <a:pt x="7451" y="1340"/>
                </a:moveTo>
                <a:lnTo>
                  <a:pt x="7451" y="1340"/>
                </a:lnTo>
                <a:lnTo>
                  <a:pt x="7450" y="1349"/>
                </a:lnTo>
                <a:lnTo>
                  <a:pt x="7447" y="1358"/>
                </a:lnTo>
                <a:lnTo>
                  <a:pt x="7442" y="1366"/>
                </a:lnTo>
                <a:lnTo>
                  <a:pt x="7436" y="1373"/>
                </a:lnTo>
                <a:lnTo>
                  <a:pt x="7428" y="1379"/>
                </a:lnTo>
                <a:lnTo>
                  <a:pt x="7419" y="1384"/>
                </a:lnTo>
                <a:lnTo>
                  <a:pt x="7410" y="1386"/>
                </a:lnTo>
                <a:lnTo>
                  <a:pt x="7400" y="1387"/>
                </a:lnTo>
                <a:lnTo>
                  <a:pt x="51" y="1387"/>
                </a:lnTo>
                <a:lnTo>
                  <a:pt x="51" y="1387"/>
                </a:lnTo>
                <a:lnTo>
                  <a:pt x="41" y="1386"/>
                </a:lnTo>
                <a:lnTo>
                  <a:pt x="32" y="1384"/>
                </a:lnTo>
                <a:lnTo>
                  <a:pt x="23" y="1379"/>
                </a:lnTo>
                <a:lnTo>
                  <a:pt x="15" y="1373"/>
                </a:lnTo>
                <a:lnTo>
                  <a:pt x="9" y="1366"/>
                </a:lnTo>
                <a:lnTo>
                  <a:pt x="4" y="1358"/>
                </a:lnTo>
                <a:lnTo>
                  <a:pt x="1" y="1349"/>
                </a:lnTo>
                <a:lnTo>
                  <a:pt x="0" y="1340"/>
                </a:lnTo>
                <a:lnTo>
                  <a:pt x="293" y="48"/>
                </a:lnTo>
                <a:lnTo>
                  <a:pt x="293" y="48"/>
                </a:lnTo>
                <a:lnTo>
                  <a:pt x="294" y="38"/>
                </a:lnTo>
                <a:lnTo>
                  <a:pt x="297" y="29"/>
                </a:lnTo>
                <a:lnTo>
                  <a:pt x="302" y="21"/>
                </a:lnTo>
                <a:lnTo>
                  <a:pt x="308" y="14"/>
                </a:lnTo>
                <a:lnTo>
                  <a:pt x="315" y="8"/>
                </a:lnTo>
                <a:lnTo>
                  <a:pt x="324" y="4"/>
                </a:lnTo>
                <a:lnTo>
                  <a:pt x="333" y="1"/>
                </a:lnTo>
                <a:lnTo>
                  <a:pt x="343" y="0"/>
                </a:lnTo>
                <a:lnTo>
                  <a:pt x="7044" y="0"/>
                </a:lnTo>
                <a:lnTo>
                  <a:pt x="7044" y="0"/>
                </a:lnTo>
                <a:lnTo>
                  <a:pt x="7054" y="1"/>
                </a:lnTo>
                <a:lnTo>
                  <a:pt x="7063" y="4"/>
                </a:lnTo>
                <a:lnTo>
                  <a:pt x="7072" y="8"/>
                </a:lnTo>
                <a:lnTo>
                  <a:pt x="7080" y="14"/>
                </a:lnTo>
                <a:lnTo>
                  <a:pt x="7086" y="21"/>
                </a:lnTo>
                <a:lnTo>
                  <a:pt x="7091" y="29"/>
                </a:lnTo>
                <a:lnTo>
                  <a:pt x="7094" y="38"/>
                </a:lnTo>
                <a:lnTo>
                  <a:pt x="7095" y="48"/>
                </a:lnTo>
                <a:lnTo>
                  <a:pt x="7451" y="13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69" name="Freeform 2141"/>
          <p:cNvSpPr>
            <a:spLocks/>
          </p:cNvSpPr>
          <p:nvPr/>
        </p:nvSpPr>
        <p:spPr bwMode="auto">
          <a:xfrm>
            <a:off x="1025526" y="4721162"/>
            <a:ext cx="84138" cy="49212"/>
          </a:xfrm>
          <a:custGeom>
            <a:avLst/>
            <a:gdLst>
              <a:gd name="T0" fmla="*/ 317 w 317"/>
              <a:gd name="T1" fmla="*/ 75 h 186"/>
              <a:gd name="T2" fmla="*/ 315 w 317"/>
              <a:gd name="T3" fmla="*/ 59 h 186"/>
              <a:gd name="T4" fmla="*/ 311 w 317"/>
              <a:gd name="T5" fmla="*/ 45 h 186"/>
              <a:gd name="T6" fmla="*/ 304 w 317"/>
              <a:gd name="T7" fmla="*/ 33 h 186"/>
              <a:gd name="T8" fmla="*/ 295 w 317"/>
              <a:gd name="T9" fmla="*/ 22 h 186"/>
              <a:gd name="T10" fmla="*/ 284 w 317"/>
              <a:gd name="T11" fmla="*/ 13 h 186"/>
              <a:gd name="T12" fmla="*/ 272 w 317"/>
              <a:gd name="T13" fmla="*/ 6 h 186"/>
              <a:gd name="T14" fmla="*/ 257 w 317"/>
              <a:gd name="T15" fmla="*/ 2 h 186"/>
              <a:gd name="T16" fmla="*/ 242 w 317"/>
              <a:gd name="T17" fmla="*/ 0 h 186"/>
              <a:gd name="T18" fmla="*/ 74 w 317"/>
              <a:gd name="T19" fmla="*/ 0 h 186"/>
              <a:gd name="T20" fmla="*/ 59 w 317"/>
              <a:gd name="T21" fmla="*/ 2 h 186"/>
              <a:gd name="T22" fmla="*/ 45 w 317"/>
              <a:gd name="T23" fmla="*/ 6 h 186"/>
              <a:gd name="T24" fmla="*/ 32 w 317"/>
              <a:gd name="T25" fmla="*/ 13 h 186"/>
              <a:gd name="T26" fmla="*/ 22 w 317"/>
              <a:gd name="T27" fmla="*/ 22 h 186"/>
              <a:gd name="T28" fmla="*/ 13 w 317"/>
              <a:gd name="T29" fmla="*/ 33 h 186"/>
              <a:gd name="T30" fmla="*/ 6 w 317"/>
              <a:gd name="T31" fmla="*/ 45 h 186"/>
              <a:gd name="T32" fmla="*/ 1 w 317"/>
              <a:gd name="T33" fmla="*/ 59 h 186"/>
              <a:gd name="T34" fmla="*/ 0 w 317"/>
              <a:gd name="T35" fmla="*/ 75 h 186"/>
              <a:gd name="T36" fmla="*/ 0 w 317"/>
              <a:gd name="T37" fmla="*/ 112 h 186"/>
              <a:gd name="T38" fmla="*/ 1 w 317"/>
              <a:gd name="T39" fmla="*/ 126 h 186"/>
              <a:gd name="T40" fmla="*/ 6 w 317"/>
              <a:gd name="T41" fmla="*/ 140 h 186"/>
              <a:gd name="T42" fmla="*/ 13 w 317"/>
              <a:gd name="T43" fmla="*/ 153 h 186"/>
              <a:gd name="T44" fmla="*/ 22 w 317"/>
              <a:gd name="T45" fmla="*/ 165 h 186"/>
              <a:gd name="T46" fmla="*/ 32 w 317"/>
              <a:gd name="T47" fmla="*/ 174 h 186"/>
              <a:gd name="T48" fmla="*/ 45 w 317"/>
              <a:gd name="T49" fmla="*/ 180 h 186"/>
              <a:gd name="T50" fmla="*/ 59 w 317"/>
              <a:gd name="T51" fmla="*/ 185 h 186"/>
              <a:gd name="T52" fmla="*/ 74 w 317"/>
              <a:gd name="T53" fmla="*/ 186 h 186"/>
              <a:gd name="T54" fmla="*/ 242 w 317"/>
              <a:gd name="T55" fmla="*/ 186 h 186"/>
              <a:gd name="T56" fmla="*/ 257 w 317"/>
              <a:gd name="T57" fmla="*/ 185 h 186"/>
              <a:gd name="T58" fmla="*/ 272 w 317"/>
              <a:gd name="T59" fmla="*/ 180 h 186"/>
              <a:gd name="T60" fmla="*/ 284 w 317"/>
              <a:gd name="T61" fmla="*/ 174 h 186"/>
              <a:gd name="T62" fmla="*/ 295 w 317"/>
              <a:gd name="T63" fmla="*/ 165 h 186"/>
              <a:gd name="T64" fmla="*/ 304 w 317"/>
              <a:gd name="T65" fmla="*/ 153 h 186"/>
              <a:gd name="T66" fmla="*/ 311 w 317"/>
              <a:gd name="T67" fmla="*/ 140 h 186"/>
              <a:gd name="T68" fmla="*/ 315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6"/>
                </a:lnTo>
                <a:lnTo>
                  <a:pt x="315" y="59"/>
                </a:lnTo>
                <a:lnTo>
                  <a:pt x="313" y="52"/>
                </a:lnTo>
                <a:lnTo>
                  <a:pt x="311" y="45"/>
                </a:lnTo>
                <a:lnTo>
                  <a:pt x="308" y="39"/>
                </a:lnTo>
                <a:lnTo>
                  <a:pt x="304" y="33"/>
                </a:lnTo>
                <a:lnTo>
                  <a:pt x="300" y="27"/>
                </a:lnTo>
                <a:lnTo>
                  <a:pt x="295" y="22"/>
                </a:lnTo>
                <a:lnTo>
                  <a:pt x="290" y="17"/>
                </a:lnTo>
                <a:lnTo>
                  <a:pt x="284" y="13"/>
                </a:lnTo>
                <a:lnTo>
                  <a:pt x="278" y="9"/>
                </a:lnTo>
                <a:lnTo>
                  <a:pt x="272" y="6"/>
                </a:lnTo>
                <a:lnTo>
                  <a:pt x="265" y="4"/>
                </a:lnTo>
                <a:lnTo>
                  <a:pt x="257" y="2"/>
                </a:lnTo>
                <a:lnTo>
                  <a:pt x="250" y="1"/>
                </a:lnTo>
                <a:lnTo>
                  <a:pt x="242" y="0"/>
                </a:lnTo>
                <a:lnTo>
                  <a:pt x="74" y="0"/>
                </a:lnTo>
                <a:lnTo>
                  <a:pt x="74" y="0"/>
                </a:lnTo>
                <a:lnTo>
                  <a:pt x="66" y="1"/>
                </a:lnTo>
                <a:lnTo>
                  <a:pt x="59" y="2"/>
                </a:lnTo>
                <a:lnTo>
                  <a:pt x="52" y="4"/>
                </a:lnTo>
                <a:lnTo>
                  <a:pt x="45" y="6"/>
                </a:lnTo>
                <a:lnTo>
                  <a:pt x="38" y="9"/>
                </a:lnTo>
                <a:lnTo>
                  <a:pt x="32" y="13"/>
                </a:lnTo>
                <a:lnTo>
                  <a:pt x="27" y="17"/>
                </a:lnTo>
                <a:lnTo>
                  <a:pt x="22" y="22"/>
                </a:lnTo>
                <a:lnTo>
                  <a:pt x="17" y="27"/>
                </a:lnTo>
                <a:lnTo>
                  <a:pt x="13" y="33"/>
                </a:lnTo>
                <a:lnTo>
                  <a:pt x="9" y="39"/>
                </a:lnTo>
                <a:lnTo>
                  <a:pt x="6" y="45"/>
                </a:lnTo>
                <a:lnTo>
                  <a:pt x="3" y="52"/>
                </a:lnTo>
                <a:lnTo>
                  <a:pt x="1" y="59"/>
                </a:lnTo>
                <a:lnTo>
                  <a:pt x="0" y="66"/>
                </a:lnTo>
                <a:lnTo>
                  <a:pt x="0" y="75"/>
                </a:lnTo>
                <a:lnTo>
                  <a:pt x="0" y="112"/>
                </a:lnTo>
                <a:lnTo>
                  <a:pt x="0" y="112"/>
                </a:lnTo>
                <a:lnTo>
                  <a:pt x="0" y="119"/>
                </a:lnTo>
                <a:lnTo>
                  <a:pt x="1" y="126"/>
                </a:lnTo>
                <a:lnTo>
                  <a:pt x="3" y="133"/>
                </a:lnTo>
                <a:lnTo>
                  <a:pt x="6" y="140"/>
                </a:lnTo>
                <a:lnTo>
                  <a:pt x="9" y="147"/>
                </a:lnTo>
                <a:lnTo>
                  <a:pt x="13" y="153"/>
                </a:lnTo>
                <a:lnTo>
                  <a:pt x="17" y="158"/>
                </a:lnTo>
                <a:lnTo>
                  <a:pt x="22" y="165"/>
                </a:lnTo>
                <a:lnTo>
                  <a:pt x="27" y="169"/>
                </a:lnTo>
                <a:lnTo>
                  <a:pt x="32" y="174"/>
                </a:lnTo>
                <a:lnTo>
                  <a:pt x="38" y="177"/>
                </a:lnTo>
                <a:lnTo>
                  <a:pt x="45" y="180"/>
                </a:lnTo>
                <a:lnTo>
                  <a:pt x="52" y="183"/>
                </a:lnTo>
                <a:lnTo>
                  <a:pt x="59" y="185"/>
                </a:lnTo>
                <a:lnTo>
                  <a:pt x="66" y="186"/>
                </a:lnTo>
                <a:lnTo>
                  <a:pt x="74" y="186"/>
                </a:lnTo>
                <a:lnTo>
                  <a:pt x="242" y="186"/>
                </a:lnTo>
                <a:lnTo>
                  <a:pt x="242" y="186"/>
                </a:lnTo>
                <a:lnTo>
                  <a:pt x="250" y="186"/>
                </a:lnTo>
                <a:lnTo>
                  <a:pt x="257" y="185"/>
                </a:lnTo>
                <a:lnTo>
                  <a:pt x="265" y="183"/>
                </a:lnTo>
                <a:lnTo>
                  <a:pt x="272" y="180"/>
                </a:lnTo>
                <a:lnTo>
                  <a:pt x="278" y="177"/>
                </a:lnTo>
                <a:lnTo>
                  <a:pt x="284" y="174"/>
                </a:lnTo>
                <a:lnTo>
                  <a:pt x="290" y="169"/>
                </a:lnTo>
                <a:lnTo>
                  <a:pt x="295" y="165"/>
                </a:lnTo>
                <a:lnTo>
                  <a:pt x="300" y="158"/>
                </a:lnTo>
                <a:lnTo>
                  <a:pt x="304" y="153"/>
                </a:lnTo>
                <a:lnTo>
                  <a:pt x="308" y="147"/>
                </a:lnTo>
                <a:lnTo>
                  <a:pt x="311" y="140"/>
                </a:lnTo>
                <a:lnTo>
                  <a:pt x="313" y="133"/>
                </a:lnTo>
                <a:lnTo>
                  <a:pt x="315" y="126"/>
                </a:lnTo>
                <a:lnTo>
                  <a:pt x="316"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0" name="Freeform 2142"/>
          <p:cNvSpPr>
            <a:spLocks/>
          </p:cNvSpPr>
          <p:nvPr/>
        </p:nvSpPr>
        <p:spPr bwMode="auto">
          <a:xfrm>
            <a:off x="1131889" y="4721162"/>
            <a:ext cx="84138" cy="49212"/>
          </a:xfrm>
          <a:custGeom>
            <a:avLst/>
            <a:gdLst>
              <a:gd name="T0" fmla="*/ 318 w 318"/>
              <a:gd name="T1" fmla="*/ 75 h 186"/>
              <a:gd name="T2" fmla="*/ 317 w 318"/>
              <a:gd name="T3" fmla="*/ 59 h 186"/>
              <a:gd name="T4" fmla="*/ 312 w 318"/>
              <a:gd name="T5" fmla="*/ 45 h 186"/>
              <a:gd name="T6" fmla="*/ 306 w 318"/>
              <a:gd name="T7" fmla="*/ 33 h 186"/>
              <a:gd name="T8" fmla="*/ 296 w 318"/>
              <a:gd name="T9" fmla="*/ 22 h 186"/>
              <a:gd name="T10" fmla="*/ 285 w 318"/>
              <a:gd name="T11" fmla="*/ 13 h 186"/>
              <a:gd name="T12" fmla="*/ 272 w 318"/>
              <a:gd name="T13" fmla="*/ 6 h 186"/>
              <a:gd name="T14" fmla="*/ 258 w 318"/>
              <a:gd name="T15" fmla="*/ 2 h 186"/>
              <a:gd name="T16" fmla="*/ 244 w 318"/>
              <a:gd name="T17" fmla="*/ 0 h 186"/>
              <a:gd name="T18" fmla="*/ 75 w 318"/>
              <a:gd name="T19" fmla="*/ 0 h 186"/>
              <a:gd name="T20" fmla="*/ 60 w 318"/>
              <a:gd name="T21" fmla="*/ 2 h 186"/>
              <a:gd name="T22" fmla="*/ 46 w 318"/>
              <a:gd name="T23" fmla="*/ 6 h 186"/>
              <a:gd name="T24" fmla="*/ 34 w 318"/>
              <a:gd name="T25" fmla="*/ 13 h 186"/>
              <a:gd name="T26" fmla="*/ 22 w 318"/>
              <a:gd name="T27" fmla="*/ 22 h 186"/>
              <a:gd name="T28" fmla="*/ 13 w 318"/>
              <a:gd name="T29" fmla="*/ 33 h 186"/>
              <a:gd name="T30" fmla="*/ 6 w 318"/>
              <a:gd name="T31" fmla="*/ 45 h 186"/>
              <a:gd name="T32" fmla="*/ 2 w 318"/>
              <a:gd name="T33" fmla="*/ 59 h 186"/>
              <a:gd name="T34" fmla="*/ 0 w 318"/>
              <a:gd name="T35" fmla="*/ 75 h 186"/>
              <a:gd name="T36" fmla="*/ 0 w 318"/>
              <a:gd name="T37" fmla="*/ 112 h 186"/>
              <a:gd name="T38" fmla="*/ 2 w 318"/>
              <a:gd name="T39" fmla="*/ 126 h 186"/>
              <a:gd name="T40" fmla="*/ 6 w 318"/>
              <a:gd name="T41" fmla="*/ 140 h 186"/>
              <a:gd name="T42" fmla="*/ 13 w 318"/>
              <a:gd name="T43" fmla="*/ 153 h 186"/>
              <a:gd name="T44" fmla="*/ 22 w 318"/>
              <a:gd name="T45" fmla="*/ 165 h 186"/>
              <a:gd name="T46" fmla="*/ 34 w 318"/>
              <a:gd name="T47" fmla="*/ 174 h 186"/>
              <a:gd name="T48" fmla="*/ 46 w 318"/>
              <a:gd name="T49" fmla="*/ 180 h 186"/>
              <a:gd name="T50" fmla="*/ 60 w 318"/>
              <a:gd name="T51" fmla="*/ 185 h 186"/>
              <a:gd name="T52" fmla="*/ 75 w 318"/>
              <a:gd name="T53" fmla="*/ 186 h 186"/>
              <a:gd name="T54" fmla="*/ 244 w 318"/>
              <a:gd name="T55" fmla="*/ 186 h 186"/>
              <a:gd name="T56" fmla="*/ 258 w 318"/>
              <a:gd name="T57" fmla="*/ 185 h 186"/>
              <a:gd name="T58" fmla="*/ 272 w 318"/>
              <a:gd name="T59" fmla="*/ 180 h 186"/>
              <a:gd name="T60" fmla="*/ 285 w 318"/>
              <a:gd name="T61" fmla="*/ 174 h 186"/>
              <a:gd name="T62" fmla="*/ 296 w 318"/>
              <a:gd name="T63" fmla="*/ 165 h 186"/>
              <a:gd name="T64" fmla="*/ 306 w 318"/>
              <a:gd name="T65" fmla="*/ 153 h 186"/>
              <a:gd name="T66" fmla="*/ 312 w 318"/>
              <a:gd name="T67" fmla="*/ 140 h 186"/>
              <a:gd name="T68" fmla="*/ 317 w 318"/>
              <a:gd name="T69" fmla="*/ 126 h 186"/>
              <a:gd name="T70" fmla="*/ 318 w 318"/>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8" y="66"/>
                </a:lnTo>
                <a:lnTo>
                  <a:pt x="317" y="59"/>
                </a:lnTo>
                <a:lnTo>
                  <a:pt x="315" y="52"/>
                </a:lnTo>
                <a:lnTo>
                  <a:pt x="312" y="45"/>
                </a:lnTo>
                <a:lnTo>
                  <a:pt x="309" y="39"/>
                </a:lnTo>
                <a:lnTo>
                  <a:pt x="306" y="33"/>
                </a:lnTo>
                <a:lnTo>
                  <a:pt x="301" y="27"/>
                </a:lnTo>
                <a:lnTo>
                  <a:pt x="296" y="22"/>
                </a:lnTo>
                <a:lnTo>
                  <a:pt x="290" y="17"/>
                </a:lnTo>
                <a:lnTo>
                  <a:pt x="285" y="13"/>
                </a:lnTo>
                <a:lnTo>
                  <a:pt x="279" y="9"/>
                </a:lnTo>
                <a:lnTo>
                  <a:pt x="272" y="6"/>
                </a:lnTo>
                <a:lnTo>
                  <a:pt x="265" y="4"/>
                </a:lnTo>
                <a:lnTo>
                  <a:pt x="258" y="2"/>
                </a:lnTo>
                <a:lnTo>
                  <a:pt x="251" y="1"/>
                </a:lnTo>
                <a:lnTo>
                  <a:pt x="244" y="0"/>
                </a:lnTo>
                <a:lnTo>
                  <a:pt x="75" y="0"/>
                </a:lnTo>
                <a:lnTo>
                  <a:pt x="75" y="0"/>
                </a:lnTo>
                <a:lnTo>
                  <a:pt x="67" y="1"/>
                </a:lnTo>
                <a:lnTo>
                  <a:pt x="60" y="2"/>
                </a:lnTo>
                <a:lnTo>
                  <a:pt x="53" y="4"/>
                </a:lnTo>
                <a:lnTo>
                  <a:pt x="46" y="6"/>
                </a:lnTo>
                <a:lnTo>
                  <a:pt x="40" y="9"/>
                </a:lnTo>
                <a:lnTo>
                  <a:pt x="34" y="13"/>
                </a:lnTo>
                <a:lnTo>
                  <a:pt x="27" y="17"/>
                </a:lnTo>
                <a:lnTo>
                  <a:pt x="22" y="22"/>
                </a:lnTo>
                <a:lnTo>
                  <a:pt x="17" y="27"/>
                </a:lnTo>
                <a:lnTo>
                  <a:pt x="13" y="33"/>
                </a:lnTo>
                <a:lnTo>
                  <a:pt x="9" y="39"/>
                </a:lnTo>
                <a:lnTo>
                  <a:pt x="6" y="45"/>
                </a:lnTo>
                <a:lnTo>
                  <a:pt x="4" y="52"/>
                </a:lnTo>
                <a:lnTo>
                  <a:pt x="2" y="59"/>
                </a:lnTo>
                <a:lnTo>
                  <a:pt x="1" y="66"/>
                </a:lnTo>
                <a:lnTo>
                  <a:pt x="0" y="75"/>
                </a:lnTo>
                <a:lnTo>
                  <a:pt x="0" y="112"/>
                </a:lnTo>
                <a:lnTo>
                  <a:pt x="0" y="112"/>
                </a:lnTo>
                <a:lnTo>
                  <a:pt x="1" y="119"/>
                </a:lnTo>
                <a:lnTo>
                  <a:pt x="2" y="126"/>
                </a:lnTo>
                <a:lnTo>
                  <a:pt x="4" y="133"/>
                </a:lnTo>
                <a:lnTo>
                  <a:pt x="6" y="140"/>
                </a:lnTo>
                <a:lnTo>
                  <a:pt x="9" y="147"/>
                </a:lnTo>
                <a:lnTo>
                  <a:pt x="13" y="153"/>
                </a:lnTo>
                <a:lnTo>
                  <a:pt x="17" y="158"/>
                </a:lnTo>
                <a:lnTo>
                  <a:pt x="22" y="165"/>
                </a:lnTo>
                <a:lnTo>
                  <a:pt x="27" y="169"/>
                </a:lnTo>
                <a:lnTo>
                  <a:pt x="34" y="174"/>
                </a:lnTo>
                <a:lnTo>
                  <a:pt x="40" y="177"/>
                </a:lnTo>
                <a:lnTo>
                  <a:pt x="46" y="180"/>
                </a:lnTo>
                <a:lnTo>
                  <a:pt x="53" y="183"/>
                </a:lnTo>
                <a:lnTo>
                  <a:pt x="60" y="185"/>
                </a:lnTo>
                <a:lnTo>
                  <a:pt x="67" y="186"/>
                </a:lnTo>
                <a:lnTo>
                  <a:pt x="75" y="186"/>
                </a:lnTo>
                <a:lnTo>
                  <a:pt x="244" y="186"/>
                </a:lnTo>
                <a:lnTo>
                  <a:pt x="244" y="186"/>
                </a:lnTo>
                <a:lnTo>
                  <a:pt x="251" y="186"/>
                </a:lnTo>
                <a:lnTo>
                  <a:pt x="258" y="185"/>
                </a:lnTo>
                <a:lnTo>
                  <a:pt x="265" y="183"/>
                </a:lnTo>
                <a:lnTo>
                  <a:pt x="272" y="180"/>
                </a:lnTo>
                <a:lnTo>
                  <a:pt x="279" y="177"/>
                </a:lnTo>
                <a:lnTo>
                  <a:pt x="285" y="174"/>
                </a:lnTo>
                <a:lnTo>
                  <a:pt x="290" y="169"/>
                </a:lnTo>
                <a:lnTo>
                  <a:pt x="296" y="165"/>
                </a:lnTo>
                <a:lnTo>
                  <a:pt x="301" y="158"/>
                </a:lnTo>
                <a:lnTo>
                  <a:pt x="306" y="153"/>
                </a:lnTo>
                <a:lnTo>
                  <a:pt x="309" y="147"/>
                </a:lnTo>
                <a:lnTo>
                  <a:pt x="312" y="140"/>
                </a:lnTo>
                <a:lnTo>
                  <a:pt x="315" y="133"/>
                </a:lnTo>
                <a:lnTo>
                  <a:pt x="317" y="126"/>
                </a:lnTo>
                <a:lnTo>
                  <a:pt x="318" y="119"/>
                </a:lnTo>
                <a:lnTo>
                  <a:pt x="318" y="112"/>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1" name="Freeform 2143"/>
          <p:cNvSpPr>
            <a:spLocks/>
          </p:cNvSpPr>
          <p:nvPr/>
        </p:nvSpPr>
        <p:spPr bwMode="auto">
          <a:xfrm>
            <a:off x="1239839" y="4721162"/>
            <a:ext cx="84138" cy="49212"/>
          </a:xfrm>
          <a:custGeom>
            <a:avLst/>
            <a:gdLst>
              <a:gd name="T0" fmla="*/ 317 w 317"/>
              <a:gd name="T1" fmla="*/ 75 h 186"/>
              <a:gd name="T2" fmla="*/ 315 w 317"/>
              <a:gd name="T3" fmla="*/ 59 h 186"/>
              <a:gd name="T4" fmla="*/ 311 w 317"/>
              <a:gd name="T5" fmla="*/ 45 h 186"/>
              <a:gd name="T6" fmla="*/ 304 w 317"/>
              <a:gd name="T7" fmla="*/ 33 h 186"/>
              <a:gd name="T8" fmla="*/ 295 w 317"/>
              <a:gd name="T9" fmla="*/ 22 h 186"/>
              <a:gd name="T10" fmla="*/ 284 w 317"/>
              <a:gd name="T11" fmla="*/ 13 h 186"/>
              <a:gd name="T12" fmla="*/ 272 w 317"/>
              <a:gd name="T13" fmla="*/ 6 h 186"/>
              <a:gd name="T14" fmla="*/ 258 w 317"/>
              <a:gd name="T15" fmla="*/ 2 h 186"/>
              <a:gd name="T16" fmla="*/ 242 w 317"/>
              <a:gd name="T17" fmla="*/ 0 h 186"/>
              <a:gd name="T18" fmla="*/ 74 w 317"/>
              <a:gd name="T19" fmla="*/ 0 h 186"/>
              <a:gd name="T20" fmla="*/ 59 w 317"/>
              <a:gd name="T21" fmla="*/ 2 h 186"/>
              <a:gd name="T22" fmla="*/ 45 w 317"/>
              <a:gd name="T23" fmla="*/ 6 h 186"/>
              <a:gd name="T24" fmla="*/ 32 w 317"/>
              <a:gd name="T25" fmla="*/ 13 h 186"/>
              <a:gd name="T26" fmla="*/ 21 w 317"/>
              <a:gd name="T27" fmla="*/ 22 h 186"/>
              <a:gd name="T28" fmla="*/ 12 w 317"/>
              <a:gd name="T29" fmla="*/ 33 h 186"/>
              <a:gd name="T30" fmla="*/ 6 w 317"/>
              <a:gd name="T31" fmla="*/ 45 h 186"/>
              <a:gd name="T32" fmla="*/ 1 w 317"/>
              <a:gd name="T33" fmla="*/ 59 h 186"/>
              <a:gd name="T34" fmla="*/ 0 w 317"/>
              <a:gd name="T35" fmla="*/ 75 h 186"/>
              <a:gd name="T36" fmla="*/ 0 w 317"/>
              <a:gd name="T37" fmla="*/ 112 h 186"/>
              <a:gd name="T38" fmla="*/ 1 w 317"/>
              <a:gd name="T39" fmla="*/ 126 h 186"/>
              <a:gd name="T40" fmla="*/ 6 w 317"/>
              <a:gd name="T41" fmla="*/ 140 h 186"/>
              <a:gd name="T42" fmla="*/ 12 w 317"/>
              <a:gd name="T43" fmla="*/ 153 h 186"/>
              <a:gd name="T44" fmla="*/ 21 w 317"/>
              <a:gd name="T45" fmla="*/ 165 h 186"/>
              <a:gd name="T46" fmla="*/ 32 w 317"/>
              <a:gd name="T47" fmla="*/ 174 h 186"/>
              <a:gd name="T48" fmla="*/ 45 w 317"/>
              <a:gd name="T49" fmla="*/ 180 h 186"/>
              <a:gd name="T50" fmla="*/ 59 w 317"/>
              <a:gd name="T51" fmla="*/ 185 h 186"/>
              <a:gd name="T52" fmla="*/ 74 w 317"/>
              <a:gd name="T53" fmla="*/ 186 h 186"/>
              <a:gd name="T54" fmla="*/ 242 w 317"/>
              <a:gd name="T55" fmla="*/ 186 h 186"/>
              <a:gd name="T56" fmla="*/ 258 w 317"/>
              <a:gd name="T57" fmla="*/ 185 h 186"/>
              <a:gd name="T58" fmla="*/ 272 w 317"/>
              <a:gd name="T59" fmla="*/ 180 h 186"/>
              <a:gd name="T60" fmla="*/ 284 w 317"/>
              <a:gd name="T61" fmla="*/ 174 h 186"/>
              <a:gd name="T62" fmla="*/ 295 w 317"/>
              <a:gd name="T63" fmla="*/ 165 h 186"/>
              <a:gd name="T64" fmla="*/ 304 w 317"/>
              <a:gd name="T65" fmla="*/ 153 h 186"/>
              <a:gd name="T66" fmla="*/ 311 w 317"/>
              <a:gd name="T67" fmla="*/ 140 h 186"/>
              <a:gd name="T68" fmla="*/ 315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6"/>
                </a:lnTo>
                <a:lnTo>
                  <a:pt x="315" y="59"/>
                </a:lnTo>
                <a:lnTo>
                  <a:pt x="313" y="52"/>
                </a:lnTo>
                <a:lnTo>
                  <a:pt x="311" y="45"/>
                </a:lnTo>
                <a:lnTo>
                  <a:pt x="308" y="39"/>
                </a:lnTo>
                <a:lnTo>
                  <a:pt x="304" y="33"/>
                </a:lnTo>
                <a:lnTo>
                  <a:pt x="300" y="27"/>
                </a:lnTo>
                <a:lnTo>
                  <a:pt x="295" y="22"/>
                </a:lnTo>
                <a:lnTo>
                  <a:pt x="290" y="17"/>
                </a:lnTo>
                <a:lnTo>
                  <a:pt x="284" y="13"/>
                </a:lnTo>
                <a:lnTo>
                  <a:pt x="278" y="9"/>
                </a:lnTo>
                <a:lnTo>
                  <a:pt x="272" y="6"/>
                </a:lnTo>
                <a:lnTo>
                  <a:pt x="265" y="4"/>
                </a:lnTo>
                <a:lnTo>
                  <a:pt x="258" y="2"/>
                </a:lnTo>
                <a:lnTo>
                  <a:pt x="251" y="1"/>
                </a:lnTo>
                <a:lnTo>
                  <a:pt x="242" y="0"/>
                </a:lnTo>
                <a:lnTo>
                  <a:pt x="74" y="0"/>
                </a:lnTo>
                <a:lnTo>
                  <a:pt x="74" y="0"/>
                </a:lnTo>
                <a:lnTo>
                  <a:pt x="67" y="1"/>
                </a:lnTo>
                <a:lnTo>
                  <a:pt x="59" y="2"/>
                </a:lnTo>
                <a:lnTo>
                  <a:pt x="52" y="4"/>
                </a:lnTo>
                <a:lnTo>
                  <a:pt x="45" y="6"/>
                </a:lnTo>
                <a:lnTo>
                  <a:pt x="38" y="9"/>
                </a:lnTo>
                <a:lnTo>
                  <a:pt x="32" y="13"/>
                </a:lnTo>
                <a:lnTo>
                  <a:pt x="27" y="17"/>
                </a:lnTo>
                <a:lnTo>
                  <a:pt x="21" y="22"/>
                </a:lnTo>
                <a:lnTo>
                  <a:pt x="17" y="27"/>
                </a:lnTo>
                <a:lnTo>
                  <a:pt x="12" y="33"/>
                </a:lnTo>
                <a:lnTo>
                  <a:pt x="9" y="39"/>
                </a:lnTo>
                <a:lnTo>
                  <a:pt x="6" y="45"/>
                </a:lnTo>
                <a:lnTo>
                  <a:pt x="3" y="52"/>
                </a:lnTo>
                <a:lnTo>
                  <a:pt x="1" y="59"/>
                </a:lnTo>
                <a:lnTo>
                  <a:pt x="0" y="66"/>
                </a:lnTo>
                <a:lnTo>
                  <a:pt x="0" y="75"/>
                </a:lnTo>
                <a:lnTo>
                  <a:pt x="0" y="112"/>
                </a:lnTo>
                <a:lnTo>
                  <a:pt x="0" y="112"/>
                </a:lnTo>
                <a:lnTo>
                  <a:pt x="0" y="119"/>
                </a:lnTo>
                <a:lnTo>
                  <a:pt x="1" y="126"/>
                </a:lnTo>
                <a:lnTo>
                  <a:pt x="3" y="133"/>
                </a:lnTo>
                <a:lnTo>
                  <a:pt x="6" y="140"/>
                </a:lnTo>
                <a:lnTo>
                  <a:pt x="9" y="147"/>
                </a:lnTo>
                <a:lnTo>
                  <a:pt x="12" y="153"/>
                </a:lnTo>
                <a:lnTo>
                  <a:pt x="17" y="158"/>
                </a:lnTo>
                <a:lnTo>
                  <a:pt x="21" y="165"/>
                </a:lnTo>
                <a:lnTo>
                  <a:pt x="27" y="169"/>
                </a:lnTo>
                <a:lnTo>
                  <a:pt x="32" y="174"/>
                </a:lnTo>
                <a:lnTo>
                  <a:pt x="38" y="177"/>
                </a:lnTo>
                <a:lnTo>
                  <a:pt x="45" y="180"/>
                </a:lnTo>
                <a:lnTo>
                  <a:pt x="52" y="183"/>
                </a:lnTo>
                <a:lnTo>
                  <a:pt x="59" y="185"/>
                </a:lnTo>
                <a:lnTo>
                  <a:pt x="67" y="186"/>
                </a:lnTo>
                <a:lnTo>
                  <a:pt x="74" y="186"/>
                </a:lnTo>
                <a:lnTo>
                  <a:pt x="242" y="186"/>
                </a:lnTo>
                <a:lnTo>
                  <a:pt x="242" y="186"/>
                </a:lnTo>
                <a:lnTo>
                  <a:pt x="251" y="186"/>
                </a:lnTo>
                <a:lnTo>
                  <a:pt x="258" y="185"/>
                </a:lnTo>
                <a:lnTo>
                  <a:pt x="265" y="183"/>
                </a:lnTo>
                <a:lnTo>
                  <a:pt x="272" y="180"/>
                </a:lnTo>
                <a:lnTo>
                  <a:pt x="278" y="177"/>
                </a:lnTo>
                <a:lnTo>
                  <a:pt x="284" y="174"/>
                </a:lnTo>
                <a:lnTo>
                  <a:pt x="290" y="169"/>
                </a:lnTo>
                <a:lnTo>
                  <a:pt x="295" y="165"/>
                </a:lnTo>
                <a:lnTo>
                  <a:pt x="300" y="158"/>
                </a:lnTo>
                <a:lnTo>
                  <a:pt x="304" y="153"/>
                </a:lnTo>
                <a:lnTo>
                  <a:pt x="308" y="147"/>
                </a:lnTo>
                <a:lnTo>
                  <a:pt x="311" y="140"/>
                </a:lnTo>
                <a:lnTo>
                  <a:pt x="313" y="133"/>
                </a:lnTo>
                <a:lnTo>
                  <a:pt x="315" y="126"/>
                </a:lnTo>
                <a:lnTo>
                  <a:pt x="316"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2" name="Freeform 2144"/>
          <p:cNvSpPr>
            <a:spLocks/>
          </p:cNvSpPr>
          <p:nvPr/>
        </p:nvSpPr>
        <p:spPr bwMode="auto">
          <a:xfrm>
            <a:off x="1347789" y="4721162"/>
            <a:ext cx="82550" cy="49212"/>
          </a:xfrm>
          <a:custGeom>
            <a:avLst/>
            <a:gdLst>
              <a:gd name="T0" fmla="*/ 318 w 318"/>
              <a:gd name="T1" fmla="*/ 75 h 186"/>
              <a:gd name="T2" fmla="*/ 316 w 318"/>
              <a:gd name="T3" fmla="*/ 59 h 186"/>
              <a:gd name="T4" fmla="*/ 312 w 318"/>
              <a:gd name="T5" fmla="*/ 45 h 186"/>
              <a:gd name="T6" fmla="*/ 305 w 318"/>
              <a:gd name="T7" fmla="*/ 33 h 186"/>
              <a:gd name="T8" fmla="*/ 296 w 318"/>
              <a:gd name="T9" fmla="*/ 22 h 186"/>
              <a:gd name="T10" fmla="*/ 286 w 318"/>
              <a:gd name="T11" fmla="*/ 13 h 186"/>
              <a:gd name="T12" fmla="*/ 272 w 318"/>
              <a:gd name="T13" fmla="*/ 6 h 186"/>
              <a:gd name="T14" fmla="*/ 258 w 318"/>
              <a:gd name="T15" fmla="*/ 2 h 186"/>
              <a:gd name="T16" fmla="*/ 243 w 318"/>
              <a:gd name="T17" fmla="*/ 0 h 186"/>
              <a:gd name="T18" fmla="*/ 75 w 318"/>
              <a:gd name="T19" fmla="*/ 0 h 186"/>
              <a:gd name="T20" fmla="*/ 60 w 318"/>
              <a:gd name="T21" fmla="*/ 2 h 186"/>
              <a:gd name="T22" fmla="*/ 46 w 318"/>
              <a:gd name="T23" fmla="*/ 6 h 186"/>
              <a:gd name="T24" fmla="*/ 34 w 318"/>
              <a:gd name="T25" fmla="*/ 13 h 186"/>
              <a:gd name="T26" fmla="*/ 23 w 318"/>
              <a:gd name="T27" fmla="*/ 22 h 186"/>
              <a:gd name="T28" fmla="*/ 13 w 318"/>
              <a:gd name="T29" fmla="*/ 33 h 186"/>
              <a:gd name="T30" fmla="*/ 6 w 318"/>
              <a:gd name="T31" fmla="*/ 45 h 186"/>
              <a:gd name="T32" fmla="*/ 2 w 318"/>
              <a:gd name="T33" fmla="*/ 59 h 186"/>
              <a:gd name="T34" fmla="*/ 0 w 318"/>
              <a:gd name="T35" fmla="*/ 75 h 186"/>
              <a:gd name="T36" fmla="*/ 0 w 318"/>
              <a:gd name="T37" fmla="*/ 112 h 186"/>
              <a:gd name="T38" fmla="*/ 2 w 318"/>
              <a:gd name="T39" fmla="*/ 126 h 186"/>
              <a:gd name="T40" fmla="*/ 6 w 318"/>
              <a:gd name="T41" fmla="*/ 140 h 186"/>
              <a:gd name="T42" fmla="*/ 13 w 318"/>
              <a:gd name="T43" fmla="*/ 153 h 186"/>
              <a:gd name="T44" fmla="*/ 23 w 318"/>
              <a:gd name="T45" fmla="*/ 165 h 186"/>
              <a:gd name="T46" fmla="*/ 34 w 318"/>
              <a:gd name="T47" fmla="*/ 174 h 186"/>
              <a:gd name="T48" fmla="*/ 46 w 318"/>
              <a:gd name="T49" fmla="*/ 180 h 186"/>
              <a:gd name="T50" fmla="*/ 60 w 318"/>
              <a:gd name="T51" fmla="*/ 185 h 186"/>
              <a:gd name="T52" fmla="*/ 75 w 318"/>
              <a:gd name="T53" fmla="*/ 186 h 186"/>
              <a:gd name="T54" fmla="*/ 243 w 318"/>
              <a:gd name="T55" fmla="*/ 186 h 186"/>
              <a:gd name="T56" fmla="*/ 258 w 318"/>
              <a:gd name="T57" fmla="*/ 185 h 186"/>
              <a:gd name="T58" fmla="*/ 272 w 318"/>
              <a:gd name="T59" fmla="*/ 180 h 186"/>
              <a:gd name="T60" fmla="*/ 286 w 318"/>
              <a:gd name="T61" fmla="*/ 174 h 186"/>
              <a:gd name="T62" fmla="*/ 296 w 318"/>
              <a:gd name="T63" fmla="*/ 165 h 186"/>
              <a:gd name="T64" fmla="*/ 305 w 318"/>
              <a:gd name="T65" fmla="*/ 153 h 186"/>
              <a:gd name="T66" fmla="*/ 312 w 318"/>
              <a:gd name="T67" fmla="*/ 140 h 186"/>
              <a:gd name="T68" fmla="*/ 316 w 318"/>
              <a:gd name="T69" fmla="*/ 126 h 186"/>
              <a:gd name="T70" fmla="*/ 318 w 318"/>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8" y="66"/>
                </a:lnTo>
                <a:lnTo>
                  <a:pt x="316" y="59"/>
                </a:lnTo>
                <a:lnTo>
                  <a:pt x="315" y="52"/>
                </a:lnTo>
                <a:lnTo>
                  <a:pt x="312" y="45"/>
                </a:lnTo>
                <a:lnTo>
                  <a:pt x="309" y="39"/>
                </a:lnTo>
                <a:lnTo>
                  <a:pt x="305" y="33"/>
                </a:lnTo>
                <a:lnTo>
                  <a:pt x="301" y="27"/>
                </a:lnTo>
                <a:lnTo>
                  <a:pt x="296" y="22"/>
                </a:lnTo>
                <a:lnTo>
                  <a:pt x="291" y="17"/>
                </a:lnTo>
                <a:lnTo>
                  <a:pt x="286" y="13"/>
                </a:lnTo>
                <a:lnTo>
                  <a:pt x="280" y="9"/>
                </a:lnTo>
                <a:lnTo>
                  <a:pt x="272" y="6"/>
                </a:lnTo>
                <a:lnTo>
                  <a:pt x="265" y="4"/>
                </a:lnTo>
                <a:lnTo>
                  <a:pt x="258" y="2"/>
                </a:lnTo>
                <a:lnTo>
                  <a:pt x="251" y="1"/>
                </a:lnTo>
                <a:lnTo>
                  <a:pt x="243" y="0"/>
                </a:lnTo>
                <a:lnTo>
                  <a:pt x="75" y="0"/>
                </a:lnTo>
                <a:lnTo>
                  <a:pt x="75" y="0"/>
                </a:lnTo>
                <a:lnTo>
                  <a:pt x="67" y="1"/>
                </a:lnTo>
                <a:lnTo>
                  <a:pt x="60" y="2"/>
                </a:lnTo>
                <a:lnTo>
                  <a:pt x="53" y="4"/>
                </a:lnTo>
                <a:lnTo>
                  <a:pt x="46" y="6"/>
                </a:lnTo>
                <a:lnTo>
                  <a:pt x="40" y="9"/>
                </a:lnTo>
                <a:lnTo>
                  <a:pt x="34" y="13"/>
                </a:lnTo>
                <a:lnTo>
                  <a:pt x="28" y="17"/>
                </a:lnTo>
                <a:lnTo>
                  <a:pt x="23" y="22"/>
                </a:lnTo>
                <a:lnTo>
                  <a:pt x="18" y="27"/>
                </a:lnTo>
                <a:lnTo>
                  <a:pt x="13" y="33"/>
                </a:lnTo>
                <a:lnTo>
                  <a:pt x="9" y="39"/>
                </a:lnTo>
                <a:lnTo>
                  <a:pt x="6" y="45"/>
                </a:lnTo>
                <a:lnTo>
                  <a:pt x="4" y="52"/>
                </a:lnTo>
                <a:lnTo>
                  <a:pt x="2" y="59"/>
                </a:lnTo>
                <a:lnTo>
                  <a:pt x="1" y="66"/>
                </a:lnTo>
                <a:lnTo>
                  <a:pt x="0" y="75"/>
                </a:lnTo>
                <a:lnTo>
                  <a:pt x="0" y="112"/>
                </a:lnTo>
                <a:lnTo>
                  <a:pt x="0" y="112"/>
                </a:lnTo>
                <a:lnTo>
                  <a:pt x="1" y="119"/>
                </a:lnTo>
                <a:lnTo>
                  <a:pt x="2" y="126"/>
                </a:lnTo>
                <a:lnTo>
                  <a:pt x="4" y="133"/>
                </a:lnTo>
                <a:lnTo>
                  <a:pt x="6" y="140"/>
                </a:lnTo>
                <a:lnTo>
                  <a:pt x="9" y="147"/>
                </a:lnTo>
                <a:lnTo>
                  <a:pt x="13" y="153"/>
                </a:lnTo>
                <a:lnTo>
                  <a:pt x="18" y="158"/>
                </a:lnTo>
                <a:lnTo>
                  <a:pt x="23" y="165"/>
                </a:lnTo>
                <a:lnTo>
                  <a:pt x="28" y="169"/>
                </a:lnTo>
                <a:lnTo>
                  <a:pt x="34" y="174"/>
                </a:lnTo>
                <a:lnTo>
                  <a:pt x="40" y="177"/>
                </a:lnTo>
                <a:lnTo>
                  <a:pt x="46" y="180"/>
                </a:lnTo>
                <a:lnTo>
                  <a:pt x="53" y="183"/>
                </a:lnTo>
                <a:lnTo>
                  <a:pt x="60" y="185"/>
                </a:lnTo>
                <a:lnTo>
                  <a:pt x="67" y="186"/>
                </a:lnTo>
                <a:lnTo>
                  <a:pt x="75" y="186"/>
                </a:lnTo>
                <a:lnTo>
                  <a:pt x="243" y="186"/>
                </a:lnTo>
                <a:lnTo>
                  <a:pt x="243" y="186"/>
                </a:lnTo>
                <a:lnTo>
                  <a:pt x="251" y="186"/>
                </a:lnTo>
                <a:lnTo>
                  <a:pt x="258" y="185"/>
                </a:lnTo>
                <a:lnTo>
                  <a:pt x="265" y="183"/>
                </a:lnTo>
                <a:lnTo>
                  <a:pt x="272" y="180"/>
                </a:lnTo>
                <a:lnTo>
                  <a:pt x="280" y="177"/>
                </a:lnTo>
                <a:lnTo>
                  <a:pt x="286" y="174"/>
                </a:lnTo>
                <a:lnTo>
                  <a:pt x="291" y="169"/>
                </a:lnTo>
                <a:lnTo>
                  <a:pt x="296" y="165"/>
                </a:lnTo>
                <a:lnTo>
                  <a:pt x="301" y="158"/>
                </a:lnTo>
                <a:lnTo>
                  <a:pt x="305" y="153"/>
                </a:lnTo>
                <a:lnTo>
                  <a:pt x="309" y="147"/>
                </a:lnTo>
                <a:lnTo>
                  <a:pt x="312" y="140"/>
                </a:lnTo>
                <a:lnTo>
                  <a:pt x="315" y="133"/>
                </a:lnTo>
                <a:lnTo>
                  <a:pt x="316" y="126"/>
                </a:lnTo>
                <a:lnTo>
                  <a:pt x="318" y="119"/>
                </a:lnTo>
                <a:lnTo>
                  <a:pt x="318" y="112"/>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3" name="Freeform 2145"/>
          <p:cNvSpPr>
            <a:spLocks/>
          </p:cNvSpPr>
          <p:nvPr/>
        </p:nvSpPr>
        <p:spPr bwMode="auto">
          <a:xfrm>
            <a:off x="1454151" y="4721162"/>
            <a:ext cx="84138" cy="49212"/>
          </a:xfrm>
          <a:custGeom>
            <a:avLst/>
            <a:gdLst>
              <a:gd name="T0" fmla="*/ 317 w 317"/>
              <a:gd name="T1" fmla="*/ 75 h 186"/>
              <a:gd name="T2" fmla="*/ 316 w 317"/>
              <a:gd name="T3" fmla="*/ 59 h 186"/>
              <a:gd name="T4" fmla="*/ 311 w 317"/>
              <a:gd name="T5" fmla="*/ 45 h 186"/>
              <a:gd name="T6" fmla="*/ 304 w 317"/>
              <a:gd name="T7" fmla="*/ 33 h 186"/>
              <a:gd name="T8" fmla="*/ 295 w 317"/>
              <a:gd name="T9" fmla="*/ 22 h 186"/>
              <a:gd name="T10" fmla="*/ 284 w 317"/>
              <a:gd name="T11" fmla="*/ 13 h 186"/>
              <a:gd name="T12" fmla="*/ 272 w 317"/>
              <a:gd name="T13" fmla="*/ 6 h 186"/>
              <a:gd name="T14" fmla="*/ 258 w 317"/>
              <a:gd name="T15" fmla="*/ 2 h 186"/>
              <a:gd name="T16" fmla="*/ 243 w 317"/>
              <a:gd name="T17" fmla="*/ 0 h 186"/>
              <a:gd name="T18" fmla="*/ 74 w 317"/>
              <a:gd name="T19" fmla="*/ 0 h 186"/>
              <a:gd name="T20" fmla="*/ 59 w 317"/>
              <a:gd name="T21" fmla="*/ 2 h 186"/>
              <a:gd name="T22" fmla="*/ 45 w 317"/>
              <a:gd name="T23" fmla="*/ 6 h 186"/>
              <a:gd name="T24" fmla="*/ 32 w 317"/>
              <a:gd name="T25" fmla="*/ 13 h 186"/>
              <a:gd name="T26" fmla="*/ 21 w 317"/>
              <a:gd name="T27" fmla="*/ 22 h 186"/>
              <a:gd name="T28" fmla="*/ 12 w 317"/>
              <a:gd name="T29" fmla="*/ 33 h 186"/>
              <a:gd name="T30" fmla="*/ 6 w 317"/>
              <a:gd name="T31" fmla="*/ 45 h 186"/>
              <a:gd name="T32" fmla="*/ 1 w 317"/>
              <a:gd name="T33" fmla="*/ 59 h 186"/>
              <a:gd name="T34" fmla="*/ 0 w 317"/>
              <a:gd name="T35" fmla="*/ 75 h 186"/>
              <a:gd name="T36" fmla="*/ 0 w 317"/>
              <a:gd name="T37" fmla="*/ 112 h 186"/>
              <a:gd name="T38" fmla="*/ 1 w 317"/>
              <a:gd name="T39" fmla="*/ 126 h 186"/>
              <a:gd name="T40" fmla="*/ 6 w 317"/>
              <a:gd name="T41" fmla="*/ 140 h 186"/>
              <a:gd name="T42" fmla="*/ 12 w 317"/>
              <a:gd name="T43" fmla="*/ 153 h 186"/>
              <a:gd name="T44" fmla="*/ 21 w 317"/>
              <a:gd name="T45" fmla="*/ 165 h 186"/>
              <a:gd name="T46" fmla="*/ 32 w 317"/>
              <a:gd name="T47" fmla="*/ 174 h 186"/>
              <a:gd name="T48" fmla="*/ 45 w 317"/>
              <a:gd name="T49" fmla="*/ 180 h 186"/>
              <a:gd name="T50" fmla="*/ 59 w 317"/>
              <a:gd name="T51" fmla="*/ 185 h 186"/>
              <a:gd name="T52" fmla="*/ 74 w 317"/>
              <a:gd name="T53" fmla="*/ 186 h 186"/>
              <a:gd name="T54" fmla="*/ 243 w 317"/>
              <a:gd name="T55" fmla="*/ 186 h 186"/>
              <a:gd name="T56" fmla="*/ 258 w 317"/>
              <a:gd name="T57" fmla="*/ 185 h 186"/>
              <a:gd name="T58" fmla="*/ 272 w 317"/>
              <a:gd name="T59" fmla="*/ 180 h 186"/>
              <a:gd name="T60" fmla="*/ 284 w 317"/>
              <a:gd name="T61" fmla="*/ 174 h 186"/>
              <a:gd name="T62" fmla="*/ 295 w 317"/>
              <a:gd name="T63" fmla="*/ 165 h 186"/>
              <a:gd name="T64" fmla="*/ 304 w 317"/>
              <a:gd name="T65" fmla="*/ 153 h 186"/>
              <a:gd name="T66" fmla="*/ 311 w 317"/>
              <a:gd name="T67" fmla="*/ 140 h 186"/>
              <a:gd name="T68" fmla="*/ 316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6"/>
                </a:lnTo>
                <a:lnTo>
                  <a:pt x="316" y="59"/>
                </a:lnTo>
                <a:lnTo>
                  <a:pt x="313" y="52"/>
                </a:lnTo>
                <a:lnTo>
                  <a:pt x="311" y="45"/>
                </a:lnTo>
                <a:lnTo>
                  <a:pt x="308" y="39"/>
                </a:lnTo>
                <a:lnTo>
                  <a:pt x="304" y="33"/>
                </a:lnTo>
                <a:lnTo>
                  <a:pt x="300" y="27"/>
                </a:lnTo>
                <a:lnTo>
                  <a:pt x="295" y="22"/>
                </a:lnTo>
                <a:lnTo>
                  <a:pt x="290" y="17"/>
                </a:lnTo>
                <a:lnTo>
                  <a:pt x="284" y="13"/>
                </a:lnTo>
                <a:lnTo>
                  <a:pt x="278" y="9"/>
                </a:lnTo>
                <a:lnTo>
                  <a:pt x="272" y="6"/>
                </a:lnTo>
                <a:lnTo>
                  <a:pt x="265" y="4"/>
                </a:lnTo>
                <a:lnTo>
                  <a:pt x="258" y="2"/>
                </a:lnTo>
                <a:lnTo>
                  <a:pt x="250" y="1"/>
                </a:lnTo>
                <a:lnTo>
                  <a:pt x="243" y="0"/>
                </a:lnTo>
                <a:lnTo>
                  <a:pt x="74" y="0"/>
                </a:lnTo>
                <a:lnTo>
                  <a:pt x="74" y="0"/>
                </a:lnTo>
                <a:lnTo>
                  <a:pt x="67" y="1"/>
                </a:lnTo>
                <a:lnTo>
                  <a:pt x="59" y="2"/>
                </a:lnTo>
                <a:lnTo>
                  <a:pt x="52" y="4"/>
                </a:lnTo>
                <a:lnTo>
                  <a:pt x="45" y="6"/>
                </a:lnTo>
                <a:lnTo>
                  <a:pt x="38" y="9"/>
                </a:lnTo>
                <a:lnTo>
                  <a:pt x="32" y="13"/>
                </a:lnTo>
                <a:lnTo>
                  <a:pt x="27" y="17"/>
                </a:lnTo>
                <a:lnTo>
                  <a:pt x="21" y="22"/>
                </a:lnTo>
                <a:lnTo>
                  <a:pt x="17" y="27"/>
                </a:lnTo>
                <a:lnTo>
                  <a:pt x="12" y="33"/>
                </a:lnTo>
                <a:lnTo>
                  <a:pt x="9" y="39"/>
                </a:lnTo>
                <a:lnTo>
                  <a:pt x="6" y="45"/>
                </a:lnTo>
                <a:lnTo>
                  <a:pt x="3" y="52"/>
                </a:lnTo>
                <a:lnTo>
                  <a:pt x="1" y="59"/>
                </a:lnTo>
                <a:lnTo>
                  <a:pt x="0" y="66"/>
                </a:lnTo>
                <a:lnTo>
                  <a:pt x="0" y="75"/>
                </a:lnTo>
                <a:lnTo>
                  <a:pt x="0" y="112"/>
                </a:lnTo>
                <a:lnTo>
                  <a:pt x="0" y="112"/>
                </a:lnTo>
                <a:lnTo>
                  <a:pt x="0" y="119"/>
                </a:lnTo>
                <a:lnTo>
                  <a:pt x="1" y="126"/>
                </a:lnTo>
                <a:lnTo>
                  <a:pt x="3" y="133"/>
                </a:lnTo>
                <a:lnTo>
                  <a:pt x="6" y="140"/>
                </a:lnTo>
                <a:lnTo>
                  <a:pt x="9" y="147"/>
                </a:lnTo>
                <a:lnTo>
                  <a:pt x="12" y="153"/>
                </a:lnTo>
                <a:lnTo>
                  <a:pt x="17" y="158"/>
                </a:lnTo>
                <a:lnTo>
                  <a:pt x="21" y="165"/>
                </a:lnTo>
                <a:lnTo>
                  <a:pt x="27" y="169"/>
                </a:lnTo>
                <a:lnTo>
                  <a:pt x="32" y="174"/>
                </a:lnTo>
                <a:lnTo>
                  <a:pt x="38" y="177"/>
                </a:lnTo>
                <a:lnTo>
                  <a:pt x="45" y="180"/>
                </a:lnTo>
                <a:lnTo>
                  <a:pt x="52" y="183"/>
                </a:lnTo>
                <a:lnTo>
                  <a:pt x="59" y="185"/>
                </a:lnTo>
                <a:lnTo>
                  <a:pt x="67" y="186"/>
                </a:lnTo>
                <a:lnTo>
                  <a:pt x="74" y="186"/>
                </a:lnTo>
                <a:lnTo>
                  <a:pt x="243" y="186"/>
                </a:lnTo>
                <a:lnTo>
                  <a:pt x="243" y="186"/>
                </a:lnTo>
                <a:lnTo>
                  <a:pt x="250" y="186"/>
                </a:lnTo>
                <a:lnTo>
                  <a:pt x="258" y="185"/>
                </a:lnTo>
                <a:lnTo>
                  <a:pt x="265" y="183"/>
                </a:lnTo>
                <a:lnTo>
                  <a:pt x="272" y="180"/>
                </a:lnTo>
                <a:lnTo>
                  <a:pt x="278" y="177"/>
                </a:lnTo>
                <a:lnTo>
                  <a:pt x="284" y="174"/>
                </a:lnTo>
                <a:lnTo>
                  <a:pt x="290" y="169"/>
                </a:lnTo>
                <a:lnTo>
                  <a:pt x="295" y="165"/>
                </a:lnTo>
                <a:lnTo>
                  <a:pt x="300" y="158"/>
                </a:lnTo>
                <a:lnTo>
                  <a:pt x="304" y="153"/>
                </a:lnTo>
                <a:lnTo>
                  <a:pt x="308" y="147"/>
                </a:lnTo>
                <a:lnTo>
                  <a:pt x="311" y="140"/>
                </a:lnTo>
                <a:lnTo>
                  <a:pt x="313" y="133"/>
                </a:lnTo>
                <a:lnTo>
                  <a:pt x="316" y="126"/>
                </a:lnTo>
                <a:lnTo>
                  <a:pt x="317"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4" name="Freeform 2146"/>
          <p:cNvSpPr>
            <a:spLocks/>
          </p:cNvSpPr>
          <p:nvPr/>
        </p:nvSpPr>
        <p:spPr bwMode="auto">
          <a:xfrm>
            <a:off x="1562101" y="4721162"/>
            <a:ext cx="84138" cy="49212"/>
          </a:xfrm>
          <a:custGeom>
            <a:avLst/>
            <a:gdLst>
              <a:gd name="T0" fmla="*/ 317 w 317"/>
              <a:gd name="T1" fmla="*/ 75 h 186"/>
              <a:gd name="T2" fmla="*/ 315 w 317"/>
              <a:gd name="T3" fmla="*/ 59 h 186"/>
              <a:gd name="T4" fmla="*/ 311 w 317"/>
              <a:gd name="T5" fmla="*/ 45 h 186"/>
              <a:gd name="T6" fmla="*/ 304 w 317"/>
              <a:gd name="T7" fmla="*/ 33 h 186"/>
              <a:gd name="T8" fmla="*/ 295 w 317"/>
              <a:gd name="T9" fmla="*/ 22 h 186"/>
              <a:gd name="T10" fmla="*/ 284 w 317"/>
              <a:gd name="T11" fmla="*/ 13 h 186"/>
              <a:gd name="T12" fmla="*/ 272 w 317"/>
              <a:gd name="T13" fmla="*/ 6 h 186"/>
              <a:gd name="T14" fmla="*/ 257 w 317"/>
              <a:gd name="T15" fmla="*/ 2 h 186"/>
              <a:gd name="T16" fmla="*/ 242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2 h 186"/>
              <a:gd name="T28" fmla="*/ 13 w 317"/>
              <a:gd name="T29" fmla="*/ 33 h 186"/>
              <a:gd name="T30" fmla="*/ 6 w 317"/>
              <a:gd name="T31" fmla="*/ 45 h 186"/>
              <a:gd name="T32" fmla="*/ 2 w 317"/>
              <a:gd name="T33" fmla="*/ 59 h 186"/>
              <a:gd name="T34" fmla="*/ 0 w 317"/>
              <a:gd name="T35" fmla="*/ 75 h 186"/>
              <a:gd name="T36" fmla="*/ 0 w 317"/>
              <a:gd name="T37" fmla="*/ 112 h 186"/>
              <a:gd name="T38" fmla="*/ 2 w 317"/>
              <a:gd name="T39" fmla="*/ 126 h 186"/>
              <a:gd name="T40" fmla="*/ 6 w 317"/>
              <a:gd name="T41" fmla="*/ 140 h 186"/>
              <a:gd name="T42" fmla="*/ 13 w 317"/>
              <a:gd name="T43" fmla="*/ 153 h 186"/>
              <a:gd name="T44" fmla="*/ 22 w 317"/>
              <a:gd name="T45" fmla="*/ 165 h 186"/>
              <a:gd name="T46" fmla="*/ 33 w 317"/>
              <a:gd name="T47" fmla="*/ 174 h 186"/>
              <a:gd name="T48" fmla="*/ 45 w 317"/>
              <a:gd name="T49" fmla="*/ 180 h 186"/>
              <a:gd name="T50" fmla="*/ 59 w 317"/>
              <a:gd name="T51" fmla="*/ 185 h 186"/>
              <a:gd name="T52" fmla="*/ 74 w 317"/>
              <a:gd name="T53" fmla="*/ 186 h 186"/>
              <a:gd name="T54" fmla="*/ 242 w 317"/>
              <a:gd name="T55" fmla="*/ 186 h 186"/>
              <a:gd name="T56" fmla="*/ 257 w 317"/>
              <a:gd name="T57" fmla="*/ 185 h 186"/>
              <a:gd name="T58" fmla="*/ 272 w 317"/>
              <a:gd name="T59" fmla="*/ 180 h 186"/>
              <a:gd name="T60" fmla="*/ 284 w 317"/>
              <a:gd name="T61" fmla="*/ 174 h 186"/>
              <a:gd name="T62" fmla="*/ 295 w 317"/>
              <a:gd name="T63" fmla="*/ 165 h 186"/>
              <a:gd name="T64" fmla="*/ 304 w 317"/>
              <a:gd name="T65" fmla="*/ 153 h 186"/>
              <a:gd name="T66" fmla="*/ 311 w 317"/>
              <a:gd name="T67" fmla="*/ 140 h 186"/>
              <a:gd name="T68" fmla="*/ 315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6"/>
                </a:lnTo>
                <a:lnTo>
                  <a:pt x="315" y="59"/>
                </a:lnTo>
                <a:lnTo>
                  <a:pt x="314" y="52"/>
                </a:lnTo>
                <a:lnTo>
                  <a:pt x="311" y="45"/>
                </a:lnTo>
                <a:lnTo>
                  <a:pt x="308" y="39"/>
                </a:lnTo>
                <a:lnTo>
                  <a:pt x="304" y="33"/>
                </a:lnTo>
                <a:lnTo>
                  <a:pt x="300" y="27"/>
                </a:lnTo>
                <a:lnTo>
                  <a:pt x="295" y="22"/>
                </a:lnTo>
                <a:lnTo>
                  <a:pt x="290" y="17"/>
                </a:lnTo>
                <a:lnTo>
                  <a:pt x="284" y="13"/>
                </a:lnTo>
                <a:lnTo>
                  <a:pt x="278" y="9"/>
                </a:lnTo>
                <a:lnTo>
                  <a:pt x="272" y="6"/>
                </a:lnTo>
                <a:lnTo>
                  <a:pt x="265" y="4"/>
                </a:lnTo>
                <a:lnTo>
                  <a:pt x="257" y="2"/>
                </a:lnTo>
                <a:lnTo>
                  <a:pt x="250" y="1"/>
                </a:lnTo>
                <a:lnTo>
                  <a:pt x="242" y="0"/>
                </a:lnTo>
                <a:lnTo>
                  <a:pt x="74" y="0"/>
                </a:lnTo>
                <a:lnTo>
                  <a:pt x="74" y="0"/>
                </a:lnTo>
                <a:lnTo>
                  <a:pt x="66" y="1"/>
                </a:lnTo>
                <a:lnTo>
                  <a:pt x="59" y="2"/>
                </a:lnTo>
                <a:lnTo>
                  <a:pt x="52" y="4"/>
                </a:lnTo>
                <a:lnTo>
                  <a:pt x="45" y="6"/>
                </a:lnTo>
                <a:lnTo>
                  <a:pt x="39" y="9"/>
                </a:lnTo>
                <a:lnTo>
                  <a:pt x="33" y="13"/>
                </a:lnTo>
                <a:lnTo>
                  <a:pt x="27" y="17"/>
                </a:lnTo>
                <a:lnTo>
                  <a:pt x="22" y="22"/>
                </a:lnTo>
                <a:lnTo>
                  <a:pt x="17" y="27"/>
                </a:lnTo>
                <a:lnTo>
                  <a:pt x="13" y="33"/>
                </a:lnTo>
                <a:lnTo>
                  <a:pt x="9" y="39"/>
                </a:lnTo>
                <a:lnTo>
                  <a:pt x="6" y="45"/>
                </a:lnTo>
                <a:lnTo>
                  <a:pt x="4" y="52"/>
                </a:lnTo>
                <a:lnTo>
                  <a:pt x="2" y="59"/>
                </a:lnTo>
                <a:lnTo>
                  <a:pt x="1" y="66"/>
                </a:lnTo>
                <a:lnTo>
                  <a:pt x="0" y="75"/>
                </a:lnTo>
                <a:lnTo>
                  <a:pt x="0" y="112"/>
                </a:lnTo>
                <a:lnTo>
                  <a:pt x="0" y="112"/>
                </a:lnTo>
                <a:lnTo>
                  <a:pt x="1" y="119"/>
                </a:lnTo>
                <a:lnTo>
                  <a:pt x="2" y="126"/>
                </a:lnTo>
                <a:lnTo>
                  <a:pt x="4" y="133"/>
                </a:lnTo>
                <a:lnTo>
                  <a:pt x="6" y="140"/>
                </a:lnTo>
                <a:lnTo>
                  <a:pt x="9" y="147"/>
                </a:lnTo>
                <a:lnTo>
                  <a:pt x="13" y="153"/>
                </a:lnTo>
                <a:lnTo>
                  <a:pt x="17" y="158"/>
                </a:lnTo>
                <a:lnTo>
                  <a:pt x="22" y="165"/>
                </a:lnTo>
                <a:lnTo>
                  <a:pt x="27" y="169"/>
                </a:lnTo>
                <a:lnTo>
                  <a:pt x="33" y="174"/>
                </a:lnTo>
                <a:lnTo>
                  <a:pt x="39" y="177"/>
                </a:lnTo>
                <a:lnTo>
                  <a:pt x="45" y="180"/>
                </a:lnTo>
                <a:lnTo>
                  <a:pt x="52" y="183"/>
                </a:lnTo>
                <a:lnTo>
                  <a:pt x="59" y="185"/>
                </a:lnTo>
                <a:lnTo>
                  <a:pt x="66" y="186"/>
                </a:lnTo>
                <a:lnTo>
                  <a:pt x="74" y="186"/>
                </a:lnTo>
                <a:lnTo>
                  <a:pt x="242" y="186"/>
                </a:lnTo>
                <a:lnTo>
                  <a:pt x="242" y="186"/>
                </a:lnTo>
                <a:lnTo>
                  <a:pt x="250" y="186"/>
                </a:lnTo>
                <a:lnTo>
                  <a:pt x="257" y="185"/>
                </a:lnTo>
                <a:lnTo>
                  <a:pt x="265" y="183"/>
                </a:lnTo>
                <a:lnTo>
                  <a:pt x="272" y="180"/>
                </a:lnTo>
                <a:lnTo>
                  <a:pt x="278" y="177"/>
                </a:lnTo>
                <a:lnTo>
                  <a:pt x="284" y="174"/>
                </a:lnTo>
                <a:lnTo>
                  <a:pt x="290" y="169"/>
                </a:lnTo>
                <a:lnTo>
                  <a:pt x="295" y="165"/>
                </a:lnTo>
                <a:lnTo>
                  <a:pt x="300" y="158"/>
                </a:lnTo>
                <a:lnTo>
                  <a:pt x="304" y="153"/>
                </a:lnTo>
                <a:lnTo>
                  <a:pt x="308" y="147"/>
                </a:lnTo>
                <a:lnTo>
                  <a:pt x="311" y="140"/>
                </a:lnTo>
                <a:lnTo>
                  <a:pt x="314" y="133"/>
                </a:lnTo>
                <a:lnTo>
                  <a:pt x="315" y="126"/>
                </a:lnTo>
                <a:lnTo>
                  <a:pt x="316"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5" name="Freeform 2147"/>
          <p:cNvSpPr>
            <a:spLocks/>
          </p:cNvSpPr>
          <p:nvPr/>
        </p:nvSpPr>
        <p:spPr bwMode="auto">
          <a:xfrm>
            <a:off x="1670051" y="4721162"/>
            <a:ext cx="82550" cy="49212"/>
          </a:xfrm>
          <a:custGeom>
            <a:avLst/>
            <a:gdLst>
              <a:gd name="T0" fmla="*/ 317 w 317"/>
              <a:gd name="T1" fmla="*/ 75 h 186"/>
              <a:gd name="T2" fmla="*/ 316 w 317"/>
              <a:gd name="T3" fmla="*/ 59 h 186"/>
              <a:gd name="T4" fmla="*/ 312 w 317"/>
              <a:gd name="T5" fmla="*/ 45 h 186"/>
              <a:gd name="T6" fmla="*/ 305 w 317"/>
              <a:gd name="T7" fmla="*/ 33 h 186"/>
              <a:gd name="T8" fmla="*/ 295 w 317"/>
              <a:gd name="T9" fmla="*/ 22 h 186"/>
              <a:gd name="T10" fmla="*/ 284 w 317"/>
              <a:gd name="T11" fmla="*/ 13 h 186"/>
              <a:gd name="T12" fmla="*/ 271 w 317"/>
              <a:gd name="T13" fmla="*/ 6 h 186"/>
              <a:gd name="T14" fmla="*/ 258 w 317"/>
              <a:gd name="T15" fmla="*/ 2 h 186"/>
              <a:gd name="T16" fmla="*/ 243 w 317"/>
              <a:gd name="T17" fmla="*/ 0 h 186"/>
              <a:gd name="T18" fmla="*/ 74 w 317"/>
              <a:gd name="T19" fmla="*/ 0 h 186"/>
              <a:gd name="T20" fmla="*/ 59 w 317"/>
              <a:gd name="T21" fmla="*/ 2 h 186"/>
              <a:gd name="T22" fmla="*/ 46 w 317"/>
              <a:gd name="T23" fmla="*/ 6 h 186"/>
              <a:gd name="T24" fmla="*/ 33 w 317"/>
              <a:gd name="T25" fmla="*/ 13 h 186"/>
              <a:gd name="T26" fmla="*/ 21 w 317"/>
              <a:gd name="T27" fmla="*/ 22 h 186"/>
              <a:gd name="T28" fmla="*/ 12 w 317"/>
              <a:gd name="T29" fmla="*/ 33 h 186"/>
              <a:gd name="T30" fmla="*/ 5 w 317"/>
              <a:gd name="T31" fmla="*/ 45 h 186"/>
              <a:gd name="T32" fmla="*/ 1 w 317"/>
              <a:gd name="T33" fmla="*/ 59 h 186"/>
              <a:gd name="T34" fmla="*/ 0 w 317"/>
              <a:gd name="T35" fmla="*/ 75 h 186"/>
              <a:gd name="T36" fmla="*/ 0 w 317"/>
              <a:gd name="T37" fmla="*/ 112 h 186"/>
              <a:gd name="T38" fmla="*/ 1 w 317"/>
              <a:gd name="T39" fmla="*/ 126 h 186"/>
              <a:gd name="T40" fmla="*/ 5 w 317"/>
              <a:gd name="T41" fmla="*/ 140 h 186"/>
              <a:gd name="T42" fmla="*/ 12 w 317"/>
              <a:gd name="T43" fmla="*/ 153 h 186"/>
              <a:gd name="T44" fmla="*/ 21 w 317"/>
              <a:gd name="T45" fmla="*/ 165 h 186"/>
              <a:gd name="T46" fmla="*/ 33 w 317"/>
              <a:gd name="T47" fmla="*/ 174 h 186"/>
              <a:gd name="T48" fmla="*/ 46 w 317"/>
              <a:gd name="T49" fmla="*/ 180 h 186"/>
              <a:gd name="T50" fmla="*/ 59 w 317"/>
              <a:gd name="T51" fmla="*/ 185 h 186"/>
              <a:gd name="T52" fmla="*/ 74 w 317"/>
              <a:gd name="T53" fmla="*/ 186 h 186"/>
              <a:gd name="T54" fmla="*/ 243 w 317"/>
              <a:gd name="T55" fmla="*/ 186 h 186"/>
              <a:gd name="T56" fmla="*/ 258 w 317"/>
              <a:gd name="T57" fmla="*/ 185 h 186"/>
              <a:gd name="T58" fmla="*/ 271 w 317"/>
              <a:gd name="T59" fmla="*/ 180 h 186"/>
              <a:gd name="T60" fmla="*/ 284 w 317"/>
              <a:gd name="T61" fmla="*/ 174 h 186"/>
              <a:gd name="T62" fmla="*/ 295 w 317"/>
              <a:gd name="T63" fmla="*/ 165 h 186"/>
              <a:gd name="T64" fmla="*/ 305 w 317"/>
              <a:gd name="T65" fmla="*/ 153 h 186"/>
              <a:gd name="T66" fmla="*/ 312 w 317"/>
              <a:gd name="T67" fmla="*/ 140 h 186"/>
              <a:gd name="T68" fmla="*/ 316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6"/>
                </a:lnTo>
                <a:lnTo>
                  <a:pt x="316" y="59"/>
                </a:lnTo>
                <a:lnTo>
                  <a:pt x="314" y="52"/>
                </a:lnTo>
                <a:lnTo>
                  <a:pt x="312" y="45"/>
                </a:lnTo>
                <a:lnTo>
                  <a:pt x="308" y="39"/>
                </a:lnTo>
                <a:lnTo>
                  <a:pt x="305" y="33"/>
                </a:lnTo>
                <a:lnTo>
                  <a:pt x="301" y="27"/>
                </a:lnTo>
                <a:lnTo>
                  <a:pt x="295" y="22"/>
                </a:lnTo>
                <a:lnTo>
                  <a:pt x="290" y="17"/>
                </a:lnTo>
                <a:lnTo>
                  <a:pt x="284" y="13"/>
                </a:lnTo>
                <a:lnTo>
                  <a:pt x="278" y="9"/>
                </a:lnTo>
                <a:lnTo>
                  <a:pt x="271" y="6"/>
                </a:lnTo>
                <a:lnTo>
                  <a:pt x="265" y="4"/>
                </a:lnTo>
                <a:lnTo>
                  <a:pt x="258" y="2"/>
                </a:lnTo>
                <a:lnTo>
                  <a:pt x="250" y="1"/>
                </a:lnTo>
                <a:lnTo>
                  <a:pt x="243" y="0"/>
                </a:lnTo>
                <a:lnTo>
                  <a:pt x="74" y="0"/>
                </a:lnTo>
                <a:lnTo>
                  <a:pt x="74" y="0"/>
                </a:lnTo>
                <a:lnTo>
                  <a:pt x="67" y="1"/>
                </a:lnTo>
                <a:lnTo>
                  <a:pt x="59" y="2"/>
                </a:lnTo>
                <a:lnTo>
                  <a:pt x="52" y="4"/>
                </a:lnTo>
                <a:lnTo>
                  <a:pt x="46" y="6"/>
                </a:lnTo>
                <a:lnTo>
                  <a:pt x="39" y="9"/>
                </a:lnTo>
                <a:lnTo>
                  <a:pt x="33" y="13"/>
                </a:lnTo>
                <a:lnTo>
                  <a:pt x="26" y="17"/>
                </a:lnTo>
                <a:lnTo>
                  <a:pt x="21" y="22"/>
                </a:lnTo>
                <a:lnTo>
                  <a:pt x="16" y="27"/>
                </a:lnTo>
                <a:lnTo>
                  <a:pt x="12" y="33"/>
                </a:lnTo>
                <a:lnTo>
                  <a:pt x="9" y="39"/>
                </a:lnTo>
                <a:lnTo>
                  <a:pt x="5" y="45"/>
                </a:lnTo>
                <a:lnTo>
                  <a:pt x="3" y="52"/>
                </a:lnTo>
                <a:lnTo>
                  <a:pt x="1" y="59"/>
                </a:lnTo>
                <a:lnTo>
                  <a:pt x="0" y="66"/>
                </a:lnTo>
                <a:lnTo>
                  <a:pt x="0" y="75"/>
                </a:lnTo>
                <a:lnTo>
                  <a:pt x="0" y="112"/>
                </a:lnTo>
                <a:lnTo>
                  <a:pt x="0" y="112"/>
                </a:lnTo>
                <a:lnTo>
                  <a:pt x="0" y="119"/>
                </a:lnTo>
                <a:lnTo>
                  <a:pt x="1" y="126"/>
                </a:lnTo>
                <a:lnTo>
                  <a:pt x="3" y="133"/>
                </a:lnTo>
                <a:lnTo>
                  <a:pt x="5" y="140"/>
                </a:lnTo>
                <a:lnTo>
                  <a:pt x="9" y="147"/>
                </a:lnTo>
                <a:lnTo>
                  <a:pt x="12" y="153"/>
                </a:lnTo>
                <a:lnTo>
                  <a:pt x="16" y="158"/>
                </a:lnTo>
                <a:lnTo>
                  <a:pt x="21" y="165"/>
                </a:lnTo>
                <a:lnTo>
                  <a:pt x="26" y="169"/>
                </a:lnTo>
                <a:lnTo>
                  <a:pt x="33" y="174"/>
                </a:lnTo>
                <a:lnTo>
                  <a:pt x="39" y="177"/>
                </a:lnTo>
                <a:lnTo>
                  <a:pt x="46" y="180"/>
                </a:lnTo>
                <a:lnTo>
                  <a:pt x="52" y="183"/>
                </a:lnTo>
                <a:lnTo>
                  <a:pt x="59" y="185"/>
                </a:lnTo>
                <a:lnTo>
                  <a:pt x="67" y="186"/>
                </a:lnTo>
                <a:lnTo>
                  <a:pt x="74" y="186"/>
                </a:lnTo>
                <a:lnTo>
                  <a:pt x="243" y="186"/>
                </a:lnTo>
                <a:lnTo>
                  <a:pt x="243" y="186"/>
                </a:lnTo>
                <a:lnTo>
                  <a:pt x="250" y="186"/>
                </a:lnTo>
                <a:lnTo>
                  <a:pt x="258" y="185"/>
                </a:lnTo>
                <a:lnTo>
                  <a:pt x="265" y="183"/>
                </a:lnTo>
                <a:lnTo>
                  <a:pt x="271" y="180"/>
                </a:lnTo>
                <a:lnTo>
                  <a:pt x="278" y="177"/>
                </a:lnTo>
                <a:lnTo>
                  <a:pt x="284" y="174"/>
                </a:lnTo>
                <a:lnTo>
                  <a:pt x="290" y="169"/>
                </a:lnTo>
                <a:lnTo>
                  <a:pt x="295" y="165"/>
                </a:lnTo>
                <a:lnTo>
                  <a:pt x="301" y="158"/>
                </a:lnTo>
                <a:lnTo>
                  <a:pt x="305" y="153"/>
                </a:lnTo>
                <a:lnTo>
                  <a:pt x="308" y="147"/>
                </a:lnTo>
                <a:lnTo>
                  <a:pt x="312" y="140"/>
                </a:lnTo>
                <a:lnTo>
                  <a:pt x="314" y="133"/>
                </a:lnTo>
                <a:lnTo>
                  <a:pt x="316" y="126"/>
                </a:lnTo>
                <a:lnTo>
                  <a:pt x="317"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6" name="Freeform 2148"/>
          <p:cNvSpPr>
            <a:spLocks/>
          </p:cNvSpPr>
          <p:nvPr/>
        </p:nvSpPr>
        <p:spPr bwMode="auto">
          <a:xfrm>
            <a:off x="1776414" y="4721162"/>
            <a:ext cx="84138" cy="49212"/>
          </a:xfrm>
          <a:custGeom>
            <a:avLst/>
            <a:gdLst>
              <a:gd name="T0" fmla="*/ 317 w 317"/>
              <a:gd name="T1" fmla="*/ 75 h 186"/>
              <a:gd name="T2" fmla="*/ 315 w 317"/>
              <a:gd name="T3" fmla="*/ 59 h 186"/>
              <a:gd name="T4" fmla="*/ 311 w 317"/>
              <a:gd name="T5" fmla="*/ 45 h 186"/>
              <a:gd name="T6" fmla="*/ 304 w 317"/>
              <a:gd name="T7" fmla="*/ 33 h 186"/>
              <a:gd name="T8" fmla="*/ 295 w 317"/>
              <a:gd name="T9" fmla="*/ 22 h 186"/>
              <a:gd name="T10" fmla="*/ 284 w 317"/>
              <a:gd name="T11" fmla="*/ 13 h 186"/>
              <a:gd name="T12" fmla="*/ 272 w 317"/>
              <a:gd name="T13" fmla="*/ 6 h 186"/>
              <a:gd name="T14" fmla="*/ 258 w 317"/>
              <a:gd name="T15" fmla="*/ 2 h 186"/>
              <a:gd name="T16" fmla="*/ 242 w 317"/>
              <a:gd name="T17" fmla="*/ 0 h 186"/>
              <a:gd name="T18" fmla="*/ 75 w 317"/>
              <a:gd name="T19" fmla="*/ 0 h 186"/>
              <a:gd name="T20" fmla="*/ 59 w 317"/>
              <a:gd name="T21" fmla="*/ 2 h 186"/>
              <a:gd name="T22" fmla="*/ 45 w 317"/>
              <a:gd name="T23" fmla="*/ 6 h 186"/>
              <a:gd name="T24" fmla="*/ 33 w 317"/>
              <a:gd name="T25" fmla="*/ 13 h 186"/>
              <a:gd name="T26" fmla="*/ 22 w 317"/>
              <a:gd name="T27" fmla="*/ 22 h 186"/>
              <a:gd name="T28" fmla="*/ 13 w 317"/>
              <a:gd name="T29" fmla="*/ 33 h 186"/>
              <a:gd name="T30" fmla="*/ 6 w 317"/>
              <a:gd name="T31" fmla="*/ 45 h 186"/>
              <a:gd name="T32" fmla="*/ 2 w 317"/>
              <a:gd name="T33" fmla="*/ 59 h 186"/>
              <a:gd name="T34" fmla="*/ 0 w 317"/>
              <a:gd name="T35" fmla="*/ 75 h 186"/>
              <a:gd name="T36" fmla="*/ 0 w 317"/>
              <a:gd name="T37" fmla="*/ 112 h 186"/>
              <a:gd name="T38" fmla="*/ 2 w 317"/>
              <a:gd name="T39" fmla="*/ 126 h 186"/>
              <a:gd name="T40" fmla="*/ 6 w 317"/>
              <a:gd name="T41" fmla="*/ 140 h 186"/>
              <a:gd name="T42" fmla="*/ 13 w 317"/>
              <a:gd name="T43" fmla="*/ 153 h 186"/>
              <a:gd name="T44" fmla="*/ 22 w 317"/>
              <a:gd name="T45" fmla="*/ 165 h 186"/>
              <a:gd name="T46" fmla="*/ 33 w 317"/>
              <a:gd name="T47" fmla="*/ 174 h 186"/>
              <a:gd name="T48" fmla="*/ 45 w 317"/>
              <a:gd name="T49" fmla="*/ 180 h 186"/>
              <a:gd name="T50" fmla="*/ 59 w 317"/>
              <a:gd name="T51" fmla="*/ 185 h 186"/>
              <a:gd name="T52" fmla="*/ 75 w 317"/>
              <a:gd name="T53" fmla="*/ 186 h 186"/>
              <a:gd name="T54" fmla="*/ 242 w 317"/>
              <a:gd name="T55" fmla="*/ 186 h 186"/>
              <a:gd name="T56" fmla="*/ 258 w 317"/>
              <a:gd name="T57" fmla="*/ 185 h 186"/>
              <a:gd name="T58" fmla="*/ 272 w 317"/>
              <a:gd name="T59" fmla="*/ 180 h 186"/>
              <a:gd name="T60" fmla="*/ 284 w 317"/>
              <a:gd name="T61" fmla="*/ 174 h 186"/>
              <a:gd name="T62" fmla="*/ 295 w 317"/>
              <a:gd name="T63" fmla="*/ 165 h 186"/>
              <a:gd name="T64" fmla="*/ 304 w 317"/>
              <a:gd name="T65" fmla="*/ 153 h 186"/>
              <a:gd name="T66" fmla="*/ 311 w 317"/>
              <a:gd name="T67" fmla="*/ 140 h 186"/>
              <a:gd name="T68" fmla="*/ 315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6"/>
                </a:lnTo>
                <a:lnTo>
                  <a:pt x="315" y="59"/>
                </a:lnTo>
                <a:lnTo>
                  <a:pt x="313" y="52"/>
                </a:lnTo>
                <a:lnTo>
                  <a:pt x="311" y="45"/>
                </a:lnTo>
                <a:lnTo>
                  <a:pt x="308" y="39"/>
                </a:lnTo>
                <a:lnTo>
                  <a:pt x="304" y="33"/>
                </a:lnTo>
                <a:lnTo>
                  <a:pt x="300" y="27"/>
                </a:lnTo>
                <a:lnTo>
                  <a:pt x="295" y="22"/>
                </a:lnTo>
                <a:lnTo>
                  <a:pt x="290" y="17"/>
                </a:lnTo>
                <a:lnTo>
                  <a:pt x="284" y="13"/>
                </a:lnTo>
                <a:lnTo>
                  <a:pt x="278" y="9"/>
                </a:lnTo>
                <a:lnTo>
                  <a:pt x="272" y="6"/>
                </a:lnTo>
                <a:lnTo>
                  <a:pt x="265" y="4"/>
                </a:lnTo>
                <a:lnTo>
                  <a:pt x="258" y="2"/>
                </a:lnTo>
                <a:lnTo>
                  <a:pt x="251" y="1"/>
                </a:lnTo>
                <a:lnTo>
                  <a:pt x="242" y="0"/>
                </a:lnTo>
                <a:lnTo>
                  <a:pt x="75" y="0"/>
                </a:lnTo>
                <a:lnTo>
                  <a:pt x="75" y="0"/>
                </a:lnTo>
                <a:lnTo>
                  <a:pt x="66" y="1"/>
                </a:lnTo>
                <a:lnTo>
                  <a:pt x="59" y="2"/>
                </a:lnTo>
                <a:lnTo>
                  <a:pt x="52" y="4"/>
                </a:lnTo>
                <a:lnTo>
                  <a:pt x="45" y="6"/>
                </a:lnTo>
                <a:lnTo>
                  <a:pt x="39" y="9"/>
                </a:lnTo>
                <a:lnTo>
                  <a:pt x="33" y="13"/>
                </a:lnTo>
                <a:lnTo>
                  <a:pt x="27" y="17"/>
                </a:lnTo>
                <a:lnTo>
                  <a:pt x="22" y="22"/>
                </a:lnTo>
                <a:lnTo>
                  <a:pt x="17" y="27"/>
                </a:lnTo>
                <a:lnTo>
                  <a:pt x="13" y="33"/>
                </a:lnTo>
                <a:lnTo>
                  <a:pt x="9" y="39"/>
                </a:lnTo>
                <a:lnTo>
                  <a:pt x="6" y="45"/>
                </a:lnTo>
                <a:lnTo>
                  <a:pt x="3" y="52"/>
                </a:lnTo>
                <a:lnTo>
                  <a:pt x="2" y="59"/>
                </a:lnTo>
                <a:lnTo>
                  <a:pt x="1" y="66"/>
                </a:lnTo>
                <a:lnTo>
                  <a:pt x="0" y="75"/>
                </a:lnTo>
                <a:lnTo>
                  <a:pt x="0" y="112"/>
                </a:lnTo>
                <a:lnTo>
                  <a:pt x="0" y="112"/>
                </a:lnTo>
                <a:lnTo>
                  <a:pt x="1" y="119"/>
                </a:lnTo>
                <a:lnTo>
                  <a:pt x="2" y="126"/>
                </a:lnTo>
                <a:lnTo>
                  <a:pt x="3" y="133"/>
                </a:lnTo>
                <a:lnTo>
                  <a:pt x="6" y="140"/>
                </a:lnTo>
                <a:lnTo>
                  <a:pt x="9" y="147"/>
                </a:lnTo>
                <a:lnTo>
                  <a:pt x="13" y="153"/>
                </a:lnTo>
                <a:lnTo>
                  <a:pt x="17" y="158"/>
                </a:lnTo>
                <a:lnTo>
                  <a:pt x="22" y="165"/>
                </a:lnTo>
                <a:lnTo>
                  <a:pt x="27" y="169"/>
                </a:lnTo>
                <a:lnTo>
                  <a:pt x="33" y="174"/>
                </a:lnTo>
                <a:lnTo>
                  <a:pt x="39" y="177"/>
                </a:lnTo>
                <a:lnTo>
                  <a:pt x="45" y="180"/>
                </a:lnTo>
                <a:lnTo>
                  <a:pt x="52" y="183"/>
                </a:lnTo>
                <a:lnTo>
                  <a:pt x="59" y="185"/>
                </a:lnTo>
                <a:lnTo>
                  <a:pt x="66" y="186"/>
                </a:lnTo>
                <a:lnTo>
                  <a:pt x="75" y="186"/>
                </a:lnTo>
                <a:lnTo>
                  <a:pt x="242" y="186"/>
                </a:lnTo>
                <a:lnTo>
                  <a:pt x="242" y="186"/>
                </a:lnTo>
                <a:lnTo>
                  <a:pt x="251" y="186"/>
                </a:lnTo>
                <a:lnTo>
                  <a:pt x="258" y="185"/>
                </a:lnTo>
                <a:lnTo>
                  <a:pt x="265" y="183"/>
                </a:lnTo>
                <a:lnTo>
                  <a:pt x="272" y="180"/>
                </a:lnTo>
                <a:lnTo>
                  <a:pt x="278" y="177"/>
                </a:lnTo>
                <a:lnTo>
                  <a:pt x="284" y="174"/>
                </a:lnTo>
                <a:lnTo>
                  <a:pt x="290" y="169"/>
                </a:lnTo>
                <a:lnTo>
                  <a:pt x="295" y="165"/>
                </a:lnTo>
                <a:lnTo>
                  <a:pt x="300" y="158"/>
                </a:lnTo>
                <a:lnTo>
                  <a:pt x="304" y="153"/>
                </a:lnTo>
                <a:lnTo>
                  <a:pt x="308" y="147"/>
                </a:lnTo>
                <a:lnTo>
                  <a:pt x="311" y="140"/>
                </a:lnTo>
                <a:lnTo>
                  <a:pt x="313" y="133"/>
                </a:lnTo>
                <a:lnTo>
                  <a:pt x="315" y="126"/>
                </a:lnTo>
                <a:lnTo>
                  <a:pt x="316"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7" name="Freeform 2149"/>
          <p:cNvSpPr>
            <a:spLocks/>
          </p:cNvSpPr>
          <p:nvPr/>
        </p:nvSpPr>
        <p:spPr bwMode="auto">
          <a:xfrm>
            <a:off x="1884364" y="4721162"/>
            <a:ext cx="84138" cy="49212"/>
          </a:xfrm>
          <a:custGeom>
            <a:avLst/>
            <a:gdLst>
              <a:gd name="T0" fmla="*/ 317 w 317"/>
              <a:gd name="T1" fmla="*/ 75 h 186"/>
              <a:gd name="T2" fmla="*/ 316 w 317"/>
              <a:gd name="T3" fmla="*/ 59 h 186"/>
              <a:gd name="T4" fmla="*/ 311 w 317"/>
              <a:gd name="T5" fmla="*/ 45 h 186"/>
              <a:gd name="T6" fmla="*/ 305 w 317"/>
              <a:gd name="T7" fmla="*/ 33 h 186"/>
              <a:gd name="T8" fmla="*/ 296 w 317"/>
              <a:gd name="T9" fmla="*/ 22 h 186"/>
              <a:gd name="T10" fmla="*/ 285 w 317"/>
              <a:gd name="T11" fmla="*/ 13 h 186"/>
              <a:gd name="T12" fmla="*/ 271 w 317"/>
              <a:gd name="T13" fmla="*/ 6 h 186"/>
              <a:gd name="T14" fmla="*/ 258 w 317"/>
              <a:gd name="T15" fmla="*/ 2 h 186"/>
              <a:gd name="T16" fmla="*/ 243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2 h 186"/>
              <a:gd name="T28" fmla="*/ 12 w 317"/>
              <a:gd name="T29" fmla="*/ 33 h 186"/>
              <a:gd name="T30" fmla="*/ 5 w 317"/>
              <a:gd name="T31" fmla="*/ 45 h 186"/>
              <a:gd name="T32" fmla="*/ 1 w 317"/>
              <a:gd name="T33" fmla="*/ 59 h 186"/>
              <a:gd name="T34" fmla="*/ 0 w 317"/>
              <a:gd name="T35" fmla="*/ 75 h 186"/>
              <a:gd name="T36" fmla="*/ 0 w 317"/>
              <a:gd name="T37" fmla="*/ 112 h 186"/>
              <a:gd name="T38" fmla="*/ 1 w 317"/>
              <a:gd name="T39" fmla="*/ 126 h 186"/>
              <a:gd name="T40" fmla="*/ 5 w 317"/>
              <a:gd name="T41" fmla="*/ 140 h 186"/>
              <a:gd name="T42" fmla="*/ 12 w 317"/>
              <a:gd name="T43" fmla="*/ 153 h 186"/>
              <a:gd name="T44" fmla="*/ 22 w 317"/>
              <a:gd name="T45" fmla="*/ 165 h 186"/>
              <a:gd name="T46" fmla="*/ 33 w 317"/>
              <a:gd name="T47" fmla="*/ 174 h 186"/>
              <a:gd name="T48" fmla="*/ 45 w 317"/>
              <a:gd name="T49" fmla="*/ 180 h 186"/>
              <a:gd name="T50" fmla="*/ 59 w 317"/>
              <a:gd name="T51" fmla="*/ 185 h 186"/>
              <a:gd name="T52" fmla="*/ 74 w 317"/>
              <a:gd name="T53" fmla="*/ 186 h 186"/>
              <a:gd name="T54" fmla="*/ 243 w 317"/>
              <a:gd name="T55" fmla="*/ 186 h 186"/>
              <a:gd name="T56" fmla="*/ 258 w 317"/>
              <a:gd name="T57" fmla="*/ 185 h 186"/>
              <a:gd name="T58" fmla="*/ 271 w 317"/>
              <a:gd name="T59" fmla="*/ 180 h 186"/>
              <a:gd name="T60" fmla="*/ 285 w 317"/>
              <a:gd name="T61" fmla="*/ 174 h 186"/>
              <a:gd name="T62" fmla="*/ 296 w 317"/>
              <a:gd name="T63" fmla="*/ 165 h 186"/>
              <a:gd name="T64" fmla="*/ 305 w 317"/>
              <a:gd name="T65" fmla="*/ 153 h 186"/>
              <a:gd name="T66" fmla="*/ 311 w 317"/>
              <a:gd name="T67" fmla="*/ 140 h 186"/>
              <a:gd name="T68" fmla="*/ 316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6"/>
                </a:lnTo>
                <a:lnTo>
                  <a:pt x="316" y="59"/>
                </a:lnTo>
                <a:lnTo>
                  <a:pt x="314" y="52"/>
                </a:lnTo>
                <a:lnTo>
                  <a:pt x="311" y="45"/>
                </a:lnTo>
                <a:lnTo>
                  <a:pt x="308" y="39"/>
                </a:lnTo>
                <a:lnTo>
                  <a:pt x="305" y="33"/>
                </a:lnTo>
                <a:lnTo>
                  <a:pt x="300" y="27"/>
                </a:lnTo>
                <a:lnTo>
                  <a:pt x="296" y="22"/>
                </a:lnTo>
                <a:lnTo>
                  <a:pt x="290" y="17"/>
                </a:lnTo>
                <a:lnTo>
                  <a:pt x="285" y="13"/>
                </a:lnTo>
                <a:lnTo>
                  <a:pt x="278" y="9"/>
                </a:lnTo>
                <a:lnTo>
                  <a:pt x="271" y="6"/>
                </a:lnTo>
                <a:lnTo>
                  <a:pt x="265" y="4"/>
                </a:lnTo>
                <a:lnTo>
                  <a:pt x="258" y="2"/>
                </a:lnTo>
                <a:lnTo>
                  <a:pt x="250" y="1"/>
                </a:lnTo>
                <a:lnTo>
                  <a:pt x="243" y="0"/>
                </a:lnTo>
                <a:lnTo>
                  <a:pt x="74" y="0"/>
                </a:lnTo>
                <a:lnTo>
                  <a:pt x="74" y="0"/>
                </a:lnTo>
                <a:lnTo>
                  <a:pt x="67" y="1"/>
                </a:lnTo>
                <a:lnTo>
                  <a:pt x="59" y="2"/>
                </a:lnTo>
                <a:lnTo>
                  <a:pt x="52" y="4"/>
                </a:lnTo>
                <a:lnTo>
                  <a:pt x="45" y="6"/>
                </a:lnTo>
                <a:lnTo>
                  <a:pt x="39" y="9"/>
                </a:lnTo>
                <a:lnTo>
                  <a:pt x="33" y="13"/>
                </a:lnTo>
                <a:lnTo>
                  <a:pt x="27" y="17"/>
                </a:lnTo>
                <a:lnTo>
                  <a:pt x="22" y="22"/>
                </a:lnTo>
                <a:lnTo>
                  <a:pt x="17" y="27"/>
                </a:lnTo>
                <a:lnTo>
                  <a:pt x="12" y="33"/>
                </a:lnTo>
                <a:lnTo>
                  <a:pt x="8" y="39"/>
                </a:lnTo>
                <a:lnTo>
                  <a:pt x="5" y="45"/>
                </a:lnTo>
                <a:lnTo>
                  <a:pt x="3" y="52"/>
                </a:lnTo>
                <a:lnTo>
                  <a:pt x="1" y="59"/>
                </a:lnTo>
                <a:lnTo>
                  <a:pt x="0" y="66"/>
                </a:lnTo>
                <a:lnTo>
                  <a:pt x="0" y="75"/>
                </a:lnTo>
                <a:lnTo>
                  <a:pt x="0" y="112"/>
                </a:lnTo>
                <a:lnTo>
                  <a:pt x="0" y="112"/>
                </a:lnTo>
                <a:lnTo>
                  <a:pt x="0" y="119"/>
                </a:lnTo>
                <a:lnTo>
                  <a:pt x="1" y="126"/>
                </a:lnTo>
                <a:lnTo>
                  <a:pt x="3" y="133"/>
                </a:lnTo>
                <a:lnTo>
                  <a:pt x="5" y="140"/>
                </a:lnTo>
                <a:lnTo>
                  <a:pt x="8" y="147"/>
                </a:lnTo>
                <a:lnTo>
                  <a:pt x="12" y="153"/>
                </a:lnTo>
                <a:lnTo>
                  <a:pt x="17" y="158"/>
                </a:lnTo>
                <a:lnTo>
                  <a:pt x="22" y="165"/>
                </a:lnTo>
                <a:lnTo>
                  <a:pt x="27" y="169"/>
                </a:lnTo>
                <a:lnTo>
                  <a:pt x="33" y="174"/>
                </a:lnTo>
                <a:lnTo>
                  <a:pt x="39" y="177"/>
                </a:lnTo>
                <a:lnTo>
                  <a:pt x="45" y="180"/>
                </a:lnTo>
                <a:lnTo>
                  <a:pt x="52" y="183"/>
                </a:lnTo>
                <a:lnTo>
                  <a:pt x="59" y="185"/>
                </a:lnTo>
                <a:lnTo>
                  <a:pt x="67" y="186"/>
                </a:lnTo>
                <a:lnTo>
                  <a:pt x="74" y="186"/>
                </a:lnTo>
                <a:lnTo>
                  <a:pt x="243" y="186"/>
                </a:lnTo>
                <a:lnTo>
                  <a:pt x="243" y="186"/>
                </a:lnTo>
                <a:lnTo>
                  <a:pt x="250" y="186"/>
                </a:lnTo>
                <a:lnTo>
                  <a:pt x="258" y="185"/>
                </a:lnTo>
                <a:lnTo>
                  <a:pt x="265" y="183"/>
                </a:lnTo>
                <a:lnTo>
                  <a:pt x="271" y="180"/>
                </a:lnTo>
                <a:lnTo>
                  <a:pt x="278" y="177"/>
                </a:lnTo>
                <a:lnTo>
                  <a:pt x="285" y="174"/>
                </a:lnTo>
                <a:lnTo>
                  <a:pt x="290" y="169"/>
                </a:lnTo>
                <a:lnTo>
                  <a:pt x="296" y="165"/>
                </a:lnTo>
                <a:lnTo>
                  <a:pt x="300" y="158"/>
                </a:lnTo>
                <a:lnTo>
                  <a:pt x="305" y="153"/>
                </a:lnTo>
                <a:lnTo>
                  <a:pt x="308" y="147"/>
                </a:lnTo>
                <a:lnTo>
                  <a:pt x="311" y="140"/>
                </a:lnTo>
                <a:lnTo>
                  <a:pt x="314" y="133"/>
                </a:lnTo>
                <a:lnTo>
                  <a:pt x="316" y="126"/>
                </a:lnTo>
                <a:lnTo>
                  <a:pt x="317"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8" name="Freeform 2150"/>
          <p:cNvSpPr>
            <a:spLocks/>
          </p:cNvSpPr>
          <p:nvPr/>
        </p:nvSpPr>
        <p:spPr bwMode="auto">
          <a:xfrm>
            <a:off x="1992314" y="4721162"/>
            <a:ext cx="84138" cy="49212"/>
          </a:xfrm>
          <a:custGeom>
            <a:avLst/>
            <a:gdLst>
              <a:gd name="T0" fmla="*/ 318 w 318"/>
              <a:gd name="T1" fmla="*/ 75 h 186"/>
              <a:gd name="T2" fmla="*/ 316 w 318"/>
              <a:gd name="T3" fmla="*/ 59 h 186"/>
              <a:gd name="T4" fmla="*/ 311 w 318"/>
              <a:gd name="T5" fmla="*/ 45 h 186"/>
              <a:gd name="T6" fmla="*/ 304 w 318"/>
              <a:gd name="T7" fmla="*/ 33 h 186"/>
              <a:gd name="T8" fmla="*/ 295 w 318"/>
              <a:gd name="T9" fmla="*/ 22 h 186"/>
              <a:gd name="T10" fmla="*/ 284 w 318"/>
              <a:gd name="T11" fmla="*/ 13 h 186"/>
              <a:gd name="T12" fmla="*/ 272 w 318"/>
              <a:gd name="T13" fmla="*/ 6 h 186"/>
              <a:gd name="T14" fmla="*/ 258 w 318"/>
              <a:gd name="T15" fmla="*/ 2 h 186"/>
              <a:gd name="T16" fmla="*/ 243 w 318"/>
              <a:gd name="T17" fmla="*/ 0 h 186"/>
              <a:gd name="T18" fmla="*/ 75 w 318"/>
              <a:gd name="T19" fmla="*/ 0 h 186"/>
              <a:gd name="T20" fmla="*/ 60 w 318"/>
              <a:gd name="T21" fmla="*/ 2 h 186"/>
              <a:gd name="T22" fmla="*/ 45 w 318"/>
              <a:gd name="T23" fmla="*/ 6 h 186"/>
              <a:gd name="T24" fmla="*/ 32 w 318"/>
              <a:gd name="T25" fmla="*/ 13 h 186"/>
              <a:gd name="T26" fmla="*/ 22 w 318"/>
              <a:gd name="T27" fmla="*/ 22 h 186"/>
              <a:gd name="T28" fmla="*/ 13 w 318"/>
              <a:gd name="T29" fmla="*/ 33 h 186"/>
              <a:gd name="T30" fmla="*/ 6 w 318"/>
              <a:gd name="T31" fmla="*/ 45 h 186"/>
              <a:gd name="T32" fmla="*/ 2 w 318"/>
              <a:gd name="T33" fmla="*/ 59 h 186"/>
              <a:gd name="T34" fmla="*/ 0 w 318"/>
              <a:gd name="T35" fmla="*/ 75 h 186"/>
              <a:gd name="T36" fmla="*/ 0 w 318"/>
              <a:gd name="T37" fmla="*/ 112 h 186"/>
              <a:gd name="T38" fmla="*/ 2 w 318"/>
              <a:gd name="T39" fmla="*/ 126 h 186"/>
              <a:gd name="T40" fmla="*/ 6 w 318"/>
              <a:gd name="T41" fmla="*/ 140 h 186"/>
              <a:gd name="T42" fmla="*/ 13 w 318"/>
              <a:gd name="T43" fmla="*/ 153 h 186"/>
              <a:gd name="T44" fmla="*/ 22 w 318"/>
              <a:gd name="T45" fmla="*/ 165 h 186"/>
              <a:gd name="T46" fmla="*/ 32 w 318"/>
              <a:gd name="T47" fmla="*/ 174 h 186"/>
              <a:gd name="T48" fmla="*/ 45 w 318"/>
              <a:gd name="T49" fmla="*/ 180 h 186"/>
              <a:gd name="T50" fmla="*/ 60 w 318"/>
              <a:gd name="T51" fmla="*/ 185 h 186"/>
              <a:gd name="T52" fmla="*/ 75 w 318"/>
              <a:gd name="T53" fmla="*/ 186 h 186"/>
              <a:gd name="T54" fmla="*/ 243 w 318"/>
              <a:gd name="T55" fmla="*/ 186 h 186"/>
              <a:gd name="T56" fmla="*/ 258 w 318"/>
              <a:gd name="T57" fmla="*/ 185 h 186"/>
              <a:gd name="T58" fmla="*/ 272 w 318"/>
              <a:gd name="T59" fmla="*/ 180 h 186"/>
              <a:gd name="T60" fmla="*/ 284 w 318"/>
              <a:gd name="T61" fmla="*/ 174 h 186"/>
              <a:gd name="T62" fmla="*/ 295 w 318"/>
              <a:gd name="T63" fmla="*/ 165 h 186"/>
              <a:gd name="T64" fmla="*/ 304 w 318"/>
              <a:gd name="T65" fmla="*/ 153 h 186"/>
              <a:gd name="T66" fmla="*/ 311 w 318"/>
              <a:gd name="T67" fmla="*/ 140 h 186"/>
              <a:gd name="T68" fmla="*/ 316 w 318"/>
              <a:gd name="T69" fmla="*/ 126 h 186"/>
              <a:gd name="T70" fmla="*/ 318 w 318"/>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7" y="66"/>
                </a:lnTo>
                <a:lnTo>
                  <a:pt x="316" y="59"/>
                </a:lnTo>
                <a:lnTo>
                  <a:pt x="313" y="52"/>
                </a:lnTo>
                <a:lnTo>
                  <a:pt x="311" y="45"/>
                </a:lnTo>
                <a:lnTo>
                  <a:pt x="308" y="39"/>
                </a:lnTo>
                <a:lnTo>
                  <a:pt x="304" y="33"/>
                </a:lnTo>
                <a:lnTo>
                  <a:pt x="300" y="27"/>
                </a:lnTo>
                <a:lnTo>
                  <a:pt x="295" y="22"/>
                </a:lnTo>
                <a:lnTo>
                  <a:pt x="290" y="17"/>
                </a:lnTo>
                <a:lnTo>
                  <a:pt x="284" y="13"/>
                </a:lnTo>
                <a:lnTo>
                  <a:pt x="278" y="9"/>
                </a:lnTo>
                <a:lnTo>
                  <a:pt x="272" y="6"/>
                </a:lnTo>
                <a:lnTo>
                  <a:pt x="265" y="4"/>
                </a:lnTo>
                <a:lnTo>
                  <a:pt x="258" y="2"/>
                </a:lnTo>
                <a:lnTo>
                  <a:pt x="251" y="1"/>
                </a:lnTo>
                <a:lnTo>
                  <a:pt x="243" y="0"/>
                </a:lnTo>
                <a:lnTo>
                  <a:pt x="75" y="0"/>
                </a:lnTo>
                <a:lnTo>
                  <a:pt x="75" y="0"/>
                </a:lnTo>
                <a:lnTo>
                  <a:pt x="67" y="1"/>
                </a:lnTo>
                <a:lnTo>
                  <a:pt x="60" y="2"/>
                </a:lnTo>
                <a:lnTo>
                  <a:pt x="53" y="4"/>
                </a:lnTo>
                <a:lnTo>
                  <a:pt x="45" y="6"/>
                </a:lnTo>
                <a:lnTo>
                  <a:pt x="38" y="9"/>
                </a:lnTo>
                <a:lnTo>
                  <a:pt x="32" y="13"/>
                </a:lnTo>
                <a:lnTo>
                  <a:pt x="27" y="17"/>
                </a:lnTo>
                <a:lnTo>
                  <a:pt x="22" y="22"/>
                </a:lnTo>
                <a:lnTo>
                  <a:pt x="17" y="27"/>
                </a:lnTo>
                <a:lnTo>
                  <a:pt x="13" y="33"/>
                </a:lnTo>
                <a:lnTo>
                  <a:pt x="9" y="39"/>
                </a:lnTo>
                <a:lnTo>
                  <a:pt x="6" y="45"/>
                </a:lnTo>
                <a:lnTo>
                  <a:pt x="3" y="52"/>
                </a:lnTo>
                <a:lnTo>
                  <a:pt x="2" y="59"/>
                </a:lnTo>
                <a:lnTo>
                  <a:pt x="0" y="66"/>
                </a:lnTo>
                <a:lnTo>
                  <a:pt x="0" y="75"/>
                </a:lnTo>
                <a:lnTo>
                  <a:pt x="0" y="112"/>
                </a:lnTo>
                <a:lnTo>
                  <a:pt x="0" y="112"/>
                </a:lnTo>
                <a:lnTo>
                  <a:pt x="0" y="119"/>
                </a:lnTo>
                <a:lnTo>
                  <a:pt x="2" y="126"/>
                </a:lnTo>
                <a:lnTo>
                  <a:pt x="3" y="133"/>
                </a:lnTo>
                <a:lnTo>
                  <a:pt x="6" y="140"/>
                </a:lnTo>
                <a:lnTo>
                  <a:pt x="9" y="147"/>
                </a:lnTo>
                <a:lnTo>
                  <a:pt x="13" y="153"/>
                </a:lnTo>
                <a:lnTo>
                  <a:pt x="17" y="158"/>
                </a:lnTo>
                <a:lnTo>
                  <a:pt x="22" y="165"/>
                </a:lnTo>
                <a:lnTo>
                  <a:pt x="27" y="169"/>
                </a:lnTo>
                <a:lnTo>
                  <a:pt x="32" y="174"/>
                </a:lnTo>
                <a:lnTo>
                  <a:pt x="38" y="177"/>
                </a:lnTo>
                <a:lnTo>
                  <a:pt x="45" y="180"/>
                </a:lnTo>
                <a:lnTo>
                  <a:pt x="53" y="183"/>
                </a:lnTo>
                <a:lnTo>
                  <a:pt x="60" y="185"/>
                </a:lnTo>
                <a:lnTo>
                  <a:pt x="67" y="186"/>
                </a:lnTo>
                <a:lnTo>
                  <a:pt x="75" y="186"/>
                </a:lnTo>
                <a:lnTo>
                  <a:pt x="243" y="186"/>
                </a:lnTo>
                <a:lnTo>
                  <a:pt x="243" y="186"/>
                </a:lnTo>
                <a:lnTo>
                  <a:pt x="251" y="186"/>
                </a:lnTo>
                <a:lnTo>
                  <a:pt x="258" y="185"/>
                </a:lnTo>
                <a:lnTo>
                  <a:pt x="265" y="183"/>
                </a:lnTo>
                <a:lnTo>
                  <a:pt x="272" y="180"/>
                </a:lnTo>
                <a:lnTo>
                  <a:pt x="278" y="177"/>
                </a:lnTo>
                <a:lnTo>
                  <a:pt x="284" y="174"/>
                </a:lnTo>
                <a:lnTo>
                  <a:pt x="290" y="169"/>
                </a:lnTo>
                <a:lnTo>
                  <a:pt x="295" y="165"/>
                </a:lnTo>
                <a:lnTo>
                  <a:pt x="300" y="158"/>
                </a:lnTo>
                <a:lnTo>
                  <a:pt x="304" y="153"/>
                </a:lnTo>
                <a:lnTo>
                  <a:pt x="308" y="147"/>
                </a:lnTo>
                <a:lnTo>
                  <a:pt x="311" y="140"/>
                </a:lnTo>
                <a:lnTo>
                  <a:pt x="313" y="133"/>
                </a:lnTo>
                <a:lnTo>
                  <a:pt x="316" y="126"/>
                </a:lnTo>
                <a:lnTo>
                  <a:pt x="317" y="119"/>
                </a:lnTo>
                <a:lnTo>
                  <a:pt x="318" y="112"/>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79" name="Freeform 2151"/>
          <p:cNvSpPr>
            <a:spLocks/>
          </p:cNvSpPr>
          <p:nvPr/>
        </p:nvSpPr>
        <p:spPr bwMode="auto">
          <a:xfrm>
            <a:off x="2098676" y="4721162"/>
            <a:ext cx="84138" cy="49212"/>
          </a:xfrm>
          <a:custGeom>
            <a:avLst/>
            <a:gdLst>
              <a:gd name="T0" fmla="*/ 317 w 317"/>
              <a:gd name="T1" fmla="*/ 75 h 186"/>
              <a:gd name="T2" fmla="*/ 316 w 317"/>
              <a:gd name="T3" fmla="*/ 59 h 186"/>
              <a:gd name="T4" fmla="*/ 311 w 317"/>
              <a:gd name="T5" fmla="*/ 45 h 186"/>
              <a:gd name="T6" fmla="*/ 305 w 317"/>
              <a:gd name="T7" fmla="*/ 33 h 186"/>
              <a:gd name="T8" fmla="*/ 296 w 317"/>
              <a:gd name="T9" fmla="*/ 22 h 186"/>
              <a:gd name="T10" fmla="*/ 285 w 317"/>
              <a:gd name="T11" fmla="*/ 13 h 186"/>
              <a:gd name="T12" fmla="*/ 272 w 317"/>
              <a:gd name="T13" fmla="*/ 6 h 186"/>
              <a:gd name="T14" fmla="*/ 257 w 317"/>
              <a:gd name="T15" fmla="*/ 2 h 186"/>
              <a:gd name="T16" fmla="*/ 243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2 h 186"/>
              <a:gd name="T28" fmla="*/ 13 w 317"/>
              <a:gd name="T29" fmla="*/ 33 h 186"/>
              <a:gd name="T30" fmla="*/ 6 w 317"/>
              <a:gd name="T31" fmla="*/ 45 h 186"/>
              <a:gd name="T32" fmla="*/ 2 w 317"/>
              <a:gd name="T33" fmla="*/ 59 h 186"/>
              <a:gd name="T34" fmla="*/ 0 w 317"/>
              <a:gd name="T35" fmla="*/ 75 h 186"/>
              <a:gd name="T36" fmla="*/ 0 w 317"/>
              <a:gd name="T37" fmla="*/ 112 h 186"/>
              <a:gd name="T38" fmla="*/ 2 w 317"/>
              <a:gd name="T39" fmla="*/ 126 h 186"/>
              <a:gd name="T40" fmla="*/ 6 w 317"/>
              <a:gd name="T41" fmla="*/ 140 h 186"/>
              <a:gd name="T42" fmla="*/ 13 w 317"/>
              <a:gd name="T43" fmla="*/ 153 h 186"/>
              <a:gd name="T44" fmla="*/ 22 w 317"/>
              <a:gd name="T45" fmla="*/ 165 h 186"/>
              <a:gd name="T46" fmla="*/ 33 w 317"/>
              <a:gd name="T47" fmla="*/ 174 h 186"/>
              <a:gd name="T48" fmla="*/ 45 w 317"/>
              <a:gd name="T49" fmla="*/ 180 h 186"/>
              <a:gd name="T50" fmla="*/ 59 w 317"/>
              <a:gd name="T51" fmla="*/ 185 h 186"/>
              <a:gd name="T52" fmla="*/ 74 w 317"/>
              <a:gd name="T53" fmla="*/ 186 h 186"/>
              <a:gd name="T54" fmla="*/ 243 w 317"/>
              <a:gd name="T55" fmla="*/ 186 h 186"/>
              <a:gd name="T56" fmla="*/ 257 w 317"/>
              <a:gd name="T57" fmla="*/ 185 h 186"/>
              <a:gd name="T58" fmla="*/ 272 w 317"/>
              <a:gd name="T59" fmla="*/ 180 h 186"/>
              <a:gd name="T60" fmla="*/ 285 w 317"/>
              <a:gd name="T61" fmla="*/ 174 h 186"/>
              <a:gd name="T62" fmla="*/ 296 w 317"/>
              <a:gd name="T63" fmla="*/ 165 h 186"/>
              <a:gd name="T64" fmla="*/ 305 w 317"/>
              <a:gd name="T65" fmla="*/ 153 h 186"/>
              <a:gd name="T66" fmla="*/ 311 w 317"/>
              <a:gd name="T67" fmla="*/ 140 h 186"/>
              <a:gd name="T68" fmla="*/ 316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6"/>
                </a:lnTo>
                <a:lnTo>
                  <a:pt x="316" y="59"/>
                </a:lnTo>
                <a:lnTo>
                  <a:pt x="314" y="52"/>
                </a:lnTo>
                <a:lnTo>
                  <a:pt x="311" y="45"/>
                </a:lnTo>
                <a:lnTo>
                  <a:pt x="308" y="39"/>
                </a:lnTo>
                <a:lnTo>
                  <a:pt x="305" y="33"/>
                </a:lnTo>
                <a:lnTo>
                  <a:pt x="300" y="27"/>
                </a:lnTo>
                <a:lnTo>
                  <a:pt x="296" y="22"/>
                </a:lnTo>
                <a:lnTo>
                  <a:pt x="290" y="17"/>
                </a:lnTo>
                <a:lnTo>
                  <a:pt x="285" y="13"/>
                </a:lnTo>
                <a:lnTo>
                  <a:pt x="279" y="9"/>
                </a:lnTo>
                <a:lnTo>
                  <a:pt x="272" y="6"/>
                </a:lnTo>
                <a:lnTo>
                  <a:pt x="265" y="4"/>
                </a:lnTo>
                <a:lnTo>
                  <a:pt x="257" y="2"/>
                </a:lnTo>
                <a:lnTo>
                  <a:pt x="250" y="1"/>
                </a:lnTo>
                <a:lnTo>
                  <a:pt x="243" y="0"/>
                </a:lnTo>
                <a:lnTo>
                  <a:pt x="74" y="0"/>
                </a:lnTo>
                <a:lnTo>
                  <a:pt x="74" y="0"/>
                </a:lnTo>
                <a:lnTo>
                  <a:pt x="66" y="1"/>
                </a:lnTo>
                <a:lnTo>
                  <a:pt x="59" y="2"/>
                </a:lnTo>
                <a:lnTo>
                  <a:pt x="52" y="4"/>
                </a:lnTo>
                <a:lnTo>
                  <a:pt x="45" y="6"/>
                </a:lnTo>
                <a:lnTo>
                  <a:pt x="39" y="9"/>
                </a:lnTo>
                <a:lnTo>
                  <a:pt x="33" y="13"/>
                </a:lnTo>
                <a:lnTo>
                  <a:pt x="27" y="17"/>
                </a:lnTo>
                <a:lnTo>
                  <a:pt x="22" y="22"/>
                </a:lnTo>
                <a:lnTo>
                  <a:pt x="17" y="27"/>
                </a:lnTo>
                <a:lnTo>
                  <a:pt x="13" y="33"/>
                </a:lnTo>
                <a:lnTo>
                  <a:pt x="9" y="39"/>
                </a:lnTo>
                <a:lnTo>
                  <a:pt x="6" y="45"/>
                </a:lnTo>
                <a:lnTo>
                  <a:pt x="4" y="52"/>
                </a:lnTo>
                <a:lnTo>
                  <a:pt x="2" y="59"/>
                </a:lnTo>
                <a:lnTo>
                  <a:pt x="1" y="66"/>
                </a:lnTo>
                <a:lnTo>
                  <a:pt x="0" y="75"/>
                </a:lnTo>
                <a:lnTo>
                  <a:pt x="0" y="112"/>
                </a:lnTo>
                <a:lnTo>
                  <a:pt x="0" y="112"/>
                </a:lnTo>
                <a:lnTo>
                  <a:pt x="1" y="119"/>
                </a:lnTo>
                <a:lnTo>
                  <a:pt x="2" y="126"/>
                </a:lnTo>
                <a:lnTo>
                  <a:pt x="4" y="133"/>
                </a:lnTo>
                <a:lnTo>
                  <a:pt x="6" y="140"/>
                </a:lnTo>
                <a:lnTo>
                  <a:pt x="9" y="147"/>
                </a:lnTo>
                <a:lnTo>
                  <a:pt x="13" y="153"/>
                </a:lnTo>
                <a:lnTo>
                  <a:pt x="17" y="158"/>
                </a:lnTo>
                <a:lnTo>
                  <a:pt x="22" y="165"/>
                </a:lnTo>
                <a:lnTo>
                  <a:pt x="27" y="169"/>
                </a:lnTo>
                <a:lnTo>
                  <a:pt x="33" y="174"/>
                </a:lnTo>
                <a:lnTo>
                  <a:pt x="39" y="177"/>
                </a:lnTo>
                <a:lnTo>
                  <a:pt x="45" y="180"/>
                </a:lnTo>
                <a:lnTo>
                  <a:pt x="52" y="183"/>
                </a:lnTo>
                <a:lnTo>
                  <a:pt x="59" y="185"/>
                </a:lnTo>
                <a:lnTo>
                  <a:pt x="66" y="186"/>
                </a:lnTo>
                <a:lnTo>
                  <a:pt x="74" y="186"/>
                </a:lnTo>
                <a:lnTo>
                  <a:pt x="243" y="186"/>
                </a:lnTo>
                <a:lnTo>
                  <a:pt x="243" y="186"/>
                </a:lnTo>
                <a:lnTo>
                  <a:pt x="250" y="186"/>
                </a:lnTo>
                <a:lnTo>
                  <a:pt x="257" y="185"/>
                </a:lnTo>
                <a:lnTo>
                  <a:pt x="265" y="183"/>
                </a:lnTo>
                <a:lnTo>
                  <a:pt x="272" y="180"/>
                </a:lnTo>
                <a:lnTo>
                  <a:pt x="279" y="177"/>
                </a:lnTo>
                <a:lnTo>
                  <a:pt x="285" y="174"/>
                </a:lnTo>
                <a:lnTo>
                  <a:pt x="290" y="169"/>
                </a:lnTo>
                <a:lnTo>
                  <a:pt x="296" y="165"/>
                </a:lnTo>
                <a:lnTo>
                  <a:pt x="300" y="158"/>
                </a:lnTo>
                <a:lnTo>
                  <a:pt x="305" y="153"/>
                </a:lnTo>
                <a:lnTo>
                  <a:pt x="308" y="147"/>
                </a:lnTo>
                <a:lnTo>
                  <a:pt x="311" y="140"/>
                </a:lnTo>
                <a:lnTo>
                  <a:pt x="314" y="133"/>
                </a:lnTo>
                <a:lnTo>
                  <a:pt x="316" y="126"/>
                </a:lnTo>
                <a:lnTo>
                  <a:pt x="317"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0" name="Freeform 2152"/>
          <p:cNvSpPr>
            <a:spLocks/>
          </p:cNvSpPr>
          <p:nvPr/>
        </p:nvSpPr>
        <p:spPr bwMode="auto">
          <a:xfrm>
            <a:off x="2206626" y="4721162"/>
            <a:ext cx="84138" cy="49212"/>
          </a:xfrm>
          <a:custGeom>
            <a:avLst/>
            <a:gdLst>
              <a:gd name="T0" fmla="*/ 318 w 318"/>
              <a:gd name="T1" fmla="*/ 75 h 186"/>
              <a:gd name="T2" fmla="*/ 316 w 318"/>
              <a:gd name="T3" fmla="*/ 59 h 186"/>
              <a:gd name="T4" fmla="*/ 312 w 318"/>
              <a:gd name="T5" fmla="*/ 45 h 186"/>
              <a:gd name="T6" fmla="*/ 305 w 318"/>
              <a:gd name="T7" fmla="*/ 33 h 186"/>
              <a:gd name="T8" fmla="*/ 295 w 318"/>
              <a:gd name="T9" fmla="*/ 22 h 186"/>
              <a:gd name="T10" fmla="*/ 284 w 318"/>
              <a:gd name="T11" fmla="*/ 13 h 186"/>
              <a:gd name="T12" fmla="*/ 272 w 318"/>
              <a:gd name="T13" fmla="*/ 6 h 186"/>
              <a:gd name="T14" fmla="*/ 258 w 318"/>
              <a:gd name="T15" fmla="*/ 2 h 186"/>
              <a:gd name="T16" fmla="*/ 243 w 318"/>
              <a:gd name="T17" fmla="*/ 0 h 186"/>
              <a:gd name="T18" fmla="*/ 74 w 318"/>
              <a:gd name="T19" fmla="*/ 0 h 186"/>
              <a:gd name="T20" fmla="*/ 60 w 318"/>
              <a:gd name="T21" fmla="*/ 2 h 186"/>
              <a:gd name="T22" fmla="*/ 46 w 318"/>
              <a:gd name="T23" fmla="*/ 6 h 186"/>
              <a:gd name="T24" fmla="*/ 33 w 318"/>
              <a:gd name="T25" fmla="*/ 13 h 186"/>
              <a:gd name="T26" fmla="*/ 21 w 318"/>
              <a:gd name="T27" fmla="*/ 22 h 186"/>
              <a:gd name="T28" fmla="*/ 12 w 318"/>
              <a:gd name="T29" fmla="*/ 33 h 186"/>
              <a:gd name="T30" fmla="*/ 6 w 318"/>
              <a:gd name="T31" fmla="*/ 45 h 186"/>
              <a:gd name="T32" fmla="*/ 1 w 318"/>
              <a:gd name="T33" fmla="*/ 59 h 186"/>
              <a:gd name="T34" fmla="*/ 0 w 318"/>
              <a:gd name="T35" fmla="*/ 75 h 186"/>
              <a:gd name="T36" fmla="*/ 0 w 318"/>
              <a:gd name="T37" fmla="*/ 112 h 186"/>
              <a:gd name="T38" fmla="*/ 1 w 318"/>
              <a:gd name="T39" fmla="*/ 126 h 186"/>
              <a:gd name="T40" fmla="*/ 6 w 318"/>
              <a:gd name="T41" fmla="*/ 140 h 186"/>
              <a:gd name="T42" fmla="*/ 12 w 318"/>
              <a:gd name="T43" fmla="*/ 153 h 186"/>
              <a:gd name="T44" fmla="*/ 21 w 318"/>
              <a:gd name="T45" fmla="*/ 165 h 186"/>
              <a:gd name="T46" fmla="*/ 33 w 318"/>
              <a:gd name="T47" fmla="*/ 174 h 186"/>
              <a:gd name="T48" fmla="*/ 46 w 318"/>
              <a:gd name="T49" fmla="*/ 180 h 186"/>
              <a:gd name="T50" fmla="*/ 60 w 318"/>
              <a:gd name="T51" fmla="*/ 185 h 186"/>
              <a:gd name="T52" fmla="*/ 74 w 318"/>
              <a:gd name="T53" fmla="*/ 186 h 186"/>
              <a:gd name="T54" fmla="*/ 243 w 318"/>
              <a:gd name="T55" fmla="*/ 186 h 186"/>
              <a:gd name="T56" fmla="*/ 258 w 318"/>
              <a:gd name="T57" fmla="*/ 185 h 186"/>
              <a:gd name="T58" fmla="*/ 272 w 318"/>
              <a:gd name="T59" fmla="*/ 180 h 186"/>
              <a:gd name="T60" fmla="*/ 284 w 318"/>
              <a:gd name="T61" fmla="*/ 174 h 186"/>
              <a:gd name="T62" fmla="*/ 295 w 318"/>
              <a:gd name="T63" fmla="*/ 165 h 186"/>
              <a:gd name="T64" fmla="*/ 305 w 318"/>
              <a:gd name="T65" fmla="*/ 153 h 186"/>
              <a:gd name="T66" fmla="*/ 312 w 318"/>
              <a:gd name="T67" fmla="*/ 140 h 186"/>
              <a:gd name="T68" fmla="*/ 316 w 318"/>
              <a:gd name="T69" fmla="*/ 126 h 186"/>
              <a:gd name="T70" fmla="*/ 318 w 318"/>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7" y="66"/>
                </a:lnTo>
                <a:lnTo>
                  <a:pt x="316" y="59"/>
                </a:lnTo>
                <a:lnTo>
                  <a:pt x="314" y="52"/>
                </a:lnTo>
                <a:lnTo>
                  <a:pt x="312" y="45"/>
                </a:lnTo>
                <a:lnTo>
                  <a:pt x="309" y="39"/>
                </a:lnTo>
                <a:lnTo>
                  <a:pt x="305" y="33"/>
                </a:lnTo>
                <a:lnTo>
                  <a:pt x="301" y="27"/>
                </a:lnTo>
                <a:lnTo>
                  <a:pt x="295" y="22"/>
                </a:lnTo>
                <a:lnTo>
                  <a:pt x="290" y="17"/>
                </a:lnTo>
                <a:lnTo>
                  <a:pt x="284" y="13"/>
                </a:lnTo>
                <a:lnTo>
                  <a:pt x="278" y="9"/>
                </a:lnTo>
                <a:lnTo>
                  <a:pt x="272" y="6"/>
                </a:lnTo>
                <a:lnTo>
                  <a:pt x="265" y="4"/>
                </a:lnTo>
                <a:lnTo>
                  <a:pt x="258" y="2"/>
                </a:lnTo>
                <a:lnTo>
                  <a:pt x="251" y="1"/>
                </a:lnTo>
                <a:lnTo>
                  <a:pt x="243" y="0"/>
                </a:lnTo>
                <a:lnTo>
                  <a:pt x="74" y="0"/>
                </a:lnTo>
                <a:lnTo>
                  <a:pt x="74" y="0"/>
                </a:lnTo>
                <a:lnTo>
                  <a:pt x="67" y="1"/>
                </a:lnTo>
                <a:lnTo>
                  <a:pt x="60" y="2"/>
                </a:lnTo>
                <a:lnTo>
                  <a:pt x="53" y="4"/>
                </a:lnTo>
                <a:lnTo>
                  <a:pt x="46" y="6"/>
                </a:lnTo>
                <a:lnTo>
                  <a:pt x="39" y="9"/>
                </a:lnTo>
                <a:lnTo>
                  <a:pt x="33" y="13"/>
                </a:lnTo>
                <a:lnTo>
                  <a:pt x="27" y="17"/>
                </a:lnTo>
                <a:lnTo>
                  <a:pt x="21" y="22"/>
                </a:lnTo>
                <a:lnTo>
                  <a:pt x="17" y="27"/>
                </a:lnTo>
                <a:lnTo>
                  <a:pt x="12" y="33"/>
                </a:lnTo>
                <a:lnTo>
                  <a:pt x="9" y="39"/>
                </a:lnTo>
                <a:lnTo>
                  <a:pt x="6" y="45"/>
                </a:lnTo>
                <a:lnTo>
                  <a:pt x="3" y="52"/>
                </a:lnTo>
                <a:lnTo>
                  <a:pt x="1" y="59"/>
                </a:lnTo>
                <a:lnTo>
                  <a:pt x="0" y="66"/>
                </a:lnTo>
                <a:lnTo>
                  <a:pt x="0" y="75"/>
                </a:lnTo>
                <a:lnTo>
                  <a:pt x="0" y="112"/>
                </a:lnTo>
                <a:lnTo>
                  <a:pt x="0" y="112"/>
                </a:lnTo>
                <a:lnTo>
                  <a:pt x="0" y="119"/>
                </a:lnTo>
                <a:lnTo>
                  <a:pt x="1" y="126"/>
                </a:lnTo>
                <a:lnTo>
                  <a:pt x="3" y="133"/>
                </a:lnTo>
                <a:lnTo>
                  <a:pt x="6" y="140"/>
                </a:lnTo>
                <a:lnTo>
                  <a:pt x="9" y="147"/>
                </a:lnTo>
                <a:lnTo>
                  <a:pt x="12" y="153"/>
                </a:lnTo>
                <a:lnTo>
                  <a:pt x="17" y="158"/>
                </a:lnTo>
                <a:lnTo>
                  <a:pt x="21" y="165"/>
                </a:lnTo>
                <a:lnTo>
                  <a:pt x="27" y="169"/>
                </a:lnTo>
                <a:lnTo>
                  <a:pt x="33" y="174"/>
                </a:lnTo>
                <a:lnTo>
                  <a:pt x="39" y="177"/>
                </a:lnTo>
                <a:lnTo>
                  <a:pt x="46" y="180"/>
                </a:lnTo>
                <a:lnTo>
                  <a:pt x="53" y="183"/>
                </a:lnTo>
                <a:lnTo>
                  <a:pt x="60" y="185"/>
                </a:lnTo>
                <a:lnTo>
                  <a:pt x="67" y="186"/>
                </a:lnTo>
                <a:lnTo>
                  <a:pt x="74" y="186"/>
                </a:lnTo>
                <a:lnTo>
                  <a:pt x="243" y="186"/>
                </a:lnTo>
                <a:lnTo>
                  <a:pt x="243" y="186"/>
                </a:lnTo>
                <a:lnTo>
                  <a:pt x="251" y="186"/>
                </a:lnTo>
                <a:lnTo>
                  <a:pt x="258" y="185"/>
                </a:lnTo>
                <a:lnTo>
                  <a:pt x="265" y="183"/>
                </a:lnTo>
                <a:lnTo>
                  <a:pt x="272" y="180"/>
                </a:lnTo>
                <a:lnTo>
                  <a:pt x="278" y="177"/>
                </a:lnTo>
                <a:lnTo>
                  <a:pt x="284" y="174"/>
                </a:lnTo>
                <a:lnTo>
                  <a:pt x="290" y="169"/>
                </a:lnTo>
                <a:lnTo>
                  <a:pt x="295" y="165"/>
                </a:lnTo>
                <a:lnTo>
                  <a:pt x="301" y="158"/>
                </a:lnTo>
                <a:lnTo>
                  <a:pt x="305" y="153"/>
                </a:lnTo>
                <a:lnTo>
                  <a:pt x="309" y="147"/>
                </a:lnTo>
                <a:lnTo>
                  <a:pt x="312" y="140"/>
                </a:lnTo>
                <a:lnTo>
                  <a:pt x="314" y="133"/>
                </a:lnTo>
                <a:lnTo>
                  <a:pt x="316" y="126"/>
                </a:lnTo>
                <a:lnTo>
                  <a:pt x="317" y="119"/>
                </a:lnTo>
                <a:lnTo>
                  <a:pt x="318" y="112"/>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1" name="Freeform 2153"/>
          <p:cNvSpPr>
            <a:spLocks/>
          </p:cNvSpPr>
          <p:nvPr/>
        </p:nvSpPr>
        <p:spPr bwMode="auto">
          <a:xfrm>
            <a:off x="2314576" y="4721162"/>
            <a:ext cx="84138" cy="49212"/>
          </a:xfrm>
          <a:custGeom>
            <a:avLst/>
            <a:gdLst>
              <a:gd name="T0" fmla="*/ 317 w 317"/>
              <a:gd name="T1" fmla="*/ 75 h 186"/>
              <a:gd name="T2" fmla="*/ 316 w 317"/>
              <a:gd name="T3" fmla="*/ 59 h 186"/>
              <a:gd name="T4" fmla="*/ 311 w 317"/>
              <a:gd name="T5" fmla="*/ 45 h 186"/>
              <a:gd name="T6" fmla="*/ 304 w 317"/>
              <a:gd name="T7" fmla="*/ 33 h 186"/>
              <a:gd name="T8" fmla="*/ 296 w 317"/>
              <a:gd name="T9" fmla="*/ 22 h 186"/>
              <a:gd name="T10" fmla="*/ 285 w 317"/>
              <a:gd name="T11" fmla="*/ 13 h 186"/>
              <a:gd name="T12" fmla="*/ 272 w 317"/>
              <a:gd name="T13" fmla="*/ 6 h 186"/>
              <a:gd name="T14" fmla="*/ 258 w 317"/>
              <a:gd name="T15" fmla="*/ 2 h 186"/>
              <a:gd name="T16" fmla="*/ 243 w 317"/>
              <a:gd name="T17" fmla="*/ 0 h 186"/>
              <a:gd name="T18" fmla="*/ 75 w 317"/>
              <a:gd name="T19" fmla="*/ 0 h 186"/>
              <a:gd name="T20" fmla="*/ 59 w 317"/>
              <a:gd name="T21" fmla="*/ 2 h 186"/>
              <a:gd name="T22" fmla="*/ 45 w 317"/>
              <a:gd name="T23" fmla="*/ 6 h 186"/>
              <a:gd name="T24" fmla="*/ 33 w 317"/>
              <a:gd name="T25" fmla="*/ 13 h 186"/>
              <a:gd name="T26" fmla="*/ 22 w 317"/>
              <a:gd name="T27" fmla="*/ 22 h 186"/>
              <a:gd name="T28" fmla="*/ 13 w 317"/>
              <a:gd name="T29" fmla="*/ 33 h 186"/>
              <a:gd name="T30" fmla="*/ 6 w 317"/>
              <a:gd name="T31" fmla="*/ 45 h 186"/>
              <a:gd name="T32" fmla="*/ 2 w 317"/>
              <a:gd name="T33" fmla="*/ 59 h 186"/>
              <a:gd name="T34" fmla="*/ 0 w 317"/>
              <a:gd name="T35" fmla="*/ 75 h 186"/>
              <a:gd name="T36" fmla="*/ 0 w 317"/>
              <a:gd name="T37" fmla="*/ 112 h 186"/>
              <a:gd name="T38" fmla="*/ 2 w 317"/>
              <a:gd name="T39" fmla="*/ 126 h 186"/>
              <a:gd name="T40" fmla="*/ 6 w 317"/>
              <a:gd name="T41" fmla="*/ 140 h 186"/>
              <a:gd name="T42" fmla="*/ 13 w 317"/>
              <a:gd name="T43" fmla="*/ 153 h 186"/>
              <a:gd name="T44" fmla="*/ 22 w 317"/>
              <a:gd name="T45" fmla="*/ 165 h 186"/>
              <a:gd name="T46" fmla="*/ 33 w 317"/>
              <a:gd name="T47" fmla="*/ 174 h 186"/>
              <a:gd name="T48" fmla="*/ 45 w 317"/>
              <a:gd name="T49" fmla="*/ 180 h 186"/>
              <a:gd name="T50" fmla="*/ 59 w 317"/>
              <a:gd name="T51" fmla="*/ 185 h 186"/>
              <a:gd name="T52" fmla="*/ 75 w 317"/>
              <a:gd name="T53" fmla="*/ 186 h 186"/>
              <a:gd name="T54" fmla="*/ 243 w 317"/>
              <a:gd name="T55" fmla="*/ 186 h 186"/>
              <a:gd name="T56" fmla="*/ 258 w 317"/>
              <a:gd name="T57" fmla="*/ 185 h 186"/>
              <a:gd name="T58" fmla="*/ 272 w 317"/>
              <a:gd name="T59" fmla="*/ 180 h 186"/>
              <a:gd name="T60" fmla="*/ 285 w 317"/>
              <a:gd name="T61" fmla="*/ 174 h 186"/>
              <a:gd name="T62" fmla="*/ 296 w 317"/>
              <a:gd name="T63" fmla="*/ 165 h 186"/>
              <a:gd name="T64" fmla="*/ 304 w 317"/>
              <a:gd name="T65" fmla="*/ 153 h 186"/>
              <a:gd name="T66" fmla="*/ 311 w 317"/>
              <a:gd name="T67" fmla="*/ 140 h 186"/>
              <a:gd name="T68" fmla="*/ 316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6"/>
                </a:lnTo>
                <a:lnTo>
                  <a:pt x="316" y="59"/>
                </a:lnTo>
                <a:lnTo>
                  <a:pt x="314" y="52"/>
                </a:lnTo>
                <a:lnTo>
                  <a:pt x="311" y="45"/>
                </a:lnTo>
                <a:lnTo>
                  <a:pt x="308" y="39"/>
                </a:lnTo>
                <a:lnTo>
                  <a:pt x="304" y="33"/>
                </a:lnTo>
                <a:lnTo>
                  <a:pt x="300" y="27"/>
                </a:lnTo>
                <a:lnTo>
                  <a:pt x="296" y="22"/>
                </a:lnTo>
                <a:lnTo>
                  <a:pt x="290" y="17"/>
                </a:lnTo>
                <a:lnTo>
                  <a:pt x="285" y="13"/>
                </a:lnTo>
                <a:lnTo>
                  <a:pt x="279" y="9"/>
                </a:lnTo>
                <a:lnTo>
                  <a:pt x="272" y="6"/>
                </a:lnTo>
                <a:lnTo>
                  <a:pt x="265" y="4"/>
                </a:lnTo>
                <a:lnTo>
                  <a:pt x="258" y="2"/>
                </a:lnTo>
                <a:lnTo>
                  <a:pt x="251" y="1"/>
                </a:lnTo>
                <a:lnTo>
                  <a:pt x="243" y="0"/>
                </a:lnTo>
                <a:lnTo>
                  <a:pt x="75" y="0"/>
                </a:lnTo>
                <a:lnTo>
                  <a:pt x="75" y="0"/>
                </a:lnTo>
                <a:lnTo>
                  <a:pt x="66" y="1"/>
                </a:lnTo>
                <a:lnTo>
                  <a:pt x="59" y="2"/>
                </a:lnTo>
                <a:lnTo>
                  <a:pt x="52" y="4"/>
                </a:lnTo>
                <a:lnTo>
                  <a:pt x="45" y="6"/>
                </a:lnTo>
                <a:lnTo>
                  <a:pt x="39" y="9"/>
                </a:lnTo>
                <a:lnTo>
                  <a:pt x="33" y="13"/>
                </a:lnTo>
                <a:lnTo>
                  <a:pt x="27" y="17"/>
                </a:lnTo>
                <a:lnTo>
                  <a:pt x="22" y="22"/>
                </a:lnTo>
                <a:lnTo>
                  <a:pt x="17" y="27"/>
                </a:lnTo>
                <a:lnTo>
                  <a:pt x="13" y="33"/>
                </a:lnTo>
                <a:lnTo>
                  <a:pt x="9" y="39"/>
                </a:lnTo>
                <a:lnTo>
                  <a:pt x="6" y="45"/>
                </a:lnTo>
                <a:lnTo>
                  <a:pt x="4" y="52"/>
                </a:lnTo>
                <a:lnTo>
                  <a:pt x="2" y="59"/>
                </a:lnTo>
                <a:lnTo>
                  <a:pt x="1" y="66"/>
                </a:lnTo>
                <a:lnTo>
                  <a:pt x="0" y="75"/>
                </a:lnTo>
                <a:lnTo>
                  <a:pt x="0" y="112"/>
                </a:lnTo>
                <a:lnTo>
                  <a:pt x="0" y="112"/>
                </a:lnTo>
                <a:lnTo>
                  <a:pt x="1" y="119"/>
                </a:lnTo>
                <a:lnTo>
                  <a:pt x="2" y="126"/>
                </a:lnTo>
                <a:lnTo>
                  <a:pt x="4" y="133"/>
                </a:lnTo>
                <a:lnTo>
                  <a:pt x="6" y="140"/>
                </a:lnTo>
                <a:lnTo>
                  <a:pt x="9" y="147"/>
                </a:lnTo>
                <a:lnTo>
                  <a:pt x="13" y="153"/>
                </a:lnTo>
                <a:lnTo>
                  <a:pt x="17" y="158"/>
                </a:lnTo>
                <a:lnTo>
                  <a:pt x="22" y="165"/>
                </a:lnTo>
                <a:lnTo>
                  <a:pt x="27" y="169"/>
                </a:lnTo>
                <a:lnTo>
                  <a:pt x="33" y="174"/>
                </a:lnTo>
                <a:lnTo>
                  <a:pt x="39" y="177"/>
                </a:lnTo>
                <a:lnTo>
                  <a:pt x="45" y="180"/>
                </a:lnTo>
                <a:lnTo>
                  <a:pt x="52" y="183"/>
                </a:lnTo>
                <a:lnTo>
                  <a:pt x="59" y="185"/>
                </a:lnTo>
                <a:lnTo>
                  <a:pt x="66" y="186"/>
                </a:lnTo>
                <a:lnTo>
                  <a:pt x="75" y="186"/>
                </a:lnTo>
                <a:lnTo>
                  <a:pt x="243" y="186"/>
                </a:lnTo>
                <a:lnTo>
                  <a:pt x="243" y="186"/>
                </a:lnTo>
                <a:lnTo>
                  <a:pt x="251" y="186"/>
                </a:lnTo>
                <a:lnTo>
                  <a:pt x="258" y="185"/>
                </a:lnTo>
                <a:lnTo>
                  <a:pt x="265" y="183"/>
                </a:lnTo>
                <a:lnTo>
                  <a:pt x="272" y="180"/>
                </a:lnTo>
                <a:lnTo>
                  <a:pt x="279" y="177"/>
                </a:lnTo>
                <a:lnTo>
                  <a:pt x="285" y="174"/>
                </a:lnTo>
                <a:lnTo>
                  <a:pt x="290" y="169"/>
                </a:lnTo>
                <a:lnTo>
                  <a:pt x="296" y="165"/>
                </a:lnTo>
                <a:lnTo>
                  <a:pt x="300" y="158"/>
                </a:lnTo>
                <a:lnTo>
                  <a:pt x="304" y="153"/>
                </a:lnTo>
                <a:lnTo>
                  <a:pt x="308" y="147"/>
                </a:lnTo>
                <a:lnTo>
                  <a:pt x="311" y="140"/>
                </a:lnTo>
                <a:lnTo>
                  <a:pt x="314" y="133"/>
                </a:lnTo>
                <a:lnTo>
                  <a:pt x="316" y="126"/>
                </a:lnTo>
                <a:lnTo>
                  <a:pt x="317"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2" name="Freeform 2154"/>
          <p:cNvSpPr>
            <a:spLocks/>
          </p:cNvSpPr>
          <p:nvPr/>
        </p:nvSpPr>
        <p:spPr bwMode="auto">
          <a:xfrm>
            <a:off x="2420939" y="4721162"/>
            <a:ext cx="84138" cy="49212"/>
          </a:xfrm>
          <a:custGeom>
            <a:avLst/>
            <a:gdLst>
              <a:gd name="T0" fmla="*/ 317 w 317"/>
              <a:gd name="T1" fmla="*/ 75 h 186"/>
              <a:gd name="T2" fmla="*/ 316 w 317"/>
              <a:gd name="T3" fmla="*/ 59 h 186"/>
              <a:gd name="T4" fmla="*/ 312 w 317"/>
              <a:gd name="T5" fmla="*/ 45 h 186"/>
              <a:gd name="T6" fmla="*/ 305 w 317"/>
              <a:gd name="T7" fmla="*/ 33 h 186"/>
              <a:gd name="T8" fmla="*/ 296 w 317"/>
              <a:gd name="T9" fmla="*/ 22 h 186"/>
              <a:gd name="T10" fmla="*/ 285 w 317"/>
              <a:gd name="T11" fmla="*/ 13 h 186"/>
              <a:gd name="T12" fmla="*/ 272 w 317"/>
              <a:gd name="T13" fmla="*/ 6 h 186"/>
              <a:gd name="T14" fmla="*/ 258 w 317"/>
              <a:gd name="T15" fmla="*/ 2 h 186"/>
              <a:gd name="T16" fmla="*/ 243 w 317"/>
              <a:gd name="T17" fmla="*/ 0 h 186"/>
              <a:gd name="T18" fmla="*/ 74 w 317"/>
              <a:gd name="T19" fmla="*/ 0 h 186"/>
              <a:gd name="T20" fmla="*/ 60 w 317"/>
              <a:gd name="T21" fmla="*/ 2 h 186"/>
              <a:gd name="T22" fmla="*/ 46 w 317"/>
              <a:gd name="T23" fmla="*/ 6 h 186"/>
              <a:gd name="T24" fmla="*/ 33 w 317"/>
              <a:gd name="T25" fmla="*/ 13 h 186"/>
              <a:gd name="T26" fmla="*/ 22 w 317"/>
              <a:gd name="T27" fmla="*/ 22 h 186"/>
              <a:gd name="T28" fmla="*/ 12 w 317"/>
              <a:gd name="T29" fmla="*/ 33 h 186"/>
              <a:gd name="T30" fmla="*/ 6 w 317"/>
              <a:gd name="T31" fmla="*/ 45 h 186"/>
              <a:gd name="T32" fmla="*/ 1 w 317"/>
              <a:gd name="T33" fmla="*/ 59 h 186"/>
              <a:gd name="T34" fmla="*/ 0 w 317"/>
              <a:gd name="T35" fmla="*/ 75 h 186"/>
              <a:gd name="T36" fmla="*/ 0 w 317"/>
              <a:gd name="T37" fmla="*/ 112 h 186"/>
              <a:gd name="T38" fmla="*/ 1 w 317"/>
              <a:gd name="T39" fmla="*/ 126 h 186"/>
              <a:gd name="T40" fmla="*/ 6 w 317"/>
              <a:gd name="T41" fmla="*/ 140 h 186"/>
              <a:gd name="T42" fmla="*/ 12 w 317"/>
              <a:gd name="T43" fmla="*/ 153 h 186"/>
              <a:gd name="T44" fmla="*/ 22 w 317"/>
              <a:gd name="T45" fmla="*/ 165 h 186"/>
              <a:gd name="T46" fmla="*/ 33 w 317"/>
              <a:gd name="T47" fmla="*/ 174 h 186"/>
              <a:gd name="T48" fmla="*/ 46 w 317"/>
              <a:gd name="T49" fmla="*/ 180 h 186"/>
              <a:gd name="T50" fmla="*/ 60 w 317"/>
              <a:gd name="T51" fmla="*/ 185 h 186"/>
              <a:gd name="T52" fmla="*/ 74 w 317"/>
              <a:gd name="T53" fmla="*/ 186 h 186"/>
              <a:gd name="T54" fmla="*/ 243 w 317"/>
              <a:gd name="T55" fmla="*/ 186 h 186"/>
              <a:gd name="T56" fmla="*/ 258 w 317"/>
              <a:gd name="T57" fmla="*/ 185 h 186"/>
              <a:gd name="T58" fmla="*/ 272 w 317"/>
              <a:gd name="T59" fmla="*/ 180 h 186"/>
              <a:gd name="T60" fmla="*/ 285 w 317"/>
              <a:gd name="T61" fmla="*/ 174 h 186"/>
              <a:gd name="T62" fmla="*/ 296 w 317"/>
              <a:gd name="T63" fmla="*/ 165 h 186"/>
              <a:gd name="T64" fmla="*/ 305 w 317"/>
              <a:gd name="T65" fmla="*/ 153 h 186"/>
              <a:gd name="T66" fmla="*/ 312 w 317"/>
              <a:gd name="T67" fmla="*/ 140 h 186"/>
              <a:gd name="T68" fmla="*/ 316 w 317"/>
              <a:gd name="T69" fmla="*/ 126 h 186"/>
              <a:gd name="T70" fmla="*/ 317 w 317"/>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6"/>
                </a:lnTo>
                <a:lnTo>
                  <a:pt x="316" y="59"/>
                </a:lnTo>
                <a:lnTo>
                  <a:pt x="314" y="52"/>
                </a:lnTo>
                <a:lnTo>
                  <a:pt x="312" y="45"/>
                </a:lnTo>
                <a:lnTo>
                  <a:pt x="309" y="39"/>
                </a:lnTo>
                <a:lnTo>
                  <a:pt x="305" y="33"/>
                </a:lnTo>
                <a:lnTo>
                  <a:pt x="301" y="27"/>
                </a:lnTo>
                <a:lnTo>
                  <a:pt x="296" y="22"/>
                </a:lnTo>
                <a:lnTo>
                  <a:pt x="291" y="17"/>
                </a:lnTo>
                <a:lnTo>
                  <a:pt x="285" y="13"/>
                </a:lnTo>
                <a:lnTo>
                  <a:pt x="278" y="9"/>
                </a:lnTo>
                <a:lnTo>
                  <a:pt x="272" y="6"/>
                </a:lnTo>
                <a:lnTo>
                  <a:pt x="265" y="4"/>
                </a:lnTo>
                <a:lnTo>
                  <a:pt x="258" y="2"/>
                </a:lnTo>
                <a:lnTo>
                  <a:pt x="250" y="1"/>
                </a:lnTo>
                <a:lnTo>
                  <a:pt x="243" y="0"/>
                </a:lnTo>
                <a:lnTo>
                  <a:pt x="74" y="0"/>
                </a:lnTo>
                <a:lnTo>
                  <a:pt x="74" y="0"/>
                </a:lnTo>
                <a:lnTo>
                  <a:pt x="67" y="1"/>
                </a:lnTo>
                <a:lnTo>
                  <a:pt x="60" y="2"/>
                </a:lnTo>
                <a:lnTo>
                  <a:pt x="52" y="4"/>
                </a:lnTo>
                <a:lnTo>
                  <a:pt x="46" y="6"/>
                </a:lnTo>
                <a:lnTo>
                  <a:pt x="39" y="9"/>
                </a:lnTo>
                <a:lnTo>
                  <a:pt x="33" y="13"/>
                </a:lnTo>
                <a:lnTo>
                  <a:pt x="28" y="17"/>
                </a:lnTo>
                <a:lnTo>
                  <a:pt x="22" y="22"/>
                </a:lnTo>
                <a:lnTo>
                  <a:pt x="18" y="27"/>
                </a:lnTo>
                <a:lnTo>
                  <a:pt x="12" y="33"/>
                </a:lnTo>
                <a:lnTo>
                  <a:pt x="9" y="39"/>
                </a:lnTo>
                <a:lnTo>
                  <a:pt x="6" y="45"/>
                </a:lnTo>
                <a:lnTo>
                  <a:pt x="3" y="52"/>
                </a:lnTo>
                <a:lnTo>
                  <a:pt x="1" y="59"/>
                </a:lnTo>
                <a:lnTo>
                  <a:pt x="0" y="66"/>
                </a:lnTo>
                <a:lnTo>
                  <a:pt x="0" y="75"/>
                </a:lnTo>
                <a:lnTo>
                  <a:pt x="0" y="112"/>
                </a:lnTo>
                <a:lnTo>
                  <a:pt x="0" y="112"/>
                </a:lnTo>
                <a:lnTo>
                  <a:pt x="0" y="119"/>
                </a:lnTo>
                <a:lnTo>
                  <a:pt x="1" y="126"/>
                </a:lnTo>
                <a:lnTo>
                  <a:pt x="3" y="133"/>
                </a:lnTo>
                <a:lnTo>
                  <a:pt x="6" y="140"/>
                </a:lnTo>
                <a:lnTo>
                  <a:pt x="9" y="147"/>
                </a:lnTo>
                <a:lnTo>
                  <a:pt x="12" y="153"/>
                </a:lnTo>
                <a:lnTo>
                  <a:pt x="18" y="158"/>
                </a:lnTo>
                <a:lnTo>
                  <a:pt x="22" y="165"/>
                </a:lnTo>
                <a:lnTo>
                  <a:pt x="28" y="169"/>
                </a:lnTo>
                <a:lnTo>
                  <a:pt x="33" y="174"/>
                </a:lnTo>
                <a:lnTo>
                  <a:pt x="39" y="177"/>
                </a:lnTo>
                <a:lnTo>
                  <a:pt x="46" y="180"/>
                </a:lnTo>
                <a:lnTo>
                  <a:pt x="52" y="183"/>
                </a:lnTo>
                <a:lnTo>
                  <a:pt x="60" y="185"/>
                </a:lnTo>
                <a:lnTo>
                  <a:pt x="67" y="186"/>
                </a:lnTo>
                <a:lnTo>
                  <a:pt x="74" y="186"/>
                </a:lnTo>
                <a:lnTo>
                  <a:pt x="243" y="186"/>
                </a:lnTo>
                <a:lnTo>
                  <a:pt x="243" y="186"/>
                </a:lnTo>
                <a:lnTo>
                  <a:pt x="250" y="186"/>
                </a:lnTo>
                <a:lnTo>
                  <a:pt x="258" y="185"/>
                </a:lnTo>
                <a:lnTo>
                  <a:pt x="265" y="183"/>
                </a:lnTo>
                <a:lnTo>
                  <a:pt x="272" y="180"/>
                </a:lnTo>
                <a:lnTo>
                  <a:pt x="278" y="177"/>
                </a:lnTo>
                <a:lnTo>
                  <a:pt x="285" y="174"/>
                </a:lnTo>
                <a:lnTo>
                  <a:pt x="291" y="169"/>
                </a:lnTo>
                <a:lnTo>
                  <a:pt x="296" y="165"/>
                </a:lnTo>
                <a:lnTo>
                  <a:pt x="301" y="158"/>
                </a:lnTo>
                <a:lnTo>
                  <a:pt x="305" y="153"/>
                </a:lnTo>
                <a:lnTo>
                  <a:pt x="309" y="147"/>
                </a:lnTo>
                <a:lnTo>
                  <a:pt x="312" y="140"/>
                </a:lnTo>
                <a:lnTo>
                  <a:pt x="314" y="133"/>
                </a:lnTo>
                <a:lnTo>
                  <a:pt x="316" y="126"/>
                </a:lnTo>
                <a:lnTo>
                  <a:pt x="317" y="119"/>
                </a:lnTo>
                <a:lnTo>
                  <a:pt x="317" y="112"/>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3" name="Freeform 2155"/>
          <p:cNvSpPr>
            <a:spLocks/>
          </p:cNvSpPr>
          <p:nvPr/>
        </p:nvSpPr>
        <p:spPr bwMode="auto">
          <a:xfrm>
            <a:off x="2528889" y="4721162"/>
            <a:ext cx="84138" cy="49212"/>
          </a:xfrm>
          <a:custGeom>
            <a:avLst/>
            <a:gdLst>
              <a:gd name="T0" fmla="*/ 318 w 318"/>
              <a:gd name="T1" fmla="*/ 75 h 186"/>
              <a:gd name="T2" fmla="*/ 316 w 318"/>
              <a:gd name="T3" fmla="*/ 59 h 186"/>
              <a:gd name="T4" fmla="*/ 311 w 318"/>
              <a:gd name="T5" fmla="*/ 45 h 186"/>
              <a:gd name="T6" fmla="*/ 304 w 318"/>
              <a:gd name="T7" fmla="*/ 33 h 186"/>
              <a:gd name="T8" fmla="*/ 295 w 318"/>
              <a:gd name="T9" fmla="*/ 22 h 186"/>
              <a:gd name="T10" fmla="*/ 285 w 318"/>
              <a:gd name="T11" fmla="*/ 13 h 186"/>
              <a:gd name="T12" fmla="*/ 272 w 318"/>
              <a:gd name="T13" fmla="*/ 6 h 186"/>
              <a:gd name="T14" fmla="*/ 258 w 318"/>
              <a:gd name="T15" fmla="*/ 2 h 186"/>
              <a:gd name="T16" fmla="*/ 243 w 318"/>
              <a:gd name="T17" fmla="*/ 0 h 186"/>
              <a:gd name="T18" fmla="*/ 75 w 318"/>
              <a:gd name="T19" fmla="*/ 0 h 186"/>
              <a:gd name="T20" fmla="*/ 60 w 318"/>
              <a:gd name="T21" fmla="*/ 2 h 186"/>
              <a:gd name="T22" fmla="*/ 45 w 318"/>
              <a:gd name="T23" fmla="*/ 6 h 186"/>
              <a:gd name="T24" fmla="*/ 33 w 318"/>
              <a:gd name="T25" fmla="*/ 13 h 186"/>
              <a:gd name="T26" fmla="*/ 22 w 318"/>
              <a:gd name="T27" fmla="*/ 22 h 186"/>
              <a:gd name="T28" fmla="*/ 13 w 318"/>
              <a:gd name="T29" fmla="*/ 33 h 186"/>
              <a:gd name="T30" fmla="*/ 6 w 318"/>
              <a:gd name="T31" fmla="*/ 45 h 186"/>
              <a:gd name="T32" fmla="*/ 2 w 318"/>
              <a:gd name="T33" fmla="*/ 59 h 186"/>
              <a:gd name="T34" fmla="*/ 0 w 318"/>
              <a:gd name="T35" fmla="*/ 75 h 186"/>
              <a:gd name="T36" fmla="*/ 0 w 318"/>
              <a:gd name="T37" fmla="*/ 112 h 186"/>
              <a:gd name="T38" fmla="*/ 2 w 318"/>
              <a:gd name="T39" fmla="*/ 126 h 186"/>
              <a:gd name="T40" fmla="*/ 6 w 318"/>
              <a:gd name="T41" fmla="*/ 140 h 186"/>
              <a:gd name="T42" fmla="*/ 13 w 318"/>
              <a:gd name="T43" fmla="*/ 153 h 186"/>
              <a:gd name="T44" fmla="*/ 22 w 318"/>
              <a:gd name="T45" fmla="*/ 165 h 186"/>
              <a:gd name="T46" fmla="*/ 33 w 318"/>
              <a:gd name="T47" fmla="*/ 174 h 186"/>
              <a:gd name="T48" fmla="*/ 45 w 318"/>
              <a:gd name="T49" fmla="*/ 180 h 186"/>
              <a:gd name="T50" fmla="*/ 60 w 318"/>
              <a:gd name="T51" fmla="*/ 185 h 186"/>
              <a:gd name="T52" fmla="*/ 75 w 318"/>
              <a:gd name="T53" fmla="*/ 186 h 186"/>
              <a:gd name="T54" fmla="*/ 243 w 318"/>
              <a:gd name="T55" fmla="*/ 186 h 186"/>
              <a:gd name="T56" fmla="*/ 258 w 318"/>
              <a:gd name="T57" fmla="*/ 185 h 186"/>
              <a:gd name="T58" fmla="*/ 272 w 318"/>
              <a:gd name="T59" fmla="*/ 180 h 186"/>
              <a:gd name="T60" fmla="*/ 285 w 318"/>
              <a:gd name="T61" fmla="*/ 174 h 186"/>
              <a:gd name="T62" fmla="*/ 295 w 318"/>
              <a:gd name="T63" fmla="*/ 165 h 186"/>
              <a:gd name="T64" fmla="*/ 304 w 318"/>
              <a:gd name="T65" fmla="*/ 153 h 186"/>
              <a:gd name="T66" fmla="*/ 311 w 318"/>
              <a:gd name="T67" fmla="*/ 140 h 186"/>
              <a:gd name="T68" fmla="*/ 316 w 318"/>
              <a:gd name="T69" fmla="*/ 126 h 186"/>
              <a:gd name="T70" fmla="*/ 318 w 318"/>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8" y="66"/>
                </a:lnTo>
                <a:lnTo>
                  <a:pt x="316" y="59"/>
                </a:lnTo>
                <a:lnTo>
                  <a:pt x="314" y="52"/>
                </a:lnTo>
                <a:lnTo>
                  <a:pt x="311" y="45"/>
                </a:lnTo>
                <a:lnTo>
                  <a:pt x="308" y="39"/>
                </a:lnTo>
                <a:lnTo>
                  <a:pt x="304" y="33"/>
                </a:lnTo>
                <a:lnTo>
                  <a:pt x="300" y="27"/>
                </a:lnTo>
                <a:lnTo>
                  <a:pt x="295" y="22"/>
                </a:lnTo>
                <a:lnTo>
                  <a:pt x="290" y="17"/>
                </a:lnTo>
                <a:lnTo>
                  <a:pt x="285" y="13"/>
                </a:lnTo>
                <a:lnTo>
                  <a:pt x="278" y="9"/>
                </a:lnTo>
                <a:lnTo>
                  <a:pt x="272" y="6"/>
                </a:lnTo>
                <a:lnTo>
                  <a:pt x="265" y="4"/>
                </a:lnTo>
                <a:lnTo>
                  <a:pt x="258" y="2"/>
                </a:lnTo>
                <a:lnTo>
                  <a:pt x="251" y="1"/>
                </a:lnTo>
                <a:lnTo>
                  <a:pt x="243" y="0"/>
                </a:lnTo>
                <a:lnTo>
                  <a:pt x="75" y="0"/>
                </a:lnTo>
                <a:lnTo>
                  <a:pt x="75" y="0"/>
                </a:lnTo>
                <a:lnTo>
                  <a:pt x="67" y="1"/>
                </a:lnTo>
                <a:lnTo>
                  <a:pt x="60" y="2"/>
                </a:lnTo>
                <a:lnTo>
                  <a:pt x="53" y="4"/>
                </a:lnTo>
                <a:lnTo>
                  <a:pt x="45" y="6"/>
                </a:lnTo>
                <a:lnTo>
                  <a:pt x="39" y="9"/>
                </a:lnTo>
                <a:lnTo>
                  <a:pt x="33" y="13"/>
                </a:lnTo>
                <a:lnTo>
                  <a:pt x="27" y="17"/>
                </a:lnTo>
                <a:lnTo>
                  <a:pt x="22" y="22"/>
                </a:lnTo>
                <a:lnTo>
                  <a:pt x="17" y="27"/>
                </a:lnTo>
                <a:lnTo>
                  <a:pt x="13" y="33"/>
                </a:lnTo>
                <a:lnTo>
                  <a:pt x="9" y="39"/>
                </a:lnTo>
                <a:lnTo>
                  <a:pt x="6" y="45"/>
                </a:lnTo>
                <a:lnTo>
                  <a:pt x="4" y="52"/>
                </a:lnTo>
                <a:lnTo>
                  <a:pt x="2" y="59"/>
                </a:lnTo>
                <a:lnTo>
                  <a:pt x="1" y="66"/>
                </a:lnTo>
                <a:lnTo>
                  <a:pt x="0" y="75"/>
                </a:lnTo>
                <a:lnTo>
                  <a:pt x="0" y="112"/>
                </a:lnTo>
                <a:lnTo>
                  <a:pt x="0" y="112"/>
                </a:lnTo>
                <a:lnTo>
                  <a:pt x="1" y="119"/>
                </a:lnTo>
                <a:lnTo>
                  <a:pt x="2" y="126"/>
                </a:lnTo>
                <a:lnTo>
                  <a:pt x="4" y="133"/>
                </a:lnTo>
                <a:lnTo>
                  <a:pt x="6" y="140"/>
                </a:lnTo>
                <a:lnTo>
                  <a:pt x="9" y="147"/>
                </a:lnTo>
                <a:lnTo>
                  <a:pt x="13" y="153"/>
                </a:lnTo>
                <a:lnTo>
                  <a:pt x="17" y="158"/>
                </a:lnTo>
                <a:lnTo>
                  <a:pt x="22" y="165"/>
                </a:lnTo>
                <a:lnTo>
                  <a:pt x="27" y="169"/>
                </a:lnTo>
                <a:lnTo>
                  <a:pt x="33" y="174"/>
                </a:lnTo>
                <a:lnTo>
                  <a:pt x="39" y="177"/>
                </a:lnTo>
                <a:lnTo>
                  <a:pt x="45" y="180"/>
                </a:lnTo>
                <a:lnTo>
                  <a:pt x="53" y="183"/>
                </a:lnTo>
                <a:lnTo>
                  <a:pt x="60" y="185"/>
                </a:lnTo>
                <a:lnTo>
                  <a:pt x="67" y="186"/>
                </a:lnTo>
                <a:lnTo>
                  <a:pt x="75" y="186"/>
                </a:lnTo>
                <a:lnTo>
                  <a:pt x="243" y="186"/>
                </a:lnTo>
                <a:lnTo>
                  <a:pt x="243" y="186"/>
                </a:lnTo>
                <a:lnTo>
                  <a:pt x="251" y="186"/>
                </a:lnTo>
                <a:lnTo>
                  <a:pt x="258" y="185"/>
                </a:lnTo>
                <a:lnTo>
                  <a:pt x="265" y="183"/>
                </a:lnTo>
                <a:lnTo>
                  <a:pt x="272" y="180"/>
                </a:lnTo>
                <a:lnTo>
                  <a:pt x="278" y="177"/>
                </a:lnTo>
                <a:lnTo>
                  <a:pt x="285" y="174"/>
                </a:lnTo>
                <a:lnTo>
                  <a:pt x="290" y="169"/>
                </a:lnTo>
                <a:lnTo>
                  <a:pt x="295" y="165"/>
                </a:lnTo>
                <a:lnTo>
                  <a:pt x="300" y="158"/>
                </a:lnTo>
                <a:lnTo>
                  <a:pt x="304" y="153"/>
                </a:lnTo>
                <a:lnTo>
                  <a:pt x="308" y="147"/>
                </a:lnTo>
                <a:lnTo>
                  <a:pt x="311" y="140"/>
                </a:lnTo>
                <a:lnTo>
                  <a:pt x="314" y="133"/>
                </a:lnTo>
                <a:lnTo>
                  <a:pt x="316" y="126"/>
                </a:lnTo>
                <a:lnTo>
                  <a:pt x="318" y="119"/>
                </a:lnTo>
                <a:lnTo>
                  <a:pt x="318" y="112"/>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4" name="Freeform 2156"/>
          <p:cNvSpPr>
            <a:spLocks/>
          </p:cNvSpPr>
          <p:nvPr/>
        </p:nvSpPr>
        <p:spPr bwMode="auto">
          <a:xfrm>
            <a:off x="1025526" y="4797362"/>
            <a:ext cx="84138" cy="49212"/>
          </a:xfrm>
          <a:custGeom>
            <a:avLst/>
            <a:gdLst>
              <a:gd name="T0" fmla="*/ 317 w 317"/>
              <a:gd name="T1" fmla="*/ 75 h 186"/>
              <a:gd name="T2" fmla="*/ 315 w 317"/>
              <a:gd name="T3" fmla="*/ 60 h 186"/>
              <a:gd name="T4" fmla="*/ 311 w 317"/>
              <a:gd name="T5" fmla="*/ 45 h 186"/>
              <a:gd name="T6" fmla="*/ 304 w 317"/>
              <a:gd name="T7" fmla="*/ 32 h 186"/>
              <a:gd name="T8" fmla="*/ 295 w 317"/>
              <a:gd name="T9" fmla="*/ 22 h 186"/>
              <a:gd name="T10" fmla="*/ 284 w 317"/>
              <a:gd name="T11" fmla="*/ 13 h 186"/>
              <a:gd name="T12" fmla="*/ 272 w 317"/>
              <a:gd name="T13" fmla="*/ 6 h 186"/>
              <a:gd name="T14" fmla="*/ 257 w 317"/>
              <a:gd name="T15" fmla="*/ 2 h 186"/>
              <a:gd name="T16" fmla="*/ 242 w 317"/>
              <a:gd name="T17" fmla="*/ 0 h 186"/>
              <a:gd name="T18" fmla="*/ 74 w 317"/>
              <a:gd name="T19" fmla="*/ 0 h 186"/>
              <a:gd name="T20" fmla="*/ 59 w 317"/>
              <a:gd name="T21" fmla="*/ 2 h 186"/>
              <a:gd name="T22" fmla="*/ 45 w 317"/>
              <a:gd name="T23" fmla="*/ 6 h 186"/>
              <a:gd name="T24" fmla="*/ 32 w 317"/>
              <a:gd name="T25" fmla="*/ 13 h 186"/>
              <a:gd name="T26" fmla="*/ 22 w 317"/>
              <a:gd name="T27" fmla="*/ 22 h 186"/>
              <a:gd name="T28" fmla="*/ 13 w 317"/>
              <a:gd name="T29" fmla="*/ 32 h 186"/>
              <a:gd name="T30" fmla="*/ 6 w 317"/>
              <a:gd name="T31" fmla="*/ 45 h 186"/>
              <a:gd name="T32" fmla="*/ 1 w 317"/>
              <a:gd name="T33" fmla="*/ 60 h 186"/>
              <a:gd name="T34" fmla="*/ 0 w 317"/>
              <a:gd name="T35" fmla="*/ 75 h 186"/>
              <a:gd name="T36" fmla="*/ 0 w 317"/>
              <a:gd name="T37" fmla="*/ 111 h 186"/>
              <a:gd name="T38" fmla="*/ 1 w 317"/>
              <a:gd name="T39" fmla="*/ 126 h 186"/>
              <a:gd name="T40" fmla="*/ 6 w 317"/>
              <a:gd name="T41" fmla="*/ 140 h 186"/>
              <a:gd name="T42" fmla="*/ 13 w 317"/>
              <a:gd name="T43" fmla="*/ 153 h 186"/>
              <a:gd name="T44" fmla="*/ 22 w 317"/>
              <a:gd name="T45" fmla="*/ 164 h 186"/>
              <a:gd name="T46" fmla="*/ 32 w 317"/>
              <a:gd name="T47" fmla="*/ 173 h 186"/>
              <a:gd name="T48" fmla="*/ 45 w 317"/>
              <a:gd name="T49" fmla="*/ 180 h 186"/>
              <a:gd name="T50" fmla="*/ 59 w 317"/>
              <a:gd name="T51" fmla="*/ 184 h 186"/>
              <a:gd name="T52" fmla="*/ 74 w 317"/>
              <a:gd name="T53" fmla="*/ 186 h 186"/>
              <a:gd name="T54" fmla="*/ 242 w 317"/>
              <a:gd name="T55" fmla="*/ 186 h 186"/>
              <a:gd name="T56" fmla="*/ 257 w 317"/>
              <a:gd name="T57" fmla="*/ 184 h 186"/>
              <a:gd name="T58" fmla="*/ 272 w 317"/>
              <a:gd name="T59" fmla="*/ 180 h 186"/>
              <a:gd name="T60" fmla="*/ 284 w 317"/>
              <a:gd name="T61" fmla="*/ 173 h 186"/>
              <a:gd name="T62" fmla="*/ 295 w 317"/>
              <a:gd name="T63" fmla="*/ 164 h 186"/>
              <a:gd name="T64" fmla="*/ 304 w 317"/>
              <a:gd name="T65" fmla="*/ 153 h 186"/>
              <a:gd name="T66" fmla="*/ 311 w 317"/>
              <a:gd name="T67" fmla="*/ 140 h 186"/>
              <a:gd name="T68" fmla="*/ 315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7"/>
                </a:lnTo>
                <a:lnTo>
                  <a:pt x="315" y="60"/>
                </a:lnTo>
                <a:lnTo>
                  <a:pt x="313" y="52"/>
                </a:lnTo>
                <a:lnTo>
                  <a:pt x="311" y="45"/>
                </a:lnTo>
                <a:lnTo>
                  <a:pt x="308" y="39"/>
                </a:lnTo>
                <a:lnTo>
                  <a:pt x="304" y="32"/>
                </a:lnTo>
                <a:lnTo>
                  <a:pt x="300" y="27"/>
                </a:lnTo>
                <a:lnTo>
                  <a:pt x="295" y="22"/>
                </a:lnTo>
                <a:lnTo>
                  <a:pt x="290" y="17"/>
                </a:lnTo>
                <a:lnTo>
                  <a:pt x="284" y="13"/>
                </a:lnTo>
                <a:lnTo>
                  <a:pt x="278" y="9"/>
                </a:lnTo>
                <a:lnTo>
                  <a:pt x="272" y="6"/>
                </a:lnTo>
                <a:lnTo>
                  <a:pt x="265" y="3"/>
                </a:lnTo>
                <a:lnTo>
                  <a:pt x="257" y="2"/>
                </a:lnTo>
                <a:lnTo>
                  <a:pt x="250" y="0"/>
                </a:lnTo>
                <a:lnTo>
                  <a:pt x="242" y="0"/>
                </a:lnTo>
                <a:lnTo>
                  <a:pt x="74" y="0"/>
                </a:lnTo>
                <a:lnTo>
                  <a:pt x="74" y="0"/>
                </a:lnTo>
                <a:lnTo>
                  <a:pt x="66" y="0"/>
                </a:lnTo>
                <a:lnTo>
                  <a:pt x="59" y="2"/>
                </a:lnTo>
                <a:lnTo>
                  <a:pt x="52" y="3"/>
                </a:lnTo>
                <a:lnTo>
                  <a:pt x="45" y="6"/>
                </a:lnTo>
                <a:lnTo>
                  <a:pt x="38" y="9"/>
                </a:lnTo>
                <a:lnTo>
                  <a:pt x="32" y="13"/>
                </a:lnTo>
                <a:lnTo>
                  <a:pt x="27" y="17"/>
                </a:lnTo>
                <a:lnTo>
                  <a:pt x="22" y="22"/>
                </a:lnTo>
                <a:lnTo>
                  <a:pt x="17" y="27"/>
                </a:lnTo>
                <a:lnTo>
                  <a:pt x="13" y="32"/>
                </a:lnTo>
                <a:lnTo>
                  <a:pt x="9" y="39"/>
                </a:lnTo>
                <a:lnTo>
                  <a:pt x="6" y="45"/>
                </a:lnTo>
                <a:lnTo>
                  <a:pt x="3" y="52"/>
                </a:lnTo>
                <a:lnTo>
                  <a:pt x="1" y="60"/>
                </a:lnTo>
                <a:lnTo>
                  <a:pt x="0" y="67"/>
                </a:lnTo>
                <a:lnTo>
                  <a:pt x="0" y="75"/>
                </a:lnTo>
                <a:lnTo>
                  <a:pt x="0" y="111"/>
                </a:lnTo>
                <a:lnTo>
                  <a:pt x="0" y="111"/>
                </a:lnTo>
                <a:lnTo>
                  <a:pt x="0" y="119"/>
                </a:lnTo>
                <a:lnTo>
                  <a:pt x="1" y="126"/>
                </a:lnTo>
                <a:lnTo>
                  <a:pt x="3" y="133"/>
                </a:lnTo>
                <a:lnTo>
                  <a:pt x="6" y="140"/>
                </a:lnTo>
                <a:lnTo>
                  <a:pt x="9" y="147"/>
                </a:lnTo>
                <a:lnTo>
                  <a:pt x="13" y="153"/>
                </a:lnTo>
                <a:lnTo>
                  <a:pt x="17" y="159"/>
                </a:lnTo>
                <a:lnTo>
                  <a:pt x="22" y="164"/>
                </a:lnTo>
                <a:lnTo>
                  <a:pt x="27" y="169"/>
                </a:lnTo>
                <a:lnTo>
                  <a:pt x="32" y="173"/>
                </a:lnTo>
                <a:lnTo>
                  <a:pt x="38" y="177"/>
                </a:lnTo>
                <a:lnTo>
                  <a:pt x="45" y="180"/>
                </a:lnTo>
                <a:lnTo>
                  <a:pt x="52" y="183"/>
                </a:lnTo>
                <a:lnTo>
                  <a:pt x="59" y="184"/>
                </a:lnTo>
                <a:lnTo>
                  <a:pt x="66" y="185"/>
                </a:lnTo>
                <a:lnTo>
                  <a:pt x="74" y="186"/>
                </a:lnTo>
                <a:lnTo>
                  <a:pt x="242" y="186"/>
                </a:lnTo>
                <a:lnTo>
                  <a:pt x="242" y="186"/>
                </a:lnTo>
                <a:lnTo>
                  <a:pt x="250" y="185"/>
                </a:lnTo>
                <a:lnTo>
                  <a:pt x="257" y="184"/>
                </a:lnTo>
                <a:lnTo>
                  <a:pt x="265" y="183"/>
                </a:lnTo>
                <a:lnTo>
                  <a:pt x="272" y="180"/>
                </a:lnTo>
                <a:lnTo>
                  <a:pt x="278" y="177"/>
                </a:lnTo>
                <a:lnTo>
                  <a:pt x="284" y="173"/>
                </a:lnTo>
                <a:lnTo>
                  <a:pt x="290" y="169"/>
                </a:lnTo>
                <a:lnTo>
                  <a:pt x="295" y="164"/>
                </a:lnTo>
                <a:lnTo>
                  <a:pt x="300" y="159"/>
                </a:lnTo>
                <a:lnTo>
                  <a:pt x="304" y="153"/>
                </a:lnTo>
                <a:lnTo>
                  <a:pt x="308" y="147"/>
                </a:lnTo>
                <a:lnTo>
                  <a:pt x="311" y="140"/>
                </a:lnTo>
                <a:lnTo>
                  <a:pt x="313" y="133"/>
                </a:lnTo>
                <a:lnTo>
                  <a:pt x="315" y="126"/>
                </a:lnTo>
                <a:lnTo>
                  <a:pt x="316"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5" name="Freeform 2157"/>
          <p:cNvSpPr>
            <a:spLocks/>
          </p:cNvSpPr>
          <p:nvPr/>
        </p:nvSpPr>
        <p:spPr bwMode="auto">
          <a:xfrm>
            <a:off x="1131889" y="4797362"/>
            <a:ext cx="84138" cy="49212"/>
          </a:xfrm>
          <a:custGeom>
            <a:avLst/>
            <a:gdLst>
              <a:gd name="T0" fmla="*/ 318 w 318"/>
              <a:gd name="T1" fmla="*/ 75 h 186"/>
              <a:gd name="T2" fmla="*/ 317 w 318"/>
              <a:gd name="T3" fmla="*/ 60 h 186"/>
              <a:gd name="T4" fmla="*/ 312 w 318"/>
              <a:gd name="T5" fmla="*/ 45 h 186"/>
              <a:gd name="T6" fmla="*/ 306 w 318"/>
              <a:gd name="T7" fmla="*/ 32 h 186"/>
              <a:gd name="T8" fmla="*/ 296 w 318"/>
              <a:gd name="T9" fmla="*/ 22 h 186"/>
              <a:gd name="T10" fmla="*/ 285 w 318"/>
              <a:gd name="T11" fmla="*/ 13 h 186"/>
              <a:gd name="T12" fmla="*/ 272 w 318"/>
              <a:gd name="T13" fmla="*/ 6 h 186"/>
              <a:gd name="T14" fmla="*/ 258 w 318"/>
              <a:gd name="T15" fmla="*/ 2 h 186"/>
              <a:gd name="T16" fmla="*/ 244 w 318"/>
              <a:gd name="T17" fmla="*/ 0 h 186"/>
              <a:gd name="T18" fmla="*/ 75 w 318"/>
              <a:gd name="T19" fmla="*/ 0 h 186"/>
              <a:gd name="T20" fmla="*/ 60 w 318"/>
              <a:gd name="T21" fmla="*/ 2 h 186"/>
              <a:gd name="T22" fmla="*/ 46 w 318"/>
              <a:gd name="T23" fmla="*/ 6 h 186"/>
              <a:gd name="T24" fmla="*/ 34 w 318"/>
              <a:gd name="T25" fmla="*/ 13 h 186"/>
              <a:gd name="T26" fmla="*/ 22 w 318"/>
              <a:gd name="T27" fmla="*/ 22 h 186"/>
              <a:gd name="T28" fmla="*/ 13 w 318"/>
              <a:gd name="T29" fmla="*/ 32 h 186"/>
              <a:gd name="T30" fmla="*/ 6 w 318"/>
              <a:gd name="T31" fmla="*/ 45 h 186"/>
              <a:gd name="T32" fmla="*/ 2 w 318"/>
              <a:gd name="T33" fmla="*/ 60 h 186"/>
              <a:gd name="T34" fmla="*/ 0 w 318"/>
              <a:gd name="T35" fmla="*/ 75 h 186"/>
              <a:gd name="T36" fmla="*/ 0 w 318"/>
              <a:gd name="T37" fmla="*/ 111 h 186"/>
              <a:gd name="T38" fmla="*/ 2 w 318"/>
              <a:gd name="T39" fmla="*/ 126 h 186"/>
              <a:gd name="T40" fmla="*/ 6 w 318"/>
              <a:gd name="T41" fmla="*/ 140 h 186"/>
              <a:gd name="T42" fmla="*/ 13 w 318"/>
              <a:gd name="T43" fmla="*/ 153 h 186"/>
              <a:gd name="T44" fmla="*/ 22 w 318"/>
              <a:gd name="T45" fmla="*/ 164 h 186"/>
              <a:gd name="T46" fmla="*/ 34 w 318"/>
              <a:gd name="T47" fmla="*/ 173 h 186"/>
              <a:gd name="T48" fmla="*/ 46 w 318"/>
              <a:gd name="T49" fmla="*/ 180 h 186"/>
              <a:gd name="T50" fmla="*/ 60 w 318"/>
              <a:gd name="T51" fmla="*/ 184 h 186"/>
              <a:gd name="T52" fmla="*/ 75 w 318"/>
              <a:gd name="T53" fmla="*/ 186 h 186"/>
              <a:gd name="T54" fmla="*/ 244 w 318"/>
              <a:gd name="T55" fmla="*/ 186 h 186"/>
              <a:gd name="T56" fmla="*/ 258 w 318"/>
              <a:gd name="T57" fmla="*/ 184 h 186"/>
              <a:gd name="T58" fmla="*/ 272 w 318"/>
              <a:gd name="T59" fmla="*/ 180 h 186"/>
              <a:gd name="T60" fmla="*/ 285 w 318"/>
              <a:gd name="T61" fmla="*/ 173 h 186"/>
              <a:gd name="T62" fmla="*/ 296 w 318"/>
              <a:gd name="T63" fmla="*/ 164 h 186"/>
              <a:gd name="T64" fmla="*/ 306 w 318"/>
              <a:gd name="T65" fmla="*/ 153 h 186"/>
              <a:gd name="T66" fmla="*/ 312 w 318"/>
              <a:gd name="T67" fmla="*/ 140 h 186"/>
              <a:gd name="T68" fmla="*/ 317 w 318"/>
              <a:gd name="T69" fmla="*/ 126 h 186"/>
              <a:gd name="T70" fmla="*/ 318 w 318"/>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8" y="67"/>
                </a:lnTo>
                <a:lnTo>
                  <a:pt x="317" y="60"/>
                </a:lnTo>
                <a:lnTo>
                  <a:pt x="315" y="52"/>
                </a:lnTo>
                <a:lnTo>
                  <a:pt x="312" y="45"/>
                </a:lnTo>
                <a:lnTo>
                  <a:pt x="309" y="39"/>
                </a:lnTo>
                <a:lnTo>
                  <a:pt x="306" y="32"/>
                </a:lnTo>
                <a:lnTo>
                  <a:pt x="301" y="27"/>
                </a:lnTo>
                <a:lnTo>
                  <a:pt x="296" y="22"/>
                </a:lnTo>
                <a:lnTo>
                  <a:pt x="290" y="17"/>
                </a:lnTo>
                <a:lnTo>
                  <a:pt x="285" y="13"/>
                </a:lnTo>
                <a:lnTo>
                  <a:pt x="279" y="9"/>
                </a:lnTo>
                <a:lnTo>
                  <a:pt x="272" y="6"/>
                </a:lnTo>
                <a:lnTo>
                  <a:pt x="265" y="3"/>
                </a:lnTo>
                <a:lnTo>
                  <a:pt x="258" y="2"/>
                </a:lnTo>
                <a:lnTo>
                  <a:pt x="251" y="0"/>
                </a:lnTo>
                <a:lnTo>
                  <a:pt x="244" y="0"/>
                </a:lnTo>
                <a:lnTo>
                  <a:pt x="75" y="0"/>
                </a:lnTo>
                <a:lnTo>
                  <a:pt x="75" y="0"/>
                </a:lnTo>
                <a:lnTo>
                  <a:pt x="67" y="0"/>
                </a:lnTo>
                <a:lnTo>
                  <a:pt x="60" y="2"/>
                </a:lnTo>
                <a:lnTo>
                  <a:pt x="53" y="3"/>
                </a:lnTo>
                <a:lnTo>
                  <a:pt x="46" y="6"/>
                </a:lnTo>
                <a:lnTo>
                  <a:pt x="40" y="9"/>
                </a:lnTo>
                <a:lnTo>
                  <a:pt x="34" y="13"/>
                </a:lnTo>
                <a:lnTo>
                  <a:pt x="27" y="17"/>
                </a:lnTo>
                <a:lnTo>
                  <a:pt x="22" y="22"/>
                </a:lnTo>
                <a:lnTo>
                  <a:pt x="17" y="27"/>
                </a:lnTo>
                <a:lnTo>
                  <a:pt x="13" y="32"/>
                </a:lnTo>
                <a:lnTo>
                  <a:pt x="9" y="39"/>
                </a:lnTo>
                <a:lnTo>
                  <a:pt x="6" y="45"/>
                </a:lnTo>
                <a:lnTo>
                  <a:pt x="4" y="52"/>
                </a:lnTo>
                <a:lnTo>
                  <a:pt x="2" y="60"/>
                </a:lnTo>
                <a:lnTo>
                  <a:pt x="1" y="67"/>
                </a:lnTo>
                <a:lnTo>
                  <a:pt x="0" y="75"/>
                </a:lnTo>
                <a:lnTo>
                  <a:pt x="0" y="111"/>
                </a:lnTo>
                <a:lnTo>
                  <a:pt x="0" y="111"/>
                </a:lnTo>
                <a:lnTo>
                  <a:pt x="1" y="119"/>
                </a:lnTo>
                <a:lnTo>
                  <a:pt x="2" y="126"/>
                </a:lnTo>
                <a:lnTo>
                  <a:pt x="4" y="133"/>
                </a:lnTo>
                <a:lnTo>
                  <a:pt x="6" y="140"/>
                </a:lnTo>
                <a:lnTo>
                  <a:pt x="9" y="147"/>
                </a:lnTo>
                <a:lnTo>
                  <a:pt x="13" y="153"/>
                </a:lnTo>
                <a:lnTo>
                  <a:pt x="17" y="159"/>
                </a:lnTo>
                <a:lnTo>
                  <a:pt x="22" y="164"/>
                </a:lnTo>
                <a:lnTo>
                  <a:pt x="27" y="169"/>
                </a:lnTo>
                <a:lnTo>
                  <a:pt x="34" y="173"/>
                </a:lnTo>
                <a:lnTo>
                  <a:pt x="40" y="177"/>
                </a:lnTo>
                <a:lnTo>
                  <a:pt x="46" y="180"/>
                </a:lnTo>
                <a:lnTo>
                  <a:pt x="53" y="183"/>
                </a:lnTo>
                <a:lnTo>
                  <a:pt x="60" y="184"/>
                </a:lnTo>
                <a:lnTo>
                  <a:pt x="67" y="185"/>
                </a:lnTo>
                <a:lnTo>
                  <a:pt x="75" y="186"/>
                </a:lnTo>
                <a:lnTo>
                  <a:pt x="244" y="186"/>
                </a:lnTo>
                <a:lnTo>
                  <a:pt x="244" y="186"/>
                </a:lnTo>
                <a:lnTo>
                  <a:pt x="251" y="185"/>
                </a:lnTo>
                <a:lnTo>
                  <a:pt x="258" y="184"/>
                </a:lnTo>
                <a:lnTo>
                  <a:pt x="265" y="183"/>
                </a:lnTo>
                <a:lnTo>
                  <a:pt x="272" y="180"/>
                </a:lnTo>
                <a:lnTo>
                  <a:pt x="279" y="177"/>
                </a:lnTo>
                <a:lnTo>
                  <a:pt x="285" y="173"/>
                </a:lnTo>
                <a:lnTo>
                  <a:pt x="290" y="169"/>
                </a:lnTo>
                <a:lnTo>
                  <a:pt x="296" y="164"/>
                </a:lnTo>
                <a:lnTo>
                  <a:pt x="301" y="159"/>
                </a:lnTo>
                <a:lnTo>
                  <a:pt x="306" y="153"/>
                </a:lnTo>
                <a:lnTo>
                  <a:pt x="309" y="147"/>
                </a:lnTo>
                <a:lnTo>
                  <a:pt x="312" y="140"/>
                </a:lnTo>
                <a:lnTo>
                  <a:pt x="315" y="133"/>
                </a:lnTo>
                <a:lnTo>
                  <a:pt x="317" y="126"/>
                </a:lnTo>
                <a:lnTo>
                  <a:pt x="318" y="119"/>
                </a:lnTo>
                <a:lnTo>
                  <a:pt x="318" y="111"/>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6" name="Freeform 2158"/>
          <p:cNvSpPr>
            <a:spLocks/>
          </p:cNvSpPr>
          <p:nvPr/>
        </p:nvSpPr>
        <p:spPr bwMode="auto">
          <a:xfrm>
            <a:off x="1239839" y="4797362"/>
            <a:ext cx="84138" cy="49212"/>
          </a:xfrm>
          <a:custGeom>
            <a:avLst/>
            <a:gdLst>
              <a:gd name="T0" fmla="*/ 317 w 317"/>
              <a:gd name="T1" fmla="*/ 75 h 186"/>
              <a:gd name="T2" fmla="*/ 315 w 317"/>
              <a:gd name="T3" fmla="*/ 60 h 186"/>
              <a:gd name="T4" fmla="*/ 311 w 317"/>
              <a:gd name="T5" fmla="*/ 45 h 186"/>
              <a:gd name="T6" fmla="*/ 304 w 317"/>
              <a:gd name="T7" fmla="*/ 32 h 186"/>
              <a:gd name="T8" fmla="*/ 295 w 317"/>
              <a:gd name="T9" fmla="*/ 22 h 186"/>
              <a:gd name="T10" fmla="*/ 284 w 317"/>
              <a:gd name="T11" fmla="*/ 13 h 186"/>
              <a:gd name="T12" fmla="*/ 272 w 317"/>
              <a:gd name="T13" fmla="*/ 6 h 186"/>
              <a:gd name="T14" fmla="*/ 258 w 317"/>
              <a:gd name="T15" fmla="*/ 2 h 186"/>
              <a:gd name="T16" fmla="*/ 242 w 317"/>
              <a:gd name="T17" fmla="*/ 0 h 186"/>
              <a:gd name="T18" fmla="*/ 74 w 317"/>
              <a:gd name="T19" fmla="*/ 0 h 186"/>
              <a:gd name="T20" fmla="*/ 59 w 317"/>
              <a:gd name="T21" fmla="*/ 2 h 186"/>
              <a:gd name="T22" fmla="*/ 45 w 317"/>
              <a:gd name="T23" fmla="*/ 6 h 186"/>
              <a:gd name="T24" fmla="*/ 32 w 317"/>
              <a:gd name="T25" fmla="*/ 13 h 186"/>
              <a:gd name="T26" fmla="*/ 21 w 317"/>
              <a:gd name="T27" fmla="*/ 22 h 186"/>
              <a:gd name="T28" fmla="*/ 12 w 317"/>
              <a:gd name="T29" fmla="*/ 32 h 186"/>
              <a:gd name="T30" fmla="*/ 6 w 317"/>
              <a:gd name="T31" fmla="*/ 45 h 186"/>
              <a:gd name="T32" fmla="*/ 1 w 317"/>
              <a:gd name="T33" fmla="*/ 60 h 186"/>
              <a:gd name="T34" fmla="*/ 0 w 317"/>
              <a:gd name="T35" fmla="*/ 75 h 186"/>
              <a:gd name="T36" fmla="*/ 0 w 317"/>
              <a:gd name="T37" fmla="*/ 111 h 186"/>
              <a:gd name="T38" fmla="*/ 1 w 317"/>
              <a:gd name="T39" fmla="*/ 126 h 186"/>
              <a:gd name="T40" fmla="*/ 6 w 317"/>
              <a:gd name="T41" fmla="*/ 140 h 186"/>
              <a:gd name="T42" fmla="*/ 12 w 317"/>
              <a:gd name="T43" fmla="*/ 153 h 186"/>
              <a:gd name="T44" fmla="*/ 21 w 317"/>
              <a:gd name="T45" fmla="*/ 164 h 186"/>
              <a:gd name="T46" fmla="*/ 32 w 317"/>
              <a:gd name="T47" fmla="*/ 173 h 186"/>
              <a:gd name="T48" fmla="*/ 45 w 317"/>
              <a:gd name="T49" fmla="*/ 180 h 186"/>
              <a:gd name="T50" fmla="*/ 59 w 317"/>
              <a:gd name="T51" fmla="*/ 184 h 186"/>
              <a:gd name="T52" fmla="*/ 74 w 317"/>
              <a:gd name="T53" fmla="*/ 186 h 186"/>
              <a:gd name="T54" fmla="*/ 242 w 317"/>
              <a:gd name="T55" fmla="*/ 186 h 186"/>
              <a:gd name="T56" fmla="*/ 258 w 317"/>
              <a:gd name="T57" fmla="*/ 184 h 186"/>
              <a:gd name="T58" fmla="*/ 272 w 317"/>
              <a:gd name="T59" fmla="*/ 180 h 186"/>
              <a:gd name="T60" fmla="*/ 284 w 317"/>
              <a:gd name="T61" fmla="*/ 173 h 186"/>
              <a:gd name="T62" fmla="*/ 295 w 317"/>
              <a:gd name="T63" fmla="*/ 164 h 186"/>
              <a:gd name="T64" fmla="*/ 304 w 317"/>
              <a:gd name="T65" fmla="*/ 153 h 186"/>
              <a:gd name="T66" fmla="*/ 311 w 317"/>
              <a:gd name="T67" fmla="*/ 140 h 186"/>
              <a:gd name="T68" fmla="*/ 315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7"/>
                </a:lnTo>
                <a:lnTo>
                  <a:pt x="315" y="60"/>
                </a:lnTo>
                <a:lnTo>
                  <a:pt x="313" y="52"/>
                </a:lnTo>
                <a:lnTo>
                  <a:pt x="311" y="45"/>
                </a:lnTo>
                <a:lnTo>
                  <a:pt x="308" y="39"/>
                </a:lnTo>
                <a:lnTo>
                  <a:pt x="304" y="32"/>
                </a:lnTo>
                <a:lnTo>
                  <a:pt x="300" y="27"/>
                </a:lnTo>
                <a:lnTo>
                  <a:pt x="295" y="22"/>
                </a:lnTo>
                <a:lnTo>
                  <a:pt x="290" y="17"/>
                </a:lnTo>
                <a:lnTo>
                  <a:pt x="284" y="13"/>
                </a:lnTo>
                <a:lnTo>
                  <a:pt x="278" y="9"/>
                </a:lnTo>
                <a:lnTo>
                  <a:pt x="272" y="6"/>
                </a:lnTo>
                <a:lnTo>
                  <a:pt x="265" y="3"/>
                </a:lnTo>
                <a:lnTo>
                  <a:pt x="258" y="2"/>
                </a:lnTo>
                <a:lnTo>
                  <a:pt x="251" y="0"/>
                </a:lnTo>
                <a:lnTo>
                  <a:pt x="242" y="0"/>
                </a:lnTo>
                <a:lnTo>
                  <a:pt x="74" y="0"/>
                </a:lnTo>
                <a:lnTo>
                  <a:pt x="74" y="0"/>
                </a:lnTo>
                <a:lnTo>
                  <a:pt x="67" y="0"/>
                </a:lnTo>
                <a:lnTo>
                  <a:pt x="59" y="2"/>
                </a:lnTo>
                <a:lnTo>
                  <a:pt x="52" y="3"/>
                </a:lnTo>
                <a:lnTo>
                  <a:pt x="45" y="6"/>
                </a:lnTo>
                <a:lnTo>
                  <a:pt x="38" y="9"/>
                </a:lnTo>
                <a:lnTo>
                  <a:pt x="32" y="13"/>
                </a:lnTo>
                <a:lnTo>
                  <a:pt x="27" y="17"/>
                </a:lnTo>
                <a:lnTo>
                  <a:pt x="21" y="22"/>
                </a:lnTo>
                <a:lnTo>
                  <a:pt x="17" y="27"/>
                </a:lnTo>
                <a:lnTo>
                  <a:pt x="12" y="32"/>
                </a:lnTo>
                <a:lnTo>
                  <a:pt x="9" y="39"/>
                </a:lnTo>
                <a:lnTo>
                  <a:pt x="6" y="45"/>
                </a:lnTo>
                <a:lnTo>
                  <a:pt x="3" y="52"/>
                </a:lnTo>
                <a:lnTo>
                  <a:pt x="1" y="60"/>
                </a:lnTo>
                <a:lnTo>
                  <a:pt x="0" y="67"/>
                </a:lnTo>
                <a:lnTo>
                  <a:pt x="0" y="75"/>
                </a:lnTo>
                <a:lnTo>
                  <a:pt x="0" y="111"/>
                </a:lnTo>
                <a:lnTo>
                  <a:pt x="0" y="111"/>
                </a:lnTo>
                <a:lnTo>
                  <a:pt x="0" y="119"/>
                </a:lnTo>
                <a:lnTo>
                  <a:pt x="1" y="126"/>
                </a:lnTo>
                <a:lnTo>
                  <a:pt x="3" y="133"/>
                </a:lnTo>
                <a:lnTo>
                  <a:pt x="6" y="140"/>
                </a:lnTo>
                <a:lnTo>
                  <a:pt x="9" y="147"/>
                </a:lnTo>
                <a:lnTo>
                  <a:pt x="12" y="153"/>
                </a:lnTo>
                <a:lnTo>
                  <a:pt x="17" y="159"/>
                </a:lnTo>
                <a:lnTo>
                  <a:pt x="21" y="164"/>
                </a:lnTo>
                <a:lnTo>
                  <a:pt x="27" y="169"/>
                </a:lnTo>
                <a:lnTo>
                  <a:pt x="32" y="173"/>
                </a:lnTo>
                <a:lnTo>
                  <a:pt x="38" y="177"/>
                </a:lnTo>
                <a:lnTo>
                  <a:pt x="45" y="180"/>
                </a:lnTo>
                <a:lnTo>
                  <a:pt x="52" y="183"/>
                </a:lnTo>
                <a:lnTo>
                  <a:pt x="59" y="184"/>
                </a:lnTo>
                <a:lnTo>
                  <a:pt x="67" y="185"/>
                </a:lnTo>
                <a:lnTo>
                  <a:pt x="74" y="186"/>
                </a:lnTo>
                <a:lnTo>
                  <a:pt x="242" y="186"/>
                </a:lnTo>
                <a:lnTo>
                  <a:pt x="242" y="186"/>
                </a:lnTo>
                <a:lnTo>
                  <a:pt x="251" y="185"/>
                </a:lnTo>
                <a:lnTo>
                  <a:pt x="258" y="184"/>
                </a:lnTo>
                <a:lnTo>
                  <a:pt x="265" y="183"/>
                </a:lnTo>
                <a:lnTo>
                  <a:pt x="272" y="180"/>
                </a:lnTo>
                <a:lnTo>
                  <a:pt x="278" y="177"/>
                </a:lnTo>
                <a:lnTo>
                  <a:pt x="284" y="173"/>
                </a:lnTo>
                <a:lnTo>
                  <a:pt x="290" y="169"/>
                </a:lnTo>
                <a:lnTo>
                  <a:pt x="295" y="164"/>
                </a:lnTo>
                <a:lnTo>
                  <a:pt x="300" y="159"/>
                </a:lnTo>
                <a:lnTo>
                  <a:pt x="304" y="153"/>
                </a:lnTo>
                <a:lnTo>
                  <a:pt x="308" y="147"/>
                </a:lnTo>
                <a:lnTo>
                  <a:pt x="311" y="140"/>
                </a:lnTo>
                <a:lnTo>
                  <a:pt x="313" y="133"/>
                </a:lnTo>
                <a:lnTo>
                  <a:pt x="315" y="126"/>
                </a:lnTo>
                <a:lnTo>
                  <a:pt x="316"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7" name="Freeform 2159"/>
          <p:cNvSpPr>
            <a:spLocks/>
          </p:cNvSpPr>
          <p:nvPr/>
        </p:nvSpPr>
        <p:spPr bwMode="auto">
          <a:xfrm>
            <a:off x="1347789" y="4797362"/>
            <a:ext cx="82550" cy="49212"/>
          </a:xfrm>
          <a:custGeom>
            <a:avLst/>
            <a:gdLst>
              <a:gd name="T0" fmla="*/ 318 w 318"/>
              <a:gd name="T1" fmla="*/ 75 h 186"/>
              <a:gd name="T2" fmla="*/ 316 w 318"/>
              <a:gd name="T3" fmla="*/ 60 h 186"/>
              <a:gd name="T4" fmla="*/ 312 w 318"/>
              <a:gd name="T5" fmla="*/ 45 h 186"/>
              <a:gd name="T6" fmla="*/ 305 w 318"/>
              <a:gd name="T7" fmla="*/ 32 h 186"/>
              <a:gd name="T8" fmla="*/ 296 w 318"/>
              <a:gd name="T9" fmla="*/ 22 h 186"/>
              <a:gd name="T10" fmla="*/ 286 w 318"/>
              <a:gd name="T11" fmla="*/ 13 h 186"/>
              <a:gd name="T12" fmla="*/ 272 w 318"/>
              <a:gd name="T13" fmla="*/ 6 h 186"/>
              <a:gd name="T14" fmla="*/ 258 w 318"/>
              <a:gd name="T15" fmla="*/ 2 h 186"/>
              <a:gd name="T16" fmla="*/ 243 w 318"/>
              <a:gd name="T17" fmla="*/ 0 h 186"/>
              <a:gd name="T18" fmla="*/ 75 w 318"/>
              <a:gd name="T19" fmla="*/ 0 h 186"/>
              <a:gd name="T20" fmla="*/ 60 w 318"/>
              <a:gd name="T21" fmla="*/ 2 h 186"/>
              <a:gd name="T22" fmla="*/ 46 w 318"/>
              <a:gd name="T23" fmla="*/ 6 h 186"/>
              <a:gd name="T24" fmla="*/ 34 w 318"/>
              <a:gd name="T25" fmla="*/ 13 h 186"/>
              <a:gd name="T26" fmla="*/ 23 w 318"/>
              <a:gd name="T27" fmla="*/ 22 h 186"/>
              <a:gd name="T28" fmla="*/ 13 w 318"/>
              <a:gd name="T29" fmla="*/ 32 h 186"/>
              <a:gd name="T30" fmla="*/ 6 w 318"/>
              <a:gd name="T31" fmla="*/ 45 h 186"/>
              <a:gd name="T32" fmla="*/ 2 w 318"/>
              <a:gd name="T33" fmla="*/ 60 h 186"/>
              <a:gd name="T34" fmla="*/ 0 w 318"/>
              <a:gd name="T35" fmla="*/ 75 h 186"/>
              <a:gd name="T36" fmla="*/ 0 w 318"/>
              <a:gd name="T37" fmla="*/ 111 h 186"/>
              <a:gd name="T38" fmla="*/ 2 w 318"/>
              <a:gd name="T39" fmla="*/ 126 h 186"/>
              <a:gd name="T40" fmla="*/ 6 w 318"/>
              <a:gd name="T41" fmla="*/ 140 h 186"/>
              <a:gd name="T42" fmla="*/ 13 w 318"/>
              <a:gd name="T43" fmla="*/ 153 h 186"/>
              <a:gd name="T44" fmla="*/ 23 w 318"/>
              <a:gd name="T45" fmla="*/ 164 h 186"/>
              <a:gd name="T46" fmla="*/ 34 w 318"/>
              <a:gd name="T47" fmla="*/ 173 h 186"/>
              <a:gd name="T48" fmla="*/ 46 w 318"/>
              <a:gd name="T49" fmla="*/ 180 h 186"/>
              <a:gd name="T50" fmla="*/ 60 w 318"/>
              <a:gd name="T51" fmla="*/ 184 h 186"/>
              <a:gd name="T52" fmla="*/ 75 w 318"/>
              <a:gd name="T53" fmla="*/ 186 h 186"/>
              <a:gd name="T54" fmla="*/ 243 w 318"/>
              <a:gd name="T55" fmla="*/ 186 h 186"/>
              <a:gd name="T56" fmla="*/ 258 w 318"/>
              <a:gd name="T57" fmla="*/ 184 h 186"/>
              <a:gd name="T58" fmla="*/ 272 w 318"/>
              <a:gd name="T59" fmla="*/ 180 h 186"/>
              <a:gd name="T60" fmla="*/ 286 w 318"/>
              <a:gd name="T61" fmla="*/ 173 h 186"/>
              <a:gd name="T62" fmla="*/ 296 w 318"/>
              <a:gd name="T63" fmla="*/ 164 h 186"/>
              <a:gd name="T64" fmla="*/ 305 w 318"/>
              <a:gd name="T65" fmla="*/ 153 h 186"/>
              <a:gd name="T66" fmla="*/ 312 w 318"/>
              <a:gd name="T67" fmla="*/ 140 h 186"/>
              <a:gd name="T68" fmla="*/ 316 w 318"/>
              <a:gd name="T69" fmla="*/ 126 h 186"/>
              <a:gd name="T70" fmla="*/ 318 w 318"/>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8" y="67"/>
                </a:lnTo>
                <a:lnTo>
                  <a:pt x="316" y="60"/>
                </a:lnTo>
                <a:lnTo>
                  <a:pt x="315" y="52"/>
                </a:lnTo>
                <a:lnTo>
                  <a:pt x="312" y="45"/>
                </a:lnTo>
                <a:lnTo>
                  <a:pt x="309" y="39"/>
                </a:lnTo>
                <a:lnTo>
                  <a:pt x="305" y="32"/>
                </a:lnTo>
                <a:lnTo>
                  <a:pt x="301" y="27"/>
                </a:lnTo>
                <a:lnTo>
                  <a:pt x="296" y="22"/>
                </a:lnTo>
                <a:lnTo>
                  <a:pt x="291" y="17"/>
                </a:lnTo>
                <a:lnTo>
                  <a:pt x="286" y="13"/>
                </a:lnTo>
                <a:lnTo>
                  <a:pt x="280" y="9"/>
                </a:lnTo>
                <a:lnTo>
                  <a:pt x="272" y="6"/>
                </a:lnTo>
                <a:lnTo>
                  <a:pt x="265" y="3"/>
                </a:lnTo>
                <a:lnTo>
                  <a:pt x="258" y="2"/>
                </a:lnTo>
                <a:lnTo>
                  <a:pt x="251" y="0"/>
                </a:lnTo>
                <a:lnTo>
                  <a:pt x="243" y="0"/>
                </a:lnTo>
                <a:lnTo>
                  <a:pt x="75" y="0"/>
                </a:lnTo>
                <a:lnTo>
                  <a:pt x="75" y="0"/>
                </a:lnTo>
                <a:lnTo>
                  <a:pt x="67" y="0"/>
                </a:lnTo>
                <a:lnTo>
                  <a:pt x="60" y="2"/>
                </a:lnTo>
                <a:lnTo>
                  <a:pt x="53" y="3"/>
                </a:lnTo>
                <a:lnTo>
                  <a:pt x="46" y="6"/>
                </a:lnTo>
                <a:lnTo>
                  <a:pt x="40" y="9"/>
                </a:lnTo>
                <a:lnTo>
                  <a:pt x="34" y="13"/>
                </a:lnTo>
                <a:lnTo>
                  <a:pt x="28" y="17"/>
                </a:lnTo>
                <a:lnTo>
                  <a:pt x="23" y="22"/>
                </a:lnTo>
                <a:lnTo>
                  <a:pt x="18" y="27"/>
                </a:lnTo>
                <a:lnTo>
                  <a:pt x="13" y="32"/>
                </a:lnTo>
                <a:lnTo>
                  <a:pt x="9" y="39"/>
                </a:lnTo>
                <a:lnTo>
                  <a:pt x="6" y="45"/>
                </a:lnTo>
                <a:lnTo>
                  <a:pt x="4" y="52"/>
                </a:lnTo>
                <a:lnTo>
                  <a:pt x="2" y="60"/>
                </a:lnTo>
                <a:lnTo>
                  <a:pt x="1" y="67"/>
                </a:lnTo>
                <a:lnTo>
                  <a:pt x="0" y="75"/>
                </a:lnTo>
                <a:lnTo>
                  <a:pt x="0" y="111"/>
                </a:lnTo>
                <a:lnTo>
                  <a:pt x="0" y="111"/>
                </a:lnTo>
                <a:lnTo>
                  <a:pt x="1" y="119"/>
                </a:lnTo>
                <a:lnTo>
                  <a:pt x="2" y="126"/>
                </a:lnTo>
                <a:lnTo>
                  <a:pt x="4" y="133"/>
                </a:lnTo>
                <a:lnTo>
                  <a:pt x="6" y="140"/>
                </a:lnTo>
                <a:lnTo>
                  <a:pt x="9" y="147"/>
                </a:lnTo>
                <a:lnTo>
                  <a:pt x="13" y="153"/>
                </a:lnTo>
                <a:lnTo>
                  <a:pt x="18" y="159"/>
                </a:lnTo>
                <a:lnTo>
                  <a:pt x="23" y="164"/>
                </a:lnTo>
                <a:lnTo>
                  <a:pt x="28" y="169"/>
                </a:lnTo>
                <a:lnTo>
                  <a:pt x="34" y="173"/>
                </a:lnTo>
                <a:lnTo>
                  <a:pt x="40" y="177"/>
                </a:lnTo>
                <a:lnTo>
                  <a:pt x="46" y="180"/>
                </a:lnTo>
                <a:lnTo>
                  <a:pt x="53" y="183"/>
                </a:lnTo>
                <a:lnTo>
                  <a:pt x="60" y="184"/>
                </a:lnTo>
                <a:lnTo>
                  <a:pt x="67" y="185"/>
                </a:lnTo>
                <a:lnTo>
                  <a:pt x="75" y="186"/>
                </a:lnTo>
                <a:lnTo>
                  <a:pt x="243" y="186"/>
                </a:lnTo>
                <a:lnTo>
                  <a:pt x="243" y="186"/>
                </a:lnTo>
                <a:lnTo>
                  <a:pt x="251" y="185"/>
                </a:lnTo>
                <a:lnTo>
                  <a:pt x="258" y="184"/>
                </a:lnTo>
                <a:lnTo>
                  <a:pt x="265" y="183"/>
                </a:lnTo>
                <a:lnTo>
                  <a:pt x="272" y="180"/>
                </a:lnTo>
                <a:lnTo>
                  <a:pt x="280" y="177"/>
                </a:lnTo>
                <a:lnTo>
                  <a:pt x="286" y="173"/>
                </a:lnTo>
                <a:lnTo>
                  <a:pt x="291" y="169"/>
                </a:lnTo>
                <a:lnTo>
                  <a:pt x="296" y="164"/>
                </a:lnTo>
                <a:lnTo>
                  <a:pt x="301" y="159"/>
                </a:lnTo>
                <a:lnTo>
                  <a:pt x="305" y="153"/>
                </a:lnTo>
                <a:lnTo>
                  <a:pt x="309" y="147"/>
                </a:lnTo>
                <a:lnTo>
                  <a:pt x="312" y="140"/>
                </a:lnTo>
                <a:lnTo>
                  <a:pt x="315" y="133"/>
                </a:lnTo>
                <a:lnTo>
                  <a:pt x="316" y="126"/>
                </a:lnTo>
                <a:lnTo>
                  <a:pt x="318" y="119"/>
                </a:lnTo>
                <a:lnTo>
                  <a:pt x="318" y="111"/>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8" name="Freeform 2160"/>
          <p:cNvSpPr>
            <a:spLocks/>
          </p:cNvSpPr>
          <p:nvPr/>
        </p:nvSpPr>
        <p:spPr bwMode="auto">
          <a:xfrm>
            <a:off x="1454151" y="4797362"/>
            <a:ext cx="84138" cy="49212"/>
          </a:xfrm>
          <a:custGeom>
            <a:avLst/>
            <a:gdLst>
              <a:gd name="T0" fmla="*/ 317 w 317"/>
              <a:gd name="T1" fmla="*/ 75 h 186"/>
              <a:gd name="T2" fmla="*/ 316 w 317"/>
              <a:gd name="T3" fmla="*/ 60 h 186"/>
              <a:gd name="T4" fmla="*/ 311 w 317"/>
              <a:gd name="T5" fmla="*/ 45 h 186"/>
              <a:gd name="T6" fmla="*/ 304 w 317"/>
              <a:gd name="T7" fmla="*/ 32 h 186"/>
              <a:gd name="T8" fmla="*/ 295 w 317"/>
              <a:gd name="T9" fmla="*/ 22 h 186"/>
              <a:gd name="T10" fmla="*/ 284 w 317"/>
              <a:gd name="T11" fmla="*/ 13 h 186"/>
              <a:gd name="T12" fmla="*/ 272 w 317"/>
              <a:gd name="T13" fmla="*/ 6 h 186"/>
              <a:gd name="T14" fmla="*/ 258 w 317"/>
              <a:gd name="T15" fmla="*/ 2 h 186"/>
              <a:gd name="T16" fmla="*/ 243 w 317"/>
              <a:gd name="T17" fmla="*/ 0 h 186"/>
              <a:gd name="T18" fmla="*/ 74 w 317"/>
              <a:gd name="T19" fmla="*/ 0 h 186"/>
              <a:gd name="T20" fmla="*/ 59 w 317"/>
              <a:gd name="T21" fmla="*/ 2 h 186"/>
              <a:gd name="T22" fmla="*/ 45 w 317"/>
              <a:gd name="T23" fmla="*/ 6 h 186"/>
              <a:gd name="T24" fmla="*/ 32 w 317"/>
              <a:gd name="T25" fmla="*/ 13 h 186"/>
              <a:gd name="T26" fmla="*/ 21 w 317"/>
              <a:gd name="T27" fmla="*/ 22 h 186"/>
              <a:gd name="T28" fmla="*/ 12 w 317"/>
              <a:gd name="T29" fmla="*/ 32 h 186"/>
              <a:gd name="T30" fmla="*/ 6 w 317"/>
              <a:gd name="T31" fmla="*/ 45 h 186"/>
              <a:gd name="T32" fmla="*/ 1 w 317"/>
              <a:gd name="T33" fmla="*/ 60 h 186"/>
              <a:gd name="T34" fmla="*/ 0 w 317"/>
              <a:gd name="T35" fmla="*/ 75 h 186"/>
              <a:gd name="T36" fmla="*/ 0 w 317"/>
              <a:gd name="T37" fmla="*/ 111 h 186"/>
              <a:gd name="T38" fmla="*/ 1 w 317"/>
              <a:gd name="T39" fmla="*/ 126 h 186"/>
              <a:gd name="T40" fmla="*/ 6 w 317"/>
              <a:gd name="T41" fmla="*/ 140 h 186"/>
              <a:gd name="T42" fmla="*/ 12 w 317"/>
              <a:gd name="T43" fmla="*/ 153 h 186"/>
              <a:gd name="T44" fmla="*/ 21 w 317"/>
              <a:gd name="T45" fmla="*/ 164 h 186"/>
              <a:gd name="T46" fmla="*/ 32 w 317"/>
              <a:gd name="T47" fmla="*/ 173 h 186"/>
              <a:gd name="T48" fmla="*/ 45 w 317"/>
              <a:gd name="T49" fmla="*/ 180 h 186"/>
              <a:gd name="T50" fmla="*/ 59 w 317"/>
              <a:gd name="T51" fmla="*/ 184 h 186"/>
              <a:gd name="T52" fmla="*/ 74 w 317"/>
              <a:gd name="T53" fmla="*/ 186 h 186"/>
              <a:gd name="T54" fmla="*/ 243 w 317"/>
              <a:gd name="T55" fmla="*/ 186 h 186"/>
              <a:gd name="T56" fmla="*/ 258 w 317"/>
              <a:gd name="T57" fmla="*/ 184 h 186"/>
              <a:gd name="T58" fmla="*/ 272 w 317"/>
              <a:gd name="T59" fmla="*/ 180 h 186"/>
              <a:gd name="T60" fmla="*/ 284 w 317"/>
              <a:gd name="T61" fmla="*/ 173 h 186"/>
              <a:gd name="T62" fmla="*/ 295 w 317"/>
              <a:gd name="T63" fmla="*/ 164 h 186"/>
              <a:gd name="T64" fmla="*/ 304 w 317"/>
              <a:gd name="T65" fmla="*/ 153 h 186"/>
              <a:gd name="T66" fmla="*/ 311 w 317"/>
              <a:gd name="T67" fmla="*/ 140 h 186"/>
              <a:gd name="T68" fmla="*/ 316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3" y="52"/>
                </a:lnTo>
                <a:lnTo>
                  <a:pt x="311" y="45"/>
                </a:lnTo>
                <a:lnTo>
                  <a:pt x="308" y="39"/>
                </a:lnTo>
                <a:lnTo>
                  <a:pt x="304" y="32"/>
                </a:lnTo>
                <a:lnTo>
                  <a:pt x="300" y="27"/>
                </a:lnTo>
                <a:lnTo>
                  <a:pt x="295" y="22"/>
                </a:lnTo>
                <a:lnTo>
                  <a:pt x="290" y="17"/>
                </a:lnTo>
                <a:lnTo>
                  <a:pt x="284" y="13"/>
                </a:lnTo>
                <a:lnTo>
                  <a:pt x="278" y="9"/>
                </a:lnTo>
                <a:lnTo>
                  <a:pt x="272" y="6"/>
                </a:lnTo>
                <a:lnTo>
                  <a:pt x="265" y="3"/>
                </a:lnTo>
                <a:lnTo>
                  <a:pt x="258" y="2"/>
                </a:lnTo>
                <a:lnTo>
                  <a:pt x="250" y="0"/>
                </a:lnTo>
                <a:lnTo>
                  <a:pt x="243" y="0"/>
                </a:lnTo>
                <a:lnTo>
                  <a:pt x="74" y="0"/>
                </a:lnTo>
                <a:lnTo>
                  <a:pt x="74" y="0"/>
                </a:lnTo>
                <a:lnTo>
                  <a:pt x="67" y="0"/>
                </a:lnTo>
                <a:lnTo>
                  <a:pt x="59" y="2"/>
                </a:lnTo>
                <a:lnTo>
                  <a:pt x="52" y="3"/>
                </a:lnTo>
                <a:lnTo>
                  <a:pt x="45" y="6"/>
                </a:lnTo>
                <a:lnTo>
                  <a:pt x="38" y="9"/>
                </a:lnTo>
                <a:lnTo>
                  <a:pt x="32" y="13"/>
                </a:lnTo>
                <a:lnTo>
                  <a:pt x="27" y="17"/>
                </a:lnTo>
                <a:lnTo>
                  <a:pt x="21" y="22"/>
                </a:lnTo>
                <a:lnTo>
                  <a:pt x="17" y="27"/>
                </a:lnTo>
                <a:lnTo>
                  <a:pt x="12" y="32"/>
                </a:lnTo>
                <a:lnTo>
                  <a:pt x="9" y="39"/>
                </a:lnTo>
                <a:lnTo>
                  <a:pt x="6" y="45"/>
                </a:lnTo>
                <a:lnTo>
                  <a:pt x="3" y="52"/>
                </a:lnTo>
                <a:lnTo>
                  <a:pt x="1" y="60"/>
                </a:lnTo>
                <a:lnTo>
                  <a:pt x="0" y="67"/>
                </a:lnTo>
                <a:lnTo>
                  <a:pt x="0" y="75"/>
                </a:lnTo>
                <a:lnTo>
                  <a:pt x="0" y="111"/>
                </a:lnTo>
                <a:lnTo>
                  <a:pt x="0" y="111"/>
                </a:lnTo>
                <a:lnTo>
                  <a:pt x="0" y="119"/>
                </a:lnTo>
                <a:lnTo>
                  <a:pt x="1" y="126"/>
                </a:lnTo>
                <a:lnTo>
                  <a:pt x="3" y="133"/>
                </a:lnTo>
                <a:lnTo>
                  <a:pt x="6" y="140"/>
                </a:lnTo>
                <a:lnTo>
                  <a:pt x="9" y="147"/>
                </a:lnTo>
                <a:lnTo>
                  <a:pt x="12" y="153"/>
                </a:lnTo>
                <a:lnTo>
                  <a:pt x="17" y="159"/>
                </a:lnTo>
                <a:lnTo>
                  <a:pt x="21" y="164"/>
                </a:lnTo>
                <a:lnTo>
                  <a:pt x="27" y="169"/>
                </a:lnTo>
                <a:lnTo>
                  <a:pt x="32" y="173"/>
                </a:lnTo>
                <a:lnTo>
                  <a:pt x="38" y="177"/>
                </a:lnTo>
                <a:lnTo>
                  <a:pt x="45" y="180"/>
                </a:lnTo>
                <a:lnTo>
                  <a:pt x="52" y="183"/>
                </a:lnTo>
                <a:lnTo>
                  <a:pt x="59" y="184"/>
                </a:lnTo>
                <a:lnTo>
                  <a:pt x="67" y="185"/>
                </a:lnTo>
                <a:lnTo>
                  <a:pt x="74" y="186"/>
                </a:lnTo>
                <a:lnTo>
                  <a:pt x="243" y="186"/>
                </a:lnTo>
                <a:lnTo>
                  <a:pt x="243" y="186"/>
                </a:lnTo>
                <a:lnTo>
                  <a:pt x="250" y="185"/>
                </a:lnTo>
                <a:lnTo>
                  <a:pt x="258" y="184"/>
                </a:lnTo>
                <a:lnTo>
                  <a:pt x="265" y="183"/>
                </a:lnTo>
                <a:lnTo>
                  <a:pt x="272" y="180"/>
                </a:lnTo>
                <a:lnTo>
                  <a:pt x="278" y="177"/>
                </a:lnTo>
                <a:lnTo>
                  <a:pt x="284" y="173"/>
                </a:lnTo>
                <a:lnTo>
                  <a:pt x="290" y="169"/>
                </a:lnTo>
                <a:lnTo>
                  <a:pt x="295" y="164"/>
                </a:lnTo>
                <a:lnTo>
                  <a:pt x="300" y="159"/>
                </a:lnTo>
                <a:lnTo>
                  <a:pt x="304" y="153"/>
                </a:lnTo>
                <a:lnTo>
                  <a:pt x="308" y="147"/>
                </a:lnTo>
                <a:lnTo>
                  <a:pt x="311" y="140"/>
                </a:lnTo>
                <a:lnTo>
                  <a:pt x="313" y="133"/>
                </a:lnTo>
                <a:lnTo>
                  <a:pt x="316" y="126"/>
                </a:lnTo>
                <a:lnTo>
                  <a:pt x="317"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89" name="Freeform 2161"/>
          <p:cNvSpPr>
            <a:spLocks/>
          </p:cNvSpPr>
          <p:nvPr/>
        </p:nvSpPr>
        <p:spPr bwMode="auto">
          <a:xfrm>
            <a:off x="1562101" y="4797362"/>
            <a:ext cx="84138" cy="49212"/>
          </a:xfrm>
          <a:custGeom>
            <a:avLst/>
            <a:gdLst>
              <a:gd name="T0" fmla="*/ 317 w 317"/>
              <a:gd name="T1" fmla="*/ 75 h 186"/>
              <a:gd name="T2" fmla="*/ 315 w 317"/>
              <a:gd name="T3" fmla="*/ 60 h 186"/>
              <a:gd name="T4" fmla="*/ 311 w 317"/>
              <a:gd name="T5" fmla="*/ 45 h 186"/>
              <a:gd name="T6" fmla="*/ 304 w 317"/>
              <a:gd name="T7" fmla="*/ 32 h 186"/>
              <a:gd name="T8" fmla="*/ 295 w 317"/>
              <a:gd name="T9" fmla="*/ 22 h 186"/>
              <a:gd name="T10" fmla="*/ 284 w 317"/>
              <a:gd name="T11" fmla="*/ 13 h 186"/>
              <a:gd name="T12" fmla="*/ 272 w 317"/>
              <a:gd name="T13" fmla="*/ 6 h 186"/>
              <a:gd name="T14" fmla="*/ 257 w 317"/>
              <a:gd name="T15" fmla="*/ 2 h 186"/>
              <a:gd name="T16" fmla="*/ 242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2 h 186"/>
              <a:gd name="T28" fmla="*/ 13 w 317"/>
              <a:gd name="T29" fmla="*/ 32 h 186"/>
              <a:gd name="T30" fmla="*/ 6 w 317"/>
              <a:gd name="T31" fmla="*/ 45 h 186"/>
              <a:gd name="T32" fmla="*/ 2 w 317"/>
              <a:gd name="T33" fmla="*/ 60 h 186"/>
              <a:gd name="T34" fmla="*/ 0 w 317"/>
              <a:gd name="T35" fmla="*/ 75 h 186"/>
              <a:gd name="T36" fmla="*/ 0 w 317"/>
              <a:gd name="T37" fmla="*/ 111 h 186"/>
              <a:gd name="T38" fmla="*/ 2 w 317"/>
              <a:gd name="T39" fmla="*/ 126 h 186"/>
              <a:gd name="T40" fmla="*/ 6 w 317"/>
              <a:gd name="T41" fmla="*/ 140 h 186"/>
              <a:gd name="T42" fmla="*/ 13 w 317"/>
              <a:gd name="T43" fmla="*/ 153 h 186"/>
              <a:gd name="T44" fmla="*/ 22 w 317"/>
              <a:gd name="T45" fmla="*/ 164 h 186"/>
              <a:gd name="T46" fmla="*/ 33 w 317"/>
              <a:gd name="T47" fmla="*/ 173 h 186"/>
              <a:gd name="T48" fmla="*/ 45 w 317"/>
              <a:gd name="T49" fmla="*/ 180 h 186"/>
              <a:gd name="T50" fmla="*/ 59 w 317"/>
              <a:gd name="T51" fmla="*/ 184 h 186"/>
              <a:gd name="T52" fmla="*/ 74 w 317"/>
              <a:gd name="T53" fmla="*/ 186 h 186"/>
              <a:gd name="T54" fmla="*/ 242 w 317"/>
              <a:gd name="T55" fmla="*/ 186 h 186"/>
              <a:gd name="T56" fmla="*/ 257 w 317"/>
              <a:gd name="T57" fmla="*/ 184 h 186"/>
              <a:gd name="T58" fmla="*/ 272 w 317"/>
              <a:gd name="T59" fmla="*/ 180 h 186"/>
              <a:gd name="T60" fmla="*/ 284 w 317"/>
              <a:gd name="T61" fmla="*/ 173 h 186"/>
              <a:gd name="T62" fmla="*/ 295 w 317"/>
              <a:gd name="T63" fmla="*/ 164 h 186"/>
              <a:gd name="T64" fmla="*/ 304 w 317"/>
              <a:gd name="T65" fmla="*/ 153 h 186"/>
              <a:gd name="T66" fmla="*/ 311 w 317"/>
              <a:gd name="T67" fmla="*/ 140 h 186"/>
              <a:gd name="T68" fmla="*/ 315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7"/>
                </a:lnTo>
                <a:lnTo>
                  <a:pt x="315" y="60"/>
                </a:lnTo>
                <a:lnTo>
                  <a:pt x="314" y="52"/>
                </a:lnTo>
                <a:lnTo>
                  <a:pt x="311" y="45"/>
                </a:lnTo>
                <a:lnTo>
                  <a:pt x="308" y="39"/>
                </a:lnTo>
                <a:lnTo>
                  <a:pt x="304" y="32"/>
                </a:lnTo>
                <a:lnTo>
                  <a:pt x="300" y="27"/>
                </a:lnTo>
                <a:lnTo>
                  <a:pt x="295" y="22"/>
                </a:lnTo>
                <a:lnTo>
                  <a:pt x="290" y="17"/>
                </a:lnTo>
                <a:lnTo>
                  <a:pt x="284" y="13"/>
                </a:lnTo>
                <a:lnTo>
                  <a:pt x="278" y="9"/>
                </a:lnTo>
                <a:lnTo>
                  <a:pt x="272" y="6"/>
                </a:lnTo>
                <a:lnTo>
                  <a:pt x="265" y="3"/>
                </a:lnTo>
                <a:lnTo>
                  <a:pt x="257" y="2"/>
                </a:lnTo>
                <a:lnTo>
                  <a:pt x="250" y="0"/>
                </a:lnTo>
                <a:lnTo>
                  <a:pt x="242" y="0"/>
                </a:lnTo>
                <a:lnTo>
                  <a:pt x="74" y="0"/>
                </a:lnTo>
                <a:lnTo>
                  <a:pt x="74" y="0"/>
                </a:lnTo>
                <a:lnTo>
                  <a:pt x="66" y="0"/>
                </a:lnTo>
                <a:lnTo>
                  <a:pt x="59" y="2"/>
                </a:lnTo>
                <a:lnTo>
                  <a:pt x="52" y="3"/>
                </a:lnTo>
                <a:lnTo>
                  <a:pt x="45" y="6"/>
                </a:lnTo>
                <a:lnTo>
                  <a:pt x="39" y="9"/>
                </a:lnTo>
                <a:lnTo>
                  <a:pt x="33" y="13"/>
                </a:lnTo>
                <a:lnTo>
                  <a:pt x="27" y="17"/>
                </a:lnTo>
                <a:lnTo>
                  <a:pt x="22" y="22"/>
                </a:lnTo>
                <a:lnTo>
                  <a:pt x="17" y="27"/>
                </a:lnTo>
                <a:lnTo>
                  <a:pt x="13" y="32"/>
                </a:lnTo>
                <a:lnTo>
                  <a:pt x="9" y="39"/>
                </a:lnTo>
                <a:lnTo>
                  <a:pt x="6" y="45"/>
                </a:lnTo>
                <a:lnTo>
                  <a:pt x="4" y="52"/>
                </a:lnTo>
                <a:lnTo>
                  <a:pt x="2" y="60"/>
                </a:lnTo>
                <a:lnTo>
                  <a:pt x="1" y="67"/>
                </a:lnTo>
                <a:lnTo>
                  <a:pt x="0" y="75"/>
                </a:lnTo>
                <a:lnTo>
                  <a:pt x="0" y="111"/>
                </a:lnTo>
                <a:lnTo>
                  <a:pt x="0" y="111"/>
                </a:lnTo>
                <a:lnTo>
                  <a:pt x="1" y="119"/>
                </a:lnTo>
                <a:lnTo>
                  <a:pt x="2" y="126"/>
                </a:lnTo>
                <a:lnTo>
                  <a:pt x="4" y="133"/>
                </a:lnTo>
                <a:lnTo>
                  <a:pt x="6" y="140"/>
                </a:lnTo>
                <a:lnTo>
                  <a:pt x="9" y="147"/>
                </a:lnTo>
                <a:lnTo>
                  <a:pt x="13" y="153"/>
                </a:lnTo>
                <a:lnTo>
                  <a:pt x="17" y="159"/>
                </a:lnTo>
                <a:lnTo>
                  <a:pt x="22" y="164"/>
                </a:lnTo>
                <a:lnTo>
                  <a:pt x="27" y="169"/>
                </a:lnTo>
                <a:lnTo>
                  <a:pt x="33" y="173"/>
                </a:lnTo>
                <a:lnTo>
                  <a:pt x="39" y="177"/>
                </a:lnTo>
                <a:lnTo>
                  <a:pt x="45" y="180"/>
                </a:lnTo>
                <a:lnTo>
                  <a:pt x="52" y="183"/>
                </a:lnTo>
                <a:lnTo>
                  <a:pt x="59" y="184"/>
                </a:lnTo>
                <a:lnTo>
                  <a:pt x="66" y="185"/>
                </a:lnTo>
                <a:lnTo>
                  <a:pt x="74" y="186"/>
                </a:lnTo>
                <a:lnTo>
                  <a:pt x="242" y="186"/>
                </a:lnTo>
                <a:lnTo>
                  <a:pt x="242" y="186"/>
                </a:lnTo>
                <a:lnTo>
                  <a:pt x="250" y="185"/>
                </a:lnTo>
                <a:lnTo>
                  <a:pt x="257" y="184"/>
                </a:lnTo>
                <a:lnTo>
                  <a:pt x="265" y="183"/>
                </a:lnTo>
                <a:lnTo>
                  <a:pt x="272" y="180"/>
                </a:lnTo>
                <a:lnTo>
                  <a:pt x="278" y="177"/>
                </a:lnTo>
                <a:lnTo>
                  <a:pt x="284" y="173"/>
                </a:lnTo>
                <a:lnTo>
                  <a:pt x="290" y="169"/>
                </a:lnTo>
                <a:lnTo>
                  <a:pt x="295" y="164"/>
                </a:lnTo>
                <a:lnTo>
                  <a:pt x="300" y="159"/>
                </a:lnTo>
                <a:lnTo>
                  <a:pt x="304" y="153"/>
                </a:lnTo>
                <a:lnTo>
                  <a:pt x="308" y="147"/>
                </a:lnTo>
                <a:lnTo>
                  <a:pt x="311" y="140"/>
                </a:lnTo>
                <a:lnTo>
                  <a:pt x="314" y="133"/>
                </a:lnTo>
                <a:lnTo>
                  <a:pt x="315" y="126"/>
                </a:lnTo>
                <a:lnTo>
                  <a:pt x="316"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0" name="Freeform 2162"/>
          <p:cNvSpPr>
            <a:spLocks/>
          </p:cNvSpPr>
          <p:nvPr/>
        </p:nvSpPr>
        <p:spPr bwMode="auto">
          <a:xfrm>
            <a:off x="1670051" y="4797362"/>
            <a:ext cx="82550" cy="49212"/>
          </a:xfrm>
          <a:custGeom>
            <a:avLst/>
            <a:gdLst>
              <a:gd name="T0" fmla="*/ 317 w 317"/>
              <a:gd name="T1" fmla="*/ 75 h 186"/>
              <a:gd name="T2" fmla="*/ 316 w 317"/>
              <a:gd name="T3" fmla="*/ 60 h 186"/>
              <a:gd name="T4" fmla="*/ 312 w 317"/>
              <a:gd name="T5" fmla="*/ 45 h 186"/>
              <a:gd name="T6" fmla="*/ 305 w 317"/>
              <a:gd name="T7" fmla="*/ 32 h 186"/>
              <a:gd name="T8" fmla="*/ 295 w 317"/>
              <a:gd name="T9" fmla="*/ 22 h 186"/>
              <a:gd name="T10" fmla="*/ 284 w 317"/>
              <a:gd name="T11" fmla="*/ 13 h 186"/>
              <a:gd name="T12" fmla="*/ 271 w 317"/>
              <a:gd name="T13" fmla="*/ 6 h 186"/>
              <a:gd name="T14" fmla="*/ 258 w 317"/>
              <a:gd name="T15" fmla="*/ 2 h 186"/>
              <a:gd name="T16" fmla="*/ 243 w 317"/>
              <a:gd name="T17" fmla="*/ 0 h 186"/>
              <a:gd name="T18" fmla="*/ 74 w 317"/>
              <a:gd name="T19" fmla="*/ 0 h 186"/>
              <a:gd name="T20" fmla="*/ 59 w 317"/>
              <a:gd name="T21" fmla="*/ 2 h 186"/>
              <a:gd name="T22" fmla="*/ 46 w 317"/>
              <a:gd name="T23" fmla="*/ 6 h 186"/>
              <a:gd name="T24" fmla="*/ 33 w 317"/>
              <a:gd name="T25" fmla="*/ 13 h 186"/>
              <a:gd name="T26" fmla="*/ 21 w 317"/>
              <a:gd name="T27" fmla="*/ 22 h 186"/>
              <a:gd name="T28" fmla="*/ 12 w 317"/>
              <a:gd name="T29" fmla="*/ 32 h 186"/>
              <a:gd name="T30" fmla="*/ 5 w 317"/>
              <a:gd name="T31" fmla="*/ 45 h 186"/>
              <a:gd name="T32" fmla="*/ 1 w 317"/>
              <a:gd name="T33" fmla="*/ 60 h 186"/>
              <a:gd name="T34" fmla="*/ 0 w 317"/>
              <a:gd name="T35" fmla="*/ 75 h 186"/>
              <a:gd name="T36" fmla="*/ 0 w 317"/>
              <a:gd name="T37" fmla="*/ 111 h 186"/>
              <a:gd name="T38" fmla="*/ 1 w 317"/>
              <a:gd name="T39" fmla="*/ 126 h 186"/>
              <a:gd name="T40" fmla="*/ 5 w 317"/>
              <a:gd name="T41" fmla="*/ 140 h 186"/>
              <a:gd name="T42" fmla="*/ 12 w 317"/>
              <a:gd name="T43" fmla="*/ 153 h 186"/>
              <a:gd name="T44" fmla="*/ 21 w 317"/>
              <a:gd name="T45" fmla="*/ 164 h 186"/>
              <a:gd name="T46" fmla="*/ 33 w 317"/>
              <a:gd name="T47" fmla="*/ 173 h 186"/>
              <a:gd name="T48" fmla="*/ 46 w 317"/>
              <a:gd name="T49" fmla="*/ 180 h 186"/>
              <a:gd name="T50" fmla="*/ 59 w 317"/>
              <a:gd name="T51" fmla="*/ 184 h 186"/>
              <a:gd name="T52" fmla="*/ 74 w 317"/>
              <a:gd name="T53" fmla="*/ 186 h 186"/>
              <a:gd name="T54" fmla="*/ 243 w 317"/>
              <a:gd name="T55" fmla="*/ 186 h 186"/>
              <a:gd name="T56" fmla="*/ 258 w 317"/>
              <a:gd name="T57" fmla="*/ 184 h 186"/>
              <a:gd name="T58" fmla="*/ 271 w 317"/>
              <a:gd name="T59" fmla="*/ 180 h 186"/>
              <a:gd name="T60" fmla="*/ 284 w 317"/>
              <a:gd name="T61" fmla="*/ 173 h 186"/>
              <a:gd name="T62" fmla="*/ 295 w 317"/>
              <a:gd name="T63" fmla="*/ 164 h 186"/>
              <a:gd name="T64" fmla="*/ 305 w 317"/>
              <a:gd name="T65" fmla="*/ 153 h 186"/>
              <a:gd name="T66" fmla="*/ 312 w 317"/>
              <a:gd name="T67" fmla="*/ 140 h 186"/>
              <a:gd name="T68" fmla="*/ 316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2"/>
                </a:lnTo>
                <a:lnTo>
                  <a:pt x="312" y="45"/>
                </a:lnTo>
                <a:lnTo>
                  <a:pt x="308" y="39"/>
                </a:lnTo>
                <a:lnTo>
                  <a:pt x="305" y="32"/>
                </a:lnTo>
                <a:lnTo>
                  <a:pt x="301" y="27"/>
                </a:lnTo>
                <a:lnTo>
                  <a:pt x="295" y="22"/>
                </a:lnTo>
                <a:lnTo>
                  <a:pt x="290" y="17"/>
                </a:lnTo>
                <a:lnTo>
                  <a:pt x="284" y="13"/>
                </a:lnTo>
                <a:lnTo>
                  <a:pt x="278" y="9"/>
                </a:lnTo>
                <a:lnTo>
                  <a:pt x="271" y="6"/>
                </a:lnTo>
                <a:lnTo>
                  <a:pt x="265" y="3"/>
                </a:lnTo>
                <a:lnTo>
                  <a:pt x="258" y="2"/>
                </a:lnTo>
                <a:lnTo>
                  <a:pt x="250" y="0"/>
                </a:lnTo>
                <a:lnTo>
                  <a:pt x="243" y="0"/>
                </a:lnTo>
                <a:lnTo>
                  <a:pt x="74" y="0"/>
                </a:lnTo>
                <a:lnTo>
                  <a:pt x="74" y="0"/>
                </a:lnTo>
                <a:lnTo>
                  <a:pt x="67" y="0"/>
                </a:lnTo>
                <a:lnTo>
                  <a:pt x="59" y="2"/>
                </a:lnTo>
                <a:lnTo>
                  <a:pt x="52" y="3"/>
                </a:lnTo>
                <a:lnTo>
                  <a:pt x="46" y="6"/>
                </a:lnTo>
                <a:lnTo>
                  <a:pt x="39" y="9"/>
                </a:lnTo>
                <a:lnTo>
                  <a:pt x="33" y="13"/>
                </a:lnTo>
                <a:lnTo>
                  <a:pt x="26" y="17"/>
                </a:lnTo>
                <a:lnTo>
                  <a:pt x="21" y="22"/>
                </a:lnTo>
                <a:lnTo>
                  <a:pt x="16" y="27"/>
                </a:lnTo>
                <a:lnTo>
                  <a:pt x="12" y="32"/>
                </a:lnTo>
                <a:lnTo>
                  <a:pt x="9" y="39"/>
                </a:lnTo>
                <a:lnTo>
                  <a:pt x="5" y="45"/>
                </a:lnTo>
                <a:lnTo>
                  <a:pt x="3" y="52"/>
                </a:lnTo>
                <a:lnTo>
                  <a:pt x="1" y="60"/>
                </a:lnTo>
                <a:lnTo>
                  <a:pt x="0" y="67"/>
                </a:lnTo>
                <a:lnTo>
                  <a:pt x="0" y="75"/>
                </a:lnTo>
                <a:lnTo>
                  <a:pt x="0" y="111"/>
                </a:lnTo>
                <a:lnTo>
                  <a:pt x="0" y="111"/>
                </a:lnTo>
                <a:lnTo>
                  <a:pt x="0" y="119"/>
                </a:lnTo>
                <a:lnTo>
                  <a:pt x="1" y="126"/>
                </a:lnTo>
                <a:lnTo>
                  <a:pt x="3" y="133"/>
                </a:lnTo>
                <a:lnTo>
                  <a:pt x="5" y="140"/>
                </a:lnTo>
                <a:lnTo>
                  <a:pt x="9" y="147"/>
                </a:lnTo>
                <a:lnTo>
                  <a:pt x="12" y="153"/>
                </a:lnTo>
                <a:lnTo>
                  <a:pt x="16" y="159"/>
                </a:lnTo>
                <a:lnTo>
                  <a:pt x="21" y="164"/>
                </a:lnTo>
                <a:lnTo>
                  <a:pt x="26" y="169"/>
                </a:lnTo>
                <a:lnTo>
                  <a:pt x="33" y="173"/>
                </a:lnTo>
                <a:lnTo>
                  <a:pt x="39" y="177"/>
                </a:lnTo>
                <a:lnTo>
                  <a:pt x="46" y="180"/>
                </a:lnTo>
                <a:lnTo>
                  <a:pt x="52" y="183"/>
                </a:lnTo>
                <a:lnTo>
                  <a:pt x="59" y="184"/>
                </a:lnTo>
                <a:lnTo>
                  <a:pt x="67" y="185"/>
                </a:lnTo>
                <a:lnTo>
                  <a:pt x="74" y="186"/>
                </a:lnTo>
                <a:lnTo>
                  <a:pt x="243" y="186"/>
                </a:lnTo>
                <a:lnTo>
                  <a:pt x="243" y="186"/>
                </a:lnTo>
                <a:lnTo>
                  <a:pt x="250" y="185"/>
                </a:lnTo>
                <a:lnTo>
                  <a:pt x="258" y="184"/>
                </a:lnTo>
                <a:lnTo>
                  <a:pt x="265" y="183"/>
                </a:lnTo>
                <a:lnTo>
                  <a:pt x="271" y="180"/>
                </a:lnTo>
                <a:lnTo>
                  <a:pt x="278" y="177"/>
                </a:lnTo>
                <a:lnTo>
                  <a:pt x="284" y="173"/>
                </a:lnTo>
                <a:lnTo>
                  <a:pt x="290" y="169"/>
                </a:lnTo>
                <a:lnTo>
                  <a:pt x="295" y="164"/>
                </a:lnTo>
                <a:lnTo>
                  <a:pt x="301" y="159"/>
                </a:lnTo>
                <a:lnTo>
                  <a:pt x="305" y="153"/>
                </a:lnTo>
                <a:lnTo>
                  <a:pt x="308" y="147"/>
                </a:lnTo>
                <a:lnTo>
                  <a:pt x="312" y="140"/>
                </a:lnTo>
                <a:lnTo>
                  <a:pt x="314" y="133"/>
                </a:lnTo>
                <a:lnTo>
                  <a:pt x="316" y="126"/>
                </a:lnTo>
                <a:lnTo>
                  <a:pt x="317"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1" name="Freeform 2163"/>
          <p:cNvSpPr>
            <a:spLocks/>
          </p:cNvSpPr>
          <p:nvPr/>
        </p:nvSpPr>
        <p:spPr bwMode="auto">
          <a:xfrm>
            <a:off x="1776414" y="4797362"/>
            <a:ext cx="84138" cy="49212"/>
          </a:xfrm>
          <a:custGeom>
            <a:avLst/>
            <a:gdLst>
              <a:gd name="T0" fmla="*/ 317 w 317"/>
              <a:gd name="T1" fmla="*/ 75 h 186"/>
              <a:gd name="T2" fmla="*/ 315 w 317"/>
              <a:gd name="T3" fmla="*/ 60 h 186"/>
              <a:gd name="T4" fmla="*/ 311 w 317"/>
              <a:gd name="T5" fmla="*/ 45 h 186"/>
              <a:gd name="T6" fmla="*/ 304 w 317"/>
              <a:gd name="T7" fmla="*/ 32 h 186"/>
              <a:gd name="T8" fmla="*/ 295 w 317"/>
              <a:gd name="T9" fmla="*/ 22 h 186"/>
              <a:gd name="T10" fmla="*/ 284 w 317"/>
              <a:gd name="T11" fmla="*/ 13 h 186"/>
              <a:gd name="T12" fmla="*/ 272 w 317"/>
              <a:gd name="T13" fmla="*/ 6 h 186"/>
              <a:gd name="T14" fmla="*/ 258 w 317"/>
              <a:gd name="T15" fmla="*/ 2 h 186"/>
              <a:gd name="T16" fmla="*/ 242 w 317"/>
              <a:gd name="T17" fmla="*/ 0 h 186"/>
              <a:gd name="T18" fmla="*/ 75 w 317"/>
              <a:gd name="T19" fmla="*/ 0 h 186"/>
              <a:gd name="T20" fmla="*/ 59 w 317"/>
              <a:gd name="T21" fmla="*/ 2 h 186"/>
              <a:gd name="T22" fmla="*/ 45 w 317"/>
              <a:gd name="T23" fmla="*/ 6 h 186"/>
              <a:gd name="T24" fmla="*/ 33 w 317"/>
              <a:gd name="T25" fmla="*/ 13 h 186"/>
              <a:gd name="T26" fmla="*/ 22 w 317"/>
              <a:gd name="T27" fmla="*/ 22 h 186"/>
              <a:gd name="T28" fmla="*/ 13 w 317"/>
              <a:gd name="T29" fmla="*/ 32 h 186"/>
              <a:gd name="T30" fmla="*/ 6 w 317"/>
              <a:gd name="T31" fmla="*/ 45 h 186"/>
              <a:gd name="T32" fmla="*/ 2 w 317"/>
              <a:gd name="T33" fmla="*/ 60 h 186"/>
              <a:gd name="T34" fmla="*/ 0 w 317"/>
              <a:gd name="T35" fmla="*/ 75 h 186"/>
              <a:gd name="T36" fmla="*/ 0 w 317"/>
              <a:gd name="T37" fmla="*/ 111 h 186"/>
              <a:gd name="T38" fmla="*/ 2 w 317"/>
              <a:gd name="T39" fmla="*/ 126 h 186"/>
              <a:gd name="T40" fmla="*/ 6 w 317"/>
              <a:gd name="T41" fmla="*/ 140 h 186"/>
              <a:gd name="T42" fmla="*/ 13 w 317"/>
              <a:gd name="T43" fmla="*/ 153 h 186"/>
              <a:gd name="T44" fmla="*/ 22 w 317"/>
              <a:gd name="T45" fmla="*/ 164 h 186"/>
              <a:gd name="T46" fmla="*/ 33 w 317"/>
              <a:gd name="T47" fmla="*/ 173 h 186"/>
              <a:gd name="T48" fmla="*/ 45 w 317"/>
              <a:gd name="T49" fmla="*/ 180 h 186"/>
              <a:gd name="T50" fmla="*/ 59 w 317"/>
              <a:gd name="T51" fmla="*/ 184 h 186"/>
              <a:gd name="T52" fmla="*/ 75 w 317"/>
              <a:gd name="T53" fmla="*/ 186 h 186"/>
              <a:gd name="T54" fmla="*/ 242 w 317"/>
              <a:gd name="T55" fmla="*/ 186 h 186"/>
              <a:gd name="T56" fmla="*/ 258 w 317"/>
              <a:gd name="T57" fmla="*/ 184 h 186"/>
              <a:gd name="T58" fmla="*/ 272 w 317"/>
              <a:gd name="T59" fmla="*/ 180 h 186"/>
              <a:gd name="T60" fmla="*/ 284 w 317"/>
              <a:gd name="T61" fmla="*/ 173 h 186"/>
              <a:gd name="T62" fmla="*/ 295 w 317"/>
              <a:gd name="T63" fmla="*/ 164 h 186"/>
              <a:gd name="T64" fmla="*/ 304 w 317"/>
              <a:gd name="T65" fmla="*/ 153 h 186"/>
              <a:gd name="T66" fmla="*/ 311 w 317"/>
              <a:gd name="T67" fmla="*/ 140 h 186"/>
              <a:gd name="T68" fmla="*/ 315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7"/>
                </a:lnTo>
                <a:lnTo>
                  <a:pt x="315" y="60"/>
                </a:lnTo>
                <a:lnTo>
                  <a:pt x="313" y="52"/>
                </a:lnTo>
                <a:lnTo>
                  <a:pt x="311" y="45"/>
                </a:lnTo>
                <a:lnTo>
                  <a:pt x="308" y="39"/>
                </a:lnTo>
                <a:lnTo>
                  <a:pt x="304" y="32"/>
                </a:lnTo>
                <a:lnTo>
                  <a:pt x="300" y="27"/>
                </a:lnTo>
                <a:lnTo>
                  <a:pt x="295" y="22"/>
                </a:lnTo>
                <a:lnTo>
                  <a:pt x="290" y="17"/>
                </a:lnTo>
                <a:lnTo>
                  <a:pt x="284" y="13"/>
                </a:lnTo>
                <a:lnTo>
                  <a:pt x="278" y="9"/>
                </a:lnTo>
                <a:lnTo>
                  <a:pt x="272" y="6"/>
                </a:lnTo>
                <a:lnTo>
                  <a:pt x="265" y="3"/>
                </a:lnTo>
                <a:lnTo>
                  <a:pt x="258" y="2"/>
                </a:lnTo>
                <a:lnTo>
                  <a:pt x="251" y="0"/>
                </a:lnTo>
                <a:lnTo>
                  <a:pt x="242" y="0"/>
                </a:lnTo>
                <a:lnTo>
                  <a:pt x="75" y="0"/>
                </a:lnTo>
                <a:lnTo>
                  <a:pt x="75" y="0"/>
                </a:lnTo>
                <a:lnTo>
                  <a:pt x="66" y="0"/>
                </a:lnTo>
                <a:lnTo>
                  <a:pt x="59" y="2"/>
                </a:lnTo>
                <a:lnTo>
                  <a:pt x="52" y="3"/>
                </a:lnTo>
                <a:lnTo>
                  <a:pt x="45" y="6"/>
                </a:lnTo>
                <a:lnTo>
                  <a:pt x="39" y="9"/>
                </a:lnTo>
                <a:lnTo>
                  <a:pt x="33" y="13"/>
                </a:lnTo>
                <a:lnTo>
                  <a:pt x="27" y="17"/>
                </a:lnTo>
                <a:lnTo>
                  <a:pt x="22" y="22"/>
                </a:lnTo>
                <a:lnTo>
                  <a:pt x="17" y="27"/>
                </a:lnTo>
                <a:lnTo>
                  <a:pt x="13" y="32"/>
                </a:lnTo>
                <a:lnTo>
                  <a:pt x="9" y="39"/>
                </a:lnTo>
                <a:lnTo>
                  <a:pt x="6" y="45"/>
                </a:lnTo>
                <a:lnTo>
                  <a:pt x="3" y="52"/>
                </a:lnTo>
                <a:lnTo>
                  <a:pt x="2" y="60"/>
                </a:lnTo>
                <a:lnTo>
                  <a:pt x="1" y="67"/>
                </a:lnTo>
                <a:lnTo>
                  <a:pt x="0" y="75"/>
                </a:lnTo>
                <a:lnTo>
                  <a:pt x="0" y="111"/>
                </a:lnTo>
                <a:lnTo>
                  <a:pt x="0" y="111"/>
                </a:lnTo>
                <a:lnTo>
                  <a:pt x="1" y="119"/>
                </a:lnTo>
                <a:lnTo>
                  <a:pt x="2" y="126"/>
                </a:lnTo>
                <a:lnTo>
                  <a:pt x="3" y="133"/>
                </a:lnTo>
                <a:lnTo>
                  <a:pt x="6" y="140"/>
                </a:lnTo>
                <a:lnTo>
                  <a:pt x="9" y="147"/>
                </a:lnTo>
                <a:lnTo>
                  <a:pt x="13" y="153"/>
                </a:lnTo>
                <a:lnTo>
                  <a:pt x="17" y="159"/>
                </a:lnTo>
                <a:lnTo>
                  <a:pt x="22" y="164"/>
                </a:lnTo>
                <a:lnTo>
                  <a:pt x="27" y="169"/>
                </a:lnTo>
                <a:lnTo>
                  <a:pt x="33" y="173"/>
                </a:lnTo>
                <a:lnTo>
                  <a:pt x="39" y="177"/>
                </a:lnTo>
                <a:lnTo>
                  <a:pt x="45" y="180"/>
                </a:lnTo>
                <a:lnTo>
                  <a:pt x="52" y="183"/>
                </a:lnTo>
                <a:lnTo>
                  <a:pt x="59" y="184"/>
                </a:lnTo>
                <a:lnTo>
                  <a:pt x="66" y="185"/>
                </a:lnTo>
                <a:lnTo>
                  <a:pt x="75" y="186"/>
                </a:lnTo>
                <a:lnTo>
                  <a:pt x="242" y="186"/>
                </a:lnTo>
                <a:lnTo>
                  <a:pt x="242" y="186"/>
                </a:lnTo>
                <a:lnTo>
                  <a:pt x="251" y="185"/>
                </a:lnTo>
                <a:lnTo>
                  <a:pt x="258" y="184"/>
                </a:lnTo>
                <a:lnTo>
                  <a:pt x="265" y="183"/>
                </a:lnTo>
                <a:lnTo>
                  <a:pt x="272" y="180"/>
                </a:lnTo>
                <a:lnTo>
                  <a:pt x="278" y="177"/>
                </a:lnTo>
                <a:lnTo>
                  <a:pt x="284" y="173"/>
                </a:lnTo>
                <a:lnTo>
                  <a:pt x="290" y="169"/>
                </a:lnTo>
                <a:lnTo>
                  <a:pt x="295" y="164"/>
                </a:lnTo>
                <a:lnTo>
                  <a:pt x="300" y="159"/>
                </a:lnTo>
                <a:lnTo>
                  <a:pt x="304" y="153"/>
                </a:lnTo>
                <a:lnTo>
                  <a:pt x="308" y="147"/>
                </a:lnTo>
                <a:lnTo>
                  <a:pt x="311" y="140"/>
                </a:lnTo>
                <a:lnTo>
                  <a:pt x="313" y="133"/>
                </a:lnTo>
                <a:lnTo>
                  <a:pt x="315" y="126"/>
                </a:lnTo>
                <a:lnTo>
                  <a:pt x="316"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2" name="Freeform 2164"/>
          <p:cNvSpPr>
            <a:spLocks/>
          </p:cNvSpPr>
          <p:nvPr/>
        </p:nvSpPr>
        <p:spPr bwMode="auto">
          <a:xfrm>
            <a:off x="1884364" y="4797362"/>
            <a:ext cx="84138" cy="49212"/>
          </a:xfrm>
          <a:custGeom>
            <a:avLst/>
            <a:gdLst>
              <a:gd name="T0" fmla="*/ 317 w 317"/>
              <a:gd name="T1" fmla="*/ 75 h 186"/>
              <a:gd name="T2" fmla="*/ 316 w 317"/>
              <a:gd name="T3" fmla="*/ 60 h 186"/>
              <a:gd name="T4" fmla="*/ 311 w 317"/>
              <a:gd name="T5" fmla="*/ 45 h 186"/>
              <a:gd name="T6" fmla="*/ 305 w 317"/>
              <a:gd name="T7" fmla="*/ 32 h 186"/>
              <a:gd name="T8" fmla="*/ 296 w 317"/>
              <a:gd name="T9" fmla="*/ 22 h 186"/>
              <a:gd name="T10" fmla="*/ 285 w 317"/>
              <a:gd name="T11" fmla="*/ 13 h 186"/>
              <a:gd name="T12" fmla="*/ 271 w 317"/>
              <a:gd name="T13" fmla="*/ 6 h 186"/>
              <a:gd name="T14" fmla="*/ 258 w 317"/>
              <a:gd name="T15" fmla="*/ 2 h 186"/>
              <a:gd name="T16" fmla="*/ 243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2 h 186"/>
              <a:gd name="T28" fmla="*/ 12 w 317"/>
              <a:gd name="T29" fmla="*/ 32 h 186"/>
              <a:gd name="T30" fmla="*/ 5 w 317"/>
              <a:gd name="T31" fmla="*/ 45 h 186"/>
              <a:gd name="T32" fmla="*/ 1 w 317"/>
              <a:gd name="T33" fmla="*/ 60 h 186"/>
              <a:gd name="T34" fmla="*/ 0 w 317"/>
              <a:gd name="T35" fmla="*/ 75 h 186"/>
              <a:gd name="T36" fmla="*/ 0 w 317"/>
              <a:gd name="T37" fmla="*/ 111 h 186"/>
              <a:gd name="T38" fmla="*/ 1 w 317"/>
              <a:gd name="T39" fmla="*/ 126 h 186"/>
              <a:gd name="T40" fmla="*/ 5 w 317"/>
              <a:gd name="T41" fmla="*/ 140 h 186"/>
              <a:gd name="T42" fmla="*/ 12 w 317"/>
              <a:gd name="T43" fmla="*/ 153 h 186"/>
              <a:gd name="T44" fmla="*/ 22 w 317"/>
              <a:gd name="T45" fmla="*/ 164 h 186"/>
              <a:gd name="T46" fmla="*/ 33 w 317"/>
              <a:gd name="T47" fmla="*/ 173 h 186"/>
              <a:gd name="T48" fmla="*/ 45 w 317"/>
              <a:gd name="T49" fmla="*/ 180 h 186"/>
              <a:gd name="T50" fmla="*/ 59 w 317"/>
              <a:gd name="T51" fmla="*/ 184 h 186"/>
              <a:gd name="T52" fmla="*/ 74 w 317"/>
              <a:gd name="T53" fmla="*/ 186 h 186"/>
              <a:gd name="T54" fmla="*/ 243 w 317"/>
              <a:gd name="T55" fmla="*/ 186 h 186"/>
              <a:gd name="T56" fmla="*/ 258 w 317"/>
              <a:gd name="T57" fmla="*/ 184 h 186"/>
              <a:gd name="T58" fmla="*/ 271 w 317"/>
              <a:gd name="T59" fmla="*/ 180 h 186"/>
              <a:gd name="T60" fmla="*/ 285 w 317"/>
              <a:gd name="T61" fmla="*/ 173 h 186"/>
              <a:gd name="T62" fmla="*/ 296 w 317"/>
              <a:gd name="T63" fmla="*/ 164 h 186"/>
              <a:gd name="T64" fmla="*/ 305 w 317"/>
              <a:gd name="T65" fmla="*/ 153 h 186"/>
              <a:gd name="T66" fmla="*/ 311 w 317"/>
              <a:gd name="T67" fmla="*/ 140 h 186"/>
              <a:gd name="T68" fmla="*/ 316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2"/>
                </a:lnTo>
                <a:lnTo>
                  <a:pt x="311" y="45"/>
                </a:lnTo>
                <a:lnTo>
                  <a:pt x="308" y="39"/>
                </a:lnTo>
                <a:lnTo>
                  <a:pt x="305" y="32"/>
                </a:lnTo>
                <a:lnTo>
                  <a:pt x="300" y="27"/>
                </a:lnTo>
                <a:lnTo>
                  <a:pt x="296" y="22"/>
                </a:lnTo>
                <a:lnTo>
                  <a:pt x="290" y="17"/>
                </a:lnTo>
                <a:lnTo>
                  <a:pt x="285" y="13"/>
                </a:lnTo>
                <a:lnTo>
                  <a:pt x="278" y="9"/>
                </a:lnTo>
                <a:lnTo>
                  <a:pt x="271" y="6"/>
                </a:lnTo>
                <a:lnTo>
                  <a:pt x="265" y="3"/>
                </a:lnTo>
                <a:lnTo>
                  <a:pt x="258" y="2"/>
                </a:lnTo>
                <a:lnTo>
                  <a:pt x="250" y="0"/>
                </a:lnTo>
                <a:lnTo>
                  <a:pt x="243" y="0"/>
                </a:lnTo>
                <a:lnTo>
                  <a:pt x="74" y="0"/>
                </a:lnTo>
                <a:lnTo>
                  <a:pt x="74" y="0"/>
                </a:lnTo>
                <a:lnTo>
                  <a:pt x="67" y="0"/>
                </a:lnTo>
                <a:lnTo>
                  <a:pt x="59" y="2"/>
                </a:lnTo>
                <a:lnTo>
                  <a:pt x="52" y="3"/>
                </a:lnTo>
                <a:lnTo>
                  <a:pt x="45" y="6"/>
                </a:lnTo>
                <a:lnTo>
                  <a:pt x="39" y="9"/>
                </a:lnTo>
                <a:lnTo>
                  <a:pt x="33" y="13"/>
                </a:lnTo>
                <a:lnTo>
                  <a:pt x="27" y="17"/>
                </a:lnTo>
                <a:lnTo>
                  <a:pt x="22" y="22"/>
                </a:lnTo>
                <a:lnTo>
                  <a:pt x="17" y="27"/>
                </a:lnTo>
                <a:lnTo>
                  <a:pt x="12" y="32"/>
                </a:lnTo>
                <a:lnTo>
                  <a:pt x="8" y="39"/>
                </a:lnTo>
                <a:lnTo>
                  <a:pt x="5" y="45"/>
                </a:lnTo>
                <a:lnTo>
                  <a:pt x="3" y="52"/>
                </a:lnTo>
                <a:lnTo>
                  <a:pt x="1" y="60"/>
                </a:lnTo>
                <a:lnTo>
                  <a:pt x="0" y="67"/>
                </a:lnTo>
                <a:lnTo>
                  <a:pt x="0" y="75"/>
                </a:lnTo>
                <a:lnTo>
                  <a:pt x="0" y="111"/>
                </a:lnTo>
                <a:lnTo>
                  <a:pt x="0" y="111"/>
                </a:lnTo>
                <a:lnTo>
                  <a:pt x="0" y="119"/>
                </a:lnTo>
                <a:lnTo>
                  <a:pt x="1" y="126"/>
                </a:lnTo>
                <a:lnTo>
                  <a:pt x="3" y="133"/>
                </a:lnTo>
                <a:lnTo>
                  <a:pt x="5" y="140"/>
                </a:lnTo>
                <a:lnTo>
                  <a:pt x="8" y="147"/>
                </a:lnTo>
                <a:lnTo>
                  <a:pt x="12" y="153"/>
                </a:lnTo>
                <a:lnTo>
                  <a:pt x="17" y="159"/>
                </a:lnTo>
                <a:lnTo>
                  <a:pt x="22" y="164"/>
                </a:lnTo>
                <a:lnTo>
                  <a:pt x="27" y="169"/>
                </a:lnTo>
                <a:lnTo>
                  <a:pt x="33" y="173"/>
                </a:lnTo>
                <a:lnTo>
                  <a:pt x="39" y="177"/>
                </a:lnTo>
                <a:lnTo>
                  <a:pt x="45" y="180"/>
                </a:lnTo>
                <a:lnTo>
                  <a:pt x="52" y="183"/>
                </a:lnTo>
                <a:lnTo>
                  <a:pt x="59" y="184"/>
                </a:lnTo>
                <a:lnTo>
                  <a:pt x="67" y="185"/>
                </a:lnTo>
                <a:lnTo>
                  <a:pt x="74" y="186"/>
                </a:lnTo>
                <a:lnTo>
                  <a:pt x="243" y="186"/>
                </a:lnTo>
                <a:lnTo>
                  <a:pt x="243" y="186"/>
                </a:lnTo>
                <a:lnTo>
                  <a:pt x="250" y="185"/>
                </a:lnTo>
                <a:lnTo>
                  <a:pt x="258" y="184"/>
                </a:lnTo>
                <a:lnTo>
                  <a:pt x="265" y="183"/>
                </a:lnTo>
                <a:lnTo>
                  <a:pt x="271" y="180"/>
                </a:lnTo>
                <a:lnTo>
                  <a:pt x="278" y="177"/>
                </a:lnTo>
                <a:lnTo>
                  <a:pt x="285" y="173"/>
                </a:lnTo>
                <a:lnTo>
                  <a:pt x="290" y="169"/>
                </a:lnTo>
                <a:lnTo>
                  <a:pt x="296" y="164"/>
                </a:lnTo>
                <a:lnTo>
                  <a:pt x="300" y="159"/>
                </a:lnTo>
                <a:lnTo>
                  <a:pt x="305" y="153"/>
                </a:lnTo>
                <a:lnTo>
                  <a:pt x="308" y="147"/>
                </a:lnTo>
                <a:lnTo>
                  <a:pt x="311" y="140"/>
                </a:lnTo>
                <a:lnTo>
                  <a:pt x="314" y="133"/>
                </a:lnTo>
                <a:lnTo>
                  <a:pt x="316" y="126"/>
                </a:lnTo>
                <a:lnTo>
                  <a:pt x="317"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3" name="Freeform 2165"/>
          <p:cNvSpPr>
            <a:spLocks/>
          </p:cNvSpPr>
          <p:nvPr/>
        </p:nvSpPr>
        <p:spPr bwMode="auto">
          <a:xfrm>
            <a:off x="1992314" y="4797362"/>
            <a:ext cx="84138" cy="49212"/>
          </a:xfrm>
          <a:custGeom>
            <a:avLst/>
            <a:gdLst>
              <a:gd name="T0" fmla="*/ 318 w 318"/>
              <a:gd name="T1" fmla="*/ 75 h 186"/>
              <a:gd name="T2" fmla="*/ 316 w 318"/>
              <a:gd name="T3" fmla="*/ 60 h 186"/>
              <a:gd name="T4" fmla="*/ 311 w 318"/>
              <a:gd name="T5" fmla="*/ 45 h 186"/>
              <a:gd name="T6" fmla="*/ 304 w 318"/>
              <a:gd name="T7" fmla="*/ 32 h 186"/>
              <a:gd name="T8" fmla="*/ 295 w 318"/>
              <a:gd name="T9" fmla="*/ 22 h 186"/>
              <a:gd name="T10" fmla="*/ 284 w 318"/>
              <a:gd name="T11" fmla="*/ 13 h 186"/>
              <a:gd name="T12" fmla="*/ 272 w 318"/>
              <a:gd name="T13" fmla="*/ 6 h 186"/>
              <a:gd name="T14" fmla="*/ 258 w 318"/>
              <a:gd name="T15" fmla="*/ 2 h 186"/>
              <a:gd name="T16" fmla="*/ 243 w 318"/>
              <a:gd name="T17" fmla="*/ 0 h 186"/>
              <a:gd name="T18" fmla="*/ 75 w 318"/>
              <a:gd name="T19" fmla="*/ 0 h 186"/>
              <a:gd name="T20" fmla="*/ 60 w 318"/>
              <a:gd name="T21" fmla="*/ 2 h 186"/>
              <a:gd name="T22" fmla="*/ 45 w 318"/>
              <a:gd name="T23" fmla="*/ 6 h 186"/>
              <a:gd name="T24" fmla="*/ 32 w 318"/>
              <a:gd name="T25" fmla="*/ 13 h 186"/>
              <a:gd name="T26" fmla="*/ 22 w 318"/>
              <a:gd name="T27" fmla="*/ 22 h 186"/>
              <a:gd name="T28" fmla="*/ 13 w 318"/>
              <a:gd name="T29" fmla="*/ 32 h 186"/>
              <a:gd name="T30" fmla="*/ 6 w 318"/>
              <a:gd name="T31" fmla="*/ 45 h 186"/>
              <a:gd name="T32" fmla="*/ 2 w 318"/>
              <a:gd name="T33" fmla="*/ 60 h 186"/>
              <a:gd name="T34" fmla="*/ 0 w 318"/>
              <a:gd name="T35" fmla="*/ 75 h 186"/>
              <a:gd name="T36" fmla="*/ 0 w 318"/>
              <a:gd name="T37" fmla="*/ 111 h 186"/>
              <a:gd name="T38" fmla="*/ 2 w 318"/>
              <a:gd name="T39" fmla="*/ 126 h 186"/>
              <a:gd name="T40" fmla="*/ 6 w 318"/>
              <a:gd name="T41" fmla="*/ 140 h 186"/>
              <a:gd name="T42" fmla="*/ 13 w 318"/>
              <a:gd name="T43" fmla="*/ 153 h 186"/>
              <a:gd name="T44" fmla="*/ 22 w 318"/>
              <a:gd name="T45" fmla="*/ 164 h 186"/>
              <a:gd name="T46" fmla="*/ 32 w 318"/>
              <a:gd name="T47" fmla="*/ 173 h 186"/>
              <a:gd name="T48" fmla="*/ 45 w 318"/>
              <a:gd name="T49" fmla="*/ 180 h 186"/>
              <a:gd name="T50" fmla="*/ 60 w 318"/>
              <a:gd name="T51" fmla="*/ 184 h 186"/>
              <a:gd name="T52" fmla="*/ 75 w 318"/>
              <a:gd name="T53" fmla="*/ 186 h 186"/>
              <a:gd name="T54" fmla="*/ 243 w 318"/>
              <a:gd name="T55" fmla="*/ 186 h 186"/>
              <a:gd name="T56" fmla="*/ 258 w 318"/>
              <a:gd name="T57" fmla="*/ 184 h 186"/>
              <a:gd name="T58" fmla="*/ 272 w 318"/>
              <a:gd name="T59" fmla="*/ 180 h 186"/>
              <a:gd name="T60" fmla="*/ 284 w 318"/>
              <a:gd name="T61" fmla="*/ 173 h 186"/>
              <a:gd name="T62" fmla="*/ 295 w 318"/>
              <a:gd name="T63" fmla="*/ 164 h 186"/>
              <a:gd name="T64" fmla="*/ 304 w 318"/>
              <a:gd name="T65" fmla="*/ 153 h 186"/>
              <a:gd name="T66" fmla="*/ 311 w 318"/>
              <a:gd name="T67" fmla="*/ 140 h 186"/>
              <a:gd name="T68" fmla="*/ 316 w 318"/>
              <a:gd name="T69" fmla="*/ 126 h 186"/>
              <a:gd name="T70" fmla="*/ 318 w 318"/>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7" y="67"/>
                </a:lnTo>
                <a:lnTo>
                  <a:pt x="316" y="60"/>
                </a:lnTo>
                <a:lnTo>
                  <a:pt x="313" y="52"/>
                </a:lnTo>
                <a:lnTo>
                  <a:pt x="311" y="45"/>
                </a:lnTo>
                <a:lnTo>
                  <a:pt x="308" y="39"/>
                </a:lnTo>
                <a:lnTo>
                  <a:pt x="304" y="32"/>
                </a:lnTo>
                <a:lnTo>
                  <a:pt x="300" y="27"/>
                </a:lnTo>
                <a:lnTo>
                  <a:pt x="295" y="22"/>
                </a:lnTo>
                <a:lnTo>
                  <a:pt x="290" y="17"/>
                </a:lnTo>
                <a:lnTo>
                  <a:pt x="284" y="13"/>
                </a:lnTo>
                <a:lnTo>
                  <a:pt x="278" y="9"/>
                </a:lnTo>
                <a:lnTo>
                  <a:pt x="272" y="6"/>
                </a:lnTo>
                <a:lnTo>
                  <a:pt x="265" y="3"/>
                </a:lnTo>
                <a:lnTo>
                  <a:pt x="258" y="2"/>
                </a:lnTo>
                <a:lnTo>
                  <a:pt x="251" y="0"/>
                </a:lnTo>
                <a:lnTo>
                  <a:pt x="243" y="0"/>
                </a:lnTo>
                <a:lnTo>
                  <a:pt x="75" y="0"/>
                </a:lnTo>
                <a:lnTo>
                  <a:pt x="75" y="0"/>
                </a:lnTo>
                <a:lnTo>
                  <a:pt x="67" y="0"/>
                </a:lnTo>
                <a:lnTo>
                  <a:pt x="60" y="2"/>
                </a:lnTo>
                <a:lnTo>
                  <a:pt x="53" y="3"/>
                </a:lnTo>
                <a:lnTo>
                  <a:pt x="45" y="6"/>
                </a:lnTo>
                <a:lnTo>
                  <a:pt x="38" y="9"/>
                </a:lnTo>
                <a:lnTo>
                  <a:pt x="32" y="13"/>
                </a:lnTo>
                <a:lnTo>
                  <a:pt x="27" y="17"/>
                </a:lnTo>
                <a:lnTo>
                  <a:pt x="22" y="22"/>
                </a:lnTo>
                <a:lnTo>
                  <a:pt x="17" y="27"/>
                </a:lnTo>
                <a:lnTo>
                  <a:pt x="13" y="32"/>
                </a:lnTo>
                <a:lnTo>
                  <a:pt x="9" y="39"/>
                </a:lnTo>
                <a:lnTo>
                  <a:pt x="6" y="45"/>
                </a:lnTo>
                <a:lnTo>
                  <a:pt x="3" y="52"/>
                </a:lnTo>
                <a:lnTo>
                  <a:pt x="2" y="60"/>
                </a:lnTo>
                <a:lnTo>
                  <a:pt x="0" y="67"/>
                </a:lnTo>
                <a:lnTo>
                  <a:pt x="0" y="75"/>
                </a:lnTo>
                <a:lnTo>
                  <a:pt x="0" y="111"/>
                </a:lnTo>
                <a:lnTo>
                  <a:pt x="0" y="111"/>
                </a:lnTo>
                <a:lnTo>
                  <a:pt x="0" y="119"/>
                </a:lnTo>
                <a:lnTo>
                  <a:pt x="2" y="126"/>
                </a:lnTo>
                <a:lnTo>
                  <a:pt x="3" y="133"/>
                </a:lnTo>
                <a:lnTo>
                  <a:pt x="6" y="140"/>
                </a:lnTo>
                <a:lnTo>
                  <a:pt x="9" y="147"/>
                </a:lnTo>
                <a:lnTo>
                  <a:pt x="13" y="153"/>
                </a:lnTo>
                <a:lnTo>
                  <a:pt x="17" y="159"/>
                </a:lnTo>
                <a:lnTo>
                  <a:pt x="22" y="164"/>
                </a:lnTo>
                <a:lnTo>
                  <a:pt x="27" y="169"/>
                </a:lnTo>
                <a:lnTo>
                  <a:pt x="32" y="173"/>
                </a:lnTo>
                <a:lnTo>
                  <a:pt x="38" y="177"/>
                </a:lnTo>
                <a:lnTo>
                  <a:pt x="45" y="180"/>
                </a:lnTo>
                <a:lnTo>
                  <a:pt x="53" y="183"/>
                </a:lnTo>
                <a:lnTo>
                  <a:pt x="60" y="184"/>
                </a:lnTo>
                <a:lnTo>
                  <a:pt x="67" y="185"/>
                </a:lnTo>
                <a:lnTo>
                  <a:pt x="75" y="186"/>
                </a:lnTo>
                <a:lnTo>
                  <a:pt x="243" y="186"/>
                </a:lnTo>
                <a:lnTo>
                  <a:pt x="243" y="186"/>
                </a:lnTo>
                <a:lnTo>
                  <a:pt x="251" y="185"/>
                </a:lnTo>
                <a:lnTo>
                  <a:pt x="258" y="184"/>
                </a:lnTo>
                <a:lnTo>
                  <a:pt x="265" y="183"/>
                </a:lnTo>
                <a:lnTo>
                  <a:pt x="272" y="180"/>
                </a:lnTo>
                <a:lnTo>
                  <a:pt x="278" y="177"/>
                </a:lnTo>
                <a:lnTo>
                  <a:pt x="284" y="173"/>
                </a:lnTo>
                <a:lnTo>
                  <a:pt x="290" y="169"/>
                </a:lnTo>
                <a:lnTo>
                  <a:pt x="295" y="164"/>
                </a:lnTo>
                <a:lnTo>
                  <a:pt x="300" y="159"/>
                </a:lnTo>
                <a:lnTo>
                  <a:pt x="304" y="153"/>
                </a:lnTo>
                <a:lnTo>
                  <a:pt x="308" y="147"/>
                </a:lnTo>
                <a:lnTo>
                  <a:pt x="311" y="140"/>
                </a:lnTo>
                <a:lnTo>
                  <a:pt x="313" y="133"/>
                </a:lnTo>
                <a:lnTo>
                  <a:pt x="316" y="126"/>
                </a:lnTo>
                <a:lnTo>
                  <a:pt x="317" y="119"/>
                </a:lnTo>
                <a:lnTo>
                  <a:pt x="318" y="111"/>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4" name="Freeform 2166"/>
          <p:cNvSpPr>
            <a:spLocks/>
          </p:cNvSpPr>
          <p:nvPr/>
        </p:nvSpPr>
        <p:spPr bwMode="auto">
          <a:xfrm>
            <a:off x="2098676" y="4797362"/>
            <a:ext cx="84138" cy="49212"/>
          </a:xfrm>
          <a:custGeom>
            <a:avLst/>
            <a:gdLst>
              <a:gd name="T0" fmla="*/ 317 w 317"/>
              <a:gd name="T1" fmla="*/ 75 h 186"/>
              <a:gd name="T2" fmla="*/ 316 w 317"/>
              <a:gd name="T3" fmla="*/ 60 h 186"/>
              <a:gd name="T4" fmla="*/ 311 w 317"/>
              <a:gd name="T5" fmla="*/ 45 h 186"/>
              <a:gd name="T6" fmla="*/ 305 w 317"/>
              <a:gd name="T7" fmla="*/ 32 h 186"/>
              <a:gd name="T8" fmla="*/ 296 w 317"/>
              <a:gd name="T9" fmla="*/ 22 h 186"/>
              <a:gd name="T10" fmla="*/ 285 w 317"/>
              <a:gd name="T11" fmla="*/ 13 h 186"/>
              <a:gd name="T12" fmla="*/ 272 w 317"/>
              <a:gd name="T13" fmla="*/ 6 h 186"/>
              <a:gd name="T14" fmla="*/ 257 w 317"/>
              <a:gd name="T15" fmla="*/ 2 h 186"/>
              <a:gd name="T16" fmla="*/ 243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2 h 186"/>
              <a:gd name="T28" fmla="*/ 13 w 317"/>
              <a:gd name="T29" fmla="*/ 32 h 186"/>
              <a:gd name="T30" fmla="*/ 6 w 317"/>
              <a:gd name="T31" fmla="*/ 45 h 186"/>
              <a:gd name="T32" fmla="*/ 2 w 317"/>
              <a:gd name="T33" fmla="*/ 60 h 186"/>
              <a:gd name="T34" fmla="*/ 0 w 317"/>
              <a:gd name="T35" fmla="*/ 75 h 186"/>
              <a:gd name="T36" fmla="*/ 0 w 317"/>
              <a:gd name="T37" fmla="*/ 111 h 186"/>
              <a:gd name="T38" fmla="*/ 2 w 317"/>
              <a:gd name="T39" fmla="*/ 126 h 186"/>
              <a:gd name="T40" fmla="*/ 6 w 317"/>
              <a:gd name="T41" fmla="*/ 140 h 186"/>
              <a:gd name="T42" fmla="*/ 13 w 317"/>
              <a:gd name="T43" fmla="*/ 153 h 186"/>
              <a:gd name="T44" fmla="*/ 22 w 317"/>
              <a:gd name="T45" fmla="*/ 164 h 186"/>
              <a:gd name="T46" fmla="*/ 33 w 317"/>
              <a:gd name="T47" fmla="*/ 173 h 186"/>
              <a:gd name="T48" fmla="*/ 45 w 317"/>
              <a:gd name="T49" fmla="*/ 180 h 186"/>
              <a:gd name="T50" fmla="*/ 59 w 317"/>
              <a:gd name="T51" fmla="*/ 184 h 186"/>
              <a:gd name="T52" fmla="*/ 74 w 317"/>
              <a:gd name="T53" fmla="*/ 186 h 186"/>
              <a:gd name="T54" fmla="*/ 243 w 317"/>
              <a:gd name="T55" fmla="*/ 186 h 186"/>
              <a:gd name="T56" fmla="*/ 257 w 317"/>
              <a:gd name="T57" fmla="*/ 184 h 186"/>
              <a:gd name="T58" fmla="*/ 272 w 317"/>
              <a:gd name="T59" fmla="*/ 180 h 186"/>
              <a:gd name="T60" fmla="*/ 285 w 317"/>
              <a:gd name="T61" fmla="*/ 173 h 186"/>
              <a:gd name="T62" fmla="*/ 296 w 317"/>
              <a:gd name="T63" fmla="*/ 164 h 186"/>
              <a:gd name="T64" fmla="*/ 305 w 317"/>
              <a:gd name="T65" fmla="*/ 153 h 186"/>
              <a:gd name="T66" fmla="*/ 311 w 317"/>
              <a:gd name="T67" fmla="*/ 140 h 186"/>
              <a:gd name="T68" fmla="*/ 316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2"/>
                </a:lnTo>
                <a:lnTo>
                  <a:pt x="311" y="45"/>
                </a:lnTo>
                <a:lnTo>
                  <a:pt x="308" y="39"/>
                </a:lnTo>
                <a:lnTo>
                  <a:pt x="305" y="32"/>
                </a:lnTo>
                <a:lnTo>
                  <a:pt x="300" y="27"/>
                </a:lnTo>
                <a:lnTo>
                  <a:pt x="296" y="22"/>
                </a:lnTo>
                <a:lnTo>
                  <a:pt x="290" y="17"/>
                </a:lnTo>
                <a:lnTo>
                  <a:pt x="285" y="13"/>
                </a:lnTo>
                <a:lnTo>
                  <a:pt x="279" y="9"/>
                </a:lnTo>
                <a:lnTo>
                  <a:pt x="272" y="6"/>
                </a:lnTo>
                <a:lnTo>
                  <a:pt x="265" y="3"/>
                </a:lnTo>
                <a:lnTo>
                  <a:pt x="257" y="2"/>
                </a:lnTo>
                <a:lnTo>
                  <a:pt x="250" y="0"/>
                </a:lnTo>
                <a:lnTo>
                  <a:pt x="243" y="0"/>
                </a:lnTo>
                <a:lnTo>
                  <a:pt x="74" y="0"/>
                </a:lnTo>
                <a:lnTo>
                  <a:pt x="74" y="0"/>
                </a:lnTo>
                <a:lnTo>
                  <a:pt x="66" y="0"/>
                </a:lnTo>
                <a:lnTo>
                  <a:pt x="59" y="2"/>
                </a:lnTo>
                <a:lnTo>
                  <a:pt x="52" y="3"/>
                </a:lnTo>
                <a:lnTo>
                  <a:pt x="45" y="6"/>
                </a:lnTo>
                <a:lnTo>
                  <a:pt x="39" y="9"/>
                </a:lnTo>
                <a:lnTo>
                  <a:pt x="33" y="13"/>
                </a:lnTo>
                <a:lnTo>
                  <a:pt x="27" y="17"/>
                </a:lnTo>
                <a:lnTo>
                  <a:pt x="22" y="22"/>
                </a:lnTo>
                <a:lnTo>
                  <a:pt x="17" y="27"/>
                </a:lnTo>
                <a:lnTo>
                  <a:pt x="13" y="32"/>
                </a:lnTo>
                <a:lnTo>
                  <a:pt x="9" y="39"/>
                </a:lnTo>
                <a:lnTo>
                  <a:pt x="6" y="45"/>
                </a:lnTo>
                <a:lnTo>
                  <a:pt x="4" y="52"/>
                </a:lnTo>
                <a:lnTo>
                  <a:pt x="2" y="60"/>
                </a:lnTo>
                <a:lnTo>
                  <a:pt x="1" y="67"/>
                </a:lnTo>
                <a:lnTo>
                  <a:pt x="0" y="75"/>
                </a:lnTo>
                <a:lnTo>
                  <a:pt x="0" y="111"/>
                </a:lnTo>
                <a:lnTo>
                  <a:pt x="0" y="111"/>
                </a:lnTo>
                <a:lnTo>
                  <a:pt x="1" y="119"/>
                </a:lnTo>
                <a:lnTo>
                  <a:pt x="2" y="126"/>
                </a:lnTo>
                <a:lnTo>
                  <a:pt x="4" y="133"/>
                </a:lnTo>
                <a:lnTo>
                  <a:pt x="6" y="140"/>
                </a:lnTo>
                <a:lnTo>
                  <a:pt x="9" y="147"/>
                </a:lnTo>
                <a:lnTo>
                  <a:pt x="13" y="153"/>
                </a:lnTo>
                <a:lnTo>
                  <a:pt x="17" y="159"/>
                </a:lnTo>
                <a:lnTo>
                  <a:pt x="22" y="164"/>
                </a:lnTo>
                <a:lnTo>
                  <a:pt x="27" y="169"/>
                </a:lnTo>
                <a:lnTo>
                  <a:pt x="33" y="173"/>
                </a:lnTo>
                <a:lnTo>
                  <a:pt x="39" y="177"/>
                </a:lnTo>
                <a:lnTo>
                  <a:pt x="45" y="180"/>
                </a:lnTo>
                <a:lnTo>
                  <a:pt x="52" y="183"/>
                </a:lnTo>
                <a:lnTo>
                  <a:pt x="59" y="184"/>
                </a:lnTo>
                <a:lnTo>
                  <a:pt x="66" y="185"/>
                </a:lnTo>
                <a:lnTo>
                  <a:pt x="74" y="186"/>
                </a:lnTo>
                <a:lnTo>
                  <a:pt x="243" y="186"/>
                </a:lnTo>
                <a:lnTo>
                  <a:pt x="243" y="186"/>
                </a:lnTo>
                <a:lnTo>
                  <a:pt x="250" y="185"/>
                </a:lnTo>
                <a:lnTo>
                  <a:pt x="257" y="184"/>
                </a:lnTo>
                <a:lnTo>
                  <a:pt x="265" y="183"/>
                </a:lnTo>
                <a:lnTo>
                  <a:pt x="272" y="180"/>
                </a:lnTo>
                <a:lnTo>
                  <a:pt x="279" y="177"/>
                </a:lnTo>
                <a:lnTo>
                  <a:pt x="285" y="173"/>
                </a:lnTo>
                <a:lnTo>
                  <a:pt x="290" y="169"/>
                </a:lnTo>
                <a:lnTo>
                  <a:pt x="296" y="164"/>
                </a:lnTo>
                <a:lnTo>
                  <a:pt x="300" y="159"/>
                </a:lnTo>
                <a:lnTo>
                  <a:pt x="305" y="153"/>
                </a:lnTo>
                <a:lnTo>
                  <a:pt x="308" y="147"/>
                </a:lnTo>
                <a:lnTo>
                  <a:pt x="311" y="140"/>
                </a:lnTo>
                <a:lnTo>
                  <a:pt x="314" y="133"/>
                </a:lnTo>
                <a:lnTo>
                  <a:pt x="316" y="126"/>
                </a:lnTo>
                <a:lnTo>
                  <a:pt x="317"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5" name="Freeform 2167"/>
          <p:cNvSpPr>
            <a:spLocks/>
          </p:cNvSpPr>
          <p:nvPr/>
        </p:nvSpPr>
        <p:spPr bwMode="auto">
          <a:xfrm>
            <a:off x="2206626" y="4797362"/>
            <a:ext cx="84138" cy="49212"/>
          </a:xfrm>
          <a:custGeom>
            <a:avLst/>
            <a:gdLst>
              <a:gd name="T0" fmla="*/ 318 w 318"/>
              <a:gd name="T1" fmla="*/ 75 h 186"/>
              <a:gd name="T2" fmla="*/ 316 w 318"/>
              <a:gd name="T3" fmla="*/ 60 h 186"/>
              <a:gd name="T4" fmla="*/ 312 w 318"/>
              <a:gd name="T5" fmla="*/ 45 h 186"/>
              <a:gd name="T6" fmla="*/ 305 w 318"/>
              <a:gd name="T7" fmla="*/ 32 h 186"/>
              <a:gd name="T8" fmla="*/ 295 w 318"/>
              <a:gd name="T9" fmla="*/ 22 h 186"/>
              <a:gd name="T10" fmla="*/ 284 w 318"/>
              <a:gd name="T11" fmla="*/ 13 h 186"/>
              <a:gd name="T12" fmla="*/ 272 w 318"/>
              <a:gd name="T13" fmla="*/ 6 h 186"/>
              <a:gd name="T14" fmla="*/ 258 w 318"/>
              <a:gd name="T15" fmla="*/ 2 h 186"/>
              <a:gd name="T16" fmla="*/ 243 w 318"/>
              <a:gd name="T17" fmla="*/ 0 h 186"/>
              <a:gd name="T18" fmla="*/ 74 w 318"/>
              <a:gd name="T19" fmla="*/ 0 h 186"/>
              <a:gd name="T20" fmla="*/ 60 w 318"/>
              <a:gd name="T21" fmla="*/ 2 h 186"/>
              <a:gd name="T22" fmla="*/ 46 w 318"/>
              <a:gd name="T23" fmla="*/ 6 h 186"/>
              <a:gd name="T24" fmla="*/ 33 w 318"/>
              <a:gd name="T25" fmla="*/ 13 h 186"/>
              <a:gd name="T26" fmla="*/ 21 w 318"/>
              <a:gd name="T27" fmla="*/ 22 h 186"/>
              <a:gd name="T28" fmla="*/ 12 w 318"/>
              <a:gd name="T29" fmla="*/ 32 h 186"/>
              <a:gd name="T30" fmla="*/ 6 w 318"/>
              <a:gd name="T31" fmla="*/ 45 h 186"/>
              <a:gd name="T32" fmla="*/ 1 w 318"/>
              <a:gd name="T33" fmla="*/ 60 h 186"/>
              <a:gd name="T34" fmla="*/ 0 w 318"/>
              <a:gd name="T35" fmla="*/ 75 h 186"/>
              <a:gd name="T36" fmla="*/ 0 w 318"/>
              <a:gd name="T37" fmla="*/ 111 h 186"/>
              <a:gd name="T38" fmla="*/ 1 w 318"/>
              <a:gd name="T39" fmla="*/ 126 h 186"/>
              <a:gd name="T40" fmla="*/ 6 w 318"/>
              <a:gd name="T41" fmla="*/ 140 h 186"/>
              <a:gd name="T42" fmla="*/ 12 w 318"/>
              <a:gd name="T43" fmla="*/ 153 h 186"/>
              <a:gd name="T44" fmla="*/ 21 w 318"/>
              <a:gd name="T45" fmla="*/ 164 h 186"/>
              <a:gd name="T46" fmla="*/ 33 w 318"/>
              <a:gd name="T47" fmla="*/ 173 h 186"/>
              <a:gd name="T48" fmla="*/ 46 w 318"/>
              <a:gd name="T49" fmla="*/ 180 h 186"/>
              <a:gd name="T50" fmla="*/ 60 w 318"/>
              <a:gd name="T51" fmla="*/ 184 h 186"/>
              <a:gd name="T52" fmla="*/ 74 w 318"/>
              <a:gd name="T53" fmla="*/ 186 h 186"/>
              <a:gd name="T54" fmla="*/ 243 w 318"/>
              <a:gd name="T55" fmla="*/ 186 h 186"/>
              <a:gd name="T56" fmla="*/ 258 w 318"/>
              <a:gd name="T57" fmla="*/ 184 h 186"/>
              <a:gd name="T58" fmla="*/ 272 w 318"/>
              <a:gd name="T59" fmla="*/ 180 h 186"/>
              <a:gd name="T60" fmla="*/ 284 w 318"/>
              <a:gd name="T61" fmla="*/ 173 h 186"/>
              <a:gd name="T62" fmla="*/ 295 w 318"/>
              <a:gd name="T63" fmla="*/ 164 h 186"/>
              <a:gd name="T64" fmla="*/ 305 w 318"/>
              <a:gd name="T65" fmla="*/ 153 h 186"/>
              <a:gd name="T66" fmla="*/ 312 w 318"/>
              <a:gd name="T67" fmla="*/ 140 h 186"/>
              <a:gd name="T68" fmla="*/ 316 w 318"/>
              <a:gd name="T69" fmla="*/ 126 h 186"/>
              <a:gd name="T70" fmla="*/ 318 w 318"/>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7" y="67"/>
                </a:lnTo>
                <a:lnTo>
                  <a:pt x="316" y="60"/>
                </a:lnTo>
                <a:lnTo>
                  <a:pt x="314" y="52"/>
                </a:lnTo>
                <a:lnTo>
                  <a:pt x="312" y="45"/>
                </a:lnTo>
                <a:lnTo>
                  <a:pt x="309" y="39"/>
                </a:lnTo>
                <a:lnTo>
                  <a:pt x="305" y="32"/>
                </a:lnTo>
                <a:lnTo>
                  <a:pt x="301" y="27"/>
                </a:lnTo>
                <a:lnTo>
                  <a:pt x="295" y="22"/>
                </a:lnTo>
                <a:lnTo>
                  <a:pt x="290" y="17"/>
                </a:lnTo>
                <a:lnTo>
                  <a:pt x="284" y="13"/>
                </a:lnTo>
                <a:lnTo>
                  <a:pt x="278" y="9"/>
                </a:lnTo>
                <a:lnTo>
                  <a:pt x="272" y="6"/>
                </a:lnTo>
                <a:lnTo>
                  <a:pt x="265" y="3"/>
                </a:lnTo>
                <a:lnTo>
                  <a:pt x="258" y="2"/>
                </a:lnTo>
                <a:lnTo>
                  <a:pt x="251" y="0"/>
                </a:lnTo>
                <a:lnTo>
                  <a:pt x="243" y="0"/>
                </a:lnTo>
                <a:lnTo>
                  <a:pt x="74" y="0"/>
                </a:lnTo>
                <a:lnTo>
                  <a:pt x="74" y="0"/>
                </a:lnTo>
                <a:lnTo>
                  <a:pt x="67" y="0"/>
                </a:lnTo>
                <a:lnTo>
                  <a:pt x="60" y="2"/>
                </a:lnTo>
                <a:lnTo>
                  <a:pt x="53" y="3"/>
                </a:lnTo>
                <a:lnTo>
                  <a:pt x="46" y="6"/>
                </a:lnTo>
                <a:lnTo>
                  <a:pt x="39" y="9"/>
                </a:lnTo>
                <a:lnTo>
                  <a:pt x="33" y="13"/>
                </a:lnTo>
                <a:lnTo>
                  <a:pt x="27" y="17"/>
                </a:lnTo>
                <a:lnTo>
                  <a:pt x="21" y="22"/>
                </a:lnTo>
                <a:lnTo>
                  <a:pt x="17" y="27"/>
                </a:lnTo>
                <a:lnTo>
                  <a:pt x="12" y="32"/>
                </a:lnTo>
                <a:lnTo>
                  <a:pt x="9" y="39"/>
                </a:lnTo>
                <a:lnTo>
                  <a:pt x="6" y="45"/>
                </a:lnTo>
                <a:lnTo>
                  <a:pt x="3" y="52"/>
                </a:lnTo>
                <a:lnTo>
                  <a:pt x="1" y="60"/>
                </a:lnTo>
                <a:lnTo>
                  <a:pt x="0" y="67"/>
                </a:lnTo>
                <a:lnTo>
                  <a:pt x="0" y="75"/>
                </a:lnTo>
                <a:lnTo>
                  <a:pt x="0" y="111"/>
                </a:lnTo>
                <a:lnTo>
                  <a:pt x="0" y="111"/>
                </a:lnTo>
                <a:lnTo>
                  <a:pt x="0" y="119"/>
                </a:lnTo>
                <a:lnTo>
                  <a:pt x="1" y="126"/>
                </a:lnTo>
                <a:lnTo>
                  <a:pt x="3" y="133"/>
                </a:lnTo>
                <a:lnTo>
                  <a:pt x="6" y="140"/>
                </a:lnTo>
                <a:lnTo>
                  <a:pt x="9" y="147"/>
                </a:lnTo>
                <a:lnTo>
                  <a:pt x="12" y="153"/>
                </a:lnTo>
                <a:lnTo>
                  <a:pt x="17" y="159"/>
                </a:lnTo>
                <a:lnTo>
                  <a:pt x="21" y="164"/>
                </a:lnTo>
                <a:lnTo>
                  <a:pt x="27" y="169"/>
                </a:lnTo>
                <a:lnTo>
                  <a:pt x="33" y="173"/>
                </a:lnTo>
                <a:lnTo>
                  <a:pt x="39" y="177"/>
                </a:lnTo>
                <a:lnTo>
                  <a:pt x="46" y="180"/>
                </a:lnTo>
                <a:lnTo>
                  <a:pt x="53" y="183"/>
                </a:lnTo>
                <a:lnTo>
                  <a:pt x="60" y="184"/>
                </a:lnTo>
                <a:lnTo>
                  <a:pt x="67" y="185"/>
                </a:lnTo>
                <a:lnTo>
                  <a:pt x="74" y="186"/>
                </a:lnTo>
                <a:lnTo>
                  <a:pt x="243" y="186"/>
                </a:lnTo>
                <a:lnTo>
                  <a:pt x="243" y="186"/>
                </a:lnTo>
                <a:lnTo>
                  <a:pt x="251" y="185"/>
                </a:lnTo>
                <a:lnTo>
                  <a:pt x="258" y="184"/>
                </a:lnTo>
                <a:lnTo>
                  <a:pt x="265" y="183"/>
                </a:lnTo>
                <a:lnTo>
                  <a:pt x="272" y="180"/>
                </a:lnTo>
                <a:lnTo>
                  <a:pt x="278" y="177"/>
                </a:lnTo>
                <a:lnTo>
                  <a:pt x="284" y="173"/>
                </a:lnTo>
                <a:lnTo>
                  <a:pt x="290" y="169"/>
                </a:lnTo>
                <a:lnTo>
                  <a:pt x="295" y="164"/>
                </a:lnTo>
                <a:lnTo>
                  <a:pt x="301" y="159"/>
                </a:lnTo>
                <a:lnTo>
                  <a:pt x="305" y="153"/>
                </a:lnTo>
                <a:lnTo>
                  <a:pt x="309" y="147"/>
                </a:lnTo>
                <a:lnTo>
                  <a:pt x="312" y="140"/>
                </a:lnTo>
                <a:lnTo>
                  <a:pt x="314" y="133"/>
                </a:lnTo>
                <a:lnTo>
                  <a:pt x="316" y="126"/>
                </a:lnTo>
                <a:lnTo>
                  <a:pt x="317" y="119"/>
                </a:lnTo>
                <a:lnTo>
                  <a:pt x="318" y="111"/>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6" name="Freeform 2168"/>
          <p:cNvSpPr>
            <a:spLocks/>
          </p:cNvSpPr>
          <p:nvPr/>
        </p:nvSpPr>
        <p:spPr bwMode="auto">
          <a:xfrm>
            <a:off x="2314576" y="4797362"/>
            <a:ext cx="84138" cy="49212"/>
          </a:xfrm>
          <a:custGeom>
            <a:avLst/>
            <a:gdLst>
              <a:gd name="T0" fmla="*/ 317 w 317"/>
              <a:gd name="T1" fmla="*/ 75 h 186"/>
              <a:gd name="T2" fmla="*/ 316 w 317"/>
              <a:gd name="T3" fmla="*/ 60 h 186"/>
              <a:gd name="T4" fmla="*/ 311 w 317"/>
              <a:gd name="T5" fmla="*/ 45 h 186"/>
              <a:gd name="T6" fmla="*/ 304 w 317"/>
              <a:gd name="T7" fmla="*/ 32 h 186"/>
              <a:gd name="T8" fmla="*/ 296 w 317"/>
              <a:gd name="T9" fmla="*/ 22 h 186"/>
              <a:gd name="T10" fmla="*/ 285 w 317"/>
              <a:gd name="T11" fmla="*/ 13 h 186"/>
              <a:gd name="T12" fmla="*/ 272 w 317"/>
              <a:gd name="T13" fmla="*/ 6 h 186"/>
              <a:gd name="T14" fmla="*/ 258 w 317"/>
              <a:gd name="T15" fmla="*/ 2 h 186"/>
              <a:gd name="T16" fmla="*/ 243 w 317"/>
              <a:gd name="T17" fmla="*/ 0 h 186"/>
              <a:gd name="T18" fmla="*/ 75 w 317"/>
              <a:gd name="T19" fmla="*/ 0 h 186"/>
              <a:gd name="T20" fmla="*/ 59 w 317"/>
              <a:gd name="T21" fmla="*/ 2 h 186"/>
              <a:gd name="T22" fmla="*/ 45 w 317"/>
              <a:gd name="T23" fmla="*/ 6 h 186"/>
              <a:gd name="T24" fmla="*/ 33 w 317"/>
              <a:gd name="T25" fmla="*/ 13 h 186"/>
              <a:gd name="T26" fmla="*/ 22 w 317"/>
              <a:gd name="T27" fmla="*/ 22 h 186"/>
              <a:gd name="T28" fmla="*/ 13 w 317"/>
              <a:gd name="T29" fmla="*/ 32 h 186"/>
              <a:gd name="T30" fmla="*/ 6 w 317"/>
              <a:gd name="T31" fmla="*/ 45 h 186"/>
              <a:gd name="T32" fmla="*/ 2 w 317"/>
              <a:gd name="T33" fmla="*/ 60 h 186"/>
              <a:gd name="T34" fmla="*/ 0 w 317"/>
              <a:gd name="T35" fmla="*/ 75 h 186"/>
              <a:gd name="T36" fmla="*/ 0 w 317"/>
              <a:gd name="T37" fmla="*/ 111 h 186"/>
              <a:gd name="T38" fmla="*/ 2 w 317"/>
              <a:gd name="T39" fmla="*/ 126 h 186"/>
              <a:gd name="T40" fmla="*/ 6 w 317"/>
              <a:gd name="T41" fmla="*/ 140 h 186"/>
              <a:gd name="T42" fmla="*/ 13 w 317"/>
              <a:gd name="T43" fmla="*/ 153 h 186"/>
              <a:gd name="T44" fmla="*/ 22 w 317"/>
              <a:gd name="T45" fmla="*/ 164 h 186"/>
              <a:gd name="T46" fmla="*/ 33 w 317"/>
              <a:gd name="T47" fmla="*/ 173 h 186"/>
              <a:gd name="T48" fmla="*/ 45 w 317"/>
              <a:gd name="T49" fmla="*/ 180 h 186"/>
              <a:gd name="T50" fmla="*/ 59 w 317"/>
              <a:gd name="T51" fmla="*/ 184 h 186"/>
              <a:gd name="T52" fmla="*/ 75 w 317"/>
              <a:gd name="T53" fmla="*/ 186 h 186"/>
              <a:gd name="T54" fmla="*/ 243 w 317"/>
              <a:gd name="T55" fmla="*/ 186 h 186"/>
              <a:gd name="T56" fmla="*/ 258 w 317"/>
              <a:gd name="T57" fmla="*/ 184 h 186"/>
              <a:gd name="T58" fmla="*/ 272 w 317"/>
              <a:gd name="T59" fmla="*/ 180 h 186"/>
              <a:gd name="T60" fmla="*/ 285 w 317"/>
              <a:gd name="T61" fmla="*/ 173 h 186"/>
              <a:gd name="T62" fmla="*/ 296 w 317"/>
              <a:gd name="T63" fmla="*/ 164 h 186"/>
              <a:gd name="T64" fmla="*/ 304 w 317"/>
              <a:gd name="T65" fmla="*/ 153 h 186"/>
              <a:gd name="T66" fmla="*/ 311 w 317"/>
              <a:gd name="T67" fmla="*/ 140 h 186"/>
              <a:gd name="T68" fmla="*/ 316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2"/>
                </a:lnTo>
                <a:lnTo>
                  <a:pt x="311" y="45"/>
                </a:lnTo>
                <a:lnTo>
                  <a:pt x="308" y="39"/>
                </a:lnTo>
                <a:lnTo>
                  <a:pt x="304" y="32"/>
                </a:lnTo>
                <a:lnTo>
                  <a:pt x="300" y="27"/>
                </a:lnTo>
                <a:lnTo>
                  <a:pt x="296" y="22"/>
                </a:lnTo>
                <a:lnTo>
                  <a:pt x="290" y="17"/>
                </a:lnTo>
                <a:lnTo>
                  <a:pt x="285" y="13"/>
                </a:lnTo>
                <a:lnTo>
                  <a:pt x="279" y="9"/>
                </a:lnTo>
                <a:lnTo>
                  <a:pt x="272" y="6"/>
                </a:lnTo>
                <a:lnTo>
                  <a:pt x="265" y="3"/>
                </a:lnTo>
                <a:lnTo>
                  <a:pt x="258" y="2"/>
                </a:lnTo>
                <a:lnTo>
                  <a:pt x="251" y="0"/>
                </a:lnTo>
                <a:lnTo>
                  <a:pt x="243" y="0"/>
                </a:lnTo>
                <a:lnTo>
                  <a:pt x="75" y="0"/>
                </a:lnTo>
                <a:lnTo>
                  <a:pt x="75" y="0"/>
                </a:lnTo>
                <a:lnTo>
                  <a:pt x="66" y="0"/>
                </a:lnTo>
                <a:lnTo>
                  <a:pt x="59" y="2"/>
                </a:lnTo>
                <a:lnTo>
                  <a:pt x="52" y="3"/>
                </a:lnTo>
                <a:lnTo>
                  <a:pt x="45" y="6"/>
                </a:lnTo>
                <a:lnTo>
                  <a:pt x="39" y="9"/>
                </a:lnTo>
                <a:lnTo>
                  <a:pt x="33" y="13"/>
                </a:lnTo>
                <a:lnTo>
                  <a:pt x="27" y="17"/>
                </a:lnTo>
                <a:lnTo>
                  <a:pt x="22" y="22"/>
                </a:lnTo>
                <a:lnTo>
                  <a:pt x="17" y="27"/>
                </a:lnTo>
                <a:lnTo>
                  <a:pt x="13" y="32"/>
                </a:lnTo>
                <a:lnTo>
                  <a:pt x="9" y="39"/>
                </a:lnTo>
                <a:lnTo>
                  <a:pt x="6" y="45"/>
                </a:lnTo>
                <a:lnTo>
                  <a:pt x="4" y="52"/>
                </a:lnTo>
                <a:lnTo>
                  <a:pt x="2" y="60"/>
                </a:lnTo>
                <a:lnTo>
                  <a:pt x="1" y="67"/>
                </a:lnTo>
                <a:lnTo>
                  <a:pt x="0" y="75"/>
                </a:lnTo>
                <a:lnTo>
                  <a:pt x="0" y="111"/>
                </a:lnTo>
                <a:lnTo>
                  <a:pt x="0" y="111"/>
                </a:lnTo>
                <a:lnTo>
                  <a:pt x="1" y="119"/>
                </a:lnTo>
                <a:lnTo>
                  <a:pt x="2" y="126"/>
                </a:lnTo>
                <a:lnTo>
                  <a:pt x="4" y="133"/>
                </a:lnTo>
                <a:lnTo>
                  <a:pt x="6" y="140"/>
                </a:lnTo>
                <a:lnTo>
                  <a:pt x="9" y="147"/>
                </a:lnTo>
                <a:lnTo>
                  <a:pt x="13" y="153"/>
                </a:lnTo>
                <a:lnTo>
                  <a:pt x="17" y="159"/>
                </a:lnTo>
                <a:lnTo>
                  <a:pt x="22" y="164"/>
                </a:lnTo>
                <a:lnTo>
                  <a:pt x="27" y="169"/>
                </a:lnTo>
                <a:lnTo>
                  <a:pt x="33" y="173"/>
                </a:lnTo>
                <a:lnTo>
                  <a:pt x="39" y="177"/>
                </a:lnTo>
                <a:lnTo>
                  <a:pt x="45" y="180"/>
                </a:lnTo>
                <a:lnTo>
                  <a:pt x="52" y="183"/>
                </a:lnTo>
                <a:lnTo>
                  <a:pt x="59" y="184"/>
                </a:lnTo>
                <a:lnTo>
                  <a:pt x="66" y="185"/>
                </a:lnTo>
                <a:lnTo>
                  <a:pt x="75" y="186"/>
                </a:lnTo>
                <a:lnTo>
                  <a:pt x="243" y="186"/>
                </a:lnTo>
                <a:lnTo>
                  <a:pt x="243" y="186"/>
                </a:lnTo>
                <a:lnTo>
                  <a:pt x="251" y="185"/>
                </a:lnTo>
                <a:lnTo>
                  <a:pt x="258" y="184"/>
                </a:lnTo>
                <a:lnTo>
                  <a:pt x="265" y="183"/>
                </a:lnTo>
                <a:lnTo>
                  <a:pt x="272" y="180"/>
                </a:lnTo>
                <a:lnTo>
                  <a:pt x="279" y="177"/>
                </a:lnTo>
                <a:lnTo>
                  <a:pt x="285" y="173"/>
                </a:lnTo>
                <a:lnTo>
                  <a:pt x="290" y="169"/>
                </a:lnTo>
                <a:lnTo>
                  <a:pt x="296" y="164"/>
                </a:lnTo>
                <a:lnTo>
                  <a:pt x="300" y="159"/>
                </a:lnTo>
                <a:lnTo>
                  <a:pt x="304" y="153"/>
                </a:lnTo>
                <a:lnTo>
                  <a:pt x="308" y="147"/>
                </a:lnTo>
                <a:lnTo>
                  <a:pt x="311" y="140"/>
                </a:lnTo>
                <a:lnTo>
                  <a:pt x="314" y="133"/>
                </a:lnTo>
                <a:lnTo>
                  <a:pt x="316" y="126"/>
                </a:lnTo>
                <a:lnTo>
                  <a:pt x="317"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7" name="Freeform 2169"/>
          <p:cNvSpPr>
            <a:spLocks/>
          </p:cNvSpPr>
          <p:nvPr/>
        </p:nvSpPr>
        <p:spPr bwMode="auto">
          <a:xfrm>
            <a:off x="2420939" y="4797362"/>
            <a:ext cx="84138" cy="49212"/>
          </a:xfrm>
          <a:custGeom>
            <a:avLst/>
            <a:gdLst>
              <a:gd name="T0" fmla="*/ 317 w 317"/>
              <a:gd name="T1" fmla="*/ 75 h 186"/>
              <a:gd name="T2" fmla="*/ 316 w 317"/>
              <a:gd name="T3" fmla="*/ 60 h 186"/>
              <a:gd name="T4" fmla="*/ 312 w 317"/>
              <a:gd name="T5" fmla="*/ 45 h 186"/>
              <a:gd name="T6" fmla="*/ 305 w 317"/>
              <a:gd name="T7" fmla="*/ 32 h 186"/>
              <a:gd name="T8" fmla="*/ 296 w 317"/>
              <a:gd name="T9" fmla="*/ 22 h 186"/>
              <a:gd name="T10" fmla="*/ 285 w 317"/>
              <a:gd name="T11" fmla="*/ 13 h 186"/>
              <a:gd name="T12" fmla="*/ 272 w 317"/>
              <a:gd name="T13" fmla="*/ 6 h 186"/>
              <a:gd name="T14" fmla="*/ 258 w 317"/>
              <a:gd name="T15" fmla="*/ 2 h 186"/>
              <a:gd name="T16" fmla="*/ 243 w 317"/>
              <a:gd name="T17" fmla="*/ 0 h 186"/>
              <a:gd name="T18" fmla="*/ 74 w 317"/>
              <a:gd name="T19" fmla="*/ 0 h 186"/>
              <a:gd name="T20" fmla="*/ 60 w 317"/>
              <a:gd name="T21" fmla="*/ 2 h 186"/>
              <a:gd name="T22" fmla="*/ 46 w 317"/>
              <a:gd name="T23" fmla="*/ 6 h 186"/>
              <a:gd name="T24" fmla="*/ 33 w 317"/>
              <a:gd name="T25" fmla="*/ 13 h 186"/>
              <a:gd name="T26" fmla="*/ 22 w 317"/>
              <a:gd name="T27" fmla="*/ 22 h 186"/>
              <a:gd name="T28" fmla="*/ 12 w 317"/>
              <a:gd name="T29" fmla="*/ 32 h 186"/>
              <a:gd name="T30" fmla="*/ 6 w 317"/>
              <a:gd name="T31" fmla="*/ 45 h 186"/>
              <a:gd name="T32" fmla="*/ 1 w 317"/>
              <a:gd name="T33" fmla="*/ 60 h 186"/>
              <a:gd name="T34" fmla="*/ 0 w 317"/>
              <a:gd name="T35" fmla="*/ 75 h 186"/>
              <a:gd name="T36" fmla="*/ 0 w 317"/>
              <a:gd name="T37" fmla="*/ 111 h 186"/>
              <a:gd name="T38" fmla="*/ 1 w 317"/>
              <a:gd name="T39" fmla="*/ 126 h 186"/>
              <a:gd name="T40" fmla="*/ 6 w 317"/>
              <a:gd name="T41" fmla="*/ 140 h 186"/>
              <a:gd name="T42" fmla="*/ 12 w 317"/>
              <a:gd name="T43" fmla="*/ 153 h 186"/>
              <a:gd name="T44" fmla="*/ 22 w 317"/>
              <a:gd name="T45" fmla="*/ 164 h 186"/>
              <a:gd name="T46" fmla="*/ 33 w 317"/>
              <a:gd name="T47" fmla="*/ 173 h 186"/>
              <a:gd name="T48" fmla="*/ 46 w 317"/>
              <a:gd name="T49" fmla="*/ 180 h 186"/>
              <a:gd name="T50" fmla="*/ 60 w 317"/>
              <a:gd name="T51" fmla="*/ 184 h 186"/>
              <a:gd name="T52" fmla="*/ 74 w 317"/>
              <a:gd name="T53" fmla="*/ 186 h 186"/>
              <a:gd name="T54" fmla="*/ 243 w 317"/>
              <a:gd name="T55" fmla="*/ 186 h 186"/>
              <a:gd name="T56" fmla="*/ 258 w 317"/>
              <a:gd name="T57" fmla="*/ 184 h 186"/>
              <a:gd name="T58" fmla="*/ 272 w 317"/>
              <a:gd name="T59" fmla="*/ 180 h 186"/>
              <a:gd name="T60" fmla="*/ 285 w 317"/>
              <a:gd name="T61" fmla="*/ 173 h 186"/>
              <a:gd name="T62" fmla="*/ 296 w 317"/>
              <a:gd name="T63" fmla="*/ 164 h 186"/>
              <a:gd name="T64" fmla="*/ 305 w 317"/>
              <a:gd name="T65" fmla="*/ 153 h 186"/>
              <a:gd name="T66" fmla="*/ 312 w 317"/>
              <a:gd name="T67" fmla="*/ 140 h 186"/>
              <a:gd name="T68" fmla="*/ 316 w 317"/>
              <a:gd name="T69" fmla="*/ 126 h 186"/>
              <a:gd name="T70" fmla="*/ 317 w 317"/>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2"/>
                </a:lnTo>
                <a:lnTo>
                  <a:pt x="312" y="45"/>
                </a:lnTo>
                <a:lnTo>
                  <a:pt x="309" y="39"/>
                </a:lnTo>
                <a:lnTo>
                  <a:pt x="305" y="32"/>
                </a:lnTo>
                <a:lnTo>
                  <a:pt x="301" y="27"/>
                </a:lnTo>
                <a:lnTo>
                  <a:pt x="296" y="22"/>
                </a:lnTo>
                <a:lnTo>
                  <a:pt x="291" y="17"/>
                </a:lnTo>
                <a:lnTo>
                  <a:pt x="285" y="13"/>
                </a:lnTo>
                <a:lnTo>
                  <a:pt x="278" y="9"/>
                </a:lnTo>
                <a:lnTo>
                  <a:pt x="272" y="6"/>
                </a:lnTo>
                <a:lnTo>
                  <a:pt x="265" y="3"/>
                </a:lnTo>
                <a:lnTo>
                  <a:pt x="258" y="2"/>
                </a:lnTo>
                <a:lnTo>
                  <a:pt x="250" y="0"/>
                </a:lnTo>
                <a:lnTo>
                  <a:pt x="243" y="0"/>
                </a:lnTo>
                <a:lnTo>
                  <a:pt x="74" y="0"/>
                </a:lnTo>
                <a:lnTo>
                  <a:pt x="74" y="0"/>
                </a:lnTo>
                <a:lnTo>
                  <a:pt x="67" y="0"/>
                </a:lnTo>
                <a:lnTo>
                  <a:pt x="60" y="2"/>
                </a:lnTo>
                <a:lnTo>
                  <a:pt x="52" y="3"/>
                </a:lnTo>
                <a:lnTo>
                  <a:pt x="46" y="6"/>
                </a:lnTo>
                <a:lnTo>
                  <a:pt x="39" y="9"/>
                </a:lnTo>
                <a:lnTo>
                  <a:pt x="33" y="13"/>
                </a:lnTo>
                <a:lnTo>
                  <a:pt x="28" y="17"/>
                </a:lnTo>
                <a:lnTo>
                  <a:pt x="22" y="22"/>
                </a:lnTo>
                <a:lnTo>
                  <a:pt x="18" y="27"/>
                </a:lnTo>
                <a:lnTo>
                  <a:pt x="12" y="32"/>
                </a:lnTo>
                <a:lnTo>
                  <a:pt x="9" y="39"/>
                </a:lnTo>
                <a:lnTo>
                  <a:pt x="6" y="45"/>
                </a:lnTo>
                <a:lnTo>
                  <a:pt x="3" y="52"/>
                </a:lnTo>
                <a:lnTo>
                  <a:pt x="1" y="60"/>
                </a:lnTo>
                <a:lnTo>
                  <a:pt x="0" y="67"/>
                </a:lnTo>
                <a:lnTo>
                  <a:pt x="0" y="75"/>
                </a:lnTo>
                <a:lnTo>
                  <a:pt x="0" y="111"/>
                </a:lnTo>
                <a:lnTo>
                  <a:pt x="0" y="111"/>
                </a:lnTo>
                <a:lnTo>
                  <a:pt x="0" y="119"/>
                </a:lnTo>
                <a:lnTo>
                  <a:pt x="1" y="126"/>
                </a:lnTo>
                <a:lnTo>
                  <a:pt x="3" y="133"/>
                </a:lnTo>
                <a:lnTo>
                  <a:pt x="6" y="140"/>
                </a:lnTo>
                <a:lnTo>
                  <a:pt x="9" y="147"/>
                </a:lnTo>
                <a:lnTo>
                  <a:pt x="12" y="153"/>
                </a:lnTo>
                <a:lnTo>
                  <a:pt x="18" y="159"/>
                </a:lnTo>
                <a:lnTo>
                  <a:pt x="22" y="164"/>
                </a:lnTo>
                <a:lnTo>
                  <a:pt x="28" y="169"/>
                </a:lnTo>
                <a:lnTo>
                  <a:pt x="33" y="173"/>
                </a:lnTo>
                <a:lnTo>
                  <a:pt x="39" y="177"/>
                </a:lnTo>
                <a:lnTo>
                  <a:pt x="46" y="180"/>
                </a:lnTo>
                <a:lnTo>
                  <a:pt x="52" y="183"/>
                </a:lnTo>
                <a:lnTo>
                  <a:pt x="60" y="184"/>
                </a:lnTo>
                <a:lnTo>
                  <a:pt x="67" y="185"/>
                </a:lnTo>
                <a:lnTo>
                  <a:pt x="74" y="186"/>
                </a:lnTo>
                <a:lnTo>
                  <a:pt x="243" y="186"/>
                </a:lnTo>
                <a:lnTo>
                  <a:pt x="243" y="186"/>
                </a:lnTo>
                <a:lnTo>
                  <a:pt x="250" y="185"/>
                </a:lnTo>
                <a:lnTo>
                  <a:pt x="258" y="184"/>
                </a:lnTo>
                <a:lnTo>
                  <a:pt x="265" y="183"/>
                </a:lnTo>
                <a:lnTo>
                  <a:pt x="272" y="180"/>
                </a:lnTo>
                <a:lnTo>
                  <a:pt x="278" y="177"/>
                </a:lnTo>
                <a:lnTo>
                  <a:pt x="285" y="173"/>
                </a:lnTo>
                <a:lnTo>
                  <a:pt x="291" y="169"/>
                </a:lnTo>
                <a:lnTo>
                  <a:pt x="296" y="164"/>
                </a:lnTo>
                <a:lnTo>
                  <a:pt x="301" y="159"/>
                </a:lnTo>
                <a:lnTo>
                  <a:pt x="305" y="153"/>
                </a:lnTo>
                <a:lnTo>
                  <a:pt x="309" y="147"/>
                </a:lnTo>
                <a:lnTo>
                  <a:pt x="312" y="140"/>
                </a:lnTo>
                <a:lnTo>
                  <a:pt x="314" y="133"/>
                </a:lnTo>
                <a:lnTo>
                  <a:pt x="316" y="126"/>
                </a:lnTo>
                <a:lnTo>
                  <a:pt x="317" y="119"/>
                </a:lnTo>
                <a:lnTo>
                  <a:pt x="317" y="111"/>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8" name="Freeform 2170"/>
          <p:cNvSpPr>
            <a:spLocks/>
          </p:cNvSpPr>
          <p:nvPr/>
        </p:nvSpPr>
        <p:spPr bwMode="auto">
          <a:xfrm>
            <a:off x="2528889" y="4797362"/>
            <a:ext cx="84138" cy="49212"/>
          </a:xfrm>
          <a:custGeom>
            <a:avLst/>
            <a:gdLst>
              <a:gd name="T0" fmla="*/ 318 w 318"/>
              <a:gd name="T1" fmla="*/ 75 h 186"/>
              <a:gd name="T2" fmla="*/ 316 w 318"/>
              <a:gd name="T3" fmla="*/ 60 h 186"/>
              <a:gd name="T4" fmla="*/ 311 w 318"/>
              <a:gd name="T5" fmla="*/ 45 h 186"/>
              <a:gd name="T6" fmla="*/ 304 w 318"/>
              <a:gd name="T7" fmla="*/ 32 h 186"/>
              <a:gd name="T8" fmla="*/ 295 w 318"/>
              <a:gd name="T9" fmla="*/ 22 h 186"/>
              <a:gd name="T10" fmla="*/ 285 w 318"/>
              <a:gd name="T11" fmla="*/ 13 h 186"/>
              <a:gd name="T12" fmla="*/ 272 w 318"/>
              <a:gd name="T13" fmla="*/ 6 h 186"/>
              <a:gd name="T14" fmla="*/ 258 w 318"/>
              <a:gd name="T15" fmla="*/ 2 h 186"/>
              <a:gd name="T16" fmla="*/ 243 w 318"/>
              <a:gd name="T17" fmla="*/ 0 h 186"/>
              <a:gd name="T18" fmla="*/ 75 w 318"/>
              <a:gd name="T19" fmla="*/ 0 h 186"/>
              <a:gd name="T20" fmla="*/ 60 w 318"/>
              <a:gd name="T21" fmla="*/ 2 h 186"/>
              <a:gd name="T22" fmla="*/ 45 w 318"/>
              <a:gd name="T23" fmla="*/ 6 h 186"/>
              <a:gd name="T24" fmla="*/ 33 w 318"/>
              <a:gd name="T25" fmla="*/ 13 h 186"/>
              <a:gd name="T26" fmla="*/ 22 w 318"/>
              <a:gd name="T27" fmla="*/ 22 h 186"/>
              <a:gd name="T28" fmla="*/ 13 w 318"/>
              <a:gd name="T29" fmla="*/ 32 h 186"/>
              <a:gd name="T30" fmla="*/ 6 w 318"/>
              <a:gd name="T31" fmla="*/ 45 h 186"/>
              <a:gd name="T32" fmla="*/ 2 w 318"/>
              <a:gd name="T33" fmla="*/ 60 h 186"/>
              <a:gd name="T34" fmla="*/ 0 w 318"/>
              <a:gd name="T35" fmla="*/ 75 h 186"/>
              <a:gd name="T36" fmla="*/ 0 w 318"/>
              <a:gd name="T37" fmla="*/ 111 h 186"/>
              <a:gd name="T38" fmla="*/ 2 w 318"/>
              <a:gd name="T39" fmla="*/ 126 h 186"/>
              <a:gd name="T40" fmla="*/ 6 w 318"/>
              <a:gd name="T41" fmla="*/ 140 h 186"/>
              <a:gd name="T42" fmla="*/ 13 w 318"/>
              <a:gd name="T43" fmla="*/ 153 h 186"/>
              <a:gd name="T44" fmla="*/ 22 w 318"/>
              <a:gd name="T45" fmla="*/ 164 h 186"/>
              <a:gd name="T46" fmla="*/ 33 w 318"/>
              <a:gd name="T47" fmla="*/ 173 h 186"/>
              <a:gd name="T48" fmla="*/ 45 w 318"/>
              <a:gd name="T49" fmla="*/ 180 h 186"/>
              <a:gd name="T50" fmla="*/ 60 w 318"/>
              <a:gd name="T51" fmla="*/ 184 h 186"/>
              <a:gd name="T52" fmla="*/ 75 w 318"/>
              <a:gd name="T53" fmla="*/ 186 h 186"/>
              <a:gd name="T54" fmla="*/ 243 w 318"/>
              <a:gd name="T55" fmla="*/ 186 h 186"/>
              <a:gd name="T56" fmla="*/ 258 w 318"/>
              <a:gd name="T57" fmla="*/ 184 h 186"/>
              <a:gd name="T58" fmla="*/ 272 w 318"/>
              <a:gd name="T59" fmla="*/ 180 h 186"/>
              <a:gd name="T60" fmla="*/ 285 w 318"/>
              <a:gd name="T61" fmla="*/ 173 h 186"/>
              <a:gd name="T62" fmla="*/ 295 w 318"/>
              <a:gd name="T63" fmla="*/ 164 h 186"/>
              <a:gd name="T64" fmla="*/ 304 w 318"/>
              <a:gd name="T65" fmla="*/ 153 h 186"/>
              <a:gd name="T66" fmla="*/ 311 w 318"/>
              <a:gd name="T67" fmla="*/ 140 h 186"/>
              <a:gd name="T68" fmla="*/ 316 w 318"/>
              <a:gd name="T69" fmla="*/ 126 h 186"/>
              <a:gd name="T70" fmla="*/ 318 w 318"/>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8" y="67"/>
                </a:lnTo>
                <a:lnTo>
                  <a:pt x="316" y="60"/>
                </a:lnTo>
                <a:lnTo>
                  <a:pt x="314" y="52"/>
                </a:lnTo>
                <a:lnTo>
                  <a:pt x="311" y="45"/>
                </a:lnTo>
                <a:lnTo>
                  <a:pt x="308" y="39"/>
                </a:lnTo>
                <a:lnTo>
                  <a:pt x="304" y="32"/>
                </a:lnTo>
                <a:lnTo>
                  <a:pt x="300" y="27"/>
                </a:lnTo>
                <a:lnTo>
                  <a:pt x="295" y="22"/>
                </a:lnTo>
                <a:lnTo>
                  <a:pt x="290" y="17"/>
                </a:lnTo>
                <a:lnTo>
                  <a:pt x="285" y="13"/>
                </a:lnTo>
                <a:lnTo>
                  <a:pt x="278" y="9"/>
                </a:lnTo>
                <a:lnTo>
                  <a:pt x="272" y="6"/>
                </a:lnTo>
                <a:lnTo>
                  <a:pt x="265" y="3"/>
                </a:lnTo>
                <a:lnTo>
                  <a:pt x="258" y="2"/>
                </a:lnTo>
                <a:lnTo>
                  <a:pt x="251" y="0"/>
                </a:lnTo>
                <a:lnTo>
                  <a:pt x="243" y="0"/>
                </a:lnTo>
                <a:lnTo>
                  <a:pt x="75" y="0"/>
                </a:lnTo>
                <a:lnTo>
                  <a:pt x="75" y="0"/>
                </a:lnTo>
                <a:lnTo>
                  <a:pt x="67" y="0"/>
                </a:lnTo>
                <a:lnTo>
                  <a:pt x="60" y="2"/>
                </a:lnTo>
                <a:lnTo>
                  <a:pt x="53" y="3"/>
                </a:lnTo>
                <a:lnTo>
                  <a:pt x="45" y="6"/>
                </a:lnTo>
                <a:lnTo>
                  <a:pt x="39" y="9"/>
                </a:lnTo>
                <a:lnTo>
                  <a:pt x="33" y="13"/>
                </a:lnTo>
                <a:lnTo>
                  <a:pt x="27" y="17"/>
                </a:lnTo>
                <a:lnTo>
                  <a:pt x="22" y="22"/>
                </a:lnTo>
                <a:lnTo>
                  <a:pt x="17" y="27"/>
                </a:lnTo>
                <a:lnTo>
                  <a:pt x="13" y="32"/>
                </a:lnTo>
                <a:lnTo>
                  <a:pt x="9" y="39"/>
                </a:lnTo>
                <a:lnTo>
                  <a:pt x="6" y="45"/>
                </a:lnTo>
                <a:lnTo>
                  <a:pt x="4" y="52"/>
                </a:lnTo>
                <a:lnTo>
                  <a:pt x="2" y="60"/>
                </a:lnTo>
                <a:lnTo>
                  <a:pt x="1" y="67"/>
                </a:lnTo>
                <a:lnTo>
                  <a:pt x="0" y="75"/>
                </a:lnTo>
                <a:lnTo>
                  <a:pt x="0" y="111"/>
                </a:lnTo>
                <a:lnTo>
                  <a:pt x="0" y="111"/>
                </a:lnTo>
                <a:lnTo>
                  <a:pt x="1" y="119"/>
                </a:lnTo>
                <a:lnTo>
                  <a:pt x="2" y="126"/>
                </a:lnTo>
                <a:lnTo>
                  <a:pt x="4" y="133"/>
                </a:lnTo>
                <a:lnTo>
                  <a:pt x="6" y="140"/>
                </a:lnTo>
                <a:lnTo>
                  <a:pt x="9" y="147"/>
                </a:lnTo>
                <a:lnTo>
                  <a:pt x="13" y="153"/>
                </a:lnTo>
                <a:lnTo>
                  <a:pt x="17" y="159"/>
                </a:lnTo>
                <a:lnTo>
                  <a:pt x="22" y="164"/>
                </a:lnTo>
                <a:lnTo>
                  <a:pt x="27" y="169"/>
                </a:lnTo>
                <a:lnTo>
                  <a:pt x="33" y="173"/>
                </a:lnTo>
                <a:lnTo>
                  <a:pt x="39" y="177"/>
                </a:lnTo>
                <a:lnTo>
                  <a:pt x="45" y="180"/>
                </a:lnTo>
                <a:lnTo>
                  <a:pt x="53" y="183"/>
                </a:lnTo>
                <a:lnTo>
                  <a:pt x="60" y="184"/>
                </a:lnTo>
                <a:lnTo>
                  <a:pt x="67" y="185"/>
                </a:lnTo>
                <a:lnTo>
                  <a:pt x="75" y="186"/>
                </a:lnTo>
                <a:lnTo>
                  <a:pt x="243" y="186"/>
                </a:lnTo>
                <a:lnTo>
                  <a:pt x="243" y="186"/>
                </a:lnTo>
                <a:lnTo>
                  <a:pt x="251" y="185"/>
                </a:lnTo>
                <a:lnTo>
                  <a:pt x="258" y="184"/>
                </a:lnTo>
                <a:lnTo>
                  <a:pt x="265" y="183"/>
                </a:lnTo>
                <a:lnTo>
                  <a:pt x="272" y="180"/>
                </a:lnTo>
                <a:lnTo>
                  <a:pt x="278" y="177"/>
                </a:lnTo>
                <a:lnTo>
                  <a:pt x="285" y="173"/>
                </a:lnTo>
                <a:lnTo>
                  <a:pt x="290" y="169"/>
                </a:lnTo>
                <a:lnTo>
                  <a:pt x="295" y="164"/>
                </a:lnTo>
                <a:lnTo>
                  <a:pt x="300" y="159"/>
                </a:lnTo>
                <a:lnTo>
                  <a:pt x="304" y="153"/>
                </a:lnTo>
                <a:lnTo>
                  <a:pt x="308" y="147"/>
                </a:lnTo>
                <a:lnTo>
                  <a:pt x="311" y="140"/>
                </a:lnTo>
                <a:lnTo>
                  <a:pt x="314" y="133"/>
                </a:lnTo>
                <a:lnTo>
                  <a:pt x="316" y="126"/>
                </a:lnTo>
                <a:lnTo>
                  <a:pt x="318" y="119"/>
                </a:lnTo>
                <a:lnTo>
                  <a:pt x="318" y="111"/>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99" name="Freeform 2171"/>
          <p:cNvSpPr>
            <a:spLocks/>
          </p:cNvSpPr>
          <p:nvPr/>
        </p:nvSpPr>
        <p:spPr bwMode="auto">
          <a:xfrm>
            <a:off x="2640014" y="4721162"/>
            <a:ext cx="82550" cy="49212"/>
          </a:xfrm>
          <a:custGeom>
            <a:avLst/>
            <a:gdLst>
              <a:gd name="T0" fmla="*/ 316 w 316"/>
              <a:gd name="T1" fmla="*/ 75 h 186"/>
              <a:gd name="T2" fmla="*/ 315 w 316"/>
              <a:gd name="T3" fmla="*/ 59 h 186"/>
              <a:gd name="T4" fmla="*/ 311 w 316"/>
              <a:gd name="T5" fmla="*/ 45 h 186"/>
              <a:gd name="T6" fmla="*/ 304 w 316"/>
              <a:gd name="T7" fmla="*/ 33 h 186"/>
              <a:gd name="T8" fmla="*/ 295 w 316"/>
              <a:gd name="T9" fmla="*/ 22 h 186"/>
              <a:gd name="T10" fmla="*/ 284 w 316"/>
              <a:gd name="T11" fmla="*/ 13 h 186"/>
              <a:gd name="T12" fmla="*/ 271 w 316"/>
              <a:gd name="T13" fmla="*/ 6 h 186"/>
              <a:gd name="T14" fmla="*/ 258 w 316"/>
              <a:gd name="T15" fmla="*/ 2 h 186"/>
              <a:gd name="T16" fmla="*/ 242 w 316"/>
              <a:gd name="T17" fmla="*/ 0 h 186"/>
              <a:gd name="T18" fmla="*/ 74 w 316"/>
              <a:gd name="T19" fmla="*/ 0 h 186"/>
              <a:gd name="T20" fmla="*/ 58 w 316"/>
              <a:gd name="T21" fmla="*/ 2 h 186"/>
              <a:gd name="T22" fmla="*/ 45 w 316"/>
              <a:gd name="T23" fmla="*/ 6 h 186"/>
              <a:gd name="T24" fmla="*/ 32 w 316"/>
              <a:gd name="T25" fmla="*/ 13 h 186"/>
              <a:gd name="T26" fmla="*/ 21 w 316"/>
              <a:gd name="T27" fmla="*/ 22 h 186"/>
              <a:gd name="T28" fmla="*/ 12 w 316"/>
              <a:gd name="T29" fmla="*/ 33 h 186"/>
              <a:gd name="T30" fmla="*/ 5 w 316"/>
              <a:gd name="T31" fmla="*/ 45 h 186"/>
              <a:gd name="T32" fmla="*/ 1 w 316"/>
              <a:gd name="T33" fmla="*/ 59 h 186"/>
              <a:gd name="T34" fmla="*/ 0 w 316"/>
              <a:gd name="T35" fmla="*/ 75 h 186"/>
              <a:gd name="T36" fmla="*/ 0 w 316"/>
              <a:gd name="T37" fmla="*/ 112 h 186"/>
              <a:gd name="T38" fmla="*/ 1 w 316"/>
              <a:gd name="T39" fmla="*/ 126 h 186"/>
              <a:gd name="T40" fmla="*/ 5 w 316"/>
              <a:gd name="T41" fmla="*/ 140 h 186"/>
              <a:gd name="T42" fmla="*/ 12 w 316"/>
              <a:gd name="T43" fmla="*/ 153 h 186"/>
              <a:gd name="T44" fmla="*/ 21 w 316"/>
              <a:gd name="T45" fmla="*/ 165 h 186"/>
              <a:gd name="T46" fmla="*/ 32 w 316"/>
              <a:gd name="T47" fmla="*/ 174 h 186"/>
              <a:gd name="T48" fmla="*/ 45 w 316"/>
              <a:gd name="T49" fmla="*/ 180 h 186"/>
              <a:gd name="T50" fmla="*/ 58 w 316"/>
              <a:gd name="T51" fmla="*/ 185 h 186"/>
              <a:gd name="T52" fmla="*/ 74 w 316"/>
              <a:gd name="T53" fmla="*/ 186 h 186"/>
              <a:gd name="T54" fmla="*/ 242 w 316"/>
              <a:gd name="T55" fmla="*/ 186 h 186"/>
              <a:gd name="T56" fmla="*/ 258 w 316"/>
              <a:gd name="T57" fmla="*/ 185 h 186"/>
              <a:gd name="T58" fmla="*/ 271 w 316"/>
              <a:gd name="T59" fmla="*/ 180 h 186"/>
              <a:gd name="T60" fmla="*/ 284 w 316"/>
              <a:gd name="T61" fmla="*/ 174 h 186"/>
              <a:gd name="T62" fmla="*/ 295 w 316"/>
              <a:gd name="T63" fmla="*/ 165 h 186"/>
              <a:gd name="T64" fmla="*/ 304 w 316"/>
              <a:gd name="T65" fmla="*/ 153 h 186"/>
              <a:gd name="T66" fmla="*/ 311 w 316"/>
              <a:gd name="T67" fmla="*/ 140 h 186"/>
              <a:gd name="T68" fmla="*/ 315 w 316"/>
              <a:gd name="T69" fmla="*/ 126 h 186"/>
              <a:gd name="T70" fmla="*/ 316 w 316"/>
              <a:gd name="T71" fmla="*/ 1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6" h="186">
                <a:moveTo>
                  <a:pt x="316" y="75"/>
                </a:moveTo>
                <a:lnTo>
                  <a:pt x="316" y="75"/>
                </a:lnTo>
                <a:lnTo>
                  <a:pt x="316" y="66"/>
                </a:lnTo>
                <a:lnTo>
                  <a:pt x="315" y="59"/>
                </a:lnTo>
                <a:lnTo>
                  <a:pt x="313" y="52"/>
                </a:lnTo>
                <a:lnTo>
                  <a:pt x="311" y="45"/>
                </a:lnTo>
                <a:lnTo>
                  <a:pt x="308" y="39"/>
                </a:lnTo>
                <a:lnTo>
                  <a:pt x="304" y="33"/>
                </a:lnTo>
                <a:lnTo>
                  <a:pt x="300" y="27"/>
                </a:lnTo>
                <a:lnTo>
                  <a:pt x="295" y="22"/>
                </a:lnTo>
                <a:lnTo>
                  <a:pt x="290" y="17"/>
                </a:lnTo>
                <a:lnTo>
                  <a:pt x="284" y="13"/>
                </a:lnTo>
                <a:lnTo>
                  <a:pt x="278" y="9"/>
                </a:lnTo>
                <a:lnTo>
                  <a:pt x="271" y="6"/>
                </a:lnTo>
                <a:lnTo>
                  <a:pt x="265" y="4"/>
                </a:lnTo>
                <a:lnTo>
                  <a:pt x="258" y="2"/>
                </a:lnTo>
                <a:lnTo>
                  <a:pt x="249" y="1"/>
                </a:lnTo>
                <a:lnTo>
                  <a:pt x="242" y="0"/>
                </a:lnTo>
                <a:lnTo>
                  <a:pt x="74" y="0"/>
                </a:lnTo>
                <a:lnTo>
                  <a:pt x="74" y="0"/>
                </a:lnTo>
                <a:lnTo>
                  <a:pt x="66" y="1"/>
                </a:lnTo>
                <a:lnTo>
                  <a:pt x="58" y="2"/>
                </a:lnTo>
                <a:lnTo>
                  <a:pt x="51" y="4"/>
                </a:lnTo>
                <a:lnTo>
                  <a:pt x="45" y="6"/>
                </a:lnTo>
                <a:lnTo>
                  <a:pt x="38" y="9"/>
                </a:lnTo>
                <a:lnTo>
                  <a:pt x="32" y="13"/>
                </a:lnTo>
                <a:lnTo>
                  <a:pt x="26" y="17"/>
                </a:lnTo>
                <a:lnTo>
                  <a:pt x="21" y="22"/>
                </a:lnTo>
                <a:lnTo>
                  <a:pt x="16" y="27"/>
                </a:lnTo>
                <a:lnTo>
                  <a:pt x="12" y="33"/>
                </a:lnTo>
                <a:lnTo>
                  <a:pt x="9" y="39"/>
                </a:lnTo>
                <a:lnTo>
                  <a:pt x="5" y="45"/>
                </a:lnTo>
                <a:lnTo>
                  <a:pt x="3" y="52"/>
                </a:lnTo>
                <a:lnTo>
                  <a:pt x="1" y="59"/>
                </a:lnTo>
                <a:lnTo>
                  <a:pt x="0" y="66"/>
                </a:lnTo>
                <a:lnTo>
                  <a:pt x="0" y="75"/>
                </a:lnTo>
                <a:lnTo>
                  <a:pt x="0" y="112"/>
                </a:lnTo>
                <a:lnTo>
                  <a:pt x="0" y="112"/>
                </a:lnTo>
                <a:lnTo>
                  <a:pt x="0" y="119"/>
                </a:lnTo>
                <a:lnTo>
                  <a:pt x="1" y="126"/>
                </a:lnTo>
                <a:lnTo>
                  <a:pt x="3" y="133"/>
                </a:lnTo>
                <a:lnTo>
                  <a:pt x="5" y="140"/>
                </a:lnTo>
                <a:lnTo>
                  <a:pt x="9" y="147"/>
                </a:lnTo>
                <a:lnTo>
                  <a:pt x="12" y="153"/>
                </a:lnTo>
                <a:lnTo>
                  <a:pt x="16" y="158"/>
                </a:lnTo>
                <a:lnTo>
                  <a:pt x="21" y="165"/>
                </a:lnTo>
                <a:lnTo>
                  <a:pt x="26" y="169"/>
                </a:lnTo>
                <a:lnTo>
                  <a:pt x="32" y="174"/>
                </a:lnTo>
                <a:lnTo>
                  <a:pt x="38" y="177"/>
                </a:lnTo>
                <a:lnTo>
                  <a:pt x="45" y="180"/>
                </a:lnTo>
                <a:lnTo>
                  <a:pt x="51" y="183"/>
                </a:lnTo>
                <a:lnTo>
                  <a:pt x="58" y="185"/>
                </a:lnTo>
                <a:lnTo>
                  <a:pt x="66" y="186"/>
                </a:lnTo>
                <a:lnTo>
                  <a:pt x="74" y="186"/>
                </a:lnTo>
                <a:lnTo>
                  <a:pt x="242" y="186"/>
                </a:lnTo>
                <a:lnTo>
                  <a:pt x="242" y="186"/>
                </a:lnTo>
                <a:lnTo>
                  <a:pt x="249" y="186"/>
                </a:lnTo>
                <a:lnTo>
                  <a:pt x="258" y="185"/>
                </a:lnTo>
                <a:lnTo>
                  <a:pt x="265" y="183"/>
                </a:lnTo>
                <a:lnTo>
                  <a:pt x="271" y="180"/>
                </a:lnTo>
                <a:lnTo>
                  <a:pt x="278" y="177"/>
                </a:lnTo>
                <a:lnTo>
                  <a:pt x="284" y="174"/>
                </a:lnTo>
                <a:lnTo>
                  <a:pt x="290" y="169"/>
                </a:lnTo>
                <a:lnTo>
                  <a:pt x="295" y="165"/>
                </a:lnTo>
                <a:lnTo>
                  <a:pt x="300" y="158"/>
                </a:lnTo>
                <a:lnTo>
                  <a:pt x="304" y="153"/>
                </a:lnTo>
                <a:lnTo>
                  <a:pt x="308" y="147"/>
                </a:lnTo>
                <a:lnTo>
                  <a:pt x="311" y="140"/>
                </a:lnTo>
                <a:lnTo>
                  <a:pt x="313" y="133"/>
                </a:lnTo>
                <a:lnTo>
                  <a:pt x="315" y="126"/>
                </a:lnTo>
                <a:lnTo>
                  <a:pt x="316" y="119"/>
                </a:lnTo>
                <a:lnTo>
                  <a:pt x="316" y="112"/>
                </a:lnTo>
                <a:lnTo>
                  <a:pt x="316"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0" name="Freeform 2172"/>
          <p:cNvSpPr>
            <a:spLocks/>
          </p:cNvSpPr>
          <p:nvPr/>
        </p:nvSpPr>
        <p:spPr bwMode="auto">
          <a:xfrm>
            <a:off x="2640014" y="4797362"/>
            <a:ext cx="82550" cy="49212"/>
          </a:xfrm>
          <a:custGeom>
            <a:avLst/>
            <a:gdLst>
              <a:gd name="T0" fmla="*/ 316 w 316"/>
              <a:gd name="T1" fmla="*/ 75 h 186"/>
              <a:gd name="T2" fmla="*/ 315 w 316"/>
              <a:gd name="T3" fmla="*/ 60 h 186"/>
              <a:gd name="T4" fmla="*/ 311 w 316"/>
              <a:gd name="T5" fmla="*/ 45 h 186"/>
              <a:gd name="T6" fmla="*/ 304 w 316"/>
              <a:gd name="T7" fmla="*/ 32 h 186"/>
              <a:gd name="T8" fmla="*/ 295 w 316"/>
              <a:gd name="T9" fmla="*/ 22 h 186"/>
              <a:gd name="T10" fmla="*/ 284 w 316"/>
              <a:gd name="T11" fmla="*/ 13 h 186"/>
              <a:gd name="T12" fmla="*/ 271 w 316"/>
              <a:gd name="T13" fmla="*/ 6 h 186"/>
              <a:gd name="T14" fmla="*/ 258 w 316"/>
              <a:gd name="T15" fmla="*/ 2 h 186"/>
              <a:gd name="T16" fmla="*/ 242 w 316"/>
              <a:gd name="T17" fmla="*/ 0 h 186"/>
              <a:gd name="T18" fmla="*/ 74 w 316"/>
              <a:gd name="T19" fmla="*/ 0 h 186"/>
              <a:gd name="T20" fmla="*/ 58 w 316"/>
              <a:gd name="T21" fmla="*/ 2 h 186"/>
              <a:gd name="T22" fmla="*/ 45 w 316"/>
              <a:gd name="T23" fmla="*/ 6 h 186"/>
              <a:gd name="T24" fmla="*/ 32 w 316"/>
              <a:gd name="T25" fmla="*/ 13 h 186"/>
              <a:gd name="T26" fmla="*/ 21 w 316"/>
              <a:gd name="T27" fmla="*/ 22 h 186"/>
              <a:gd name="T28" fmla="*/ 12 w 316"/>
              <a:gd name="T29" fmla="*/ 32 h 186"/>
              <a:gd name="T30" fmla="*/ 5 w 316"/>
              <a:gd name="T31" fmla="*/ 45 h 186"/>
              <a:gd name="T32" fmla="*/ 1 w 316"/>
              <a:gd name="T33" fmla="*/ 60 h 186"/>
              <a:gd name="T34" fmla="*/ 0 w 316"/>
              <a:gd name="T35" fmla="*/ 75 h 186"/>
              <a:gd name="T36" fmla="*/ 0 w 316"/>
              <a:gd name="T37" fmla="*/ 111 h 186"/>
              <a:gd name="T38" fmla="*/ 1 w 316"/>
              <a:gd name="T39" fmla="*/ 126 h 186"/>
              <a:gd name="T40" fmla="*/ 5 w 316"/>
              <a:gd name="T41" fmla="*/ 140 h 186"/>
              <a:gd name="T42" fmla="*/ 12 w 316"/>
              <a:gd name="T43" fmla="*/ 153 h 186"/>
              <a:gd name="T44" fmla="*/ 21 w 316"/>
              <a:gd name="T45" fmla="*/ 164 h 186"/>
              <a:gd name="T46" fmla="*/ 32 w 316"/>
              <a:gd name="T47" fmla="*/ 173 h 186"/>
              <a:gd name="T48" fmla="*/ 45 w 316"/>
              <a:gd name="T49" fmla="*/ 180 h 186"/>
              <a:gd name="T50" fmla="*/ 58 w 316"/>
              <a:gd name="T51" fmla="*/ 184 h 186"/>
              <a:gd name="T52" fmla="*/ 74 w 316"/>
              <a:gd name="T53" fmla="*/ 186 h 186"/>
              <a:gd name="T54" fmla="*/ 242 w 316"/>
              <a:gd name="T55" fmla="*/ 186 h 186"/>
              <a:gd name="T56" fmla="*/ 258 w 316"/>
              <a:gd name="T57" fmla="*/ 184 h 186"/>
              <a:gd name="T58" fmla="*/ 271 w 316"/>
              <a:gd name="T59" fmla="*/ 180 h 186"/>
              <a:gd name="T60" fmla="*/ 284 w 316"/>
              <a:gd name="T61" fmla="*/ 173 h 186"/>
              <a:gd name="T62" fmla="*/ 295 w 316"/>
              <a:gd name="T63" fmla="*/ 164 h 186"/>
              <a:gd name="T64" fmla="*/ 304 w 316"/>
              <a:gd name="T65" fmla="*/ 153 h 186"/>
              <a:gd name="T66" fmla="*/ 311 w 316"/>
              <a:gd name="T67" fmla="*/ 140 h 186"/>
              <a:gd name="T68" fmla="*/ 315 w 316"/>
              <a:gd name="T69" fmla="*/ 126 h 186"/>
              <a:gd name="T70" fmla="*/ 316 w 316"/>
              <a:gd name="T71"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6" h="186">
                <a:moveTo>
                  <a:pt x="316" y="75"/>
                </a:moveTo>
                <a:lnTo>
                  <a:pt x="316" y="75"/>
                </a:lnTo>
                <a:lnTo>
                  <a:pt x="316" y="67"/>
                </a:lnTo>
                <a:lnTo>
                  <a:pt x="315" y="60"/>
                </a:lnTo>
                <a:lnTo>
                  <a:pt x="313" y="52"/>
                </a:lnTo>
                <a:lnTo>
                  <a:pt x="311" y="45"/>
                </a:lnTo>
                <a:lnTo>
                  <a:pt x="308" y="39"/>
                </a:lnTo>
                <a:lnTo>
                  <a:pt x="304" y="32"/>
                </a:lnTo>
                <a:lnTo>
                  <a:pt x="300" y="27"/>
                </a:lnTo>
                <a:lnTo>
                  <a:pt x="295" y="22"/>
                </a:lnTo>
                <a:lnTo>
                  <a:pt x="290" y="17"/>
                </a:lnTo>
                <a:lnTo>
                  <a:pt x="284" y="13"/>
                </a:lnTo>
                <a:lnTo>
                  <a:pt x="278" y="9"/>
                </a:lnTo>
                <a:lnTo>
                  <a:pt x="271" y="6"/>
                </a:lnTo>
                <a:lnTo>
                  <a:pt x="265" y="3"/>
                </a:lnTo>
                <a:lnTo>
                  <a:pt x="258" y="2"/>
                </a:lnTo>
                <a:lnTo>
                  <a:pt x="249" y="0"/>
                </a:lnTo>
                <a:lnTo>
                  <a:pt x="242" y="0"/>
                </a:lnTo>
                <a:lnTo>
                  <a:pt x="74" y="0"/>
                </a:lnTo>
                <a:lnTo>
                  <a:pt x="74" y="0"/>
                </a:lnTo>
                <a:lnTo>
                  <a:pt x="66" y="0"/>
                </a:lnTo>
                <a:lnTo>
                  <a:pt x="58" y="2"/>
                </a:lnTo>
                <a:lnTo>
                  <a:pt x="51" y="3"/>
                </a:lnTo>
                <a:lnTo>
                  <a:pt x="45" y="6"/>
                </a:lnTo>
                <a:lnTo>
                  <a:pt x="38" y="9"/>
                </a:lnTo>
                <a:lnTo>
                  <a:pt x="32" y="13"/>
                </a:lnTo>
                <a:lnTo>
                  <a:pt x="26" y="17"/>
                </a:lnTo>
                <a:lnTo>
                  <a:pt x="21" y="22"/>
                </a:lnTo>
                <a:lnTo>
                  <a:pt x="16" y="27"/>
                </a:lnTo>
                <a:lnTo>
                  <a:pt x="12" y="32"/>
                </a:lnTo>
                <a:lnTo>
                  <a:pt x="9" y="39"/>
                </a:lnTo>
                <a:lnTo>
                  <a:pt x="5" y="45"/>
                </a:lnTo>
                <a:lnTo>
                  <a:pt x="3" y="52"/>
                </a:lnTo>
                <a:lnTo>
                  <a:pt x="1" y="60"/>
                </a:lnTo>
                <a:lnTo>
                  <a:pt x="0" y="67"/>
                </a:lnTo>
                <a:lnTo>
                  <a:pt x="0" y="75"/>
                </a:lnTo>
                <a:lnTo>
                  <a:pt x="0" y="111"/>
                </a:lnTo>
                <a:lnTo>
                  <a:pt x="0" y="111"/>
                </a:lnTo>
                <a:lnTo>
                  <a:pt x="0" y="119"/>
                </a:lnTo>
                <a:lnTo>
                  <a:pt x="1" y="126"/>
                </a:lnTo>
                <a:lnTo>
                  <a:pt x="3" y="133"/>
                </a:lnTo>
                <a:lnTo>
                  <a:pt x="5" y="140"/>
                </a:lnTo>
                <a:lnTo>
                  <a:pt x="9" y="147"/>
                </a:lnTo>
                <a:lnTo>
                  <a:pt x="12" y="153"/>
                </a:lnTo>
                <a:lnTo>
                  <a:pt x="16" y="159"/>
                </a:lnTo>
                <a:lnTo>
                  <a:pt x="21" y="164"/>
                </a:lnTo>
                <a:lnTo>
                  <a:pt x="26" y="169"/>
                </a:lnTo>
                <a:lnTo>
                  <a:pt x="32" y="173"/>
                </a:lnTo>
                <a:lnTo>
                  <a:pt x="38" y="177"/>
                </a:lnTo>
                <a:lnTo>
                  <a:pt x="45" y="180"/>
                </a:lnTo>
                <a:lnTo>
                  <a:pt x="51" y="183"/>
                </a:lnTo>
                <a:lnTo>
                  <a:pt x="58" y="184"/>
                </a:lnTo>
                <a:lnTo>
                  <a:pt x="66" y="185"/>
                </a:lnTo>
                <a:lnTo>
                  <a:pt x="74" y="186"/>
                </a:lnTo>
                <a:lnTo>
                  <a:pt x="242" y="186"/>
                </a:lnTo>
                <a:lnTo>
                  <a:pt x="242" y="186"/>
                </a:lnTo>
                <a:lnTo>
                  <a:pt x="249" y="185"/>
                </a:lnTo>
                <a:lnTo>
                  <a:pt x="258" y="184"/>
                </a:lnTo>
                <a:lnTo>
                  <a:pt x="265" y="183"/>
                </a:lnTo>
                <a:lnTo>
                  <a:pt x="271" y="180"/>
                </a:lnTo>
                <a:lnTo>
                  <a:pt x="278" y="177"/>
                </a:lnTo>
                <a:lnTo>
                  <a:pt x="284" y="173"/>
                </a:lnTo>
                <a:lnTo>
                  <a:pt x="290" y="169"/>
                </a:lnTo>
                <a:lnTo>
                  <a:pt x="295" y="164"/>
                </a:lnTo>
                <a:lnTo>
                  <a:pt x="300" y="159"/>
                </a:lnTo>
                <a:lnTo>
                  <a:pt x="304" y="153"/>
                </a:lnTo>
                <a:lnTo>
                  <a:pt x="308" y="147"/>
                </a:lnTo>
                <a:lnTo>
                  <a:pt x="311" y="140"/>
                </a:lnTo>
                <a:lnTo>
                  <a:pt x="313" y="133"/>
                </a:lnTo>
                <a:lnTo>
                  <a:pt x="315" y="126"/>
                </a:lnTo>
                <a:lnTo>
                  <a:pt x="316" y="119"/>
                </a:lnTo>
                <a:lnTo>
                  <a:pt x="316" y="111"/>
                </a:lnTo>
                <a:lnTo>
                  <a:pt x="316"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1" name="Freeform 2173"/>
          <p:cNvSpPr>
            <a:spLocks/>
          </p:cNvSpPr>
          <p:nvPr/>
        </p:nvSpPr>
        <p:spPr bwMode="auto">
          <a:xfrm>
            <a:off x="1239839" y="4876737"/>
            <a:ext cx="84138" cy="49212"/>
          </a:xfrm>
          <a:custGeom>
            <a:avLst/>
            <a:gdLst>
              <a:gd name="T0" fmla="*/ 317 w 317"/>
              <a:gd name="T1" fmla="*/ 75 h 186"/>
              <a:gd name="T2" fmla="*/ 315 w 317"/>
              <a:gd name="T3" fmla="*/ 60 h 186"/>
              <a:gd name="T4" fmla="*/ 311 w 317"/>
              <a:gd name="T5" fmla="*/ 46 h 186"/>
              <a:gd name="T6" fmla="*/ 304 w 317"/>
              <a:gd name="T7" fmla="*/ 34 h 186"/>
              <a:gd name="T8" fmla="*/ 295 w 317"/>
              <a:gd name="T9" fmla="*/ 23 h 186"/>
              <a:gd name="T10" fmla="*/ 284 w 317"/>
              <a:gd name="T11" fmla="*/ 13 h 186"/>
              <a:gd name="T12" fmla="*/ 272 w 317"/>
              <a:gd name="T13" fmla="*/ 6 h 186"/>
              <a:gd name="T14" fmla="*/ 258 w 317"/>
              <a:gd name="T15" fmla="*/ 2 h 186"/>
              <a:gd name="T16" fmla="*/ 242 w 317"/>
              <a:gd name="T17" fmla="*/ 0 h 186"/>
              <a:gd name="T18" fmla="*/ 74 w 317"/>
              <a:gd name="T19" fmla="*/ 0 h 186"/>
              <a:gd name="T20" fmla="*/ 59 w 317"/>
              <a:gd name="T21" fmla="*/ 2 h 186"/>
              <a:gd name="T22" fmla="*/ 45 w 317"/>
              <a:gd name="T23" fmla="*/ 6 h 186"/>
              <a:gd name="T24" fmla="*/ 32 w 317"/>
              <a:gd name="T25" fmla="*/ 13 h 186"/>
              <a:gd name="T26" fmla="*/ 21 w 317"/>
              <a:gd name="T27" fmla="*/ 23 h 186"/>
              <a:gd name="T28" fmla="*/ 12 w 317"/>
              <a:gd name="T29" fmla="*/ 34 h 186"/>
              <a:gd name="T30" fmla="*/ 6 w 317"/>
              <a:gd name="T31" fmla="*/ 46 h 186"/>
              <a:gd name="T32" fmla="*/ 1 w 317"/>
              <a:gd name="T33" fmla="*/ 60 h 186"/>
              <a:gd name="T34" fmla="*/ 0 w 317"/>
              <a:gd name="T35" fmla="*/ 75 h 186"/>
              <a:gd name="T36" fmla="*/ 0 w 317"/>
              <a:gd name="T37" fmla="*/ 113 h 186"/>
              <a:gd name="T38" fmla="*/ 1 w 317"/>
              <a:gd name="T39" fmla="*/ 127 h 186"/>
              <a:gd name="T40" fmla="*/ 6 w 317"/>
              <a:gd name="T41" fmla="*/ 141 h 186"/>
              <a:gd name="T42" fmla="*/ 12 w 317"/>
              <a:gd name="T43" fmla="*/ 154 h 186"/>
              <a:gd name="T44" fmla="*/ 21 w 317"/>
              <a:gd name="T45" fmla="*/ 164 h 186"/>
              <a:gd name="T46" fmla="*/ 32 w 317"/>
              <a:gd name="T47" fmla="*/ 173 h 186"/>
              <a:gd name="T48" fmla="*/ 45 w 317"/>
              <a:gd name="T49" fmla="*/ 180 h 186"/>
              <a:gd name="T50" fmla="*/ 59 w 317"/>
              <a:gd name="T51" fmla="*/ 184 h 186"/>
              <a:gd name="T52" fmla="*/ 74 w 317"/>
              <a:gd name="T53" fmla="*/ 186 h 186"/>
              <a:gd name="T54" fmla="*/ 242 w 317"/>
              <a:gd name="T55" fmla="*/ 186 h 186"/>
              <a:gd name="T56" fmla="*/ 258 w 317"/>
              <a:gd name="T57" fmla="*/ 184 h 186"/>
              <a:gd name="T58" fmla="*/ 272 w 317"/>
              <a:gd name="T59" fmla="*/ 180 h 186"/>
              <a:gd name="T60" fmla="*/ 284 w 317"/>
              <a:gd name="T61" fmla="*/ 173 h 186"/>
              <a:gd name="T62" fmla="*/ 295 w 317"/>
              <a:gd name="T63" fmla="*/ 164 h 186"/>
              <a:gd name="T64" fmla="*/ 304 w 317"/>
              <a:gd name="T65" fmla="*/ 154 h 186"/>
              <a:gd name="T66" fmla="*/ 311 w 317"/>
              <a:gd name="T67" fmla="*/ 141 h 186"/>
              <a:gd name="T68" fmla="*/ 315 w 317"/>
              <a:gd name="T69" fmla="*/ 127 h 186"/>
              <a:gd name="T70" fmla="*/ 317 w 317"/>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7"/>
                </a:lnTo>
                <a:lnTo>
                  <a:pt x="315" y="60"/>
                </a:lnTo>
                <a:lnTo>
                  <a:pt x="313" y="53"/>
                </a:lnTo>
                <a:lnTo>
                  <a:pt x="311" y="46"/>
                </a:lnTo>
                <a:lnTo>
                  <a:pt x="308" y="40"/>
                </a:lnTo>
                <a:lnTo>
                  <a:pt x="304" y="34"/>
                </a:lnTo>
                <a:lnTo>
                  <a:pt x="300" y="28"/>
                </a:lnTo>
                <a:lnTo>
                  <a:pt x="295" y="23"/>
                </a:lnTo>
                <a:lnTo>
                  <a:pt x="290" y="17"/>
                </a:lnTo>
                <a:lnTo>
                  <a:pt x="284" y="13"/>
                </a:lnTo>
                <a:lnTo>
                  <a:pt x="278" y="9"/>
                </a:lnTo>
                <a:lnTo>
                  <a:pt x="272" y="6"/>
                </a:lnTo>
                <a:lnTo>
                  <a:pt x="265" y="4"/>
                </a:lnTo>
                <a:lnTo>
                  <a:pt x="258" y="2"/>
                </a:lnTo>
                <a:lnTo>
                  <a:pt x="251" y="1"/>
                </a:lnTo>
                <a:lnTo>
                  <a:pt x="242" y="0"/>
                </a:lnTo>
                <a:lnTo>
                  <a:pt x="74" y="0"/>
                </a:lnTo>
                <a:lnTo>
                  <a:pt x="74" y="0"/>
                </a:lnTo>
                <a:lnTo>
                  <a:pt x="67" y="1"/>
                </a:lnTo>
                <a:lnTo>
                  <a:pt x="59" y="2"/>
                </a:lnTo>
                <a:lnTo>
                  <a:pt x="52" y="4"/>
                </a:lnTo>
                <a:lnTo>
                  <a:pt x="45" y="6"/>
                </a:lnTo>
                <a:lnTo>
                  <a:pt x="38" y="9"/>
                </a:lnTo>
                <a:lnTo>
                  <a:pt x="32" y="13"/>
                </a:lnTo>
                <a:lnTo>
                  <a:pt x="27" y="17"/>
                </a:lnTo>
                <a:lnTo>
                  <a:pt x="21" y="23"/>
                </a:lnTo>
                <a:lnTo>
                  <a:pt x="17" y="28"/>
                </a:lnTo>
                <a:lnTo>
                  <a:pt x="12" y="34"/>
                </a:lnTo>
                <a:lnTo>
                  <a:pt x="9" y="40"/>
                </a:lnTo>
                <a:lnTo>
                  <a:pt x="6" y="46"/>
                </a:lnTo>
                <a:lnTo>
                  <a:pt x="3" y="53"/>
                </a:lnTo>
                <a:lnTo>
                  <a:pt x="1" y="60"/>
                </a:lnTo>
                <a:lnTo>
                  <a:pt x="0" y="67"/>
                </a:lnTo>
                <a:lnTo>
                  <a:pt x="0" y="75"/>
                </a:lnTo>
                <a:lnTo>
                  <a:pt x="0" y="113"/>
                </a:lnTo>
                <a:lnTo>
                  <a:pt x="0" y="113"/>
                </a:lnTo>
                <a:lnTo>
                  <a:pt x="0" y="120"/>
                </a:lnTo>
                <a:lnTo>
                  <a:pt x="1" y="127"/>
                </a:lnTo>
                <a:lnTo>
                  <a:pt x="3" y="134"/>
                </a:lnTo>
                <a:lnTo>
                  <a:pt x="6" y="141"/>
                </a:lnTo>
                <a:lnTo>
                  <a:pt x="9" y="148"/>
                </a:lnTo>
                <a:lnTo>
                  <a:pt x="12" y="154"/>
                </a:lnTo>
                <a:lnTo>
                  <a:pt x="17" y="159"/>
                </a:lnTo>
                <a:lnTo>
                  <a:pt x="21" y="164"/>
                </a:lnTo>
                <a:lnTo>
                  <a:pt x="27" y="169"/>
                </a:lnTo>
                <a:lnTo>
                  <a:pt x="32" y="173"/>
                </a:lnTo>
                <a:lnTo>
                  <a:pt x="38" y="177"/>
                </a:lnTo>
                <a:lnTo>
                  <a:pt x="45" y="180"/>
                </a:lnTo>
                <a:lnTo>
                  <a:pt x="52" y="183"/>
                </a:lnTo>
                <a:lnTo>
                  <a:pt x="59" y="184"/>
                </a:lnTo>
                <a:lnTo>
                  <a:pt x="67" y="186"/>
                </a:lnTo>
                <a:lnTo>
                  <a:pt x="74" y="186"/>
                </a:lnTo>
                <a:lnTo>
                  <a:pt x="242" y="186"/>
                </a:lnTo>
                <a:lnTo>
                  <a:pt x="242" y="186"/>
                </a:lnTo>
                <a:lnTo>
                  <a:pt x="251" y="186"/>
                </a:lnTo>
                <a:lnTo>
                  <a:pt x="258" y="184"/>
                </a:lnTo>
                <a:lnTo>
                  <a:pt x="265" y="183"/>
                </a:lnTo>
                <a:lnTo>
                  <a:pt x="272" y="180"/>
                </a:lnTo>
                <a:lnTo>
                  <a:pt x="278" y="177"/>
                </a:lnTo>
                <a:lnTo>
                  <a:pt x="284" y="173"/>
                </a:lnTo>
                <a:lnTo>
                  <a:pt x="290" y="169"/>
                </a:lnTo>
                <a:lnTo>
                  <a:pt x="295" y="164"/>
                </a:lnTo>
                <a:lnTo>
                  <a:pt x="300" y="159"/>
                </a:lnTo>
                <a:lnTo>
                  <a:pt x="304" y="154"/>
                </a:lnTo>
                <a:lnTo>
                  <a:pt x="308" y="148"/>
                </a:lnTo>
                <a:lnTo>
                  <a:pt x="311" y="141"/>
                </a:lnTo>
                <a:lnTo>
                  <a:pt x="313" y="134"/>
                </a:lnTo>
                <a:lnTo>
                  <a:pt x="315" y="127"/>
                </a:lnTo>
                <a:lnTo>
                  <a:pt x="316" y="120"/>
                </a:lnTo>
                <a:lnTo>
                  <a:pt x="317" y="113"/>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2" name="Freeform 2174"/>
          <p:cNvSpPr>
            <a:spLocks/>
          </p:cNvSpPr>
          <p:nvPr/>
        </p:nvSpPr>
        <p:spPr bwMode="auto">
          <a:xfrm>
            <a:off x="1347789" y="4876737"/>
            <a:ext cx="82550" cy="49212"/>
          </a:xfrm>
          <a:custGeom>
            <a:avLst/>
            <a:gdLst>
              <a:gd name="T0" fmla="*/ 318 w 318"/>
              <a:gd name="T1" fmla="*/ 75 h 186"/>
              <a:gd name="T2" fmla="*/ 316 w 318"/>
              <a:gd name="T3" fmla="*/ 60 h 186"/>
              <a:gd name="T4" fmla="*/ 312 w 318"/>
              <a:gd name="T5" fmla="*/ 46 h 186"/>
              <a:gd name="T6" fmla="*/ 305 w 318"/>
              <a:gd name="T7" fmla="*/ 34 h 186"/>
              <a:gd name="T8" fmla="*/ 296 w 318"/>
              <a:gd name="T9" fmla="*/ 23 h 186"/>
              <a:gd name="T10" fmla="*/ 286 w 318"/>
              <a:gd name="T11" fmla="*/ 13 h 186"/>
              <a:gd name="T12" fmla="*/ 272 w 318"/>
              <a:gd name="T13" fmla="*/ 6 h 186"/>
              <a:gd name="T14" fmla="*/ 258 w 318"/>
              <a:gd name="T15" fmla="*/ 2 h 186"/>
              <a:gd name="T16" fmla="*/ 243 w 318"/>
              <a:gd name="T17" fmla="*/ 0 h 186"/>
              <a:gd name="T18" fmla="*/ 75 w 318"/>
              <a:gd name="T19" fmla="*/ 0 h 186"/>
              <a:gd name="T20" fmla="*/ 60 w 318"/>
              <a:gd name="T21" fmla="*/ 2 h 186"/>
              <a:gd name="T22" fmla="*/ 46 w 318"/>
              <a:gd name="T23" fmla="*/ 6 h 186"/>
              <a:gd name="T24" fmla="*/ 34 w 318"/>
              <a:gd name="T25" fmla="*/ 13 h 186"/>
              <a:gd name="T26" fmla="*/ 23 w 318"/>
              <a:gd name="T27" fmla="*/ 23 h 186"/>
              <a:gd name="T28" fmla="*/ 13 w 318"/>
              <a:gd name="T29" fmla="*/ 34 h 186"/>
              <a:gd name="T30" fmla="*/ 6 w 318"/>
              <a:gd name="T31" fmla="*/ 46 h 186"/>
              <a:gd name="T32" fmla="*/ 2 w 318"/>
              <a:gd name="T33" fmla="*/ 60 h 186"/>
              <a:gd name="T34" fmla="*/ 0 w 318"/>
              <a:gd name="T35" fmla="*/ 75 h 186"/>
              <a:gd name="T36" fmla="*/ 0 w 318"/>
              <a:gd name="T37" fmla="*/ 113 h 186"/>
              <a:gd name="T38" fmla="*/ 2 w 318"/>
              <a:gd name="T39" fmla="*/ 127 h 186"/>
              <a:gd name="T40" fmla="*/ 6 w 318"/>
              <a:gd name="T41" fmla="*/ 141 h 186"/>
              <a:gd name="T42" fmla="*/ 13 w 318"/>
              <a:gd name="T43" fmla="*/ 154 h 186"/>
              <a:gd name="T44" fmla="*/ 23 w 318"/>
              <a:gd name="T45" fmla="*/ 164 h 186"/>
              <a:gd name="T46" fmla="*/ 34 w 318"/>
              <a:gd name="T47" fmla="*/ 173 h 186"/>
              <a:gd name="T48" fmla="*/ 46 w 318"/>
              <a:gd name="T49" fmla="*/ 180 h 186"/>
              <a:gd name="T50" fmla="*/ 60 w 318"/>
              <a:gd name="T51" fmla="*/ 184 h 186"/>
              <a:gd name="T52" fmla="*/ 75 w 318"/>
              <a:gd name="T53" fmla="*/ 186 h 186"/>
              <a:gd name="T54" fmla="*/ 243 w 318"/>
              <a:gd name="T55" fmla="*/ 186 h 186"/>
              <a:gd name="T56" fmla="*/ 258 w 318"/>
              <a:gd name="T57" fmla="*/ 184 h 186"/>
              <a:gd name="T58" fmla="*/ 272 w 318"/>
              <a:gd name="T59" fmla="*/ 180 h 186"/>
              <a:gd name="T60" fmla="*/ 286 w 318"/>
              <a:gd name="T61" fmla="*/ 173 h 186"/>
              <a:gd name="T62" fmla="*/ 296 w 318"/>
              <a:gd name="T63" fmla="*/ 164 h 186"/>
              <a:gd name="T64" fmla="*/ 305 w 318"/>
              <a:gd name="T65" fmla="*/ 154 h 186"/>
              <a:gd name="T66" fmla="*/ 312 w 318"/>
              <a:gd name="T67" fmla="*/ 141 h 186"/>
              <a:gd name="T68" fmla="*/ 316 w 318"/>
              <a:gd name="T69" fmla="*/ 127 h 186"/>
              <a:gd name="T70" fmla="*/ 318 w 318"/>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8" y="67"/>
                </a:lnTo>
                <a:lnTo>
                  <a:pt x="316" y="60"/>
                </a:lnTo>
                <a:lnTo>
                  <a:pt x="315" y="53"/>
                </a:lnTo>
                <a:lnTo>
                  <a:pt x="312" y="46"/>
                </a:lnTo>
                <a:lnTo>
                  <a:pt x="309" y="40"/>
                </a:lnTo>
                <a:lnTo>
                  <a:pt x="305" y="34"/>
                </a:lnTo>
                <a:lnTo>
                  <a:pt x="301" y="28"/>
                </a:lnTo>
                <a:lnTo>
                  <a:pt x="296" y="23"/>
                </a:lnTo>
                <a:lnTo>
                  <a:pt x="291" y="17"/>
                </a:lnTo>
                <a:lnTo>
                  <a:pt x="286" y="13"/>
                </a:lnTo>
                <a:lnTo>
                  <a:pt x="280" y="9"/>
                </a:lnTo>
                <a:lnTo>
                  <a:pt x="272" y="6"/>
                </a:lnTo>
                <a:lnTo>
                  <a:pt x="265" y="4"/>
                </a:lnTo>
                <a:lnTo>
                  <a:pt x="258" y="2"/>
                </a:lnTo>
                <a:lnTo>
                  <a:pt x="251" y="1"/>
                </a:lnTo>
                <a:lnTo>
                  <a:pt x="243" y="0"/>
                </a:lnTo>
                <a:lnTo>
                  <a:pt x="75" y="0"/>
                </a:lnTo>
                <a:lnTo>
                  <a:pt x="75" y="0"/>
                </a:lnTo>
                <a:lnTo>
                  <a:pt x="67" y="1"/>
                </a:lnTo>
                <a:lnTo>
                  <a:pt x="60" y="2"/>
                </a:lnTo>
                <a:lnTo>
                  <a:pt x="53" y="4"/>
                </a:lnTo>
                <a:lnTo>
                  <a:pt x="46" y="6"/>
                </a:lnTo>
                <a:lnTo>
                  <a:pt x="40" y="9"/>
                </a:lnTo>
                <a:lnTo>
                  <a:pt x="34" y="13"/>
                </a:lnTo>
                <a:lnTo>
                  <a:pt x="28" y="17"/>
                </a:lnTo>
                <a:lnTo>
                  <a:pt x="23" y="23"/>
                </a:lnTo>
                <a:lnTo>
                  <a:pt x="18" y="28"/>
                </a:lnTo>
                <a:lnTo>
                  <a:pt x="13" y="34"/>
                </a:lnTo>
                <a:lnTo>
                  <a:pt x="9" y="40"/>
                </a:lnTo>
                <a:lnTo>
                  <a:pt x="6" y="46"/>
                </a:lnTo>
                <a:lnTo>
                  <a:pt x="4" y="53"/>
                </a:lnTo>
                <a:lnTo>
                  <a:pt x="2" y="60"/>
                </a:lnTo>
                <a:lnTo>
                  <a:pt x="1" y="67"/>
                </a:lnTo>
                <a:lnTo>
                  <a:pt x="0" y="75"/>
                </a:lnTo>
                <a:lnTo>
                  <a:pt x="0" y="113"/>
                </a:lnTo>
                <a:lnTo>
                  <a:pt x="0" y="113"/>
                </a:lnTo>
                <a:lnTo>
                  <a:pt x="1" y="120"/>
                </a:lnTo>
                <a:lnTo>
                  <a:pt x="2" y="127"/>
                </a:lnTo>
                <a:lnTo>
                  <a:pt x="4" y="134"/>
                </a:lnTo>
                <a:lnTo>
                  <a:pt x="6" y="141"/>
                </a:lnTo>
                <a:lnTo>
                  <a:pt x="9" y="148"/>
                </a:lnTo>
                <a:lnTo>
                  <a:pt x="13" y="154"/>
                </a:lnTo>
                <a:lnTo>
                  <a:pt x="18" y="159"/>
                </a:lnTo>
                <a:lnTo>
                  <a:pt x="23" y="164"/>
                </a:lnTo>
                <a:lnTo>
                  <a:pt x="28" y="169"/>
                </a:lnTo>
                <a:lnTo>
                  <a:pt x="34" y="173"/>
                </a:lnTo>
                <a:lnTo>
                  <a:pt x="40" y="177"/>
                </a:lnTo>
                <a:lnTo>
                  <a:pt x="46" y="180"/>
                </a:lnTo>
                <a:lnTo>
                  <a:pt x="53" y="183"/>
                </a:lnTo>
                <a:lnTo>
                  <a:pt x="60" y="184"/>
                </a:lnTo>
                <a:lnTo>
                  <a:pt x="67" y="186"/>
                </a:lnTo>
                <a:lnTo>
                  <a:pt x="75" y="186"/>
                </a:lnTo>
                <a:lnTo>
                  <a:pt x="243" y="186"/>
                </a:lnTo>
                <a:lnTo>
                  <a:pt x="243" y="186"/>
                </a:lnTo>
                <a:lnTo>
                  <a:pt x="251" y="186"/>
                </a:lnTo>
                <a:lnTo>
                  <a:pt x="258" y="184"/>
                </a:lnTo>
                <a:lnTo>
                  <a:pt x="265" y="183"/>
                </a:lnTo>
                <a:lnTo>
                  <a:pt x="272" y="180"/>
                </a:lnTo>
                <a:lnTo>
                  <a:pt x="280" y="177"/>
                </a:lnTo>
                <a:lnTo>
                  <a:pt x="286" y="173"/>
                </a:lnTo>
                <a:lnTo>
                  <a:pt x="291" y="169"/>
                </a:lnTo>
                <a:lnTo>
                  <a:pt x="296" y="164"/>
                </a:lnTo>
                <a:lnTo>
                  <a:pt x="301" y="159"/>
                </a:lnTo>
                <a:lnTo>
                  <a:pt x="305" y="154"/>
                </a:lnTo>
                <a:lnTo>
                  <a:pt x="309" y="148"/>
                </a:lnTo>
                <a:lnTo>
                  <a:pt x="312" y="141"/>
                </a:lnTo>
                <a:lnTo>
                  <a:pt x="315" y="134"/>
                </a:lnTo>
                <a:lnTo>
                  <a:pt x="316" y="127"/>
                </a:lnTo>
                <a:lnTo>
                  <a:pt x="318" y="120"/>
                </a:lnTo>
                <a:lnTo>
                  <a:pt x="318" y="113"/>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3" name="Freeform 2175"/>
          <p:cNvSpPr>
            <a:spLocks/>
          </p:cNvSpPr>
          <p:nvPr/>
        </p:nvSpPr>
        <p:spPr bwMode="auto">
          <a:xfrm>
            <a:off x="1454151" y="4876737"/>
            <a:ext cx="84138" cy="49212"/>
          </a:xfrm>
          <a:custGeom>
            <a:avLst/>
            <a:gdLst>
              <a:gd name="T0" fmla="*/ 317 w 317"/>
              <a:gd name="T1" fmla="*/ 75 h 186"/>
              <a:gd name="T2" fmla="*/ 316 w 317"/>
              <a:gd name="T3" fmla="*/ 60 h 186"/>
              <a:gd name="T4" fmla="*/ 311 w 317"/>
              <a:gd name="T5" fmla="*/ 46 h 186"/>
              <a:gd name="T6" fmla="*/ 304 w 317"/>
              <a:gd name="T7" fmla="*/ 34 h 186"/>
              <a:gd name="T8" fmla="*/ 295 w 317"/>
              <a:gd name="T9" fmla="*/ 23 h 186"/>
              <a:gd name="T10" fmla="*/ 284 w 317"/>
              <a:gd name="T11" fmla="*/ 13 h 186"/>
              <a:gd name="T12" fmla="*/ 272 w 317"/>
              <a:gd name="T13" fmla="*/ 6 h 186"/>
              <a:gd name="T14" fmla="*/ 258 w 317"/>
              <a:gd name="T15" fmla="*/ 2 h 186"/>
              <a:gd name="T16" fmla="*/ 243 w 317"/>
              <a:gd name="T17" fmla="*/ 0 h 186"/>
              <a:gd name="T18" fmla="*/ 74 w 317"/>
              <a:gd name="T19" fmla="*/ 0 h 186"/>
              <a:gd name="T20" fmla="*/ 59 w 317"/>
              <a:gd name="T21" fmla="*/ 2 h 186"/>
              <a:gd name="T22" fmla="*/ 45 w 317"/>
              <a:gd name="T23" fmla="*/ 6 h 186"/>
              <a:gd name="T24" fmla="*/ 32 w 317"/>
              <a:gd name="T25" fmla="*/ 13 h 186"/>
              <a:gd name="T26" fmla="*/ 21 w 317"/>
              <a:gd name="T27" fmla="*/ 23 h 186"/>
              <a:gd name="T28" fmla="*/ 12 w 317"/>
              <a:gd name="T29" fmla="*/ 34 h 186"/>
              <a:gd name="T30" fmla="*/ 6 w 317"/>
              <a:gd name="T31" fmla="*/ 46 h 186"/>
              <a:gd name="T32" fmla="*/ 1 w 317"/>
              <a:gd name="T33" fmla="*/ 60 h 186"/>
              <a:gd name="T34" fmla="*/ 0 w 317"/>
              <a:gd name="T35" fmla="*/ 75 h 186"/>
              <a:gd name="T36" fmla="*/ 0 w 317"/>
              <a:gd name="T37" fmla="*/ 113 h 186"/>
              <a:gd name="T38" fmla="*/ 1 w 317"/>
              <a:gd name="T39" fmla="*/ 127 h 186"/>
              <a:gd name="T40" fmla="*/ 6 w 317"/>
              <a:gd name="T41" fmla="*/ 141 h 186"/>
              <a:gd name="T42" fmla="*/ 12 w 317"/>
              <a:gd name="T43" fmla="*/ 154 h 186"/>
              <a:gd name="T44" fmla="*/ 21 w 317"/>
              <a:gd name="T45" fmla="*/ 164 h 186"/>
              <a:gd name="T46" fmla="*/ 32 w 317"/>
              <a:gd name="T47" fmla="*/ 173 h 186"/>
              <a:gd name="T48" fmla="*/ 45 w 317"/>
              <a:gd name="T49" fmla="*/ 180 h 186"/>
              <a:gd name="T50" fmla="*/ 59 w 317"/>
              <a:gd name="T51" fmla="*/ 184 h 186"/>
              <a:gd name="T52" fmla="*/ 74 w 317"/>
              <a:gd name="T53" fmla="*/ 186 h 186"/>
              <a:gd name="T54" fmla="*/ 243 w 317"/>
              <a:gd name="T55" fmla="*/ 186 h 186"/>
              <a:gd name="T56" fmla="*/ 258 w 317"/>
              <a:gd name="T57" fmla="*/ 184 h 186"/>
              <a:gd name="T58" fmla="*/ 272 w 317"/>
              <a:gd name="T59" fmla="*/ 180 h 186"/>
              <a:gd name="T60" fmla="*/ 284 w 317"/>
              <a:gd name="T61" fmla="*/ 173 h 186"/>
              <a:gd name="T62" fmla="*/ 295 w 317"/>
              <a:gd name="T63" fmla="*/ 164 h 186"/>
              <a:gd name="T64" fmla="*/ 304 w 317"/>
              <a:gd name="T65" fmla="*/ 154 h 186"/>
              <a:gd name="T66" fmla="*/ 311 w 317"/>
              <a:gd name="T67" fmla="*/ 141 h 186"/>
              <a:gd name="T68" fmla="*/ 316 w 317"/>
              <a:gd name="T69" fmla="*/ 127 h 186"/>
              <a:gd name="T70" fmla="*/ 317 w 317"/>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3" y="53"/>
                </a:lnTo>
                <a:lnTo>
                  <a:pt x="311" y="46"/>
                </a:lnTo>
                <a:lnTo>
                  <a:pt x="308" y="40"/>
                </a:lnTo>
                <a:lnTo>
                  <a:pt x="304" y="34"/>
                </a:lnTo>
                <a:lnTo>
                  <a:pt x="300" y="28"/>
                </a:lnTo>
                <a:lnTo>
                  <a:pt x="295" y="23"/>
                </a:lnTo>
                <a:lnTo>
                  <a:pt x="290" y="17"/>
                </a:lnTo>
                <a:lnTo>
                  <a:pt x="284" y="13"/>
                </a:lnTo>
                <a:lnTo>
                  <a:pt x="278" y="9"/>
                </a:lnTo>
                <a:lnTo>
                  <a:pt x="272" y="6"/>
                </a:lnTo>
                <a:lnTo>
                  <a:pt x="265" y="4"/>
                </a:lnTo>
                <a:lnTo>
                  <a:pt x="258" y="2"/>
                </a:lnTo>
                <a:lnTo>
                  <a:pt x="250" y="1"/>
                </a:lnTo>
                <a:lnTo>
                  <a:pt x="243" y="0"/>
                </a:lnTo>
                <a:lnTo>
                  <a:pt x="74" y="0"/>
                </a:lnTo>
                <a:lnTo>
                  <a:pt x="74" y="0"/>
                </a:lnTo>
                <a:lnTo>
                  <a:pt x="67" y="1"/>
                </a:lnTo>
                <a:lnTo>
                  <a:pt x="59" y="2"/>
                </a:lnTo>
                <a:lnTo>
                  <a:pt x="52" y="4"/>
                </a:lnTo>
                <a:lnTo>
                  <a:pt x="45" y="6"/>
                </a:lnTo>
                <a:lnTo>
                  <a:pt x="38" y="9"/>
                </a:lnTo>
                <a:lnTo>
                  <a:pt x="32" y="13"/>
                </a:lnTo>
                <a:lnTo>
                  <a:pt x="27" y="17"/>
                </a:lnTo>
                <a:lnTo>
                  <a:pt x="21" y="23"/>
                </a:lnTo>
                <a:lnTo>
                  <a:pt x="17" y="28"/>
                </a:lnTo>
                <a:lnTo>
                  <a:pt x="12" y="34"/>
                </a:lnTo>
                <a:lnTo>
                  <a:pt x="9" y="40"/>
                </a:lnTo>
                <a:lnTo>
                  <a:pt x="6" y="46"/>
                </a:lnTo>
                <a:lnTo>
                  <a:pt x="3" y="53"/>
                </a:lnTo>
                <a:lnTo>
                  <a:pt x="1" y="60"/>
                </a:lnTo>
                <a:lnTo>
                  <a:pt x="0" y="67"/>
                </a:lnTo>
                <a:lnTo>
                  <a:pt x="0" y="75"/>
                </a:lnTo>
                <a:lnTo>
                  <a:pt x="0" y="113"/>
                </a:lnTo>
                <a:lnTo>
                  <a:pt x="0" y="113"/>
                </a:lnTo>
                <a:lnTo>
                  <a:pt x="0" y="120"/>
                </a:lnTo>
                <a:lnTo>
                  <a:pt x="1" y="127"/>
                </a:lnTo>
                <a:lnTo>
                  <a:pt x="3" y="134"/>
                </a:lnTo>
                <a:lnTo>
                  <a:pt x="6" y="141"/>
                </a:lnTo>
                <a:lnTo>
                  <a:pt x="9" y="148"/>
                </a:lnTo>
                <a:lnTo>
                  <a:pt x="12" y="154"/>
                </a:lnTo>
                <a:lnTo>
                  <a:pt x="17" y="159"/>
                </a:lnTo>
                <a:lnTo>
                  <a:pt x="21" y="164"/>
                </a:lnTo>
                <a:lnTo>
                  <a:pt x="27" y="169"/>
                </a:lnTo>
                <a:lnTo>
                  <a:pt x="32" y="173"/>
                </a:lnTo>
                <a:lnTo>
                  <a:pt x="38" y="177"/>
                </a:lnTo>
                <a:lnTo>
                  <a:pt x="45" y="180"/>
                </a:lnTo>
                <a:lnTo>
                  <a:pt x="52" y="183"/>
                </a:lnTo>
                <a:lnTo>
                  <a:pt x="59" y="184"/>
                </a:lnTo>
                <a:lnTo>
                  <a:pt x="67" y="186"/>
                </a:lnTo>
                <a:lnTo>
                  <a:pt x="74" y="186"/>
                </a:lnTo>
                <a:lnTo>
                  <a:pt x="243" y="186"/>
                </a:lnTo>
                <a:lnTo>
                  <a:pt x="243" y="186"/>
                </a:lnTo>
                <a:lnTo>
                  <a:pt x="250" y="186"/>
                </a:lnTo>
                <a:lnTo>
                  <a:pt x="258" y="184"/>
                </a:lnTo>
                <a:lnTo>
                  <a:pt x="265" y="183"/>
                </a:lnTo>
                <a:lnTo>
                  <a:pt x="272" y="180"/>
                </a:lnTo>
                <a:lnTo>
                  <a:pt x="278" y="177"/>
                </a:lnTo>
                <a:lnTo>
                  <a:pt x="284" y="173"/>
                </a:lnTo>
                <a:lnTo>
                  <a:pt x="290" y="169"/>
                </a:lnTo>
                <a:lnTo>
                  <a:pt x="295" y="164"/>
                </a:lnTo>
                <a:lnTo>
                  <a:pt x="300" y="159"/>
                </a:lnTo>
                <a:lnTo>
                  <a:pt x="304" y="154"/>
                </a:lnTo>
                <a:lnTo>
                  <a:pt x="308" y="148"/>
                </a:lnTo>
                <a:lnTo>
                  <a:pt x="311" y="141"/>
                </a:lnTo>
                <a:lnTo>
                  <a:pt x="313" y="134"/>
                </a:lnTo>
                <a:lnTo>
                  <a:pt x="316" y="127"/>
                </a:lnTo>
                <a:lnTo>
                  <a:pt x="317" y="120"/>
                </a:lnTo>
                <a:lnTo>
                  <a:pt x="317" y="113"/>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4" name="Freeform 2176"/>
          <p:cNvSpPr>
            <a:spLocks/>
          </p:cNvSpPr>
          <p:nvPr/>
        </p:nvSpPr>
        <p:spPr bwMode="auto">
          <a:xfrm>
            <a:off x="1562101" y="4876737"/>
            <a:ext cx="84138" cy="49212"/>
          </a:xfrm>
          <a:custGeom>
            <a:avLst/>
            <a:gdLst>
              <a:gd name="T0" fmla="*/ 317 w 317"/>
              <a:gd name="T1" fmla="*/ 75 h 186"/>
              <a:gd name="T2" fmla="*/ 315 w 317"/>
              <a:gd name="T3" fmla="*/ 60 h 186"/>
              <a:gd name="T4" fmla="*/ 311 w 317"/>
              <a:gd name="T5" fmla="*/ 46 h 186"/>
              <a:gd name="T6" fmla="*/ 304 w 317"/>
              <a:gd name="T7" fmla="*/ 34 h 186"/>
              <a:gd name="T8" fmla="*/ 295 w 317"/>
              <a:gd name="T9" fmla="*/ 23 h 186"/>
              <a:gd name="T10" fmla="*/ 284 w 317"/>
              <a:gd name="T11" fmla="*/ 13 h 186"/>
              <a:gd name="T12" fmla="*/ 272 w 317"/>
              <a:gd name="T13" fmla="*/ 6 h 186"/>
              <a:gd name="T14" fmla="*/ 257 w 317"/>
              <a:gd name="T15" fmla="*/ 2 h 186"/>
              <a:gd name="T16" fmla="*/ 242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3 h 186"/>
              <a:gd name="T28" fmla="*/ 13 w 317"/>
              <a:gd name="T29" fmla="*/ 34 h 186"/>
              <a:gd name="T30" fmla="*/ 6 w 317"/>
              <a:gd name="T31" fmla="*/ 46 h 186"/>
              <a:gd name="T32" fmla="*/ 2 w 317"/>
              <a:gd name="T33" fmla="*/ 60 h 186"/>
              <a:gd name="T34" fmla="*/ 0 w 317"/>
              <a:gd name="T35" fmla="*/ 75 h 186"/>
              <a:gd name="T36" fmla="*/ 0 w 317"/>
              <a:gd name="T37" fmla="*/ 113 h 186"/>
              <a:gd name="T38" fmla="*/ 2 w 317"/>
              <a:gd name="T39" fmla="*/ 127 h 186"/>
              <a:gd name="T40" fmla="*/ 6 w 317"/>
              <a:gd name="T41" fmla="*/ 141 h 186"/>
              <a:gd name="T42" fmla="*/ 13 w 317"/>
              <a:gd name="T43" fmla="*/ 154 h 186"/>
              <a:gd name="T44" fmla="*/ 22 w 317"/>
              <a:gd name="T45" fmla="*/ 164 h 186"/>
              <a:gd name="T46" fmla="*/ 33 w 317"/>
              <a:gd name="T47" fmla="*/ 173 h 186"/>
              <a:gd name="T48" fmla="*/ 45 w 317"/>
              <a:gd name="T49" fmla="*/ 180 h 186"/>
              <a:gd name="T50" fmla="*/ 59 w 317"/>
              <a:gd name="T51" fmla="*/ 184 h 186"/>
              <a:gd name="T52" fmla="*/ 74 w 317"/>
              <a:gd name="T53" fmla="*/ 186 h 186"/>
              <a:gd name="T54" fmla="*/ 242 w 317"/>
              <a:gd name="T55" fmla="*/ 186 h 186"/>
              <a:gd name="T56" fmla="*/ 257 w 317"/>
              <a:gd name="T57" fmla="*/ 184 h 186"/>
              <a:gd name="T58" fmla="*/ 272 w 317"/>
              <a:gd name="T59" fmla="*/ 180 h 186"/>
              <a:gd name="T60" fmla="*/ 284 w 317"/>
              <a:gd name="T61" fmla="*/ 173 h 186"/>
              <a:gd name="T62" fmla="*/ 295 w 317"/>
              <a:gd name="T63" fmla="*/ 164 h 186"/>
              <a:gd name="T64" fmla="*/ 304 w 317"/>
              <a:gd name="T65" fmla="*/ 154 h 186"/>
              <a:gd name="T66" fmla="*/ 311 w 317"/>
              <a:gd name="T67" fmla="*/ 141 h 186"/>
              <a:gd name="T68" fmla="*/ 315 w 317"/>
              <a:gd name="T69" fmla="*/ 127 h 186"/>
              <a:gd name="T70" fmla="*/ 317 w 317"/>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7"/>
                </a:lnTo>
                <a:lnTo>
                  <a:pt x="315" y="60"/>
                </a:lnTo>
                <a:lnTo>
                  <a:pt x="314" y="53"/>
                </a:lnTo>
                <a:lnTo>
                  <a:pt x="311" y="46"/>
                </a:lnTo>
                <a:lnTo>
                  <a:pt x="308" y="40"/>
                </a:lnTo>
                <a:lnTo>
                  <a:pt x="304" y="34"/>
                </a:lnTo>
                <a:lnTo>
                  <a:pt x="300" y="28"/>
                </a:lnTo>
                <a:lnTo>
                  <a:pt x="295" y="23"/>
                </a:lnTo>
                <a:lnTo>
                  <a:pt x="290" y="17"/>
                </a:lnTo>
                <a:lnTo>
                  <a:pt x="284" y="13"/>
                </a:lnTo>
                <a:lnTo>
                  <a:pt x="278" y="9"/>
                </a:lnTo>
                <a:lnTo>
                  <a:pt x="272" y="6"/>
                </a:lnTo>
                <a:lnTo>
                  <a:pt x="265" y="4"/>
                </a:lnTo>
                <a:lnTo>
                  <a:pt x="257" y="2"/>
                </a:lnTo>
                <a:lnTo>
                  <a:pt x="250" y="1"/>
                </a:lnTo>
                <a:lnTo>
                  <a:pt x="242" y="0"/>
                </a:lnTo>
                <a:lnTo>
                  <a:pt x="74" y="0"/>
                </a:lnTo>
                <a:lnTo>
                  <a:pt x="74" y="0"/>
                </a:lnTo>
                <a:lnTo>
                  <a:pt x="66" y="1"/>
                </a:lnTo>
                <a:lnTo>
                  <a:pt x="59" y="2"/>
                </a:lnTo>
                <a:lnTo>
                  <a:pt x="52" y="4"/>
                </a:lnTo>
                <a:lnTo>
                  <a:pt x="45" y="6"/>
                </a:lnTo>
                <a:lnTo>
                  <a:pt x="39" y="9"/>
                </a:lnTo>
                <a:lnTo>
                  <a:pt x="33" y="13"/>
                </a:lnTo>
                <a:lnTo>
                  <a:pt x="27" y="17"/>
                </a:lnTo>
                <a:lnTo>
                  <a:pt x="22" y="23"/>
                </a:lnTo>
                <a:lnTo>
                  <a:pt x="17" y="28"/>
                </a:lnTo>
                <a:lnTo>
                  <a:pt x="13" y="34"/>
                </a:lnTo>
                <a:lnTo>
                  <a:pt x="9" y="40"/>
                </a:lnTo>
                <a:lnTo>
                  <a:pt x="6" y="46"/>
                </a:lnTo>
                <a:lnTo>
                  <a:pt x="4" y="53"/>
                </a:lnTo>
                <a:lnTo>
                  <a:pt x="2" y="60"/>
                </a:lnTo>
                <a:lnTo>
                  <a:pt x="1" y="67"/>
                </a:lnTo>
                <a:lnTo>
                  <a:pt x="0" y="75"/>
                </a:lnTo>
                <a:lnTo>
                  <a:pt x="0" y="113"/>
                </a:lnTo>
                <a:lnTo>
                  <a:pt x="0" y="113"/>
                </a:lnTo>
                <a:lnTo>
                  <a:pt x="1" y="120"/>
                </a:lnTo>
                <a:lnTo>
                  <a:pt x="2" y="127"/>
                </a:lnTo>
                <a:lnTo>
                  <a:pt x="4" y="134"/>
                </a:lnTo>
                <a:lnTo>
                  <a:pt x="6" y="141"/>
                </a:lnTo>
                <a:lnTo>
                  <a:pt x="9" y="148"/>
                </a:lnTo>
                <a:lnTo>
                  <a:pt x="13" y="154"/>
                </a:lnTo>
                <a:lnTo>
                  <a:pt x="17" y="159"/>
                </a:lnTo>
                <a:lnTo>
                  <a:pt x="22" y="164"/>
                </a:lnTo>
                <a:lnTo>
                  <a:pt x="27" y="169"/>
                </a:lnTo>
                <a:lnTo>
                  <a:pt x="33" y="173"/>
                </a:lnTo>
                <a:lnTo>
                  <a:pt x="39" y="177"/>
                </a:lnTo>
                <a:lnTo>
                  <a:pt x="45" y="180"/>
                </a:lnTo>
                <a:lnTo>
                  <a:pt x="52" y="183"/>
                </a:lnTo>
                <a:lnTo>
                  <a:pt x="59" y="184"/>
                </a:lnTo>
                <a:lnTo>
                  <a:pt x="66" y="186"/>
                </a:lnTo>
                <a:lnTo>
                  <a:pt x="74" y="186"/>
                </a:lnTo>
                <a:lnTo>
                  <a:pt x="242" y="186"/>
                </a:lnTo>
                <a:lnTo>
                  <a:pt x="242" y="186"/>
                </a:lnTo>
                <a:lnTo>
                  <a:pt x="250" y="186"/>
                </a:lnTo>
                <a:lnTo>
                  <a:pt x="257" y="184"/>
                </a:lnTo>
                <a:lnTo>
                  <a:pt x="265" y="183"/>
                </a:lnTo>
                <a:lnTo>
                  <a:pt x="272" y="180"/>
                </a:lnTo>
                <a:lnTo>
                  <a:pt x="278" y="177"/>
                </a:lnTo>
                <a:lnTo>
                  <a:pt x="284" y="173"/>
                </a:lnTo>
                <a:lnTo>
                  <a:pt x="290" y="169"/>
                </a:lnTo>
                <a:lnTo>
                  <a:pt x="295" y="164"/>
                </a:lnTo>
                <a:lnTo>
                  <a:pt x="300" y="159"/>
                </a:lnTo>
                <a:lnTo>
                  <a:pt x="304" y="154"/>
                </a:lnTo>
                <a:lnTo>
                  <a:pt x="308" y="148"/>
                </a:lnTo>
                <a:lnTo>
                  <a:pt x="311" y="141"/>
                </a:lnTo>
                <a:lnTo>
                  <a:pt x="314" y="134"/>
                </a:lnTo>
                <a:lnTo>
                  <a:pt x="315" y="127"/>
                </a:lnTo>
                <a:lnTo>
                  <a:pt x="316" y="120"/>
                </a:lnTo>
                <a:lnTo>
                  <a:pt x="317" y="113"/>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5" name="Freeform 2177"/>
          <p:cNvSpPr>
            <a:spLocks/>
          </p:cNvSpPr>
          <p:nvPr/>
        </p:nvSpPr>
        <p:spPr bwMode="auto">
          <a:xfrm>
            <a:off x="1670051" y="4876737"/>
            <a:ext cx="82550" cy="49212"/>
          </a:xfrm>
          <a:custGeom>
            <a:avLst/>
            <a:gdLst>
              <a:gd name="T0" fmla="*/ 317 w 317"/>
              <a:gd name="T1" fmla="*/ 75 h 186"/>
              <a:gd name="T2" fmla="*/ 316 w 317"/>
              <a:gd name="T3" fmla="*/ 60 h 186"/>
              <a:gd name="T4" fmla="*/ 312 w 317"/>
              <a:gd name="T5" fmla="*/ 46 h 186"/>
              <a:gd name="T6" fmla="*/ 305 w 317"/>
              <a:gd name="T7" fmla="*/ 34 h 186"/>
              <a:gd name="T8" fmla="*/ 295 w 317"/>
              <a:gd name="T9" fmla="*/ 23 h 186"/>
              <a:gd name="T10" fmla="*/ 284 w 317"/>
              <a:gd name="T11" fmla="*/ 13 h 186"/>
              <a:gd name="T12" fmla="*/ 271 w 317"/>
              <a:gd name="T13" fmla="*/ 6 h 186"/>
              <a:gd name="T14" fmla="*/ 258 w 317"/>
              <a:gd name="T15" fmla="*/ 2 h 186"/>
              <a:gd name="T16" fmla="*/ 243 w 317"/>
              <a:gd name="T17" fmla="*/ 0 h 186"/>
              <a:gd name="T18" fmla="*/ 74 w 317"/>
              <a:gd name="T19" fmla="*/ 0 h 186"/>
              <a:gd name="T20" fmla="*/ 59 w 317"/>
              <a:gd name="T21" fmla="*/ 2 h 186"/>
              <a:gd name="T22" fmla="*/ 46 w 317"/>
              <a:gd name="T23" fmla="*/ 6 h 186"/>
              <a:gd name="T24" fmla="*/ 33 w 317"/>
              <a:gd name="T25" fmla="*/ 13 h 186"/>
              <a:gd name="T26" fmla="*/ 21 w 317"/>
              <a:gd name="T27" fmla="*/ 23 h 186"/>
              <a:gd name="T28" fmla="*/ 12 w 317"/>
              <a:gd name="T29" fmla="*/ 34 h 186"/>
              <a:gd name="T30" fmla="*/ 5 w 317"/>
              <a:gd name="T31" fmla="*/ 46 h 186"/>
              <a:gd name="T32" fmla="*/ 1 w 317"/>
              <a:gd name="T33" fmla="*/ 60 h 186"/>
              <a:gd name="T34" fmla="*/ 0 w 317"/>
              <a:gd name="T35" fmla="*/ 75 h 186"/>
              <a:gd name="T36" fmla="*/ 0 w 317"/>
              <a:gd name="T37" fmla="*/ 113 h 186"/>
              <a:gd name="T38" fmla="*/ 1 w 317"/>
              <a:gd name="T39" fmla="*/ 127 h 186"/>
              <a:gd name="T40" fmla="*/ 5 w 317"/>
              <a:gd name="T41" fmla="*/ 141 h 186"/>
              <a:gd name="T42" fmla="*/ 12 w 317"/>
              <a:gd name="T43" fmla="*/ 154 h 186"/>
              <a:gd name="T44" fmla="*/ 21 w 317"/>
              <a:gd name="T45" fmla="*/ 164 h 186"/>
              <a:gd name="T46" fmla="*/ 33 w 317"/>
              <a:gd name="T47" fmla="*/ 173 h 186"/>
              <a:gd name="T48" fmla="*/ 46 w 317"/>
              <a:gd name="T49" fmla="*/ 180 h 186"/>
              <a:gd name="T50" fmla="*/ 59 w 317"/>
              <a:gd name="T51" fmla="*/ 184 h 186"/>
              <a:gd name="T52" fmla="*/ 74 w 317"/>
              <a:gd name="T53" fmla="*/ 186 h 186"/>
              <a:gd name="T54" fmla="*/ 243 w 317"/>
              <a:gd name="T55" fmla="*/ 186 h 186"/>
              <a:gd name="T56" fmla="*/ 258 w 317"/>
              <a:gd name="T57" fmla="*/ 184 h 186"/>
              <a:gd name="T58" fmla="*/ 271 w 317"/>
              <a:gd name="T59" fmla="*/ 180 h 186"/>
              <a:gd name="T60" fmla="*/ 284 w 317"/>
              <a:gd name="T61" fmla="*/ 173 h 186"/>
              <a:gd name="T62" fmla="*/ 295 w 317"/>
              <a:gd name="T63" fmla="*/ 164 h 186"/>
              <a:gd name="T64" fmla="*/ 305 w 317"/>
              <a:gd name="T65" fmla="*/ 154 h 186"/>
              <a:gd name="T66" fmla="*/ 312 w 317"/>
              <a:gd name="T67" fmla="*/ 141 h 186"/>
              <a:gd name="T68" fmla="*/ 316 w 317"/>
              <a:gd name="T69" fmla="*/ 127 h 186"/>
              <a:gd name="T70" fmla="*/ 317 w 317"/>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3"/>
                </a:lnTo>
                <a:lnTo>
                  <a:pt x="312" y="46"/>
                </a:lnTo>
                <a:lnTo>
                  <a:pt x="308" y="40"/>
                </a:lnTo>
                <a:lnTo>
                  <a:pt x="305" y="34"/>
                </a:lnTo>
                <a:lnTo>
                  <a:pt x="301" y="28"/>
                </a:lnTo>
                <a:lnTo>
                  <a:pt x="295" y="23"/>
                </a:lnTo>
                <a:lnTo>
                  <a:pt x="290" y="17"/>
                </a:lnTo>
                <a:lnTo>
                  <a:pt x="284" y="13"/>
                </a:lnTo>
                <a:lnTo>
                  <a:pt x="278" y="9"/>
                </a:lnTo>
                <a:lnTo>
                  <a:pt x="271" y="6"/>
                </a:lnTo>
                <a:lnTo>
                  <a:pt x="265" y="4"/>
                </a:lnTo>
                <a:lnTo>
                  <a:pt x="258" y="2"/>
                </a:lnTo>
                <a:lnTo>
                  <a:pt x="250" y="1"/>
                </a:lnTo>
                <a:lnTo>
                  <a:pt x="243" y="0"/>
                </a:lnTo>
                <a:lnTo>
                  <a:pt x="74" y="0"/>
                </a:lnTo>
                <a:lnTo>
                  <a:pt x="74" y="0"/>
                </a:lnTo>
                <a:lnTo>
                  <a:pt x="67" y="1"/>
                </a:lnTo>
                <a:lnTo>
                  <a:pt x="59" y="2"/>
                </a:lnTo>
                <a:lnTo>
                  <a:pt x="52" y="4"/>
                </a:lnTo>
                <a:lnTo>
                  <a:pt x="46" y="6"/>
                </a:lnTo>
                <a:lnTo>
                  <a:pt x="39" y="9"/>
                </a:lnTo>
                <a:lnTo>
                  <a:pt x="33" y="13"/>
                </a:lnTo>
                <a:lnTo>
                  <a:pt x="26" y="17"/>
                </a:lnTo>
                <a:lnTo>
                  <a:pt x="21" y="23"/>
                </a:lnTo>
                <a:lnTo>
                  <a:pt x="16" y="28"/>
                </a:lnTo>
                <a:lnTo>
                  <a:pt x="12" y="34"/>
                </a:lnTo>
                <a:lnTo>
                  <a:pt x="9" y="40"/>
                </a:lnTo>
                <a:lnTo>
                  <a:pt x="5" y="46"/>
                </a:lnTo>
                <a:lnTo>
                  <a:pt x="3" y="53"/>
                </a:lnTo>
                <a:lnTo>
                  <a:pt x="1" y="60"/>
                </a:lnTo>
                <a:lnTo>
                  <a:pt x="0" y="67"/>
                </a:lnTo>
                <a:lnTo>
                  <a:pt x="0" y="75"/>
                </a:lnTo>
                <a:lnTo>
                  <a:pt x="0" y="113"/>
                </a:lnTo>
                <a:lnTo>
                  <a:pt x="0" y="113"/>
                </a:lnTo>
                <a:lnTo>
                  <a:pt x="0" y="120"/>
                </a:lnTo>
                <a:lnTo>
                  <a:pt x="1" y="127"/>
                </a:lnTo>
                <a:lnTo>
                  <a:pt x="3" y="134"/>
                </a:lnTo>
                <a:lnTo>
                  <a:pt x="5" y="141"/>
                </a:lnTo>
                <a:lnTo>
                  <a:pt x="9" y="148"/>
                </a:lnTo>
                <a:lnTo>
                  <a:pt x="12" y="154"/>
                </a:lnTo>
                <a:lnTo>
                  <a:pt x="16" y="159"/>
                </a:lnTo>
                <a:lnTo>
                  <a:pt x="21" y="164"/>
                </a:lnTo>
                <a:lnTo>
                  <a:pt x="26" y="169"/>
                </a:lnTo>
                <a:lnTo>
                  <a:pt x="33" y="173"/>
                </a:lnTo>
                <a:lnTo>
                  <a:pt x="39" y="177"/>
                </a:lnTo>
                <a:lnTo>
                  <a:pt x="46" y="180"/>
                </a:lnTo>
                <a:lnTo>
                  <a:pt x="52" y="183"/>
                </a:lnTo>
                <a:lnTo>
                  <a:pt x="59" y="184"/>
                </a:lnTo>
                <a:lnTo>
                  <a:pt x="67" y="186"/>
                </a:lnTo>
                <a:lnTo>
                  <a:pt x="74" y="186"/>
                </a:lnTo>
                <a:lnTo>
                  <a:pt x="243" y="186"/>
                </a:lnTo>
                <a:lnTo>
                  <a:pt x="243" y="186"/>
                </a:lnTo>
                <a:lnTo>
                  <a:pt x="250" y="186"/>
                </a:lnTo>
                <a:lnTo>
                  <a:pt x="258" y="184"/>
                </a:lnTo>
                <a:lnTo>
                  <a:pt x="265" y="183"/>
                </a:lnTo>
                <a:lnTo>
                  <a:pt x="271" y="180"/>
                </a:lnTo>
                <a:lnTo>
                  <a:pt x="278" y="177"/>
                </a:lnTo>
                <a:lnTo>
                  <a:pt x="284" y="173"/>
                </a:lnTo>
                <a:lnTo>
                  <a:pt x="290" y="169"/>
                </a:lnTo>
                <a:lnTo>
                  <a:pt x="295" y="164"/>
                </a:lnTo>
                <a:lnTo>
                  <a:pt x="301" y="159"/>
                </a:lnTo>
                <a:lnTo>
                  <a:pt x="305" y="154"/>
                </a:lnTo>
                <a:lnTo>
                  <a:pt x="308" y="148"/>
                </a:lnTo>
                <a:lnTo>
                  <a:pt x="312" y="141"/>
                </a:lnTo>
                <a:lnTo>
                  <a:pt x="314" y="134"/>
                </a:lnTo>
                <a:lnTo>
                  <a:pt x="316" y="127"/>
                </a:lnTo>
                <a:lnTo>
                  <a:pt x="317" y="120"/>
                </a:lnTo>
                <a:lnTo>
                  <a:pt x="317" y="113"/>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6" name="Freeform 2178"/>
          <p:cNvSpPr>
            <a:spLocks/>
          </p:cNvSpPr>
          <p:nvPr/>
        </p:nvSpPr>
        <p:spPr bwMode="auto">
          <a:xfrm>
            <a:off x="1776414" y="4876737"/>
            <a:ext cx="84138" cy="49212"/>
          </a:xfrm>
          <a:custGeom>
            <a:avLst/>
            <a:gdLst>
              <a:gd name="T0" fmla="*/ 317 w 317"/>
              <a:gd name="T1" fmla="*/ 75 h 186"/>
              <a:gd name="T2" fmla="*/ 315 w 317"/>
              <a:gd name="T3" fmla="*/ 60 h 186"/>
              <a:gd name="T4" fmla="*/ 311 w 317"/>
              <a:gd name="T5" fmla="*/ 46 h 186"/>
              <a:gd name="T6" fmla="*/ 304 w 317"/>
              <a:gd name="T7" fmla="*/ 34 h 186"/>
              <a:gd name="T8" fmla="*/ 295 w 317"/>
              <a:gd name="T9" fmla="*/ 23 h 186"/>
              <a:gd name="T10" fmla="*/ 284 w 317"/>
              <a:gd name="T11" fmla="*/ 13 h 186"/>
              <a:gd name="T12" fmla="*/ 272 w 317"/>
              <a:gd name="T13" fmla="*/ 6 h 186"/>
              <a:gd name="T14" fmla="*/ 258 w 317"/>
              <a:gd name="T15" fmla="*/ 2 h 186"/>
              <a:gd name="T16" fmla="*/ 242 w 317"/>
              <a:gd name="T17" fmla="*/ 0 h 186"/>
              <a:gd name="T18" fmla="*/ 75 w 317"/>
              <a:gd name="T19" fmla="*/ 0 h 186"/>
              <a:gd name="T20" fmla="*/ 59 w 317"/>
              <a:gd name="T21" fmla="*/ 2 h 186"/>
              <a:gd name="T22" fmla="*/ 45 w 317"/>
              <a:gd name="T23" fmla="*/ 6 h 186"/>
              <a:gd name="T24" fmla="*/ 33 w 317"/>
              <a:gd name="T25" fmla="*/ 13 h 186"/>
              <a:gd name="T26" fmla="*/ 22 w 317"/>
              <a:gd name="T27" fmla="*/ 23 h 186"/>
              <a:gd name="T28" fmla="*/ 13 w 317"/>
              <a:gd name="T29" fmla="*/ 34 h 186"/>
              <a:gd name="T30" fmla="*/ 6 w 317"/>
              <a:gd name="T31" fmla="*/ 46 h 186"/>
              <a:gd name="T32" fmla="*/ 2 w 317"/>
              <a:gd name="T33" fmla="*/ 60 h 186"/>
              <a:gd name="T34" fmla="*/ 0 w 317"/>
              <a:gd name="T35" fmla="*/ 75 h 186"/>
              <a:gd name="T36" fmla="*/ 0 w 317"/>
              <a:gd name="T37" fmla="*/ 113 h 186"/>
              <a:gd name="T38" fmla="*/ 2 w 317"/>
              <a:gd name="T39" fmla="*/ 127 h 186"/>
              <a:gd name="T40" fmla="*/ 6 w 317"/>
              <a:gd name="T41" fmla="*/ 141 h 186"/>
              <a:gd name="T42" fmla="*/ 13 w 317"/>
              <a:gd name="T43" fmla="*/ 154 h 186"/>
              <a:gd name="T44" fmla="*/ 22 w 317"/>
              <a:gd name="T45" fmla="*/ 164 h 186"/>
              <a:gd name="T46" fmla="*/ 33 w 317"/>
              <a:gd name="T47" fmla="*/ 173 h 186"/>
              <a:gd name="T48" fmla="*/ 45 w 317"/>
              <a:gd name="T49" fmla="*/ 180 h 186"/>
              <a:gd name="T50" fmla="*/ 59 w 317"/>
              <a:gd name="T51" fmla="*/ 184 h 186"/>
              <a:gd name="T52" fmla="*/ 75 w 317"/>
              <a:gd name="T53" fmla="*/ 186 h 186"/>
              <a:gd name="T54" fmla="*/ 242 w 317"/>
              <a:gd name="T55" fmla="*/ 186 h 186"/>
              <a:gd name="T56" fmla="*/ 258 w 317"/>
              <a:gd name="T57" fmla="*/ 184 h 186"/>
              <a:gd name="T58" fmla="*/ 272 w 317"/>
              <a:gd name="T59" fmla="*/ 180 h 186"/>
              <a:gd name="T60" fmla="*/ 284 w 317"/>
              <a:gd name="T61" fmla="*/ 173 h 186"/>
              <a:gd name="T62" fmla="*/ 295 w 317"/>
              <a:gd name="T63" fmla="*/ 164 h 186"/>
              <a:gd name="T64" fmla="*/ 304 w 317"/>
              <a:gd name="T65" fmla="*/ 154 h 186"/>
              <a:gd name="T66" fmla="*/ 311 w 317"/>
              <a:gd name="T67" fmla="*/ 141 h 186"/>
              <a:gd name="T68" fmla="*/ 315 w 317"/>
              <a:gd name="T69" fmla="*/ 127 h 186"/>
              <a:gd name="T70" fmla="*/ 317 w 317"/>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6" y="67"/>
                </a:lnTo>
                <a:lnTo>
                  <a:pt x="315" y="60"/>
                </a:lnTo>
                <a:lnTo>
                  <a:pt x="313" y="53"/>
                </a:lnTo>
                <a:lnTo>
                  <a:pt x="311" y="46"/>
                </a:lnTo>
                <a:lnTo>
                  <a:pt x="308" y="40"/>
                </a:lnTo>
                <a:lnTo>
                  <a:pt x="304" y="34"/>
                </a:lnTo>
                <a:lnTo>
                  <a:pt x="300" y="28"/>
                </a:lnTo>
                <a:lnTo>
                  <a:pt x="295" y="23"/>
                </a:lnTo>
                <a:lnTo>
                  <a:pt x="290" y="17"/>
                </a:lnTo>
                <a:lnTo>
                  <a:pt x="284" y="13"/>
                </a:lnTo>
                <a:lnTo>
                  <a:pt x="278" y="9"/>
                </a:lnTo>
                <a:lnTo>
                  <a:pt x="272" y="6"/>
                </a:lnTo>
                <a:lnTo>
                  <a:pt x="265" y="4"/>
                </a:lnTo>
                <a:lnTo>
                  <a:pt x="258" y="2"/>
                </a:lnTo>
                <a:lnTo>
                  <a:pt x="251" y="1"/>
                </a:lnTo>
                <a:lnTo>
                  <a:pt x="242" y="0"/>
                </a:lnTo>
                <a:lnTo>
                  <a:pt x="75" y="0"/>
                </a:lnTo>
                <a:lnTo>
                  <a:pt x="75" y="0"/>
                </a:lnTo>
                <a:lnTo>
                  <a:pt x="66" y="1"/>
                </a:lnTo>
                <a:lnTo>
                  <a:pt x="59" y="2"/>
                </a:lnTo>
                <a:lnTo>
                  <a:pt x="52" y="4"/>
                </a:lnTo>
                <a:lnTo>
                  <a:pt x="45" y="6"/>
                </a:lnTo>
                <a:lnTo>
                  <a:pt x="39" y="9"/>
                </a:lnTo>
                <a:lnTo>
                  <a:pt x="33" y="13"/>
                </a:lnTo>
                <a:lnTo>
                  <a:pt x="27" y="17"/>
                </a:lnTo>
                <a:lnTo>
                  <a:pt x="22" y="23"/>
                </a:lnTo>
                <a:lnTo>
                  <a:pt x="17" y="28"/>
                </a:lnTo>
                <a:lnTo>
                  <a:pt x="13" y="34"/>
                </a:lnTo>
                <a:lnTo>
                  <a:pt x="9" y="40"/>
                </a:lnTo>
                <a:lnTo>
                  <a:pt x="6" y="46"/>
                </a:lnTo>
                <a:lnTo>
                  <a:pt x="3" y="53"/>
                </a:lnTo>
                <a:lnTo>
                  <a:pt x="2" y="60"/>
                </a:lnTo>
                <a:lnTo>
                  <a:pt x="1" y="67"/>
                </a:lnTo>
                <a:lnTo>
                  <a:pt x="0" y="75"/>
                </a:lnTo>
                <a:lnTo>
                  <a:pt x="0" y="113"/>
                </a:lnTo>
                <a:lnTo>
                  <a:pt x="0" y="113"/>
                </a:lnTo>
                <a:lnTo>
                  <a:pt x="1" y="120"/>
                </a:lnTo>
                <a:lnTo>
                  <a:pt x="2" y="127"/>
                </a:lnTo>
                <a:lnTo>
                  <a:pt x="3" y="134"/>
                </a:lnTo>
                <a:lnTo>
                  <a:pt x="6" y="141"/>
                </a:lnTo>
                <a:lnTo>
                  <a:pt x="9" y="148"/>
                </a:lnTo>
                <a:lnTo>
                  <a:pt x="13" y="154"/>
                </a:lnTo>
                <a:lnTo>
                  <a:pt x="17" y="159"/>
                </a:lnTo>
                <a:lnTo>
                  <a:pt x="22" y="164"/>
                </a:lnTo>
                <a:lnTo>
                  <a:pt x="27" y="169"/>
                </a:lnTo>
                <a:lnTo>
                  <a:pt x="33" y="173"/>
                </a:lnTo>
                <a:lnTo>
                  <a:pt x="39" y="177"/>
                </a:lnTo>
                <a:lnTo>
                  <a:pt x="45" y="180"/>
                </a:lnTo>
                <a:lnTo>
                  <a:pt x="52" y="183"/>
                </a:lnTo>
                <a:lnTo>
                  <a:pt x="59" y="184"/>
                </a:lnTo>
                <a:lnTo>
                  <a:pt x="66" y="186"/>
                </a:lnTo>
                <a:lnTo>
                  <a:pt x="75" y="186"/>
                </a:lnTo>
                <a:lnTo>
                  <a:pt x="242" y="186"/>
                </a:lnTo>
                <a:lnTo>
                  <a:pt x="242" y="186"/>
                </a:lnTo>
                <a:lnTo>
                  <a:pt x="251" y="186"/>
                </a:lnTo>
                <a:lnTo>
                  <a:pt x="258" y="184"/>
                </a:lnTo>
                <a:lnTo>
                  <a:pt x="265" y="183"/>
                </a:lnTo>
                <a:lnTo>
                  <a:pt x="272" y="180"/>
                </a:lnTo>
                <a:lnTo>
                  <a:pt x="278" y="177"/>
                </a:lnTo>
                <a:lnTo>
                  <a:pt x="284" y="173"/>
                </a:lnTo>
                <a:lnTo>
                  <a:pt x="290" y="169"/>
                </a:lnTo>
                <a:lnTo>
                  <a:pt x="295" y="164"/>
                </a:lnTo>
                <a:lnTo>
                  <a:pt x="300" y="159"/>
                </a:lnTo>
                <a:lnTo>
                  <a:pt x="304" y="154"/>
                </a:lnTo>
                <a:lnTo>
                  <a:pt x="308" y="148"/>
                </a:lnTo>
                <a:lnTo>
                  <a:pt x="311" y="141"/>
                </a:lnTo>
                <a:lnTo>
                  <a:pt x="313" y="134"/>
                </a:lnTo>
                <a:lnTo>
                  <a:pt x="315" y="127"/>
                </a:lnTo>
                <a:lnTo>
                  <a:pt x="316" y="120"/>
                </a:lnTo>
                <a:lnTo>
                  <a:pt x="317" y="113"/>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7" name="Freeform 2179"/>
          <p:cNvSpPr>
            <a:spLocks/>
          </p:cNvSpPr>
          <p:nvPr/>
        </p:nvSpPr>
        <p:spPr bwMode="auto">
          <a:xfrm>
            <a:off x="1884364" y="4876737"/>
            <a:ext cx="84138" cy="49212"/>
          </a:xfrm>
          <a:custGeom>
            <a:avLst/>
            <a:gdLst>
              <a:gd name="T0" fmla="*/ 317 w 317"/>
              <a:gd name="T1" fmla="*/ 75 h 186"/>
              <a:gd name="T2" fmla="*/ 316 w 317"/>
              <a:gd name="T3" fmla="*/ 60 h 186"/>
              <a:gd name="T4" fmla="*/ 311 w 317"/>
              <a:gd name="T5" fmla="*/ 46 h 186"/>
              <a:gd name="T6" fmla="*/ 305 w 317"/>
              <a:gd name="T7" fmla="*/ 34 h 186"/>
              <a:gd name="T8" fmla="*/ 296 w 317"/>
              <a:gd name="T9" fmla="*/ 23 h 186"/>
              <a:gd name="T10" fmla="*/ 285 w 317"/>
              <a:gd name="T11" fmla="*/ 13 h 186"/>
              <a:gd name="T12" fmla="*/ 271 w 317"/>
              <a:gd name="T13" fmla="*/ 6 h 186"/>
              <a:gd name="T14" fmla="*/ 258 w 317"/>
              <a:gd name="T15" fmla="*/ 2 h 186"/>
              <a:gd name="T16" fmla="*/ 243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3 h 186"/>
              <a:gd name="T28" fmla="*/ 12 w 317"/>
              <a:gd name="T29" fmla="*/ 34 h 186"/>
              <a:gd name="T30" fmla="*/ 5 w 317"/>
              <a:gd name="T31" fmla="*/ 46 h 186"/>
              <a:gd name="T32" fmla="*/ 1 w 317"/>
              <a:gd name="T33" fmla="*/ 60 h 186"/>
              <a:gd name="T34" fmla="*/ 0 w 317"/>
              <a:gd name="T35" fmla="*/ 75 h 186"/>
              <a:gd name="T36" fmla="*/ 0 w 317"/>
              <a:gd name="T37" fmla="*/ 113 h 186"/>
              <a:gd name="T38" fmla="*/ 1 w 317"/>
              <a:gd name="T39" fmla="*/ 127 h 186"/>
              <a:gd name="T40" fmla="*/ 5 w 317"/>
              <a:gd name="T41" fmla="*/ 141 h 186"/>
              <a:gd name="T42" fmla="*/ 12 w 317"/>
              <a:gd name="T43" fmla="*/ 154 h 186"/>
              <a:gd name="T44" fmla="*/ 22 w 317"/>
              <a:gd name="T45" fmla="*/ 164 h 186"/>
              <a:gd name="T46" fmla="*/ 33 w 317"/>
              <a:gd name="T47" fmla="*/ 173 h 186"/>
              <a:gd name="T48" fmla="*/ 45 w 317"/>
              <a:gd name="T49" fmla="*/ 180 h 186"/>
              <a:gd name="T50" fmla="*/ 59 w 317"/>
              <a:gd name="T51" fmla="*/ 184 h 186"/>
              <a:gd name="T52" fmla="*/ 74 w 317"/>
              <a:gd name="T53" fmla="*/ 186 h 186"/>
              <a:gd name="T54" fmla="*/ 243 w 317"/>
              <a:gd name="T55" fmla="*/ 186 h 186"/>
              <a:gd name="T56" fmla="*/ 258 w 317"/>
              <a:gd name="T57" fmla="*/ 184 h 186"/>
              <a:gd name="T58" fmla="*/ 271 w 317"/>
              <a:gd name="T59" fmla="*/ 180 h 186"/>
              <a:gd name="T60" fmla="*/ 285 w 317"/>
              <a:gd name="T61" fmla="*/ 173 h 186"/>
              <a:gd name="T62" fmla="*/ 296 w 317"/>
              <a:gd name="T63" fmla="*/ 164 h 186"/>
              <a:gd name="T64" fmla="*/ 305 w 317"/>
              <a:gd name="T65" fmla="*/ 154 h 186"/>
              <a:gd name="T66" fmla="*/ 311 w 317"/>
              <a:gd name="T67" fmla="*/ 141 h 186"/>
              <a:gd name="T68" fmla="*/ 316 w 317"/>
              <a:gd name="T69" fmla="*/ 127 h 186"/>
              <a:gd name="T70" fmla="*/ 317 w 317"/>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3"/>
                </a:lnTo>
                <a:lnTo>
                  <a:pt x="311" y="46"/>
                </a:lnTo>
                <a:lnTo>
                  <a:pt x="308" y="40"/>
                </a:lnTo>
                <a:lnTo>
                  <a:pt x="305" y="34"/>
                </a:lnTo>
                <a:lnTo>
                  <a:pt x="300" y="28"/>
                </a:lnTo>
                <a:lnTo>
                  <a:pt x="296" y="23"/>
                </a:lnTo>
                <a:lnTo>
                  <a:pt x="290" y="17"/>
                </a:lnTo>
                <a:lnTo>
                  <a:pt x="285" y="13"/>
                </a:lnTo>
                <a:lnTo>
                  <a:pt x="278" y="9"/>
                </a:lnTo>
                <a:lnTo>
                  <a:pt x="271" y="6"/>
                </a:lnTo>
                <a:lnTo>
                  <a:pt x="265" y="4"/>
                </a:lnTo>
                <a:lnTo>
                  <a:pt x="258" y="2"/>
                </a:lnTo>
                <a:lnTo>
                  <a:pt x="250" y="1"/>
                </a:lnTo>
                <a:lnTo>
                  <a:pt x="243" y="0"/>
                </a:lnTo>
                <a:lnTo>
                  <a:pt x="74" y="0"/>
                </a:lnTo>
                <a:lnTo>
                  <a:pt x="74" y="0"/>
                </a:lnTo>
                <a:lnTo>
                  <a:pt x="67" y="1"/>
                </a:lnTo>
                <a:lnTo>
                  <a:pt x="59" y="2"/>
                </a:lnTo>
                <a:lnTo>
                  <a:pt x="52" y="4"/>
                </a:lnTo>
                <a:lnTo>
                  <a:pt x="45" y="6"/>
                </a:lnTo>
                <a:lnTo>
                  <a:pt x="39" y="9"/>
                </a:lnTo>
                <a:lnTo>
                  <a:pt x="33" y="13"/>
                </a:lnTo>
                <a:lnTo>
                  <a:pt x="27" y="17"/>
                </a:lnTo>
                <a:lnTo>
                  <a:pt x="22" y="23"/>
                </a:lnTo>
                <a:lnTo>
                  <a:pt x="17" y="28"/>
                </a:lnTo>
                <a:lnTo>
                  <a:pt x="12" y="34"/>
                </a:lnTo>
                <a:lnTo>
                  <a:pt x="8" y="40"/>
                </a:lnTo>
                <a:lnTo>
                  <a:pt x="5" y="46"/>
                </a:lnTo>
                <a:lnTo>
                  <a:pt x="3" y="53"/>
                </a:lnTo>
                <a:lnTo>
                  <a:pt x="1" y="60"/>
                </a:lnTo>
                <a:lnTo>
                  <a:pt x="0" y="67"/>
                </a:lnTo>
                <a:lnTo>
                  <a:pt x="0" y="75"/>
                </a:lnTo>
                <a:lnTo>
                  <a:pt x="0" y="113"/>
                </a:lnTo>
                <a:lnTo>
                  <a:pt x="0" y="113"/>
                </a:lnTo>
                <a:lnTo>
                  <a:pt x="0" y="120"/>
                </a:lnTo>
                <a:lnTo>
                  <a:pt x="1" y="127"/>
                </a:lnTo>
                <a:lnTo>
                  <a:pt x="3" y="134"/>
                </a:lnTo>
                <a:lnTo>
                  <a:pt x="5" y="141"/>
                </a:lnTo>
                <a:lnTo>
                  <a:pt x="8" y="148"/>
                </a:lnTo>
                <a:lnTo>
                  <a:pt x="12" y="154"/>
                </a:lnTo>
                <a:lnTo>
                  <a:pt x="17" y="159"/>
                </a:lnTo>
                <a:lnTo>
                  <a:pt x="22" y="164"/>
                </a:lnTo>
                <a:lnTo>
                  <a:pt x="27" y="169"/>
                </a:lnTo>
                <a:lnTo>
                  <a:pt x="33" y="173"/>
                </a:lnTo>
                <a:lnTo>
                  <a:pt x="39" y="177"/>
                </a:lnTo>
                <a:lnTo>
                  <a:pt x="45" y="180"/>
                </a:lnTo>
                <a:lnTo>
                  <a:pt x="52" y="183"/>
                </a:lnTo>
                <a:lnTo>
                  <a:pt x="59" y="184"/>
                </a:lnTo>
                <a:lnTo>
                  <a:pt x="67" y="186"/>
                </a:lnTo>
                <a:lnTo>
                  <a:pt x="74" y="186"/>
                </a:lnTo>
                <a:lnTo>
                  <a:pt x="243" y="186"/>
                </a:lnTo>
                <a:lnTo>
                  <a:pt x="243" y="186"/>
                </a:lnTo>
                <a:lnTo>
                  <a:pt x="250" y="186"/>
                </a:lnTo>
                <a:lnTo>
                  <a:pt x="258" y="184"/>
                </a:lnTo>
                <a:lnTo>
                  <a:pt x="265" y="183"/>
                </a:lnTo>
                <a:lnTo>
                  <a:pt x="271" y="180"/>
                </a:lnTo>
                <a:lnTo>
                  <a:pt x="278" y="177"/>
                </a:lnTo>
                <a:lnTo>
                  <a:pt x="285" y="173"/>
                </a:lnTo>
                <a:lnTo>
                  <a:pt x="290" y="169"/>
                </a:lnTo>
                <a:lnTo>
                  <a:pt x="296" y="164"/>
                </a:lnTo>
                <a:lnTo>
                  <a:pt x="300" y="159"/>
                </a:lnTo>
                <a:lnTo>
                  <a:pt x="305" y="154"/>
                </a:lnTo>
                <a:lnTo>
                  <a:pt x="308" y="148"/>
                </a:lnTo>
                <a:lnTo>
                  <a:pt x="311" y="141"/>
                </a:lnTo>
                <a:lnTo>
                  <a:pt x="314" y="134"/>
                </a:lnTo>
                <a:lnTo>
                  <a:pt x="316" y="127"/>
                </a:lnTo>
                <a:lnTo>
                  <a:pt x="317" y="120"/>
                </a:lnTo>
                <a:lnTo>
                  <a:pt x="317" y="113"/>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8" name="Freeform 2180"/>
          <p:cNvSpPr>
            <a:spLocks/>
          </p:cNvSpPr>
          <p:nvPr/>
        </p:nvSpPr>
        <p:spPr bwMode="auto">
          <a:xfrm>
            <a:off x="1992314" y="4876737"/>
            <a:ext cx="84138" cy="49212"/>
          </a:xfrm>
          <a:custGeom>
            <a:avLst/>
            <a:gdLst>
              <a:gd name="T0" fmla="*/ 318 w 318"/>
              <a:gd name="T1" fmla="*/ 75 h 186"/>
              <a:gd name="T2" fmla="*/ 316 w 318"/>
              <a:gd name="T3" fmla="*/ 60 h 186"/>
              <a:gd name="T4" fmla="*/ 311 w 318"/>
              <a:gd name="T5" fmla="*/ 46 h 186"/>
              <a:gd name="T6" fmla="*/ 304 w 318"/>
              <a:gd name="T7" fmla="*/ 34 h 186"/>
              <a:gd name="T8" fmla="*/ 295 w 318"/>
              <a:gd name="T9" fmla="*/ 23 h 186"/>
              <a:gd name="T10" fmla="*/ 284 w 318"/>
              <a:gd name="T11" fmla="*/ 13 h 186"/>
              <a:gd name="T12" fmla="*/ 272 w 318"/>
              <a:gd name="T13" fmla="*/ 6 h 186"/>
              <a:gd name="T14" fmla="*/ 258 w 318"/>
              <a:gd name="T15" fmla="*/ 2 h 186"/>
              <a:gd name="T16" fmla="*/ 243 w 318"/>
              <a:gd name="T17" fmla="*/ 0 h 186"/>
              <a:gd name="T18" fmla="*/ 75 w 318"/>
              <a:gd name="T19" fmla="*/ 0 h 186"/>
              <a:gd name="T20" fmla="*/ 60 w 318"/>
              <a:gd name="T21" fmla="*/ 2 h 186"/>
              <a:gd name="T22" fmla="*/ 45 w 318"/>
              <a:gd name="T23" fmla="*/ 6 h 186"/>
              <a:gd name="T24" fmla="*/ 32 w 318"/>
              <a:gd name="T25" fmla="*/ 13 h 186"/>
              <a:gd name="T26" fmla="*/ 22 w 318"/>
              <a:gd name="T27" fmla="*/ 23 h 186"/>
              <a:gd name="T28" fmla="*/ 13 w 318"/>
              <a:gd name="T29" fmla="*/ 34 h 186"/>
              <a:gd name="T30" fmla="*/ 6 w 318"/>
              <a:gd name="T31" fmla="*/ 46 h 186"/>
              <a:gd name="T32" fmla="*/ 2 w 318"/>
              <a:gd name="T33" fmla="*/ 60 h 186"/>
              <a:gd name="T34" fmla="*/ 0 w 318"/>
              <a:gd name="T35" fmla="*/ 75 h 186"/>
              <a:gd name="T36" fmla="*/ 0 w 318"/>
              <a:gd name="T37" fmla="*/ 113 h 186"/>
              <a:gd name="T38" fmla="*/ 2 w 318"/>
              <a:gd name="T39" fmla="*/ 127 h 186"/>
              <a:gd name="T40" fmla="*/ 6 w 318"/>
              <a:gd name="T41" fmla="*/ 141 h 186"/>
              <a:gd name="T42" fmla="*/ 13 w 318"/>
              <a:gd name="T43" fmla="*/ 154 h 186"/>
              <a:gd name="T44" fmla="*/ 22 w 318"/>
              <a:gd name="T45" fmla="*/ 164 h 186"/>
              <a:gd name="T46" fmla="*/ 32 w 318"/>
              <a:gd name="T47" fmla="*/ 173 h 186"/>
              <a:gd name="T48" fmla="*/ 45 w 318"/>
              <a:gd name="T49" fmla="*/ 180 h 186"/>
              <a:gd name="T50" fmla="*/ 60 w 318"/>
              <a:gd name="T51" fmla="*/ 184 h 186"/>
              <a:gd name="T52" fmla="*/ 75 w 318"/>
              <a:gd name="T53" fmla="*/ 186 h 186"/>
              <a:gd name="T54" fmla="*/ 243 w 318"/>
              <a:gd name="T55" fmla="*/ 186 h 186"/>
              <a:gd name="T56" fmla="*/ 258 w 318"/>
              <a:gd name="T57" fmla="*/ 184 h 186"/>
              <a:gd name="T58" fmla="*/ 272 w 318"/>
              <a:gd name="T59" fmla="*/ 180 h 186"/>
              <a:gd name="T60" fmla="*/ 284 w 318"/>
              <a:gd name="T61" fmla="*/ 173 h 186"/>
              <a:gd name="T62" fmla="*/ 295 w 318"/>
              <a:gd name="T63" fmla="*/ 164 h 186"/>
              <a:gd name="T64" fmla="*/ 304 w 318"/>
              <a:gd name="T65" fmla="*/ 154 h 186"/>
              <a:gd name="T66" fmla="*/ 311 w 318"/>
              <a:gd name="T67" fmla="*/ 141 h 186"/>
              <a:gd name="T68" fmla="*/ 316 w 318"/>
              <a:gd name="T69" fmla="*/ 127 h 186"/>
              <a:gd name="T70" fmla="*/ 318 w 318"/>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7" y="67"/>
                </a:lnTo>
                <a:lnTo>
                  <a:pt x="316" y="60"/>
                </a:lnTo>
                <a:lnTo>
                  <a:pt x="313" y="53"/>
                </a:lnTo>
                <a:lnTo>
                  <a:pt x="311" y="46"/>
                </a:lnTo>
                <a:lnTo>
                  <a:pt x="308" y="40"/>
                </a:lnTo>
                <a:lnTo>
                  <a:pt x="304" y="34"/>
                </a:lnTo>
                <a:lnTo>
                  <a:pt x="300" y="28"/>
                </a:lnTo>
                <a:lnTo>
                  <a:pt x="295" y="23"/>
                </a:lnTo>
                <a:lnTo>
                  <a:pt x="290" y="17"/>
                </a:lnTo>
                <a:lnTo>
                  <a:pt x="284" y="13"/>
                </a:lnTo>
                <a:lnTo>
                  <a:pt x="278" y="9"/>
                </a:lnTo>
                <a:lnTo>
                  <a:pt x="272" y="6"/>
                </a:lnTo>
                <a:lnTo>
                  <a:pt x="265" y="4"/>
                </a:lnTo>
                <a:lnTo>
                  <a:pt x="258" y="2"/>
                </a:lnTo>
                <a:lnTo>
                  <a:pt x="251" y="1"/>
                </a:lnTo>
                <a:lnTo>
                  <a:pt x="243" y="0"/>
                </a:lnTo>
                <a:lnTo>
                  <a:pt x="75" y="0"/>
                </a:lnTo>
                <a:lnTo>
                  <a:pt x="75" y="0"/>
                </a:lnTo>
                <a:lnTo>
                  <a:pt x="67" y="1"/>
                </a:lnTo>
                <a:lnTo>
                  <a:pt x="60" y="2"/>
                </a:lnTo>
                <a:lnTo>
                  <a:pt x="53" y="4"/>
                </a:lnTo>
                <a:lnTo>
                  <a:pt x="45" y="6"/>
                </a:lnTo>
                <a:lnTo>
                  <a:pt x="38" y="9"/>
                </a:lnTo>
                <a:lnTo>
                  <a:pt x="32" y="13"/>
                </a:lnTo>
                <a:lnTo>
                  <a:pt x="27" y="17"/>
                </a:lnTo>
                <a:lnTo>
                  <a:pt x="22" y="23"/>
                </a:lnTo>
                <a:lnTo>
                  <a:pt x="17" y="28"/>
                </a:lnTo>
                <a:lnTo>
                  <a:pt x="13" y="34"/>
                </a:lnTo>
                <a:lnTo>
                  <a:pt x="9" y="40"/>
                </a:lnTo>
                <a:lnTo>
                  <a:pt x="6" y="46"/>
                </a:lnTo>
                <a:lnTo>
                  <a:pt x="3" y="53"/>
                </a:lnTo>
                <a:lnTo>
                  <a:pt x="2" y="60"/>
                </a:lnTo>
                <a:lnTo>
                  <a:pt x="0" y="67"/>
                </a:lnTo>
                <a:lnTo>
                  <a:pt x="0" y="75"/>
                </a:lnTo>
                <a:lnTo>
                  <a:pt x="0" y="113"/>
                </a:lnTo>
                <a:lnTo>
                  <a:pt x="0" y="113"/>
                </a:lnTo>
                <a:lnTo>
                  <a:pt x="0" y="120"/>
                </a:lnTo>
                <a:lnTo>
                  <a:pt x="2" y="127"/>
                </a:lnTo>
                <a:lnTo>
                  <a:pt x="3" y="134"/>
                </a:lnTo>
                <a:lnTo>
                  <a:pt x="6" y="141"/>
                </a:lnTo>
                <a:lnTo>
                  <a:pt x="9" y="148"/>
                </a:lnTo>
                <a:lnTo>
                  <a:pt x="13" y="154"/>
                </a:lnTo>
                <a:lnTo>
                  <a:pt x="17" y="159"/>
                </a:lnTo>
                <a:lnTo>
                  <a:pt x="22" y="164"/>
                </a:lnTo>
                <a:lnTo>
                  <a:pt x="27" y="169"/>
                </a:lnTo>
                <a:lnTo>
                  <a:pt x="32" y="173"/>
                </a:lnTo>
                <a:lnTo>
                  <a:pt x="38" y="177"/>
                </a:lnTo>
                <a:lnTo>
                  <a:pt x="45" y="180"/>
                </a:lnTo>
                <a:lnTo>
                  <a:pt x="53" y="183"/>
                </a:lnTo>
                <a:lnTo>
                  <a:pt x="60" y="184"/>
                </a:lnTo>
                <a:lnTo>
                  <a:pt x="67" y="186"/>
                </a:lnTo>
                <a:lnTo>
                  <a:pt x="75" y="186"/>
                </a:lnTo>
                <a:lnTo>
                  <a:pt x="243" y="186"/>
                </a:lnTo>
                <a:lnTo>
                  <a:pt x="243" y="186"/>
                </a:lnTo>
                <a:lnTo>
                  <a:pt x="251" y="186"/>
                </a:lnTo>
                <a:lnTo>
                  <a:pt x="258" y="184"/>
                </a:lnTo>
                <a:lnTo>
                  <a:pt x="265" y="183"/>
                </a:lnTo>
                <a:lnTo>
                  <a:pt x="272" y="180"/>
                </a:lnTo>
                <a:lnTo>
                  <a:pt x="278" y="177"/>
                </a:lnTo>
                <a:lnTo>
                  <a:pt x="284" y="173"/>
                </a:lnTo>
                <a:lnTo>
                  <a:pt x="290" y="169"/>
                </a:lnTo>
                <a:lnTo>
                  <a:pt x="295" y="164"/>
                </a:lnTo>
                <a:lnTo>
                  <a:pt x="300" y="159"/>
                </a:lnTo>
                <a:lnTo>
                  <a:pt x="304" y="154"/>
                </a:lnTo>
                <a:lnTo>
                  <a:pt x="308" y="148"/>
                </a:lnTo>
                <a:lnTo>
                  <a:pt x="311" y="141"/>
                </a:lnTo>
                <a:lnTo>
                  <a:pt x="313" y="134"/>
                </a:lnTo>
                <a:lnTo>
                  <a:pt x="316" y="127"/>
                </a:lnTo>
                <a:lnTo>
                  <a:pt x="317" y="120"/>
                </a:lnTo>
                <a:lnTo>
                  <a:pt x="318" y="113"/>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09" name="Freeform 2181"/>
          <p:cNvSpPr>
            <a:spLocks/>
          </p:cNvSpPr>
          <p:nvPr/>
        </p:nvSpPr>
        <p:spPr bwMode="auto">
          <a:xfrm>
            <a:off x="2098676" y="4876737"/>
            <a:ext cx="84138" cy="49212"/>
          </a:xfrm>
          <a:custGeom>
            <a:avLst/>
            <a:gdLst>
              <a:gd name="T0" fmla="*/ 317 w 317"/>
              <a:gd name="T1" fmla="*/ 75 h 186"/>
              <a:gd name="T2" fmla="*/ 316 w 317"/>
              <a:gd name="T3" fmla="*/ 60 h 186"/>
              <a:gd name="T4" fmla="*/ 311 w 317"/>
              <a:gd name="T5" fmla="*/ 46 h 186"/>
              <a:gd name="T6" fmla="*/ 305 w 317"/>
              <a:gd name="T7" fmla="*/ 34 h 186"/>
              <a:gd name="T8" fmla="*/ 296 w 317"/>
              <a:gd name="T9" fmla="*/ 23 h 186"/>
              <a:gd name="T10" fmla="*/ 285 w 317"/>
              <a:gd name="T11" fmla="*/ 13 h 186"/>
              <a:gd name="T12" fmla="*/ 272 w 317"/>
              <a:gd name="T13" fmla="*/ 6 h 186"/>
              <a:gd name="T14" fmla="*/ 257 w 317"/>
              <a:gd name="T15" fmla="*/ 2 h 186"/>
              <a:gd name="T16" fmla="*/ 243 w 317"/>
              <a:gd name="T17" fmla="*/ 0 h 186"/>
              <a:gd name="T18" fmla="*/ 74 w 317"/>
              <a:gd name="T19" fmla="*/ 0 h 186"/>
              <a:gd name="T20" fmla="*/ 59 w 317"/>
              <a:gd name="T21" fmla="*/ 2 h 186"/>
              <a:gd name="T22" fmla="*/ 45 w 317"/>
              <a:gd name="T23" fmla="*/ 6 h 186"/>
              <a:gd name="T24" fmla="*/ 33 w 317"/>
              <a:gd name="T25" fmla="*/ 13 h 186"/>
              <a:gd name="T26" fmla="*/ 22 w 317"/>
              <a:gd name="T27" fmla="*/ 23 h 186"/>
              <a:gd name="T28" fmla="*/ 13 w 317"/>
              <a:gd name="T29" fmla="*/ 34 h 186"/>
              <a:gd name="T30" fmla="*/ 6 w 317"/>
              <a:gd name="T31" fmla="*/ 46 h 186"/>
              <a:gd name="T32" fmla="*/ 2 w 317"/>
              <a:gd name="T33" fmla="*/ 60 h 186"/>
              <a:gd name="T34" fmla="*/ 0 w 317"/>
              <a:gd name="T35" fmla="*/ 75 h 186"/>
              <a:gd name="T36" fmla="*/ 0 w 317"/>
              <a:gd name="T37" fmla="*/ 113 h 186"/>
              <a:gd name="T38" fmla="*/ 2 w 317"/>
              <a:gd name="T39" fmla="*/ 127 h 186"/>
              <a:gd name="T40" fmla="*/ 6 w 317"/>
              <a:gd name="T41" fmla="*/ 141 h 186"/>
              <a:gd name="T42" fmla="*/ 13 w 317"/>
              <a:gd name="T43" fmla="*/ 154 h 186"/>
              <a:gd name="T44" fmla="*/ 22 w 317"/>
              <a:gd name="T45" fmla="*/ 164 h 186"/>
              <a:gd name="T46" fmla="*/ 33 w 317"/>
              <a:gd name="T47" fmla="*/ 173 h 186"/>
              <a:gd name="T48" fmla="*/ 45 w 317"/>
              <a:gd name="T49" fmla="*/ 180 h 186"/>
              <a:gd name="T50" fmla="*/ 59 w 317"/>
              <a:gd name="T51" fmla="*/ 184 h 186"/>
              <a:gd name="T52" fmla="*/ 74 w 317"/>
              <a:gd name="T53" fmla="*/ 186 h 186"/>
              <a:gd name="T54" fmla="*/ 243 w 317"/>
              <a:gd name="T55" fmla="*/ 186 h 186"/>
              <a:gd name="T56" fmla="*/ 257 w 317"/>
              <a:gd name="T57" fmla="*/ 184 h 186"/>
              <a:gd name="T58" fmla="*/ 272 w 317"/>
              <a:gd name="T59" fmla="*/ 180 h 186"/>
              <a:gd name="T60" fmla="*/ 285 w 317"/>
              <a:gd name="T61" fmla="*/ 173 h 186"/>
              <a:gd name="T62" fmla="*/ 296 w 317"/>
              <a:gd name="T63" fmla="*/ 164 h 186"/>
              <a:gd name="T64" fmla="*/ 305 w 317"/>
              <a:gd name="T65" fmla="*/ 154 h 186"/>
              <a:gd name="T66" fmla="*/ 311 w 317"/>
              <a:gd name="T67" fmla="*/ 141 h 186"/>
              <a:gd name="T68" fmla="*/ 316 w 317"/>
              <a:gd name="T69" fmla="*/ 127 h 186"/>
              <a:gd name="T70" fmla="*/ 317 w 317"/>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3"/>
                </a:lnTo>
                <a:lnTo>
                  <a:pt x="311" y="46"/>
                </a:lnTo>
                <a:lnTo>
                  <a:pt x="308" y="40"/>
                </a:lnTo>
                <a:lnTo>
                  <a:pt x="305" y="34"/>
                </a:lnTo>
                <a:lnTo>
                  <a:pt x="300" y="28"/>
                </a:lnTo>
                <a:lnTo>
                  <a:pt x="296" y="23"/>
                </a:lnTo>
                <a:lnTo>
                  <a:pt x="290" y="17"/>
                </a:lnTo>
                <a:lnTo>
                  <a:pt x="285" y="13"/>
                </a:lnTo>
                <a:lnTo>
                  <a:pt x="279" y="9"/>
                </a:lnTo>
                <a:lnTo>
                  <a:pt x="272" y="6"/>
                </a:lnTo>
                <a:lnTo>
                  <a:pt x="265" y="4"/>
                </a:lnTo>
                <a:lnTo>
                  <a:pt x="257" y="2"/>
                </a:lnTo>
                <a:lnTo>
                  <a:pt x="250" y="1"/>
                </a:lnTo>
                <a:lnTo>
                  <a:pt x="243" y="0"/>
                </a:lnTo>
                <a:lnTo>
                  <a:pt x="74" y="0"/>
                </a:lnTo>
                <a:lnTo>
                  <a:pt x="74" y="0"/>
                </a:lnTo>
                <a:lnTo>
                  <a:pt x="66" y="1"/>
                </a:lnTo>
                <a:lnTo>
                  <a:pt x="59" y="2"/>
                </a:lnTo>
                <a:lnTo>
                  <a:pt x="52" y="4"/>
                </a:lnTo>
                <a:lnTo>
                  <a:pt x="45" y="6"/>
                </a:lnTo>
                <a:lnTo>
                  <a:pt x="39" y="9"/>
                </a:lnTo>
                <a:lnTo>
                  <a:pt x="33" y="13"/>
                </a:lnTo>
                <a:lnTo>
                  <a:pt x="27" y="17"/>
                </a:lnTo>
                <a:lnTo>
                  <a:pt x="22" y="23"/>
                </a:lnTo>
                <a:lnTo>
                  <a:pt x="17" y="28"/>
                </a:lnTo>
                <a:lnTo>
                  <a:pt x="13" y="34"/>
                </a:lnTo>
                <a:lnTo>
                  <a:pt x="9" y="40"/>
                </a:lnTo>
                <a:lnTo>
                  <a:pt x="6" y="46"/>
                </a:lnTo>
                <a:lnTo>
                  <a:pt x="4" y="53"/>
                </a:lnTo>
                <a:lnTo>
                  <a:pt x="2" y="60"/>
                </a:lnTo>
                <a:lnTo>
                  <a:pt x="1" y="67"/>
                </a:lnTo>
                <a:lnTo>
                  <a:pt x="0" y="75"/>
                </a:lnTo>
                <a:lnTo>
                  <a:pt x="0" y="113"/>
                </a:lnTo>
                <a:lnTo>
                  <a:pt x="0" y="113"/>
                </a:lnTo>
                <a:lnTo>
                  <a:pt x="1" y="120"/>
                </a:lnTo>
                <a:lnTo>
                  <a:pt x="2" y="127"/>
                </a:lnTo>
                <a:lnTo>
                  <a:pt x="4" y="134"/>
                </a:lnTo>
                <a:lnTo>
                  <a:pt x="6" y="141"/>
                </a:lnTo>
                <a:lnTo>
                  <a:pt x="9" y="148"/>
                </a:lnTo>
                <a:lnTo>
                  <a:pt x="13" y="154"/>
                </a:lnTo>
                <a:lnTo>
                  <a:pt x="17" y="159"/>
                </a:lnTo>
                <a:lnTo>
                  <a:pt x="22" y="164"/>
                </a:lnTo>
                <a:lnTo>
                  <a:pt x="27" y="169"/>
                </a:lnTo>
                <a:lnTo>
                  <a:pt x="33" y="173"/>
                </a:lnTo>
                <a:lnTo>
                  <a:pt x="39" y="177"/>
                </a:lnTo>
                <a:lnTo>
                  <a:pt x="45" y="180"/>
                </a:lnTo>
                <a:lnTo>
                  <a:pt x="52" y="183"/>
                </a:lnTo>
                <a:lnTo>
                  <a:pt x="59" y="184"/>
                </a:lnTo>
                <a:lnTo>
                  <a:pt x="66" y="186"/>
                </a:lnTo>
                <a:lnTo>
                  <a:pt x="74" y="186"/>
                </a:lnTo>
                <a:lnTo>
                  <a:pt x="243" y="186"/>
                </a:lnTo>
                <a:lnTo>
                  <a:pt x="243" y="186"/>
                </a:lnTo>
                <a:lnTo>
                  <a:pt x="250" y="186"/>
                </a:lnTo>
                <a:lnTo>
                  <a:pt x="257" y="184"/>
                </a:lnTo>
                <a:lnTo>
                  <a:pt x="265" y="183"/>
                </a:lnTo>
                <a:lnTo>
                  <a:pt x="272" y="180"/>
                </a:lnTo>
                <a:lnTo>
                  <a:pt x="279" y="177"/>
                </a:lnTo>
                <a:lnTo>
                  <a:pt x="285" y="173"/>
                </a:lnTo>
                <a:lnTo>
                  <a:pt x="290" y="169"/>
                </a:lnTo>
                <a:lnTo>
                  <a:pt x="296" y="164"/>
                </a:lnTo>
                <a:lnTo>
                  <a:pt x="300" y="159"/>
                </a:lnTo>
                <a:lnTo>
                  <a:pt x="305" y="154"/>
                </a:lnTo>
                <a:lnTo>
                  <a:pt x="308" y="148"/>
                </a:lnTo>
                <a:lnTo>
                  <a:pt x="311" y="141"/>
                </a:lnTo>
                <a:lnTo>
                  <a:pt x="314" y="134"/>
                </a:lnTo>
                <a:lnTo>
                  <a:pt x="316" y="127"/>
                </a:lnTo>
                <a:lnTo>
                  <a:pt x="317" y="120"/>
                </a:lnTo>
                <a:lnTo>
                  <a:pt x="317" y="113"/>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0" name="Freeform 2182"/>
          <p:cNvSpPr>
            <a:spLocks/>
          </p:cNvSpPr>
          <p:nvPr/>
        </p:nvSpPr>
        <p:spPr bwMode="auto">
          <a:xfrm>
            <a:off x="2206626" y="4876737"/>
            <a:ext cx="84138" cy="49212"/>
          </a:xfrm>
          <a:custGeom>
            <a:avLst/>
            <a:gdLst>
              <a:gd name="T0" fmla="*/ 318 w 318"/>
              <a:gd name="T1" fmla="*/ 75 h 186"/>
              <a:gd name="T2" fmla="*/ 316 w 318"/>
              <a:gd name="T3" fmla="*/ 60 h 186"/>
              <a:gd name="T4" fmla="*/ 312 w 318"/>
              <a:gd name="T5" fmla="*/ 46 h 186"/>
              <a:gd name="T6" fmla="*/ 305 w 318"/>
              <a:gd name="T7" fmla="*/ 34 h 186"/>
              <a:gd name="T8" fmla="*/ 295 w 318"/>
              <a:gd name="T9" fmla="*/ 23 h 186"/>
              <a:gd name="T10" fmla="*/ 284 w 318"/>
              <a:gd name="T11" fmla="*/ 13 h 186"/>
              <a:gd name="T12" fmla="*/ 272 w 318"/>
              <a:gd name="T13" fmla="*/ 6 h 186"/>
              <a:gd name="T14" fmla="*/ 258 w 318"/>
              <a:gd name="T15" fmla="*/ 2 h 186"/>
              <a:gd name="T16" fmla="*/ 243 w 318"/>
              <a:gd name="T17" fmla="*/ 0 h 186"/>
              <a:gd name="T18" fmla="*/ 74 w 318"/>
              <a:gd name="T19" fmla="*/ 0 h 186"/>
              <a:gd name="T20" fmla="*/ 60 w 318"/>
              <a:gd name="T21" fmla="*/ 2 h 186"/>
              <a:gd name="T22" fmla="*/ 46 w 318"/>
              <a:gd name="T23" fmla="*/ 6 h 186"/>
              <a:gd name="T24" fmla="*/ 33 w 318"/>
              <a:gd name="T25" fmla="*/ 13 h 186"/>
              <a:gd name="T26" fmla="*/ 21 w 318"/>
              <a:gd name="T27" fmla="*/ 23 h 186"/>
              <a:gd name="T28" fmla="*/ 12 w 318"/>
              <a:gd name="T29" fmla="*/ 34 h 186"/>
              <a:gd name="T30" fmla="*/ 6 w 318"/>
              <a:gd name="T31" fmla="*/ 46 h 186"/>
              <a:gd name="T32" fmla="*/ 1 w 318"/>
              <a:gd name="T33" fmla="*/ 60 h 186"/>
              <a:gd name="T34" fmla="*/ 0 w 318"/>
              <a:gd name="T35" fmla="*/ 75 h 186"/>
              <a:gd name="T36" fmla="*/ 0 w 318"/>
              <a:gd name="T37" fmla="*/ 113 h 186"/>
              <a:gd name="T38" fmla="*/ 1 w 318"/>
              <a:gd name="T39" fmla="*/ 127 h 186"/>
              <a:gd name="T40" fmla="*/ 6 w 318"/>
              <a:gd name="T41" fmla="*/ 141 h 186"/>
              <a:gd name="T42" fmla="*/ 12 w 318"/>
              <a:gd name="T43" fmla="*/ 154 h 186"/>
              <a:gd name="T44" fmla="*/ 21 w 318"/>
              <a:gd name="T45" fmla="*/ 164 h 186"/>
              <a:gd name="T46" fmla="*/ 33 w 318"/>
              <a:gd name="T47" fmla="*/ 173 h 186"/>
              <a:gd name="T48" fmla="*/ 46 w 318"/>
              <a:gd name="T49" fmla="*/ 180 h 186"/>
              <a:gd name="T50" fmla="*/ 60 w 318"/>
              <a:gd name="T51" fmla="*/ 184 h 186"/>
              <a:gd name="T52" fmla="*/ 74 w 318"/>
              <a:gd name="T53" fmla="*/ 186 h 186"/>
              <a:gd name="T54" fmla="*/ 243 w 318"/>
              <a:gd name="T55" fmla="*/ 186 h 186"/>
              <a:gd name="T56" fmla="*/ 258 w 318"/>
              <a:gd name="T57" fmla="*/ 184 h 186"/>
              <a:gd name="T58" fmla="*/ 272 w 318"/>
              <a:gd name="T59" fmla="*/ 180 h 186"/>
              <a:gd name="T60" fmla="*/ 284 w 318"/>
              <a:gd name="T61" fmla="*/ 173 h 186"/>
              <a:gd name="T62" fmla="*/ 295 w 318"/>
              <a:gd name="T63" fmla="*/ 164 h 186"/>
              <a:gd name="T64" fmla="*/ 305 w 318"/>
              <a:gd name="T65" fmla="*/ 154 h 186"/>
              <a:gd name="T66" fmla="*/ 312 w 318"/>
              <a:gd name="T67" fmla="*/ 141 h 186"/>
              <a:gd name="T68" fmla="*/ 316 w 318"/>
              <a:gd name="T69" fmla="*/ 127 h 186"/>
              <a:gd name="T70" fmla="*/ 318 w 318"/>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186">
                <a:moveTo>
                  <a:pt x="318" y="75"/>
                </a:moveTo>
                <a:lnTo>
                  <a:pt x="318" y="75"/>
                </a:lnTo>
                <a:lnTo>
                  <a:pt x="317" y="67"/>
                </a:lnTo>
                <a:lnTo>
                  <a:pt x="316" y="60"/>
                </a:lnTo>
                <a:lnTo>
                  <a:pt x="314" y="53"/>
                </a:lnTo>
                <a:lnTo>
                  <a:pt x="312" y="46"/>
                </a:lnTo>
                <a:lnTo>
                  <a:pt x="309" y="40"/>
                </a:lnTo>
                <a:lnTo>
                  <a:pt x="305" y="34"/>
                </a:lnTo>
                <a:lnTo>
                  <a:pt x="301" y="28"/>
                </a:lnTo>
                <a:lnTo>
                  <a:pt x="295" y="23"/>
                </a:lnTo>
                <a:lnTo>
                  <a:pt x="290" y="17"/>
                </a:lnTo>
                <a:lnTo>
                  <a:pt x="284" y="13"/>
                </a:lnTo>
                <a:lnTo>
                  <a:pt x="278" y="9"/>
                </a:lnTo>
                <a:lnTo>
                  <a:pt x="272" y="6"/>
                </a:lnTo>
                <a:lnTo>
                  <a:pt x="265" y="4"/>
                </a:lnTo>
                <a:lnTo>
                  <a:pt x="258" y="2"/>
                </a:lnTo>
                <a:lnTo>
                  <a:pt x="251" y="1"/>
                </a:lnTo>
                <a:lnTo>
                  <a:pt x="243" y="0"/>
                </a:lnTo>
                <a:lnTo>
                  <a:pt x="74" y="0"/>
                </a:lnTo>
                <a:lnTo>
                  <a:pt x="74" y="0"/>
                </a:lnTo>
                <a:lnTo>
                  <a:pt x="67" y="1"/>
                </a:lnTo>
                <a:lnTo>
                  <a:pt x="60" y="2"/>
                </a:lnTo>
                <a:lnTo>
                  <a:pt x="53" y="4"/>
                </a:lnTo>
                <a:lnTo>
                  <a:pt x="46" y="6"/>
                </a:lnTo>
                <a:lnTo>
                  <a:pt x="39" y="9"/>
                </a:lnTo>
                <a:lnTo>
                  <a:pt x="33" y="13"/>
                </a:lnTo>
                <a:lnTo>
                  <a:pt x="27" y="17"/>
                </a:lnTo>
                <a:lnTo>
                  <a:pt x="21" y="23"/>
                </a:lnTo>
                <a:lnTo>
                  <a:pt x="17" y="28"/>
                </a:lnTo>
                <a:lnTo>
                  <a:pt x="12" y="34"/>
                </a:lnTo>
                <a:lnTo>
                  <a:pt x="9" y="40"/>
                </a:lnTo>
                <a:lnTo>
                  <a:pt x="6" y="46"/>
                </a:lnTo>
                <a:lnTo>
                  <a:pt x="3" y="53"/>
                </a:lnTo>
                <a:lnTo>
                  <a:pt x="1" y="60"/>
                </a:lnTo>
                <a:lnTo>
                  <a:pt x="0" y="67"/>
                </a:lnTo>
                <a:lnTo>
                  <a:pt x="0" y="75"/>
                </a:lnTo>
                <a:lnTo>
                  <a:pt x="0" y="113"/>
                </a:lnTo>
                <a:lnTo>
                  <a:pt x="0" y="113"/>
                </a:lnTo>
                <a:lnTo>
                  <a:pt x="0" y="120"/>
                </a:lnTo>
                <a:lnTo>
                  <a:pt x="1" y="127"/>
                </a:lnTo>
                <a:lnTo>
                  <a:pt x="3" y="134"/>
                </a:lnTo>
                <a:lnTo>
                  <a:pt x="6" y="141"/>
                </a:lnTo>
                <a:lnTo>
                  <a:pt x="9" y="148"/>
                </a:lnTo>
                <a:lnTo>
                  <a:pt x="12" y="154"/>
                </a:lnTo>
                <a:lnTo>
                  <a:pt x="17" y="159"/>
                </a:lnTo>
                <a:lnTo>
                  <a:pt x="21" y="164"/>
                </a:lnTo>
                <a:lnTo>
                  <a:pt x="27" y="169"/>
                </a:lnTo>
                <a:lnTo>
                  <a:pt x="33" y="173"/>
                </a:lnTo>
                <a:lnTo>
                  <a:pt x="39" y="177"/>
                </a:lnTo>
                <a:lnTo>
                  <a:pt x="46" y="180"/>
                </a:lnTo>
                <a:lnTo>
                  <a:pt x="53" y="183"/>
                </a:lnTo>
                <a:lnTo>
                  <a:pt x="60" y="184"/>
                </a:lnTo>
                <a:lnTo>
                  <a:pt x="67" y="186"/>
                </a:lnTo>
                <a:lnTo>
                  <a:pt x="74" y="186"/>
                </a:lnTo>
                <a:lnTo>
                  <a:pt x="243" y="186"/>
                </a:lnTo>
                <a:lnTo>
                  <a:pt x="243" y="186"/>
                </a:lnTo>
                <a:lnTo>
                  <a:pt x="251" y="186"/>
                </a:lnTo>
                <a:lnTo>
                  <a:pt x="258" y="184"/>
                </a:lnTo>
                <a:lnTo>
                  <a:pt x="265" y="183"/>
                </a:lnTo>
                <a:lnTo>
                  <a:pt x="272" y="180"/>
                </a:lnTo>
                <a:lnTo>
                  <a:pt x="278" y="177"/>
                </a:lnTo>
                <a:lnTo>
                  <a:pt x="284" y="173"/>
                </a:lnTo>
                <a:lnTo>
                  <a:pt x="290" y="169"/>
                </a:lnTo>
                <a:lnTo>
                  <a:pt x="295" y="164"/>
                </a:lnTo>
                <a:lnTo>
                  <a:pt x="301" y="159"/>
                </a:lnTo>
                <a:lnTo>
                  <a:pt x="305" y="154"/>
                </a:lnTo>
                <a:lnTo>
                  <a:pt x="309" y="148"/>
                </a:lnTo>
                <a:lnTo>
                  <a:pt x="312" y="141"/>
                </a:lnTo>
                <a:lnTo>
                  <a:pt x="314" y="134"/>
                </a:lnTo>
                <a:lnTo>
                  <a:pt x="316" y="127"/>
                </a:lnTo>
                <a:lnTo>
                  <a:pt x="317" y="120"/>
                </a:lnTo>
                <a:lnTo>
                  <a:pt x="318" y="113"/>
                </a:lnTo>
                <a:lnTo>
                  <a:pt x="318"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1" name="Freeform 2183"/>
          <p:cNvSpPr>
            <a:spLocks/>
          </p:cNvSpPr>
          <p:nvPr/>
        </p:nvSpPr>
        <p:spPr bwMode="auto">
          <a:xfrm>
            <a:off x="2314576" y="4876737"/>
            <a:ext cx="84138" cy="49212"/>
          </a:xfrm>
          <a:custGeom>
            <a:avLst/>
            <a:gdLst>
              <a:gd name="T0" fmla="*/ 317 w 317"/>
              <a:gd name="T1" fmla="*/ 75 h 186"/>
              <a:gd name="T2" fmla="*/ 316 w 317"/>
              <a:gd name="T3" fmla="*/ 60 h 186"/>
              <a:gd name="T4" fmla="*/ 311 w 317"/>
              <a:gd name="T5" fmla="*/ 46 h 186"/>
              <a:gd name="T6" fmla="*/ 304 w 317"/>
              <a:gd name="T7" fmla="*/ 34 h 186"/>
              <a:gd name="T8" fmla="*/ 296 w 317"/>
              <a:gd name="T9" fmla="*/ 23 h 186"/>
              <a:gd name="T10" fmla="*/ 285 w 317"/>
              <a:gd name="T11" fmla="*/ 13 h 186"/>
              <a:gd name="T12" fmla="*/ 272 w 317"/>
              <a:gd name="T13" fmla="*/ 6 h 186"/>
              <a:gd name="T14" fmla="*/ 258 w 317"/>
              <a:gd name="T15" fmla="*/ 2 h 186"/>
              <a:gd name="T16" fmla="*/ 243 w 317"/>
              <a:gd name="T17" fmla="*/ 0 h 186"/>
              <a:gd name="T18" fmla="*/ 75 w 317"/>
              <a:gd name="T19" fmla="*/ 0 h 186"/>
              <a:gd name="T20" fmla="*/ 59 w 317"/>
              <a:gd name="T21" fmla="*/ 2 h 186"/>
              <a:gd name="T22" fmla="*/ 45 w 317"/>
              <a:gd name="T23" fmla="*/ 6 h 186"/>
              <a:gd name="T24" fmla="*/ 33 w 317"/>
              <a:gd name="T25" fmla="*/ 13 h 186"/>
              <a:gd name="T26" fmla="*/ 22 w 317"/>
              <a:gd name="T27" fmla="*/ 23 h 186"/>
              <a:gd name="T28" fmla="*/ 13 w 317"/>
              <a:gd name="T29" fmla="*/ 34 h 186"/>
              <a:gd name="T30" fmla="*/ 6 w 317"/>
              <a:gd name="T31" fmla="*/ 46 h 186"/>
              <a:gd name="T32" fmla="*/ 2 w 317"/>
              <a:gd name="T33" fmla="*/ 60 h 186"/>
              <a:gd name="T34" fmla="*/ 0 w 317"/>
              <a:gd name="T35" fmla="*/ 75 h 186"/>
              <a:gd name="T36" fmla="*/ 0 w 317"/>
              <a:gd name="T37" fmla="*/ 113 h 186"/>
              <a:gd name="T38" fmla="*/ 2 w 317"/>
              <a:gd name="T39" fmla="*/ 127 h 186"/>
              <a:gd name="T40" fmla="*/ 6 w 317"/>
              <a:gd name="T41" fmla="*/ 141 h 186"/>
              <a:gd name="T42" fmla="*/ 13 w 317"/>
              <a:gd name="T43" fmla="*/ 154 h 186"/>
              <a:gd name="T44" fmla="*/ 22 w 317"/>
              <a:gd name="T45" fmla="*/ 164 h 186"/>
              <a:gd name="T46" fmla="*/ 33 w 317"/>
              <a:gd name="T47" fmla="*/ 173 h 186"/>
              <a:gd name="T48" fmla="*/ 45 w 317"/>
              <a:gd name="T49" fmla="*/ 180 h 186"/>
              <a:gd name="T50" fmla="*/ 59 w 317"/>
              <a:gd name="T51" fmla="*/ 184 h 186"/>
              <a:gd name="T52" fmla="*/ 75 w 317"/>
              <a:gd name="T53" fmla="*/ 186 h 186"/>
              <a:gd name="T54" fmla="*/ 243 w 317"/>
              <a:gd name="T55" fmla="*/ 186 h 186"/>
              <a:gd name="T56" fmla="*/ 258 w 317"/>
              <a:gd name="T57" fmla="*/ 184 h 186"/>
              <a:gd name="T58" fmla="*/ 272 w 317"/>
              <a:gd name="T59" fmla="*/ 180 h 186"/>
              <a:gd name="T60" fmla="*/ 285 w 317"/>
              <a:gd name="T61" fmla="*/ 173 h 186"/>
              <a:gd name="T62" fmla="*/ 296 w 317"/>
              <a:gd name="T63" fmla="*/ 164 h 186"/>
              <a:gd name="T64" fmla="*/ 304 w 317"/>
              <a:gd name="T65" fmla="*/ 154 h 186"/>
              <a:gd name="T66" fmla="*/ 311 w 317"/>
              <a:gd name="T67" fmla="*/ 141 h 186"/>
              <a:gd name="T68" fmla="*/ 316 w 317"/>
              <a:gd name="T69" fmla="*/ 127 h 186"/>
              <a:gd name="T70" fmla="*/ 317 w 317"/>
              <a:gd name="T71" fmla="*/ 1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186">
                <a:moveTo>
                  <a:pt x="317" y="75"/>
                </a:moveTo>
                <a:lnTo>
                  <a:pt x="317" y="75"/>
                </a:lnTo>
                <a:lnTo>
                  <a:pt x="317" y="67"/>
                </a:lnTo>
                <a:lnTo>
                  <a:pt x="316" y="60"/>
                </a:lnTo>
                <a:lnTo>
                  <a:pt x="314" y="53"/>
                </a:lnTo>
                <a:lnTo>
                  <a:pt x="311" y="46"/>
                </a:lnTo>
                <a:lnTo>
                  <a:pt x="308" y="40"/>
                </a:lnTo>
                <a:lnTo>
                  <a:pt x="304" y="34"/>
                </a:lnTo>
                <a:lnTo>
                  <a:pt x="300" y="28"/>
                </a:lnTo>
                <a:lnTo>
                  <a:pt x="296" y="23"/>
                </a:lnTo>
                <a:lnTo>
                  <a:pt x="290" y="17"/>
                </a:lnTo>
                <a:lnTo>
                  <a:pt x="285" y="13"/>
                </a:lnTo>
                <a:lnTo>
                  <a:pt x="279" y="9"/>
                </a:lnTo>
                <a:lnTo>
                  <a:pt x="272" y="6"/>
                </a:lnTo>
                <a:lnTo>
                  <a:pt x="265" y="4"/>
                </a:lnTo>
                <a:lnTo>
                  <a:pt x="258" y="2"/>
                </a:lnTo>
                <a:lnTo>
                  <a:pt x="251" y="1"/>
                </a:lnTo>
                <a:lnTo>
                  <a:pt x="243" y="0"/>
                </a:lnTo>
                <a:lnTo>
                  <a:pt x="75" y="0"/>
                </a:lnTo>
                <a:lnTo>
                  <a:pt x="75" y="0"/>
                </a:lnTo>
                <a:lnTo>
                  <a:pt x="66" y="1"/>
                </a:lnTo>
                <a:lnTo>
                  <a:pt x="59" y="2"/>
                </a:lnTo>
                <a:lnTo>
                  <a:pt x="52" y="4"/>
                </a:lnTo>
                <a:lnTo>
                  <a:pt x="45" y="6"/>
                </a:lnTo>
                <a:lnTo>
                  <a:pt x="39" y="9"/>
                </a:lnTo>
                <a:lnTo>
                  <a:pt x="33" y="13"/>
                </a:lnTo>
                <a:lnTo>
                  <a:pt x="27" y="17"/>
                </a:lnTo>
                <a:lnTo>
                  <a:pt x="22" y="23"/>
                </a:lnTo>
                <a:lnTo>
                  <a:pt x="17" y="28"/>
                </a:lnTo>
                <a:lnTo>
                  <a:pt x="13" y="34"/>
                </a:lnTo>
                <a:lnTo>
                  <a:pt x="9" y="40"/>
                </a:lnTo>
                <a:lnTo>
                  <a:pt x="6" y="46"/>
                </a:lnTo>
                <a:lnTo>
                  <a:pt x="4" y="53"/>
                </a:lnTo>
                <a:lnTo>
                  <a:pt x="2" y="60"/>
                </a:lnTo>
                <a:lnTo>
                  <a:pt x="1" y="67"/>
                </a:lnTo>
                <a:lnTo>
                  <a:pt x="0" y="75"/>
                </a:lnTo>
                <a:lnTo>
                  <a:pt x="0" y="113"/>
                </a:lnTo>
                <a:lnTo>
                  <a:pt x="0" y="113"/>
                </a:lnTo>
                <a:lnTo>
                  <a:pt x="1" y="120"/>
                </a:lnTo>
                <a:lnTo>
                  <a:pt x="2" y="127"/>
                </a:lnTo>
                <a:lnTo>
                  <a:pt x="4" y="134"/>
                </a:lnTo>
                <a:lnTo>
                  <a:pt x="6" y="141"/>
                </a:lnTo>
                <a:lnTo>
                  <a:pt x="9" y="148"/>
                </a:lnTo>
                <a:lnTo>
                  <a:pt x="13" y="154"/>
                </a:lnTo>
                <a:lnTo>
                  <a:pt x="17" y="159"/>
                </a:lnTo>
                <a:lnTo>
                  <a:pt x="22" y="164"/>
                </a:lnTo>
                <a:lnTo>
                  <a:pt x="27" y="169"/>
                </a:lnTo>
                <a:lnTo>
                  <a:pt x="33" y="173"/>
                </a:lnTo>
                <a:lnTo>
                  <a:pt x="39" y="177"/>
                </a:lnTo>
                <a:lnTo>
                  <a:pt x="45" y="180"/>
                </a:lnTo>
                <a:lnTo>
                  <a:pt x="52" y="183"/>
                </a:lnTo>
                <a:lnTo>
                  <a:pt x="59" y="184"/>
                </a:lnTo>
                <a:lnTo>
                  <a:pt x="66" y="186"/>
                </a:lnTo>
                <a:lnTo>
                  <a:pt x="75" y="186"/>
                </a:lnTo>
                <a:lnTo>
                  <a:pt x="243" y="186"/>
                </a:lnTo>
                <a:lnTo>
                  <a:pt x="243" y="186"/>
                </a:lnTo>
                <a:lnTo>
                  <a:pt x="251" y="186"/>
                </a:lnTo>
                <a:lnTo>
                  <a:pt x="258" y="184"/>
                </a:lnTo>
                <a:lnTo>
                  <a:pt x="265" y="183"/>
                </a:lnTo>
                <a:lnTo>
                  <a:pt x="272" y="180"/>
                </a:lnTo>
                <a:lnTo>
                  <a:pt x="279" y="177"/>
                </a:lnTo>
                <a:lnTo>
                  <a:pt x="285" y="173"/>
                </a:lnTo>
                <a:lnTo>
                  <a:pt x="290" y="169"/>
                </a:lnTo>
                <a:lnTo>
                  <a:pt x="296" y="164"/>
                </a:lnTo>
                <a:lnTo>
                  <a:pt x="300" y="159"/>
                </a:lnTo>
                <a:lnTo>
                  <a:pt x="304" y="154"/>
                </a:lnTo>
                <a:lnTo>
                  <a:pt x="308" y="148"/>
                </a:lnTo>
                <a:lnTo>
                  <a:pt x="311" y="141"/>
                </a:lnTo>
                <a:lnTo>
                  <a:pt x="314" y="134"/>
                </a:lnTo>
                <a:lnTo>
                  <a:pt x="316" y="127"/>
                </a:lnTo>
                <a:lnTo>
                  <a:pt x="317" y="120"/>
                </a:lnTo>
                <a:lnTo>
                  <a:pt x="317" y="113"/>
                </a:lnTo>
                <a:lnTo>
                  <a:pt x="317" y="75"/>
                </a:lnTo>
                <a:close/>
              </a:path>
            </a:pathLst>
          </a:custGeom>
          <a:solidFill>
            <a:srgbClr val="045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2" name="Freeform 2184"/>
          <p:cNvSpPr>
            <a:spLocks/>
          </p:cNvSpPr>
          <p:nvPr/>
        </p:nvSpPr>
        <p:spPr bwMode="auto">
          <a:xfrm>
            <a:off x="546102" y="4925950"/>
            <a:ext cx="2873375" cy="581025"/>
          </a:xfrm>
          <a:custGeom>
            <a:avLst/>
            <a:gdLst>
              <a:gd name="T0" fmla="*/ 8125 w 10863"/>
              <a:gd name="T1" fmla="*/ 0 h 2201"/>
              <a:gd name="T2" fmla="*/ 7964 w 10863"/>
              <a:gd name="T3" fmla="*/ 293 h 2201"/>
              <a:gd name="T4" fmla="*/ 7960 w 10863"/>
              <a:gd name="T5" fmla="*/ 305 h 2201"/>
              <a:gd name="T6" fmla="*/ 7950 w 10863"/>
              <a:gd name="T7" fmla="*/ 315 h 2201"/>
              <a:gd name="T8" fmla="*/ 7936 w 10863"/>
              <a:gd name="T9" fmla="*/ 322 h 2201"/>
              <a:gd name="T10" fmla="*/ 7918 w 10863"/>
              <a:gd name="T11" fmla="*/ 324 h 2201"/>
              <a:gd name="T12" fmla="*/ 1827 w 10863"/>
              <a:gd name="T13" fmla="*/ 324 h 2201"/>
              <a:gd name="T14" fmla="*/ 1809 w 10863"/>
              <a:gd name="T15" fmla="*/ 322 h 2201"/>
              <a:gd name="T16" fmla="*/ 1793 w 10863"/>
              <a:gd name="T17" fmla="*/ 315 h 2201"/>
              <a:gd name="T18" fmla="*/ 1783 w 10863"/>
              <a:gd name="T19" fmla="*/ 305 h 2201"/>
              <a:gd name="T20" fmla="*/ 1780 w 10863"/>
              <a:gd name="T21" fmla="*/ 293 h 2201"/>
              <a:gd name="T22" fmla="*/ 74 w 10863"/>
              <a:gd name="T23" fmla="*/ 0 h 2201"/>
              <a:gd name="T24" fmla="*/ 67 w 10863"/>
              <a:gd name="T25" fmla="*/ 0 h 2201"/>
              <a:gd name="T26" fmla="*/ 53 w 10863"/>
              <a:gd name="T27" fmla="*/ 4 h 2201"/>
              <a:gd name="T28" fmla="*/ 38 w 10863"/>
              <a:gd name="T29" fmla="*/ 13 h 2201"/>
              <a:gd name="T30" fmla="*/ 27 w 10863"/>
              <a:gd name="T31" fmla="*/ 23 h 2201"/>
              <a:gd name="T32" fmla="*/ 17 w 10863"/>
              <a:gd name="T33" fmla="*/ 36 h 2201"/>
              <a:gd name="T34" fmla="*/ 9 w 10863"/>
              <a:gd name="T35" fmla="*/ 51 h 2201"/>
              <a:gd name="T36" fmla="*/ 3 w 10863"/>
              <a:gd name="T37" fmla="*/ 68 h 2201"/>
              <a:gd name="T38" fmla="*/ 0 w 10863"/>
              <a:gd name="T39" fmla="*/ 87 h 2201"/>
              <a:gd name="T40" fmla="*/ 371 w 10863"/>
              <a:gd name="T41" fmla="*/ 2104 h 2201"/>
              <a:gd name="T42" fmla="*/ 372 w 10863"/>
              <a:gd name="T43" fmla="*/ 2114 h 2201"/>
              <a:gd name="T44" fmla="*/ 375 w 10863"/>
              <a:gd name="T45" fmla="*/ 2134 h 2201"/>
              <a:gd name="T46" fmla="*/ 380 w 10863"/>
              <a:gd name="T47" fmla="*/ 2151 h 2201"/>
              <a:gd name="T48" fmla="*/ 388 w 10863"/>
              <a:gd name="T49" fmla="*/ 2166 h 2201"/>
              <a:gd name="T50" fmla="*/ 399 w 10863"/>
              <a:gd name="T51" fmla="*/ 2179 h 2201"/>
              <a:gd name="T52" fmla="*/ 411 w 10863"/>
              <a:gd name="T53" fmla="*/ 2190 h 2201"/>
              <a:gd name="T54" fmla="*/ 424 w 10863"/>
              <a:gd name="T55" fmla="*/ 2197 h 2201"/>
              <a:gd name="T56" fmla="*/ 438 w 10863"/>
              <a:gd name="T57" fmla="*/ 2201 h 2201"/>
              <a:gd name="T58" fmla="*/ 9674 w 10863"/>
              <a:gd name="T59" fmla="*/ 2201 h 2201"/>
              <a:gd name="T60" fmla="*/ 9681 w 10863"/>
              <a:gd name="T61" fmla="*/ 2201 h 2201"/>
              <a:gd name="T62" fmla="*/ 9695 w 10863"/>
              <a:gd name="T63" fmla="*/ 2197 h 2201"/>
              <a:gd name="T64" fmla="*/ 9709 w 10863"/>
              <a:gd name="T65" fmla="*/ 2190 h 2201"/>
              <a:gd name="T66" fmla="*/ 9720 w 10863"/>
              <a:gd name="T67" fmla="*/ 2179 h 2201"/>
              <a:gd name="T68" fmla="*/ 9730 w 10863"/>
              <a:gd name="T69" fmla="*/ 2166 h 2201"/>
              <a:gd name="T70" fmla="*/ 9738 w 10863"/>
              <a:gd name="T71" fmla="*/ 2151 h 2201"/>
              <a:gd name="T72" fmla="*/ 9744 w 10863"/>
              <a:gd name="T73" fmla="*/ 2134 h 2201"/>
              <a:gd name="T74" fmla="*/ 9747 w 10863"/>
              <a:gd name="T75" fmla="*/ 2114 h 2201"/>
              <a:gd name="T76" fmla="*/ 10863 w 10863"/>
              <a:gd name="T77" fmla="*/ 97 h 2201"/>
              <a:gd name="T78" fmla="*/ 10862 w 10863"/>
              <a:gd name="T79" fmla="*/ 87 h 2201"/>
              <a:gd name="T80" fmla="*/ 10860 w 10863"/>
              <a:gd name="T81" fmla="*/ 68 h 2201"/>
              <a:gd name="T82" fmla="*/ 10854 w 10863"/>
              <a:gd name="T83" fmla="*/ 51 h 2201"/>
              <a:gd name="T84" fmla="*/ 10846 w 10863"/>
              <a:gd name="T85" fmla="*/ 36 h 2201"/>
              <a:gd name="T86" fmla="*/ 10836 w 10863"/>
              <a:gd name="T87" fmla="*/ 23 h 2201"/>
              <a:gd name="T88" fmla="*/ 10824 w 10863"/>
              <a:gd name="T89" fmla="*/ 13 h 2201"/>
              <a:gd name="T90" fmla="*/ 10810 w 10863"/>
              <a:gd name="T91" fmla="*/ 4 h 2201"/>
              <a:gd name="T92" fmla="*/ 10796 w 10863"/>
              <a:gd name="T93" fmla="*/ 0 h 2201"/>
              <a:gd name="T94" fmla="*/ 10788 w 10863"/>
              <a:gd name="T95"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63" h="2201">
                <a:moveTo>
                  <a:pt x="10788" y="0"/>
                </a:moveTo>
                <a:lnTo>
                  <a:pt x="8125" y="0"/>
                </a:lnTo>
                <a:lnTo>
                  <a:pt x="7964" y="293"/>
                </a:lnTo>
                <a:lnTo>
                  <a:pt x="7964" y="293"/>
                </a:lnTo>
                <a:lnTo>
                  <a:pt x="7963" y="299"/>
                </a:lnTo>
                <a:lnTo>
                  <a:pt x="7960" y="305"/>
                </a:lnTo>
                <a:lnTo>
                  <a:pt x="7956" y="310"/>
                </a:lnTo>
                <a:lnTo>
                  <a:pt x="7950" y="315"/>
                </a:lnTo>
                <a:lnTo>
                  <a:pt x="7944" y="319"/>
                </a:lnTo>
                <a:lnTo>
                  <a:pt x="7936" y="322"/>
                </a:lnTo>
                <a:lnTo>
                  <a:pt x="7927" y="323"/>
                </a:lnTo>
                <a:lnTo>
                  <a:pt x="7918" y="324"/>
                </a:lnTo>
                <a:lnTo>
                  <a:pt x="1827" y="324"/>
                </a:lnTo>
                <a:lnTo>
                  <a:pt x="1827" y="324"/>
                </a:lnTo>
                <a:lnTo>
                  <a:pt x="1817" y="323"/>
                </a:lnTo>
                <a:lnTo>
                  <a:pt x="1809" y="322"/>
                </a:lnTo>
                <a:lnTo>
                  <a:pt x="1800" y="319"/>
                </a:lnTo>
                <a:lnTo>
                  <a:pt x="1793" y="315"/>
                </a:lnTo>
                <a:lnTo>
                  <a:pt x="1788" y="310"/>
                </a:lnTo>
                <a:lnTo>
                  <a:pt x="1783" y="305"/>
                </a:lnTo>
                <a:lnTo>
                  <a:pt x="1781" y="299"/>
                </a:lnTo>
                <a:lnTo>
                  <a:pt x="1780" y="293"/>
                </a:lnTo>
                <a:lnTo>
                  <a:pt x="1676" y="0"/>
                </a:lnTo>
                <a:lnTo>
                  <a:pt x="74" y="0"/>
                </a:lnTo>
                <a:lnTo>
                  <a:pt x="74" y="0"/>
                </a:lnTo>
                <a:lnTo>
                  <a:pt x="67" y="0"/>
                </a:lnTo>
                <a:lnTo>
                  <a:pt x="60" y="2"/>
                </a:lnTo>
                <a:lnTo>
                  <a:pt x="53" y="4"/>
                </a:lnTo>
                <a:lnTo>
                  <a:pt x="46" y="8"/>
                </a:lnTo>
                <a:lnTo>
                  <a:pt x="38" y="13"/>
                </a:lnTo>
                <a:lnTo>
                  <a:pt x="32" y="17"/>
                </a:lnTo>
                <a:lnTo>
                  <a:pt x="27" y="23"/>
                </a:lnTo>
                <a:lnTo>
                  <a:pt x="21" y="29"/>
                </a:lnTo>
                <a:lnTo>
                  <a:pt x="17" y="36"/>
                </a:lnTo>
                <a:lnTo>
                  <a:pt x="12" y="43"/>
                </a:lnTo>
                <a:lnTo>
                  <a:pt x="9" y="51"/>
                </a:lnTo>
                <a:lnTo>
                  <a:pt x="6" y="60"/>
                </a:lnTo>
                <a:lnTo>
                  <a:pt x="3" y="68"/>
                </a:lnTo>
                <a:lnTo>
                  <a:pt x="1" y="78"/>
                </a:lnTo>
                <a:lnTo>
                  <a:pt x="0" y="87"/>
                </a:lnTo>
                <a:lnTo>
                  <a:pt x="0" y="97"/>
                </a:lnTo>
                <a:lnTo>
                  <a:pt x="371" y="2104"/>
                </a:lnTo>
                <a:lnTo>
                  <a:pt x="371" y="2104"/>
                </a:lnTo>
                <a:lnTo>
                  <a:pt x="372" y="2114"/>
                </a:lnTo>
                <a:lnTo>
                  <a:pt x="373" y="2123"/>
                </a:lnTo>
                <a:lnTo>
                  <a:pt x="375" y="2134"/>
                </a:lnTo>
                <a:lnTo>
                  <a:pt x="377" y="2142"/>
                </a:lnTo>
                <a:lnTo>
                  <a:pt x="380" y="2151"/>
                </a:lnTo>
                <a:lnTo>
                  <a:pt x="384" y="2159"/>
                </a:lnTo>
                <a:lnTo>
                  <a:pt x="388" y="2166"/>
                </a:lnTo>
                <a:lnTo>
                  <a:pt x="393" y="2173"/>
                </a:lnTo>
                <a:lnTo>
                  <a:pt x="399" y="2179"/>
                </a:lnTo>
                <a:lnTo>
                  <a:pt x="405" y="2185"/>
                </a:lnTo>
                <a:lnTo>
                  <a:pt x="411" y="2190"/>
                </a:lnTo>
                <a:lnTo>
                  <a:pt x="417" y="2194"/>
                </a:lnTo>
                <a:lnTo>
                  <a:pt x="424" y="2197"/>
                </a:lnTo>
                <a:lnTo>
                  <a:pt x="431" y="2199"/>
                </a:lnTo>
                <a:lnTo>
                  <a:pt x="438" y="2201"/>
                </a:lnTo>
                <a:lnTo>
                  <a:pt x="446" y="2201"/>
                </a:lnTo>
                <a:lnTo>
                  <a:pt x="9674" y="2201"/>
                </a:lnTo>
                <a:lnTo>
                  <a:pt x="9674" y="2201"/>
                </a:lnTo>
                <a:lnTo>
                  <a:pt x="9681" y="2201"/>
                </a:lnTo>
                <a:lnTo>
                  <a:pt x="9688" y="2199"/>
                </a:lnTo>
                <a:lnTo>
                  <a:pt x="9695" y="2197"/>
                </a:lnTo>
                <a:lnTo>
                  <a:pt x="9702" y="2194"/>
                </a:lnTo>
                <a:lnTo>
                  <a:pt x="9709" y="2190"/>
                </a:lnTo>
                <a:lnTo>
                  <a:pt x="9715" y="2185"/>
                </a:lnTo>
                <a:lnTo>
                  <a:pt x="9720" y="2179"/>
                </a:lnTo>
                <a:lnTo>
                  <a:pt x="9726" y="2173"/>
                </a:lnTo>
                <a:lnTo>
                  <a:pt x="9730" y="2166"/>
                </a:lnTo>
                <a:lnTo>
                  <a:pt x="9735" y="2159"/>
                </a:lnTo>
                <a:lnTo>
                  <a:pt x="9738" y="2151"/>
                </a:lnTo>
                <a:lnTo>
                  <a:pt x="9741" y="2142"/>
                </a:lnTo>
                <a:lnTo>
                  <a:pt x="9744" y="2134"/>
                </a:lnTo>
                <a:lnTo>
                  <a:pt x="9746" y="2123"/>
                </a:lnTo>
                <a:lnTo>
                  <a:pt x="9747" y="2114"/>
                </a:lnTo>
                <a:lnTo>
                  <a:pt x="9747" y="2104"/>
                </a:lnTo>
                <a:lnTo>
                  <a:pt x="10863" y="97"/>
                </a:lnTo>
                <a:lnTo>
                  <a:pt x="10863" y="97"/>
                </a:lnTo>
                <a:lnTo>
                  <a:pt x="10862" y="87"/>
                </a:lnTo>
                <a:lnTo>
                  <a:pt x="10861" y="78"/>
                </a:lnTo>
                <a:lnTo>
                  <a:pt x="10860" y="68"/>
                </a:lnTo>
                <a:lnTo>
                  <a:pt x="10857" y="60"/>
                </a:lnTo>
                <a:lnTo>
                  <a:pt x="10854" y="51"/>
                </a:lnTo>
                <a:lnTo>
                  <a:pt x="10850" y="43"/>
                </a:lnTo>
                <a:lnTo>
                  <a:pt x="10846" y="36"/>
                </a:lnTo>
                <a:lnTo>
                  <a:pt x="10841" y="29"/>
                </a:lnTo>
                <a:lnTo>
                  <a:pt x="10836" y="23"/>
                </a:lnTo>
                <a:lnTo>
                  <a:pt x="10830" y="17"/>
                </a:lnTo>
                <a:lnTo>
                  <a:pt x="10824" y="13"/>
                </a:lnTo>
                <a:lnTo>
                  <a:pt x="10818" y="8"/>
                </a:lnTo>
                <a:lnTo>
                  <a:pt x="10810" y="4"/>
                </a:lnTo>
                <a:lnTo>
                  <a:pt x="10803" y="2"/>
                </a:lnTo>
                <a:lnTo>
                  <a:pt x="10796" y="0"/>
                </a:lnTo>
                <a:lnTo>
                  <a:pt x="10788" y="0"/>
                </a:lnTo>
                <a:lnTo>
                  <a:pt x="10788"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3" name="Freeform 2185"/>
          <p:cNvSpPr>
            <a:spLocks/>
          </p:cNvSpPr>
          <p:nvPr/>
        </p:nvSpPr>
        <p:spPr bwMode="auto">
          <a:xfrm>
            <a:off x="768352" y="5081524"/>
            <a:ext cx="41275" cy="42862"/>
          </a:xfrm>
          <a:custGeom>
            <a:avLst/>
            <a:gdLst>
              <a:gd name="T0" fmla="*/ 158 w 158"/>
              <a:gd name="T1" fmla="*/ 70 h 159"/>
              <a:gd name="T2" fmla="*/ 157 w 158"/>
              <a:gd name="T3" fmla="*/ 56 h 159"/>
              <a:gd name="T4" fmla="*/ 153 w 158"/>
              <a:gd name="T5" fmla="*/ 43 h 159"/>
              <a:gd name="T6" fmla="*/ 146 w 158"/>
              <a:gd name="T7" fmla="*/ 30 h 159"/>
              <a:gd name="T8" fmla="*/ 138 w 158"/>
              <a:gd name="T9" fmla="*/ 20 h 159"/>
              <a:gd name="T10" fmla="*/ 128 w 158"/>
              <a:gd name="T11" fmla="*/ 11 h 159"/>
              <a:gd name="T12" fmla="*/ 116 w 158"/>
              <a:gd name="T13" fmla="*/ 5 h 159"/>
              <a:gd name="T14" fmla="*/ 103 w 158"/>
              <a:gd name="T15" fmla="*/ 1 h 159"/>
              <a:gd name="T16" fmla="*/ 89 w 158"/>
              <a:gd name="T17" fmla="*/ 0 h 159"/>
              <a:gd name="T18" fmla="*/ 69 w 158"/>
              <a:gd name="T19" fmla="*/ 0 h 159"/>
              <a:gd name="T20" fmla="*/ 55 w 158"/>
              <a:gd name="T21" fmla="*/ 1 h 159"/>
              <a:gd name="T22" fmla="*/ 42 w 158"/>
              <a:gd name="T23" fmla="*/ 5 h 159"/>
              <a:gd name="T24" fmla="*/ 30 w 158"/>
              <a:gd name="T25" fmla="*/ 11 h 159"/>
              <a:gd name="T26" fmla="*/ 20 w 158"/>
              <a:gd name="T27" fmla="*/ 20 h 159"/>
              <a:gd name="T28" fmla="*/ 11 w 158"/>
              <a:gd name="T29" fmla="*/ 30 h 159"/>
              <a:gd name="T30" fmla="*/ 5 w 158"/>
              <a:gd name="T31" fmla="*/ 43 h 159"/>
              <a:gd name="T32" fmla="*/ 1 w 158"/>
              <a:gd name="T33" fmla="*/ 56 h 159"/>
              <a:gd name="T34" fmla="*/ 0 w 158"/>
              <a:gd name="T35" fmla="*/ 70 h 159"/>
              <a:gd name="T36" fmla="*/ 0 w 158"/>
              <a:gd name="T37" fmla="*/ 89 h 159"/>
              <a:gd name="T38" fmla="*/ 1 w 158"/>
              <a:gd name="T39" fmla="*/ 103 h 159"/>
              <a:gd name="T40" fmla="*/ 5 w 158"/>
              <a:gd name="T41" fmla="*/ 116 h 159"/>
              <a:gd name="T42" fmla="*/ 11 w 158"/>
              <a:gd name="T43" fmla="*/ 129 h 159"/>
              <a:gd name="T44" fmla="*/ 20 w 158"/>
              <a:gd name="T45" fmla="*/ 139 h 159"/>
              <a:gd name="T46" fmla="*/ 30 w 158"/>
              <a:gd name="T47" fmla="*/ 147 h 159"/>
              <a:gd name="T48" fmla="*/ 42 w 158"/>
              <a:gd name="T49" fmla="*/ 154 h 159"/>
              <a:gd name="T50" fmla="*/ 55 w 158"/>
              <a:gd name="T51" fmla="*/ 158 h 159"/>
              <a:gd name="T52" fmla="*/ 69 w 158"/>
              <a:gd name="T53" fmla="*/ 159 h 159"/>
              <a:gd name="T54" fmla="*/ 89 w 158"/>
              <a:gd name="T55" fmla="*/ 159 h 159"/>
              <a:gd name="T56" fmla="*/ 103 w 158"/>
              <a:gd name="T57" fmla="*/ 158 h 159"/>
              <a:gd name="T58" fmla="*/ 116 w 158"/>
              <a:gd name="T59" fmla="*/ 154 h 159"/>
              <a:gd name="T60" fmla="*/ 128 w 158"/>
              <a:gd name="T61" fmla="*/ 147 h 159"/>
              <a:gd name="T62" fmla="*/ 138 w 158"/>
              <a:gd name="T63" fmla="*/ 139 h 159"/>
              <a:gd name="T64" fmla="*/ 146 w 158"/>
              <a:gd name="T65" fmla="*/ 129 h 159"/>
              <a:gd name="T66" fmla="*/ 153 w 158"/>
              <a:gd name="T67" fmla="*/ 116 h 159"/>
              <a:gd name="T68" fmla="*/ 157 w 158"/>
              <a:gd name="T69" fmla="*/ 103 h 159"/>
              <a:gd name="T70" fmla="*/ 158 w 158"/>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159">
                <a:moveTo>
                  <a:pt x="158" y="70"/>
                </a:moveTo>
                <a:lnTo>
                  <a:pt x="158" y="70"/>
                </a:lnTo>
                <a:lnTo>
                  <a:pt x="158" y="63"/>
                </a:lnTo>
                <a:lnTo>
                  <a:pt x="157" y="56"/>
                </a:lnTo>
                <a:lnTo>
                  <a:pt x="155" y="49"/>
                </a:lnTo>
                <a:lnTo>
                  <a:pt x="153" y="43"/>
                </a:lnTo>
                <a:lnTo>
                  <a:pt x="150" y="36"/>
                </a:lnTo>
                <a:lnTo>
                  <a:pt x="146" y="30"/>
                </a:lnTo>
                <a:lnTo>
                  <a:pt x="142" y="25"/>
                </a:lnTo>
                <a:lnTo>
                  <a:pt x="138" y="20"/>
                </a:lnTo>
                <a:lnTo>
                  <a:pt x="133" y="15"/>
                </a:lnTo>
                <a:lnTo>
                  <a:pt x="128" y="11"/>
                </a:lnTo>
                <a:lnTo>
                  <a:pt x="122" y="8"/>
                </a:lnTo>
                <a:lnTo>
                  <a:pt x="116" y="5"/>
                </a:lnTo>
                <a:lnTo>
                  <a:pt x="110" y="3"/>
                </a:lnTo>
                <a:lnTo>
                  <a:pt x="103" y="1"/>
                </a:lnTo>
                <a:lnTo>
                  <a:pt x="96" y="0"/>
                </a:lnTo>
                <a:lnTo>
                  <a:pt x="89" y="0"/>
                </a:lnTo>
                <a:lnTo>
                  <a:pt x="69" y="0"/>
                </a:lnTo>
                <a:lnTo>
                  <a:pt x="69" y="0"/>
                </a:lnTo>
                <a:lnTo>
                  <a:pt x="62" y="0"/>
                </a:lnTo>
                <a:lnTo>
                  <a:pt x="55" y="1"/>
                </a:lnTo>
                <a:lnTo>
                  <a:pt x="48" y="3"/>
                </a:lnTo>
                <a:lnTo>
                  <a:pt x="42" y="5"/>
                </a:lnTo>
                <a:lnTo>
                  <a:pt x="36" y="8"/>
                </a:lnTo>
                <a:lnTo>
                  <a:pt x="30" y="11"/>
                </a:lnTo>
                <a:lnTo>
                  <a:pt x="25" y="15"/>
                </a:lnTo>
                <a:lnTo>
                  <a:pt x="20" y="20"/>
                </a:lnTo>
                <a:lnTo>
                  <a:pt x="15" y="25"/>
                </a:lnTo>
                <a:lnTo>
                  <a:pt x="11" y="30"/>
                </a:lnTo>
                <a:lnTo>
                  <a:pt x="8" y="36"/>
                </a:lnTo>
                <a:lnTo>
                  <a:pt x="5" y="43"/>
                </a:lnTo>
                <a:lnTo>
                  <a:pt x="3" y="49"/>
                </a:lnTo>
                <a:lnTo>
                  <a:pt x="1" y="56"/>
                </a:lnTo>
                <a:lnTo>
                  <a:pt x="0" y="63"/>
                </a:lnTo>
                <a:lnTo>
                  <a:pt x="0" y="70"/>
                </a:lnTo>
                <a:lnTo>
                  <a:pt x="0" y="89"/>
                </a:lnTo>
                <a:lnTo>
                  <a:pt x="0" y="89"/>
                </a:lnTo>
                <a:lnTo>
                  <a:pt x="0" y="96"/>
                </a:lnTo>
                <a:lnTo>
                  <a:pt x="1" y="103"/>
                </a:lnTo>
                <a:lnTo>
                  <a:pt x="3" y="110"/>
                </a:lnTo>
                <a:lnTo>
                  <a:pt x="5" y="116"/>
                </a:lnTo>
                <a:lnTo>
                  <a:pt x="8" y="122"/>
                </a:lnTo>
                <a:lnTo>
                  <a:pt x="11" y="129"/>
                </a:lnTo>
                <a:lnTo>
                  <a:pt x="15" y="134"/>
                </a:lnTo>
                <a:lnTo>
                  <a:pt x="20" y="139"/>
                </a:lnTo>
                <a:lnTo>
                  <a:pt x="25" y="144"/>
                </a:lnTo>
                <a:lnTo>
                  <a:pt x="30" y="147"/>
                </a:lnTo>
                <a:lnTo>
                  <a:pt x="36" y="151"/>
                </a:lnTo>
                <a:lnTo>
                  <a:pt x="42" y="154"/>
                </a:lnTo>
                <a:lnTo>
                  <a:pt x="48" y="156"/>
                </a:lnTo>
                <a:lnTo>
                  <a:pt x="55" y="158"/>
                </a:lnTo>
                <a:lnTo>
                  <a:pt x="62" y="159"/>
                </a:lnTo>
                <a:lnTo>
                  <a:pt x="69" y="159"/>
                </a:lnTo>
                <a:lnTo>
                  <a:pt x="89" y="159"/>
                </a:lnTo>
                <a:lnTo>
                  <a:pt x="89" y="159"/>
                </a:lnTo>
                <a:lnTo>
                  <a:pt x="96" y="159"/>
                </a:lnTo>
                <a:lnTo>
                  <a:pt x="103" y="158"/>
                </a:lnTo>
                <a:lnTo>
                  <a:pt x="110" y="156"/>
                </a:lnTo>
                <a:lnTo>
                  <a:pt x="116" y="154"/>
                </a:lnTo>
                <a:lnTo>
                  <a:pt x="122" y="151"/>
                </a:lnTo>
                <a:lnTo>
                  <a:pt x="128" y="147"/>
                </a:lnTo>
                <a:lnTo>
                  <a:pt x="133" y="144"/>
                </a:lnTo>
                <a:lnTo>
                  <a:pt x="138" y="139"/>
                </a:lnTo>
                <a:lnTo>
                  <a:pt x="142" y="134"/>
                </a:lnTo>
                <a:lnTo>
                  <a:pt x="146" y="129"/>
                </a:lnTo>
                <a:lnTo>
                  <a:pt x="150" y="122"/>
                </a:lnTo>
                <a:lnTo>
                  <a:pt x="153" y="116"/>
                </a:lnTo>
                <a:lnTo>
                  <a:pt x="155" y="110"/>
                </a:lnTo>
                <a:lnTo>
                  <a:pt x="157" y="103"/>
                </a:lnTo>
                <a:lnTo>
                  <a:pt x="158" y="96"/>
                </a:lnTo>
                <a:lnTo>
                  <a:pt x="158" y="89"/>
                </a:lnTo>
                <a:lnTo>
                  <a:pt x="158"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4" name="Freeform 2186"/>
          <p:cNvSpPr>
            <a:spLocks/>
          </p:cNvSpPr>
          <p:nvPr/>
        </p:nvSpPr>
        <p:spPr bwMode="auto">
          <a:xfrm>
            <a:off x="866777" y="5081524"/>
            <a:ext cx="41275" cy="42862"/>
          </a:xfrm>
          <a:custGeom>
            <a:avLst/>
            <a:gdLst>
              <a:gd name="T0" fmla="*/ 159 w 159"/>
              <a:gd name="T1" fmla="*/ 70 h 159"/>
              <a:gd name="T2" fmla="*/ 158 w 159"/>
              <a:gd name="T3" fmla="*/ 56 h 159"/>
              <a:gd name="T4" fmla="*/ 154 w 159"/>
              <a:gd name="T5" fmla="*/ 43 h 159"/>
              <a:gd name="T6" fmla="*/ 146 w 159"/>
              <a:gd name="T7" fmla="*/ 30 h 159"/>
              <a:gd name="T8" fmla="*/ 138 w 159"/>
              <a:gd name="T9" fmla="*/ 20 h 159"/>
              <a:gd name="T10" fmla="*/ 128 w 159"/>
              <a:gd name="T11" fmla="*/ 11 h 159"/>
              <a:gd name="T12" fmla="*/ 116 w 159"/>
              <a:gd name="T13" fmla="*/ 5 h 159"/>
              <a:gd name="T14" fmla="*/ 103 w 159"/>
              <a:gd name="T15" fmla="*/ 1 h 159"/>
              <a:gd name="T16" fmla="*/ 89 w 159"/>
              <a:gd name="T17" fmla="*/ 0 h 159"/>
              <a:gd name="T18" fmla="*/ 70 w 159"/>
              <a:gd name="T19" fmla="*/ 0 h 159"/>
              <a:gd name="T20" fmla="*/ 55 w 159"/>
              <a:gd name="T21" fmla="*/ 1 h 159"/>
              <a:gd name="T22" fmla="*/ 42 w 159"/>
              <a:gd name="T23" fmla="*/ 5 h 159"/>
              <a:gd name="T24" fmla="*/ 30 w 159"/>
              <a:gd name="T25" fmla="*/ 11 h 159"/>
              <a:gd name="T26" fmla="*/ 20 w 159"/>
              <a:gd name="T27" fmla="*/ 20 h 159"/>
              <a:gd name="T28" fmla="*/ 11 w 159"/>
              <a:gd name="T29" fmla="*/ 30 h 159"/>
              <a:gd name="T30" fmla="*/ 5 w 159"/>
              <a:gd name="T31" fmla="*/ 43 h 159"/>
              <a:gd name="T32" fmla="*/ 1 w 159"/>
              <a:gd name="T33" fmla="*/ 56 h 159"/>
              <a:gd name="T34" fmla="*/ 0 w 159"/>
              <a:gd name="T35" fmla="*/ 70 h 159"/>
              <a:gd name="T36" fmla="*/ 0 w 159"/>
              <a:gd name="T37" fmla="*/ 89 h 159"/>
              <a:gd name="T38" fmla="*/ 1 w 159"/>
              <a:gd name="T39" fmla="*/ 103 h 159"/>
              <a:gd name="T40" fmla="*/ 5 w 159"/>
              <a:gd name="T41" fmla="*/ 116 h 159"/>
              <a:gd name="T42" fmla="*/ 11 w 159"/>
              <a:gd name="T43" fmla="*/ 129 h 159"/>
              <a:gd name="T44" fmla="*/ 20 w 159"/>
              <a:gd name="T45" fmla="*/ 139 h 159"/>
              <a:gd name="T46" fmla="*/ 30 w 159"/>
              <a:gd name="T47" fmla="*/ 147 h 159"/>
              <a:gd name="T48" fmla="*/ 42 w 159"/>
              <a:gd name="T49" fmla="*/ 154 h 159"/>
              <a:gd name="T50" fmla="*/ 55 w 159"/>
              <a:gd name="T51" fmla="*/ 158 h 159"/>
              <a:gd name="T52" fmla="*/ 70 w 159"/>
              <a:gd name="T53" fmla="*/ 159 h 159"/>
              <a:gd name="T54" fmla="*/ 89 w 159"/>
              <a:gd name="T55" fmla="*/ 159 h 159"/>
              <a:gd name="T56" fmla="*/ 103 w 159"/>
              <a:gd name="T57" fmla="*/ 158 h 159"/>
              <a:gd name="T58" fmla="*/ 116 w 159"/>
              <a:gd name="T59" fmla="*/ 154 h 159"/>
              <a:gd name="T60" fmla="*/ 128 w 159"/>
              <a:gd name="T61" fmla="*/ 147 h 159"/>
              <a:gd name="T62" fmla="*/ 138 w 159"/>
              <a:gd name="T63" fmla="*/ 139 h 159"/>
              <a:gd name="T64" fmla="*/ 146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0" y="36"/>
                </a:lnTo>
                <a:lnTo>
                  <a:pt x="146" y="30"/>
                </a:lnTo>
                <a:lnTo>
                  <a:pt x="142" y="25"/>
                </a:lnTo>
                <a:lnTo>
                  <a:pt x="138" y="20"/>
                </a:lnTo>
                <a:lnTo>
                  <a:pt x="133" y="15"/>
                </a:lnTo>
                <a:lnTo>
                  <a:pt x="128" y="11"/>
                </a:lnTo>
                <a:lnTo>
                  <a:pt x="122" y="8"/>
                </a:lnTo>
                <a:lnTo>
                  <a:pt x="116" y="5"/>
                </a:lnTo>
                <a:lnTo>
                  <a:pt x="110" y="3"/>
                </a:lnTo>
                <a:lnTo>
                  <a:pt x="103" y="1"/>
                </a:lnTo>
                <a:lnTo>
                  <a:pt x="96" y="0"/>
                </a:lnTo>
                <a:lnTo>
                  <a:pt x="89" y="0"/>
                </a:lnTo>
                <a:lnTo>
                  <a:pt x="70" y="0"/>
                </a:lnTo>
                <a:lnTo>
                  <a:pt x="70" y="0"/>
                </a:lnTo>
                <a:lnTo>
                  <a:pt x="61" y="0"/>
                </a:lnTo>
                <a:lnTo>
                  <a:pt x="55" y="1"/>
                </a:lnTo>
                <a:lnTo>
                  <a:pt x="48" y="3"/>
                </a:lnTo>
                <a:lnTo>
                  <a:pt x="42" y="5"/>
                </a:lnTo>
                <a:lnTo>
                  <a:pt x="36" y="8"/>
                </a:lnTo>
                <a:lnTo>
                  <a:pt x="30" y="11"/>
                </a:lnTo>
                <a:lnTo>
                  <a:pt x="25" y="15"/>
                </a:lnTo>
                <a:lnTo>
                  <a:pt x="20" y="20"/>
                </a:lnTo>
                <a:lnTo>
                  <a:pt x="15" y="25"/>
                </a:lnTo>
                <a:lnTo>
                  <a:pt x="11" y="30"/>
                </a:lnTo>
                <a:lnTo>
                  <a:pt x="8" y="36"/>
                </a:lnTo>
                <a:lnTo>
                  <a:pt x="5" y="43"/>
                </a:lnTo>
                <a:lnTo>
                  <a:pt x="3" y="49"/>
                </a:lnTo>
                <a:lnTo>
                  <a:pt x="1" y="56"/>
                </a:lnTo>
                <a:lnTo>
                  <a:pt x="0" y="63"/>
                </a:lnTo>
                <a:lnTo>
                  <a:pt x="0" y="70"/>
                </a:lnTo>
                <a:lnTo>
                  <a:pt x="0" y="89"/>
                </a:lnTo>
                <a:lnTo>
                  <a:pt x="0" y="89"/>
                </a:lnTo>
                <a:lnTo>
                  <a:pt x="0" y="96"/>
                </a:lnTo>
                <a:lnTo>
                  <a:pt x="1" y="103"/>
                </a:lnTo>
                <a:lnTo>
                  <a:pt x="3" y="110"/>
                </a:lnTo>
                <a:lnTo>
                  <a:pt x="5" y="116"/>
                </a:lnTo>
                <a:lnTo>
                  <a:pt x="8" y="122"/>
                </a:lnTo>
                <a:lnTo>
                  <a:pt x="11" y="129"/>
                </a:lnTo>
                <a:lnTo>
                  <a:pt x="15" y="134"/>
                </a:lnTo>
                <a:lnTo>
                  <a:pt x="20" y="139"/>
                </a:lnTo>
                <a:lnTo>
                  <a:pt x="25" y="144"/>
                </a:lnTo>
                <a:lnTo>
                  <a:pt x="30" y="147"/>
                </a:lnTo>
                <a:lnTo>
                  <a:pt x="36" y="151"/>
                </a:lnTo>
                <a:lnTo>
                  <a:pt x="42" y="154"/>
                </a:lnTo>
                <a:lnTo>
                  <a:pt x="48" y="156"/>
                </a:lnTo>
                <a:lnTo>
                  <a:pt x="55" y="158"/>
                </a:lnTo>
                <a:lnTo>
                  <a:pt x="61" y="159"/>
                </a:lnTo>
                <a:lnTo>
                  <a:pt x="70" y="159"/>
                </a:lnTo>
                <a:lnTo>
                  <a:pt x="89" y="159"/>
                </a:lnTo>
                <a:lnTo>
                  <a:pt x="89" y="159"/>
                </a:lnTo>
                <a:lnTo>
                  <a:pt x="96" y="159"/>
                </a:lnTo>
                <a:lnTo>
                  <a:pt x="103" y="158"/>
                </a:lnTo>
                <a:lnTo>
                  <a:pt x="110" y="156"/>
                </a:lnTo>
                <a:lnTo>
                  <a:pt x="116" y="154"/>
                </a:lnTo>
                <a:lnTo>
                  <a:pt x="122" y="151"/>
                </a:lnTo>
                <a:lnTo>
                  <a:pt x="128" y="147"/>
                </a:lnTo>
                <a:lnTo>
                  <a:pt x="133" y="144"/>
                </a:lnTo>
                <a:lnTo>
                  <a:pt x="138" y="139"/>
                </a:lnTo>
                <a:lnTo>
                  <a:pt x="142" y="134"/>
                </a:lnTo>
                <a:lnTo>
                  <a:pt x="146" y="129"/>
                </a:lnTo>
                <a:lnTo>
                  <a:pt x="150"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5" name="Freeform 2187"/>
          <p:cNvSpPr>
            <a:spLocks/>
          </p:cNvSpPr>
          <p:nvPr/>
        </p:nvSpPr>
        <p:spPr bwMode="auto">
          <a:xfrm>
            <a:off x="965202" y="5081524"/>
            <a:ext cx="41275" cy="42862"/>
          </a:xfrm>
          <a:custGeom>
            <a:avLst/>
            <a:gdLst>
              <a:gd name="T0" fmla="*/ 159 w 159"/>
              <a:gd name="T1" fmla="*/ 70 h 159"/>
              <a:gd name="T2" fmla="*/ 158 w 159"/>
              <a:gd name="T3" fmla="*/ 56 h 159"/>
              <a:gd name="T4" fmla="*/ 154 w 159"/>
              <a:gd name="T5" fmla="*/ 43 h 159"/>
              <a:gd name="T6" fmla="*/ 147 w 159"/>
              <a:gd name="T7" fmla="*/ 30 h 159"/>
              <a:gd name="T8" fmla="*/ 139 w 159"/>
              <a:gd name="T9" fmla="*/ 20 h 159"/>
              <a:gd name="T10" fmla="*/ 128 w 159"/>
              <a:gd name="T11" fmla="*/ 11 h 159"/>
              <a:gd name="T12" fmla="*/ 116 w 159"/>
              <a:gd name="T13" fmla="*/ 5 h 159"/>
              <a:gd name="T14" fmla="*/ 103 w 159"/>
              <a:gd name="T15" fmla="*/ 1 h 159"/>
              <a:gd name="T16" fmla="*/ 89 w 159"/>
              <a:gd name="T17" fmla="*/ 0 h 159"/>
              <a:gd name="T18" fmla="*/ 70 w 159"/>
              <a:gd name="T19" fmla="*/ 0 h 159"/>
              <a:gd name="T20" fmla="*/ 56 w 159"/>
              <a:gd name="T21" fmla="*/ 1 h 159"/>
              <a:gd name="T22" fmla="*/ 42 w 159"/>
              <a:gd name="T23" fmla="*/ 5 h 159"/>
              <a:gd name="T24" fmla="*/ 30 w 159"/>
              <a:gd name="T25" fmla="*/ 11 h 159"/>
              <a:gd name="T26" fmla="*/ 20 w 159"/>
              <a:gd name="T27" fmla="*/ 20 h 159"/>
              <a:gd name="T28" fmla="*/ 11 w 159"/>
              <a:gd name="T29" fmla="*/ 30 h 159"/>
              <a:gd name="T30" fmla="*/ 5 w 159"/>
              <a:gd name="T31" fmla="*/ 43 h 159"/>
              <a:gd name="T32" fmla="*/ 1 w 159"/>
              <a:gd name="T33" fmla="*/ 56 h 159"/>
              <a:gd name="T34" fmla="*/ 0 w 159"/>
              <a:gd name="T35" fmla="*/ 70 h 159"/>
              <a:gd name="T36" fmla="*/ 0 w 159"/>
              <a:gd name="T37" fmla="*/ 89 h 159"/>
              <a:gd name="T38" fmla="*/ 1 w 159"/>
              <a:gd name="T39" fmla="*/ 103 h 159"/>
              <a:gd name="T40" fmla="*/ 5 w 159"/>
              <a:gd name="T41" fmla="*/ 116 h 159"/>
              <a:gd name="T42" fmla="*/ 11 w 159"/>
              <a:gd name="T43" fmla="*/ 129 h 159"/>
              <a:gd name="T44" fmla="*/ 20 w 159"/>
              <a:gd name="T45" fmla="*/ 139 h 159"/>
              <a:gd name="T46" fmla="*/ 30 w 159"/>
              <a:gd name="T47" fmla="*/ 147 h 159"/>
              <a:gd name="T48" fmla="*/ 42 w 159"/>
              <a:gd name="T49" fmla="*/ 154 h 159"/>
              <a:gd name="T50" fmla="*/ 56 w 159"/>
              <a:gd name="T51" fmla="*/ 158 h 159"/>
              <a:gd name="T52" fmla="*/ 70 w 159"/>
              <a:gd name="T53" fmla="*/ 159 h 159"/>
              <a:gd name="T54" fmla="*/ 89 w 159"/>
              <a:gd name="T55" fmla="*/ 159 h 159"/>
              <a:gd name="T56" fmla="*/ 103 w 159"/>
              <a:gd name="T57" fmla="*/ 158 h 159"/>
              <a:gd name="T58" fmla="*/ 116 w 159"/>
              <a:gd name="T59" fmla="*/ 154 h 159"/>
              <a:gd name="T60" fmla="*/ 128 w 159"/>
              <a:gd name="T61" fmla="*/ 147 h 159"/>
              <a:gd name="T62" fmla="*/ 139 w 159"/>
              <a:gd name="T63" fmla="*/ 139 h 159"/>
              <a:gd name="T64" fmla="*/ 147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1" y="36"/>
                </a:lnTo>
                <a:lnTo>
                  <a:pt x="147" y="30"/>
                </a:lnTo>
                <a:lnTo>
                  <a:pt x="143" y="25"/>
                </a:lnTo>
                <a:lnTo>
                  <a:pt x="139" y="20"/>
                </a:lnTo>
                <a:lnTo>
                  <a:pt x="134" y="15"/>
                </a:lnTo>
                <a:lnTo>
                  <a:pt x="128" y="11"/>
                </a:lnTo>
                <a:lnTo>
                  <a:pt x="122" y="8"/>
                </a:lnTo>
                <a:lnTo>
                  <a:pt x="116" y="5"/>
                </a:lnTo>
                <a:lnTo>
                  <a:pt x="110" y="3"/>
                </a:lnTo>
                <a:lnTo>
                  <a:pt x="103" y="1"/>
                </a:lnTo>
                <a:lnTo>
                  <a:pt x="96" y="0"/>
                </a:lnTo>
                <a:lnTo>
                  <a:pt x="89" y="0"/>
                </a:lnTo>
                <a:lnTo>
                  <a:pt x="70" y="0"/>
                </a:lnTo>
                <a:lnTo>
                  <a:pt x="70" y="0"/>
                </a:lnTo>
                <a:lnTo>
                  <a:pt x="62" y="0"/>
                </a:lnTo>
                <a:lnTo>
                  <a:pt x="56" y="1"/>
                </a:lnTo>
                <a:lnTo>
                  <a:pt x="49" y="3"/>
                </a:lnTo>
                <a:lnTo>
                  <a:pt x="42" y="5"/>
                </a:lnTo>
                <a:lnTo>
                  <a:pt x="36" y="8"/>
                </a:lnTo>
                <a:lnTo>
                  <a:pt x="30" y="11"/>
                </a:lnTo>
                <a:lnTo>
                  <a:pt x="25" y="15"/>
                </a:lnTo>
                <a:lnTo>
                  <a:pt x="20" y="20"/>
                </a:lnTo>
                <a:lnTo>
                  <a:pt x="15" y="25"/>
                </a:lnTo>
                <a:lnTo>
                  <a:pt x="11" y="30"/>
                </a:lnTo>
                <a:lnTo>
                  <a:pt x="8" y="36"/>
                </a:lnTo>
                <a:lnTo>
                  <a:pt x="5" y="43"/>
                </a:lnTo>
                <a:lnTo>
                  <a:pt x="3" y="49"/>
                </a:lnTo>
                <a:lnTo>
                  <a:pt x="1" y="56"/>
                </a:lnTo>
                <a:lnTo>
                  <a:pt x="0" y="63"/>
                </a:lnTo>
                <a:lnTo>
                  <a:pt x="0" y="70"/>
                </a:lnTo>
                <a:lnTo>
                  <a:pt x="0" y="89"/>
                </a:lnTo>
                <a:lnTo>
                  <a:pt x="0" y="89"/>
                </a:lnTo>
                <a:lnTo>
                  <a:pt x="0" y="96"/>
                </a:lnTo>
                <a:lnTo>
                  <a:pt x="1" y="103"/>
                </a:lnTo>
                <a:lnTo>
                  <a:pt x="3" y="110"/>
                </a:lnTo>
                <a:lnTo>
                  <a:pt x="5" y="116"/>
                </a:lnTo>
                <a:lnTo>
                  <a:pt x="8" y="122"/>
                </a:lnTo>
                <a:lnTo>
                  <a:pt x="11" y="129"/>
                </a:lnTo>
                <a:lnTo>
                  <a:pt x="15" y="134"/>
                </a:lnTo>
                <a:lnTo>
                  <a:pt x="20" y="139"/>
                </a:lnTo>
                <a:lnTo>
                  <a:pt x="25" y="144"/>
                </a:lnTo>
                <a:lnTo>
                  <a:pt x="30" y="147"/>
                </a:lnTo>
                <a:lnTo>
                  <a:pt x="36" y="151"/>
                </a:lnTo>
                <a:lnTo>
                  <a:pt x="42" y="154"/>
                </a:lnTo>
                <a:lnTo>
                  <a:pt x="49" y="156"/>
                </a:lnTo>
                <a:lnTo>
                  <a:pt x="56" y="158"/>
                </a:lnTo>
                <a:lnTo>
                  <a:pt x="62" y="159"/>
                </a:lnTo>
                <a:lnTo>
                  <a:pt x="70" y="159"/>
                </a:lnTo>
                <a:lnTo>
                  <a:pt x="89" y="159"/>
                </a:lnTo>
                <a:lnTo>
                  <a:pt x="89" y="159"/>
                </a:lnTo>
                <a:lnTo>
                  <a:pt x="96" y="159"/>
                </a:lnTo>
                <a:lnTo>
                  <a:pt x="103" y="158"/>
                </a:lnTo>
                <a:lnTo>
                  <a:pt x="110" y="156"/>
                </a:lnTo>
                <a:lnTo>
                  <a:pt x="116" y="154"/>
                </a:lnTo>
                <a:lnTo>
                  <a:pt x="122" y="151"/>
                </a:lnTo>
                <a:lnTo>
                  <a:pt x="128" y="147"/>
                </a:lnTo>
                <a:lnTo>
                  <a:pt x="134" y="144"/>
                </a:lnTo>
                <a:lnTo>
                  <a:pt x="139" y="139"/>
                </a:lnTo>
                <a:lnTo>
                  <a:pt x="143" y="134"/>
                </a:lnTo>
                <a:lnTo>
                  <a:pt x="147" y="129"/>
                </a:lnTo>
                <a:lnTo>
                  <a:pt x="151"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6" name="Freeform 2188"/>
          <p:cNvSpPr>
            <a:spLocks/>
          </p:cNvSpPr>
          <p:nvPr/>
        </p:nvSpPr>
        <p:spPr bwMode="auto">
          <a:xfrm>
            <a:off x="1063627" y="5081524"/>
            <a:ext cx="42863" cy="42862"/>
          </a:xfrm>
          <a:custGeom>
            <a:avLst/>
            <a:gdLst>
              <a:gd name="T0" fmla="*/ 159 w 159"/>
              <a:gd name="T1" fmla="*/ 70 h 159"/>
              <a:gd name="T2" fmla="*/ 158 w 159"/>
              <a:gd name="T3" fmla="*/ 56 h 159"/>
              <a:gd name="T4" fmla="*/ 154 w 159"/>
              <a:gd name="T5" fmla="*/ 43 h 159"/>
              <a:gd name="T6" fmla="*/ 147 w 159"/>
              <a:gd name="T7" fmla="*/ 30 h 159"/>
              <a:gd name="T8" fmla="*/ 139 w 159"/>
              <a:gd name="T9" fmla="*/ 20 h 159"/>
              <a:gd name="T10" fmla="*/ 129 w 159"/>
              <a:gd name="T11" fmla="*/ 11 h 159"/>
              <a:gd name="T12" fmla="*/ 117 w 159"/>
              <a:gd name="T13" fmla="*/ 5 h 159"/>
              <a:gd name="T14" fmla="*/ 103 w 159"/>
              <a:gd name="T15" fmla="*/ 1 h 159"/>
              <a:gd name="T16" fmla="*/ 89 w 159"/>
              <a:gd name="T17" fmla="*/ 0 h 159"/>
              <a:gd name="T18" fmla="*/ 69 w 159"/>
              <a:gd name="T19" fmla="*/ 0 h 159"/>
              <a:gd name="T20" fmla="*/ 56 w 159"/>
              <a:gd name="T21" fmla="*/ 1 h 159"/>
              <a:gd name="T22" fmla="*/ 43 w 159"/>
              <a:gd name="T23" fmla="*/ 5 h 159"/>
              <a:gd name="T24" fmla="*/ 31 w 159"/>
              <a:gd name="T25" fmla="*/ 11 h 159"/>
              <a:gd name="T26" fmla="*/ 20 w 159"/>
              <a:gd name="T27" fmla="*/ 20 h 159"/>
              <a:gd name="T28" fmla="*/ 11 w 159"/>
              <a:gd name="T29" fmla="*/ 30 h 159"/>
              <a:gd name="T30" fmla="*/ 5 w 159"/>
              <a:gd name="T31" fmla="*/ 43 h 159"/>
              <a:gd name="T32" fmla="*/ 1 w 159"/>
              <a:gd name="T33" fmla="*/ 56 h 159"/>
              <a:gd name="T34" fmla="*/ 0 w 159"/>
              <a:gd name="T35" fmla="*/ 70 h 159"/>
              <a:gd name="T36" fmla="*/ 0 w 159"/>
              <a:gd name="T37" fmla="*/ 89 h 159"/>
              <a:gd name="T38" fmla="*/ 1 w 159"/>
              <a:gd name="T39" fmla="*/ 103 h 159"/>
              <a:gd name="T40" fmla="*/ 5 w 159"/>
              <a:gd name="T41" fmla="*/ 116 h 159"/>
              <a:gd name="T42" fmla="*/ 11 w 159"/>
              <a:gd name="T43" fmla="*/ 129 h 159"/>
              <a:gd name="T44" fmla="*/ 20 w 159"/>
              <a:gd name="T45" fmla="*/ 139 h 159"/>
              <a:gd name="T46" fmla="*/ 31 w 159"/>
              <a:gd name="T47" fmla="*/ 147 h 159"/>
              <a:gd name="T48" fmla="*/ 43 w 159"/>
              <a:gd name="T49" fmla="*/ 154 h 159"/>
              <a:gd name="T50" fmla="*/ 56 w 159"/>
              <a:gd name="T51" fmla="*/ 158 h 159"/>
              <a:gd name="T52" fmla="*/ 69 w 159"/>
              <a:gd name="T53" fmla="*/ 159 h 159"/>
              <a:gd name="T54" fmla="*/ 89 w 159"/>
              <a:gd name="T55" fmla="*/ 159 h 159"/>
              <a:gd name="T56" fmla="*/ 103 w 159"/>
              <a:gd name="T57" fmla="*/ 158 h 159"/>
              <a:gd name="T58" fmla="*/ 117 w 159"/>
              <a:gd name="T59" fmla="*/ 154 h 159"/>
              <a:gd name="T60" fmla="*/ 129 w 159"/>
              <a:gd name="T61" fmla="*/ 147 h 159"/>
              <a:gd name="T62" fmla="*/ 139 w 159"/>
              <a:gd name="T63" fmla="*/ 139 h 159"/>
              <a:gd name="T64" fmla="*/ 147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1" y="36"/>
                </a:lnTo>
                <a:lnTo>
                  <a:pt x="147" y="30"/>
                </a:lnTo>
                <a:lnTo>
                  <a:pt x="143" y="25"/>
                </a:lnTo>
                <a:lnTo>
                  <a:pt x="139" y="20"/>
                </a:lnTo>
                <a:lnTo>
                  <a:pt x="134" y="15"/>
                </a:lnTo>
                <a:lnTo>
                  <a:pt x="129" y="11"/>
                </a:lnTo>
                <a:lnTo>
                  <a:pt x="123" y="8"/>
                </a:lnTo>
                <a:lnTo>
                  <a:pt x="117" y="5"/>
                </a:lnTo>
                <a:lnTo>
                  <a:pt x="110" y="3"/>
                </a:lnTo>
                <a:lnTo>
                  <a:pt x="103" y="1"/>
                </a:lnTo>
                <a:lnTo>
                  <a:pt x="96" y="0"/>
                </a:lnTo>
                <a:lnTo>
                  <a:pt x="89" y="0"/>
                </a:lnTo>
                <a:lnTo>
                  <a:pt x="69" y="0"/>
                </a:lnTo>
                <a:lnTo>
                  <a:pt x="69" y="0"/>
                </a:lnTo>
                <a:lnTo>
                  <a:pt x="62" y="0"/>
                </a:lnTo>
                <a:lnTo>
                  <a:pt x="56" y="1"/>
                </a:lnTo>
                <a:lnTo>
                  <a:pt x="49" y="3"/>
                </a:lnTo>
                <a:lnTo>
                  <a:pt x="43" y="5"/>
                </a:lnTo>
                <a:lnTo>
                  <a:pt x="37" y="8"/>
                </a:lnTo>
                <a:lnTo>
                  <a:pt x="31" y="11"/>
                </a:lnTo>
                <a:lnTo>
                  <a:pt x="25" y="15"/>
                </a:lnTo>
                <a:lnTo>
                  <a:pt x="20" y="20"/>
                </a:lnTo>
                <a:lnTo>
                  <a:pt x="15" y="25"/>
                </a:lnTo>
                <a:lnTo>
                  <a:pt x="11" y="30"/>
                </a:lnTo>
                <a:lnTo>
                  <a:pt x="8" y="36"/>
                </a:lnTo>
                <a:lnTo>
                  <a:pt x="5" y="43"/>
                </a:lnTo>
                <a:lnTo>
                  <a:pt x="3" y="49"/>
                </a:lnTo>
                <a:lnTo>
                  <a:pt x="1" y="56"/>
                </a:lnTo>
                <a:lnTo>
                  <a:pt x="0" y="63"/>
                </a:lnTo>
                <a:lnTo>
                  <a:pt x="0" y="70"/>
                </a:lnTo>
                <a:lnTo>
                  <a:pt x="0" y="89"/>
                </a:lnTo>
                <a:lnTo>
                  <a:pt x="0" y="89"/>
                </a:lnTo>
                <a:lnTo>
                  <a:pt x="0" y="96"/>
                </a:lnTo>
                <a:lnTo>
                  <a:pt x="1" y="103"/>
                </a:lnTo>
                <a:lnTo>
                  <a:pt x="3" y="110"/>
                </a:lnTo>
                <a:lnTo>
                  <a:pt x="5" y="116"/>
                </a:lnTo>
                <a:lnTo>
                  <a:pt x="8" y="122"/>
                </a:lnTo>
                <a:lnTo>
                  <a:pt x="11" y="129"/>
                </a:lnTo>
                <a:lnTo>
                  <a:pt x="15" y="134"/>
                </a:lnTo>
                <a:lnTo>
                  <a:pt x="20" y="139"/>
                </a:lnTo>
                <a:lnTo>
                  <a:pt x="25" y="144"/>
                </a:lnTo>
                <a:lnTo>
                  <a:pt x="31" y="147"/>
                </a:lnTo>
                <a:lnTo>
                  <a:pt x="37" y="151"/>
                </a:lnTo>
                <a:lnTo>
                  <a:pt x="43" y="154"/>
                </a:lnTo>
                <a:lnTo>
                  <a:pt x="49" y="156"/>
                </a:lnTo>
                <a:lnTo>
                  <a:pt x="56" y="158"/>
                </a:lnTo>
                <a:lnTo>
                  <a:pt x="62" y="159"/>
                </a:lnTo>
                <a:lnTo>
                  <a:pt x="69" y="159"/>
                </a:lnTo>
                <a:lnTo>
                  <a:pt x="89" y="159"/>
                </a:lnTo>
                <a:lnTo>
                  <a:pt x="89" y="159"/>
                </a:lnTo>
                <a:lnTo>
                  <a:pt x="96" y="159"/>
                </a:lnTo>
                <a:lnTo>
                  <a:pt x="103" y="158"/>
                </a:lnTo>
                <a:lnTo>
                  <a:pt x="110" y="156"/>
                </a:lnTo>
                <a:lnTo>
                  <a:pt x="117" y="154"/>
                </a:lnTo>
                <a:lnTo>
                  <a:pt x="123" y="151"/>
                </a:lnTo>
                <a:lnTo>
                  <a:pt x="129" y="147"/>
                </a:lnTo>
                <a:lnTo>
                  <a:pt x="134" y="144"/>
                </a:lnTo>
                <a:lnTo>
                  <a:pt x="139" y="139"/>
                </a:lnTo>
                <a:lnTo>
                  <a:pt x="143" y="134"/>
                </a:lnTo>
                <a:lnTo>
                  <a:pt x="147" y="129"/>
                </a:lnTo>
                <a:lnTo>
                  <a:pt x="151"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7" name="Freeform 2189"/>
          <p:cNvSpPr>
            <a:spLocks/>
          </p:cNvSpPr>
          <p:nvPr/>
        </p:nvSpPr>
        <p:spPr bwMode="auto">
          <a:xfrm>
            <a:off x="1162052" y="5081524"/>
            <a:ext cx="42863" cy="42862"/>
          </a:xfrm>
          <a:custGeom>
            <a:avLst/>
            <a:gdLst>
              <a:gd name="T0" fmla="*/ 159 w 159"/>
              <a:gd name="T1" fmla="*/ 70 h 159"/>
              <a:gd name="T2" fmla="*/ 158 w 159"/>
              <a:gd name="T3" fmla="*/ 56 h 159"/>
              <a:gd name="T4" fmla="*/ 154 w 159"/>
              <a:gd name="T5" fmla="*/ 43 h 159"/>
              <a:gd name="T6" fmla="*/ 147 w 159"/>
              <a:gd name="T7" fmla="*/ 30 h 159"/>
              <a:gd name="T8" fmla="*/ 139 w 159"/>
              <a:gd name="T9" fmla="*/ 20 h 159"/>
              <a:gd name="T10" fmla="*/ 129 w 159"/>
              <a:gd name="T11" fmla="*/ 11 h 159"/>
              <a:gd name="T12" fmla="*/ 117 w 159"/>
              <a:gd name="T13" fmla="*/ 5 h 159"/>
              <a:gd name="T14" fmla="*/ 104 w 159"/>
              <a:gd name="T15" fmla="*/ 1 h 159"/>
              <a:gd name="T16" fmla="*/ 89 w 159"/>
              <a:gd name="T17" fmla="*/ 0 h 159"/>
              <a:gd name="T18" fmla="*/ 70 w 159"/>
              <a:gd name="T19" fmla="*/ 0 h 159"/>
              <a:gd name="T20" fmla="*/ 56 w 159"/>
              <a:gd name="T21" fmla="*/ 1 h 159"/>
              <a:gd name="T22" fmla="*/ 43 w 159"/>
              <a:gd name="T23" fmla="*/ 5 h 159"/>
              <a:gd name="T24" fmla="*/ 31 w 159"/>
              <a:gd name="T25" fmla="*/ 11 h 159"/>
              <a:gd name="T26" fmla="*/ 21 w 159"/>
              <a:gd name="T27" fmla="*/ 20 h 159"/>
              <a:gd name="T28" fmla="*/ 12 w 159"/>
              <a:gd name="T29" fmla="*/ 30 h 159"/>
              <a:gd name="T30" fmla="*/ 5 w 159"/>
              <a:gd name="T31" fmla="*/ 43 h 159"/>
              <a:gd name="T32" fmla="*/ 1 w 159"/>
              <a:gd name="T33" fmla="*/ 56 h 159"/>
              <a:gd name="T34" fmla="*/ 0 w 159"/>
              <a:gd name="T35" fmla="*/ 70 h 159"/>
              <a:gd name="T36" fmla="*/ 0 w 159"/>
              <a:gd name="T37" fmla="*/ 89 h 159"/>
              <a:gd name="T38" fmla="*/ 1 w 159"/>
              <a:gd name="T39" fmla="*/ 103 h 159"/>
              <a:gd name="T40" fmla="*/ 5 w 159"/>
              <a:gd name="T41" fmla="*/ 116 h 159"/>
              <a:gd name="T42" fmla="*/ 12 w 159"/>
              <a:gd name="T43" fmla="*/ 129 h 159"/>
              <a:gd name="T44" fmla="*/ 21 w 159"/>
              <a:gd name="T45" fmla="*/ 139 h 159"/>
              <a:gd name="T46" fmla="*/ 31 w 159"/>
              <a:gd name="T47" fmla="*/ 147 h 159"/>
              <a:gd name="T48" fmla="*/ 43 w 159"/>
              <a:gd name="T49" fmla="*/ 154 h 159"/>
              <a:gd name="T50" fmla="*/ 56 w 159"/>
              <a:gd name="T51" fmla="*/ 158 h 159"/>
              <a:gd name="T52" fmla="*/ 70 w 159"/>
              <a:gd name="T53" fmla="*/ 159 h 159"/>
              <a:gd name="T54" fmla="*/ 89 w 159"/>
              <a:gd name="T55" fmla="*/ 159 h 159"/>
              <a:gd name="T56" fmla="*/ 104 w 159"/>
              <a:gd name="T57" fmla="*/ 158 h 159"/>
              <a:gd name="T58" fmla="*/ 117 w 159"/>
              <a:gd name="T59" fmla="*/ 154 h 159"/>
              <a:gd name="T60" fmla="*/ 129 w 159"/>
              <a:gd name="T61" fmla="*/ 147 h 159"/>
              <a:gd name="T62" fmla="*/ 139 w 159"/>
              <a:gd name="T63" fmla="*/ 139 h 159"/>
              <a:gd name="T64" fmla="*/ 147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1" y="36"/>
                </a:lnTo>
                <a:lnTo>
                  <a:pt x="147" y="30"/>
                </a:lnTo>
                <a:lnTo>
                  <a:pt x="143" y="25"/>
                </a:lnTo>
                <a:lnTo>
                  <a:pt x="139" y="20"/>
                </a:lnTo>
                <a:lnTo>
                  <a:pt x="134" y="15"/>
                </a:lnTo>
                <a:lnTo>
                  <a:pt x="129" y="11"/>
                </a:lnTo>
                <a:lnTo>
                  <a:pt x="123" y="8"/>
                </a:lnTo>
                <a:lnTo>
                  <a:pt x="117" y="5"/>
                </a:lnTo>
                <a:lnTo>
                  <a:pt x="111" y="3"/>
                </a:lnTo>
                <a:lnTo>
                  <a:pt x="104" y="1"/>
                </a:lnTo>
                <a:lnTo>
                  <a:pt x="97" y="0"/>
                </a:lnTo>
                <a:lnTo>
                  <a:pt x="89" y="0"/>
                </a:lnTo>
                <a:lnTo>
                  <a:pt x="70" y="0"/>
                </a:lnTo>
                <a:lnTo>
                  <a:pt x="70" y="0"/>
                </a:lnTo>
                <a:lnTo>
                  <a:pt x="62" y="0"/>
                </a:lnTo>
                <a:lnTo>
                  <a:pt x="56" y="1"/>
                </a:lnTo>
                <a:lnTo>
                  <a:pt x="49" y="3"/>
                </a:lnTo>
                <a:lnTo>
                  <a:pt x="43" y="5"/>
                </a:lnTo>
                <a:lnTo>
                  <a:pt x="37" y="8"/>
                </a:lnTo>
                <a:lnTo>
                  <a:pt x="31" y="11"/>
                </a:lnTo>
                <a:lnTo>
                  <a:pt x="26" y="15"/>
                </a:lnTo>
                <a:lnTo>
                  <a:pt x="21" y="20"/>
                </a:lnTo>
                <a:lnTo>
                  <a:pt x="16" y="25"/>
                </a:lnTo>
                <a:lnTo>
                  <a:pt x="12" y="30"/>
                </a:lnTo>
                <a:lnTo>
                  <a:pt x="9" y="36"/>
                </a:lnTo>
                <a:lnTo>
                  <a:pt x="5" y="43"/>
                </a:lnTo>
                <a:lnTo>
                  <a:pt x="3" y="49"/>
                </a:lnTo>
                <a:lnTo>
                  <a:pt x="1" y="56"/>
                </a:lnTo>
                <a:lnTo>
                  <a:pt x="0" y="63"/>
                </a:lnTo>
                <a:lnTo>
                  <a:pt x="0" y="70"/>
                </a:lnTo>
                <a:lnTo>
                  <a:pt x="0" y="89"/>
                </a:lnTo>
                <a:lnTo>
                  <a:pt x="0" y="89"/>
                </a:lnTo>
                <a:lnTo>
                  <a:pt x="0" y="96"/>
                </a:lnTo>
                <a:lnTo>
                  <a:pt x="1" y="103"/>
                </a:lnTo>
                <a:lnTo>
                  <a:pt x="3" y="110"/>
                </a:lnTo>
                <a:lnTo>
                  <a:pt x="5" y="116"/>
                </a:lnTo>
                <a:lnTo>
                  <a:pt x="9" y="122"/>
                </a:lnTo>
                <a:lnTo>
                  <a:pt x="12" y="129"/>
                </a:lnTo>
                <a:lnTo>
                  <a:pt x="16" y="134"/>
                </a:lnTo>
                <a:lnTo>
                  <a:pt x="21" y="139"/>
                </a:lnTo>
                <a:lnTo>
                  <a:pt x="26" y="144"/>
                </a:lnTo>
                <a:lnTo>
                  <a:pt x="31" y="147"/>
                </a:lnTo>
                <a:lnTo>
                  <a:pt x="37" y="151"/>
                </a:lnTo>
                <a:lnTo>
                  <a:pt x="43" y="154"/>
                </a:lnTo>
                <a:lnTo>
                  <a:pt x="49" y="156"/>
                </a:lnTo>
                <a:lnTo>
                  <a:pt x="56" y="158"/>
                </a:lnTo>
                <a:lnTo>
                  <a:pt x="62" y="159"/>
                </a:lnTo>
                <a:lnTo>
                  <a:pt x="70" y="159"/>
                </a:lnTo>
                <a:lnTo>
                  <a:pt x="89" y="159"/>
                </a:lnTo>
                <a:lnTo>
                  <a:pt x="89" y="159"/>
                </a:lnTo>
                <a:lnTo>
                  <a:pt x="97" y="159"/>
                </a:lnTo>
                <a:lnTo>
                  <a:pt x="104" y="158"/>
                </a:lnTo>
                <a:lnTo>
                  <a:pt x="111" y="156"/>
                </a:lnTo>
                <a:lnTo>
                  <a:pt x="117" y="154"/>
                </a:lnTo>
                <a:lnTo>
                  <a:pt x="123" y="151"/>
                </a:lnTo>
                <a:lnTo>
                  <a:pt x="129" y="147"/>
                </a:lnTo>
                <a:lnTo>
                  <a:pt x="134" y="144"/>
                </a:lnTo>
                <a:lnTo>
                  <a:pt x="139" y="139"/>
                </a:lnTo>
                <a:lnTo>
                  <a:pt x="143" y="134"/>
                </a:lnTo>
                <a:lnTo>
                  <a:pt x="147" y="129"/>
                </a:lnTo>
                <a:lnTo>
                  <a:pt x="151"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8" name="Freeform 2190"/>
          <p:cNvSpPr>
            <a:spLocks/>
          </p:cNvSpPr>
          <p:nvPr/>
        </p:nvSpPr>
        <p:spPr bwMode="auto">
          <a:xfrm>
            <a:off x="1260477" y="5081524"/>
            <a:ext cx="42863" cy="42862"/>
          </a:xfrm>
          <a:custGeom>
            <a:avLst/>
            <a:gdLst>
              <a:gd name="T0" fmla="*/ 158 w 158"/>
              <a:gd name="T1" fmla="*/ 70 h 159"/>
              <a:gd name="T2" fmla="*/ 157 w 158"/>
              <a:gd name="T3" fmla="*/ 56 h 159"/>
              <a:gd name="T4" fmla="*/ 153 w 158"/>
              <a:gd name="T5" fmla="*/ 43 h 159"/>
              <a:gd name="T6" fmla="*/ 146 w 158"/>
              <a:gd name="T7" fmla="*/ 30 h 159"/>
              <a:gd name="T8" fmla="*/ 138 w 158"/>
              <a:gd name="T9" fmla="*/ 20 h 159"/>
              <a:gd name="T10" fmla="*/ 128 w 158"/>
              <a:gd name="T11" fmla="*/ 11 h 159"/>
              <a:gd name="T12" fmla="*/ 116 w 158"/>
              <a:gd name="T13" fmla="*/ 5 h 159"/>
              <a:gd name="T14" fmla="*/ 103 w 158"/>
              <a:gd name="T15" fmla="*/ 1 h 159"/>
              <a:gd name="T16" fmla="*/ 89 w 158"/>
              <a:gd name="T17" fmla="*/ 0 h 159"/>
              <a:gd name="T18" fmla="*/ 68 w 158"/>
              <a:gd name="T19" fmla="*/ 0 h 159"/>
              <a:gd name="T20" fmla="*/ 55 w 158"/>
              <a:gd name="T21" fmla="*/ 1 h 159"/>
              <a:gd name="T22" fmla="*/ 42 w 158"/>
              <a:gd name="T23" fmla="*/ 5 h 159"/>
              <a:gd name="T24" fmla="*/ 30 w 158"/>
              <a:gd name="T25" fmla="*/ 11 h 159"/>
              <a:gd name="T26" fmla="*/ 20 w 158"/>
              <a:gd name="T27" fmla="*/ 20 h 159"/>
              <a:gd name="T28" fmla="*/ 11 w 158"/>
              <a:gd name="T29" fmla="*/ 30 h 159"/>
              <a:gd name="T30" fmla="*/ 5 w 158"/>
              <a:gd name="T31" fmla="*/ 43 h 159"/>
              <a:gd name="T32" fmla="*/ 1 w 158"/>
              <a:gd name="T33" fmla="*/ 56 h 159"/>
              <a:gd name="T34" fmla="*/ 0 w 158"/>
              <a:gd name="T35" fmla="*/ 70 h 159"/>
              <a:gd name="T36" fmla="*/ 0 w 158"/>
              <a:gd name="T37" fmla="*/ 89 h 159"/>
              <a:gd name="T38" fmla="*/ 1 w 158"/>
              <a:gd name="T39" fmla="*/ 103 h 159"/>
              <a:gd name="T40" fmla="*/ 5 w 158"/>
              <a:gd name="T41" fmla="*/ 116 h 159"/>
              <a:gd name="T42" fmla="*/ 11 w 158"/>
              <a:gd name="T43" fmla="*/ 129 h 159"/>
              <a:gd name="T44" fmla="*/ 20 w 158"/>
              <a:gd name="T45" fmla="*/ 139 h 159"/>
              <a:gd name="T46" fmla="*/ 30 w 158"/>
              <a:gd name="T47" fmla="*/ 147 h 159"/>
              <a:gd name="T48" fmla="*/ 42 w 158"/>
              <a:gd name="T49" fmla="*/ 154 h 159"/>
              <a:gd name="T50" fmla="*/ 55 w 158"/>
              <a:gd name="T51" fmla="*/ 158 h 159"/>
              <a:gd name="T52" fmla="*/ 68 w 158"/>
              <a:gd name="T53" fmla="*/ 159 h 159"/>
              <a:gd name="T54" fmla="*/ 89 w 158"/>
              <a:gd name="T55" fmla="*/ 159 h 159"/>
              <a:gd name="T56" fmla="*/ 103 w 158"/>
              <a:gd name="T57" fmla="*/ 158 h 159"/>
              <a:gd name="T58" fmla="*/ 116 w 158"/>
              <a:gd name="T59" fmla="*/ 154 h 159"/>
              <a:gd name="T60" fmla="*/ 128 w 158"/>
              <a:gd name="T61" fmla="*/ 147 h 159"/>
              <a:gd name="T62" fmla="*/ 138 w 158"/>
              <a:gd name="T63" fmla="*/ 139 h 159"/>
              <a:gd name="T64" fmla="*/ 146 w 158"/>
              <a:gd name="T65" fmla="*/ 129 h 159"/>
              <a:gd name="T66" fmla="*/ 153 w 158"/>
              <a:gd name="T67" fmla="*/ 116 h 159"/>
              <a:gd name="T68" fmla="*/ 157 w 158"/>
              <a:gd name="T69" fmla="*/ 103 h 159"/>
              <a:gd name="T70" fmla="*/ 158 w 158"/>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159">
                <a:moveTo>
                  <a:pt x="158" y="70"/>
                </a:moveTo>
                <a:lnTo>
                  <a:pt x="158" y="70"/>
                </a:lnTo>
                <a:lnTo>
                  <a:pt x="158" y="63"/>
                </a:lnTo>
                <a:lnTo>
                  <a:pt x="157" y="56"/>
                </a:lnTo>
                <a:lnTo>
                  <a:pt x="155" y="49"/>
                </a:lnTo>
                <a:lnTo>
                  <a:pt x="153" y="43"/>
                </a:lnTo>
                <a:lnTo>
                  <a:pt x="150" y="36"/>
                </a:lnTo>
                <a:lnTo>
                  <a:pt x="146" y="30"/>
                </a:lnTo>
                <a:lnTo>
                  <a:pt x="142" y="25"/>
                </a:lnTo>
                <a:lnTo>
                  <a:pt x="138" y="20"/>
                </a:lnTo>
                <a:lnTo>
                  <a:pt x="133" y="15"/>
                </a:lnTo>
                <a:lnTo>
                  <a:pt x="128" y="11"/>
                </a:lnTo>
                <a:lnTo>
                  <a:pt x="122" y="8"/>
                </a:lnTo>
                <a:lnTo>
                  <a:pt x="116" y="5"/>
                </a:lnTo>
                <a:lnTo>
                  <a:pt x="110" y="3"/>
                </a:lnTo>
                <a:lnTo>
                  <a:pt x="103" y="1"/>
                </a:lnTo>
                <a:lnTo>
                  <a:pt x="96" y="0"/>
                </a:lnTo>
                <a:lnTo>
                  <a:pt x="89" y="0"/>
                </a:lnTo>
                <a:lnTo>
                  <a:pt x="68" y="0"/>
                </a:lnTo>
                <a:lnTo>
                  <a:pt x="68" y="0"/>
                </a:lnTo>
                <a:lnTo>
                  <a:pt x="61" y="0"/>
                </a:lnTo>
                <a:lnTo>
                  <a:pt x="55" y="1"/>
                </a:lnTo>
                <a:lnTo>
                  <a:pt x="48" y="3"/>
                </a:lnTo>
                <a:lnTo>
                  <a:pt x="42" y="5"/>
                </a:lnTo>
                <a:lnTo>
                  <a:pt x="36" y="8"/>
                </a:lnTo>
                <a:lnTo>
                  <a:pt x="30" y="11"/>
                </a:lnTo>
                <a:lnTo>
                  <a:pt x="25" y="15"/>
                </a:lnTo>
                <a:lnTo>
                  <a:pt x="20" y="20"/>
                </a:lnTo>
                <a:lnTo>
                  <a:pt x="15" y="25"/>
                </a:lnTo>
                <a:lnTo>
                  <a:pt x="11" y="30"/>
                </a:lnTo>
                <a:lnTo>
                  <a:pt x="8" y="36"/>
                </a:lnTo>
                <a:lnTo>
                  <a:pt x="5" y="43"/>
                </a:lnTo>
                <a:lnTo>
                  <a:pt x="3" y="49"/>
                </a:lnTo>
                <a:lnTo>
                  <a:pt x="1" y="56"/>
                </a:lnTo>
                <a:lnTo>
                  <a:pt x="0" y="63"/>
                </a:lnTo>
                <a:lnTo>
                  <a:pt x="0" y="70"/>
                </a:lnTo>
                <a:lnTo>
                  <a:pt x="0" y="89"/>
                </a:lnTo>
                <a:lnTo>
                  <a:pt x="0" y="89"/>
                </a:lnTo>
                <a:lnTo>
                  <a:pt x="0" y="96"/>
                </a:lnTo>
                <a:lnTo>
                  <a:pt x="1" y="103"/>
                </a:lnTo>
                <a:lnTo>
                  <a:pt x="3" y="110"/>
                </a:lnTo>
                <a:lnTo>
                  <a:pt x="5" y="116"/>
                </a:lnTo>
                <a:lnTo>
                  <a:pt x="8" y="122"/>
                </a:lnTo>
                <a:lnTo>
                  <a:pt x="11" y="129"/>
                </a:lnTo>
                <a:lnTo>
                  <a:pt x="15" y="134"/>
                </a:lnTo>
                <a:lnTo>
                  <a:pt x="20" y="139"/>
                </a:lnTo>
                <a:lnTo>
                  <a:pt x="25" y="144"/>
                </a:lnTo>
                <a:lnTo>
                  <a:pt x="30" y="147"/>
                </a:lnTo>
                <a:lnTo>
                  <a:pt x="36" y="151"/>
                </a:lnTo>
                <a:lnTo>
                  <a:pt x="42" y="154"/>
                </a:lnTo>
                <a:lnTo>
                  <a:pt x="48" y="156"/>
                </a:lnTo>
                <a:lnTo>
                  <a:pt x="55" y="158"/>
                </a:lnTo>
                <a:lnTo>
                  <a:pt x="61" y="159"/>
                </a:lnTo>
                <a:lnTo>
                  <a:pt x="68" y="159"/>
                </a:lnTo>
                <a:lnTo>
                  <a:pt x="89" y="159"/>
                </a:lnTo>
                <a:lnTo>
                  <a:pt x="89" y="159"/>
                </a:lnTo>
                <a:lnTo>
                  <a:pt x="96" y="159"/>
                </a:lnTo>
                <a:lnTo>
                  <a:pt x="103" y="158"/>
                </a:lnTo>
                <a:lnTo>
                  <a:pt x="110" y="156"/>
                </a:lnTo>
                <a:lnTo>
                  <a:pt x="116" y="154"/>
                </a:lnTo>
                <a:lnTo>
                  <a:pt x="122" y="151"/>
                </a:lnTo>
                <a:lnTo>
                  <a:pt x="128" y="147"/>
                </a:lnTo>
                <a:lnTo>
                  <a:pt x="133" y="144"/>
                </a:lnTo>
                <a:lnTo>
                  <a:pt x="138" y="139"/>
                </a:lnTo>
                <a:lnTo>
                  <a:pt x="142" y="134"/>
                </a:lnTo>
                <a:lnTo>
                  <a:pt x="146" y="129"/>
                </a:lnTo>
                <a:lnTo>
                  <a:pt x="150" y="122"/>
                </a:lnTo>
                <a:lnTo>
                  <a:pt x="153" y="116"/>
                </a:lnTo>
                <a:lnTo>
                  <a:pt x="155" y="110"/>
                </a:lnTo>
                <a:lnTo>
                  <a:pt x="157" y="103"/>
                </a:lnTo>
                <a:lnTo>
                  <a:pt x="158" y="96"/>
                </a:lnTo>
                <a:lnTo>
                  <a:pt x="158" y="89"/>
                </a:lnTo>
                <a:lnTo>
                  <a:pt x="158"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19" name="Freeform 2191"/>
          <p:cNvSpPr>
            <a:spLocks/>
          </p:cNvSpPr>
          <p:nvPr/>
        </p:nvSpPr>
        <p:spPr bwMode="auto">
          <a:xfrm>
            <a:off x="1358902" y="5081524"/>
            <a:ext cx="42863" cy="42862"/>
          </a:xfrm>
          <a:custGeom>
            <a:avLst/>
            <a:gdLst>
              <a:gd name="T0" fmla="*/ 159 w 159"/>
              <a:gd name="T1" fmla="*/ 70 h 159"/>
              <a:gd name="T2" fmla="*/ 158 w 159"/>
              <a:gd name="T3" fmla="*/ 56 h 159"/>
              <a:gd name="T4" fmla="*/ 154 w 159"/>
              <a:gd name="T5" fmla="*/ 43 h 159"/>
              <a:gd name="T6" fmla="*/ 147 w 159"/>
              <a:gd name="T7" fmla="*/ 30 h 159"/>
              <a:gd name="T8" fmla="*/ 138 w 159"/>
              <a:gd name="T9" fmla="*/ 20 h 159"/>
              <a:gd name="T10" fmla="*/ 128 w 159"/>
              <a:gd name="T11" fmla="*/ 11 h 159"/>
              <a:gd name="T12" fmla="*/ 116 w 159"/>
              <a:gd name="T13" fmla="*/ 5 h 159"/>
              <a:gd name="T14" fmla="*/ 103 w 159"/>
              <a:gd name="T15" fmla="*/ 1 h 159"/>
              <a:gd name="T16" fmla="*/ 89 w 159"/>
              <a:gd name="T17" fmla="*/ 0 h 159"/>
              <a:gd name="T18" fmla="*/ 69 w 159"/>
              <a:gd name="T19" fmla="*/ 0 h 159"/>
              <a:gd name="T20" fmla="*/ 55 w 159"/>
              <a:gd name="T21" fmla="*/ 1 h 159"/>
              <a:gd name="T22" fmla="*/ 42 w 159"/>
              <a:gd name="T23" fmla="*/ 5 h 159"/>
              <a:gd name="T24" fmla="*/ 30 w 159"/>
              <a:gd name="T25" fmla="*/ 11 h 159"/>
              <a:gd name="T26" fmla="*/ 20 w 159"/>
              <a:gd name="T27" fmla="*/ 20 h 159"/>
              <a:gd name="T28" fmla="*/ 11 w 159"/>
              <a:gd name="T29" fmla="*/ 30 h 159"/>
              <a:gd name="T30" fmla="*/ 5 w 159"/>
              <a:gd name="T31" fmla="*/ 43 h 159"/>
              <a:gd name="T32" fmla="*/ 1 w 159"/>
              <a:gd name="T33" fmla="*/ 56 h 159"/>
              <a:gd name="T34" fmla="*/ 0 w 159"/>
              <a:gd name="T35" fmla="*/ 70 h 159"/>
              <a:gd name="T36" fmla="*/ 0 w 159"/>
              <a:gd name="T37" fmla="*/ 89 h 159"/>
              <a:gd name="T38" fmla="*/ 1 w 159"/>
              <a:gd name="T39" fmla="*/ 103 h 159"/>
              <a:gd name="T40" fmla="*/ 5 w 159"/>
              <a:gd name="T41" fmla="*/ 116 h 159"/>
              <a:gd name="T42" fmla="*/ 11 w 159"/>
              <a:gd name="T43" fmla="*/ 129 h 159"/>
              <a:gd name="T44" fmla="*/ 20 w 159"/>
              <a:gd name="T45" fmla="*/ 139 h 159"/>
              <a:gd name="T46" fmla="*/ 30 w 159"/>
              <a:gd name="T47" fmla="*/ 147 h 159"/>
              <a:gd name="T48" fmla="*/ 42 w 159"/>
              <a:gd name="T49" fmla="*/ 154 h 159"/>
              <a:gd name="T50" fmla="*/ 55 w 159"/>
              <a:gd name="T51" fmla="*/ 158 h 159"/>
              <a:gd name="T52" fmla="*/ 69 w 159"/>
              <a:gd name="T53" fmla="*/ 159 h 159"/>
              <a:gd name="T54" fmla="*/ 89 w 159"/>
              <a:gd name="T55" fmla="*/ 159 h 159"/>
              <a:gd name="T56" fmla="*/ 103 w 159"/>
              <a:gd name="T57" fmla="*/ 158 h 159"/>
              <a:gd name="T58" fmla="*/ 116 w 159"/>
              <a:gd name="T59" fmla="*/ 154 h 159"/>
              <a:gd name="T60" fmla="*/ 128 w 159"/>
              <a:gd name="T61" fmla="*/ 147 h 159"/>
              <a:gd name="T62" fmla="*/ 138 w 159"/>
              <a:gd name="T63" fmla="*/ 139 h 159"/>
              <a:gd name="T64" fmla="*/ 147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1" y="36"/>
                </a:lnTo>
                <a:lnTo>
                  <a:pt x="147" y="30"/>
                </a:lnTo>
                <a:lnTo>
                  <a:pt x="142" y="25"/>
                </a:lnTo>
                <a:lnTo>
                  <a:pt x="138" y="20"/>
                </a:lnTo>
                <a:lnTo>
                  <a:pt x="133" y="15"/>
                </a:lnTo>
                <a:lnTo>
                  <a:pt x="128" y="11"/>
                </a:lnTo>
                <a:lnTo>
                  <a:pt x="122" y="8"/>
                </a:lnTo>
                <a:lnTo>
                  <a:pt x="116" y="5"/>
                </a:lnTo>
                <a:lnTo>
                  <a:pt x="110" y="3"/>
                </a:lnTo>
                <a:lnTo>
                  <a:pt x="103" y="1"/>
                </a:lnTo>
                <a:lnTo>
                  <a:pt x="96" y="0"/>
                </a:lnTo>
                <a:lnTo>
                  <a:pt x="89" y="0"/>
                </a:lnTo>
                <a:lnTo>
                  <a:pt x="69" y="0"/>
                </a:lnTo>
                <a:lnTo>
                  <a:pt x="69" y="0"/>
                </a:lnTo>
                <a:lnTo>
                  <a:pt x="62" y="0"/>
                </a:lnTo>
                <a:lnTo>
                  <a:pt x="55" y="1"/>
                </a:lnTo>
                <a:lnTo>
                  <a:pt x="48" y="3"/>
                </a:lnTo>
                <a:lnTo>
                  <a:pt x="42" y="5"/>
                </a:lnTo>
                <a:lnTo>
                  <a:pt x="36" y="8"/>
                </a:lnTo>
                <a:lnTo>
                  <a:pt x="30" y="11"/>
                </a:lnTo>
                <a:lnTo>
                  <a:pt x="25" y="15"/>
                </a:lnTo>
                <a:lnTo>
                  <a:pt x="20" y="20"/>
                </a:lnTo>
                <a:lnTo>
                  <a:pt x="15" y="25"/>
                </a:lnTo>
                <a:lnTo>
                  <a:pt x="11" y="30"/>
                </a:lnTo>
                <a:lnTo>
                  <a:pt x="8" y="36"/>
                </a:lnTo>
                <a:lnTo>
                  <a:pt x="5" y="43"/>
                </a:lnTo>
                <a:lnTo>
                  <a:pt x="3" y="49"/>
                </a:lnTo>
                <a:lnTo>
                  <a:pt x="1" y="56"/>
                </a:lnTo>
                <a:lnTo>
                  <a:pt x="0" y="63"/>
                </a:lnTo>
                <a:lnTo>
                  <a:pt x="0" y="70"/>
                </a:lnTo>
                <a:lnTo>
                  <a:pt x="0" y="89"/>
                </a:lnTo>
                <a:lnTo>
                  <a:pt x="0" y="89"/>
                </a:lnTo>
                <a:lnTo>
                  <a:pt x="0" y="96"/>
                </a:lnTo>
                <a:lnTo>
                  <a:pt x="1" y="103"/>
                </a:lnTo>
                <a:lnTo>
                  <a:pt x="3" y="110"/>
                </a:lnTo>
                <a:lnTo>
                  <a:pt x="5" y="116"/>
                </a:lnTo>
                <a:lnTo>
                  <a:pt x="8" y="122"/>
                </a:lnTo>
                <a:lnTo>
                  <a:pt x="11" y="129"/>
                </a:lnTo>
                <a:lnTo>
                  <a:pt x="15" y="134"/>
                </a:lnTo>
                <a:lnTo>
                  <a:pt x="20" y="139"/>
                </a:lnTo>
                <a:lnTo>
                  <a:pt x="25" y="144"/>
                </a:lnTo>
                <a:lnTo>
                  <a:pt x="30" y="147"/>
                </a:lnTo>
                <a:lnTo>
                  <a:pt x="36" y="151"/>
                </a:lnTo>
                <a:lnTo>
                  <a:pt x="42" y="154"/>
                </a:lnTo>
                <a:lnTo>
                  <a:pt x="48" y="156"/>
                </a:lnTo>
                <a:lnTo>
                  <a:pt x="55" y="158"/>
                </a:lnTo>
                <a:lnTo>
                  <a:pt x="62" y="159"/>
                </a:lnTo>
                <a:lnTo>
                  <a:pt x="69" y="159"/>
                </a:lnTo>
                <a:lnTo>
                  <a:pt x="89" y="159"/>
                </a:lnTo>
                <a:lnTo>
                  <a:pt x="89" y="159"/>
                </a:lnTo>
                <a:lnTo>
                  <a:pt x="96" y="159"/>
                </a:lnTo>
                <a:lnTo>
                  <a:pt x="103" y="158"/>
                </a:lnTo>
                <a:lnTo>
                  <a:pt x="110" y="156"/>
                </a:lnTo>
                <a:lnTo>
                  <a:pt x="116" y="154"/>
                </a:lnTo>
                <a:lnTo>
                  <a:pt x="122" y="151"/>
                </a:lnTo>
                <a:lnTo>
                  <a:pt x="128" y="147"/>
                </a:lnTo>
                <a:lnTo>
                  <a:pt x="133" y="144"/>
                </a:lnTo>
                <a:lnTo>
                  <a:pt x="138" y="139"/>
                </a:lnTo>
                <a:lnTo>
                  <a:pt x="142" y="134"/>
                </a:lnTo>
                <a:lnTo>
                  <a:pt x="147" y="129"/>
                </a:lnTo>
                <a:lnTo>
                  <a:pt x="151"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0" name="Freeform 2192"/>
          <p:cNvSpPr>
            <a:spLocks/>
          </p:cNvSpPr>
          <p:nvPr/>
        </p:nvSpPr>
        <p:spPr bwMode="auto">
          <a:xfrm>
            <a:off x="1457327" y="5081524"/>
            <a:ext cx="42863" cy="42862"/>
          </a:xfrm>
          <a:custGeom>
            <a:avLst/>
            <a:gdLst>
              <a:gd name="T0" fmla="*/ 159 w 159"/>
              <a:gd name="T1" fmla="*/ 70 h 159"/>
              <a:gd name="T2" fmla="*/ 158 w 159"/>
              <a:gd name="T3" fmla="*/ 56 h 159"/>
              <a:gd name="T4" fmla="*/ 154 w 159"/>
              <a:gd name="T5" fmla="*/ 43 h 159"/>
              <a:gd name="T6" fmla="*/ 147 w 159"/>
              <a:gd name="T7" fmla="*/ 30 h 159"/>
              <a:gd name="T8" fmla="*/ 139 w 159"/>
              <a:gd name="T9" fmla="*/ 20 h 159"/>
              <a:gd name="T10" fmla="*/ 129 w 159"/>
              <a:gd name="T11" fmla="*/ 11 h 159"/>
              <a:gd name="T12" fmla="*/ 116 w 159"/>
              <a:gd name="T13" fmla="*/ 5 h 159"/>
              <a:gd name="T14" fmla="*/ 103 w 159"/>
              <a:gd name="T15" fmla="*/ 1 h 159"/>
              <a:gd name="T16" fmla="*/ 89 w 159"/>
              <a:gd name="T17" fmla="*/ 0 h 159"/>
              <a:gd name="T18" fmla="*/ 69 w 159"/>
              <a:gd name="T19" fmla="*/ 0 h 159"/>
              <a:gd name="T20" fmla="*/ 56 w 159"/>
              <a:gd name="T21" fmla="*/ 1 h 159"/>
              <a:gd name="T22" fmla="*/ 43 w 159"/>
              <a:gd name="T23" fmla="*/ 5 h 159"/>
              <a:gd name="T24" fmla="*/ 30 w 159"/>
              <a:gd name="T25" fmla="*/ 11 h 159"/>
              <a:gd name="T26" fmla="*/ 20 w 159"/>
              <a:gd name="T27" fmla="*/ 20 h 159"/>
              <a:gd name="T28" fmla="*/ 11 w 159"/>
              <a:gd name="T29" fmla="*/ 30 h 159"/>
              <a:gd name="T30" fmla="*/ 5 w 159"/>
              <a:gd name="T31" fmla="*/ 43 h 159"/>
              <a:gd name="T32" fmla="*/ 1 w 159"/>
              <a:gd name="T33" fmla="*/ 56 h 159"/>
              <a:gd name="T34" fmla="*/ 0 w 159"/>
              <a:gd name="T35" fmla="*/ 70 h 159"/>
              <a:gd name="T36" fmla="*/ 0 w 159"/>
              <a:gd name="T37" fmla="*/ 89 h 159"/>
              <a:gd name="T38" fmla="*/ 1 w 159"/>
              <a:gd name="T39" fmla="*/ 103 h 159"/>
              <a:gd name="T40" fmla="*/ 5 w 159"/>
              <a:gd name="T41" fmla="*/ 116 h 159"/>
              <a:gd name="T42" fmla="*/ 11 w 159"/>
              <a:gd name="T43" fmla="*/ 129 h 159"/>
              <a:gd name="T44" fmla="*/ 20 w 159"/>
              <a:gd name="T45" fmla="*/ 139 h 159"/>
              <a:gd name="T46" fmla="*/ 30 w 159"/>
              <a:gd name="T47" fmla="*/ 147 h 159"/>
              <a:gd name="T48" fmla="*/ 43 w 159"/>
              <a:gd name="T49" fmla="*/ 154 h 159"/>
              <a:gd name="T50" fmla="*/ 56 w 159"/>
              <a:gd name="T51" fmla="*/ 158 h 159"/>
              <a:gd name="T52" fmla="*/ 69 w 159"/>
              <a:gd name="T53" fmla="*/ 159 h 159"/>
              <a:gd name="T54" fmla="*/ 89 w 159"/>
              <a:gd name="T55" fmla="*/ 159 h 159"/>
              <a:gd name="T56" fmla="*/ 103 w 159"/>
              <a:gd name="T57" fmla="*/ 158 h 159"/>
              <a:gd name="T58" fmla="*/ 116 w 159"/>
              <a:gd name="T59" fmla="*/ 154 h 159"/>
              <a:gd name="T60" fmla="*/ 129 w 159"/>
              <a:gd name="T61" fmla="*/ 147 h 159"/>
              <a:gd name="T62" fmla="*/ 139 w 159"/>
              <a:gd name="T63" fmla="*/ 139 h 159"/>
              <a:gd name="T64" fmla="*/ 147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1" y="36"/>
                </a:lnTo>
                <a:lnTo>
                  <a:pt x="147" y="30"/>
                </a:lnTo>
                <a:lnTo>
                  <a:pt x="143" y="25"/>
                </a:lnTo>
                <a:lnTo>
                  <a:pt x="139" y="20"/>
                </a:lnTo>
                <a:lnTo>
                  <a:pt x="134" y="15"/>
                </a:lnTo>
                <a:lnTo>
                  <a:pt x="129" y="11"/>
                </a:lnTo>
                <a:lnTo>
                  <a:pt x="122" y="8"/>
                </a:lnTo>
                <a:lnTo>
                  <a:pt x="116" y="5"/>
                </a:lnTo>
                <a:lnTo>
                  <a:pt x="110" y="3"/>
                </a:lnTo>
                <a:lnTo>
                  <a:pt x="103" y="1"/>
                </a:lnTo>
                <a:lnTo>
                  <a:pt x="96" y="0"/>
                </a:lnTo>
                <a:lnTo>
                  <a:pt x="89" y="0"/>
                </a:lnTo>
                <a:lnTo>
                  <a:pt x="69" y="0"/>
                </a:lnTo>
                <a:lnTo>
                  <a:pt x="69" y="0"/>
                </a:lnTo>
                <a:lnTo>
                  <a:pt x="62" y="0"/>
                </a:lnTo>
                <a:lnTo>
                  <a:pt x="56" y="1"/>
                </a:lnTo>
                <a:lnTo>
                  <a:pt x="49" y="3"/>
                </a:lnTo>
                <a:lnTo>
                  <a:pt x="43" y="5"/>
                </a:lnTo>
                <a:lnTo>
                  <a:pt x="36" y="8"/>
                </a:lnTo>
                <a:lnTo>
                  <a:pt x="30" y="11"/>
                </a:lnTo>
                <a:lnTo>
                  <a:pt x="25" y="15"/>
                </a:lnTo>
                <a:lnTo>
                  <a:pt x="20" y="20"/>
                </a:lnTo>
                <a:lnTo>
                  <a:pt x="15" y="25"/>
                </a:lnTo>
                <a:lnTo>
                  <a:pt x="11" y="30"/>
                </a:lnTo>
                <a:lnTo>
                  <a:pt x="8" y="36"/>
                </a:lnTo>
                <a:lnTo>
                  <a:pt x="5" y="43"/>
                </a:lnTo>
                <a:lnTo>
                  <a:pt x="3" y="49"/>
                </a:lnTo>
                <a:lnTo>
                  <a:pt x="1" y="56"/>
                </a:lnTo>
                <a:lnTo>
                  <a:pt x="0" y="63"/>
                </a:lnTo>
                <a:lnTo>
                  <a:pt x="0" y="70"/>
                </a:lnTo>
                <a:lnTo>
                  <a:pt x="0" y="89"/>
                </a:lnTo>
                <a:lnTo>
                  <a:pt x="0" y="89"/>
                </a:lnTo>
                <a:lnTo>
                  <a:pt x="0" y="96"/>
                </a:lnTo>
                <a:lnTo>
                  <a:pt x="1" y="103"/>
                </a:lnTo>
                <a:lnTo>
                  <a:pt x="3" y="110"/>
                </a:lnTo>
                <a:lnTo>
                  <a:pt x="5" y="116"/>
                </a:lnTo>
                <a:lnTo>
                  <a:pt x="8" y="122"/>
                </a:lnTo>
                <a:lnTo>
                  <a:pt x="11" y="129"/>
                </a:lnTo>
                <a:lnTo>
                  <a:pt x="15" y="134"/>
                </a:lnTo>
                <a:lnTo>
                  <a:pt x="20" y="139"/>
                </a:lnTo>
                <a:lnTo>
                  <a:pt x="25" y="144"/>
                </a:lnTo>
                <a:lnTo>
                  <a:pt x="30" y="147"/>
                </a:lnTo>
                <a:lnTo>
                  <a:pt x="36" y="151"/>
                </a:lnTo>
                <a:lnTo>
                  <a:pt x="43" y="154"/>
                </a:lnTo>
                <a:lnTo>
                  <a:pt x="49" y="156"/>
                </a:lnTo>
                <a:lnTo>
                  <a:pt x="56" y="158"/>
                </a:lnTo>
                <a:lnTo>
                  <a:pt x="62" y="159"/>
                </a:lnTo>
                <a:lnTo>
                  <a:pt x="69" y="159"/>
                </a:lnTo>
                <a:lnTo>
                  <a:pt x="89" y="159"/>
                </a:lnTo>
                <a:lnTo>
                  <a:pt x="89" y="159"/>
                </a:lnTo>
                <a:lnTo>
                  <a:pt x="96" y="159"/>
                </a:lnTo>
                <a:lnTo>
                  <a:pt x="103" y="158"/>
                </a:lnTo>
                <a:lnTo>
                  <a:pt x="110" y="156"/>
                </a:lnTo>
                <a:lnTo>
                  <a:pt x="116" y="154"/>
                </a:lnTo>
                <a:lnTo>
                  <a:pt x="122" y="151"/>
                </a:lnTo>
                <a:lnTo>
                  <a:pt x="129" y="147"/>
                </a:lnTo>
                <a:lnTo>
                  <a:pt x="134" y="144"/>
                </a:lnTo>
                <a:lnTo>
                  <a:pt x="139" y="139"/>
                </a:lnTo>
                <a:lnTo>
                  <a:pt x="143" y="134"/>
                </a:lnTo>
                <a:lnTo>
                  <a:pt x="147" y="129"/>
                </a:lnTo>
                <a:lnTo>
                  <a:pt x="151"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1" name="Freeform 2193"/>
          <p:cNvSpPr>
            <a:spLocks/>
          </p:cNvSpPr>
          <p:nvPr/>
        </p:nvSpPr>
        <p:spPr bwMode="auto">
          <a:xfrm>
            <a:off x="1555752" y="5081524"/>
            <a:ext cx="42863" cy="42862"/>
          </a:xfrm>
          <a:custGeom>
            <a:avLst/>
            <a:gdLst>
              <a:gd name="T0" fmla="*/ 159 w 159"/>
              <a:gd name="T1" fmla="*/ 70 h 159"/>
              <a:gd name="T2" fmla="*/ 158 w 159"/>
              <a:gd name="T3" fmla="*/ 56 h 159"/>
              <a:gd name="T4" fmla="*/ 154 w 159"/>
              <a:gd name="T5" fmla="*/ 43 h 159"/>
              <a:gd name="T6" fmla="*/ 147 w 159"/>
              <a:gd name="T7" fmla="*/ 30 h 159"/>
              <a:gd name="T8" fmla="*/ 139 w 159"/>
              <a:gd name="T9" fmla="*/ 20 h 159"/>
              <a:gd name="T10" fmla="*/ 129 w 159"/>
              <a:gd name="T11" fmla="*/ 11 h 159"/>
              <a:gd name="T12" fmla="*/ 117 w 159"/>
              <a:gd name="T13" fmla="*/ 5 h 159"/>
              <a:gd name="T14" fmla="*/ 103 w 159"/>
              <a:gd name="T15" fmla="*/ 1 h 159"/>
              <a:gd name="T16" fmla="*/ 89 w 159"/>
              <a:gd name="T17" fmla="*/ 0 h 159"/>
              <a:gd name="T18" fmla="*/ 69 w 159"/>
              <a:gd name="T19" fmla="*/ 0 h 159"/>
              <a:gd name="T20" fmla="*/ 56 w 159"/>
              <a:gd name="T21" fmla="*/ 1 h 159"/>
              <a:gd name="T22" fmla="*/ 43 w 159"/>
              <a:gd name="T23" fmla="*/ 5 h 159"/>
              <a:gd name="T24" fmla="*/ 31 w 159"/>
              <a:gd name="T25" fmla="*/ 11 h 159"/>
              <a:gd name="T26" fmla="*/ 21 w 159"/>
              <a:gd name="T27" fmla="*/ 20 h 159"/>
              <a:gd name="T28" fmla="*/ 11 w 159"/>
              <a:gd name="T29" fmla="*/ 30 h 159"/>
              <a:gd name="T30" fmla="*/ 5 w 159"/>
              <a:gd name="T31" fmla="*/ 43 h 159"/>
              <a:gd name="T32" fmla="*/ 1 w 159"/>
              <a:gd name="T33" fmla="*/ 56 h 159"/>
              <a:gd name="T34" fmla="*/ 0 w 159"/>
              <a:gd name="T35" fmla="*/ 70 h 159"/>
              <a:gd name="T36" fmla="*/ 0 w 159"/>
              <a:gd name="T37" fmla="*/ 89 h 159"/>
              <a:gd name="T38" fmla="*/ 1 w 159"/>
              <a:gd name="T39" fmla="*/ 103 h 159"/>
              <a:gd name="T40" fmla="*/ 5 w 159"/>
              <a:gd name="T41" fmla="*/ 116 h 159"/>
              <a:gd name="T42" fmla="*/ 11 w 159"/>
              <a:gd name="T43" fmla="*/ 129 h 159"/>
              <a:gd name="T44" fmla="*/ 21 w 159"/>
              <a:gd name="T45" fmla="*/ 139 h 159"/>
              <a:gd name="T46" fmla="*/ 31 w 159"/>
              <a:gd name="T47" fmla="*/ 147 h 159"/>
              <a:gd name="T48" fmla="*/ 43 w 159"/>
              <a:gd name="T49" fmla="*/ 154 h 159"/>
              <a:gd name="T50" fmla="*/ 56 w 159"/>
              <a:gd name="T51" fmla="*/ 158 h 159"/>
              <a:gd name="T52" fmla="*/ 69 w 159"/>
              <a:gd name="T53" fmla="*/ 159 h 159"/>
              <a:gd name="T54" fmla="*/ 89 w 159"/>
              <a:gd name="T55" fmla="*/ 159 h 159"/>
              <a:gd name="T56" fmla="*/ 103 w 159"/>
              <a:gd name="T57" fmla="*/ 158 h 159"/>
              <a:gd name="T58" fmla="*/ 117 w 159"/>
              <a:gd name="T59" fmla="*/ 154 h 159"/>
              <a:gd name="T60" fmla="*/ 129 w 159"/>
              <a:gd name="T61" fmla="*/ 147 h 159"/>
              <a:gd name="T62" fmla="*/ 139 w 159"/>
              <a:gd name="T63" fmla="*/ 139 h 159"/>
              <a:gd name="T64" fmla="*/ 147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1" y="36"/>
                </a:lnTo>
                <a:lnTo>
                  <a:pt x="147" y="30"/>
                </a:lnTo>
                <a:lnTo>
                  <a:pt x="143" y="25"/>
                </a:lnTo>
                <a:lnTo>
                  <a:pt x="139" y="20"/>
                </a:lnTo>
                <a:lnTo>
                  <a:pt x="134" y="15"/>
                </a:lnTo>
                <a:lnTo>
                  <a:pt x="129" y="11"/>
                </a:lnTo>
                <a:lnTo>
                  <a:pt x="123" y="8"/>
                </a:lnTo>
                <a:lnTo>
                  <a:pt x="117" y="5"/>
                </a:lnTo>
                <a:lnTo>
                  <a:pt x="111" y="3"/>
                </a:lnTo>
                <a:lnTo>
                  <a:pt x="103" y="1"/>
                </a:lnTo>
                <a:lnTo>
                  <a:pt x="96" y="0"/>
                </a:lnTo>
                <a:lnTo>
                  <a:pt x="89" y="0"/>
                </a:lnTo>
                <a:lnTo>
                  <a:pt x="69" y="0"/>
                </a:lnTo>
                <a:lnTo>
                  <a:pt x="69" y="0"/>
                </a:lnTo>
                <a:lnTo>
                  <a:pt x="62" y="0"/>
                </a:lnTo>
                <a:lnTo>
                  <a:pt x="56" y="1"/>
                </a:lnTo>
                <a:lnTo>
                  <a:pt x="49" y="3"/>
                </a:lnTo>
                <a:lnTo>
                  <a:pt x="43" y="5"/>
                </a:lnTo>
                <a:lnTo>
                  <a:pt x="37" y="8"/>
                </a:lnTo>
                <a:lnTo>
                  <a:pt x="31" y="11"/>
                </a:lnTo>
                <a:lnTo>
                  <a:pt x="26" y="15"/>
                </a:lnTo>
                <a:lnTo>
                  <a:pt x="21" y="20"/>
                </a:lnTo>
                <a:lnTo>
                  <a:pt x="15" y="25"/>
                </a:lnTo>
                <a:lnTo>
                  <a:pt x="11" y="30"/>
                </a:lnTo>
                <a:lnTo>
                  <a:pt x="8" y="36"/>
                </a:lnTo>
                <a:lnTo>
                  <a:pt x="5" y="43"/>
                </a:lnTo>
                <a:lnTo>
                  <a:pt x="3" y="49"/>
                </a:lnTo>
                <a:lnTo>
                  <a:pt x="1" y="56"/>
                </a:lnTo>
                <a:lnTo>
                  <a:pt x="0" y="63"/>
                </a:lnTo>
                <a:lnTo>
                  <a:pt x="0" y="70"/>
                </a:lnTo>
                <a:lnTo>
                  <a:pt x="0" y="89"/>
                </a:lnTo>
                <a:lnTo>
                  <a:pt x="0" y="89"/>
                </a:lnTo>
                <a:lnTo>
                  <a:pt x="0" y="96"/>
                </a:lnTo>
                <a:lnTo>
                  <a:pt x="1" y="103"/>
                </a:lnTo>
                <a:lnTo>
                  <a:pt x="3" y="110"/>
                </a:lnTo>
                <a:lnTo>
                  <a:pt x="5" y="116"/>
                </a:lnTo>
                <a:lnTo>
                  <a:pt x="8" y="122"/>
                </a:lnTo>
                <a:lnTo>
                  <a:pt x="11" y="129"/>
                </a:lnTo>
                <a:lnTo>
                  <a:pt x="15" y="134"/>
                </a:lnTo>
                <a:lnTo>
                  <a:pt x="21" y="139"/>
                </a:lnTo>
                <a:lnTo>
                  <a:pt x="26" y="144"/>
                </a:lnTo>
                <a:lnTo>
                  <a:pt x="31" y="147"/>
                </a:lnTo>
                <a:lnTo>
                  <a:pt x="37" y="151"/>
                </a:lnTo>
                <a:lnTo>
                  <a:pt x="43" y="154"/>
                </a:lnTo>
                <a:lnTo>
                  <a:pt x="49" y="156"/>
                </a:lnTo>
                <a:lnTo>
                  <a:pt x="56" y="158"/>
                </a:lnTo>
                <a:lnTo>
                  <a:pt x="62" y="159"/>
                </a:lnTo>
                <a:lnTo>
                  <a:pt x="69" y="159"/>
                </a:lnTo>
                <a:lnTo>
                  <a:pt x="89" y="159"/>
                </a:lnTo>
                <a:lnTo>
                  <a:pt x="89" y="159"/>
                </a:lnTo>
                <a:lnTo>
                  <a:pt x="96" y="159"/>
                </a:lnTo>
                <a:lnTo>
                  <a:pt x="103" y="158"/>
                </a:lnTo>
                <a:lnTo>
                  <a:pt x="111" y="156"/>
                </a:lnTo>
                <a:lnTo>
                  <a:pt x="117" y="154"/>
                </a:lnTo>
                <a:lnTo>
                  <a:pt x="123" y="151"/>
                </a:lnTo>
                <a:lnTo>
                  <a:pt x="129" y="147"/>
                </a:lnTo>
                <a:lnTo>
                  <a:pt x="134" y="144"/>
                </a:lnTo>
                <a:lnTo>
                  <a:pt x="139" y="139"/>
                </a:lnTo>
                <a:lnTo>
                  <a:pt x="143" y="134"/>
                </a:lnTo>
                <a:lnTo>
                  <a:pt x="147" y="129"/>
                </a:lnTo>
                <a:lnTo>
                  <a:pt x="151"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2" name="Freeform 2194"/>
          <p:cNvSpPr>
            <a:spLocks/>
          </p:cNvSpPr>
          <p:nvPr/>
        </p:nvSpPr>
        <p:spPr bwMode="auto">
          <a:xfrm>
            <a:off x="1654177" y="5081524"/>
            <a:ext cx="42863" cy="42862"/>
          </a:xfrm>
          <a:custGeom>
            <a:avLst/>
            <a:gdLst>
              <a:gd name="T0" fmla="*/ 160 w 160"/>
              <a:gd name="T1" fmla="*/ 70 h 159"/>
              <a:gd name="T2" fmla="*/ 159 w 160"/>
              <a:gd name="T3" fmla="*/ 56 h 159"/>
              <a:gd name="T4" fmla="*/ 155 w 160"/>
              <a:gd name="T5" fmla="*/ 43 h 159"/>
              <a:gd name="T6" fmla="*/ 148 w 160"/>
              <a:gd name="T7" fmla="*/ 30 h 159"/>
              <a:gd name="T8" fmla="*/ 140 w 160"/>
              <a:gd name="T9" fmla="*/ 20 h 159"/>
              <a:gd name="T10" fmla="*/ 130 w 160"/>
              <a:gd name="T11" fmla="*/ 11 h 159"/>
              <a:gd name="T12" fmla="*/ 118 w 160"/>
              <a:gd name="T13" fmla="*/ 5 h 159"/>
              <a:gd name="T14" fmla="*/ 105 w 160"/>
              <a:gd name="T15" fmla="*/ 1 h 159"/>
              <a:gd name="T16" fmla="*/ 91 w 160"/>
              <a:gd name="T17" fmla="*/ 0 h 159"/>
              <a:gd name="T18" fmla="*/ 70 w 160"/>
              <a:gd name="T19" fmla="*/ 0 h 159"/>
              <a:gd name="T20" fmla="*/ 57 w 160"/>
              <a:gd name="T21" fmla="*/ 1 h 159"/>
              <a:gd name="T22" fmla="*/ 44 w 160"/>
              <a:gd name="T23" fmla="*/ 5 h 159"/>
              <a:gd name="T24" fmla="*/ 32 w 160"/>
              <a:gd name="T25" fmla="*/ 11 h 159"/>
              <a:gd name="T26" fmla="*/ 22 w 160"/>
              <a:gd name="T27" fmla="*/ 20 h 159"/>
              <a:gd name="T28" fmla="*/ 13 w 160"/>
              <a:gd name="T29" fmla="*/ 30 h 159"/>
              <a:gd name="T30" fmla="*/ 7 w 160"/>
              <a:gd name="T31" fmla="*/ 43 h 159"/>
              <a:gd name="T32" fmla="*/ 3 w 160"/>
              <a:gd name="T33" fmla="*/ 56 h 159"/>
              <a:gd name="T34" fmla="*/ 0 w 160"/>
              <a:gd name="T35" fmla="*/ 70 h 159"/>
              <a:gd name="T36" fmla="*/ 0 w 160"/>
              <a:gd name="T37" fmla="*/ 89 h 159"/>
              <a:gd name="T38" fmla="*/ 3 w 160"/>
              <a:gd name="T39" fmla="*/ 103 h 159"/>
              <a:gd name="T40" fmla="*/ 7 w 160"/>
              <a:gd name="T41" fmla="*/ 116 h 159"/>
              <a:gd name="T42" fmla="*/ 13 w 160"/>
              <a:gd name="T43" fmla="*/ 129 h 159"/>
              <a:gd name="T44" fmla="*/ 22 w 160"/>
              <a:gd name="T45" fmla="*/ 139 h 159"/>
              <a:gd name="T46" fmla="*/ 32 w 160"/>
              <a:gd name="T47" fmla="*/ 147 h 159"/>
              <a:gd name="T48" fmla="*/ 44 w 160"/>
              <a:gd name="T49" fmla="*/ 154 h 159"/>
              <a:gd name="T50" fmla="*/ 57 w 160"/>
              <a:gd name="T51" fmla="*/ 158 h 159"/>
              <a:gd name="T52" fmla="*/ 70 w 160"/>
              <a:gd name="T53" fmla="*/ 159 h 159"/>
              <a:gd name="T54" fmla="*/ 91 w 160"/>
              <a:gd name="T55" fmla="*/ 159 h 159"/>
              <a:gd name="T56" fmla="*/ 105 w 160"/>
              <a:gd name="T57" fmla="*/ 158 h 159"/>
              <a:gd name="T58" fmla="*/ 118 w 160"/>
              <a:gd name="T59" fmla="*/ 154 h 159"/>
              <a:gd name="T60" fmla="*/ 130 w 160"/>
              <a:gd name="T61" fmla="*/ 147 h 159"/>
              <a:gd name="T62" fmla="*/ 140 w 160"/>
              <a:gd name="T63" fmla="*/ 139 h 159"/>
              <a:gd name="T64" fmla="*/ 148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8" y="30"/>
                </a:lnTo>
                <a:lnTo>
                  <a:pt x="144" y="25"/>
                </a:lnTo>
                <a:lnTo>
                  <a:pt x="140" y="20"/>
                </a:lnTo>
                <a:lnTo>
                  <a:pt x="135" y="15"/>
                </a:lnTo>
                <a:lnTo>
                  <a:pt x="130" y="11"/>
                </a:lnTo>
                <a:lnTo>
                  <a:pt x="124" y="8"/>
                </a:lnTo>
                <a:lnTo>
                  <a:pt x="118" y="5"/>
                </a:lnTo>
                <a:lnTo>
                  <a:pt x="112" y="3"/>
                </a:lnTo>
                <a:lnTo>
                  <a:pt x="105" y="1"/>
                </a:lnTo>
                <a:lnTo>
                  <a:pt x="98" y="0"/>
                </a:lnTo>
                <a:lnTo>
                  <a:pt x="91" y="0"/>
                </a:lnTo>
                <a:lnTo>
                  <a:pt x="70" y="0"/>
                </a:lnTo>
                <a:lnTo>
                  <a:pt x="70" y="0"/>
                </a:lnTo>
                <a:lnTo>
                  <a:pt x="63" y="0"/>
                </a:lnTo>
                <a:lnTo>
                  <a:pt x="57" y="1"/>
                </a:lnTo>
                <a:lnTo>
                  <a:pt x="50" y="3"/>
                </a:lnTo>
                <a:lnTo>
                  <a:pt x="44" y="5"/>
                </a:lnTo>
                <a:lnTo>
                  <a:pt x="38" y="8"/>
                </a:lnTo>
                <a:lnTo>
                  <a:pt x="32" y="11"/>
                </a:lnTo>
                <a:lnTo>
                  <a:pt x="27" y="15"/>
                </a:lnTo>
                <a:lnTo>
                  <a:pt x="22" y="20"/>
                </a:lnTo>
                <a:lnTo>
                  <a:pt x="17" y="25"/>
                </a:lnTo>
                <a:lnTo>
                  <a:pt x="13" y="30"/>
                </a:lnTo>
                <a:lnTo>
                  <a:pt x="10" y="36"/>
                </a:lnTo>
                <a:lnTo>
                  <a:pt x="7" y="43"/>
                </a:lnTo>
                <a:lnTo>
                  <a:pt x="5" y="49"/>
                </a:lnTo>
                <a:lnTo>
                  <a:pt x="3" y="56"/>
                </a:lnTo>
                <a:lnTo>
                  <a:pt x="2" y="63"/>
                </a:lnTo>
                <a:lnTo>
                  <a:pt x="0" y="70"/>
                </a:lnTo>
                <a:lnTo>
                  <a:pt x="0" y="89"/>
                </a:lnTo>
                <a:lnTo>
                  <a:pt x="0" y="89"/>
                </a:lnTo>
                <a:lnTo>
                  <a:pt x="2" y="96"/>
                </a:lnTo>
                <a:lnTo>
                  <a:pt x="3" y="103"/>
                </a:lnTo>
                <a:lnTo>
                  <a:pt x="5" y="110"/>
                </a:lnTo>
                <a:lnTo>
                  <a:pt x="7" y="116"/>
                </a:lnTo>
                <a:lnTo>
                  <a:pt x="10" y="122"/>
                </a:lnTo>
                <a:lnTo>
                  <a:pt x="13" y="129"/>
                </a:lnTo>
                <a:lnTo>
                  <a:pt x="17" y="134"/>
                </a:lnTo>
                <a:lnTo>
                  <a:pt x="22" y="139"/>
                </a:lnTo>
                <a:lnTo>
                  <a:pt x="27" y="144"/>
                </a:lnTo>
                <a:lnTo>
                  <a:pt x="32" y="147"/>
                </a:lnTo>
                <a:lnTo>
                  <a:pt x="38" y="151"/>
                </a:lnTo>
                <a:lnTo>
                  <a:pt x="44" y="154"/>
                </a:lnTo>
                <a:lnTo>
                  <a:pt x="50" y="156"/>
                </a:lnTo>
                <a:lnTo>
                  <a:pt x="57" y="158"/>
                </a:lnTo>
                <a:lnTo>
                  <a:pt x="63" y="159"/>
                </a:lnTo>
                <a:lnTo>
                  <a:pt x="70" y="159"/>
                </a:lnTo>
                <a:lnTo>
                  <a:pt x="91" y="159"/>
                </a:lnTo>
                <a:lnTo>
                  <a:pt x="91" y="159"/>
                </a:lnTo>
                <a:lnTo>
                  <a:pt x="98" y="159"/>
                </a:lnTo>
                <a:lnTo>
                  <a:pt x="105" y="158"/>
                </a:lnTo>
                <a:lnTo>
                  <a:pt x="112" y="156"/>
                </a:lnTo>
                <a:lnTo>
                  <a:pt x="118" y="154"/>
                </a:lnTo>
                <a:lnTo>
                  <a:pt x="124" y="151"/>
                </a:lnTo>
                <a:lnTo>
                  <a:pt x="130" y="147"/>
                </a:lnTo>
                <a:lnTo>
                  <a:pt x="135" y="144"/>
                </a:lnTo>
                <a:lnTo>
                  <a:pt x="140" y="139"/>
                </a:lnTo>
                <a:lnTo>
                  <a:pt x="144" y="134"/>
                </a:lnTo>
                <a:lnTo>
                  <a:pt x="148"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3" name="Freeform 2195"/>
          <p:cNvSpPr>
            <a:spLocks/>
          </p:cNvSpPr>
          <p:nvPr/>
        </p:nvSpPr>
        <p:spPr bwMode="auto">
          <a:xfrm>
            <a:off x="1752602" y="5081524"/>
            <a:ext cx="42863" cy="42862"/>
          </a:xfrm>
          <a:custGeom>
            <a:avLst/>
            <a:gdLst>
              <a:gd name="T0" fmla="*/ 160 w 160"/>
              <a:gd name="T1" fmla="*/ 70 h 159"/>
              <a:gd name="T2" fmla="*/ 159 w 160"/>
              <a:gd name="T3" fmla="*/ 56 h 159"/>
              <a:gd name="T4" fmla="*/ 154 w 160"/>
              <a:gd name="T5" fmla="*/ 43 h 159"/>
              <a:gd name="T6" fmla="*/ 147 w 160"/>
              <a:gd name="T7" fmla="*/ 30 h 159"/>
              <a:gd name="T8" fmla="*/ 139 w 160"/>
              <a:gd name="T9" fmla="*/ 20 h 159"/>
              <a:gd name="T10" fmla="*/ 129 w 160"/>
              <a:gd name="T11" fmla="*/ 11 h 159"/>
              <a:gd name="T12" fmla="*/ 117 w 160"/>
              <a:gd name="T13" fmla="*/ 5 h 159"/>
              <a:gd name="T14" fmla="*/ 104 w 160"/>
              <a:gd name="T15" fmla="*/ 1 h 159"/>
              <a:gd name="T16" fmla="*/ 90 w 160"/>
              <a:gd name="T17" fmla="*/ 0 h 159"/>
              <a:gd name="T18" fmla="*/ 69 w 160"/>
              <a:gd name="T19" fmla="*/ 0 h 159"/>
              <a:gd name="T20" fmla="*/ 56 w 160"/>
              <a:gd name="T21" fmla="*/ 1 h 159"/>
              <a:gd name="T22" fmla="*/ 43 w 160"/>
              <a:gd name="T23" fmla="*/ 5 h 159"/>
              <a:gd name="T24" fmla="*/ 31 w 160"/>
              <a:gd name="T25" fmla="*/ 11 h 159"/>
              <a:gd name="T26" fmla="*/ 21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1 w 160"/>
              <a:gd name="T45" fmla="*/ 139 h 159"/>
              <a:gd name="T46" fmla="*/ 31 w 160"/>
              <a:gd name="T47" fmla="*/ 147 h 159"/>
              <a:gd name="T48" fmla="*/ 43 w 160"/>
              <a:gd name="T49" fmla="*/ 154 h 159"/>
              <a:gd name="T50" fmla="*/ 56 w 160"/>
              <a:gd name="T51" fmla="*/ 158 h 159"/>
              <a:gd name="T52" fmla="*/ 69 w 160"/>
              <a:gd name="T53" fmla="*/ 159 h 159"/>
              <a:gd name="T54" fmla="*/ 90 w 160"/>
              <a:gd name="T55" fmla="*/ 159 h 159"/>
              <a:gd name="T56" fmla="*/ 104 w 160"/>
              <a:gd name="T57" fmla="*/ 158 h 159"/>
              <a:gd name="T58" fmla="*/ 117 w 160"/>
              <a:gd name="T59" fmla="*/ 154 h 159"/>
              <a:gd name="T60" fmla="*/ 129 w 160"/>
              <a:gd name="T61" fmla="*/ 147 h 159"/>
              <a:gd name="T62" fmla="*/ 139 w 160"/>
              <a:gd name="T63" fmla="*/ 139 h 159"/>
              <a:gd name="T64" fmla="*/ 147 w 160"/>
              <a:gd name="T65" fmla="*/ 129 h 159"/>
              <a:gd name="T66" fmla="*/ 154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6" y="49"/>
                </a:lnTo>
                <a:lnTo>
                  <a:pt x="154" y="43"/>
                </a:lnTo>
                <a:lnTo>
                  <a:pt x="151" y="36"/>
                </a:lnTo>
                <a:lnTo>
                  <a:pt x="147" y="30"/>
                </a:lnTo>
                <a:lnTo>
                  <a:pt x="143" y="25"/>
                </a:lnTo>
                <a:lnTo>
                  <a:pt x="139" y="20"/>
                </a:lnTo>
                <a:lnTo>
                  <a:pt x="134" y="15"/>
                </a:lnTo>
                <a:lnTo>
                  <a:pt x="129" y="11"/>
                </a:lnTo>
                <a:lnTo>
                  <a:pt x="123" y="8"/>
                </a:lnTo>
                <a:lnTo>
                  <a:pt x="117" y="5"/>
                </a:lnTo>
                <a:lnTo>
                  <a:pt x="111" y="3"/>
                </a:lnTo>
                <a:lnTo>
                  <a:pt x="104" y="1"/>
                </a:lnTo>
                <a:lnTo>
                  <a:pt x="97" y="0"/>
                </a:lnTo>
                <a:lnTo>
                  <a:pt x="90" y="0"/>
                </a:lnTo>
                <a:lnTo>
                  <a:pt x="69" y="0"/>
                </a:lnTo>
                <a:lnTo>
                  <a:pt x="69" y="0"/>
                </a:lnTo>
                <a:lnTo>
                  <a:pt x="62" y="0"/>
                </a:lnTo>
                <a:lnTo>
                  <a:pt x="56" y="1"/>
                </a:lnTo>
                <a:lnTo>
                  <a:pt x="49" y="3"/>
                </a:lnTo>
                <a:lnTo>
                  <a:pt x="43" y="5"/>
                </a:lnTo>
                <a:lnTo>
                  <a:pt x="37" y="8"/>
                </a:lnTo>
                <a:lnTo>
                  <a:pt x="31" y="11"/>
                </a:lnTo>
                <a:lnTo>
                  <a:pt x="26" y="15"/>
                </a:lnTo>
                <a:lnTo>
                  <a:pt x="21" y="20"/>
                </a:lnTo>
                <a:lnTo>
                  <a:pt x="16" y="25"/>
                </a:lnTo>
                <a:lnTo>
                  <a:pt x="12" y="30"/>
                </a:lnTo>
                <a:lnTo>
                  <a:pt x="9" y="36"/>
                </a:lnTo>
                <a:lnTo>
                  <a:pt x="6" y="43"/>
                </a:lnTo>
                <a:lnTo>
                  <a:pt x="4" y="49"/>
                </a:lnTo>
                <a:lnTo>
                  <a:pt x="2" y="56"/>
                </a:lnTo>
                <a:lnTo>
                  <a:pt x="1" y="63"/>
                </a:lnTo>
                <a:lnTo>
                  <a:pt x="0" y="70"/>
                </a:lnTo>
                <a:lnTo>
                  <a:pt x="0" y="89"/>
                </a:lnTo>
                <a:lnTo>
                  <a:pt x="0" y="89"/>
                </a:lnTo>
                <a:lnTo>
                  <a:pt x="1" y="96"/>
                </a:lnTo>
                <a:lnTo>
                  <a:pt x="2" y="103"/>
                </a:lnTo>
                <a:lnTo>
                  <a:pt x="4" y="110"/>
                </a:lnTo>
                <a:lnTo>
                  <a:pt x="6" y="116"/>
                </a:lnTo>
                <a:lnTo>
                  <a:pt x="9" y="122"/>
                </a:lnTo>
                <a:lnTo>
                  <a:pt x="12" y="129"/>
                </a:lnTo>
                <a:lnTo>
                  <a:pt x="16" y="134"/>
                </a:lnTo>
                <a:lnTo>
                  <a:pt x="21" y="139"/>
                </a:lnTo>
                <a:lnTo>
                  <a:pt x="26" y="144"/>
                </a:lnTo>
                <a:lnTo>
                  <a:pt x="31" y="147"/>
                </a:lnTo>
                <a:lnTo>
                  <a:pt x="37" y="151"/>
                </a:lnTo>
                <a:lnTo>
                  <a:pt x="43" y="154"/>
                </a:lnTo>
                <a:lnTo>
                  <a:pt x="49" y="156"/>
                </a:lnTo>
                <a:lnTo>
                  <a:pt x="56" y="158"/>
                </a:lnTo>
                <a:lnTo>
                  <a:pt x="62" y="159"/>
                </a:lnTo>
                <a:lnTo>
                  <a:pt x="69" y="159"/>
                </a:lnTo>
                <a:lnTo>
                  <a:pt x="90" y="159"/>
                </a:lnTo>
                <a:lnTo>
                  <a:pt x="90" y="159"/>
                </a:lnTo>
                <a:lnTo>
                  <a:pt x="97" y="159"/>
                </a:lnTo>
                <a:lnTo>
                  <a:pt x="104" y="158"/>
                </a:lnTo>
                <a:lnTo>
                  <a:pt x="111" y="156"/>
                </a:lnTo>
                <a:lnTo>
                  <a:pt x="117" y="154"/>
                </a:lnTo>
                <a:lnTo>
                  <a:pt x="123" y="151"/>
                </a:lnTo>
                <a:lnTo>
                  <a:pt x="129" y="147"/>
                </a:lnTo>
                <a:lnTo>
                  <a:pt x="134" y="144"/>
                </a:lnTo>
                <a:lnTo>
                  <a:pt x="139" y="139"/>
                </a:lnTo>
                <a:lnTo>
                  <a:pt x="143" y="134"/>
                </a:lnTo>
                <a:lnTo>
                  <a:pt x="147" y="129"/>
                </a:lnTo>
                <a:lnTo>
                  <a:pt x="151" y="122"/>
                </a:lnTo>
                <a:lnTo>
                  <a:pt x="154" y="116"/>
                </a:lnTo>
                <a:lnTo>
                  <a:pt x="156"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4" name="Freeform 2196"/>
          <p:cNvSpPr>
            <a:spLocks/>
          </p:cNvSpPr>
          <p:nvPr/>
        </p:nvSpPr>
        <p:spPr bwMode="auto">
          <a:xfrm>
            <a:off x="1851027" y="5081524"/>
            <a:ext cx="42863" cy="42862"/>
          </a:xfrm>
          <a:custGeom>
            <a:avLst/>
            <a:gdLst>
              <a:gd name="T0" fmla="*/ 160 w 160"/>
              <a:gd name="T1" fmla="*/ 70 h 159"/>
              <a:gd name="T2" fmla="*/ 159 w 160"/>
              <a:gd name="T3" fmla="*/ 56 h 159"/>
              <a:gd name="T4" fmla="*/ 155 w 160"/>
              <a:gd name="T5" fmla="*/ 43 h 159"/>
              <a:gd name="T6" fmla="*/ 148 w 160"/>
              <a:gd name="T7" fmla="*/ 30 h 159"/>
              <a:gd name="T8" fmla="*/ 140 w 160"/>
              <a:gd name="T9" fmla="*/ 20 h 159"/>
              <a:gd name="T10" fmla="*/ 129 w 160"/>
              <a:gd name="T11" fmla="*/ 11 h 159"/>
              <a:gd name="T12" fmla="*/ 117 w 160"/>
              <a:gd name="T13" fmla="*/ 5 h 159"/>
              <a:gd name="T14" fmla="*/ 104 w 160"/>
              <a:gd name="T15" fmla="*/ 1 h 159"/>
              <a:gd name="T16" fmla="*/ 90 w 160"/>
              <a:gd name="T17" fmla="*/ 0 h 159"/>
              <a:gd name="T18" fmla="*/ 70 w 160"/>
              <a:gd name="T19" fmla="*/ 0 h 159"/>
              <a:gd name="T20" fmla="*/ 57 w 160"/>
              <a:gd name="T21" fmla="*/ 1 h 159"/>
              <a:gd name="T22" fmla="*/ 43 w 160"/>
              <a:gd name="T23" fmla="*/ 5 h 159"/>
              <a:gd name="T24" fmla="*/ 31 w 160"/>
              <a:gd name="T25" fmla="*/ 11 h 159"/>
              <a:gd name="T26" fmla="*/ 21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1 w 160"/>
              <a:gd name="T45" fmla="*/ 139 h 159"/>
              <a:gd name="T46" fmla="*/ 31 w 160"/>
              <a:gd name="T47" fmla="*/ 147 h 159"/>
              <a:gd name="T48" fmla="*/ 43 w 160"/>
              <a:gd name="T49" fmla="*/ 154 h 159"/>
              <a:gd name="T50" fmla="*/ 57 w 160"/>
              <a:gd name="T51" fmla="*/ 158 h 159"/>
              <a:gd name="T52" fmla="*/ 70 w 160"/>
              <a:gd name="T53" fmla="*/ 159 h 159"/>
              <a:gd name="T54" fmla="*/ 90 w 160"/>
              <a:gd name="T55" fmla="*/ 159 h 159"/>
              <a:gd name="T56" fmla="*/ 104 w 160"/>
              <a:gd name="T57" fmla="*/ 158 h 159"/>
              <a:gd name="T58" fmla="*/ 117 w 160"/>
              <a:gd name="T59" fmla="*/ 154 h 159"/>
              <a:gd name="T60" fmla="*/ 129 w 160"/>
              <a:gd name="T61" fmla="*/ 147 h 159"/>
              <a:gd name="T62" fmla="*/ 140 w 160"/>
              <a:gd name="T63" fmla="*/ 139 h 159"/>
              <a:gd name="T64" fmla="*/ 148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8" y="30"/>
                </a:lnTo>
                <a:lnTo>
                  <a:pt x="144" y="25"/>
                </a:lnTo>
                <a:lnTo>
                  <a:pt x="140" y="20"/>
                </a:lnTo>
                <a:lnTo>
                  <a:pt x="134" y="15"/>
                </a:lnTo>
                <a:lnTo>
                  <a:pt x="129" y="11"/>
                </a:lnTo>
                <a:lnTo>
                  <a:pt x="123" y="8"/>
                </a:lnTo>
                <a:lnTo>
                  <a:pt x="117" y="5"/>
                </a:lnTo>
                <a:lnTo>
                  <a:pt x="111" y="3"/>
                </a:lnTo>
                <a:lnTo>
                  <a:pt x="104" y="1"/>
                </a:lnTo>
                <a:lnTo>
                  <a:pt x="97" y="0"/>
                </a:lnTo>
                <a:lnTo>
                  <a:pt x="90" y="0"/>
                </a:lnTo>
                <a:lnTo>
                  <a:pt x="70" y="0"/>
                </a:lnTo>
                <a:lnTo>
                  <a:pt x="70" y="0"/>
                </a:lnTo>
                <a:lnTo>
                  <a:pt x="63" y="0"/>
                </a:lnTo>
                <a:lnTo>
                  <a:pt x="57" y="1"/>
                </a:lnTo>
                <a:lnTo>
                  <a:pt x="49" y="3"/>
                </a:lnTo>
                <a:lnTo>
                  <a:pt x="43" y="5"/>
                </a:lnTo>
                <a:lnTo>
                  <a:pt x="37" y="8"/>
                </a:lnTo>
                <a:lnTo>
                  <a:pt x="31" y="11"/>
                </a:lnTo>
                <a:lnTo>
                  <a:pt x="26" y="15"/>
                </a:lnTo>
                <a:lnTo>
                  <a:pt x="21" y="20"/>
                </a:lnTo>
                <a:lnTo>
                  <a:pt x="16" y="25"/>
                </a:lnTo>
                <a:lnTo>
                  <a:pt x="12" y="30"/>
                </a:lnTo>
                <a:lnTo>
                  <a:pt x="9" y="36"/>
                </a:lnTo>
                <a:lnTo>
                  <a:pt x="6" y="43"/>
                </a:lnTo>
                <a:lnTo>
                  <a:pt x="4" y="49"/>
                </a:lnTo>
                <a:lnTo>
                  <a:pt x="2" y="56"/>
                </a:lnTo>
                <a:lnTo>
                  <a:pt x="1" y="63"/>
                </a:lnTo>
                <a:lnTo>
                  <a:pt x="0" y="70"/>
                </a:lnTo>
                <a:lnTo>
                  <a:pt x="0" y="89"/>
                </a:lnTo>
                <a:lnTo>
                  <a:pt x="0" y="89"/>
                </a:lnTo>
                <a:lnTo>
                  <a:pt x="1" y="96"/>
                </a:lnTo>
                <a:lnTo>
                  <a:pt x="2" y="103"/>
                </a:lnTo>
                <a:lnTo>
                  <a:pt x="4" y="110"/>
                </a:lnTo>
                <a:lnTo>
                  <a:pt x="6" y="116"/>
                </a:lnTo>
                <a:lnTo>
                  <a:pt x="9" y="122"/>
                </a:lnTo>
                <a:lnTo>
                  <a:pt x="12" y="129"/>
                </a:lnTo>
                <a:lnTo>
                  <a:pt x="16" y="134"/>
                </a:lnTo>
                <a:lnTo>
                  <a:pt x="21" y="139"/>
                </a:lnTo>
                <a:lnTo>
                  <a:pt x="26" y="144"/>
                </a:lnTo>
                <a:lnTo>
                  <a:pt x="31" y="147"/>
                </a:lnTo>
                <a:lnTo>
                  <a:pt x="37" y="151"/>
                </a:lnTo>
                <a:lnTo>
                  <a:pt x="43" y="154"/>
                </a:lnTo>
                <a:lnTo>
                  <a:pt x="49" y="156"/>
                </a:lnTo>
                <a:lnTo>
                  <a:pt x="57" y="158"/>
                </a:lnTo>
                <a:lnTo>
                  <a:pt x="63" y="159"/>
                </a:lnTo>
                <a:lnTo>
                  <a:pt x="70" y="159"/>
                </a:lnTo>
                <a:lnTo>
                  <a:pt x="90" y="159"/>
                </a:lnTo>
                <a:lnTo>
                  <a:pt x="90" y="159"/>
                </a:lnTo>
                <a:lnTo>
                  <a:pt x="97" y="159"/>
                </a:lnTo>
                <a:lnTo>
                  <a:pt x="104" y="158"/>
                </a:lnTo>
                <a:lnTo>
                  <a:pt x="111" y="156"/>
                </a:lnTo>
                <a:lnTo>
                  <a:pt x="117" y="154"/>
                </a:lnTo>
                <a:lnTo>
                  <a:pt x="123" y="151"/>
                </a:lnTo>
                <a:lnTo>
                  <a:pt x="129" y="147"/>
                </a:lnTo>
                <a:lnTo>
                  <a:pt x="134" y="144"/>
                </a:lnTo>
                <a:lnTo>
                  <a:pt x="140" y="139"/>
                </a:lnTo>
                <a:lnTo>
                  <a:pt x="144" y="134"/>
                </a:lnTo>
                <a:lnTo>
                  <a:pt x="148"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5" name="Freeform 2197"/>
          <p:cNvSpPr>
            <a:spLocks/>
          </p:cNvSpPr>
          <p:nvPr/>
        </p:nvSpPr>
        <p:spPr bwMode="auto">
          <a:xfrm>
            <a:off x="1949452" y="5081524"/>
            <a:ext cx="42863" cy="42862"/>
          </a:xfrm>
          <a:custGeom>
            <a:avLst/>
            <a:gdLst>
              <a:gd name="T0" fmla="*/ 160 w 160"/>
              <a:gd name="T1" fmla="*/ 70 h 159"/>
              <a:gd name="T2" fmla="*/ 159 w 160"/>
              <a:gd name="T3" fmla="*/ 56 h 159"/>
              <a:gd name="T4" fmla="*/ 155 w 160"/>
              <a:gd name="T5" fmla="*/ 43 h 159"/>
              <a:gd name="T6" fmla="*/ 148 w 160"/>
              <a:gd name="T7" fmla="*/ 30 h 159"/>
              <a:gd name="T8" fmla="*/ 140 w 160"/>
              <a:gd name="T9" fmla="*/ 20 h 159"/>
              <a:gd name="T10" fmla="*/ 130 w 160"/>
              <a:gd name="T11" fmla="*/ 11 h 159"/>
              <a:gd name="T12" fmla="*/ 117 w 160"/>
              <a:gd name="T13" fmla="*/ 5 h 159"/>
              <a:gd name="T14" fmla="*/ 104 w 160"/>
              <a:gd name="T15" fmla="*/ 1 h 159"/>
              <a:gd name="T16" fmla="*/ 90 w 160"/>
              <a:gd name="T17" fmla="*/ 0 h 159"/>
              <a:gd name="T18" fmla="*/ 70 w 160"/>
              <a:gd name="T19" fmla="*/ 0 h 159"/>
              <a:gd name="T20" fmla="*/ 56 w 160"/>
              <a:gd name="T21" fmla="*/ 1 h 159"/>
              <a:gd name="T22" fmla="*/ 44 w 160"/>
              <a:gd name="T23" fmla="*/ 5 h 159"/>
              <a:gd name="T24" fmla="*/ 31 w 160"/>
              <a:gd name="T25" fmla="*/ 11 h 159"/>
              <a:gd name="T26" fmla="*/ 21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1 w 160"/>
              <a:gd name="T45" fmla="*/ 139 h 159"/>
              <a:gd name="T46" fmla="*/ 31 w 160"/>
              <a:gd name="T47" fmla="*/ 147 h 159"/>
              <a:gd name="T48" fmla="*/ 44 w 160"/>
              <a:gd name="T49" fmla="*/ 154 h 159"/>
              <a:gd name="T50" fmla="*/ 56 w 160"/>
              <a:gd name="T51" fmla="*/ 158 h 159"/>
              <a:gd name="T52" fmla="*/ 70 w 160"/>
              <a:gd name="T53" fmla="*/ 159 h 159"/>
              <a:gd name="T54" fmla="*/ 90 w 160"/>
              <a:gd name="T55" fmla="*/ 159 h 159"/>
              <a:gd name="T56" fmla="*/ 104 w 160"/>
              <a:gd name="T57" fmla="*/ 158 h 159"/>
              <a:gd name="T58" fmla="*/ 117 w 160"/>
              <a:gd name="T59" fmla="*/ 154 h 159"/>
              <a:gd name="T60" fmla="*/ 130 w 160"/>
              <a:gd name="T61" fmla="*/ 147 h 159"/>
              <a:gd name="T62" fmla="*/ 140 w 160"/>
              <a:gd name="T63" fmla="*/ 139 h 159"/>
              <a:gd name="T64" fmla="*/ 148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8" y="30"/>
                </a:lnTo>
                <a:lnTo>
                  <a:pt x="144" y="25"/>
                </a:lnTo>
                <a:lnTo>
                  <a:pt x="140" y="20"/>
                </a:lnTo>
                <a:lnTo>
                  <a:pt x="135" y="15"/>
                </a:lnTo>
                <a:lnTo>
                  <a:pt x="130" y="11"/>
                </a:lnTo>
                <a:lnTo>
                  <a:pt x="124" y="8"/>
                </a:lnTo>
                <a:lnTo>
                  <a:pt x="117" y="5"/>
                </a:lnTo>
                <a:lnTo>
                  <a:pt x="111" y="3"/>
                </a:lnTo>
                <a:lnTo>
                  <a:pt x="104" y="1"/>
                </a:lnTo>
                <a:lnTo>
                  <a:pt x="97" y="0"/>
                </a:lnTo>
                <a:lnTo>
                  <a:pt x="90" y="0"/>
                </a:lnTo>
                <a:lnTo>
                  <a:pt x="70" y="0"/>
                </a:lnTo>
                <a:lnTo>
                  <a:pt x="70" y="0"/>
                </a:lnTo>
                <a:lnTo>
                  <a:pt x="63" y="0"/>
                </a:lnTo>
                <a:lnTo>
                  <a:pt x="56" y="1"/>
                </a:lnTo>
                <a:lnTo>
                  <a:pt x="50" y="3"/>
                </a:lnTo>
                <a:lnTo>
                  <a:pt x="44" y="5"/>
                </a:lnTo>
                <a:lnTo>
                  <a:pt x="38" y="8"/>
                </a:lnTo>
                <a:lnTo>
                  <a:pt x="31" y="11"/>
                </a:lnTo>
                <a:lnTo>
                  <a:pt x="26" y="15"/>
                </a:lnTo>
                <a:lnTo>
                  <a:pt x="21" y="20"/>
                </a:lnTo>
                <a:lnTo>
                  <a:pt x="16" y="25"/>
                </a:lnTo>
                <a:lnTo>
                  <a:pt x="12" y="30"/>
                </a:lnTo>
                <a:lnTo>
                  <a:pt x="9" y="36"/>
                </a:lnTo>
                <a:lnTo>
                  <a:pt x="6" y="43"/>
                </a:lnTo>
                <a:lnTo>
                  <a:pt x="4" y="49"/>
                </a:lnTo>
                <a:lnTo>
                  <a:pt x="2" y="56"/>
                </a:lnTo>
                <a:lnTo>
                  <a:pt x="1" y="63"/>
                </a:lnTo>
                <a:lnTo>
                  <a:pt x="0" y="70"/>
                </a:lnTo>
                <a:lnTo>
                  <a:pt x="0" y="89"/>
                </a:lnTo>
                <a:lnTo>
                  <a:pt x="0" y="89"/>
                </a:lnTo>
                <a:lnTo>
                  <a:pt x="1" y="96"/>
                </a:lnTo>
                <a:lnTo>
                  <a:pt x="2" y="103"/>
                </a:lnTo>
                <a:lnTo>
                  <a:pt x="4" y="110"/>
                </a:lnTo>
                <a:lnTo>
                  <a:pt x="6" y="116"/>
                </a:lnTo>
                <a:lnTo>
                  <a:pt x="9" y="122"/>
                </a:lnTo>
                <a:lnTo>
                  <a:pt x="12" y="129"/>
                </a:lnTo>
                <a:lnTo>
                  <a:pt x="16" y="134"/>
                </a:lnTo>
                <a:lnTo>
                  <a:pt x="21" y="139"/>
                </a:lnTo>
                <a:lnTo>
                  <a:pt x="26" y="144"/>
                </a:lnTo>
                <a:lnTo>
                  <a:pt x="31" y="147"/>
                </a:lnTo>
                <a:lnTo>
                  <a:pt x="38" y="151"/>
                </a:lnTo>
                <a:lnTo>
                  <a:pt x="44" y="154"/>
                </a:lnTo>
                <a:lnTo>
                  <a:pt x="50" y="156"/>
                </a:lnTo>
                <a:lnTo>
                  <a:pt x="56" y="158"/>
                </a:lnTo>
                <a:lnTo>
                  <a:pt x="63" y="159"/>
                </a:lnTo>
                <a:lnTo>
                  <a:pt x="70" y="159"/>
                </a:lnTo>
                <a:lnTo>
                  <a:pt x="90" y="159"/>
                </a:lnTo>
                <a:lnTo>
                  <a:pt x="90" y="159"/>
                </a:lnTo>
                <a:lnTo>
                  <a:pt x="97" y="159"/>
                </a:lnTo>
                <a:lnTo>
                  <a:pt x="104" y="158"/>
                </a:lnTo>
                <a:lnTo>
                  <a:pt x="111" y="156"/>
                </a:lnTo>
                <a:lnTo>
                  <a:pt x="117" y="154"/>
                </a:lnTo>
                <a:lnTo>
                  <a:pt x="124" y="151"/>
                </a:lnTo>
                <a:lnTo>
                  <a:pt x="130" y="147"/>
                </a:lnTo>
                <a:lnTo>
                  <a:pt x="135" y="144"/>
                </a:lnTo>
                <a:lnTo>
                  <a:pt x="140" y="139"/>
                </a:lnTo>
                <a:lnTo>
                  <a:pt x="144" y="134"/>
                </a:lnTo>
                <a:lnTo>
                  <a:pt x="148"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6" name="Freeform 2198"/>
          <p:cNvSpPr>
            <a:spLocks/>
          </p:cNvSpPr>
          <p:nvPr/>
        </p:nvSpPr>
        <p:spPr bwMode="auto">
          <a:xfrm>
            <a:off x="2047877" y="5081524"/>
            <a:ext cx="42863" cy="42862"/>
          </a:xfrm>
          <a:custGeom>
            <a:avLst/>
            <a:gdLst>
              <a:gd name="T0" fmla="*/ 160 w 160"/>
              <a:gd name="T1" fmla="*/ 70 h 159"/>
              <a:gd name="T2" fmla="*/ 159 w 160"/>
              <a:gd name="T3" fmla="*/ 56 h 159"/>
              <a:gd name="T4" fmla="*/ 155 w 160"/>
              <a:gd name="T5" fmla="*/ 43 h 159"/>
              <a:gd name="T6" fmla="*/ 148 w 160"/>
              <a:gd name="T7" fmla="*/ 30 h 159"/>
              <a:gd name="T8" fmla="*/ 140 w 160"/>
              <a:gd name="T9" fmla="*/ 20 h 159"/>
              <a:gd name="T10" fmla="*/ 130 w 160"/>
              <a:gd name="T11" fmla="*/ 11 h 159"/>
              <a:gd name="T12" fmla="*/ 118 w 160"/>
              <a:gd name="T13" fmla="*/ 5 h 159"/>
              <a:gd name="T14" fmla="*/ 105 w 160"/>
              <a:gd name="T15" fmla="*/ 1 h 159"/>
              <a:gd name="T16" fmla="*/ 90 w 160"/>
              <a:gd name="T17" fmla="*/ 0 h 159"/>
              <a:gd name="T18" fmla="*/ 70 w 160"/>
              <a:gd name="T19" fmla="*/ 0 h 159"/>
              <a:gd name="T20" fmla="*/ 56 w 160"/>
              <a:gd name="T21" fmla="*/ 1 h 159"/>
              <a:gd name="T22" fmla="*/ 44 w 160"/>
              <a:gd name="T23" fmla="*/ 5 h 159"/>
              <a:gd name="T24" fmla="*/ 32 w 160"/>
              <a:gd name="T25" fmla="*/ 11 h 159"/>
              <a:gd name="T26" fmla="*/ 22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2 w 160"/>
              <a:gd name="T45" fmla="*/ 139 h 159"/>
              <a:gd name="T46" fmla="*/ 32 w 160"/>
              <a:gd name="T47" fmla="*/ 147 h 159"/>
              <a:gd name="T48" fmla="*/ 44 w 160"/>
              <a:gd name="T49" fmla="*/ 154 h 159"/>
              <a:gd name="T50" fmla="*/ 56 w 160"/>
              <a:gd name="T51" fmla="*/ 158 h 159"/>
              <a:gd name="T52" fmla="*/ 70 w 160"/>
              <a:gd name="T53" fmla="*/ 159 h 159"/>
              <a:gd name="T54" fmla="*/ 90 w 160"/>
              <a:gd name="T55" fmla="*/ 159 h 159"/>
              <a:gd name="T56" fmla="*/ 105 w 160"/>
              <a:gd name="T57" fmla="*/ 158 h 159"/>
              <a:gd name="T58" fmla="*/ 118 w 160"/>
              <a:gd name="T59" fmla="*/ 154 h 159"/>
              <a:gd name="T60" fmla="*/ 130 w 160"/>
              <a:gd name="T61" fmla="*/ 147 h 159"/>
              <a:gd name="T62" fmla="*/ 140 w 160"/>
              <a:gd name="T63" fmla="*/ 139 h 159"/>
              <a:gd name="T64" fmla="*/ 148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8" y="30"/>
                </a:lnTo>
                <a:lnTo>
                  <a:pt x="144" y="25"/>
                </a:lnTo>
                <a:lnTo>
                  <a:pt x="140" y="20"/>
                </a:lnTo>
                <a:lnTo>
                  <a:pt x="135" y="15"/>
                </a:lnTo>
                <a:lnTo>
                  <a:pt x="130" y="11"/>
                </a:lnTo>
                <a:lnTo>
                  <a:pt x="124" y="8"/>
                </a:lnTo>
                <a:lnTo>
                  <a:pt x="118" y="5"/>
                </a:lnTo>
                <a:lnTo>
                  <a:pt x="112" y="3"/>
                </a:lnTo>
                <a:lnTo>
                  <a:pt x="105" y="1"/>
                </a:lnTo>
                <a:lnTo>
                  <a:pt x="97" y="0"/>
                </a:lnTo>
                <a:lnTo>
                  <a:pt x="90" y="0"/>
                </a:lnTo>
                <a:lnTo>
                  <a:pt x="70" y="0"/>
                </a:lnTo>
                <a:lnTo>
                  <a:pt x="70" y="0"/>
                </a:lnTo>
                <a:lnTo>
                  <a:pt x="63" y="0"/>
                </a:lnTo>
                <a:lnTo>
                  <a:pt x="56" y="1"/>
                </a:lnTo>
                <a:lnTo>
                  <a:pt x="50" y="3"/>
                </a:lnTo>
                <a:lnTo>
                  <a:pt x="44" y="5"/>
                </a:lnTo>
                <a:lnTo>
                  <a:pt x="38" y="8"/>
                </a:lnTo>
                <a:lnTo>
                  <a:pt x="32" y="11"/>
                </a:lnTo>
                <a:lnTo>
                  <a:pt x="27" y="15"/>
                </a:lnTo>
                <a:lnTo>
                  <a:pt x="22" y="20"/>
                </a:lnTo>
                <a:lnTo>
                  <a:pt x="17" y="25"/>
                </a:lnTo>
                <a:lnTo>
                  <a:pt x="12" y="30"/>
                </a:lnTo>
                <a:lnTo>
                  <a:pt x="9" y="36"/>
                </a:lnTo>
                <a:lnTo>
                  <a:pt x="6" y="43"/>
                </a:lnTo>
                <a:lnTo>
                  <a:pt x="4" y="49"/>
                </a:lnTo>
                <a:lnTo>
                  <a:pt x="2" y="56"/>
                </a:lnTo>
                <a:lnTo>
                  <a:pt x="1" y="63"/>
                </a:lnTo>
                <a:lnTo>
                  <a:pt x="0" y="70"/>
                </a:lnTo>
                <a:lnTo>
                  <a:pt x="0" y="89"/>
                </a:lnTo>
                <a:lnTo>
                  <a:pt x="0" y="89"/>
                </a:lnTo>
                <a:lnTo>
                  <a:pt x="1" y="96"/>
                </a:lnTo>
                <a:lnTo>
                  <a:pt x="2" y="103"/>
                </a:lnTo>
                <a:lnTo>
                  <a:pt x="4" y="110"/>
                </a:lnTo>
                <a:lnTo>
                  <a:pt x="6" y="116"/>
                </a:lnTo>
                <a:lnTo>
                  <a:pt x="9" y="122"/>
                </a:lnTo>
                <a:lnTo>
                  <a:pt x="12" y="129"/>
                </a:lnTo>
                <a:lnTo>
                  <a:pt x="17" y="134"/>
                </a:lnTo>
                <a:lnTo>
                  <a:pt x="22" y="139"/>
                </a:lnTo>
                <a:lnTo>
                  <a:pt x="27" y="144"/>
                </a:lnTo>
                <a:lnTo>
                  <a:pt x="32" y="147"/>
                </a:lnTo>
                <a:lnTo>
                  <a:pt x="38" y="151"/>
                </a:lnTo>
                <a:lnTo>
                  <a:pt x="44" y="154"/>
                </a:lnTo>
                <a:lnTo>
                  <a:pt x="50" y="156"/>
                </a:lnTo>
                <a:lnTo>
                  <a:pt x="56" y="158"/>
                </a:lnTo>
                <a:lnTo>
                  <a:pt x="63" y="159"/>
                </a:lnTo>
                <a:lnTo>
                  <a:pt x="70" y="159"/>
                </a:lnTo>
                <a:lnTo>
                  <a:pt x="90" y="159"/>
                </a:lnTo>
                <a:lnTo>
                  <a:pt x="90" y="159"/>
                </a:lnTo>
                <a:lnTo>
                  <a:pt x="97" y="159"/>
                </a:lnTo>
                <a:lnTo>
                  <a:pt x="105" y="158"/>
                </a:lnTo>
                <a:lnTo>
                  <a:pt x="112" y="156"/>
                </a:lnTo>
                <a:lnTo>
                  <a:pt x="118" y="154"/>
                </a:lnTo>
                <a:lnTo>
                  <a:pt x="124" y="151"/>
                </a:lnTo>
                <a:lnTo>
                  <a:pt x="130" y="147"/>
                </a:lnTo>
                <a:lnTo>
                  <a:pt x="135" y="144"/>
                </a:lnTo>
                <a:lnTo>
                  <a:pt x="140" y="139"/>
                </a:lnTo>
                <a:lnTo>
                  <a:pt x="144" y="134"/>
                </a:lnTo>
                <a:lnTo>
                  <a:pt x="148"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7" name="Freeform 2199"/>
          <p:cNvSpPr>
            <a:spLocks/>
          </p:cNvSpPr>
          <p:nvPr/>
        </p:nvSpPr>
        <p:spPr bwMode="auto">
          <a:xfrm>
            <a:off x="2146302" y="5081524"/>
            <a:ext cx="42863" cy="42862"/>
          </a:xfrm>
          <a:custGeom>
            <a:avLst/>
            <a:gdLst>
              <a:gd name="T0" fmla="*/ 159 w 159"/>
              <a:gd name="T1" fmla="*/ 70 h 159"/>
              <a:gd name="T2" fmla="*/ 158 w 159"/>
              <a:gd name="T3" fmla="*/ 56 h 159"/>
              <a:gd name="T4" fmla="*/ 154 w 159"/>
              <a:gd name="T5" fmla="*/ 43 h 159"/>
              <a:gd name="T6" fmla="*/ 147 w 159"/>
              <a:gd name="T7" fmla="*/ 30 h 159"/>
              <a:gd name="T8" fmla="*/ 139 w 159"/>
              <a:gd name="T9" fmla="*/ 20 h 159"/>
              <a:gd name="T10" fmla="*/ 129 w 159"/>
              <a:gd name="T11" fmla="*/ 11 h 159"/>
              <a:gd name="T12" fmla="*/ 117 w 159"/>
              <a:gd name="T13" fmla="*/ 5 h 159"/>
              <a:gd name="T14" fmla="*/ 104 w 159"/>
              <a:gd name="T15" fmla="*/ 1 h 159"/>
              <a:gd name="T16" fmla="*/ 90 w 159"/>
              <a:gd name="T17" fmla="*/ 0 h 159"/>
              <a:gd name="T18" fmla="*/ 69 w 159"/>
              <a:gd name="T19" fmla="*/ 0 h 159"/>
              <a:gd name="T20" fmla="*/ 55 w 159"/>
              <a:gd name="T21" fmla="*/ 1 h 159"/>
              <a:gd name="T22" fmla="*/ 43 w 159"/>
              <a:gd name="T23" fmla="*/ 5 h 159"/>
              <a:gd name="T24" fmla="*/ 31 w 159"/>
              <a:gd name="T25" fmla="*/ 11 h 159"/>
              <a:gd name="T26" fmla="*/ 21 w 159"/>
              <a:gd name="T27" fmla="*/ 20 h 159"/>
              <a:gd name="T28" fmla="*/ 12 w 159"/>
              <a:gd name="T29" fmla="*/ 30 h 159"/>
              <a:gd name="T30" fmla="*/ 6 w 159"/>
              <a:gd name="T31" fmla="*/ 43 h 159"/>
              <a:gd name="T32" fmla="*/ 2 w 159"/>
              <a:gd name="T33" fmla="*/ 56 h 159"/>
              <a:gd name="T34" fmla="*/ 0 w 159"/>
              <a:gd name="T35" fmla="*/ 70 h 159"/>
              <a:gd name="T36" fmla="*/ 0 w 159"/>
              <a:gd name="T37" fmla="*/ 89 h 159"/>
              <a:gd name="T38" fmla="*/ 2 w 159"/>
              <a:gd name="T39" fmla="*/ 103 h 159"/>
              <a:gd name="T40" fmla="*/ 6 w 159"/>
              <a:gd name="T41" fmla="*/ 116 h 159"/>
              <a:gd name="T42" fmla="*/ 12 w 159"/>
              <a:gd name="T43" fmla="*/ 129 h 159"/>
              <a:gd name="T44" fmla="*/ 21 w 159"/>
              <a:gd name="T45" fmla="*/ 139 h 159"/>
              <a:gd name="T46" fmla="*/ 31 w 159"/>
              <a:gd name="T47" fmla="*/ 147 h 159"/>
              <a:gd name="T48" fmla="*/ 43 w 159"/>
              <a:gd name="T49" fmla="*/ 154 h 159"/>
              <a:gd name="T50" fmla="*/ 55 w 159"/>
              <a:gd name="T51" fmla="*/ 158 h 159"/>
              <a:gd name="T52" fmla="*/ 69 w 159"/>
              <a:gd name="T53" fmla="*/ 159 h 159"/>
              <a:gd name="T54" fmla="*/ 90 w 159"/>
              <a:gd name="T55" fmla="*/ 159 h 159"/>
              <a:gd name="T56" fmla="*/ 104 w 159"/>
              <a:gd name="T57" fmla="*/ 158 h 159"/>
              <a:gd name="T58" fmla="*/ 117 w 159"/>
              <a:gd name="T59" fmla="*/ 154 h 159"/>
              <a:gd name="T60" fmla="*/ 129 w 159"/>
              <a:gd name="T61" fmla="*/ 147 h 159"/>
              <a:gd name="T62" fmla="*/ 139 w 159"/>
              <a:gd name="T63" fmla="*/ 139 h 159"/>
              <a:gd name="T64" fmla="*/ 147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1" y="36"/>
                </a:lnTo>
                <a:lnTo>
                  <a:pt x="147" y="30"/>
                </a:lnTo>
                <a:lnTo>
                  <a:pt x="143" y="25"/>
                </a:lnTo>
                <a:lnTo>
                  <a:pt x="139" y="20"/>
                </a:lnTo>
                <a:lnTo>
                  <a:pt x="134" y="15"/>
                </a:lnTo>
                <a:lnTo>
                  <a:pt x="129" y="11"/>
                </a:lnTo>
                <a:lnTo>
                  <a:pt x="123" y="8"/>
                </a:lnTo>
                <a:lnTo>
                  <a:pt x="117" y="5"/>
                </a:lnTo>
                <a:lnTo>
                  <a:pt x="111" y="3"/>
                </a:lnTo>
                <a:lnTo>
                  <a:pt x="104" y="1"/>
                </a:lnTo>
                <a:lnTo>
                  <a:pt x="97" y="0"/>
                </a:lnTo>
                <a:lnTo>
                  <a:pt x="90" y="0"/>
                </a:lnTo>
                <a:lnTo>
                  <a:pt x="69" y="0"/>
                </a:lnTo>
                <a:lnTo>
                  <a:pt x="69" y="0"/>
                </a:lnTo>
                <a:lnTo>
                  <a:pt x="62" y="0"/>
                </a:lnTo>
                <a:lnTo>
                  <a:pt x="55" y="1"/>
                </a:lnTo>
                <a:lnTo>
                  <a:pt x="49" y="3"/>
                </a:lnTo>
                <a:lnTo>
                  <a:pt x="43" y="5"/>
                </a:lnTo>
                <a:lnTo>
                  <a:pt x="37" y="8"/>
                </a:lnTo>
                <a:lnTo>
                  <a:pt x="31" y="11"/>
                </a:lnTo>
                <a:lnTo>
                  <a:pt x="26" y="15"/>
                </a:lnTo>
                <a:lnTo>
                  <a:pt x="21" y="20"/>
                </a:lnTo>
                <a:lnTo>
                  <a:pt x="16" y="25"/>
                </a:lnTo>
                <a:lnTo>
                  <a:pt x="12" y="30"/>
                </a:lnTo>
                <a:lnTo>
                  <a:pt x="9" y="36"/>
                </a:lnTo>
                <a:lnTo>
                  <a:pt x="6" y="43"/>
                </a:lnTo>
                <a:lnTo>
                  <a:pt x="4" y="49"/>
                </a:lnTo>
                <a:lnTo>
                  <a:pt x="2" y="56"/>
                </a:lnTo>
                <a:lnTo>
                  <a:pt x="1" y="63"/>
                </a:lnTo>
                <a:lnTo>
                  <a:pt x="0" y="70"/>
                </a:lnTo>
                <a:lnTo>
                  <a:pt x="0" y="89"/>
                </a:lnTo>
                <a:lnTo>
                  <a:pt x="0" y="89"/>
                </a:lnTo>
                <a:lnTo>
                  <a:pt x="1" y="96"/>
                </a:lnTo>
                <a:lnTo>
                  <a:pt x="2" y="103"/>
                </a:lnTo>
                <a:lnTo>
                  <a:pt x="4" y="110"/>
                </a:lnTo>
                <a:lnTo>
                  <a:pt x="6" y="116"/>
                </a:lnTo>
                <a:lnTo>
                  <a:pt x="9" y="122"/>
                </a:lnTo>
                <a:lnTo>
                  <a:pt x="12" y="129"/>
                </a:lnTo>
                <a:lnTo>
                  <a:pt x="16" y="134"/>
                </a:lnTo>
                <a:lnTo>
                  <a:pt x="21" y="139"/>
                </a:lnTo>
                <a:lnTo>
                  <a:pt x="26" y="144"/>
                </a:lnTo>
                <a:lnTo>
                  <a:pt x="31" y="147"/>
                </a:lnTo>
                <a:lnTo>
                  <a:pt x="37" y="151"/>
                </a:lnTo>
                <a:lnTo>
                  <a:pt x="43" y="154"/>
                </a:lnTo>
                <a:lnTo>
                  <a:pt x="49" y="156"/>
                </a:lnTo>
                <a:lnTo>
                  <a:pt x="55" y="158"/>
                </a:lnTo>
                <a:lnTo>
                  <a:pt x="62" y="159"/>
                </a:lnTo>
                <a:lnTo>
                  <a:pt x="69" y="159"/>
                </a:lnTo>
                <a:lnTo>
                  <a:pt x="90" y="159"/>
                </a:lnTo>
                <a:lnTo>
                  <a:pt x="90" y="159"/>
                </a:lnTo>
                <a:lnTo>
                  <a:pt x="97" y="159"/>
                </a:lnTo>
                <a:lnTo>
                  <a:pt x="104" y="158"/>
                </a:lnTo>
                <a:lnTo>
                  <a:pt x="111" y="156"/>
                </a:lnTo>
                <a:lnTo>
                  <a:pt x="117" y="154"/>
                </a:lnTo>
                <a:lnTo>
                  <a:pt x="123" y="151"/>
                </a:lnTo>
                <a:lnTo>
                  <a:pt x="129" y="147"/>
                </a:lnTo>
                <a:lnTo>
                  <a:pt x="134" y="144"/>
                </a:lnTo>
                <a:lnTo>
                  <a:pt x="139" y="139"/>
                </a:lnTo>
                <a:lnTo>
                  <a:pt x="143" y="134"/>
                </a:lnTo>
                <a:lnTo>
                  <a:pt x="147" y="129"/>
                </a:lnTo>
                <a:lnTo>
                  <a:pt x="151"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8" name="Freeform 2200"/>
          <p:cNvSpPr>
            <a:spLocks/>
          </p:cNvSpPr>
          <p:nvPr/>
        </p:nvSpPr>
        <p:spPr bwMode="auto">
          <a:xfrm>
            <a:off x="2244727" y="5081524"/>
            <a:ext cx="42863" cy="42862"/>
          </a:xfrm>
          <a:custGeom>
            <a:avLst/>
            <a:gdLst>
              <a:gd name="T0" fmla="*/ 160 w 160"/>
              <a:gd name="T1" fmla="*/ 70 h 159"/>
              <a:gd name="T2" fmla="*/ 159 w 160"/>
              <a:gd name="T3" fmla="*/ 56 h 159"/>
              <a:gd name="T4" fmla="*/ 155 w 160"/>
              <a:gd name="T5" fmla="*/ 43 h 159"/>
              <a:gd name="T6" fmla="*/ 147 w 160"/>
              <a:gd name="T7" fmla="*/ 30 h 159"/>
              <a:gd name="T8" fmla="*/ 139 w 160"/>
              <a:gd name="T9" fmla="*/ 20 h 159"/>
              <a:gd name="T10" fmla="*/ 129 w 160"/>
              <a:gd name="T11" fmla="*/ 11 h 159"/>
              <a:gd name="T12" fmla="*/ 117 w 160"/>
              <a:gd name="T13" fmla="*/ 5 h 159"/>
              <a:gd name="T14" fmla="*/ 104 w 160"/>
              <a:gd name="T15" fmla="*/ 1 h 159"/>
              <a:gd name="T16" fmla="*/ 90 w 160"/>
              <a:gd name="T17" fmla="*/ 0 h 159"/>
              <a:gd name="T18" fmla="*/ 70 w 160"/>
              <a:gd name="T19" fmla="*/ 0 h 159"/>
              <a:gd name="T20" fmla="*/ 55 w 160"/>
              <a:gd name="T21" fmla="*/ 1 h 159"/>
              <a:gd name="T22" fmla="*/ 43 w 160"/>
              <a:gd name="T23" fmla="*/ 5 h 159"/>
              <a:gd name="T24" fmla="*/ 31 w 160"/>
              <a:gd name="T25" fmla="*/ 11 h 159"/>
              <a:gd name="T26" fmla="*/ 21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1 w 160"/>
              <a:gd name="T45" fmla="*/ 139 h 159"/>
              <a:gd name="T46" fmla="*/ 31 w 160"/>
              <a:gd name="T47" fmla="*/ 147 h 159"/>
              <a:gd name="T48" fmla="*/ 43 w 160"/>
              <a:gd name="T49" fmla="*/ 154 h 159"/>
              <a:gd name="T50" fmla="*/ 55 w 160"/>
              <a:gd name="T51" fmla="*/ 158 h 159"/>
              <a:gd name="T52" fmla="*/ 70 w 160"/>
              <a:gd name="T53" fmla="*/ 159 h 159"/>
              <a:gd name="T54" fmla="*/ 90 w 160"/>
              <a:gd name="T55" fmla="*/ 159 h 159"/>
              <a:gd name="T56" fmla="*/ 104 w 160"/>
              <a:gd name="T57" fmla="*/ 158 h 159"/>
              <a:gd name="T58" fmla="*/ 117 w 160"/>
              <a:gd name="T59" fmla="*/ 154 h 159"/>
              <a:gd name="T60" fmla="*/ 129 w 160"/>
              <a:gd name="T61" fmla="*/ 147 h 159"/>
              <a:gd name="T62" fmla="*/ 139 w 160"/>
              <a:gd name="T63" fmla="*/ 139 h 159"/>
              <a:gd name="T64" fmla="*/ 147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7" y="30"/>
                </a:lnTo>
                <a:lnTo>
                  <a:pt x="143" y="25"/>
                </a:lnTo>
                <a:lnTo>
                  <a:pt x="139" y="20"/>
                </a:lnTo>
                <a:lnTo>
                  <a:pt x="134" y="15"/>
                </a:lnTo>
                <a:lnTo>
                  <a:pt x="129" y="11"/>
                </a:lnTo>
                <a:lnTo>
                  <a:pt x="123" y="8"/>
                </a:lnTo>
                <a:lnTo>
                  <a:pt x="117" y="5"/>
                </a:lnTo>
                <a:lnTo>
                  <a:pt x="111" y="3"/>
                </a:lnTo>
                <a:lnTo>
                  <a:pt x="104" y="1"/>
                </a:lnTo>
                <a:lnTo>
                  <a:pt x="97" y="0"/>
                </a:lnTo>
                <a:lnTo>
                  <a:pt x="90" y="0"/>
                </a:lnTo>
                <a:lnTo>
                  <a:pt x="70" y="0"/>
                </a:lnTo>
                <a:lnTo>
                  <a:pt x="70" y="0"/>
                </a:lnTo>
                <a:lnTo>
                  <a:pt x="63" y="0"/>
                </a:lnTo>
                <a:lnTo>
                  <a:pt x="55" y="1"/>
                </a:lnTo>
                <a:lnTo>
                  <a:pt x="49" y="3"/>
                </a:lnTo>
                <a:lnTo>
                  <a:pt x="43" y="5"/>
                </a:lnTo>
                <a:lnTo>
                  <a:pt x="36" y="8"/>
                </a:lnTo>
                <a:lnTo>
                  <a:pt x="31" y="11"/>
                </a:lnTo>
                <a:lnTo>
                  <a:pt x="26" y="15"/>
                </a:lnTo>
                <a:lnTo>
                  <a:pt x="21" y="20"/>
                </a:lnTo>
                <a:lnTo>
                  <a:pt x="16" y="25"/>
                </a:lnTo>
                <a:lnTo>
                  <a:pt x="12" y="30"/>
                </a:lnTo>
                <a:lnTo>
                  <a:pt x="9" y="36"/>
                </a:lnTo>
                <a:lnTo>
                  <a:pt x="6" y="43"/>
                </a:lnTo>
                <a:lnTo>
                  <a:pt x="4" y="49"/>
                </a:lnTo>
                <a:lnTo>
                  <a:pt x="2" y="56"/>
                </a:lnTo>
                <a:lnTo>
                  <a:pt x="1" y="63"/>
                </a:lnTo>
                <a:lnTo>
                  <a:pt x="0" y="70"/>
                </a:lnTo>
                <a:lnTo>
                  <a:pt x="0" y="89"/>
                </a:lnTo>
                <a:lnTo>
                  <a:pt x="0" y="89"/>
                </a:lnTo>
                <a:lnTo>
                  <a:pt x="1" y="96"/>
                </a:lnTo>
                <a:lnTo>
                  <a:pt x="2" y="103"/>
                </a:lnTo>
                <a:lnTo>
                  <a:pt x="4" y="110"/>
                </a:lnTo>
                <a:lnTo>
                  <a:pt x="6" y="116"/>
                </a:lnTo>
                <a:lnTo>
                  <a:pt x="9" y="122"/>
                </a:lnTo>
                <a:lnTo>
                  <a:pt x="12" y="129"/>
                </a:lnTo>
                <a:lnTo>
                  <a:pt x="16" y="134"/>
                </a:lnTo>
                <a:lnTo>
                  <a:pt x="21" y="139"/>
                </a:lnTo>
                <a:lnTo>
                  <a:pt x="26" y="144"/>
                </a:lnTo>
                <a:lnTo>
                  <a:pt x="31" y="147"/>
                </a:lnTo>
                <a:lnTo>
                  <a:pt x="36" y="151"/>
                </a:lnTo>
                <a:lnTo>
                  <a:pt x="43" y="154"/>
                </a:lnTo>
                <a:lnTo>
                  <a:pt x="49" y="156"/>
                </a:lnTo>
                <a:lnTo>
                  <a:pt x="55" y="158"/>
                </a:lnTo>
                <a:lnTo>
                  <a:pt x="63" y="159"/>
                </a:lnTo>
                <a:lnTo>
                  <a:pt x="70" y="159"/>
                </a:lnTo>
                <a:lnTo>
                  <a:pt x="90" y="159"/>
                </a:lnTo>
                <a:lnTo>
                  <a:pt x="90" y="159"/>
                </a:lnTo>
                <a:lnTo>
                  <a:pt x="97" y="159"/>
                </a:lnTo>
                <a:lnTo>
                  <a:pt x="104" y="158"/>
                </a:lnTo>
                <a:lnTo>
                  <a:pt x="111" y="156"/>
                </a:lnTo>
                <a:lnTo>
                  <a:pt x="117" y="154"/>
                </a:lnTo>
                <a:lnTo>
                  <a:pt x="123" y="151"/>
                </a:lnTo>
                <a:lnTo>
                  <a:pt x="129" y="147"/>
                </a:lnTo>
                <a:lnTo>
                  <a:pt x="134" y="144"/>
                </a:lnTo>
                <a:lnTo>
                  <a:pt x="139" y="139"/>
                </a:lnTo>
                <a:lnTo>
                  <a:pt x="143" y="134"/>
                </a:lnTo>
                <a:lnTo>
                  <a:pt x="147"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29" name="Freeform 2201"/>
          <p:cNvSpPr>
            <a:spLocks/>
          </p:cNvSpPr>
          <p:nvPr/>
        </p:nvSpPr>
        <p:spPr bwMode="auto">
          <a:xfrm>
            <a:off x="2343152" y="5081524"/>
            <a:ext cx="42863" cy="42862"/>
          </a:xfrm>
          <a:custGeom>
            <a:avLst/>
            <a:gdLst>
              <a:gd name="T0" fmla="*/ 160 w 160"/>
              <a:gd name="T1" fmla="*/ 70 h 159"/>
              <a:gd name="T2" fmla="*/ 159 w 160"/>
              <a:gd name="T3" fmla="*/ 56 h 159"/>
              <a:gd name="T4" fmla="*/ 155 w 160"/>
              <a:gd name="T5" fmla="*/ 43 h 159"/>
              <a:gd name="T6" fmla="*/ 148 w 160"/>
              <a:gd name="T7" fmla="*/ 30 h 159"/>
              <a:gd name="T8" fmla="*/ 140 w 160"/>
              <a:gd name="T9" fmla="*/ 20 h 159"/>
              <a:gd name="T10" fmla="*/ 129 w 160"/>
              <a:gd name="T11" fmla="*/ 11 h 159"/>
              <a:gd name="T12" fmla="*/ 117 w 160"/>
              <a:gd name="T13" fmla="*/ 5 h 159"/>
              <a:gd name="T14" fmla="*/ 104 w 160"/>
              <a:gd name="T15" fmla="*/ 1 h 159"/>
              <a:gd name="T16" fmla="*/ 90 w 160"/>
              <a:gd name="T17" fmla="*/ 0 h 159"/>
              <a:gd name="T18" fmla="*/ 70 w 160"/>
              <a:gd name="T19" fmla="*/ 0 h 159"/>
              <a:gd name="T20" fmla="*/ 56 w 160"/>
              <a:gd name="T21" fmla="*/ 1 h 159"/>
              <a:gd name="T22" fmla="*/ 43 w 160"/>
              <a:gd name="T23" fmla="*/ 5 h 159"/>
              <a:gd name="T24" fmla="*/ 31 w 160"/>
              <a:gd name="T25" fmla="*/ 11 h 159"/>
              <a:gd name="T26" fmla="*/ 21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1 w 160"/>
              <a:gd name="T45" fmla="*/ 139 h 159"/>
              <a:gd name="T46" fmla="*/ 31 w 160"/>
              <a:gd name="T47" fmla="*/ 147 h 159"/>
              <a:gd name="T48" fmla="*/ 43 w 160"/>
              <a:gd name="T49" fmla="*/ 154 h 159"/>
              <a:gd name="T50" fmla="*/ 56 w 160"/>
              <a:gd name="T51" fmla="*/ 158 h 159"/>
              <a:gd name="T52" fmla="*/ 70 w 160"/>
              <a:gd name="T53" fmla="*/ 159 h 159"/>
              <a:gd name="T54" fmla="*/ 90 w 160"/>
              <a:gd name="T55" fmla="*/ 159 h 159"/>
              <a:gd name="T56" fmla="*/ 104 w 160"/>
              <a:gd name="T57" fmla="*/ 158 h 159"/>
              <a:gd name="T58" fmla="*/ 117 w 160"/>
              <a:gd name="T59" fmla="*/ 154 h 159"/>
              <a:gd name="T60" fmla="*/ 129 w 160"/>
              <a:gd name="T61" fmla="*/ 147 h 159"/>
              <a:gd name="T62" fmla="*/ 140 w 160"/>
              <a:gd name="T63" fmla="*/ 139 h 159"/>
              <a:gd name="T64" fmla="*/ 148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8" y="30"/>
                </a:lnTo>
                <a:lnTo>
                  <a:pt x="144" y="25"/>
                </a:lnTo>
                <a:lnTo>
                  <a:pt x="140" y="20"/>
                </a:lnTo>
                <a:lnTo>
                  <a:pt x="135" y="15"/>
                </a:lnTo>
                <a:lnTo>
                  <a:pt x="129" y="11"/>
                </a:lnTo>
                <a:lnTo>
                  <a:pt x="123" y="8"/>
                </a:lnTo>
                <a:lnTo>
                  <a:pt x="117" y="5"/>
                </a:lnTo>
                <a:lnTo>
                  <a:pt x="111" y="3"/>
                </a:lnTo>
                <a:lnTo>
                  <a:pt x="104" y="1"/>
                </a:lnTo>
                <a:lnTo>
                  <a:pt x="97" y="0"/>
                </a:lnTo>
                <a:lnTo>
                  <a:pt x="90" y="0"/>
                </a:lnTo>
                <a:lnTo>
                  <a:pt x="70" y="0"/>
                </a:lnTo>
                <a:lnTo>
                  <a:pt x="70" y="0"/>
                </a:lnTo>
                <a:lnTo>
                  <a:pt x="63" y="0"/>
                </a:lnTo>
                <a:lnTo>
                  <a:pt x="56" y="1"/>
                </a:lnTo>
                <a:lnTo>
                  <a:pt x="50" y="3"/>
                </a:lnTo>
                <a:lnTo>
                  <a:pt x="43" y="5"/>
                </a:lnTo>
                <a:lnTo>
                  <a:pt x="36" y="8"/>
                </a:lnTo>
                <a:lnTo>
                  <a:pt x="31" y="11"/>
                </a:lnTo>
                <a:lnTo>
                  <a:pt x="25" y="15"/>
                </a:lnTo>
                <a:lnTo>
                  <a:pt x="21" y="20"/>
                </a:lnTo>
                <a:lnTo>
                  <a:pt x="16" y="25"/>
                </a:lnTo>
                <a:lnTo>
                  <a:pt x="12" y="30"/>
                </a:lnTo>
                <a:lnTo>
                  <a:pt x="9" y="36"/>
                </a:lnTo>
                <a:lnTo>
                  <a:pt x="6" y="43"/>
                </a:lnTo>
                <a:lnTo>
                  <a:pt x="4" y="49"/>
                </a:lnTo>
                <a:lnTo>
                  <a:pt x="2" y="56"/>
                </a:lnTo>
                <a:lnTo>
                  <a:pt x="1" y="63"/>
                </a:lnTo>
                <a:lnTo>
                  <a:pt x="0" y="70"/>
                </a:lnTo>
                <a:lnTo>
                  <a:pt x="0" y="89"/>
                </a:lnTo>
                <a:lnTo>
                  <a:pt x="0" y="89"/>
                </a:lnTo>
                <a:lnTo>
                  <a:pt x="1" y="96"/>
                </a:lnTo>
                <a:lnTo>
                  <a:pt x="2" y="103"/>
                </a:lnTo>
                <a:lnTo>
                  <a:pt x="4" y="110"/>
                </a:lnTo>
                <a:lnTo>
                  <a:pt x="6" y="116"/>
                </a:lnTo>
                <a:lnTo>
                  <a:pt x="9" y="122"/>
                </a:lnTo>
                <a:lnTo>
                  <a:pt x="12" y="129"/>
                </a:lnTo>
                <a:lnTo>
                  <a:pt x="16" y="134"/>
                </a:lnTo>
                <a:lnTo>
                  <a:pt x="21" y="139"/>
                </a:lnTo>
                <a:lnTo>
                  <a:pt x="25" y="144"/>
                </a:lnTo>
                <a:lnTo>
                  <a:pt x="31" y="147"/>
                </a:lnTo>
                <a:lnTo>
                  <a:pt x="36" y="151"/>
                </a:lnTo>
                <a:lnTo>
                  <a:pt x="43" y="154"/>
                </a:lnTo>
                <a:lnTo>
                  <a:pt x="50" y="156"/>
                </a:lnTo>
                <a:lnTo>
                  <a:pt x="56" y="158"/>
                </a:lnTo>
                <a:lnTo>
                  <a:pt x="63" y="159"/>
                </a:lnTo>
                <a:lnTo>
                  <a:pt x="70" y="159"/>
                </a:lnTo>
                <a:lnTo>
                  <a:pt x="90" y="159"/>
                </a:lnTo>
                <a:lnTo>
                  <a:pt x="90" y="159"/>
                </a:lnTo>
                <a:lnTo>
                  <a:pt x="97" y="159"/>
                </a:lnTo>
                <a:lnTo>
                  <a:pt x="104" y="158"/>
                </a:lnTo>
                <a:lnTo>
                  <a:pt x="111" y="156"/>
                </a:lnTo>
                <a:lnTo>
                  <a:pt x="117" y="154"/>
                </a:lnTo>
                <a:lnTo>
                  <a:pt x="123" y="151"/>
                </a:lnTo>
                <a:lnTo>
                  <a:pt x="129" y="147"/>
                </a:lnTo>
                <a:lnTo>
                  <a:pt x="135" y="144"/>
                </a:lnTo>
                <a:lnTo>
                  <a:pt x="140" y="139"/>
                </a:lnTo>
                <a:lnTo>
                  <a:pt x="144" y="134"/>
                </a:lnTo>
                <a:lnTo>
                  <a:pt x="148"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0" name="Freeform 2202"/>
          <p:cNvSpPr>
            <a:spLocks/>
          </p:cNvSpPr>
          <p:nvPr/>
        </p:nvSpPr>
        <p:spPr bwMode="auto">
          <a:xfrm>
            <a:off x="2441577" y="5081524"/>
            <a:ext cx="42863" cy="42862"/>
          </a:xfrm>
          <a:custGeom>
            <a:avLst/>
            <a:gdLst>
              <a:gd name="T0" fmla="*/ 160 w 160"/>
              <a:gd name="T1" fmla="*/ 70 h 159"/>
              <a:gd name="T2" fmla="*/ 159 w 160"/>
              <a:gd name="T3" fmla="*/ 56 h 159"/>
              <a:gd name="T4" fmla="*/ 155 w 160"/>
              <a:gd name="T5" fmla="*/ 43 h 159"/>
              <a:gd name="T6" fmla="*/ 148 w 160"/>
              <a:gd name="T7" fmla="*/ 30 h 159"/>
              <a:gd name="T8" fmla="*/ 140 w 160"/>
              <a:gd name="T9" fmla="*/ 20 h 159"/>
              <a:gd name="T10" fmla="*/ 130 w 160"/>
              <a:gd name="T11" fmla="*/ 11 h 159"/>
              <a:gd name="T12" fmla="*/ 118 w 160"/>
              <a:gd name="T13" fmla="*/ 5 h 159"/>
              <a:gd name="T14" fmla="*/ 104 w 160"/>
              <a:gd name="T15" fmla="*/ 1 h 159"/>
              <a:gd name="T16" fmla="*/ 90 w 160"/>
              <a:gd name="T17" fmla="*/ 0 h 159"/>
              <a:gd name="T18" fmla="*/ 70 w 160"/>
              <a:gd name="T19" fmla="*/ 0 h 159"/>
              <a:gd name="T20" fmla="*/ 56 w 160"/>
              <a:gd name="T21" fmla="*/ 1 h 159"/>
              <a:gd name="T22" fmla="*/ 44 w 160"/>
              <a:gd name="T23" fmla="*/ 5 h 159"/>
              <a:gd name="T24" fmla="*/ 32 w 160"/>
              <a:gd name="T25" fmla="*/ 11 h 159"/>
              <a:gd name="T26" fmla="*/ 21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1 w 160"/>
              <a:gd name="T45" fmla="*/ 139 h 159"/>
              <a:gd name="T46" fmla="*/ 32 w 160"/>
              <a:gd name="T47" fmla="*/ 147 h 159"/>
              <a:gd name="T48" fmla="*/ 44 w 160"/>
              <a:gd name="T49" fmla="*/ 154 h 159"/>
              <a:gd name="T50" fmla="*/ 56 w 160"/>
              <a:gd name="T51" fmla="*/ 158 h 159"/>
              <a:gd name="T52" fmla="*/ 70 w 160"/>
              <a:gd name="T53" fmla="*/ 159 h 159"/>
              <a:gd name="T54" fmla="*/ 90 w 160"/>
              <a:gd name="T55" fmla="*/ 159 h 159"/>
              <a:gd name="T56" fmla="*/ 104 w 160"/>
              <a:gd name="T57" fmla="*/ 158 h 159"/>
              <a:gd name="T58" fmla="*/ 118 w 160"/>
              <a:gd name="T59" fmla="*/ 154 h 159"/>
              <a:gd name="T60" fmla="*/ 130 w 160"/>
              <a:gd name="T61" fmla="*/ 147 h 159"/>
              <a:gd name="T62" fmla="*/ 140 w 160"/>
              <a:gd name="T63" fmla="*/ 139 h 159"/>
              <a:gd name="T64" fmla="*/ 148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8" y="30"/>
                </a:lnTo>
                <a:lnTo>
                  <a:pt x="144" y="25"/>
                </a:lnTo>
                <a:lnTo>
                  <a:pt x="140" y="20"/>
                </a:lnTo>
                <a:lnTo>
                  <a:pt x="135" y="15"/>
                </a:lnTo>
                <a:lnTo>
                  <a:pt x="130" y="11"/>
                </a:lnTo>
                <a:lnTo>
                  <a:pt x="124" y="8"/>
                </a:lnTo>
                <a:lnTo>
                  <a:pt x="118" y="5"/>
                </a:lnTo>
                <a:lnTo>
                  <a:pt x="111" y="3"/>
                </a:lnTo>
                <a:lnTo>
                  <a:pt x="104" y="1"/>
                </a:lnTo>
                <a:lnTo>
                  <a:pt x="97" y="0"/>
                </a:lnTo>
                <a:lnTo>
                  <a:pt x="90" y="0"/>
                </a:lnTo>
                <a:lnTo>
                  <a:pt x="70" y="0"/>
                </a:lnTo>
                <a:lnTo>
                  <a:pt x="70" y="0"/>
                </a:lnTo>
                <a:lnTo>
                  <a:pt x="63" y="0"/>
                </a:lnTo>
                <a:lnTo>
                  <a:pt x="56" y="1"/>
                </a:lnTo>
                <a:lnTo>
                  <a:pt x="50" y="3"/>
                </a:lnTo>
                <a:lnTo>
                  <a:pt x="44" y="5"/>
                </a:lnTo>
                <a:lnTo>
                  <a:pt x="37" y="8"/>
                </a:lnTo>
                <a:lnTo>
                  <a:pt x="32" y="11"/>
                </a:lnTo>
                <a:lnTo>
                  <a:pt x="26" y="15"/>
                </a:lnTo>
                <a:lnTo>
                  <a:pt x="21" y="20"/>
                </a:lnTo>
                <a:lnTo>
                  <a:pt x="16" y="25"/>
                </a:lnTo>
                <a:lnTo>
                  <a:pt x="12" y="30"/>
                </a:lnTo>
                <a:lnTo>
                  <a:pt x="9" y="36"/>
                </a:lnTo>
                <a:lnTo>
                  <a:pt x="6" y="43"/>
                </a:lnTo>
                <a:lnTo>
                  <a:pt x="4" y="49"/>
                </a:lnTo>
                <a:lnTo>
                  <a:pt x="2" y="56"/>
                </a:lnTo>
                <a:lnTo>
                  <a:pt x="1" y="63"/>
                </a:lnTo>
                <a:lnTo>
                  <a:pt x="0" y="70"/>
                </a:lnTo>
                <a:lnTo>
                  <a:pt x="0" y="89"/>
                </a:lnTo>
                <a:lnTo>
                  <a:pt x="0" y="89"/>
                </a:lnTo>
                <a:lnTo>
                  <a:pt x="1" y="96"/>
                </a:lnTo>
                <a:lnTo>
                  <a:pt x="2" y="103"/>
                </a:lnTo>
                <a:lnTo>
                  <a:pt x="4" y="110"/>
                </a:lnTo>
                <a:lnTo>
                  <a:pt x="6" y="116"/>
                </a:lnTo>
                <a:lnTo>
                  <a:pt x="9" y="122"/>
                </a:lnTo>
                <a:lnTo>
                  <a:pt x="12" y="129"/>
                </a:lnTo>
                <a:lnTo>
                  <a:pt x="16" y="134"/>
                </a:lnTo>
                <a:lnTo>
                  <a:pt x="21" y="139"/>
                </a:lnTo>
                <a:lnTo>
                  <a:pt x="26" y="144"/>
                </a:lnTo>
                <a:lnTo>
                  <a:pt x="32" y="147"/>
                </a:lnTo>
                <a:lnTo>
                  <a:pt x="37" y="151"/>
                </a:lnTo>
                <a:lnTo>
                  <a:pt x="44" y="154"/>
                </a:lnTo>
                <a:lnTo>
                  <a:pt x="50" y="156"/>
                </a:lnTo>
                <a:lnTo>
                  <a:pt x="56" y="158"/>
                </a:lnTo>
                <a:lnTo>
                  <a:pt x="63" y="159"/>
                </a:lnTo>
                <a:lnTo>
                  <a:pt x="70" y="159"/>
                </a:lnTo>
                <a:lnTo>
                  <a:pt x="90" y="159"/>
                </a:lnTo>
                <a:lnTo>
                  <a:pt x="90" y="159"/>
                </a:lnTo>
                <a:lnTo>
                  <a:pt x="97" y="159"/>
                </a:lnTo>
                <a:lnTo>
                  <a:pt x="104" y="158"/>
                </a:lnTo>
                <a:lnTo>
                  <a:pt x="111" y="156"/>
                </a:lnTo>
                <a:lnTo>
                  <a:pt x="118" y="154"/>
                </a:lnTo>
                <a:lnTo>
                  <a:pt x="124" y="151"/>
                </a:lnTo>
                <a:lnTo>
                  <a:pt x="130" y="147"/>
                </a:lnTo>
                <a:lnTo>
                  <a:pt x="135" y="144"/>
                </a:lnTo>
                <a:lnTo>
                  <a:pt x="140" y="139"/>
                </a:lnTo>
                <a:lnTo>
                  <a:pt x="144" y="134"/>
                </a:lnTo>
                <a:lnTo>
                  <a:pt x="148"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1" name="Freeform 2203"/>
          <p:cNvSpPr>
            <a:spLocks/>
          </p:cNvSpPr>
          <p:nvPr/>
        </p:nvSpPr>
        <p:spPr bwMode="auto">
          <a:xfrm>
            <a:off x="2540002" y="5081524"/>
            <a:ext cx="42863" cy="42862"/>
          </a:xfrm>
          <a:custGeom>
            <a:avLst/>
            <a:gdLst>
              <a:gd name="T0" fmla="*/ 160 w 160"/>
              <a:gd name="T1" fmla="*/ 70 h 159"/>
              <a:gd name="T2" fmla="*/ 159 w 160"/>
              <a:gd name="T3" fmla="*/ 56 h 159"/>
              <a:gd name="T4" fmla="*/ 155 w 160"/>
              <a:gd name="T5" fmla="*/ 43 h 159"/>
              <a:gd name="T6" fmla="*/ 148 w 160"/>
              <a:gd name="T7" fmla="*/ 30 h 159"/>
              <a:gd name="T8" fmla="*/ 140 w 160"/>
              <a:gd name="T9" fmla="*/ 20 h 159"/>
              <a:gd name="T10" fmla="*/ 130 w 160"/>
              <a:gd name="T11" fmla="*/ 11 h 159"/>
              <a:gd name="T12" fmla="*/ 118 w 160"/>
              <a:gd name="T13" fmla="*/ 5 h 159"/>
              <a:gd name="T14" fmla="*/ 105 w 160"/>
              <a:gd name="T15" fmla="*/ 1 h 159"/>
              <a:gd name="T16" fmla="*/ 90 w 160"/>
              <a:gd name="T17" fmla="*/ 0 h 159"/>
              <a:gd name="T18" fmla="*/ 70 w 160"/>
              <a:gd name="T19" fmla="*/ 0 h 159"/>
              <a:gd name="T20" fmla="*/ 56 w 160"/>
              <a:gd name="T21" fmla="*/ 1 h 159"/>
              <a:gd name="T22" fmla="*/ 43 w 160"/>
              <a:gd name="T23" fmla="*/ 5 h 159"/>
              <a:gd name="T24" fmla="*/ 32 w 160"/>
              <a:gd name="T25" fmla="*/ 11 h 159"/>
              <a:gd name="T26" fmla="*/ 22 w 160"/>
              <a:gd name="T27" fmla="*/ 20 h 159"/>
              <a:gd name="T28" fmla="*/ 13 w 160"/>
              <a:gd name="T29" fmla="*/ 30 h 159"/>
              <a:gd name="T30" fmla="*/ 7 w 160"/>
              <a:gd name="T31" fmla="*/ 43 h 159"/>
              <a:gd name="T32" fmla="*/ 2 w 160"/>
              <a:gd name="T33" fmla="*/ 56 h 159"/>
              <a:gd name="T34" fmla="*/ 0 w 160"/>
              <a:gd name="T35" fmla="*/ 70 h 159"/>
              <a:gd name="T36" fmla="*/ 0 w 160"/>
              <a:gd name="T37" fmla="*/ 89 h 159"/>
              <a:gd name="T38" fmla="*/ 2 w 160"/>
              <a:gd name="T39" fmla="*/ 103 h 159"/>
              <a:gd name="T40" fmla="*/ 7 w 160"/>
              <a:gd name="T41" fmla="*/ 116 h 159"/>
              <a:gd name="T42" fmla="*/ 13 w 160"/>
              <a:gd name="T43" fmla="*/ 129 h 159"/>
              <a:gd name="T44" fmla="*/ 22 w 160"/>
              <a:gd name="T45" fmla="*/ 139 h 159"/>
              <a:gd name="T46" fmla="*/ 32 w 160"/>
              <a:gd name="T47" fmla="*/ 147 h 159"/>
              <a:gd name="T48" fmla="*/ 43 w 160"/>
              <a:gd name="T49" fmla="*/ 154 h 159"/>
              <a:gd name="T50" fmla="*/ 56 w 160"/>
              <a:gd name="T51" fmla="*/ 158 h 159"/>
              <a:gd name="T52" fmla="*/ 70 w 160"/>
              <a:gd name="T53" fmla="*/ 159 h 159"/>
              <a:gd name="T54" fmla="*/ 90 w 160"/>
              <a:gd name="T55" fmla="*/ 159 h 159"/>
              <a:gd name="T56" fmla="*/ 105 w 160"/>
              <a:gd name="T57" fmla="*/ 158 h 159"/>
              <a:gd name="T58" fmla="*/ 118 w 160"/>
              <a:gd name="T59" fmla="*/ 154 h 159"/>
              <a:gd name="T60" fmla="*/ 130 w 160"/>
              <a:gd name="T61" fmla="*/ 147 h 159"/>
              <a:gd name="T62" fmla="*/ 140 w 160"/>
              <a:gd name="T63" fmla="*/ 139 h 159"/>
              <a:gd name="T64" fmla="*/ 148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8" y="30"/>
                </a:lnTo>
                <a:lnTo>
                  <a:pt x="144" y="25"/>
                </a:lnTo>
                <a:lnTo>
                  <a:pt x="140" y="20"/>
                </a:lnTo>
                <a:lnTo>
                  <a:pt x="135" y="15"/>
                </a:lnTo>
                <a:lnTo>
                  <a:pt x="130" y="11"/>
                </a:lnTo>
                <a:lnTo>
                  <a:pt x="124" y="8"/>
                </a:lnTo>
                <a:lnTo>
                  <a:pt x="118" y="5"/>
                </a:lnTo>
                <a:lnTo>
                  <a:pt x="112" y="3"/>
                </a:lnTo>
                <a:lnTo>
                  <a:pt x="105" y="1"/>
                </a:lnTo>
                <a:lnTo>
                  <a:pt x="98" y="0"/>
                </a:lnTo>
                <a:lnTo>
                  <a:pt x="90" y="0"/>
                </a:lnTo>
                <a:lnTo>
                  <a:pt x="70" y="0"/>
                </a:lnTo>
                <a:lnTo>
                  <a:pt x="70" y="0"/>
                </a:lnTo>
                <a:lnTo>
                  <a:pt x="63" y="0"/>
                </a:lnTo>
                <a:lnTo>
                  <a:pt x="56" y="1"/>
                </a:lnTo>
                <a:lnTo>
                  <a:pt x="50" y="3"/>
                </a:lnTo>
                <a:lnTo>
                  <a:pt x="43" y="5"/>
                </a:lnTo>
                <a:lnTo>
                  <a:pt x="37" y="8"/>
                </a:lnTo>
                <a:lnTo>
                  <a:pt x="32" y="11"/>
                </a:lnTo>
                <a:lnTo>
                  <a:pt x="26" y="15"/>
                </a:lnTo>
                <a:lnTo>
                  <a:pt x="22" y="20"/>
                </a:lnTo>
                <a:lnTo>
                  <a:pt x="17" y="25"/>
                </a:lnTo>
                <a:lnTo>
                  <a:pt x="13" y="30"/>
                </a:lnTo>
                <a:lnTo>
                  <a:pt x="10" y="36"/>
                </a:lnTo>
                <a:lnTo>
                  <a:pt x="7" y="43"/>
                </a:lnTo>
                <a:lnTo>
                  <a:pt x="3" y="49"/>
                </a:lnTo>
                <a:lnTo>
                  <a:pt x="2" y="56"/>
                </a:lnTo>
                <a:lnTo>
                  <a:pt x="1" y="63"/>
                </a:lnTo>
                <a:lnTo>
                  <a:pt x="0" y="70"/>
                </a:lnTo>
                <a:lnTo>
                  <a:pt x="0" y="89"/>
                </a:lnTo>
                <a:lnTo>
                  <a:pt x="0" y="89"/>
                </a:lnTo>
                <a:lnTo>
                  <a:pt x="1" y="96"/>
                </a:lnTo>
                <a:lnTo>
                  <a:pt x="2" y="103"/>
                </a:lnTo>
                <a:lnTo>
                  <a:pt x="3" y="110"/>
                </a:lnTo>
                <a:lnTo>
                  <a:pt x="7" y="116"/>
                </a:lnTo>
                <a:lnTo>
                  <a:pt x="10" y="122"/>
                </a:lnTo>
                <a:lnTo>
                  <a:pt x="13" y="129"/>
                </a:lnTo>
                <a:lnTo>
                  <a:pt x="17" y="134"/>
                </a:lnTo>
                <a:lnTo>
                  <a:pt x="22" y="139"/>
                </a:lnTo>
                <a:lnTo>
                  <a:pt x="26" y="144"/>
                </a:lnTo>
                <a:lnTo>
                  <a:pt x="32" y="147"/>
                </a:lnTo>
                <a:lnTo>
                  <a:pt x="37" y="151"/>
                </a:lnTo>
                <a:lnTo>
                  <a:pt x="43" y="154"/>
                </a:lnTo>
                <a:lnTo>
                  <a:pt x="50" y="156"/>
                </a:lnTo>
                <a:lnTo>
                  <a:pt x="56" y="158"/>
                </a:lnTo>
                <a:lnTo>
                  <a:pt x="63" y="159"/>
                </a:lnTo>
                <a:lnTo>
                  <a:pt x="70" y="159"/>
                </a:lnTo>
                <a:lnTo>
                  <a:pt x="90" y="159"/>
                </a:lnTo>
                <a:lnTo>
                  <a:pt x="90" y="159"/>
                </a:lnTo>
                <a:lnTo>
                  <a:pt x="98" y="159"/>
                </a:lnTo>
                <a:lnTo>
                  <a:pt x="105" y="158"/>
                </a:lnTo>
                <a:lnTo>
                  <a:pt x="112" y="156"/>
                </a:lnTo>
                <a:lnTo>
                  <a:pt x="118" y="154"/>
                </a:lnTo>
                <a:lnTo>
                  <a:pt x="124" y="151"/>
                </a:lnTo>
                <a:lnTo>
                  <a:pt x="130" y="147"/>
                </a:lnTo>
                <a:lnTo>
                  <a:pt x="135" y="144"/>
                </a:lnTo>
                <a:lnTo>
                  <a:pt x="140" y="139"/>
                </a:lnTo>
                <a:lnTo>
                  <a:pt x="144" y="134"/>
                </a:lnTo>
                <a:lnTo>
                  <a:pt x="148"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2" name="Freeform 2204"/>
          <p:cNvSpPr>
            <a:spLocks/>
          </p:cNvSpPr>
          <p:nvPr/>
        </p:nvSpPr>
        <p:spPr bwMode="auto">
          <a:xfrm>
            <a:off x="2638427" y="5081524"/>
            <a:ext cx="42863" cy="42862"/>
          </a:xfrm>
          <a:custGeom>
            <a:avLst/>
            <a:gdLst>
              <a:gd name="T0" fmla="*/ 159 w 159"/>
              <a:gd name="T1" fmla="*/ 70 h 159"/>
              <a:gd name="T2" fmla="*/ 158 w 159"/>
              <a:gd name="T3" fmla="*/ 56 h 159"/>
              <a:gd name="T4" fmla="*/ 154 w 159"/>
              <a:gd name="T5" fmla="*/ 43 h 159"/>
              <a:gd name="T6" fmla="*/ 147 w 159"/>
              <a:gd name="T7" fmla="*/ 30 h 159"/>
              <a:gd name="T8" fmla="*/ 139 w 159"/>
              <a:gd name="T9" fmla="*/ 20 h 159"/>
              <a:gd name="T10" fmla="*/ 129 w 159"/>
              <a:gd name="T11" fmla="*/ 11 h 159"/>
              <a:gd name="T12" fmla="*/ 117 w 159"/>
              <a:gd name="T13" fmla="*/ 5 h 159"/>
              <a:gd name="T14" fmla="*/ 104 w 159"/>
              <a:gd name="T15" fmla="*/ 1 h 159"/>
              <a:gd name="T16" fmla="*/ 90 w 159"/>
              <a:gd name="T17" fmla="*/ 0 h 159"/>
              <a:gd name="T18" fmla="*/ 69 w 159"/>
              <a:gd name="T19" fmla="*/ 0 h 159"/>
              <a:gd name="T20" fmla="*/ 55 w 159"/>
              <a:gd name="T21" fmla="*/ 1 h 159"/>
              <a:gd name="T22" fmla="*/ 42 w 159"/>
              <a:gd name="T23" fmla="*/ 5 h 159"/>
              <a:gd name="T24" fmla="*/ 31 w 159"/>
              <a:gd name="T25" fmla="*/ 11 h 159"/>
              <a:gd name="T26" fmla="*/ 21 w 159"/>
              <a:gd name="T27" fmla="*/ 20 h 159"/>
              <a:gd name="T28" fmla="*/ 12 w 159"/>
              <a:gd name="T29" fmla="*/ 30 h 159"/>
              <a:gd name="T30" fmla="*/ 6 w 159"/>
              <a:gd name="T31" fmla="*/ 43 h 159"/>
              <a:gd name="T32" fmla="*/ 2 w 159"/>
              <a:gd name="T33" fmla="*/ 56 h 159"/>
              <a:gd name="T34" fmla="*/ 0 w 159"/>
              <a:gd name="T35" fmla="*/ 70 h 159"/>
              <a:gd name="T36" fmla="*/ 0 w 159"/>
              <a:gd name="T37" fmla="*/ 89 h 159"/>
              <a:gd name="T38" fmla="*/ 2 w 159"/>
              <a:gd name="T39" fmla="*/ 103 h 159"/>
              <a:gd name="T40" fmla="*/ 6 w 159"/>
              <a:gd name="T41" fmla="*/ 116 h 159"/>
              <a:gd name="T42" fmla="*/ 12 w 159"/>
              <a:gd name="T43" fmla="*/ 129 h 159"/>
              <a:gd name="T44" fmla="*/ 21 w 159"/>
              <a:gd name="T45" fmla="*/ 139 h 159"/>
              <a:gd name="T46" fmla="*/ 31 w 159"/>
              <a:gd name="T47" fmla="*/ 147 h 159"/>
              <a:gd name="T48" fmla="*/ 42 w 159"/>
              <a:gd name="T49" fmla="*/ 154 h 159"/>
              <a:gd name="T50" fmla="*/ 55 w 159"/>
              <a:gd name="T51" fmla="*/ 158 h 159"/>
              <a:gd name="T52" fmla="*/ 69 w 159"/>
              <a:gd name="T53" fmla="*/ 159 h 159"/>
              <a:gd name="T54" fmla="*/ 90 w 159"/>
              <a:gd name="T55" fmla="*/ 159 h 159"/>
              <a:gd name="T56" fmla="*/ 104 w 159"/>
              <a:gd name="T57" fmla="*/ 158 h 159"/>
              <a:gd name="T58" fmla="*/ 117 w 159"/>
              <a:gd name="T59" fmla="*/ 154 h 159"/>
              <a:gd name="T60" fmla="*/ 129 w 159"/>
              <a:gd name="T61" fmla="*/ 147 h 159"/>
              <a:gd name="T62" fmla="*/ 139 w 159"/>
              <a:gd name="T63" fmla="*/ 139 h 159"/>
              <a:gd name="T64" fmla="*/ 147 w 159"/>
              <a:gd name="T65" fmla="*/ 129 h 159"/>
              <a:gd name="T66" fmla="*/ 154 w 159"/>
              <a:gd name="T67" fmla="*/ 116 h 159"/>
              <a:gd name="T68" fmla="*/ 158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8" y="56"/>
                </a:lnTo>
                <a:lnTo>
                  <a:pt x="156" y="49"/>
                </a:lnTo>
                <a:lnTo>
                  <a:pt x="154" y="43"/>
                </a:lnTo>
                <a:lnTo>
                  <a:pt x="151" y="36"/>
                </a:lnTo>
                <a:lnTo>
                  <a:pt x="147" y="30"/>
                </a:lnTo>
                <a:lnTo>
                  <a:pt x="143" y="25"/>
                </a:lnTo>
                <a:lnTo>
                  <a:pt x="139" y="20"/>
                </a:lnTo>
                <a:lnTo>
                  <a:pt x="134" y="15"/>
                </a:lnTo>
                <a:lnTo>
                  <a:pt x="129" y="11"/>
                </a:lnTo>
                <a:lnTo>
                  <a:pt x="123" y="8"/>
                </a:lnTo>
                <a:lnTo>
                  <a:pt x="117" y="5"/>
                </a:lnTo>
                <a:lnTo>
                  <a:pt x="111" y="3"/>
                </a:lnTo>
                <a:lnTo>
                  <a:pt x="104" y="1"/>
                </a:lnTo>
                <a:lnTo>
                  <a:pt x="97" y="0"/>
                </a:lnTo>
                <a:lnTo>
                  <a:pt x="90" y="0"/>
                </a:lnTo>
                <a:lnTo>
                  <a:pt x="69" y="0"/>
                </a:lnTo>
                <a:lnTo>
                  <a:pt x="69" y="0"/>
                </a:lnTo>
                <a:lnTo>
                  <a:pt x="62" y="0"/>
                </a:lnTo>
                <a:lnTo>
                  <a:pt x="55" y="1"/>
                </a:lnTo>
                <a:lnTo>
                  <a:pt x="49" y="3"/>
                </a:lnTo>
                <a:lnTo>
                  <a:pt x="42" y="5"/>
                </a:lnTo>
                <a:lnTo>
                  <a:pt x="36" y="8"/>
                </a:lnTo>
                <a:lnTo>
                  <a:pt x="31" y="11"/>
                </a:lnTo>
                <a:lnTo>
                  <a:pt x="25" y="15"/>
                </a:lnTo>
                <a:lnTo>
                  <a:pt x="21" y="20"/>
                </a:lnTo>
                <a:lnTo>
                  <a:pt x="16" y="25"/>
                </a:lnTo>
                <a:lnTo>
                  <a:pt x="12" y="30"/>
                </a:lnTo>
                <a:lnTo>
                  <a:pt x="9" y="36"/>
                </a:lnTo>
                <a:lnTo>
                  <a:pt x="6" y="43"/>
                </a:lnTo>
                <a:lnTo>
                  <a:pt x="3" y="49"/>
                </a:lnTo>
                <a:lnTo>
                  <a:pt x="2" y="56"/>
                </a:lnTo>
                <a:lnTo>
                  <a:pt x="1" y="63"/>
                </a:lnTo>
                <a:lnTo>
                  <a:pt x="0" y="70"/>
                </a:lnTo>
                <a:lnTo>
                  <a:pt x="0" y="89"/>
                </a:lnTo>
                <a:lnTo>
                  <a:pt x="0" y="89"/>
                </a:lnTo>
                <a:lnTo>
                  <a:pt x="1" y="96"/>
                </a:lnTo>
                <a:lnTo>
                  <a:pt x="2" y="103"/>
                </a:lnTo>
                <a:lnTo>
                  <a:pt x="3" y="110"/>
                </a:lnTo>
                <a:lnTo>
                  <a:pt x="6" y="116"/>
                </a:lnTo>
                <a:lnTo>
                  <a:pt x="9" y="122"/>
                </a:lnTo>
                <a:lnTo>
                  <a:pt x="12" y="129"/>
                </a:lnTo>
                <a:lnTo>
                  <a:pt x="16" y="134"/>
                </a:lnTo>
                <a:lnTo>
                  <a:pt x="21" y="139"/>
                </a:lnTo>
                <a:lnTo>
                  <a:pt x="25" y="144"/>
                </a:lnTo>
                <a:lnTo>
                  <a:pt x="31" y="147"/>
                </a:lnTo>
                <a:lnTo>
                  <a:pt x="36" y="151"/>
                </a:lnTo>
                <a:lnTo>
                  <a:pt x="42" y="154"/>
                </a:lnTo>
                <a:lnTo>
                  <a:pt x="49" y="156"/>
                </a:lnTo>
                <a:lnTo>
                  <a:pt x="55" y="158"/>
                </a:lnTo>
                <a:lnTo>
                  <a:pt x="62" y="159"/>
                </a:lnTo>
                <a:lnTo>
                  <a:pt x="69" y="159"/>
                </a:lnTo>
                <a:lnTo>
                  <a:pt x="90" y="159"/>
                </a:lnTo>
                <a:lnTo>
                  <a:pt x="90" y="159"/>
                </a:lnTo>
                <a:lnTo>
                  <a:pt x="97" y="159"/>
                </a:lnTo>
                <a:lnTo>
                  <a:pt x="104" y="158"/>
                </a:lnTo>
                <a:lnTo>
                  <a:pt x="111" y="156"/>
                </a:lnTo>
                <a:lnTo>
                  <a:pt x="117" y="154"/>
                </a:lnTo>
                <a:lnTo>
                  <a:pt x="123" y="151"/>
                </a:lnTo>
                <a:lnTo>
                  <a:pt x="129" y="147"/>
                </a:lnTo>
                <a:lnTo>
                  <a:pt x="134" y="144"/>
                </a:lnTo>
                <a:lnTo>
                  <a:pt x="139" y="139"/>
                </a:lnTo>
                <a:lnTo>
                  <a:pt x="143" y="134"/>
                </a:lnTo>
                <a:lnTo>
                  <a:pt x="147" y="129"/>
                </a:lnTo>
                <a:lnTo>
                  <a:pt x="151" y="122"/>
                </a:lnTo>
                <a:lnTo>
                  <a:pt x="154" y="116"/>
                </a:lnTo>
                <a:lnTo>
                  <a:pt x="156" y="110"/>
                </a:lnTo>
                <a:lnTo>
                  <a:pt x="158"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3" name="Freeform 2205"/>
          <p:cNvSpPr>
            <a:spLocks/>
          </p:cNvSpPr>
          <p:nvPr/>
        </p:nvSpPr>
        <p:spPr bwMode="auto">
          <a:xfrm>
            <a:off x="2736852" y="5081524"/>
            <a:ext cx="42863" cy="42862"/>
          </a:xfrm>
          <a:custGeom>
            <a:avLst/>
            <a:gdLst>
              <a:gd name="T0" fmla="*/ 160 w 160"/>
              <a:gd name="T1" fmla="*/ 70 h 159"/>
              <a:gd name="T2" fmla="*/ 159 w 160"/>
              <a:gd name="T3" fmla="*/ 56 h 159"/>
              <a:gd name="T4" fmla="*/ 155 w 160"/>
              <a:gd name="T5" fmla="*/ 43 h 159"/>
              <a:gd name="T6" fmla="*/ 148 w 160"/>
              <a:gd name="T7" fmla="*/ 30 h 159"/>
              <a:gd name="T8" fmla="*/ 139 w 160"/>
              <a:gd name="T9" fmla="*/ 20 h 159"/>
              <a:gd name="T10" fmla="*/ 129 w 160"/>
              <a:gd name="T11" fmla="*/ 11 h 159"/>
              <a:gd name="T12" fmla="*/ 117 w 160"/>
              <a:gd name="T13" fmla="*/ 5 h 159"/>
              <a:gd name="T14" fmla="*/ 104 w 160"/>
              <a:gd name="T15" fmla="*/ 1 h 159"/>
              <a:gd name="T16" fmla="*/ 90 w 160"/>
              <a:gd name="T17" fmla="*/ 0 h 159"/>
              <a:gd name="T18" fmla="*/ 70 w 160"/>
              <a:gd name="T19" fmla="*/ 0 h 159"/>
              <a:gd name="T20" fmla="*/ 56 w 160"/>
              <a:gd name="T21" fmla="*/ 1 h 159"/>
              <a:gd name="T22" fmla="*/ 42 w 160"/>
              <a:gd name="T23" fmla="*/ 5 h 159"/>
              <a:gd name="T24" fmla="*/ 31 w 160"/>
              <a:gd name="T25" fmla="*/ 11 h 159"/>
              <a:gd name="T26" fmla="*/ 21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1 w 160"/>
              <a:gd name="T45" fmla="*/ 139 h 159"/>
              <a:gd name="T46" fmla="*/ 31 w 160"/>
              <a:gd name="T47" fmla="*/ 147 h 159"/>
              <a:gd name="T48" fmla="*/ 42 w 160"/>
              <a:gd name="T49" fmla="*/ 154 h 159"/>
              <a:gd name="T50" fmla="*/ 56 w 160"/>
              <a:gd name="T51" fmla="*/ 158 h 159"/>
              <a:gd name="T52" fmla="*/ 70 w 160"/>
              <a:gd name="T53" fmla="*/ 159 h 159"/>
              <a:gd name="T54" fmla="*/ 90 w 160"/>
              <a:gd name="T55" fmla="*/ 159 h 159"/>
              <a:gd name="T56" fmla="*/ 104 w 160"/>
              <a:gd name="T57" fmla="*/ 158 h 159"/>
              <a:gd name="T58" fmla="*/ 117 w 160"/>
              <a:gd name="T59" fmla="*/ 154 h 159"/>
              <a:gd name="T60" fmla="*/ 129 w 160"/>
              <a:gd name="T61" fmla="*/ 147 h 159"/>
              <a:gd name="T62" fmla="*/ 139 w 160"/>
              <a:gd name="T63" fmla="*/ 139 h 159"/>
              <a:gd name="T64" fmla="*/ 148 w 160"/>
              <a:gd name="T65" fmla="*/ 129 h 159"/>
              <a:gd name="T66" fmla="*/ 155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5" y="43"/>
                </a:lnTo>
                <a:lnTo>
                  <a:pt x="152" y="36"/>
                </a:lnTo>
                <a:lnTo>
                  <a:pt x="148" y="30"/>
                </a:lnTo>
                <a:lnTo>
                  <a:pt x="143" y="25"/>
                </a:lnTo>
                <a:lnTo>
                  <a:pt x="139" y="20"/>
                </a:lnTo>
                <a:lnTo>
                  <a:pt x="134" y="15"/>
                </a:lnTo>
                <a:lnTo>
                  <a:pt x="129" y="11"/>
                </a:lnTo>
                <a:lnTo>
                  <a:pt x="123" y="8"/>
                </a:lnTo>
                <a:lnTo>
                  <a:pt x="117" y="5"/>
                </a:lnTo>
                <a:lnTo>
                  <a:pt x="110" y="3"/>
                </a:lnTo>
                <a:lnTo>
                  <a:pt x="104" y="1"/>
                </a:lnTo>
                <a:lnTo>
                  <a:pt x="97" y="0"/>
                </a:lnTo>
                <a:lnTo>
                  <a:pt x="90" y="0"/>
                </a:lnTo>
                <a:lnTo>
                  <a:pt x="70" y="0"/>
                </a:lnTo>
                <a:lnTo>
                  <a:pt x="70" y="0"/>
                </a:lnTo>
                <a:lnTo>
                  <a:pt x="63" y="0"/>
                </a:lnTo>
                <a:lnTo>
                  <a:pt x="56" y="1"/>
                </a:lnTo>
                <a:lnTo>
                  <a:pt x="49" y="3"/>
                </a:lnTo>
                <a:lnTo>
                  <a:pt x="42" y="5"/>
                </a:lnTo>
                <a:lnTo>
                  <a:pt x="36" y="8"/>
                </a:lnTo>
                <a:lnTo>
                  <a:pt x="31" y="11"/>
                </a:lnTo>
                <a:lnTo>
                  <a:pt x="25" y="15"/>
                </a:lnTo>
                <a:lnTo>
                  <a:pt x="21" y="20"/>
                </a:lnTo>
                <a:lnTo>
                  <a:pt x="16" y="25"/>
                </a:lnTo>
                <a:lnTo>
                  <a:pt x="12" y="30"/>
                </a:lnTo>
                <a:lnTo>
                  <a:pt x="9" y="36"/>
                </a:lnTo>
                <a:lnTo>
                  <a:pt x="6" y="43"/>
                </a:lnTo>
                <a:lnTo>
                  <a:pt x="3" y="49"/>
                </a:lnTo>
                <a:lnTo>
                  <a:pt x="2" y="56"/>
                </a:lnTo>
                <a:lnTo>
                  <a:pt x="1" y="63"/>
                </a:lnTo>
                <a:lnTo>
                  <a:pt x="0" y="70"/>
                </a:lnTo>
                <a:lnTo>
                  <a:pt x="0" y="89"/>
                </a:lnTo>
                <a:lnTo>
                  <a:pt x="0" y="89"/>
                </a:lnTo>
                <a:lnTo>
                  <a:pt x="1" y="96"/>
                </a:lnTo>
                <a:lnTo>
                  <a:pt x="2" y="103"/>
                </a:lnTo>
                <a:lnTo>
                  <a:pt x="3" y="110"/>
                </a:lnTo>
                <a:lnTo>
                  <a:pt x="6" y="116"/>
                </a:lnTo>
                <a:lnTo>
                  <a:pt x="9" y="122"/>
                </a:lnTo>
                <a:lnTo>
                  <a:pt x="12" y="129"/>
                </a:lnTo>
                <a:lnTo>
                  <a:pt x="16" y="134"/>
                </a:lnTo>
                <a:lnTo>
                  <a:pt x="21" y="139"/>
                </a:lnTo>
                <a:lnTo>
                  <a:pt x="25" y="144"/>
                </a:lnTo>
                <a:lnTo>
                  <a:pt x="31" y="147"/>
                </a:lnTo>
                <a:lnTo>
                  <a:pt x="36" y="151"/>
                </a:lnTo>
                <a:lnTo>
                  <a:pt x="42" y="154"/>
                </a:lnTo>
                <a:lnTo>
                  <a:pt x="49" y="156"/>
                </a:lnTo>
                <a:lnTo>
                  <a:pt x="56" y="158"/>
                </a:lnTo>
                <a:lnTo>
                  <a:pt x="63" y="159"/>
                </a:lnTo>
                <a:lnTo>
                  <a:pt x="70" y="159"/>
                </a:lnTo>
                <a:lnTo>
                  <a:pt x="90" y="159"/>
                </a:lnTo>
                <a:lnTo>
                  <a:pt x="90" y="159"/>
                </a:lnTo>
                <a:lnTo>
                  <a:pt x="97" y="159"/>
                </a:lnTo>
                <a:lnTo>
                  <a:pt x="104" y="158"/>
                </a:lnTo>
                <a:lnTo>
                  <a:pt x="110" y="156"/>
                </a:lnTo>
                <a:lnTo>
                  <a:pt x="117" y="154"/>
                </a:lnTo>
                <a:lnTo>
                  <a:pt x="123" y="151"/>
                </a:lnTo>
                <a:lnTo>
                  <a:pt x="129" y="147"/>
                </a:lnTo>
                <a:lnTo>
                  <a:pt x="134" y="144"/>
                </a:lnTo>
                <a:lnTo>
                  <a:pt x="139" y="139"/>
                </a:lnTo>
                <a:lnTo>
                  <a:pt x="143" y="134"/>
                </a:lnTo>
                <a:lnTo>
                  <a:pt x="148" y="129"/>
                </a:lnTo>
                <a:lnTo>
                  <a:pt x="152" y="122"/>
                </a:lnTo>
                <a:lnTo>
                  <a:pt x="155"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4" name="Freeform 2206"/>
          <p:cNvSpPr>
            <a:spLocks/>
          </p:cNvSpPr>
          <p:nvPr/>
        </p:nvSpPr>
        <p:spPr bwMode="auto">
          <a:xfrm>
            <a:off x="2836865" y="5081524"/>
            <a:ext cx="41275" cy="42862"/>
          </a:xfrm>
          <a:custGeom>
            <a:avLst/>
            <a:gdLst>
              <a:gd name="T0" fmla="*/ 160 w 160"/>
              <a:gd name="T1" fmla="*/ 70 h 159"/>
              <a:gd name="T2" fmla="*/ 159 w 160"/>
              <a:gd name="T3" fmla="*/ 56 h 159"/>
              <a:gd name="T4" fmla="*/ 154 w 160"/>
              <a:gd name="T5" fmla="*/ 43 h 159"/>
              <a:gd name="T6" fmla="*/ 148 w 160"/>
              <a:gd name="T7" fmla="*/ 30 h 159"/>
              <a:gd name="T8" fmla="*/ 140 w 160"/>
              <a:gd name="T9" fmla="*/ 20 h 159"/>
              <a:gd name="T10" fmla="*/ 130 w 160"/>
              <a:gd name="T11" fmla="*/ 11 h 159"/>
              <a:gd name="T12" fmla="*/ 117 w 160"/>
              <a:gd name="T13" fmla="*/ 5 h 159"/>
              <a:gd name="T14" fmla="*/ 104 w 160"/>
              <a:gd name="T15" fmla="*/ 1 h 159"/>
              <a:gd name="T16" fmla="*/ 90 w 160"/>
              <a:gd name="T17" fmla="*/ 0 h 159"/>
              <a:gd name="T18" fmla="*/ 70 w 160"/>
              <a:gd name="T19" fmla="*/ 0 h 159"/>
              <a:gd name="T20" fmla="*/ 56 w 160"/>
              <a:gd name="T21" fmla="*/ 1 h 159"/>
              <a:gd name="T22" fmla="*/ 43 w 160"/>
              <a:gd name="T23" fmla="*/ 5 h 159"/>
              <a:gd name="T24" fmla="*/ 31 w 160"/>
              <a:gd name="T25" fmla="*/ 11 h 159"/>
              <a:gd name="T26" fmla="*/ 21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1 w 160"/>
              <a:gd name="T45" fmla="*/ 139 h 159"/>
              <a:gd name="T46" fmla="*/ 31 w 160"/>
              <a:gd name="T47" fmla="*/ 147 h 159"/>
              <a:gd name="T48" fmla="*/ 43 w 160"/>
              <a:gd name="T49" fmla="*/ 154 h 159"/>
              <a:gd name="T50" fmla="*/ 56 w 160"/>
              <a:gd name="T51" fmla="*/ 158 h 159"/>
              <a:gd name="T52" fmla="*/ 70 w 160"/>
              <a:gd name="T53" fmla="*/ 159 h 159"/>
              <a:gd name="T54" fmla="*/ 90 w 160"/>
              <a:gd name="T55" fmla="*/ 159 h 159"/>
              <a:gd name="T56" fmla="*/ 104 w 160"/>
              <a:gd name="T57" fmla="*/ 158 h 159"/>
              <a:gd name="T58" fmla="*/ 117 w 160"/>
              <a:gd name="T59" fmla="*/ 154 h 159"/>
              <a:gd name="T60" fmla="*/ 130 w 160"/>
              <a:gd name="T61" fmla="*/ 147 h 159"/>
              <a:gd name="T62" fmla="*/ 140 w 160"/>
              <a:gd name="T63" fmla="*/ 139 h 159"/>
              <a:gd name="T64" fmla="*/ 148 w 160"/>
              <a:gd name="T65" fmla="*/ 129 h 159"/>
              <a:gd name="T66" fmla="*/ 154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4" y="43"/>
                </a:lnTo>
                <a:lnTo>
                  <a:pt x="152" y="36"/>
                </a:lnTo>
                <a:lnTo>
                  <a:pt x="148" y="30"/>
                </a:lnTo>
                <a:lnTo>
                  <a:pt x="144" y="25"/>
                </a:lnTo>
                <a:lnTo>
                  <a:pt x="140" y="20"/>
                </a:lnTo>
                <a:lnTo>
                  <a:pt x="135" y="15"/>
                </a:lnTo>
                <a:lnTo>
                  <a:pt x="130" y="11"/>
                </a:lnTo>
                <a:lnTo>
                  <a:pt x="123" y="8"/>
                </a:lnTo>
                <a:lnTo>
                  <a:pt x="117" y="5"/>
                </a:lnTo>
                <a:lnTo>
                  <a:pt x="110" y="3"/>
                </a:lnTo>
                <a:lnTo>
                  <a:pt x="104" y="1"/>
                </a:lnTo>
                <a:lnTo>
                  <a:pt x="97" y="0"/>
                </a:lnTo>
                <a:lnTo>
                  <a:pt x="90" y="0"/>
                </a:lnTo>
                <a:lnTo>
                  <a:pt x="70" y="0"/>
                </a:lnTo>
                <a:lnTo>
                  <a:pt x="70" y="0"/>
                </a:lnTo>
                <a:lnTo>
                  <a:pt x="63" y="0"/>
                </a:lnTo>
                <a:lnTo>
                  <a:pt x="56" y="1"/>
                </a:lnTo>
                <a:lnTo>
                  <a:pt x="50" y="3"/>
                </a:lnTo>
                <a:lnTo>
                  <a:pt x="43" y="5"/>
                </a:lnTo>
                <a:lnTo>
                  <a:pt x="36" y="8"/>
                </a:lnTo>
                <a:lnTo>
                  <a:pt x="31" y="11"/>
                </a:lnTo>
                <a:lnTo>
                  <a:pt x="25" y="15"/>
                </a:lnTo>
                <a:lnTo>
                  <a:pt x="21" y="20"/>
                </a:lnTo>
                <a:lnTo>
                  <a:pt x="16" y="25"/>
                </a:lnTo>
                <a:lnTo>
                  <a:pt x="12" y="30"/>
                </a:lnTo>
                <a:lnTo>
                  <a:pt x="9" y="36"/>
                </a:lnTo>
                <a:lnTo>
                  <a:pt x="6" y="43"/>
                </a:lnTo>
                <a:lnTo>
                  <a:pt x="3" y="49"/>
                </a:lnTo>
                <a:lnTo>
                  <a:pt x="2" y="56"/>
                </a:lnTo>
                <a:lnTo>
                  <a:pt x="1" y="63"/>
                </a:lnTo>
                <a:lnTo>
                  <a:pt x="0" y="70"/>
                </a:lnTo>
                <a:lnTo>
                  <a:pt x="0" y="89"/>
                </a:lnTo>
                <a:lnTo>
                  <a:pt x="0" y="89"/>
                </a:lnTo>
                <a:lnTo>
                  <a:pt x="1" y="96"/>
                </a:lnTo>
                <a:lnTo>
                  <a:pt x="2" y="103"/>
                </a:lnTo>
                <a:lnTo>
                  <a:pt x="3" y="110"/>
                </a:lnTo>
                <a:lnTo>
                  <a:pt x="6" y="116"/>
                </a:lnTo>
                <a:lnTo>
                  <a:pt x="9" y="122"/>
                </a:lnTo>
                <a:lnTo>
                  <a:pt x="12" y="129"/>
                </a:lnTo>
                <a:lnTo>
                  <a:pt x="16" y="134"/>
                </a:lnTo>
                <a:lnTo>
                  <a:pt x="21" y="139"/>
                </a:lnTo>
                <a:lnTo>
                  <a:pt x="25" y="144"/>
                </a:lnTo>
                <a:lnTo>
                  <a:pt x="31" y="147"/>
                </a:lnTo>
                <a:lnTo>
                  <a:pt x="36" y="151"/>
                </a:lnTo>
                <a:lnTo>
                  <a:pt x="43" y="154"/>
                </a:lnTo>
                <a:lnTo>
                  <a:pt x="50" y="156"/>
                </a:lnTo>
                <a:lnTo>
                  <a:pt x="56" y="158"/>
                </a:lnTo>
                <a:lnTo>
                  <a:pt x="63" y="159"/>
                </a:lnTo>
                <a:lnTo>
                  <a:pt x="70" y="159"/>
                </a:lnTo>
                <a:lnTo>
                  <a:pt x="90" y="159"/>
                </a:lnTo>
                <a:lnTo>
                  <a:pt x="90" y="159"/>
                </a:lnTo>
                <a:lnTo>
                  <a:pt x="97" y="159"/>
                </a:lnTo>
                <a:lnTo>
                  <a:pt x="104" y="158"/>
                </a:lnTo>
                <a:lnTo>
                  <a:pt x="110" y="156"/>
                </a:lnTo>
                <a:lnTo>
                  <a:pt x="117" y="154"/>
                </a:lnTo>
                <a:lnTo>
                  <a:pt x="123" y="151"/>
                </a:lnTo>
                <a:lnTo>
                  <a:pt x="130" y="147"/>
                </a:lnTo>
                <a:lnTo>
                  <a:pt x="135" y="144"/>
                </a:lnTo>
                <a:lnTo>
                  <a:pt x="140" y="139"/>
                </a:lnTo>
                <a:lnTo>
                  <a:pt x="144" y="134"/>
                </a:lnTo>
                <a:lnTo>
                  <a:pt x="148" y="129"/>
                </a:lnTo>
                <a:lnTo>
                  <a:pt x="152" y="122"/>
                </a:lnTo>
                <a:lnTo>
                  <a:pt x="154"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5" name="Freeform 2207"/>
          <p:cNvSpPr>
            <a:spLocks/>
          </p:cNvSpPr>
          <p:nvPr/>
        </p:nvSpPr>
        <p:spPr bwMode="auto">
          <a:xfrm>
            <a:off x="2935290" y="5081524"/>
            <a:ext cx="41275" cy="42862"/>
          </a:xfrm>
          <a:custGeom>
            <a:avLst/>
            <a:gdLst>
              <a:gd name="T0" fmla="*/ 160 w 160"/>
              <a:gd name="T1" fmla="*/ 70 h 159"/>
              <a:gd name="T2" fmla="*/ 159 w 160"/>
              <a:gd name="T3" fmla="*/ 56 h 159"/>
              <a:gd name="T4" fmla="*/ 154 w 160"/>
              <a:gd name="T5" fmla="*/ 43 h 159"/>
              <a:gd name="T6" fmla="*/ 148 w 160"/>
              <a:gd name="T7" fmla="*/ 30 h 159"/>
              <a:gd name="T8" fmla="*/ 140 w 160"/>
              <a:gd name="T9" fmla="*/ 20 h 159"/>
              <a:gd name="T10" fmla="*/ 130 w 160"/>
              <a:gd name="T11" fmla="*/ 11 h 159"/>
              <a:gd name="T12" fmla="*/ 118 w 160"/>
              <a:gd name="T13" fmla="*/ 5 h 159"/>
              <a:gd name="T14" fmla="*/ 104 w 160"/>
              <a:gd name="T15" fmla="*/ 1 h 159"/>
              <a:gd name="T16" fmla="*/ 90 w 160"/>
              <a:gd name="T17" fmla="*/ 0 h 159"/>
              <a:gd name="T18" fmla="*/ 70 w 160"/>
              <a:gd name="T19" fmla="*/ 0 h 159"/>
              <a:gd name="T20" fmla="*/ 56 w 160"/>
              <a:gd name="T21" fmla="*/ 1 h 159"/>
              <a:gd name="T22" fmla="*/ 43 w 160"/>
              <a:gd name="T23" fmla="*/ 5 h 159"/>
              <a:gd name="T24" fmla="*/ 32 w 160"/>
              <a:gd name="T25" fmla="*/ 11 h 159"/>
              <a:gd name="T26" fmla="*/ 22 w 160"/>
              <a:gd name="T27" fmla="*/ 20 h 159"/>
              <a:gd name="T28" fmla="*/ 12 w 160"/>
              <a:gd name="T29" fmla="*/ 30 h 159"/>
              <a:gd name="T30" fmla="*/ 6 w 160"/>
              <a:gd name="T31" fmla="*/ 43 h 159"/>
              <a:gd name="T32" fmla="*/ 2 w 160"/>
              <a:gd name="T33" fmla="*/ 56 h 159"/>
              <a:gd name="T34" fmla="*/ 0 w 160"/>
              <a:gd name="T35" fmla="*/ 70 h 159"/>
              <a:gd name="T36" fmla="*/ 0 w 160"/>
              <a:gd name="T37" fmla="*/ 89 h 159"/>
              <a:gd name="T38" fmla="*/ 2 w 160"/>
              <a:gd name="T39" fmla="*/ 103 h 159"/>
              <a:gd name="T40" fmla="*/ 6 w 160"/>
              <a:gd name="T41" fmla="*/ 116 h 159"/>
              <a:gd name="T42" fmla="*/ 12 w 160"/>
              <a:gd name="T43" fmla="*/ 129 h 159"/>
              <a:gd name="T44" fmla="*/ 22 w 160"/>
              <a:gd name="T45" fmla="*/ 139 h 159"/>
              <a:gd name="T46" fmla="*/ 32 w 160"/>
              <a:gd name="T47" fmla="*/ 147 h 159"/>
              <a:gd name="T48" fmla="*/ 43 w 160"/>
              <a:gd name="T49" fmla="*/ 154 h 159"/>
              <a:gd name="T50" fmla="*/ 56 w 160"/>
              <a:gd name="T51" fmla="*/ 158 h 159"/>
              <a:gd name="T52" fmla="*/ 70 w 160"/>
              <a:gd name="T53" fmla="*/ 159 h 159"/>
              <a:gd name="T54" fmla="*/ 90 w 160"/>
              <a:gd name="T55" fmla="*/ 159 h 159"/>
              <a:gd name="T56" fmla="*/ 104 w 160"/>
              <a:gd name="T57" fmla="*/ 158 h 159"/>
              <a:gd name="T58" fmla="*/ 118 w 160"/>
              <a:gd name="T59" fmla="*/ 154 h 159"/>
              <a:gd name="T60" fmla="*/ 130 w 160"/>
              <a:gd name="T61" fmla="*/ 147 h 159"/>
              <a:gd name="T62" fmla="*/ 140 w 160"/>
              <a:gd name="T63" fmla="*/ 139 h 159"/>
              <a:gd name="T64" fmla="*/ 148 w 160"/>
              <a:gd name="T65" fmla="*/ 129 h 159"/>
              <a:gd name="T66" fmla="*/ 154 w 160"/>
              <a:gd name="T67" fmla="*/ 116 h 159"/>
              <a:gd name="T68" fmla="*/ 159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60" y="63"/>
                </a:lnTo>
                <a:lnTo>
                  <a:pt x="159" y="56"/>
                </a:lnTo>
                <a:lnTo>
                  <a:pt x="157" y="49"/>
                </a:lnTo>
                <a:lnTo>
                  <a:pt x="154" y="43"/>
                </a:lnTo>
                <a:lnTo>
                  <a:pt x="152" y="36"/>
                </a:lnTo>
                <a:lnTo>
                  <a:pt x="148" y="30"/>
                </a:lnTo>
                <a:lnTo>
                  <a:pt x="144" y="25"/>
                </a:lnTo>
                <a:lnTo>
                  <a:pt x="140" y="20"/>
                </a:lnTo>
                <a:lnTo>
                  <a:pt x="135" y="15"/>
                </a:lnTo>
                <a:lnTo>
                  <a:pt x="130" y="11"/>
                </a:lnTo>
                <a:lnTo>
                  <a:pt x="124" y="8"/>
                </a:lnTo>
                <a:lnTo>
                  <a:pt x="118" y="5"/>
                </a:lnTo>
                <a:lnTo>
                  <a:pt x="111" y="3"/>
                </a:lnTo>
                <a:lnTo>
                  <a:pt x="104" y="1"/>
                </a:lnTo>
                <a:lnTo>
                  <a:pt x="97" y="0"/>
                </a:lnTo>
                <a:lnTo>
                  <a:pt x="90" y="0"/>
                </a:lnTo>
                <a:lnTo>
                  <a:pt x="70" y="0"/>
                </a:lnTo>
                <a:lnTo>
                  <a:pt x="70" y="0"/>
                </a:lnTo>
                <a:lnTo>
                  <a:pt x="63" y="0"/>
                </a:lnTo>
                <a:lnTo>
                  <a:pt x="56" y="1"/>
                </a:lnTo>
                <a:lnTo>
                  <a:pt x="50" y="3"/>
                </a:lnTo>
                <a:lnTo>
                  <a:pt x="43" y="5"/>
                </a:lnTo>
                <a:lnTo>
                  <a:pt x="37" y="8"/>
                </a:lnTo>
                <a:lnTo>
                  <a:pt x="32" y="11"/>
                </a:lnTo>
                <a:lnTo>
                  <a:pt x="26" y="15"/>
                </a:lnTo>
                <a:lnTo>
                  <a:pt x="22" y="20"/>
                </a:lnTo>
                <a:lnTo>
                  <a:pt x="16" y="25"/>
                </a:lnTo>
                <a:lnTo>
                  <a:pt x="12" y="30"/>
                </a:lnTo>
                <a:lnTo>
                  <a:pt x="9" y="36"/>
                </a:lnTo>
                <a:lnTo>
                  <a:pt x="6" y="43"/>
                </a:lnTo>
                <a:lnTo>
                  <a:pt x="3" y="49"/>
                </a:lnTo>
                <a:lnTo>
                  <a:pt x="2" y="56"/>
                </a:lnTo>
                <a:lnTo>
                  <a:pt x="1" y="63"/>
                </a:lnTo>
                <a:lnTo>
                  <a:pt x="0" y="70"/>
                </a:lnTo>
                <a:lnTo>
                  <a:pt x="0" y="89"/>
                </a:lnTo>
                <a:lnTo>
                  <a:pt x="0" y="89"/>
                </a:lnTo>
                <a:lnTo>
                  <a:pt x="1" y="96"/>
                </a:lnTo>
                <a:lnTo>
                  <a:pt x="2" y="103"/>
                </a:lnTo>
                <a:lnTo>
                  <a:pt x="3" y="110"/>
                </a:lnTo>
                <a:lnTo>
                  <a:pt x="6" y="116"/>
                </a:lnTo>
                <a:lnTo>
                  <a:pt x="9" y="122"/>
                </a:lnTo>
                <a:lnTo>
                  <a:pt x="12" y="129"/>
                </a:lnTo>
                <a:lnTo>
                  <a:pt x="16" y="134"/>
                </a:lnTo>
                <a:lnTo>
                  <a:pt x="22" y="139"/>
                </a:lnTo>
                <a:lnTo>
                  <a:pt x="26" y="144"/>
                </a:lnTo>
                <a:lnTo>
                  <a:pt x="32" y="147"/>
                </a:lnTo>
                <a:lnTo>
                  <a:pt x="37" y="151"/>
                </a:lnTo>
                <a:lnTo>
                  <a:pt x="43" y="154"/>
                </a:lnTo>
                <a:lnTo>
                  <a:pt x="50" y="156"/>
                </a:lnTo>
                <a:lnTo>
                  <a:pt x="56" y="158"/>
                </a:lnTo>
                <a:lnTo>
                  <a:pt x="63" y="159"/>
                </a:lnTo>
                <a:lnTo>
                  <a:pt x="70" y="159"/>
                </a:lnTo>
                <a:lnTo>
                  <a:pt x="90" y="159"/>
                </a:lnTo>
                <a:lnTo>
                  <a:pt x="90" y="159"/>
                </a:lnTo>
                <a:lnTo>
                  <a:pt x="97" y="159"/>
                </a:lnTo>
                <a:lnTo>
                  <a:pt x="104" y="158"/>
                </a:lnTo>
                <a:lnTo>
                  <a:pt x="111" y="156"/>
                </a:lnTo>
                <a:lnTo>
                  <a:pt x="118" y="154"/>
                </a:lnTo>
                <a:lnTo>
                  <a:pt x="124" y="151"/>
                </a:lnTo>
                <a:lnTo>
                  <a:pt x="130" y="147"/>
                </a:lnTo>
                <a:lnTo>
                  <a:pt x="135" y="144"/>
                </a:lnTo>
                <a:lnTo>
                  <a:pt x="140" y="139"/>
                </a:lnTo>
                <a:lnTo>
                  <a:pt x="144" y="134"/>
                </a:lnTo>
                <a:lnTo>
                  <a:pt x="148" y="129"/>
                </a:lnTo>
                <a:lnTo>
                  <a:pt x="152" y="122"/>
                </a:lnTo>
                <a:lnTo>
                  <a:pt x="154" y="116"/>
                </a:lnTo>
                <a:lnTo>
                  <a:pt x="157" y="110"/>
                </a:lnTo>
                <a:lnTo>
                  <a:pt x="159" y="103"/>
                </a:lnTo>
                <a:lnTo>
                  <a:pt x="160" y="96"/>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6" name="Freeform 2208"/>
          <p:cNvSpPr>
            <a:spLocks/>
          </p:cNvSpPr>
          <p:nvPr/>
        </p:nvSpPr>
        <p:spPr bwMode="auto">
          <a:xfrm>
            <a:off x="3033715" y="5081524"/>
            <a:ext cx="41275" cy="42862"/>
          </a:xfrm>
          <a:custGeom>
            <a:avLst/>
            <a:gdLst>
              <a:gd name="T0" fmla="*/ 159 w 159"/>
              <a:gd name="T1" fmla="*/ 70 h 159"/>
              <a:gd name="T2" fmla="*/ 157 w 159"/>
              <a:gd name="T3" fmla="*/ 56 h 159"/>
              <a:gd name="T4" fmla="*/ 153 w 159"/>
              <a:gd name="T5" fmla="*/ 43 h 159"/>
              <a:gd name="T6" fmla="*/ 147 w 159"/>
              <a:gd name="T7" fmla="*/ 30 h 159"/>
              <a:gd name="T8" fmla="*/ 139 w 159"/>
              <a:gd name="T9" fmla="*/ 20 h 159"/>
              <a:gd name="T10" fmla="*/ 129 w 159"/>
              <a:gd name="T11" fmla="*/ 11 h 159"/>
              <a:gd name="T12" fmla="*/ 117 w 159"/>
              <a:gd name="T13" fmla="*/ 5 h 159"/>
              <a:gd name="T14" fmla="*/ 104 w 159"/>
              <a:gd name="T15" fmla="*/ 1 h 159"/>
              <a:gd name="T16" fmla="*/ 90 w 159"/>
              <a:gd name="T17" fmla="*/ 0 h 159"/>
              <a:gd name="T18" fmla="*/ 69 w 159"/>
              <a:gd name="T19" fmla="*/ 0 h 159"/>
              <a:gd name="T20" fmla="*/ 55 w 159"/>
              <a:gd name="T21" fmla="*/ 1 h 159"/>
              <a:gd name="T22" fmla="*/ 42 w 159"/>
              <a:gd name="T23" fmla="*/ 5 h 159"/>
              <a:gd name="T24" fmla="*/ 31 w 159"/>
              <a:gd name="T25" fmla="*/ 11 h 159"/>
              <a:gd name="T26" fmla="*/ 21 w 159"/>
              <a:gd name="T27" fmla="*/ 20 h 159"/>
              <a:gd name="T28" fmla="*/ 12 w 159"/>
              <a:gd name="T29" fmla="*/ 30 h 159"/>
              <a:gd name="T30" fmla="*/ 6 w 159"/>
              <a:gd name="T31" fmla="*/ 43 h 159"/>
              <a:gd name="T32" fmla="*/ 2 w 159"/>
              <a:gd name="T33" fmla="*/ 56 h 159"/>
              <a:gd name="T34" fmla="*/ 0 w 159"/>
              <a:gd name="T35" fmla="*/ 70 h 159"/>
              <a:gd name="T36" fmla="*/ 0 w 159"/>
              <a:gd name="T37" fmla="*/ 89 h 159"/>
              <a:gd name="T38" fmla="*/ 2 w 159"/>
              <a:gd name="T39" fmla="*/ 103 h 159"/>
              <a:gd name="T40" fmla="*/ 6 w 159"/>
              <a:gd name="T41" fmla="*/ 116 h 159"/>
              <a:gd name="T42" fmla="*/ 12 w 159"/>
              <a:gd name="T43" fmla="*/ 129 h 159"/>
              <a:gd name="T44" fmla="*/ 21 w 159"/>
              <a:gd name="T45" fmla="*/ 139 h 159"/>
              <a:gd name="T46" fmla="*/ 31 w 159"/>
              <a:gd name="T47" fmla="*/ 147 h 159"/>
              <a:gd name="T48" fmla="*/ 42 w 159"/>
              <a:gd name="T49" fmla="*/ 154 h 159"/>
              <a:gd name="T50" fmla="*/ 55 w 159"/>
              <a:gd name="T51" fmla="*/ 158 h 159"/>
              <a:gd name="T52" fmla="*/ 69 w 159"/>
              <a:gd name="T53" fmla="*/ 159 h 159"/>
              <a:gd name="T54" fmla="*/ 90 w 159"/>
              <a:gd name="T55" fmla="*/ 159 h 159"/>
              <a:gd name="T56" fmla="*/ 104 w 159"/>
              <a:gd name="T57" fmla="*/ 158 h 159"/>
              <a:gd name="T58" fmla="*/ 117 w 159"/>
              <a:gd name="T59" fmla="*/ 154 h 159"/>
              <a:gd name="T60" fmla="*/ 129 w 159"/>
              <a:gd name="T61" fmla="*/ 147 h 159"/>
              <a:gd name="T62" fmla="*/ 139 w 159"/>
              <a:gd name="T63" fmla="*/ 139 h 159"/>
              <a:gd name="T64" fmla="*/ 147 w 159"/>
              <a:gd name="T65" fmla="*/ 129 h 159"/>
              <a:gd name="T66" fmla="*/ 153 w 159"/>
              <a:gd name="T67" fmla="*/ 116 h 159"/>
              <a:gd name="T68" fmla="*/ 157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9" y="63"/>
                </a:lnTo>
                <a:lnTo>
                  <a:pt x="157" y="56"/>
                </a:lnTo>
                <a:lnTo>
                  <a:pt x="156" y="49"/>
                </a:lnTo>
                <a:lnTo>
                  <a:pt x="153" y="43"/>
                </a:lnTo>
                <a:lnTo>
                  <a:pt x="151" y="36"/>
                </a:lnTo>
                <a:lnTo>
                  <a:pt x="147" y="30"/>
                </a:lnTo>
                <a:lnTo>
                  <a:pt x="143" y="25"/>
                </a:lnTo>
                <a:lnTo>
                  <a:pt x="139" y="20"/>
                </a:lnTo>
                <a:lnTo>
                  <a:pt x="134" y="15"/>
                </a:lnTo>
                <a:lnTo>
                  <a:pt x="129" y="11"/>
                </a:lnTo>
                <a:lnTo>
                  <a:pt x="123" y="8"/>
                </a:lnTo>
                <a:lnTo>
                  <a:pt x="117" y="5"/>
                </a:lnTo>
                <a:lnTo>
                  <a:pt x="110" y="3"/>
                </a:lnTo>
                <a:lnTo>
                  <a:pt x="104" y="1"/>
                </a:lnTo>
                <a:lnTo>
                  <a:pt x="97" y="0"/>
                </a:lnTo>
                <a:lnTo>
                  <a:pt x="90" y="0"/>
                </a:lnTo>
                <a:lnTo>
                  <a:pt x="69" y="0"/>
                </a:lnTo>
                <a:lnTo>
                  <a:pt x="69" y="0"/>
                </a:lnTo>
                <a:lnTo>
                  <a:pt x="62" y="0"/>
                </a:lnTo>
                <a:lnTo>
                  <a:pt x="55" y="1"/>
                </a:lnTo>
                <a:lnTo>
                  <a:pt x="49" y="3"/>
                </a:lnTo>
                <a:lnTo>
                  <a:pt x="42" y="5"/>
                </a:lnTo>
                <a:lnTo>
                  <a:pt x="36" y="8"/>
                </a:lnTo>
                <a:lnTo>
                  <a:pt x="31" y="11"/>
                </a:lnTo>
                <a:lnTo>
                  <a:pt x="25" y="15"/>
                </a:lnTo>
                <a:lnTo>
                  <a:pt x="21" y="20"/>
                </a:lnTo>
                <a:lnTo>
                  <a:pt x="16" y="25"/>
                </a:lnTo>
                <a:lnTo>
                  <a:pt x="12" y="30"/>
                </a:lnTo>
                <a:lnTo>
                  <a:pt x="9" y="36"/>
                </a:lnTo>
                <a:lnTo>
                  <a:pt x="6" y="43"/>
                </a:lnTo>
                <a:lnTo>
                  <a:pt x="3" y="49"/>
                </a:lnTo>
                <a:lnTo>
                  <a:pt x="2" y="56"/>
                </a:lnTo>
                <a:lnTo>
                  <a:pt x="1" y="63"/>
                </a:lnTo>
                <a:lnTo>
                  <a:pt x="0" y="70"/>
                </a:lnTo>
                <a:lnTo>
                  <a:pt x="0" y="89"/>
                </a:lnTo>
                <a:lnTo>
                  <a:pt x="0" y="89"/>
                </a:lnTo>
                <a:lnTo>
                  <a:pt x="1" y="96"/>
                </a:lnTo>
                <a:lnTo>
                  <a:pt x="2" y="103"/>
                </a:lnTo>
                <a:lnTo>
                  <a:pt x="3" y="110"/>
                </a:lnTo>
                <a:lnTo>
                  <a:pt x="6" y="116"/>
                </a:lnTo>
                <a:lnTo>
                  <a:pt x="9" y="122"/>
                </a:lnTo>
                <a:lnTo>
                  <a:pt x="12" y="129"/>
                </a:lnTo>
                <a:lnTo>
                  <a:pt x="16" y="134"/>
                </a:lnTo>
                <a:lnTo>
                  <a:pt x="21" y="139"/>
                </a:lnTo>
                <a:lnTo>
                  <a:pt x="25" y="144"/>
                </a:lnTo>
                <a:lnTo>
                  <a:pt x="31" y="147"/>
                </a:lnTo>
                <a:lnTo>
                  <a:pt x="36" y="151"/>
                </a:lnTo>
                <a:lnTo>
                  <a:pt x="42" y="154"/>
                </a:lnTo>
                <a:lnTo>
                  <a:pt x="49" y="156"/>
                </a:lnTo>
                <a:lnTo>
                  <a:pt x="55" y="158"/>
                </a:lnTo>
                <a:lnTo>
                  <a:pt x="62" y="159"/>
                </a:lnTo>
                <a:lnTo>
                  <a:pt x="69" y="159"/>
                </a:lnTo>
                <a:lnTo>
                  <a:pt x="90" y="159"/>
                </a:lnTo>
                <a:lnTo>
                  <a:pt x="90" y="159"/>
                </a:lnTo>
                <a:lnTo>
                  <a:pt x="97" y="159"/>
                </a:lnTo>
                <a:lnTo>
                  <a:pt x="104" y="158"/>
                </a:lnTo>
                <a:lnTo>
                  <a:pt x="110" y="156"/>
                </a:lnTo>
                <a:lnTo>
                  <a:pt x="117" y="154"/>
                </a:lnTo>
                <a:lnTo>
                  <a:pt x="123" y="151"/>
                </a:lnTo>
                <a:lnTo>
                  <a:pt x="129" y="147"/>
                </a:lnTo>
                <a:lnTo>
                  <a:pt x="134" y="144"/>
                </a:lnTo>
                <a:lnTo>
                  <a:pt x="139" y="139"/>
                </a:lnTo>
                <a:lnTo>
                  <a:pt x="143" y="134"/>
                </a:lnTo>
                <a:lnTo>
                  <a:pt x="147" y="129"/>
                </a:lnTo>
                <a:lnTo>
                  <a:pt x="151" y="122"/>
                </a:lnTo>
                <a:lnTo>
                  <a:pt x="153" y="116"/>
                </a:lnTo>
                <a:lnTo>
                  <a:pt x="156" y="110"/>
                </a:lnTo>
                <a:lnTo>
                  <a:pt x="157" y="103"/>
                </a:lnTo>
                <a:lnTo>
                  <a:pt x="159" y="96"/>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8" name="Freeform 2210"/>
          <p:cNvSpPr>
            <a:spLocks/>
          </p:cNvSpPr>
          <p:nvPr/>
        </p:nvSpPr>
        <p:spPr bwMode="auto">
          <a:xfrm>
            <a:off x="222639" y="5430644"/>
            <a:ext cx="2997200" cy="1058862"/>
          </a:xfrm>
          <a:custGeom>
            <a:avLst/>
            <a:gdLst>
              <a:gd name="T0" fmla="*/ 9495 w 11329"/>
              <a:gd name="T1" fmla="*/ 0 h 4003"/>
              <a:gd name="T2" fmla="*/ 2261 w 11329"/>
              <a:gd name="T3" fmla="*/ 0 h 4003"/>
              <a:gd name="T4" fmla="*/ 0 w 11329"/>
              <a:gd name="T5" fmla="*/ 853 h 4003"/>
              <a:gd name="T6" fmla="*/ 0 w 11329"/>
              <a:gd name="T7" fmla="*/ 4003 h 4003"/>
              <a:gd name="T8" fmla="*/ 11329 w 11329"/>
              <a:gd name="T9" fmla="*/ 4003 h 4003"/>
              <a:gd name="T10" fmla="*/ 9495 w 11329"/>
              <a:gd name="T11" fmla="*/ 0 h 4003"/>
            </a:gdLst>
            <a:ahLst/>
            <a:cxnLst>
              <a:cxn ang="0">
                <a:pos x="T0" y="T1"/>
              </a:cxn>
              <a:cxn ang="0">
                <a:pos x="T2" y="T3"/>
              </a:cxn>
              <a:cxn ang="0">
                <a:pos x="T4" y="T5"/>
              </a:cxn>
              <a:cxn ang="0">
                <a:pos x="T6" y="T7"/>
              </a:cxn>
              <a:cxn ang="0">
                <a:pos x="T8" y="T9"/>
              </a:cxn>
              <a:cxn ang="0">
                <a:pos x="T10" y="T11"/>
              </a:cxn>
            </a:cxnLst>
            <a:rect l="0" t="0" r="r" b="b"/>
            <a:pathLst>
              <a:path w="11329" h="4003">
                <a:moveTo>
                  <a:pt x="9495" y="0"/>
                </a:moveTo>
                <a:lnTo>
                  <a:pt x="2261" y="0"/>
                </a:lnTo>
                <a:lnTo>
                  <a:pt x="0" y="853"/>
                </a:lnTo>
                <a:lnTo>
                  <a:pt x="0" y="4003"/>
                </a:lnTo>
                <a:lnTo>
                  <a:pt x="11329" y="4003"/>
                </a:lnTo>
                <a:lnTo>
                  <a:pt x="9495" y="0"/>
                </a:lnTo>
                <a:close/>
              </a:path>
            </a:pathLst>
          </a:custGeom>
          <a:solidFill>
            <a:srgbClr val="034E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39" name="Freeform 2211"/>
          <p:cNvSpPr>
            <a:spLocks/>
          </p:cNvSpPr>
          <p:nvPr/>
        </p:nvSpPr>
        <p:spPr bwMode="auto">
          <a:xfrm>
            <a:off x="855665" y="5186300"/>
            <a:ext cx="309563" cy="149225"/>
          </a:xfrm>
          <a:custGeom>
            <a:avLst/>
            <a:gdLst>
              <a:gd name="T0" fmla="*/ 1171 w 1171"/>
              <a:gd name="T1" fmla="*/ 8 h 562"/>
              <a:gd name="T2" fmla="*/ 1171 w 1171"/>
              <a:gd name="T3" fmla="*/ 8 h 562"/>
              <a:gd name="T4" fmla="*/ 1170 w 1171"/>
              <a:gd name="T5" fmla="*/ 5 h 562"/>
              <a:gd name="T6" fmla="*/ 1168 w 1171"/>
              <a:gd name="T7" fmla="*/ 3 h 562"/>
              <a:gd name="T8" fmla="*/ 1166 w 1171"/>
              <a:gd name="T9" fmla="*/ 1 h 562"/>
              <a:gd name="T10" fmla="*/ 1162 w 1171"/>
              <a:gd name="T11" fmla="*/ 0 h 562"/>
              <a:gd name="T12" fmla="*/ 8 w 1171"/>
              <a:gd name="T13" fmla="*/ 0 h 562"/>
              <a:gd name="T14" fmla="*/ 8 w 1171"/>
              <a:gd name="T15" fmla="*/ 0 h 562"/>
              <a:gd name="T16" fmla="*/ 5 w 1171"/>
              <a:gd name="T17" fmla="*/ 1 h 562"/>
              <a:gd name="T18" fmla="*/ 3 w 1171"/>
              <a:gd name="T19" fmla="*/ 3 h 562"/>
              <a:gd name="T20" fmla="*/ 1 w 1171"/>
              <a:gd name="T21" fmla="*/ 5 h 562"/>
              <a:gd name="T22" fmla="*/ 0 w 1171"/>
              <a:gd name="T23" fmla="*/ 8 h 562"/>
              <a:gd name="T24" fmla="*/ 0 w 1171"/>
              <a:gd name="T25" fmla="*/ 554 h 562"/>
              <a:gd name="T26" fmla="*/ 0 w 1171"/>
              <a:gd name="T27" fmla="*/ 554 h 562"/>
              <a:gd name="T28" fmla="*/ 1 w 1171"/>
              <a:gd name="T29" fmla="*/ 557 h 562"/>
              <a:gd name="T30" fmla="*/ 3 w 1171"/>
              <a:gd name="T31" fmla="*/ 560 h 562"/>
              <a:gd name="T32" fmla="*/ 5 w 1171"/>
              <a:gd name="T33" fmla="*/ 561 h 562"/>
              <a:gd name="T34" fmla="*/ 8 w 1171"/>
              <a:gd name="T35" fmla="*/ 562 h 562"/>
              <a:gd name="T36" fmla="*/ 1162 w 1171"/>
              <a:gd name="T37" fmla="*/ 562 h 562"/>
              <a:gd name="T38" fmla="*/ 1162 w 1171"/>
              <a:gd name="T39" fmla="*/ 562 h 562"/>
              <a:gd name="T40" fmla="*/ 1166 w 1171"/>
              <a:gd name="T41" fmla="*/ 561 h 562"/>
              <a:gd name="T42" fmla="*/ 1168 w 1171"/>
              <a:gd name="T43" fmla="*/ 560 h 562"/>
              <a:gd name="T44" fmla="*/ 1170 w 1171"/>
              <a:gd name="T45" fmla="*/ 557 h 562"/>
              <a:gd name="T46" fmla="*/ 1171 w 1171"/>
              <a:gd name="T47" fmla="*/ 554 h 562"/>
              <a:gd name="T48" fmla="*/ 1171 w 1171"/>
              <a:gd name="T49" fmla="*/ 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1" h="562">
                <a:moveTo>
                  <a:pt x="1171" y="8"/>
                </a:moveTo>
                <a:lnTo>
                  <a:pt x="1171" y="8"/>
                </a:lnTo>
                <a:lnTo>
                  <a:pt x="1170" y="5"/>
                </a:lnTo>
                <a:lnTo>
                  <a:pt x="1168" y="3"/>
                </a:lnTo>
                <a:lnTo>
                  <a:pt x="1166" y="1"/>
                </a:lnTo>
                <a:lnTo>
                  <a:pt x="1162" y="0"/>
                </a:lnTo>
                <a:lnTo>
                  <a:pt x="8" y="0"/>
                </a:lnTo>
                <a:lnTo>
                  <a:pt x="8" y="0"/>
                </a:lnTo>
                <a:lnTo>
                  <a:pt x="5" y="1"/>
                </a:lnTo>
                <a:lnTo>
                  <a:pt x="3" y="3"/>
                </a:lnTo>
                <a:lnTo>
                  <a:pt x="1" y="5"/>
                </a:lnTo>
                <a:lnTo>
                  <a:pt x="0" y="8"/>
                </a:lnTo>
                <a:lnTo>
                  <a:pt x="0" y="554"/>
                </a:lnTo>
                <a:lnTo>
                  <a:pt x="0" y="554"/>
                </a:lnTo>
                <a:lnTo>
                  <a:pt x="1" y="557"/>
                </a:lnTo>
                <a:lnTo>
                  <a:pt x="3" y="560"/>
                </a:lnTo>
                <a:lnTo>
                  <a:pt x="5" y="561"/>
                </a:lnTo>
                <a:lnTo>
                  <a:pt x="8" y="562"/>
                </a:lnTo>
                <a:lnTo>
                  <a:pt x="1162" y="562"/>
                </a:lnTo>
                <a:lnTo>
                  <a:pt x="1162" y="562"/>
                </a:lnTo>
                <a:lnTo>
                  <a:pt x="1166" y="561"/>
                </a:lnTo>
                <a:lnTo>
                  <a:pt x="1168" y="560"/>
                </a:lnTo>
                <a:lnTo>
                  <a:pt x="1170" y="557"/>
                </a:lnTo>
                <a:lnTo>
                  <a:pt x="1171" y="554"/>
                </a:lnTo>
                <a:lnTo>
                  <a:pt x="1171" y="8"/>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0" name="Freeform 2212"/>
          <p:cNvSpPr>
            <a:spLocks/>
          </p:cNvSpPr>
          <p:nvPr/>
        </p:nvSpPr>
        <p:spPr bwMode="auto">
          <a:xfrm>
            <a:off x="2276477" y="5170425"/>
            <a:ext cx="42863" cy="41275"/>
          </a:xfrm>
          <a:custGeom>
            <a:avLst/>
            <a:gdLst>
              <a:gd name="T0" fmla="*/ 160 w 160"/>
              <a:gd name="T1" fmla="*/ 70 h 159"/>
              <a:gd name="T2" fmla="*/ 158 w 160"/>
              <a:gd name="T3" fmla="*/ 55 h 159"/>
              <a:gd name="T4" fmla="*/ 154 w 160"/>
              <a:gd name="T5" fmla="*/ 42 h 159"/>
              <a:gd name="T6" fmla="*/ 148 w 160"/>
              <a:gd name="T7" fmla="*/ 30 h 159"/>
              <a:gd name="T8" fmla="*/ 140 w 160"/>
              <a:gd name="T9" fmla="*/ 20 h 159"/>
              <a:gd name="T10" fmla="*/ 129 w 160"/>
              <a:gd name="T11" fmla="*/ 12 h 159"/>
              <a:gd name="T12" fmla="*/ 117 w 160"/>
              <a:gd name="T13" fmla="*/ 5 h 159"/>
              <a:gd name="T14" fmla="*/ 104 w 160"/>
              <a:gd name="T15" fmla="*/ 1 h 159"/>
              <a:gd name="T16" fmla="*/ 90 w 160"/>
              <a:gd name="T17" fmla="*/ 0 h 159"/>
              <a:gd name="T18" fmla="*/ 70 w 160"/>
              <a:gd name="T19" fmla="*/ 0 h 159"/>
              <a:gd name="T20" fmla="*/ 56 w 160"/>
              <a:gd name="T21" fmla="*/ 1 h 159"/>
              <a:gd name="T22" fmla="*/ 43 w 160"/>
              <a:gd name="T23" fmla="*/ 5 h 159"/>
              <a:gd name="T24" fmla="*/ 31 w 160"/>
              <a:gd name="T25" fmla="*/ 12 h 159"/>
              <a:gd name="T26" fmla="*/ 20 w 160"/>
              <a:gd name="T27" fmla="*/ 20 h 159"/>
              <a:gd name="T28" fmla="*/ 12 w 160"/>
              <a:gd name="T29" fmla="*/ 30 h 159"/>
              <a:gd name="T30" fmla="*/ 6 w 160"/>
              <a:gd name="T31" fmla="*/ 42 h 159"/>
              <a:gd name="T32" fmla="*/ 2 w 160"/>
              <a:gd name="T33" fmla="*/ 55 h 159"/>
              <a:gd name="T34" fmla="*/ 0 w 160"/>
              <a:gd name="T35" fmla="*/ 70 h 159"/>
              <a:gd name="T36" fmla="*/ 0 w 160"/>
              <a:gd name="T37" fmla="*/ 89 h 159"/>
              <a:gd name="T38" fmla="*/ 2 w 160"/>
              <a:gd name="T39" fmla="*/ 103 h 159"/>
              <a:gd name="T40" fmla="*/ 6 w 160"/>
              <a:gd name="T41" fmla="*/ 116 h 159"/>
              <a:gd name="T42" fmla="*/ 12 w 160"/>
              <a:gd name="T43" fmla="*/ 128 h 159"/>
              <a:gd name="T44" fmla="*/ 20 w 160"/>
              <a:gd name="T45" fmla="*/ 138 h 159"/>
              <a:gd name="T46" fmla="*/ 31 w 160"/>
              <a:gd name="T47" fmla="*/ 148 h 159"/>
              <a:gd name="T48" fmla="*/ 43 w 160"/>
              <a:gd name="T49" fmla="*/ 154 h 159"/>
              <a:gd name="T50" fmla="*/ 56 w 160"/>
              <a:gd name="T51" fmla="*/ 158 h 159"/>
              <a:gd name="T52" fmla="*/ 70 w 160"/>
              <a:gd name="T53" fmla="*/ 159 h 159"/>
              <a:gd name="T54" fmla="*/ 90 w 160"/>
              <a:gd name="T55" fmla="*/ 159 h 159"/>
              <a:gd name="T56" fmla="*/ 104 w 160"/>
              <a:gd name="T57" fmla="*/ 158 h 159"/>
              <a:gd name="T58" fmla="*/ 117 w 160"/>
              <a:gd name="T59" fmla="*/ 154 h 159"/>
              <a:gd name="T60" fmla="*/ 129 w 160"/>
              <a:gd name="T61" fmla="*/ 148 h 159"/>
              <a:gd name="T62" fmla="*/ 140 w 160"/>
              <a:gd name="T63" fmla="*/ 138 h 159"/>
              <a:gd name="T64" fmla="*/ 148 w 160"/>
              <a:gd name="T65" fmla="*/ 128 h 159"/>
              <a:gd name="T66" fmla="*/ 154 w 160"/>
              <a:gd name="T67" fmla="*/ 116 h 159"/>
              <a:gd name="T68" fmla="*/ 158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59" y="63"/>
                </a:lnTo>
                <a:lnTo>
                  <a:pt x="158" y="55"/>
                </a:lnTo>
                <a:lnTo>
                  <a:pt x="157" y="48"/>
                </a:lnTo>
                <a:lnTo>
                  <a:pt x="154" y="42"/>
                </a:lnTo>
                <a:lnTo>
                  <a:pt x="152" y="36"/>
                </a:lnTo>
                <a:lnTo>
                  <a:pt x="148" y="30"/>
                </a:lnTo>
                <a:lnTo>
                  <a:pt x="144" y="25"/>
                </a:lnTo>
                <a:lnTo>
                  <a:pt x="140" y="20"/>
                </a:lnTo>
                <a:lnTo>
                  <a:pt x="135" y="16"/>
                </a:lnTo>
                <a:lnTo>
                  <a:pt x="129" y="12"/>
                </a:lnTo>
                <a:lnTo>
                  <a:pt x="124" y="8"/>
                </a:lnTo>
                <a:lnTo>
                  <a:pt x="117" y="5"/>
                </a:lnTo>
                <a:lnTo>
                  <a:pt x="110" y="3"/>
                </a:lnTo>
                <a:lnTo>
                  <a:pt x="104" y="1"/>
                </a:lnTo>
                <a:lnTo>
                  <a:pt x="97" y="0"/>
                </a:lnTo>
                <a:lnTo>
                  <a:pt x="90" y="0"/>
                </a:lnTo>
                <a:lnTo>
                  <a:pt x="70" y="0"/>
                </a:lnTo>
                <a:lnTo>
                  <a:pt x="70" y="0"/>
                </a:lnTo>
                <a:lnTo>
                  <a:pt x="63" y="0"/>
                </a:lnTo>
                <a:lnTo>
                  <a:pt x="56" y="1"/>
                </a:lnTo>
                <a:lnTo>
                  <a:pt x="50" y="3"/>
                </a:lnTo>
                <a:lnTo>
                  <a:pt x="43" y="5"/>
                </a:lnTo>
                <a:lnTo>
                  <a:pt x="37" y="8"/>
                </a:lnTo>
                <a:lnTo>
                  <a:pt x="31" y="12"/>
                </a:lnTo>
                <a:lnTo>
                  <a:pt x="25" y="16"/>
                </a:lnTo>
                <a:lnTo>
                  <a:pt x="20" y="20"/>
                </a:lnTo>
                <a:lnTo>
                  <a:pt x="16" y="25"/>
                </a:lnTo>
                <a:lnTo>
                  <a:pt x="12" y="30"/>
                </a:lnTo>
                <a:lnTo>
                  <a:pt x="9" y="36"/>
                </a:lnTo>
                <a:lnTo>
                  <a:pt x="6" y="42"/>
                </a:lnTo>
                <a:lnTo>
                  <a:pt x="3" y="48"/>
                </a:lnTo>
                <a:lnTo>
                  <a:pt x="2" y="55"/>
                </a:lnTo>
                <a:lnTo>
                  <a:pt x="1" y="63"/>
                </a:lnTo>
                <a:lnTo>
                  <a:pt x="0" y="70"/>
                </a:lnTo>
                <a:lnTo>
                  <a:pt x="0" y="89"/>
                </a:lnTo>
                <a:lnTo>
                  <a:pt x="0" y="89"/>
                </a:lnTo>
                <a:lnTo>
                  <a:pt x="1" y="97"/>
                </a:lnTo>
                <a:lnTo>
                  <a:pt x="2" y="103"/>
                </a:lnTo>
                <a:lnTo>
                  <a:pt x="3" y="110"/>
                </a:lnTo>
                <a:lnTo>
                  <a:pt x="6" y="116"/>
                </a:lnTo>
                <a:lnTo>
                  <a:pt x="9" y="122"/>
                </a:lnTo>
                <a:lnTo>
                  <a:pt x="12" y="128"/>
                </a:lnTo>
                <a:lnTo>
                  <a:pt x="16" y="133"/>
                </a:lnTo>
                <a:lnTo>
                  <a:pt x="20" y="138"/>
                </a:lnTo>
                <a:lnTo>
                  <a:pt x="25" y="143"/>
                </a:lnTo>
                <a:lnTo>
                  <a:pt x="31" y="148"/>
                </a:lnTo>
                <a:lnTo>
                  <a:pt x="37" y="151"/>
                </a:lnTo>
                <a:lnTo>
                  <a:pt x="43" y="154"/>
                </a:lnTo>
                <a:lnTo>
                  <a:pt x="50" y="156"/>
                </a:lnTo>
                <a:lnTo>
                  <a:pt x="56" y="158"/>
                </a:lnTo>
                <a:lnTo>
                  <a:pt x="63" y="159"/>
                </a:lnTo>
                <a:lnTo>
                  <a:pt x="70" y="159"/>
                </a:lnTo>
                <a:lnTo>
                  <a:pt x="90" y="159"/>
                </a:lnTo>
                <a:lnTo>
                  <a:pt x="90" y="159"/>
                </a:lnTo>
                <a:lnTo>
                  <a:pt x="97" y="159"/>
                </a:lnTo>
                <a:lnTo>
                  <a:pt x="104" y="158"/>
                </a:lnTo>
                <a:lnTo>
                  <a:pt x="110" y="156"/>
                </a:lnTo>
                <a:lnTo>
                  <a:pt x="117" y="154"/>
                </a:lnTo>
                <a:lnTo>
                  <a:pt x="124" y="151"/>
                </a:lnTo>
                <a:lnTo>
                  <a:pt x="129" y="148"/>
                </a:lnTo>
                <a:lnTo>
                  <a:pt x="135" y="143"/>
                </a:lnTo>
                <a:lnTo>
                  <a:pt x="140" y="138"/>
                </a:lnTo>
                <a:lnTo>
                  <a:pt x="144" y="133"/>
                </a:lnTo>
                <a:lnTo>
                  <a:pt x="148" y="128"/>
                </a:lnTo>
                <a:lnTo>
                  <a:pt x="152" y="122"/>
                </a:lnTo>
                <a:lnTo>
                  <a:pt x="154" y="116"/>
                </a:lnTo>
                <a:lnTo>
                  <a:pt x="157" y="110"/>
                </a:lnTo>
                <a:lnTo>
                  <a:pt x="158" y="103"/>
                </a:lnTo>
                <a:lnTo>
                  <a:pt x="159" y="97"/>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1" name="Freeform 2213"/>
          <p:cNvSpPr>
            <a:spLocks/>
          </p:cNvSpPr>
          <p:nvPr/>
        </p:nvSpPr>
        <p:spPr bwMode="auto">
          <a:xfrm>
            <a:off x="2374902" y="5170425"/>
            <a:ext cx="42863" cy="41275"/>
          </a:xfrm>
          <a:custGeom>
            <a:avLst/>
            <a:gdLst>
              <a:gd name="T0" fmla="*/ 160 w 160"/>
              <a:gd name="T1" fmla="*/ 70 h 159"/>
              <a:gd name="T2" fmla="*/ 158 w 160"/>
              <a:gd name="T3" fmla="*/ 55 h 159"/>
              <a:gd name="T4" fmla="*/ 154 w 160"/>
              <a:gd name="T5" fmla="*/ 42 h 159"/>
              <a:gd name="T6" fmla="*/ 148 w 160"/>
              <a:gd name="T7" fmla="*/ 30 h 159"/>
              <a:gd name="T8" fmla="*/ 140 w 160"/>
              <a:gd name="T9" fmla="*/ 20 h 159"/>
              <a:gd name="T10" fmla="*/ 129 w 160"/>
              <a:gd name="T11" fmla="*/ 12 h 159"/>
              <a:gd name="T12" fmla="*/ 118 w 160"/>
              <a:gd name="T13" fmla="*/ 5 h 159"/>
              <a:gd name="T14" fmla="*/ 105 w 160"/>
              <a:gd name="T15" fmla="*/ 1 h 159"/>
              <a:gd name="T16" fmla="*/ 90 w 160"/>
              <a:gd name="T17" fmla="*/ 0 h 159"/>
              <a:gd name="T18" fmla="*/ 70 w 160"/>
              <a:gd name="T19" fmla="*/ 0 h 159"/>
              <a:gd name="T20" fmla="*/ 56 w 160"/>
              <a:gd name="T21" fmla="*/ 1 h 159"/>
              <a:gd name="T22" fmla="*/ 43 w 160"/>
              <a:gd name="T23" fmla="*/ 5 h 159"/>
              <a:gd name="T24" fmla="*/ 32 w 160"/>
              <a:gd name="T25" fmla="*/ 12 h 159"/>
              <a:gd name="T26" fmla="*/ 21 w 160"/>
              <a:gd name="T27" fmla="*/ 20 h 159"/>
              <a:gd name="T28" fmla="*/ 12 w 160"/>
              <a:gd name="T29" fmla="*/ 30 h 159"/>
              <a:gd name="T30" fmla="*/ 6 w 160"/>
              <a:gd name="T31" fmla="*/ 42 h 159"/>
              <a:gd name="T32" fmla="*/ 2 w 160"/>
              <a:gd name="T33" fmla="*/ 55 h 159"/>
              <a:gd name="T34" fmla="*/ 0 w 160"/>
              <a:gd name="T35" fmla="*/ 70 h 159"/>
              <a:gd name="T36" fmla="*/ 0 w 160"/>
              <a:gd name="T37" fmla="*/ 89 h 159"/>
              <a:gd name="T38" fmla="*/ 2 w 160"/>
              <a:gd name="T39" fmla="*/ 103 h 159"/>
              <a:gd name="T40" fmla="*/ 6 w 160"/>
              <a:gd name="T41" fmla="*/ 116 h 159"/>
              <a:gd name="T42" fmla="*/ 12 w 160"/>
              <a:gd name="T43" fmla="*/ 128 h 159"/>
              <a:gd name="T44" fmla="*/ 21 w 160"/>
              <a:gd name="T45" fmla="*/ 138 h 159"/>
              <a:gd name="T46" fmla="*/ 32 w 160"/>
              <a:gd name="T47" fmla="*/ 148 h 159"/>
              <a:gd name="T48" fmla="*/ 43 w 160"/>
              <a:gd name="T49" fmla="*/ 154 h 159"/>
              <a:gd name="T50" fmla="*/ 56 w 160"/>
              <a:gd name="T51" fmla="*/ 158 h 159"/>
              <a:gd name="T52" fmla="*/ 70 w 160"/>
              <a:gd name="T53" fmla="*/ 159 h 159"/>
              <a:gd name="T54" fmla="*/ 90 w 160"/>
              <a:gd name="T55" fmla="*/ 159 h 159"/>
              <a:gd name="T56" fmla="*/ 105 w 160"/>
              <a:gd name="T57" fmla="*/ 158 h 159"/>
              <a:gd name="T58" fmla="*/ 118 w 160"/>
              <a:gd name="T59" fmla="*/ 154 h 159"/>
              <a:gd name="T60" fmla="*/ 129 w 160"/>
              <a:gd name="T61" fmla="*/ 148 h 159"/>
              <a:gd name="T62" fmla="*/ 140 w 160"/>
              <a:gd name="T63" fmla="*/ 138 h 159"/>
              <a:gd name="T64" fmla="*/ 148 w 160"/>
              <a:gd name="T65" fmla="*/ 128 h 159"/>
              <a:gd name="T66" fmla="*/ 154 w 160"/>
              <a:gd name="T67" fmla="*/ 116 h 159"/>
              <a:gd name="T68" fmla="*/ 158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59" y="63"/>
                </a:lnTo>
                <a:lnTo>
                  <a:pt x="158" y="55"/>
                </a:lnTo>
                <a:lnTo>
                  <a:pt x="157" y="48"/>
                </a:lnTo>
                <a:lnTo>
                  <a:pt x="154" y="42"/>
                </a:lnTo>
                <a:lnTo>
                  <a:pt x="151" y="36"/>
                </a:lnTo>
                <a:lnTo>
                  <a:pt x="148" y="30"/>
                </a:lnTo>
                <a:lnTo>
                  <a:pt x="144" y="25"/>
                </a:lnTo>
                <a:lnTo>
                  <a:pt x="140" y="20"/>
                </a:lnTo>
                <a:lnTo>
                  <a:pt x="135" y="16"/>
                </a:lnTo>
                <a:lnTo>
                  <a:pt x="129" y="12"/>
                </a:lnTo>
                <a:lnTo>
                  <a:pt x="124" y="8"/>
                </a:lnTo>
                <a:lnTo>
                  <a:pt x="118" y="5"/>
                </a:lnTo>
                <a:lnTo>
                  <a:pt x="111" y="3"/>
                </a:lnTo>
                <a:lnTo>
                  <a:pt x="105" y="1"/>
                </a:lnTo>
                <a:lnTo>
                  <a:pt x="97" y="0"/>
                </a:lnTo>
                <a:lnTo>
                  <a:pt x="90" y="0"/>
                </a:lnTo>
                <a:lnTo>
                  <a:pt x="70" y="0"/>
                </a:lnTo>
                <a:lnTo>
                  <a:pt x="70" y="0"/>
                </a:lnTo>
                <a:lnTo>
                  <a:pt x="63" y="0"/>
                </a:lnTo>
                <a:lnTo>
                  <a:pt x="56" y="1"/>
                </a:lnTo>
                <a:lnTo>
                  <a:pt x="50" y="3"/>
                </a:lnTo>
                <a:lnTo>
                  <a:pt x="43" y="5"/>
                </a:lnTo>
                <a:lnTo>
                  <a:pt x="37" y="8"/>
                </a:lnTo>
                <a:lnTo>
                  <a:pt x="32" y="12"/>
                </a:lnTo>
                <a:lnTo>
                  <a:pt x="26" y="16"/>
                </a:lnTo>
                <a:lnTo>
                  <a:pt x="21" y="20"/>
                </a:lnTo>
                <a:lnTo>
                  <a:pt x="17" y="25"/>
                </a:lnTo>
                <a:lnTo>
                  <a:pt x="12" y="30"/>
                </a:lnTo>
                <a:lnTo>
                  <a:pt x="9" y="36"/>
                </a:lnTo>
                <a:lnTo>
                  <a:pt x="6" y="42"/>
                </a:lnTo>
                <a:lnTo>
                  <a:pt x="3" y="48"/>
                </a:lnTo>
                <a:lnTo>
                  <a:pt x="2" y="55"/>
                </a:lnTo>
                <a:lnTo>
                  <a:pt x="1" y="63"/>
                </a:lnTo>
                <a:lnTo>
                  <a:pt x="0" y="70"/>
                </a:lnTo>
                <a:lnTo>
                  <a:pt x="0" y="89"/>
                </a:lnTo>
                <a:lnTo>
                  <a:pt x="0" y="89"/>
                </a:lnTo>
                <a:lnTo>
                  <a:pt x="1" y="97"/>
                </a:lnTo>
                <a:lnTo>
                  <a:pt x="2" y="103"/>
                </a:lnTo>
                <a:lnTo>
                  <a:pt x="3" y="110"/>
                </a:lnTo>
                <a:lnTo>
                  <a:pt x="6" y="116"/>
                </a:lnTo>
                <a:lnTo>
                  <a:pt x="9" y="122"/>
                </a:lnTo>
                <a:lnTo>
                  <a:pt x="12" y="128"/>
                </a:lnTo>
                <a:lnTo>
                  <a:pt x="17" y="133"/>
                </a:lnTo>
                <a:lnTo>
                  <a:pt x="21" y="138"/>
                </a:lnTo>
                <a:lnTo>
                  <a:pt x="26" y="143"/>
                </a:lnTo>
                <a:lnTo>
                  <a:pt x="32" y="148"/>
                </a:lnTo>
                <a:lnTo>
                  <a:pt x="37" y="151"/>
                </a:lnTo>
                <a:lnTo>
                  <a:pt x="43" y="154"/>
                </a:lnTo>
                <a:lnTo>
                  <a:pt x="50" y="156"/>
                </a:lnTo>
                <a:lnTo>
                  <a:pt x="56" y="158"/>
                </a:lnTo>
                <a:lnTo>
                  <a:pt x="63" y="159"/>
                </a:lnTo>
                <a:lnTo>
                  <a:pt x="70" y="159"/>
                </a:lnTo>
                <a:lnTo>
                  <a:pt x="90" y="159"/>
                </a:lnTo>
                <a:lnTo>
                  <a:pt x="90" y="159"/>
                </a:lnTo>
                <a:lnTo>
                  <a:pt x="97" y="159"/>
                </a:lnTo>
                <a:lnTo>
                  <a:pt x="105" y="158"/>
                </a:lnTo>
                <a:lnTo>
                  <a:pt x="111" y="156"/>
                </a:lnTo>
                <a:lnTo>
                  <a:pt x="118" y="154"/>
                </a:lnTo>
                <a:lnTo>
                  <a:pt x="124" y="151"/>
                </a:lnTo>
                <a:lnTo>
                  <a:pt x="129" y="148"/>
                </a:lnTo>
                <a:lnTo>
                  <a:pt x="135" y="143"/>
                </a:lnTo>
                <a:lnTo>
                  <a:pt x="140" y="138"/>
                </a:lnTo>
                <a:lnTo>
                  <a:pt x="144" y="133"/>
                </a:lnTo>
                <a:lnTo>
                  <a:pt x="148" y="128"/>
                </a:lnTo>
                <a:lnTo>
                  <a:pt x="151" y="122"/>
                </a:lnTo>
                <a:lnTo>
                  <a:pt x="154" y="116"/>
                </a:lnTo>
                <a:lnTo>
                  <a:pt x="157" y="110"/>
                </a:lnTo>
                <a:lnTo>
                  <a:pt x="158" y="103"/>
                </a:lnTo>
                <a:lnTo>
                  <a:pt x="159" y="97"/>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2" name="Freeform 2214"/>
          <p:cNvSpPr>
            <a:spLocks/>
          </p:cNvSpPr>
          <p:nvPr/>
        </p:nvSpPr>
        <p:spPr bwMode="auto">
          <a:xfrm>
            <a:off x="2473327" y="5170425"/>
            <a:ext cx="42863" cy="41275"/>
          </a:xfrm>
          <a:custGeom>
            <a:avLst/>
            <a:gdLst>
              <a:gd name="T0" fmla="*/ 159 w 159"/>
              <a:gd name="T1" fmla="*/ 70 h 159"/>
              <a:gd name="T2" fmla="*/ 157 w 159"/>
              <a:gd name="T3" fmla="*/ 55 h 159"/>
              <a:gd name="T4" fmla="*/ 153 w 159"/>
              <a:gd name="T5" fmla="*/ 42 h 159"/>
              <a:gd name="T6" fmla="*/ 147 w 159"/>
              <a:gd name="T7" fmla="*/ 30 h 159"/>
              <a:gd name="T8" fmla="*/ 139 w 159"/>
              <a:gd name="T9" fmla="*/ 20 h 159"/>
              <a:gd name="T10" fmla="*/ 128 w 159"/>
              <a:gd name="T11" fmla="*/ 12 h 159"/>
              <a:gd name="T12" fmla="*/ 117 w 159"/>
              <a:gd name="T13" fmla="*/ 5 h 159"/>
              <a:gd name="T14" fmla="*/ 104 w 159"/>
              <a:gd name="T15" fmla="*/ 1 h 159"/>
              <a:gd name="T16" fmla="*/ 90 w 159"/>
              <a:gd name="T17" fmla="*/ 0 h 159"/>
              <a:gd name="T18" fmla="*/ 69 w 159"/>
              <a:gd name="T19" fmla="*/ 0 h 159"/>
              <a:gd name="T20" fmla="*/ 55 w 159"/>
              <a:gd name="T21" fmla="*/ 1 h 159"/>
              <a:gd name="T22" fmla="*/ 42 w 159"/>
              <a:gd name="T23" fmla="*/ 5 h 159"/>
              <a:gd name="T24" fmla="*/ 31 w 159"/>
              <a:gd name="T25" fmla="*/ 12 h 159"/>
              <a:gd name="T26" fmla="*/ 20 w 159"/>
              <a:gd name="T27" fmla="*/ 20 h 159"/>
              <a:gd name="T28" fmla="*/ 12 w 159"/>
              <a:gd name="T29" fmla="*/ 30 h 159"/>
              <a:gd name="T30" fmla="*/ 6 w 159"/>
              <a:gd name="T31" fmla="*/ 42 h 159"/>
              <a:gd name="T32" fmla="*/ 2 w 159"/>
              <a:gd name="T33" fmla="*/ 55 h 159"/>
              <a:gd name="T34" fmla="*/ 0 w 159"/>
              <a:gd name="T35" fmla="*/ 70 h 159"/>
              <a:gd name="T36" fmla="*/ 0 w 159"/>
              <a:gd name="T37" fmla="*/ 89 h 159"/>
              <a:gd name="T38" fmla="*/ 2 w 159"/>
              <a:gd name="T39" fmla="*/ 103 h 159"/>
              <a:gd name="T40" fmla="*/ 6 w 159"/>
              <a:gd name="T41" fmla="*/ 116 h 159"/>
              <a:gd name="T42" fmla="*/ 12 w 159"/>
              <a:gd name="T43" fmla="*/ 128 h 159"/>
              <a:gd name="T44" fmla="*/ 20 w 159"/>
              <a:gd name="T45" fmla="*/ 138 h 159"/>
              <a:gd name="T46" fmla="*/ 31 w 159"/>
              <a:gd name="T47" fmla="*/ 148 h 159"/>
              <a:gd name="T48" fmla="*/ 42 w 159"/>
              <a:gd name="T49" fmla="*/ 154 h 159"/>
              <a:gd name="T50" fmla="*/ 55 w 159"/>
              <a:gd name="T51" fmla="*/ 158 h 159"/>
              <a:gd name="T52" fmla="*/ 69 w 159"/>
              <a:gd name="T53" fmla="*/ 159 h 159"/>
              <a:gd name="T54" fmla="*/ 90 w 159"/>
              <a:gd name="T55" fmla="*/ 159 h 159"/>
              <a:gd name="T56" fmla="*/ 104 w 159"/>
              <a:gd name="T57" fmla="*/ 158 h 159"/>
              <a:gd name="T58" fmla="*/ 117 w 159"/>
              <a:gd name="T59" fmla="*/ 154 h 159"/>
              <a:gd name="T60" fmla="*/ 128 w 159"/>
              <a:gd name="T61" fmla="*/ 148 h 159"/>
              <a:gd name="T62" fmla="*/ 139 w 159"/>
              <a:gd name="T63" fmla="*/ 138 h 159"/>
              <a:gd name="T64" fmla="*/ 147 w 159"/>
              <a:gd name="T65" fmla="*/ 128 h 159"/>
              <a:gd name="T66" fmla="*/ 153 w 159"/>
              <a:gd name="T67" fmla="*/ 116 h 159"/>
              <a:gd name="T68" fmla="*/ 157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8" y="63"/>
                </a:lnTo>
                <a:lnTo>
                  <a:pt x="157" y="55"/>
                </a:lnTo>
                <a:lnTo>
                  <a:pt x="156" y="48"/>
                </a:lnTo>
                <a:lnTo>
                  <a:pt x="153" y="42"/>
                </a:lnTo>
                <a:lnTo>
                  <a:pt x="151" y="36"/>
                </a:lnTo>
                <a:lnTo>
                  <a:pt x="147" y="30"/>
                </a:lnTo>
                <a:lnTo>
                  <a:pt x="143" y="25"/>
                </a:lnTo>
                <a:lnTo>
                  <a:pt x="139" y="20"/>
                </a:lnTo>
                <a:lnTo>
                  <a:pt x="134" y="16"/>
                </a:lnTo>
                <a:lnTo>
                  <a:pt x="128" y="12"/>
                </a:lnTo>
                <a:lnTo>
                  <a:pt x="123" y="8"/>
                </a:lnTo>
                <a:lnTo>
                  <a:pt x="117" y="5"/>
                </a:lnTo>
                <a:lnTo>
                  <a:pt x="110" y="3"/>
                </a:lnTo>
                <a:lnTo>
                  <a:pt x="104" y="1"/>
                </a:lnTo>
                <a:lnTo>
                  <a:pt x="97" y="0"/>
                </a:lnTo>
                <a:lnTo>
                  <a:pt x="90" y="0"/>
                </a:lnTo>
                <a:lnTo>
                  <a:pt x="69" y="0"/>
                </a:lnTo>
                <a:lnTo>
                  <a:pt x="69" y="0"/>
                </a:lnTo>
                <a:lnTo>
                  <a:pt x="62" y="0"/>
                </a:lnTo>
                <a:lnTo>
                  <a:pt x="55" y="1"/>
                </a:lnTo>
                <a:lnTo>
                  <a:pt x="49" y="3"/>
                </a:lnTo>
                <a:lnTo>
                  <a:pt x="42" y="5"/>
                </a:lnTo>
                <a:lnTo>
                  <a:pt x="36" y="8"/>
                </a:lnTo>
                <a:lnTo>
                  <a:pt x="31" y="12"/>
                </a:lnTo>
                <a:lnTo>
                  <a:pt x="25" y="16"/>
                </a:lnTo>
                <a:lnTo>
                  <a:pt x="20" y="20"/>
                </a:lnTo>
                <a:lnTo>
                  <a:pt x="16" y="25"/>
                </a:lnTo>
                <a:lnTo>
                  <a:pt x="12" y="30"/>
                </a:lnTo>
                <a:lnTo>
                  <a:pt x="9" y="36"/>
                </a:lnTo>
                <a:lnTo>
                  <a:pt x="6" y="42"/>
                </a:lnTo>
                <a:lnTo>
                  <a:pt x="3" y="48"/>
                </a:lnTo>
                <a:lnTo>
                  <a:pt x="2" y="55"/>
                </a:lnTo>
                <a:lnTo>
                  <a:pt x="1" y="63"/>
                </a:lnTo>
                <a:lnTo>
                  <a:pt x="0" y="70"/>
                </a:lnTo>
                <a:lnTo>
                  <a:pt x="0" y="89"/>
                </a:lnTo>
                <a:lnTo>
                  <a:pt x="0" y="89"/>
                </a:lnTo>
                <a:lnTo>
                  <a:pt x="1" y="97"/>
                </a:lnTo>
                <a:lnTo>
                  <a:pt x="2" y="103"/>
                </a:lnTo>
                <a:lnTo>
                  <a:pt x="3" y="110"/>
                </a:lnTo>
                <a:lnTo>
                  <a:pt x="6" y="116"/>
                </a:lnTo>
                <a:lnTo>
                  <a:pt x="9" y="122"/>
                </a:lnTo>
                <a:lnTo>
                  <a:pt x="12" y="128"/>
                </a:lnTo>
                <a:lnTo>
                  <a:pt x="16" y="133"/>
                </a:lnTo>
                <a:lnTo>
                  <a:pt x="20" y="138"/>
                </a:lnTo>
                <a:lnTo>
                  <a:pt x="25" y="143"/>
                </a:lnTo>
                <a:lnTo>
                  <a:pt x="31" y="148"/>
                </a:lnTo>
                <a:lnTo>
                  <a:pt x="36" y="151"/>
                </a:lnTo>
                <a:lnTo>
                  <a:pt x="42" y="154"/>
                </a:lnTo>
                <a:lnTo>
                  <a:pt x="49" y="156"/>
                </a:lnTo>
                <a:lnTo>
                  <a:pt x="55" y="158"/>
                </a:lnTo>
                <a:lnTo>
                  <a:pt x="62" y="159"/>
                </a:lnTo>
                <a:lnTo>
                  <a:pt x="69" y="159"/>
                </a:lnTo>
                <a:lnTo>
                  <a:pt x="90" y="159"/>
                </a:lnTo>
                <a:lnTo>
                  <a:pt x="90" y="159"/>
                </a:lnTo>
                <a:lnTo>
                  <a:pt x="97" y="159"/>
                </a:lnTo>
                <a:lnTo>
                  <a:pt x="104" y="158"/>
                </a:lnTo>
                <a:lnTo>
                  <a:pt x="110" y="156"/>
                </a:lnTo>
                <a:lnTo>
                  <a:pt x="117" y="154"/>
                </a:lnTo>
                <a:lnTo>
                  <a:pt x="123" y="151"/>
                </a:lnTo>
                <a:lnTo>
                  <a:pt x="128" y="148"/>
                </a:lnTo>
                <a:lnTo>
                  <a:pt x="134" y="143"/>
                </a:lnTo>
                <a:lnTo>
                  <a:pt x="139" y="138"/>
                </a:lnTo>
                <a:lnTo>
                  <a:pt x="143" y="133"/>
                </a:lnTo>
                <a:lnTo>
                  <a:pt x="147" y="128"/>
                </a:lnTo>
                <a:lnTo>
                  <a:pt x="151" y="122"/>
                </a:lnTo>
                <a:lnTo>
                  <a:pt x="153" y="116"/>
                </a:lnTo>
                <a:lnTo>
                  <a:pt x="156" y="110"/>
                </a:lnTo>
                <a:lnTo>
                  <a:pt x="157" y="103"/>
                </a:lnTo>
                <a:lnTo>
                  <a:pt x="158" y="97"/>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3" name="Freeform 2215"/>
          <p:cNvSpPr>
            <a:spLocks/>
          </p:cNvSpPr>
          <p:nvPr/>
        </p:nvSpPr>
        <p:spPr bwMode="auto">
          <a:xfrm>
            <a:off x="2571752" y="5170425"/>
            <a:ext cx="42863" cy="41275"/>
          </a:xfrm>
          <a:custGeom>
            <a:avLst/>
            <a:gdLst>
              <a:gd name="T0" fmla="*/ 160 w 160"/>
              <a:gd name="T1" fmla="*/ 70 h 159"/>
              <a:gd name="T2" fmla="*/ 158 w 160"/>
              <a:gd name="T3" fmla="*/ 55 h 159"/>
              <a:gd name="T4" fmla="*/ 154 w 160"/>
              <a:gd name="T5" fmla="*/ 42 h 159"/>
              <a:gd name="T6" fmla="*/ 147 w 160"/>
              <a:gd name="T7" fmla="*/ 30 h 159"/>
              <a:gd name="T8" fmla="*/ 139 w 160"/>
              <a:gd name="T9" fmla="*/ 20 h 159"/>
              <a:gd name="T10" fmla="*/ 128 w 160"/>
              <a:gd name="T11" fmla="*/ 12 h 159"/>
              <a:gd name="T12" fmla="*/ 117 w 160"/>
              <a:gd name="T13" fmla="*/ 5 h 159"/>
              <a:gd name="T14" fmla="*/ 104 w 160"/>
              <a:gd name="T15" fmla="*/ 1 h 159"/>
              <a:gd name="T16" fmla="*/ 90 w 160"/>
              <a:gd name="T17" fmla="*/ 0 h 159"/>
              <a:gd name="T18" fmla="*/ 70 w 160"/>
              <a:gd name="T19" fmla="*/ 0 h 159"/>
              <a:gd name="T20" fmla="*/ 55 w 160"/>
              <a:gd name="T21" fmla="*/ 1 h 159"/>
              <a:gd name="T22" fmla="*/ 42 w 160"/>
              <a:gd name="T23" fmla="*/ 5 h 159"/>
              <a:gd name="T24" fmla="*/ 31 w 160"/>
              <a:gd name="T25" fmla="*/ 12 h 159"/>
              <a:gd name="T26" fmla="*/ 20 w 160"/>
              <a:gd name="T27" fmla="*/ 20 h 159"/>
              <a:gd name="T28" fmla="*/ 12 w 160"/>
              <a:gd name="T29" fmla="*/ 30 h 159"/>
              <a:gd name="T30" fmla="*/ 6 w 160"/>
              <a:gd name="T31" fmla="*/ 42 h 159"/>
              <a:gd name="T32" fmla="*/ 2 w 160"/>
              <a:gd name="T33" fmla="*/ 55 h 159"/>
              <a:gd name="T34" fmla="*/ 0 w 160"/>
              <a:gd name="T35" fmla="*/ 70 h 159"/>
              <a:gd name="T36" fmla="*/ 0 w 160"/>
              <a:gd name="T37" fmla="*/ 89 h 159"/>
              <a:gd name="T38" fmla="*/ 2 w 160"/>
              <a:gd name="T39" fmla="*/ 103 h 159"/>
              <a:gd name="T40" fmla="*/ 6 w 160"/>
              <a:gd name="T41" fmla="*/ 116 h 159"/>
              <a:gd name="T42" fmla="*/ 12 w 160"/>
              <a:gd name="T43" fmla="*/ 128 h 159"/>
              <a:gd name="T44" fmla="*/ 20 w 160"/>
              <a:gd name="T45" fmla="*/ 138 h 159"/>
              <a:gd name="T46" fmla="*/ 31 w 160"/>
              <a:gd name="T47" fmla="*/ 148 h 159"/>
              <a:gd name="T48" fmla="*/ 42 w 160"/>
              <a:gd name="T49" fmla="*/ 154 h 159"/>
              <a:gd name="T50" fmla="*/ 55 w 160"/>
              <a:gd name="T51" fmla="*/ 158 h 159"/>
              <a:gd name="T52" fmla="*/ 70 w 160"/>
              <a:gd name="T53" fmla="*/ 159 h 159"/>
              <a:gd name="T54" fmla="*/ 90 w 160"/>
              <a:gd name="T55" fmla="*/ 159 h 159"/>
              <a:gd name="T56" fmla="*/ 104 w 160"/>
              <a:gd name="T57" fmla="*/ 158 h 159"/>
              <a:gd name="T58" fmla="*/ 117 w 160"/>
              <a:gd name="T59" fmla="*/ 154 h 159"/>
              <a:gd name="T60" fmla="*/ 128 w 160"/>
              <a:gd name="T61" fmla="*/ 148 h 159"/>
              <a:gd name="T62" fmla="*/ 139 w 160"/>
              <a:gd name="T63" fmla="*/ 138 h 159"/>
              <a:gd name="T64" fmla="*/ 147 w 160"/>
              <a:gd name="T65" fmla="*/ 128 h 159"/>
              <a:gd name="T66" fmla="*/ 154 w 160"/>
              <a:gd name="T67" fmla="*/ 116 h 159"/>
              <a:gd name="T68" fmla="*/ 158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59" y="63"/>
                </a:lnTo>
                <a:lnTo>
                  <a:pt x="158" y="55"/>
                </a:lnTo>
                <a:lnTo>
                  <a:pt x="157" y="48"/>
                </a:lnTo>
                <a:lnTo>
                  <a:pt x="154" y="42"/>
                </a:lnTo>
                <a:lnTo>
                  <a:pt x="150" y="36"/>
                </a:lnTo>
                <a:lnTo>
                  <a:pt x="147" y="30"/>
                </a:lnTo>
                <a:lnTo>
                  <a:pt x="143" y="25"/>
                </a:lnTo>
                <a:lnTo>
                  <a:pt x="139" y="20"/>
                </a:lnTo>
                <a:lnTo>
                  <a:pt x="134" y="16"/>
                </a:lnTo>
                <a:lnTo>
                  <a:pt x="128" y="12"/>
                </a:lnTo>
                <a:lnTo>
                  <a:pt x="123" y="8"/>
                </a:lnTo>
                <a:lnTo>
                  <a:pt x="117" y="5"/>
                </a:lnTo>
                <a:lnTo>
                  <a:pt x="110" y="3"/>
                </a:lnTo>
                <a:lnTo>
                  <a:pt x="104" y="1"/>
                </a:lnTo>
                <a:lnTo>
                  <a:pt x="97" y="0"/>
                </a:lnTo>
                <a:lnTo>
                  <a:pt x="90" y="0"/>
                </a:lnTo>
                <a:lnTo>
                  <a:pt x="70" y="0"/>
                </a:lnTo>
                <a:lnTo>
                  <a:pt x="70" y="0"/>
                </a:lnTo>
                <a:lnTo>
                  <a:pt x="63" y="0"/>
                </a:lnTo>
                <a:lnTo>
                  <a:pt x="55" y="1"/>
                </a:lnTo>
                <a:lnTo>
                  <a:pt x="49" y="3"/>
                </a:lnTo>
                <a:lnTo>
                  <a:pt x="42" y="5"/>
                </a:lnTo>
                <a:lnTo>
                  <a:pt x="36" y="8"/>
                </a:lnTo>
                <a:lnTo>
                  <a:pt x="31" y="12"/>
                </a:lnTo>
                <a:lnTo>
                  <a:pt x="25" y="16"/>
                </a:lnTo>
                <a:lnTo>
                  <a:pt x="20" y="20"/>
                </a:lnTo>
                <a:lnTo>
                  <a:pt x="16" y="25"/>
                </a:lnTo>
                <a:lnTo>
                  <a:pt x="12" y="30"/>
                </a:lnTo>
                <a:lnTo>
                  <a:pt x="9" y="36"/>
                </a:lnTo>
                <a:lnTo>
                  <a:pt x="6" y="42"/>
                </a:lnTo>
                <a:lnTo>
                  <a:pt x="3" y="48"/>
                </a:lnTo>
                <a:lnTo>
                  <a:pt x="2" y="55"/>
                </a:lnTo>
                <a:lnTo>
                  <a:pt x="1" y="63"/>
                </a:lnTo>
                <a:lnTo>
                  <a:pt x="0" y="70"/>
                </a:lnTo>
                <a:lnTo>
                  <a:pt x="0" y="89"/>
                </a:lnTo>
                <a:lnTo>
                  <a:pt x="0" y="89"/>
                </a:lnTo>
                <a:lnTo>
                  <a:pt x="1" y="97"/>
                </a:lnTo>
                <a:lnTo>
                  <a:pt x="2" y="103"/>
                </a:lnTo>
                <a:lnTo>
                  <a:pt x="3" y="110"/>
                </a:lnTo>
                <a:lnTo>
                  <a:pt x="6" y="116"/>
                </a:lnTo>
                <a:lnTo>
                  <a:pt x="9" y="122"/>
                </a:lnTo>
                <a:lnTo>
                  <a:pt x="12" y="128"/>
                </a:lnTo>
                <a:lnTo>
                  <a:pt x="16" y="133"/>
                </a:lnTo>
                <a:lnTo>
                  <a:pt x="20" y="138"/>
                </a:lnTo>
                <a:lnTo>
                  <a:pt x="25" y="143"/>
                </a:lnTo>
                <a:lnTo>
                  <a:pt x="31" y="148"/>
                </a:lnTo>
                <a:lnTo>
                  <a:pt x="36" y="151"/>
                </a:lnTo>
                <a:lnTo>
                  <a:pt x="42" y="154"/>
                </a:lnTo>
                <a:lnTo>
                  <a:pt x="49" y="156"/>
                </a:lnTo>
                <a:lnTo>
                  <a:pt x="55" y="158"/>
                </a:lnTo>
                <a:lnTo>
                  <a:pt x="63" y="159"/>
                </a:lnTo>
                <a:lnTo>
                  <a:pt x="70" y="159"/>
                </a:lnTo>
                <a:lnTo>
                  <a:pt x="90" y="159"/>
                </a:lnTo>
                <a:lnTo>
                  <a:pt x="90" y="159"/>
                </a:lnTo>
                <a:lnTo>
                  <a:pt x="97" y="159"/>
                </a:lnTo>
                <a:lnTo>
                  <a:pt x="104" y="158"/>
                </a:lnTo>
                <a:lnTo>
                  <a:pt x="110" y="156"/>
                </a:lnTo>
                <a:lnTo>
                  <a:pt x="117" y="154"/>
                </a:lnTo>
                <a:lnTo>
                  <a:pt x="123" y="151"/>
                </a:lnTo>
                <a:lnTo>
                  <a:pt x="128" y="148"/>
                </a:lnTo>
                <a:lnTo>
                  <a:pt x="134" y="143"/>
                </a:lnTo>
                <a:lnTo>
                  <a:pt x="139" y="138"/>
                </a:lnTo>
                <a:lnTo>
                  <a:pt x="143" y="133"/>
                </a:lnTo>
                <a:lnTo>
                  <a:pt x="147" y="128"/>
                </a:lnTo>
                <a:lnTo>
                  <a:pt x="150" y="122"/>
                </a:lnTo>
                <a:lnTo>
                  <a:pt x="154" y="116"/>
                </a:lnTo>
                <a:lnTo>
                  <a:pt x="157" y="110"/>
                </a:lnTo>
                <a:lnTo>
                  <a:pt x="158" y="103"/>
                </a:lnTo>
                <a:lnTo>
                  <a:pt x="159" y="97"/>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4" name="Freeform 2216"/>
          <p:cNvSpPr>
            <a:spLocks/>
          </p:cNvSpPr>
          <p:nvPr/>
        </p:nvSpPr>
        <p:spPr bwMode="auto">
          <a:xfrm>
            <a:off x="2670177" y="5170425"/>
            <a:ext cx="42863" cy="41275"/>
          </a:xfrm>
          <a:custGeom>
            <a:avLst/>
            <a:gdLst>
              <a:gd name="T0" fmla="*/ 160 w 160"/>
              <a:gd name="T1" fmla="*/ 70 h 159"/>
              <a:gd name="T2" fmla="*/ 158 w 160"/>
              <a:gd name="T3" fmla="*/ 55 h 159"/>
              <a:gd name="T4" fmla="*/ 154 w 160"/>
              <a:gd name="T5" fmla="*/ 42 h 159"/>
              <a:gd name="T6" fmla="*/ 148 w 160"/>
              <a:gd name="T7" fmla="*/ 30 h 159"/>
              <a:gd name="T8" fmla="*/ 140 w 160"/>
              <a:gd name="T9" fmla="*/ 20 h 159"/>
              <a:gd name="T10" fmla="*/ 128 w 160"/>
              <a:gd name="T11" fmla="*/ 12 h 159"/>
              <a:gd name="T12" fmla="*/ 117 w 160"/>
              <a:gd name="T13" fmla="*/ 5 h 159"/>
              <a:gd name="T14" fmla="*/ 104 w 160"/>
              <a:gd name="T15" fmla="*/ 1 h 159"/>
              <a:gd name="T16" fmla="*/ 90 w 160"/>
              <a:gd name="T17" fmla="*/ 0 h 159"/>
              <a:gd name="T18" fmla="*/ 70 w 160"/>
              <a:gd name="T19" fmla="*/ 0 h 159"/>
              <a:gd name="T20" fmla="*/ 56 w 160"/>
              <a:gd name="T21" fmla="*/ 1 h 159"/>
              <a:gd name="T22" fmla="*/ 42 w 160"/>
              <a:gd name="T23" fmla="*/ 5 h 159"/>
              <a:gd name="T24" fmla="*/ 31 w 160"/>
              <a:gd name="T25" fmla="*/ 12 h 159"/>
              <a:gd name="T26" fmla="*/ 20 w 160"/>
              <a:gd name="T27" fmla="*/ 20 h 159"/>
              <a:gd name="T28" fmla="*/ 12 w 160"/>
              <a:gd name="T29" fmla="*/ 30 h 159"/>
              <a:gd name="T30" fmla="*/ 6 w 160"/>
              <a:gd name="T31" fmla="*/ 42 h 159"/>
              <a:gd name="T32" fmla="*/ 2 w 160"/>
              <a:gd name="T33" fmla="*/ 55 h 159"/>
              <a:gd name="T34" fmla="*/ 0 w 160"/>
              <a:gd name="T35" fmla="*/ 70 h 159"/>
              <a:gd name="T36" fmla="*/ 0 w 160"/>
              <a:gd name="T37" fmla="*/ 89 h 159"/>
              <a:gd name="T38" fmla="*/ 2 w 160"/>
              <a:gd name="T39" fmla="*/ 103 h 159"/>
              <a:gd name="T40" fmla="*/ 6 w 160"/>
              <a:gd name="T41" fmla="*/ 116 h 159"/>
              <a:gd name="T42" fmla="*/ 12 w 160"/>
              <a:gd name="T43" fmla="*/ 128 h 159"/>
              <a:gd name="T44" fmla="*/ 20 w 160"/>
              <a:gd name="T45" fmla="*/ 138 h 159"/>
              <a:gd name="T46" fmla="*/ 31 w 160"/>
              <a:gd name="T47" fmla="*/ 148 h 159"/>
              <a:gd name="T48" fmla="*/ 42 w 160"/>
              <a:gd name="T49" fmla="*/ 154 h 159"/>
              <a:gd name="T50" fmla="*/ 56 w 160"/>
              <a:gd name="T51" fmla="*/ 158 h 159"/>
              <a:gd name="T52" fmla="*/ 70 w 160"/>
              <a:gd name="T53" fmla="*/ 159 h 159"/>
              <a:gd name="T54" fmla="*/ 90 w 160"/>
              <a:gd name="T55" fmla="*/ 159 h 159"/>
              <a:gd name="T56" fmla="*/ 104 w 160"/>
              <a:gd name="T57" fmla="*/ 158 h 159"/>
              <a:gd name="T58" fmla="*/ 117 w 160"/>
              <a:gd name="T59" fmla="*/ 154 h 159"/>
              <a:gd name="T60" fmla="*/ 128 w 160"/>
              <a:gd name="T61" fmla="*/ 148 h 159"/>
              <a:gd name="T62" fmla="*/ 140 w 160"/>
              <a:gd name="T63" fmla="*/ 138 h 159"/>
              <a:gd name="T64" fmla="*/ 148 w 160"/>
              <a:gd name="T65" fmla="*/ 128 h 159"/>
              <a:gd name="T66" fmla="*/ 154 w 160"/>
              <a:gd name="T67" fmla="*/ 116 h 159"/>
              <a:gd name="T68" fmla="*/ 158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59" y="63"/>
                </a:lnTo>
                <a:lnTo>
                  <a:pt x="158" y="55"/>
                </a:lnTo>
                <a:lnTo>
                  <a:pt x="157" y="48"/>
                </a:lnTo>
                <a:lnTo>
                  <a:pt x="154" y="42"/>
                </a:lnTo>
                <a:lnTo>
                  <a:pt x="151" y="36"/>
                </a:lnTo>
                <a:lnTo>
                  <a:pt x="148" y="30"/>
                </a:lnTo>
                <a:lnTo>
                  <a:pt x="144" y="25"/>
                </a:lnTo>
                <a:lnTo>
                  <a:pt x="140" y="20"/>
                </a:lnTo>
                <a:lnTo>
                  <a:pt x="135" y="16"/>
                </a:lnTo>
                <a:lnTo>
                  <a:pt x="128" y="12"/>
                </a:lnTo>
                <a:lnTo>
                  <a:pt x="123" y="8"/>
                </a:lnTo>
                <a:lnTo>
                  <a:pt x="117" y="5"/>
                </a:lnTo>
                <a:lnTo>
                  <a:pt x="110" y="3"/>
                </a:lnTo>
                <a:lnTo>
                  <a:pt x="104" y="1"/>
                </a:lnTo>
                <a:lnTo>
                  <a:pt x="97" y="0"/>
                </a:lnTo>
                <a:lnTo>
                  <a:pt x="90" y="0"/>
                </a:lnTo>
                <a:lnTo>
                  <a:pt x="70" y="0"/>
                </a:lnTo>
                <a:lnTo>
                  <a:pt x="70" y="0"/>
                </a:lnTo>
                <a:lnTo>
                  <a:pt x="63" y="0"/>
                </a:lnTo>
                <a:lnTo>
                  <a:pt x="56" y="1"/>
                </a:lnTo>
                <a:lnTo>
                  <a:pt x="50" y="3"/>
                </a:lnTo>
                <a:lnTo>
                  <a:pt x="42" y="5"/>
                </a:lnTo>
                <a:lnTo>
                  <a:pt x="36" y="8"/>
                </a:lnTo>
                <a:lnTo>
                  <a:pt x="31" y="12"/>
                </a:lnTo>
                <a:lnTo>
                  <a:pt x="25" y="16"/>
                </a:lnTo>
                <a:lnTo>
                  <a:pt x="20" y="20"/>
                </a:lnTo>
                <a:lnTo>
                  <a:pt x="16" y="25"/>
                </a:lnTo>
                <a:lnTo>
                  <a:pt x="12" y="30"/>
                </a:lnTo>
                <a:lnTo>
                  <a:pt x="9" y="36"/>
                </a:lnTo>
                <a:lnTo>
                  <a:pt x="6" y="42"/>
                </a:lnTo>
                <a:lnTo>
                  <a:pt x="3" y="48"/>
                </a:lnTo>
                <a:lnTo>
                  <a:pt x="2" y="55"/>
                </a:lnTo>
                <a:lnTo>
                  <a:pt x="1" y="63"/>
                </a:lnTo>
                <a:lnTo>
                  <a:pt x="0" y="70"/>
                </a:lnTo>
                <a:lnTo>
                  <a:pt x="0" y="89"/>
                </a:lnTo>
                <a:lnTo>
                  <a:pt x="0" y="89"/>
                </a:lnTo>
                <a:lnTo>
                  <a:pt x="1" y="97"/>
                </a:lnTo>
                <a:lnTo>
                  <a:pt x="2" y="103"/>
                </a:lnTo>
                <a:lnTo>
                  <a:pt x="3" y="110"/>
                </a:lnTo>
                <a:lnTo>
                  <a:pt x="6" y="116"/>
                </a:lnTo>
                <a:lnTo>
                  <a:pt x="9" y="122"/>
                </a:lnTo>
                <a:lnTo>
                  <a:pt x="12" y="128"/>
                </a:lnTo>
                <a:lnTo>
                  <a:pt x="16" y="133"/>
                </a:lnTo>
                <a:lnTo>
                  <a:pt x="20" y="138"/>
                </a:lnTo>
                <a:lnTo>
                  <a:pt x="25" y="143"/>
                </a:lnTo>
                <a:lnTo>
                  <a:pt x="31" y="148"/>
                </a:lnTo>
                <a:lnTo>
                  <a:pt x="36" y="151"/>
                </a:lnTo>
                <a:lnTo>
                  <a:pt x="42" y="154"/>
                </a:lnTo>
                <a:lnTo>
                  <a:pt x="50" y="156"/>
                </a:lnTo>
                <a:lnTo>
                  <a:pt x="56" y="158"/>
                </a:lnTo>
                <a:lnTo>
                  <a:pt x="63" y="159"/>
                </a:lnTo>
                <a:lnTo>
                  <a:pt x="70" y="159"/>
                </a:lnTo>
                <a:lnTo>
                  <a:pt x="90" y="159"/>
                </a:lnTo>
                <a:lnTo>
                  <a:pt x="90" y="159"/>
                </a:lnTo>
                <a:lnTo>
                  <a:pt x="97" y="159"/>
                </a:lnTo>
                <a:lnTo>
                  <a:pt x="104" y="158"/>
                </a:lnTo>
                <a:lnTo>
                  <a:pt x="110" y="156"/>
                </a:lnTo>
                <a:lnTo>
                  <a:pt x="117" y="154"/>
                </a:lnTo>
                <a:lnTo>
                  <a:pt x="123" y="151"/>
                </a:lnTo>
                <a:lnTo>
                  <a:pt x="128" y="148"/>
                </a:lnTo>
                <a:lnTo>
                  <a:pt x="135" y="143"/>
                </a:lnTo>
                <a:lnTo>
                  <a:pt x="140" y="138"/>
                </a:lnTo>
                <a:lnTo>
                  <a:pt x="144" y="133"/>
                </a:lnTo>
                <a:lnTo>
                  <a:pt x="148" y="128"/>
                </a:lnTo>
                <a:lnTo>
                  <a:pt x="151" y="122"/>
                </a:lnTo>
                <a:lnTo>
                  <a:pt x="154" y="116"/>
                </a:lnTo>
                <a:lnTo>
                  <a:pt x="157" y="110"/>
                </a:lnTo>
                <a:lnTo>
                  <a:pt x="158" y="103"/>
                </a:lnTo>
                <a:lnTo>
                  <a:pt x="159" y="97"/>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5" name="Freeform 2217"/>
          <p:cNvSpPr>
            <a:spLocks/>
          </p:cNvSpPr>
          <p:nvPr/>
        </p:nvSpPr>
        <p:spPr bwMode="auto">
          <a:xfrm>
            <a:off x="2768602" y="5170425"/>
            <a:ext cx="42863" cy="41275"/>
          </a:xfrm>
          <a:custGeom>
            <a:avLst/>
            <a:gdLst>
              <a:gd name="T0" fmla="*/ 160 w 160"/>
              <a:gd name="T1" fmla="*/ 70 h 159"/>
              <a:gd name="T2" fmla="*/ 158 w 160"/>
              <a:gd name="T3" fmla="*/ 55 h 159"/>
              <a:gd name="T4" fmla="*/ 154 w 160"/>
              <a:gd name="T5" fmla="*/ 42 h 159"/>
              <a:gd name="T6" fmla="*/ 148 w 160"/>
              <a:gd name="T7" fmla="*/ 30 h 159"/>
              <a:gd name="T8" fmla="*/ 140 w 160"/>
              <a:gd name="T9" fmla="*/ 20 h 159"/>
              <a:gd name="T10" fmla="*/ 129 w 160"/>
              <a:gd name="T11" fmla="*/ 12 h 159"/>
              <a:gd name="T12" fmla="*/ 118 w 160"/>
              <a:gd name="T13" fmla="*/ 5 h 159"/>
              <a:gd name="T14" fmla="*/ 104 w 160"/>
              <a:gd name="T15" fmla="*/ 1 h 159"/>
              <a:gd name="T16" fmla="*/ 90 w 160"/>
              <a:gd name="T17" fmla="*/ 0 h 159"/>
              <a:gd name="T18" fmla="*/ 70 w 160"/>
              <a:gd name="T19" fmla="*/ 0 h 159"/>
              <a:gd name="T20" fmla="*/ 56 w 160"/>
              <a:gd name="T21" fmla="*/ 1 h 159"/>
              <a:gd name="T22" fmla="*/ 43 w 160"/>
              <a:gd name="T23" fmla="*/ 5 h 159"/>
              <a:gd name="T24" fmla="*/ 32 w 160"/>
              <a:gd name="T25" fmla="*/ 12 h 159"/>
              <a:gd name="T26" fmla="*/ 20 w 160"/>
              <a:gd name="T27" fmla="*/ 20 h 159"/>
              <a:gd name="T28" fmla="*/ 12 w 160"/>
              <a:gd name="T29" fmla="*/ 30 h 159"/>
              <a:gd name="T30" fmla="*/ 6 w 160"/>
              <a:gd name="T31" fmla="*/ 42 h 159"/>
              <a:gd name="T32" fmla="*/ 2 w 160"/>
              <a:gd name="T33" fmla="*/ 55 h 159"/>
              <a:gd name="T34" fmla="*/ 0 w 160"/>
              <a:gd name="T35" fmla="*/ 70 h 159"/>
              <a:gd name="T36" fmla="*/ 0 w 160"/>
              <a:gd name="T37" fmla="*/ 89 h 159"/>
              <a:gd name="T38" fmla="*/ 2 w 160"/>
              <a:gd name="T39" fmla="*/ 103 h 159"/>
              <a:gd name="T40" fmla="*/ 6 w 160"/>
              <a:gd name="T41" fmla="*/ 116 h 159"/>
              <a:gd name="T42" fmla="*/ 12 w 160"/>
              <a:gd name="T43" fmla="*/ 128 h 159"/>
              <a:gd name="T44" fmla="*/ 20 w 160"/>
              <a:gd name="T45" fmla="*/ 138 h 159"/>
              <a:gd name="T46" fmla="*/ 32 w 160"/>
              <a:gd name="T47" fmla="*/ 148 h 159"/>
              <a:gd name="T48" fmla="*/ 43 w 160"/>
              <a:gd name="T49" fmla="*/ 154 h 159"/>
              <a:gd name="T50" fmla="*/ 56 w 160"/>
              <a:gd name="T51" fmla="*/ 158 h 159"/>
              <a:gd name="T52" fmla="*/ 70 w 160"/>
              <a:gd name="T53" fmla="*/ 159 h 159"/>
              <a:gd name="T54" fmla="*/ 90 w 160"/>
              <a:gd name="T55" fmla="*/ 159 h 159"/>
              <a:gd name="T56" fmla="*/ 104 w 160"/>
              <a:gd name="T57" fmla="*/ 158 h 159"/>
              <a:gd name="T58" fmla="*/ 118 w 160"/>
              <a:gd name="T59" fmla="*/ 154 h 159"/>
              <a:gd name="T60" fmla="*/ 129 w 160"/>
              <a:gd name="T61" fmla="*/ 148 h 159"/>
              <a:gd name="T62" fmla="*/ 140 w 160"/>
              <a:gd name="T63" fmla="*/ 138 h 159"/>
              <a:gd name="T64" fmla="*/ 148 w 160"/>
              <a:gd name="T65" fmla="*/ 128 h 159"/>
              <a:gd name="T66" fmla="*/ 154 w 160"/>
              <a:gd name="T67" fmla="*/ 116 h 159"/>
              <a:gd name="T68" fmla="*/ 158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59" y="63"/>
                </a:lnTo>
                <a:lnTo>
                  <a:pt x="158" y="55"/>
                </a:lnTo>
                <a:lnTo>
                  <a:pt x="157" y="48"/>
                </a:lnTo>
                <a:lnTo>
                  <a:pt x="154" y="42"/>
                </a:lnTo>
                <a:lnTo>
                  <a:pt x="151" y="36"/>
                </a:lnTo>
                <a:lnTo>
                  <a:pt x="148" y="30"/>
                </a:lnTo>
                <a:lnTo>
                  <a:pt x="144" y="25"/>
                </a:lnTo>
                <a:lnTo>
                  <a:pt x="140" y="20"/>
                </a:lnTo>
                <a:lnTo>
                  <a:pt x="135" y="16"/>
                </a:lnTo>
                <a:lnTo>
                  <a:pt x="129" y="12"/>
                </a:lnTo>
                <a:lnTo>
                  <a:pt x="124" y="8"/>
                </a:lnTo>
                <a:lnTo>
                  <a:pt x="118" y="5"/>
                </a:lnTo>
                <a:lnTo>
                  <a:pt x="110" y="3"/>
                </a:lnTo>
                <a:lnTo>
                  <a:pt x="104" y="1"/>
                </a:lnTo>
                <a:lnTo>
                  <a:pt x="97" y="0"/>
                </a:lnTo>
                <a:lnTo>
                  <a:pt x="90" y="0"/>
                </a:lnTo>
                <a:lnTo>
                  <a:pt x="70" y="0"/>
                </a:lnTo>
                <a:lnTo>
                  <a:pt x="70" y="0"/>
                </a:lnTo>
                <a:lnTo>
                  <a:pt x="63" y="0"/>
                </a:lnTo>
                <a:lnTo>
                  <a:pt x="56" y="1"/>
                </a:lnTo>
                <a:lnTo>
                  <a:pt x="50" y="3"/>
                </a:lnTo>
                <a:lnTo>
                  <a:pt x="43" y="5"/>
                </a:lnTo>
                <a:lnTo>
                  <a:pt x="37" y="8"/>
                </a:lnTo>
                <a:lnTo>
                  <a:pt x="32" y="12"/>
                </a:lnTo>
                <a:lnTo>
                  <a:pt x="26" y="16"/>
                </a:lnTo>
                <a:lnTo>
                  <a:pt x="20" y="20"/>
                </a:lnTo>
                <a:lnTo>
                  <a:pt x="16" y="25"/>
                </a:lnTo>
                <a:lnTo>
                  <a:pt x="12" y="30"/>
                </a:lnTo>
                <a:lnTo>
                  <a:pt x="9" y="36"/>
                </a:lnTo>
                <a:lnTo>
                  <a:pt x="6" y="42"/>
                </a:lnTo>
                <a:lnTo>
                  <a:pt x="3" y="48"/>
                </a:lnTo>
                <a:lnTo>
                  <a:pt x="2" y="55"/>
                </a:lnTo>
                <a:lnTo>
                  <a:pt x="1" y="63"/>
                </a:lnTo>
                <a:lnTo>
                  <a:pt x="0" y="70"/>
                </a:lnTo>
                <a:lnTo>
                  <a:pt x="0" y="89"/>
                </a:lnTo>
                <a:lnTo>
                  <a:pt x="0" y="89"/>
                </a:lnTo>
                <a:lnTo>
                  <a:pt x="1" y="97"/>
                </a:lnTo>
                <a:lnTo>
                  <a:pt x="2" y="103"/>
                </a:lnTo>
                <a:lnTo>
                  <a:pt x="3" y="110"/>
                </a:lnTo>
                <a:lnTo>
                  <a:pt x="6" y="116"/>
                </a:lnTo>
                <a:lnTo>
                  <a:pt x="9" y="122"/>
                </a:lnTo>
                <a:lnTo>
                  <a:pt x="12" y="128"/>
                </a:lnTo>
                <a:lnTo>
                  <a:pt x="16" y="133"/>
                </a:lnTo>
                <a:lnTo>
                  <a:pt x="20" y="138"/>
                </a:lnTo>
                <a:lnTo>
                  <a:pt x="26" y="143"/>
                </a:lnTo>
                <a:lnTo>
                  <a:pt x="32" y="148"/>
                </a:lnTo>
                <a:lnTo>
                  <a:pt x="37" y="151"/>
                </a:lnTo>
                <a:lnTo>
                  <a:pt x="43" y="154"/>
                </a:lnTo>
                <a:lnTo>
                  <a:pt x="50" y="156"/>
                </a:lnTo>
                <a:lnTo>
                  <a:pt x="56" y="158"/>
                </a:lnTo>
                <a:lnTo>
                  <a:pt x="63" y="159"/>
                </a:lnTo>
                <a:lnTo>
                  <a:pt x="70" y="159"/>
                </a:lnTo>
                <a:lnTo>
                  <a:pt x="90" y="159"/>
                </a:lnTo>
                <a:lnTo>
                  <a:pt x="90" y="159"/>
                </a:lnTo>
                <a:lnTo>
                  <a:pt x="97" y="159"/>
                </a:lnTo>
                <a:lnTo>
                  <a:pt x="104" y="158"/>
                </a:lnTo>
                <a:lnTo>
                  <a:pt x="110" y="156"/>
                </a:lnTo>
                <a:lnTo>
                  <a:pt x="118" y="154"/>
                </a:lnTo>
                <a:lnTo>
                  <a:pt x="124" y="151"/>
                </a:lnTo>
                <a:lnTo>
                  <a:pt x="129" y="148"/>
                </a:lnTo>
                <a:lnTo>
                  <a:pt x="135" y="143"/>
                </a:lnTo>
                <a:lnTo>
                  <a:pt x="140" y="138"/>
                </a:lnTo>
                <a:lnTo>
                  <a:pt x="144" y="133"/>
                </a:lnTo>
                <a:lnTo>
                  <a:pt x="148" y="128"/>
                </a:lnTo>
                <a:lnTo>
                  <a:pt x="151" y="122"/>
                </a:lnTo>
                <a:lnTo>
                  <a:pt x="154" y="116"/>
                </a:lnTo>
                <a:lnTo>
                  <a:pt x="157" y="110"/>
                </a:lnTo>
                <a:lnTo>
                  <a:pt x="158" y="103"/>
                </a:lnTo>
                <a:lnTo>
                  <a:pt x="159" y="97"/>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6" name="Freeform 2218"/>
          <p:cNvSpPr>
            <a:spLocks/>
          </p:cNvSpPr>
          <p:nvPr/>
        </p:nvSpPr>
        <p:spPr bwMode="auto">
          <a:xfrm>
            <a:off x="2867027" y="5170425"/>
            <a:ext cx="42863" cy="41275"/>
          </a:xfrm>
          <a:custGeom>
            <a:avLst/>
            <a:gdLst>
              <a:gd name="T0" fmla="*/ 160 w 160"/>
              <a:gd name="T1" fmla="*/ 70 h 159"/>
              <a:gd name="T2" fmla="*/ 158 w 160"/>
              <a:gd name="T3" fmla="*/ 55 h 159"/>
              <a:gd name="T4" fmla="*/ 154 w 160"/>
              <a:gd name="T5" fmla="*/ 42 h 159"/>
              <a:gd name="T6" fmla="*/ 148 w 160"/>
              <a:gd name="T7" fmla="*/ 30 h 159"/>
              <a:gd name="T8" fmla="*/ 140 w 160"/>
              <a:gd name="T9" fmla="*/ 20 h 159"/>
              <a:gd name="T10" fmla="*/ 129 w 160"/>
              <a:gd name="T11" fmla="*/ 12 h 159"/>
              <a:gd name="T12" fmla="*/ 118 w 160"/>
              <a:gd name="T13" fmla="*/ 5 h 159"/>
              <a:gd name="T14" fmla="*/ 105 w 160"/>
              <a:gd name="T15" fmla="*/ 1 h 159"/>
              <a:gd name="T16" fmla="*/ 90 w 160"/>
              <a:gd name="T17" fmla="*/ 0 h 159"/>
              <a:gd name="T18" fmla="*/ 70 w 160"/>
              <a:gd name="T19" fmla="*/ 0 h 159"/>
              <a:gd name="T20" fmla="*/ 56 w 160"/>
              <a:gd name="T21" fmla="*/ 1 h 159"/>
              <a:gd name="T22" fmla="*/ 43 w 160"/>
              <a:gd name="T23" fmla="*/ 5 h 159"/>
              <a:gd name="T24" fmla="*/ 32 w 160"/>
              <a:gd name="T25" fmla="*/ 12 h 159"/>
              <a:gd name="T26" fmla="*/ 21 w 160"/>
              <a:gd name="T27" fmla="*/ 20 h 159"/>
              <a:gd name="T28" fmla="*/ 13 w 160"/>
              <a:gd name="T29" fmla="*/ 30 h 159"/>
              <a:gd name="T30" fmla="*/ 7 w 160"/>
              <a:gd name="T31" fmla="*/ 42 h 159"/>
              <a:gd name="T32" fmla="*/ 2 w 160"/>
              <a:gd name="T33" fmla="*/ 55 h 159"/>
              <a:gd name="T34" fmla="*/ 0 w 160"/>
              <a:gd name="T35" fmla="*/ 70 h 159"/>
              <a:gd name="T36" fmla="*/ 0 w 160"/>
              <a:gd name="T37" fmla="*/ 89 h 159"/>
              <a:gd name="T38" fmla="*/ 2 w 160"/>
              <a:gd name="T39" fmla="*/ 103 h 159"/>
              <a:gd name="T40" fmla="*/ 7 w 160"/>
              <a:gd name="T41" fmla="*/ 116 h 159"/>
              <a:gd name="T42" fmla="*/ 13 w 160"/>
              <a:gd name="T43" fmla="*/ 128 h 159"/>
              <a:gd name="T44" fmla="*/ 21 w 160"/>
              <a:gd name="T45" fmla="*/ 138 h 159"/>
              <a:gd name="T46" fmla="*/ 32 w 160"/>
              <a:gd name="T47" fmla="*/ 148 h 159"/>
              <a:gd name="T48" fmla="*/ 43 w 160"/>
              <a:gd name="T49" fmla="*/ 154 h 159"/>
              <a:gd name="T50" fmla="*/ 56 w 160"/>
              <a:gd name="T51" fmla="*/ 158 h 159"/>
              <a:gd name="T52" fmla="*/ 70 w 160"/>
              <a:gd name="T53" fmla="*/ 159 h 159"/>
              <a:gd name="T54" fmla="*/ 90 w 160"/>
              <a:gd name="T55" fmla="*/ 159 h 159"/>
              <a:gd name="T56" fmla="*/ 105 w 160"/>
              <a:gd name="T57" fmla="*/ 158 h 159"/>
              <a:gd name="T58" fmla="*/ 118 w 160"/>
              <a:gd name="T59" fmla="*/ 154 h 159"/>
              <a:gd name="T60" fmla="*/ 129 w 160"/>
              <a:gd name="T61" fmla="*/ 148 h 159"/>
              <a:gd name="T62" fmla="*/ 140 w 160"/>
              <a:gd name="T63" fmla="*/ 138 h 159"/>
              <a:gd name="T64" fmla="*/ 148 w 160"/>
              <a:gd name="T65" fmla="*/ 128 h 159"/>
              <a:gd name="T66" fmla="*/ 154 w 160"/>
              <a:gd name="T67" fmla="*/ 116 h 159"/>
              <a:gd name="T68" fmla="*/ 158 w 160"/>
              <a:gd name="T69" fmla="*/ 103 h 159"/>
              <a:gd name="T70" fmla="*/ 160 w 160"/>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59">
                <a:moveTo>
                  <a:pt x="160" y="70"/>
                </a:moveTo>
                <a:lnTo>
                  <a:pt x="160" y="70"/>
                </a:lnTo>
                <a:lnTo>
                  <a:pt x="159" y="63"/>
                </a:lnTo>
                <a:lnTo>
                  <a:pt x="158" y="55"/>
                </a:lnTo>
                <a:lnTo>
                  <a:pt x="157" y="48"/>
                </a:lnTo>
                <a:lnTo>
                  <a:pt x="154" y="42"/>
                </a:lnTo>
                <a:lnTo>
                  <a:pt x="151" y="36"/>
                </a:lnTo>
                <a:lnTo>
                  <a:pt x="148" y="30"/>
                </a:lnTo>
                <a:lnTo>
                  <a:pt x="144" y="25"/>
                </a:lnTo>
                <a:lnTo>
                  <a:pt x="140" y="20"/>
                </a:lnTo>
                <a:lnTo>
                  <a:pt x="135" y="16"/>
                </a:lnTo>
                <a:lnTo>
                  <a:pt x="129" y="12"/>
                </a:lnTo>
                <a:lnTo>
                  <a:pt x="124" y="8"/>
                </a:lnTo>
                <a:lnTo>
                  <a:pt x="118" y="5"/>
                </a:lnTo>
                <a:lnTo>
                  <a:pt x="111" y="3"/>
                </a:lnTo>
                <a:lnTo>
                  <a:pt x="105" y="1"/>
                </a:lnTo>
                <a:lnTo>
                  <a:pt x="98" y="0"/>
                </a:lnTo>
                <a:lnTo>
                  <a:pt x="90" y="0"/>
                </a:lnTo>
                <a:lnTo>
                  <a:pt x="70" y="0"/>
                </a:lnTo>
                <a:lnTo>
                  <a:pt x="70" y="0"/>
                </a:lnTo>
                <a:lnTo>
                  <a:pt x="63" y="0"/>
                </a:lnTo>
                <a:lnTo>
                  <a:pt x="56" y="1"/>
                </a:lnTo>
                <a:lnTo>
                  <a:pt x="50" y="3"/>
                </a:lnTo>
                <a:lnTo>
                  <a:pt x="43" y="5"/>
                </a:lnTo>
                <a:lnTo>
                  <a:pt x="37" y="8"/>
                </a:lnTo>
                <a:lnTo>
                  <a:pt x="32" y="12"/>
                </a:lnTo>
                <a:lnTo>
                  <a:pt x="26" y="16"/>
                </a:lnTo>
                <a:lnTo>
                  <a:pt x="21" y="20"/>
                </a:lnTo>
                <a:lnTo>
                  <a:pt x="17" y="25"/>
                </a:lnTo>
                <a:lnTo>
                  <a:pt x="13" y="30"/>
                </a:lnTo>
                <a:lnTo>
                  <a:pt x="9" y="36"/>
                </a:lnTo>
                <a:lnTo>
                  <a:pt x="7" y="42"/>
                </a:lnTo>
                <a:lnTo>
                  <a:pt x="3" y="48"/>
                </a:lnTo>
                <a:lnTo>
                  <a:pt x="2" y="55"/>
                </a:lnTo>
                <a:lnTo>
                  <a:pt x="1" y="63"/>
                </a:lnTo>
                <a:lnTo>
                  <a:pt x="0" y="70"/>
                </a:lnTo>
                <a:lnTo>
                  <a:pt x="0" y="89"/>
                </a:lnTo>
                <a:lnTo>
                  <a:pt x="0" y="89"/>
                </a:lnTo>
                <a:lnTo>
                  <a:pt x="1" y="97"/>
                </a:lnTo>
                <a:lnTo>
                  <a:pt x="2" y="103"/>
                </a:lnTo>
                <a:lnTo>
                  <a:pt x="3" y="110"/>
                </a:lnTo>
                <a:lnTo>
                  <a:pt x="7" y="116"/>
                </a:lnTo>
                <a:lnTo>
                  <a:pt x="9" y="122"/>
                </a:lnTo>
                <a:lnTo>
                  <a:pt x="13" y="128"/>
                </a:lnTo>
                <a:lnTo>
                  <a:pt x="17" y="133"/>
                </a:lnTo>
                <a:lnTo>
                  <a:pt x="21" y="138"/>
                </a:lnTo>
                <a:lnTo>
                  <a:pt x="26" y="143"/>
                </a:lnTo>
                <a:lnTo>
                  <a:pt x="32" y="148"/>
                </a:lnTo>
                <a:lnTo>
                  <a:pt x="37" y="151"/>
                </a:lnTo>
                <a:lnTo>
                  <a:pt x="43" y="154"/>
                </a:lnTo>
                <a:lnTo>
                  <a:pt x="50" y="156"/>
                </a:lnTo>
                <a:lnTo>
                  <a:pt x="56" y="158"/>
                </a:lnTo>
                <a:lnTo>
                  <a:pt x="63" y="159"/>
                </a:lnTo>
                <a:lnTo>
                  <a:pt x="70" y="159"/>
                </a:lnTo>
                <a:lnTo>
                  <a:pt x="90" y="159"/>
                </a:lnTo>
                <a:lnTo>
                  <a:pt x="90" y="159"/>
                </a:lnTo>
                <a:lnTo>
                  <a:pt x="98" y="159"/>
                </a:lnTo>
                <a:lnTo>
                  <a:pt x="105" y="158"/>
                </a:lnTo>
                <a:lnTo>
                  <a:pt x="111" y="156"/>
                </a:lnTo>
                <a:lnTo>
                  <a:pt x="118" y="154"/>
                </a:lnTo>
                <a:lnTo>
                  <a:pt x="124" y="151"/>
                </a:lnTo>
                <a:lnTo>
                  <a:pt x="129" y="148"/>
                </a:lnTo>
                <a:lnTo>
                  <a:pt x="135" y="143"/>
                </a:lnTo>
                <a:lnTo>
                  <a:pt x="140" y="138"/>
                </a:lnTo>
                <a:lnTo>
                  <a:pt x="144" y="133"/>
                </a:lnTo>
                <a:lnTo>
                  <a:pt x="148" y="128"/>
                </a:lnTo>
                <a:lnTo>
                  <a:pt x="151" y="122"/>
                </a:lnTo>
                <a:lnTo>
                  <a:pt x="154" y="116"/>
                </a:lnTo>
                <a:lnTo>
                  <a:pt x="157" y="110"/>
                </a:lnTo>
                <a:lnTo>
                  <a:pt x="158" y="103"/>
                </a:lnTo>
                <a:lnTo>
                  <a:pt x="159" y="97"/>
                </a:lnTo>
                <a:lnTo>
                  <a:pt x="160" y="89"/>
                </a:lnTo>
                <a:lnTo>
                  <a:pt x="160"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7" name="Freeform 2219"/>
          <p:cNvSpPr>
            <a:spLocks/>
          </p:cNvSpPr>
          <p:nvPr/>
        </p:nvSpPr>
        <p:spPr bwMode="auto">
          <a:xfrm>
            <a:off x="2965452" y="5170425"/>
            <a:ext cx="42863" cy="41275"/>
          </a:xfrm>
          <a:custGeom>
            <a:avLst/>
            <a:gdLst>
              <a:gd name="T0" fmla="*/ 159 w 159"/>
              <a:gd name="T1" fmla="*/ 70 h 159"/>
              <a:gd name="T2" fmla="*/ 157 w 159"/>
              <a:gd name="T3" fmla="*/ 55 h 159"/>
              <a:gd name="T4" fmla="*/ 153 w 159"/>
              <a:gd name="T5" fmla="*/ 42 h 159"/>
              <a:gd name="T6" fmla="*/ 147 w 159"/>
              <a:gd name="T7" fmla="*/ 30 h 159"/>
              <a:gd name="T8" fmla="*/ 139 w 159"/>
              <a:gd name="T9" fmla="*/ 20 h 159"/>
              <a:gd name="T10" fmla="*/ 128 w 159"/>
              <a:gd name="T11" fmla="*/ 12 h 159"/>
              <a:gd name="T12" fmla="*/ 117 w 159"/>
              <a:gd name="T13" fmla="*/ 5 h 159"/>
              <a:gd name="T14" fmla="*/ 104 w 159"/>
              <a:gd name="T15" fmla="*/ 1 h 159"/>
              <a:gd name="T16" fmla="*/ 90 w 159"/>
              <a:gd name="T17" fmla="*/ 0 h 159"/>
              <a:gd name="T18" fmla="*/ 69 w 159"/>
              <a:gd name="T19" fmla="*/ 0 h 159"/>
              <a:gd name="T20" fmla="*/ 55 w 159"/>
              <a:gd name="T21" fmla="*/ 1 h 159"/>
              <a:gd name="T22" fmla="*/ 42 w 159"/>
              <a:gd name="T23" fmla="*/ 5 h 159"/>
              <a:gd name="T24" fmla="*/ 31 w 159"/>
              <a:gd name="T25" fmla="*/ 12 h 159"/>
              <a:gd name="T26" fmla="*/ 20 w 159"/>
              <a:gd name="T27" fmla="*/ 20 h 159"/>
              <a:gd name="T28" fmla="*/ 12 w 159"/>
              <a:gd name="T29" fmla="*/ 30 h 159"/>
              <a:gd name="T30" fmla="*/ 6 w 159"/>
              <a:gd name="T31" fmla="*/ 42 h 159"/>
              <a:gd name="T32" fmla="*/ 2 w 159"/>
              <a:gd name="T33" fmla="*/ 55 h 159"/>
              <a:gd name="T34" fmla="*/ 0 w 159"/>
              <a:gd name="T35" fmla="*/ 70 h 159"/>
              <a:gd name="T36" fmla="*/ 0 w 159"/>
              <a:gd name="T37" fmla="*/ 89 h 159"/>
              <a:gd name="T38" fmla="*/ 2 w 159"/>
              <a:gd name="T39" fmla="*/ 103 h 159"/>
              <a:gd name="T40" fmla="*/ 6 w 159"/>
              <a:gd name="T41" fmla="*/ 116 h 159"/>
              <a:gd name="T42" fmla="*/ 12 w 159"/>
              <a:gd name="T43" fmla="*/ 128 h 159"/>
              <a:gd name="T44" fmla="*/ 20 w 159"/>
              <a:gd name="T45" fmla="*/ 138 h 159"/>
              <a:gd name="T46" fmla="*/ 31 w 159"/>
              <a:gd name="T47" fmla="*/ 148 h 159"/>
              <a:gd name="T48" fmla="*/ 42 w 159"/>
              <a:gd name="T49" fmla="*/ 154 h 159"/>
              <a:gd name="T50" fmla="*/ 55 w 159"/>
              <a:gd name="T51" fmla="*/ 158 h 159"/>
              <a:gd name="T52" fmla="*/ 69 w 159"/>
              <a:gd name="T53" fmla="*/ 159 h 159"/>
              <a:gd name="T54" fmla="*/ 90 w 159"/>
              <a:gd name="T55" fmla="*/ 159 h 159"/>
              <a:gd name="T56" fmla="*/ 104 w 159"/>
              <a:gd name="T57" fmla="*/ 158 h 159"/>
              <a:gd name="T58" fmla="*/ 117 w 159"/>
              <a:gd name="T59" fmla="*/ 154 h 159"/>
              <a:gd name="T60" fmla="*/ 128 w 159"/>
              <a:gd name="T61" fmla="*/ 148 h 159"/>
              <a:gd name="T62" fmla="*/ 139 w 159"/>
              <a:gd name="T63" fmla="*/ 138 h 159"/>
              <a:gd name="T64" fmla="*/ 147 w 159"/>
              <a:gd name="T65" fmla="*/ 128 h 159"/>
              <a:gd name="T66" fmla="*/ 153 w 159"/>
              <a:gd name="T67" fmla="*/ 116 h 159"/>
              <a:gd name="T68" fmla="*/ 157 w 159"/>
              <a:gd name="T69" fmla="*/ 103 h 159"/>
              <a:gd name="T70" fmla="*/ 159 w 159"/>
              <a:gd name="T71" fmla="*/ 8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9">
                <a:moveTo>
                  <a:pt x="159" y="70"/>
                </a:moveTo>
                <a:lnTo>
                  <a:pt x="159" y="70"/>
                </a:lnTo>
                <a:lnTo>
                  <a:pt x="158" y="63"/>
                </a:lnTo>
                <a:lnTo>
                  <a:pt x="157" y="55"/>
                </a:lnTo>
                <a:lnTo>
                  <a:pt x="156" y="48"/>
                </a:lnTo>
                <a:lnTo>
                  <a:pt x="153" y="42"/>
                </a:lnTo>
                <a:lnTo>
                  <a:pt x="150" y="36"/>
                </a:lnTo>
                <a:lnTo>
                  <a:pt x="147" y="30"/>
                </a:lnTo>
                <a:lnTo>
                  <a:pt x="143" y="25"/>
                </a:lnTo>
                <a:lnTo>
                  <a:pt x="139" y="20"/>
                </a:lnTo>
                <a:lnTo>
                  <a:pt x="134" y="16"/>
                </a:lnTo>
                <a:lnTo>
                  <a:pt x="128" y="12"/>
                </a:lnTo>
                <a:lnTo>
                  <a:pt x="123" y="8"/>
                </a:lnTo>
                <a:lnTo>
                  <a:pt x="117" y="5"/>
                </a:lnTo>
                <a:lnTo>
                  <a:pt x="110" y="3"/>
                </a:lnTo>
                <a:lnTo>
                  <a:pt x="104" y="1"/>
                </a:lnTo>
                <a:lnTo>
                  <a:pt x="97" y="0"/>
                </a:lnTo>
                <a:lnTo>
                  <a:pt x="90" y="0"/>
                </a:lnTo>
                <a:lnTo>
                  <a:pt x="69" y="0"/>
                </a:lnTo>
                <a:lnTo>
                  <a:pt x="69" y="0"/>
                </a:lnTo>
                <a:lnTo>
                  <a:pt x="62" y="0"/>
                </a:lnTo>
                <a:lnTo>
                  <a:pt x="55" y="1"/>
                </a:lnTo>
                <a:lnTo>
                  <a:pt x="49" y="3"/>
                </a:lnTo>
                <a:lnTo>
                  <a:pt x="42" y="5"/>
                </a:lnTo>
                <a:lnTo>
                  <a:pt x="36" y="8"/>
                </a:lnTo>
                <a:lnTo>
                  <a:pt x="31" y="12"/>
                </a:lnTo>
                <a:lnTo>
                  <a:pt x="25" y="16"/>
                </a:lnTo>
                <a:lnTo>
                  <a:pt x="20" y="20"/>
                </a:lnTo>
                <a:lnTo>
                  <a:pt x="16" y="25"/>
                </a:lnTo>
                <a:lnTo>
                  <a:pt x="12" y="30"/>
                </a:lnTo>
                <a:lnTo>
                  <a:pt x="8" y="36"/>
                </a:lnTo>
                <a:lnTo>
                  <a:pt x="6" y="42"/>
                </a:lnTo>
                <a:lnTo>
                  <a:pt x="3" y="48"/>
                </a:lnTo>
                <a:lnTo>
                  <a:pt x="2" y="55"/>
                </a:lnTo>
                <a:lnTo>
                  <a:pt x="1" y="63"/>
                </a:lnTo>
                <a:lnTo>
                  <a:pt x="0" y="70"/>
                </a:lnTo>
                <a:lnTo>
                  <a:pt x="0" y="89"/>
                </a:lnTo>
                <a:lnTo>
                  <a:pt x="0" y="89"/>
                </a:lnTo>
                <a:lnTo>
                  <a:pt x="1" y="97"/>
                </a:lnTo>
                <a:lnTo>
                  <a:pt x="2" y="103"/>
                </a:lnTo>
                <a:lnTo>
                  <a:pt x="3" y="110"/>
                </a:lnTo>
                <a:lnTo>
                  <a:pt x="6" y="116"/>
                </a:lnTo>
                <a:lnTo>
                  <a:pt x="8" y="122"/>
                </a:lnTo>
                <a:lnTo>
                  <a:pt x="12" y="128"/>
                </a:lnTo>
                <a:lnTo>
                  <a:pt x="16" y="133"/>
                </a:lnTo>
                <a:lnTo>
                  <a:pt x="20" y="138"/>
                </a:lnTo>
                <a:lnTo>
                  <a:pt x="25" y="143"/>
                </a:lnTo>
                <a:lnTo>
                  <a:pt x="31" y="148"/>
                </a:lnTo>
                <a:lnTo>
                  <a:pt x="36" y="151"/>
                </a:lnTo>
                <a:lnTo>
                  <a:pt x="42" y="154"/>
                </a:lnTo>
                <a:lnTo>
                  <a:pt x="49" y="156"/>
                </a:lnTo>
                <a:lnTo>
                  <a:pt x="55" y="158"/>
                </a:lnTo>
                <a:lnTo>
                  <a:pt x="62" y="159"/>
                </a:lnTo>
                <a:lnTo>
                  <a:pt x="69" y="159"/>
                </a:lnTo>
                <a:lnTo>
                  <a:pt x="90" y="159"/>
                </a:lnTo>
                <a:lnTo>
                  <a:pt x="90" y="159"/>
                </a:lnTo>
                <a:lnTo>
                  <a:pt x="97" y="159"/>
                </a:lnTo>
                <a:lnTo>
                  <a:pt x="104" y="158"/>
                </a:lnTo>
                <a:lnTo>
                  <a:pt x="110" y="156"/>
                </a:lnTo>
                <a:lnTo>
                  <a:pt x="117" y="154"/>
                </a:lnTo>
                <a:lnTo>
                  <a:pt x="123" y="151"/>
                </a:lnTo>
                <a:lnTo>
                  <a:pt x="128" y="148"/>
                </a:lnTo>
                <a:lnTo>
                  <a:pt x="134" y="143"/>
                </a:lnTo>
                <a:lnTo>
                  <a:pt x="139" y="138"/>
                </a:lnTo>
                <a:lnTo>
                  <a:pt x="143" y="133"/>
                </a:lnTo>
                <a:lnTo>
                  <a:pt x="147" y="128"/>
                </a:lnTo>
                <a:lnTo>
                  <a:pt x="150" y="122"/>
                </a:lnTo>
                <a:lnTo>
                  <a:pt x="153" y="116"/>
                </a:lnTo>
                <a:lnTo>
                  <a:pt x="156" y="110"/>
                </a:lnTo>
                <a:lnTo>
                  <a:pt x="157" y="103"/>
                </a:lnTo>
                <a:lnTo>
                  <a:pt x="158" y="97"/>
                </a:lnTo>
                <a:lnTo>
                  <a:pt x="159" y="89"/>
                </a:lnTo>
                <a:lnTo>
                  <a:pt x="159" y="70"/>
                </a:lnTo>
                <a:close/>
              </a:path>
            </a:pathLst>
          </a:custGeom>
          <a:solidFill>
            <a:srgbClr val="022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8" name="Rectangle 2220"/>
          <p:cNvSpPr>
            <a:spLocks noChangeArrowheads="1"/>
          </p:cNvSpPr>
          <p:nvPr/>
        </p:nvSpPr>
        <p:spPr bwMode="auto">
          <a:xfrm>
            <a:off x="952501" y="5254563"/>
            <a:ext cx="14288" cy="523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49" name="Rectangle 2221"/>
          <p:cNvSpPr>
            <a:spLocks noChangeArrowheads="1"/>
          </p:cNvSpPr>
          <p:nvPr/>
        </p:nvSpPr>
        <p:spPr bwMode="auto">
          <a:xfrm>
            <a:off x="974726" y="5257737"/>
            <a:ext cx="77788" cy="444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0" name="Rectangle 2222"/>
          <p:cNvSpPr>
            <a:spLocks noChangeArrowheads="1"/>
          </p:cNvSpPr>
          <p:nvPr/>
        </p:nvSpPr>
        <p:spPr bwMode="auto">
          <a:xfrm>
            <a:off x="1058864" y="5254563"/>
            <a:ext cx="14288" cy="523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1" name="Freeform 2223"/>
          <p:cNvSpPr>
            <a:spLocks/>
          </p:cNvSpPr>
          <p:nvPr/>
        </p:nvSpPr>
        <p:spPr bwMode="auto">
          <a:xfrm>
            <a:off x="1081090" y="5257737"/>
            <a:ext cx="53975" cy="68262"/>
          </a:xfrm>
          <a:custGeom>
            <a:avLst/>
            <a:gdLst>
              <a:gd name="T0" fmla="*/ 3 w 203"/>
              <a:gd name="T1" fmla="*/ 37 h 257"/>
              <a:gd name="T2" fmla="*/ 3 w 203"/>
              <a:gd name="T3" fmla="*/ 169 h 257"/>
              <a:gd name="T4" fmla="*/ 28 w 203"/>
              <a:gd name="T5" fmla="*/ 169 h 257"/>
              <a:gd name="T6" fmla="*/ 28 w 203"/>
              <a:gd name="T7" fmla="*/ 169 h 257"/>
              <a:gd name="T8" fmla="*/ 35 w 203"/>
              <a:gd name="T9" fmla="*/ 170 h 257"/>
              <a:gd name="T10" fmla="*/ 41 w 203"/>
              <a:gd name="T11" fmla="*/ 172 h 257"/>
              <a:gd name="T12" fmla="*/ 48 w 203"/>
              <a:gd name="T13" fmla="*/ 175 h 257"/>
              <a:gd name="T14" fmla="*/ 53 w 203"/>
              <a:gd name="T15" fmla="*/ 179 h 257"/>
              <a:gd name="T16" fmla="*/ 57 w 203"/>
              <a:gd name="T17" fmla="*/ 184 h 257"/>
              <a:gd name="T18" fmla="*/ 60 w 203"/>
              <a:gd name="T19" fmla="*/ 190 h 257"/>
              <a:gd name="T20" fmla="*/ 62 w 203"/>
              <a:gd name="T21" fmla="*/ 196 h 257"/>
              <a:gd name="T22" fmla="*/ 63 w 203"/>
              <a:gd name="T23" fmla="*/ 203 h 257"/>
              <a:gd name="T24" fmla="*/ 63 w 203"/>
              <a:gd name="T25" fmla="*/ 257 h 257"/>
              <a:gd name="T26" fmla="*/ 203 w 203"/>
              <a:gd name="T27" fmla="*/ 257 h 257"/>
              <a:gd name="T28" fmla="*/ 203 w 203"/>
              <a:gd name="T29" fmla="*/ 76 h 257"/>
              <a:gd name="T30" fmla="*/ 203 w 203"/>
              <a:gd name="T31" fmla="*/ 76 h 257"/>
              <a:gd name="T32" fmla="*/ 203 w 203"/>
              <a:gd name="T33" fmla="*/ 69 h 257"/>
              <a:gd name="T34" fmla="*/ 202 w 203"/>
              <a:gd name="T35" fmla="*/ 61 h 257"/>
              <a:gd name="T36" fmla="*/ 200 w 203"/>
              <a:gd name="T37" fmla="*/ 54 h 257"/>
              <a:gd name="T38" fmla="*/ 197 w 203"/>
              <a:gd name="T39" fmla="*/ 47 h 257"/>
              <a:gd name="T40" fmla="*/ 194 w 203"/>
              <a:gd name="T41" fmla="*/ 40 h 257"/>
              <a:gd name="T42" fmla="*/ 190 w 203"/>
              <a:gd name="T43" fmla="*/ 34 h 257"/>
              <a:gd name="T44" fmla="*/ 186 w 203"/>
              <a:gd name="T45" fmla="*/ 28 h 257"/>
              <a:gd name="T46" fmla="*/ 181 w 203"/>
              <a:gd name="T47" fmla="*/ 22 h 257"/>
              <a:gd name="T48" fmla="*/ 175 w 203"/>
              <a:gd name="T49" fmla="*/ 17 h 257"/>
              <a:gd name="T50" fmla="*/ 170 w 203"/>
              <a:gd name="T51" fmla="*/ 13 h 257"/>
              <a:gd name="T52" fmla="*/ 163 w 203"/>
              <a:gd name="T53" fmla="*/ 9 h 257"/>
              <a:gd name="T54" fmla="*/ 157 w 203"/>
              <a:gd name="T55" fmla="*/ 6 h 257"/>
              <a:gd name="T56" fmla="*/ 150 w 203"/>
              <a:gd name="T57" fmla="*/ 3 h 257"/>
              <a:gd name="T58" fmla="*/ 142 w 203"/>
              <a:gd name="T59" fmla="*/ 2 h 257"/>
              <a:gd name="T60" fmla="*/ 134 w 203"/>
              <a:gd name="T61" fmla="*/ 0 h 257"/>
              <a:gd name="T62" fmla="*/ 126 w 203"/>
              <a:gd name="T63" fmla="*/ 0 h 257"/>
              <a:gd name="T64" fmla="*/ 0 w 203"/>
              <a:gd name="T65" fmla="*/ 0 h 257"/>
              <a:gd name="T66" fmla="*/ 0 w 203"/>
              <a:gd name="T67" fmla="*/ 0 h 257"/>
              <a:gd name="T68" fmla="*/ 2 w 203"/>
              <a:gd name="T69" fmla="*/ 18 h 257"/>
              <a:gd name="T70" fmla="*/ 3 w 203"/>
              <a:gd name="T71" fmla="*/ 37 h 257"/>
              <a:gd name="T72" fmla="*/ 3 w 203"/>
              <a:gd name="T73" fmla="*/ 3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3" h="257">
                <a:moveTo>
                  <a:pt x="3" y="37"/>
                </a:moveTo>
                <a:lnTo>
                  <a:pt x="3" y="169"/>
                </a:lnTo>
                <a:lnTo>
                  <a:pt x="28" y="169"/>
                </a:lnTo>
                <a:lnTo>
                  <a:pt x="28" y="169"/>
                </a:lnTo>
                <a:lnTo>
                  <a:pt x="35" y="170"/>
                </a:lnTo>
                <a:lnTo>
                  <a:pt x="41" y="172"/>
                </a:lnTo>
                <a:lnTo>
                  <a:pt x="48" y="175"/>
                </a:lnTo>
                <a:lnTo>
                  <a:pt x="53" y="179"/>
                </a:lnTo>
                <a:lnTo>
                  <a:pt x="57" y="184"/>
                </a:lnTo>
                <a:lnTo>
                  <a:pt x="60" y="190"/>
                </a:lnTo>
                <a:lnTo>
                  <a:pt x="62" y="196"/>
                </a:lnTo>
                <a:lnTo>
                  <a:pt x="63" y="203"/>
                </a:lnTo>
                <a:lnTo>
                  <a:pt x="63" y="257"/>
                </a:lnTo>
                <a:lnTo>
                  <a:pt x="203" y="257"/>
                </a:lnTo>
                <a:lnTo>
                  <a:pt x="203" y="76"/>
                </a:lnTo>
                <a:lnTo>
                  <a:pt x="203" y="76"/>
                </a:lnTo>
                <a:lnTo>
                  <a:pt x="203" y="69"/>
                </a:lnTo>
                <a:lnTo>
                  <a:pt x="202" y="61"/>
                </a:lnTo>
                <a:lnTo>
                  <a:pt x="200" y="54"/>
                </a:lnTo>
                <a:lnTo>
                  <a:pt x="197" y="47"/>
                </a:lnTo>
                <a:lnTo>
                  <a:pt x="194" y="40"/>
                </a:lnTo>
                <a:lnTo>
                  <a:pt x="190" y="34"/>
                </a:lnTo>
                <a:lnTo>
                  <a:pt x="186" y="28"/>
                </a:lnTo>
                <a:lnTo>
                  <a:pt x="181" y="22"/>
                </a:lnTo>
                <a:lnTo>
                  <a:pt x="175" y="17"/>
                </a:lnTo>
                <a:lnTo>
                  <a:pt x="170" y="13"/>
                </a:lnTo>
                <a:lnTo>
                  <a:pt x="163" y="9"/>
                </a:lnTo>
                <a:lnTo>
                  <a:pt x="157" y="6"/>
                </a:lnTo>
                <a:lnTo>
                  <a:pt x="150" y="3"/>
                </a:lnTo>
                <a:lnTo>
                  <a:pt x="142" y="2"/>
                </a:lnTo>
                <a:lnTo>
                  <a:pt x="134" y="0"/>
                </a:lnTo>
                <a:lnTo>
                  <a:pt x="126" y="0"/>
                </a:lnTo>
                <a:lnTo>
                  <a:pt x="0" y="0"/>
                </a:lnTo>
                <a:lnTo>
                  <a:pt x="0" y="0"/>
                </a:lnTo>
                <a:lnTo>
                  <a:pt x="2" y="18"/>
                </a:lnTo>
                <a:lnTo>
                  <a:pt x="3" y="37"/>
                </a:lnTo>
                <a:lnTo>
                  <a:pt x="3"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2" name="Freeform 2224"/>
          <p:cNvSpPr>
            <a:spLocks/>
          </p:cNvSpPr>
          <p:nvPr/>
        </p:nvSpPr>
        <p:spPr bwMode="auto">
          <a:xfrm>
            <a:off x="892177" y="5257737"/>
            <a:ext cx="53975" cy="68262"/>
          </a:xfrm>
          <a:custGeom>
            <a:avLst/>
            <a:gdLst>
              <a:gd name="T0" fmla="*/ 200 w 203"/>
              <a:gd name="T1" fmla="*/ 37 h 257"/>
              <a:gd name="T2" fmla="*/ 200 w 203"/>
              <a:gd name="T3" fmla="*/ 169 h 257"/>
              <a:gd name="T4" fmla="*/ 175 w 203"/>
              <a:gd name="T5" fmla="*/ 169 h 257"/>
              <a:gd name="T6" fmla="*/ 175 w 203"/>
              <a:gd name="T7" fmla="*/ 169 h 257"/>
              <a:gd name="T8" fmla="*/ 169 w 203"/>
              <a:gd name="T9" fmla="*/ 170 h 257"/>
              <a:gd name="T10" fmla="*/ 162 w 203"/>
              <a:gd name="T11" fmla="*/ 172 h 257"/>
              <a:gd name="T12" fmla="*/ 156 w 203"/>
              <a:gd name="T13" fmla="*/ 175 h 257"/>
              <a:gd name="T14" fmla="*/ 151 w 203"/>
              <a:gd name="T15" fmla="*/ 179 h 257"/>
              <a:gd name="T16" fmla="*/ 147 w 203"/>
              <a:gd name="T17" fmla="*/ 184 h 257"/>
              <a:gd name="T18" fmla="*/ 143 w 203"/>
              <a:gd name="T19" fmla="*/ 190 h 257"/>
              <a:gd name="T20" fmla="*/ 141 w 203"/>
              <a:gd name="T21" fmla="*/ 196 h 257"/>
              <a:gd name="T22" fmla="*/ 140 w 203"/>
              <a:gd name="T23" fmla="*/ 203 h 257"/>
              <a:gd name="T24" fmla="*/ 140 w 203"/>
              <a:gd name="T25" fmla="*/ 257 h 257"/>
              <a:gd name="T26" fmla="*/ 0 w 203"/>
              <a:gd name="T27" fmla="*/ 257 h 257"/>
              <a:gd name="T28" fmla="*/ 0 w 203"/>
              <a:gd name="T29" fmla="*/ 76 h 257"/>
              <a:gd name="T30" fmla="*/ 0 w 203"/>
              <a:gd name="T31" fmla="*/ 76 h 257"/>
              <a:gd name="T32" fmla="*/ 0 w 203"/>
              <a:gd name="T33" fmla="*/ 69 h 257"/>
              <a:gd name="T34" fmla="*/ 1 w 203"/>
              <a:gd name="T35" fmla="*/ 61 h 257"/>
              <a:gd name="T36" fmla="*/ 3 w 203"/>
              <a:gd name="T37" fmla="*/ 54 h 257"/>
              <a:gd name="T38" fmla="*/ 6 w 203"/>
              <a:gd name="T39" fmla="*/ 47 h 257"/>
              <a:gd name="T40" fmla="*/ 9 w 203"/>
              <a:gd name="T41" fmla="*/ 40 h 257"/>
              <a:gd name="T42" fmla="*/ 13 w 203"/>
              <a:gd name="T43" fmla="*/ 34 h 257"/>
              <a:gd name="T44" fmla="*/ 17 w 203"/>
              <a:gd name="T45" fmla="*/ 28 h 257"/>
              <a:gd name="T46" fmla="*/ 22 w 203"/>
              <a:gd name="T47" fmla="*/ 22 h 257"/>
              <a:gd name="T48" fmla="*/ 28 w 203"/>
              <a:gd name="T49" fmla="*/ 17 h 257"/>
              <a:gd name="T50" fmla="*/ 34 w 203"/>
              <a:gd name="T51" fmla="*/ 13 h 257"/>
              <a:gd name="T52" fmla="*/ 40 w 203"/>
              <a:gd name="T53" fmla="*/ 9 h 257"/>
              <a:gd name="T54" fmla="*/ 46 w 203"/>
              <a:gd name="T55" fmla="*/ 6 h 257"/>
              <a:gd name="T56" fmla="*/ 53 w 203"/>
              <a:gd name="T57" fmla="*/ 3 h 257"/>
              <a:gd name="T58" fmla="*/ 62 w 203"/>
              <a:gd name="T59" fmla="*/ 2 h 257"/>
              <a:gd name="T60" fmla="*/ 69 w 203"/>
              <a:gd name="T61" fmla="*/ 0 h 257"/>
              <a:gd name="T62" fmla="*/ 77 w 203"/>
              <a:gd name="T63" fmla="*/ 0 h 257"/>
              <a:gd name="T64" fmla="*/ 203 w 203"/>
              <a:gd name="T65" fmla="*/ 0 h 257"/>
              <a:gd name="T66" fmla="*/ 203 w 203"/>
              <a:gd name="T67" fmla="*/ 0 h 257"/>
              <a:gd name="T68" fmla="*/ 201 w 203"/>
              <a:gd name="T69" fmla="*/ 18 h 257"/>
              <a:gd name="T70" fmla="*/ 200 w 203"/>
              <a:gd name="T71" fmla="*/ 37 h 257"/>
              <a:gd name="T72" fmla="*/ 200 w 203"/>
              <a:gd name="T73" fmla="*/ 3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3" h="257">
                <a:moveTo>
                  <a:pt x="200" y="37"/>
                </a:moveTo>
                <a:lnTo>
                  <a:pt x="200" y="169"/>
                </a:lnTo>
                <a:lnTo>
                  <a:pt x="175" y="169"/>
                </a:lnTo>
                <a:lnTo>
                  <a:pt x="175" y="169"/>
                </a:lnTo>
                <a:lnTo>
                  <a:pt x="169" y="170"/>
                </a:lnTo>
                <a:lnTo>
                  <a:pt x="162" y="172"/>
                </a:lnTo>
                <a:lnTo>
                  <a:pt x="156" y="175"/>
                </a:lnTo>
                <a:lnTo>
                  <a:pt x="151" y="179"/>
                </a:lnTo>
                <a:lnTo>
                  <a:pt x="147" y="184"/>
                </a:lnTo>
                <a:lnTo>
                  <a:pt x="143" y="190"/>
                </a:lnTo>
                <a:lnTo>
                  <a:pt x="141" y="196"/>
                </a:lnTo>
                <a:lnTo>
                  <a:pt x="140" y="203"/>
                </a:lnTo>
                <a:lnTo>
                  <a:pt x="140" y="257"/>
                </a:lnTo>
                <a:lnTo>
                  <a:pt x="0" y="257"/>
                </a:lnTo>
                <a:lnTo>
                  <a:pt x="0" y="76"/>
                </a:lnTo>
                <a:lnTo>
                  <a:pt x="0" y="76"/>
                </a:lnTo>
                <a:lnTo>
                  <a:pt x="0" y="69"/>
                </a:lnTo>
                <a:lnTo>
                  <a:pt x="1" y="61"/>
                </a:lnTo>
                <a:lnTo>
                  <a:pt x="3" y="54"/>
                </a:lnTo>
                <a:lnTo>
                  <a:pt x="6" y="47"/>
                </a:lnTo>
                <a:lnTo>
                  <a:pt x="9" y="40"/>
                </a:lnTo>
                <a:lnTo>
                  <a:pt x="13" y="34"/>
                </a:lnTo>
                <a:lnTo>
                  <a:pt x="17" y="28"/>
                </a:lnTo>
                <a:lnTo>
                  <a:pt x="22" y="22"/>
                </a:lnTo>
                <a:lnTo>
                  <a:pt x="28" y="17"/>
                </a:lnTo>
                <a:lnTo>
                  <a:pt x="34" y="13"/>
                </a:lnTo>
                <a:lnTo>
                  <a:pt x="40" y="9"/>
                </a:lnTo>
                <a:lnTo>
                  <a:pt x="46" y="6"/>
                </a:lnTo>
                <a:lnTo>
                  <a:pt x="53" y="3"/>
                </a:lnTo>
                <a:lnTo>
                  <a:pt x="62" y="2"/>
                </a:lnTo>
                <a:lnTo>
                  <a:pt x="69" y="0"/>
                </a:lnTo>
                <a:lnTo>
                  <a:pt x="77" y="0"/>
                </a:lnTo>
                <a:lnTo>
                  <a:pt x="203" y="0"/>
                </a:lnTo>
                <a:lnTo>
                  <a:pt x="203" y="0"/>
                </a:lnTo>
                <a:lnTo>
                  <a:pt x="201" y="18"/>
                </a:lnTo>
                <a:lnTo>
                  <a:pt x="200" y="37"/>
                </a:lnTo>
                <a:lnTo>
                  <a:pt x="20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3" name="Freeform 2225"/>
          <p:cNvSpPr>
            <a:spLocks/>
          </p:cNvSpPr>
          <p:nvPr/>
        </p:nvSpPr>
        <p:spPr bwMode="auto">
          <a:xfrm>
            <a:off x="2305051" y="5880100"/>
            <a:ext cx="1087438" cy="615950"/>
          </a:xfrm>
          <a:custGeom>
            <a:avLst/>
            <a:gdLst>
              <a:gd name="T0" fmla="*/ 2217 w 4108"/>
              <a:gd name="T1" fmla="*/ 2160 h 2330"/>
              <a:gd name="T2" fmla="*/ 2254 w 4108"/>
              <a:gd name="T3" fmla="*/ 1322 h 2330"/>
              <a:gd name="T4" fmla="*/ 2132 w 4108"/>
              <a:gd name="T5" fmla="*/ 1068 h 2330"/>
              <a:gd name="T6" fmla="*/ 1725 w 4108"/>
              <a:gd name="T7" fmla="*/ 1321 h 2330"/>
              <a:gd name="T8" fmla="*/ 1184 w 4108"/>
              <a:gd name="T9" fmla="*/ 1658 h 2330"/>
              <a:gd name="T10" fmla="*/ 1061 w 4108"/>
              <a:gd name="T11" fmla="*/ 1574 h 2330"/>
              <a:gd name="T12" fmla="*/ 886 w 4108"/>
              <a:gd name="T13" fmla="*/ 1440 h 2330"/>
              <a:gd name="T14" fmla="*/ 716 w 4108"/>
              <a:gd name="T15" fmla="*/ 1299 h 2330"/>
              <a:gd name="T16" fmla="*/ 382 w 4108"/>
              <a:gd name="T17" fmla="*/ 1011 h 2330"/>
              <a:gd name="T18" fmla="*/ 267 w 4108"/>
              <a:gd name="T19" fmla="*/ 918 h 2330"/>
              <a:gd name="T20" fmla="*/ 150 w 4108"/>
              <a:gd name="T21" fmla="*/ 811 h 2330"/>
              <a:gd name="T22" fmla="*/ 84 w 4108"/>
              <a:gd name="T23" fmla="*/ 741 h 2330"/>
              <a:gd name="T24" fmla="*/ 40 w 4108"/>
              <a:gd name="T25" fmla="*/ 677 h 2330"/>
              <a:gd name="T26" fmla="*/ 20 w 4108"/>
              <a:gd name="T27" fmla="*/ 636 h 2330"/>
              <a:gd name="T28" fmla="*/ 6 w 4108"/>
              <a:gd name="T29" fmla="*/ 592 h 2330"/>
              <a:gd name="T30" fmla="*/ 0 w 4108"/>
              <a:gd name="T31" fmla="*/ 546 h 2330"/>
              <a:gd name="T32" fmla="*/ 1 w 4108"/>
              <a:gd name="T33" fmla="*/ 512 h 2330"/>
              <a:gd name="T34" fmla="*/ 4 w 4108"/>
              <a:gd name="T35" fmla="*/ 454 h 2330"/>
              <a:gd name="T36" fmla="*/ 23 w 4108"/>
              <a:gd name="T37" fmla="*/ 400 h 2330"/>
              <a:gd name="T38" fmla="*/ 53 w 4108"/>
              <a:gd name="T39" fmla="*/ 353 h 2330"/>
              <a:gd name="T40" fmla="*/ 93 w 4108"/>
              <a:gd name="T41" fmla="*/ 312 h 2330"/>
              <a:gd name="T42" fmla="*/ 141 w 4108"/>
              <a:gd name="T43" fmla="*/ 279 h 2330"/>
              <a:gd name="T44" fmla="*/ 196 w 4108"/>
              <a:gd name="T45" fmla="*/ 253 h 2330"/>
              <a:gd name="T46" fmla="*/ 253 w 4108"/>
              <a:gd name="T47" fmla="*/ 238 h 2330"/>
              <a:gd name="T48" fmla="*/ 312 w 4108"/>
              <a:gd name="T49" fmla="*/ 233 h 2330"/>
              <a:gd name="T50" fmla="*/ 370 w 4108"/>
              <a:gd name="T51" fmla="*/ 239 h 2330"/>
              <a:gd name="T52" fmla="*/ 424 w 4108"/>
              <a:gd name="T53" fmla="*/ 258 h 2330"/>
              <a:gd name="T54" fmla="*/ 458 w 4108"/>
              <a:gd name="T55" fmla="*/ 278 h 2330"/>
              <a:gd name="T56" fmla="*/ 615 w 4108"/>
              <a:gd name="T57" fmla="*/ 379 h 2330"/>
              <a:gd name="T58" fmla="*/ 766 w 4108"/>
              <a:gd name="T59" fmla="*/ 489 h 2330"/>
              <a:gd name="T60" fmla="*/ 961 w 4108"/>
              <a:gd name="T61" fmla="*/ 645 h 2330"/>
              <a:gd name="T62" fmla="*/ 1204 w 4108"/>
              <a:gd name="T63" fmla="*/ 840 h 2330"/>
              <a:gd name="T64" fmla="*/ 1332 w 4108"/>
              <a:gd name="T65" fmla="*/ 828 h 2330"/>
              <a:gd name="T66" fmla="*/ 1564 w 4108"/>
              <a:gd name="T67" fmla="*/ 671 h 2330"/>
              <a:gd name="T68" fmla="*/ 1947 w 4108"/>
              <a:gd name="T69" fmla="*/ 404 h 2330"/>
              <a:gd name="T70" fmla="*/ 2183 w 4108"/>
              <a:gd name="T71" fmla="*/ 251 h 2330"/>
              <a:gd name="T72" fmla="*/ 2384 w 4108"/>
              <a:gd name="T73" fmla="*/ 134 h 2330"/>
              <a:gd name="T74" fmla="*/ 2510 w 4108"/>
              <a:gd name="T75" fmla="*/ 70 h 2330"/>
              <a:gd name="T76" fmla="*/ 2628 w 4108"/>
              <a:gd name="T77" fmla="*/ 43 h 2330"/>
              <a:gd name="T78" fmla="*/ 2787 w 4108"/>
              <a:gd name="T79" fmla="*/ 22 h 2330"/>
              <a:gd name="T80" fmla="*/ 2934 w 4108"/>
              <a:gd name="T81" fmla="*/ 15 h 2330"/>
              <a:gd name="T82" fmla="*/ 3185 w 4108"/>
              <a:gd name="T83" fmla="*/ 13 h 2330"/>
              <a:gd name="T84" fmla="*/ 3363 w 4108"/>
              <a:gd name="T85" fmla="*/ 0 h 2330"/>
              <a:gd name="T86" fmla="*/ 3433 w 4108"/>
              <a:gd name="T87" fmla="*/ 4 h 2330"/>
              <a:gd name="T88" fmla="*/ 3527 w 4108"/>
              <a:gd name="T89" fmla="*/ 22 h 2330"/>
              <a:gd name="T90" fmla="*/ 3609 w 4108"/>
              <a:gd name="T91" fmla="*/ 54 h 2330"/>
              <a:gd name="T92" fmla="*/ 3680 w 4108"/>
              <a:gd name="T93" fmla="*/ 101 h 2330"/>
              <a:gd name="T94" fmla="*/ 3742 w 4108"/>
              <a:gd name="T95" fmla="*/ 160 h 2330"/>
              <a:gd name="T96" fmla="*/ 3793 w 4108"/>
              <a:gd name="T97" fmla="*/ 231 h 2330"/>
              <a:gd name="T98" fmla="*/ 3838 w 4108"/>
              <a:gd name="T99" fmla="*/ 314 h 2330"/>
              <a:gd name="T100" fmla="*/ 3875 w 4108"/>
              <a:gd name="T101" fmla="*/ 406 h 2330"/>
              <a:gd name="T102" fmla="*/ 3908 w 4108"/>
              <a:gd name="T103" fmla="*/ 508 h 2330"/>
              <a:gd name="T104" fmla="*/ 3943 w 4108"/>
              <a:gd name="T105" fmla="*/ 658 h 2330"/>
              <a:gd name="T106" fmla="*/ 3983 w 4108"/>
              <a:gd name="T107" fmla="*/ 984 h 2330"/>
              <a:gd name="T108" fmla="*/ 4044 w 4108"/>
              <a:gd name="T109" fmla="*/ 1533 h 2330"/>
              <a:gd name="T110" fmla="*/ 4085 w 4108"/>
              <a:gd name="T111" fmla="*/ 1975 h 2330"/>
              <a:gd name="T112" fmla="*/ 4108 w 4108"/>
              <a:gd name="T113" fmla="*/ 2330 h 2330"/>
              <a:gd name="T114" fmla="*/ 2392 w 4108"/>
              <a:gd name="T115" fmla="*/ 2329 h 2330"/>
              <a:gd name="T116" fmla="*/ 2209 w 4108"/>
              <a:gd name="T117" fmla="*/ 2328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08" h="2330">
                <a:moveTo>
                  <a:pt x="2209" y="2328"/>
                </a:moveTo>
                <a:lnTo>
                  <a:pt x="2209" y="2328"/>
                </a:lnTo>
                <a:lnTo>
                  <a:pt x="2217" y="2160"/>
                </a:lnTo>
                <a:lnTo>
                  <a:pt x="2226" y="1992"/>
                </a:lnTo>
                <a:lnTo>
                  <a:pt x="2240" y="1657"/>
                </a:lnTo>
                <a:lnTo>
                  <a:pt x="2254" y="1322"/>
                </a:lnTo>
                <a:lnTo>
                  <a:pt x="2269" y="987"/>
                </a:lnTo>
                <a:lnTo>
                  <a:pt x="2269" y="987"/>
                </a:lnTo>
                <a:lnTo>
                  <a:pt x="2132" y="1068"/>
                </a:lnTo>
                <a:lnTo>
                  <a:pt x="1996" y="1151"/>
                </a:lnTo>
                <a:lnTo>
                  <a:pt x="1860" y="1236"/>
                </a:lnTo>
                <a:lnTo>
                  <a:pt x="1725" y="1321"/>
                </a:lnTo>
                <a:lnTo>
                  <a:pt x="1456" y="1490"/>
                </a:lnTo>
                <a:lnTo>
                  <a:pt x="1320" y="1574"/>
                </a:lnTo>
                <a:lnTo>
                  <a:pt x="1184" y="1658"/>
                </a:lnTo>
                <a:lnTo>
                  <a:pt x="1184" y="1658"/>
                </a:lnTo>
                <a:lnTo>
                  <a:pt x="1122" y="1617"/>
                </a:lnTo>
                <a:lnTo>
                  <a:pt x="1061" y="1574"/>
                </a:lnTo>
                <a:lnTo>
                  <a:pt x="1003" y="1531"/>
                </a:lnTo>
                <a:lnTo>
                  <a:pt x="944" y="1485"/>
                </a:lnTo>
                <a:lnTo>
                  <a:pt x="886" y="1440"/>
                </a:lnTo>
                <a:lnTo>
                  <a:pt x="829" y="1393"/>
                </a:lnTo>
                <a:lnTo>
                  <a:pt x="772" y="1347"/>
                </a:lnTo>
                <a:lnTo>
                  <a:pt x="716" y="1299"/>
                </a:lnTo>
                <a:lnTo>
                  <a:pt x="605" y="1202"/>
                </a:lnTo>
                <a:lnTo>
                  <a:pt x="493" y="1106"/>
                </a:lnTo>
                <a:lnTo>
                  <a:pt x="382" y="1011"/>
                </a:lnTo>
                <a:lnTo>
                  <a:pt x="325" y="965"/>
                </a:lnTo>
                <a:lnTo>
                  <a:pt x="267" y="918"/>
                </a:lnTo>
                <a:lnTo>
                  <a:pt x="267" y="918"/>
                </a:lnTo>
                <a:lnTo>
                  <a:pt x="221" y="877"/>
                </a:lnTo>
                <a:lnTo>
                  <a:pt x="173" y="833"/>
                </a:lnTo>
                <a:lnTo>
                  <a:pt x="150" y="811"/>
                </a:lnTo>
                <a:lnTo>
                  <a:pt x="127" y="789"/>
                </a:lnTo>
                <a:lnTo>
                  <a:pt x="105" y="765"/>
                </a:lnTo>
                <a:lnTo>
                  <a:pt x="84" y="741"/>
                </a:lnTo>
                <a:lnTo>
                  <a:pt x="65" y="716"/>
                </a:lnTo>
                <a:lnTo>
                  <a:pt x="48" y="690"/>
                </a:lnTo>
                <a:lnTo>
                  <a:pt x="40" y="677"/>
                </a:lnTo>
                <a:lnTo>
                  <a:pt x="33" y="663"/>
                </a:lnTo>
                <a:lnTo>
                  <a:pt x="26" y="650"/>
                </a:lnTo>
                <a:lnTo>
                  <a:pt x="20" y="636"/>
                </a:lnTo>
                <a:lnTo>
                  <a:pt x="15" y="622"/>
                </a:lnTo>
                <a:lnTo>
                  <a:pt x="10" y="606"/>
                </a:lnTo>
                <a:lnTo>
                  <a:pt x="6" y="592"/>
                </a:lnTo>
                <a:lnTo>
                  <a:pt x="3" y="577"/>
                </a:lnTo>
                <a:lnTo>
                  <a:pt x="1" y="561"/>
                </a:lnTo>
                <a:lnTo>
                  <a:pt x="0" y="546"/>
                </a:lnTo>
                <a:lnTo>
                  <a:pt x="0" y="530"/>
                </a:lnTo>
                <a:lnTo>
                  <a:pt x="1" y="512"/>
                </a:lnTo>
                <a:lnTo>
                  <a:pt x="1" y="512"/>
                </a:lnTo>
                <a:lnTo>
                  <a:pt x="0" y="493"/>
                </a:lnTo>
                <a:lnTo>
                  <a:pt x="1" y="473"/>
                </a:lnTo>
                <a:lnTo>
                  <a:pt x="4" y="454"/>
                </a:lnTo>
                <a:lnTo>
                  <a:pt x="9" y="436"/>
                </a:lnTo>
                <a:lnTo>
                  <a:pt x="16" y="418"/>
                </a:lnTo>
                <a:lnTo>
                  <a:pt x="23" y="400"/>
                </a:lnTo>
                <a:lnTo>
                  <a:pt x="32" y="384"/>
                </a:lnTo>
                <a:lnTo>
                  <a:pt x="42" y="368"/>
                </a:lnTo>
                <a:lnTo>
                  <a:pt x="53" y="353"/>
                </a:lnTo>
                <a:lnTo>
                  <a:pt x="65" y="338"/>
                </a:lnTo>
                <a:lnTo>
                  <a:pt x="78" y="324"/>
                </a:lnTo>
                <a:lnTo>
                  <a:pt x="93" y="312"/>
                </a:lnTo>
                <a:lnTo>
                  <a:pt x="109" y="300"/>
                </a:lnTo>
                <a:lnTo>
                  <a:pt x="125" y="289"/>
                </a:lnTo>
                <a:lnTo>
                  <a:pt x="141" y="279"/>
                </a:lnTo>
                <a:lnTo>
                  <a:pt x="159" y="269"/>
                </a:lnTo>
                <a:lnTo>
                  <a:pt x="177" y="261"/>
                </a:lnTo>
                <a:lnTo>
                  <a:pt x="196" y="253"/>
                </a:lnTo>
                <a:lnTo>
                  <a:pt x="215" y="247"/>
                </a:lnTo>
                <a:lnTo>
                  <a:pt x="234" y="242"/>
                </a:lnTo>
                <a:lnTo>
                  <a:pt x="253" y="238"/>
                </a:lnTo>
                <a:lnTo>
                  <a:pt x="272" y="235"/>
                </a:lnTo>
                <a:lnTo>
                  <a:pt x="292" y="233"/>
                </a:lnTo>
                <a:lnTo>
                  <a:pt x="312" y="233"/>
                </a:lnTo>
                <a:lnTo>
                  <a:pt x="331" y="234"/>
                </a:lnTo>
                <a:lnTo>
                  <a:pt x="350" y="236"/>
                </a:lnTo>
                <a:lnTo>
                  <a:pt x="370" y="239"/>
                </a:lnTo>
                <a:lnTo>
                  <a:pt x="388" y="244"/>
                </a:lnTo>
                <a:lnTo>
                  <a:pt x="406" y="250"/>
                </a:lnTo>
                <a:lnTo>
                  <a:pt x="424" y="258"/>
                </a:lnTo>
                <a:lnTo>
                  <a:pt x="441" y="267"/>
                </a:lnTo>
                <a:lnTo>
                  <a:pt x="458" y="278"/>
                </a:lnTo>
                <a:lnTo>
                  <a:pt x="458" y="278"/>
                </a:lnTo>
                <a:lnTo>
                  <a:pt x="511" y="310"/>
                </a:lnTo>
                <a:lnTo>
                  <a:pt x="564" y="344"/>
                </a:lnTo>
                <a:lnTo>
                  <a:pt x="615" y="379"/>
                </a:lnTo>
                <a:lnTo>
                  <a:pt x="666" y="415"/>
                </a:lnTo>
                <a:lnTo>
                  <a:pt x="716" y="452"/>
                </a:lnTo>
                <a:lnTo>
                  <a:pt x="766" y="489"/>
                </a:lnTo>
                <a:lnTo>
                  <a:pt x="816" y="528"/>
                </a:lnTo>
                <a:lnTo>
                  <a:pt x="864" y="566"/>
                </a:lnTo>
                <a:lnTo>
                  <a:pt x="961" y="645"/>
                </a:lnTo>
                <a:lnTo>
                  <a:pt x="1058" y="724"/>
                </a:lnTo>
                <a:lnTo>
                  <a:pt x="1155" y="802"/>
                </a:lnTo>
                <a:lnTo>
                  <a:pt x="1204" y="840"/>
                </a:lnTo>
                <a:lnTo>
                  <a:pt x="1254" y="879"/>
                </a:lnTo>
                <a:lnTo>
                  <a:pt x="1254" y="879"/>
                </a:lnTo>
                <a:lnTo>
                  <a:pt x="1332" y="828"/>
                </a:lnTo>
                <a:lnTo>
                  <a:pt x="1410" y="776"/>
                </a:lnTo>
                <a:lnTo>
                  <a:pt x="1487" y="724"/>
                </a:lnTo>
                <a:lnTo>
                  <a:pt x="1564" y="671"/>
                </a:lnTo>
                <a:lnTo>
                  <a:pt x="1718" y="564"/>
                </a:lnTo>
                <a:lnTo>
                  <a:pt x="1871" y="457"/>
                </a:lnTo>
                <a:lnTo>
                  <a:pt x="1947" y="404"/>
                </a:lnTo>
                <a:lnTo>
                  <a:pt x="2025" y="352"/>
                </a:lnTo>
                <a:lnTo>
                  <a:pt x="2103" y="301"/>
                </a:lnTo>
                <a:lnTo>
                  <a:pt x="2183" y="251"/>
                </a:lnTo>
                <a:lnTo>
                  <a:pt x="2263" y="203"/>
                </a:lnTo>
                <a:lnTo>
                  <a:pt x="2344" y="156"/>
                </a:lnTo>
                <a:lnTo>
                  <a:pt x="2384" y="134"/>
                </a:lnTo>
                <a:lnTo>
                  <a:pt x="2426" y="112"/>
                </a:lnTo>
                <a:lnTo>
                  <a:pt x="2468" y="91"/>
                </a:lnTo>
                <a:lnTo>
                  <a:pt x="2510" y="70"/>
                </a:lnTo>
                <a:lnTo>
                  <a:pt x="2510" y="70"/>
                </a:lnTo>
                <a:lnTo>
                  <a:pt x="2570" y="55"/>
                </a:lnTo>
                <a:lnTo>
                  <a:pt x="2628" y="43"/>
                </a:lnTo>
                <a:lnTo>
                  <a:pt x="2684" y="33"/>
                </a:lnTo>
                <a:lnTo>
                  <a:pt x="2736" y="26"/>
                </a:lnTo>
                <a:lnTo>
                  <a:pt x="2787" y="22"/>
                </a:lnTo>
                <a:lnTo>
                  <a:pt x="2836" y="18"/>
                </a:lnTo>
                <a:lnTo>
                  <a:pt x="2885" y="16"/>
                </a:lnTo>
                <a:lnTo>
                  <a:pt x="2934" y="15"/>
                </a:lnTo>
                <a:lnTo>
                  <a:pt x="3031" y="15"/>
                </a:lnTo>
                <a:lnTo>
                  <a:pt x="3132" y="14"/>
                </a:lnTo>
                <a:lnTo>
                  <a:pt x="3185" y="13"/>
                </a:lnTo>
                <a:lnTo>
                  <a:pt x="3242" y="10"/>
                </a:lnTo>
                <a:lnTo>
                  <a:pt x="3301" y="6"/>
                </a:lnTo>
                <a:lnTo>
                  <a:pt x="3363" y="0"/>
                </a:lnTo>
                <a:lnTo>
                  <a:pt x="3363" y="0"/>
                </a:lnTo>
                <a:lnTo>
                  <a:pt x="3399" y="1"/>
                </a:lnTo>
                <a:lnTo>
                  <a:pt x="3433" y="4"/>
                </a:lnTo>
                <a:lnTo>
                  <a:pt x="3467" y="8"/>
                </a:lnTo>
                <a:lnTo>
                  <a:pt x="3498" y="14"/>
                </a:lnTo>
                <a:lnTo>
                  <a:pt x="3527" y="22"/>
                </a:lnTo>
                <a:lnTo>
                  <a:pt x="3556" y="31"/>
                </a:lnTo>
                <a:lnTo>
                  <a:pt x="3583" y="42"/>
                </a:lnTo>
                <a:lnTo>
                  <a:pt x="3609" y="54"/>
                </a:lnTo>
                <a:lnTo>
                  <a:pt x="3635" y="68"/>
                </a:lnTo>
                <a:lnTo>
                  <a:pt x="3658" y="84"/>
                </a:lnTo>
                <a:lnTo>
                  <a:pt x="3680" y="101"/>
                </a:lnTo>
                <a:lnTo>
                  <a:pt x="3702" y="119"/>
                </a:lnTo>
                <a:lnTo>
                  <a:pt x="3723" y="139"/>
                </a:lnTo>
                <a:lnTo>
                  <a:pt x="3742" y="160"/>
                </a:lnTo>
                <a:lnTo>
                  <a:pt x="3760" y="183"/>
                </a:lnTo>
                <a:lnTo>
                  <a:pt x="3777" y="207"/>
                </a:lnTo>
                <a:lnTo>
                  <a:pt x="3793" y="231"/>
                </a:lnTo>
                <a:lnTo>
                  <a:pt x="3810" y="258"/>
                </a:lnTo>
                <a:lnTo>
                  <a:pt x="3824" y="286"/>
                </a:lnTo>
                <a:lnTo>
                  <a:pt x="3838" y="314"/>
                </a:lnTo>
                <a:lnTo>
                  <a:pt x="3851" y="344"/>
                </a:lnTo>
                <a:lnTo>
                  <a:pt x="3864" y="375"/>
                </a:lnTo>
                <a:lnTo>
                  <a:pt x="3875" y="406"/>
                </a:lnTo>
                <a:lnTo>
                  <a:pt x="3886" y="440"/>
                </a:lnTo>
                <a:lnTo>
                  <a:pt x="3898" y="474"/>
                </a:lnTo>
                <a:lnTo>
                  <a:pt x="3908" y="508"/>
                </a:lnTo>
                <a:lnTo>
                  <a:pt x="3917" y="545"/>
                </a:lnTo>
                <a:lnTo>
                  <a:pt x="3926" y="581"/>
                </a:lnTo>
                <a:lnTo>
                  <a:pt x="3943" y="658"/>
                </a:lnTo>
                <a:lnTo>
                  <a:pt x="3959" y="737"/>
                </a:lnTo>
                <a:lnTo>
                  <a:pt x="3959" y="737"/>
                </a:lnTo>
                <a:lnTo>
                  <a:pt x="3983" y="984"/>
                </a:lnTo>
                <a:lnTo>
                  <a:pt x="4006" y="1190"/>
                </a:lnTo>
                <a:lnTo>
                  <a:pt x="4026" y="1368"/>
                </a:lnTo>
                <a:lnTo>
                  <a:pt x="4044" y="1533"/>
                </a:lnTo>
                <a:lnTo>
                  <a:pt x="4060" y="1698"/>
                </a:lnTo>
                <a:lnTo>
                  <a:pt x="4077" y="1876"/>
                </a:lnTo>
                <a:lnTo>
                  <a:pt x="4085" y="1975"/>
                </a:lnTo>
                <a:lnTo>
                  <a:pt x="4092" y="2082"/>
                </a:lnTo>
                <a:lnTo>
                  <a:pt x="4100" y="2201"/>
                </a:lnTo>
                <a:lnTo>
                  <a:pt x="4108" y="2330"/>
                </a:lnTo>
                <a:lnTo>
                  <a:pt x="4108" y="2330"/>
                </a:lnTo>
                <a:lnTo>
                  <a:pt x="3058" y="2329"/>
                </a:lnTo>
                <a:lnTo>
                  <a:pt x="2392" y="2329"/>
                </a:lnTo>
                <a:lnTo>
                  <a:pt x="2213" y="2328"/>
                </a:lnTo>
                <a:lnTo>
                  <a:pt x="2186" y="2328"/>
                </a:lnTo>
                <a:lnTo>
                  <a:pt x="2209" y="2328"/>
                </a:lnTo>
                <a:lnTo>
                  <a:pt x="2209" y="23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4" name="Freeform 2226"/>
          <p:cNvSpPr>
            <a:spLocks/>
          </p:cNvSpPr>
          <p:nvPr/>
        </p:nvSpPr>
        <p:spPr bwMode="auto">
          <a:xfrm>
            <a:off x="2247901" y="5626101"/>
            <a:ext cx="393700" cy="403225"/>
          </a:xfrm>
          <a:custGeom>
            <a:avLst/>
            <a:gdLst>
              <a:gd name="T0" fmla="*/ 1356 w 1486"/>
              <a:gd name="T1" fmla="*/ 1320 h 1521"/>
              <a:gd name="T2" fmla="*/ 1392 w 1486"/>
              <a:gd name="T3" fmla="*/ 1307 h 1521"/>
              <a:gd name="T4" fmla="*/ 1421 w 1486"/>
              <a:gd name="T5" fmla="*/ 1292 h 1521"/>
              <a:gd name="T6" fmla="*/ 1445 w 1486"/>
              <a:gd name="T7" fmla="*/ 1276 h 1521"/>
              <a:gd name="T8" fmla="*/ 1465 w 1486"/>
              <a:gd name="T9" fmla="*/ 1258 h 1521"/>
              <a:gd name="T10" fmla="*/ 1477 w 1486"/>
              <a:gd name="T11" fmla="*/ 1237 h 1521"/>
              <a:gd name="T12" fmla="*/ 1485 w 1486"/>
              <a:gd name="T13" fmla="*/ 1214 h 1521"/>
              <a:gd name="T14" fmla="*/ 1486 w 1486"/>
              <a:gd name="T15" fmla="*/ 1187 h 1521"/>
              <a:gd name="T16" fmla="*/ 1482 w 1486"/>
              <a:gd name="T17" fmla="*/ 1159 h 1521"/>
              <a:gd name="T18" fmla="*/ 1121 w 1486"/>
              <a:gd name="T19" fmla="*/ 145 h 1521"/>
              <a:gd name="T20" fmla="*/ 1105 w 1486"/>
              <a:gd name="T21" fmla="*/ 113 h 1521"/>
              <a:gd name="T22" fmla="*/ 1087 w 1486"/>
              <a:gd name="T23" fmla="*/ 83 h 1521"/>
              <a:gd name="T24" fmla="*/ 1066 w 1486"/>
              <a:gd name="T25" fmla="*/ 54 h 1521"/>
              <a:gd name="T26" fmla="*/ 1041 w 1486"/>
              <a:gd name="T27" fmla="*/ 31 h 1521"/>
              <a:gd name="T28" fmla="*/ 1013 w 1486"/>
              <a:gd name="T29" fmla="*/ 14 h 1521"/>
              <a:gd name="T30" fmla="*/ 981 w 1486"/>
              <a:gd name="T31" fmla="*/ 3 h 1521"/>
              <a:gd name="T32" fmla="*/ 946 w 1486"/>
              <a:gd name="T33" fmla="*/ 0 h 1521"/>
              <a:gd name="T34" fmla="*/ 906 w 1486"/>
              <a:gd name="T35" fmla="*/ 5 h 1521"/>
              <a:gd name="T36" fmla="*/ 137 w 1486"/>
              <a:gd name="T37" fmla="*/ 108 h 1521"/>
              <a:gd name="T38" fmla="*/ 100 w 1486"/>
              <a:gd name="T39" fmla="*/ 111 h 1521"/>
              <a:gd name="T40" fmla="*/ 68 w 1486"/>
              <a:gd name="T41" fmla="*/ 120 h 1521"/>
              <a:gd name="T42" fmla="*/ 41 w 1486"/>
              <a:gd name="T43" fmla="*/ 135 h 1521"/>
              <a:gd name="T44" fmla="*/ 21 w 1486"/>
              <a:gd name="T45" fmla="*/ 156 h 1521"/>
              <a:gd name="T46" fmla="*/ 7 w 1486"/>
              <a:gd name="T47" fmla="*/ 180 h 1521"/>
              <a:gd name="T48" fmla="*/ 0 w 1486"/>
              <a:gd name="T49" fmla="*/ 207 h 1521"/>
              <a:gd name="T50" fmla="*/ 1 w 1486"/>
              <a:gd name="T51" fmla="*/ 238 h 1521"/>
              <a:gd name="T52" fmla="*/ 10 w 1486"/>
              <a:gd name="T53" fmla="*/ 270 h 1521"/>
              <a:gd name="T54" fmla="*/ 443 w 1486"/>
              <a:gd name="T55" fmla="*/ 1358 h 1521"/>
              <a:gd name="T56" fmla="*/ 460 w 1486"/>
              <a:gd name="T57" fmla="*/ 1391 h 1521"/>
              <a:gd name="T58" fmla="*/ 483 w 1486"/>
              <a:gd name="T59" fmla="*/ 1421 h 1521"/>
              <a:gd name="T60" fmla="*/ 512 w 1486"/>
              <a:gd name="T61" fmla="*/ 1449 h 1521"/>
              <a:gd name="T62" fmla="*/ 545 w 1486"/>
              <a:gd name="T63" fmla="*/ 1472 h 1521"/>
              <a:gd name="T64" fmla="*/ 582 w 1486"/>
              <a:gd name="T65" fmla="*/ 1493 h 1521"/>
              <a:gd name="T66" fmla="*/ 620 w 1486"/>
              <a:gd name="T67" fmla="*/ 1508 h 1521"/>
              <a:gd name="T68" fmla="*/ 659 w 1486"/>
              <a:gd name="T69" fmla="*/ 1518 h 1521"/>
              <a:gd name="T70" fmla="*/ 700 w 1486"/>
              <a:gd name="T71" fmla="*/ 1521 h 1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86" h="1521">
                <a:moveTo>
                  <a:pt x="1356" y="1320"/>
                </a:moveTo>
                <a:lnTo>
                  <a:pt x="1356" y="1320"/>
                </a:lnTo>
                <a:lnTo>
                  <a:pt x="1375" y="1314"/>
                </a:lnTo>
                <a:lnTo>
                  <a:pt x="1392" y="1307"/>
                </a:lnTo>
                <a:lnTo>
                  <a:pt x="1407" y="1301"/>
                </a:lnTo>
                <a:lnTo>
                  <a:pt x="1421" y="1292"/>
                </a:lnTo>
                <a:lnTo>
                  <a:pt x="1434" y="1284"/>
                </a:lnTo>
                <a:lnTo>
                  <a:pt x="1445" y="1276"/>
                </a:lnTo>
                <a:lnTo>
                  <a:pt x="1455" y="1267"/>
                </a:lnTo>
                <a:lnTo>
                  <a:pt x="1465" y="1258"/>
                </a:lnTo>
                <a:lnTo>
                  <a:pt x="1472" y="1248"/>
                </a:lnTo>
                <a:lnTo>
                  <a:pt x="1477" y="1237"/>
                </a:lnTo>
                <a:lnTo>
                  <a:pt x="1482" y="1226"/>
                </a:lnTo>
                <a:lnTo>
                  <a:pt x="1485" y="1214"/>
                </a:lnTo>
                <a:lnTo>
                  <a:pt x="1486" y="1201"/>
                </a:lnTo>
                <a:lnTo>
                  <a:pt x="1486" y="1187"/>
                </a:lnTo>
                <a:lnTo>
                  <a:pt x="1484" y="1174"/>
                </a:lnTo>
                <a:lnTo>
                  <a:pt x="1482" y="1159"/>
                </a:lnTo>
                <a:lnTo>
                  <a:pt x="1121" y="145"/>
                </a:lnTo>
                <a:lnTo>
                  <a:pt x="1121" y="145"/>
                </a:lnTo>
                <a:lnTo>
                  <a:pt x="1114" y="129"/>
                </a:lnTo>
                <a:lnTo>
                  <a:pt x="1105" y="113"/>
                </a:lnTo>
                <a:lnTo>
                  <a:pt x="1096" y="97"/>
                </a:lnTo>
                <a:lnTo>
                  <a:pt x="1087" y="83"/>
                </a:lnTo>
                <a:lnTo>
                  <a:pt x="1077" y="68"/>
                </a:lnTo>
                <a:lnTo>
                  <a:pt x="1066" y="54"/>
                </a:lnTo>
                <a:lnTo>
                  <a:pt x="1054" y="42"/>
                </a:lnTo>
                <a:lnTo>
                  <a:pt x="1041" y="31"/>
                </a:lnTo>
                <a:lnTo>
                  <a:pt x="1028" y="22"/>
                </a:lnTo>
                <a:lnTo>
                  <a:pt x="1013" y="14"/>
                </a:lnTo>
                <a:lnTo>
                  <a:pt x="997" y="8"/>
                </a:lnTo>
                <a:lnTo>
                  <a:pt x="981" y="3"/>
                </a:lnTo>
                <a:lnTo>
                  <a:pt x="964" y="0"/>
                </a:lnTo>
                <a:lnTo>
                  <a:pt x="946" y="0"/>
                </a:lnTo>
                <a:lnTo>
                  <a:pt x="926" y="1"/>
                </a:lnTo>
                <a:lnTo>
                  <a:pt x="906" y="5"/>
                </a:lnTo>
                <a:lnTo>
                  <a:pt x="137" y="108"/>
                </a:lnTo>
                <a:lnTo>
                  <a:pt x="137" y="108"/>
                </a:lnTo>
                <a:lnTo>
                  <a:pt x="118" y="109"/>
                </a:lnTo>
                <a:lnTo>
                  <a:pt x="100" y="111"/>
                </a:lnTo>
                <a:lnTo>
                  <a:pt x="84" y="115"/>
                </a:lnTo>
                <a:lnTo>
                  <a:pt x="68" y="120"/>
                </a:lnTo>
                <a:lnTo>
                  <a:pt x="55" y="127"/>
                </a:lnTo>
                <a:lnTo>
                  <a:pt x="41" y="135"/>
                </a:lnTo>
                <a:lnTo>
                  <a:pt x="30" y="145"/>
                </a:lnTo>
                <a:lnTo>
                  <a:pt x="21" y="156"/>
                </a:lnTo>
                <a:lnTo>
                  <a:pt x="13" y="167"/>
                </a:lnTo>
                <a:lnTo>
                  <a:pt x="7" y="180"/>
                </a:lnTo>
                <a:lnTo>
                  <a:pt x="3" y="193"/>
                </a:lnTo>
                <a:lnTo>
                  <a:pt x="0" y="207"/>
                </a:lnTo>
                <a:lnTo>
                  <a:pt x="0" y="222"/>
                </a:lnTo>
                <a:lnTo>
                  <a:pt x="1" y="238"/>
                </a:lnTo>
                <a:lnTo>
                  <a:pt x="5" y="254"/>
                </a:lnTo>
                <a:lnTo>
                  <a:pt x="10" y="270"/>
                </a:lnTo>
                <a:lnTo>
                  <a:pt x="443" y="1358"/>
                </a:lnTo>
                <a:lnTo>
                  <a:pt x="443" y="1358"/>
                </a:lnTo>
                <a:lnTo>
                  <a:pt x="451" y="1374"/>
                </a:lnTo>
                <a:lnTo>
                  <a:pt x="460" y="1391"/>
                </a:lnTo>
                <a:lnTo>
                  <a:pt x="471" y="1406"/>
                </a:lnTo>
                <a:lnTo>
                  <a:pt x="483" y="1421"/>
                </a:lnTo>
                <a:lnTo>
                  <a:pt x="497" y="1435"/>
                </a:lnTo>
                <a:lnTo>
                  <a:pt x="512" y="1449"/>
                </a:lnTo>
                <a:lnTo>
                  <a:pt x="528" y="1461"/>
                </a:lnTo>
                <a:lnTo>
                  <a:pt x="545" y="1472"/>
                </a:lnTo>
                <a:lnTo>
                  <a:pt x="563" y="1484"/>
                </a:lnTo>
                <a:lnTo>
                  <a:pt x="582" y="1493"/>
                </a:lnTo>
                <a:lnTo>
                  <a:pt x="601" y="1501"/>
                </a:lnTo>
                <a:lnTo>
                  <a:pt x="620" y="1508"/>
                </a:lnTo>
                <a:lnTo>
                  <a:pt x="640" y="1514"/>
                </a:lnTo>
                <a:lnTo>
                  <a:pt x="659" y="1518"/>
                </a:lnTo>
                <a:lnTo>
                  <a:pt x="680" y="1520"/>
                </a:lnTo>
                <a:lnTo>
                  <a:pt x="700" y="1521"/>
                </a:lnTo>
                <a:lnTo>
                  <a:pt x="1356" y="13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5" name="Freeform 2227"/>
          <p:cNvSpPr>
            <a:spLocks/>
          </p:cNvSpPr>
          <p:nvPr/>
        </p:nvSpPr>
        <p:spPr bwMode="auto">
          <a:xfrm>
            <a:off x="2308226" y="5667376"/>
            <a:ext cx="280988" cy="314325"/>
          </a:xfrm>
          <a:custGeom>
            <a:avLst/>
            <a:gdLst>
              <a:gd name="T0" fmla="*/ 749 w 1062"/>
              <a:gd name="T1" fmla="*/ 52 h 1189"/>
              <a:gd name="T2" fmla="*/ 736 w 1062"/>
              <a:gd name="T3" fmla="*/ 30 h 1189"/>
              <a:gd name="T4" fmla="*/ 721 w 1062"/>
              <a:gd name="T5" fmla="*/ 16 h 1189"/>
              <a:gd name="T6" fmla="*/ 705 w 1062"/>
              <a:gd name="T7" fmla="*/ 6 h 1189"/>
              <a:gd name="T8" fmla="*/ 687 w 1062"/>
              <a:gd name="T9" fmla="*/ 2 h 1189"/>
              <a:gd name="T10" fmla="*/ 672 w 1062"/>
              <a:gd name="T11" fmla="*/ 0 h 1189"/>
              <a:gd name="T12" fmla="*/ 644 w 1062"/>
              <a:gd name="T13" fmla="*/ 2 h 1189"/>
              <a:gd name="T14" fmla="*/ 633 w 1062"/>
              <a:gd name="T15" fmla="*/ 2 h 1189"/>
              <a:gd name="T16" fmla="*/ 459 w 1062"/>
              <a:gd name="T17" fmla="*/ 29 h 1189"/>
              <a:gd name="T18" fmla="*/ 325 w 1062"/>
              <a:gd name="T19" fmla="*/ 48 h 1189"/>
              <a:gd name="T20" fmla="*/ 192 w 1062"/>
              <a:gd name="T21" fmla="*/ 67 h 1189"/>
              <a:gd name="T22" fmla="*/ 151 w 1062"/>
              <a:gd name="T23" fmla="*/ 72 h 1189"/>
              <a:gd name="T24" fmla="*/ 90 w 1062"/>
              <a:gd name="T25" fmla="*/ 80 h 1189"/>
              <a:gd name="T26" fmla="*/ 50 w 1062"/>
              <a:gd name="T27" fmla="*/ 91 h 1189"/>
              <a:gd name="T28" fmla="*/ 32 w 1062"/>
              <a:gd name="T29" fmla="*/ 98 h 1189"/>
              <a:gd name="T30" fmla="*/ 15 w 1062"/>
              <a:gd name="T31" fmla="*/ 110 h 1189"/>
              <a:gd name="T32" fmla="*/ 5 w 1062"/>
              <a:gd name="T33" fmla="*/ 125 h 1189"/>
              <a:gd name="T34" fmla="*/ 0 w 1062"/>
              <a:gd name="T35" fmla="*/ 141 h 1189"/>
              <a:gd name="T36" fmla="*/ 0 w 1062"/>
              <a:gd name="T37" fmla="*/ 159 h 1189"/>
              <a:gd name="T38" fmla="*/ 3 w 1062"/>
              <a:gd name="T39" fmla="*/ 178 h 1189"/>
              <a:gd name="T40" fmla="*/ 17 w 1062"/>
              <a:gd name="T41" fmla="*/ 226 h 1189"/>
              <a:gd name="T42" fmla="*/ 362 w 1062"/>
              <a:gd name="T43" fmla="*/ 1094 h 1189"/>
              <a:gd name="T44" fmla="*/ 373 w 1062"/>
              <a:gd name="T45" fmla="*/ 1120 h 1189"/>
              <a:gd name="T46" fmla="*/ 391 w 1062"/>
              <a:gd name="T47" fmla="*/ 1152 h 1189"/>
              <a:gd name="T48" fmla="*/ 404 w 1062"/>
              <a:gd name="T49" fmla="*/ 1168 h 1189"/>
              <a:gd name="T50" fmla="*/ 419 w 1062"/>
              <a:gd name="T51" fmla="*/ 1180 h 1189"/>
              <a:gd name="T52" fmla="*/ 437 w 1062"/>
              <a:gd name="T53" fmla="*/ 1187 h 1189"/>
              <a:gd name="T54" fmla="*/ 460 w 1062"/>
              <a:gd name="T55" fmla="*/ 1189 h 1189"/>
              <a:gd name="T56" fmla="*/ 487 w 1062"/>
              <a:gd name="T57" fmla="*/ 1185 h 1189"/>
              <a:gd name="T58" fmla="*/ 502 w 1062"/>
              <a:gd name="T59" fmla="*/ 1181 h 1189"/>
              <a:gd name="T60" fmla="*/ 633 w 1062"/>
              <a:gd name="T61" fmla="*/ 1145 h 1189"/>
              <a:gd name="T62" fmla="*/ 910 w 1062"/>
              <a:gd name="T63" fmla="*/ 1068 h 1189"/>
              <a:gd name="T64" fmla="*/ 935 w 1062"/>
              <a:gd name="T65" fmla="*/ 1062 h 1189"/>
              <a:gd name="T66" fmla="*/ 960 w 1062"/>
              <a:gd name="T67" fmla="*/ 1054 h 1189"/>
              <a:gd name="T68" fmla="*/ 993 w 1062"/>
              <a:gd name="T69" fmla="*/ 1044 h 1189"/>
              <a:gd name="T70" fmla="*/ 1029 w 1062"/>
              <a:gd name="T71" fmla="*/ 1030 h 1189"/>
              <a:gd name="T72" fmla="*/ 1045 w 1062"/>
              <a:gd name="T73" fmla="*/ 1021 h 1189"/>
              <a:gd name="T74" fmla="*/ 1055 w 1062"/>
              <a:gd name="T75" fmla="*/ 1009 h 1189"/>
              <a:gd name="T76" fmla="*/ 1061 w 1062"/>
              <a:gd name="T77" fmla="*/ 995 h 1189"/>
              <a:gd name="T78" fmla="*/ 1061 w 1062"/>
              <a:gd name="T79" fmla="*/ 975 h 1189"/>
              <a:gd name="T80" fmla="*/ 1054 w 1062"/>
              <a:gd name="T81" fmla="*/ 949 h 1189"/>
              <a:gd name="T82" fmla="*/ 1049 w 1062"/>
              <a:gd name="T83" fmla="*/ 934 h 1189"/>
              <a:gd name="T84" fmla="*/ 1039 w 1062"/>
              <a:gd name="T85" fmla="*/ 909 h 1189"/>
              <a:gd name="T86" fmla="*/ 1029 w 1062"/>
              <a:gd name="T87" fmla="*/ 885 h 1189"/>
              <a:gd name="T88" fmla="*/ 1019 w 1062"/>
              <a:gd name="T89" fmla="*/ 856 h 1189"/>
              <a:gd name="T90" fmla="*/ 1010 w 1062"/>
              <a:gd name="T91" fmla="*/ 828 h 1189"/>
              <a:gd name="T92" fmla="*/ 941 w 1062"/>
              <a:gd name="T93" fmla="*/ 624 h 1189"/>
              <a:gd name="T94" fmla="*/ 858 w 1062"/>
              <a:gd name="T95" fmla="*/ 375 h 1189"/>
              <a:gd name="T96" fmla="*/ 784 w 1062"/>
              <a:gd name="T97" fmla="*/ 157 h 1189"/>
              <a:gd name="T98" fmla="*/ 750 w 1062"/>
              <a:gd name="T99" fmla="*/ 54 h 1189"/>
              <a:gd name="T100" fmla="*/ 749 w 1062"/>
              <a:gd name="T101" fmla="*/ 52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62" h="1189">
                <a:moveTo>
                  <a:pt x="749" y="52"/>
                </a:moveTo>
                <a:lnTo>
                  <a:pt x="749" y="52"/>
                </a:lnTo>
                <a:lnTo>
                  <a:pt x="743" y="40"/>
                </a:lnTo>
                <a:lnTo>
                  <a:pt x="736" y="30"/>
                </a:lnTo>
                <a:lnTo>
                  <a:pt x="728" y="22"/>
                </a:lnTo>
                <a:lnTo>
                  <a:pt x="721" y="16"/>
                </a:lnTo>
                <a:lnTo>
                  <a:pt x="713" y="10"/>
                </a:lnTo>
                <a:lnTo>
                  <a:pt x="705" y="6"/>
                </a:lnTo>
                <a:lnTo>
                  <a:pt x="696" y="3"/>
                </a:lnTo>
                <a:lnTo>
                  <a:pt x="687" y="2"/>
                </a:lnTo>
                <a:lnTo>
                  <a:pt x="679" y="0"/>
                </a:lnTo>
                <a:lnTo>
                  <a:pt x="672" y="0"/>
                </a:lnTo>
                <a:lnTo>
                  <a:pt x="657" y="0"/>
                </a:lnTo>
                <a:lnTo>
                  <a:pt x="644" y="2"/>
                </a:lnTo>
                <a:lnTo>
                  <a:pt x="633" y="2"/>
                </a:lnTo>
                <a:lnTo>
                  <a:pt x="633" y="2"/>
                </a:lnTo>
                <a:lnTo>
                  <a:pt x="459" y="29"/>
                </a:lnTo>
                <a:lnTo>
                  <a:pt x="459" y="29"/>
                </a:lnTo>
                <a:lnTo>
                  <a:pt x="389" y="40"/>
                </a:lnTo>
                <a:lnTo>
                  <a:pt x="325" y="48"/>
                </a:lnTo>
                <a:lnTo>
                  <a:pt x="261" y="57"/>
                </a:lnTo>
                <a:lnTo>
                  <a:pt x="192" y="67"/>
                </a:lnTo>
                <a:lnTo>
                  <a:pt x="192" y="67"/>
                </a:lnTo>
                <a:lnTo>
                  <a:pt x="151" y="72"/>
                </a:lnTo>
                <a:lnTo>
                  <a:pt x="110" y="76"/>
                </a:lnTo>
                <a:lnTo>
                  <a:pt x="90" y="80"/>
                </a:lnTo>
                <a:lnTo>
                  <a:pt x="69" y="85"/>
                </a:lnTo>
                <a:lnTo>
                  <a:pt x="50" y="91"/>
                </a:lnTo>
                <a:lnTo>
                  <a:pt x="32" y="98"/>
                </a:lnTo>
                <a:lnTo>
                  <a:pt x="32" y="98"/>
                </a:lnTo>
                <a:lnTo>
                  <a:pt x="22" y="104"/>
                </a:lnTo>
                <a:lnTo>
                  <a:pt x="15" y="110"/>
                </a:lnTo>
                <a:lnTo>
                  <a:pt x="9" y="117"/>
                </a:lnTo>
                <a:lnTo>
                  <a:pt x="5" y="125"/>
                </a:lnTo>
                <a:lnTo>
                  <a:pt x="2" y="133"/>
                </a:lnTo>
                <a:lnTo>
                  <a:pt x="0" y="141"/>
                </a:lnTo>
                <a:lnTo>
                  <a:pt x="0" y="150"/>
                </a:lnTo>
                <a:lnTo>
                  <a:pt x="0" y="159"/>
                </a:lnTo>
                <a:lnTo>
                  <a:pt x="1" y="168"/>
                </a:lnTo>
                <a:lnTo>
                  <a:pt x="3" y="178"/>
                </a:lnTo>
                <a:lnTo>
                  <a:pt x="7" y="196"/>
                </a:lnTo>
                <a:lnTo>
                  <a:pt x="17" y="226"/>
                </a:lnTo>
                <a:lnTo>
                  <a:pt x="17" y="226"/>
                </a:lnTo>
                <a:lnTo>
                  <a:pt x="362" y="1094"/>
                </a:lnTo>
                <a:lnTo>
                  <a:pt x="362" y="1094"/>
                </a:lnTo>
                <a:lnTo>
                  <a:pt x="373" y="1120"/>
                </a:lnTo>
                <a:lnTo>
                  <a:pt x="385" y="1142"/>
                </a:lnTo>
                <a:lnTo>
                  <a:pt x="391" y="1152"/>
                </a:lnTo>
                <a:lnTo>
                  <a:pt x="397" y="1161"/>
                </a:lnTo>
                <a:lnTo>
                  <a:pt x="404" y="1168"/>
                </a:lnTo>
                <a:lnTo>
                  <a:pt x="411" y="1175"/>
                </a:lnTo>
                <a:lnTo>
                  <a:pt x="419" y="1180"/>
                </a:lnTo>
                <a:lnTo>
                  <a:pt x="427" y="1184"/>
                </a:lnTo>
                <a:lnTo>
                  <a:pt x="437" y="1187"/>
                </a:lnTo>
                <a:lnTo>
                  <a:pt x="448" y="1188"/>
                </a:lnTo>
                <a:lnTo>
                  <a:pt x="460" y="1189"/>
                </a:lnTo>
                <a:lnTo>
                  <a:pt x="473" y="1187"/>
                </a:lnTo>
                <a:lnTo>
                  <a:pt x="487" y="1185"/>
                </a:lnTo>
                <a:lnTo>
                  <a:pt x="502" y="1181"/>
                </a:lnTo>
                <a:lnTo>
                  <a:pt x="502" y="1181"/>
                </a:lnTo>
                <a:lnTo>
                  <a:pt x="633" y="1145"/>
                </a:lnTo>
                <a:lnTo>
                  <a:pt x="633" y="1145"/>
                </a:lnTo>
                <a:lnTo>
                  <a:pt x="910" y="1068"/>
                </a:lnTo>
                <a:lnTo>
                  <a:pt x="910" y="1068"/>
                </a:lnTo>
                <a:lnTo>
                  <a:pt x="927" y="1064"/>
                </a:lnTo>
                <a:lnTo>
                  <a:pt x="935" y="1062"/>
                </a:lnTo>
                <a:lnTo>
                  <a:pt x="943" y="1060"/>
                </a:lnTo>
                <a:lnTo>
                  <a:pt x="960" y="1054"/>
                </a:lnTo>
                <a:lnTo>
                  <a:pt x="960" y="1054"/>
                </a:lnTo>
                <a:lnTo>
                  <a:pt x="993" y="1044"/>
                </a:lnTo>
                <a:lnTo>
                  <a:pt x="1018" y="1035"/>
                </a:lnTo>
                <a:lnTo>
                  <a:pt x="1029" y="1030"/>
                </a:lnTo>
                <a:lnTo>
                  <a:pt x="1038" y="1026"/>
                </a:lnTo>
                <a:lnTo>
                  <a:pt x="1045" y="1021"/>
                </a:lnTo>
                <a:lnTo>
                  <a:pt x="1051" y="1015"/>
                </a:lnTo>
                <a:lnTo>
                  <a:pt x="1055" y="1009"/>
                </a:lnTo>
                <a:lnTo>
                  <a:pt x="1060" y="1002"/>
                </a:lnTo>
                <a:lnTo>
                  <a:pt x="1061" y="995"/>
                </a:lnTo>
                <a:lnTo>
                  <a:pt x="1062" y="986"/>
                </a:lnTo>
                <a:lnTo>
                  <a:pt x="1061" y="975"/>
                </a:lnTo>
                <a:lnTo>
                  <a:pt x="1058" y="962"/>
                </a:lnTo>
                <a:lnTo>
                  <a:pt x="1054" y="949"/>
                </a:lnTo>
                <a:lnTo>
                  <a:pt x="1049" y="934"/>
                </a:lnTo>
                <a:lnTo>
                  <a:pt x="1049" y="934"/>
                </a:lnTo>
                <a:lnTo>
                  <a:pt x="1042" y="916"/>
                </a:lnTo>
                <a:lnTo>
                  <a:pt x="1039" y="909"/>
                </a:lnTo>
                <a:lnTo>
                  <a:pt x="1036" y="903"/>
                </a:lnTo>
                <a:lnTo>
                  <a:pt x="1029" y="885"/>
                </a:lnTo>
                <a:lnTo>
                  <a:pt x="1029" y="885"/>
                </a:lnTo>
                <a:lnTo>
                  <a:pt x="1019" y="856"/>
                </a:lnTo>
                <a:lnTo>
                  <a:pt x="1010" y="828"/>
                </a:lnTo>
                <a:lnTo>
                  <a:pt x="1010" y="828"/>
                </a:lnTo>
                <a:lnTo>
                  <a:pt x="941" y="624"/>
                </a:lnTo>
                <a:lnTo>
                  <a:pt x="941" y="624"/>
                </a:lnTo>
                <a:lnTo>
                  <a:pt x="858" y="375"/>
                </a:lnTo>
                <a:lnTo>
                  <a:pt x="858" y="375"/>
                </a:lnTo>
                <a:lnTo>
                  <a:pt x="784" y="157"/>
                </a:lnTo>
                <a:lnTo>
                  <a:pt x="784" y="157"/>
                </a:lnTo>
                <a:lnTo>
                  <a:pt x="750" y="54"/>
                </a:lnTo>
                <a:lnTo>
                  <a:pt x="750" y="54"/>
                </a:lnTo>
                <a:lnTo>
                  <a:pt x="749" y="52"/>
                </a:lnTo>
                <a:lnTo>
                  <a:pt x="749" y="52"/>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7" name="Freeform 2229"/>
          <p:cNvSpPr>
            <a:spLocks/>
          </p:cNvSpPr>
          <p:nvPr/>
        </p:nvSpPr>
        <p:spPr bwMode="auto">
          <a:xfrm>
            <a:off x="1177926" y="5224399"/>
            <a:ext cx="38100" cy="38100"/>
          </a:xfrm>
          <a:custGeom>
            <a:avLst/>
            <a:gdLst>
              <a:gd name="T0" fmla="*/ 52 w 143"/>
              <a:gd name="T1" fmla="*/ 2 h 143"/>
              <a:gd name="T2" fmla="*/ 52 w 143"/>
              <a:gd name="T3" fmla="*/ 2 h 143"/>
              <a:gd name="T4" fmla="*/ 62 w 143"/>
              <a:gd name="T5" fmla="*/ 0 h 143"/>
              <a:gd name="T6" fmla="*/ 72 w 143"/>
              <a:gd name="T7" fmla="*/ 0 h 143"/>
              <a:gd name="T8" fmla="*/ 82 w 143"/>
              <a:gd name="T9" fmla="*/ 1 h 143"/>
              <a:gd name="T10" fmla="*/ 92 w 143"/>
              <a:gd name="T11" fmla="*/ 4 h 143"/>
              <a:gd name="T12" fmla="*/ 101 w 143"/>
              <a:gd name="T13" fmla="*/ 9 h 143"/>
              <a:gd name="T14" fmla="*/ 110 w 143"/>
              <a:gd name="T15" fmla="*/ 14 h 143"/>
              <a:gd name="T16" fmla="*/ 118 w 143"/>
              <a:gd name="T17" fmla="*/ 21 h 143"/>
              <a:gd name="T18" fmla="*/ 126 w 143"/>
              <a:gd name="T19" fmla="*/ 29 h 143"/>
              <a:gd name="T20" fmla="*/ 132 w 143"/>
              <a:gd name="T21" fmla="*/ 37 h 143"/>
              <a:gd name="T22" fmla="*/ 137 w 143"/>
              <a:gd name="T23" fmla="*/ 46 h 143"/>
              <a:gd name="T24" fmla="*/ 140 w 143"/>
              <a:gd name="T25" fmla="*/ 55 h 143"/>
              <a:gd name="T26" fmla="*/ 143 w 143"/>
              <a:gd name="T27" fmla="*/ 64 h 143"/>
              <a:gd name="T28" fmla="*/ 143 w 143"/>
              <a:gd name="T29" fmla="*/ 74 h 143"/>
              <a:gd name="T30" fmla="*/ 142 w 143"/>
              <a:gd name="T31" fmla="*/ 84 h 143"/>
              <a:gd name="T32" fmla="*/ 140 w 143"/>
              <a:gd name="T33" fmla="*/ 94 h 143"/>
              <a:gd name="T34" fmla="*/ 135 w 143"/>
              <a:gd name="T35" fmla="*/ 103 h 143"/>
              <a:gd name="T36" fmla="*/ 135 w 143"/>
              <a:gd name="T37" fmla="*/ 103 h 143"/>
              <a:gd name="T38" fmla="*/ 131 w 143"/>
              <a:gd name="T39" fmla="*/ 112 h 143"/>
              <a:gd name="T40" fmla="*/ 126 w 143"/>
              <a:gd name="T41" fmla="*/ 120 h 143"/>
              <a:gd name="T42" fmla="*/ 118 w 143"/>
              <a:gd name="T43" fmla="*/ 127 h 143"/>
              <a:gd name="T44" fmla="*/ 111 w 143"/>
              <a:gd name="T45" fmla="*/ 132 h 143"/>
              <a:gd name="T46" fmla="*/ 103 w 143"/>
              <a:gd name="T47" fmla="*/ 136 h 143"/>
              <a:gd name="T48" fmla="*/ 95 w 143"/>
              <a:gd name="T49" fmla="*/ 140 h 143"/>
              <a:gd name="T50" fmla="*/ 86 w 143"/>
              <a:gd name="T51" fmla="*/ 142 h 143"/>
              <a:gd name="T52" fmla="*/ 77 w 143"/>
              <a:gd name="T53" fmla="*/ 143 h 143"/>
              <a:gd name="T54" fmla="*/ 68 w 143"/>
              <a:gd name="T55" fmla="*/ 143 h 143"/>
              <a:gd name="T56" fmla="*/ 58 w 143"/>
              <a:gd name="T57" fmla="*/ 142 h 143"/>
              <a:gd name="T58" fmla="*/ 50 w 143"/>
              <a:gd name="T59" fmla="*/ 140 h 143"/>
              <a:gd name="T60" fmla="*/ 41 w 143"/>
              <a:gd name="T61" fmla="*/ 137 h 143"/>
              <a:gd name="T62" fmla="*/ 32 w 143"/>
              <a:gd name="T63" fmla="*/ 133 h 143"/>
              <a:gd name="T64" fmla="*/ 25 w 143"/>
              <a:gd name="T65" fmla="*/ 128 h 143"/>
              <a:gd name="T66" fmla="*/ 18 w 143"/>
              <a:gd name="T67" fmla="*/ 121 h 143"/>
              <a:gd name="T68" fmla="*/ 12 w 143"/>
              <a:gd name="T69" fmla="*/ 113 h 143"/>
              <a:gd name="T70" fmla="*/ 12 w 143"/>
              <a:gd name="T71" fmla="*/ 113 h 143"/>
              <a:gd name="T72" fmla="*/ 8 w 143"/>
              <a:gd name="T73" fmla="*/ 106 h 143"/>
              <a:gd name="T74" fmla="*/ 4 w 143"/>
              <a:gd name="T75" fmla="*/ 98 h 143"/>
              <a:gd name="T76" fmla="*/ 2 w 143"/>
              <a:gd name="T77" fmla="*/ 90 h 143"/>
              <a:gd name="T78" fmla="*/ 1 w 143"/>
              <a:gd name="T79" fmla="*/ 81 h 143"/>
              <a:gd name="T80" fmla="*/ 0 w 143"/>
              <a:gd name="T81" fmla="*/ 73 h 143"/>
              <a:gd name="T82" fmla="*/ 1 w 143"/>
              <a:gd name="T83" fmla="*/ 65 h 143"/>
              <a:gd name="T84" fmla="*/ 2 w 143"/>
              <a:gd name="T85" fmla="*/ 56 h 143"/>
              <a:gd name="T86" fmla="*/ 5 w 143"/>
              <a:gd name="T87" fmla="*/ 48 h 143"/>
              <a:gd name="T88" fmla="*/ 8 w 143"/>
              <a:gd name="T89" fmla="*/ 40 h 143"/>
              <a:gd name="T90" fmla="*/ 12 w 143"/>
              <a:gd name="T91" fmla="*/ 33 h 143"/>
              <a:gd name="T92" fmla="*/ 17 w 143"/>
              <a:gd name="T93" fmla="*/ 25 h 143"/>
              <a:gd name="T94" fmla="*/ 22 w 143"/>
              <a:gd name="T95" fmla="*/ 19 h 143"/>
              <a:gd name="T96" fmla="*/ 29 w 143"/>
              <a:gd name="T97" fmla="*/ 13 h 143"/>
              <a:gd name="T98" fmla="*/ 37 w 143"/>
              <a:gd name="T99" fmla="*/ 8 h 143"/>
              <a:gd name="T100" fmla="*/ 44 w 143"/>
              <a:gd name="T101" fmla="*/ 5 h 143"/>
              <a:gd name="T102" fmla="*/ 52 w 143"/>
              <a:gd name="T103" fmla="*/ 2 h 143"/>
              <a:gd name="T104" fmla="*/ 52 w 143"/>
              <a:gd name="T105" fmla="*/ 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3" h="143">
                <a:moveTo>
                  <a:pt x="52" y="2"/>
                </a:moveTo>
                <a:lnTo>
                  <a:pt x="52" y="2"/>
                </a:lnTo>
                <a:lnTo>
                  <a:pt x="62" y="0"/>
                </a:lnTo>
                <a:lnTo>
                  <a:pt x="72" y="0"/>
                </a:lnTo>
                <a:lnTo>
                  <a:pt x="82" y="1"/>
                </a:lnTo>
                <a:lnTo>
                  <a:pt x="92" y="4"/>
                </a:lnTo>
                <a:lnTo>
                  <a:pt x="101" y="9"/>
                </a:lnTo>
                <a:lnTo>
                  <a:pt x="110" y="14"/>
                </a:lnTo>
                <a:lnTo>
                  <a:pt x="118" y="21"/>
                </a:lnTo>
                <a:lnTo>
                  <a:pt x="126" y="29"/>
                </a:lnTo>
                <a:lnTo>
                  <a:pt x="132" y="37"/>
                </a:lnTo>
                <a:lnTo>
                  <a:pt x="137" y="46"/>
                </a:lnTo>
                <a:lnTo>
                  <a:pt x="140" y="55"/>
                </a:lnTo>
                <a:lnTo>
                  <a:pt x="143" y="64"/>
                </a:lnTo>
                <a:lnTo>
                  <a:pt x="143" y="74"/>
                </a:lnTo>
                <a:lnTo>
                  <a:pt x="142" y="84"/>
                </a:lnTo>
                <a:lnTo>
                  <a:pt x="140" y="94"/>
                </a:lnTo>
                <a:lnTo>
                  <a:pt x="135" y="103"/>
                </a:lnTo>
                <a:lnTo>
                  <a:pt x="135" y="103"/>
                </a:lnTo>
                <a:lnTo>
                  <a:pt x="131" y="112"/>
                </a:lnTo>
                <a:lnTo>
                  <a:pt x="126" y="120"/>
                </a:lnTo>
                <a:lnTo>
                  <a:pt x="118" y="127"/>
                </a:lnTo>
                <a:lnTo>
                  <a:pt x="111" y="132"/>
                </a:lnTo>
                <a:lnTo>
                  <a:pt x="103" y="136"/>
                </a:lnTo>
                <a:lnTo>
                  <a:pt x="95" y="140"/>
                </a:lnTo>
                <a:lnTo>
                  <a:pt x="86" y="142"/>
                </a:lnTo>
                <a:lnTo>
                  <a:pt x="77" y="143"/>
                </a:lnTo>
                <a:lnTo>
                  <a:pt x="68" y="143"/>
                </a:lnTo>
                <a:lnTo>
                  <a:pt x="58" y="142"/>
                </a:lnTo>
                <a:lnTo>
                  <a:pt x="50" y="140"/>
                </a:lnTo>
                <a:lnTo>
                  <a:pt x="41" y="137"/>
                </a:lnTo>
                <a:lnTo>
                  <a:pt x="32" y="133"/>
                </a:lnTo>
                <a:lnTo>
                  <a:pt x="25" y="128"/>
                </a:lnTo>
                <a:lnTo>
                  <a:pt x="18" y="121"/>
                </a:lnTo>
                <a:lnTo>
                  <a:pt x="12" y="113"/>
                </a:lnTo>
                <a:lnTo>
                  <a:pt x="12" y="113"/>
                </a:lnTo>
                <a:lnTo>
                  <a:pt x="8" y="106"/>
                </a:lnTo>
                <a:lnTo>
                  <a:pt x="4" y="98"/>
                </a:lnTo>
                <a:lnTo>
                  <a:pt x="2" y="90"/>
                </a:lnTo>
                <a:lnTo>
                  <a:pt x="1" y="81"/>
                </a:lnTo>
                <a:lnTo>
                  <a:pt x="0" y="73"/>
                </a:lnTo>
                <a:lnTo>
                  <a:pt x="1" y="65"/>
                </a:lnTo>
                <a:lnTo>
                  <a:pt x="2" y="56"/>
                </a:lnTo>
                <a:lnTo>
                  <a:pt x="5" y="48"/>
                </a:lnTo>
                <a:lnTo>
                  <a:pt x="8" y="40"/>
                </a:lnTo>
                <a:lnTo>
                  <a:pt x="12" y="33"/>
                </a:lnTo>
                <a:lnTo>
                  <a:pt x="17" y="25"/>
                </a:lnTo>
                <a:lnTo>
                  <a:pt x="22" y="19"/>
                </a:lnTo>
                <a:lnTo>
                  <a:pt x="29" y="13"/>
                </a:lnTo>
                <a:lnTo>
                  <a:pt x="37" y="8"/>
                </a:lnTo>
                <a:lnTo>
                  <a:pt x="44" y="5"/>
                </a:lnTo>
                <a:lnTo>
                  <a:pt x="52" y="2"/>
                </a:lnTo>
                <a:lnTo>
                  <a:pt x="52"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8" name="Freeform 2230"/>
          <p:cNvSpPr>
            <a:spLocks/>
          </p:cNvSpPr>
          <p:nvPr/>
        </p:nvSpPr>
        <p:spPr bwMode="auto">
          <a:xfrm>
            <a:off x="1162051" y="5259325"/>
            <a:ext cx="107950" cy="185737"/>
          </a:xfrm>
          <a:custGeom>
            <a:avLst/>
            <a:gdLst>
              <a:gd name="T0" fmla="*/ 165 w 409"/>
              <a:gd name="T1" fmla="*/ 25 h 700"/>
              <a:gd name="T2" fmla="*/ 185 w 409"/>
              <a:gd name="T3" fmla="*/ 9 h 700"/>
              <a:gd name="T4" fmla="*/ 209 w 409"/>
              <a:gd name="T5" fmla="*/ 1 h 700"/>
              <a:gd name="T6" fmla="*/ 234 w 409"/>
              <a:gd name="T7" fmla="*/ 1 h 700"/>
              <a:gd name="T8" fmla="*/ 258 w 409"/>
              <a:gd name="T9" fmla="*/ 10 h 700"/>
              <a:gd name="T10" fmla="*/ 278 w 409"/>
              <a:gd name="T11" fmla="*/ 27 h 700"/>
              <a:gd name="T12" fmla="*/ 366 w 409"/>
              <a:gd name="T13" fmla="*/ 135 h 700"/>
              <a:gd name="T14" fmla="*/ 401 w 409"/>
              <a:gd name="T15" fmla="*/ 179 h 700"/>
              <a:gd name="T16" fmla="*/ 409 w 409"/>
              <a:gd name="T17" fmla="*/ 206 h 700"/>
              <a:gd name="T18" fmla="*/ 406 w 409"/>
              <a:gd name="T19" fmla="*/ 235 h 700"/>
              <a:gd name="T20" fmla="*/ 382 w 409"/>
              <a:gd name="T21" fmla="*/ 297 h 700"/>
              <a:gd name="T22" fmla="*/ 328 w 409"/>
              <a:gd name="T23" fmla="*/ 430 h 700"/>
              <a:gd name="T24" fmla="*/ 334 w 409"/>
              <a:gd name="T25" fmla="*/ 502 h 700"/>
              <a:gd name="T26" fmla="*/ 364 w 409"/>
              <a:gd name="T27" fmla="*/ 595 h 700"/>
              <a:gd name="T28" fmla="*/ 374 w 409"/>
              <a:gd name="T29" fmla="*/ 643 h 700"/>
              <a:gd name="T30" fmla="*/ 371 w 409"/>
              <a:gd name="T31" fmla="*/ 667 h 700"/>
              <a:gd name="T32" fmla="*/ 355 w 409"/>
              <a:gd name="T33" fmla="*/ 686 h 700"/>
              <a:gd name="T34" fmla="*/ 335 w 409"/>
              <a:gd name="T35" fmla="*/ 698 h 700"/>
              <a:gd name="T36" fmla="*/ 312 w 409"/>
              <a:gd name="T37" fmla="*/ 700 h 700"/>
              <a:gd name="T38" fmla="*/ 290 w 409"/>
              <a:gd name="T39" fmla="*/ 689 h 700"/>
              <a:gd name="T40" fmla="*/ 276 w 409"/>
              <a:gd name="T41" fmla="*/ 670 h 700"/>
              <a:gd name="T42" fmla="*/ 258 w 409"/>
              <a:gd name="T43" fmla="*/ 627 h 700"/>
              <a:gd name="T44" fmla="*/ 240 w 409"/>
              <a:gd name="T45" fmla="*/ 568 h 700"/>
              <a:gd name="T46" fmla="*/ 228 w 409"/>
              <a:gd name="T47" fmla="*/ 534 h 700"/>
              <a:gd name="T48" fmla="*/ 212 w 409"/>
              <a:gd name="T49" fmla="*/ 483 h 700"/>
              <a:gd name="T50" fmla="*/ 208 w 409"/>
              <a:gd name="T51" fmla="*/ 448 h 700"/>
              <a:gd name="T52" fmla="*/ 211 w 409"/>
              <a:gd name="T53" fmla="*/ 430 h 700"/>
              <a:gd name="T54" fmla="*/ 243 w 409"/>
              <a:gd name="T55" fmla="*/ 346 h 700"/>
              <a:gd name="T56" fmla="*/ 276 w 409"/>
              <a:gd name="T57" fmla="*/ 262 h 700"/>
              <a:gd name="T58" fmla="*/ 256 w 409"/>
              <a:gd name="T59" fmla="*/ 231 h 700"/>
              <a:gd name="T60" fmla="*/ 212 w 409"/>
              <a:gd name="T61" fmla="*/ 175 h 700"/>
              <a:gd name="T62" fmla="*/ 190 w 409"/>
              <a:gd name="T63" fmla="*/ 146 h 700"/>
              <a:gd name="T64" fmla="*/ 175 w 409"/>
              <a:gd name="T65" fmla="*/ 182 h 700"/>
              <a:gd name="T66" fmla="*/ 158 w 409"/>
              <a:gd name="T67" fmla="*/ 217 h 700"/>
              <a:gd name="T68" fmla="*/ 106 w 409"/>
              <a:gd name="T69" fmla="*/ 244 h 700"/>
              <a:gd name="T70" fmla="*/ 47 w 409"/>
              <a:gd name="T71" fmla="*/ 272 h 700"/>
              <a:gd name="T72" fmla="*/ 34 w 409"/>
              <a:gd name="T73" fmla="*/ 274 h 700"/>
              <a:gd name="T74" fmla="*/ 11 w 409"/>
              <a:gd name="T75" fmla="*/ 265 h 700"/>
              <a:gd name="T76" fmla="*/ 1 w 409"/>
              <a:gd name="T77" fmla="*/ 251 h 700"/>
              <a:gd name="T78" fmla="*/ 0 w 409"/>
              <a:gd name="T79" fmla="*/ 242 h 700"/>
              <a:gd name="T80" fmla="*/ 3 w 409"/>
              <a:gd name="T81" fmla="*/ 226 h 700"/>
              <a:gd name="T82" fmla="*/ 12 w 409"/>
              <a:gd name="T83" fmla="*/ 215 h 700"/>
              <a:gd name="T84" fmla="*/ 39 w 409"/>
              <a:gd name="T85" fmla="*/ 199 h 700"/>
              <a:gd name="T86" fmla="*/ 57 w 409"/>
              <a:gd name="T87" fmla="*/ 190 h 700"/>
              <a:gd name="T88" fmla="*/ 90 w 409"/>
              <a:gd name="T89" fmla="*/ 173 h 700"/>
              <a:gd name="T90" fmla="*/ 111 w 409"/>
              <a:gd name="T91" fmla="*/ 155 h 700"/>
              <a:gd name="T92" fmla="*/ 115 w 409"/>
              <a:gd name="T93" fmla="*/ 147 h 700"/>
              <a:gd name="T94" fmla="*/ 148 w 409"/>
              <a:gd name="T95" fmla="*/ 6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9" h="700">
                <a:moveTo>
                  <a:pt x="160" y="32"/>
                </a:moveTo>
                <a:lnTo>
                  <a:pt x="160" y="32"/>
                </a:lnTo>
                <a:lnTo>
                  <a:pt x="165" y="25"/>
                </a:lnTo>
                <a:lnTo>
                  <a:pt x="171" y="18"/>
                </a:lnTo>
                <a:lnTo>
                  <a:pt x="177" y="13"/>
                </a:lnTo>
                <a:lnTo>
                  <a:pt x="185" y="9"/>
                </a:lnTo>
                <a:lnTo>
                  <a:pt x="193" y="5"/>
                </a:lnTo>
                <a:lnTo>
                  <a:pt x="201" y="2"/>
                </a:lnTo>
                <a:lnTo>
                  <a:pt x="209" y="1"/>
                </a:lnTo>
                <a:lnTo>
                  <a:pt x="218" y="0"/>
                </a:lnTo>
                <a:lnTo>
                  <a:pt x="226" y="0"/>
                </a:lnTo>
                <a:lnTo>
                  <a:pt x="234" y="1"/>
                </a:lnTo>
                <a:lnTo>
                  <a:pt x="243" y="3"/>
                </a:lnTo>
                <a:lnTo>
                  <a:pt x="251" y="6"/>
                </a:lnTo>
                <a:lnTo>
                  <a:pt x="258" y="10"/>
                </a:lnTo>
                <a:lnTo>
                  <a:pt x="265" y="15"/>
                </a:lnTo>
                <a:lnTo>
                  <a:pt x="272" y="21"/>
                </a:lnTo>
                <a:lnTo>
                  <a:pt x="278" y="27"/>
                </a:lnTo>
                <a:lnTo>
                  <a:pt x="278" y="27"/>
                </a:lnTo>
                <a:lnTo>
                  <a:pt x="336" y="99"/>
                </a:lnTo>
                <a:lnTo>
                  <a:pt x="366" y="135"/>
                </a:lnTo>
                <a:lnTo>
                  <a:pt x="395" y="172"/>
                </a:lnTo>
                <a:lnTo>
                  <a:pt x="395" y="172"/>
                </a:lnTo>
                <a:lnTo>
                  <a:pt x="401" y="179"/>
                </a:lnTo>
                <a:lnTo>
                  <a:pt x="405" y="188"/>
                </a:lnTo>
                <a:lnTo>
                  <a:pt x="408" y="197"/>
                </a:lnTo>
                <a:lnTo>
                  <a:pt x="409" y="206"/>
                </a:lnTo>
                <a:lnTo>
                  <a:pt x="409" y="216"/>
                </a:lnTo>
                <a:lnTo>
                  <a:pt x="408" y="226"/>
                </a:lnTo>
                <a:lnTo>
                  <a:pt x="406" y="235"/>
                </a:lnTo>
                <a:lnTo>
                  <a:pt x="403" y="244"/>
                </a:lnTo>
                <a:lnTo>
                  <a:pt x="403" y="244"/>
                </a:lnTo>
                <a:lnTo>
                  <a:pt x="382" y="297"/>
                </a:lnTo>
                <a:lnTo>
                  <a:pt x="358" y="350"/>
                </a:lnTo>
                <a:lnTo>
                  <a:pt x="337" y="402"/>
                </a:lnTo>
                <a:lnTo>
                  <a:pt x="328" y="430"/>
                </a:lnTo>
                <a:lnTo>
                  <a:pt x="319" y="456"/>
                </a:lnTo>
                <a:lnTo>
                  <a:pt x="319" y="456"/>
                </a:lnTo>
                <a:lnTo>
                  <a:pt x="334" y="502"/>
                </a:lnTo>
                <a:lnTo>
                  <a:pt x="349" y="549"/>
                </a:lnTo>
                <a:lnTo>
                  <a:pt x="356" y="572"/>
                </a:lnTo>
                <a:lnTo>
                  <a:pt x="364" y="595"/>
                </a:lnTo>
                <a:lnTo>
                  <a:pt x="370" y="620"/>
                </a:lnTo>
                <a:lnTo>
                  <a:pt x="374" y="643"/>
                </a:lnTo>
                <a:lnTo>
                  <a:pt x="374" y="643"/>
                </a:lnTo>
                <a:lnTo>
                  <a:pt x="375" y="652"/>
                </a:lnTo>
                <a:lnTo>
                  <a:pt x="373" y="660"/>
                </a:lnTo>
                <a:lnTo>
                  <a:pt x="371" y="667"/>
                </a:lnTo>
                <a:lnTo>
                  <a:pt x="367" y="674"/>
                </a:lnTo>
                <a:lnTo>
                  <a:pt x="362" y="680"/>
                </a:lnTo>
                <a:lnTo>
                  <a:pt x="355" y="686"/>
                </a:lnTo>
                <a:lnTo>
                  <a:pt x="349" y="691"/>
                </a:lnTo>
                <a:lnTo>
                  <a:pt x="342" y="695"/>
                </a:lnTo>
                <a:lnTo>
                  <a:pt x="335" y="698"/>
                </a:lnTo>
                <a:lnTo>
                  <a:pt x="327" y="700"/>
                </a:lnTo>
                <a:lnTo>
                  <a:pt x="319" y="700"/>
                </a:lnTo>
                <a:lnTo>
                  <a:pt x="312" y="700"/>
                </a:lnTo>
                <a:lnTo>
                  <a:pt x="304" y="698"/>
                </a:lnTo>
                <a:lnTo>
                  <a:pt x="297" y="695"/>
                </a:lnTo>
                <a:lnTo>
                  <a:pt x="290" y="689"/>
                </a:lnTo>
                <a:lnTo>
                  <a:pt x="284" y="683"/>
                </a:lnTo>
                <a:lnTo>
                  <a:pt x="284" y="683"/>
                </a:lnTo>
                <a:lnTo>
                  <a:pt x="276" y="670"/>
                </a:lnTo>
                <a:lnTo>
                  <a:pt x="269" y="656"/>
                </a:lnTo>
                <a:lnTo>
                  <a:pt x="263" y="642"/>
                </a:lnTo>
                <a:lnTo>
                  <a:pt x="258" y="627"/>
                </a:lnTo>
                <a:lnTo>
                  <a:pt x="250" y="597"/>
                </a:lnTo>
                <a:lnTo>
                  <a:pt x="245" y="582"/>
                </a:lnTo>
                <a:lnTo>
                  <a:pt x="240" y="568"/>
                </a:lnTo>
                <a:lnTo>
                  <a:pt x="240" y="568"/>
                </a:lnTo>
                <a:lnTo>
                  <a:pt x="234" y="551"/>
                </a:lnTo>
                <a:lnTo>
                  <a:pt x="228" y="534"/>
                </a:lnTo>
                <a:lnTo>
                  <a:pt x="222" y="518"/>
                </a:lnTo>
                <a:lnTo>
                  <a:pt x="216" y="500"/>
                </a:lnTo>
                <a:lnTo>
                  <a:pt x="212" y="483"/>
                </a:lnTo>
                <a:lnTo>
                  <a:pt x="209" y="465"/>
                </a:lnTo>
                <a:lnTo>
                  <a:pt x="208" y="457"/>
                </a:lnTo>
                <a:lnTo>
                  <a:pt x="208" y="448"/>
                </a:lnTo>
                <a:lnTo>
                  <a:pt x="209" y="439"/>
                </a:lnTo>
                <a:lnTo>
                  <a:pt x="211" y="430"/>
                </a:lnTo>
                <a:lnTo>
                  <a:pt x="211" y="430"/>
                </a:lnTo>
                <a:lnTo>
                  <a:pt x="218" y="408"/>
                </a:lnTo>
                <a:lnTo>
                  <a:pt x="226" y="387"/>
                </a:lnTo>
                <a:lnTo>
                  <a:pt x="243" y="346"/>
                </a:lnTo>
                <a:lnTo>
                  <a:pt x="259" y="304"/>
                </a:lnTo>
                <a:lnTo>
                  <a:pt x="267" y="283"/>
                </a:lnTo>
                <a:lnTo>
                  <a:pt x="276" y="262"/>
                </a:lnTo>
                <a:lnTo>
                  <a:pt x="276" y="262"/>
                </a:lnTo>
                <a:lnTo>
                  <a:pt x="266" y="246"/>
                </a:lnTo>
                <a:lnTo>
                  <a:pt x="256" y="231"/>
                </a:lnTo>
                <a:lnTo>
                  <a:pt x="246" y="217"/>
                </a:lnTo>
                <a:lnTo>
                  <a:pt x="235" y="203"/>
                </a:lnTo>
                <a:lnTo>
                  <a:pt x="212" y="175"/>
                </a:lnTo>
                <a:lnTo>
                  <a:pt x="201" y="161"/>
                </a:lnTo>
                <a:lnTo>
                  <a:pt x="190" y="146"/>
                </a:lnTo>
                <a:lnTo>
                  <a:pt x="190" y="146"/>
                </a:lnTo>
                <a:lnTo>
                  <a:pt x="186" y="154"/>
                </a:lnTo>
                <a:lnTo>
                  <a:pt x="181" y="164"/>
                </a:lnTo>
                <a:lnTo>
                  <a:pt x="175" y="182"/>
                </a:lnTo>
                <a:lnTo>
                  <a:pt x="168" y="200"/>
                </a:lnTo>
                <a:lnTo>
                  <a:pt x="163" y="209"/>
                </a:lnTo>
                <a:lnTo>
                  <a:pt x="158" y="217"/>
                </a:lnTo>
                <a:lnTo>
                  <a:pt x="158" y="217"/>
                </a:lnTo>
                <a:lnTo>
                  <a:pt x="132" y="231"/>
                </a:lnTo>
                <a:lnTo>
                  <a:pt x="106" y="244"/>
                </a:lnTo>
                <a:lnTo>
                  <a:pt x="51" y="270"/>
                </a:lnTo>
                <a:lnTo>
                  <a:pt x="51" y="270"/>
                </a:lnTo>
                <a:lnTo>
                  <a:pt x="47" y="272"/>
                </a:lnTo>
                <a:lnTo>
                  <a:pt x="43" y="273"/>
                </a:lnTo>
                <a:lnTo>
                  <a:pt x="39" y="274"/>
                </a:lnTo>
                <a:lnTo>
                  <a:pt x="34" y="274"/>
                </a:lnTo>
                <a:lnTo>
                  <a:pt x="26" y="273"/>
                </a:lnTo>
                <a:lnTo>
                  <a:pt x="18" y="270"/>
                </a:lnTo>
                <a:lnTo>
                  <a:pt x="11" y="265"/>
                </a:lnTo>
                <a:lnTo>
                  <a:pt x="5" y="259"/>
                </a:lnTo>
                <a:lnTo>
                  <a:pt x="3" y="255"/>
                </a:lnTo>
                <a:lnTo>
                  <a:pt x="1" y="251"/>
                </a:lnTo>
                <a:lnTo>
                  <a:pt x="0" y="246"/>
                </a:lnTo>
                <a:lnTo>
                  <a:pt x="0" y="242"/>
                </a:lnTo>
                <a:lnTo>
                  <a:pt x="0" y="242"/>
                </a:lnTo>
                <a:lnTo>
                  <a:pt x="0" y="236"/>
                </a:lnTo>
                <a:lnTo>
                  <a:pt x="1" y="231"/>
                </a:lnTo>
                <a:lnTo>
                  <a:pt x="3" y="226"/>
                </a:lnTo>
                <a:lnTo>
                  <a:pt x="5" y="222"/>
                </a:lnTo>
                <a:lnTo>
                  <a:pt x="9" y="219"/>
                </a:lnTo>
                <a:lnTo>
                  <a:pt x="12" y="215"/>
                </a:lnTo>
                <a:lnTo>
                  <a:pt x="20" y="209"/>
                </a:lnTo>
                <a:lnTo>
                  <a:pt x="29" y="204"/>
                </a:lnTo>
                <a:lnTo>
                  <a:pt x="39" y="199"/>
                </a:lnTo>
                <a:lnTo>
                  <a:pt x="48" y="195"/>
                </a:lnTo>
                <a:lnTo>
                  <a:pt x="57" y="190"/>
                </a:lnTo>
                <a:lnTo>
                  <a:pt x="57" y="190"/>
                </a:lnTo>
                <a:lnTo>
                  <a:pt x="64" y="185"/>
                </a:lnTo>
                <a:lnTo>
                  <a:pt x="73" y="181"/>
                </a:lnTo>
                <a:lnTo>
                  <a:pt x="90" y="173"/>
                </a:lnTo>
                <a:lnTo>
                  <a:pt x="98" y="169"/>
                </a:lnTo>
                <a:lnTo>
                  <a:pt x="105" y="163"/>
                </a:lnTo>
                <a:lnTo>
                  <a:pt x="111" y="155"/>
                </a:lnTo>
                <a:lnTo>
                  <a:pt x="113" y="151"/>
                </a:lnTo>
                <a:lnTo>
                  <a:pt x="115" y="147"/>
                </a:lnTo>
                <a:lnTo>
                  <a:pt x="115" y="147"/>
                </a:lnTo>
                <a:lnTo>
                  <a:pt x="126" y="118"/>
                </a:lnTo>
                <a:lnTo>
                  <a:pt x="137" y="90"/>
                </a:lnTo>
                <a:lnTo>
                  <a:pt x="148" y="60"/>
                </a:lnTo>
                <a:lnTo>
                  <a:pt x="160" y="32"/>
                </a:lnTo>
                <a:lnTo>
                  <a:pt x="16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59" name="Freeform 2231"/>
          <p:cNvSpPr>
            <a:spLocks/>
          </p:cNvSpPr>
          <p:nvPr/>
        </p:nvSpPr>
        <p:spPr bwMode="auto">
          <a:xfrm>
            <a:off x="1138240" y="5287899"/>
            <a:ext cx="49213" cy="50800"/>
          </a:xfrm>
          <a:custGeom>
            <a:avLst/>
            <a:gdLst>
              <a:gd name="T0" fmla="*/ 50 w 188"/>
              <a:gd name="T1" fmla="*/ 88 h 188"/>
              <a:gd name="T2" fmla="*/ 143 w 188"/>
              <a:gd name="T3" fmla="*/ 181 h 188"/>
              <a:gd name="T4" fmla="*/ 151 w 188"/>
              <a:gd name="T5" fmla="*/ 186 h 188"/>
              <a:gd name="T6" fmla="*/ 161 w 188"/>
              <a:gd name="T7" fmla="*/ 188 h 188"/>
              <a:gd name="T8" fmla="*/ 171 w 188"/>
              <a:gd name="T9" fmla="*/ 186 h 188"/>
              <a:gd name="T10" fmla="*/ 179 w 188"/>
              <a:gd name="T11" fmla="*/ 181 h 188"/>
              <a:gd name="T12" fmla="*/ 182 w 188"/>
              <a:gd name="T13" fmla="*/ 177 h 188"/>
              <a:gd name="T14" fmla="*/ 186 w 188"/>
              <a:gd name="T15" fmla="*/ 168 h 188"/>
              <a:gd name="T16" fmla="*/ 188 w 188"/>
              <a:gd name="T17" fmla="*/ 163 h 188"/>
              <a:gd name="T18" fmla="*/ 185 w 188"/>
              <a:gd name="T19" fmla="*/ 153 h 188"/>
              <a:gd name="T20" fmla="*/ 179 w 188"/>
              <a:gd name="T21" fmla="*/ 145 h 188"/>
              <a:gd name="T22" fmla="*/ 87 w 188"/>
              <a:gd name="T23" fmla="*/ 53 h 188"/>
              <a:gd name="T24" fmla="*/ 87 w 188"/>
              <a:gd name="T25" fmla="*/ 40 h 188"/>
              <a:gd name="T26" fmla="*/ 86 w 188"/>
              <a:gd name="T27" fmla="*/ 33 h 188"/>
              <a:gd name="T28" fmla="*/ 80 w 188"/>
              <a:gd name="T29" fmla="*/ 19 h 188"/>
              <a:gd name="T30" fmla="*/ 75 w 188"/>
              <a:gd name="T31" fmla="*/ 13 h 188"/>
              <a:gd name="T32" fmla="*/ 64 w 188"/>
              <a:gd name="T33" fmla="*/ 5 h 188"/>
              <a:gd name="T34" fmla="*/ 52 w 188"/>
              <a:gd name="T35" fmla="*/ 1 h 188"/>
              <a:gd name="T36" fmla="*/ 40 w 188"/>
              <a:gd name="T37" fmla="*/ 1 h 188"/>
              <a:gd name="T38" fmla="*/ 27 w 188"/>
              <a:gd name="T39" fmla="*/ 4 h 188"/>
              <a:gd name="T40" fmla="*/ 53 w 188"/>
              <a:gd name="T41" fmla="*/ 29 h 188"/>
              <a:gd name="T42" fmla="*/ 56 w 188"/>
              <a:gd name="T43" fmla="*/ 36 h 188"/>
              <a:gd name="T44" fmla="*/ 53 w 188"/>
              <a:gd name="T45" fmla="*/ 43 h 188"/>
              <a:gd name="T46" fmla="*/ 42 w 188"/>
              <a:gd name="T47" fmla="*/ 55 h 188"/>
              <a:gd name="T48" fmla="*/ 35 w 188"/>
              <a:gd name="T49" fmla="*/ 58 h 188"/>
              <a:gd name="T50" fmla="*/ 28 w 188"/>
              <a:gd name="T51" fmla="*/ 55 h 188"/>
              <a:gd name="T52" fmla="*/ 3 w 188"/>
              <a:gd name="T53" fmla="*/ 29 h 188"/>
              <a:gd name="T54" fmla="*/ 0 w 188"/>
              <a:gd name="T55" fmla="*/ 41 h 188"/>
              <a:gd name="T56" fmla="*/ 1 w 188"/>
              <a:gd name="T57" fmla="*/ 54 h 188"/>
              <a:gd name="T58" fmla="*/ 5 w 188"/>
              <a:gd name="T59" fmla="*/ 65 h 188"/>
              <a:gd name="T60" fmla="*/ 14 w 188"/>
              <a:gd name="T61" fmla="*/ 75 h 188"/>
              <a:gd name="T62" fmla="*/ 19 w 188"/>
              <a:gd name="T63" fmla="*/ 80 h 188"/>
              <a:gd name="T64" fmla="*/ 31 w 188"/>
              <a:gd name="T65" fmla="*/ 86 h 188"/>
              <a:gd name="T66" fmla="*/ 37 w 188"/>
              <a:gd name="T67" fmla="*/ 88 h 188"/>
              <a:gd name="T68" fmla="*/ 50 w 188"/>
              <a:gd name="T69" fmla="*/ 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8" h="188">
                <a:moveTo>
                  <a:pt x="50" y="88"/>
                </a:moveTo>
                <a:lnTo>
                  <a:pt x="50" y="88"/>
                </a:lnTo>
                <a:lnTo>
                  <a:pt x="143" y="181"/>
                </a:lnTo>
                <a:lnTo>
                  <a:pt x="143" y="181"/>
                </a:lnTo>
                <a:lnTo>
                  <a:pt x="147" y="184"/>
                </a:lnTo>
                <a:lnTo>
                  <a:pt x="151" y="186"/>
                </a:lnTo>
                <a:lnTo>
                  <a:pt x="156" y="188"/>
                </a:lnTo>
                <a:lnTo>
                  <a:pt x="161" y="188"/>
                </a:lnTo>
                <a:lnTo>
                  <a:pt x="166" y="188"/>
                </a:lnTo>
                <a:lnTo>
                  <a:pt x="171" y="186"/>
                </a:lnTo>
                <a:lnTo>
                  <a:pt x="175" y="184"/>
                </a:lnTo>
                <a:lnTo>
                  <a:pt x="179" y="181"/>
                </a:lnTo>
                <a:lnTo>
                  <a:pt x="179" y="181"/>
                </a:lnTo>
                <a:lnTo>
                  <a:pt x="182" y="177"/>
                </a:lnTo>
                <a:lnTo>
                  <a:pt x="185" y="173"/>
                </a:lnTo>
                <a:lnTo>
                  <a:pt x="186" y="168"/>
                </a:lnTo>
                <a:lnTo>
                  <a:pt x="188" y="163"/>
                </a:lnTo>
                <a:lnTo>
                  <a:pt x="188" y="163"/>
                </a:lnTo>
                <a:lnTo>
                  <a:pt x="186" y="158"/>
                </a:lnTo>
                <a:lnTo>
                  <a:pt x="185" y="153"/>
                </a:lnTo>
                <a:lnTo>
                  <a:pt x="182" y="149"/>
                </a:lnTo>
                <a:lnTo>
                  <a:pt x="179" y="145"/>
                </a:lnTo>
                <a:lnTo>
                  <a:pt x="87" y="53"/>
                </a:lnTo>
                <a:lnTo>
                  <a:pt x="87" y="53"/>
                </a:lnTo>
                <a:lnTo>
                  <a:pt x="88" y="46"/>
                </a:lnTo>
                <a:lnTo>
                  <a:pt x="87" y="40"/>
                </a:lnTo>
                <a:lnTo>
                  <a:pt x="87" y="40"/>
                </a:lnTo>
                <a:lnTo>
                  <a:pt x="86" y="33"/>
                </a:lnTo>
                <a:lnTo>
                  <a:pt x="84" y="26"/>
                </a:lnTo>
                <a:lnTo>
                  <a:pt x="80" y="19"/>
                </a:lnTo>
                <a:lnTo>
                  <a:pt x="75" y="13"/>
                </a:lnTo>
                <a:lnTo>
                  <a:pt x="75" y="13"/>
                </a:lnTo>
                <a:lnTo>
                  <a:pt x="70" y="9"/>
                </a:lnTo>
                <a:lnTo>
                  <a:pt x="64" y="5"/>
                </a:lnTo>
                <a:lnTo>
                  <a:pt x="58" y="3"/>
                </a:lnTo>
                <a:lnTo>
                  <a:pt x="52" y="1"/>
                </a:lnTo>
                <a:lnTo>
                  <a:pt x="46" y="0"/>
                </a:lnTo>
                <a:lnTo>
                  <a:pt x="40" y="1"/>
                </a:lnTo>
                <a:lnTo>
                  <a:pt x="34" y="2"/>
                </a:lnTo>
                <a:lnTo>
                  <a:pt x="27" y="4"/>
                </a:lnTo>
                <a:lnTo>
                  <a:pt x="53" y="29"/>
                </a:lnTo>
                <a:lnTo>
                  <a:pt x="53" y="29"/>
                </a:lnTo>
                <a:lnTo>
                  <a:pt x="55" y="32"/>
                </a:lnTo>
                <a:lnTo>
                  <a:pt x="56" y="36"/>
                </a:lnTo>
                <a:lnTo>
                  <a:pt x="55" y="40"/>
                </a:lnTo>
                <a:lnTo>
                  <a:pt x="53" y="43"/>
                </a:lnTo>
                <a:lnTo>
                  <a:pt x="42" y="55"/>
                </a:lnTo>
                <a:lnTo>
                  <a:pt x="42" y="55"/>
                </a:lnTo>
                <a:lnTo>
                  <a:pt x="39" y="57"/>
                </a:lnTo>
                <a:lnTo>
                  <a:pt x="35" y="58"/>
                </a:lnTo>
                <a:lnTo>
                  <a:pt x="32" y="57"/>
                </a:lnTo>
                <a:lnTo>
                  <a:pt x="28" y="55"/>
                </a:lnTo>
                <a:lnTo>
                  <a:pt x="3" y="29"/>
                </a:lnTo>
                <a:lnTo>
                  <a:pt x="3" y="29"/>
                </a:lnTo>
                <a:lnTo>
                  <a:pt x="1" y="35"/>
                </a:lnTo>
                <a:lnTo>
                  <a:pt x="0" y="41"/>
                </a:lnTo>
                <a:lnTo>
                  <a:pt x="0" y="47"/>
                </a:lnTo>
                <a:lnTo>
                  <a:pt x="1" y="54"/>
                </a:lnTo>
                <a:lnTo>
                  <a:pt x="2" y="60"/>
                </a:lnTo>
                <a:lnTo>
                  <a:pt x="5" y="65"/>
                </a:lnTo>
                <a:lnTo>
                  <a:pt x="8" y="71"/>
                </a:lnTo>
                <a:lnTo>
                  <a:pt x="14" y="75"/>
                </a:lnTo>
                <a:lnTo>
                  <a:pt x="14" y="75"/>
                </a:lnTo>
                <a:lnTo>
                  <a:pt x="19" y="80"/>
                </a:lnTo>
                <a:lnTo>
                  <a:pt x="25" y="84"/>
                </a:lnTo>
                <a:lnTo>
                  <a:pt x="31" y="86"/>
                </a:lnTo>
                <a:lnTo>
                  <a:pt x="37" y="88"/>
                </a:lnTo>
                <a:lnTo>
                  <a:pt x="37" y="88"/>
                </a:lnTo>
                <a:lnTo>
                  <a:pt x="44" y="88"/>
                </a:lnTo>
                <a:lnTo>
                  <a:pt x="50" y="88"/>
                </a:lnTo>
                <a:lnTo>
                  <a:pt x="50"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0" name="Freeform 2232"/>
          <p:cNvSpPr>
            <a:spLocks noEditPoints="1"/>
          </p:cNvSpPr>
          <p:nvPr/>
        </p:nvSpPr>
        <p:spPr bwMode="auto">
          <a:xfrm>
            <a:off x="1916115" y="5381562"/>
            <a:ext cx="85725" cy="87312"/>
          </a:xfrm>
          <a:custGeom>
            <a:avLst/>
            <a:gdLst>
              <a:gd name="T0" fmla="*/ 1 w 324"/>
              <a:gd name="T1" fmla="*/ 179 h 325"/>
              <a:gd name="T2" fmla="*/ 13 w 324"/>
              <a:gd name="T3" fmla="*/ 225 h 325"/>
              <a:gd name="T4" fmla="*/ 37 w 324"/>
              <a:gd name="T5" fmla="*/ 265 h 325"/>
              <a:gd name="T6" fmla="*/ 72 w 324"/>
              <a:gd name="T7" fmla="*/ 296 h 325"/>
              <a:gd name="T8" fmla="*/ 114 w 324"/>
              <a:gd name="T9" fmla="*/ 318 h 325"/>
              <a:gd name="T10" fmla="*/ 162 w 324"/>
              <a:gd name="T11" fmla="*/ 325 h 325"/>
              <a:gd name="T12" fmla="*/ 195 w 324"/>
              <a:gd name="T13" fmla="*/ 322 h 325"/>
              <a:gd name="T14" fmla="*/ 239 w 324"/>
              <a:gd name="T15" fmla="*/ 305 h 325"/>
              <a:gd name="T16" fmla="*/ 277 w 324"/>
              <a:gd name="T17" fmla="*/ 277 h 325"/>
              <a:gd name="T18" fmla="*/ 305 w 324"/>
              <a:gd name="T19" fmla="*/ 240 h 325"/>
              <a:gd name="T20" fmla="*/ 321 w 324"/>
              <a:gd name="T21" fmla="*/ 195 h 325"/>
              <a:gd name="T22" fmla="*/ 324 w 324"/>
              <a:gd name="T23" fmla="*/ 162 h 325"/>
              <a:gd name="T24" fmla="*/ 317 w 324"/>
              <a:gd name="T25" fmla="*/ 114 h 325"/>
              <a:gd name="T26" fmla="*/ 297 w 324"/>
              <a:gd name="T27" fmla="*/ 72 h 325"/>
              <a:gd name="T28" fmla="*/ 266 w 324"/>
              <a:gd name="T29" fmla="*/ 37 h 325"/>
              <a:gd name="T30" fmla="*/ 225 w 324"/>
              <a:gd name="T31" fmla="*/ 13 h 325"/>
              <a:gd name="T32" fmla="*/ 179 w 324"/>
              <a:gd name="T33" fmla="*/ 1 h 325"/>
              <a:gd name="T34" fmla="*/ 145 w 324"/>
              <a:gd name="T35" fmla="*/ 1 h 325"/>
              <a:gd name="T36" fmla="*/ 99 w 324"/>
              <a:gd name="T37" fmla="*/ 13 h 325"/>
              <a:gd name="T38" fmla="*/ 58 w 324"/>
              <a:gd name="T39" fmla="*/ 37 h 325"/>
              <a:gd name="T40" fmla="*/ 27 w 324"/>
              <a:gd name="T41" fmla="*/ 72 h 325"/>
              <a:gd name="T42" fmla="*/ 7 w 324"/>
              <a:gd name="T43" fmla="*/ 114 h 325"/>
              <a:gd name="T44" fmla="*/ 0 w 324"/>
              <a:gd name="T45" fmla="*/ 162 h 325"/>
              <a:gd name="T46" fmla="*/ 76 w 324"/>
              <a:gd name="T47" fmla="*/ 162 h 325"/>
              <a:gd name="T48" fmla="*/ 80 w 324"/>
              <a:gd name="T49" fmla="*/ 137 h 325"/>
              <a:gd name="T50" fmla="*/ 91 w 324"/>
              <a:gd name="T51" fmla="*/ 115 h 325"/>
              <a:gd name="T52" fmla="*/ 107 w 324"/>
              <a:gd name="T53" fmla="*/ 97 h 325"/>
              <a:gd name="T54" fmla="*/ 128 w 324"/>
              <a:gd name="T55" fmla="*/ 85 h 325"/>
              <a:gd name="T56" fmla="*/ 153 w 324"/>
              <a:gd name="T57" fmla="*/ 78 h 325"/>
              <a:gd name="T58" fmla="*/ 171 w 324"/>
              <a:gd name="T59" fmla="*/ 78 h 325"/>
              <a:gd name="T60" fmla="*/ 196 w 324"/>
              <a:gd name="T61" fmla="*/ 85 h 325"/>
              <a:gd name="T62" fmla="*/ 217 w 324"/>
              <a:gd name="T63" fmla="*/ 97 h 325"/>
              <a:gd name="T64" fmla="*/ 233 w 324"/>
              <a:gd name="T65" fmla="*/ 115 h 325"/>
              <a:gd name="T66" fmla="*/ 244 w 324"/>
              <a:gd name="T67" fmla="*/ 137 h 325"/>
              <a:gd name="T68" fmla="*/ 249 w 324"/>
              <a:gd name="T69" fmla="*/ 162 h 325"/>
              <a:gd name="T70" fmla="*/ 246 w 324"/>
              <a:gd name="T71" fmla="*/ 179 h 325"/>
              <a:gd name="T72" fmla="*/ 238 w 324"/>
              <a:gd name="T73" fmla="*/ 202 h 325"/>
              <a:gd name="T74" fmla="*/ 223 w 324"/>
              <a:gd name="T75" fmla="*/ 221 h 325"/>
              <a:gd name="T76" fmla="*/ 203 w 324"/>
              <a:gd name="T77" fmla="*/ 237 h 325"/>
              <a:gd name="T78" fmla="*/ 180 w 324"/>
              <a:gd name="T79" fmla="*/ 245 h 325"/>
              <a:gd name="T80" fmla="*/ 162 w 324"/>
              <a:gd name="T81" fmla="*/ 247 h 325"/>
              <a:gd name="T82" fmla="*/ 136 w 324"/>
              <a:gd name="T83" fmla="*/ 243 h 325"/>
              <a:gd name="T84" fmla="*/ 114 w 324"/>
              <a:gd name="T85" fmla="*/ 233 h 325"/>
              <a:gd name="T86" fmla="*/ 95 w 324"/>
              <a:gd name="T87" fmla="*/ 215 h 325"/>
              <a:gd name="T88" fmla="*/ 83 w 324"/>
              <a:gd name="T89" fmla="*/ 195 h 325"/>
              <a:gd name="T90" fmla="*/ 76 w 324"/>
              <a:gd name="T91" fmla="*/ 171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 h="325">
                <a:moveTo>
                  <a:pt x="0" y="162"/>
                </a:moveTo>
                <a:lnTo>
                  <a:pt x="0" y="162"/>
                </a:lnTo>
                <a:lnTo>
                  <a:pt x="1" y="179"/>
                </a:lnTo>
                <a:lnTo>
                  <a:pt x="3" y="195"/>
                </a:lnTo>
                <a:lnTo>
                  <a:pt x="7" y="210"/>
                </a:lnTo>
                <a:lnTo>
                  <a:pt x="13" y="225"/>
                </a:lnTo>
                <a:lnTo>
                  <a:pt x="19" y="240"/>
                </a:lnTo>
                <a:lnTo>
                  <a:pt x="27" y="253"/>
                </a:lnTo>
                <a:lnTo>
                  <a:pt x="37" y="265"/>
                </a:lnTo>
                <a:lnTo>
                  <a:pt x="47" y="277"/>
                </a:lnTo>
                <a:lnTo>
                  <a:pt x="58" y="287"/>
                </a:lnTo>
                <a:lnTo>
                  <a:pt x="72" y="296"/>
                </a:lnTo>
                <a:lnTo>
                  <a:pt x="85" y="305"/>
                </a:lnTo>
                <a:lnTo>
                  <a:pt x="99" y="311"/>
                </a:lnTo>
                <a:lnTo>
                  <a:pt x="114" y="318"/>
                </a:lnTo>
                <a:lnTo>
                  <a:pt x="129" y="322"/>
                </a:lnTo>
                <a:lnTo>
                  <a:pt x="145" y="324"/>
                </a:lnTo>
                <a:lnTo>
                  <a:pt x="162" y="325"/>
                </a:lnTo>
                <a:lnTo>
                  <a:pt x="162" y="325"/>
                </a:lnTo>
                <a:lnTo>
                  <a:pt x="179" y="324"/>
                </a:lnTo>
                <a:lnTo>
                  <a:pt x="195" y="322"/>
                </a:lnTo>
                <a:lnTo>
                  <a:pt x="210" y="318"/>
                </a:lnTo>
                <a:lnTo>
                  <a:pt x="225" y="311"/>
                </a:lnTo>
                <a:lnTo>
                  <a:pt x="239" y="305"/>
                </a:lnTo>
                <a:lnTo>
                  <a:pt x="253" y="296"/>
                </a:lnTo>
                <a:lnTo>
                  <a:pt x="266" y="287"/>
                </a:lnTo>
                <a:lnTo>
                  <a:pt x="277" y="277"/>
                </a:lnTo>
                <a:lnTo>
                  <a:pt x="287" y="265"/>
                </a:lnTo>
                <a:lnTo>
                  <a:pt x="297" y="253"/>
                </a:lnTo>
                <a:lnTo>
                  <a:pt x="305" y="240"/>
                </a:lnTo>
                <a:lnTo>
                  <a:pt x="311" y="225"/>
                </a:lnTo>
                <a:lnTo>
                  <a:pt x="317" y="210"/>
                </a:lnTo>
                <a:lnTo>
                  <a:pt x="321" y="195"/>
                </a:lnTo>
                <a:lnTo>
                  <a:pt x="323" y="179"/>
                </a:lnTo>
                <a:lnTo>
                  <a:pt x="324" y="162"/>
                </a:lnTo>
                <a:lnTo>
                  <a:pt x="324" y="162"/>
                </a:lnTo>
                <a:lnTo>
                  <a:pt x="323" y="146"/>
                </a:lnTo>
                <a:lnTo>
                  <a:pt x="321" y="129"/>
                </a:lnTo>
                <a:lnTo>
                  <a:pt x="317" y="114"/>
                </a:lnTo>
                <a:lnTo>
                  <a:pt x="311" y="99"/>
                </a:lnTo>
                <a:lnTo>
                  <a:pt x="305" y="85"/>
                </a:lnTo>
                <a:lnTo>
                  <a:pt x="297" y="72"/>
                </a:lnTo>
                <a:lnTo>
                  <a:pt x="287" y="59"/>
                </a:lnTo>
                <a:lnTo>
                  <a:pt x="277" y="47"/>
                </a:lnTo>
                <a:lnTo>
                  <a:pt x="266" y="37"/>
                </a:lnTo>
                <a:lnTo>
                  <a:pt x="253" y="27"/>
                </a:lnTo>
                <a:lnTo>
                  <a:pt x="239" y="19"/>
                </a:lnTo>
                <a:lnTo>
                  <a:pt x="225" y="13"/>
                </a:lnTo>
                <a:lnTo>
                  <a:pt x="210" y="7"/>
                </a:lnTo>
                <a:lnTo>
                  <a:pt x="195" y="3"/>
                </a:lnTo>
                <a:lnTo>
                  <a:pt x="179" y="1"/>
                </a:lnTo>
                <a:lnTo>
                  <a:pt x="162" y="0"/>
                </a:lnTo>
                <a:lnTo>
                  <a:pt x="162" y="0"/>
                </a:lnTo>
                <a:lnTo>
                  <a:pt x="145" y="1"/>
                </a:lnTo>
                <a:lnTo>
                  <a:pt x="129" y="3"/>
                </a:lnTo>
                <a:lnTo>
                  <a:pt x="114" y="7"/>
                </a:lnTo>
                <a:lnTo>
                  <a:pt x="99" y="13"/>
                </a:lnTo>
                <a:lnTo>
                  <a:pt x="85" y="19"/>
                </a:lnTo>
                <a:lnTo>
                  <a:pt x="72" y="27"/>
                </a:lnTo>
                <a:lnTo>
                  <a:pt x="58" y="37"/>
                </a:lnTo>
                <a:lnTo>
                  <a:pt x="47" y="47"/>
                </a:lnTo>
                <a:lnTo>
                  <a:pt x="37" y="59"/>
                </a:lnTo>
                <a:lnTo>
                  <a:pt x="27" y="72"/>
                </a:lnTo>
                <a:lnTo>
                  <a:pt x="19" y="85"/>
                </a:lnTo>
                <a:lnTo>
                  <a:pt x="13" y="99"/>
                </a:lnTo>
                <a:lnTo>
                  <a:pt x="7" y="114"/>
                </a:lnTo>
                <a:lnTo>
                  <a:pt x="3" y="129"/>
                </a:lnTo>
                <a:lnTo>
                  <a:pt x="1" y="146"/>
                </a:lnTo>
                <a:lnTo>
                  <a:pt x="0" y="162"/>
                </a:lnTo>
                <a:lnTo>
                  <a:pt x="0" y="162"/>
                </a:lnTo>
                <a:close/>
                <a:moveTo>
                  <a:pt x="76" y="162"/>
                </a:moveTo>
                <a:lnTo>
                  <a:pt x="76" y="162"/>
                </a:lnTo>
                <a:lnTo>
                  <a:pt x="76" y="154"/>
                </a:lnTo>
                <a:lnTo>
                  <a:pt x="78" y="146"/>
                </a:lnTo>
                <a:lnTo>
                  <a:pt x="80" y="137"/>
                </a:lnTo>
                <a:lnTo>
                  <a:pt x="83" y="129"/>
                </a:lnTo>
                <a:lnTo>
                  <a:pt x="86" y="122"/>
                </a:lnTo>
                <a:lnTo>
                  <a:pt x="91" y="115"/>
                </a:lnTo>
                <a:lnTo>
                  <a:pt x="95" y="108"/>
                </a:lnTo>
                <a:lnTo>
                  <a:pt x="101" y="102"/>
                </a:lnTo>
                <a:lnTo>
                  <a:pt x="107" y="97"/>
                </a:lnTo>
                <a:lnTo>
                  <a:pt x="114" y="92"/>
                </a:lnTo>
                <a:lnTo>
                  <a:pt x="121" y="88"/>
                </a:lnTo>
                <a:lnTo>
                  <a:pt x="128" y="85"/>
                </a:lnTo>
                <a:lnTo>
                  <a:pt x="136" y="82"/>
                </a:lnTo>
                <a:lnTo>
                  <a:pt x="144" y="80"/>
                </a:lnTo>
                <a:lnTo>
                  <a:pt x="153" y="78"/>
                </a:lnTo>
                <a:lnTo>
                  <a:pt x="162" y="78"/>
                </a:lnTo>
                <a:lnTo>
                  <a:pt x="162" y="78"/>
                </a:lnTo>
                <a:lnTo>
                  <a:pt x="171" y="78"/>
                </a:lnTo>
                <a:lnTo>
                  <a:pt x="180" y="80"/>
                </a:lnTo>
                <a:lnTo>
                  <a:pt x="188" y="82"/>
                </a:lnTo>
                <a:lnTo>
                  <a:pt x="196" y="85"/>
                </a:lnTo>
                <a:lnTo>
                  <a:pt x="203" y="88"/>
                </a:lnTo>
                <a:lnTo>
                  <a:pt x="210" y="92"/>
                </a:lnTo>
                <a:lnTo>
                  <a:pt x="217" y="97"/>
                </a:lnTo>
                <a:lnTo>
                  <a:pt x="223" y="102"/>
                </a:lnTo>
                <a:lnTo>
                  <a:pt x="229" y="108"/>
                </a:lnTo>
                <a:lnTo>
                  <a:pt x="233" y="115"/>
                </a:lnTo>
                <a:lnTo>
                  <a:pt x="238" y="122"/>
                </a:lnTo>
                <a:lnTo>
                  <a:pt x="241" y="129"/>
                </a:lnTo>
                <a:lnTo>
                  <a:pt x="244" y="137"/>
                </a:lnTo>
                <a:lnTo>
                  <a:pt x="246" y="146"/>
                </a:lnTo>
                <a:lnTo>
                  <a:pt x="249" y="154"/>
                </a:lnTo>
                <a:lnTo>
                  <a:pt x="249" y="162"/>
                </a:lnTo>
                <a:lnTo>
                  <a:pt x="249" y="162"/>
                </a:lnTo>
                <a:lnTo>
                  <a:pt x="249" y="171"/>
                </a:lnTo>
                <a:lnTo>
                  <a:pt x="246" y="179"/>
                </a:lnTo>
                <a:lnTo>
                  <a:pt x="244" y="187"/>
                </a:lnTo>
                <a:lnTo>
                  <a:pt x="241" y="195"/>
                </a:lnTo>
                <a:lnTo>
                  <a:pt x="238" y="202"/>
                </a:lnTo>
                <a:lnTo>
                  <a:pt x="233" y="209"/>
                </a:lnTo>
                <a:lnTo>
                  <a:pt x="229" y="215"/>
                </a:lnTo>
                <a:lnTo>
                  <a:pt x="223" y="221"/>
                </a:lnTo>
                <a:lnTo>
                  <a:pt x="217" y="228"/>
                </a:lnTo>
                <a:lnTo>
                  <a:pt x="210" y="233"/>
                </a:lnTo>
                <a:lnTo>
                  <a:pt x="203" y="237"/>
                </a:lnTo>
                <a:lnTo>
                  <a:pt x="196" y="240"/>
                </a:lnTo>
                <a:lnTo>
                  <a:pt x="188" y="243"/>
                </a:lnTo>
                <a:lnTo>
                  <a:pt x="180" y="245"/>
                </a:lnTo>
                <a:lnTo>
                  <a:pt x="171" y="246"/>
                </a:lnTo>
                <a:lnTo>
                  <a:pt x="162" y="247"/>
                </a:lnTo>
                <a:lnTo>
                  <a:pt x="162" y="247"/>
                </a:lnTo>
                <a:lnTo>
                  <a:pt x="153" y="246"/>
                </a:lnTo>
                <a:lnTo>
                  <a:pt x="144" y="245"/>
                </a:lnTo>
                <a:lnTo>
                  <a:pt x="136" y="243"/>
                </a:lnTo>
                <a:lnTo>
                  <a:pt x="128" y="240"/>
                </a:lnTo>
                <a:lnTo>
                  <a:pt x="121" y="237"/>
                </a:lnTo>
                <a:lnTo>
                  <a:pt x="114" y="233"/>
                </a:lnTo>
                <a:lnTo>
                  <a:pt x="107" y="228"/>
                </a:lnTo>
                <a:lnTo>
                  <a:pt x="101" y="221"/>
                </a:lnTo>
                <a:lnTo>
                  <a:pt x="95" y="215"/>
                </a:lnTo>
                <a:lnTo>
                  <a:pt x="91" y="209"/>
                </a:lnTo>
                <a:lnTo>
                  <a:pt x="86" y="202"/>
                </a:lnTo>
                <a:lnTo>
                  <a:pt x="83" y="195"/>
                </a:lnTo>
                <a:lnTo>
                  <a:pt x="80" y="187"/>
                </a:lnTo>
                <a:lnTo>
                  <a:pt x="78" y="179"/>
                </a:lnTo>
                <a:lnTo>
                  <a:pt x="76" y="171"/>
                </a:lnTo>
                <a:lnTo>
                  <a:pt x="76" y="162"/>
                </a:lnTo>
                <a:lnTo>
                  <a:pt x="76"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1" name="Freeform 2233"/>
          <p:cNvSpPr>
            <a:spLocks noEditPoints="1"/>
          </p:cNvSpPr>
          <p:nvPr/>
        </p:nvSpPr>
        <p:spPr bwMode="auto">
          <a:xfrm>
            <a:off x="1450977" y="5381562"/>
            <a:ext cx="87313" cy="87312"/>
          </a:xfrm>
          <a:custGeom>
            <a:avLst/>
            <a:gdLst>
              <a:gd name="T0" fmla="*/ 1 w 324"/>
              <a:gd name="T1" fmla="*/ 179 h 325"/>
              <a:gd name="T2" fmla="*/ 13 w 324"/>
              <a:gd name="T3" fmla="*/ 225 h 325"/>
              <a:gd name="T4" fmla="*/ 37 w 324"/>
              <a:gd name="T5" fmla="*/ 265 h 325"/>
              <a:gd name="T6" fmla="*/ 72 w 324"/>
              <a:gd name="T7" fmla="*/ 296 h 325"/>
              <a:gd name="T8" fmla="*/ 114 w 324"/>
              <a:gd name="T9" fmla="*/ 318 h 325"/>
              <a:gd name="T10" fmla="*/ 163 w 324"/>
              <a:gd name="T11" fmla="*/ 325 h 325"/>
              <a:gd name="T12" fmla="*/ 195 w 324"/>
              <a:gd name="T13" fmla="*/ 322 h 325"/>
              <a:gd name="T14" fmla="*/ 240 w 324"/>
              <a:gd name="T15" fmla="*/ 305 h 325"/>
              <a:gd name="T16" fmla="*/ 277 w 324"/>
              <a:gd name="T17" fmla="*/ 277 h 325"/>
              <a:gd name="T18" fmla="*/ 305 w 324"/>
              <a:gd name="T19" fmla="*/ 240 h 325"/>
              <a:gd name="T20" fmla="*/ 321 w 324"/>
              <a:gd name="T21" fmla="*/ 195 h 325"/>
              <a:gd name="T22" fmla="*/ 324 w 324"/>
              <a:gd name="T23" fmla="*/ 162 h 325"/>
              <a:gd name="T24" fmla="*/ 317 w 324"/>
              <a:gd name="T25" fmla="*/ 114 h 325"/>
              <a:gd name="T26" fmla="*/ 297 w 324"/>
              <a:gd name="T27" fmla="*/ 72 h 325"/>
              <a:gd name="T28" fmla="*/ 266 w 324"/>
              <a:gd name="T29" fmla="*/ 37 h 325"/>
              <a:gd name="T30" fmla="*/ 225 w 324"/>
              <a:gd name="T31" fmla="*/ 13 h 325"/>
              <a:gd name="T32" fmla="*/ 179 w 324"/>
              <a:gd name="T33" fmla="*/ 1 h 325"/>
              <a:gd name="T34" fmla="*/ 145 w 324"/>
              <a:gd name="T35" fmla="*/ 1 h 325"/>
              <a:gd name="T36" fmla="*/ 99 w 324"/>
              <a:gd name="T37" fmla="*/ 13 h 325"/>
              <a:gd name="T38" fmla="*/ 58 w 324"/>
              <a:gd name="T39" fmla="*/ 37 h 325"/>
              <a:gd name="T40" fmla="*/ 27 w 324"/>
              <a:gd name="T41" fmla="*/ 72 h 325"/>
              <a:gd name="T42" fmla="*/ 7 w 324"/>
              <a:gd name="T43" fmla="*/ 114 h 325"/>
              <a:gd name="T44" fmla="*/ 0 w 324"/>
              <a:gd name="T45" fmla="*/ 162 h 325"/>
              <a:gd name="T46" fmla="*/ 78 w 324"/>
              <a:gd name="T47" fmla="*/ 162 h 325"/>
              <a:gd name="T48" fmla="*/ 82 w 324"/>
              <a:gd name="T49" fmla="*/ 137 h 325"/>
              <a:gd name="T50" fmla="*/ 92 w 324"/>
              <a:gd name="T51" fmla="*/ 115 h 325"/>
              <a:gd name="T52" fmla="*/ 108 w 324"/>
              <a:gd name="T53" fmla="*/ 97 h 325"/>
              <a:gd name="T54" fmla="*/ 129 w 324"/>
              <a:gd name="T55" fmla="*/ 85 h 325"/>
              <a:gd name="T56" fmla="*/ 154 w 324"/>
              <a:gd name="T57" fmla="*/ 78 h 325"/>
              <a:gd name="T58" fmla="*/ 171 w 324"/>
              <a:gd name="T59" fmla="*/ 78 h 325"/>
              <a:gd name="T60" fmla="*/ 195 w 324"/>
              <a:gd name="T61" fmla="*/ 85 h 325"/>
              <a:gd name="T62" fmla="*/ 216 w 324"/>
              <a:gd name="T63" fmla="*/ 97 h 325"/>
              <a:gd name="T64" fmla="*/ 232 w 324"/>
              <a:gd name="T65" fmla="*/ 115 h 325"/>
              <a:gd name="T66" fmla="*/ 243 w 324"/>
              <a:gd name="T67" fmla="*/ 137 h 325"/>
              <a:gd name="T68" fmla="*/ 247 w 324"/>
              <a:gd name="T69" fmla="*/ 162 h 325"/>
              <a:gd name="T70" fmla="*/ 245 w 324"/>
              <a:gd name="T71" fmla="*/ 179 h 325"/>
              <a:gd name="T72" fmla="*/ 237 w 324"/>
              <a:gd name="T73" fmla="*/ 202 h 325"/>
              <a:gd name="T74" fmla="*/ 221 w 324"/>
              <a:gd name="T75" fmla="*/ 221 h 325"/>
              <a:gd name="T76" fmla="*/ 202 w 324"/>
              <a:gd name="T77" fmla="*/ 237 h 325"/>
              <a:gd name="T78" fmla="*/ 179 w 324"/>
              <a:gd name="T79" fmla="*/ 245 h 325"/>
              <a:gd name="T80" fmla="*/ 163 w 324"/>
              <a:gd name="T81" fmla="*/ 247 h 325"/>
              <a:gd name="T82" fmla="*/ 137 w 324"/>
              <a:gd name="T83" fmla="*/ 243 h 325"/>
              <a:gd name="T84" fmla="*/ 115 w 324"/>
              <a:gd name="T85" fmla="*/ 233 h 325"/>
              <a:gd name="T86" fmla="*/ 97 w 324"/>
              <a:gd name="T87" fmla="*/ 215 h 325"/>
              <a:gd name="T88" fmla="*/ 85 w 324"/>
              <a:gd name="T89" fmla="*/ 195 h 325"/>
              <a:gd name="T90" fmla="*/ 78 w 324"/>
              <a:gd name="T91" fmla="*/ 171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 h="325">
                <a:moveTo>
                  <a:pt x="0" y="162"/>
                </a:moveTo>
                <a:lnTo>
                  <a:pt x="0" y="162"/>
                </a:lnTo>
                <a:lnTo>
                  <a:pt x="1" y="179"/>
                </a:lnTo>
                <a:lnTo>
                  <a:pt x="3" y="195"/>
                </a:lnTo>
                <a:lnTo>
                  <a:pt x="7" y="210"/>
                </a:lnTo>
                <a:lnTo>
                  <a:pt x="13" y="225"/>
                </a:lnTo>
                <a:lnTo>
                  <a:pt x="19" y="240"/>
                </a:lnTo>
                <a:lnTo>
                  <a:pt x="27" y="253"/>
                </a:lnTo>
                <a:lnTo>
                  <a:pt x="37" y="265"/>
                </a:lnTo>
                <a:lnTo>
                  <a:pt x="47" y="277"/>
                </a:lnTo>
                <a:lnTo>
                  <a:pt x="58" y="287"/>
                </a:lnTo>
                <a:lnTo>
                  <a:pt x="72" y="296"/>
                </a:lnTo>
                <a:lnTo>
                  <a:pt x="85" y="305"/>
                </a:lnTo>
                <a:lnTo>
                  <a:pt x="99" y="311"/>
                </a:lnTo>
                <a:lnTo>
                  <a:pt x="114" y="318"/>
                </a:lnTo>
                <a:lnTo>
                  <a:pt x="129" y="322"/>
                </a:lnTo>
                <a:lnTo>
                  <a:pt x="145" y="324"/>
                </a:lnTo>
                <a:lnTo>
                  <a:pt x="163" y="325"/>
                </a:lnTo>
                <a:lnTo>
                  <a:pt x="163" y="325"/>
                </a:lnTo>
                <a:lnTo>
                  <a:pt x="179" y="324"/>
                </a:lnTo>
                <a:lnTo>
                  <a:pt x="195" y="322"/>
                </a:lnTo>
                <a:lnTo>
                  <a:pt x="210" y="318"/>
                </a:lnTo>
                <a:lnTo>
                  <a:pt x="225" y="311"/>
                </a:lnTo>
                <a:lnTo>
                  <a:pt x="240" y="305"/>
                </a:lnTo>
                <a:lnTo>
                  <a:pt x="253" y="296"/>
                </a:lnTo>
                <a:lnTo>
                  <a:pt x="266" y="287"/>
                </a:lnTo>
                <a:lnTo>
                  <a:pt x="277" y="277"/>
                </a:lnTo>
                <a:lnTo>
                  <a:pt x="287" y="265"/>
                </a:lnTo>
                <a:lnTo>
                  <a:pt x="297" y="253"/>
                </a:lnTo>
                <a:lnTo>
                  <a:pt x="305" y="240"/>
                </a:lnTo>
                <a:lnTo>
                  <a:pt x="311" y="225"/>
                </a:lnTo>
                <a:lnTo>
                  <a:pt x="317" y="210"/>
                </a:lnTo>
                <a:lnTo>
                  <a:pt x="321" y="195"/>
                </a:lnTo>
                <a:lnTo>
                  <a:pt x="323" y="179"/>
                </a:lnTo>
                <a:lnTo>
                  <a:pt x="324" y="162"/>
                </a:lnTo>
                <a:lnTo>
                  <a:pt x="324" y="162"/>
                </a:lnTo>
                <a:lnTo>
                  <a:pt x="323" y="146"/>
                </a:lnTo>
                <a:lnTo>
                  <a:pt x="321" y="129"/>
                </a:lnTo>
                <a:lnTo>
                  <a:pt x="317" y="114"/>
                </a:lnTo>
                <a:lnTo>
                  <a:pt x="311" y="99"/>
                </a:lnTo>
                <a:lnTo>
                  <a:pt x="305" y="85"/>
                </a:lnTo>
                <a:lnTo>
                  <a:pt x="297" y="72"/>
                </a:lnTo>
                <a:lnTo>
                  <a:pt x="287" y="59"/>
                </a:lnTo>
                <a:lnTo>
                  <a:pt x="277" y="47"/>
                </a:lnTo>
                <a:lnTo>
                  <a:pt x="266" y="37"/>
                </a:lnTo>
                <a:lnTo>
                  <a:pt x="253" y="27"/>
                </a:lnTo>
                <a:lnTo>
                  <a:pt x="240" y="19"/>
                </a:lnTo>
                <a:lnTo>
                  <a:pt x="225" y="13"/>
                </a:lnTo>
                <a:lnTo>
                  <a:pt x="210" y="7"/>
                </a:lnTo>
                <a:lnTo>
                  <a:pt x="195" y="3"/>
                </a:lnTo>
                <a:lnTo>
                  <a:pt x="179" y="1"/>
                </a:lnTo>
                <a:lnTo>
                  <a:pt x="163" y="0"/>
                </a:lnTo>
                <a:lnTo>
                  <a:pt x="163" y="0"/>
                </a:lnTo>
                <a:lnTo>
                  <a:pt x="145" y="1"/>
                </a:lnTo>
                <a:lnTo>
                  <a:pt x="129" y="3"/>
                </a:lnTo>
                <a:lnTo>
                  <a:pt x="114" y="7"/>
                </a:lnTo>
                <a:lnTo>
                  <a:pt x="99" y="13"/>
                </a:lnTo>
                <a:lnTo>
                  <a:pt x="85" y="19"/>
                </a:lnTo>
                <a:lnTo>
                  <a:pt x="72" y="27"/>
                </a:lnTo>
                <a:lnTo>
                  <a:pt x="58" y="37"/>
                </a:lnTo>
                <a:lnTo>
                  <a:pt x="47" y="47"/>
                </a:lnTo>
                <a:lnTo>
                  <a:pt x="37" y="59"/>
                </a:lnTo>
                <a:lnTo>
                  <a:pt x="27" y="72"/>
                </a:lnTo>
                <a:lnTo>
                  <a:pt x="19" y="85"/>
                </a:lnTo>
                <a:lnTo>
                  <a:pt x="13" y="99"/>
                </a:lnTo>
                <a:lnTo>
                  <a:pt x="7" y="114"/>
                </a:lnTo>
                <a:lnTo>
                  <a:pt x="3" y="129"/>
                </a:lnTo>
                <a:lnTo>
                  <a:pt x="1" y="146"/>
                </a:lnTo>
                <a:lnTo>
                  <a:pt x="0" y="162"/>
                </a:lnTo>
                <a:lnTo>
                  <a:pt x="0" y="162"/>
                </a:lnTo>
                <a:close/>
                <a:moveTo>
                  <a:pt x="78" y="162"/>
                </a:moveTo>
                <a:lnTo>
                  <a:pt x="78" y="162"/>
                </a:lnTo>
                <a:lnTo>
                  <a:pt x="78" y="154"/>
                </a:lnTo>
                <a:lnTo>
                  <a:pt x="80" y="146"/>
                </a:lnTo>
                <a:lnTo>
                  <a:pt x="82" y="137"/>
                </a:lnTo>
                <a:lnTo>
                  <a:pt x="85" y="129"/>
                </a:lnTo>
                <a:lnTo>
                  <a:pt x="88" y="122"/>
                </a:lnTo>
                <a:lnTo>
                  <a:pt x="92" y="115"/>
                </a:lnTo>
                <a:lnTo>
                  <a:pt x="97" y="108"/>
                </a:lnTo>
                <a:lnTo>
                  <a:pt x="103" y="102"/>
                </a:lnTo>
                <a:lnTo>
                  <a:pt x="108" y="97"/>
                </a:lnTo>
                <a:lnTo>
                  <a:pt x="115" y="92"/>
                </a:lnTo>
                <a:lnTo>
                  <a:pt x="122" y="88"/>
                </a:lnTo>
                <a:lnTo>
                  <a:pt x="129" y="85"/>
                </a:lnTo>
                <a:lnTo>
                  <a:pt x="137" y="82"/>
                </a:lnTo>
                <a:lnTo>
                  <a:pt x="145" y="80"/>
                </a:lnTo>
                <a:lnTo>
                  <a:pt x="154" y="78"/>
                </a:lnTo>
                <a:lnTo>
                  <a:pt x="163" y="78"/>
                </a:lnTo>
                <a:lnTo>
                  <a:pt x="163" y="78"/>
                </a:lnTo>
                <a:lnTo>
                  <a:pt x="171" y="78"/>
                </a:lnTo>
                <a:lnTo>
                  <a:pt x="179" y="80"/>
                </a:lnTo>
                <a:lnTo>
                  <a:pt x="187" y="82"/>
                </a:lnTo>
                <a:lnTo>
                  <a:pt x="195" y="85"/>
                </a:lnTo>
                <a:lnTo>
                  <a:pt x="202" y="88"/>
                </a:lnTo>
                <a:lnTo>
                  <a:pt x="209" y="92"/>
                </a:lnTo>
                <a:lnTo>
                  <a:pt x="216" y="97"/>
                </a:lnTo>
                <a:lnTo>
                  <a:pt x="221" y="102"/>
                </a:lnTo>
                <a:lnTo>
                  <a:pt x="227" y="108"/>
                </a:lnTo>
                <a:lnTo>
                  <a:pt x="232" y="115"/>
                </a:lnTo>
                <a:lnTo>
                  <a:pt x="237" y="122"/>
                </a:lnTo>
                <a:lnTo>
                  <a:pt x="240" y="129"/>
                </a:lnTo>
                <a:lnTo>
                  <a:pt x="243" y="137"/>
                </a:lnTo>
                <a:lnTo>
                  <a:pt x="245" y="146"/>
                </a:lnTo>
                <a:lnTo>
                  <a:pt x="246" y="154"/>
                </a:lnTo>
                <a:lnTo>
                  <a:pt x="247" y="162"/>
                </a:lnTo>
                <a:lnTo>
                  <a:pt x="247" y="162"/>
                </a:lnTo>
                <a:lnTo>
                  <a:pt x="246" y="171"/>
                </a:lnTo>
                <a:lnTo>
                  <a:pt x="245" y="179"/>
                </a:lnTo>
                <a:lnTo>
                  <a:pt x="243" y="187"/>
                </a:lnTo>
                <a:lnTo>
                  <a:pt x="240" y="195"/>
                </a:lnTo>
                <a:lnTo>
                  <a:pt x="237" y="202"/>
                </a:lnTo>
                <a:lnTo>
                  <a:pt x="232" y="209"/>
                </a:lnTo>
                <a:lnTo>
                  <a:pt x="227" y="215"/>
                </a:lnTo>
                <a:lnTo>
                  <a:pt x="221" y="221"/>
                </a:lnTo>
                <a:lnTo>
                  <a:pt x="216" y="228"/>
                </a:lnTo>
                <a:lnTo>
                  <a:pt x="209" y="233"/>
                </a:lnTo>
                <a:lnTo>
                  <a:pt x="202" y="237"/>
                </a:lnTo>
                <a:lnTo>
                  <a:pt x="195" y="240"/>
                </a:lnTo>
                <a:lnTo>
                  <a:pt x="187" y="243"/>
                </a:lnTo>
                <a:lnTo>
                  <a:pt x="179" y="245"/>
                </a:lnTo>
                <a:lnTo>
                  <a:pt x="171" y="246"/>
                </a:lnTo>
                <a:lnTo>
                  <a:pt x="163" y="247"/>
                </a:lnTo>
                <a:lnTo>
                  <a:pt x="163" y="247"/>
                </a:lnTo>
                <a:lnTo>
                  <a:pt x="154" y="246"/>
                </a:lnTo>
                <a:lnTo>
                  <a:pt x="145" y="245"/>
                </a:lnTo>
                <a:lnTo>
                  <a:pt x="137" y="243"/>
                </a:lnTo>
                <a:lnTo>
                  <a:pt x="129" y="240"/>
                </a:lnTo>
                <a:lnTo>
                  <a:pt x="122" y="237"/>
                </a:lnTo>
                <a:lnTo>
                  <a:pt x="115" y="233"/>
                </a:lnTo>
                <a:lnTo>
                  <a:pt x="108" y="228"/>
                </a:lnTo>
                <a:lnTo>
                  <a:pt x="103" y="221"/>
                </a:lnTo>
                <a:lnTo>
                  <a:pt x="97" y="215"/>
                </a:lnTo>
                <a:lnTo>
                  <a:pt x="92" y="209"/>
                </a:lnTo>
                <a:lnTo>
                  <a:pt x="88" y="202"/>
                </a:lnTo>
                <a:lnTo>
                  <a:pt x="85" y="195"/>
                </a:lnTo>
                <a:lnTo>
                  <a:pt x="82" y="187"/>
                </a:lnTo>
                <a:lnTo>
                  <a:pt x="80" y="179"/>
                </a:lnTo>
                <a:lnTo>
                  <a:pt x="78" y="171"/>
                </a:lnTo>
                <a:lnTo>
                  <a:pt x="78" y="162"/>
                </a:lnTo>
                <a:lnTo>
                  <a:pt x="7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2" name="Freeform 2234"/>
          <p:cNvSpPr>
            <a:spLocks noEditPoints="1"/>
          </p:cNvSpPr>
          <p:nvPr/>
        </p:nvSpPr>
        <p:spPr bwMode="auto">
          <a:xfrm>
            <a:off x="1716090" y="5254562"/>
            <a:ext cx="309563" cy="176212"/>
          </a:xfrm>
          <a:custGeom>
            <a:avLst/>
            <a:gdLst>
              <a:gd name="T0" fmla="*/ 0 w 1173"/>
              <a:gd name="T1" fmla="*/ 265 h 664"/>
              <a:gd name="T2" fmla="*/ 0 w 1173"/>
              <a:gd name="T3" fmla="*/ 664 h 664"/>
              <a:gd name="T4" fmla="*/ 735 w 1173"/>
              <a:gd name="T5" fmla="*/ 663 h 664"/>
              <a:gd name="T6" fmla="*/ 734 w 1173"/>
              <a:gd name="T7" fmla="*/ 644 h 664"/>
              <a:gd name="T8" fmla="*/ 735 w 1173"/>
              <a:gd name="T9" fmla="*/ 626 h 664"/>
              <a:gd name="T10" fmla="*/ 743 w 1173"/>
              <a:gd name="T11" fmla="*/ 589 h 664"/>
              <a:gd name="T12" fmla="*/ 757 w 1173"/>
              <a:gd name="T13" fmla="*/ 557 h 664"/>
              <a:gd name="T14" fmla="*/ 776 w 1173"/>
              <a:gd name="T15" fmla="*/ 527 h 664"/>
              <a:gd name="T16" fmla="*/ 801 w 1173"/>
              <a:gd name="T17" fmla="*/ 502 h 664"/>
              <a:gd name="T18" fmla="*/ 831 w 1173"/>
              <a:gd name="T19" fmla="*/ 483 h 664"/>
              <a:gd name="T20" fmla="*/ 863 w 1173"/>
              <a:gd name="T21" fmla="*/ 469 h 664"/>
              <a:gd name="T22" fmla="*/ 899 w 1173"/>
              <a:gd name="T23" fmla="*/ 462 h 664"/>
              <a:gd name="T24" fmla="*/ 918 w 1173"/>
              <a:gd name="T25" fmla="*/ 461 h 664"/>
              <a:gd name="T26" fmla="*/ 955 w 1173"/>
              <a:gd name="T27" fmla="*/ 464 h 664"/>
              <a:gd name="T28" fmla="*/ 989 w 1173"/>
              <a:gd name="T29" fmla="*/ 475 h 664"/>
              <a:gd name="T30" fmla="*/ 1021 w 1173"/>
              <a:gd name="T31" fmla="*/ 492 h 664"/>
              <a:gd name="T32" fmla="*/ 1048 w 1173"/>
              <a:gd name="T33" fmla="*/ 514 h 664"/>
              <a:gd name="T34" fmla="*/ 1070 w 1173"/>
              <a:gd name="T35" fmla="*/ 542 h 664"/>
              <a:gd name="T36" fmla="*/ 1087 w 1173"/>
              <a:gd name="T37" fmla="*/ 573 h 664"/>
              <a:gd name="T38" fmla="*/ 1099 w 1173"/>
              <a:gd name="T39" fmla="*/ 607 h 664"/>
              <a:gd name="T40" fmla="*/ 1102 w 1173"/>
              <a:gd name="T41" fmla="*/ 644 h 664"/>
              <a:gd name="T42" fmla="*/ 1101 w 1173"/>
              <a:gd name="T43" fmla="*/ 663 h 664"/>
              <a:gd name="T44" fmla="*/ 1102 w 1173"/>
              <a:gd name="T45" fmla="*/ 663 h 664"/>
              <a:gd name="T46" fmla="*/ 1117 w 1173"/>
              <a:gd name="T47" fmla="*/ 660 h 664"/>
              <a:gd name="T48" fmla="*/ 1130 w 1173"/>
              <a:gd name="T49" fmla="*/ 655 h 664"/>
              <a:gd name="T50" fmla="*/ 1142 w 1173"/>
              <a:gd name="T51" fmla="*/ 647 h 664"/>
              <a:gd name="T52" fmla="*/ 1153 w 1173"/>
              <a:gd name="T53" fmla="*/ 637 h 664"/>
              <a:gd name="T54" fmla="*/ 1161 w 1173"/>
              <a:gd name="T55" fmla="*/ 625 h 664"/>
              <a:gd name="T56" fmla="*/ 1168 w 1173"/>
              <a:gd name="T57" fmla="*/ 611 h 664"/>
              <a:gd name="T58" fmla="*/ 1172 w 1173"/>
              <a:gd name="T59" fmla="*/ 597 h 664"/>
              <a:gd name="T60" fmla="*/ 1173 w 1173"/>
              <a:gd name="T61" fmla="*/ 581 h 664"/>
              <a:gd name="T62" fmla="*/ 1173 w 1173"/>
              <a:gd name="T63" fmla="*/ 417 h 664"/>
              <a:gd name="T64" fmla="*/ 1171 w 1173"/>
              <a:gd name="T65" fmla="*/ 400 h 664"/>
              <a:gd name="T66" fmla="*/ 1167 w 1173"/>
              <a:gd name="T67" fmla="*/ 384 h 664"/>
              <a:gd name="T68" fmla="*/ 1160 w 1173"/>
              <a:gd name="T69" fmla="*/ 370 h 664"/>
              <a:gd name="T70" fmla="*/ 1150 w 1173"/>
              <a:gd name="T71" fmla="*/ 357 h 664"/>
              <a:gd name="T72" fmla="*/ 1139 w 1173"/>
              <a:gd name="T73" fmla="*/ 345 h 664"/>
              <a:gd name="T74" fmla="*/ 1125 w 1173"/>
              <a:gd name="T75" fmla="*/ 336 h 664"/>
              <a:gd name="T76" fmla="*/ 1110 w 1173"/>
              <a:gd name="T77" fmla="*/ 330 h 664"/>
              <a:gd name="T78" fmla="*/ 1094 w 1173"/>
              <a:gd name="T79" fmla="*/ 327 h 664"/>
              <a:gd name="T80" fmla="*/ 621 w 1173"/>
              <a:gd name="T81" fmla="*/ 265 h 664"/>
              <a:gd name="T82" fmla="*/ 462 w 1173"/>
              <a:gd name="T83" fmla="*/ 65 h 664"/>
              <a:gd name="T84" fmla="*/ 451 w 1173"/>
              <a:gd name="T85" fmla="*/ 51 h 664"/>
              <a:gd name="T86" fmla="*/ 425 w 1173"/>
              <a:gd name="T87" fmla="*/ 27 h 664"/>
              <a:gd name="T88" fmla="*/ 395 w 1173"/>
              <a:gd name="T89" fmla="*/ 11 h 664"/>
              <a:gd name="T90" fmla="*/ 360 w 1173"/>
              <a:gd name="T91" fmla="*/ 1 h 664"/>
              <a:gd name="T92" fmla="*/ 340 w 1173"/>
              <a:gd name="T93" fmla="*/ 0 h 664"/>
              <a:gd name="T94" fmla="*/ 4 w 1173"/>
              <a:gd name="T95" fmla="*/ 0 h 664"/>
              <a:gd name="T96" fmla="*/ 263 w 1173"/>
              <a:gd name="T97" fmla="*/ 54 h 664"/>
              <a:gd name="T98" fmla="*/ 548 w 1173"/>
              <a:gd name="T99" fmla="*/ 265 h 664"/>
              <a:gd name="T100" fmla="*/ 263 w 1173"/>
              <a:gd name="T101" fmla="*/ 54 h 664"/>
              <a:gd name="T102" fmla="*/ 223 w 1173"/>
              <a:gd name="T103" fmla="*/ 54 h 664"/>
              <a:gd name="T104" fmla="*/ 58 w 1173"/>
              <a:gd name="T105" fmla="*/ 265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73" h="664">
                <a:moveTo>
                  <a:pt x="0" y="0"/>
                </a:moveTo>
                <a:lnTo>
                  <a:pt x="0" y="265"/>
                </a:lnTo>
                <a:lnTo>
                  <a:pt x="0" y="559"/>
                </a:lnTo>
                <a:lnTo>
                  <a:pt x="0" y="664"/>
                </a:lnTo>
                <a:lnTo>
                  <a:pt x="734" y="664"/>
                </a:lnTo>
                <a:lnTo>
                  <a:pt x="735" y="663"/>
                </a:lnTo>
                <a:lnTo>
                  <a:pt x="735" y="663"/>
                </a:lnTo>
                <a:lnTo>
                  <a:pt x="734" y="644"/>
                </a:lnTo>
                <a:lnTo>
                  <a:pt x="734" y="644"/>
                </a:lnTo>
                <a:lnTo>
                  <a:pt x="735" y="626"/>
                </a:lnTo>
                <a:lnTo>
                  <a:pt x="737" y="607"/>
                </a:lnTo>
                <a:lnTo>
                  <a:pt x="743" y="589"/>
                </a:lnTo>
                <a:lnTo>
                  <a:pt x="749" y="573"/>
                </a:lnTo>
                <a:lnTo>
                  <a:pt x="757" y="557"/>
                </a:lnTo>
                <a:lnTo>
                  <a:pt x="766" y="542"/>
                </a:lnTo>
                <a:lnTo>
                  <a:pt x="776" y="527"/>
                </a:lnTo>
                <a:lnTo>
                  <a:pt x="788" y="514"/>
                </a:lnTo>
                <a:lnTo>
                  <a:pt x="801" y="502"/>
                </a:lnTo>
                <a:lnTo>
                  <a:pt x="815" y="492"/>
                </a:lnTo>
                <a:lnTo>
                  <a:pt x="831" y="483"/>
                </a:lnTo>
                <a:lnTo>
                  <a:pt x="847" y="475"/>
                </a:lnTo>
                <a:lnTo>
                  <a:pt x="863" y="469"/>
                </a:lnTo>
                <a:lnTo>
                  <a:pt x="881" y="464"/>
                </a:lnTo>
                <a:lnTo>
                  <a:pt x="899" y="462"/>
                </a:lnTo>
                <a:lnTo>
                  <a:pt x="918" y="461"/>
                </a:lnTo>
                <a:lnTo>
                  <a:pt x="918" y="461"/>
                </a:lnTo>
                <a:lnTo>
                  <a:pt x="937" y="462"/>
                </a:lnTo>
                <a:lnTo>
                  <a:pt x="955" y="464"/>
                </a:lnTo>
                <a:lnTo>
                  <a:pt x="973" y="469"/>
                </a:lnTo>
                <a:lnTo>
                  <a:pt x="989" y="475"/>
                </a:lnTo>
                <a:lnTo>
                  <a:pt x="1006" y="483"/>
                </a:lnTo>
                <a:lnTo>
                  <a:pt x="1021" y="492"/>
                </a:lnTo>
                <a:lnTo>
                  <a:pt x="1035" y="502"/>
                </a:lnTo>
                <a:lnTo>
                  <a:pt x="1048" y="514"/>
                </a:lnTo>
                <a:lnTo>
                  <a:pt x="1060" y="527"/>
                </a:lnTo>
                <a:lnTo>
                  <a:pt x="1070" y="542"/>
                </a:lnTo>
                <a:lnTo>
                  <a:pt x="1079" y="557"/>
                </a:lnTo>
                <a:lnTo>
                  <a:pt x="1087" y="573"/>
                </a:lnTo>
                <a:lnTo>
                  <a:pt x="1094" y="589"/>
                </a:lnTo>
                <a:lnTo>
                  <a:pt x="1099" y="607"/>
                </a:lnTo>
                <a:lnTo>
                  <a:pt x="1101" y="626"/>
                </a:lnTo>
                <a:lnTo>
                  <a:pt x="1102" y="644"/>
                </a:lnTo>
                <a:lnTo>
                  <a:pt x="1102" y="644"/>
                </a:lnTo>
                <a:lnTo>
                  <a:pt x="1101" y="663"/>
                </a:lnTo>
                <a:lnTo>
                  <a:pt x="1102" y="663"/>
                </a:lnTo>
                <a:lnTo>
                  <a:pt x="1102" y="663"/>
                </a:lnTo>
                <a:lnTo>
                  <a:pt x="1110" y="662"/>
                </a:lnTo>
                <a:lnTo>
                  <a:pt x="1117" y="660"/>
                </a:lnTo>
                <a:lnTo>
                  <a:pt x="1124" y="658"/>
                </a:lnTo>
                <a:lnTo>
                  <a:pt x="1130" y="655"/>
                </a:lnTo>
                <a:lnTo>
                  <a:pt x="1137" y="651"/>
                </a:lnTo>
                <a:lnTo>
                  <a:pt x="1142" y="647"/>
                </a:lnTo>
                <a:lnTo>
                  <a:pt x="1148" y="642"/>
                </a:lnTo>
                <a:lnTo>
                  <a:pt x="1153" y="637"/>
                </a:lnTo>
                <a:lnTo>
                  <a:pt x="1157" y="631"/>
                </a:lnTo>
                <a:lnTo>
                  <a:pt x="1161" y="625"/>
                </a:lnTo>
                <a:lnTo>
                  <a:pt x="1165" y="618"/>
                </a:lnTo>
                <a:lnTo>
                  <a:pt x="1168" y="611"/>
                </a:lnTo>
                <a:lnTo>
                  <a:pt x="1170" y="604"/>
                </a:lnTo>
                <a:lnTo>
                  <a:pt x="1172" y="597"/>
                </a:lnTo>
                <a:lnTo>
                  <a:pt x="1173" y="589"/>
                </a:lnTo>
                <a:lnTo>
                  <a:pt x="1173" y="581"/>
                </a:lnTo>
                <a:lnTo>
                  <a:pt x="1173" y="417"/>
                </a:lnTo>
                <a:lnTo>
                  <a:pt x="1173" y="417"/>
                </a:lnTo>
                <a:lnTo>
                  <a:pt x="1173" y="408"/>
                </a:lnTo>
                <a:lnTo>
                  <a:pt x="1171" y="400"/>
                </a:lnTo>
                <a:lnTo>
                  <a:pt x="1170" y="392"/>
                </a:lnTo>
                <a:lnTo>
                  <a:pt x="1167" y="384"/>
                </a:lnTo>
                <a:lnTo>
                  <a:pt x="1164" y="377"/>
                </a:lnTo>
                <a:lnTo>
                  <a:pt x="1160" y="370"/>
                </a:lnTo>
                <a:lnTo>
                  <a:pt x="1155" y="363"/>
                </a:lnTo>
                <a:lnTo>
                  <a:pt x="1150" y="357"/>
                </a:lnTo>
                <a:lnTo>
                  <a:pt x="1145" y="350"/>
                </a:lnTo>
                <a:lnTo>
                  <a:pt x="1139" y="345"/>
                </a:lnTo>
                <a:lnTo>
                  <a:pt x="1132" y="340"/>
                </a:lnTo>
                <a:lnTo>
                  <a:pt x="1125" y="336"/>
                </a:lnTo>
                <a:lnTo>
                  <a:pt x="1118" y="333"/>
                </a:lnTo>
                <a:lnTo>
                  <a:pt x="1110" y="330"/>
                </a:lnTo>
                <a:lnTo>
                  <a:pt x="1102" y="328"/>
                </a:lnTo>
                <a:lnTo>
                  <a:pt x="1094" y="327"/>
                </a:lnTo>
                <a:lnTo>
                  <a:pt x="1094" y="326"/>
                </a:lnTo>
                <a:lnTo>
                  <a:pt x="621" y="265"/>
                </a:lnTo>
                <a:lnTo>
                  <a:pt x="461" y="65"/>
                </a:lnTo>
                <a:lnTo>
                  <a:pt x="462" y="65"/>
                </a:lnTo>
                <a:lnTo>
                  <a:pt x="462" y="65"/>
                </a:lnTo>
                <a:lnTo>
                  <a:pt x="451" y="51"/>
                </a:lnTo>
                <a:lnTo>
                  <a:pt x="439" y="38"/>
                </a:lnTo>
                <a:lnTo>
                  <a:pt x="425" y="27"/>
                </a:lnTo>
                <a:lnTo>
                  <a:pt x="411" y="18"/>
                </a:lnTo>
                <a:lnTo>
                  <a:pt x="395" y="11"/>
                </a:lnTo>
                <a:lnTo>
                  <a:pt x="377" y="5"/>
                </a:lnTo>
                <a:lnTo>
                  <a:pt x="360" y="1"/>
                </a:lnTo>
                <a:lnTo>
                  <a:pt x="342" y="0"/>
                </a:lnTo>
                <a:lnTo>
                  <a:pt x="340" y="0"/>
                </a:lnTo>
                <a:lnTo>
                  <a:pt x="58" y="0"/>
                </a:lnTo>
                <a:lnTo>
                  <a:pt x="4" y="0"/>
                </a:lnTo>
                <a:lnTo>
                  <a:pt x="0" y="0"/>
                </a:lnTo>
                <a:close/>
                <a:moveTo>
                  <a:pt x="263" y="54"/>
                </a:moveTo>
                <a:lnTo>
                  <a:pt x="401" y="54"/>
                </a:lnTo>
                <a:lnTo>
                  <a:pt x="548" y="265"/>
                </a:lnTo>
                <a:lnTo>
                  <a:pt x="263" y="265"/>
                </a:lnTo>
                <a:lnTo>
                  <a:pt x="263" y="54"/>
                </a:lnTo>
                <a:close/>
                <a:moveTo>
                  <a:pt x="58" y="54"/>
                </a:moveTo>
                <a:lnTo>
                  <a:pt x="223" y="54"/>
                </a:lnTo>
                <a:lnTo>
                  <a:pt x="223" y="265"/>
                </a:lnTo>
                <a:lnTo>
                  <a:pt x="58" y="265"/>
                </a:lnTo>
                <a:lnTo>
                  <a:pt x="58"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3" name="Freeform 2235"/>
          <p:cNvSpPr>
            <a:spLocks noEditPoints="1"/>
          </p:cNvSpPr>
          <p:nvPr/>
        </p:nvSpPr>
        <p:spPr bwMode="auto">
          <a:xfrm>
            <a:off x="1916115" y="5381562"/>
            <a:ext cx="85725" cy="87312"/>
          </a:xfrm>
          <a:custGeom>
            <a:avLst/>
            <a:gdLst>
              <a:gd name="T0" fmla="*/ 1 w 324"/>
              <a:gd name="T1" fmla="*/ 179 h 325"/>
              <a:gd name="T2" fmla="*/ 13 w 324"/>
              <a:gd name="T3" fmla="*/ 225 h 325"/>
              <a:gd name="T4" fmla="*/ 37 w 324"/>
              <a:gd name="T5" fmla="*/ 265 h 325"/>
              <a:gd name="T6" fmla="*/ 72 w 324"/>
              <a:gd name="T7" fmla="*/ 296 h 325"/>
              <a:gd name="T8" fmla="*/ 114 w 324"/>
              <a:gd name="T9" fmla="*/ 318 h 325"/>
              <a:gd name="T10" fmla="*/ 162 w 324"/>
              <a:gd name="T11" fmla="*/ 325 h 325"/>
              <a:gd name="T12" fmla="*/ 195 w 324"/>
              <a:gd name="T13" fmla="*/ 322 h 325"/>
              <a:gd name="T14" fmla="*/ 239 w 324"/>
              <a:gd name="T15" fmla="*/ 305 h 325"/>
              <a:gd name="T16" fmla="*/ 277 w 324"/>
              <a:gd name="T17" fmla="*/ 277 h 325"/>
              <a:gd name="T18" fmla="*/ 305 w 324"/>
              <a:gd name="T19" fmla="*/ 240 h 325"/>
              <a:gd name="T20" fmla="*/ 321 w 324"/>
              <a:gd name="T21" fmla="*/ 195 h 325"/>
              <a:gd name="T22" fmla="*/ 324 w 324"/>
              <a:gd name="T23" fmla="*/ 162 h 325"/>
              <a:gd name="T24" fmla="*/ 317 w 324"/>
              <a:gd name="T25" fmla="*/ 114 h 325"/>
              <a:gd name="T26" fmla="*/ 297 w 324"/>
              <a:gd name="T27" fmla="*/ 72 h 325"/>
              <a:gd name="T28" fmla="*/ 266 w 324"/>
              <a:gd name="T29" fmla="*/ 37 h 325"/>
              <a:gd name="T30" fmla="*/ 225 w 324"/>
              <a:gd name="T31" fmla="*/ 13 h 325"/>
              <a:gd name="T32" fmla="*/ 179 w 324"/>
              <a:gd name="T33" fmla="*/ 1 h 325"/>
              <a:gd name="T34" fmla="*/ 145 w 324"/>
              <a:gd name="T35" fmla="*/ 1 h 325"/>
              <a:gd name="T36" fmla="*/ 99 w 324"/>
              <a:gd name="T37" fmla="*/ 13 h 325"/>
              <a:gd name="T38" fmla="*/ 58 w 324"/>
              <a:gd name="T39" fmla="*/ 37 h 325"/>
              <a:gd name="T40" fmla="*/ 27 w 324"/>
              <a:gd name="T41" fmla="*/ 72 h 325"/>
              <a:gd name="T42" fmla="*/ 7 w 324"/>
              <a:gd name="T43" fmla="*/ 114 h 325"/>
              <a:gd name="T44" fmla="*/ 0 w 324"/>
              <a:gd name="T45" fmla="*/ 162 h 325"/>
              <a:gd name="T46" fmla="*/ 76 w 324"/>
              <a:gd name="T47" fmla="*/ 162 h 325"/>
              <a:gd name="T48" fmla="*/ 80 w 324"/>
              <a:gd name="T49" fmla="*/ 137 h 325"/>
              <a:gd name="T50" fmla="*/ 91 w 324"/>
              <a:gd name="T51" fmla="*/ 115 h 325"/>
              <a:gd name="T52" fmla="*/ 107 w 324"/>
              <a:gd name="T53" fmla="*/ 97 h 325"/>
              <a:gd name="T54" fmla="*/ 128 w 324"/>
              <a:gd name="T55" fmla="*/ 85 h 325"/>
              <a:gd name="T56" fmla="*/ 153 w 324"/>
              <a:gd name="T57" fmla="*/ 78 h 325"/>
              <a:gd name="T58" fmla="*/ 171 w 324"/>
              <a:gd name="T59" fmla="*/ 78 h 325"/>
              <a:gd name="T60" fmla="*/ 196 w 324"/>
              <a:gd name="T61" fmla="*/ 85 h 325"/>
              <a:gd name="T62" fmla="*/ 217 w 324"/>
              <a:gd name="T63" fmla="*/ 97 h 325"/>
              <a:gd name="T64" fmla="*/ 233 w 324"/>
              <a:gd name="T65" fmla="*/ 115 h 325"/>
              <a:gd name="T66" fmla="*/ 244 w 324"/>
              <a:gd name="T67" fmla="*/ 137 h 325"/>
              <a:gd name="T68" fmla="*/ 249 w 324"/>
              <a:gd name="T69" fmla="*/ 162 h 325"/>
              <a:gd name="T70" fmla="*/ 246 w 324"/>
              <a:gd name="T71" fmla="*/ 179 h 325"/>
              <a:gd name="T72" fmla="*/ 238 w 324"/>
              <a:gd name="T73" fmla="*/ 202 h 325"/>
              <a:gd name="T74" fmla="*/ 223 w 324"/>
              <a:gd name="T75" fmla="*/ 221 h 325"/>
              <a:gd name="T76" fmla="*/ 203 w 324"/>
              <a:gd name="T77" fmla="*/ 237 h 325"/>
              <a:gd name="T78" fmla="*/ 180 w 324"/>
              <a:gd name="T79" fmla="*/ 245 h 325"/>
              <a:gd name="T80" fmla="*/ 162 w 324"/>
              <a:gd name="T81" fmla="*/ 247 h 325"/>
              <a:gd name="T82" fmla="*/ 136 w 324"/>
              <a:gd name="T83" fmla="*/ 243 h 325"/>
              <a:gd name="T84" fmla="*/ 114 w 324"/>
              <a:gd name="T85" fmla="*/ 233 h 325"/>
              <a:gd name="T86" fmla="*/ 95 w 324"/>
              <a:gd name="T87" fmla="*/ 215 h 325"/>
              <a:gd name="T88" fmla="*/ 83 w 324"/>
              <a:gd name="T89" fmla="*/ 195 h 325"/>
              <a:gd name="T90" fmla="*/ 76 w 324"/>
              <a:gd name="T91" fmla="*/ 171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 h="325">
                <a:moveTo>
                  <a:pt x="0" y="162"/>
                </a:moveTo>
                <a:lnTo>
                  <a:pt x="0" y="162"/>
                </a:lnTo>
                <a:lnTo>
                  <a:pt x="1" y="179"/>
                </a:lnTo>
                <a:lnTo>
                  <a:pt x="3" y="195"/>
                </a:lnTo>
                <a:lnTo>
                  <a:pt x="7" y="210"/>
                </a:lnTo>
                <a:lnTo>
                  <a:pt x="13" y="225"/>
                </a:lnTo>
                <a:lnTo>
                  <a:pt x="19" y="240"/>
                </a:lnTo>
                <a:lnTo>
                  <a:pt x="27" y="253"/>
                </a:lnTo>
                <a:lnTo>
                  <a:pt x="37" y="265"/>
                </a:lnTo>
                <a:lnTo>
                  <a:pt x="47" y="277"/>
                </a:lnTo>
                <a:lnTo>
                  <a:pt x="58" y="287"/>
                </a:lnTo>
                <a:lnTo>
                  <a:pt x="72" y="296"/>
                </a:lnTo>
                <a:lnTo>
                  <a:pt x="85" y="305"/>
                </a:lnTo>
                <a:lnTo>
                  <a:pt x="99" y="311"/>
                </a:lnTo>
                <a:lnTo>
                  <a:pt x="114" y="318"/>
                </a:lnTo>
                <a:lnTo>
                  <a:pt x="129" y="322"/>
                </a:lnTo>
                <a:lnTo>
                  <a:pt x="145" y="324"/>
                </a:lnTo>
                <a:lnTo>
                  <a:pt x="162" y="325"/>
                </a:lnTo>
                <a:lnTo>
                  <a:pt x="162" y="325"/>
                </a:lnTo>
                <a:lnTo>
                  <a:pt x="179" y="324"/>
                </a:lnTo>
                <a:lnTo>
                  <a:pt x="195" y="322"/>
                </a:lnTo>
                <a:lnTo>
                  <a:pt x="210" y="318"/>
                </a:lnTo>
                <a:lnTo>
                  <a:pt x="225" y="311"/>
                </a:lnTo>
                <a:lnTo>
                  <a:pt x="239" y="305"/>
                </a:lnTo>
                <a:lnTo>
                  <a:pt x="253" y="296"/>
                </a:lnTo>
                <a:lnTo>
                  <a:pt x="266" y="287"/>
                </a:lnTo>
                <a:lnTo>
                  <a:pt x="277" y="277"/>
                </a:lnTo>
                <a:lnTo>
                  <a:pt x="287" y="265"/>
                </a:lnTo>
                <a:lnTo>
                  <a:pt x="297" y="253"/>
                </a:lnTo>
                <a:lnTo>
                  <a:pt x="305" y="240"/>
                </a:lnTo>
                <a:lnTo>
                  <a:pt x="311" y="225"/>
                </a:lnTo>
                <a:lnTo>
                  <a:pt x="317" y="210"/>
                </a:lnTo>
                <a:lnTo>
                  <a:pt x="321" y="195"/>
                </a:lnTo>
                <a:lnTo>
                  <a:pt x="323" y="179"/>
                </a:lnTo>
                <a:lnTo>
                  <a:pt x="324" y="162"/>
                </a:lnTo>
                <a:lnTo>
                  <a:pt x="324" y="162"/>
                </a:lnTo>
                <a:lnTo>
                  <a:pt x="323" y="146"/>
                </a:lnTo>
                <a:lnTo>
                  <a:pt x="321" y="129"/>
                </a:lnTo>
                <a:lnTo>
                  <a:pt x="317" y="114"/>
                </a:lnTo>
                <a:lnTo>
                  <a:pt x="311" y="99"/>
                </a:lnTo>
                <a:lnTo>
                  <a:pt x="305" y="85"/>
                </a:lnTo>
                <a:lnTo>
                  <a:pt x="297" y="72"/>
                </a:lnTo>
                <a:lnTo>
                  <a:pt x="287" y="59"/>
                </a:lnTo>
                <a:lnTo>
                  <a:pt x="277" y="47"/>
                </a:lnTo>
                <a:lnTo>
                  <a:pt x="266" y="37"/>
                </a:lnTo>
                <a:lnTo>
                  <a:pt x="253" y="27"/>
                </a:lnTo>
                <a:lnTo>
                  <a:pt x="239" y="19"/>
                </a:lnTo>
                <a:lnTo>
                  <a:pt x="225" y="13"/>
                </a:lnTo>
                <a:lnTo>
                  <a:pt x="210" y="7"/>
                </a:lnTo>
                <a:lnTo>
                  <a:pt x="195" y="3"/>
                </a:lnTo>
                <a:lnTo>
                  <a:pt x="179" y="1"/>
                </a:lnTo>
                <a:lnTo>
                  <a:pt x="162" y="0"/>
                </a:lnTo>
                <a:lnTo>
                  <a:pt x="162" y="0"/>
                </a:lnTo>
                <a:lnTo>
                  <a:pt x="145" y="1"/>
                </a:lnTo>
                <a:lnTo>
                  <a:pt x="129" y="3"/>
                </a:lnTo>
                <a:lnTo>
                  <a:pt x="114" y="7"/>
                </a:lnTo>
                <a:lnTo>
                  <a:pt x="99" y="13"/>
                </a:lnTo>
                <a:lnTo>
                  <a:pt x="85" y="19"/>
                </a:lnTo>
                <a:lnTo>
                  <a:pt x="72" y="27"/>
                </a:lnTo>
                <a:lnTo>
                  <a:pt x="58" y="37"/>
                </a:lnTo>
                <a:lnTo>
                  <a:pt x="47" y="47"/>
                </a:lnTo>
                <a:lnTo>
                  <a:pt x="37" y="59"/>
                </a:lnTo>
                <a:lnTo>
                  <a:pt x="27" y="72"/>
                </a:lnTo>
                <a:lnTo>
                  <a:pt x="19" y="85"/>
                </a:lnTo>
                <a:lnTo>
                  <a:pt x="13" y="99"/>
                </a:lnTo>
                <a:lnTo>
                  <a:pt x="7" y="114"/>
                </a:lnTo>
                <a:lnTo>
                  <a:pt x="3" y="129"/>
                </a:lnTo>
                <a:lnTo>
                  <a:pt x="1" y="146"/>
                </a:lnTo>
                <a:lnTo>
                  <a:pt x="0" y="162"/>
                </a:lnTo>
                <a:lnTo>
                  <a:pt x="0" y="162"/>
                </a:lnTo>
                <a:close/>
                <a:moveTo>
                  <a:pt x="76" y="162"/>
                </a:moveTo>
                <a:lnTo>
                  <a:pt x="76" y="162"/>
                </a:lnTo>
                <a:lnTo>
                  <a:pt x="76" y="154"/>
                </a:lnTo>
                <a:lnTo>
                  <a:pt x="78" y="146"/>
                </a:lnTo>
                <a:lnTo>
                  <a:pt x="80" y="137"/>
                </a:lnTo>
                <a:lnTo>
                  <a:pt x="83" y="129"/>
                </a:lnTo>
                <a:lnTo>
                  <a:pt x="86" y="122"/>
                </a:lnTo>
                <a:lnTo>
                  <a:pt x="91" y="115"/>
                </a:lnTo>
                <a:lnTo>
                  <a:pt x="95" y="108"/>
                </a:lnTo>
                <a:lnTo>
                  <a:pt x="101" y="102"/>
                </a:lnTo>
                <a:lnTo>
                  <a:pt x="107" y="97"/>
                </a:lnTo>
                <a:lnTo>
                  <a:pt x="114" y="92"/>
                </a:lnTo>
                <a:lnTo>
                  <a:pt x="121" y="88"/>
                </a:lnTo>
                <a:lnTo>
                  <a:pt x="128" y="85"/>
                </a:lnTo>
                <a:lnTo>
                  <a:pt x="136" y="82"/>
                </a:lnTo>
                <a:lnTo>
                  <a:pt x="144" y="80"/>
                </a:lnTo>
                <a:lnTo>
                  <a:pt x="153" y="78"/>
                </a:lnTo>
                <a:lnTo>
                  <a:pt x="162" y="78"/>
                </a:lnTo>
                <a:lnTo>
                  <a:pt x="162" y="78"/>
                </a:lnTo>
                <a:lnTo>
                  <a:pt x="171" y="78"/>
                </a:lnTo>
                <a:lnTo>
                  <a:pt x="180" y="80"/>
                </a:lnTo>
                <a:lnTo>
                  <a:pt x="188" y="82"/>
                </a:lnTo>
                <a:lnTo>
                  <a:pt x="196" y="85"/>
                </a:lnTo>
                <a:lnTo>
                  <a:pt x="203" y="88"/>
                </a:lnTo>
                <a:lnTo>
                  <a:pt x="210" y="92"/>
                </a:lnTo>
                <a:lnTo>
                  <a:pt x="217" y="97"/>
                </a:lnTo>
                <a:lnTo>
                  <a:pt x="223" y="102"/>
                </a:lnTo>
                <a:lnTo>
                  <a:pt x="229" y="108"/>
                </a:lnTo>
                <a:lnTo>
                  <a:pt x="233" y="115"/>
                </a:lnTo>
                <a:lnTo>
                  <a:pt x="238" y="122"/>
                </a:lnTo>
                <a:lnTo>
                  <a:pt x="241" y="129"/>
                </a:lnTo>
                <a:lnTo>
                  <a:pt x="244" y="137"/>
                </a:lnTo>
                <a:lnTo>
                  <a:pt x="246" y="146"/>
                </a:lnTo>
                <a:lnTo>
                  <a:pt x="249" y="154"/>
                </a:lnTo>
                <a:lnTo>
                  <a:pt x="249" y="162"/>
                </a:lnTo>
                <a:lnTo>
                  <a:pt x="249" y="162"/>
                </a:lnTo>
                <a:lnTo>
                  <a:pt x="249" y="171"/>
                </a:lnTo>
                <a:lnTo>
                  <a:pt x="246" y="179"/>
                </a:lnTo>
                <a:lnTo>
                  <a:pt x="244" y="187"/>
                </a:lnTo>
                <a:lnTo>
                  <a:pt x="241" y="195"/>
                </a:lnTo>
                <a:lnTo>
                  <a:pt x="238" y="202"/>
                </a:lnTo>
                <a:lnTo>
                  <a:pt x="233" y="209"/>
                </a:lnTo>
                <a:lnTo>
                  <a:pt x="229" y="215"/>
                </a:lnTo>
                <a:lnTo>
                  <a:pt x="223" y="221"/>
                </a:lnTo>
                <a:lnTo>
                  <a:pt x="217" y="228"/>
                </a:lnTo>
                <a:lnTo>
                  <a:pt x="210" y="233"/>
                </a:lnTo>
                <a:lnTo>
                  <a:pt x="203" y="237"/>
                </a:lnTo>
                <a:lnTo>
                  <a:pt x="196" y="240"/>
                </a:lnTo>
                <a:lnTo>
                  <a:pt x="188" y="243"/>
                </a:lnTo>
                <a:lnTo>
                  <a:pt x="180" y="245"/>
                </a:lnTo>
                <a:lnTo>
                  <a:pt x="171" y="246"/>
                </a:lnTo>
                <a:lnTo>
                  <a:pt x="162" y="247"/>
                </a:lnTo>
                <a:lnTo>
                  <a:pt x="162" y="247"/>
                </a:lnTo>
                <a:lnTo>
                  <a:pt x="153" y="246"/>
                </a:lnTo>
                <a:lnTo>
                  <a:pt x="144" y="245"/>
                </a:lnTo>
                <a:lnTo>
                  <a:pt x="136" y="243"/>
                </a:lnTo>
                <a:lnTo>
                  <a:pt x="128" y="240"/>
                </a:lnTo>
                <a:lnTo>
                  <a:pt x="121" y="237"/>
                </a:lnTo>
                <a:lnTo>
                  <a:pt x="114" y="233"/>
                </a:lnTo>
                <a:lnTo>
                  <a:pt x="107" y="228"/>
                </a:lnTo>
                <a:lnTo>
                  <a:pt x="101" y="221"/>
                </a:lnTo>
                <a:lnTo>
                  <a:pt x="95" y="215"/>
                </a:lnTo>
                <a:lnTo>
                  <a:pt x="91" y="209"/>
                </a:lnTo>
                <a:lnTo>
                  <a:pt x="86" y="202"/>
                </a:lnTo>
                <a:lnTo>
                  <a:pt x="83" y="195"/>
                </a:lnTo>
                <a:lnTo>
                  <a:pt x="80" y="187"/>
                </a:lnTo>
                <a:lnTo>
                  <a:pt x="78" y="179"/>
                </a:lnTo>
                <a:lnTo>
                  <a:pt x="76" y="171"/>
                </a:lnTo>
                <a:lnTo>
                  <a:pt x="76" y="162"/>
                </a:lnTo>
                <a:lnTo>
                  <a:pt x="76"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4" name="Freeform 2236"/>
          <p:cNvSpPr>
            <a:spLocks/>
          </p:cNvSpPr>
          <p:nvPr/>
        </p:nvSpPr>
        <p:spPr bwMode="auto">
          <a:xfrm>
            <a:off x="1390651" y="5313300"/>
            <a:ext cx="317500" cy="20637"/>
          </a:xfrm>
          <a:custGeom>
            <a:avLst/>
            <a:gdLst>
              <a:gd name="T0" fmla="*/ 0 w 1204"/>
              <a:gd name="T1" fmla="*/ 78 h 78"/>
              <a:gd name="T2" fmla="*/ 0 w 1204"/>
              <a:gd name="T3" fmla="*/ 28 h 78"/>
              <a:gd name="T4" fmla="*/ 0 w 1204"/>
              <a:gd name="T5" fmla="*/ 28 h 78"/>
              <a:gd name="T6" fmla="*/ 2 w 1204"/>
              <a:gd name="T7" fmla="*/ 24 h 78"/>
              <a:gd name="T8" fmla="*/ 5 w 1204"/>
              <a:gd name="T9" fmla="*/ 19 h 78"/>
              <a:gd name="T10" fmla="*/ 9 w 1204"/>
              <a:gd name="T11" fmla="*/ 16 h 78"/>
              <a:gd name="T12" fmla="*/ 13 w 1204"/>
              <a:gd name="T13" fmla="*/ 12 h 78"/>
              <a:gd name="T14" fmla="*/ 17 w 1204"/>
              <a:gd name="T15" fmla="*/ 9 h 78"/>
              <a:gd name="T16" fmla="*/ 22 w 1204"/>
              <a:gd name="T17" fmla="*/ 7 h 78"/>
              <a:gd name="T18" fmla="*/ 27 w 1204"/>
              <a:gd name="T19" fmla="*/ 5 h 78"/>
              <a:gd name="T20" fmla="*/ 33 w 1204"/>
              <a:gd name="T21" fmla="*/ 4 h 78"/>
              <a:gd name="T22" fmla="*/ 33 w 1204"/>
              <a:gd name="T23" fmla="*/ 3 h 78"/>
              <a:gd name="T24" fmla="*/ 33 w 1204"/>
              <a:gd name="T25" fmla="*/ 3 h 78"/>
              <a:gd name="T26" fmla="*/ 54 w 1204"/>
              <a:gd name="T27" fmla="*/ 2 h 78"/>
              <a:gd name="T28" fmla="*/ 97 w 1204"/>
              <a:gd name="T29" fmla="*/ 1 h 78"/>
              <a:gd name="T30" fmla="*/ 236 w 1204"/>
              <a:gd name="T31" fmla="*/ 0 h 78"/>
              <a:gd name="T32" fmla="*/ 636 w 1204"/>
              <a:gd name="T33" fmla="*/ 0 h 78"/>
              <a:gd name="T34" fmla="*/ 1028 w 1204"/>
              <a:gd name="T35" fmla="*/ 2 h 78"/>
              <a:gd name="T36" fmla="*/ 1204 w 1204"/>
              <a:gd name="T37" fmla="*/ 2 h 78"/>
              <a:gd name="T38" fmla="*/ 1204 w 1204"/>
              <a:gd name="T39" fmla="*/ 78 h 78"/>
              <a:gd name="T40" fmla="*/ 0 w 1204"/>
              <a:gd name="T4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4" h="78">
                <a:moveTo>
                  <a:pt x="0" y="78"/>
                </a:moveTo>
                <a:lnTo>
                  <a:pt x="0" y="28"/>
                </a:lnTo>
                <a:lnTo>
                  <a:pt x="0" y="28"/>
                </a:lnTo>
                <a:lnTo>
                  <a:pt x="2" y="24"/>
                </a:lnTo>
                <a:lnTo>
                  <a:pt x="5" y="19"/>
                </a:lnTo>
                <a:lnTo>
                  <a:pt x="9" y="16"/>
                </a:lnTo>
                <a:lnTo>
                  <a:pt x="13" y="12"/>
                </a:lnTo>
                <a:lnTo>
                  <a:pt x="17" y="9"/>
                </a:lnTo>
                <a:lnTo>
                  <a:pt x="22" y="7"/>
                </a:lnTo>
                <a:lnTo>
                  <a:pt x="27" y="5"/>
                </a:lnTo>
                <a:lnTo>
                  <a:pt x="33" y="4"/>
                </a:lnTo>
                <a:lnTo>
                  <a:pt x="33" y="3"/>
                </a:lnTo>
                <a:lnTo>
                  <a:pt x="33" y="3"/>
                </a:lnTo>
                <a:lnTo>
                  <a:pt x="54" y="2"/>
                </a:lnTo>
                <a:lnTo>
                  <a:pt x="97" y="1"/>
                </a:lnTo>
                <a:lnTo>
                  <a:pt x="236" y="0"/>
                </a:lnTo>
                <a:lnTo>
                  <a:pt x="636" y="0"/>
                </a:lnTo>
                <a:lnTo>
                  <a:pt x="1028" y="2"/>
                </a:lnTo>
                <a:lnTo>
                  <a:pt x="1204" y="2"/>
                </a:lnTo>
                <a:lnTo>
                  <a:pt x="1204" y="78"/>
                </a:ln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5" name="Freeform 2237"/>
          <p:cNvSpPr>
            <a:spLocks/>
          </p:cNvSpPr>
          <p:nvPr/>
        </p:nvSpPr>
        <p:spPr bwMode="auto">
          <a:xfrm>
            <a:off x="1381127" y="5338700"/>
            <a:ext cx="327025" cy="92075"/>
          </a:xfrm>
          <a:custGeom>
            <a:avLst/>
            <a:gdLst>
              <a:gd name="T0" fmla="*/ 1239 w 1239"/>
              <a:gd name="T1" fmla="*/ 0 h 347"/>
              <a:gd name="T2" fmla="*/ 1239 w 1239"/>
              <a:gd name="T3" fmla="*/ 347 h 347"/>
              <a:gd name="T4" fmla="*/ 605 w 1239"/>
              <a:gd name="T5" fmla="*/ 347 h 347"/>
              <a:gd name="T6" fmla="*/ 606 w 1239"/>
              <a:gd name="T7" fmla="*/ 346 h 347"/>
              <a:gd name="T8" fmla="*/ 606 w 1239"/>
              <a:gd name="T9" fmla="*/ 346 h 347"/>
              <a:gd name="T10" fmla="*/ 607 w 1239"/>
              <a:gd name="T11" fmla="*/ 327 h 347"/>
              <a:gd name="T12" fmla="*/ 607 w 1239"/>
              <a:gd name="T13" fmla="*/ 327 h 347"/>
              <a:gd name="T14" fmla="*/ 606 w 1239"/>
              <a:gd name="T15" fmla="*/ 309 h 347"/>
              <a:gd name="T16" fmla="*/ 604 w 1239"/>
              <a:gd name="T17" fmla="*/ 290 h 347"/>
              <a:gd name="T18" fmla="*/ 600 w 1239"/>
              <a:gd name="T19" fmla="*/ 272 h 347"/>
              <a:gd name="T20" fmla="*/ 593 w 1239"/>
              <a:gd name="T21" fmla="*/ 256 h 347"/>
              <a:gd name="T22" fmla="*/ 585 w 1239"/>
              <a:gd name="T23" fmla="*/ 240 h 347"/>
              <a:gd name="T24" fmla="*/ 577 w 1239"/>
              <a:gd name="T25" fmla="*/ 225 h 347"/>
              <a:gd name="T26" fmla="*/ 567 w 1239"/>
              <a:gd name="T27" fmla="*/ 210 h 347"/>
              <a:gd name="T28" fmla="*/ 556 w 1239"/>
              <a:gd name="T29" fmla="*/ 197 h 347"/>
              <a:gd name="T30" fmla="*/ 543 w 1239"/>
              <a:gd name="T31" fmla="*/ 185 h 347"/>
              <a:gd name="T32" fmla="*/ 530 w 1239"/>
              <a:gd name="T33" fmla="*/ 175 h 347"/>
              <a:gd name="T34" fmla="*/ 515 w 1239"/>
              <a:gd name="T35" fmla="*/ 166 h 347"/>
              <a:gd name="T36" fmla="*/ 499 w 1239"/>
              <a:gd name="T37" fmla="*/ 158 h 347"/>
              <a:gd name="T38" fmla="*/ 483 w 1239"/>
              <a:gd name="T39" fmla="*/ 152 h 347"/>
              <a:gd name="T40" fmla="*/ 467 w 1239"/>
              <a:gd name="T41" fmla="*/ 147 h 347"/>
              <a:gd name="T42" fmla="*/ 450 w 1239"/>
              <a:gd name="T43" fmla="*/ 145 h 347"/>
              <a:gd name="T44" fmla="*/ 432 w 1239"/>
              <a:gd name="T45" fmla="*/ 144 h 347"/>
              <a:gd name="T46" fmla="*/ 432 w 1239"/>
              <a:gd name="T47" fmla="*/ 144 h 347"/>
              <a:gd name="T48" fmla="*/ 413 w 1239"/>
              <a:gd name="T49" fmla="*/ 145 h 347"/>
              <a:gd name="T50" fmla="*/ 396 w 1239"/>
              <a:gd name="T51" fmla="*/ 147 h 347"/>
              <a:gd name="T52" fmla="*/ 379 w 1239"/>
              <a:gd name="T53" fmla="*/ 152 h 347"/>
              <a:gd name="T54" fmla="*/ 363 w 1239"/>
              <a:gd name="T55" fmla="*/ 158 h 347"/>
              <a:gd name="T56" fmla="*/ 348 w 1239"/>
              <a:gd name="T57" fmla="*/ 166 h 347"/>
              <a:gd name="T58" fmla="*/ 334 w 1239"/>
              <a:gd name="T59" fmla="*/ 175 h 347"/>
              <a:gd name="T60" fmla="*/ 319 w 1239"/>
              <a:gd name="T61" fmla="*/ 185 h 347"/>
              <a:gd name="T62" fmla="*/ 307 w 1239"/>
              <a:gd name="T63" fmla="*/ 197 h 347"/>
              <a:gd name="T64" fmla="*/ 296 w 1239"/>
              <a:gd name="T65" fmla="*/ 210 h 347"/>
              <a:gd name="T66" fmla="*/ 286 w 1239"/>
              <a:gd name="T67" fmla="*/ 225 h 347"/>
              <a:gd name="T68" fmla="*/ 277 w 1239"/>
              <a:gd name="T69" fmla="*/ 240 h 347"/>
              <a:gd name="T70" fmla="*/ 270 w 1239"/>
              <a:gd name="T71" fmla="*/ 256 h 347"/>
              <a:gd name="T72" fmla="*/ 264 w 1239"/>
              <a:gd name="T73" fmla="*/ 272 h 347"/>
              <a:gd name="T74" fmla="*/ 260 w 1239"/>
              <a:gd name="T75" fmla="*/ 290 h 347"/>
              <a:gd name="T76" fmla="*/ 257 w 1239"/>
              <a:gd name="T77" fmla="*/ 309 h 347"/>
              <a:gd name="T78" fmla="*/ 256 w 1239"/>
              <a:gd name="T79" fmla="*/ 327 h 347"/>
              <a:gd name="T80" fmla="*/ 256 w 1239"/>
              <a:gd name="T81" fmla="*/ 327 h 347"/>
              <a:gd name="T82" fmla="*/ 257 w 1239"/>
              <a:gd name="T83" fmla="*/ 346 h 347"/>
              <a:gd name="T84" fmla="*/ 256 w 1239"/>
              <a:gd name="T85" fmla="*/ 347 h 347"/>
              <a:gd name="T86" fmla="*/ 35 w 1239"/>
              <a:gd name="T87" fmla="*/ 328 h 347"/>
              <a:gd name="T88" fmla="*/ 0 w 1239"/>
              <a:gd name="T89" fmla="*/ 163 h 347"/>
              <a:gd name="T90" fmla="*/ 35 w 1239"/>
              <a:gd name="T91" fmla="*/ 163 h 347"/>
              <a:gd name="T92" fmla="*/ 35 w 1239"/>
              <a:gd name="T93" fmla="*/ 0 h 347"/>
              <a:gd name="T94" fmla="*/ 1239 w 1239"/>
              <a:gd name="T95"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39" h="347">
                <a:moveTo>
                  <a:pt x="1239" y="0"/>
                </a:moveTo>
                <a:lnTo>
                  <a:pt x="1239" y="347"/>
                </a:lnTo>
                <a:lnTo>
                  <a:pt x="605" y="347"/>
                </a:lnTo>
                <a:lnTo>
                  <a:pt x="606" y="346"/>
                </a:lnTo>
                <a:lnTo>
                  <a:pt x="606" y="346"/>
                </a:lnTo>
                <a:lnTo>
                  <a:pt x="607" y="327"/>
                </a:lnTo>
                <a:lnTo>
                  <a:pt x="607" y="327"/>
                </a:lnTo>
                <a:lnTo>
                  <a:pt x="606" y="309"/>
                </a:lnTo>
                <a:lnTo>
                  <a:pt x="604" y="290"/>
                </a:lnTo>
                <a:lnTo>
                  <a:pt x="600" y="272"/>
                </a:lnTo>
                <a:lnTo>
                  <a:pt x="593" y="256"/>
                </a:lnTo>
                <a:lnTo>
                  <a:pt x="585" y="240"/>
                </a:lnTo>
                <a:lnTo>
                  <a:pt x="577" y="225"/>
                </a:lnTo>
                <a:lnTo>
                  <a:pt x="567" y="210"/>
                </a:lnTo>
                <a:lnTo>
                  <a:pt x="556" y="197"/>
                </a:lnTo>
                <a:lnTo>
                  <a:pt x="543" y="185"/>
                </a:lnTo>
                <a:lnTo>
                  <a:pt x="530" y="175"/>
                </a:lnTo>
                <a:lnTo>
                  <a:pt x="515" y="166"/>
                </a:lnTo>
                <a:lnTo>
                  <a:pt x="499" y="158"/>
                </a:lnTo>
                <a:lnTo>
                  <a:pt x="483" y="152"/>
                </a:lnTo>
                <a:lnTo>
                  <a:pt x="467" y="147"/>
                </a:lnTo>
                <a:lnTo>
                  <a:pt x="450" y="145"/>
                </a:lnTo>
                <a:lnTo>
                  <a:pt x="432" y="144"/>
                </a:lnTo>
                <a:lnTo>
                  <a:pt x="432" y="144"/>
                </a:lnTo>
                <a:lnTo>
                  <a:pt x="413" y="145"/>
                </a:lnTo>
                <a:lnTo>
                  <a:pt x="396" y="147"/>
                </a:lnTo>
                <a:lnTo>
                  <a:pt x="379" y="152"/>
                </a:lnTo>
                <a:lnTo>
                  <a:pt x="363" y="158"/>
                </a:lnTo>
                <a:lnTo>
                  <a:pt x="348" y="166"/>
                </a:lnTo>
                <a:lnTo>
                  <a:pt x="334" y="175"/>
                </a:lnTo>
                <a:lnTo>
                  <a:pt x="319" y="185"/>
                </a:lnTo>
                <a:lnTo>
                  <a:pt x="307" y="197"/>
                </a:lnTo>
                <a:lnTo>
                  <a:pt x="296" y="210"/>
                </a:lnTo>
                <a:lnTo>
                  <a:pt x="286" y="225"/>
                </a:lnTo>
                <a:lnTo>
                  <a:pt x="277" y="240"/>
                </a:lnTo>
                <a:lnTo>
                  <a:pt x="270" y="256"/>
                </a:lnTo>
                <a:lnTo>
                  <a:pt x="264" y="272"/>
                </a:lnTo>
                <a:lnTo>
                  <a:pt x="260" y="290"/>
                </a:lnTo>
                <a:lnTo>
                  <a:pt x="257" y="309"/>
                </a:lnTo>
                <a:lnTo>
                  <a:pt x="256" y="327"/>
                </a:lnTo>
                <a:lnTo>
                  <a:pt x="256" y="327"/>
                </a:lnTo>
                <a:lnTo>
                  <a:pt x="257" y="346"/>
                </a:lnTo>
                <a:lnTo>
                  <a:pt x="256" y="347"/>
                </a:lnTo>
                <a:lnTo>
                  <a:pt x="35" y="328"/>
                </a:lnTo>
                <a:lnTo>
                  <a:pt x="0" y="163"/>
                </a:lnTo>
                <a:lnTo>
                  <a:pt x="35" y="163"/>
                </a:lnTo>
                <a:lnTo>
                  <a:pt x="35" y="0"/>
                </a:lnTo>
                <a:lnTo>
                  <a:pt x="12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6" name="Freeform 2238"/>
          <p:cNvSpPr>
            <a:spLocks/>
          </p:cNvSpPr>
          <p:nvPr/>
        </p:nvSpPr>
        <p:spPr bwMode="auto">
          <a:xfrm>
            <a:off x="2011364" y="5360925"/>
            <a:ext cx="14288" cy="28575"/>
          </a:xfrm>
          <a:custGeom>
            <a:avLst/>
            <a:gdLst>
              <a:gd name="T0" fmla="*/ 53 w 53"/>
              <a:gd name="T1" fmla="*/ 14 h 106"/>
              <a:gd name="T2" fmla="*/ 53 w 53"/>
              <a:gd name="T3" fmla="*/ 106 h 106"/>
              <a:gd name="T4" fmla="*/ 0 w 53"/>
              <a:gd name="T5" fmla="*/ 106 h 106"/>
              <a:gd name="T6" fmla="*/ 0 w 53"/>
              <a:gd name="T7" fmla="*/ 0 h 106"/>
              <a:gd name="T8" fmla="*/ 52 w 53"/>
              <a:gd name="T9" fmla="*/ 0 h 106"/>
              <a:gd name="T10" fmla="*/ 52 w 53"/>
              <a:gd name="T11" fmla="*/ 0 h 106"/>
              <a:gd name="T12" fmla="*/ 53 w 53"/>
              <a:gd name="T13" fmla="*/ 14 h 106"/>
              <a:gd name="T14" fmla="*/ 53 w 53"/>
              <a:gd name="T15" fmla="*/ 14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106">
                <a:moveTo>
                  <a:pt x="53" y="14"/>
                </a:moveTo>
                <a:lnTo>
                  <a:pt x="53" y="106"/>
                </a:lnTo>
                <a:lnTo>
                  <a:pt x="0" y="106"/>
                </a:lnTo>
                <a:lnTo>
                  <a:pt x="0" y="0"/>
                </a:lnTo>
                <a:lnTo>
                  <a:pt x="52" y="0"/>
                </a:lnTo>
                <a:lnTo>
                  <a:pt x="52" y="0"/>
                </a:lnTo>
                <a:lnTo>
                  <a:pt x="53" y="14"/>
                </a:lnTo>
                <a:lnTo>
                  <a:pt x="53" y="1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7" name="Rectangle 2239"/>
          <p:cNvSpPr>
            <a:spLocks noChangeArrowheads="1"/>
          </p:cNvSpPr>
          <p:nvPr/>
        </p:nvSpPr>
        <p:spPr bwMode="auto">
          <a:xfrm>
            <a:off x="1390651" y="5346637"/>
            <a:ext cx="12700" cy="3016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68" name="Rectangle 2240"/>
          <p:cNvSpPr>
            <a:spLocks noChangeArrowheads="1"/>
          </p:cNvSpPr>
          <p:nvPr/>
        </p:nvSpPr>
        <p:spPr bwMode="auto">
          <a:xfrm>
            <a:off x="1562102" y="5257737"/>
            <a:ext cx="112713" cy="4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369" name="Rectangle 2241"/>
          <p:cNvSpPr>
            <a:spLocks noChangeArrowheads="1"/>
          </p:cNvSpPr>
          <p:nvPr/>
        </p:nvSpPr>
        <p:spPr bwMode="auto">
          <a:xfrm>
            <a:off x="1430339" y="5279963"/>
            <a:ext cx="114300" cy="222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390" name="Freeform 2262"/>
          <p:cNvSpPr>
            <a:spLocks/>
          </p:cNvSpPr>
          <p:nvPr/>
        </p:nvSpPr>
        <p:spPr bwMode="auto">
          <a:xfrm>
            <a:off x="5624515" y="5851526"/>
            <a:ext cx="85725" cy="84137"/>
          </a:xfrm>
          <a:custGeom>
            <a:avLst/>
            <a:gdLst>
              <a:gd name="T0" fmla="*/ 102 w 327"/>
              <a:gd name="T1" fmla="*/ 13 h 322"/>
              <a:gd name="T2" fmla="*/ 122 w 327"/>
              <a:gd name="T3" fmla="*/ 5 h 322"/>
              <a:gd name="T4" fmla="*/ 141 w 327"/>
              <a:gd name="T5" fmla="*/ 1 h 322"/>
              <a:gd name="T6" fmla="*/ 162 w 327"/>
              <a:gd name="T7" fmla="*/ 0 h 322"/>
              <a:gd name="T8" fmla="*/ 181 w 327"/>
              <a:gd name="T9" fmla="*/ 1 h 322"/>
              <a:gd name="T10" fmla="*/ 202 w 327"/>
              <a:gd name="T11" fmla="*/ 5 h 322"/>
              <a:gd name="T12" fmla="*/ 239 w 327"/>
              <a:gd name="T13" fmla="*/ 20 h 322"/>
              <a:gd name="T14" fmla="*/ 273 w 327"/>
              <a:gd name="T15" fmla="*/ 43 h 322"/>
              <a:gd name="T16" fmla="*/ 300 w 327"/>
              <a:gd name="T17" fmla="*/ 73 h 322"/>
              <a:gd name="T18" fmla="*/ 310 w 327"/>
              <a:gd name="T19" fmla="*/ 89 h 322"/>
              <a:gd name="T20" fmla="*/ 318 w 327"/>
              <a:gd name="T21" fmla="*/ 109 h 322"/>
              <a:gd name="T22" fmla="*/ 324 w 327"/>
              <a:gd name="T23" fmla="*/ 128 h 322"/>
              <a:gd name="T24" fmla="*/ 327 w 327"/>
              <a:gd name="T25" fmla="*/ 148 h 322"/>
              <a:gd name="T26" fmla="*/ 327 w 327"/>
              <a:gd name="T27" fmla="*/ 169 h 322"/>
              <a:gd name="T28" fmla="*/ 327 w 327"/>
              <a:gd name="T29" fmla="*/ 181 h 322"/>
              <a:gd name="T30" fmla="*/ 324 w 327"/>
              <a:gd name="T31" fmla="*/ 205 h 322"/>
              <a:gd name="T32" fmla="*/ 317 w 327"/>
              <a:gd name="T33" fmla="*/ 226 h 322"/>
              <a:gd name="T34" fmla="*/ 307 w 327"/>
              <a:gd name="T35" fmla="*/ 246 h 322"/>
              <a:gd name="T36" fmla="*/ 294 w 327"/>
              <a:gd name="T37" fmla="*/ 263 h 322"/>
              <a:gd name="T38" fmla="*/ 278 w 327"/>
              <a:gd name="T39" fmla="*/ 280 h 322"/>
              <a:gd name="T40" fmla="*/ 260 w 327"/>
              <a:gd name="T41" fmla="*/ 292 h 322"/>
              <a:gd name="T42" fmla="*/ 240 w 327"/>
              <a:gd name="T43" fmla="*/ 304 h 322"/>
              <a:gd name="T44" fmla="*/ 219 w 327"/>
              <a:gd name="T45" fmla="*/ 312 h 322"/>
              <a:gd name="T46" fmla="*/ 198 w 327"/>
              <a:gd name="T47" fmla="*/ 318 h 322"/>
              <a:gd name="T48" fmla="*/ 175 w 327"/>
              <a:gd name="T49" fmla="*/ 321 h 322"/>
              <a:gd name="T50" fmla="*/ 152 w 327"/>
              <a:gd name="T51" fmla="*/ 322 h 322"/>
              <a:gd name="T52" fmla="*/ 130 w 327"/>
              <a:gd name="T53" fmla="*/ 319 h 322"/>
              <a:gd name="T54" fmla="*/ 108 w 327"/>
              <a:gd name="T55" fmla="*/ 314 h 322"/>
              <a:gd name="T56" fmla="*/ 87 w 327"/>
              <a:gd name="T57" fmla="*/ 306 h 322"/>
              <a:gd name="T58" fmla="*/ 68 w 327"/>
              <a:gd name="T59" fmla="*/ 293 h 322"/>
              <a:gd name="T60" fmla="*/ 59 w 327"/>
              <a:gd name="T61" fmla="*/ 286 h 322"/>
              <a:gd name="T62" fmla="*/ 42 w 327"/>
              <a:gd name="T63" fmla="*/ 271 h 322"/>
              <a:gd name="T64" fmla="*/ 30 w 327"/>
              <a:gd name="T65" fmla="*/ 255 h 322"/>
              <a:gd name="T66" fmla="*/ 18 w 327"/>
              <a:gd name="T67" fmla="*/ 238 h 322"/>
              <a:gd name="T68" fmla="*/ 10 w 327"/>
              <a:gd name="T69" fmla="*/ 219 h 322"/>
              <a:gd name="T70" fmla="*/ 4 w 327"/>
              <a:gd name="T71" fmla="*/ 199 h 322"/>
              <a:gd name="T72" fmla="*/ 1 w 327"/>
              <a:gd name="T73" fmla="*/ 178 h 322"/>
              <a:gd name="T74" fmla="*/ 2 w 327"/>
              <a:gd name="T75" fmla="*/ 137 h 322"/>
              <a:gd name="T76" fmla="*/ 10 w 327"/>
              <a:gd name="T77" fmla="*/ 107 h 322"/>
              <a:gd name="T78" fmla="*/ 18 w 327"/>
              <a:gd name="T79" fmla="*/ 87 h 322"/>
              <a:gd name="T80" fmla="*/ 29 w 327"/>
              <a:gd name="T81" fmla="*/ 69 h 322"/>
              <a:gd name="T82" fmla="*/ 41 w 327"/>
              <a:gd name="T83" fmla="*/ 53 h 322"/>
              <a:gd name="T84" fmla="*/ 56 w 327"/>
              <a:gd name="T85" fmla="*/ 39 h 322"/>
              <a:gd name="T86" fmla="*/ 72 w 327"/>
              <a:gd name="T87" fmla="*/ 26 h 322"/>
              <a:gd name="T88" fmla="*/ 91 w 327"/>
              <a:gd name="T89" fmla="*/ 17 h 322"/>
              <a:gd name="T90" fmla="*/ 102 w 327"/>
              <a:gd name="T91" fmla="*/ 1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7" h="322">
                <a:moveTo>
                  <a:pt x="102" y="13"/>
                </a:moveTo>
                <a:lnTo>
                  <a:pt x="102" y="13"/>
                </a:lnTo>
                <a:lnTo>
                  <a:pt x="111" y="8"/>
                </a:lnTo>
                <a:lnTo>
                  <a:pt x="122" y="5"/>
                </a:lnTo>
                <a:lnTo>
                  <a:pt x="131" y="3"/>
                </a:lnTo>
                <a:lnTo>
                  <a:pt x="141" y="1"/>
                </a:lnTo>
                <a:lnTo>
                  <a:pt x="151" y="0"/>
                </a:lnTo>
                <a:lnTo>
                  <a:pt x="162" y="0"/>
                </a:lnTo>
                <a:lnTo>
                  <a:pt x="171" y="0"/>
                </a:lnTo>
                <a:lnTo>
                  <a:pt x="181" y="1"/>
                </a:lnTo>
                <a:lnTo>
                  <a:pt x="192" y="2"/>
                </a:lnTo>
                <a:lnTo>
                  <a:pt x="202" y="5"/>
                </a:lnTo>
                <a:lnTo>
                  <a:pt x="220" y="12"/>
                </a:lnTo>
                <a:lnTo>
                  <a:pt x="239" y="20"/>
                </a:lnTo>
                <a:lnTo>
                  <a:pt x="257" y="31"/>
                </a:lnTo>
                <a:lnTo>
                  <a:pt x="273" y="43"/>
                </a:lnTo>
                <a:lnTo>
                  <a:pt x="287" y="57"/>
                </a:lnTo>
                <a:lnTo>
                  <a:pt x="300" y="73"/>
                </a:lnTo>
                <a:lnTo>
                  <a:pt x="306" y="81"/>
                </a:lnTo>
                <a:lnTo>
                  <a:pt x="310" y="89"/>
                </a:lnTo>
                <a:lnTo>
                  <a:pt x="315" y="99"/>
                </a:lnTo>
                <a:lnTo>
                  <a:pt x="318" y="109"/>
                </a:lnTo>
                <a:lnTo>
                  <a:pt x="321" y="118"/>
                </a:lnTo>
                <a:lnTo>
                  <a:pt x="324" y="128"/>
                </a:lnTo>
                <a:lnTo>
                  <a:pt x="326" y="138"/>
                </a:lnTo>
                <a:lnTo>
                  <a:pt x="327" y="148"/>
                </a:lnTo>
                <a:lnTo>
                  <a:pt x="327" y="158"/>
                </a:lnTo>
                <a:lnTo>
                  <a:pt x="327" y="169"/>
                </a:lnTo>
                <a:lnTo>
                  <a:pt x="327" y="169"/>
                </a:lnTo>
                <a:lnTo>
                  <a:pt x="327" y="181"/>
                </a:lnTo>
                <a:lnTo>
                  <a:pt x="326" y="193"/>
                </a:lnTo>
                <a:lnTo>
                  <a:pt x="324" y="205"/>
                </a:lnTo>
                <a:lnTo>
                  <a:pt x="320" y="216"/>
                </a:lnTo>
                <a:lnTo>
                  <a:pt x="317" y="226"/>
                </a:lnTo>
                <a:lnTo>
                  <a:pt x="312" y="236"/>
                </a:lnTo>
                <a:lnTo>
                  <a:pt x="307" y="246"/>
                </a:lnTo>
                <a:lnTo>
                  <a:pt x="301" y="254"/>
                </a:lnTo>
                <a:lnTo>
                  <a:pt x="294" y="263"/>
                </a:lnTo>
                <a:lnTo>
                  <a:pt x="286" y="271"/>
                </a:lnTo>
                <a:lnTo>
                  <a:pt x="278" y="280"/>
                </a:lnTo>
                <a:lnTo>
                  <a:pt x="269" y="286"/>
                </a:lnTo>
                <a:lnTo>
                  <a:pt x="260" y="292"/>
                </a:lnTo>
                <a:lnTo>
                  <a:pt x="250" y="298"/>
                </a:lnTo>
                <a:lnTo>
                  <a:pt x="240" y="304"/>
                </a:lnTo>
                <a:lnTo>
                  <a:pt x="231" y="308"/>
                </a:lnTo>
                <a:lnTo>
                  <a:pt x="219" y="312"/>
                </a:lnTo>
                <a:lnTo>
                  <a:pt x="209" y="315"/>
                </a:lnTo>
                <a:lnTo>
                  <a:pt x="198" y="318"/>
                </a:lnTo>
                <a:lnTo>
                  <a:pt x="187" y="320"/>
                </a:lnTo>
                <a:lnTo>
                  <a:pt x="175" y="321"/>
                </a:lnTo>
                <a:lnTo>
                  <a:pt x="164" y="322"/>
                </a:lnTo>
                <a:lnTo>
                  <a:pt x="152" y="322"/>
                </a:lnTo>
                <a:lnTo>
                  <a:pt x="141" y="321"/>
                </a:lnTo>
                <a:lnTo>
                  <a:pt x="130" y="319"/>
                </a:lnTo>
                <a:lnTo>
                  <a:pt x="119" y="317"/>
                </a:lnTo>
                <a:lnTo>
                  <a:pt x="108" y="314"/>
                </a:lnTo>
                <a:lnTo>
                  <a:pt x="98" y="310"/>
                </a:lnTo>
                <a:lnTo>
                  <a:pt x="87" y="306"/>
                </a:lnTo>
                <a:lnTo>
                  <a:pt x="77" y="299"/>
                </a:lnTo>
                <a:lnTo>
                  <a:pt x="68" y="293"/>
                </a:lnTo>
                <a:lnTo>
                  <a:pt x="59" y="286"/>
                </a:lnTo>
                <a:lnTo>
                  <a:pt x="59" y="286"/>
                </a:lnTo>
                <a:lnTo>
                  <a:pt x="50" y="280"/>
                </a:lnTo>
                <a:lnTo>
                  <a:pt x="42" y="271"/>
                </a:lnTo>
                <a:lnTo>
                  <a:pt x="36" y="263"/>
                </a:lnTo>
                <a:lnTo>
                  <a:pt x="30" y="255"/>
                </a:lnTo>
                <a:lnTo>
                  <a:pt x="24" y="247"/>
                </a:lnTo>
                <a:lnTo>
                  <a:pt x="18" y="238"/>
                </a:lnTo>
                <a:lnTo>
                  <a:pt x="14" y="228"/>
                </a:lnTo>
                <a:lnTo>
                  <a:pt x="10" y="219"/>
                </a:lnTo>
                <a:lnTo>
                  <a:pt x="7" y="209"/>
                </a:lnTo>
                <a:lnTo>
                  <a:pt x="4" y="199"/>
                </a:lnTo>
                <a:lnTo>
                  <a:pt x="2" y="189"/>
                </a:lnTo>
                <a:lnTo>
                  <a:pt x="1" y="178"/>
                </a:lnTo>
                <a:lnTo>
                  <a:pt x="0" y="157"/>
                </a:lnTo>
                <a:lnTo>
                  <a:pt x="2" y="137"/>
                </a:lnTo>
                <a:lnTo>
                  <a:pt x="7" y="116"/>
                </a:lnTo>
                <a:lnTo>
                  <a:pt x="10" y="107"/>
                </a:lnTo>
                <a:lnTo>
                  <a:pt x="14" y="96"/>
                </a:lnTo>
                <a:lnTo>
                  <a:pt x="18" y="87"/>
                </a:lnTo>
                <a:lnTo>
                  <a:pt x="23" y="78"/>
                </a:lnTo>
                <a:lnTo>
                  <a:pt x="29" y="69"/>
                </a:lnTo>
                <a:lnTo>
                  <a:pt x="34" y="60"/>
                </a:lnTo>
                <a:lnTo>
                  <a:pt x="41" y="53"/>
                </a:lnTo>
                <a:lnTo>
                  <a:pt x="47" y="46"/>
                </a:lnTo>
                <a:lnTo>
                  <a:pt x="56" y="39"/>
                </a:lnTo>
                <a:lnTo>
                  <a:pt x="63" y="33"/>
                </a:lnTo>
                <a:lnTo>
                  <a:pt x="72" y="26"/>
                </a:lnTo>
                <a:lnTo>
                  <a:pt x="81" y="21"/>
                </a:lnTo>
                <a:lnTo>
                  <a:pt x="91" y="17"/>
                </a:lnTo>
                <a:lnTo>
                  <a:pt x="102" y="13"/>
                </a:lnTo>
                <a:lnTo>
                  <a:pt x="102" y="13"/>
                </a:lnTo>
                <a:lnTo>
                  <a:pt x="102"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91" name="Freeform 2263"/>
          <p:cNvSpPr>
            <a:spLocks/>
          </p:cNvSpPr>
          <p:nvPr/>
        </p:nvSpPr>
        <p:spPr bwMode="auto">
          <a:xfrm>
            <a:off x="5583240" y="5951538"/>
            <a:ext cx="168275" cy="63500"/>
          </a:xfrm>
          <a:custGeom>
            <a:avLst/>
            <a:gdLst>
              <a:gd name="T0" fmla="*/ 634 w 636"/>
              <a:gd name="T1" fmla="*/ 201 h 242"/>
              <a:gd name="T2" fmla="*/ 629 w 636"/>
              <a:gd name="T3" fmla="*/ 172 h 242"/>
              <a:gd name="T4" fmla="*/ 627 w 636"/>
              <a:gd name="T5" fmla="*/ 156 h 242"/>
              <a:gd name="T6" fmla="*/ 623 w 636"/>
              <a:gd name="T7" fmla="*/ 142 h 242"/>
              <a:gd name="T8" fmla="*/ 619 w 636"/>
              <a:gd name="T9" fmla="*/ 127 h 242"/>
              <a:gd name="T10" fmla="*/ 614 w 636"/>
              <a:gd name="T11" fmla="*/ 114 h 242"/>
              <a:gd name="T12" fmla="*/ 609 w 636"/>
              <a:gd name="T13" fmla="*/ 101 h 242"/>
              <a:gd name="T14" fmla="*/ 601 w 636"/>
              <a:gd name="T15" fmla="*/ 88 h 242"/>
              <a:gd name="T16" fmla="*/ 593 w 636"/>
              <a:gd name="T17" fmla="*/ 76 h 242"/>
              <a:gd name="T18" fmla="*/ 585 w 636"/>
              <a:gd name="T19" fmla="*/ 65 h 242"/>
              <a:gd name="T20" fmla="*/ 575 w 636"/>
              <a:gd name="T21" fmla="*/ 54 h 242"/>
              <a:gd name="T22" fmla="*/ 564 w 636"/>
              <a:gd name="T23" fmla="*/ 45 h 242"/>
              <a:gd name="T24" fmla="*/ 552 w 636"/>
              <a:gd name="T25" fmla="*/ 37 h 242"/>
              <a:gd name="T26" fmla="*/ 539 w 636"/>
              <a:gd name="T27" fmla="*/ 31 h 242"/>
              <a:gd name="T28" fmla="*/ 516 w 636"/>
              <a:gd name="T29" fmla="*/ 21 h 242"/>
              <a:gd name="T30" fmla="*/ 491 w 636"/>
              <a:gd name="T31" fmla="*/ 15 h 242"/>
              <a:gd name="T32" fmla="*/ 469 w 636"/>
              <a:gd name="T33" fmla="*/ 9 h 242"/>
              <a:gd name="T34" fmla="*/ 445 w 636"/>
              <a:gd name="T35" fmla="*/ 5 h 242"/>
              <a:gd name="T36" fmla="*/ 420 w 636"/>
              <a:gd name="T37" fmla="*/ 2 h 242"/>
              <a:gd name="T38" fmla="*/ 368 w 636"/>
              <a:gd name="T39" fmla="*/ 0 h 242"/>
              <a:gd name="T40" fmla="*/ 268 w 636"/>
              <a:gd name="T41" fmla="*/ 0 h 242"/>
              <a:gd name="T42" fmla="*/ 214 w 636"/>
              <a:gd name="T43" fmla="*/ 2 h 242"/>
              <a:gd name="T44" fmla="*/ 191 w 636"/>
              <a:gd name="T45" fmla="*/ 5 h 242"/>
              <a:gd name="T46" fmla="*/ 167 w 636"/>
              <a:gd name="T47" fmla="*/ 9 h 242"/>
              <a:gd name="T48" fmla="*/ 143 w 636"/>
              <a:gd name="T49" fmla="*/ 15 h 242"/>
              <a:gd name="T50" fmla="*/ 119 w 636"/>
              <a:gd name="T51" fmla="*/ 21 h 242"/>
              <a:gd name="T52" fmla="*/ 97 w 636"/>
              <a:gd name="T53" fmla="*/ 31 h 242"/>
              <a:gd name="T54" fmla="*/ 83 w 636"/>
              <a:gd name="T55" fmla="*/ 37 h 242"/>
              <a:gd name="T56" fmla="*/ 71 w 636"/>
              <a:gd name="T57" fmla="*/ 45 h 242"/>
              <a:gd name="T58" fmla="*/ 60 w 636"/>
              <a:gd name="T59" fmla="*/ 54 h 242"/>
              <a:gd name="T60" fmla="*/ 49 w 636"/>
              <a:gd name="T61" fmla="*/ 65 h 242"/>
              <a:gd name="T62" fmla="*/ 41 w 636"/>
              <a:gd name="T63" fmla="*/ 76 h 242"/>
              <a:gd name="T64" fmla="*/ 34 w 636"/>
              <a:gd name="T65" fmla="*/ 88 h 242"/>
              <a:gd name="T66" fmla="*/ 27 w 636"/>
              <a:gd name="T67" fmla="*/ 101 h 242"/>
              <a:gd name="T68" fmla="*/ 22 w 636"/>
              <a:gd name="T69" fmla="*/ 114 h 242"/>
              <a:gd name="T70" fmla="*/ 16 w 636"/>
              <a:gd name="T71" fmla="*/ 127 h 242"/>
              <a:gd name="T72" fmla="*/ 12 w 636"/>
              <a:gd name="T73" fmla="*/ 142 h 242"/>
              <a:gd name="T74" fmla="*/ 8 w 636"/>
              <a:gd name="T75" fmla="*/ 156 h 242"/>
              <a:gd name="T76" fmla="*/ 6 w 636"/>
              <a:gd name="T77" fmla="*/ 172 h 242"/>
              <a:gd name="T78" fmla="*/ 2 w 636"/>
              <a:gd name="T79" fmla="*/ 201 h 242"/>
              <a:gd name="T80" fmla="*/ 0 w 636"/>
              <a:gd name="T81" fmla="*/ 229 h 242"/>
              <a:gd name="T82" fmla="*/ 0 w 636"/>
              <a:gd name="T83" fmla="*/ 242 h 242"/>
              <a:gd name="T84" fmla="*/ 226 w 636"/>
              <a:gd name="T85" fmla="*/ 242 h 242"/>
              <a:gd name="T86" fmla="*/ 409 w 636"/>
              <a:gd name="T87" fmla="*/ 242 h 242"/>
              <a:gd name="T88" fmla="*/ 636 w 636"/>
              <a:gd name="T89" fmla="*/ 242 h 242"/>
              <a:gd name="T90" fmla="*/ 636 w 636"/>
              <a:gd name="T91" fmla="*/ 229 h 242"/>
              <a:gd name="T92" fmla="*/ 634 w 636"/>
              <a:gd name="T93" fmla="*/ 20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36" h="242">
                <a:moveTo>
                  <a:pt x="634" y="201"/>
                </a:moveTo>
                <a:lnTo>
                  <a:pt x="629" y="172"/>
                </a:lnTo>
                <a:lnTo>
                  <a:pt x="627" y="156"/>
                </a:lnTo>
                <a:lnTo>
                  <a:pt x="623" y="142"/>
                </a:lnTo>
                <a:lnTo>
                  <a:pt x="619" y="127"/>
                </a:lnTo>
                <a:lnTo>
                  <a:pt x="614" y="114"/>
                </a:lnTo>
                <a:lnTo>
                  <a:pt x="609" y="101"/>
                </a:lnTo>
                <a:lnTo>
                  <a:pt x="601" y="88"/>
                </a:lnTo>
                <a:lnTo>
                  <a:pt x="593" y="76"/>
                </a:lnTo>
                <a:lnTo>
                  <a:pt x="585" y="65"/>
                </a:lnTo>
                <a:lnTo>
                  <a:pt x="575" y="54"/>
                </a:lnTo>
                <a:lnTo>
                  <a:pt x="564" y="45"/>
                </a:lnTo>
                <a:lnTo>
                  <a:pt x="552" y="37"/>
                </a:lnTo>
                <a:lnTo>
                  <a:pt x="539" y="31"/>
                </a:lnTo>
                <a:lnTo>
                  <a:pt x="516" y="21"/>
                </a:lnTo>
                <a:lnTo>
                  <a:pt x="491" y="15"/>
                </a:lnTo>
                <a:lnTo>
                  <a:pt x="469" y="9"/>
                </a:lnTo>
                <a:lnTo>
                  <a:pt x="445" y="5"/>
                </a:lnTo>
                <a:lnTo>
                  <a:pt x="420" y="2"/>
                </a:lnTo>
                <a:lnTo>
                  <a:pt x="368" y="0"/>
                </a:lnTo>
                <a:lnTo>
                  <a:pt x="268" y="0"/>
                </a:lnTo>
                <a:lnTo>
                  <a:pt x="214" y="2"/>
                </a:lnTo>
                <a:lnTo>
                  <a:pt x="191" y="5"/>
                </a:lnTo>
                <a:lnTo>
                  <a:pt x="167" y="9"/>
                </a:lnTo>
                <a:lnTo>
                  <a:pt x="143" y="15"/>
                </a:lnTo>
                <a:lnTo>
                  <a:pt x="119" y="21"/>
                </a:lnTo>
                <a:lnTo>
                  <a:pt x="97" y="31"/>
                </a:lnTo>
                <a:lnTo>
                  <a:pt x="83" y="37"/>
                </a:lnTo>
                <a:lnTo>
                  <a:pt x="71" y="45"/>
                </a:lnTo>
                <a:lnTo>
                  <a:pt x="60" y="54"/>
                </a:lnTo>
                <a:lnTo>
                  <a:pt x="49" y="65"/>
                </a:lnTo>
                <a:lnTo>
                  <a:pt x="41" y="76"/>
                </a:lnTo>
                <a:lnTo>
                  <a:pt x="34" y="88"/>
                </a:lnTo>
                <a:lnTo>
                  <a:pt x="27" y="101"/>
                </a:lnTo>
                <a:lnTo>
                  <a:pt x="22" y="114"/>
                </a:lnTo>
                <a:lnTo>
                  <a:pt x="16" y="127"/>
                </a:lnTo>
                <a:lnTo>
                  <a:pt x="12" y="142"/>
                </a:lnTo>
                <a:lnTo>
                  <a:pt x="8" y="156"/>
                </a:lnTo>
                <a:lnTo>
                  <a:pt x="6" y="172"/>
                </a:lnTo>
                <a:lnTo>
                  <a:pt x="2" y="201"/>
                </a:lnTo>
                <a:lnTo>
                  <a:pt x="0" y="229"/>
                </a:lnTo>
                <a:lnTo>
                  <a:pt x="0" y="242"/>
                </a:lnTo>
                <a:lnTo>
                  <a:pt x="226" y="242"/>
                </a:lnTo>
                <a:lnTo>
                  <a:pt x="409" y="242"/>
                </a:lnTo>
                <a:lnTo>
                  <a:pt x="636" y="242"/>
                </a:lnTo>
                <a:lnTo>
                  <a:pt x="636" y="229"/>
                </a:lnTo>
                <a:lnTo>
                  <a:pt x="634" y="2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92" name="Freeform 2264"/>
          <p:cNvSpPr>
            <a:spLocks/>
          </p:cNvSpPr>
          <p:nvPr/>
        </p:nvSpPr>
        <p:spPr bwMode="auto">
          <a:xfrm>
            <a:off x="6626227" y="5848351"/>
            <a:ext cx="85725" cy="84137"/>
          </a:xfrm>
          <a:custGeom>
            <a:avLst/>
            <a:gdLst>
              <a:gd name="T0" fmla="*/ 101 w 327"/>
              <a:gd name="T1" fmla="*/ 13 h 323"/>
              <a:gd name="T2" fmla="*/ 122 w 327"/>
              <a:gd name="T3" fmla="*/ 5 h 323"/>
              <a:gd name="T4" fmla="*/ 142 w 327"/>
              <a:gd name="T5" fmla="*/ 1 h 323"/>
              <a:gd name="T6" fmla="*/ 162 w 327"/>
              <a:gd name="T7" fmla="*/ 0 h 323"/>
              <a:gd name="T8" fmla="*/ 182 w 327"/>
              <a:gd name="T9" fmla="*/ 1 h 323"/>
              <a:gd name="T10" fmla="*/ 202 w 327"/>
              <a:gd name="T11" fmla="*/ 5 h 323"/>
              <a:gd name="T12" fmla="*/ 239 w 327"/>
              <a:gd name="T13" fmla="*/ 20 h 323"/>
              <a:gd name="T14" fmla="*/ 272 w 327"/>
              <a:gd name="T15" fmla="*/ 44 h 323"/>
              <a:gd name="T16" fmla="*/ 300 w 327"/>
              <a:gd name="T17" fmla="*/ 73 h 323"/>
              <a:gd name="T18" fmla="*/ 310 w 327"/>
              <a:gd name="T19" fmla="*/ 90 h 323"/>
              <a:gd name="T20" fmla="*/ 319 w 327"/>
              <a:gd name="T21" fmla="*/ 108 h 323"/>
              <a:gd name="T22" fmla="*/ 325 w 327"/>
              <a:gd name="T23" fmla="*/ 129 h 323"/>
              <a:gd name="T24" fmla="*/ 327 w 327"/>
              <a:gd name="T25" fmla="*/ 149 h 323"/>
              <a:gd name="T26" fmla="*/ 327 w 327"/>
              <a:gd name="T27" fmla="*/ 169 h 323"/>
              <a:gd name="T28" fmla="*/ 327 w 327"/>
              <a:gd name="T29" fmla="*/ 182 h 323"/>
              <a:gd name="T30" fmla="*/ 324 w 327"/>
              <a:gd name="T31" fmla="*/ 205 h 323"/>
              <a:gd name="T32" fmla="*/ 318 w 327"/>
              <a:gd name="T33" fmla="*/ 227 h 323"/>
              <a:gd name="T34" fmla="*/ 307 w 327"/>
              <a:gd name="T35" fmla="*/ 246 h 323"/>
              <a:gd name="T36" fmla="*/ 294 w 327"/>
              <a:gd name="T37" fmla="*/ 264 h 323"/>
              <a:gd name="T38" fmla="*/ 278 w 327"/>
              <a:gd name="T39" fmla="*/ 280 h 323"/>
              <a:gd name="T40" fmla="*/ 260 w 327"/>
              <a:gd name="T41" fmla="*/ 293 h 323"/>
              <a:gd name="T42" fmla="*/ 240 w 327"/>
              <a:gd name="T43" fmla="*/ 304 h 323"/>
              <a:gd name="T44" fmla="*/ 220 w 327"/>
              <a:gd name="T45" fmla="*/ 312 h 323"/>
              <a:gd name="T46" fmla="*/ 198 w 327"/>
              <a:gd name="T47" fmla="*/ 319 h 323"/>
              <a:gd name="T48" fmla="*/ 176 w 327"/>
              <a:gd name="T49" fmla="*/ 322 h 323"/>
              <a:gd name="T50" fmla="*/ 153 w 327"/>
              <a:gd name="T51" fmla="*/ 323 h 323"/>
              <a:gd name="T52" fmla="*/ 130 w 327"/>
              <a:gd name="T53" fmla="*/ 320 h 323"/>
              <a:gd name="T54" fmla="*/ 109 w 327"/>
              <a:gd name="T55" fmla="*/ 315 h 323"/>
              <a:gd name="T56" fmla="*/ 87 w 327"/>
              <a:gd name="T57" fmla="*/ 306 h 323"/>
              <a:gd name="T58" fmla="*/ 68 w 327"/>
              <a:gd name="T59" fmla="*/ 294 h 323"/>
              <a:gd name="T60" fmla="*/ 59 w 327"/>
              <a:gd name="T61" fmla="*/ 287 h 323"/>
              <a:gd name="T62" fmla="*/ 43 w 327"/>
              <a:gd name="T63" fmla="*/ 271 h 323"/>
              <a:gd name="T64" fmla="*/ 30 w 327"/>
              <a:gd name="T65" fmla="*/ 256 h 323"/>
              <a:gd name="T66" fmla="*/ 19 w 327"/>
              <a:gd name="T67" fmla="*/ 238 h 323"/>
              <a:gd name="T68" fmla="*/ 10 w 327"/>
              <a:gd name="T69" fmla="*/ 220 h 323"/>
              <a:gd name="T70" fmla="*/ 5 w 327"/>
              <a:gd name="T71" fmla="*/ 200 h 323"/>
              <a:gd name="T72" fmla="*/ 1 w 327"/>
              <a:gd name="T73" fmla="*/ 179 h 323"/>
              <a:gd name="T74" fmla="*/ 2 w 327"/>
              <a:gd name="T75" fmla="*/ 137 h 323"/>
              <a:gd name="T76" fmla="*/ 10 w 327"/>
              <a:gd name="T77" fmla="*/ 106 h 323"/>
              <a:gd name="T78" fmla="*/ 19 w 327"/>
              <a:gd name="T79" fmla="*/ 88 h 323"/>
              <a:gd name="T80" fmla="*/ 29 w 327"/>
              <a:gd name="T81" fmla="*/ 69 h 323"/>
              <a:gd name="T82" fmla="*/ 42 w 327"/>
              <a:gd name="T83" fmla="*/ 54 h 323"/>
              <a:gd name="T84" fmla="*/ 56 w 327"/>
              <a:gd name="T85" fmla="*/ 39 h 323"/>
              <a:gd name="T86" fmla="*/ 72 w 327"/>
              <a:gd name="T87" fmla="*/ 27 h 323"/>
              <a:gd name="T88" fmla="*/ 91 w 327"/>
              <a:gd name="T89" fmla="*/ 17 h 323"/>
              <a:gd name="T90" fmla="*/ 101 w 327"/>
              <a:gd name="T91" fmla="*/ 1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7" h="323">
                <a:moveTo>
                  <a:pt x="101" y="13"/>
                </a:moveTo>
                <a:lnTo>
                  <a:pt x="101" y="13"/>
                </a:lnTo>
                <a:lnTo>
                  <a:pt x="112" y="9"/>
                </a:lnTo>
                <a:lnTo>
                  <a:pt x="122" y="5"/>
                </a:lnTo>
                <a:lnTo>
                  <a:pt x="131" y="3"/>
                </a:lnTo>
                <a:lnTo>
                  <a:pt x="142" y="1"/>
                </a:lnTo>
                <a:lnTo>
                  <a:pt x="152" y="0"/>
                </a:lnTo>
                <a:lnTo>
                  <a:pt x="162" y="0"/>
                </a:lnTo>
                <a:lnTo>
                  <a:pt x="171" y="0"/>
                </a:lnTo>
                <a:lnTo>
                  <a:pt x="182" y="1"/>
                </a:lnTo>
                <a:lnTo>
                  <a:pt x="191" y="2"/>
                </a:lnTo>
                <a:lnTo>
                  <a:pt x="202" y="5"/>
                </a:lnTo>
                <a:lnTo>
                  <a:pt x="221" y="12"/>
                </a:lnTo>
                <a:lnTo>
                  <a:pt x="239" y="20"/>
                </a:lnTo>
                <a:lnTo>
                  <a:pt x="257" y="31"/>
                </a:lnTo>
                <a:lnTo>
                  <a:pt x="272" y="44"/>
                </a:lnTo>
                <a:lnTo>
                  <a:pt x="288" y="58"/>
                </a:lnTo>
                <a:lnTo>
                  <a:pt x="300" y="73"/>
                </a:lnTo>
                <a:lnTo>
                  <a:pt x="306" y="82"/>
                </a:lnTo>
                <a:lnTo>
                  <a:pt x="310" y="90"/>
                </a:lnTo>
                <a:lnTo>
                  <a:pt x="316" y="99"/>
                </a:lnTo>
                <a:lnTo>
                  <a:pt x="319" y="108"/>
                </a:lnTo>
                <a:lnTo>
                  <a:pt x="322" y="119"/>
                </a:lnTo>
                <a:lnTo>
                  <a:pt x="325" y="129"/>
                </a:lnTo>
                <a:lnTo>
                  <a:pt x="326" y="138"/>
                </a:lnTo>
                <a:lnTo>
                  <a:pt x="327" y="149"/>
                </a:lnTo>
                <a:lnTo>
                  <a:pt x="327" y="159"/>
                </a:lnTo>
                <a:lnTo>
                  <a:pt x="327" y="169"/>
                </a:lnTo>
                <a:lnTo>
                  <a:pt x="327" y="169"/>
                </a:lnTo>
                <a:lnTo>
                  <a:pt x="327" y="182"/>
                </a:lnTo>
                <a:lnTo>
                  <a:pt x="326" y="193"/>
                </a:lnTo>
                <a:lnTo>
                  <a:pt x="324" y="205"/>
                </a:lnTo>
                <a:lnTo>
                  <a:pt x="321" y="217"/>
                </a:lnTo>
                <a:lnTo>
                  <a:pt x="318" y="227"/>
                </a:lnTo>
                <a:lnTo>
                  <a:pt x="313" y="236"/>
                </a:lnTo>
                <a:lnTo>
                  <a:pt x="307" y="246"/>
                </a:lnTo>
                <a:lnTo>
                  <a:pt x="301" y="255"/>
                </a:lnTo>
                <a:lnTo>
                  <a:pt x="294" y="264"/>
                </a:lnTo>
                <a:lnTo>
                  <a:pt x="287" y="271"/>
                </a:lnTo>
                <a:lnTo>
                  <a:pt x="278" y="280"/>
                </a:lnTo>
                <a:lnTo>
                  <a:pt x="269" y="287"/>
                </a:lnTo>
                <a:lnTo>
                  <a:pt x="260" y="293"/>
                </a:lnTo>
                <a:lnTo>
                  <a:pt x="251" y="299"/>
                </a:lnTo>
                <a:lnTo>
                  <a:pt x="240" y="304"/>
                </a:lnTo>
                <a:lnTo>
                  <a:pt x="231" y="308"/>
                </a:lnTo>
                <a:lnTo>
                  <a:pt x="220" y="312"/>
                </a:lnTo>
                <a:lnTo>
                  <a:pt x="210" y="316"/>
                </a:lnTo>
                <a:lnTo>
                  <a:pt x="198" y="319"/>
                </a:lnTo>
                <a:lnTo>
                  <a:pt x="187" y="321"/>
                </a:lnTo>
                <a:lnTo>
                  <a:pt x="176" y="322"/>
                </a:lnTo>
                <a:lnTo>
                  <a:pt x="164" y="323"/>
                </a:lnTo>
                <a:lnTo>
                  <a:pt x="153" y="323"/>
                </a:lnTo>
                <a:lnTo>
                  <a:pt x="142" y="322"/>
                </a:lnTo>
                <a:lnTo>
                  <a:pt x="130" y="320"/>
                </a:lnTo>
                <a:lnTo>
                  <a:pt x="120" y="318"/>
                </a:lnTo>
                <a:lnTo>
                  <a:pt x="109" y="315"/>
                </a:lnTo>
                <a:lnTo>
                  <a:pt x="97" y="310"/>
                </a:lnTo>
                <a:lnTo>
                  <a:pt x="87" y="306"/>
                </a:lnTo>
                <a:lnTo>
                  <a:pt x="78" y="300"/>
                </a:lnTo>
                <a:lnTo>
                  <a:pt x="68" y="294"/>
                </a:lnTo>
                <a:lnTo>
                  <a:pt x="59" y="287"/>
                </a:lnTo>
                <a:lnTo>
                  <a:pt x="59" y="287"/>
                </a:lnTo>
                <a:lnTo>
                  <a:pt x="51" y="280"/>
                </a:lnTo>
                <a:lnTo>
                  <a:pt x="43" y="271"/>
                </a:lnTo>
                <a:lnTo>
                  <a:pt x="36" y="264"/>
                </a:lnTo>
                <a:lnTo>
                  <a:pt x="30" y="256"/>
                </a:lnTo>
                <a:lnTo>
                  <a:pt x="24" y="248"/>
                </a:lnTo>
                <a:lnTo>
                  <a:pt x="19" y="238"/>
                </a:lnTo>
                <a:lnTo>
                  <a:pt x="14" y="229"/>
                </a:lnTo>
                <a:lnTo>
                  <a:pt x="10" y="220"/>
                </a:lnTo>
                <a:lnTo>
                  <a:pt x="7" y="209"/>
                </a:lnTo>
                <a:lnTo>
                  <a:pt x="5" y="200"/>
                </a:lnTo>
                <a:lnTo>
                  <a:pt x="2" y="189"/>
                </a:lnTo>
                <a:lnTo>
                  <a:pt x="1" y="179"/>
                </a:lnTo>
                <a:lnTo>
                  <a:pt x="0" y="158"/>
                </a:lnTo>
                <a:lnTo>
                  <a:pt x="2" y="137"/>
                </a:lnTo>
                <a:lnTo>
                  <a:pt x="7" y="117"/>
                </a:lnTo>
                <a:lnTo>
                  <a:pt x="10" y="106"/>
                </a:lnTo>
                <a:lnTo>
                  <a:pt x="14" y="97"/>
                </a:lnTo>
                <a:lnTo>
                  <a:pt x="19" y="88"/>
                </a:lnTo>
                <a:lnTo>
                  <a:pt x="23" y="79"/>
                </a:lnTo>
                <a:lnTo>
                  <a:pt x="29" y="69"/>
                </a:lnTo>
                <a:lnTo>
                  <a:pt x="34" y="61"/>
                </a:lnTo>
                <a:lnTo>
                  <a:pt x="42" y="54"/>
                </a:lnTo>
                <a:lnTo>
                  <a:pt x="48" y="47"/>
                </a:lnTo>
                <a:lnTo>
                  <a:pt x="56" y="39"/>
                </a:lnTo>
                <a:lnTo>
                  <a:pt x="63" y="33"/>
                </a:lnTo>
                <a:lnTo>
                  <a:pt x="72" y="27"/>
                </a:lnTo>
                <a:lnTo>
                  <a:pt x="82" y="22"/>
                </a:lnTo>
                <a:lnTo>
                  <a:pt x="91" y="17"/>
                </a:lnTo>
                <a:lnTo>
                  <a:pt x="101" y="13"/>
                </a:lnTo>
                <a:lnTo>
                  <a:pt x="101" y="13"/>
                </a:lnTo>
                <a:lnTo>
                  <a:pt x="10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93" name="Freeform 2265"/>
          <p:cNvSpPr>
            <a:spLocks/>
          </p:cNvSpPr>
          <p:nvPr/>
        </p:nvSpPr>
        <p:spPr bwMode="auto">
          <a:xfrm>
            <a:off x="6584952" y="5948363"/>
            <a:ext cx="168275" cy="63500"/>
          </a:xfrm>
          <a:custGeom>
            <a:avLst/>
            <a:gdLst>
              <a:gd name="T0" fmla="*/ 634 w 636"/>
              <a:gd name="T1" fmla="*/ 200 h 242"/>
              <a:gd name="T2" fmla="*/ 630 w 636"/>
              <a:gd name="T3" fmla="*/ 170 h 242"/>
              <a:gd name="T4" fmla="*/ 628 w 636"/>
              <a:gd name="T5" fmla="*/ 156 h 242"/>
              <a:gd name="T6" fmla="*/ 624 w 636"/>
              <a:gd name="T7" fmla="*/ 142 h 242"/>
              <a:gd name="T8" fmla="*/ 620 w 636"/>
              <a:gd name="T9" fmla="*/ 127 h 242"/>
              <a:gd name="T10" fmla="*/ 614 w 636"/>
              <a:gd name="T11" fmla="*/ 114 h 242"/>
              <a:gd name="T12" fmla="*/ 608 w 636"/>
              <a:gd name="T13" fmla="*/ 100 h 242"/>
              <a:gd name="T14" fmla="*/ 601 w 636"/>
              <a:gd name="T15" fmla="*/ 88 h 242"/>
              <a:gd name="T16" fmla="*/ 594 w 636"/>
              <a:gd name="T17" fmla="*/ 75 h 242"/>
              <a:gd name="T18" fmla="*/ 586 w 636"/>
              <a:gd name="T19" fmla="*/ 64 h 242"/>
              <a:gd name="T20" fmla="*/ 575 w 636"/>
              <a:gd name="T21" fmla="*/ 54 h 242"/>
              <a:gd name="T22" fmla="*/ 564 w 636"/>
              <a:gd name="T23" fmla="*/ 45 h 242"/>
              <a:gd name="T24" fmla="*/ 553 w 636"/>
              <a:gd name="T25" fmla="*/ 37 h 242"/>
              <a:gd name="T26" fmla="*/ 539 w 636"/>
              <a:gd name="T27" fmla="*/ 30 h 242"/>
              <a:gd name="T28" fmla="*/ 515 w 636"/>
              <a:gd name="T29" fmla="*/ 21 h 242"/>
              <a:gd name="T30" fmla="*/ 492 w 636"/>
              <a:gd name="T31" fmla="*/ 15 h 242"/>
              <a:gd name="T32" fmla="*/ 469 w 636"/>
              <a:gd name="T33" fmla="*/ 9 h 242"/>
              <a:gd name="T34" fmla="*/ 445 w 636"/>
              <a:gd name="T35" fmla="*/ 5 h 242"/>
              <a:gd name="T36" fmla="*/ 421 w 636"/>
              <a:gd name="T37" fmla="*/ 2 h 242"/>
              <a:gd name="T38" fmla="*/ 368 w 636"/>
              <a:gd name="T39" fmla="*/ 0 h 242"/>
              <a:gd name="T40" fmla="*/ 268 w 636"/>
              <a:gd name="T41" fmla="*/ 0 h 242"/>
              <a:gd name="T42" fmla="*/ 215 w 636"/>
              <a:gd name="T43" fmla="*/ 2 h 242"/>
              <a:gd name="T44" fmla="*/ 191 w 636"/>
              <a:gd name="T45" fmla="*/ 5 h 242"/>
              <a:gd name="T46" fmla="*/ 166 w 636"/>
              <a:gd name="T47" fmla="*/ 9 h 242"/>
              <a:gd name="T48" fmla="*/ 144 w 636"/>
              <a:gd name="T49" fmla="*/ 15 h 242"/>
              <a:gd name="T50" fmla="*/ 120 w 636"/>
              <a:gd name="T51" fmla="*/ 21 h 242"/>
              <a:gd name="T52" fmla="*/ 97 w 636"/>
              <a:gd name="T53" fmla="*/ 30 h 242"/>
              <a:gd name="T54" fmla="*/ 84 w 636"/>
              <a:gd name="T55" fmla="*/ 37 h 242"/>
              <a:gd name="T56" fmla="*/ 71 w 636"/>
              <a:gd name="T57" fmla="*/ 45 h 242"/>
              <a:gd name="T58" fmla="*/ 60 w 636"/>
              <a:gd name="T59" fmla="*/ 54 h 242"/>
              <a:gd name="T60" fmla="*/ 50 w 636"/>
              <a:gd name="T61" fmla="*/ 64 h 242"/>
              <a:gd name="T62" fmla="*/ 42 w 636"/>
              <a:gd name="T63" fmla="*/ 75 h 242"/>
              <a:gd name="T64" fmla="*/ 34 w 636"/>
              <a:gd name="T65" fmla="*/ 88 h 242"/>
              <a:gd name="T66" fmla="*/ 27 w 636"/>
              <a:gd name="T67" fmla="*/ 100 h 242"/>
              <a:gd name="T68" fmla="*/ 22 w 636"/>
              <a:gd name="T69" fmla="*/ 114 h 242"/>
              <a:gd name="T70" fmla="*/ 17 w 636"/>
              <a:gd name="T71" fmla="*/ 127 h 242"/>
              <a:gd name="T72" fmla="*/ 13 w 636"/>
              <a:gd name="T73" fmla="*/ 142 h 242"/>
              <a:gd name="T74" fmla="*/ 9 w 636"/>
              <a:gd name="T75" fmla="*/ 156 h 242"/>
              <a:gd name="T76" fmla="*/ 6 w 636"/>
              <a:gd name="T77" fmla="*/ 170 h 242"/>
              <a:gd name="T78" fmla="*/ 2 w 636"/>
              <a:gd name="T79" fmla="*/ 200 h 242"/>
              <a:gd name="T80" fmla="*/ 0 w 636"/>
              <a:gd name="T81" fmla="*/ 228 h 242"/>
              <a:gd name="T82" fmla="*/ 0 w 636"/>
              <a:gd name="T83" fmla="*/ 242 h 242"/>
              <a:gd name="T84" fmla="*/ 226 w 636"/>
              <a:gd name="T85" fmla="*/ 242 h 242"/>
              <a:gd name="T86" fmla="*/ 409 w 636"/>
              <a:gd name="T87" fmla="*/ 242 h 242"/>
              <a:gd name="T88" fmla="*/ 636 w 636"/>
              <a:gd name="T89" fmla="*/ 242 h 242"/>
              <a:gd name="T90" fmla="*/ 636 w 636"/>
              <a:gd name="T91" fmla="*/ 228 h 242"/>
              <a:gd name="T92" fmla="*/ 634 w 636"/>
              <a:gd name="T93" fmla="*/ 2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36" h="242">
                <a:moveTo>
                  <a:pt x="634" y="200"/>
                </a:moveTo>
                <a:lnTo>
                  <a:pt x="630" y="170"/>
                </a:lnTo>
                <a:lnTo>
                  <a:pt x="628" y="156"/>
                </a:lnTo>
                <a:lnTo>
                  <a:pt x="624" y="142"/>
                </a:lnTo>
                <a:lnTo>
                  <a:pt x="620" y="127"/>
                </a:lnTo>
                <a:lnTo>
                  <a:pt x="614" y="114"/>
                </a:lnTo>
                <a:lnTo>
                  <a:pt x="608" y="100"/>
                </a:lnTo>
                <a:lnTo>
                  <a:pt x="601" y="88"/>
                </a:lnTo>
                <a:lnTo>
                  <a:pt x="594" y="75"/>
                </a:lnTo>
                <a:lnTo>
                  <a:pt x="586" y="64"/>
                </a:lnTo>
                <a:lnTo>
                  <a:pt x="575" y="54"/>
                </a:lnTo>
                <a:lnTo>
                  <a:pt x="564" y="45"/>
                </a:lnTo>
                <a:lnTo>
                  <a:pt x="553" y="37"/>
                </a:lnTo>
                <a:lnTo>
                  <a:pt x="539" y="30"/>
                </a:lnTo>
                <a:lnTo>
                  <a:pt x="515" y="21"/>
                </a:lnTo>
                <a:lnTo>
                  <a:pt x="492" y="15"/>
                </a:lnTo>
                <a:lnTo>
                  <a:pt x="469" y="9"/>
                </a:lnTo>
                <a:lnTo>
                  <a:pt x="445" y="5"/>
                </a:lnTo>
                <a:lnTo>
                  <a:pt x="421" y="2"/>
                </a:lnTo>
                <a:lnTo>
                  <a:pt x="368" y="0"/>
                </a:lnTo>
                <a:lnTo>
                  <a:pt x="268" y="0"/>
                </a:lnTo>
                <a:lnTo>
                  <a:pt x="215" y="2"/>
                </a:lnTo>
                <a:lnTo>
                  <a:pt x="191" y="5"/>
                </a:lnTo>
                <a:lnTo>
                  <a:pt x="166" y="9"/>
                </a:lnTo>
                <a:lnTo>
                  <a:pt x="144" y="15"/>
                </a:lnTo>
                <a:lnTo>
                  <a:pt x="120" y="21"/>
                </a:lnTo>
                <a:lnTo>
                  <a:pt x="97" y="30"/>
                </a:lnTo>
                <a:lnTo>
                  <a:pt x="84" y="37"/>
                </a:lnTo>
                <a:lnTo>
                  <a:pt x="71" y="45"/>
                </a:lnTo>
                <a:lnTo>
                  <a:pt x="60" y="54"/>
                </a:lnTo>
                <a:lnTo>
                  <a:pt x="50" y="64"/>
                </a:lnTo>
                <a:lnTo>
                  <a:pt x="42" y="75"/>
                </a:lnTo>
                <a:lnTo>
                  <a:pt x="34" y="88"/>
                </a:lnTo>
                <a:lnTo>
                  <a:pt x="27" y="100"/>
                </a:lnTo>
                <a:lnTo>
                  <a:pt x="22" y="114"/>
                </a:lnTo>
                <a:lnTo>
                  <a:pt x="17" y="127"/>
                </a:lnTo>
                <a:lnTo>
                  <a:pt x="13" y="142"/>
                </a:lnTo>
                <a:lnTo>
                  <a:pt x="9" y="156"/>
                </a:lnTo>
                <a:lnTo>
                  <a:pt x="6" y="170"/>
                </a:lnTo>
                <a:lnTo>
                  <a:pt x="2" y="200"/>
                </a:lnTo>
                <a:lnTo>
                  <a:pt x="0" y="228"/>
                </a:lnTo>
                <a:lnTo>
                  <a:pt x="0" y="242"/>
                </a:lnTo>
                <a:lnTo>
                  <a:pt x="226" y="242"/>
                </a:lnTo>
                <a:lnTo>
                  <a:pt x="409" y="242"/>
                </a:lnTo>
                <a:lnTo>
                  <a:pt x="636" y="242"/>
                </a:lnTo>
                <a:lnTo>
                  <a:pt x="636" y="228"/>
                </a:lnTo>
                <a:lnTo>
                  <a:pt x="634" y="2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94" name="Freeform 2266"/>
          <p:cNvSpPr>
            <a:spLocks/>
          </p:cNvSpPr>
          <p:nvPr/>
        </p:nvSpPr>
        <p:spPr bwMode="auto">
          <a:xfrm>
            <a:off x="6211890" y="5848351"/>
            <a:ext cx="87313" cy="84137"/>
          </a:xfrm>
          <a:custGeom>
            <a:avLst/>
            <a:gdLst>
              <a:gd name="T0" fmla="*/ 101 w 326"/>
              <a:gd name="T1" fmla="*/ 13 h 323"/>
              <a:gd name="T2" fmla="*/ 121 w 326"/>
              <a:gd name="T3" fmla="*/ 5 h 323"/>
              <a:gd name="T4" fmla="*/ 140 w 326"/>
              <a:gd name="T5" fmla="*/ 1 h 323"/>
              <a:gd name="T6" fmla="*/ 161 w 326"/>
              <a:gd name="T7" fmla="*/ 0 h 323"/>
              <a:gd name="T8" fmla="*/ 181 w 326"/>
              <a:gd name="T9" fmla="*/ 1 h 323"/>
              <a:gd name="T10" fmla="*/ 201 w 326"/>
              <a:gd name="T11" fmla="*/ 5 h 323"/>
              <a:gd name="T12" fmla="*/ 238 w 326"/>
              <a:gd name="T13" fmla="*/ 20 h 323"/>
              <a:gd name="T14" fmla="*/ 272 w 326"/>
              <a:gd name="T15" fmla="*/ 44 h 323"/>
              <a:gd name="T16" fmla="*/ 299 w 326"/>
              <a:gd name="T17" fmla="*/ 73 h 323"/>
              <a:gd name="T18" fmla="*/ 309 w 326"/>
              <a:gd name="T19" fmla="*/ 90 h 323"/>
              <a:gd name="T20" fmla="*/ 317 w 326"/>
              <a:gd name="T21" fmla="*/ 108 h 323"/>
              <a:gd name="T22" fmla="*/ 324 w 326"/>
              <a:gd name="T23" fmla="*/ 129 h 323"/>
              <a:gd name="T24" fmla="*/ 326 w 326"/>
              <a:gd name="T25" fmla="*/ 149 h 323"/>
              <a:gd name="T26" fmla="*/ 326 w 326"/>
              <a:gd name="T27" fmla="*/ 169 h 323"/>
              <a:gd name="T28" fmla="*/ 326 w 326"/>
              <a:gd name="T29" fmla="*/ 182 h 323"/>
              <a:gd name="T30" fmla="*/ 323 w 326"/>
              <a:gd name="T31" fmla="*/ 205 h 323"/>
              <a:gd name="T32" fmla="*/ 316 w 326"/>
              <a:gd name="T33" fmla="*/ 227 h 323"/>
              <a:gd name="T34" fmla="*/ 306 w 326"/>
              <a:gd name="T35" fmla="*/ 246 h 323"/>
              <a:gd name="T36" fmla="*/ 293 w 326"/>
              <a:gd name="T37" fmla="*/ 264 h 323"/>
              <a:gd name="T38" fmla="*/ 277 w 326"/>
              <a:gd name="T39" fmla="*/ 280 h 323"/>
              <a:gd name="T40" fmla="*/ 260 w 326"/>
              <a:gd name="T41" fmla="*/ 293 h 323"/>
              <a:gd name="T42" fmla="*/ 239 w 326"/>
              <a:gd name="T43" fmla="*/ 304 h 323"/>
              <a:gd name="T44" fmla="*/ 219 w 326"/>
              <a:gd name="T45" fmla="*/ 312 h 323"/>
              <a:gd name="T46" fmla="*/ 197 w 326"/>
              <a:gd name="T47" fmla="*/ 319 h 323"/>
              <a:gd name="T48" fmla="*/ 175 w 326"/>
              <a:gd name="T49" fmla="*/ 322 h 323"/>
              <a:gd name="T50" fmla="*/ 152 w 326"/>
              <a:gd name="T51" fmla="*/ 323 h 323"/>
              <a:gd name="T52" fmla="*/ 129 w 326"/>
              <a:gd name="T53" fmla="*/ 320 h 323"/>
              <a:gd name="T54" fmla="*/ 107 w 326"/>
              <a:gd name="T55" fmla="*/ 315 h 323"/>
              <a:gd name="T56" fmla="*/ 87 w 326"/>
              <a:gd name="T57" fmla="*/ 306 h 323"/>
              <a:gd name="T58" fmla="*/ 67 w 326"/>
              <a:gd name="T59" fmla="*/ 294 h 323"/>
              <a:gd name="T60" fmla="*/ 58 w 326"/>
              <a:gd name="T61" fmla="*/ 287 h 323"/>
              <a:gd name="T62" fmla="*/ 41 w 326"/>
              <a:gd name="T63" fmla="*/ 271 h 323"/>
              <a:gd name="T64" fmla="*/ 29 w 326"/>
              <a:gd name="T65" fmla="*/ 256 h 323"/>
              <a:gd name="T66" fmla="*/ 18 w 326"/>
              <a:gd name="T67" fmla="*/ 238 h 323"/>
              <a:gd name="T68" fmla="*/ 9 w 326"/>
              <a:gd name="T69" fmla="*/ 220 h 323"/>
              <a:gd name="T70" fmla="*/ 4 w 326"/>
              <a:gd name="T71" fmla="*/ 200 h 323"/>
              <a:gd name="T72" fmla="*/ 1 w 326"/>
              <a:gd name="T73" fmla="*/ 179 h 323"/>
              <a:gd name="T74" fmla="*/ 2 w 326"/>
              <a:gd name="T75" fmla="*/ 137 h 323"/>
              <a:gd name="T76" fmla="*/ 9 w 326"/>
              <a:gd name="T77" fmla="*/ 106 h 323"/>
              <a:gd name="T78" fmla="*/ 18 w 326"/>
              <a:gd name="T79" fmla="*/ 88 h 323"/>
              <a:gd name="T80" fmla="*/ 28 w 326"/>
              <a:gd name="T81" fmla="*/ 69 h 323"/>
              <a:gd name="T82" fmla="*/ 40 w 326"/>
              <a:gd name="T83" fmla="*/ 54 h 323"/>
              <a:gd name="T84" fmla="*/ 55 w 326"/>
              <a:gd name="T85" fmla="*/ 39 h 323"/>
              <a:gd name="T86" fmla="*/ 71 w 326"/>
              <a:gd name="T87" fmla="*/ 27 h 323"/>
              <a:gd name="T88" fmla="*/ 91 w 326"/>
              <a:gd name="T89" fmla="*/ 17 h 323"/>
              <a:gd name="T90" fmla="*/ 101 w 326"/>
              <a:gd name="T91" fmla="*/ 1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6" h="323">
                <a:moveTo>
                  <a:pt x="101" y="13"/>
                </a:moveTo>
                <a:lnTo>
                  <a:pt x="101" y="13"/>
                </a:lnTo>
                <a:lnTo>
                  <a:pt x="110" y="9"/>
                </a:lnTo>
                <a:lnTo>
                  <a:pt x="121" y="5"/>
                </a:lnTo>
                <a:lnTo>
                  <a:pt x="130" y="3"/>
                </a:lnTo>
                <a:lnTo>
                  <a:pt x="140" y="1"/>
                </a:lnTo>
                <a:lnTo>
                  <a:pt x="151" y="0"/>
                </a:lnTo>
                <a:lnTo>
                  <a:pt x="161" y="0"/>
                </a:lnTo>
                <a:lnTo>
                  <a:pt x="171" y="0"/>
                </a:lnTo>
                <a:lnTo>
                  <a:pt x="181" y="1"/>
                </a:lnTo>
                <a:lnTo>
                  <a:pt x="191" y="2"/>
                </a:lnTo>
                <a:lnTo>
                  <a:pt x="201" y="5"/>
                </a:lnTo>
                <a:lnTo>
                  <a:pt x="220" y="12"/>
                </a:lnTo>
                <a:lnTo>
                  <a:pt x="238" y="20"/>
                </a:lnTo>
                <a:lnTo>
                  <a:pt x="257" y="31"/>
                </a:lnTo>
                <a:lnTo>
                  <a:pt x="272" y="44"/>
                </a:lnTo>
                <a:lnTo>
                  <a:pt x="287" y="58"/>
                </a:lnTo>
                <a:lnTo>
                  <a:pt x="299" y="73"/>
                </a:lnTo>
                <a:lnTo>
                  <a:pt x="305" y="82"/>
                </a:lnTo>
                <a:lnTo>
                  <a:pt x="309" y="90"/>
                </a:lnTo>
                <a:lnTo>
                  <a:pt x="314" y="99"/>
                </a:lnTo>
                <a:lnTo>
                  <a:pt x="317" y="108"/>
                </a:lnTo>
                <a:lnTo>
                  <a:pt x="321" y="119"/>
                </a:lnTo>
                <a:lnTo>
                  <a:pt x="324" y="129"/>
                </a:lnTo>
                <a:lnTo>
                  <a:pt x="325" y="138"/>
                </a:lnTo>
                <a:lnTo>
                  <a:pt x="326" y="149"/>
                </a:lnTo>
                <a:lnTo>
                  <a:pt x="326" y="159"/>
                </a:lnTo>
                <a:lnTo>
                  <a:pt x="326" y="169"/>
                </a:lnTo>
                <a:lnTo>
                  <a:pt x="326" y="169"/>
                </a:lnTo>
                <a:lnTo>
                  <a:pt x="326" y="182"/>
                </a:lnTo>
                <a:lnTo>
                  <a:pt x="325" y="193"/>
                </a:lnTo>
                <a:lnTo>
                  <a:pt x="323" y="205"/>
                </a:lnTo>
                <a:lnTo>
                  <a:pt x="320" y="217"/>
                </a:lnTo>
                <a:lnTo>
                  <a:pt x="316" y="227"/>
                </a:lnTo>
                <a:lnTo>
                  <a:pt x="311" y="236"/>
                </a:lnTo>
                <a:lnTo>
                  <a:pt x="306" y="246"/>
                </a:lnTo>
                <a:lnTo>
                  <a:pt x="300" y="255"/>
                </a:lnTo>
                <a:lnTo>
                  <a:pt x="293" y="264"/>
                </a:lnTo>
                <a:lnTo>
                  <a:pt x="286" y="271"/>
                </a:lnTo>
                <a:lnTo>
                  <a:pt x="277" y="280"/>
                </a:lnTo>
                <a:lnTo>
                  <a:pt x="269" y="287"/>
                </a:lnTo>
                <a:lnTo>
                  <a:pt x="260" y="293"/>
                </a:lnTo>
                <a:lnTo>
                  <a:pt x="249" y="299"/>
                </a:lnTo>
                <a:lnTo>
                  <a:pt x="239" y="304"/>
                </a:lnTo>
                <a:lnTo>
                  <a:pt x="230" y="308"/>
                </a:lnTo>
                <a:lnTo>
                  <a:pt x="219" y="312"/>
                </a:lnTo>
                <a:lnTo>
                  <a:pt x="208" y="316"/>
                </a:lnTo>
                <a:lnTo>
                  <a:pt x="197" y="319"/>
                </a:lnTo>
                <a:lnTo>
                  <a:pt x="187" y="321"/>
                </a:lnTo>
                <a:lnTo>
                  <a:pt x="175" y="322"/>
                </a:lnTo>
                <a:lnTo>
                  <a:pt x="163" y="323"/>
                </a:lnTo>
                <a:lnTo>
                  <a:pt x="152" y="323"/>
                </a:lnTo>
                <a:lnTo>
                  <a:pt x="140" y="322"/>
                </a:lnTo>
                <a:lnTo>
                  <a:pt x="129" y="320"/>
                </a:lnTo>
                <a:lnTo>
                  <a:pt x="119" y="318"/>
                </a:lnTo>
                <a:lnTo>
                  <a:pt x="107" y="315"/>
                </a:lnTo>
                <a:lnTo>
                  <a:pt x="97" y="310"/>
                </a:lnTo>
                <a:lnTo>
                  <a:pt x="87" y="306"/>
                </a:lnTo>
                <a:lnTo>
                  <a:pt x="77" y="300"/>
                </a:lnTo>
                <a:lnTo>
                  <a:pt x="67" y="294"/>
                </a:lnTo>
                <a:lnTo>
                  <a:pt x="58" y="287"/>
                </a:lnTo>
                <a:lnTo>
                  <a:pt x="58" y="287"/>
                </a:lnTo>
                <a:lnTo>
                  <a:pt x="50" y="280"/>
                </a:lnTo>
                <a:lnTo>
                  <a:pt x="41" y="271"/>
                </a:lnTo>
                <a:lnTo>
                  <a:pt x="35" y="264"/>
                </a:lnTo>
                <a:lnTo>
                  <a:pt x="29" y="256"/>
                </a:lnTo>
                <a:lnTo>
                  <a:pt x="23" y="248"/>
                </a:lnTo>
                <a:lnTo>
                  <a:pt x="18" y="238"/>
                </a:lnTo>
                <a:lnTo>
                  <a:pt x="14" y="229"/>
                </a:lnTo>
                <a:lnTo>
                  <a:pt x="9" y="220"/>
                </a:lnTo>
                <a:lnTo>
                  <a:pt x="6" y="209"/>
                </a:lnTo>
                <a:lnTo>
                  <a:pt x="4" y="200"/>
                </a:lnTo>
                <a:lnTo>
                  <a:pt x="2" y="189"/>
                </a:lnTo>
                <a:lnTo>
                  <a:pt x="1" y="179"/>
                </a:lnTo>
                <a:lnTo>
                  <a:pt x="0" y="158"/>
                </a:lnTo>
                <a:lnTo>
                  <a:pt x="2" y="137"/>
                </a:lnTo>
                <a:lnTo>
                  <a:pt x="6" y="117"/>
                </a:lnTo>
                <a:lnTo>
                  <a:pt x="9" y="106"/>
                </a:lnTo>
                <a:lnTo>
                  <a:pt x="14" y="97"/>
                </a:lnTo>
                <a:lnTo>
                  <a:pt x="18" y="88"/>
                </a:lnTo>
                <a:lnTo>
                  <a:pt x="22" y="79"/>
                </a:lnTo>
                <a:lnTo>
                  <a:pt x="28" y="69"/>
                </a:lnTo>
                <a:lnTo>
                  <a:pt x="33" y="61"/>
                </a:lnTo>
                <a:lnTo>
                  <a:pt x="40" y="54"/>
                </a:lnTo>
                <a:lnTo>
                  <a:pt x="46" y="47"/>
                </a:lnTo>
                <a:lnTo>
                  <a:pt x="55" y="39"/>
                </a:lnTo>
                <a:lnTo>
                  <a:pt x="62" y="33"/>
                </a:lnTo>
                <a:lnTo>
                  <a:pt x="71" y="27"/>
                </a:lnTo>
                <a:lnTo>
                  <a:pt x="82" y="22"/>
                </a:lnTo>
                <a:lnTo>
                  <a:pt x="91" y="17"/>
                </a:lnTo>
                <a:lnTo>
                  <a:pt x="101" y="13"/>
                </a:lnTo>
                <a:lnTo>
                  <a:pt x="101" y="13"/>
                </a:lnTo>
                <a:lnTo>
                  <a:pt x="10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95" name="Freeform 2267"/>
          <p:cNvSpPr>
            <a:spLocks/>
          </p:cNvSpPr>
          <p:nvPr/>
        </p:nvSpPr>
        <p:spPr bwMode="auto">
          <a:xfrm>
            <a:off x="6172202" y="5948363"/>
            <a:ext cx="168275" cy="63500"/>
          </a:xfrm>
          <a:custGeom>
            <a:avLst/>
            <a:gdLst>
              <a:gd name="T0" fmla="*/ 634 w 636"/>
              <a:gd name="T1" fmla="*/ 200 h 242"/>
              <a:gd name="T2" fmla="*/ 630 w 636"/>
              <a:gd name="T3" fmla="*/ 170 h 242"/>
              <a:gd name="T4" fmla="*/ 628 w 636"/>
              <a:gd name="T5" fmla="*/ 156 h 242"/>
              <a:gd name="T6" fmla="*/ 623 w 636"/>
              <a:gd name="T7" fmla="*/ 142 h 242"/>
              <a:gd name="T8" fmla="*/ 619 w 636"/>
              <a:gd name="T9" fmla="*/ 127 h 242"/>
              <a:gd name="T10" fmla="*/ 614 w 636"/>
              <a:gd name="T11" fmla="*/ 114 h 242"/>
              <a:gd name="T12" fmla="*/ 609 w 636"/>
              <a:gd name="T13" fmla="*/ 100 h 242"/>
              <a:gd name="T14" fmla="*/ 602 w 636"/>
              <a:gd name="T15" fmla="*/ 88 h 242"/>
              <a:gd name="T16" fmla="*/ 595 w 636"/>
              <a:gd name="T17" fmla="*/ 75 h 242"/>
              <a:gd name="T18" fmla="*/ 586 w 636"/>
              <a:gd name="T19" fmla="*/ 64 h 242"/>
              <a:gd name="T20" fmla="*/ 575 w 636"/>
              <a:gd name="T21" fmla="*/ 54 h 242"/>
              <a:gd name="T22" fmla="*/ 564 w 636"/>
              <a:gd name="T23" fmla="*/ 45 h 242"/>
              <a:gd name="T24" fmla="*/ 552 w 636"/>
              <a:gd name="T25" fmla="*/ 37 h 242"/>
              <a:gd name="T26" fmla="*/ 539 w 636"/>
              <a:gd name="T27" fmla="*/ 30 h 242"/>
              <a:gd name="T28" fmla="*/ 516 w 636"/>
              <a:gd name="T29" fmla="*/ 21 h 242"/>
              <a:gd name="T30" fmla="*/ 492 w 636"/>
              <a:gd name="T31" fmla="*/ 15 h 242"/>
              <a:gd name="T32" fmla="*/ 469 w 636"/>
              <a:gd name="T33" fmla="*/ 9 h 242"/>
              <a:gd name="T34" fmla="*/ 445 w 636"/>
              <a:gd name="T35" fmla="*/ 5 h 242"/>
              <a:gd name="T36" fmla="*/ 422 w 636"/>
              <a:gd name="T37" fmla="*/ 2 h 242"/>
              <a:gd name="T38" fmla="*/ 368 w 636"/>
              <a:gd name="T39" fmla="*/ 0 h 242"/>
              <a:gd name="T40" fmla="*/ 268 w 636"/>
              <a:gd name="T41" fmla="*/ 0 h 242"/>
              <a:gd name="T42" fmla="*/ 214 w 636"/>
              <a:gd name="T43" fmla="*/ 2 h 242"/>
              <a:gd name="T44" fmla="*/ 191 w 636"/>
              <a:gd name="T45" fmla="*/ 5 h 242"/>
              <a:gd name="T46" fmla="*/ 167 w 636"/>
              <a:gd name="T47" fmla="*/ 9 h 242"/>
              <a:gd name="T48" fmla="*/ 144 w 636"/>
              <a:gd name="T49" fmla="*/ 15 h 242"/>
              <a:gd name="T50" fmla="*/ 120 w 636"/>
              <a:gd name="T51" fmla="*/ 21 h 242"/>
              <a:gd name="T52" fmla="*/ 97 w 636"/>
              <a:gd name="T53" fmla="*/ 30 h 242"/>
              <a:gd name="T54" fmla="*/ 83 w 636"/>
              <a:gd name="T55" fmla="*/ 37 h 242"/>
              <a:gd name="T56" fmla="*/ 72 w 636"/>
              <a:gd name="T57" fmla="*/ 45 h 242"/>
              <a:gd name="T58" fmla="*/ 61 w 636"/>
              <a:gd name="T59" fmla="*/ 54 h 242"/>
              <a:gd name="T60" fmla="*/ 50 w 636"/>
              <a:gd name="T61" fmla="*/ 64 h 242"/>
              <a:gd name="T62" fmla="*/ 41 w 636"/>
              <a:gd name="T63" fmla="*/ 75 h 242"/>
              <a:gd name="T64" fmla="*/ 34 w 636"/>
              <a:gd name="T65" fmla="*/ 88 h 242"/>
              <a:gd name="T66" fmla="*/ 27 w 636"/>
              <a:gd name="T67" fmla="*/ 100 h 242"/>
              <a:gd name="T68" fmla="*/ 22 w 636"/>
              <a:gd name="T69" fmla="*/ 114 h 242"/>
              <a:gd name="T70" fmla="*/ 17 w 636"/>
              <a:gd name="T71" fmla="*/ 127 h 242"/>
              <a:gd name="T72" fmla="*/ 13 w 636"/>
              <a:gd name="T73" fmla="*/ 142 h 242"/>
              <a:gd name="T74" fmla="*/ 8 w 636"/>
              <a:gd name="T75" fmla="*/ 156 h 242"/>
              <a:gd name="T76" fmla="*/ 6 w 636"/>
              <a:gd name="T77" fmla="*/ 170 h 242"/>
              <a:gd name="T78" fmla="*/ 2 w 636"/>
              <a:gd name="T79" fmla="*/ 200 h 242"/>
              <a:gd name="T80" fmla="*/ 0 w 636"/>
              <a:gd name="T81" fmla="*/ 228 h 242"/>
              <a:gd name="T82" fmla="*/ 0 w 636"/>
              <a:gd name="T83" fmla="*/ 242 h 242"/>
              <a:gd name="T84" fmla="*/ 226 w 636"/>
              <a:gd name="T85" fmla="*/ 242 h 242"/>
              <a:gd name="T86" fmla="*/ 410 w 636"/>
              <a:gd name="T87" fmla="*/ 242 h 242"/>
              <a:gd name="T88" fmla="*/ 636 w 636"/>
              <a:gd name="T89" fmla="*/ 242 h 242"/>
              <a:gd name="T90" fmla="*/ 636 w 636"/>
              <a:gd name="T91" fmla="*/ 228 h 242"/>
              <a:gd name="T92" fmla="*/ 634 w 636"/>
              <a:gd name="T93" fmla="*/ 2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36" h="242">
                <a:moveTo>
                  <a:pt x="634" y="200"/>
                </a:moveTo>
                <a:lnTo>
                  <a:pt x="630" y="170"/>
                </a:lnTo>
                <a:lnTo>
                  <a:pt x="628" y="156"/>
                </a:lnTo>
                <a:lnTo>
                  <a:pt x="623" y="142"/>
                </a:lnTo>
                <a:lnTo>
                  <a:pt x="619" y="127"/>
                </a:lnTo>
                <a:lnTo>
                  <a:pt x="614" y="114"/>
                </a:lnTo>
                <a:lnTo>
                  <a:pt x="609" y="100"/>
                </a:lnTo>
                <a:lnTo>
                  <a:pt x="602" y="88"/>
                </a:lnTo>
                <a:lnTo>
                  <a:pt x="595" y="75"/>
                </a:lnTo>
                <a:lnTo>
                  <a:pt x="586" y="64"/>
                </a:lnTo>
                <a:lnTo>
                  <a:pt x="575" y="54"/>
                </a:lnTo>
                <a:lnTo>
                  <a:pt x="564" y="45"/>
                </a:lnTo>
                <a:lnTo>
                  <a:pt x="552" y="37"/>
                </a:lnTo>
                <a:lnTo>
                  <a:pt x="539" y="30"/>
                </a:lnTo>
                <a:lnTo>
                  <a:pt x="516" y="21"/>
                </a:lnTo>
                <a:lnTo>
                  <a:pt x="492" y="15"/>
                </a:lnTo>
                <a:lnTo>
                  <a:pt x="469" y="9"/>
                </a:lnTo>
                <a:lnTo>
                  <a:pt x="445" y="5"/>
                </a:lnTo>
                <a:lnTo>
                  <a:pt x="422" y="2"/>
                </a:lnTo>
                <a:lnTo>
                  <a:pt x="368" y="0"/>
                </a:lnTo>
                <a:lnTo>
                  <a:pt x="268" y="0"/>
                </a:lnTo>
                <a:lnTo>
                  <a:pt x="214" y="2"/>
                </a:lnTo>
                <a:lnTo>
                  <a:pt x="191" y="5"/>
                </a:lnTo>
                <a:lnTo>
                  <a:pt x="167" y="9"/>
                </a:lnTo>
                <a:lnTo>
                  <a:pt x="144" y="15"/>
                </a:lnTo>
                <a:lnTo>
                  <a:pt x="120" y="21"/>
                </a:lnTo>
                <a:lnTo>
                  <a:pt x="97" y="30"/>
                </a:lnTo>
                <a:lnTo>
                  <a:pt x="83" y="37"/>
                </a:lnTo>
                <a:lnTo>
                  <a:pt x="72" y="45"/>
                </a:lnTo>
                <a:lnTo>
                  <a:pt x="61" y="54"/>
                </a:lnTo>
                <a:lnTo>
                  <a:pt x="50" y="64"/>
                </a:lnTo>
                <a:lnTo>
                  <a:pt x="41" y="75"/>
                </a:lnTo>
                <a:lnTo>
                  <a:pt x="34" y="88"/>
                </a:lnTo>
                <a:lnTo>
                  <a:pt x="27" y="100"/>
                </a:lnTo>
                <a:lnTo>
                  <a:pt x="22" y="114"/>
                </a:lnTo>
                <a:lnTo>
                  <a:pt x="17" y="127"/>
                </a:lnTo>
                <a:lnTo>
                  <a:pt x="13" y="142"/>
                </a:lnTo>
                <a:lnTo>
                  <a:pt x="8" y="156"/>
                </a:lnTo>
                <a:lnTo>
                  <a:pt x="6" y="170"/>
                </a:lnTo>
                <a:lnTo>
                  <a:pt x="2" y="200"/>
                </a:lnTo>
                <a:lnTo>
                  <a:pt x="0" y="228"/>
                </a:lnTo>
                <a:lnTo>
                  <a:pt x="0" y="242"/>
                </a:lnTo>
                <a:lnTo>
                  <a:pt x="226" y="242"/>
                </a:lnTo>
                <a:lnTo>
                  <a:pt x="410" y="242"/>
                </a:lnTo>
                <a:lnTo>
                  <a:pt x="636" y="242"/>
                </a:lnTo>
                <a:lnTo>
                  <a:pt x="636" y="228"/>
                </a:lnTo>
                <a:lnTo>
                  <a:pt x="634" y="2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96" name="Freeform 2268"/>
          <p:cNvSpPr>
            <a:spLocks noEditPoints="1"/>
          </p:cNvSpPr>
          <p:nvPr/>
        </p:nvSpPr>
        <p:spPr bwMode="auto">
          <a:xfrm>
            <a:off x="5130801" y="5645150"/>
            <a:ext cx="1720850" cy="508000"/>
          </a:xfrm>
          <a:custGeom>
            <a:avLst/>
            <a:gdLst>
              <a:gd name="T0" fmla="*/ 1606 w 6505"/>
              <a:gd name="T1" fmla="*/ 7 h 1915"/>
              <a:gd name="T2" fmla="*/ 1447 w 6505"/>
              <a:gd name="T3" fmla="*/ 56 h 1915"/>
              <a:gd name="T4" fmla="*/ 1312 w 6505"/>
              <a:gd name="T5" fmla="*/ 139 h 1915"/>
              <a:gd name="T6" fmla="*/ 1151 w 6505"/>
              <a:gd name="T7" fmla="*/ 294 h 1915"/>
              <a:gd name="T8" fmla="*/ 869 w 6505"/>
              <a:gd name="T9" fmla="*/ 657 h 1915"/>
              <a:gd name="T10" fmla="*/ 249 w 6505"/>
              <a:gd name="T11" fmla="*/ 1502 h 1915"/>
              <a:gd name="T12" fmla="*/ 29 w 6505"/>
              <a:gd name="T13" fmla="*/ 1847 h 1915"/>
              <a:gd name="T14" fmla="*/ 2673 w 6505"/>
              <a:gd name="T15" fmla="*/ 1315 h 1915"/>
              <a:gd name="T16" fmla="*/ 2648 w 6505"/>
              <a:gd name="T17" fmla="*/ 1408 h 1915"/>
              <a:gd name="T18" fmla="*/ 2570 w 6505"/>
              <a:gd name="T19" fmla="*/ 1485 h 1915"/>
              <a:gd name="T20" fmla="*/ 1036 w 6505"/>
              <a:gd name="T21" fmla="*/ 1509 h 1915"/>
              <a:gd name="T22" fmla="*/ 958 w 6505"/>
              <a:gd name="T23" fmla="*/ 1502 h 1915"/>
              <a:gd name="T24" fmla="*/ 893 w 6505"/>
              <a:gd name="T25" fmla="*/ 1475 h 1915"/>
              <a:gd name="T26" fmla="*/ 855 w 6505"/>
              <a:gd name="T27" fmla="*/ 1437 h 1915"/>
              <a:gd name="T28" fmla="*/ 837 w 6505"/>
              <a:gd name="T29" fmla="*/ 1348 h 1915"/>
              <a:gd name="T30" fmla="*/ 861 w 6505"/>
              <a:gd name="T31" fmla="*/ 1275 h 1915"/>
              <a:gd name="T32" fmla="*/ 1151 w 6505"/>
              <a:gd name="T33" fmla="*/ 874 h 1915"/>
              <a:gd name="T34" fmla="*/ 1537 w 6505"/>
              <a:gd name="T35" fmla="*/ 380 h 1915"/>
              <a:gd name="T36" fmla="*/ 1628 w 6505"/>
              <a:gd name="T37" fmla="*/ 293 h 1915"/>
              <a:gd name="T38" fmla="*/ 1719 w 6505"/>
              <a:gd name="T39" fmla="*/ 254 h 1915"/>
              <a:gd name="T40" fmla="*/ 2543 w 6505"/>
              <a:gd name="T41" fmla="*/ 257 h 1915"/>
              <a:gd name="T42" fmla="*/ 2641 w 6505"/>
              <a:gd name="T43" fmla="*/ 309 h 1915"/>
              <a:gd name="T44" fmla="*/ 2694 w 6505"/>
              <a:gd name="T45" fmla="*/ 408 h 1915"/>
              <a:gd name="T46" fmla="*/ 4764 w 6505"/>
              <a:gd name="T47" fmla="*/ 1266 h 1915"/>
              <a:gd name="T48" fmla="*/ 4719 w 6505"/>
              <a:gd name="T49" fmla="*/ 1408 h 1915"/>
              <a:gd name="T50" fmla="*/ 4631 w 6505"/>
              <a:gd name="T51" fmla="*/ 1488 h 1915"/>
              <a:gd name="T52" fmla="*/ 4571 w 6505"/>
              <a:gd name="T53" fmla="*/ 1504 h 1915"/>
              <a:gd name="T54" fmla="*/ 3958 w 6505"/>
              <a:gd name="T55" fmla="*/ 1501 h 1915"/>
              <a:gd name="T56" fmla="*/ 3891 w 6505"/>
              <a:gd name="T57" fmla="*/ 1472 h 1915"/>
              <a:gd name="T58" fmla="*/ 3809 w 6505"/>
              <a:gd name="T59" fmla="*/ 1365 h 1915"/>
              <a:gd name="T60" fmla="*/ 3785 w 6505"/>
              <a:gd name="T61" fmla="*/ 498 h 1915"/>
              <a:gd name="T62" fmla="*/ 3809 w 6505"/>
              <a:gd name="T63" fmla="*/ 372 h 1915"/>
              <a:gd name="T64" fmla="*/ 3891 w 6505"/>
              <a:gd name="T65" fmla="*/ 266 h 1915"/>
              <a:gd name="T66" fmla="*/ 3958 w 6505"/>
              <a:gd name="T67" fmla="*/ 236 h 1915"/>
              <a:gd name="T68" fmla="*/ 4571 w 6505"/>
              <a:gd name="T69" fmla="*/ 234 h 1915"/>
              <a:gd name="T70" fmla="*/ 4631 w 6505"/>
              <a:gd name="T71" fmla="*/ 249 h 1915"/>
              <a:gd name="T72" fmla="*/ 4719 w 6505"/>
              <a:gd name="T73" fmla="*/ 330 h 1915"/>
              <a:gd name="T74" fmla="*/ 4764 w 6505"/>
              <a:gd name="T75" fmla="*/ 471 h 1915"/>
              <a:gd name="T76" fmla="*/ 5564 w 6505"/>
              <a:gd name="T77" fmla="*/ 1504 h 1915"/>
              <a:gd name="T78" fmla="*/ 5505 w 6505"/>
              <a:gd name="T79" fmla="*/ 1488 h 1915"/>
              <a:gd name="T80" fmla="*/ 5418 w 6505"/>
              <a:gd name="T81" fmla="*/ 1408 h 1915"/>
              <a:gd name="T82" fmla="*/ 5372 w 6505"/>
              <a:gd name="T83" fmla="*/ 1266 h 1915"/>
              <a:gd name="T84" fmla="*/ 5380 w 6505"/>
              <a:gd name="T85" fmla="*/ 419 h 1915"/>
              <a:gd name="T86" fmla="*/ 5445 w 6505"/>
              <a:gd name="T87" fmla="*/ 294 h 1915"/>
              <a:gd name="T88" fmla="*/ 5524 w 6505"/>
              <a:gd name="T89" fmla="*/ 242 h 1915"/>
              <a:gd name="T90" fmla="*/ 6147 w 6505"/>
              <a:gd name="T91" fmla="*/ 233 h 1915"/>
              <a:gd name="T92" fmla="*/ 6198 w 6505"/>
              <a:gd name="T93" fmla="*/ 242 h 1915"/>
              <a:gd name="T94" fmla="*/ 6276 w 6505"/>
              <a:gd name="T95" fmla="*/ 294 h 1915"/>
              <a:gd name="T96" fmla="*/ 6342 w 6505"/>
              <a:gd name="T97" fmla="*/ 419 h 1915"/>
              <a:gd name="T98" fmla="*/ 6350 w 6505"/>
              <a:gd name="T99" fmla="*/ 1266 h 1915"/>
              <a:gd name="T100" fmla="*/ 6305 w 6505"/>
              <a:gd name="T101" fmla="*/ 1408 h 1915"/>
              <a:gd name="T102" fmla="*/ 6217 w 6505"/>
              <a:gd name="T103" fmla="*/ 1488 h 1915"/>
              <a:gd name="T104" fmla="*/ 6157 w 6505"/>
              <a:gd name="T105" fmla="*/ 1504 h 1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505" h="1915">
                <a:moveTo>
                  <a:pt x="6505" y="0"/>
                </a:moveTo>
                <a:lnTo>
                  <a:pt x="1693" y="0"/>
                </a:lnTo>
                <a:lnTo>
                  <a:pt x="1693" y="0"/>
                </a:lnTo>
                <a:lnTo>
                  <a:pt x="1664" y="1"/>
                </a:lnTo>
                <a:lnTo>
                  <a:pt x="1635" y="3"/>
                </a:lnTo>
                <a:lnTo>
                  <a:pt x="1606" y="7"/>
                </a:lnTo>
                <a:lnTo>
                  <a:pt x="1577" y="12"/>
                </a:lnTo>
                <a:lnTo>
                  <a:pt x="1550" y="19"/>
                </a:lnTo>
                <a:lnTo>
                  <a:pt x="1524" y="26"/>
                </a:lnTo>
                <a:lnTo>
                  <a:pt x="1497" y="35"/>
                </a:lnTo>
                <a:lnTo>
                  <a:pt x="1472" y="45"/>
                </a:lnTo>
                <a:lnTo>
                  <a:pt x="1447" y="56"/>
                </a:lnTo>
                <a:lnTo>
                  <a:pt x="1422" y="68"/>
                </a:lnTo>
                <a:lnTo>
                  <a:pt x="1399" y="81"/>
                </a:lnTo>
                <a:lnTo>
                  <a:pt x="1377" y="95"/>
                </a:lnTo>
                <a:lnTo>
                  <a:pt x="1355" y="109"/>
                </a:lnTo>
                <a:lnTo>
                  <a:pt x="1332" y="124"/>
                </a:lnTo>
                <a:lnTo>
                  <a:pt x="1312" y="139"/>
                </a:lnTo>
                <a:lnTo>
                  <a:pt x="1291" y="155"/>
                </a:lnTo>
                <a:lnTo>
                  <a:pt x="1272" y="172"/>
                </a:lnTo>
                <a:lnTo>
                  <a:pt x="1253" y="189"/>
                </a:lnTo>
                <a:lnTo>
                  <a:pt x="1216" y="223"/>
                </a:lnTo>
                <a:lnTo>
                  <a:pt x="1183" y="259"/>
                </a:lnTo>
                <a:lnTo>
                  <a:pt x="1151" y="294"/>
                </a:lnTo>
                <a:lnTo>
                  <a:pt x="1122" y="328"/>
                </a:lnTo>
                <a:lnTo>
                  <a:pt x="1095" y="362"/>
                </a:lnTo>
                <a:lnTo>
                  <a:pt x="1048" y="421"/>
                </a:lnTo>
                <a:lnTo>
                  <a:pt x="1027" y="450"/>
                </a:lnTo>
                <a:lnTo>
                  <a:pt x="1027" y="450"/>
                </a:lnTo>
                <a:lnTo>
                  <a:pt x="869" y="657"/>
                </a:lnTo>
                <a:lnTo>
                  <a:pt x="729" y="844"/>
                </a:lnTo>
                <a:lnTo>
                  <a:pt x="604" y="1011"/>
                </a:lnTo>
                <a:lnTo>
                  <a:pt x="495" y="1159"/>
                </a:lnTo>
                <a:lnTo>
                  <a:pt x="401" y="1289"/>
                </a:lnTo>
                <a:lnTo>
                  <a:pt x="319" y="1403"/>
                </a:lnTo>
                <a:lnTo>
                  <a:pt x="249" y="1502"/>
                </a:lnTo>
                <a:lnTo>
                  <a:pt x="190" y="1587"/>
                </a:lnTo>
                <a:lnTo>
                  <a:pt x="142" y="1659"/>
                </a:lnTo>
                <a:lnTo>
                  <a:pt x="102" y="1720"/>
                </a:lnTo>
                <a:lnTo>
                  <a:pt x="71" y="1771"/>
                </a:lnTo>
                <a:lnTo>
                  <a:pt x="47" y="1813"/>
                </a:lnTo>
                <a:lnTo>
                  <a:pt x="29" y="1847"/>
                </a:lnTo>
                <a:lnTo>
                  <a:pt x="15" y="1875"/>
                </a:lnTo>
                <a:lnTo>
                  <a:pt x="6" y="1897"/>
                </a:lnTo>
                <a:lnTo>
                  <a:pt x="0" y="1915"/>
                </a:lnTo>
                <a:lnTo>
                  <a:pt x="6505" y="1915"/>
                </a:lnTo>
                <a:lnTo>
                  <a:pt x="6505" y="0"/>
                </a:lnTo>
                <a:close/>
                <a:moveTo>
                  <a:pt x="2673" y="1315"/>
                </a:moveTo>
                <a:lnTo>
                  <a:pt x="2673" y="1315"/>
                </a:lnTo>
                <a:lnTo>
                  <a:pt x="2672" y="1335"/>
                </a:lnTo>
                <a:lnTo>
                  <a:pt x="2669" y="1354"/>
                </a:lnTo>
                <a:lnTo>
                  <a:pt x="2663" y="1372"/>
                </a:lnTo>
                <a:lnTo>
                  <a:pt x="2656" y="1390"/>
                </a:lnTo>
                <a:lnTo>
                  <a:pt x="2648" y="1408"/>
                </a:lnTo>
                <a:lnTo>
                  <a:pt x="2639" y="1423"/>
                </a:lnTo>
                <a:lnTo>
                  <a:pt x="2628" y="1438"/>
                </a:lnTo>
                <a:lnTo>
                  <a:pt x="2615" y="1452"/>
                </a:lnTo>
                <a:lnTo>
                  <a:pt x="2602" y="1464"/>
                </a:lnTo>
                <a:lnTo>
                  <a:pt x="2587" y="1475"/>
                </a:lnTo>
                <a:lnTo>
                  <a:pt x="2570" y="1485"/>
                </a:lnTo>
                <a:lnTo>
                  <a:pt x="2553" y="1494"/>
                </a:lnTo>
                <a:lnTo>
                  <a:pt x="2535" y="1500"/>
                </a:lnTo>
                <a:lnTo>
                  <a:pt x="2517" y="1505"/>
                </a:lnTo>
                <a:lnTo>
                  <a:pt x="2498" y="1508"/>
                </a:lnTo>
                <a:lnTo>
                  <a:pt x="2477" y="1509"/>
                </a:lnTo>
                <a:lnTo>
                  <a:pt x="1036" y="1509"/>
                </a:lnTo>
                <a:lnTo>
                  <a:pt x="1036" y="1509"/>
                </a:lnTo>
                <a:lnTo>
                  <a:pt x="1019" y="1509"/>
                </a:lnTo>
                <a:lnTo>
                  <a:pt x="1002" y="1508"/>
                </a:lnTo>
                <a:lnTo>
                  <a:pt x="986" y="1506"/>
                </a:lnTo>
                <a:lnTo>
                  <a:pt x="971" y="1504"/>
                </a:lnTo>
                <a:lnTo>
                  <a:pt x="958" y="1502"/>
                </a:lnTo>
                <a:lnTo>
                  <a:pt x="945" y="1499"/>
                </a:lnTo>
                <a:lnTo>
                  <a:pt x="933" y="1495"/>
                </a:lnTo>
                <a:lnTo>
                  <a:pt x="922" y="1491"/>
                </a:lnTo>
                <a:lnTo>
                  <a:pt x="912" y="1486"/>
                </a:lnTo>
                <a:lnTo>
                  <a:pt x="902" y="1481"/>
                </a:lnTo>
                <a:lnTo>
                  <a:pt x="893" y="1475"/>
                </a:lnTo>
                <a:lnTo>
                  <a:pt x="885" y="1470"/>
                </a:lnTo>
                <a:lnTo>
                  <a:pt x="877" y="1464"/>
                </a:lnTo>
                <a:lnTo>
                  <a:pt x="871" y="1457"/>
                </a:lnTo>
                <a:lnTo>
                  <a:pt x="865" y="1451"/>
                </a:lnTo>
                <a:lnTo>
                  <a:pt x="859" y="1444"/>
                </a:lnTo>
                <a:lnTo>
                  <a:pt x="855" y="1437"/>
                </a:lnTo>
                <a:lnTo>
                  <a:pt x="850" y="1430"/>
                </a:lnTo>
                <a:lnTo>
                  <a:pt x="844" y="1414"/>
                </a:lnTo>
                <a:lnTo>
                  <a:pt x="839" y="1397"/>
                </a:lnTo>
                <a:lnTo>
                  <a:pt x="837" y="1381"/>
                </a:lnTo>
                <a:lnTo>
                  <a:pt x="836" y="1364"/>
                </a:lnTo>
                <a:lnTo>
                  <a:pt x="837" y="1348"/>
                </a:lnTo>
                <a:lnTo>
                  <a:pt x="839" y="1331"/>
                </a:lnTo>
                <a:lnTo>
                  <a:pt x="842" y="1315"/>
                </a:lnTo>
                <a:lnTo>
                  <a:pt x="842" y="1315"/>
                </a:lnTo>
                <a:lnTo>
                  <a:pt x="845" y="1304"/>
                </a:lnTo>
                <a:lnTo>
                  <a:pt x="852" y="1291"/>
                </a:lnTo>
                <a:lnTo>
                  <a:pt x="861" y="1275"/>
                </a:lnTo>
                <a:lnTo>
                  <a:pt x="873" y="1255"/>
                </a:lnTo>
                <a:lnTo>
                  <a:pt x="904" y="1208"/>
                </a:lnTo>
                <a:lnTo>
                  <a:pt x="943" y="1152"/>
                </a:lnTo>
                <a:lnTo>
                  <a:pt x="990" y="1089"/>
                </a:lnTo>
                <a:lnTo>
                  <a:pt x="1040" y="1020"/>
                </a:lnTo>
                <a:lnTo>
                  <a:pt x="1151" y="874"/>
                </a:lnTo>
                <a:lnTo>
                  <a:pt x="1265" y="728"/>
                </a:lnTo>
                <a:lnTo>
                  <a:pt x="1367" y="597"/>
                </a:lnTo>
                <a:lnTo>
                  <a:pt x="1489" y="442"/>
                </a:lnTo>
                <a:lnTo>
                  <a:pt x="1489" y="442"/>
                </a:lnTo>
                <a:lnTo>
                  <a:pt x="1511" y="412"/>
                </a:lnTo>
                <a:lnTo>
                  <a:pt x="1537" y="380"/>
                </a:lnTo>
                <a:lnTo>
                  <a:pt x="1551" y="365"/>
                </a:lnTo>
                <a:lnTo>
                  <a:pt x="1565" y="349"/>
                </a:lnTo>
                <a:lnTo>
                  <a:pt x="1580" y="333"/>
                </a:lnTo>
                <a:lnTo>
                  <a:pt x="1595" y="319"/>
                </a:lnTo>
                <a:lnTo>
                  <a:pt x="1612" y="305"/>
                </a:lnTo>
                <a:lnTo>
                  <a:pt x="1628" y="293"/>
                </a:lnTo>
                <a:lnTo>
                  <a:pt x="1645" y="281"/>
                </a:lnTo>
                <a:lnTo>
                  <a:pt x="1662" y="272"/>
                </a:lnTo>
                <a:lnTo>
                  <a:pt x="1681" y="264"/>
                </a:lnTo>
                <a:lnTo>
                  <a:pt x="1700" y="258"/>
                </a:lnTo>
                <a:lnTo>
                  <a:pt x="1710" y="256"/>
                </a:lnTo>
                <a:lnTo>
                  <a:pt x="1719" y="254"/>
                </a:lnTo>
                <a:lnTo>
                  <a:pt x="1729" y="252"/>
                </a:lnTo>
                <a:lnTo>
                  <a:pt x="1739" y="252"/>
                </a:lnTo>
                <a:lnTo>
                  <a:pt x="2504" y="252"/>
                </a:lnTo>
                <a:lnTo>
                  <a:pt x="2504" y="252"/>
                </a:lnTo>
                <a:lnTo>
                  <a:pt x="2523" y="254"/>
                </a:lnTo>
                <a:lnTo>
                  <a:pt x="2543" y="257"/>
                </a:lnTo>
                <a:lnTo>
                  <a:pt x="2561" y="262"/>
                </a:lnTo>
                <a:lnTo>
                  <a:pt x="2580" y="268"/>
                </a:lnTo>
                <a:lnTo>
                  <a:pt x="2597" y="276"/>
                </a:lnTo>
                <a:lnTo>
                  <a:pt x="2612" y="286"/>
                </a:lnTo>
                <a:lnTo>
                  <a:pt x="2627" y="297"/>
                </a:lnTo>
                <a:lnTo>
                  <a:pt x="2641" y="309"/>
                </a:lnTo>
                <a:lnTo>
                  <a:pt x="2653" y="323"/>
                </a:lnTo>
                <a:lnTo>
                  <a:pt x="2664" y="338"/>
                </a:lnTo>
                <a:lnTo>
                  <a:pt x="2675" y="355"/>
                </a:lnTo>
                <a:lnTo>
                  <a:pt x="2683" y="372"/>
                </a:lnTo>
                <a:lnTo>
                  <a:pt x="2690" y="389"/>
                </a:lnTo>
                <a:lnTo>
                  <a:pt x="2694" y="408"/>
                </a:lnTo>
                <a:lnTo>
                  <a:pt x="2697" y="427"/>
                </a:lnTo>
                <a:lnTo>
                  <a:pt x="2698" y="447"/>
                </a:lnTo>
                <a:lnTo>
                  <a:pt x="2673" y="1315"/>
                </a:lnTo>
                <a:close/>
                <a:moveTo>
                  <a:pt x="4765" y="1240"/>
                </a:moveTo>
                <a:lnTo>
                  <a:pt x="4765" y="1240"/>
                </a:lnTo>
                <a:lnTo>
                  <a:pt x="4764" y="1266"/>
                </a:lnTo>
                <a:lnTo>
                  <a:pt x="4761" y="1292"/>
                </a:lnTo>
                <a:lnTo>
                  <a:pt x="4756" y="1318"/>
                </a:lnTo>
                <a:lnTo>
                  <a:pt x="4749" y="1343"/>
                </a:lnTo>
                <a:lnTo>
                  <a:pt x="4740" y="1365"/>
                </a:lnTo>
                <a:lnTo>
                  <a:pt x="4730" y="1387"/>
                </a:lnTo>
                <a:lnTo>
                  <a:pt x="4719" y="1408"/>
                </a:lnTo>
                <a:lnTo>
                  <a:pt x="4706" y="1427"/>
                </a:lnTo>
                <a:lnTo>
                  <a:pt x="4690" y="1444"/>
                </a:lnTo>
                <a:lnTo>
                  <a:pt x="4675" y="1459"/>
                </a:lnTo>
                <a:lnTo>
                  <a:pt x="4658" y="1472"/>
                </a:lnTo>
                <a:lnTo>
                  <a:pt x="4640" y="1483"/>
                </a:lnTo>
                <a:lnTo>
                  <a:pt x="4631" y="1488"/>
                </a:lnTo>
                <a:lnTo>
                  <a:pt x="4622" y="1493"/>
                </a:lnTo>
                <a:lnTo>
                  <a:pt x="4612" y="1496"/>
                </a:lnTo>
                <a:lnTo>
                  <a:pt x="4601" y="1499"/>
                </a:lnTo>
                <a:lnTo>
                  <a:pt x="4591" y="1501"/>
                </a:lnTo>
                <a:lnTo>
                  <a:pt x="4581" y="1503"/>
                </a:lnTo>
                <a:lnTo>
                  <a:pt x="4571" y="1504"/>
                </a:lnTo>
                <a:lnTo>
                  <a:pt x="4561" y="1504"/>
                </a:lnTo>
                <a:lnTo>
                  <a:pt x="3990" y="1504"/>
                </a:lnTo>
                <a:lnTo>
                  <a:pt x="3990" y="1504"/>
                </a:lnTo>
                <a:lnTo>
                  <a:pt x="3978" y="1504"/>
                </a:lnTo>
                <a:lnTo>
                  <a:pt x="3968" y="1503"/>
                </a:lnTo>
                <a:lnTo>
                  <a:pt x="3958" y="1501"/>
                </a:lnTo>
                <a:lnTo>
                  <a:pt x="3948" y="1499"/>
                </a:lnTo>
                <a:lnTo>
                  <a:pt x="3938" y="1496"/>
                </a:lnTo>
                <a:lnTo>
                  <a:pt x="3929" y="1493"/>
                </a:lnTo>
                <a:lnTo>
                  <a:pt x="3919" y="1488"/>
                </a:lnTo>
                <a:lnTo>
                  <a:pt x="3910" y="1483"/>
                </a:lnTo>
                <a:lnTo>
                  <a:pt x="3891" y="1472"/>
                </a:lnTo>
                <a:lnTo>
                  <a:pt x="3875" y="1459"/>
                </a:lnTo>
                <a:lnTo>
                  <a:pt x="3859" y="1444"/>
                </a:lnTo>
                <a:lnTo>
                  <a:pt x="3845" y="1427"/>
                </a:lnTo>
                <a:lnTo>
                  <a:pt x="3832" y="1408"/>
                </a:lnTo>
                <a:lnTo>
                  <a:pt x="3820" y="1387"/>
                </a:lnTo>
                <a:lnTo>
                  <a:pt x="3809" y="1365"/>
                </a:lnTo>
                <a:lnTo>
                  <a:pt x="3800" y="1343"/>
                </a:lnTo>
                <a:lnTo>
                  <a:pt x="3794" y="1318"/>
                </a:lnTo>
                <a:lnTo>
                  <a:pt x="3789" y="1292"/>
                </a:lnTo>
                <a:lnTo>
                  <a:pt x="3786" y="1266"/>
                </a:lnTo>
                <a:lnTo>
                  <a:pt x="3785" y="1240"/>
                </a:lnTo>
                <a:lnTo>
                  <a:pt x="3785" y="498"/>
                </a:lnTo>
                <a:lnTo>
                  <a:pt x="3785" y="498"/>
                </a:lnTo>
                <a:lnTo>
                  <a:pt x="3786" y="471"/>
                </a:lnTo>
                <a:lnTo>
                  <a:pt x="3789" y="445"/>
                </a:lnTo>
                <a:lnTo>
                  <a:pt x="3794" y="419"/>
                </a:lnTo>
                <a:lnTo>
                  <a:pt x="3800" y="395"/>
                </a:lnTo>
                <a:lnTo>
                  <a:pt x="3809" y="372"/>
                </a:lnTo>
                <a:lnTo>
                  <a:pt x="3820" y="351"/>
                </a:lnTo>
                <a:lnTo>
                  <a:pt x="3832" y="330"/>
                </a:lnTo>
                <a:lnTo>
                  <a:pt x="3845" y="311"/>
                </a:lnTo>
                <a:lnTo>
                  <a:pt x="3859" y="294"/>
                </a:lnTo>
                <a:lnTo>
                  <a:pt x="3875" y="279"/>
                </a:lnTo>
                <a:lnTo>
                  <a:pt x="3891" y="266"/>
                </a:lnTo>
                <a:lnTo>
                  <a:pt x="3910" y="255"/>
                </a:lnTo>
                <a:lnTo>
                  <a:pt x="3919" y="249"/>
                </a:lnTo>
                <a:lnTo>
                  <a:pt x="3929" y="245"/>
                </a:lnTo>
                <a:lnTo>
                  <a:pt x="3938" y="242"/>
                </a:lnTo>
                <a:lnTo>
                  <a:pt x="3948" y="239"/>
                </a:lnTo>
                <a:lnTo>
                  <a:pt x="3958" y="236"/>
                </a:lnTo>
                <a:lnTo>
                  <a:pt x="3968" y="235"/>
                </a:lnTo>
                <a:lnTo>
                  <a:pt x="3978" y="234"/>
                </a:lnTo>
                <a:lnTo>
                  <a:pt x="3990" y="233"/>
                </a:lnTo>
                <a:lnTo>
                  <a:pt x="4561" y="233"/>
                </a:lnTo>
                <a:lnTo>
                  <a:pt x="4561" y="233"/>
                </a:lnTo>
                <a:lnTo>
                  <a:pt x="4571" y="234"/>
                </a:lnTo>
                <a:lnTo>
                  <a:pt x="4581" y="235"/>
                </a:lnTo>
                <a:lnTo>
                  <a:pt x="4591" y="236"/>
                </a:lnTo>
                <a:lnTo>
                  <a:pt x="4601" y="239"/>
                </a:lnTo>
                <a:lnTo>
                  <a:pt x="4612" y="242"/>
                </a:lnTo>
                <a:lnTo>
                  <a:pt x="4622" y="245"/>
                </a:lnTo>
                <a:lnTo>
                  <a:pt x="4631" y="249"/>
                </a:lnTo>
                <a:lnTo>
                  <a:pt x="4640" y="255"/>
                </a:lnTo>
                <a:lnTo>
                  <a:pt x="4658" y="266"/>
                </a:lnTo>
                <a:lnTo>
                  <a:pt x="4675" y="279"/>
                </a:lnTo>
                <a:lnTo>
                  <a:pt x="4690" y="294"/>
                </a:lnTo>
                <a:lnTo>
                  <a:pt x="4706" y="311"/>
                </a:lnTo>
                <a:lnTo>
                  <a:pt x="4719" y="330"/>
                </a:lnTo>
                <a:lnTo>
                  <a:pt x="4730" y="351"/>
                </a:lnTo>
                <a:lnTo>
                  <a:pt x="4740" y="372"/>
                </a:lnTo>
                <a:lnTo>
                  <a:pt x="4749" y="395"/>
                </a:lnTo>
                <a:lnTo>
                  <a:pt x="4756" y="419"/>
                </a:lnTo>
                <a:lnTo>
                  <a:pt x="4761" y="445"/>
                </a:lnTo>
                <a:lnTo>
                  <a:pt x="4764" y="471"/>
                </a:lnTo>
                <a:lnTo>
                  <a:pt x="4765" y="498"/>
                </a:lnTo>
                <a:lnTo>
                  <a:pt x="4765" y="1240"/>
                </a:lnTo>
                <a:close/>
                <a:moveTo>
                  <a:pt x="6147" y="1504"/>
                </a:moveTo>
                <a:lnTo>
                  <a:pt x="5575" y="1504"/>
                </a:lnTo>
                <a:lnTo>
                  <a:pt x="5575" y="1504"/>
                </a:lnTo>
                <a:lnTo>
                  <a:pt x="5564" y="1504"/>
                </a:lnTo>
                <a:lnTo>
                  <a:pt x="5554" y="1503"/>
                </a:lnTo>
                <a:lnTo>
                  <a:pt x="5544" y="1501"/>
                </a:lnTo>
                <a:lnTo>
                  <a:pt x="5534" y="1499"/>
                </a:lnTo>
                <a:lnTo>
                  <a:pt x="5524" y="1496"/>
                </a:lnTo>
                <a:lnTo>
                  <a:pt x="5515" y="1493"/>
                </a:lnTo>
                <a:lnTo>
                  <a:pt x="5505" y="1488"/>
                </a:lnTo>
                <a:lnTo>
                  <a:pt x="5496" y="1483"/>
                </a:lnTo>
                <a:lnTo>
                  <a:pt x="5477" y="1472"/>
                </a:lnTo>
                <a:lnTo>
                  <a:pt x="5461" y="1459"/>
                </a:lnTo>
                <a:lnTo>
                  <a:pt x="5445" y="1444"/>
                </a:lnTo>
                <a:lnTo>
                  <a:pt x="5431" y="1427"/>
                </a:lnTo>
                <a:lnTo>
                  <a:pt x="5418" y="1408"/>
                </a:lnTo>
                <a:lnTo>
                  <a:pt x="5406" y="1387"/>
                </a:lnTo>
                <a:lnTo>
                  <a:pt x="5395" y="1365"/>
                </a:lnTo>
                <a:lnTo>
                  <a:pt x="5387" y="1343"/>
                </a:lnTo>
                <a:lnTo>
                  <a:pt x="5380" y="1318"/>
                </a:lnTo>
                <a:lnTo>
                  <a:pt x="5375" y="1292"/>
                </a:lnTo>
                <a:lnTo>
                  <a:pt x="5372" y="1266"/>
                </a:lnTo>
                <a:lnTo>
                  <a:pt x="5371" y="1240"/>
                </a:lnTo>
                <a:lnTo>
                  <a:pt x="5371" y="498"/>
                </a:lnTo>
                <a:lnTo>
                  <a:pt x="5371" y="498"/>
                </a:lnTo>
                <a:lnTo>
                  <a:pt x="5372" y="471"/>
                </a:lnTo>
                <a:lnTo>
                  <a:pt x="5375" y="445"/>
                </a:lnTo>
                <a:lnTo>
                  <a:pt x="5380" y="419"/>
                </a:lnTo>
                <a:lnTo>
                  <a:pt x="5387" y="395"/>
                </a:lnTo>
                <a:lnTo>
                  <a:pt x="5395" y="372"/>
                </a:lnTo>
                <a:lnTo>
                  <a:pt x="5406" y="351"/>
                </a:lnTo>
                <a:lnTo>
                  <a:pt x="5418" y="330"/>
                </a:lnTo>
                <a:lnTo>
                  <a:pt x="5431" y="311"/>
                </a:lnTo>
                <a:lnTo>
                  <a:pt x="5445" y="294"/>
                </a:lnTo>
                <a:lnTo>
                  <a:pt x="5461" y="279"/>
                </a:lnTo>
                <a:lnTo>
                  <a:pt x="5477" y="266"/>
                </a:lnTo>
                <a:lnTo>
                  <a:pt x="5496" y="255"/>
                </a:lnTo>
                <a:lnTo>
                  <a:pt x="5505" y="249"/>
                </a:lnTo>
                <a:lnTo>
                  <a:pt x="5515" y="245"/>
                </a:lnTo>
                <a:lnTo>
                  <a:pt x="5524" y="242"/>
                </a:lnTo>
                <a:lnTo>
                  <a:pt x="5534" y="239"/>
                </a:lnTo>
                <a:lnTo>
                  <a:pt x="5544" y="236"/>
                </a:lnTo>
                <a:lnTo>
                  <a:pt x="5554" y="235"/>
                </a:lnTo>
                <a:lnTo>
                  <a:pt x="5564" y="234"/>
                </a:lnTo>
                <a:lnTo>
                  <a:pt x="5575" y="233"/>
                </a:lnTo>
                <a:lnTo>
                  <a:pt x="6147" y="233"/>
                </a:lnTo>
                <a:lnTo>
                  <a:pt x="6147" y="233"/>
                </a:lnTo>
                <a:lnTo>
                  <a:pt x="6157" y="234"/>
                </a:lnTo>
                <a:lnTo>
                  <a:pt x="6167" y="235"/>
                </a:lnTo>
                <a:lnTo>
                  <a:pt x="6178" y="236"/>
                </a:lnTo>
                <a:lnTo>
                  <a:pt x="6187" y="239"/>
                </a:lnTo>
                <a:lnTo>
                  <a:pt x="6198" y="242"/>
                </a:lnTo>
                <a:lnTo>
                  <a:pt x="6208" y="245"/>
                </a:lnTo>
                <a:lnTo>
                  <a:pt x="6217" y="249"/>
                </a:lnTo>
                <a:lnTo>
                  <a:pt x="6226" y="255"/>
                </a:lnTo>
                <a:lnTo>
                  <a:pt x="6244" y="266"/>
                </a:lnTo>
                <a:lnTo>
                  <a:pt x="6261" y="279"/>
                </a:lnTo>
                <a:lnTo>
                  <a:pt x="6276" y="294"/>
                </a:lnTo>
                <a:lnTo>
                  <a:pt x="6292" y="311"/>
                </a:lnTo>
                <a:lnTo>
                  <a:pt x="6305" y="330"/>
                </a:lnTo>
                <a:lnTo>
                  <a:pt x="6316" y="351"/>
                </a:lnTo>
                <a:lnTo>
                  <a:pt x="6326" y="372"/>
                </a:lnTo>
                <a:lnTo>
                  <a:pt x="6335" y="395"/>
                </a:lnTo>
                <a:lnTo>
                  <a:pt x="6342" y="419"/>
                </a:lnTo>
                <a:lnTo>
                  <a:pt x="6347" y="445"/>
                </a:lnTo>
                <a:lnTo>
                  <a:pt x="6350" y="471"/>
                </a:lnTo>
                <a:lnTo>
                  <a:pt x="6351" y="498"/>
                </a:lnTo>
                <a:lnTo>
                  <a:pt x="6351" y="1240"/>
                </a:lnTo>
                <a:lnTo>
                  <a:pt x="6351" y="1240"/>
                </a:lnTo>
                <a:lnTo>
                  <a:pt x="6350" y="1266"/>
                </a:lnTo>
                <a:lnTo>
                  <a:pt x="6347" y="1292"/>
                </a:lnTo>
                <a:lnTo>
                  <a:pt x="6342" y="1318"/>
                </a:lnTo>
                <a:lnTo>
                  <a:pt x="6335" y="1343"/>
                </a:lnTo>
                <a:lnTo>
                  <a:pt x="6326" y="1365"/>
                </a:lnTo>
                <a:lnTo>
                  <a:pt x="6316" y="1387"/>
                </a:lnTo>
                <a:lnTo>
                  <a:pt x="6305" y="1408"/>
                </a:lnTo>
                <a:lnTo>
                  <a:pt x="6292" y="1427"/>
                </a:lnTo>
                <a:lnTo>
                  <a:pt x="6276" y="1444"/>
                </a:lnTo>
                <a:lnTo>
                  <a:pt x="6261" y="1459"/>
                </a:lnTo>
                <a:lnTo>
                  <a:pt x="6244" y="1472"/>
                </a:lnTo>
                <a:lnTo>
                  <a:pt x="6226" y="1483"/>
                </a:lnTo>
                <a:lnTo>
                  <a:pt x="6217" y="1488"/>
                </a:lnTo>
                <a:lnTo>
                  <a:pt x="6208" y="1493"/>
                </a:lnTo>
                <a:lnTo>
                  <a:pt x="6198" y="1496"/>
                </a:lnTo>
                <a:lnTo>
                  <a:pt x="6187" y="1499"/>
                </a:lnTo>
                <a:lnTo>
                  <a:pt x="6178" y="1501"/>
                </a:lnTo>
                <a:lnTo>
                  <a:pt x="6167" y="1503"/>
                </a:lnTo>
                <a:lnTo>
                  <a:pt x="6157" y="1504"/>
                </a:lnTo>
                <a:lnTo>
                  <a:pt x="6147" y="1504"/>
                </a:lnTo>
                <a:lnTo>
                  <a:pt x="6147" y="1504"/>
                </a:ln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397" name="Freeform 2269"/>
          <p:cNvSpPr>
            <a:spLocks/>
          </p:cNvSpPr>
          <p:nvPr/>
        </p:nvSpPr>
        <p:spPr bwMode="auto">
          <a:xfrm>
            <a:off x="5124451" y="6194426"/>
            <a:ext cx="1727200" cy="149225"/>
          </a:xfrm>
          <a:custGeom>
            <a:avLst/>
            <a:gdLst>
              <a:gd name="T0" fmla="*/ 6529 w 6529"/>
              <a:gd name="T1" fmla="*/ 0 h 566"/>
              <a:gd name="T2" fmla="*/ 0 w 6529"/>
              <a:gd name="T3" fmla="*/ 0 h 566"/>
              <a:gd name="T4" fmla="*/ 0 w 6529"/>
              <a:gd name="T5" fmla="*/ 0 h 566"/>
              <a:gd name="T6" fmla="*/ 0 w 6529"/>
              <a:gd name="T7" fmla="*/ 24 h 566"/>
              <a:gd name="T8" fmla="*/ 0 w 6529"/>
              <a:gd name="T9" fmla="*/ 50 h 566"/>
              <a:gd name="T10" fmla="*/ 2 w 6529"/>
              <a:gd name="T11" fmla="*/ 73 h 566"/>
              <a:gd name="T12" fmla="*/ 5 w 6529"/>
              <a:gd name="T13" fmla="*/ 97 h 566"/>
              <a:gd name="T14" fmla="*/ 8 w 6529"/>
              <a:gd name="T15" fmla="*/ 120 h 566"/>
              <a:gd name="T16" fmla="*/ 12 w 6529"/>
              <a:gd name="T17" fmla="*/ 144 h 566"/>
              <a:gd name="T18" fmla="*/ 18 w 6529"/>
              <a:gd name="T19" fmla="*/ 166 h 566"/>
              <a:gd name="T20" fmla="*/ 24 w 6529"/>
              <a:gd name="T21" fmla="*/ 188 h 566"/>
              <a:gd name="T22" fmla="*/ 32 w 6529"/>
              <a:gd name="T23" fmla="*/ 210 h 566"/>
              <a:gd name="T24" fmla="*/ 41 w 6529"/>
              <a:gd name="T25" fmla="*/ 232 h 566"/>
              <a:gd name="T26" fmla="*/ 50 w 6529"/>
              <a:gd name="T27" fmla="*/ 253 h 566"/>
              <a:gd name="T28" fmla="*/ 60 w 6529"/>
              <a:gd name="T29" fmla="*/ 274 h 566"/>
              <a:gd name="T30" fmla="*/ 71 w 6529"/>
              <a:gd name="T31" fmla="*/ 294 h 566"/>
              <a:gd name="T32" fmla="*/ 83 w 6529"/>
              <a:gd name="T33" fmla="*/ 314 h 566"/>
              <a:gd name="T34" fmla="*/ 96 w 6529"/>
              <a:gd name="T35" fmla="*/ 333 h 566"/>
              <a:gd name="T36" fmla="*/ 110 w 6529"/>
              <a:gd name="T37" fmla="*/ 351 h 566"/>
              <a:gd name="T38" fmla="*/ 110 w 6529"/>
              <a:gd name="T39" fmla="*/ 351 h 566"/>
              <a:gd name="T40" fmla="*/ 126 w 6529"/>
              <a:gd name="T41" fmla="*/ 370 h 566"/>
              <a:gd name="T42" fmla="*/ 144 w 6529"/>
              <a:gd name="T43" fmla="*/ 388 h 566"/>
              <a:gd name="T44" fmla="*/ 163 w 6529"/>
              <a:gd name="T45" fmla="*/ 408 h 566"/>
              <a:gd name="T46" fmla="*/ 184 w 6529"/>
              <a:gd name="T47" fmla="*/ 426 h 566"/>
              <a:gd name="T48" fmla="*/ 207 w 6529"/>
              <a:gd name="T49" fmla="*/ 445 h 566"/>
              <a:gd name="T50" fmla="*/ 234 w 6529"/>
              <a:gd name="T51" fmla="*/ 462 h 566"/>
              <a:gd name="T52" fmla="*/ 261 w 6529"/>
              <a:gd name="T53" fmla="*/ 480 h 566"/>
              <a:gd name="T54" fmla="*/ 292 w 6529"/>
              <a:gd name="T55" fmla="*/ 496 h 566"/>
              <a:gd name="T56" fmla="*/ 325 w 6529"/>
              <a:gd name="T57" fmla="*/ 511 h 566"/>
              <a:gd name="T58" fmla="*/ 360 w 6529"/>
              <a:gd name="T59" fmla="*/ 524 h 566"/>
              <a:gd name="T60" fmla="*/ 379 w 6529"/>
              <a:gd name="T61" fmla="*/ 531 h 566"/>
              <a:gd name="T62" fmla="*/ 399 w 6529"/>
              <a:gd name="T63" fmla="*/ 536 h 566"/>
              <a:gd name="T64" fmla="*/ 419 w 6529"/>
              <a:gd name="T65" fmla="*/ 542 h 566"/>
              <a:gd name="T66" fmla="*/ 440 w 6529"/>
              <a:gd name="T67" fmla="*/ 546 h 566"/>
              <a:gd name="T68" fmla="*/ 461 w 6529"/>
              <a:gd name="T69" fmla="*/ 551 h 566"/>
              <a:gd name="T70" fmla="*/ 484 w 6529"/>
              <a:gd name="T71" fmla="*/ 555 h 566"/>
              <a:gd name="T72" fmla="*/ 507 w 6529"/>
              <a:gd name="T73" fmla="*/ 558 h 566"/>
              <a:gd name="T74" fmla="*/ 530 w 6529"/>
              <a:gd name="T75" fmla="*/ 561 h 566"/>
              <a:gd name="T76" fmla="*/ 555 w 6529"/>
              <a:gd name="T77" fmla="*/ 563 h 566"/>
              <a:gd name="T78" fmla="*/ 581 w 6529"/>
              <a:gd name="T79" fmla="*/ 565 h 566"/>
              <a:gd name="T80" fmla="*/ 606 w 6529"/>
              <a:gd name="T81" fmla="*/ 566 h 566"/>
              <a:gd name="T82" fmla="*/ 633 w 6529"/>
              <a:gd name="T83" fmla="*/ 566 h 566"/>
              <a:gd name="T84" fmla="*/ 6529 w 6529"/>
              <a:gd name="T85" fmla="*/ 566 h 566"/>
              <a:gd name="T86" fmla="*/ 6529 w 6529"/>
              <a:gd name="T87" fmla="*/ 0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29" h="566">
                <a:moveTo>
                  <a:pt x="6529" y="0"/>
                </a:moveTo>
                <a:lnTo>
                  <a:pt x="0" y="0"/>
                </a:lnTo>
                <a:lnTo>
                  <a:pt x="0" y="0"/>
                </a:lnTo>
                <a:lnTo>
                  <a:pt x="0" y="24"/>
                </a:lnTo>
                <a:lnTo>
                  <a:pt x="0" y="50"/>
                </a:lnTo>
                <a:lnTo>
                  <a:pt x="2" y="73"/>
                </a:lnTo>
                <a:lnTo>
                  <a:pt x="5" y="97"/>
                </a:lnTo>
                <a:lnTo>
                  <a:pt x="8" y="120"/>
                </a:lnTo>
                <a:lnTo>
                  <a:pt x="12" y="144"/>
                </a:lnTo>
                <a:lnTo>
                  <a:pt x="18" y="166"/>
                </a:lnTo>
                <a:lnTo>
                  <a:pt x="24" y="188"/>
                </a:lnTo>
                <a:lnTo>
                  <a:pt x="32" y="210"/>
                </a:lnTo>
                <a:lnTo>
                  <a:pt x="41" y="232"/>
                </a:lnTo>
                <a:lnTo>
                  <a:pt x="50" y="253"/>
                </a:lnTo>
                <a:lnTo>
                  <a:pt x="60" y="274"/>
                </a:lnTo>
                <a:lnTo>
                  <a:pt x="71" y="294"/>
                </a:lnTo>
                <a:lnTo>
                  <a:pt x="83" y="314"/>
                </a:lnTo>
                <a:lnTo>
                  <a:pt x="96" y="333"/>
                </a:lnTo>
                <a:lnTo>
                  <a:pt x="110" y="351"/>
                </a:lnTo>
                <a:lnTo>
                  <a:pt x="110" y="351"/>
                </a:lnTo>
                <a:lnTo>
                  <a:pt x="126" y="370"/>
                </a:lnTo>
                <a:lnTo>
                  <a:pt x="144" y="388"/>
                </a:lnTo>
                <a:lnTo>
                  <a:pt x="163" y="408"/>
                </a:lnTo>
                <a:lnTo>
                  <a:pt x="184" y="426"/>
                </a:lnTo>
                <a:lnTo>
                  <a:pt x="207" y="445"/>
                </a:lnTo>
                <a:lnTo>
                  <a:pt x="234" y="462"/>
                </a:lnTo>
                <a:lnTo>
                  <a:pt x="261" y="480"/>
                </a:lnTo>
                <a:lnTo>
                  <a:pt x="292" y="496"/>
                </a:lnTo>
                <a:lnTo>
                  <a:pt x="325" y="511"/>
                </a:lnTo>
                <a:lnTo>
                  <a:pt x="360" y="524"/>
                </a:lnTo>
                <a:lnTo>
                  <a:pt x="379" y="531"/>
                </a:lnTo>
                <a:lnTo>
                  <a:pt x="399" y="536"/>
                </a:lnTo>
                <a:lnTo>
                  <a:pt x="419" y="542"/>
                </a:lnTo>
                <a:lnTo>
                  <a:pt x="440" y="546"/>
                </a:lnTo>
                <a:lnTo>
                  <a:pt x="461" y="551"/>
                </a:lnTo>
                <a:lnTo>
                  <a:pt x="484" y="555"/>
                </a:lnTo>
                <a:lnTo>
                  <a:pt x="507" y="558"/>
                </a:lnTo>
                <a:lnTo>
                  <a:pt x="530" y="561"/>
                </a:lnTo>
                <a:lnTo>
                  <a:pt x="555" y="563"/>
                </a:lnTo>
                <a:lnTo>
                  <a:pt x="581" y="565"/>
                </a:lnTo>
                <a:lnTo>
                  <a:pt x="606" y="566"/>
                </a:lnTo>
                <a:lnTo>
                  <a:pt x="633" y="566"/>
                </a:lnTo>
                <a:lnTo>
                  <a:pt x="6529" y="566"/>
                </a:lnTo>
                <a:lnTo>
                  <a:pt x="6529" y="0"/>
                </a:lnTo>
                <a:close/>
              </a:path>
            </a:pathLst>
          </a:custGeom>
          <a:pattFill prst="dkHorz">
            <a:fgClr>
              <a:schemeClr val="bg2">
                <a:lumMod val="25000"/>
              </a:schemeClr>
            </a:fgClr>
            <a:bgClr>
              <a:schemeClr val="tx1">
                <a:lumMod val="90000"/>
                <a:lumOff val="10000"/>
              </a:schemeClr>
            </a:bgClr>
          </a:patt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24" name="Freeform 43"/>
          <p:cNvSpPr>
            <a:spLocks/>
          </p:cNvSpPr>
          <p:nvPr/>
        </p:nvSpPr>
        <p:spPr bwMode="auto">
          <a:xfrm flipH="1">
            <a:off x="5762477" y="4939288"/>
            <a:ext cx="402712" cy="191263"/>
          </a:xfrm>
          <a:custGeom>
            <a:avLst/>
            <a:gdLst>
              <a:gd name="T0" fmla="*/ 24 w 10101"/>
              <a:gd name="T1" fmla="*/ 183 h 4652"/>
              <a:gd name="T2" fmla="*/ 77 w 10101"/>
              <a:gd name="T3" fmla="*/ 483 h 4652"/>
              <a:gd name="T4" fmla="*/ 146 w 10101"/>
              <a:gd name="T5" fmla="*/ 779 h 4652"/>
              <a:gd name="T6" fmla="*/ 231 w 10101"/>
              <a:gd name="T7" fmla="*/ 1066 h 4652"/>
              <a:gd name="T8" fmla="*/ 330 w 10101"/>
              <a:gd name="T9" fmla="*/ 1346 h 4652"/>
              <a:gd name="T10" fmla="*/ 446 w 10101"/>
              <a:gd name="T11" fmla="*/ 1619 h 4652"/>
              <a:gd name="T12" fmla="*/ 574 w 10101"/>
              <a:gd name="T13" fmla="*/ 1884 h 4652"/>
              <a:gd name="T14" fmla="*/ 717 w 10101"/>
              <a:gd name="T15" fmla="*/ 2140 h 4652"/>
              <a:gd name="T16" fmla="*/ 872 w 10101"/>
              <a:gd name="T17" fmla="*/ 2387 h 4652"/>
              <a:gd name="T18" fmla="*/ 1040 w 10101"/>
              <a:gd name="T19" fmla="*/ 2623 h 4652"/>
              <a:gd name="T20" fmla="*/ 1221 w 10101"/>
              <a:gd name="T21" fmla="*/ 2850 h 4652"/>
              <a:gd name="T22" fmla="*/ 1414 w 10101"/>
              <a:gd name="T23" fmla="*/ 3064 h 4652"/>
              <a:gd name="T24" fmla="*/ 1616 w 10101"/>
              <a:gd name="T25" fmla="*/ 3269 h 4652"/>
              <a:gd name="T26" fmla="*/ 1830 w 10101"/>
              <a:gd name="T27" fmla="*/ 3461 h 4652"/>
              <a:gd name="T28" fmla="*/ 2055 w 10101"/>
              <a:gd name="T29" fmla="*/ 3641 h 4652"/>
              <a:gd name="T30" fmla="*/ 2289 w 10101"/>
              <a:gd name="T31" fmla="*/ 3808 h 4652"/>
              <a:gd name="T32" fmla="*/ 2532 w 10101"/>
              <a:gd name="T33" fmla="*/ 3961 h 4652"/>
              <a:gd name="T34" fmla="*/ 2784 w 10101"/>
              <a:gd name="T35" fmla="*/ 4100 h 4652"/>
              <a:gd name="T36" fmla="*/ 3043 w 10101"/>
              <a:gd name="T37" fmla="*/ 4226 h 4652"/>
              <a:gd name="T38" fmla="*/ 3311 w 10101"/>
              <a:gd name="T39" fmla="*/ 4335 h 4652"/>
              <a:gd name="T40" fmla="*/ 3586 w 10101"/>
              <a:gd name="T41" fmla="*/ 4430 h 4652"/>
              <a:gd name="T42" fmla="*/ 3867 w 10101"/>
              <a:gd name="T43" fmla="*/ 4508 h 4652"/>
              <a:gd name="T44" fmla="*/ 4155 w 10101"/>
              <a:gd name="T45" fmla="*/ 4571 h 4652"/>
              <a:gd name="T46" fmla="*/ 4449 w 10101"/>
              <a:gd name="T47" fmla="*/ 4615 h 4652"/>
              <a:gd name="T48" fmla="*/ 4747 w 10101"/>
              <a:gd name="T49" fmla="*/ 4643 h 4652"/>
              <a:gd name="T50" fmla="*/ 5050 w 10101"/>
              <a:gd name="T51" fmla="*/ 4652 h 4652"/>
              <a:gd name="T52" fmla="*/ 5293 w 10101"/>
              <a:gd name="T53" fmla="*/ 4647 h 4652"/>
              <a:gd name="T54" fmla="*/ 5593 w 10101"/>
              <a:gd name="T55" fmla="*/ 4622 h 4652"/>
              <a:gd name="T56" fmla="*/ 5887 w 10101"/>
              <a:gd name="T57" fmla="*/ 4581 h 4652"/>
              <a:gd name="T58" fmla="*/ 6176 w 10101"/>
              <a:gd name="T59" fmla="*/ 4523 h 4652"/>
              <a:gd name="T60" fmla="*/ 6459 w 10101"/>
              <a:gd name="T61" fmla="*/ 4447 h 4652"/>
              <a:gd name="T62" fmla="*/ 6736 w 10101"/>
              <a:gd name="T63" fmla="*/ 4356 h 4652"/>
              <a:gd name="T64" fmla="*/ 7005 w 10101"/>
              <a:gd name="T65" fmla="*/ 4249 h 4652"/>
              <a:gd name="T66" fmla="*/ 7266 w 10101"/>
              <a:gd name="T67" fmla="*/ 4127 h 4652"/>
              <a:gd name="T68" fmla="*/ 7520 w 10101"/>
              <a:gd name="T69" fmla="*/ 3990 h 4652"/>
              <a:gd name="T70" fmla="*/ 7764 w 10101"/>
              <a:gd name="T71" fmla="*/ 3840 h 4652"/>
              <a:gd name="T72" fmla="*/ 8000 w 10101"/>
              <a:gd name="T73" fmla="*/ 3675 h 4652"/>
              <a:gd name="T74" fmla="*/ 8227 w 10101"/>
              <a:gd name="T75" fmla="*/ 3498 h 4652"/>
              <a:gd name="T76" fmla="*/ 8442 w 10101"/>
              <a:gd name="T77" fmla="*/ 3309 h 4652"/>
              <a:gd name="T78" fmla="*/ 8647 w 10101"/>
              <a:gd name="T79" fmla="*/ 3106 h 4652"/>
              <a:gd name="T80" fmla="*/ 8842 w 10101"/>
              <a:gd name="T81" fmla="*/ 2893 h 4652"/>
              <a:gd name="T82" fmla="*/ 9025 w 10101"/>
              <a:gd name="T83" fmla="*/ 2669 h 4652"/>
              <a:gd name="T84" fmla="*/ 9195 w 10101"/>
              <a:gd name="T85" fmla="*/ 2434 h 4652"/>
              <a:gd name="T86" fmla="*/ 9354 w 10101"/>
              <a:gd name="T87" fmla="*/ 2190 h 4652"/>
              <a:gd name="T88" fmla="*/ 9500 w 10101"/>
              <a:gd name="T89" fmla="*/ 1936 h 4652"/>
              <a:gd name="T90" fmla="*/ 9631 w 10101"/>
              <a:gd name="T91" fmla="*/ 1673 h 4652"/>
              <a:gd name="T92" fmla="*/ 9749 w 10101"/>
              <a:gd name="T93" fmla="*/ 1401 h 4652"/>
              <a:gd name="T94" fmla="*/ 9851 w 10101"/>
              <a:gd name="T95" fmla="*/ 1123 h 4652"/>
              <a:gd name="T96" fmla="*/ 9939 w 10101"/>
              <a:gd name="T97" fmla="*/ 837 h 4652"/>
              <a:gd name="T98" fmla="*/ 10012 w 10101"/>
              <a:gd name="T99" fmla="*/ 543 h 4652"/>
              <a:gd name="T100" fmla="*/ 10068 w 10101"/>
              <a:gd name="T101" fmla="*/ 243 h 4652"/>
              <a:gd name="T102" fmla="*/ 0 w 10101"/>
              <a:gd name="T103" fmla="*/ 0 h 4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01" h="4652">
                <a:moveTo>
                  <a:pt x="0" y="0"/>
                </a:moveTo>
                <a:lnTo>
                  <a:pt x="0" y="0"/>
                </a:lnTo>
                <a:lnTo>
                  <a:pt x="7" y="61"/>
                </a:lnTo>
                <a:lnTo>
                  <a:pt x="15" y="122"/>
                </a:lnTo>
                <a:lnTo>
                  <a:pt x="24" y="183"/>
                </a:lnTo>
                <a:lnTo>
                  <a:pt x="33" y="243"/>
                </a:lnTo>
                <a:lnTo>
                  <a:pt x="43" y="304"/>
                </a:lnTo>
                <a:lnTo>
                  <a:pt x="53" y="364"/>
                </a:lnTo>
                <a:lnTo>
                  <a:pt x="65" y="423"/>
                </a:lnTo>
                <a:lnTo>
                  <a:pt x="77" y="483"/>
                </a:lnTo>
                <a:lnTo>
                  <a:pt x="89" y="543"/>
                </a:lnTo>
                <a:lnTo>
                  <a:pt x="102" y="603"/>
                </a:lnTo>
                <a:lnTo>
                  <a:pt x="116" y="662"/>
                </a:lnTo>
                <a:lnTo>
                  <a:pt x="131" y="720"/>
                </a:lnTo>
                <a:lnTo>
                  <a:pt x="146" y="779"/>
                </a:lnTo>
                <a:lnTo>
                  <a:pt x="162" y="837"/>
                </a:lnTo>
                <a:lnTo>
                  <a:pt x="178" y="895"/>
                </a:lnTo>
                <a:lnTo>
                  <a:pt x="195" y="952"/>
                </a:lnTo>
                <a:lnTo>
                  <a:pt x="213" y="1009"/>
                </a:lnTo>
                <a:lnTo>
                  <a:pt x="231" y="1066"/>
                </a:lnTo>
                <a:lnTo>
                  <a:pt x="250" y="1123"/>
                </a:lnTo>
                <a:lnTo>
                  <a:pt x="269" y="1180"/>
                </a:lnTo>
                <a:lnTo>
                  <a:pt x="289" y="1236"/>
                </a:lnTo>
                <a:lnTo>
                  <a:pt x="309" y="1292"/>
                </a:lnTo>
                <a:lnTo>
                  <a:pt x="330" y="1346"/>
                </a:lnTo>
                <a:lnTo>
                  <a:pt x="352" y="1401"/>
                </a:lnTo>
                <a:lnTo>
                  <a:pt x="374" y="1456"/>
                </a:lnTo>
                <a:lnTo>
                  <a:pt x="398" y="1511"/>
                </a:lnTo>
                <a:lnTo>
                  <a:pt x="422" y="1565"/>
                </a:lnTo>
                <a:lnTo>
                  <a:pt x="446" y="1619"/>
                </a:lnTo>
                <a:lnTo>
                  <a:pt x="470" y="1673"/>
                </a:lnTo>
                <a:lnTo>
                  <a:pt x="495" y="1726"/>
                </a:lnTo>
                <a:lnTo>
                  <a:pt x="521" y="1779"/>
                </a:lnTo>
                <a:lnTo>
                  <a:pt x="547" y="1832"/>
                </a:lnTo>
                <a:lnTo>
                  <a:pt x="574" y="1884"/>
                </a:lnTo>
                <a:lnTo>
                  <a:pt x="601" y="1936"/>
                </a:lnTo>
                <a:lnTo>
                  <a:pt x="629" y="1988"/>
                </a:lnTo>
                <a:lnTo>
                  <a:pt x="658" y="2038"/>
                </a:lnTo>
                <a:lnTo>
                  <a:pt x="687" y="2089"/>
                </a:lnTo>
                <a:lnTo>
                  <a:pt x="717" y="2140"/>
                </a:lnTo>
                <a:lnTo>
                  <a:pt x="747" y="2190"/>
                </a:lnTo>
                <a:lnTo>
                  <a:pt x="777" y="2240"/>
                </a:lnTo>
                <a:lnTo>
                  <a:pt x="808" y="2289"/>
                </a:lnTo>
                <a:lnTo>
                  <a:pt x="840" y="2338"/>
                </a:lnTo>
                <a:lnTo>
                  <a:pt x="872" y="2387"/>
                </a:lnTo>
                <a:lnTo>
                  <a:pt x="905" y="2434"/>
                </a:lnTo>
                <a:lnTo>
                  <a:pt x="938" y="2482"/>
                </a:lnTo>
                <a:lnTo>
                  <a:pt x="972" y="2529"/>
                </a:lnTo>
                <a:lnTo>
                  <a:pt x="1006" y="2577"/>
                </a:lnTo>
                <a:lnTo>
                  <a:pt x="1040" y="2623"/>
                </a:lnTo>
                <a:lnTo>
                  <a:pt x="1075" y="2669"/>
                </a:lnTo>
                <a:lnTo>
                  <a:pt x="1111" y="2715"/>
                </a:lnTo>
                <a:lnTo>
                  <a:pt x="1148" y="2760"/>
                </a:lnTo>
                <a:lnTo>
                  <a:pt x="1184" y="2805"/>
                </a:lnTo>
                <a:lnTo>
                  <a:pt x="1221" y="2850"/>
                </a:lnTo>
                <a:lnTo>
                  <a:pt x="1259" y="2893"/>
                </a:lnTo>
                <a:lnTo>
                  <a:pt x="1296" y="2937"/>
                </a:lnTo>
                <a:lnTo>
                  <a:pt x="1335" y="2980"/>
                </a:lnTo>
                <a:lnTo>
                  <a:pt x="1373" y="3023"/>
                </a:lnTo>
                <a:lnTo>
                  <a:pt x="1414" y="3064"/>
                </a:lnTo>
                <a:lnTo>
                  <a:pt x="1453" y="3106"/>
                </a:lnTo>
                <a:lnTo>
                  <a:pt x="1493" y="3148"/>
                </a:lnTo>
                <a:lnTo>
                  <a:pt x="1534" y="3189"/>
                </a:lnTo>
                <a:lnTo>
                  <a:pt x="1575" y="3229"/>
                </a:lnTo>
                <a:lnTo>
                  <a:pt x="1616" y="3269"/>
                </a:lnTo>
                <a:lnTo>
                  <a:pt x="1659" y="3309"/>
                </a:lnTo>
                <a:lnTo>
                  <a:pt x="1701" y="3347"/>
                </a:lnTo>
                <a:lnTo>
                  <a:pt x="1744" y="3386"/>
                </a:lnTo>
                <a:lnTo>
                  <a:pt x="1787" y="3424"/>
                </a:lnTo>
                <a:lnTo>
                  <a:pt x="1830" y="3461"/>
                </a:lnTo>
                <a:lnTo>
                  <a:pt x="1874" y="3498"/>
                </a:lnTo>
                <a:lnTo>
                  <a:pt x="1919" y="3535"/>
                </a:lnTo>
                <a:lnTo>
                  <a:pt x="1964" y="3570"/>
                </a:lnTo>
                <a:lnTo>
                  <a:pt x="2009" y="3606"/>
                </a:lnTo>
                <a:lnTo>
                  <a:pt x="2055" y="3641"/>
                </a:lnTo>
                <a:lnTo>
                  <a:pt x="2101" y="3675"/>
                </a:lnTo>
                <a:lnTo>
                  <a:pt x="2148" y="3710"/>
                </a:lnTo>
                <a:lnTo>
                  <a:pt x="2194" y="3743"/>
                </a:lnTo>
                <a:lnTo>
                  <a:pt x="2241" y="3776"/>
                </a:lnTo>
                <a:lnTo>
                  <a:pt x="2289" y="3808"/>
                </a:lnTo>
                <a:lnTo>
                  <a:pt x="2336" y="3840"/>
                </a:lnTo>
                <a:lnTo>
                  <a:pt x="2384" y="3871"/>
                </a:lnTo>
                <a:lnTo>
                  <a:pt x="2434" y="3902"/>
                </a:lnTo>
                <a:lnTo>
                  <a:pt x="2483" y="3931"/>
                </a:lnTo>
                <a:lnTo>
                  <a:pt x="2532" y="3961"/>
                </a:lnTo>
                <a:lnTo>
                  <a:pt x="2581" y="3990"/>
                </a:lnTo>
                <a:lnTo>
                  <a:pt x="2631" y="4019"/>
                </a:lnTo>
                <a:lnTo>
                  <a:pt x="2682" y="4046"/>
                </a:lnTo>
                <a:lnTo>
                  <a:pt x="2733" y="4074"/>
                </a:lnTo>
                <a:lnTo>
                  <a:pt x="2784" y="4100"/>
                </a:lnTo>
                <a:lnTo>
                  <a:pt x="2835" y="4127"/>
                </a:lnTo>
                <a:lnTo>
                  <a:pt x="2886" y="4152"/>
                </a:lnTo>
                <a:lnTo>
                  <a:pt x="2939" y="4178"/>
                </a:lnTo>
                <a:lnTo>
                  <a:pt x="2991" y="4202"/>
                </a:lnTo>
                <a:lnTo>
                  <a:pt x="3043" y="4226"/>
                </a:lnTo>
                <a:lnTo>
                  <a:pt x="3096" y="4249"/>
                </a:lnTo>
                <a:lnTo>
                  <a:pt x="3149" y="4271"/>
                </a:lnTo>
                <a:lnTo>
                  <a:pt x="3203" y="4294"/>
                </a:lnTo>
                <a:lnTo>
                  <a:pt x="3257" y="4315"/>
                </a:lnTo>
                <a:lnTo>
                  <a:pt x="3311" y="4335"/>
                </a:lnTo>
                <a:lnTo>
                  <a:pt x="3365" y="4356"/>
                </a:lnTo>
                <a:lnTo>
                  <a:pt x="3421" y="4375"/>
                </a:lnTo>
                <a:lnTo>
                  <a:pt x="3475" y="4394"/>
                </a:lnTo>
                <a:lnTo>
                  <a:pt x="3530" y="4413"/>
                </a:lnTo>
                <a:lnTo>
                  <a:pt x="3586" y="4430"/>
                </a:lnTo>
                <a:lnTo>
                  <a:pt x="3641" y="4447"/>
                </a:lnTo>
                <a:lnTo>
                  <a:pt x="3698" y="4464"/>
                </a:lnTo>
                <a:lnTo>
                  <a:pt x="3754" y="4479"/>
                </a:lnTo>
                <a:lnTo>
                  <a:pt x="3811" y="4494"/>
                </a:lnTo>
                <a:lnTo>
                  <a:pt x="3867" y="4508"/>
                </a:lnTo>
                <a:lnTo>
                  <a:pt x="3925" y="4523"/>
                </a:lnTo>
                <a:lnTo>
                  <a:pt x="3982" y="4536"/>
                </a:lnTo>
                <a:lnTo>
                  <a:pt x="4039" y="4548"/>
                </a:lnTo>
                <a:lnTo>
                  <a:pt x="4097" y="4559"/>
                </a:lnTo>
                <a:lnTo>
                  <a:pt x="4155" y="4571"/>
                </a:lnTo>
                <a:lnTo>
                  <a:pt x="4214" y="4581"/>
                </a:lnTo>
                <a:lnTo>
                  <a:pt x="4272" y="4591"/>
                </a:lnTo>
                <a:lnTo>
                  <a:pt x="4330" y="4600"/>
                </a:lnTo>
                <a:lnTo>
                  <a:pt x="4389" y="4608"/>
                </a:lnTo>
                <a:lnTo>
                  <a:pt x="4449" y="4615"/>
                </a:lnTo>
                <a:lnTo>
                  <a:pt x="4508" y="4622"/>
                </a:lnTo>
                <a:lnTo>
                  <a:pt x="4567" y="4629"/>
                </a:lnTo>
                <a:lnTo>
                  <a:pt x="4627" y="4635"/>
                </a:lnTo>
                <a:lnTo>
                  <a:pt x="4687" y="4639"/>
                </a:lnTo>
                <a:lnTo>
                  <a:pt x="4747" y="4643"/>
                </a:lnTo>
                <a:lnTo>
                  <a:pt x="4807" y="4647"/>
                </a:lnTo>
                <a:lnTo>
                  <a:pt x="4868" y="4649"/>
                </a:lnTo>
                <a:lnTo>
                  <a:pt x="4929" y="4651"/>
                </a:lnTo>
                <a:lnTo>
                  <a:pt x="4990" y="4652"/>
                </a:lnTo>
                <a:lnTo>
                  <a:pt x="5050" y="4652"/>
                </a:lnTo>
                <a:lnTo>
                  <a:pt x="5050" y="4652"/>
                </a:lnTo>
                <a:lnTo>
                  <a:pt x="5111" y="4652"/>
                </a:lnTo>
                <a:lnTo>
                  <a:pt x="5172" y="4651"/>
                </a:lnTo>
                <a:lnTo>
                  <a:pt x="5233" y="4649"/>
                </a:lnTo>
                <a:lnTo>
                  <a:pt x="5293" y="4647"/>
                </a:lnTo>
                <a:lnTo>
                  <a:pt x="5353" y="4643"/>
                </a:lnTo>
                <a:lnTo>
                  <a:pt x="5413" y="4639"/>
                </a:lnTo>
                <a:lnTo>
                  <a:pt x="5474" y="4635"/>
                </a:lnTo>
                <a:lnTo>
                  <a:pt x="5533" y="4629"/>
                </a:lnTo>
                <a:lnTo>
                  <a:pt x="5593" y="4622"/>
                </a:lnTo>
                <a:lnTo>
                  <a:pt x="5652" y="4615"/>
                </a:lnTo>
                <a:lnTo>
                  <a:pt x="5712" y="4608"/>
                </a:lnTo>
                <a:lnTo>
                  <a:pt x="5770" y="4600"/>
                </a:lnTo>
                <a:lnTo>
                  <a:pt x="5829" y="4591"/>
                </a:lnTo>
                <a:lnTo>
                  <a:pt x="5887" y="4581"/>
                </a:lnTo>
                <a:lnTo>
                  <a:pt x="5946" y="4571"/>
                </a:lnTo>
                <a:lnTo>
                  <a:pt x="6004" y="4559"/>
                </a:lnTo>
                <a:lnTo>
                  <a:pt x="6061" y="4548"/>
                </a:lnTo>
                <a:lnTo>
                  <a:pt x="6119" y="4536"/>
                </a:lnTo>
                <a:lnTo>
                  <a:pt x="6176" y="4523"/>
                </a:lnTo>
                <a:lnTo>
                  <a:pt x="6234" y="4508"/>
                </a:lnTo>
                <a:lnTo>
                  <a:pt x="6290" y="4494"/>
                </a:lnTo>
                <a:lnTo>
                  <a:pt x="6347" y="4479"/>
                </a:lnTo>
                <a:lnTo>
                  <a:pt x="6403" y="4464"/>
                </a:lnTo>
                <a:lnTo>
                  <a:pt x="6459" y="4447"/>
                </a:lnTo>
                <a:lnTo>
                  <a:pt x="6515" y="4430"/>
                </a:lnTo>
                <a:lnTo>
                  <a:pt x="6570" y="4413"/>
                </a:lnTo>
                <a:lnTo>
                  <a:pt x="6625" y="4394"/>
                </a:lnTo>
                <a:lnTo>
                  <a:pt x="6680" y="4375"/>
                </a:lnTo>
                <a:lnTo>
                  <a:pt x="6736" y="4356"/>
                </a:lnTo>
                <a:lnTo>
                  <a:pt x="6790" y="4335"/>
                </a:lnTo>
                <a:lnTo>
                  <a:pt x="6844" y="4315"/>
                </a:lnTo>
                <a:lnTo>
                  <a:pt x="6897" y="4294"/>
                </a:lnTo>
                <a:lnTo>
                  <a:pt x="6952" y="4271"/>
                </a:lnTo>
                <a:lnTo>
                  <a:pt x="7005" y="4249"/>
                </a:lnTo>
                <a:lnTo>
                  <a:pt x="7057" y="4226"/>
                </a:lnTo>
                <a:lnTo>
                  <a:pt x="7110" y="4202"/>
                </a:lnTo>
                <a:lnTo>
                  <a:pt x="7162" y="4178"/>
                </a:lnTo>
                <a:lnTo>
                  <a:pt x="7215" y="4152"/>
                </a:lnTo>
                <a:lnTo>
                  <a:pt x="7266" y="4127"/>
                </a:lnTo>
                <a:lnTo>
                  <a:pt x="7317" y="4100"/>
                </a:lnTo>
                <a:lnTo>
                  <a:pt x="7368" y="4074"/>
                </a:lnTo>
                <a:lnTo>
                  <a:pt x="7419" y="4046"/>
                </a:lnTo>
                <a:lnTo>
                  <a:pt x="7470" y="4019"/>
                </a:lnTo>
                <a:lnTo>
                  <a:pt x="7520" y="3990"/>
                </a:lnTo>
                <a:lnTo>
                  <a:pt x="7569" y="3961"/>
                </a:lnTo>
                <a:lnTo>
                  <a:pt x="7618" y="3931"/>
                </a:lnTo>
                <a:lnTo>
                  <a:pt x="7667" y="3902"/>
                </a:lnTo>
                <a:lnTo>
                  <a:pt x="7716" y="3871"/>
                </a:lnTo>
                <a:lnTo>
                  <a:pt x="7764" y="3840"/>
                </a:lnTo>
                <a:lnTo>
                  <a:pt x="7812" y="3808"/>
                </a:lnTo>
                <a:lnTo>
                  <a:pt x="7859" y="3776"/>
                </a:lnTo>
                <a:lnTo>
                  <a:pt x="7906" y="3743"/>
                </a:lnTo>
                <a:lnTo>
                  <a:pt x="7953" y="3710"/>
                </a:lnTo>
                <a:lnTo>
                  <a:pt x="8000" y="3675"/>
                </a:lnTo>
                <a:lnTo>
                  <a:pt x="8046" y="3641"/>
                </a:lnTo>
                <a:lnTo>
                  <a:pt x="8092" y="3606"/>
                </a:lnTo>
                <a:lnTo>
                  <a:pt x="8137" y="3570"/>
                </a:lnTo>
                <a:lnTo>
                  <a:pt x="8181" y="3535"/>
                </a:lnTo>
                <a:lnTo>
                  <a:pt x="8227" y="3498"/>
                </a:lnTo>
                <a:lnTo>
                  <a:pt x="8270" y="3461"/>
                </a:lnTo>
                <a:lnTo>
                  <a:pt x="8314" y="3424"/>
                </a:lnTo>
                <a:lnTo>
                  <a:pt x="8357" y="3386"/>
                </a:lnTo>
                <a:lnTo>
                  <a:pt x="8400" y="3347"/>
                </a:lnTo>
                <a:lnTo>
                  <a:pt x="8442" y="3309"/>
                </a:lnTo>
                <a:lnTo>
                  <a:pt x="8485" y="3269"/>
                </a:lnTo>
                <a:lnTo>
                  <a:pt x="8526" y="3229"/>
                </a:lnTo>
                <a:lnTo>
                  <a:pt x="8567" y="3189"/>
                </a:lnTo>
                <a:lnTo>
                  <a:pt x="8607" y="3148"/>
                </a:lnTo>
                <a:lnTo>
                  <a:pt x="8647" y="3106"/>
                </a:lnTo>
                <a:lnTo>
                  <a:pt x="8687" y="3064"/>
                </a:lnTo>
                <a:lnTo>
                  <a:pt x="8727" y="3023"/>
                </a:lnTo>
                <a:lnTo>
                  <a:pt x="8766" y="2980"/>
                </a:lnTo>
                <a:lnTo>
                  <a:pt x="8804" y="2937"/>
                </a:lnTo>
                <a:lnTo>
                  <a:pt x="8842" y="2893"/>
                </a:lnTo>
                <a:lnTo>
                  <a:pt x="8880" y="2850"/>
                </a:lnTo>
                <a:lnTo>
                  <a:pt x="8916" y="2805"/>
                </a:lnTo>
                <a:lnTo>
                  <a:pt x="8953" y="2760"/>
                </a:lnTo>
                <a:lnTo>
                  <a:pt x="8990" y="2715"/>
                </a:lnTo>
                <a:lnTo>
                  <a:pt x="9025" y="2669"/>
                </a:lnTo>
                <a:lnTo>
                  <a:pt x="9060" y="2623"/>
                </a:lnTo>
                <a:lnTo>
                  <a:pt x="9095" y="2577"/>
                </a:lnTo>
                <a:lnTo>
                  <a:pt x="9129" y="2529"/>
                </a:lnTo>
                <a:lnTo>
                  <a:pt x="9162" y="2482"/>
                </a:lnTo>
                <a:lnTo>
                  <a:pt x="9195" y="2434"/>
                </a:lnTo>
                <a:lnTo>
                  <a:pt x="9229" y="2387"/>
                </a:lnTo>
                <a:lnTo>
                  <a:pt x="9261" y="2338"/>
                </a:lnTo>
                <a:lnTo>
                  <a:pt x="9292" y="2289"/>
                </a:lnTo>
                <a:lnTo>
                  <a:pt x="9324" y="2240"/>
                </a:lnTo>
                <a:lnTo>
                  <a:pt x="9354" y="2190"/>
                </a:lnTo>
                <a:lnTo>
                  <a:pt x="9384" y="2140"/>
                </a:lnTo>
                <a:lnTo>
                  <a:pt x="9413" y="2089"/>
                </a:lnTo>
                <a:lnTo>
                  <a:pt x="9442" y="2038"/>
                </a:lnTo>
                <a:lnTo>
                  <a:pt x="9472" y="1988"/>
                </a:lnTo>
                <a:lnTo>
                  <a:pt x="9500" y="1936"/>
                </a:lnTo>
                <a:lnTo>
                  <a:pt x="9527" y="1884"/>
                </a:lnTo>
                <a:lnTo>
                  <a:pt x="9554" y="1832"/>
                </a:lnTo>
                <a:lnTo>
                  <a:pt x="9580" y="1779"/>
                </a:lnTo>
                <a:lnTo>
                  <a:pt x="9606" y="1726"/>
                </a:lnTo>
                <a:lnTo>
                  <a:pt x="9631" y="1673"/>
                </a:lnTo>
                <a:lnTo>
                  <a:pt x="9655" y="1619"/>
                </a:lnTo>
                <a:lnTo>
                  <a:pt x="9679" y="1565"/>
                </a:lnTo>
                <a:lnTo>
                  <a:pt x="9703" y="1511"/>
                </a:lnTo>
                <a:lnTo>
                  <a:pt x="9726" y="1456"/>
                </a:lnTo>
                <a:lnTo>
                  <a:pt x="9749" y="1401"/>
                </a:lnTo>
                <a:lnTo>
                  <a:pt x="9770" y="1346"/>
                </a:lnTo>
                <a:lnTo>
                  <a:pt x="9791" y="1292"/>
                </a:lnTo>
                <a:lnTo>
                  <a:pt x="9812" y="1236"/>
                </a:lnTo>
                <a:lnTo>
                  <a:pt x="9832" y="1180"/>
                </a:lnTo>
                <a:lnTo>
                  <a:pt x="9851" y="1123"/>
                </a:lnTo>
                <a:lnTo>
                  <a:pt x="9870" y="1066"/>
                </a:lnTo>
                <a:lnTo>
                  <a:pt x="9888" y="1009"/>
                </a:lnTo>
                <a:lnTo>
                  <a:pt x="9906" y="952"/>
                </a:lnTo>
                <a:lnTo>
                  <a:pt x="9922" y="895"/>
                </a:lnTo>
                <a:lnTo>
                  <a:pt x="9939" y="837"/>
                </a:lnTo>
                <a:lnTo>
                  <a:pt x="9954" y="779"/>
                </a:lnTo>
                <a:lnTo>
                  <a:pt x="9969" y="720"/>
                </a:lnTo>
                <a:lnTo>
                  <a:pt x="9985" y="662"/>
                </a:lnTo>
                <a:lnTo>
                  <a:pt x="9999" y="603"/>
                </a:lnTo>
                <a:lnTo>
                  <a:pt x="10012" y="543"/>
                </a:lnTo>
                <a:lnTo>
                  <a:pt x="10024" y="483"/>
                </a:lnTo>
                <a:lnTo>
                  <a:pt x="10036" y="423"/>
                </a:lnTo>
                <a:lnTo>
                  <a:pt x="10047" y="364"/>
                </a:lnTo>
                <a:lnTo>
                  <a:pt x="10058" y="304"/>
                </a:lnTo>
                <a:lnTo>
                  <a:pt x="10068" y="243"/>
                </a:lnTo>
                <a:lnTo>
                  <a:pt x="10077" y="183"/>
                </a:lnTo>
                <a:lnTo>
                  <a:pt x="10085" y="122"/>
                </a:lnTo>
                <a:lnTo>
                  <a:pt x="10093" y="61"/>
                </a:lnTo>
                <a:lnTo>
                  <a:pt x="10101" y="0"/>
                </a:lnTo>
                <a:lnTo>
                  <a:pt x="0" y="0"/>
                </a:lnTo>
                <a:close/>
              </a:path>
            </a:pathLst>
          </a:custGeom>
          <a:gradFill flip="none" rotWithShape="1">
            <a:gsLst>
              <a:gs pos="67000">
                <a:schemeClr val="accent1">
                  <a:lumMod val="50000"/>
                </a:schemeClr>
              </a:gs>
              <a:gs pos="20000">
                <a:srgbClr val="005F70">
                  <a:alpha val="0"/>
                </a:srgbClr>
              </a:gs>
            </a:gsLst>
            <a:path path="circle">
              <a:fillToRect l="50000" t="50000" r="50000" b="50000"/>
            </a:path>
            <a:tileRect/>
          </a:gradFill>
          <a:ln w="1270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25" name="Freeform 40"/>
          <p:cNvSpPr>
            <a:spLocks/>
          </p:cNvSpPr>
          <p:nvPr/>
        </p:nvSpPr>
        <p:spPr bwMode="auto">
          <a:xfrm flipH="1">
            <a:off x="5902438" y="5004769"/>
            <a:ext cx="137772" cy="97775"/>
          </a:xfrm>
          <a:custGeom>
            <a:avLst/>
            <a:gdLst>
              <a:gd name="T0" fmla="*/ 3860 w 4215"/>
              <a:gd name="T1" fmla="*/ 2166 h 2875"/>
              <a:gd name="T2" fmla="*/ 4215 w 4215"/>
              <a:gd name="T3" fmla="*/ 1862 h 2875"/>
              <a:gd name="T4" fmla="*/ 656 w 4215"/>
              <a:gd name="T5" fmla="*/ 0 h 2875"/>
              <a:gd name="T6" fmla="*/ 0 w 4215"/>
              <a:gd name="T7" fmla="*/ 1287 h 2875"/>
              <a:gd name="T8" fmla="*/ 1043 w 4215"/>
              <a:gd name="T9" fmla="*/ 1833 h 2875"/>
              <a:gd name="T10" fmla="*/ 975 w 4215"/>
              <a:gd name="T11" fmla="*/ 1966 h 2875"/>
              <a:gd name="T12" fmla="*/ 975 w 4215"/>
              <a:gd name="T13" fmla="*/ 1966 h 2875"/>
              <a:gd name="T14" fmla="*/ 970 w 4215"/>
              <a:gd name="T15" fmla="*/ 1977 h 2875"/>
              <a:gd name="T16" fmla="*/ 966 w 4215"/>
              <a:gd name="T17" fmla="*/ 1988 h 2875"/>
              <a:gd name="T18" fmla="*/ 964 w 4215"/>
              <a:gd name="T19" fmla="*/ 2001 h 2875"/>
              <a:gd name="T20" fmla="*/ 962 w 4215"/>
              <a:gd name="T21" fmla="*/ 2012 h 2875"/>
              <a:gd name="T22" fmla="*/ 962 w 4215"/>
              <a:gd name="T23" fmla="*/ 2024 h 2875"/>
              <a:gd name="T24" fmla="*/ 963 w 4215"/>
              <a:gd name="T25" fmla="*/ 2035 h 2875"/>
              <a:gd name="T26" fmla="*/ 965 w 4215"/>
              <a:gd name="T27" fmla="*/ 2046 h 2875"/>
              <a:gd name="T28" fmla="*/ 968 w 4215"/>
              <a:gd name="T29" fmla="*/ 2058 h 2875"/>
              <a:gd name="T30" fmla="*/ 972 w 4215"/>
              <a:gd name="T31" fmla="*/ 2069 h 2875"/>
              <a:gd name="T32" fmla="*/ 976 w 4215"/>
              <a:gd name="T33" fmla="*/ 2079 h 2875"/>
              <a:gd name="T34" fmla="*/ 982 w 4215"/>
              <a:gd name="T35" fmla="*/ 2089 h 2875"/>
              <a:gd name="T36" fmla="*/ 989 w 4215"/>
              <a:gd name="T37" fmla="*/ 2098 h 2875"/>
              <a:gd name="T38" fmla="*/ 997 w 4215"/>
              <a:gd name="T39" fmla="*/ 2106 h 2875"/>
              <a:gd name="T40" fmla="*/ 1006 w 4215"/>
              <a:gd name="T41" fmla="*/ 2114 h 2875"/>
              <a:gd name="T42" fmla="*/ 1015 w 4215"/>
              <a:gd name="T43" fmla="*/ 2122 h 2875"/>
              <a:gd name="T44" fmla="*/ 1026 w 4215"/>
              <a:gd name="T45" fmla="*/ 2128 h 2875"/>
              <a:gd name="T46" fmla="*/ 1920 w 4215"/>
              <a:gd name="T47" fmla="*/ 2597 h 2875"/>
              <a:gd name="T48" fmla="*/ 1920 w 4215"/>
              <a:gd name="T49" fmla="*/ 2597 h 2875"/>
              <a:gd name="T50" fmla="*/ 1932 w 4215"/>
              <a:gd name="T51" fmla="*/ 2602 h 2875"/>
              <a:gd name="T52" fmla="*/ 1943 w 4215"/>
              <a:gd name="T53" fmla="*/ 2605 h 2875"/>
              <a:gd name="T54" fmla="*/ 1955 w 4215"/>
              <a:gd name="T55" fmla="*/ 2608 h 2875"/>
              <a:gd name="T56" fmla="*/ 1966 w 4215"/>
              <a:gd name="T57" fmla="*/ 2609 h 2875"/>
              <a:gd name="T58" fmla="*/ 1977 w 4215"/>
              <a:gd name="T59" fmla="*/ 2610 h 2875"/>
              <a:gd name="T60" fmla="*/ 1989 w 4215"/>
              <a:gd name="T61" fmla="*/ 2609 h 2875"/>
              <a:gd name="T62" fmla="*/ 2000 w 4215"/>
              <a:gd name="T63" fmla="*/ 2607 h 2875"/>
              <a:gd name="T64" fmla="*/ 2011 w 4215"/>
              <a:gd name="T65" fmla="*/ 2604 h 2875"/>
              <a:gd name="T66" fmla="*/ 2022 w 4215"/>
              <a:gd name="T67" fmla="*/ 2600 h 2875"/>
              <a:gd name="T68" fmla="*/ 2032 w 4215"/>
              <a:gd name="T69" fmla="*/ 2595 h 2875"/>
              <a:gd name="T70" fmla="*/ 2041 w 4215"/>
              <a:gd name="T71" fmla="*/ 2589 h 2875"/>
              <a:gd name="T72" fmla="*/ 2051 w 4215"/>
              <a:gd name="T73" fmla="*/ 2582 h 2875"/>
              <a:gd name="T74" fmla="*/ 2059 w 4215"/>
              <a:gd name="T75" fmla="*/ 2573 h 2875"/>
              <a:gd name="T76" fmla="*/ 2067 w 4215"/>
              <a:gd name="T77" fmla="*/ 2565 h 2875"/>
              <a:gd name="T78" fmla="*/ 2074 w 4215"/>
              <a:gd name="T79" fmla="*/ 2555 h 2875"/>
              <a:gd name="T80" fmla="*/ 2080 w 4215"/>
              <a:gd name="T81" fmla="*/ 2545 h 2875"/>
              <a:gd name="T82" fmla="*/ 2147 w 4215"/>
              <a:gd name="T83" fmla="*/ 2412 h 2875"/>
              <a:gd name="T84" fmla="*/ 3033 w 4215"/>
              <a:gd name="T85" fmla="*/ 2875 h 2875"/>
              <a:gd name="T86" fmla="*/ 3327 w 4215"/>
              <a:gd name="T87" fmla="*/ 2623 h 2875"/>
              <a:gd name="T88" fmla="*/ 3564 w 4215"/>
              <a:gd name="T89" fmla="*/ 2748 h 2875"/>
              <a:gd name="T90" fmla="*/ 3631 w 4215"/>
              <a:gd name="T91" fmla="*/ 2616 h 2875"/>
              <a:gd name="T92" fmla="*/ 3717 w 4215"/>
              <a:gd name="T93" fmla="*/ 2661 h 2875"/>
              <a:gd name="T94" fmla="*/ 3909 w 4215"/>
              <a:gd name="T95" fmla="*/ 2283 h 2875"/>
              <a:gd name="T96" fmla="*/ 3824 w 4215"/>
              <a:gd name="T97" fmla="*/ 2238 h 2875"/>
              <a:gd name="T98" fmla="*/ 3860 w 4215"/>
              <a:gd name="T99" fmla="*/ 2166 h 2875"/>
              <a:gd name="T100" fmla="*/ 3860 w 4215"/>
              <a:gd name="T101" fmla="*/ 2166 h 2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15" h="2875">
                <a:moveTo>
                  <a:pt x="3860" y="2166"/>
                </a:moveTo>
                <a:lnTo>
                  <a:pt x="4215" y="1862"/>
                </a:lnTo>
                <a:lnTo>
                  <a:pt x="656" y="0"/>
                </a:lnTo>
                <a:lnTo>
                  <a:pt x="0" y="1287"/>
                </a:lnTo>
                <a:lnTo>
                  <a:pt x="1043" y="1833"/>
                </a:lnTo>
                <a:lnTo>
                  <a:pt x="975" y="1966"/>
                </a:lnTo>
                <a:lnTo>
                  <a:pt x="975" y="1966"/>
                </a:lnTo>
                <a:lnTo>
                  <a:pt x="970" y="1977"/>
                </a:lnTo>
                <a:lnTo>
                  <a:pt x="966" y="1988"/>
                </a:lnTo>
                <a:lnTo>
                  <a:pt x="964" y="2001"/>
                </a:lnTo>
                <a:lnTo>
                  <a:pt x="962" y="2012"/>
                </a:lnTo>
                <a:lnTo>
                  <a:pt x="962" y="2024"/>
                </a:lnTo>
                <a:lnTo>
                  <a:pt x="963" y="2035"/>
                </a:lnTo>
                <a:lnTo>
                  <a:pt x="965" y="2046"/>
                </a:lnTo>
                <a:lnTo>
                  <a:pt x="968" y="2058"/>
                </a:lnTo>
                <a:lnTo>
                  <a:pt x="972" y="2069"/>
                </a:lnTo>
                <a:lnTo>
                  <a:pt x="976" y="2079"/>
                </a:lnTo>
                <a:lnTo>
                  <a:pt x="982" y="2089"/>
                </a:lnTo>
                <a:lnTo>
                  <a:pt x="989" y="2098"/>
                </a:lnTo>
                <a:lnTo>
                  <a:pt x="997" y="2106"/>
                </a:lnTo>
                <a:lnTo>
                  <a:pt x="1006" y="2114"/>
                </a:lnTo>
                <a:lnTo>
                  <a:pt x="1015" y="2122"/>
                </a:lnTo>
                <a:lnTo>
                  <a:pt x="1026" y="2128"/>
                </a:lnTo>
                <a:lnTo>
                  <a:pt x="1920" y="2597"/>
                </a:lnTo>
                <a:lnTo>
                  <a:pt x="1920" y="2597"/>
                </a:lnTo>
                <a:lnTo>
                  <a:pt x="1932" y="2602"/>
                </a:lnTo>
                <a:lnTo>
                  <a:pt x="1943" y="2605"/>
                </a:lnTo>
                <a:lnTo>
                  <a:pt x="1955" y="2608"/>
                </a:lnTo>
                <a:lnTo>
                  <a:pt x="1966" y="2609"/>
                </a:lnTo>
                <a:lnTo>
                  <a:pt x="1977" y="2610"/>
                </a:lnTo>
                <a:lnTo>
                  <a:pt x="1989" y="2609"/>
                </a:lnTo>
                <a:lnTo>
                  <a:pt x="2000" y="2607"/>
                </a:lnTo>
                <a:lnTo>
                  <a:pt x="2011" y="2604"/>
                </a:lnTo>
                <a:lnTo>
                  <a:pt x="2022" y="2600"/>
                </a:lnTo>
                <a:lnTo>
                  <a:pt x="2032" y="2595"/>
                </a:lnTo>
                <a:lnTo>
                  <a:pt x="2041" y="2589"/>
                </a:lnTo>
                <a:lnTo>
                  <a:pt x="2051" y="2582"/>
                </a:lnTo>
                <a:lnTo>
                  <a:pt x="2059" y="2573"/>
                </a:lnTo>
                <a:lnTo>
                  <a:pt x="2067" y="2565"/>
                </a:lnTo>
                <a:lnTo>
                  <a:pt x="2074" y="2555"/>
                </a:lnTo>
                <a:lnTo>
                  <a:pt x="2080" y="2545"/>
                </a:lnTo>
                <a:lnTo>
                  <a:pt x="2147" y="2412"/>
                </a:lnTo>
                <a:lnTo>
                  <a:pt x="3033" y="2875"/>
                </a:lnTo>
                <a:lnTo>
                  <a:pt x="3327" y="2623"/>
                </a:lnTo>
                <a:lnTo>
                  <a:pt x="3564" y="2748"/>
                </a:lnTo>
                <a:lnTo>
                  <a:pt x="3631" y="2616"/>
                </a:lnTo>
                <a:lnTo>
                  <a:pt x="3717" y="2661"/>
                </a:lnTo>
                <a:lnTo>
                  <a:pt x="3909" y="2283"/>
                </a:lnTo>
                <a:lnTo>
                  <a:pt x="3824" y="2238"/>
                </a:lnTo>
                <a:lnTo>
                  <a:pt x="3860" y="2166"/>
                </a:lnTo>
                <a:lnTo>
                  <a:pt x="3860" y="216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26" name="Freeform 41"/>
          <p:cNvSpPr>
            <a:spLocks/>
          </p:cNvSpPr>
          <p:nvPr/>
        </p:nvSpPr>
        <p:spPr bwMode="auto">
          <a:xfrm flipH="1">
            <a:off x="5951659" y="4943231"/>
            <a:ext cx="35588" cy="100561"/>
          </a:xfrm>
          <a:custGeom>
            <a:avLst/>
            <a:gdLst>
              <a:gd name="T0" fmla="*/ 814 w 852"/>
              <a:gd name="T1" fmla="*/ 2208 h 2462"/>
              <a:gd name="T2" fmla="*/ 828 w 852"/>
              <a:gd name="T3" fmla="*/ 2176 h 2462"/>
              <a:gd name="T4" fmla="*/ 839 w 852"/>
              <a:gd name="T5" fmla="*/ 2137 h 2462"/>
              <a:gd name="T6" fmla="*/ 848 w 852"/>
              <a:gd name="T7" fmla="*/ 2087 h 2462"/>
              <a:gd name="T8" fmla="*/ 852 w 852"/>
              <a:gd name="T9" fmla="*/ 2027 h 2462"/>
              <a:gd name="T10" fmla="*/ 851 w 852"/>
              <a:gd name="T11" fmla="*/ 1994 h 2462"/>
              <a:gd name="T12" fmla="*/ 847 w 852"/>
              <a:gd name="T13" fmla="*/ 1960 h 2462"/>
              <a:gd name="T14" fmla="*/ 840 w 852"/>
              <a:gd name="T15" fmla="*/ 1923 h 2462"/>
              <a:gd name="T16" fmla="*/ 829 w 852"/>
              <a:gd name="T17" fmla="*/ 1886 h 2462"/>
              <a:gd name="T18" fmla="*/ 814 w 852"/>
              <a:gd name="T19" fmla="*/ 1848 h 2462"/>
              <a:gd name="T20" fmla="*/ 795 w 852"/>
              <a:gd name="T21" fmla="*/ 1808 h 2462"/>
              <a:gd name="T22" fmla="*/ 786 w 852"/>
              <a:gd name="T23" fmla="*/ 1794 h 2462"/>
              <a:gd name="T24" fmla="*/ 768 w 852"/>
              <a:gd name="T25" fmla="*/ 1768 h 2462"/>
              <a:gd name="T26" fmla="*/ 748 w 852"/>
              <a:gd name="T27" fmla="*/ 1742 h 2462"/>
              <a:gd name="T28" fmla="*/ 726 w 852"/>
              <a:gd name="T29" fmla="*/ 1718 h 2462"/>
              <a:gd name="T30" fmla="*/ 702 w 852"/>
              <a:gd name="T31" fmla="*/ 1696 h 2462"/>
              <a:gd name="T32" fmla="*/ 676 w 852"/>
              <a:gd name="T33" fmla="*/ 1676 h 2462"/>
              <a:gd name="T34" fmla="*/ 635 w 852"/>
              <a:gd name="T35" fmla="*/ 1650 h 2462"/>
              <a:gd name="T36" fmla="*/ 535 w 852"/>
              <a:gd name="T37" fmla="*/ 0 h 2462"/>
              <a:gd name="T38" fmla="*/ 212 w 852"/>
              <a:gd name="T39" fmla="*/ 1656 h 2462"/>
              <a:gd name="T40" fmla="*/ 187 w 852"/>
              <a:gd name="T41" fmla="*/ 1671 h 2462"/>
              <a:gd name="T42" fmla="*/ 142 w 852"/>
              <a:gd name="T43" fmla="*/ 1706 h 2462"/>
              <a:gd name="T44" fmla="*/ 102 w 852"/>
              <a:gd name="T45" fmla="*/ 1748 h 2462"/>
              <a:gd name="T46" fmla="*/ 68 w 852"/>
              <a:gd name="T47" fmla="*/ 1795 h 2462"/>
              <a:gd name="T48" fmla="*/ 40 w 852"/>
              <a:gd name="T49" fmla="*/ 1845 h 2462"/>
              <a:gd name="T50" fmla="*/ 19 w 852"/>
              <a:gd name="T51" fmla="*/ 1900 h 2462"/>
              <a:gd name="T52" fmla="*/ 5 w 852"/>
              <a:gd name="T53" fmla="*/ 1958 h 2462"/>
              <a:gd name="T54" fmla="*/ 0 w 852"/>
              <a:gd name="T55" fmla="*/ 2018 h 2462"/>
              <a:gd name="T56" fmla="*/ 0 w 852"/>
              <a:gd name="T57" fmla="*/ 2049 h 2462"/>
              <a:gd name="T58" fmla="*/ 5 w 852"/>
              <a:gd name="T59" fmla="*/ 2093 h 2462"/>
              <a:gd name="T60" fmla="*/ 13 w 852"/>
              <a:gd name="T61" fmla="*/ 2136 h 2462"/>
              <a:gd name="T62" fmla="*/ 26 w 852"/>
              <a:gd name="T63" fmla="*/ 2177 h 2462"/>
              <a:gd name="T64" fmla="*/ 42 w 852"/>
              <a:gd name="T65" fmla="*/ 2216 h 2462"/>
              <a:gd name="T66" fmla="*/ 62 w 852"/>
              <a:gd name="T67" fmla="*/ 2253 h 2462"/>
              <a:gd name="T68" fmla="*/ 85 w 852"/>
              <a:gd name="T69" fmla="*/ 2288 h 2462"/>
              <a:gd name="T70" fmla="*/ 111 w 852"/>
              <a:gd name="T71" fmla="*/ 2320 h 2462"/>
              <a:gd name="T72" fmla="*/ 140 w 852"/>
              <a:gd name="T73" fmla="*/ 2350 h 2462"/>
              <a:gd name="T74" fmla="*/ 172 w 852"/>
              <a:gd name="T75" fmla="*/ 2376 h 2462"/>
              <a:gd name="T76" fmla="*/ 207 w 852"/>
              <a:gd name="T77" fmla="*/ 2398 h 2462"/>
              <a:gd name="T78" fmla="*/ 243 w 852"/>
              <a:gd name="T79" fmla="*/ 2419 h 2462"/>
              <a:gd name="T80" fmla="*/ 281 w 852"/>
              <a:gd name="T81" fmla="*/ 2435 h 2462"/>
              <a:gd name="T82" fmla="*/ 321 w 852"/>
              <a:gd name="T83" fmla="*/ 2447 h 2462"/>
              <a:gd name="T84" fmla="*/ 362 w 852"/>
              <a:gd name="T85" fmla="*/ 2456 h 2462"/>
              <a:gd name="T86" fmla="*/ 405 w 852"/>
              <a:gd name="T87" fmla="*/ 2461 h 2462"/>
              <a:gd name="T88" fmla="*/ 449 w 852"/>
              <a:gd name="T89" fmla="*/ 2461 h 2462"/>
              <a:gd name="T90" fmla="*/ 480 w 852"/>
              <a:gd name="T91" fmla="*/ 2459 h 2462"/>
              <a:gd name="T92" fmla="*/ 538 w 852"/>
              <a:gd name="T93" fmla="*/ 2446 h 2462"/>
              <a:gd name="T94" fmla="*/ 593 w 852"/>
              <a:gd name="T95" fmla="*/ 2427 h 2462"/>
              <a:gd name="T96" fmla="*/ 645 w 852"/>
              <a:gd name="T97" fmla="*/ 2401 h 2462"/>
              <a:gd name="T98" fmla="*/ 692 w 852"/>
              <a:gd name="T99" fmla="*/ 2367 h 2462"/>
              <a:gd name="T100" fmla="*/ 734 w 852"/>
              <a:gd name="T101" fmla="*/ 2328 h 2462"/>
              <a:gd name="T102" fmla="*/ 771 w 852"/>
              <a:gd name="T103" fmla="*/ 2283 h 2462"/>
              <a:gd name="T104" fmla="*/ 801 w 852"/>
              <a:gd name="T105" fmla="*/ 2235 h 2462"/>
              <a:gd name="T106" fmla="*/ 814 w 852"/>
              <a:gd name="T107" fmla="*/ 2208 h 2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2" h="2462">
                <a:moveTo>
                  <a:pt x="814" y="2208"/>
                </a:moveTo>
                <a:lnTo>
                  <a:pt x="814" y="2208"/>
                </a:lnTo>
                <a:lnTo>
                  <a:pt x="818" y="2200"/>
                </a:lnTo>
                <a:lnTo>
                  <a:pt x="828" y="2176"/>
                </a:lnTo>
                <a:lnTo>
                  <a:pt x="833" y="2158"/>
                </a:lnTo>
                <a:lnTo>
                  <a:pt x="839" y="2137"/>
                </a:lnTo>
                <a:lnTo>
                  <a:pt x="844" y="2114"/>
                </a:lnTo>
                <a:lnTo>
                  <a:pt x="848" y="2087"/>
                </a:lnTo>
                <a:lnTo>
                  <a:pt x="851" y="2059"/>
                </a:lnTo>
                <a:lnTo>
                  <a:pt x="852" y="2027"/>
                </a:lnTo>
                <a:lnTo>
                  <a:pt x="852" y="2011"/>
                </a:lnTo>
                <a:lnTo>
                  <a:pt x="851" y="1994"/>
                </a:lnTo>
                <a:lnTo>
                  <a:pt x="849" y="1977"/>
                </a:lnTo>
                <a:lnTo>
                  <a:pt x="847" y="1960"/>
                </a:lnTo>
                <a:lnTo>
                  <a:pt x="844" y="1942"/>
                </a:lnTo>
                <a:lnTo>
                  <a:pt x="840" y="1923"/>
                </a:lnTo>
                <a:lnTo>
                  <a:pt x="835" y="1905"/>
                </a:lnTo>
                <a:lnTo>
                  <a:pt x="829" y="1886"/>
                </a:lnTo>
                <a:lnTo>
                  <a:pt x="822" y="1867"/>
                </a:lnTo>
                <a:lnTo>
                  <a:pt x="814" y="1848"/>
                </a:lnTo>
                <a:lnTo>
                  <a:pt x="805" y="1828"/>
                </a:lnTo>
                <a:lnTo>
                  <a:pt x="795" y="1808"/>
                </a:lnTo>
                <a:lnTo>
                  <a:pt x="795" y="1808"/>
                </a:lnTo>
                <a:lnTo>
                  <a:pt x="786" y="1794"/>
                </a:lnTo>
                <a:lnTo>
                  <a:pt x="778" y="1781"/>
                </a:lnTo>
                <a:lnTo>
                  <a:pt x="768" y="1768"/>
                </a:lnTo>
                <a:lnTo>
                  <a:pt x="759" y="1754"/>
                </a:lnTo>
                <a:lnTo>
                  <a:pt x="748" y="1742"/>
                </a:lnTo>
                <a:lnTo>
                  <a:pt x="737" y="1730"/>
                </a:lnTo>
                <a:lnTo>
                  <a:pt x="726" y="1718"/>
                </a:lnTo>
                <a:lnTo>
                  <a:pt x="714" y="1706"/>
                </a:lnTo>
                <a:lnTo>
                  <a:pt x="702" y="1696"/>
                </a:lnTo>
                <a:lnTo>
                  <a:pt x="689" y="1686"/>
                </a:lnTo>
                <a:lnTo>
                  <a:pt x="676" y="1676"/>
                </a:lnTo>
                <a:lnTo>
                  <a:pt x="662" y="1667"/>
                </a:lnTo>
                <a:lnTo>
                  <a:pt x="635" y="1650"/>
                </a:lnTo>
                <a:lnTo>
                  <a:pt x="606" y="1635"/>
                </a:lnTo>
                <a:lnTo>
                  <a:pt x="535" y="0"/>
                </a:lnTo>
                <a:lnTo>
                  <a:pt x="140" y="19"/>
                </a:lnTo>
                <a:lnTo>
                  <a:pt x="212" y="1656"/>
                </a:lnTo>
                <a:lnTo>
                  <a:pt x="212" y="1656"/>
                </a:lnTo>
                <a:lnTo>
                  <a:pt x="187" y="1671"/>
                </a:lnTo>
                <a:lnTo>
                  <a:pt x="163" y="1688"/>
                </a:lnTo>
                <a:lnTo>
                  <a:pt x="142" y="1706"/>
                </a:lnTo>
                <a:lnTo>
                  <a:pt x="121" y="1727"/>
                </a:lnTo>
                <a:lnTo>
                  <a:pt x="102" y="1748"/>
                </a:lnTo>
                <a:lnTo>
                  <a:pt x="84" y="1771"/>
                </a:lnTo>
                <a:lnTo>
                  <a:pt x="68" y="1795"/>
                </a:lnTo>
                <a:lnTo>
                  <a:pt x="53" y="1819"/>
                </a:lnTo>
                <a:lnTo>
                  <a:pt x="40" y="1845"/>
                </a:lnTo>
                <a:lnTo>
                  <a:pt x="28" y="1872"/>
                </a:lnTo>
                <a:lnTo>
                  <a:pt x="19" y="1900"/>
                </a:lnTo>
                <a:lnTo>
                  <a:pt x="11" y="1928"/>
                </a:lnTo>
                <a:lnTo>
                  <a:pt x="5" y="1958"/>
                </a:lnTo>
                <a:lnTo>
                  <a:pt x="2" y="1987"/>
                </a:lnTo>
                <a:lnTo>
                  <a:pt x="0" y="2018"/>
                </a:lnTo>
                <a:lnTo>
                  <a:pt x="0" y="2049"/>
                </a:lnTo>
                <a:lnTo>
                  <a:pt x="0" y="2049"/>
                </a:lnTo>
                <a:lnTo>
                  <a:pt x="2" y="2072"/>
                </a:lnTo>
                <a:lnTo>
                  <a:pt x="5" y="2093"/>
                </a:lnTo>
                <a:lnTo>
                  <a:pt x="8" y="2115"/>
                </a:lnTo>
                <a:lnTo>
                  <a:pt x="13" y="2136"/>
                </a:lnTo>
                <a:lnTo>
                  <a:pt x="19" y="2156"/>
                </a:lnTo>
                <a:lnTo>
                  <a:pt x="26" y="2177"/>
                </a:lnTo>
                <a:lnTo>
                  <a:pt x="34" y="2197"/>
                </a:lnTo>
                <a:lnTo>
                  <a:pt x="42" y="2216"/>
                </a:lnTo>
                <a:lnTo>
                  <a:pt x="52" y="2235"/>
                </a:lnTo>
                <a:lnTo>
                  <a:pt x="62" y="2253"/>
                </a:lnTo>
                <a:lnTo>
                  <a:pt x="73" y="2270"/>
                </a:lnTo>
                <a:lnTo>
                  <a:pt x="85" y="2288"/>
                </a:lnTo>
                <a:lnTo>
                  <a:pt x="98" y="2304"/>
                </a:lnTo>
                <a:lnTo>
                  <a:pt x="111" y="2320"/>
                </a:lnTo>
                <a:lnTo>
                  <a:pt x="125" y="2334"/>
                </a:lnTo>
                <a:lnTo>
                  <a:pt x="140" y="2350"/>
                </a:lnTo>
                <a:lnTo>
                  <a:pt x="156" y="2363"/>
                </a:lnTo>
                <a:lnTo>
                  <a:pt x="172" y="2376"/>
                </a:lnTo>
                <a:lnTo>
                  <a:pt x="189" y="2387"/>
                </a:lnTo>
                <a:lnTo>
                  <a:pt x="207" y="2398"/>
                </a:lnTo>
                <a:lnTo>
                  <a:pt x="225" y="2410"/>
                </a:lnTo>
                <a:lnTo>
                  <a:pt x="243" y="2419"/>
                </a:lnTo>
                <a:lnTo>
                  <a:pt x="262" y="2427"/>
                </a:lnTo>
                <a:lnTo>
                  <a:pt x="281" y="2435"/>
                </a:lnTo>
                <a:lnTo>
                  <a:pt x="301" y="2442"/>
                </a:lnTo>
                <a:lnTo>
                  <a:pt x="321" y="2447"/>
                </a:lnTo>
                <a:lnTo>
                  <a:pt x="341" y="2452"/>
                </a:lnTo>
                <a:lnTo>
                  <a:pt x="362" y="2456"/>
                </a:lnTo>
                <a:lnTo>
                  <a:pt x="383" y="2460"/>
                </a:lnTo>
                <a:lnTo>
                  <a:pt x="405" y="2461"/>
                </a:lnTo>
                <a:lnTo>
                  <a:pt x="426" y="2462"/>
                </a:lnTo>
                <a:lnTo>
                  <a:pt x="449" y="2461"/>
                </a:lnTo>
                <a:lnTo>
                  <a:pt x="449" y="2461"/>
                </a:lnTo>
                <a:lnTo>
                  <a:pt x="480" y="2459"/>
                </a:lnTo>
                <a:lnTo>
                  <a:pt x="509" y="2453"/>
                </a:lnTo>
                <a:lnTo>
                  <a:pt x="538" y="2446"/>
                </a:lnTo>
                <a:lnTo>
                  <a:pt x="566" y="2438"/>
                </a:lnTo>
                <a:lnTo>
                  <a:pt x="593" y="2427"/>
                </a:lnTo>
                <a:lnTo>
                  <a:pt x="620" y="2415"/>
                </a:lnTo>
                <a:lnTo>
                  <a:pt x="645" y="2401"/>
                </a:lnTo>
                <a:lnTo>
                  <a:pt x="669" y="2384"/>
                </a:lnTo>
                <a:lnTo>
                  <a:pt x="692" y="2367"/>
                </a:lnTo>
                <a:lnTo>
                  <a:pt x="714" y="2349"/>
                </a:lnTo>
                <a:lnTo>
                  <a:pt x="734" y="2328"/>
                </a:lnTo>
                <a:lnTo>
                  <a:pt x="753" y="2307"/>
                </a:lnTo>
                <a:lnTo>
                  <a:pt x="771" y="2283"/>
                </a:lnTo>
                <a:lnTo>
                  <a:pt x="787" y="2260"/>
                </a:lnTo>
                <a:lnTo>
                  <a:pt x="801" y="2235"/>
                </a:lnTo>
                <a:lnTo>
                  <a:pt x="814" y="2208"/>
                </a:lnTo>
                <a:lnTo>
                  <a:pt x="814" y="220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27" name="Freeform 42"/>
          <p:cNvSpPr>
            <a:spLocks/>
          </p:cNvSpPr>
          <p:nvPr/>
        </p:nvSpPr>
        <p:spPr bwMode="auto">
          <a:xfrm flipH="1">
            <a:off x="5859877" y="4939278"/>
            <a:ext cx="222896" cy="35492"/>
          </a:xfrm>
          <a:custGeom>
            <a:avLst/>
            <a:gdLst>
              <a:gd name="T0" fmla="*/ 0 w 5600"/>
              <a:gd name="T1" fmla="*/ 0 h 872"/>
              <a:gd name="T2" fmla="*/ 57 w 5600"/>
              <a:gd name="T3" fmla="*/ 48 h 872"/>
              <a:gd name="T4" fmla="*/ 179 w 5600"/>
              <a:gd name="T5" fmla="*/ 143 h 872"/>
              <a:gd name="T6" fmla="*/ 310 w 5600"/>
              <a:gd name="T7" fmla="*/ 232 h 872"/>
              <a:gd name="T8" fmla="*/ 450 w 5600"/>
              <a:gd name="T9" fmla="*/ 317 h 872"/>
              <a:gd name="T10" fmla="*/ 599 w 5600"/>
              <a:gd name="T11" fmla="*/ 397 h 872"/>
              <a:gd name="T12" fmla="*/ 756 w 5600"/>
              <a:gd name="T13" fmla="*/ 471 h 872"/>
              <a:gd name="T14" fmla="*/ 922 w 5600"/>
              <a:gd name="T15" fmla="*/ 540 h 872"/>
              <a:gd name="T16" fmla="*/ 1093 w 5600"/>
              <a:gd name="T17" fmla="*/ 604 h 872"/>
              <a:gd name="T18" fmla="*/ 1273 w 5600"/>
              <a:gd name="T19" fmla="*/ 661 h 872"/>
              <a:gd name="T20" fmla="*/ 1460 w 5600"/>
              <a:gd name="T21" fmla="*/ 711 h 872"/>
              <a:gd name="T22" fmla="*/ 1652 w 5600"/>
              <a:gd name="T23" fmla="*/ 755 h 872"/>
              <a:gd name="T24" fmla="*/ 1850 w 5600"/>
              <a:gd name="T25" fmla="*/ 793 h 872"/>
              <a:gd name="T26" fmla="*/ 2053 w 5600"/>
              <a:gd name="T27" fmla="*/ 823 h 872"/>
              <a:gd name="T28" fmla="*/ 2261 w 5600"/>
              <a:gd name="T29" fmla="*/ 847 h 872"/>
              <a:gd name="T30" fmla="*/ 2474 w 5600"/>
              <a:gd name="T31" fmla="*/ 863 h 872"/>
              <a:gd name="T32" fmla="*/ 2691 w 5600"/>
              <a:gd name="T33" fmla="*/ 871 h 872"/>
              <a:gd name="T34" fmla="*/ 2800 w 5600"/>
              <a:gd name="T35" fmla="*/ 872 h 872"/>
              <a:gd name="T36" fmla="*/ 3019 w 5600"/>
              <a:gd name="T37" fmla="*/ 868 h 872"/>
              <a:gd name="T38" fmla="*/ 3233 w 5600"/>
              <a:gd name="T39" fmla="*/ 856 h 872"/>
              <a:gd name="T40" fmla="*/ 3444 w 5600"/>
              <a:gd name="T41" fmla="*/ 837 h 872"/>
              <a:gd name="T42" fmla="*/ 3650 w 5600"/>
              <a:gd name="T43" fmla="*/ 809 h 872"/>
              <a:gd name="T44" fmla="*/ 3850 w 5600"/>
              <a:gd name="T45" fmla="*/ 776 h 872"/>
              <a:gd name="T46" fmla="*/ 4045 w 5600"/>
              <a:gd name="T47" fmla="*/ 734 h 872"/>
              <a:gd name="T48" fmla="*/ 4235 w 5600"/>
              <a:gd name="T49" fmla="*/ 687 h 872"/>
              <a:gd name="T50" fmla="*/ 4418 w 5600"/>
              <a:gd name="T51" fmla="*/ 633 h 872"/>
              <a:gd name="T52" fmla="*/ 4594 w 5600"/>
              <a:gd name="T53" fmla="*/ 572 h 872"/>
              <a:gd name="T54" fmla="*/ 4763 w 5600"/>
              <a:gd name="T55" fmla="*/ 506 h 872"/>
              <a:gd name="T56" fmla="*/ 4924 w 5600"/>
              <a:gd name="T57" fmla="*/ 435 h 872"/>
              <a:gd name="T58" fmla="*/ 5077 w 5600"/>
              <a:gd name="T59" fmla="*/ 357 h 872"/>
              <a:gd name="T60" fmla="*/ 5222 w 5600"/>
              <a:gd name="T61" fmla="*/ 275 h 872"/>
              <a:gd name="T62" fmla="*/ 5357 w 5600"/>
              <a:gd name="T63" fmla="*/ 187 h 872"/>
              <a:gd name="T64" fmla="*/ 5484 w 5600"/>
              <a:gd name="T65" fmla="*/ 96 h 872"/>
              <a:gd name="T66" fmla="*/ 5572 w 5600"/>
              <a:gd name="T67" fmla="*/ 24 h 872"/>
              <a:gd name="T68" fmla="*/ 0 w 5600"/>
              <a:gd name="T69" fmla="*/ 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00" h="872">
                <a:moveTo>
                  <a:pt x="0" y="0"/>
                </a:moveTo>
                <a:lnTo>
                  <a:pt x="0" y="0"/>
                </a:lnTo>
                <a:lnTo>
                  <a:pt x="29" y="24"/>
                </a:lnTo>
                <a:lnTo>
                  <a:pt x="57" y="48"/>
                </a:lnTo>
                <a:lnTo>
                  <a:pt x="117" y="96"/>
                </a:lnTo>
                <a:lnTo>
                  <a:pt x="179" y="143"/>
                </a:lnTo>
                <a:lnTo>
                  <a:pt x="243" y="187"/>
                </a:lnTo>
                <a:lnTo>
                  <a:pt x="310" y="232"/>
                </a:lnTo>
                <a:lnTo>
                  <a:pt x="379" y="275"/>
                </a:lnTo>
                <a:lnTo>
                  <a:pt x="450" y="317"/>
                </a:lnTo>
                <a:lnTo>
                  <a:pt x="523" y="357"/>
                </a:lnTo>
                <a:lnTo>
                  <a:pt x="599" y="397"/>
                </a:lnTo>
                <a:lnTo>
                  <a:pt x="677" y="435"/>
                </a:lnTo>
                <a:lnTo>
                  <a:pt x="756" y="471"/>
                </a:lnTo>
                <a:lnTo>
                  <a:pt x="837" y="506"/>
                </a:lnTo>
                <a:lnTo>
                  <a:pt x="922" y="540"/>
                </a:lnTo>
                <a:lnTo>
                  <a:pt x="1007" y="572"/>
                </a:lnTo>
                <a:lnTo>
                  <a:pt x="1093" y="604"/>
                </a:lnTo>
                <a:lnTo>
                  <a:pt x="1183" y="633"/>
                </a:lnTo>
                <a:lnTo>
                  <a:pt x="1273" y="661"/>
                </a:lnTo>
                <a:lnTo>
                  <a:pt x="1366" y="687"/>
                </a:lnTo>
                <a:lnTo>
                  <a:pt x="1460" y="711"/>
                </a:lnTo>
                <a:lnTo>
                  <a:pt x="1555" y="734"/>
                </a:lnTo>
                <a:lnTo>
                  <a:pt x="1652" y="755"/>
                </a:lnTo>
                <a:lnTo>
                  <a:pt x="1750" y="776"/>
                </a:lnTo>
                <a:lnTo>
                  <a:pt x="1850" y="793"/>
                </a:lnTo>
                <a:lnTo>
                  <a:pt x="1951" y="809"/>
                </a:lnTo>
                <a:lnTo>
                  <a:pt x="2053" y="823"/>
                </a:lnTo>
                <a:lnTo>
                  <a:pt x="2157" y="837"/>
                </a:lnTo>
                <a:lnTo>
                  <a:pt x="2261" y="847"/>
                </a:lnTo>
                <a:lnTo>
                  <a:pt x="2368" y="856"/>
                </a:lnTo>
                <a:lnTo>
                  <a:pt x="2474" y="863"/>
                </a:lnTo>
                <a:lnTo>
                  <a:pt x="2582" y="868"/>
                </a:lnTo>
                <a:lnTo>
                  <a:pt x="2691" y="871"/>
                </a:lnTo>
                <a:lnTo>
                  <a:pt x="2800" y="872"/>
                </a:lnTo>
                <a:lnTo>
                  <a:pt x="2800" y="872"/>
                </a:lnTo>
                <a:lnTo>
                  <a:pt x="2910" y="871"/>
                </a:lnTo>
                <a:lnTo>
                  <a:pt x="3019" y="868"/>
                </a:lnTo>
                <a:lnTo>
                  <a:pt x="3127" y="863"/>
                </a:lnTo>
                <a:lnTo>
                  <a:pt x="3233" y="856"/>
                </a:lnTo>
                <a:lnTo>
                  <a:pt x="3339" y="847"/>
                </a:lnTo>
                <a:lnTo>
                  <a:pt x="3444" y="837"/>
                </a:lnTo>
                <a:lnTo>
                  <a:pt x="3547" y="823"/>
                </a:lnTo>
                <a:lnTo>
                  <a:pt x="3650" y="809"/>
                </a:lnTo>
                <a:lnTo>
                  <a:pt x="3751" y="793"/>
                </a:lnTo>
                <a:lnTo>
                  <a:pt x="3850" y="776"/>
                </a:lnTo>
                <a:lnTo>
                  <a:pt x="3949" y="755"/>
                </a:lnTo>
                <a:lnTo>
                  <a:pt x="4045" y="734"/>
                </a:lnTo>
                <a:lnTo>
                  <a:pt x="4141" y="711"/>
                </a:lnTo>
                <a:lnTo>
                  <a:pt x="4235" y="687"/>
                </a:lnTo>
                <a:lnTo>
                  <a:pt x="4327" y="661"/>
                </a:lnTo>
                <a:lnTo>
                  <a:pt x="4418" y="633"/>
                </a:lnTo>
                <a:lnTo>
                  <a:pt x="4507" y="604"/>
                </a:lnTo>
                <a:lnTo>
                  <a:pt x="4594" y="572"/>
                </a:lnTo>
                <a:lnTo>
                  <a:pt x="4680" y="540"/>
                </a:lnTo>
                <a:lnTo>
                  <a:pt x="4763" y="506"/>
                </a:lnTo>
                <a:lnTo>
                  <a:pt x="4844" y="471"/>
                </a:lnTo>
                <a:lnTo>
                  <a:pt x="4924" y="435"/>
                </a:lnTo>
                <a:lnTo>
                  <a:pt x="5002" y="397"/>
                </a:lnTo>
                <a:lnTo>
                  <a:pt x="5077" y="357"/>
                </a:lnTo>
                <a:lnTo>
                  <a:pt x="5151" y="317"/>
                </a:lnTo>
                <a:lnTo>
                  <a:pt x="5222" y="275"/>
                </a:lnTo>
                <a:lnTo>
                  <a:pt x="5291" y="232"/>
                </a:lnTo>
                <a:lnTo>
                  <a:pt x="5357" y="187"/>
                </a:lnTo>
                <a:lnTo>
                  <a:pt x="5422" y="143"/>
                </a:lnTo>
                <a:lnTo>
                  <a:pt x="5484" y="96"/>
                </a:lnTo>
                <a:lnTo>
                  <a:pt x="5543" y="48"/>
                </a:lnTo>
                <a:lnTo>
                  <a:pt x="5572" y="24"/>
                </a:lnTo>
                <a:lnTo>
                  <a:pt x="5600" y="0"/>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228" name="Group 3227"/>
          <p:cNvGrpSpPr/>
          <p:nvPr/>
        </p:nvGrpSpPr>
        <p:grpSpPr>
          <a:xfrm rot="19488239" flipH="1" flipV="1">
            <a:off x="5635322" y="5016882"/>
            <a:ext cx="162237" cy="259125"/>
            <a:chOff x="2658904" y="3122439"/>
            <a:chExt cx="81472" cy="132564"/>
          </a:xfrm>
          <a:solidFill>
            <a:schemeClr val="accent3"/>
          </a:solidFill>
        </p:grpSpPr>
        <p:sp>
          <p:nvSpPr>
            <p:cNvPr id="322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3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23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398" name="Group 3397"/>
          <p:cNvGrpSpPr/>
          <p:nvPr/>
        </p:nvGrpSpPr>
        <p:grpSpPr>
          <a:xfrm>
            <a:off x="3818186" y="3997734"/>
            <a:ext cx="2844960" cy="656180"/>
            <a:chOff x="831806" y="3651422"/>
            <a:chExt cx="1002800" cy="1042869"/>
          </a:xfrm>
        </p:grpSpPr>
        <p:sp>
          <p:nvSpPr>
            <p:cNvPr id="3399" name="Rectangle 3398"/>
            <p:cNvSpPr/>
            <p:nvPr/>
          </p:nvSpPr>
          <p:spPr bwMode="auto">
            <a:xfrm>
              <a:off x="831806" y="3651422"/>
              <a:ext cx="1002800" cy="104286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Centrally manage critical station assets—everything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from communication and security networks to escalators and HVAC control systems</a:t>
              </a:r>
            </a:p>
          </p:txBody>
        </p:sp>
        <p:cxnSp>
          <p:nvCxnSpPr>
            <p:cNvPr id="3400" name="Straight Connector 3399"/>
            <p:cNvCxnSpPr/>
            <p:nvPr/>
          </p:nvCxnSpPr>
          <p:spPr>
            <a:xfrm flipV="1">
              <a:off x="831806" y="3651422"/>
              <a:ext cx="0" cy="1042869"/>
            </a:xfrm>
            <a:prstGeom prst="line">
              <a:avLst/>
            </a:prstGeom>
            <a:solidFill>
              <a:srgbClr val="8DC548">
                <a:alpha val="50000"/>
              </a:srgbClr>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3405" name="Oval 211"/>
          <p:cNvSpPr>
            <a:spLocks noChangeAspect="1"/>
          </p:cNvSpPr>
          <p:nvPr/>
        </p:nvSpPr>
        <p:spPr bwMode="auto">
          <a:xfrm>
            <a:off x="818659" y="3953320"/>
            <a:ext cx="443554" cy="280803"/>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bg2">
              <a:lumMod val="5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06" name="Oval 211"/>
          <p:cNvSpPr>
            <a:spLocks noChangeAspect="1"/>
          </p:cNvSpPr>
          <p:nvPr/>
        </p:nvSpPr>
        <p:spPr bwMode="auto">
          <a:xfrm>
            <a:off x="2889269" y="3953321"/>
            <a:ext cx="443554" cy="280803"/>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bg2">
              <a:lumMod val="5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507" name="Group 3506"/>
          <p:cNvGrpSpPr/>
          <p:nvPr/>
        </p:nvGrpSpPr>
        <p:grpSpPr>
          <a:xfrm>
            <a:off x="279699" y="5269036"/>
            <a:ext cx="580136" cy="578939"/>
            <a:chOff x="292101" y="5427663"/>
            <a:chExt cx="769938" cy="768349"/>
          </a:xfrm>
        </p:grpSpPr>
        <p:sp>
          <p:nvSpPr>
            <p:cNvPr id="3370" name="Rectangle 2242"/>
            <p:cNvSpPr>
              <a:spLocks noChangeArrowheads="1"/>
            </p:cNvSpPr>
            <p:nvPr/>
          </p:nvSpPr>
          <p:spPr bwMode="auto">
            <a:xfrm>
              <a:off x="292101" y="5535613"/>
              <a:ext cx="544513" cy="579437"/>
            </a:xfrm>
            <a:prstGeom prst="rect">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1" name="Rectangle 2243"/>
            <p:cNvSpPr>
              <a:spLocks noChangeArrowheads="1"/>
            </p:cNvSpPr>
            <p:nvPr/>
          </p:nvSpPr>
          <p:spPr bwMode="auto">
            <a:xfrm>
              <a:off x="698501" y="5427663"/>
              <a:ext cx="325438" cy="430212"/>
            </a:xfrm>
            <a:prstGeom prst="rect">
              <a:avLst/>
            </a:pr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2" name="Freeform 2244"/>
            <p:cNvSpPr>
              <a:spLocks/>
            </p:cNvSpPr>
            <p:nvPr/>
          </p:nvSpPr>
          <p:spPr bwMode="auto">
            <a:xfrm>
              <a:off x="292101" y="5857875"/>
              <a:ext cx="730250" cy="257175"/>
            </a:xfrm>
            <a:custGeom>
              <a:avLst/>
              <a:gdLst>
                <a:gd name="T0" fmla="*/ 2039 w 2759"/>
                <a:gd name="T1" fmla="*/ 976 h 976"/>
                <a:gd name="T2" fmla="*/ 2759 w 2759"/>
                <a:gd name="T3" fmla="*/ 0 h 976"/>
                <a:gd name="T4" fmla="*/ 1555 w 2759"/>
                <a:gd name="T5" fmla="*/ 0 h 976"/>
                <a:gd name="T6" fmla="*/ 0 w 2759"/>
                <a:gd name="T7" fmla="*/ 976 h 976"/>
                <a:gd name="T8" fmla="*/ 2039 w 2759"/>
                <a:gd name="T9" fmla="*/ 976 h 976"/>
              </a:gdLst>
              <a:ahLst/>
              <a:cxnLst>
                <a:cxn ang="0">
                  <a:pos x="T0" y="T1"/>
                </a:cxn>
                <a:cxn ang="0">
                  <a:pos x="T2" y="T3"/>
                </a:cxn>
                <a:cxn ang="0">
                  <a:pos x="T4" y="T5"/>
                </a:cxn>
                <a:cxn ang="0">
                  <a:pos x="T6" y="T7"/>
                </a:cxn>
                <a:cxn ang="0">
                  <a:pos x="T8" y="T9"/>
                </a:cxn>
              </a:cxnLst>
              <a:rect l="0" t="0" r="r" b="b"/>
              <a:pathLst>
                <a:path w="2759" h="976">
                  <a:moveTo>
                    <a:pt x="2039" y="976"/>
                  </a:moveTo>
                  <a:lnTo>
                    <a:pt x="2759" y="0"/>
                  </a:lnTo>
                  <a:lnTo>
                    <a:pt x="1555" y="0"/>
                  </a:lnTo>
                  <a:lnTo>
                    <a:pt x="0" y="976"/>
                  </a:lnTo>
                  <a:lnTo>
                    <a:pt x="2039" y="976"/>
                  </a:lnTo>
                  <a:close/>
                </a:path>
              </a:pathLst>
            </a:custGeom>
            <a:solidFill>
              <a:schemeClr val="accent4">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5" name="Freeform 2247"/>
            <p:cNvSpPr>
              <a:spLocks/>
            </p:cNvSpPr>
            <p:nvPr/>
          </p:nvSpPr>
          <p:spPr bwMode="auto">
            <a:xfrm>
              <a:off x="509588" y="5883275"/>
              <a:ext cx="150813" cy="138112"/>
            </a:xfrm>
            <a:custGeom>
              <a:avLst/>
              <a:gdLst>
                <a:gd name="T0" fmla="*/ 0 w 567"/>
                <a:gd name="T1" fmla="*/ 2 h 522"/>
                <a:gd name="T2" fmla="*/ 567 w 567"/>
                <a:gd name="T3" fmla="*/ 0 h 522"/>
                <a:gd name="T4" fmla="*/ 567 w 567"/>
                <a:gd name="T5" fmla="*/ 522 h 522"/>
                <a:gd name="T6" fmla="*/ 0 w 567"/>
                <a:gd name="T7" fmla="*/ 522 h 522"/>
                <a:gd name="T8" fmla="*/ 0 w 567"/>
                <a:gd name="T9" fmla="*/ 2 h 522"/>
              </a:gdLst>
              <a:ahLst/>
              <a:cxnLst>
                <a:cxn ang="0">
                  <a:pos x="T0" y="T1"/>
                </a:cxn>
                <a:cxn ang="0">
                  <a:pos x="T2" y="T3"/>
                </a:cxn>
                <a:cxn ang="0">
                  <a:pos x="T4" y="T5"/>
                </a:cxn>
                <a:cxn ang="0">
                  <a:pos x="T6" y="T7"/>
                </a:cxn>
                <a:cxn ang="0">
                  <a:pos x="T8" y="T9"/>
                </a:cxn>
              </a:cxnLst>
              <a:rect l="0" t="0" r="r" b="b"/>
              <a:pathLst>
                <a:path w="567" h="522">
                  <a:moveTo>
                    <a:pt x="0" y="2"/>
                  </a:moveTo>
                  <a:lnTo>
                    <a:pt x="567" y="0"/>
                  </a:lnTo>
                  <a:lnTo>
                    <a:pt x="567" y="522"/>
                  </a:lnTo>
                  <a:lnTo>
                    <a:pt x="0" y="522"/>
                  </a:lnTo>
                  <a:lnTo>
                    <a:pt x="0" y="2"/>
                  </a:lnTo>
                  <a:close/>
                </a:path>
              </a:pathLst>
            </a:custGeom>
            <a:solidFill>
              <a:schemeClr val="accent1">
                <a:lumMod val="50000"/>
              </a:schemeClr>
            </a:solidFill>
            <a:ln>
              <a:solidFill>
                <a:schemeClr val="accent6">
                  <a:lumMod val="60000"/>
                  <a:lumOff val="4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445" name="Group 3444"/>
            <p:cNvGrpSpPr/>
            <p:nvPr/>
          </p:nvGrpSpPr>
          <p:grpSpPr>
            <a:xfrm>
              <a:off x="422276" y="5699125"/>
              <a:ext cx="312738" cy="393700"/>
              <a:chOff x="422276" y="5699125"/>
              <a:chExt cx="312738" cy="393700"/>
            </a:xfrm>
          </p:grpSpPr>
          <p:sp>
            <p:nvSpPr>
              <p:cNvPr id="3373" name="Freeform 2245"/>
              <p:cNvSpPr>
                <a:spLocks/>
              </p:cNvSpPr>
              <p:nvPr/>
            </p:nvSpPr>
            <p:spPr bwMode="auto">
              <a:xfrm>
                <a:off x="509588" y="5834063"/>
                <a:ext cx="225425" cy="49212"/>
              </a:xfrm>
              <a:custGeom>
                <a:avLst/>
                <a:gdLst>
                  <a:gd name="T0" fmla="*/ 558 w 849"/>
                  <a:gd name="T1" fmla="*/ 185 h 185"/>
                  <a:gd name="T2" fmla="*/ 849 w 849"/>
                  <a:gd name="T3" fmla="*/ 0 h 185"/>
                  <a:gd name="T4" fmla="*/ 299 w 849"/>
                  <a:gd name="T5" fmla="*/ 0 h 185"/>
                  <a:gd name="T6" fmla="*/ 0 w 849"/>
                  <a:gd name="T7" fmla="*/ 185 h 185"/>
                  <a:gd name="T8" fmla="*/ 558 w 849"/>
                  <a:gd name="T9" fmla="*/ 185 h 185"/>
                </a:gdLst>
                <a:ahLst/>
                <a:cxnLst>
                  <a:cxn ang="0">
                    <a:pos x="T0" y="T1"/>
                  </a:cxn>
                  <a:cxn ang="0">
                    <a:pos x="T2" y="T3"/>
                  </a:cxn>
                  <a:cxn ang="0">
                    <a:pos x="T4" y="T5"/>
                  </a:cxn>
                  <a:cxn ang="0">
                    <a:pos x="T6" y="T7"/>
                  </a:cxn>
                  <a:cxn ang="0">
                    <a:pos x="T8" y="T9"/>
                  </a:cxn>
                </a:cxnLst>
                <a:rect l="0" t="0" r="r" b="b"/>
                <a:pathLst>
                  <a:path w="849" h="185">
                    <a:moveTo>
                      <a:pt x="558" y="185"/>
                    </a:moveTo>
                    <a:lnTo>
                      <a:pt x="849" y="0"/>
                    </a:lnTo>
                    <a:lnTo>
                      <a:pt x="299" y="0"/>
                    </a:lnTo>
                    <a:lnTo>
                      <a:pt x="0" y="185"/>
                    </a:lnTo>
                    <a:lnTo>
                      <a:pt x="558" y="185"/>
                    </a:lnTo>
                    <a:close/>
                  </a:path>
                </a:pathLst>
              </a:custGeom>
              <a:solidFill>
                <a:schemeClr val="accent1"/>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4" name="Freeform 2246"/>
              <p:cNvSpPr>
                <a:spLocks/>
              </p:cNvSpPr>
              <p:nvPr/>
            </p:nvSpPr>
            <p:spPr bwMode="auto">
              <a:xfrm>
                <a:off x="660401" y="5834063"/>
                <a:ext cx="74613" cy="187325"/>
              </a:xfrm>
              <a:custGeom>
                <a:avLst/>
                <a:gdLst>
                  <a:gd name="T0" fmla="*/ 282 w 282"/>
                  <a:gd name="T1" fmla="*/ 0 h 705"/>
                  <a:gd name="T2" fmla="*/ 0 w 282"/>
                  <a:gd name="T3" fmla="*/ 183 h 705"/>
                  <a:gd name="T4" fmla="*/ 0 w 282"/>
                  <a:gd name="T5" fmla="*/ 705 h 705"/>
                  <a:gd name="T6" fmla="*/ 282 w 282"/>
                  <a:gd name="T7" fmla="*/ 416 h 705"/>
                  <a:gd name="T8" fmla="*/ 282 w 282"/>
                  <a:gd name="T9" fmla="*/ 0 h 705"/>
                </a:gdLst>
                <a:ahLst/>
                <a:cxnLst>
                  <a:cxn ang="0">
                    <a:pos x="T0" y="T1"/>
                  </a:cxn>
                  <a:cxn ang="0">
                    <a:pos x="T2" y="T3"/>
                  </a:cxn>
                  <a:cxn ang="0">
                    <a:pos x="T4" y="T5"/>
                  </a:cxn>
                  <a:cxn ang="0">
                    <a:pos x="T6" y="T7"/>
                  </a:cxn>
                  <a:cxn ang="0">
                    <a:pos x="T8" y="T9"/>
                  </a:cxn>
                </a:cxnLst>
                <a:rect l="0" t="0" r="r" b="b"/>
                <a:pathLst>
                  <a:path w="282" h="705">
                    <a:moveTo>
                      <a:pt x="282" y="0"/>
                    </a:moveTo>
                    <a:lnTo>
                      <a:pt x="0" y="183"/>
                    </a:lnTo>
                    <a:lnTo>
                      <a:pt x="0" y="705"/>
                    </a:lnTo>
                    <a:lnTo>
                      <a:pt x="282" y="416"/>
                    </a:lnTo>
                    <a:lnTo>
                      <a:pt x="282" y="0"/>
                    </a:lnTo>
                    <a:close/>
                  </a:path>
                </a:pathLst>
              </a:custGeom>
              <a:solidFill>
                <a:schemeClr val="accent1"/>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6" name="Freeform 2248"/>
              <p:cNvSpPr>
                <a:spLocks/>
              </p:cNvSpPr>
              <p:nvPr/>
            </p:nvSpPr>
            <p:spPr bwMode="auto">
              <a:xfrm>
                <a:off x="422276" y="5886450"/>
                <a:ext cx="238125" cy="53975"/>
              </a:xfrm>
              <a:custGeom>
                <a:avLst/>
                <a:gdLst>
                  <a:gd name="T0" fmla="*/ 622 w 900"/>
                  <a:gd name="T1" fmla="*/ 200 h 200"/>
                  <a:gd name="T2" fmla="*/ 900 w 900"/>
                  <a:gd name="T3" fmla="*/ 0 h 200"/>
                  <a:gd name="T4" fmla="*/ 319 w 900"/>
                  <a:gd name="T5" fmla="*/ 0 h 200"/>
                  <a:gd name="T6" fmla="*/ 0 w 900"/>
                  <a:gd name="T7" fmla="*/ 200 h 200"/>
                  <a:gd name="T8" fmla="*/ 622 w 900"/>
                  <a:gd name="T9" fmla="*/ 200 h 200"/>
                </a:gdLst>
                <a:ahLst/>
                <a:cxnLst>
                  <a:cxn ang="0">
                    <a:pos x="T0" y="T1"/>
                  </a:cxn>
                  <a:cxn ang="0">
                    <a:pos x="T2" y="T3"/>
                  </a:cxn>
                  <a:cxn ang="0">
                    <a:pos x="T4" y="T5"/>
                  </a:cxn>
                  <a:cxn ang="0">
                    <a:pos x="T6" y="T7"/>
                  </a:cxn>
                  <a:cxn ang="0">
                    <a:pos x="T8" y="T9"/>
                  </a:cxn>
                </a:cxnLst>
                <a:rect l="0" t="0" r="r" b="b"/>
                <a:pathLst>
                  <a:path w="900" h="200">
                    <a:moveTo>
                      <a:pt x="622" y="200"/>
                    </a:moveTo>
                    <a:lnTo>
                      <a:pt x="900" y="0"/>
                    </a:lnTo>
                    <a:lnTo>
                      <a:pt x="319" y="0"/>
                    </a:lnTo>
                    <a:lnTo>
                      <a:pt x="0" y="200"/>
                    </a:lnTo>
                    <a:lnTo>
                      <a:pt x="622" y="200"/>
                    </a:lnTo>
                    <a:close/>
                  </a:path>
                </a:pathLst>
              </a:custGeom>
              <a:solidFill>
                <a:schemeClr val="accent1"/>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7" name="Freeform 2249"/>
              <p:cNvSpPr>
                <a:spLocks/>
              </p:cNvSpPr>
              <p:nvPr/>
            </p:nvSpPr>
            <p:spPr bwMode="auto">
              <a:xfrm>
                <a:off x="588963" y="5886450"/>
                <a:ext cx="68263" cy="206375"/>
              </a:xfrm>
              <a:custGeom>
                <a:avLst/>
                <a:gdLst>
                  <a:gd name="T0" fmla="*/ 256 w 256"/>
                  <a:gd name="T1" fmla="*/ 0 h 779"/>
                  <a:gd name="T2" fmla="*/ 0 w 256"/>
                  <a:gd name="T3" fmla="*/ 198 h 779"/>
                  <a:gd name="T4" fmla="*/ 0 w 256"/>
                  <a:gd name="T5" fmla="*/ 779 h 779"/>
                  <a:gd name="T6" fmla="*/ 256 w 256"/>
                  <a:gd name="T7" fmla="*/ 511 h 779"/>
                  <a:gd name="T8" fmla="*/ 256 w 256"/>
                  <a:gd name="T9" fmla="*/ 0 h 779"/>
                </a:gdLst>
                <a:ahLst/>
                <a:cxnLst>
                  <a:cxn ang="0">
                    <a:pos x="T0" y="T1"/>
                  </a:cxn>
                  <a:cxn ang="0">
                    <a:pos x="T2" y="T3"/>
                  </a:cxn>
                  <a:cxn ang="0">
                    <a:pos x="T4" y="T5"/>
                  </a:cxn>
                  <a:cxn ang="0">
                    <a:pos x="T6" y="T7"/>
                  </a:cxn>
                  <a:cxn ang="0">
                    <a:pos x="T8" y="T9"/>
                  </a:cxn>
                </a:cxnLst>
                <a:rect l="0" t="0" r="r" b="b"/>
                <a:pathLst>
                  <a:path w="256" h="779">
                    <a:moveTo>
                      <a:pt x="256" y="0"/>
                    </a:moveTo>
                    <a:lnTo>
                      <a:pt x="0" y="198"/>
                    </a:lnTo>
                    <a:lnTo>
                      <a:pt x="0" y="779"/>
                    </a:lnTo>
                    <a:lnTo>
                      <a:pt x="256" y="511"/>
                    </a:lnTo>
                    <a:lnTo>
                      <a:pt x="256" y="0"/>
                    </a:lnTo>
                    <a:close/>
                  </a:path>
                </a:pathLst>
              </a:custGeom>
              <a:solidFill>
                <a:schemeClr val="accent1"/>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8" name="Freeform 2250"/>
              <p:cNvSpPr>
                <a:spLocks/>
              </p:cNvSpPr>
              <p:nvPr/>
            </p:nvSpPr>
            <p:spPr bwMode="auto">
              <a:xfrm>
                <a:off x="422276" y="5938838"/>
                <a:ext cx="166688" cy="153987"/>
              </a:xfrm>
              <a:custGeom>
                <a:avLst/>
                <a:gdLst>
                  <a:gd name="T0" fmla="*/ 0 w 632"/>
                  <a:gd name="T1" fmla="*/ 2 h 581"/>
                  <a:gd name="T2" fmla="*/ 632 w 632"/>
                  <a:gd name="T3" fmla="*/ 0 h 581"/>
                  <a:gd name="T4" fmla="*/ 632 w 632"/>
                  <a:gd name="T5" fmla="*/ 581 h 581"/>
                  <a:gd name="T6" fmla="*/ 0 w 632"/>
                  <a:gd name="T7" fmla="*/ 581 h 581"/>
                  <a:gd name="T8" fmla="*/ 0 w 632"/>
                  <a:gd name="T9" fmla="*/ 2 h 581"/>
                </a:gdLst>
                <a:ahLst/>
                <a:cxnLst>
                  <a:cxn ang="0">
                    <a:pos x="T0" y="T1"/>
                  </a:cxn>
                  <a:cxn ang="0">
                    <a:pos x="T2" y="T3"/>
                  </a:cxn>
                  <a:cxn ang="0">
                    <a:pos x="T4" y="T5"/>
                  </a:cxn>
                  <a:cxn ang="0">
                    <a:pos x="T6" y="T7"/>
                  </a:cxn>
                  <a:cxn ang="0">
                    <a:pos x="T8" y="T9"/>
                  </a:cxn>
                </a:cxnLst>
                <a:rect l="0" t="0" r="r" b="b"/>
                <a:pathLst>
                  <a:path w="632" h="581">
                    <a:moveTo>
                      <a:pt x="0" y="2"/>
                    </a:moveTo>
                    <a:lnTo>
                      <a:pt x="632" y="0"/>
                    </a:lnTo>
                    <a:lnTo>
                      <a:pt x="632" y="581"/>
                    </a:lnTo>
                    <a:lnTo>
                      <a:pt x="0" y="581"/>
                    </a:lnTo>
                    <a:lnTo>
                      <a:pt x="0" y="2"/>
                    </a:lnTo>
                    <a:close/>
                  </a:path>
                </a:pathLst>
              </a:custGeom>
              <a:solidFill>
                <a:schemeClr val="accent1"/>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79" name="Freeform 2251"/>
              <p:cNvSpPr>
                <a:spLocks/>
              </p:cNvSpPr>
              <p:nvPr/>
            </p:nvSpPr>
            <p:spPr bwMode="auto">
              <a:xfrm>
                <a:off x="511176" y="5699125"/>
                <a:ext cx="214313" cy="25400"/>
              </a:xfrm>
              <a:custGeom>
                <a:avLst/>
                <a:gdLst>
                  <a:gd name="T0" fmla="*/ 567 w 809"/>
                  <a:gd name="T1" fmla="*/ 93 h 93"/>
                  <a:gd name="T2" fmla="*/ 809 w 809"/>
                  <a:gd name="T3" fmla="*/ 0 h 93"/>
                  <a:gd name="T4" fmla="*/ 279 w 809"/>
                  <a:gd name="T5" fmla="*/ 0 h 93"/>
                  <a:gd name="T6" fmla="*/ 0 w 809"/>
                  <a:gd name="T7" fmla="*/ 93 h 93"/>
                  <a:gd name="T8" fmla="*/ 567 w 809"/>
                  <a:gd name="T9" fmla="*/ 93 h 93"/>
                </a:gdLst>
                <a:ahLst/>
                <a:cxnLst>
                  <a:cxn ang="0">
                    <a:pos x="T0" y="T1"/>
                  </a:cxn>
                  <a:cxn ang="0">
                    <a:pos x="T2" y="T3"/>
                  </a:cxn>
                  <a:cxn ang="0">
                    <a:pos x="T4" y="T5"/>
                  </a:cxn>
                  <a:cxn ang="0">
                    <a:pos x="T6" y="T7"/>
                  </a:cxn>
                  <a:cxn ang="0">
                    <a:pos x="T8" y="T9"/>
                  </a:cxn>
                </a:cxnLst>
                <a:rect l="0" t="0" r="r" b="b"/>
                <a:pathLst>
                  <a:path w="809" h="93">
                    <a:moveTo>
                      <a:pt x="567" y="93"/>
                    </a:moveTo>
                    <a:lnTo>
                      <a:pt x="809" y="0"/>
                    </a:lnTo>
                    <a:lnTo>
                      <a:pt x="279" y="0"/>
                    </a:lnTo>
                    <a:lnTo>
                      <a:pt x="0" y="93"/>
                    </a:lnTo>
                    <a:lnTo>
                      <a:pt x="567" y="93"/>
                    </a:lnTo>
                    <a:close/>
                  </a:path>
                </a:pathLst>
              </a:custGeom>
              <a:solidFill>
                <a:schemeClr val="accent1"/>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80" name="Freeform 2252"/>
              <p:cNvSpPr>
                <a:spLocks/>
              </p:cNvSpPr>
              <p:nvPr/>
            </p:nvSpPr>
            <p:spPr bwMode="auto">
              <a:xfrm>
                <a:off x="665163" y="5699125"/>
                <a:ext cx="60325" cy="177800"/>
              </a:xfrm>
              <a:custGeom>
                <a:avLst/>
                <a:gdLst>
                  <a:gd name="T0" fmla="*/ 234 w 234"/>
                  <a:gd name="T1" fmla="*/ 0 h 672"/>
                  <a:gd name="T2" fmla="*/ 0 w 234"/>
                  <a:gd name="T3" fmla="*/ 91 h 672"/>
                  <a:gd name="T4" fmla="*/ 0 w 234"/>
                  <a:gd name="T5" fmla="*/ 672 h 672"/>
                  <a:gd name="T6" fmla="*/ 234 w 234"/>
                  <a:gd name="T7" fmla="*/ 511 h 672"/>
                  <a:gd name="T8" fmla="*/ 234 w 234"/>
                  <a:gd name="T9" fmla="*/ 0 h 672"/>
                </a:gdLst>
                <a:ahLst/>
                <a:cxnLst>
                  <a:cxn ang="0">
                    <a:pos x="T0" y="T1"/>
                  </a:cxn>
                  <a:cxn ang="0">
                    <a:pos x="T2" y="T3"/>
                  </a:cxn>
                  <a:cxn ang="0">
                    <a:pos x="T4" y="T5"/>
                  </a:cxn>
                  <a:cxn ang="0">
                    <a:pos x="T6" y="T7"/>
                  </a:cxn>
                  <a:cxn ang="0">
                    <a:pos x="T8" y="T9"/>
                  </a:cxn>
                </a:cxnLst>
                <a:rect l="0" t="0" r="r" b="b"/>
                <a:pathLst>
                  <a:path w="234" h="672">
                    <a:moveTo>
                      <a:pt x="234" y="0"/>
                    </a:moveTo>
                    <a:lnTo>
                      <a:pt x="0" y="91"/>
                    </a:lnTo>
                    <a:lnTo>
                      <a:pt x="0" y="672"/>
                    </a:lnTo>
                    <a:lnTo>
                      <a:pt x="234" y="511"/>
                    </a:lnTo>
                    <a:lnTo>
                      <a:pt x="234" y="0"/>
                    </a:lnTo>
                    <a:close/>
                  </a:path>
                </a:pathLst>
              </a:custGeom>
              <a:solidFill>
                <a:schemeClr val="accent1"/>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81" name="Freeform 2253"/>
              <p:cNvSpPr>
                <a:spLocks/>
              </p:cNvSpPr>
              <p:nvPr/>
            </p:nvSpPr>
            <p:spPr bwMode="auto">
              <a:xfrm>
                <a:off x="511176" y="5722938"/>
                <a:ext cx="153988" cy="153987"/>
              </a:xfrm>
              <a:custGeom>
                <a:avLst/>
                <a:gdLst>
                  <a:gd name="T0" fmla="*/ 0 w 576"/>
                  <a:gd name="T1" fmla="*/ 2 h 581"/>
                  <a:gd name="T2" fmla="*/ 576 w 576"/>
                  <a:gd name="T3" fmla="*/ 0 h 581"/>
                  <a:gd name="T4" fmla="*/ 576 w 576"/>
                  <a:gd name="T5" fmla="*/ 581 h 581"/>
                  <a:gd name="T6" fmla="*/ 0 w 576"/>
                  <a:gd name="T7" fmla="*/ 581 h 581"/>
                  <a:gd name="T8" fmla="*/ 0 w 576"/>
                  <a:gd name="T9" fmla="*/ 2 h 581"/>
                </a:gdLst>
                <a:ahLst/>
                <a:cxnLst>
                  <a:cxn ang="0">
                    <a:pos x="T0" y="T1"/>
                  </a:cxn>
                  <a:cxn ang="0">
                    <a:pos x="T2" y="T3"/>
                  </a:cxn>
                  <a:cxn ang="0">
                    <a:pos x="T4" y="T5"/>
                  </a:cxn>
                  <a:cxn ang="0">
                    <a:pos x="T6" y="T7"/>
                  </a:cxn>
                  <a:cxn ang="0">
                    <a:pos x="T8" y="T9"/>
                  </a:cxn>
                </a:cxnLst>
                <a:rect l="0" t="0" r="r" b="b"/>
                <a:pathLst>
                  <a:path w="576" h="581">
                    <a:moveTo>
                      <a:pt x="0" y="2"/>
                    </a:moveTo>
                    <a:lnTo>
                      <a:pt x="576" y="0"/>
                    </a:lnTo>
                    <a:lnTo>
                      <a:pt x="576" y="581"/>
                    </a:lnTo>
                    <a:lnTo>
                      <a:pt x="0" y="581"/>
                    </a:lnTo>
                    <a:lnTo>
                      <a:pt x="0" y="2"/>
                    </a:lnTo>
                    <a:close/>
                  </a:path>
                </a:pathLst>
              </a:custGeom>
              <a:solidFill>
                <a:schemeClr val="accent1"/>
              </a:solidFill>
              <a:ln>
                <a:solidFill>
                  <a:schemeClr val="accent1">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382" name="Freeform 2254"/>
            <p:cNvSpPr>
              <a:spLocks/>
            </p:cNvSpPr>
            <p:nvPr/>
          </p:nvSpPr>
          <p:spPr bwMode="auto">
            <a:xfrm>
              <a:off x="836613" y="5427663"/>
              <a:ext cx="187325" cy="687387"/>
            </a:xfrm>
            <a:custGeom>
              <a:avLst/>
              <a:gdLst>
                <a:gd name="T0" fmla="*/ 0 w 706"/>
                <a:gd name="T1" fmla="*/ 411 h 2603"/>
                <a:gd name="T2" fmla="*/ 706 w 706"/>
                <a:gd name="T3" fmla="*/ 0 h 2603"/>
                <a:gd name="T4" fmla="*/ 706 w 706"/>
                <a:gd name="T5" fmla="*/ 1605 h 2603"/>
                <a:gd name="T6" fmla="*/ 0 w 706"/>
                <a:gd name="T7" fmla="*/ 2603 h 2603"/>
                <a:gd name="T8" fmla="*/ 0 w 706"/>
                <a:gd name="T9" fmla="*/ 411 h 2603"/>
              </a:gdLst>
              <a:ahLst/>
              <a:cxnLst>
                <a:cxn ang="0">
                  <a:pos x="T0" y="T1"/>
                </a:cxn>
                <a:cxn ang="0">
                  <a:pos x="T2" y="T3"/>
                </a:cxn>
                <a:cxn ang="0">
                  <a:pos x="T4" y="T5"/>
                </a:cxn>
                <a:cxn ang="0">
                  <a:pos x="T6" y="T7"/>
                </a:cxn>
                <a:cxn ang="0">
                  <a:pos x="T8" y="T9"/>
                </a:cxn>
              </a:cxnLst>
              <a:rect l="0" t="0" r="r" b="b"/>
              <a:pathLst>
                <a:path w="706" h="2603">
                  <a:moveTo>
                    <a:pt x="0" y="411"/>
                  </a:moveTo>
                  <a:lnTo>
                    <a:pt x="706" y="0"/>
                  </a:lnTo>
                  <a:lnTo>
                    <a:pt x="706" y="1605"/>
                  </a:lnTo>
                  <a:lnTo>
                    <a:pt x="0" y="2603"/>
                  </a:lnTo>
                  <a:lnTo>
                    <a:pt x="0" y="411"/>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83" name="Freeform 2255"/>
            <p:cNvSpPr>
              <a:spLocks/>
            </p:cNvSpPr>
            <p:nvPr/>
          </p:nvSpPr>
          <p:spPr bwMode="auto">
            <a:xfrm>
              <a:off x="292101" y="5427663"/>
              <a:ext cx="731838" cy="107950"/>
            </a:xfrm>
            <a:custGeom>
              <a:avLst/>
              <a:gdLst>
                <a:gd name="T0" fmla="*/ 2063 w 2769"/>
                <a:gd name="T1" fmla="*/ 411 h 411"/>
                <a:gd name="T2" fmla="*/ 2769 w 2769"/>
                <a:gd name="T3" fmla="*/ 0 h 411"/>
                <a:gd name="T4" fmla="*/ 1550 w 2769"/>
                <a:gd name="T5" fmla="*/ 0 h 411"/>
                <a:gd name="T6" fmla="*/ 0 w 2769"/>
                <a:gd name="T7" fmla="*/ 411 h 411"/>
                <a:gd name="T8" fmla="*/ 2063 w 2769"/>
                <a:gd name="T9" fmla="*/ 411 h 411"/>
              </a:gdLst>
              <a:ahLst/>
              <a:cxnLst>
                <a:cxn ang="0">
                  <a:pos x="T0" y="T1"/>
                </a:cxn>
                <a:cxn ang="0">
                  <a:pos x="T2" y="T3"/>
                </a:cxn>
                <a:cxn ang="0">
                  <a:pos x="T4" y="T5"/>
                </a:cxn>
                <a:cxn ang="0">
                  <a:pos x="T6" y="T7"/>
                </a:cxn>
                <a:cxn ang="0">
                  <a:pos x="T8" y="T9"/>
                </a:cxn>
              </a:cxnLst>
              <a:rect l="0" t="0" r="r" b="b"/>
              <a:pathLst>
                <a:path w="2769" h="411">
                  <a:moveTo>
                    <a:pt x="2063" y="411"/>
                  </a:moveTo>
                  <a:lnTo>
                    <a:pt x="2769" y="0"/>
                  </a:lnTo>
                  <a:lnTo>
                    <a:pt x="1550" y="0"/>
                  </a:lnTo>
                  <a:lnTo>
                    <a:pt x="0" y="411"/>
                  </a:lnTo>
                  <a:lnTo>
                    <a:pt x="2063" y="411"/>
                  </a:lnTo>
                  <a:close/>
                </a:path>
              </a:pathLst>
            </a:custGeom>
            <a:solidFill>
              <a:schemeClr val="accent5">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84" name="Freeform 2256"/>
            <p:cNvSpPr>
              <a:spLocks/>
            </p:cNvSpPr>
            <p:nvPr/>
          </p:nvSpPr>
          <p:spPr bwMode="auto">
            <a:xfrm>
              <a:off x="952501" y="5799138"/>
              <a:ext cx="65088" cy="63500"/>
            </a:xfrm>
            <a:custGeom>
              <a:avLst/>
              <a:gdLst>
                <a:gd name="T0" fmla="*/ 72 w 241"/>
                <a:gd name="T1" fmla="*/ 10 h 240"/>
                <a:gd name="T2" fmla="*/ 72 w 241"/>
                <a:gd name="T3" fmla="*/ 10 h 240"/>
                <a:gd name="T4" fmla="*/ 80 w 241"/>
                <a:gd name="T5" fmla="*/ 6 h 240"/>
                <a:gd name="T6" fmla="*/ 89 w 241"/>
                <a:gd name="T7" fmla="*/ 4 h 240"/>
                <a:gd name="T8" fmla="*/ 96 w 241"/>
                <a:gd name="T9" fmla="*/ 2 h 240"/>
                <a:gd name="T10" fmla="*/ 104 w 241"/>
                <a:gd name="T11" fmla="*/ 1 h 240"/>
                <a:gd name="T12" fmla="*/ 120 w 241"/>
                <a:gd name="T13" fmla="*/ 0 h 240"/>
                <a:gd name="T14" fmla="*/ 136 w 241"/>
                <a:gd name="T15" fmla="*/ 1 h 240"/>
                <a:gd name="T16" fmla="*/ 151 w 241"/>
                <a:gd name="T17" fmla="*/ 5 h 240"/>
                <a:gd name="T18" fmla="*/ 166 w 241"/>
                <a:gd name="T19" fmla="*/ 11 h 240"/>
                <a:gd name="T20" fmla="*/ 181 w 241"/>
                <a:gd name="T21" fmla="*/ 18 h 240"/>
                <a:gd name="T22" fmla="*/ 194 w 241"/>
                <a:gd name="T23" fmla="*/ 27 h 240"/>
                <a:gd name="T24" fmla="*/ 206 w 241"/>
                <a:gd name="T25" fmla="*/ 38 h 240"/>
                <a:gd name="T26" fmla="*/ 217 w 241"/>
                <a:gd name="T27" fmla="*/ 50 h 240"/>
                <a:gd name="T28" fmla="*/ 225 w 241"/>
                <a:gd name="T29" fmla="*/ 63 h 240"/>
                <a:gd name="T30" fmla="*/ 233 w 241"/>
                <a:gd name="T31" fmla="*/ 77 h 240"/>
                <a:gd name="T32" fmla="*/ 238 w 241"/>
                <a:gd name="T33" fmla="*/ 92 h 240"/>
                <a:gd name="T34" fmla="*/ 239 w 241"/>
                <a:gd name="T35" fmla="*/ 100 h 240"/>
                <a:gd name="T36" fmla="*/ 240 w 241"/>
                <a:gd name="T37" fmla="*/ 108 h 240"/>
                <a:gd name="T38" fmla="*/ 241 w 241"/>
                <a:gd name="T39" fmla="*/ 116 h 240"/>
                <a:gd name="T40" fmla="*/ 241 w 241"/>
                <a:gd name="T41" fmla="*/ 125 h 240"/>
                <a:gd name="T42" fmla="*/ 240 w 241"/>
                <a:gd name="T43" fmla="*/ 133 h 240"/>
                <a:gd name="T44" fmla="*/ 238 w 241"/>
                <a:gd name="T45" fmla="*/ 141 h 240"/>
                <a:gd name="T46" fmla="*/ 238 w 241"/>
                <a:gd name="T47" fmla="*/ 141 h 240"/>
                <a:gd name="T48" fmla="*/ 237 w 241"/>
                <a:gd name="T49" fmla="*/ 149 h 240"/>
                <a:gd name="T50" fmla="*/ 235 w 241"/>
                <a:gd name="T51" fmla="*/ 157 h 240"/>
                <a:gd name="T52" fmla="*/ 232 w 241"/>
                <a:gd name="T53" fmla="*/ 165 h 240"/>
                <a:gd name="T54" fmla="*/ 229 w 241"/>
                <a:gd name="T55" fmla="*/ 172 h 240"/>
                <a:gd name="T56" fmla="*/ 222 w 241"/>
                <a:gd name="T57" fmla="*/ 186 h 240"/>
                <a:gd name="T58" fmla="*/ 212 w 241"/>
                <a:gd name="T59" fmla="*/ 198 h 240"/>
                <a:gd name="T60" fmla="*/ 201 w 241"/>
                <a:gd name="T61" fmla="*/ 210 h 240"/>
                <a:gd name="T62" fmla="*/ 188 w 241"/>
                <a:gd name="T63" fmla="*/ 219 h 240"/>
                <a:gd name="T64" fmla="*/ 175 w 241"/>
                <a:gd name="T65" fmla="*/ 227 h 240"/>
                <a:gd name="T66" fmla="*/ 159 w 241"/>
                <a:gd name="T67" fmla="*/ 233 h 240"/>
                <a:gd name="T68" fmla="*/ 144 w 241"/>
                <a:gd name="T69" fmla="*/ 237 h 240"/>
                <a:gd name="T70" fmla="*/ 129 w 241"/>
                <a:gd name="T71" fmla="*/ 240 h 240"/>
                <a:gd name="T72" fmla="*/ 113 w 241"/>
                <a:gd name="T73" fmla="*/ 240 h 240"/>
                <a:gd name="T74" fmla="*/ 98 w 241"/>
                <a:gd name="T75" fmla="*/ 239 h 240"/>
                <a:gd name="T76" fmla="*/ 81 w 241"/>
                <a:gd name="T77" fmla="*/ 236 h 240"/>
                <a:gd name="T78" fmla="*/ 67 w 241"/>
                <a:gd name="T79" fmla="*/ 230 h 240"/>
                <a:gd name="T80" fmla="*/ 60 w 241"/>
                <a:gd name="T81" fmla="*/ 227 h 240"/>
                <a:gd name="T82" fmla="*/ 53 w 241"/>
                <a:gd name="T83" fmla="*/ 223 h 240"/>
                <a:gd name="T84" fmla="*/ 46 w 241"/>
                <a:gd name="T85" fmla="*/ 218 h 240"/>
                <a:gd name="T86" fmla="*/ 40 w 241"/>
                <a:gd name="T87" fmla="*/ 213 h 240"/>
                <a:gd name="T88" fmla="*/ 40 w 241"/>
                <a:gd name="T89" fmla="*/ 213 h 240"/>
                <a:gd name="T90" fmla="*/ 29 w 241"/>
                <a:gd name="T91" fmla="*/ 201 h 240"/>
                <a:gd name="T92" fmla="*/ 19 w 241"/>
                <a:gd name="T93" fmla="*/ 189 h 240"/>
                <a:gd name="T94" fmla="*/ 12 w 241"/>
                <a:gd name="T95" fmla="*/ 176 h 240"/>
                <a:gd name="T96" fmla="*/ 6 w 241"/>
                <a:gd name="T97" fmla="*/ 162 h 240"/>
                <a:gd name="T98" fmla="*/ 2 w 241"/>
                <a:gd name="T99" fmla="*/ 148 h 240"/>
                <a:gd name="T100" fmla="*/ 0 w 241"/>
                <a:gd name="T101" fmla="*/ 133 h 240"/>
                <a:gd name="T102" fmla="*/ 0 w 241"/>
                <a:gd name="T103" fmla="*/ 118 h 240"/>
                <a:gd name="T104" fmla="*/ 1 w 241"/>
                <a:gd name="T105" fmla="*/ 101 h 240"/>
                <a:gd name="T106" fmla="*/ 5 w 241"/>
                <a:gd name="T107" fmla="*/ 87 h 240"/>
                <a:gd name="T108" fmla="*/ 9 w 241"/>
                <a:gd name="T109" fmla="*/ 72 h 240"/>
                <a:gd name="T110" fmla="*/ 16 w 241"/>
                <a:gd name="T111" fmla="*/ 59 h 240"/>
                <a:gd name="T112" fmla="*/ 24 w 241"/>
                <a:gd name="T113" fmla="*/ 46 h 240"/>
                <a:gd name="T114" fmla="*/ 34 w 241"/>
                <a:gd name="T115" fmla="*/ 35 h 240"/>
                <a:gd name="T116" fmla="*/ 45 w 241"/>
                <a:gd name="T117" fmla="*/ 24 h 240"/>
                <a:gd name="T118" fmla="*/ 58 w 241"/>
                <a:gd name="T119" fmla="*/ 16 h 240"/>
                <a:gd name="T120" fmla="*/ 65 w 241"/>
                <a:gd name="T121" fmla="*/ 12 h 240"/>
                <a:gd name="T122" fmla="*/ 72 w 241"/>
                <a:gd name="T123" fmla="*/ 10 h 240"/>
                <a:gd name="T124" fmla="*/ 72 w 241"/>
                <a:gd name="T125" fmla="*/ 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 h="240">
                  <a:moveTo>
                    <a:pt x="72" y="10"/>
                  </a:moveTo>
                  <a:lnTo>
                    <a:pt x="72" y="10"/>
                  </a:lnTo>
                  <a:lnTo>
                    <a:pt x="80" y="6"/>
                  </a:lnTo>
                  <a:lnTo>
                    <a:pt x="89" y="4"/>
                  </a:lnTo>
                  <a:lnTo>
                    <a:pt x="96" y="2"/>
                  </a:lnTo>
                  <a:lnTo>
                    <a:pt x="104" y="1"/>
                  </a:lnTo>
                  <a:lnTo>
                    <a:pt x="120" y="0"/>
                  </a:lnTo>
                  <a:lnTo>
                    <a:pt x="136" y="1"/>
                  </a:lnTo>
                  <a:lnTo>
                    <a:pt x="151" y="5"/>
                  </a:lnTo>
                  <a:lnTo>
                    <a:pt x="166" y="11"/>
                  </a:lnTo>
                  <a:lnTo>
                    <a:pt x="181" y="18"/>
                  </a:lnTo>
                  <a:lnTo>
                    <a:pt x="194" y="27"/>
                  </a:lnTo>
                  <a:lnTo>
                    <a:pt x="206" y="38"/>
                  </a:lnTo>
                  <a:lnTo>
                    <a:pt x="217" y="50"/>
                  </a:lnTo>
                  <a:lnTo>
                    <a:pt x="225" y="63"/>
                  </a:lnTo>
                  <a:lnTo>
                    <a:pt x="233" y="77"/>
                  </a:lnTo>
                  <a:lnTo>
                    <a:pt x="238" y="92"/>
                  </a:lnTo>
                  <a:lnTo>
                    <a:pt x="239" y="100"/>
                  </a:lnTo>
                  <a:lnTo>
                    <a:pt x="240" y="108"/>
                  </a:lnTo>
                  <a:lnTo>
                    <a:pt x="241" y="116"/>
                  </a:lnTo>
                  <a:lnTo>
                    <a:pt x="241" y="125"/>
                  </a:lnTo>
                  <a:lnTo>
                    <a:pt x="240" y="133"/>
                  </a:lnTo>
                  <a:lnTo>
                    <a:pt x="238" y="141"/>
                  </a:lnTo>
                  <a:lnTo>
                    <a:pt x="238" y="141"/>
                  </a:lnTo>
                  <a:lnTo>
                    <a:pt x="237" y="149"/>
                  </a:lnTo>
                  <a:lnTo>
                    <a:pt x="235" y="157"/>
                  </a:lnTo>
                  <a:lnTo>
                    <a:pt x="232" y="165"/>
                  </a:lnTo>
                  <a:lnTo>
                    <a:pt x="229" y="172"/>
                  </a:lnTo>
                  <a:lnTo>
                    <a:pt x="222" y="186"/>
                  </a:lnTo>
                  <a:lnTo>
                    <a:pt x="212" y="198"/>
                  </a:lnTo>
                  <a:lnTo>
                    <a:pt x="201" y="210"/>
                  </a:lnTo>
                  <a:lnTo>
                    <a:pt x="188" y="219"/>
                  </a:lnTo>
                  <a:lnTo>
                    <a:pt x="175" y="227"/>
                  </a:lnTo>
                  <a:lnTo>
                    <a:pt x="159" y="233"/>
                  </a:lnTo>
                  <a:lnTo>
                    <a:pt x="144" y="237"/>
                  </a:lnTo>
                  <a:lnTo>
                    <a:pt x="129" y="240"/>
                  </a:lnTo>
                  <a:lnTo>
                    <a:pt x="113" y="240"/>
                  </a:lnTo>
                  <a:lnTo>
                    <a:pt x="98" y="239"/>
                  </a:lnTo>
                  <a:lnTo>
                    <a:pt x="81" y="236"/>
                  </a:lnTo>
                  <a:lnTo>
                    <a:pt x="67" y="230"/>
                  </a:lnTo>
                  <a:lnTo>
                    <a:pt x="60" y="227"/>
                  </a:lnTo>
                  <a:lnTo>
                    <a:pt x="53" y="223"/>
                  </a:lnTo>
                  <a:lnTo>
                    <a:pt x="46" y="218"/>
                  </a:lnTo>
                  <a:lnTo>
                    <a:pt x="40" y="213"/>
                  </a:lnTo>
                  <a:lnTo>
                    <a:pt x="40" y="213"/>
                  </a:lnTo>
                  <a:lnTo>
                    <a:pt x="29" y="201"/>
                  </a:lnTo>
                  <a:lnTo>
                    <a:pt x="19" y="189"/>
                  </a:lnTo>
                  <a:lnTo>
                    <a:pt x="12" y="176"/>
                  </a:lnTo>
                  <a:lnTo>
                    <a:pt x="6" y="162"/>
                  </a:lnTo>
                  <a:lnTo>
                    <a:pt x="2" y="148"/>
                  </a:lnTo>
                  <a:lnTo>
                    <a:pt x="0" y="133"/>
                  </a:lnTo>
                  <a:lnTo>
                    <a:pt x="0" y="118"/>
                  </a:lnTo>
                  <a:lnTo>
                    <a:pt x="1" y="101"/>
                  </a:lnTo>
                  <a:lnTo>
                    <a:pt x="5" y="87"/>
                  </a:lnTo>
                  <a:lnTo>
                    <a:pt x="9" y="72"/>
                  </a:lnTo>
                  <a:lnTo>
                    <a:pt x="16" y="59"/>
                  </a:lnTo>
                  <a:lnTo>
                    <a:pt x="24" y="46"/>
                  </a:lnTo>
                  <a:lnTo>
                    <a:pt x="34" y="35"/>
                  </a:lnTo>
                  <a:lnTo>
                    <a:pt x="45" y="24"/>
                  </a:lnTo>
                  <a:lnTo>
                    <a:pt x="58" y="16"/>
                  </a:lnTo>
                  <a:lnTo>
                    <a:pt x="65" y="12"/>
                  </a:lnTo>
                  <a:lnTo>
                    <a:pt x="72" y="10"/>
                  </a:lnTo>
                  <a:lnTo>
                    <a:pt x="7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08" name="Rectangle 2242"/>
            <p:cNvSpPr>
              <a:spLocks noChangeArrowheads="1"/>
            </p:cNvSpPr>
            <p:nvPr/>
          </p:nvSpPr>
          <p:spPr bwMode="auto">
            <a:xfrm>
              <a:off x="292101" y="5535611"/>
              <a:ext cx="544513" cy="579437"/>
            </a:xfrm>
            <a:prstGeom prst="rect">
              <a:avLst/>
            </a:prstGeom>
            <a:noFill/>
            <a:ln>
              <a:solidFill>
                <a:schemeClr val="accent5">
                  <a:lumMod val="75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385" name="Freeform 2257"/>
            <p:cNvSpPr>
              <a:spLocks/>
            </p:cNvSpPr>
            <p:nvPr/>
          </p:nvSpPr>
          <p:spPr bwMode="auto">
            <a:xfrm>
              <a:off x="831851" y="5873750"/>
              <a:ext cx="230188" cy="322262"/>
            </a:xfrm>
            <a:custGeom>
              <a:avLst/>
              <a:gdLst>
                <a:gd name="T0" fmla="*/ 276 w 868"/>
                <a:gd name="T1" fmla="*/ 198 h 1221"/>
                <a:gd name="T2" fmla="*/ 346 w 868"/>
                <a:gd name="T3" fmla="*/ 92 h 1221"/>
                <a:gd name="T4" fmla="*/ 402 w 868"/>
                <a:gd name="T5" fmla="*/ 34 h 1221"/>
                <a:gd name="T6" fmla="*/ 446 w 868"/>
                <a:gd name="T7" fmla="*/ 9 h 1221"/>
                <a:gd name="T8" fmla="*/ 478 w 868"/>
                <a:gd name="T9" fmla="*/ 1 h 1221"/>
                <a:gd name="T10" fmla="*/ 660 w 868"/>
                <a:gd name="T11" fmla="*/ 0 h 1221"/>
                <a:gd name="T12" fmla="*/ 768 w 868"/>
                <a:gd name="T13" fmla="*/ 9 h 1221"/>
                <a:gd name="T14" fmla="*/ 805 w 868"/>
                <a:gd name="T15" fmla="*/ 25 h 1221"/>
                <a:gd name="T16" fmla="*/ 840 w 868"/>
                <a:gd name="T17" fmla="*/ 61 h 1221"/>
                <a:gd name="T18" fmla="*/ 859 w 868"/>
                <a:gd name="T19" fmla="*/ 109 h 1221"/>
                <a:gd name="T20" fmla="*/ 868 w 868"/>
                <a:gd name="T21" fmla="*/ 173 h 1221"/>
                <a:gd name="T22" fmla="*/ 867 w 868"/>
                <a:gd name="T23" fmla="*/ 531 h 1221"/>
                <a:gd name="T24" fmla="*/ 855 w 868"/>
                <a:gd name="T25" fmla="*/ 574 h 1221"/>
                <a:gd name="T26" fmla="*/ 838 w 868"/>
                <a:gd name="T27" fmla="*/ 592 h 1221"/>
                <a:gd name="T28" fmla="*/ 814 w 868"/>
                <a:gd name="T29" fmla="*/ 596 h 1221"/>
                <a:gd name="T30" fmla="*/ 788 w 868"/>
                <a:gd name="T31" fmla="*/ 590 h 1221"/>
                <a:gd name="T32" fmla="*/ 768 w 868"/>
                <a:gd name="T33" fmla="*/ 563 h 1221"/>
                <a:gd name="T34" fmla="*/ 765 w 868"/>
                <a:gd name="T35" fmla="*/ 459 h 1221"/>
                <a:gd name="T36" fmla="*/ 764 w 868"/>
                <a:gd name="T37" fmla="*/ 199 h 1221"/>
                <a:gd name="T38" fmla="*/ 727 w 868"/>
                <a:gd name="T39" fmla="*/ 1142 h 1221"/>
                <a:gd name="T40" fmla="*/ 717 w 868"/>
                <a:gd name="T41" fmla="*/ 1183 h 1221"/>
                <a:gd name="T42" fmla="*/ 695 w 868"/>
                <a:gd name="T43" fmla="*/ 1209 h 1221"/>
                <a:gd name="T44" fmla="*/ 670 w 868"/>
                <a:gd name="T45" fmla="*/ 1219 h 1221"/>
                <a:gd name="T46" fmla="*/ 638 w 868"/>
                <a:gd name="T47" fmla="*/ 1219 h 1221"/>
                <a:gd name="T48" fmla="*/ 610 w 868"/>
                <a:gd name="T49" fmla="*/ 1207 h 1221"/>
                <a:gd name="T50" fmla="*/ 596 w 868"/>
                <a:gd name="T51" fmla="*/ 1188 h 1221"/>
                <a:gd name="T52" fmla="*/ 594 w 868"/>
                <a:gd name="T53" fmla="*/ 1169 h 1221"/>
                <a:gd name="T54" fmla="*/ 593 w 868"/>
                <a:gd name="T55" fmla="*/ 595 h 1221"/>
                <a:gd name="T56" fmla="*/ 556 w 868"/>
                <a:gd name="T57" fmla="*/ 875 h 1221"/>
                <a:gd name="T58" fmla="*/ 554 w 868"/>
                <a:gd name="T59" fmla="*/ 1171 h 1221"/>
                <a:gd name="T60" fmla="*/ 541 w 868"/>
                <a:gd name="T61" fmla="*/ 1196 h 1221"/>
                <a:gd name="T62" fmla="*/ 520 w 868"/>
                <a:gd name="T63" fmla="*/ 1213 h 1221"/>
                <a:gd name="T64" fmla="*/ 493 w 868"/>
                <a:gd name="T65" fmla="*/ 1221 h 1221"/>
                <a:gd name="T66" fmla="*/ 471 w 868"/>
                <a:gd name="T67" fmla="*/ 1220 h 1221"/>
                <a:gd name="T68" fmla="*/ 445 w 868"/>
                <a:gd name="T69" fmla="*/ 1211 h 1221"/>
                <a:gd name="T70" fmla="*/ 429 w 868"/>
                <a:gd name="T71" fmla="*/ 1190 h 1221"/>
                <a:gd name="T72" fmla="*/ 421 w 868"/>
                <a:gd name="T73" fmla="*/ 1141 h 1221"/>
                <a:gd name="T74" fmla="*/ 421 w 868"/>
                <a:gd name="T75" fmla="*/ 190 h 1221"/>
                <a:gd name="T76" fmla="*/ 352 w 868"/>
                <a:gd name="T77" fmla="*/ 291 h 1221"/>
                <a:gd name="T78" fmla="*/ 313 w 868"/>
                <a:gd name="T79" fmla="*/ 337 h 1221"/>
                <a:gd name="T80" fmla="*/ 165 w 868"/>
                <a:gd name="T81" fmla="*/ 348 h 1221"/>
                <a:gd name="T82" fmla="*/ 21 w 868"/>
                <a:gd name="T83" fmla="*/ 340 h 1221"/>
                <a:gd name="T84" fmla="*/ 4 w 868"/>
                <a:gd name="T85" fmla="*/ 322 h 1221"/>
                <a:gd name="T86" fmla="*/ 0 w 868"/>
                <a:gd name="T87" fmla="*/ 291 h 1221"/>
                <a:gd name="T88" fmla="*/ 20 w 868"/>
                <a:gd name="T89" fmla="*/ 246 h 1221"/>
                <a:gd name="T90" fmla="*/ 80 w 868"/>
                <a:gd name="T91" fmla="*/ 236 h 1221"/>
                <a:gd name="T92" fmla="*/ 190 w 868"/>
                <a:gd name="T93" fmla="*/ 236 h 1221"/>
                <a:gd name="T94" fmla="*/ 252 w 868"/>
                <a:gd name="T95" fmla="*/ 230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8" h="1221">
                  <a:moveTo>
                    <a:pt x="252" y="230"/>
                  </a:moveTo>
                  <a:lnTo>
                    <a:pt x="252" y="230"/>
                  </a:lnTo>
                  <a:lnTo>
                    <a:pt x="264" y="214"/>
                  </a:lnTo>
                  <a:lnTo>
                    <a:pt x="276" y="198"/>
                  </a:lnTo>
                  <a:lnTo>
                    <a:pt x="299" y="162"/>
                  </a:lnTo>
                  <a:lnTo>
                    <a:pt x="322" y="127"/>
                  </a:lnTo>
                  <a:lnTo>
                    <a:pt x="333" y="110"/>
                  </a:lnTo>
                  <a:lnTo>
                    <a:pt x="346" y="92"/>
                  </a:lnTo>
                  <a:lnTo>
                    <a:pt x="358" y="76"/>
                  </a:lnTo>
                  <a:lnTo>
                    <a:pt x="372" y="61"/>
                  </a:lnTo>
                  <a:lnTo>
                    <a:pt x="387" y="47"/>
                  </a:lnTo>
                  <a:lnTo>
                    <a:pt x="402" y="34"/>
                  </a:lnTo>
                  <a:lnTo>
                    <a:pt x="419" y="23"/>
                  </a:lnTo>
                  <a:lnTo>
                    <a:pt x="427" y="18"/>
                  </a:lnTo>
                  <a:lnTo>
                    <a:pt x="436" y="14"/>
                  </a:lnTo>
                  <a:lnTo>
                    <a:pt x="446" y="9"/>
                  </a:lnTo>
                  <a:lnTo>
                    <a:pt x="457" y="6"/>
                  </a:lnTo>
                  <a:lnTo>
                    <a:pt x="467" y="3"/>
                  </a:lnTo>
                  <a:lnTo>
                    <a:pt x="478" y="1"/>
                  </a:lnTo>
                  <a:lnTo>
                    <a:pt x="478" y="1"/>
                  </a:lnTo>
                  <a:lnTo>
                    <a:pt x="514" y="2"/>
                  </a:lnTo>
                  <a:lnTo>
                    <a:pt x="551" y="2"/>
                  </a:lnTo>
                  <a:lnTo>
                    <a:pt x="623" y="0"/>
                  </a:lnTo>
                  <a:lnTo>
                    <a:pt x="660" y="0"/>
                  </a:lnTo>
                  <a:lnTo>
                    <a:pt x="696" y="1"/>
                  </a:lnTo>
                  <a:lnTo>
                    <a:pt x="733" y="4"/>
                  </a:lnTo>
                  <a:lnTo>
                    <a:pt x="750" y="6"/>
                  </a:lnTo>
                  <a:lnTo>
                    <a:pt x="768" y="9"/>
                  </a:lnTo>
                  <a:lnTo>
                    <a:pt x="768" y="9"/>
                  </a:lnTo>
                  <a:lnTo>
                    <a:pt x="781" y="14"/>
                  </a:lnTo>
                  <a:lnTo>
                    <a:pt x="794" y="19"/>
                  </a:lnTo>
                  <a:lnTo>
                    <a:pt x="805" y="25"/>
                  </a:lnTo>
                  <a:lnTo>
                    <a:pt x="816" y="32"/>
                  </a:lnTo>
                  <a:lnTo>
                    <a:pt x="825" y="41"/>
                  </a:lnTo>
                  <a:lnTo>
                    <a:pt x="833" y="50"/>
                  </a:lnTo>
                  <a:lnTo>
                    <a:pt x="840" y="61"/>
                  </a:lnTo>
                  <a:lnTo>
                    <a:pt x="846" y="72"/>
                  </a:lnTo>
                  <a:lnTo>
                    <a:pt x="851" y="83"/>
                  </a:lnTo>
                  <a:lnTo>
                    <a:pt x="855" y="96"/>
                  </a:lnTo>
                  <a:lnTo>
                    <a:pt x="859" y="109"/>
                  </a:lnTo>
                  <a:lnTo>
                    <a:pt x="862" y="122"/>
                  </a:lnTo>
                  <a:lnTo>
                    <a:pt x="864" y="135"/>
                  </a:lnTo>
                  <a:lnTo>
                    <a:pt x="866" y="148"/>
                  </a:lnTo>
                  <a:lnTo>
                    <a:pt x="868" y="173"/>
                  </a:lnTo>
                  <a:lnTo>
                    <a:pt x="868" y="173"/>
                  </a:lnTo>
                  <a:lnTo>
                    <a:pt x="868" y="352"/>
                  </a:lnTo>
                  <a:lnTo>
                    <a:pt x="867" y="531"/>
                  </a:lnTo>
                  <a:lnTo>
                    <a:pt x="867" y="531"/>
                  </a:lnTo>
                  <a:lnTo>
                    <a:pt x="866" y="544"/>
                  </a:lnTo>
                  <a:lnTo>
                    <a:pt x="863" y="557"/>
                  </a:lnTo>
                  <a:lnTo>
                    <a:pt x="858" y="569"/>
                  </a:lnTo>
                  <a:lnTo>
                    <a:pt x="855" y="574"/>
                  </a:lnTo>
                  <a:lnTo>
                    <a:pt x="852" y="580"/>
                  </a:lnTo>
                  <a:lnTo>
                    <a:pt x="848" y="584"/>
                  </a:lnTo>
                  <a:lnTo>
                    <a:pt x="843" y="588"/>
                  </a:lnTo>
                  <a:lnTo>
                    <a:pt x="838" y="592"/>
                  </a:lnTo>
                  <a:lnTo>
                    <a:pt x="833" y="594"/>
                  </a:lnTo>
                  <a:lnTo>
                    <a:pt x="827" y="596"/>
                  </a:lnTo>
                  <a:lnTo>
                    <a:pt x="821" y="597"/>
                  </a:lnTo>
                  <a:lnTo>
                    <a:pt x="814" y="596"/>
                  </a:lnTo>
                  <a:lnTo>
                    <a:pt x="806" y="594"/>
                  </a:lnTo>
                  <a:lnTo>
                    <a:pt x="806" y="594"/>
                  </a:lnTo>
                  <a:lnTo>
                    <a:pt x="797" y="593"/>
                  </a:lnTo>
                  <a:lnTo>
                    <a:pt x="788" y="590"/>
                  </a:lnTo>
                  <a:lnTo>
                    <a:pt x="781" y="585"/>
                  </a:lnTo>
                  <a:lnTo>
                    <a:pt x="775" y="579"/>
                  </a:lnTo>
                  <a:lnTo>
                    <a:pt x="771" y="571"/>
                  </a:lnTo>
                  <a:lnTo>
                    <a:pt x="768" y="563"/>
                  </a:lnTo>
                  <a:lnTo>
                    <a:pt x="766" y="554"/>
                  </a:lnTo>
                  <a:lnTo>
                    <a:pt x="766" y="545"/>
                  </a:lnTo>
                  <a:lnTo>
                    <a:pt x="766" y="545"/>
                  </a:lnTo>
                  <a:lnTo>
                    <a:pt x="765" y="459"/>
                  </a:lnTo>
                  <a:lnTo>
                    <a:pt x="765" y="372"/>
                  </a:lnTo>
                  <a:lnTo>
                    <a:pt x="765" y="286"/>
                  </a:lnTo>
                  <a:lnTo>
                    <a:pt x="764" y="199"/>
                  </a:lnTo>
                  <a:lnTo>
                    <a:pt x="764" y="199"/>
                  </a:lnTo>
                  <a:lnTo>
                    <a:pt x="728" y="199"/>
                  </a:lnTo>
                  <a:lnTo>
                    <a:pt x="728" y="199"/>
                  </a:lnTo>
                  <a:lnTo>
                    <a:pt x="728" y="670"/>
                  </a:lnTo>
                  <a:lnTo>
                    <a:pt x="727" y="1142"/>
                  </a:lnTo>
                  <a:lnTo>
                    <a:pt x="727" y="1142"/>
                  </a:lnTo>
                  <a:lnTo>
                    <a:pt x="726" y="1156"/>
                  </a:lnTo>
                  <a:lnTo>
                    <a:pt x="723" y="1170"/>
                  </a:lnTo>
                  <a:lnTo>
                    <a:pt x="717" y="1183"/>
                  </a:lnTo>
                  <a:lnTo>
                    <a:pt x="710" y="1195"/>
                  </a:lnTo>
                  <a:lnTo>
                    <a:pt x="705" y="1200"/>
                  </a:lnTo>
                  <a:lnTo>
                    <a:pt x="700" y="1205"/>
                  </a:lnTo>
                  <a:lnTo>
                    <a:pt x="695" y="1209"/>
                  </a:lnTo>
                  <a:lnTo>
                    <a:pt x="690" y="1213"/>
                  </a:lnTo>
                  <a:lnTo>
                    <a:pt x="684" y="1216"/>
                  </a:lnTo>
                  <a:lnTo>
                    <a:pt x="677" y="1218"/>
                  </a:lnTo>
                  <a:lnTo>
                    <a:pt x="670" y="1219"/>
                  </a:lnTo>
                  <a:lnTo>
                    <a:pt x="663" y="1220"/>
                  </a:lnTo>
                  <a:lnTo>
                    <a:pt x="663" y="1220"/>
                  </a:lnTo>
                  <a:lnTo>
                    <a:pt x="651" y="1220"/>
                  </a:lnTo>
                  <a:lnTo>
                    <a:pt x="638" y="1219"/>
                  </a:lnTo>
                  <a:lnTo>
                    <a:pt x="625" y="1216"/>
                  </a:lnTo>
                  <a:lnTo>
                    <a:pt x="620" y="1213"/>
                  </a:lnTo>
                  <a:lnTo>
                    <a:pt x="615" y="1210"/>
                  </a:lnTo>
                  <a:lnTo>
                    <a:pt x="610" y="1207"/>
                  </a:lnTo>
                  <a:lnTo>
                    <a:pt x="606" y="1203"/>
                  </a:lnTo>
                  <a:lnTo>
                    <a:pt x="602" y="1199"/>
                  </a:lnTo>
                  <a:lnTo>
                    <a:pt x="599" y="1194"/>
                  </a:lnTo>
                  <a:lnTo>
                    <a:pt x="596" y="1188"/>
                  </a:lnTo>
                  <a:lnTo>
                    <a:pt x="595" y="1182"/>
                  </a:lnTo>
                  <a:lnTo>
                    <a:pt x="594" y="1176"/>
                  </a:lnTo>
                  <a:lnTo>
                    <a:pt x="594" y="1169"/>
                  </a:lnTo>
                  <a:lnTo>
                    <a:pt x="594" y="1169"/>
                  </a:lnTo>
                  <a:lnTo>
                    <a:pt x="593" y="1025"/>
                  </a:lnTo>
                  <a:lnTo>
                    <a:pt x="593" y="882"/>
                  </a:lnTo>
                  <a:lnTo>
                    <a:pt x="593" y="739"/>
                  </a:lnTo>
                  <a:lnTo>
                    <a:pt x="593" y="595"/>
                  </a:lnTo>
                  <a:lnTo>
                    <a:pt x="593" y="595"/>
                  </a:lnTo>
                  <a:lnTo>
                    <a:pt x="556" y="595"/>
                  </a:lnTo>
                  <a:lnTo>
                    <a:pt x="556" y="595"/>
                  </a:lnTo>
                  <a:lnTo>
                    <a:pt x="556" y="875"/>
                  </a:lnTo>
                  <a:lnTo>
                    <a:pt x="556" y="1155"/>
                  </a:lnTo>
                  <a:lnTo>
                    <a:pt x="556" y="1155"/>
                  </a:lnTo>
                  <a:lnTo>
                    <a:pt x="555" y="1163"/>
                  </a:lnTo>
                  <a:lnTo>
                    <a:pt x="554" y="1171"/>
                  </a:lnTo>
                  <a:lnTo>
                    <a:pt x="552" y="1177"/>
                  </a:lnTo>
                  <a:lnTo>
                    <a:pt x="550" y="1184"/>
                  </a:lnTo>
                  <a:lnTo>
                    <a:pt x="546" y="1190"/>
                  </a:lnTo>
                  <a:lnTo>
                    <a:pt x="541" y="1196"/>
                  </a:lnTo>
                  <a:lnTo>
                    <a:pt x="537" y="1201"/>
                  </a:lnTo>
                  <a:lnTo>
                    <a:pt x="532" y="1205"/>
                  </a:lnTo>
                  <a:lnTo>
                    <a:pt x="526" y="1209"/>
                  </a:lnTo>
                  <a:lnTo>
                    <a:pt x="520" y="1213"/>
                  </a:lnTo>
                  <a:lnTo>
                    <a:pt x="514" y="1216"/>
                  </a:lnTo>
                  <a:lnTo>
                    <a:pt x="507" y="1218"/>
                  </a:lnTo>
                  <a:lnTo>
                    <a:pt x="501" y="1220"/>
                  </a:lnTo>
                  <a:lnTo>
                    <a:pt x="493" y="1221"/>
                  </a:lnTo>
                  <a:lnTo>
                    <a:pt x="486" y="1221"/>
                  </a:lnTo>
                  <a:lnTo>
                    <a:pt x="479" y="1220"/>
                  </a:lnTo>
                  <a:lnTo>
                    <a:pt x="479" y="1220"/>
                  </a:lnTo>
                  <a:lnTo>
                    <a:pt x="471" y="1220"/>
                  </a:lnTo>
                  <a:lnTo>
                    <a:pt x="464" y="1219"/>
                  </a:lnTo>
                  <a:lnTo>
                    <a:pt x="458" y="1217"/>
                  </a:lnTo>
                  <a:lnTo>
                    <a:pt x="451" y="1215"/>
                  </a:lnTo>
                  <a:lnTo>
                    <a:pt x="445" y="1211"/>
                  </a:lnTo>
                  <a:lnTo>
                    <a:pt x="440" y="1206"/>
                  </a:lnTo>
                  <a:lnTo>
                    <a:pt x="436" y="1201"/>
                  </a:lnTo>
                  <a:lnTo>
                    <a:pt x="432" y="1196"/>
                  </a:lnTo>
                  <a:lnTo>
                    <a:pt x="429" y="1190"/>
                  </a:lnTo>
                  <a:lnTo>
                    <a:pt x="426" y="1183"/>
                  </a:lnTo>
                  <a:lnTo>
                    <a:pt x="422" y="1170"/>
                  </a:lnTo>
                  <a:lnTo>
                    <a:pt x="421" y="1155"/>
                  </a:lnTo>
                  <a:lnTo>
                    <a:pt x="421" y="1141"/>
                  </a:lnTo>
                  <a:lnTo>
                    <a:pt x="421" y="1141"/>
                  </a:lnTo>
                  <a:lnTo>
                    <a:pt x="421" y="666"/>
                  </a:lnTo>
                  <a:lnTo>
                    <a:pt x="421" y="190"/>
                  </a:lnTo>
                  <a:lnTo>
                    <a:pt x="421" y="190"/>
                  </a:lnTo>
                  <a:lnTo>
                    <a:pt x="406" y="209"/>
                  </a:lnTo>
                  <a:lnTo>
                    <a:pt x="393" y="229"/>
                  </a:lnTo>
                  <a:lnTo>
                    <a:pt x="365" y="270"/>
                  </a:lnTo>
                  <a:lnTo>
                    <a:pt x="352" y="291"/>
                  </a:lnTo>
                  <a:lnTo>
                    <a:pt x="338" y="311"/>
                  </a:lnTo>
                  <a:lnTo>
                    <a:pt x="330" y="320"/>
                  </a:lnTo>
                  <a:lnTo>
                    <a:pt x="322" y="328"/>
                  </a:lnTo>
                  <a:lnTo>
                    <a:pt x="313" y="337"/>
                  </a:lnTo>
                  <a:lnTo>
                    <a:pt x="304" y="344"/>
                  </a:lnTo>
                  <a:lnTo>
                    <a:pt x="304" y="344"/>
                  </a:lnTo>
                  <a:lnTo>
                    <a:pt x="234" y="347"/>
                  </a:lnTo>
                  <a:lnTo>
                    <a:pt x="165" y="348"/>
                  </a:lnTo>
                  <a:lnTo>
                    <a:pt x="96" y="347"/>
                  </a:lnTo>
                  <a:lnTo>
                    <a:pt x="28" y="344"/>
                  </a:lnTo>
                  <a:lnTo>
                    <a:pt x="28" y="344"/>
                  </a:lnTo>
                  <a:lnTo>
                    <a:pt x="21" y="340"/>
                  </a:lnTo>
                  <a:lnTo>
                    <a:pt x="16" y="336"/>
                  </a:lnTo>
                  <a:lnTo>
                    <a:pt x="10" y="332"/>
                  </a:lnTo>
                  <a:lnTo>
                    <a:pt x="7" y="327"/>
                  </a:lnTo>
                  <a:lnTo>
                    <a:pt x="4" y="322"/>
                  </a:lnTo>
                  <a:lnTo>
                    <a:pt x="2" y="316"/>
                  </a:lnTo>
                  <a:lnTo>
                    <a:pt x="1" y="310"/>
                  </a:lnTo>
                  <a:lnTo>
                    <a:pt x="0" y="304"/>
                  </a:lnTo>
                  <a:lnTo>
                    <a:pt x="0" y="291"/>
                  </a:lnTo>
                  <a:lnTo>
                    <a:pt x="1" y="277"/>
                  </a:lnTo>
                  <a:lnTo>
                    <a:pt x="4" y="252"/>
                  </a:lnTo>
                  <a:lnTo>
                    <a:pt x="4" y="252"/>
                  </a:lnTo>
                  <a:lnTo>
                    <a:pt x="20" y="246"/>
                  </a:lnTo>
                  <a:lnTo>
                    <a:pt x="35" y="242"/>
                  </a:lnTo>
                  <a:lnTo>
                    <a:pt x="50" y="239"/>
                  </a:lnTo>
                  <a:lnTo>
                    <a:pt x="65" y="237"/>
                  </a:lnTo>
                  <a:lnTo>
                    <a:pt x="80" y="236"/>
                  </a:lnTo>
                  <a:lnTo>
                    <a:pt x="96" y="235"/>
                  </a:lnTo>
                  <a:lnTo>
                    <a:pt x="128" y="235"/>
                  </a:lnTo>
                  <a:lnTo>
                    <a:pt x="159" y="236"/>
                  </a:lnTo>
                  <a:lnTo>
                    <a:pt x="190" y="236"/>
                  </a:lnTo>
                  <a:lnTo>
                    <a:pt x="206" y="236"/>
                  </a:lnTo>
                  <a:lnTo>
                    <a:pt x="222" y="235"/>
                  </a:lnTo>
                  <a:lnTo>
                    <a:pt x="237" y="233"/>
                  </a:lnTo>
                  <a:lnTo>
                    <a:pt x="252" y="230"/>
                  </a:lnTo>
                  <a:lnTo>
                    <a:pt x="252" y="2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503" name="Group 3502"/>
          <p:cNvGrpSpPr/>
          <p:nvPr/>
        </p:nvGrpSpPr>
        <p:grpSpPr>
          <a:xfrm>
            <a:off x="988267" y="5435598"/>
            <a:ext cx="499925" cy="410479"/>
            <a:chOff x="1192121" y="5627967"/>
            <a:chExt cx="683657" cy="561338"/>
          </a:xfrm>
        </p:grpSpPr>
        <p:grpSp>
          <p:nvGrpSpPr>
            <p:cNvPr id="3440" name="Group 3439"/>
            <p:cNvGrpSpPr/>
            <p:nvPr/>
          </p:nvGrpSpPr>
          <p:grpSpPr>
            <a:xfrm>
              <a:off x="1426687" y="5688734"/>
              <a:ext cx="449091" cy="500571"/>
              <a:chOff x="4714650" y="2628108"/>
              <a:chExt cx="240602" cy="268182"/>
            </a:xfrm>
          </p:grpSpPr>
          <p:grpSp>
            <p:nvGrpSpPr>
              <p:cNvPr id="3427" name="Group 3426"/>
              <p:cNvGrpSpPr/>
              <p:nvPr/>
            </p:nvGrpSpPr>
            <p:grpSpPr>
              <a:xfrm>
                <a:off x="4761526" y="2655989"/>
                <a:ext cx="86715" cy="115455"/>
                <a:chOff x="4756138" y="2643866"/>
                <a:chExt cx="104925" cy="139700"/>
              </a:xfrm>
            </p:grpSpPr>
            <p:sp>
              <p:nvSpPr>
                <p:cNvPr id="3428" name="Freeform 388"/>
                <p:cNvSpPr>
                  <a:spLocks/>
                </p:cNvSpPr>
                <p:nvPr/>
              </p:nvSpPr>
              <p:spPr bwMode="auto">
                <a:xfrm>
                  <a:off x="4817767" y="2643866"/>
                  <a:ext cx="43296" cy="43295"/>
                </a:xfrm>
                <a:custGeom>
                  <a:avLst/>
                  <a:gdLst>
                    <a:gd name="T0" fmla="*/ 402 w 1298"/>
                    <a:gd name="T1" fmla="*/ 46 h 1303"/>
                    <a:gd name="T2" fmla="*/ 465 w 1298"/>
                    <a:gd name="T3" fmla="*/ 23 h 1303"/>
                    <a:gd name="T4" fmla="*/ 530 w 1298"/>
                    <a:gd name="T5" fmla="*/ 8 h 1303"/>
                    <a:gd name="T6" fmla="*/ 595 w 1298"/>
                    <a:gd name="T7" fmla="*/ 0 h 1303"/>
                    <a:gd name="T8" fmla="*/ 660 w 1298"/>
                    <a:gd name="T9" fmla="*/ 0 h 1303"/>
                    <a:gd name="T10" fmla="*/ 725 w 1298"/>
                    <a:gd name="T11" fmla="*/ 7 h 1303"/>
                    <a:gd name="T12" fmla="*/ 788 w 1298"/>
                    <a:gd name="T13" fmla="*/ 21 h 1303"/>
                    <a:gd name="T14" fmla="*/ 850 w 1298"/>
                    <a:gd name="T15" fmla="*/ 40 h 1303"/>
                    <a:gd name="T16" fmla="*/ 911 w 1298"/>
                    <a:gd name="T17" fmla="*/ 67 h 1303"/>
                    <a:gd name="T18" fmla="*/ 968 w 1298"/>
                    <a:gd name="T19" fmla="*/ 98 h 1303"/>
                    <a:gd name="T20" fmla="*/ 1023 w 1298"/>
                    <a:gd name="T21" fmla="*/ 135 h 1303"/>
                    <a:gd name="T22" fmla="*/ 1074 w 1298"/>
                    <a:gd name="T23" fmla="*/ 176 h 1303"/>
                    <a:gd name="T24" fmla="*/ 1121 w 1298"/>
                    <a:gd name="T25" fmla="*/ 222 h 1303"/>
                    <a:gd name="T26" fmla="*/ 1163 w 1298"/>
                    <a:gd name="T27" fmla="*/ 272 h 1303"/>
                    <a:gd name="T28" fmla="*/ 1201 w 1298"/>
                    <a:gd name="T29" fmla="*/ 325 h 1303"/>
                    <a:gd name="T30" fmla="*/ 1234 w 1298"/>
                    <a:gd name="T31" fmla="*/ 382 h 1303"/>
                    <a:gd name="T32" fmla="*/ 1259 w 1298"/>
                    <a:gd name="T33" fmla="*/ 441 h 1303"/>
                    <a:gd name="T34" fmla="*/ 1280 w 1298"/>
                    <a:gd name="T35" fmla="*/ 503 h 1303"/>
                    <a:gd name="T36" fmla="*/ 1292 w 1298"/>
                    <a:gd name="T37" fmla="*/ 567 h 1303"/>
                    <a:gd name="T38" fmla="*/ 1298 w 1298"/>
                    <a:gd name="T39" fmla="*/ 632 h 1303"/>
                    <a:gd name="T40" fmla="*/ 1295 w 1298"/>
                    <a:gd name="T41" fmla="*/ 698 h 1303"/>
                    <a:gd name="T42" fmla="*/ 1284 w 1298"/>
                    <a:gd name="T43" fmla="*/ 767 h 1303"/>
                    <a:gd name="T44" fmla="*/ 1277 w 1298"/>
                    <a:gd name="T45" fmla="*/ 812 h 1303"/>
                    <a:gd name="T46" fmla="*/ 1260 w 1298"/>
                    <a:gd name="T47" fmla="*/ 876 h 1303"/>
                    <a:gd name="T48" fmla="*/ 1236 w 1298"/>
                    <a:gd name="T49" fmla="*/ 936 h 1303"/>
                    <a:gd name="T50" fmla="*/ 1205 w 1298"/>
                    <a:gd name="T51" fmla="*/ 992 h 1303"/>
                    <a:gd name="T52" fmla="*/ 1170 w 1298"/>
                    <a:gd name="T53" fmla="*/ 1045 h 1303"/>
                    <a:gd name="T54" fmla="*/ 1128 w 1298"/>
                    <a:gd name="T55" fmla="*/ 1093 h 1303"/>
                    <a:gd name="T56" fmla="*/ 1082 w 1298"/>
                    <a:gd name="T57" fmla="*/ 1137 h 1303"/>
                    <a:gd name="T58" fmla="*/ 1031 w 1298"/>
                    <a:gd name="T59" fmla="*/ 1175 h 1303"/>
                    <a:gd name="T60" fmla="*/ 977 w 1298"/>
                    <a:gd name="T61" fmla="*/ 1209 h 1303"/>
                    <a:gd name="T62" fmla="*/ 920 w 1298"/>
                    <a:gd name="T63" fmla="*/ 1238 h 1303"/>
                    <a:gd name="T64" fmla="*/ 861 w 1298"/>
                    <a:gd name="T65" fmla="*/ 1262 h 1303"/>
                    <a:gd name="T66" fmla="*/ 798 w 1298"/>
                    <a:gd name="T67" fmla="*/ 1281 h 1303"/>
                    <a:gd name="T68" fmla="*/ 736 w 1298"/>
                    <a:gd name="T69" fmla="*/ 1293 h 1303"/>
                    <a:gd name="T70" fmla="*/ 672 w 1298"/>
                    <a:gd name="T71" fmla="*/ 1302 h 1303"/>
                    <a:gd name="T72" fmla="*/ 608 w 1298"/>
                    <a:gd name="T73" fmla="*/ 1303 h 1303"/>
                    <a:gd name="T74" fmla="*/ 545 w 1298"/>
                    <a:gd name="T75" fmla="*/ 1297 h 1303"/>
                    <a:gd name="T76" fmla="*/ 481 w 1298"/>
                    <a:gd name="T77" fmla="*/ 1287 h 1303"/>
                    <a:gd name="T78" fmla="*/ 420 w 1298"/>
                    <a:gd name="T79" fmla="*/ 1270 h 1303"/>
                    <a:gd name="T80" fmla="*/ 360 w 1298"/>
                    <a:gd name="T81" fmla="*/ 1246 h 1303"/>
                    <a:gd name="T82" fmla="*/ 303 w 1298"/>
                    <a:gd name="T83" fmla="*/ 1215 h 1303"/>
                    <a:gd name="T84" fmla="*/ 249 w 1298"/>
                    <a:gd name="T85" fmla="*/ 1177 h 1303"/>
                    <a:gd name="T86" fmla="*/ 215 w 1298"/>
                    <a:gd name="T87" fmla="*/ 1148 h 1303"/>
                    <a:gd name="T88" fmla="*/ 168 w 1298"/>
                    <a:gd name="T89" fmla="*/ 1106 h 1303"/>
                    <a:gd name="T90" fmla="*/ 128 w 1298"/>
                    <a:gd name="T91" fmla="*/ 1059 h 1303"/>
                    <a:gd name="T92" fmla="*/ 92 w 1298"/>
                    <a:gd name="T93" fmla="*/ 1009 h 1303"/>
                    <a:gd name="T94" fmla="*/ 62 w 1298"/>
                    <a:gd name="T95" fmla="*/ 955 h 1303"/>
                    <a:gd name="T96" fmla="*/ 39 w 1298"/>
                    <a:gd name="T97" fmla="*/ 900 h 1303"/>
                    <a:gd name="T98" fmla="*/ 22 w 1298"/>
                    <a:gd name="T99" fmla="*/ 842 h 1303"/>
                    <a:gd name="T100" fmla="*/ 8 w 1298"/>
                    <a:gd name="T101" fmla="*/ 783 h 1303"/>
                    <a:gd name="T102" fmla="*/ 0 w 1298"/>
                    <a:gd name="T103" fmla="*/ 681 h 1303"/>
                    <a:gd name="T104" fmla="*/ 8 w 1298"/>
                    <a:gd name="T105" fmla="*/ 559 h 1303"/>
                    <a:gd name="T106" fmla="*/ 38 w 1298"/>
                    <a:gd name="T107" fmla="*/ 440 h 1303"/>
                    <a:gd name="T108" fmla="*/ 87 w 1298"/>
                    <a:gd name="T109" fmla="*/ 328 h 1303"/>
                    <a:gd name="T110" fmla="*/ 118 w 1298"/>
                    <a:gd name="T111" fmla="*/ 276 h 1303"/>
                    <a:gd name="T112" fmla="*/ 154 w 1298"/>
                    <a:gd name="T113" fmla="*/ 227 h 1303"/>
                    <a:gd name="T114" fmla="*/ 195 w 1298"/>
                    <a:gd name="T115" fmla="*/ 182 h 1303"/>
                    <a:gd name="T116" fmla="*/ 240 w 1298"/>
                    <a:gd name="T117" fmla="*/ 141 h 1303"/>
                    <a:gd name="T118" fmla="*/ 290 w 1298"/>
                    <a:gd name="T119" fmla="*/ 105 h 1303"/>
                    <a:gd name="T120" fmla="*/ 343 w 1298"/>
                    <a:gd name="T121" fmla="*/ 74 h 1303"/>
                    <a:gd name="T122" fmla="*/ 381 w 1298"/>
                    <a:gd name="T123" fmla="*/ 57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98" h="1303">
                      <a:moveTo>
                        <a:pt x="381" y="57"/>
                      </a:moveTo>
                      <a:lnTo>
                        <a:pt x="381" y="57"/>
                      </a:lnTo>
                      <a:lnTo>
                        <a:pt x="402" y="46"/>
                      </a:lnTo>
                      <a:lnTo>
                        <a:pt x="423" y="37"/>
                      </a:lnTo>
                      <a:lnTo>
                        <a:pt x="445" y="30"/>
                      </a:lnTo>
                      <a:lnTo>
                        <a:pt x="465" y="23"/>
                      </a:lnTo>
                      <a:lnTo>
                        <a:pt x="486" y="17"/>
                      </a:lnTo>
                      <a:lnTo>
                        <a:pt x="509" y="12"/>
                      </a:lnTo>
                      <a:lnTo>
                        <a:pt x="530" y="8"/>
                      </a:lnTo>
                      <a:lnTo>
                        <a:pt x="552" y="4"/>
                      </a:lnTo>
                      <a:lnTo>
                        <a:pt x="573" y="2"/>
                      </a:lnTo>
                      <a:lnTo>
                        <a:pt x="595" y="0"/>
                      </a:lnTo>
                      <a:lnTo>
                        <a:pt x="617" y="0"/>
                      </a:lnTo>
                      <a:lnTo>
                        <a:pt x="638" y="0"/>
                      </a:lnTo>
                      <a:lnTo>
                        <a:pt x="660" y="0"/>
                      </a:lnTo>
                      <a:lnTo>
                        <a:pt x="681" y="2"/>
                      </a:lnTo>
                      <a:lnTo>
                        <a:pt x="703" y="4"/>
                      </a:lnTo>
                      <a:lnTo>
                        <a:pt x="725" y="7"/>
                      </a:lnTo>
                      <a:lnTo>
                        <a:pt x="745" y="11"/>
                      </a:lnTo>
                      <a:lnTo>
                        <a:pt x="767" y="15"/>
                      </a:lnTo>
                      <a:lnTo>
                        <a:pt x="788" y="21"/>
                      </a:lnTo>
                      <a:lnTo>
                        <a:pt x="809" y="27"/>
                      </a:lnTo>
                      <a:lnTo>
                        <a:pt x="830" y="33"/>
                      </a:lnTo>
                      <a:lnTo>
                        <a:pt x="850" y="40"/>
                      </a:lnTo>
                      <a:lnTo>
                        <a:pt x="871" y="48"/>
                      </a:lnTo>
                      <a:lnTo>
                        <a:pt x="890" y="58"/>
                      </a:lnTo>
                      <a:lnTo>
                        <a:pt x="911" y="67"/>
                      </a:lnTo>
                      <a:lnTo>
                        <a:pt x="930" y="76"/>
                      </a:lnTo>
                      <a:lnTo>
                        <a:pt x="949" y="87"/>
                      </a:lnTo>
                      <a:lnTo>
                        <a:pt x="968" y="98"/>
                      </a:lnTo>
                      <a:lnTo>
                        <a:pt x="986" y="110"/>
                      </a:lnTo>
                      <a:lnTo>
                        <a:pt x="1004" y="122"/>
                      </a:lnTo>
                      <a:lnTo>
                        <a:pt x="1023" y="135"/>
                      </a:lnTo>
                      <a:lnTo>
                        <a:pt x="1040" y="148"/>
                      </a:lnTo>
                      <a:lnTo>
                        <a:pt x="1057" y="162"/>
                      </a:lnTo>
                      <a:lnTo>
                        <a:pt x="1074" y="176"/>
                      </a:lnTo>
                      <a:lnTo>
                        <a:pt x="1090" y="191"/>
                      </a:lnTo>
                      <a:lnTo>
                        <a:pt x="1105" y="206"/>
                      </a:lnTo>
                      <a:lnTo>
                        <a:pt x="1121" y="222"/>
                      </a:lnTo>
                      <a:lnTo>
                        <a:pt x="1136" y="238"/>
                      </a:lnTo>
                      <a:lnTo>
                        <a:pt x="1150" y="254"/>
                      </a:lnTo>
                      <a:lnTo>
                        <a:pt x="1163" y="272"/>
                      </a:lnTo>
                      <a:lnTo>
                        <a:pt x="1177" y="289"/>
                      </a:lnTo>
                      <a:lnTo>
                        <a:pt x="1189" y="307"/>
                      </a:lnTo>
                      <a:lnTo>
                        <a:pt x="1201" y="325"/>
                      </a:lnTo>
                      <a:lnTo>
                        <a:pt x="1212" y="344"/>
                      </a:lnTo>
                      <a:lnTo>
                        <a:pt x="1224" y="362"/>
                      </a:lnTo>
                      <a:lnTo>
                        <a:pt x="1234" y="382"/>
                      </a:lnTo>
                      <a:lnTo>
                        <a:pt x="1243" y="401"/>
                      </a:lnTo>
                      <a:lnTo>
                        <a:pt x="1251" y="420"/>
                      </a:lnTo>
                      <a:lnTo>
                        <a:pt x="1259" y="441"/>
                      </a:lnTo>
                      <a:lnTo>
                        <a:pt x="1267" y="461"/>
                      </a:lnTo>
                      <a:lnTo>
                        <a:pt x="1274" y="481"/>
                      </a:lnTo>
                      <a:lnTo>
                        <a:pt x="1280" y="503"/>
                      </a:lnTo>
                      <a:lnTo>
                        <a:pt x="1285" y="524"/>
                      </a:lnTo>
                      <a:lnTo>
                        <a:pt x="1289" y="545"/>
                      </a:lnTo>
                      <a:lnTo>
                        <a:pt x="1292" y="567"/>
                      </a:lnTo>
                      <a:lnTo>
                        <a:pt x="1295" y="588"/>
                      </a:lnTo>
                      <a:lnTo>
                        <a:pt x="1297" y="610"/>
                      </a:lnTo>
                      <a:lnTo>
                        <a:pt x="1298" y="632"/>
                      </a:lnTo>
                      <a:lnTo>
                        <a:pt x="1298" y="655"/>
                      </a:lnTo>
                      <a:lnTo>
                        <a:pt x="1297" y="676"/>
                      </a:lnTo>
                      <a:lnTo>
                        <a:pt x="1295" y="698"/>
                      </a:lnTo>
                      <a:lnTo>
                        <a:pt x="1293" y="721"/>
                      </a:lnTo>
                      <a:lnTo>
                        <a:pt x="1289" y="744"/>
                      </a:lnTo>
                      <a:lnTo>
                        <a:pt x="1284" y="767"/>
                      </a:lnTo>
                      <a:lnTo>
                        <a:pt x="1284" y="767"/>
                      </a:lnTo>
                      <a:lnTo>
                        <a:pt x="1281" y="789"/>
                      </a:lnTo>
                      <a:lnTo>
                        <a:pt x="1277" y="812"/>
                      </a:lnTo>
                      <a:lnTo>
                        <a:pt x="1273" y="833"/>
                      </a:lnTo>
                      <a:lnTo>
                        <a:pt x="1266" y="854"/>
                      </a:lnTo>
                      <a:lnTo>
                        <a:pt x="1260" y="876"/>
                      </a:lnTo>
                      <a:lnTo>
                        <a:pt x="1252" y="896"/>
                      </a:lnTo>
                      <a:lnTo>
                        <a:pt x="1245" y="916"/>
                      </a:lnTo>
                      <a:lnTo>
                        <a:pt x="1236" y="936"/>
                      </a:lnTo>
                      <a:lnTo>
                        <a:pt x="1227" y="955"/>
                      </a:lnTo>
                      <a:lnTo>
                        <a:pt x="1216" y="974"/>
                      </a:lnTo>
                      <a:lnTo>
                        <a:pt x="1205" y="992"/>
                      </a:lnTo>
                      <a:lnTo>
                        <a:pt x="1194" y="1010"/>
                      </a:lnTo>
                      <a:lnTo>
                        <a:pt x="1182" y="1027"/>
                      </a:lnTo>
                      <a:lnTo>
                        <a:pt x="1170" y="1045"/>
                      </a:lnTo>
                      <a:lnTo>
                        <a:pt x="1156" y="1061"/>
                      </a:lnTo>
                      <a:lnTo>
                        <a:pt x="1142" y="1077"/>
                      </a:lnTo>
                      <a:lnTo>
                        <a:pt x="1128" y="1093"/>
                      </a:lnTo>
                      <a:lnTo>
                        <a:pt x="1112" y="1108"/>
                      </a:lnTo>
                      <a:lnTo>
                        <a:pt x="1097" y="1122"/>
                      </a:lnTo>
                      <a:lnTo>
                        <a:pt x="1082" y="1137"/>
                      </a:lnTo>
                      <a:lnTo>
                        <a:pt x="1066" y="1150"/>
                      </a:lnTo>
                      <a:lnTo>
                        <a:pt x="1048" y="1163"/>
                      </a:lnTo>
                      <a:lnTo>
                        <a:pt x="1031" y="1175"/>
                      </a:lnTo>
                      <a:lnTo>
                        <a:pt x="1014" y="1187"/>
                      </a:lnTo>
                      <a:lnTo>
                        <a:pt x="995" y="1199"/>
                      </a:lnTo>
                      <a:lnTo>
                        <a:pt x="977" y="1209"/>
                      </a:lnTo>
                      <a:lnTo>
                        <a:pt x="959" y="1219"/>
                      </a:lnTo>
                      <a:lnTo>
                        <a:pt x="939" y="1229"/>
                      </a:lnTo>
                      <a:lnTo>
                        <a:pt x="920" y="1238"/>
                      </a:lnTo>
                      <a:lnTo>
                        <a:pt x="900" y="1247"/>
                      </a:lnTo>
                      <a:lnTo>
                        <a:pt x="881" y="1255"/>
                      </a:lnTo>
                      <a:lnTo>
                        <a:pt x="861" y="1262"/>
                      </a:lnTo>
                      <a:lnTo>
                        <a:pt x="840" y="1269"/>
                      </a:lnTo>
                      <a:lnTo>
                        <a:pt x="820" y="1275"/>
                      </a:lnTo>
                      <a:lnTo>
                        <a:pt x="798" y="1281"/>
                      </a:lnTo>
                      <a:lnTo>
                        <a:pt x="778" y="1286"/>
                      </a:lnTo>
                      <a:lnTo>
                        <a:pt x="757" y="1290"/>
                      </a:lnTo>
                      <a:lnTo>
                        <a:pt x="736" y="1293"/>
                      </a:lnTo>
                      <a:lnTo>
                        <a:pt x="715" y="1296"/>
                      </a:lnTo>
                      <a:lnTo>
                        <a:pt x="693" y="1300"/>
                      </a:lnTo>
                      <a:lnTo>
                        <a:pt x="672" y="1302"/>
                      </a:lnTo>
                      <a:lnTo>
                        <a:pt x="651" y="1303"/>
                      </a:lnTo>
                      <a:lnTo>
                        <a:pt x="629" y="1303"/>
                      </a:lnTo>
                      <a:lnTo>
                        <a:pt x="608" y="1303"/>
                      </a:lnTo>
                      <a:lnTo>
                        <a:pt x="586" y="1302"/>
                      </a:lnTo>
                      <a:lnTo>
                        <a:pt x="566" y="1301"/>
                      </a:lnTo>
                      <a:lnTo>
                        <a:pt x="545" y="1297"/>
                      </a:lnTo>
                      <a:lnTo>
                        <a:pt x="523" y="1295"/>
                      </a:lnTo>
                      <a:lnTo>
                        <a:pt x="503" y="1291"/>
                      </a:lnTo>
                      <a:lnTo>
                        <a:pt x="481" y="1287"/>
                      </a:lnTo>
                      <a:lnTo>
                        <a:pt x="461" y="1282"/>
                      </a:lnTo>
                      <a:lnTo>
                        <a:pt x="441" y="1276"/>
                      </a:lnTo>
                      <a:lnTo>
                        <a:pt x="420" y="1270"/>
                      </a:lnTo>
                      <a:lnTo>
                        <a:pt x="400" y="1263"/>
                      </a:lnTo>
                      <a:lnTo>
                        <a:pt x="380" y="1255"/>
                      </a:lnTo>
                      <a:lnTo>
                        <a:pt x="360" y="1246"/>
                      </a:lnTo>
                      <a:lnTo>
                        <a:pt x="341" y="1236"/>
                      </a:lnTo>
                      <a:lnTo>
                        <a:pt x="322" y="1226"/>
                      </a:lnTo>
                      <a:lnTo>
                        <a:pt x="303" y="1215"/>
                      </a:lnTo>
                      <a:lnTo>
                        <a:pt x="285" y="1203"/>
                      </a:lnTo>
                      <a:lnTo>
                        <a:pt x="267" y="1190"/>
                      </a:lnTo>
                      <a:lnTo>
                        <a:pt x="249" y="1177"/>
                      </a:lnTo>
                      <a:lnTo>
                        <a:pt x="233" y="1163"/>
                      </a:lnTo>
                      <a:lnTo>
                        <a:pt x="215" y="1148"/>
                      </a:lnTo>
                      <a:lnTo>
                        <a:pt x="215" y="1148"/>
                      </a:lnTo>
                      <a:lnTo>
                        <a:pt x="199" y="1134"/>
                      </a:lnTo>
                      <a:lnTo>
                        <a:pt x="184" y="1120"/>
                      </a:lnTo>
                      <a:lnTo>
                        <a:pt x="168" y="1106"/>
                      </a:lnTo>
                      <a:lnTo>
                        <a:pt x="154" y="1091"/>
                      </a:lnTo>
                      <a:lnTo>
                        <a:pt x="140" y="1075"/>
                      </a:lnTo>
                      <a:lnTo>
                        <a:pt x="128" y="1059"/>
                      </a:lnTo>
                      <a:lnTo>
                        <a:pt x="115" y="1043"/>
                      </a:lnTo>
                      <a:lnTo>
                        <a:pt x="103" y="1025"/>
                      </a:lnTo>
                      <a:lnTo>
                        <a:pt x="92" y="1009"/>
                      </a:lnTo>
                      <a:lnTo>
                        <a:pt x="82" y="992"/>
                      </a:lnTo>
                      <a:lnTo>
                        <a:pt x="72" y="974"/>
                      </a:lnTo>
                      <a:lnTo>
                        <a:pt x="62" y="955"/>
                      </a:lnTo>
                      <a:lnTo>
                        <a:pt x="54" y="937"/>
                      </a:lnTo>
                      <a:lnTo>
                        <a:pt x="46" y="918"/>
                      </a:lnTo>
                      <a:lnTo>
                        <a:pt x="39" y="900"/>
                      </a:lnTo>
                      <a:lnTo>
                        <a:pt x="33" y="881"/>
                      </a:lnTo>
                      <a:lnTo>
                        <a:pt x="27" y="861"/>
                      </a:lnTo>
                      <a:lnTo>
                        <a:pt x="22" y="842"/>
                      </a:lnTo>
                      <a:lnTo>
                        <a:pt x="17" y="823"/>
                      </a:lnTo>
                      <a:lnTo>
                        <a:pt x="12" y="802"/>
                      </a:lnTo>
                      <a:lnTo>
                        <a:pt x="8" y="783"/>
                      </a:lnTo>
                      <a:lnTo>
                        <a:pt x="5" y="763"/>
                      </a:lnTo>
                      <a:lnTo>
                        <a:pt x="1" y="722"/>
                      </a:lnTo>
                      <a:lnTo>
                        <a:pt x="0" y="681"/>
                      </a:lnTo>
                      <a:lnTo>
                        <a:pt x="0" y="640"/>
                      </a:lnTo>
                      <a:lnTo>
                        <a:pt x="3" y="600"/>
                      </a:lnTo>
                      <a:lnTo>
                        <a:pt x="8" y="559"/>
                      </a:lnTo>
                      <a:lnTo>
                        <a:pt x="17" y="519"/>
                      </a:lnTo>
                      <a:lnTo>
                        <a:pt x="26" y="479"/>
                      </a:lnTo>
                      <a:lnTo>
                        <a:pt x="38" y="440"/>
                      </a:lnTo>
                      <a:lnTo>
                        <a:pt x="52" y="402"/>
                      </a:lnTo>
                      <a:lnTo>
                        <a:pt x="69" y="364"/>
                      </a:lnTo>
                      <a:lnTo>
                        <a:pt x="87" y="328"/>
                      </a:lnTo>
                      <a:lnTo>
                        <a:pt x="97" y="310"/>
                      </a:lnTo>
                      <a:lnTo>
                        <a:pt x="107" y="293"/>
                      </a:lnTo>
                      <a:lnTo>
                        <a:pt x="118" y="276"/>
                      </a:lnTo>
                      <a:lnTo>
                        <a:pt x="130" y="259"/>
                      </a:lnTo>
                      <a:lnTo>
                        <a:pt x="142" y="243"/>
                      </a:lnTo>
                      <a:lnTo>
                        <a:pt x="154" y="227"/>
                      </a:lnTo>
                      <a:lnTo>
                        <a:pt x="167" y="211"/>
                      </a:lnTo>
                      <a:lnTo>
                        <a:pt x="181" y="196"/>
                      </a:lnTo>
                      <a:lnTo>
                        <a:pt x="195" y="182"/>
                      </a:lnTo>
                      <a:lnTo>
                        <a:pt x="209" y="168"/>
                      </a:lnTo>
                      <a:lnTo>
                        <a:pt x="224" y="154"/>
                      </a:lnTo>
                      <a:lnTo>
                        <a:pt x="240" y="141"/>
                      </a:lnTo>
                      <a:lnTo>
                        <a:pt x="256" y="128"/>
                      </a:lnTo>
                      <a:lnTo>
                        <a:pt x="272" y="116"/>
                      </a:lnTo>
                      <a:lnTo>
                        <a:pt x="290" y="105"/>
                      </a:lnTo>
                      <a:lnTo>
                        <a:pt x="307" y="93"/>
                      </a:lnTo>
                      <a:lnTo>
                        <a:pt x="324" y="83"/>
                      </a:lnTo>
                      <a:lnTo>
                        <a:pt x="343" y="74"/>
                      </a:lnTo>
                      <a:lnTo>
                        <a:pt x="362" y="65"/>
                      </a:lnTo>
                      <a:lnTo>
                        <a:pt x="381" y="57"/>
                      </a:lnTo>
                      <a:lnTo>
                        <a:pt x="381" y="5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29" name="Freeform 389"/>
                <p:cNvSpPr>
                  <a:spLocks/>
                </p:cNvSpPr>
                <p:nvPr/>
              </p:nvSpPr>
              <p:spPr bwMode="auto">
                <a:xfrm>
                  <a:off x="4756138" y="2691098"/>
                  <a:ext cx="99677" cy="92468"/>
                </a:xfrm>
                <a:custGeom>
                  <a:avLst/>
                  <a:gdLst/>
                  <a:ahLst/>
                  <a:cxnLst/>
                  <a:rect l="l" t="t" r="r" b="b"/>
                  <a:pathLst>
                    <a:path w="99677" h="92468">
                      <a:moveTo>
                        <a:pt x="81249" y="0"/>
                      </a:moveTo>
                      <a:lnTo>
                        <a:pt x="82590" y="67"/>
                      </a:lnTo>
                      <a:lnTo>
                        <a:pt x="83896" y="202"/>
                      </a:lnTo>
                      <a:lnTo>
                        <a:pt x="85203" y="403"/>
                      </a:lnTo>
                      <a:lnTo>
                        <a:pt x="86443" y="739"/>
                      </a:lnTo>
                      <a:lnTo>
                        <a:pt x="87113" y="906"/>
                      </a:lnTo>
                      <a:lnTo>
                        <a:pt x="87716" y="1108"/>
                      </a:lnTo>
                      <a:lnTo>
                        <a:pt x="88319" y="1309"/>
                      </a:lnTo>
                      <a:lnTo>
                        <a:pt x="88922" y="1544"/>
                      </a:lnTo>
                      <a:lnTo>
                        <a:pt x="89525" y="1779"/>
                      </a:lnTo>
                      <a:lnTo>
                        <a:pt x="90095" y="2047"/>
                      </a:lnTo>
                      <a:lnTo>
                        <a:pt x="90698" y="2383"/>
                      </a:lnTo>
                      <a:lnTo>
                        <a:pt x="91267" y="2685"/>
                      </a:lnTo>
                      <a:lnTo>
                        <a:pt x="91804" y="2987"/>
                      </a:lnTo>
                      <a:lnTo>
                        <a:pt x="92373" y="3323"/>
                      </a:lnTo>
                      <a:lnTo>
                        <a:pt x="92876" y="3692"/>
                      </a:lnTo>
                      <a:lnTo>
                        <a:pt x="93378" y="4061"/>
                      </a:lnTo>
                      <a:lnTo>
                        <a:pt x="93881" y="4498"/>
                      </a:lnTo>
                      <a:lnTo>
                        <a:pt x="94350" y="4934"/>
                      </a:lnTo>
                      <a:lnTo>
                        <a:pt x="94819" y="5370"/>
                      </a:lnTo>
                      <a:lnTo>
                        <a:pt x="95255" y="5807"/>
                      </a:lnTo>
                      <a:lnTo>
                        <a:pt x="95690" y="6310"/>
                      </a:lnTo>
                      <a:lnTo>
                        <a:pt x="96092" y="6813"/>
                      </a:lnTo>
                      <a:lnTo>
                        <a:pt x="96494" y="7317"/>
                      </a:lnTo>
                      <a:lnTo>
                        <a:pt x="96829" y="7887"/>
                      </a:lnTo>
                      <a:lnTo>
                        <a:pt x="97198" y="8424"/>
                      </a:lnTo>
                      <a:lnTo>
                        <a:pt x="97533" y="8995"/>
                      </a:lnTo>
                      <a:lnTo>
                        <a:pt x="97868" y="9666"/>
                      </a:lnTo>
                      <a:lnTo>
                        <a:pt x="98203" y="10338"/>
                      </a:lnTo>
                      <a:lnTo>
                        <a:pt x="98505" y="11009"/>
                      </a:lnTo>
                      <a:lnTo>
                        <a:pt x="98739" y="11714"/>
                      </a:lnTo>
                      <a:lnTo>
                        <a:pt x="98974" y="12385"/>
                      </a:lnTo>
                      <a:lnTo>
                        <a:pt x="99175" y="13056"/>
                      </a:lnTo>
                      <a:lnTo>
                        <a:pt x="99309" y="13795"/>
                      </a:lnTo>
                      <a:lnTo>
                        <a:pt x="99443" y="14499"/>
                      </a:lnTo>
                      <a:lnTo>
                        <a:pt x="99543" y="15238"/>
                      </a:lnTo>
                      <a:lnTo>
                        <a:pt x="99610" y="15943"/>
                      </a:lnTo>
                      <a:lnTo>
                        <a:pt x="99644" y="16647"/>
                      </a:lnTo>
                      <a:lnTo>
                        <a:pt x="99677" y="17386"/>
                      </a:lnTo>
                      <a:lnTo>
                        <a:pt x="99677" y="18091"/>
                      </a:lnTo>
                      <a:lnTo>
                        <a:pt x="99644" y="18863"/>
                      </a:lnTo>
                      <a:lnTo>
                        <a:pt x="99543" y="20272"/>
                      </a:lnTo>
                      <a:lnTo>
                        <a:pt x="99409" y="21783"/>
                      </a:lnTo>
                      <a:lnTo>
                        <a:pt x="99175" y="23259"/>
                      </a:lnTo>
                      <a:lnTo>
                        <a:pt x="98907" y="24736"/>
                      </a:lnTo>
                      <a:lnTo>
                        <a:pt x="98639" y="26213"/>
                      </a:lnTo>
                      <a:lnTo>
                        <a:pt x="98103" y="29099"/>
                      </a:lnTo>
                      <a:lnTo>
                        <a:pt x="97834" y="30509"/>
                      </a:lnTo>
                      <a:lnTo>
                        <a:pt x="97566" y="31952"/>
                      </a:lnTo>
                      <a:lnTo>
                        <a:pt x="96863" y="35007"/>
                      </a:lnTo>
                      <a:lnTo>
                        <a:pt x="96193" y="38094"/>
                      </a:lnTo>
                      <a:lnTo>
                        <a:pt x="95590" y="41216"/>
                      </a:lnTo>
                      <a:lnTo>
                        <a:pt x="94953" y="44337"/>
                      </a:lnTo>
                      <a:lnTo>
                        <a:pt x="93780" y="50546"/>
                      </a:lnTo>
                      <a:lnTo>
                        <a:pt x="92608" y="56756"/>
                      </a:lnTo>
                      <a:lnTo>
                        <a:pt x="91368" y="62998"/>
                      </a:lnTo>
                      <a:lnTo>
                        <a:pt x="90765" y="66053"/>
                      </a:lnTo>
                      <a:lnTo>
                        <a:pt x="90095" y="69174"/>
                      </a:lnTo>
                      <a:lnTo>
                        <a:pt x="89391" y="72262"/>
                      </a:lnTo>
                      <a:lnTo>
                        <a:pt x="88654" y="75350"/>
                      </a:lnTo>
                      <a:lnTo>
                        <a:pt x="87850" y="78370"/>
                      </a:lnTo>
                      <a:lnTo>
                        <a:pt x="87046" y="81425"/>
                      </a:lnTo>
                      <a:lnTo>
                        <a:pt x="86811" y="82230"/>
                      </a:lnTo>
                      <a:lnTo>
                        <a:pt x="86543" y="83036"/>
                      </a:lnTo>
                      <a:lnTo>
                        <a:pt x="86275" y="83807"/>
                      </a:lnTo>
                      <a:lnTo>
                        <a:pt x="85940" y="84613"/>
                      </a:lnTo>
                      <a:lnTo>
                        <a:pt x="85605" y="85351"/>
                      </a:lnTo>
                      <a:lnTo>
                        <a:pt x="85203" y="86056"/>
                      </a:lnTo>
                      <a:lnTo>
                        <a:pt x="84768" y="86795"/>
                      </a:lnTo>
                      <a:lnTo>
                        <a:pt x="84332" y="87499"/>
                      </a:lnTo>
                      <a:lnTo>
                        <a:pt x="83863" y="88171"/>
                      </a:lnTo>
                      <a:lnTo>
                        <a:pt x="83360" y="88842"/>
                      </a:lnTo>
                      <a:lnTo>
                        <a:pt x="82824" y="89446"/>
                      </a:lnTo>
                      <a:lnTo>
                        <a:pt x="82288" y="90084"/>
                      </a:lnTo>
                      <a:lnTo>
                        <a:pt x="81719" y="90654"/>
                      </a:lnTo>
                      <a:lnTo>
                        <a:pt x="81082" y="91225"/>
                      </a:lnTo>
                      <a:lnTo>
                        <a:pt x="80479" y="91796"/>
                      </a:lnTo>
                      <a:lnTo>
                        <a:pt x="79842" y="92299"/>
                      </a:lnTo>
                      <a:lnTo>
                        <a:pt x="79589" y="92468"/>
                      </a:lnTo>
                      <a:lnTo>
                        <a:pt x="0" y="92468"/>
                      </a:lnTo>
                      <a:lnTo>
                        <a:pt x="0" y="91561"/>
                      </a:lnTo>
                      <a:lnTo>
                        <a:pt x="67" y="87869"/>
                      </a:lnTo>
                      <a:lnTo>
                        <a:pt x="100" y="84143"/>
                      </a:lnTo>
                      <a:lnTo>
                        <a:pt x="201" y="80451"/>
                      </a:lnTo>
                      <a:lnTo>
                        <a:pt x="301" y="76759"/>
                      </a:lnTo>
                      <a:lnTo>
                        <a:pt x="335" y="76021"/>
                      </a:lnTo>
                      <a:lnTo>
                        <a:pt x="402" y="75316"/>
                      </a:lnTo>
                      <a:lnTo>
                        <a:pt x="502" y="74578"/>
                      </a:lnTo>
                      <a:lnTo>
                        <a:pt x="636" y="73906"/>
                      </a:lnTo>
                      <a:lnTo>
                        <a:pt x="871" y="73235"/>
                      </a:lnTo>
                      <a:lnTo>
                        <a:pt x="1105" y="72631"/>
                      </a:lnTo>
                      <a:lnTo>
                        <a:pt x="1373" y="72060"/>
                      </a:lnTo>
                      <a:lnTo>
                        <a:pt x="1709" y="71456"/>
                      </a:lnTo>
                      <a:lnTo>
                        <a:pt x="2044" y="70919"/>
                      </a:lnTo>
                      <a:lnTo>
                        <a:pt x="2412" y="70382"/>
                      </a:lnTo>
                      <a:lnTo>
                        <a:pt x="2881" y="69912"/>
                      </a:lnTo>
                      <a:lnTo>
                        <a:pt x="3317" y="69409"/>
                      </a:lnTo>
                      <a:lnTo>
                        <a:pt x="3786" y="68973"/>
                      </a:lnTo>
                      <a:lnTo>
                        <a:pt x="4288" y="68536"/>
                      </a:lnTo>
                      <a:lnTo>
                        <a:pt x="4824" y="68133"/>
                      </a:lnTo>
                      <a:lnTo>
                        <a:pt x="5361" y="67731"/>
                      </a:lnTo>
                      <a:lnTo>
                        <a:pt x="5930" y="67362"/>
                      </a:lnTo>
                      <a:lnTo>
                        <a:pt x="6533" y="67059"/>
                      </a:lnTo>
                      <a:lnTo>
                        <a:pt x="7136" y="66757"/>
                      </a:lnTo>
                      <a:lnTo>
                        <a:pt x="7773" y="66455"/>
                      </a:lnTo>
                      <a:lnTo>
                        <a:pt x="8410" y="66187"/>
                      </a:lnTo>
                      <a:lnTo>
                        <a:pt x="9046" y="65918"/>
                      </a:lnTo>
                      <a:lnTo>
                        <a:pt x="9716" y="65717"/>
                      </a:lnTo>
                      <a:lnTo>
                        <a:pt x="10386" y="65516"/>
                      </a:lnTo>
                      <a:lnTo>
                        <a:pt x="11023" y="65348"/>
                      </a:lnTo>
                      <a:lnTo>
                        <a:pt x="11727" y="65213"/>
                      </a:lnTo>
                      <a:lnTo>
                        <a:pt x="12397" y="65079"/>
                      </a:lnTo>
                      <a:lnTo>
                        <a:pt x="13100" y="64979"/>
                      </a:lnTo>
                      <a:lnTo>
                        <a:pt x="13770" y="64878"/>
                      </a:lnTo>
                      <a:lnTo>
                        <a:pt x="14407" y="64811"/>
                      </a:lnTo>
                      <a:lnTo>
                        <a:pt x="15111" y="64777"/>
                      </a:lnTo>
                      <a:lnTo>
                        <a:pt x="15747" y="64777"/>
                      </a:lnTo>
                      <a:lnTo>
                        <a:pt x="20404" y="64710"/>
                      </a:lnTo>
                      <a:lnTo>
                        <a:pt x="24995" y="64676"/>
                      </a:lnTo>
                      <a:lnTo>
                        <a:pt x="34275" y="64676"/>
                      </a:lnTo>
                      <a:lnTo>
                        <a:pt x="43523" y="64710"/>
                      </a:lnTo>
                      <a:lnTo>
                        <a:pt x="48180" y="64710"/>
                      </a:lnTo>
                      <a:lnTo>
                        <a:pt x="52770" y="64643"/>
                      </a:lnTo>
                      <a:lnTo>
                        <a:pt x="53541" y="61287"/>
                      </a:lnTo>
                      <a:lnTo>
                        <a:pt x="54244" y="57964"/>
                      </a:lnTo>
                      <a:lnTo>
                        <a:pt x="54915" y="54574"/>
                      </a:lnTo>
                      <a:lnTo>
                        <a:pt x="55585" y="51218"/>
                      </a:lnTo>
                      <a:lnTo>
                        <a:pt x="56891" y="44539"/>
                      </a:lnTo>
                      <a:lnTo>
                        <a:pt x="58131" y="37792"/>
                      </a:lnTo>
                      <a:lnTo>
                        <a:pt x="59471" y="31046"/>
                      </a:lnTo>
                      <a:lnTo>
                        <a:pt x="60141" y="27690"/>
                      </a:lnTo>
                      <a:lnTo>
                        <a:pt x="60878" y="24367"/>
                      </a:lnTo>
                      <a:lnTo>
                        <a:pt x="61582" y="21044"/>
                      </a:lnTo>
                      <a:lnTo>
                        <a:pt x="62386" y="17688"/>
                      </a:lnTo>
                      <a:lnTo>
                        <a:pt x="63190" y="14365"/>
                      </a:lnTo>
                      <a:lnTo>
                        <a:pt x="64095" y="11042"/>
                      </a:lnTo>
                      <a:lnTo>
                        <a:pt x="64296" y="10405"/>
                      </a:lnTo>
                      <a:lnTo>
                        <a:pt x="64530" y="9801"/>
                      </a:lnTo>
                      <a:lnTo>
                        <a:pt x="64798" y="9163"/>
                      </a:lnTo>
                      <a:lnTo>
                        <a:pt x="65100" y="8592"/>
                      </a:lnTo>
                      <a:lnTo>
                        <a:pt x="65402" y="8022"/>
                      </a:lnTo>
                      <a:lnTo>
                        <a:pt x="65770" y="7451"/>
                      </a:lnTo>
                      <a:lnTo>
                        <a:pt x="66105" y="6914"/>
                      </a:lnTo>
                      <a:lnTo>
                        <a:pt x="66507" y="6411"/>
                      </a:lnTo>
                      <a:lnTo>
                        <a:pt x="66876" y="5907"/>
                      </a:lnTo>
                      <a:lnTo>
                        <a:pt x="67311" y="5437"/>
                      </a:lnTo>
                      <a:lnTo>
                        <a:pt x="67780" y="5001"/>
                      </a:lnTo>
                      <a:lnTo>
                        <a:pt x="68216" y="4565"/>
                      </a:lnTo>
                      <a:lnTo>
                        <a:pt x="68685" y="4128"/>
                      </a:lnTo>
                      <a:lnTo>
                        <a:pt x="69188" y="3726"/>
                      </a:lnTo>
                      <a:lnTo>
                        <a:pt x="69690" y="3390"/>
                      </a:lnTo>
                      <a:lnTo>
                        <a:pt x="70226" y="3021"/>
                      </a:lnTo>
                      <a:lnTo>
                        <a:pt x="70729" y="2685"/>
                      </a:lnTo>
                      <a:lnTo>
                        <a:pt x="71298" y="2383"/>
                      </a:lnTo>
                      <a:lnTo>
                        <a:pt x="71868" y="2081"/>
                      </a:lnTo>
                      <a:lnTo>
                        <a:pt x="72438" y="1813"/>
                      </a:lnTo>
                      <a:lnTo>
                        <a:pt x="73041" y="1544"/>
                      </a:lnTo>
                      <a:lnTo>
                        <a:pt x="73610" y="1309"/>
                      </a:lnTo>
                      <a:lnTo>
                        <a:pt x="74213" y="1108"/>
                      </a:lnTo>
                      <a:lnTo>
                        <a:pt x="74850" y="906"/>
                      </a:lnTo>
                      <a:lnTo>
                        <a:pt x="75453" y="739"/>
                      </a:lnTo>
                      <a:lnTo>
                        <a:pt x="76056" y="604"/>
                      </a:lnTo>
                      <a:lnTo>
                        <a:pt x="77363" y="302"/>
                      </a:lnTo>
                      <a:lnTo>
                        <a:pt x="78670" y="134"/>
                      </a:lnTo>
                      <a:lnTo>
                        <a:pt x="79976" y="3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431" name="Group 3430"/>
              <p:cNvGrpSpPr/>
              <p:nvPr/>
            </p:nvGrpSpPr>
            <p:grpSpPr>
              <a:xfrm flipH="1">
                <a:off x="4714650" y="2628108"/>
                <a:ext cx="240602" cy="268182"/>
                <a:chOff x="5427663" y="2935288"/>
                <a:chExt cx="900113" cy="1003300"/>
              </a:xfrm>
              <a:solidFill>
                <a:srgbClr val="008DB5"/>
              </a:solidFill>
            </p:grpSpPr>
            <p:sp>
              <p:nvSpPr>
                <p:cNvPr id="3435" name="Freeform 515"/>
                <p:cNvSpPr>
                  <a:spLocks noEditPoints="1"/>
                </p:cNvSpPr>
                <p:nvPr/>
              </p:nvSpPr>
              <p:spPr bwMode="auto">
                <a:xfrm>
                  <a:off x="5519738" y="3602038"/>
                  <a:ext cx="334963" cy="336550"/>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solidFill>
                  <a:srgbClr val="7EB1C7"/>
                </a:solid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36" name="Freeform 516"/>
                <p:cNvSpPr>
                  <a:spLocks noEditPoints="1"/>
                </p:cNvSpPr>
                <p:nvPr/>
              </p:nvSpPr>
              <p:spPr bwMode="auto">
                <a:xfrm>
                  <a:off x="5992813" y="3602038"/>
                  <a:ext cx="334963" cy="336550"/>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solidFill>
                  <a:srgbClr val="7EB1C7"/>
                </a:solidFill>
                <a:ln w="0">
                  <a:solidFill>
                    <a:srgbClr val="7EB1C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37" name="Freeform 517"/>
                <p:cNvSpPr>
                  <a:spLocks/>
                </p:cNvSpPr>
                <p:nvPr/>
              </p:nvSpPr>
              <p:spPr bwMode="auto">
                <a:xfrm>
                  <a:off x="5721351" y="2935288"/>
                  <a:ext cx="525463" cy="581025"/>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39" name="Freeform 519"/>
                <p:cNvSpPr>
                  <a:spLocks/>
                </p:cNvSpPr>
                <p:nvPr/>
              </p:nvSpPr>
              <p:spPr bwMode="auto">
                <a:xfrm>
                  <a:off x="5427663" y="3416301"/>
                  <a:ext cx="896938" cy="374650"/>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3444" name="Group 3443"/>
            <p:cNvGrpSpPr/>
            <p:nvPr/>
          </p:nvGrpSpPr>
          <p:grpSpPr>
            <a:xfrm flipH="1">
              <a:off x="1192121" y="5627967"/>
              <a:ext cx="223354" cy="531794"/>
              <a:chOff x="1072002" y="5564595"/>
              <a:chExt cx="325691" cy="775455"/>
            </a:xfrm>
          </p:grpSpPr>
          <p:sp>
            <p:nvSpPr>
              <p:cNvPr id="3441" name="Freeform 512"/>
              <p:cNvSpPr>
                <a:spLocks/>
              </p:cNvSpPr>
              <p:nvPr/>
            </p:nvSpPr>
            <p:spPr bwMode="auto">
              <a:xfrm>
                <a:off x="1072002" y="5564595"/>
                <a:ext cx="325691" cy="775455"/>
              </a:xfrm>
              <a:custGeom>
                <a:avLst/>
                <a:gdLst>
                  <a:gd name="T0" fmla="*/ 0 w 923"/>
                  <a:gd name="T1" fmla="*/ 0 h 2201"/>
                  <a:gd name="T2" fmla="*/ 141 w 923"/>
                  <a:gd name="T3" fmla="*/ 0 h 2201"/>
                  <a:gd name="T4" fmla="*/ 141 w 923"/>
                  <a:gd name="T5" fmla="*/ 2060 h 2201"/>
                  <a:gd name="T6" fmla="*/ 923 w 923"/>
                  <a:gd name="T7" fmla="*/ 2060 h 2201"/>
                  <a:gd name="T8" fmla="*/ 923 w 923"/>
                  <a:gd name="T9" fmla="*/ 2201 h 2201"/>
                  <a:gd name="T10" fmla="*/ 0 w 923"/>
                  <a:gd name="T11" fmla="*/ 2201 h 2201"/>
                  <a:gd name="T12" fmla="*/ 0 w 923"/>
                  <a:gd name="T13" fmla="*/ 0 h 2201"/>
                </a:gdLst>
                <a:ahLst/>
                <a:cxnLst>
                  <a:cxn ang="0">
                    <a:pos x="T0" y="T1"/>
                  </a:cxn>
                  <a:cxn ang="0">
                    <a:pos x="T2" y="T3"/>
                  </a:cxn>
                  <a:cxn ang="0">
                    <a:pos x="T4" y="T5"/>
                  </a:cxn>
                  <a:cxn ang="0">
                    <a:pos x="T6" y="T7"/>
                  </a:cxn>
                  <a:cxn ang="0">
                    <a:pos x="T8" y="T9"/>
                  </a:cxn>
                  <a:cxn ang="0">
                    <a:pos x="T10" y="T11"/>
                  </a:cxn>
                  <a:cxn ang="0">
                    <a:pos x="T12" y="T13"/>
                  </a:cxn>
                </a:cxnLst>
                <a:rect l="0" t="0" r="r" b="b"/>
                <a:pathLst>
                  <a:path w="923" h="2201">
                    <a:moveTo>
                      <a:pt x="0" y="0"/>
                    </a:moveTo>
                    <a:lnTo>
                      <a:pt x="141" y="0"/>
                    </a:lnTo>
                    <a:lnTo>
                      <a:pt x="141" y="2060"/>
                    </a:lnTo>
                    <a:lnTo>
                      <a:pt x="923" y="2060"/>
                    </a:lnTo>
                    <a:lnTo>
                      <a:pt x="923" y="2201"/>
                    </a:lnTo>
                    <a:lnTo>
                      <a:pt x="0" y="2201"/>
                    </a:lnTo>
                    <a:lnTo>
                      <a:pt x="0" y="0"/>
                    </a:lnTo>
                    <a:close/>
                  </a:path>
                </a:pathLst>
              </a:cu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42" name="Rectangle 513"/>
              <p:cNvSpPr>
                <a:spLocks noChangeArrowheads="1"/>
              </p:cNvSpPr>
              <p:nvPr/>
            </p:nvSpPr>
            <p:spPr bwMode="auto">
              <a:xfrm>
                <a:off x="1147898" y="5982498"/>
                <a:ext cx="247370" cy="276372"/>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43" name="Rectangle 514"/>
              <p:cNvSpPr>
                <a:spLocks noChangeArrowheads="1"/>
              </p:cNvSpPr>
              <p:nvPr/>
            </p:nvSpPr>
            <p:spPr bwMode="auto">
              <a:xfrm>
                <a:off x="1150712" y="5703032"/>
                <a:ext cx="214956" cy="247371"/>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3460" name="Group 3459"/>
          <p:cNvGrpSpPr/>
          <p:nvPr/>
        </p:nvGrpSpPr>
        <p:grpSpPr>
          <a:xfrm>
            <a:off x="2836864" y="5347841"/>
            <a:ext cx="461770" cy="508001"/>
            <a:chOff x="2878822" y="5395746"/>
            <a:chExt cx="418224" cy="460095"/>
          </a:xfrm>
        </p:grpSpPr>
        <p:sp>
          <p:nvSpPr>
            <p:cNvPr id="3455" name="Freeform 39"/>
            <p:cNvSpPr>
              <a:spLocks/>
            </p:cNvSpPr>
            <p:nvPr/>
          </p:nvSpPr>
          <p:spPr bwMode="auto">
            <a:xfrm>
              <a:off x="2878822" y="5395746"/>
              <a:ext cx="418224" cy="239675"/>
            </a:xfrm>
            <a:custGeom>
              <a:avLst/>
              <a:gdLst>
                <a:gd name="T0" fmla="*/ 837 w 869"/>
                <a:gd name="T1" fmla="*/ 357 h 498"/>
                <a:gd name="T2" fmla="*/ 830 w 869"/>
                <a:gd name="T3" fmla="*/ 285 h 498"/>
                <a:gd name="T4" fmla="*/ 807 w 869"/>
                <a:gd name="T5" fmla="*/ 218 h 498"/>
                <a:gd name="T6" fmla="*/ 774 w 869"/>
                <a:gd name="T7" fmla="*/ 158 h 498"/>
                <a:gd name="T8" fmla="*/ 729 w 869"/>
                <a:gd name="T9" fmla="*/ 103 h 498"/>
                <a:gd name="T10" fmla="*/ 676 w 869"/>
                <a:gd name="T11" fmla="*/ 60 h 498"/>
                <a:gd name="T12" fmla="*/ 614 w 869"/>
                <a:gd name="T13" fmla="*/ 28 h 498"/>
                <a:gd name="T14" fmla="*/ 546 w 869"/>
                <a:gd name="T15" fmla="*/ 8 h 498"/>
                <a:gd name="T16" fmla="*/ 473 w 869"/>
                <a:gd name="T17" fmla="*/ 0 h 498"/>
                <a:gd name="T18" fmla="*/ 437 w 869"/>
                <a:gd name="T19" fmla="*/ 2 h 498"/>
                <a:gd name="T20" fmla="*/ 370 w 869"/>
                <a:gd name="T21" fmla="*/ 15 h 498"/>
                <a:gd name="T22" fmla="*/ 306 w 869"/>
                <a:gd name="T23" fmla="*/ 39 h 498"/>
                <a:gd name="T24" fmla="*/ 250 w 869"/>
                <a:gd name="T25" fmla="*/ 77 h 498"/>
                <a:gd name="T26" fmla="*/ 201 w 869"/>
                <a:gd name="T27" fmla="*/ 122 h 498"/>
                <a:gd name="T28" fmla="*/ 161 w 869"/>
                <a:gd name="T29" fmla="*/ 177 h 498"/>
                <a:gd name="T30" fmla="*/ 131 w 869"/>
                <a:gd name="T31" fmla="*/ 239 h 498"/>
                <a:gd name="T32" fmla="*/ 113 w 869"/>
                <a:gd name="T33" fmla="*/ 304 h 498"/>
                <a:gd name="T34" fmla="*/ 79 w 869"/>
                <a:gd name="T35" fmla="*/ 340 h 498"/>
                <a:gd name="T36" fmla="*/ 64 w 869"/>
                <a:gd name="T37" fmla="*/ 342 h 498"/>
                <a:gd name="T38" fmla="*/ 36 w 869"/>
                <a:gd name="T39" fmla="*/ 353 h 498"/>
                <a:gd name="T40" fmla="*/ 13 w 869"/>
                <a:gd name="T41" fmla="*/ 376 h 498"/>
                <a:gd name="T42" fmla="*/ 2 w 869"/>
                <a:gd name="T43" fmla="*/ 404 h 498"/>
                <a:gd name="T44" fmla="*/ 0 w 869"/>
                <a:gd name="T45" fmla="*/ 419 h 498"/>
                <a:gd name="T46" fmla="*/ 5 w 869"/>
                <a:gd name="T47" fmla="*/ 449 h 498"/>
                <a:gd name="T48" fmla="*/ 22 w 869"/>
                <a:gd name="T49" fmla="*/ 475 h 498"/>
                <a:gd name="T50" fmla="*/ 49 w 869"/>
                <a:gd name="T51" fmla="*/ 492 h 498"/>
                <a:gd name="T52" fmla="*/ 79 w 869"/>
                <a:gd name="T53" fmla="*/ 498 h 498"/>
                <a:gd name="T54" fmla="*/ 791 w 869"/>
                <a:gd name="T55" fmla="*/ 498 h 498"/>
                <a:gd name="T56" fmla="*/ 821 w 869"/>
                <a:gd name="T57" fmla="*/ 492 h 498"/>
                <a:gd name="T58" fmla="*/ 845 w 869"/>
                <a:gd name="T59" fmla="*/ 475 h 498"/>
                <a:gd name="T60" fmla="*/ 862 w 869"/>
                <a:gd name="T61" fmla="*/ 449 h 498"/>
                <a:gd name="T62" fmla="*/ 869 w 869"/>
                <a:gd name="T63" fmla="*/ 419 h 498"/>
                <a:gd name="T64" fmla="*/ 868 w 869"/>
                <a:gd name="T65" fmla="*/ 400 h 498"/>
                <a:gd name="T66" fmla="*/ 851 w 869"/>
                <a:gd name="T67" fmla="*/ 370 h 498"/>
                <a:gd name="T68" fmla="*/ 837 w 869"/>
                <a:gd name="T69" fmla="*/ 35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9" h="498">
                  <a:moveTo>
                    <a:pt x="837" y="357"/>
                  </a:moveTo>
                  <a:lnTo>
                    <a:pt x="837" y="357"/>
                  </a:lnTo>
                  <a:lnTo>
                    <a:pt x="836" y="321"/>
                  </a:lnTo>
                  <a:lnTo>
                    <a:pt x="830" y="285"/>
                  </a:lnTo>
                  <a:lnTo>
                    <a:pt x="821" y="250"/>
                  </a:lnTo>
                  <a:lnTo>
                    <a:pt x="807" y="218"/>
                  </a:lnTo>
                  <a:lnTo>
                    <a:pt x="792" y="186"/>
                  </a:lnTo>
                  <a:lnTo>
                    <a:pt x="774" y="158"/>
                  </a:lnTo>
                  <a:lnTo>
                    <a:pt x="753" y="130"/>
                  </a:lnTo>
                  <a:lnTo>
                    <a:pt x="729" y="103"/>
                  </a:lnTo>
                  <a:lnTo>
                    <a:pt x="702" y="81"/>
                  </a:lnTo>
                  <a:lnTo>
                    <a:pt x="676" y="60"/>
                  </a:lnTo>
                  <a:lnTo>
                    <a:pt x="646" y="43"/>
                  </a:lnTo>
                  <a:lnTo>
                    <a:pt x="614" y="28"/>
                  </a:lnTo>
                  <a:lnTo>
                    <a:pt x="580" y="15"/>
                  </a:lnTo>
                  <a:lnTo>
                    <a:pt x="546" y="8"/>
                  </a:lnTo>
                  <a:lnTo>
                    <a:pt x="511" y="2"/>
                  </a:lnTo>
                  <a:lnTo>
                    <a:pt x="473" y="0"/>
                  </a:lnTo>
                  <a:lnTo>
                    <a:pt x="473" y="0"/>
                  </a:lnTo>
                  <a:lnTo>
                    <a:pt x="437" y="2"/>
                  </a:lnTo>
                  <a:lnTo>
                    <a:pt x="404" y="6"/>
                  </a:lnTo>
                  <a:lnTo>
                    <a:pt x="370" y="15"/>
                  </a:lnTo>
                  <a:lnTo>
                    <a:pt x="336" y="26"/>
                  </a:lnTo>
                  <a:lnTo>
                    <a:pt x="306" y="39"/>
                  </a:lnTo>
                  <a:lnTo>
                    <a:pt x="276" y="56"/>
                  </a:lnTo>
                  <a:lnTo>
                    <a:pt x="250" y="77"/>
                  </a:lnTo>
                  <a:lnTo>
                    <a:pt x="223" y="98"/>
                  </a:lnTo>
                  <a:lnTo>
                    <a:pt x="201" y="122"/>
                  </a:lnTo>
                  <a:lnTo>
                    <a:pt x="178" y="148"/>
                  </a:lnTo>
                  <a:lnTo>
                    <a:pt x="161" y="177"/>
                  </a:lnTo>
                  <a:lnTo>
                    <a:pt x="144" y="207"/>
                  </a:lnTo>
                  <a:lnTo>
                    <a:pt x="131" y="239"/>
                  </a:lnTo>
                  <a:lnTo>
                    <a:pt x="120" y="270"/>
                  </a:lnTo>
                  <a:lnTo>
                    <a:pt x="113" y="304"/>
                  </a:lnTo>
                  <a:lnTo>
                    <a:pt x="109" y="340"/>
                  </a:lnTo>
                  <a:lnTo>
                    <a:pt x="79" y="340"/>
                  </a:lnTo>
                  <a:lnTo>
                    <a:pt x="79" y="340"/>
                  </a:lnTo>
                  <a:lnTo>
                    <a:pt x="64" y="342"/>
                  </a:lnTo>
                  <a:lnTo>
                    <a:pt x="49" y="346"/>
                  </a:lnTo>
                  <a:lnTo>
                    <a:pt x="36" y="353"/>
                  </a:lnTo>
                  <a:lnTo>
                    <a:pt x="22" y="363"/>
                  </a:lnTo>
                  <a:lnTo>
                    <a:pt x="13" y="376"/>
                  </a:lnTo>
                  <a:lnTo>
                    <a:pt x="5" y="389"/>
                  </a:lnTo>
                  <a:lnTo>
                    <a:pt x="2" y="404"/>
                  </a:lnTo>
                  <a:lnTo>
                    <a:pt x="0" y="419"/>
                  </a:lnTo>
                  <a:lnTo>
                    <a:pt x="0" y="419"/>
                  </a:lnTo>
                  <a:lnTo>
                    <a:pt x="2" y="436"/>
                  </a:lnTo>
                  <a:lnTo>
                    <a:pt x="5" y="449"/>
                  </a:lnTo>
                  <a:lnTo>
                    <a:pt x="13" y="464"/>
                  </a:lnTo>
                  <a:lnTo>
                    <a:pt x="22" y="475"/>
                  </a:lnTo>
                  <a:lnTo>
                    <a:pt x="36" y="485"/>
                  </a:lnTo>
                  <a:lnTo>
                    <a:pt x="49" y="492"/>
                  </a:lnTo>
                  <a:lnTo>
                    <a:pt x="64" y="496"/>
                  </a:lnTo>
                  <a:lnTo>
                    <a:pt x="79" y="498"/>
                  </a:lnTo>
                  <a:lnTo>
                    <a:pt x="791" y="498"/>
                  </a:lnTo>
                  <a:lnTo>
                    <a:pt x="791" y="498"/>
                  </a:lnTo>
                  <a:lnTo>
                    <a:pt x="806" y="496"/>
                  </a:lnTo>
                  <a:lnTo>
                    <a:pt x="821" y="492"/>
                  </a:lnTo>
                  <a:lnTo>
                    <a:pt x="834" y="485"/>
                  </a:lnTo>
                  <a:lnTo>
                    <a:pt x="845" y="475"/>
                  </a:lnTo>
                  <a:lnTo>
                    <a:pt x="856" y="464"/>
                  </a:lnTo>
                  <a:lnTo>
                    <a:pt x="862" y="449"/>
                  </a:lnTo>
                  <a:lnTo>
                    <a:pt x="868" y="436"/>
                  </a:lnTo>
                  <a:lnTo>
                    <a:pt x="869" y="419"/>
                  </a:lnTo>
                  <a:lnTo>
                    <a:pt x="869" y="419"/>
                  </a:lnTo>
                  <a:lnTo>
                    <a:pt x="868" y="400"/>
                  </a:lnTo>
                  <a:lnTo>
                    <a:pt x="860" y="383"/>
                  </a:lnTo>
                  <a:lnTo>
                    <a:pt x="851" y="370"/>
                  </a:lnTo>
                  <a:lnTo>
                    <a:pt x="837" y="357"/>
                  </a:lnTo>
                  <a:lnTo>
                    <a:pt x="837" y="3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456" name="Freeform 40"/>
            <p:cNvSpPr>
              <a:spLocks/>
            </p:cNvSpPr>
            <p:nvPr/>
          </p:nvSpPr>
          <p:spPr bwMode="auto">
            <a:xfrm>
              <a:off x="2957269" y="5667664"/>
              <a:ext cx="307533" cy="188177"/>
            </a:xfrm>
            <a:custGeom>
              <a:avLst/>
              <a:gdLst>
                <a:gd name="T0" fmla="*/ 8 w 639"/>
                <a:gd name="T1" fmla="*/ 0 h 391"/>
                <a:gd name="T2" fmla="*/ 8 w 639"/>
                <a:gd name="T3" fmla="*/ 0 h 391"/>
                <a:gd name="T4" fmla="*/ 4 w 639"/>
                <a:gd name="T5" fmla="*/ 23 h 391"/>
                <a:gd name="T6" fmla="*/ 0 w 639"/>
                <a:gd name="T7" fmla="*/ 44 h 391"/>
                <a:gd name="T8" fmla="*/ 0 w 639"/>
                <a:gd name="T9" fmla="*/ 66 h 391"/>
                <a:gd name="T10" fmla="*/ 0 w 639"/>
                <a:gd name="T11" fmla="*/ 89 h 391"/>
                <a:gd name="T12" fmla="*/ 0 w 639"/>
                <a:gd name="T13" fmla="*/ 109 h 391"/>
                <a:gd name="T14" fmla="*/ 4 w 639"/>
                <a:gd name="T15" fmla="*/ 132 h 391"/>
                <a:gd name="T16" fmla="*/ 8 w 639"/>
                <a:gd name="T17" fmla="*/ 152 h 391"/>
                <a:gd name="T18" fmla="*/ 13 w 639"/>
                <a:gd name="T19" fmla="*/ 173 h 391"/>
                <a:gd name="T20" fmla="*/ 19 w 639"/>
                <a:gd name="T21" fmla="*/ 194 h 391"/>
                <a:gd name="T22" fmla="*/ 27 w 639"/>
                <a:gd name="T23" fmla="*/ 214 h 391"/>
                <a:gd name="T24" fmla="*/ 38 w 639"/>
                <a:gd name="T25" fmla="*/ 233 h 391"/>
                <a:gd name="T26" fmla="*/ 47 w 639"/>
                <a:gd name="T27" fmla="*/ 252 h 391"/>
                <a:gd name="T28" fmla="*/ 60 w 639"/>
                <a:gd name="T29" fmla="*/ 271 h 391"/>
                <a:gd name="T30" fmla="*/ 73 w 639"/>
                <a:gd name="T31" fmla="*/ 288 h 391"/>
                <a:gd name="T32" fmla="*/ 90 w 639"/>
                <a:gd name="T33" fmla="*/ 303 h 391"/>
                <a:gd name="T34" fmla="*/ 107 w 639"/>
                <a:gd name="T35" fmla="*/ 318 h 391"/>
                <a:gd name="T36" fmla="*/ 107 w 639"/>
                <a:gd name="T37" fmla="*/ 318 h 391"/>
                <a:gd name="T38" fmla="*/ 122 w 639"/>
                <a:gd name="T39" fmla="*/ 333 h 391"/>
                <a:gd name="T40" fmla="*/ 141 w 639"/>
                <a:gd name="T41" fmla="*/ 344 h 391"/>
                <a:gd name="T42" fmla="*/ 160 w 639"/>
                <a:gd name="T43" fmla="*/ 355 h 391"/>
                <a:gd name="T44" fmla="*/ 179 w 639"/>
                <a:gd name="T45" fmla="*/ 365 h 391"/>
                <a:gd name="T46" fmla="*/ 197 w 639"/>
                <a:gd name="T47" fmla="*/ 372 h 391"/>
                <a:gd name="T48" fmla="*/ 216 w 639"/>
                <a:gd name="T49" fmla="*/ 380 h 391"/>
                <a:gd name="T50" fmla="*/ 237 w 639"/>
                <a:gd name="T51" fmla="*/ 384 h 391"/>
                <a:gd name="T52" fmla="*/ 258 w 639"/>
                <a:gd name="T53" fmla="*/ 387 h 391"/>
                <a:gd name="T54" fmla="*/ 278 w 639"/>
                <a:gd name="T55" fmla="*/ 391 h 391"/>
                <a:gd name="T56" fmla="*/ 299 w 639"/>
                <a:gd name="T57" fmla="*/ 391 h 391"/>
                <a:gd name="T58" fmla="*/ 321 w 639"/>
                <a:gd name="T59" fmla="*/ 391 h 391"/>
                <a:gd name="T60" fmla="*/ 342 w 639"/>
                <a:gd name="T61" fmla="*/ 389 h 391"/>
                <a:gd name="T62" fmla="*/ 363 w 639"/>
                <a:gd name="T63" fmla="*/ 387 h 391"/>
                <a:gd name="T64" fmla="*/ 383 w 639"/>
                <a:gd name="T65" fmla="*/ 384 h 391"/>
                <a:gd name="T66" fmla="*/ 404 w 639"/>
                <a:gd name="T67" fmla="*/ 378 h 391"/>
                <a:gd name="T68" fmla="*/ 423 w 639"/>
                <a:gd name="T69" fmla="*/ 370 h 391"/>
                <a:gd name="T70" fmla="*/ 443 w 639"/>
                <a:gd name="T71" fmla="*/ 363 h 391"/>
                <a:gd name="T72" fmla="*/ 462 w 639"/>
                <a:gd name="T73" fmla="*/ 355 h 391"/>
                <a:gd name="T74" fmla="*/ 481 w 639"/>
                <a:gd name="T75" fmla="*/ 344 h 391"/>
                <a:gd name="T76" fmla="*/ 498 w 639"/>
                <a:gd name="T77" fmla="*/ 335 h 391"/>
                <a:gd name="T78" fmla="*/ 515 w 639"/>
                <a:gd name="T79" fmla="*/ 322 h 391"/>
                <a:gd name="T80" fmla="*/ 532 w 639"/>
                <a:gd name="T81" fmla="*/ 308 h 391"/>
                <a:gd name="T82" fmla="*/ 547 w 639"/>
                <a:gd name="T83" fmla="*/ 295 h 391"/>
                <a:gd name="T84" fmla="*/ 562 w 639"/>
                <a:gd name="T85" fmla="*/ 280 h 391"/>
                <a:gd name="T86" fmla="*/ 575 w 639"/>
                <a:gd name="T87" fmla="*/ 263 h 391"/>
                <a:gd name="T88" fmla="*/ 586 w 639"/>
                <a:gd name="T89" fmla="*/ 248 h 391"/>
                <a:gd name="T90" fmla="*/ 597 w 639"/>
                <a:gd name="T91" fmla="*/ 230 h 391"/>
                <a:gd name="T92" fmla="*/ 607 w 639"/>
                <a:gd name="T93" fmla="*/ 211 h 391"/>
                <a:gd name="T94" fmla="*/ 616 w 639"/>
                <a:gd name="T95" fmla="*/ 192 h 391"/>
                <a:gd name="T96" fmla="*/ 622 w 639"/>
                <a:gd name="T97" fmla="*/ 171 h 391"/>
                <a:gd name="T98" fmla="*/ 628 w 639"/>
                <a:gd name="T99" fmla="*/ 151 h 391"/>
                <a:gd name="T100" fmla="*/ 631 w 639"/>
                <a:gd name="T101" fmla="*/ 128 h 391"/>
                <a:gd name="T102" fmla="*/ 631 w 639"/>
                <a:gd name="T103" fmla="*/ 128 h 391"/>
                <a:gd name="T104" fmla="*/ 637 w 639"/>
                <a:gd name="T105" fmla="*/ 96 h 391"/>
                <a:gd name="T106" fmla="*/ 639 w 639"/>
                <a:gd name="T107" fmla="*/ 64 h 391"/>
                <a:gd name="T108" fmla="*/ 635 w 639"/>
                <a:gd name="T109" fmla="*/ 32 h 391"/>
                <a:gd name="T110" fmla="*/ 629 w 639"/>
                <a:gd name="T111" fmla="*/ 0 h 391"/>
                <a:gd name="T112" fmla="*/ 8 w 639"/>
                <a:gd name="T11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9" h="391">
                  <a:moveTo>
                    <a:pt x="8" y="0"/>
                  </a:moveTo>
                  <a:lnTo>
                    <a:pt x="8" y="0"/>
                  </a:lnTo>
                  <a:lnTo>
                    <a:pt x="4" y="23"/>
                  </a:lnTo>
                  <a:lnTo>
                    <a:pt x="0" y="44"/>
                  </a:lnTo>
                  <a:lnTo>
                    <a:pt x="0" y="66"/>
                  </a:lnTo>
                  <a:lnTo>
                    <a:pt x="0" y="89"/>
                  </a:lnTo>
                  <a:lnTo>
                    <a:pt x="0" y="109"/>
                  </a:lnTo>
                  <a:lnTo>
                    <a:pt x="4" y="132"/>
                  </a:lnTo>
                  <a:lnTo>
                    <a:pt x="8" y="152"/>
                  </a:lnTo>
                  <a:lnTo>
                    <a:pt x="13" y="173"/>
                  </a:lnTo>
                  <a:lnTo>
                    <a:pt x="19" y="194"/>
                  </a:lnTo>
                  <a:lnTo>
                    <a:pt x="27" y="214"/>
                  </a:lnTo>
                  <a:lnTo>
                    <a:pt x="38" y="233"/>
                  </a:lnTo>
                  <a:lnTo>
                    <a:pt x="47" y="252"/>
                  </a:lnTo>
                  <a:lnTo>
                    <a:pt x="60" y="271"/>
                  </a:lnTo>
                  <a:lnTo>
                    <a:pt x="73" y="288"/>
                  </a:lnTo>
                  <a:lnTo>
                    <a:pt x="90" y="303"/>
                  </a:lnTo>
                  <a:lnTo>
                    <a:pt x="107" y="318"/>
                  </a:lnTo>
                  <a:lnTo>
                    <a:pt x="107" y="318"/>
                  </a:lnTo>
                  <a:lnTo>
                    <a:pt x="122" y="333"/>
                  </a:lnTo>
                  <a:lnTo>
                    <a:pt x="141" y="344"/>
                  </a:lnTo>
                  <a:lnTo>
                    <a:pt x="160" y="355"/>
                  </a:lnTo>
                  <a:lnTo>
                    <a:pt x="179" y="365"/>
                  </a:lnTo>
                  <a:lnTo>
                    <a:pt x="197" y="372"/>
                  </a:lnTo>
                  <a:lnTo>
                    <a:pt x="216" y="380"/>
                  </a:lnTo>
                  <a:lnTo>
                    <a:pt x="237" y="384"/>
                  </a:lnTo>
                  <a:lnTo>
                    <a:pt x="258" y="387"/>
                  </a:lnTo>
                  <a:lnTo>
                    <a:pt x="278" y="391"/>
                  </a:lnTo>
                  <a:lnTo>
                    <a:pt x="299" y="391"/>
                  </a:lnTo>
                  <a:lnTo>
                    <a:pt x="321" y="391"/>
                  </a:lnTo>
                  <a:lnTo>
                    <a:pt x="342" y="389"/>
                  </a:lnTo>
                  <a:lnTo>
                    <a:pt x="363" y="387"/>
                  </a:lnTo>
                  <a:lnTo>
                    <a:pt x="383" y="384"/>
                  </a:lnTo>
                  <a:lnTo>
                    <a:pt x="404" y="378"/>
                  </a:lnTo>
                  <a:lnTo>
                    <a:pt x="423" y="370"/>
                  </a:lnTo>
                  <a:lnTo>
                    <a:pt x="443" y="363"/>
                  </a:lnTo>
                  <a:lnTo>
                    <a:pt x="462" y="355"/>
                  </a:lnTo>
                  <a:lnTo>
                    <a:pt x="481" y="344"/>
                  </a:lnTo>
                  <a:lnTo>
                    <a:pt x="498" y="335"/>
                  </a:lnTo>
                  <a:lnTo>
                    <a:pt x="515" y="322"/>
                  </a:lnTo>
                  <a:lnTo>
                    <a:pt x="532" y="308"/>
                  </a:lnTo>
                  <a:lnTo>
                    <a:pt x="547" y="295"/>
                  </a:lnTo>
                  <a:lnTo>
                    <a:pt x="562" y="280"/>
                  </a:lnTo>
                  <a:lnTo>
                    <a:pt x="575" y="263"/>
                  </a:lnTo>
                  <a:lnTo>
                    <a:pt x="586" y="248"/>
                  </a:lnTo>
                  <a:lnTo>
                    <a:pt x="597" y="230"/>
                  </a:lnTo>
                  <a:lnTo>
                    <a:pt x="607" y="211"/>
                  </a:lnTo>
                  <a:lnTo>
                    <a:pt x="616" y="192"/>
                  </a:lnTo>
                  <a:lnTo>
                    <a:pt x="622" y="171"/>
                  </a:lnTo>
                  <a:lnTo>
                    <a:pt x="628" y="151"/>
                  </a:lnTo>
                  <a:lnTo>
                    <a:pt x="631" y="128"/>
                  </a:lnTo>
                  <a:lnTo>
                    <a:pt x="631" y="128"/>
                  </a:lnTo>
                  <a:lnTo>
                    <a:pt x="637" y="96"/>
                  </a:lnTo>
                  <a:lnTo>
                    <a:pt x="639" y="64"/>
                  </a:lnTo>
                  <a:lnTo>
                    <a:pt x="635" y="32"/>
                  </a:lnTo>
                  <a:lnTo>
                    <a:pt x="629" y="0"/>
                  </a:lnTo>
                  <a:lnTo>
                    <a:pt x="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461" name="Oval 3460"/>
          <p:cNvSpPr/>
          <p:nvPr/>
        </p:nvSpPr>
        <p:spPr bwMode="auto">
          <a:xfrm rot="20574224">
            <a:off x="2364179" y="5717115"/>
            <a:ext cx="53114" cy="8777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62" name="Oval 3461"/>
          <p:cNvSpPr/>
          <p:nvPr/>
        </p:nvSpPr>
        <p:spPr bwMode="auto">
          <a:xfrm rot="20574224">
            <a:off x="2443002" y="5696761"/>
            <a:ext cx="53114" cy="8777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63" name="Oval 3462"/>
          <p:cNvSpPr/>
          <p:nvPr/>
        </p:nvSpPr>
        <p:spPr bwMode="auto">
          <a:xfrm rot="20574224">
            <a:off x="2410202" y="5842021"/>
            <a:ext cx="53114" cy="8777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64" name="Oval 3463"/>
          <p:cNvSpPr/>
          <p:nvPr/>
        </p:nvSpPr>
        <p:spPr bwMode="auto">
          <a:xfrm rot="20574224">
            <a:off x="2489025" y="5821667"/>
            <a:ext cx="53114" cy="8777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3467" name="Straight Connector 3466"/>
          <p:cNvCxnSpPr/>
          <p:nvPr/>
        </p:nvCxnSpPr>
        <p:spPr>
          <a:xfrm flipV="1">
            <a:off x="1015630" y="4334099"/>
            <a:ext cx="0" cy="863600"/>
          </a:xfrm>
          <a:prstGeom prst="line">
            <a:avLst/>
          </a:prstGeom>
          <a:ln>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68" name="Group 3467"/>
          <p:cNvGrpSpPr/>
          <p:nvPr/>
        </p:nvGrpSpPr>
        <p:grpSpPr>
          <a:xfrm rot="5400000" flipH="1" flipV="1">
            <a:off x="972357" y="4187230"/>
            <a:ext cx="82527" cy="147723"/>
            <a:chOff x="2687372" y="3149601"/>
            <a:chExt cx="81465" cy="132564"/>
          </a:xfrm>
          <a:solidFill>
            <a:srgbClr val="00BCF2"/>
          </a:solidFill>
        </p:grpSpPr>
        <p:sp>
          <p:nvSpPr>
            <p:cNvPr id="3469"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70"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71"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72"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73"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74"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cxnSp>
        <p:nvCxnSpPr>
          <p:cNvPr id="3475" name="Straight Connector 3474"/>
          <p:cNvCxnSpPr/>
          <p:nvPr/>
        </p:nvCxnSpPr>
        <p:spPr>
          <a:xfrm flipV="1">
            <a:off x="1331702" y="4334100"/>
            <a:ext cx="0" cy="245017"/>
          </a:xfrm>
          <a:prstGeom prst="line">
            <a:avLst/>
          </a:prstGeom>
          <a:ln>
            <a:solidFill>
              <a:schemeClr val="accent2"/>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76" name="Group 3475"/>
          <p:cNvGrpSpPr/>
          <p:nvPr/>
        </p:nvGrpSpPr>
        <p:grpSpPr>
          <a:xfrm rot="5400000" flipH="1" flipV="1">
            <a:off x="1291055" y="4191700"/>
            <a:ext cx="82527" cy="147723"/>
            <a:chOff x="2687372" y="3149601"/>
            <a:chExt cx="81465" cy="132564"/>
          </a:xfrm>
          <a:solidFill>
            <a:schemeClr val="accent2"/>
          </a:solidFill>
        </p:grpSpPr>
        <p:sp>
          <p:nvSpPr>
            <p:cNvPr id="3477"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78"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7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80"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81"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8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cxnSp>
        <p:nvCxnSpPr>
          <p:cNvPr id="3484" name="Straight Connector 3483"/>
          <p:cNvCxnSpPr/>
          <p:nvPr/>
        </p:nvCxnSpPr>
        <p:spPr>
          <a:xfrm flipV="1">
            <a:off x="2659857" y="4334100"/>
            <a:ext cx="0" cy="395341"/>
          </a:xfrm>
          <a:prstGeom prst="line">
            <a:avLst/>
          </a:prstGeom>
          <a:ln>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85" name="Group 3484"/>
          <p:cNvGrpSpPr/>
          <p:nvPr/>
        </p:nvGrpSpPr>
        <p:grpSpPr>
          <a:xfrm rot="5400000" flipH="1" flipV="1">
            <a:off x="2619210" y="4196781"/>
            <a:ext cx="82527" cy="147723"/>
            <a:chOff x="2687372" y="3149601"/>
            <a:chExt cx="81465" cy="132564"/>
          </a:xfrm>
          <a:solidFill>
            <a:schemeClr val="accent3"/>
          </a:solidFill>
        </p:grpSpPr>
        <p:sp>
          <p:nvSpPr>
            <p:cNvPr id="3486"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87"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88"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89"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90"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91"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cxnSp>
        <p:nvCxnSpPr>
          <p:cNvPr id="3492" name="Straight Connector 3491"/>
          <p:cNvCxnSpPr/>
          <p:nvPr/>
        </p:nvCxnSpPr>
        <p:spPr>
          <a:xfrm flipV="1">
            <a:off x="2182258" y="4334099"/>
            <a:ext cx="0" cy="869934"/>
          </a:xfrm>
          <a:prstGeom prst="line">
            <a:avLst/>
          </a:prstGeom>
          <a:ln>
            <a:solidFill>
              <a:schemeClr val="bg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93" name="Group 3492"/>
          <p:cNvGrpSpPr/>
          <p:nvPr/>
        </p:nvGrpSpPr>
        <p:grpSpPr>
          <a:xfrm rot="5400000" flipH="1" flipV="1">
            <a:off x="2142263" y="4196781"/>
            <a:ext cx="82527" cy="147723"/>
            <a:chOff x="2687372" y="3149601"/>
            <a:chExt cx="81465" cy="132564"/>
          </a:xfrm>
          <a:solidFill>
            <a:schemeClr val="bg1"/>
          </a:solidFill>
        </p:grpSpPr>
        <p:sp>
          <p:nvSpPr>
            <p:cNvPr id="349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9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9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9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9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49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504" name="Group 3503"/>
          <p:cNvGrpSpPr/>
          <p:nvPr/>
        </p:nvGrpSpPr>
        <p:grpSpPr>
          <a:xfrm>
            <a:off x="304213" y="5925324"/>
            <a:ext cx="1747427" cy="499269"/>
            <a:chOff x="831806" y="3541921"/>
            <a:chExt cx="976587" cy="1261872"/>
          </a:xfrm>
        </p:grpSpPr>
        <p:sp>
          <p:nvSpPr>
            <p:cNvPr id="3505" name="Rectangle 3504"/>
            <p:cNvSpPr/>
            <p:nvPr/>
          </p:nvSpPr>
          <p:spPr bwMode="auto">
            <a:xfrm>
              <a:off x="831806" y="3541921"/>
              <a:ext cx="976587"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Send reports and sensor data to maintenance crews for faster turnaround</a:t>
              </a:r>
            </a:p>
          </p:txBody>
        </p:sp>
        <p:cxnSp>
          <p:nvCxnSpPr>
            <p:cNvPr id="3506" name="Straight Connector 3505"/>
            <p:cNvCxnSpPr/>
            <p:nvPr/>
          </p:nvCxnSpPr>
          <p:spPr>
            <a:xfrm flipV="1">
              <a:off x="831806" y="3541921"/>
              <a:ext cx="0" cy="1261872"/>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3386" name="Freeform 2258"/>
          <p:cNvSpPr>
            <a:spLocks/>
          </p:cNvSpPr>
          <p:nvPr/>
        </p:nvSpPr>
        <p:spPr bwMode="auto">
          <a:xfrm>
            <a:off x="5367339" y="6364288"/>
            <a:ext cx="128588" cy="63500"/>
          </a:xfrm>
          <a:custGeom>
            <a:avLst/>
            <a:gdLst>
              <a:gd name="T0" fmla="*/ 0 w 488"/>
              <a:gd name="T1" fmla="*/ 0 h 240"/>
              <a:gd name="T2" fmla="*/ 0 w 488"/>
              <a:gd name="T3" fmla="*/ 0 h 240"/>
              <a:gd name="T4" fmla="*/ 11 w 488"/>
              <a:gd name="T5" fmla="*/ 26 h 240"/>
              <a:gd name="T6" fmla="*/ 22 w 488"/>
              <a:gd name="T7" fmla="*/ 51 h 240"/>
              <a:gd name="T8" fmla="*/ 35 w 488"/>
              <a:gd name="T9" fmla="*/ 74 h 240"/>
              <a:gd name="T10" fmla="*/ 50 w 488"/>
              <a:gd name="T11" fmla="*/ 96 h 240"/>
              <a:gd name="T12" fmla="*/ 67 w 488"/>
              <a:gd name="T13" fmla="*/ 118 h 240"/>
              <a:gd name="T14" fmla="*/ 85 w 488"/>
              <a:gd name="T15" fmla="*/ 137 h 240"/>
              <a:gd name="T16" fmla="*/ 105 w 488"/>
              <a:gd name="T17" fmla="*/ 156 h 240"/>
              <a:gd name="T18" fmla="*/ 126 w 488"/>
              <a:gd name="T19" fmla="*/ 172 h 240"/>
              <a:gd name="T20" fmla="*/ 148 w 488"/>
              <a:gd name="T21" fmla="*/ 187 h 240"/>
              <a:gd name="T22" fmla="*/ 171 w 488"/>
              <a:gd name="T23" fmla="*/ 201 h 240"/>
              <a:gd name="T24" fmla="*/ 196 w 488"/>
              <a:gd name="T25" fmla="*/ 213 h 240"/>
              <a:gd name="T26" fmla="*/ 222 w 488"/>
              <a:gd name="T27" fmla="*/ 222 h 240"/>
              <a:gd name="T28" fmla="*/ 248 w 488"/>
              <a:gd name="T29" fmla="*/ 230 h 240"/>
              <a:gd name="T30" fmla="*/ 276 w 488"/>
              <a:gd name="T31" fmla="*/ 236 h 240"/>
              <a:gd name="T32" fmla="*/ 304 w 488"/>
              <a:gd name="T33" fmla="*/ 239 h 240"/>
              <a:gd name="T34" fmla="*/ 332 w 488"/>
              <a:gd name="T35" fmla="*/ 240 h 240"/>
              <a:gd name="T36" fmla="*/ 332 w 488"/>
              <a:gd name="T37" fmla="*/ 240 h 240"/>
              <a:gd name="T38" fmla="*/ 353 w 488"/>
              <a:gd name="T39" fmla="*/ 239 h 240"/>
              <a:gd name="T40" fmla="*/ 374 w 488"/>
              <a:gd name="T41" fmla="*/ 238 h 240"/>
              <a:gd name="T42" fmla="*/ 394 w 488"/>
              <a:gd name="T43" fmla="*/ 235 h 240"/>
              <a:gd name="T44" fmla="*/ 414 w 488"/>
              <a:gd name="T45" fmla="*/ 231 h 240"/>
              <a:gd name="T46" fmla="*/ 433 w 488"/>
              <a:gd name="T47" fmla="*/ 225 h 240"/>
              <a:gd name="T48" fmla="*/ 452 w 488"/>
              <a:gd name="T49" fmla="*/ 219 h 240"/>
              <a:gd name="T50" fmla="*/ 471 w 488"/>
              <a:gd name="T51" fmla="*/ 212 h 240"/>
              <a:gd name="T52" fmla="*/ 488 w 488"/>
              <a:gd name="T53" fmla="*/ 204 h 240"/>
              <a:gd name="T54" fmla="*/ 488 w 488"/>
              <a:gd name="T55" fmla="*/ 204 h 240"/>
              <a:gd name="T56" fmla="*/ 472 w 488"/>
              <a:gd name="T57" fmla="*/ 181 h 240"/>
              <a:gd name="T58" fmla="*/ 456 w 488"/>
              <a:gd name="T59" fmla="*/ 159 h 240"/>
              <a:gd name="T60" fmla="*/ 442 w 488"/>
              <a:gd name="T61" fmla="*/ 135 h 240"/>
              <a:gd name="T62" fmla="*/ 430 w 488"/>
              <a:gd name="T63" fmla="*/ 110 h 240"/>
              <a:gd name="T64" fmla="*/ 420 w 488"/>
              <a:gd name="T65" fmla="*/ 83 h 240"/>
              <a:gd name="T66" fmla="*/ 412 w 488"/>
              <a:gd name="T67" fmla="*/ 57 h 240"/>
              <a:gd name="T68" fmla="*/ 405 w 488"/>
              <a:gd name="T69" fmla="*/ 29 h 240"/>
              <a:gd name="T70" fmla="*/ 401 w 488"/>
              <a:gd name="T71" fmla="*/ 0 h 240"/>
              <a:gd name="T72" fmla="*/ 0 w 488"/>
              <a:gd name="T73"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8" h="240">
                <a:moveTo>
                  <a:pt x="0" y="0"/>
                </a:moveTo>
                <a:lnTo>
                  <a:pt x="0" y="0"/>
                </a:lnTo>
                <a:lnTo>
                  <a:pt x="11" y="26"/>
                </a:lnTo>
                <a:lnTo>
                  <a:pt x="22" y="51"/>
                </a:lnTo>
                <a:lnTo>
                  <a:pt x="35" y="74"/>
                </a:lnTo>
                <a:lnTo>
                  <a:pt x="50" y="96"/>
                </a:lnTo>
                <a:lnTo>
                  <a:pt x="67" y="118"/>
                </a:lnTo>
                <a:lnTo>
                  <a:pt x="85" y="137"/>
                </a:lnTo>
                <a:lnTo>
                  <a:pt x="105" y="156"/>
                </a:lnTo>
                <a:lnTo>
                  <a:pt x="126" y="172"/>
                </a:lnTo>
                <a:lnTo>
                  <a:pt x="148" y="187"/>
                </a:lnTo>
                <a:lnTo>
                  <a:pt x="171" y="201"/>
                </a:lnTo>
                <a:lnTo>
                  <a:pt x="196" y="213"/>
                </a:lnTo>
                <a:lnTo>
                  <a:pt x="222" y="222"/>
                </a:lnTo>
                <a:lnTo>
                  <a:pt x="248" y="230"/>
                </a:lnTo>
                <a:lnTo>
                  <a:pt x="276" y="236"/>
                </a:lnTo>
                <a:lnTo>
                  <a:pt x="304" y="239"/>
                </a:lnTo>
                <a:lnTo>
                  <a:pt x="332" y="240"/>
                </a:lnTo>
                <a:lnTo>
                  <a:pt x="332" y="240"/>
                </a:lnTo>
                <a:lnTo>
                  <a:pt x="353" y="239"/>
                </a:lnTo>
                <a:lnTo>
                  <a:pt x="374" y="238"/>
                </a:lnTo>
                <a:lnTo>
                  <a:pt x="394" y="235"/>
                </a:lnTo>
                <a:lnTo>
                  <a:pt x="414" y="231"/>
                </a:lnTo>
                <a:lnTo>
                  <a:pt x="433" y="225"/>
                </a:lnTo>
                <a:lnTo>
                  <a:pt x="452" y="219"/>
                </a:lnTo>
                <a:lnTo>
                  <a:pt x="471" y="212"/>
                </a:lnTo>
                <a:lnTo>
                  <a:pt x="488" y="204"/>
                </a:lnTo>
                <a:lnTo>
                  <a:pt x="488" y="204"/>
                </a:lnTo>
                <a:lnTo>
                  <a:pt x="472" y="181"/>
                </a:lnTo>
                <a:lnTo>
                  <a:pt x="456" y="159"/>
                </a:lnTo>
                <a:lnTo>
                  <a:pt x="442" y="135"/>
                </a:lnTo>
                <a:lnTo>
                  <a:pt x="430" y="110"/>
                </a:lnTo>
                <a:lnTo>
                  <a:pt x="420" y="83"/>
                </a:lnTo>
                <a:lnTo>
                  <a:pt x="412" y="57"/>
                </a:lnTo>
                <a:lnTo>
                  <a:pt x="405" y="29"/>
                </a:lnTo>
                <a:lnTo>
                  <a:pt x="401" y="0"/>
                </a:lnTo>
                <a:lnTo>
                  <a:pt x="0" y="0"/>
                </a:lnTo>
                <a:close/>
              </a:path>
            </a:pathLst>
          </a:custGeom>
          <a:solidFill>
            <a:srgbClr val="7EB1C7"/>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389" name="Freeform 2261"/>
          <p:cNvSpPr>
            <a:spLocks/>
          </p:cNvSpPr>
          <p:nvPr/>
        </p:nvSpPr>
        <p:spPr bwMode="auto">
          <a:xfrm>
            <a:off x="5492751" y="6364288"/>
            <a:ext cx="165100" cy="68262"/>
          </a:xfrm>
          <a:custGeom>
            <a:avLst/>
            <a:gdLst>
              <a:gd name="T0" fmla="*/ 0 w 625"/>
              <a:gd name="T1" fmla="*/ 0 h 257"/>
              <a:gd name="T2" fmla="*/ 0 w 625"/>
              <a:gd name="T3" fmla="*/ 0 h 257"/>
              <a:gd name="T4" fmla="*/ 3 w 625"/>
              <a:gd name="T5" fmla="*/ 15 h 257"/>
              <a:gd name="T6" fmla="*/ 6 w 625"/>
              <a:gd name="T7" fmla="*/ 28 h 257"/>
              <a:gd name="T8" fmla="*/ 15 w 625"/>
              <a:gd name="T9" fmla="*/ 54 h 257"/>
              <a:gd name="T10" fmla="*/ 26 w 625"/>
              <a:gd name="T11" fmla="*/ 78 h 257"/>
              <a:gd name="T12" fmla="*/ 39 w 625"/>
              <a:gd name="T13" fmla="*/ 103 h 257"/>
              <a:gd name="T14" fmla="*/ 53 w 625"/>
              <a:gd name="T15" fmla="*/ 125 h 257"/>
              <a:gd name="T16" fmla="*/ 71 w 625"/>
              <a:gd name="T17" fmla="*/ 146 h 257"/>
              <a:gd name="T18" fmla="*/ 89 w 625"/>
              <a:gd name="T19" fmla="*/ 166 h 257"/>
              <a:gd name="T20" fmla="*/ 109 w 625"/>
              <a:gd name="T21" fmla="*/ 183 h 257"/>
              <a:gd name="T22" fmla="*/ 130 w 625"/>
              <a:gd name="T23" fmla="*/ 201 h 257"/>
              <a:gd name="T24" fmla="*/ 154 w 625"/>
              <a:gd name="T25" fmla="*/ 215 h 257"/>
              <a:gd name="T26" fmla="*/ 177 w 625"/>
              <a:gd name="T27" fmla="*/ 227 h 257"/>
              <a:gd name="T28" fmla="*/ 202 w 625"/>
              <a:gd name="T29" fmla="*/ 238 h 257"/>
              <a:gd name="T30" fmla="*/ 228 w 625"/>
              <a:gd name="T31" fmla="*/ 246 h 257"/>
              <a:gd name="T32" fmla="*/ 243 w 625"/>
              <a:gd name="T33" fmla="*/ 249 h 257"/>
              <a:gd name="T34" fmla="*/ 256 w 625"/>
              <a:gd name="T35" fmla="*/ 252 h 257"/>
              <a:gd name="T36" fmla="*/ 270 w 625"/>
              <a:gd name="T37" fmla="*/ 254 h 257"/>
              <a:gd name="T38" fmla="*/ 284 w 625"/>
              <a:gd name="T39" fmla="*/ 256 h 257"/>
              <a:gd name="T40" fmla="*/ 298 w 625"/>
              <a:gd name="T41" fmla="*/ 257 h 257"/>
              <a:gd name="T42" fmla="*/ 312 w 625"/>
              <a:gd name="T43" fmla="*/ 257 h 257"/>
              <a:gd name="T44" fmla="*/ 312 w 625"/>
              <a:gd name="T45" fmla="*/ 257 h 257"/>
              <a:gd name="T46" fmla="*/ 328 w 625"/>
              <a:gd name="T47" fmla="*/ 257 h 257"/>
              <a:gd name="T48" fmla="*/ 342 w 625"/>
              <a:gd name="T49" fmla="*/ 256 h 257"/>
              <a:gd name="T50" fmla="*/ 356 w 625"/>
              <a:gd name="T51" fmla="*/ 254 h 257"/>
              <a:gd name="T52" fmla="*/ 369 w 625"/>
              <a:gd name="T53" fmla="*/ 252 h 257"/>
              <a:gd name="T54" fmla="*/ 383 w 625"/>
              <a:gd name="T55" fmla="*/ 249 h 257"/>
              <a:gd name="T56" fmla="*/ 396 w 625"/>
              <a:gd name="T57" fmla="*/ 246 h 257"/>
              <a:gd name="T58" fmla="*/ 423 w 625"/>
              <a:gd name="T59" fmla="*/ 238 h 257"/>
              <a:gd name="T60" fmla="*/ 448 w 625"/>
              <a:gd name="T61" fmla="*/ 227 h 257"/>
              <a:gd name="T62" fmla="*/ 472 w 625"/>
              <a:gd name="T63" fmla="*/ 215 h 257"/>
              <a:gd name="T64" fmla="*/ 495 w 625"/>
              <a:gd name="T65" fmla="*/ 201 h 257"/>
              <a:gd name="T66" fmla="*/ 517 w 625"/>
              <a:gd name="T67" fmla="*/ 183 h 257"/>
              <a:gd name="T68" fmla="*/ 536 w 625"/>
              <a:gd name="T69" fmla="*/ 166 h 257"/>
              <a:gd name="T70" fmla="*/ 555 w 625"/>
              <a:gd name="T71" fmla="*/ 146 h 257"/>
              <a:gd name="T72" fmla="*/ 571 w 625"/>
              <a:gd name="T73" fmla="*/ 125 h 257"/>
              <a:gd name="T74" fmla="*/ 586 w 625"/>
              <a:gd name="T75" fmla="*/ 103 h 257"/>
              <a:gd name="T76" fmla="*/ 600 w 625"/>
              <a:gd name="T77" fmla="*/ 78 h 257"/>
              <a:gd name="T78" fmla="*/ 610 w 625"/>
              <a:gd name="T79" fmla="*/ 54 h 257"/>
              <a:gd name="T80" fmla="*/ 619 w 625"/>
              <a:gd name="T81" fmla="*/ 28 h 257"/>
              <a:gd name="T82" fmla="*/ 622 w 625"/>
              <a:gd name="T83" fmla="*/ 15 h 257"/>
              <a:gd name="T84" fmla="*/ 625 w 625"/>
              <a:gd name="T85" fmla="*/ 0 h 257"/>
              <a:gd name="T86" fmla="*/ 0 w 625"/>
              <a:gd name="T87" fmla="*/ 0 h 257"/>
              <a:gd name="T88" fmla="*/ 0 w 625"/>
              <a:gd name="T89"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5" h="257">
                <a:moveTo>
                  <a:pt x="0" y="0"/>
                </a:moveTo>
                <a:lnTo>
                  <a:pt x="0" y="0"/>
                </a:lnTo>
                <a:lnTo>
                  <a:pt x="3" y="15"/>
                </a:lnTo>
                <a:lnTo>
                  <a:pt x="6" y="28"/>
                </a:lnTo>
                <a:lnTo>
                  <a:pt x="15" y="54"/>
                </a:lnTo>
                <a:lnTo>
                  <a:pt x="26" y="78"/>
                </a:lnTo>
                <a:lnTo>
                  <a:pt x="39" y="103"/>
                </a:lnTo>
                <a:lnTo>
                  <a:pt x="53" y="125"/>
                </a:lnTo>
                <a:lnTo>
                  <a:pt x="71" y="146"/>
                </a:lnTo>
                <a:lnTo>
                  <a:pt x="89" y="166"/>
                </a:lnTo>
                <a:lnTo>
                  <a:pt x="109" y="183"/>
                </a:lnTo>
                <a:lnTo>
                  <a:pt x="130" y="201"/>
                </a:lnTo>
                <a:lnTo>
                  <a:pt x="154" y="215"/>
                </a:lnTo>
                <a:lnTo>
                  <a:pt x="177" y="227"/>
                </a:lnTo>
                <a:lnTo>
                  <a:pt x="202" y="238"/>
                </a:lnTo>
                <a:lnTo>
                  <a:pt x="228" y="246"/>
                </a:lnTo>
                <a:lnTo>
                  <a:pt x="243" y="249"/>
                </a:lnTo>
                <a:lnTo>
                  <a:pt x="256" y="252"/>
                </a:lnTo>
                <a:lnTo>
                  <a:pt x="270" y="254"/>
                </a:lnTo>
                <a:lnTo>
                  <a:pt x="284" y="256"/>
                </a:lnTo>
                <a:lnTo>
                  <a:pt x="298" y="257"/>
                </a:lnTo>
                <a:lnTo>
                  <a:pt x="312" y="257"/>
                </a:lnTo>
                <a:lnTo>
                  <a:pt x="312" y="257"/>
                </a:lnTo>
                <a:lnTo>
                  <a:pt x="328" y="257"/>
                </a:lnTo>
                <a:lnTo>
                  <a:pt x="342" y="256"/>
                </a:lnTo>
                <a:lnTo>
                  <a:pt x="356" y="254"/>
                </a:lnTo>
                <a:lnTo>
                  <a:pt x="369" y="252"/>
                </a:lnTo>
                <a:lnTo>
                  <a:pt x="383" y="249"/>
                </a:lnTo>
                <a:lnTo>
                  <a:pt x="396" y="246"/>
                </a:lnTo>
                <a:lnTo>
                  <a:pt x="423" y="238"/>
                </a:lnTo>
                <a:lnTo>
                  <a:pt x="448" y="227"/>
                </a:lnTo>
                <a:lnTo>
                  <a:pt x="472" y="215"/>
                </a:lnTo>
                <a:lnTo>
                  <a:pt x="495" y="201"/>
                </a:lnTo>
                <a:lnTo>
                  <a:pt x="517" y="183"/>
                </a:lnTo>
                <a:lnTo>
                  <a:pt x="536" y="166"/>
                </a:lnTo>
                <a:lnTo>
                  <a:pt x="555" y="146"/>
                </a:lnTo>
                <a:lnTo>
                  <a:pt x="571" y="125"/>
                </a:lnTo>
                <a:lnTo>
                  <a:pt x="586" y="103"/>
                </a:lnTo>
                <a:lnTo>
                  <a:pt x="600" y="78"/>
                </a:lnTo>
                <a:lnTo>
                  <a:pt x="610" y="54"/>
                </a:lnTo>
                <a:lnTo>
                  <a:pt x="619" y="28"/>
                </a:lnTo>
                <a:lnTo>
                  <a:pt x="622" y="15"/>
                </a:lnTo>
                <a:lnTo>
                  <a:pt x="625" y="0"/>
                </a:lnTo>
                <a:lnTo>
                  <a:pt x="0" y="0"/>
                </a:lnTo>
                <a:lnTo>
                  <a:pt x="0" y="0"/>
                </a:lnTo>
                <a:close/>
              </a:path>
            </a:pathLst>
          </a:custGeom>
          <a:solidFill>
            <a:srgbClr val="7EB1C7"/>
          </a:solid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3512" name="Group 3511"/>
          <p:cNvGrpSpPr/>
          <p:nvPr/>
        </p:nvGrpSpPr>
        <p:grpSpPr>
          <a:xfrm flipH="1">
            <a:off x="4471606" y="5424499"/>
            <a:ext cx="288833" cy="523854"/>
            <a:chOff x="5200663" y="5431932"/>
            <a:chExt cx="273074" cy="504535"/>
          </a:xfrm>
          <a:solidFill>
            <a:schemeClr val="bg1"/>
          </a:solidFill>
        </p:grpSpPr>
        <p:sp>
          <p:nvSpPr>
            <p:cNvPr id="3513" name="Oval 58"/>
            <p:cNvSpPr/>
            <p:nvPr/>
          </p:nvSpPr>
          <p:spPr bwMode="auto">
            <a:xfrm>
              <a:off x="5271337" y="5431932"/>
              <a:ext cx="202400" cy="504535"/>
            </a:xfrm>
            <a:custGeom>
              <a:avLst/>
              <a:gdLst/>
              <a:ahLst/>
              <a:cxnLst/>
              <a:rect l="l" t="t" r="r" b="b"/>
              <a:pathLst>
                <a:path w="746519" h="1860882">
                  <a:moveTo>
                    <a:pt x="167038" y="361990"/>
                  </a:moveTo>
                  <a:lnTo>
                    <a:pt x="576950" y="361990"/>
                  </a:lnTo>
                  <a:cubicBezTo>
                    <a:pt x="667803" y="361990"/>
                    <a:pt x="741454" y="429907"/>
                    <a:pt x="741454" y="513688"/>
                  </a:cubicBezTo>
                  <a:lnTo>
                    <a:pt x="741454" y="578527"/>
                  </a:lnTo>
                  <a:lnTo>
                    <a:pt x="741454" y="822418"/>
                  </a:lnTo>
                  <a:lnTo>
                    <a:pt x="746519" y="1035341"/>
                  </a:lnTo>
                  <a:cubicBezTo>
                    <a:pt x="746519" y="1060166"/>
                    <a:pt x="712757" y="1069136"/>
                    <a:pt x="695242" y="1069994"/>
                  </a:cubicBezTo>
                  <a:cubicBezTo>
                    <a:pt x="677728" y="1070852"/>
                    <a:pt x="641431" y="1065315"/>
                    <a:pt x="641431" y="1040490"/>
                  </a:cubicBezTo>
                  <a:cubicBezTo>
                    <a:pt x="641335" y="933656"/>
                    <a:pt x="641239" y="826821"/>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lnTo>
                    <a:pt x="413651" y="1183095"/>
                  </a:lnTo>
                  <a:cubicBezTo>
                    <a:pt x="413651" y="1171546"/>
                    <a:pt x="403499" y="1162184"/>
                    <a:pt x="390975" y="1162184"/>
                  </a:cubicBezTo>
                  <a:lnTo>
                    <a:pt x="353012" y="1162184"/>
                  </a:lnTo>
                  <a:cubicBezTo>
                    <a:pt x="340488" y="1162184"/>
                    <a:pt x="330336" y="1171546"/>
                    <a:pt x="330336" y="1183095"/>
                  </a:cubicBezTo>
                  <a:lnTo>
                    <a:pt x="330336" y="1204005"/>
                  </a:lnTo>
                  <a:lnTo>
                    <a:pt x="333806" y="1788305"/>
                  </a:lnTo>
                  <a:cubicBezTo>
                    <a:pt x="333806" y="1828388"/>
                    <a:pt x="298569" y="1860882"/>
                    <a:pt x="255103" y="1860882"/>
                  </a:cubicBezTo>
                  <a:lnTo>
                    <a:pt x="255103" y="1860881"/>
                  </a:lnTo>
                  <a:cubicBezTo>
                    <a:pt x="211636" y="1860881"/>
                    <a:pt x="176400" y="1828388"/>
                    <a:pt x="176400" y="1788305"/>
                  </a:cubicBezTo>
                  <a:lnTo>
                    <a:pt x="176134" y="724482"/>
                  </a:ln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lnTo>
                    <a:pt x="2533" y="822418"/>
                  </a:ln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solidFill>
                  <a:srgbClr val="8DC548"/>
                </a:solidFill>
                <a:effectLst/>
                <a:uLnTx/>
                <a:uFillTx/>
                <a:ea typeface="Segoe UI" pitchFamily="34" charset="0"/>
                <a:cs typeface="Segoe UI" pitchFamily="34" charset="0"/>
              </a:endParaRPr>
            </a:p>
          </p:txBody>
        </p:sp>
        <p:grpSp>
          <p:nvGrpSpPr>
            <p:cNvPr id="3514" name="Group 3513"/>
            <p:cNvGrpSpPr>
              <a:grpSpLocks noChangeAspect="1"/>
            </p:cNvGrpSpPr>
            <p:nvPr/>
          </p:nvGrpSpPr>
          <p:grpSpPr>
            <a:xfrm>
              <a:off x="5200663" y="5703139"/>
              <a:ext cx="161596" cy="159161"/>
              <a:chOff x="10377496" y="4644205"/>
              <a:chExt cx="420691" cy="414354"/>
            </a:xfrm>
            <a:grpFill/>
          </p:grpSpPr>
          <p:sp>
            <p:nvSpPr>
              <p:cNvPr id="3515" name="Freeform 197"/>
              <p:cNvSpPr>
                <a:spLocks noEditPoints="1"/>
              </p:cNvSpPr>
              <p:nvPr/>
            </p:nvSpPr>
            <p:spPr bwMode="auto">
              <a:xfrm>
                <a:off x="10377496" y="4644205"/>
                <a:ext cx="420689" cy="201610"/>
              </a:xfrm>
              <a:custGeom>
                <a:avLst/>
                <a:gdLst>
                  <a:gd name="T0" fmla="*/ 1268 w 1860"/>
                  <a:gd name="T1" fmla="*/ 188 h 891"/>
                  <a:gd name="T2" fmla="*/ 1265 w 1860"/>
                  <a:gd name="T3" fmla="*/ 150 h 891"/>
                  <a:gd name="T4" fmla="*/ 1245 w 1860"/>
                  <a:gd name="T5" fmla="*/ 99 h 891"/>
                  <a:gd name="T6" fmla="*/ 1213 w 1860"/>
                  <a:gd name="T7" fmla="*/ 56 h 891"/>
                  <a:gd name="T8" fmla="*/ 1169 w 1860"/>
                  <a:gd name="T9" fmla="*/ 23 h 891"/>
                  <a:gd name="T10" fmla="*/ 1118 w 1860"/>
                  <a:gd name="T11" fmla="*/ 4 h 891"/>
                  <a:gd name="T12" fmla="*/ 779 w 1860"/>
                  <a:gd name="T13" fmla="*/ 0 h 891"/>
                  <a:gd name="T14" fmla="*/ 741 w 1860"/>
                  <a:gd name="T15" fmla="*/ 4 h 891"/>
                  <a:gd name="T16" fmla="*/ 689 w 1860"/>
                  <a:gd name="T17" fmla="*/ 23 h 891"/>
                  <a:gd name="T18" fmla="*/ 646 w 1860"/>
                  <a:gd name="T19" fmla="*/ 56 h 891"/>
                  <a:gd name="T20" fmla="*/ 614 w 1860"/>
                  <a:gd name="T21" fmla="*/ 99 h 891"/>
                  <a:gd name="T22" fmla="*/ 595 w 1860"/>
                  <a:gd name="T23" fmla="*/ 150 h 891"/>
                  <a:gd name="T24" fmla="*/ 592 w 1860"/>
                  <a:gd name="T25" fmla="*/ 305 h 891"/>
                  <a:gd name="T26" fmla="*/ 98 w 1860"/>
                  <a:gd name="T27" fmla="*/ 305 h 891"/>
                  <a:gd name="T28" fmla="*/ 66 w 1860"/>
                  <a:gd name="T29" fmla="*/ 313 h 891"/>
                  <a:gd name="T30" fmla="*/ 40 w 1860"/>
                  <a:gd name="T31" fmla="*/ 330 h 891"/>
                  <a:gd name="T32" fmla="*/ 18 w 1860"/>
                  <a:gd name="T33" fmla="*/ 353 h 891"/>
                  <a:gd name="T34" fmla="*/ 4 w 1860"/>
                  <a:gd name="T35" fmla="*/ 382 h 891"/>
                  <a:gd name="T36" fmla="*/ 0 w 1860"/>
                  <a:gd name="T37" fmla="*/ 415 h 891"/>
                  <a:gd name="T38" fmla="*/ 8 w 1860"/>
                  <a:gd name="T39" fmla="*/ 570 h 891"/>
                  <a:gd name="T40" fmla="*/ 41 w 1860"/>
                  <a:gd name="T41" fmla="*/ 611 h 891"/>
                  <a:gd name="T42" fmla="*/ 312 w 1860"/>
                  <a:gd name="T43" fmla="*/ 844 h 891"/>
                  <a:gd name="T44" fmla="*/ 371 w 1860"/>
                  <a:gd name="T45" fmla="*/ 872 h 891"/>
                  <a:gd name="T46" fmla="*/ 435 w 1860"/>
                  <a:gd name="T47" fmla="*/ 889 h 891"/>
                  <a:gd name="T48" fmla="*/ 1406 w 1860"/>
                  <a:gd name="T49" fmla="*/ 891 h 891"/>
                  <a:gd name="T50" fmla="*/ 1467 w 1860"/>
                  <a:gd name="T51" fmla="*/ 880 h 891"/>
                  <a:gd name="T52" fmla="*/ 1529 w 1860"/>
                  <a:gd name="T53" fmla="*/ 854 h 891"/>
                  <a:gd name="T54" fmla="*/ 1819 w 1860"/>
                  <a:gd name="T55" fmla="*/ 611 h 891"/>
                  <a:gd name="T56" fmla="*/ 1840 w 1860"/>
                  <a:gd name="T57" fmla="*/ 585 h 891"/>
                  <a:gd name="T58" fmla="*/ 1860 w 1860"/>
                  <a:gd name="T59" fmla="*/ 415 h 891"/>
                  <a:gd name="T60" fmla="*/ 1858 w 1860"/>
                  <a:gd name="T61" fmla="*/ 392 h 891"/>
                  <a:gd name="T62" fmla="*/ 1847 w 1860"/>
                  <a:gd name="T63" fmla="*/ 362 h 891"/>
                  <a:gd name="T64" fmla="*/ 1828 w 1860"/>
                  <a:gd name="T65" fmla="*/ 337 h 891"/>
                  <a:gd name="T66" fmla="*/ 1802 w 1860"/>
                  <a:gd name="T67" fmla="*/ 317 h 891"/>
                  <a:gd name="T68" fmla="*/ 1773 w 1860"/>
                  <a:gd name="T69" fmla="*/ 307 h 891"/>
                  <a:gd name="T70" fmla="*/ 1750 w 1860"/>
                  <a:gd name="T71" fmla="*/ 305 h 891"/>
                  <a:gd name="T72" fmla="*/ 748 w 1860"/>
                  <a:gd name="T73" fmla="*/ 182 h 891"/>
                  <a:gd name="T74" fmla="*/ 756 w 1860"/>
                  <a:gd name="T75" fmla="*/ 166 h 891"/>
                  <a:gd name="T76" fmla="*/ 772 w 1860"/>
                  <a:gd name="T77" fmla="*/ 156 h 891"/>
                  <a:gd name="T78" fmla="*/ 1080 w 1860"/>
                  <a:gd name="T79" fmla="*/ 155 h 891"/>
                  <a:gd name="T80" fmla="*/ 1099 w 1860"/>
                  <a:gd name="T81" fmla="*/ 161 h 891"/>
                  <a:gd name="T82" fmla="*/ 1110 w 1860"/>
                  <a:gd name="T83" fmla="*/ 176 h 891"/>
                  <a:gd name="T84" fmla="*/ 1113 w 1860"/>
                  <a:gd name="T85" fmla="*/ 305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60" h="891">
                    <a:moveTo>
                      <a:pt x="1750" y="305"/>
                    </a:moveTo>
                    <a:lnTo>
                      <a:pt x="1268" y="305"/>
                    </a:lnTo>
                    <a:lnTo>
                      <a:pt x="1268" y="188"/>
                    </a:lnTo>
                    <a:lnTo>
                      <a:pt x="1268" y="188"/>
                    </a:lnTo>
                    <a:lnTo>
                      <a:pt x="1267" y="169"/>
                    </a:lnTo>
                    <a:lnTo>
                      <a:pt x="1265" y="150"/>
                    </a:lnTo>
                    <a:lnTo>
                      <a:pt x="1260" y="133"/>
                    </a:lnTo>
                    <a:lnTo>
                      <a:pt x="1253" y="115"/>
                    </a:lnTo>
                    <a:lnTo>
                      <a:pt x="1245" y="99"/>
                    </a:lnTo>
                    <a:lnTo>
                      <a:pt x="1236" y="83"/>
                    </a:lnTo>
                    <a:lnTo>
                      <a:pt x="1225" y="69"/>
                    </a:lnTo>
                    <a:lnTo>
                      <a:pt x="1213" y="56"/>
                    </a:lnTo>
                    <a:lnTo>
                      <a:pt x="1200" y="43"/>
                    </a:lnTo>
                    <a:lnTo>
                      <a:pt x="1186" y="32"/>
                    </a:lnTo>
                    <a:lnTo>
                      <a:pt x="1169" y="23"/>
                    </a:lnTo>
                    <a:lnTo>
                      <a:pt x="1153" y="15"/>
                    </a:lnTo>
                    <a:lnTo>
                      <a:pt x="1136" y="9"/>
                    </a:lnTo>
                    <a:lnTo>
                      <a:pt x="1118" y="4"/>
                    </a:lnTo>
                    <a:lnTo>
                      <a:pt x="1100" y="1"/>
                    </a:lnTo>
                    <a:lnTo>
                      <a:pt x="1080" y="0"/>
                    </a:lnTo>
                    <a:lnTo>
                      <a:pt x="779" y="0"/>
                    </a:lnTo>
                    <a:lnTo>
                      <a:pt x="779" y="0"/>
                    </a:lnTo>
                    <a:lnTo>
                      <a:pt x="760" y="1"/>
                    </a:lnTo>
                    <a:lnTo>
                      <a:pt x="741" y="4"/>
                    </a:lnTo>
                    <a:lnTo>
                      <a:pt x="723" y="9"/>
                    </a:lnTo>
                    <a:lnTo>
                      <a:pt x="706" y="15"/>
                    </a:lnTo>
                    <a:lnTo>
                      <a:pt x="689" y="23"/>
                    </a:lnTo>
                    <a:lnTo>
                      <a:pt x="674" y="32"/>
                    </a:lnTo>
                    <a:lnTo>
                      <a:pt x="659" y="43"/>
                    </a:lnTo>
                    <a:lnTo>
                      <a:pt x="646" y="56"/>
                    </a:lnTo>
                    <a:lnTo>
                      <a:pt x="634" y="69"/>
                    </a:lnTo>
                    <a:lnTo>
                      <a:pt x="623" y="83"/>
                    </a:lnTo>
                    <a:lnTo>
                      <a:pt x="614" y="99"/>
                    </a:lnTo>
                    <a:lnTo>
                      <a:pt x="606" y="115"/>
                    </a:lnTo>
                    <a:lnTo>
                      <a:pt x="600" y="133"/>
                    </a:lnTo>
                    <a:lnTo>
                      <a:pt x="595" y="150"/>
                    </a:lnTo>
                    <a:lnTo>
                      <a:pt x="593" y="169"/>
                    </a:lnTo>
                    <a:lnTo>
                      <a:pt x="592" y="188"/>
                    </a:lnTo>
                    <a:lnTo>
                      <a:pt x="592" y="305"/>
                    </a:lnTo>
                    <a:lnTo>
                      <a:pt x="109" y="305"/>
                    </a:lnTo>
                    <a:lnTo>
                      <a:pt x="109" y="305"/>
                    </a:lnTo>
                    <a:lnTo>
                      <a:pt x="98" y="305"/>
                    </a:lnTo>
                    <a:lnTo>
                      <a:pt x="87" y="307"/>
                    </a:lnTo>
                    <a:lnTo>
                      <a:pt x="77" y="309"/>
                    </a:lnTo>
                    <a:lnTo>
                      <a:pt x="66" y="313"/>
                    </a:lnTo>
                    <a:lnTo>
                      <a:pt x="57" y="317"/>
                    </a:lnTo>
                    <a:lnTo>
                      <a:pt x="48" y="323"/>
                    </a:lnTo>
                    <a:lnTo>
                      <a:pt x="40" y="330"/>
                    </a:lnTo>
                    <a:lnTo>
                      <a:pt x="31" y="337"/>
                    </a:lnTo>
                    <a:lnTo>
                      <a:pt x="24" y="345"/>
                    </a:lnTo>
                    <a:lnTo>
                      <a:pt x="18" y="353"/>
                    </a:lnTo>
                    <a:lnTo>
                      <a:pt x="13" y="362"/>
                    </a:lnTo>
                    <a:lnTo>
                      <a:pt x="8" y="372"/>
                    </a:lnTo>
                    <a:lnTo>
                      <a:pt x="4" y="382"/>
                    </a:lnTo>
                    <a:lnTo>
                      <a:pt x="2" y="392"/>
                    </a:lnTo>
                    <a:lnTo>
                      <a:pt x="0" y="404"/>
                    </a:lnTo>
                    <a:lnTo>
                      <a:pt x="0" y="415"/>
                    </a:lnTo>
                    <a:lnTo>
                      <a:pt x="0" y="552"/>
                    </a:lnTo>
                    <a:lnTo>
                      <a:pt x="0" y="552"/>
                    </a:lnTo>
                    <a:lnTo>
                      <a:pt x="8" y="570"/>
                    </a:lnTo>
                    <a:lnTo>
                      <a:pt x="18" y="585"/>
                    </a:lnTo>
                    <a:lnTo>
                      <a:pt x="29" y="599"/>
                    </a:lnTo>
                    <a:lnTo>
                      <a:pt x="41" y="611"/>
                    </a:lnTo>
                    <a:lnTo>
                      <a:pt x="296" y="832"/>
                    </a:lnTo>
                    <a:lnTo>
                      <a:pt x="296" y="832"/>
                    </a:lnTo>
                    <a:lnTo>
                      <a:pt x="312" y="844"/>
                    </a:lnTo>
                    <a:lnTo>
                      <a:pt x="329" y="854"/>
                    </a:lnTo>
                    <a:lnTo>
                      <a:pt x="349" y="864"/>
                    </a:lnTo>
                    <a:lnTo>
                      <a:pt x="371" y="872"/>
                    </a:lnTo>
                    <a:lnTo>
                      <a:pt x="393" y="880"/>
                    </a:lnTo>
                    <a:lnTo>
                      <a:pt x="414" y="886"/>
                    </a:lnTo>
                    <a:lnTo>
                      <a:pt x="435" y="889"/>
                    </a:lnTo>
                    <a:lnTo>
                      <a:pt x="453" y="891"/>
                    </a:lnTo>
                    <a:lnTo>
                      <a:pt x="1406" y="891"/>
                    </a:lnTo>
                    <a:lnTo>
                      <a:pt x="1406" y="891"/>
                    </a:lnTo>
                    <a:lnTo>
                      <a:pt x="1425" y="889"/>
                    </a:lnTo>
                    <a:lnTo>
                      <a:pt x="1445" y="886"/>
                    </a:lnTo>
                    <a:lnTo>
                      <a:pt x="1467" y="880"/>
                    </a:lnTo>
                    <a:lnTo>
                      <a:pt x="1488" y="872"/>
                    </a:lnTo>
                    <a:lnTo>
                      <a:pt x="1510" y="864"/>
                    </a:lnTo>
                    <a:lnTo>
                      <a:pt x="1529" y="854"/>
                    </a:lnTo>
                    <a:lnTo>
                      <a:pt x="1548" y="844"/>
                    </a:lnTo>
                    <a:lnTo>
                      <a:pt x="1562" y="832"/>
                    </a:lnTo>
                    <a:lnTo>
                      <a:pt x="1819" y="611"/>
                    </a:lnTo>
                    <a:lnTo>
                      <a:pt x="1819" y="611"/>
                    </a:lnTo>
                    <a:lnTo>
                      <a:pt x="1830" y="599"/>
                    </a:lnTo>
                    <a:lnTo>
                      <a:pt x="1840" y="585"/>
                    </a:lnTo>
                    <a:lnTo>
                      <a:pt x="1851" y="570"/>
                    </a:lnTo>
                    <a:lnTo>
                      <a:pt x="1860" y="552"/>
                    </a:lnTo>
                    <a:lnTo>
                      <a:pt x="1860" y="415"/>
                    </a:lnTo>
                    <a:lnTo>
                      <a:pt x="1860" y="415"/>
                    </a:lnTo>
                    <a:lnTo>
                      <a:pt x="1860" y="404"/>
                    </a:lnTo>
                    <a:lnTo>
                      <a:pt x="1858" y="392"/>
                    </a:lnTo>
                    <a:lnTo>
                      <a:pt x="1855" y="382"/>
                    </a:lnTo>
                    <a:lnTo>
                      <a:pt x="1852" y="372"/>
                    </a:lnTo>
                    <a:lnTo>
                      <a:pt x="1847" y="362"/>
                    </a:lnTo>
                    <a:lnTo>
                      <a:pt x="1841" y="353"/>
                    </a:lnTo>
                    <a:lnTo>
                      <a:pt x="1835" y="345"/>
                    </a:lnTo>
                    <a:lnTo>
                      <a:pt x="1828" y="337"/>
                    </a:lnTo>
                    <a:lnTo>
                      <a:pt x="1820" y="330"/>
                    </a:lnTo>
                    <a:lnTo>
                      <a:pt x="1812" y="323"/>
                    </a:lnTo>
                    <a:lnTo>
                      <a:pt x="1802" y="317"/>
                    </a:lnTo>
                    <a:lnTo>
                      <a:pt x="1793" y="313"/>
                    </a:lnTo>
                    <a:lnTo>
                      <a:pt x="1783" y="309"/>
                    </a:lnTo>
                    <a:lnTo>
                      <a:pt x="1773" y="307"/>
                    </a:lnTo>
                    <a:lnTo>
                      <a:pt x="1761" y="305"/>
                    </a:lnTo>
                    <a:lnTo>
                      <a:pt x="1750" y="305"/>
                    </a:lnTo>
                    <a:lnTo>
                      <a:pt x="1750" y="305"/>
                    </a:lnTo>
                    <a:close/>
                    <a:moveTo>
                      <a:pt x="747" y="188"/>
                    </a:moveTo>
                    <a:lnTo>
                      <a:pt x="747" y="188"/>
                    </a:lnTo>
                    <a:lnTo>
                      <a:pt x="748" y="182"/>
                    </a:lnTo>
                    <a:lnTo>
                      <a:pt x="749" y="176"/>
                    </a:lnTo>
                    <a:lnTo>
                      <a:pt x="752" y="171"/>
                    </a:lnTo>
                    <a:lnTo>
                      <a:pt x="756" y="166"/>
                    </a:lnTo>
                    <a:lnTo>
                      <a:pt x="761" y="161"/>
                    </a:lnTo>
                    <a:lnTo>
                      <a:pt x="766" y="158"/>
                    </a:lnTo>
                    <a:lnTo>
                      <a:pt x="772" y="156"/>
                    </a:lnTo>
                    <a:lnTo>
                      <a:pt x="779" y="155"/>
                    </a:lnTo>
                    <a:lnTo>
                      <a:pt x="1080" y="155"/>
                    </a:lnTo>
                    <a:lnTo>
                      <a:pt x="1080" y="155"/>
                    </a:lnTo>
                    <a:lnTo>
                      <a:pt x="1087" y="156"/>
                    </a:lnTo>
                    <a:lnTo>
                      <a:pt x="1092" y="158"/>
                    </a:lnTo>
                    <a:lnTo>
                      <a:pt x="1099" y="161"/>
                    </a:lnTo>
                    <a:lnTo>
                      <a:pt x="1103" y="166"/>
                    </a:lnTo>
                    <a:lnTo>
                      <a:pt x="1107" y="171"/>
                    </a:lnTo>
                    <a:lnTo>
                      <a:pt x="1110" y="176"/>
                    </a:lnTo>
                    <a:lnTo>
                      <a:pt x="1112" y="182"/>
                    </a:lnTo>
                    <a:lnTo>
                      <a:pt x="1113" y="188"/>
                    </a:lnTo>
                    <a:lnTo>
                      <a:pt x="1113" y="305"/>
                    </a:lnTo>
                    <a:lnTo>
                      <a:pt x="747" y="305"/>
                    </a:lnTo>
                    <a:lnTo>
                      <a:pt x="747"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DC548"/>
                  </a:solidFill>
                  <a:effectLst/>
                  <a:uLnTx/>
                  <a:uFillTx/>
                </a:endParaRPr>
              </a:p>
            </p:txBody>
          </p:sp>
          <p:sp>
            <p:nvSpPr>
              <p:cNvPr id="3516" name="Freeform 198"/>
              <p:cNvSpPr>
                <a:spLocks/>
              </p:cNvSpPr>
              <p:nvPr/>
            </p:nvSpPr>
            <p:spPr bwMode="auto">
              <a:xfrm>
                <a:off x="10377499" y="4807733"/>
                <a:ext cx="420688" cy="250826"/>
              </a:xfrm>
              <a:custGeom>
                <a:avLst/>
                <a:gdLst>
                  <a:gd name="T0" fmla="*/ 1056 w 1860"/>
                  <a:gd name="T1" fmla="*/ 392 h 1104"/>
                  <a:gd name="T2" fmla="*/ 1053 w 1860"/>
                  <a:gd name="T3" fmla="*/ 410 h 1104"/>
                  <a:gd name="T4" fmla="*/ 1037 w 1860"/>
                  <a:gd name="T5" fmla="*/ 428 h 1104"/>
                  <a:gd name="T6" fmla="*/ 1012 w 1860"/>
                  <a:gd name="T7" fmla="*/ 437 h 1104"/>
                  <a:gd name="T8" fmla="*/ 838 w 1860"/>
                  <a:gd name="T9" fmla="*/ 436 h 1104"/>
                  <a:gd name="T10" fmla="*/ 815 w 1860"/>
                  <a:gd name="T11" fmla="*/ 423 h 1104"/>
                  <a:gd name="T12" fmla="*/ 804 w 1860"/>
                  <a:gd name="T13" fmla="*/ 402 h 1104"/>
                  <a:gd name="T14" fmla="*/ 453 w 1860"/>
                  <a:gd name="T15" fmla="*/ 279 h 1104"/>
                  <a:gd name="T16" fmla="*/ 424 w 1860"/>
                  <a:gd name="T17" fmla="*/ 278 h 1104"/>
                  <a:gd name="T18" fmla="*/ 378 w 1860"/>
                  <a:gd name="T19" fmla="*/ 268 h 1104"/>
                  <a:gd name="T20" fmla="*/ 301 w 1860"/>
                  <a:gd name="T21" fmla="*/ 242 h 1104"/>
                  <a:gd name="T22" fmla="*/ 258 w 1860"/>
                  <a:gd name="T23" fmla="*/ 219 h 1104"/>
                  <a:gd name="T24" fmla="*/ 223 w 1860"/>
                  <a:gd name="T25" fmla="*/ 193 h 1104"/>
                  <a:gd name="T26" fmla="*/ 0 w 1860"/>
                  <a:gd name="T27" fmla="*/ 930 h 1104"/>
                  <a:gd name="T28" fmla="*/ 4 w 1860"/>
                  <a:gd name="T29" fmla="*/ 963 h 1104"/>
                  <a:gd name="T30" fmla="*/ 18 w 1860"/>
                  <a:gd name="T31" fmla="*/ 992 h 1104"/>
                  <a:gd name="T32" fmla="*/ 40 w 1860"/>
                  <a:gd name="T33" fmla="*/ 1015 h 1104"/>
                  <a:gd name="T34" fmla="*/ 66 w 1860"/>
                  <a:gd name="T35" fmla="*/ 1032 h 1104"/>
                  <a:gd name="T36" fmla="*/ 98 w 1860"/>
                  <a:gd name="T37" fmla="*/ 1040 h 1104"/>
                  <a:gd name="T38" fmla="*/ 172 w 1860"/>
                  <a:gd name="T39" fmla="*/ 1060 h 1104"/>
                  <a:gd name="T40" fmla="*/ 175 w 1860"/>
                  <a:gd name="T41" fmla="*/ 1077 h 1104"/>
                  <a:gd name="T42" fmla="*/ 191 w 1860"/>
                  <a:gd name="T43" fmla="*/ 1096 h 1104"/>
                  <a:gd name="T44" fmla="*/ 216 w 1860"/>
                  <a:gd name="T45" fmla="*/ 1104 h 1104"/>
                  <a:gd name="T46" fmla="*/ 380 w 1860"/>
                  <a:gd name="T47" fmla="*/ 1103 h 1104"/>
                  <a:gd name="T48" fmla="*/ 403 w 1860"/>
                  <a:gd name="T49" fmla="*/ 1091 h 1104"/>
                  <a:gd name="T50" fmla="*/ 414 w 1860"/>
                  <a:gd name="T51" fmla="*/ 1069 h 1104"/>
                  <a:gd name="T52" fmla="*/ 1443 w 1860"/>
                  <a:gd name="T53" fmla="*/ 1041 h 1104"/>
                  <a:gd name="T54" fmla="*/ 1444 w 1860"/>
                  <a:gd name="T55" fmla="*/ 1069 h 1104"/>
                  <a:gd name="T56" fmla="*/ 1457 w 1860"/>
                  <a:gd name="T57" fmla="*/ 1091 h 1104"/>
                  <a:gd name="T58" fmla="*/ 1479 w 1860"/>
                  <a:gd name="T59" fmla="*/ 1103 h 1104"/>
                  <a:gd name="T60" fmla="*/ 1643 w 1860"/>
                  <a:gd name="T61" fmla="*/ 1104 h 1104"/>
                  <a:gd name="T62" fmla="*/ 1668 w 1860"/>
                  <a:gd name="T63" fmla="*/ 1096 h 1104"/>
                  <a:gd name="T64" fmla="*/ 1684 w 1860"/>
                  <a:gd name="T65" fmla="*/ 1077 h 1104"/>
                  <a:gd name="T66" fmla="*/ 1687 w 1860"/>
                  <a:gd name="T67" fmla="*/ 1041 h 1104"/>
                  <a:gd name="T68" fmla="*/ 1761 w 1860"/>
                  <a:gd name="T69" fmla="*/ 1040 h 1104"/>
                  <a:gd name="T70" fmla="*/ 1793 w 1860"/>
                  <a:gd name="T71" fmla="*/ 1032 h 1104"/>
                  <a:gd name="T72" fmla="*/ 1820 w 1860"/>
                  <a:gd name="T73" fmla="*/ 1015 h 1104"/>
                  <a:gd name="T74" fmla="*/ 1841 w 1860"/>
                  <a:gd name="T75" fmla="*/ 992 h 1104"/>
                  <a:gd name="T76" fmla="*/ 1855 w 1860"/>
                  <a:gd name="T77" fmla="*/ 963 h 1104"/>
                  <a:gd name="T78" fmla="*/ 1860 w 1860"/>
                  <a:gd name="T79" fmla="*/ 930 h 1104"/>
                  <a:gd name="T80" fmla="*/ 1636 w 1860"/>
                  <a:gd name="T81" fmla="*/ 193 h 1104"/>
                  <a:gd name="T82" fmla="*/ 1600 w 1860"/>
                  <a:gd name="T83" fmla="*/ 219 h 1104"/>
                  <a:gd name="T84" fmla="*/ 1558 w 1860"/>
                  <a:gd name="T85" fmla="*/ 242 h 1104"/>
                  <a:gd name="T86" fmla="*/ 1481 w 1860"/>
                  <a:gd name="T87" fmla="*/ 268 h 1104"/>
                  <a:gd name="T88" fmla="*/ 1435 w 1860"/>
                  <a:gd name="T89" fmla="*/ 278 h 1104"/>
                  <a:gd name="T90" fmla="*/ 1406 w 1860"/>
                  <a:gd name="T91" fmla="*/ 279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0" h="1104">
                    <a:moveTo>
                      <a:pt x="1406" y="279"/>
                    </a:moveTo>
                    <a:lnTo>
                      <a:pt x="1056" y="279"/>
                    </a:lnTo>
                    <a:lnTo>
                      <a:pt x="1056" y="392"/>
                    </a:lnTo>
                    <a:lnTo>
                      <a:pt x="1056" y="392"/>
                    </a:lnTo>
                    <a:lnTo>
                      <a:pt x="1055" y="402"/>
                    </a:lnTo>
                    <a:lnTo>
                      <a:pt x="1053" y="410"/>
                    </a:lnTo>
                    <a:lnTo>
                      <a:pt x="1049" y="417"/>
                    </a:lnTo>
                    <a:lnTo>
                      <a:pt x="1044" y="423"/>
                    </a:lnTo>
                    <a:lnTo>
                      <a:pt x="1037" y="428"/>
                    </a:lnTo>
                    <a:lnTo>
                      <a:pt x="1030" y="433"/>
                    </a:lnTo>
                    <a:lnTo>
                      <a:pt x="1022" y="436"/>
                    </a:lnTo>
                    <a:lnTo>
                      <a:pt x="1012" y="437"/>
                    </a:lnTo>
                    <a:lnTo>
                      <a:pt x="847" y="437"/>
                    </a:lnTo>
                    <a:lnTo>
                      <a:pt x="847" y="437"/>
                    </a:lnTo>
                    <a:lnTo>
                      <a:pt x="838" y="436"/>
                    </a:lnTo>
                    <a:lnTo>
                      <a:pt x="830" y="433"/>
                    </a:lnTo>
                    <a:lnTo>
                      <a:pt x="822" y="428"/>
                    </a:lnTo>
                    <a:lnTo>
                      <a:pt x="815" y="423"/>
                    </a:lnTo>
                    <a:lnTo>
                      <a:pt x="810" y="417"/>
                    </a:lnTo>
                    <a:lnTo>
                      <a:pt x="806" y="410"/>
                    </a:lnTo>
                    <a:lnTo>
                      <a:pt x="804" y="402"/>
                    </a:lnTo>
                    <a:lnTo>
                      <a:pt x="803" y="392"/>
                    </a:lnTo>
                    <a:lnTo>
                      <a:pt x="803" y="279"/>
                    </a:lnTo>
                    <a:lnTo>
                      <a:pt x="453" y="279"/>
                    </a:lnTo>
                    <a:lnTo>
                      <a:pt x="453" y="279"/>
                    </a:lnTo>
                    <a:lnTo>
                      <a:pt x="439" y="279"/>
                    </a:lnTo>
                    <a:lnTo>
                      <a:pt x="424" y="278"/>
                    </a:lnTo>
                    <a:lnTo>
                      <a:pt x="409" y="276"/>
                    </a:lnTo>
                    <a:lnTo>
                      <a:pt x="394" y="272"/>
                    </a:lnTo>
                    <a:lnTo>
                      <a:pt x="378" y="268"/>
                    </a:lnTo>
                    <a:lnTo>
                      <a:pt x="363" y="264"/>
                    </a:lnTo>
                    <a:lnTo>
                      <a:pt x="331" y="254"/>
                    </a:lnTo>
                    <a:lnTo>
                      <a:pt x="301" y="242"/>
                    </a:lnTo>
                    <a:lnTo>
                      <a:pt x="286" y="235"/>
                    </a:lnTo>
                    <a:lnTo>
                      <a:pt x="273" y="227"/>
                    </a:lnTo>
                    <a:lnTo>
                      <a:pt x="258" y="219"/>
                    </a:lnTo>
                    <a:lnTo>
                      <a:pt x="246" y="211"/>
                    </a:lnTo>
                    <a:lnTo>
                      <a:pt x="234" y="202"/>
                    </a:lnTo>
                    <a:lnTo>
                      <a:pt x="223" y="193"/>
                    </a:lnTo>
                    <a:lnTo>
                      <a:pt x="0" y="0"/>
                    </a:lnTo>
                    <a:lnTo>
                      <a:pt x="0" y="930"/>
                    </a:lnTo>
                    <a:lnTo>
                      <a:pt x="0" y="930"/>
                    </a:lnTo>
                    <a:lnTo>
                      <a:pt x="0" y="941"/>
                    </a:lnTo>
                    <a:lnTo>
                      <a:pt x="2" y="953"/>
                    </a:lnTo>
                    <a:lnTo>
                      <a:pt x="4" y="963"/>
                    </a:lnTo>
                    <a:lnTo>
                      <a:pt x="8" y="973"/>
                    </a:lnTo>
                    <a:lnTo>
                      <a:pt x="13" y="982"/>
                    </a:lnTo>
                    <a:lnTo>
                      <a:pt x="18" y="992"/>
                    </a:lnTo>
                    <a:lnTo>
                      <a:pt x="24" y="1000"/>
                    </a:lnTo>
                    <a:lnTo>
                      <a:pt x="31" y="1008"/>
                    </a:lnTo>
                    <a:lnTo>
                      <a:pt x="40" y="1015"/>
                    </a:lnTo>
                    <a:lnTo>
                      <a:pt x="48" y="1021"/>
                    </a:lnTo>
                    <a:lnTo>
                      <a:pt x="57" y="1028"/>
                    </a:lnTo>
                    <a:lnTo>
                      <a:pt x="66" y="1032"/>
                    </a:lnTo>
                    <a:lnTo>
                      <a:pt x="77" y="1036"/>
                    </a:lnTo>
                    <a:lnTo>
                      <a:pt x="87" y="1038"/>
                    </a:lnTo>
                    <a:lnTo>
                      <a:pt x="98" y="1040"/>
                    </a:lnTo>
                    <a:lnTo>
                      <a:pt x="109" y="1041"/>
                    </a:lnTo>
                    <a:lnTo>
                      <a:pt x="172" y="1041"/>
                    </a:lnTo>
                    <a:lnTo>
                      <a:pt x="172" y="1060"/>
                    </a:lnTo>
                    <a:lnTo>
                      <a:pt x="172" y="1060"/>
                    </a:lnTo>
                    <a:lnTo>
                      <a:pt x="173" y="1069"/>
                    </a:lnTo>
                    <a:lnTo>
                      <a:pt x="175" y="1077"/>
                    </a:lnTo>
                    <a:lnTo>
                      <a:pt x="179" y="1085"/>
                    </a:lnTo>
                    <a:lnTo>
                      <a:pt x="185" y="1091"/>
                    </a:lnTo>
                    <a:lnTo>
                      <a:pt x="191" y="1096"/>
                    </a:lnTo>
                    <a:lnTo>
                      <a:pt x="199" y="1100"/>
                    </a:lnTo>
                    <a:lnTo>
                      <a:pt x="207" y="1103"/>
                    </a:lnTo>
                    <a:lnTo>
                      <a:pt x="216" y="1104"/>
                    </a:lnTo>
                    <a:lnTo>
                      <a:pt x="371" y="1104"/>
                    </a:lnTo>
                    <a:lnTo>
                      <a:pt x="371" y="1104"/>
                    </a:lnTo>
                    <a:lnTo>
                      <a:pt x="380" y="1103"/>
                    </a:lnTo>
                    <a:lnTo>
                      <a:pt x="388" y="1100"/>
                    </a:lnTo>
                    <a:lnTo>
                      <a:pt x="396" y="1096"/>
                    </a:lnTo>
                    <a:lnTo>
                      <a:pt x="403" y="1091"/>
                    </a:lnTo>
                    <a:lnTo>
                      <a:pt x="408" y="1085"/>
                    </a:lnTo>
                    <a:lnTo>
                      <a:pt x="412" y="1077"/>
                    </a:lnTo>
                    <a:lnTo>
                      <a:pt x="414" y="1069"/>
                    </a:lnTo>
                    <a:lnTo>
                      <a:pt x="415" y="1060"/>
                    </a:lnTo>
                    <a:lnTo>
                      <a:pt x="415" y="1041"/>
                    </a:lnTo>
                    <a:lnTo>
                      <a:pt x="1443" y="1041"/>
                    </a:lnTo>
                    <a:lnTo>
                      <a:pt x="1443" y="1060"/>
                    </a:lnTo>
                    <a:lnTo>
                      <a:pt x="1443" y="1060"/>
                    </a:lnTo>
                    <a:lnTo>
                      <a:pt x="1444" y="1069"/>
                    </a:lnTo>
                    <a:lnTo>
                      <a:pt x="1447" y="1077"/>
                    </a:lnTo>
                    <a:lnTo>
                      <a:pt x="1451" y="1085"/>
                    </a:lnTo>
                    <a:lnTo>
                      <a:pt x="1457" y="1091"/>
                    </a:lnTo>
                    <a:lnTo>
                      <a:pt x="1463" y="1096"/>
                    </a:lnTo>
                    <a:lnTo>
                      <a:pt x="1471" y="1100"/>
                    </a:lnTo>
                    <a:lnTo>
                      <a:pt x="1479" y="1103"/>
                    </a:lnTo>
                    <a:lnTo>
                      <a:pt x="1487" y="1104"/>
                    </a:lnTo>
                    <a:lnTo>
                      <a:pt x="1643" y="1104"/>
                    </a:lnTo>
                    <a:lnTo>
                      <a:pt x="1643" y="1104"/>
                    </a:lnTo>
                    <a:lnTo>
                      <a:pt x="1653" y="1103"/>
                    </a:lnTo>
                    <a:lnTo>
                      <a:pt x="1661" y="1100"/>
                    </a:lnTo>
                    <a:lnTo>
                      <a:pt x="1668" y="1096"/>
                    </a:lnTo>
                    <a:lnTo>
                      <a:pt x="1674" y="1091"/>
                    </a:lnTo>
                    <a:lnTo>
                      <a:pt x="1680" y="1085"/>
                    </a:lnTo>
                    <a:lnTo>
                      <a:pt x="1684" y="1077"/>
                    </a:lnTo>
                    <a:lnTo>
                      <a:pt x="1686" y="1069"/>
                    </a:lnTo>
                    <a:lnTo>
                      <a:pt x="1687" y="1060"/>
                    </a:lnTo>
                    <a:lnTo>
                      <a:pt x="1687" y="1041"/>
                    </a:lnTo>
                    <a:lnTo>
                      <a:pt x="1750" y="1041"/>
                    </a:lnTo>
                    <a:lnTo>
                      <a:pt x="1750" y="1041"/>
                    </a:lnTo>
                    <a:lnTo>
                      <a:pt x="1761" y="1040"/>
                    </a:lnTo>
                    <a:lnTo>
                      <a:pt x="1773" y="1038"/>
                    </a:lnTo>
                    <a:lnTo>
                      <a:pt x="1783" y="1036"/>
                    </a:lnTo>
                    <a:lnTo>
                      <a:pt x="1793" y="1032"/>
                    </a:lnTo>
                    <a:lnTo>
                      <a:pt x="1802" y="1028"/>
                    </a:lnTo>
                    <a:lnTo>
                      <a:pt x="1812" y="1021"/>
                    </a:lnTo>
                    <a:lnTo>
                      <a:pt x="1820" y="1015"/>
                    </a:lnTo>
                    <a:lnTo>
                      <a:pt x="1828" y="1008"/>
                    </a:lnTo>
                    <a:lnTo>
                      <a:pt x="1835" y="1000"/>
                    </a:lnTo>
                    <a:lnTo>
                      <a:pt x="1841" y="992"/>
                    </a:lnTo>
                    <a:lnTo>
                      <a:pt x="1847" y="982"/>
                    </a:lnTo>
                    <a:lnTo>
                      <a:pt x="1852" y="973"/>
                    </a:lnTo>
                    <a:lnTo>
                      <a:pt x="1855" y="963"/>
                    </a:lnTo>
                    <a:lnTo>
                      <a:pt x="1858" y="953"/>
                    </a:lnTo>
                    <a:lnTo>
                      <a:pt x="1860" y="941"/>
                    </a:lnTo>
                    <a:lnTo>
                      <a:pt x="1860" y="930"/>
                    </a:lnTo>
                    <a:lnTo>
                      <a:pt x="1860" y="0"/>
                    </a:lnTo>
                    <a:lnTo>
                      <a:pt x="1636" y="193"/>
                    </a:lnTo>
                    <a:lnTo>
                      <a:pt x="1636" y="193"/>
                    </a:lnTo>
                    <a:lnTo>
                      <a:pt x="1625" y="202"/>
                    </a:lnTo>
                    <a:lnTo>
                      <a:pt x="1614" y="211"/>
                    </a:lnTo>
                    <a:lnTo>
                      <a:pt x="1600" y="219"/>
                    </a:lnTo>
                    <a:lnTo>
                      <a:pt x="1587" y="227"/>
                    </a:lnTo>
                    <a:lnTo>
                      <a:pt x="1573" y="235"/>
                    </a:lnTo>
                    <a:lnTo>
                      <a:pt x="1558" y="242"/>
                    </a:lnTo>
                    <a:lnTo>
                      <a:pt x="1527" y="254"/>
                    </a:lnTo>
                    <a:lnTo>
                      <a:pt x="1497" y="264"/>
                    </a:lnTo>
                    <a:lnTo>
                      <a:pt x="1481" y="268"/>
                    </a:lnTo>
                    <a:lnTo>
                      <a:pt x="1465" y="272"/>
                    </a:lnTo>
                    <a:lnTo>
                      <a:pt x="1449" y="276"/>
                    </a:lnTo>
                    <a:lnTo>
                      <a:pt x="1435" y="278"/>
                    </a:lnTo>
                    <a:lnTo>
                      <a:pt x="1420" y="279"/>
                    </a:lnTo>
                    <a:lnTo>
                      <a:pt x="1406" y="279"/>
                    </a:lnTo>
                    <a:lnTo>
                      <a:pt x="1406"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DC548"/>
                  </a:solidFill>
                  <a:effectLst/>
                  <a:uLnTx/>
                  <a:uFillTx/>
                </a:endParaRPr>
              </a:p>
            </p:txBody>
          </p:sp>
        </p:grpSp>
      </p:grpSp>
      <p:sp>
        <p:nvSpPr>
          <p:cNvPr id="3531" name="Freeform 2285"/>
          <p:cNvSpPr>
            <a:spLocks/>
          </p:cNvSpPr>
          <p:nvPr/>
        </p:nvSpPr>
        <p:spPr bwMode="auto">
          <a:xfrm>
            <a:off x="7097714" y="5514976"/>
            <a:ext cx="2555875" cy="342900"/>
          </a:xfrm>
          <a:custGeom>
            <a:avLst/>
            <a:gdLst>
              <a:gd name="T0" fmla="*/ 9598 w 9663"/>
              <a:gd name="T1" fmla="*/ 0 h 1291"/>
              <a:gd name="T2" fmla="*/ 0 w 9663"/>
              <a:gd name="T3" fmla="*/ 1115 h 1291"/>
              <a:gd name="T4" fmla="*/ 0 w 9663"/>
              <a:gd name="T5" fmla="*/ 1291 h 1291"/>
              <a:gd name="T6" fmla="*/ 9663 w 9663"/>
              <a:gd name="T7" fmla="*/ 169 h 1291"/>
              <a:gd name="T8" fmla="*/ 9598 w 9663"/>
              <a:gd name="T9" fmla="*/ 0 h 1291"/>
            </a:gdLst>
            <a:ahLst/>
            <a:cxnLst>
              <a:cxn ang="0">
                <a:pos x="T0" y="T1"/>
              </a:cxn>
              <a:cxn ang="0">
                <a:pos x="T2" y="T3"/>
              </a:cxn>
              <a:cxn ang="0">
                <a:pos x="T4" y="T5"/>
              </a:cxn>
              <a:cxn ang="0">
                <a:pos x="T6" y="T7"/>
              </a:cxn>
              <a:cxn ang="0">
                <a:pos x="T8" y="T9"/>
              </a:cxn>
            </a:cxnLst>
            <a:rect l="0" t="0" r="r" b="b"/>
            <a:pathLst>
              <a:path w="9663" h="1291">
                <a:moveTo>
                  <a:pt x="9598" y="0"/>
                </a:moveTo>
                <a:lnTo>
                  <a:pt x="0" y="1115"/>
                </a:lnTo>
                <a:lnTo>
                  <a:pt x="0" y="1291"/>
                </a:lnTo>
                <a:lnTo>
                  <a:pt x="9663" y="169"/>
                </a:lnTo>
                <a:lnTo>
                  <a:pt x="9598"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4" name="Freeform 2288"/>
          <p:cNvSpPr>
            <a:spLocks/>
          </p:cNvSpPr>
          <p:nvPr/>
        </p:nvSpPr>
        <p:spPr bwMode="auto">
          <a:xfrm>
            <a:off x="7248526" y="4787902"/>
            <a:ext cx="706438" cy="1071563"/>
          </a:xfrm>
          <a:custGeom>
            <a:avLst/>
            <a:gdLst>
              <a:gd name="T0" fmla="*/ 0 w 2666"/>
              <a:gd name="T1" fmla="*/ 4050 h 4050"/>
              <a:gd name="T2" fmla="*/ 2666 w 2666"/>
              <a:gd name="T3" fmla="*/ 3748 h 4050"/>
              <a:gd name="T4" fmla="*/ 2666 w 2666"/>
              <a:gd name="T5" fmla="*/ 0 h 4050"/>
              <a:gd name="T6" fmla="*/ 0 w 2666"/>
              <a:gd name="T7" fmla="*/ 281 h 4050"/>
              <a:gd name="T8" fmla="*/ 0 w 2666"/>
              <a:gd name="T9" fmla="*/ 4050 h 4050"/>
            </a:gdLst>
            <a:ahLst/>
            <a:cxnLst>
              <a:cxn ang="0">
                <a:pos x="T0" y="T1"/>
              </a:cxn>
              <a:cxn ang="0">
                <a:pos x="T2" y="T3"/>
              </a:cxn>
              <a:cxn ang="0">
                <a:pos x="T4" y="T5"/>
              </a:cxn>
              <a:cxn ang="0">
                <a:pos x="T6" y="T7"/>
              </a:cxn>
              <a:cxn ang="0">
                <a:pos x="T8" y="T9"/>
              </a:cxn>
            </a:cxnLst>
            <a:rect l="0" t="0" r="r" b="b"/>
            <a:pathLst>
              <a:path w="2666" h="4050">
                <a:moveTo>
                  <a:pt x="0" y="4050"/>
                </a:moveTo>
                <a:lnTo>
                  <a:pt x="2666" y="3748"/>
                </a:lnTo>
                <a:lnTo>
                  <a:pt x="2666" y="0"/>
                </a:lnTo>
                <a:lnTo>
                  <a:pt x="0" y="281"/>
                </a:lnTo>
                <a:lnTo>
                  <a:pt x="0" y="4050"/>
                </a:lnTo>
                <a:close/>
              </a:path>
            </a:pathLst>
          </a:custGeom>
          <a:solidFill>
            <a:srgbClr val="003B4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5" name="Freeform 2289"/>
          <p:cNvSpPr>
            <a:spLocks/>
          </p:cNvSpPr>
          <p:nvPr/>
        </p:nvSpPr>
        <p:spPr bwMode="auto">
          <a:xfrm>
            <a:off x="7764464" y="4811714"/>
            <a:ext cx="123825" cy="631825"/>
          </a:xfrm>
          <a:custGeom>
            <a:avLst/>
            <a:gdLst>
              <a:gd name="T0" fmla="*/ 467 w 467"/>
              <a:gd name="T1" fmla="*/ 115 h 2389"/>
              <a:gd name="T2" fmla="*/ 26 w 467"/>
              <a:gd name="T3" fmla="*/ 0 h 2389"/>
              <a:gd name="T4" fmla="*/ 12 w 467"/>
              <a:gd name="T5" fmla="*/ 1185 h 2389"/>
              <a:gd name="T6" fmla="*/ 0 w 467"/>
              <a:gd name="T7" fmla="*/ 1184 h 2389"/>
              <a:gd name="T8" fmla="*/ 13 w 467"/>
              <a:gd name="T9" fmla="*/ 2356 h 2389"/>
              <a:gd name="T10" fmla="*/ 457 w 467"/>
              <a:gd name="T11" fmla="*/ 2389 h 2389"/>
              <a:gd name="T12" fmla="*/ 467 w 467"/>
              <a:gd name="T13" fmla="*/ 115 h 2389"/>
            </a:gdLst>
            <a:ahLst/>
            <a:cxnLst>
              <a:cxn ang="0">
                <a:pos x="T0" y="T1"/>
              </a:cxn>
              <a:cxn ang="0">
                <a:pos x="T2" y="T3"/>
              </a:cxn>
              <a:cxn ang="0">
                <a:pos x="T4" y="T5"/>
              </a:cxn>
              <a:cxn ang="0">
                <a:pos x="T6" y="T7"/>
              </a:cxn>
              <a:cxn ang="0">
                <a:pos x="T8" y="T9"/>
              </a:cxn>
              <a:cxn ang="0">
                <a:pos x="T10" y="T11"/>
              </a:cxn>
              <a:cxn ang="0">
                <a:pos x="T12" y="T13"/>
              </a:cxn>
            </a:cxnLst>
            <a:rect l="0" t="0" r="r" b="b"/>
            <a:pathLst>
              <a:path w="467" h="2389">
                <a:moveTo>
                  <a:pt x="467" y="115"/>
                </a:moveTo>
                <a:lnTo>
                  <a:pt x="26" y="0"/>
                </a:lnTo>
                <a:lnTo>
                  <a:pt x="12" y="1185"/>
                </a:lnTo>
                <a:lnTo>
                  <a:pt x="0" y="1184"/>
                </a:lnTo>
                <a:lnTo>
                  <a:pt x="13" y="2356"/>
                </a:lnTo>
                <a:lnTo>
                  <a:pt x="457" y="2389"/>
                </a:lnTo>
                <a:lnTo>
                  <a:pt x="467" y="115"/>
                </a:lnTo>
                <a:close/>
              </a:path>
            </a:pathLst>
          </a:custGeom>
          <a:solidFill>
            <a:srgbClr val="003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6" name="Freeform 2290"/>
          <p:cNvSpPr>
            <a:spLocks/>
          </p:cNvSpPr>
          <p:nvPr/>
        </p:nvSpPr>
        <p:spPr bwMode="auto">
          <a:xfrm>
            <a:off x="7251702" y="5103814"/>
            <a:ext cx="631825" cy="85725"/>
          </a:xfrm>
          <a:custGeom>
            <a:avLst/>
            <a:gdLst>
              <a:gd name="T0" fmla="*/ 0 w 2388"/>
              <a:gd name="T1" fmla="*/ 191 h 327"/>
              <a:gd name="T2" fmla="*/ 1947 w 2388"/>
              <a:gd name="T3" fmla="*/ 0 h 327"/>
              <a:gd name="T4" fmla="*/ 2388 w 2388"/>
              <a:gd name="T5" fmla="*/ 115 h 327"/>
              <a:gd name="T6" fmla="*/ 513 w 2388"/>
              <a:gd name="T7" fmla="*/ 327 h 327"/>
              <a:gd name="T8" fmla="*/ 0 w 2388"/>
              <a:gd name="T9" fmla="*/ 191 h 327"/>
            </a:gdLst>
            <a:ahLst/>
            <a:cxnLst>
              <a:cxn ang="0">
                <a:pos x="T0" y="T1"/>
              </a:cxn>
              <a:cxn ang="0">
                <a:pos x="T2" y="T3"/>
              </a:cxn>
              <a:cxn ang="0">
                <a:pos x="T4" y="T5"/>
              </a:cxn>
              <a:cxn ang="0">
                <a:pos x="T6" y="T7"/>
              </a:cxn>
              <a:cxn ang="0">
                <a:pos x="T8" y="T9"/>
              </a:cxn>
            </a:cxnLst>
            <a:rect l="0" t="0" r="r" b="b"/>
            <a:pathLst>
              <a:path w="2388" h="327">
                <a:moveTo>
                  <a:pt x="0" y="191"/>
                </a:moveTo>
                <a:lnTo>
                  <a:pt x="1947" y="0"/>
                </a:lnTo>
                <a:lnTo>
                  <a:pt x="2388" y="115"/>
                </a:lnTo>
                <a:lnTo>
                  <a:pt x="513" y="327"/>
                </a:lnTo>
                <a:lnTo>
                  <a:pt x="0" y="191"/>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7" name="Freeform 2291"/>
          <p:cNvSpPr>
            <a:spLocks/>
          </p:cNvSpPr>
          <p:nvPr/>
        </p:nvSpPr>
        <p:spPr bwMode="auto">
          <a:xfrm>
            <a:off x="7251702" y="5246689"/>
            <a:ext cx="631825" cy="93663"/>
          </a:xfrm>
          <a:custGeom>
            <a:avLst/>
            <a:gdLst>
              <a:gd name="T0" fmla="*/ 0 w 2388"/>
              <a:gd name="T1" fmla="*/ 222 h 357"/>
              <a:gd name="T2" fmla="*/ 1947 w 2388"/>
              <a:gd name="T3" fmla="*/ 0 h 357"/>
              <a:gd name="T4" fmla="*/ 2388 w 2388"/>
              <a:gd name="T5" fmla="*/ 145 h 357"/>
              <a:gd name="T6" fmla="*/ 513 w 2388"/>
              <a:gd name="T7" fmla="*/ 357 h 357"/>
              <a:gd name="T8" fmla="*/ 0 w 2388"/>
              <a:gd name="T9" fmla="*/ 222 h 357"/>
            </a:gdLst>
            <a:ahLst/>
            <a:cxnLst>
              <a:cxn ang="0">
                <a:pos x="T0" y="T1"/>
              </a:cxn>
              <a:cxn ang="0">
                <a:pos x="T2" y="T3"/>
              </a:cxn>
              <a:cxn ang="0">
                <a:pos x="T4" y="T5"/>
              </a:cxn>
              <a:cxn ang="0">
                <a:pos x="T6" y="T7"/>
              </a:cxn>
              <a:cxn ang="0">
                <a:pos x="T8" y="T9"/>
              </a:cxn>
            </a:cxnLst>
            <a:rect l="0" t="0" r="r" b="b"/>
            <a:pathLst>
              <a:path w="2388" h="357">
                <a:moveTo>
                  <a:pt x="0" y="222"/>
                </a:moveTo>
                <a:lnTo>
                  <a:pt x="1947" y="0"/>
                </a:lnTo>
                <a:lnTo>
                  <a:pt x="2388" y="145"/>
                </a:lnTo>
                <a:lnTo>
                  <a:pt x="513" y="357"/>
                </a:lnTo>
                <a:lnTo>
                  <a:pt x="0" y="222"/>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8" name="Freeform 2292"/>
          <p:cNvSpPr>
            <a:spLocks/>
          </p:cNvSpPr>
          <p:nvPr/>
        </p:nvSpPr>
        <p:spPr bwMode="auto">
          <a:xfrm>
            <a:off x="7251702" y="5405438"/>
            <a:ext cx="631825" cy="95250"/>
          </a:xfrm>
          <a:custGeom>
            <a:avLst/>
            <a:gdLst>
              <a:gd name="T0" fmla="*/ 0 w 2388"/>
              <a:gd name="T1" fmla="*/ 220 h 356"/>
              <a:gd name="T2" fmla="*/ 1947 w 2388"/>
              <a:gd name="T3" fmla="*/ 0 h 356"/>
              <a:gd name="T4" fmla="*/ 2388 w 2388"/>
              <a:gd name="T5" fmla="*/ 144 h 356"/>
              <a:gd name="T6" fmla="*/ 513 w 2388"/>
              <a:gd name="T7" fmla="*/ 356 h 356"/>
              <a:gd name="T8" fmla="*/ 0 w 2388"/>
              <a:gd name="T9" fmla="*/ 220 h 356"/>
            </a:gdLst>
            <a:ahLst/>
            <a:cxnLst>
              <a:cxn ang="0">
                <a:pos x="T0" y="T1"/>
              </a:cxn>
              <a:cxn ang="0">
                <a:pos x="T2" y="T3"/>
              </a:cxn>
              <a:cxn ang="0">
                <a:pos x="T4" y="T5"/>
              </a:cxn>
              <a:cxn ang="0">
                <a:pos x="T6" y="T7"/>
              </a:cxn>
              <a:cxn ang="0">
                <a:pos x="T8" y="T9"/>
              </a:cxn>
            </a:cxnLst>
            <a:rect l="0" t="0" r="r" b="b"/>
            <a:pathLst>
              <a:path w="2388" h="356">
                <a:moveTo>
                  <a:pt x="0" y="220"/>
                </a:moveTo>
                <a:lnTo>
                  <a:pt x="1947" y="0"/>
                </a:lnTo>
                <a:lnTo>
                  <a:pt x="2388" y="144"/>
                </a:lnTo>
                <a:lnTo>
                  <a:pt x="513" y="356"/>
                </a:lnTo>
                <a:lnTo>
                  <a:pt x="0" y="220"/>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39" name="Freeform 2293"/>
          <p:cNvSpPr>
            <a:spLocks/>
          </p:cNvSpPr>
          <p:nvPr/>
        </p:nvSpPr>
        <p:spPr bwMode="auto">
          <a:xfrm>
            <a:off x="7285038" y="4811714"/>
            <a:ext cx="603250" cy="73025"/>
          </a:xfrm>
          <a:custGeom>
            <a:avLst/>
            <a:gdLst>
              <a:gd name="T0" fmla="*/ 386 w 2280"/>
              <a:gd name="T1" fmla="*/ 279 h 279"/>
              <a:gd name="T2" fmla="*/ 2280 w 2280"/>
              <a:gd name="T3" fmla="*/ 115 h 279"/>
              <a:gd name="T4" fmla="*/ 1839 w 2280"/>
              <a:gd name="T5" fmla="*/ 0 h 279"/>
              <a:gd name="T6" fmla="*/ 1313 w 2280"/>
              <a:gd name="T7" fmla="*/ 39 h 279"/>
              <a:gd name="T8" fmla="*/ 0 w 2280"/>
              <a:gd name="T9" fmla="*/ 177 h 279"/>
              <a:gd name="T10" fmla="*/ 386 w 2280"/>
              <a:gd name="T11" fmla="*/ 279 h 279"/>
            </a:gdLst>
            <a:ahLst/>
            <a:cxnLst>
              <a:cxn ang="0">
                <a:pos x="T0" y="T1"/>
              </a:cxn>
              <a:cxn ang="0">
                <a:pos x="T2" y="T3"/>
              </a:cxn>
              <a:cxn ang="0">
                <a:pos x="T4" y="T5"/>
              </a:cxn>
              <a:cxn ang="0">
                <a:pos x="T6" y="T7"/>
              </a:cxn>
              <a:cxn ang="0">
                <a:pos x="T8" y="T9"/>
              </a:cxn>
              <a:cxn ang="0">
                <a:pos x="T10" y="T11"/>
              </a:cxn>
            </a:cxnLst>
            <a:rect l="0" t="0" r="r" b="b"/>
            <a:pathLst>
              <a:path w="2280" h="279">
                <a:moveTo>
                  <a:pt x="386" y="279"/>
                </a:moveTo>
                <a:lnTo>
                  <a:pt x="2280" y="115"/>
                </a:lnTo>
                <a:lnTo>
                  <a:pt x="1839" y="0"/>
                </a:lnTo>
                <a:lnTo>
                  <a:pt x="1313" y="39"/>
                </a:lnTo>
                <a:lnTo>
                  <a:pt x="0" y="177"/>
                </a:lnTo>
                <a:lnTo>
                  <a:pt x="386" y="279"/>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0" name="Freeform 2294"/>
          <p:cNvSpPr>
            <a:spLocks/>
          </p:cNvSpPr>
          <p:nvPr/>
        </p:nvSpPr>
        <p:spPr bwMode="auto">
          <a:xfrm>
            <a:off x="7251702" y="4954589"/>
            <a:ext cx="633413" cy="80963"/>
          </a:xfrm>
          <a:custGeom>
            <a:avLst/>
            <a:gdLst>
              <a:gd name="T0" fmla="*/ 0 w 2395"/>
              <a:gd name="T1" fmla="*/ 174 h 311"/>
              <a:gd name="T2" fmla="*/ 1954 w 2395"/>
              <a:gd name="T3" fmla="*/ 0 h 311"/>
              <a:gd name="T4" fmla="*/ 2395 w 2395"/>
              <a:gd name="T5" fmla="*/ 146 h 311"/>
              <a:gd name="T6" fmla="*/ 513 w 2395"/>
              <a:gd name="T7" fmla="*/ 311 h 311"/>
              <a:gd name="T8" fmla="*/ 0 w 2395"/>
              <a:gd name="T9" fmla="*/ 174 h 311"/>
            </a:gdLst>
            <a:ahLst/>
            <a:cxnLst>
              <a:cxn ang="0">
                <a:pos x="T0" y="T1"/>
              </a:cxn>
              <a:cxn ang="0">
                <a:pos x="T2" y="T3"/>
              </a:cxn>
              <a:cxn ang="0">
                <a:pos x="T4" y="T5"/>
              </a:cxn>
              <a:cxn ang="0">
                <a:pos x="T6" y="T7"/>
              </a:cxn>
              <a:cxn ang="0">
                <a:pos x="T8" y="T9"/>
              </a:cxn>
            </a:cxnLst>
            <a:rect l="0" t="0" r="r" b="b"/>
            <a:pathLst>
              <a:path w="2395" h="311">
                <a:moveTo>
                  <a:pt x="0" y="174"/>
                </a:moveTo>
                <a:lnTo>
                  <a:pt x="1954" y="0"/>
                </a:lnTo>
                <a:lnTo>
                  <a:pt x="2395" y="146"/>
                </a:lnTo>
                <a:lnTo>
                  <a:pt x="513" y="311"/>
                </a:lnTo>
                <a:lnTo>
                  <a:pt x="0" y="174"/>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1" name="Freeform 2295"/>
          <p:cNvSpPr>
            <a:spLocks/>
          </p:cNvSpPr>
          <p:nvPr/>
        </p:nvSpPr>
        <p:spPr bwMode="auto">
          <a:xfrm>
            <a:off x="7251702" y="4857751"/>
            <a:ext cx="136525" cy="642938"/>
          </a:xfrm>
          <a:custGeom>
            <a:avLst/>
            <a:gdLst>
              <a:gd name="T0" fmla="*/ 0 w 514"/>
              <a:gd name="T1" fmla="*/ 1118 h 2426"/>
              <a:gd name="T2" fmla="*/ 1 w 514"/>
              <a:gd name="T3" fmla="*/ 2290 h 2426"/>
              <a:gd name="T4" fmla="*/ 514 w 514"/>
              <a:gd name="T5" fmla="*/ 2426 h 2426"/>
              <a:gd name="T6" fmla="*/ 514 w 514"/>
              <a:gd name="T7" fmla="*/ 102 h 2426"/>
              <a:gd name="T8" fmla="*/ 127 w 514"/>
              <a:gd name="T9" fmla="*/ 0 h 2426"/>
              <a:gd name="T10" fmla="*/ 0 w 514"/>
              <a:gd name="T11" fmla="*/ 14 h 2426"/>
              <a:gd name="T12" fmla="*/ 0 w 514"/>
              <a:gd name="T13" fmla="*/ 1118 h 2426"/>
            </a:gdLst>
            <a:ahLst/>
            <a:cxnLst>
              <a:cxn ang="0">
                <a:pos x="T0" y="T1"/>
              </a:cxn>
              <a:cxn ang="0">
                <a:pos x="T2" y="T3"/>
              </a:cxn>
              <a:cxn ang="0">
                <a:pos x="T4" y="T5"/>
              </a:cxn>
              <a:cxn ang="0">
                <a:pos x="T6" y="T7"/>
              </a:cxn>
              <a:cxn ang="0">
                <a:pos x="T8" y="T9"/>
              </a:cxn>
              <a:cxn ang="0">
                <a:pos x="T10" y="T11"/>
              </a:cxn>
              <a:cxn ang="0">
                <a:pos x="T12" y="T13"/>
              </a:cxn>
            </a:cxnLst>
            <a:rect l="0" t="0" r="r" b="b"/>
            <a:pathLst>
              <a:path w="514" h="2426">
                <a:moveTo>
                  <a:pt x="0" y="1118"/>
                </a:moveTo>
                <a:lnTo>
                  <a:pt x="1" y="2290"/>
                </a:lnTo>
                <a:lnTo>
                  <a:pt x="514" y="2426"/>
                </a:lnTo>
                <a:lnTo>
                  <a:pt x="514" y="102"/>
                </a:lnTo>
                <a:lnTo>
                  <a:pt x="127" y="0"/>
                </a:lnTo>
                <a:lnTo>
                  <a:pt x="0" y="14"/>
                </a:lnTo>
                <a:lnTo>
                  <a:pt x="0" y="1118"/>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2" name="Freeform 2296"/>
          <p:cNvSpPr>
            <a:spLocks/>
          </p:cNvSpPr>
          <p:nvPr/>
        </p:nvSpPr>
        <p:spPr bwMode="auto">
          <a:xfrm>
            <a:off x="7894639" y="4787901"/>
            <a:ext cx="60325" cy="992188"/>
          </a:xfrm>
          <a:custGeom>
            <a:avLst/>
            <a:gdLst>
              <a:gd name="T0" fmla="*/ 0 w 228"/>
              <a:gd name="T1" fmla="*/ 23 h 3748"/>
              <a:gd name="T2" fmla="*/ 0 w 228"/>
              <a:gd name="T3" fmla="*/ 3586 h 3748"/>
              <a:gd name="T4" fmla="*/ 228 w 228"/>
              <a:gd name="T5" fmla="*/ 3748 h 3748"/>
              <a:gd name="T6" fmla="*/ 228 w 228"/>
              <a:gd name="T7" fmla="*/ 0 h 3748"/>
              <a:gd name="T8" fmla="*/ 0 w 228"/>
              <a:gd name="T9" fmla="*/ 23 h 3748"/>
            </a:gdLst>
            <a:ahLst/>
            <a:cxnLst>
              <a:cxn ang="0">
                <a:pos x="T0" y="T1"/>
              </a:cxn>
              <a:cxn ang="0">
                <a:pos x="T2" y="T3"/>
              </a:cxn>
              <a:cxn ang="0">
                <a:pos x="T4" y="T5"/>
              </a:cxn>
              <a:cxn ang="0">
                <a:pos x="T6" y="T7"/>
              </a:cxn>
              <a:cxn ang="0">
                <a:pos x="T8" y="T9"/>
              </a:cxn>
            </a:cxnLst>
            <a:rect l="0" t="0" r="r" b="b"/>
            <a:pathLst>
              <a:path w="228" h="3748">
                <a:moveTo>
                  <a:pt x="0" y="23"/>
                </a:moveTo>
                <a:lnTo>
                  <a:pt x="0" y="3586"/>
                </a:lnTo>
                <a:lnTo>
                  <a:pt x="228" y="3748"/>
                </a:lnTo>
                <a:lnTo>
                  <a:pt x="228" y="0"/>
                </a:lnTo>
                <a:lnTo>
                  <a:pt x="0" y="23"/>
                </a:lnTo>
                <a:close/>
              </a:path>
            </a:pathLst>
          </a:custGeom>
          <a:solidFill>
            <a:srgbClr val="016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6" name="Freeform 2300"/>
          <p:cNvSpPr>
            <a:spLocks/>
          </p:cNvSpPr>
          <p:nvPr/>
        </p:nvSpPr>
        <p:spPr bwMode="auto">
          <a:xfrm>
            <a:off x="8274051" y="5402264"/>
            <a:ext cx="1462088" cy="201613"/>
          </a:xfrm>
          <a:custGeom>
            <a:avLst/>
            <a:gdLst>
              <a:gd name="T0" fmla="*/ 0 w 5524"/>
              <a:gd name="T1" fmla="*/ 596 h 761"/>
              <a:gd name="T2" fmla="*/ 5164 w 5524"/>
              <a:gd name="T3" fmla="*/ 0 h 761"/>
              <a:gd name="T4" fmla="*/ 5524 w 5524"/>
              <a:gd name="T5" fmla="*/ 171 h 761"/>
              <a:gd name="T6" fmla="*/ 321 w 5524"/>
              <a:gd name="T7" fmla="*/ 761 h 761"/>
              <a:gd name="T8" fmla="*/ 0 w 5524"/>
              <a:gd name="T9" fmla="*/ 596 h 761"/>
            </a:gdLst>
            <a:ahLst/>
            <a:cxnLst>
              <a:cxn ang="0">
                <a:pos x="T0" y="T1"/>
              </a:cxn>
              <a:cxn ang="0">
                <a:pos x="T2" y="T3"/>
              </a:cxn>
              <a:cxn ang="0">
                <a:pos x="T4" y="T5"/>
              </a:cxn>
              <a:cxn ang="0">
                <a:pos x="T6" y="T7"/>
              </a:cxn>
              <a:cxn ang="0">
                <a:pos x="T8" y="T9"/>
              </a:cxn>
            </a:cxnLst>
            <a:rect l="0" t="0" r="r" b="b"/>
            <a:pathLst>
              <a:path w="5524" h="761">
                <a:moveTo>
                  <a:pt x="0" y="596"/>
                </a:moveTo>
                <a:lnTo>
                  <a:pt x="5164" y="0"/>
                </a:lnTo>
                <a:lnTo>
                  <a:pt x="5524" y="171"/>
                </a:lnTo>
                <a:lnTo>
                  <a:pt x="321" y="761"/>
                </a:lnTo>
                <a:lnTo>
                  <a:pt x="0" y="596"/>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7" name="Freeform 2301"/>
          <p:cNvSpPr>
            <a:spLocks/>
          </p:cNvSpPr>
          <p:nvPr/>
        </p:nvSpPr>
        <p:spPr bwMode="auto">
          <a:xfrm>
            <a:off x="8274051" y="5561014"/>
            <a:ext cx="1462088" cy="201613"/>
          </a:xfrm>
          <a:custGeom>
            <a:avLst/>
            <a:gdLst>
              <a:gd name="T0" fmla="*/ 0 w 5524"/>
              <a:gd name="T1" fmla="*/ 595 h 761"/>
              <a:gd name="T2" fmla="*/ 5164 w 5524"/>
              <a:gd name="T3" fmla="*/ 0 h 761"/>
              <a:gd name="T4" fmla="*/ 5524 w 5524"/>
              <a:gd name="T5" fmla="*/ 169 h 761"/>
              <a:gd name="T6" fmla="*/ 321 w 5524"/>
              <a:gd name="T7" fmla="*/ 761 h 761"/>
              <a:gd name="T8" fmla="*/ 0 w 5524"/>
              <a:gd name="T9" fmla="*/ 595 h 761"/>
            </a:gdLst>
            <a:ahLst/>
            <a:cxnLst>
              <a:cxn ang="0">
                <a:pos x="T0" y="T1"/>
              </a:cxn>
              <a:cxn ang="0">
                <a:pos x="T2" y="T3"/>
              </a:cxn>
              <a:cxn ang="0">
                <a:pos x="T4" y="T5"/>
              </a:cxn>
              <a:cxn ang="0">
                <a:pos x="T6" y="T7"/>
              </a:cxn>
              <a:cxn ang="0">
                <a:pos x="T8" y="T9"/>
              </a:cxn>
            </a:cxnLst>
            <a:rect l="0" t="0" r="r" b="b"/>
            <a:pathLst>
              <a:path w="5524" h="761">
                <a:moveTo>
                  <a:pt x="0" y="595"/>
                </a:moveTo>
                <a:lnTo>
                  <a:pt x="5164" y="0"/>
                </a:lnTo>
                <a:lnTo>
                  <a:pt x="5524" y="169"/>
                </a:lnTo>
                <a:lnTo>
                  <a:pt x="321" y="761"/>
                </a:lnTo>
                <a:lnTo>
                  <a:pt x="0" y="595"/>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8" name="Freeform 2302"/>
          <p:cNvSpPr>
            <a:spLocks/>
          </p:cNvSpPr>
          <p:nvPr/>
        </p:nvSpPr>
        <p:spPr bwMode="auto">
          <a:xfrm>
            <a:off x="8274051" y="5408614"/>
            <a:ext cx="84138" cy="354013"/>
          </a:xfrm>
          <a:custGeom>
            <a:avLst/>
            <a:gdLst>
              <a:gd name="T0" fmla="*/ 0 w 321"/>
              <a:gd name="T1" fmla="*/ 1172 h 1338"/>
              <a:gd name="T2" fmla="*/ 0 w 321"/>
              <a:gd name="T3" fmla="*/ 0 h 1338"/>
              <a:gd name="T4" fmla="*/ 321 w 321"/>
              <a:gd name="T5" fmla="*/ 164 h 1338"/>
              <a:gd name="T6" fmla="*/ 321 w 321"/>
              <a:gd name="T7" fmla="*/ 1338 h 1338"/>
              <a:gd name="T8" fmla="*/ 0 w 321"/>
              <a:gd name="T9" fmla="*/ 1172 h 1338"/>
            </a:gdLst>
            <a:ahLst/>
            <a:cxnLst>
              <a:cxn ang="0">
                <a:pos x="T0" y="T1"/>
              </a:cxn>
              <a:cxn ang="0">
                <a:pos x="T2" y="T3"/>
              </a:cxn>
              <a:cxn ang="0">
                <a:pos x="T4" y="T5"/>
              </a:cxn>
              <a:cxn ang="0">
                <a:pos x="T6" y="T7"/>
              </a:cxn>
              <a:cxn ang="0">
                <a:pos x="T8" y="T9"/>
              </a:cxn>
            </a:cxnLst>
            <a:rect l="0" t="0" r="r" b="b"/>
            <a:pathLst>
              <a:path w="321" h="1338">
                <a:moveTo>
                  <a:pt x="0" y="1172"/>
                </a:moveTo>
                <a:lnTo>
                  <a:pt x="0" y="0"/>
                </a:lnTo>
                <a:lnTo>
                  <a:pt x="321" y="164"/>
                </a:lnTo>
                <a:lnTo>
                  <a:pt x="321" y="1338"/>
                </a:lnTo>
                <a:lnTo>
                  <a:pt x="0" y="1172"/>
                </a:lnTo>
                <a:close/>
              </a:path>
            </a:pathLst>
          </a:custGeom>
          <a:solidFill>
            <a:srgbClr val="003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49" name="Freeform 2303"/>
          <p:cNvSpPr>
            <a:spLocks/>
          </p:cNvSpPr>
          <p:nvPr/>
        </p:nvSpPr>
        <p:spPr bwMode="auto">
          <a:xfrm>
            <a:off x="10112376" y="5430839"/>
            <a:ext cx="88900" cy="288925"/>
          </a:xfrm>
          <a:custGeom>
            <a:avLst/>
            <a:gdLst>
              <a:gd name="T0" fmla="*/ 9 w 333"/>
              <a:gd name="T1" fmla="*/ 1046 h 1093"/>
              <a:gd name="T2" fmla="*/ 0 w 333"/>
              <a:gd name="T3" fmla="*/ 0 h 1093"/>
              <a:gd name="T4" fmla="*/ 323 w 333"/>
              <a:gd name="T5" fmla="*/ 47 h 1093"/>
              <a:gd name="T6" fmla="*/ 333 w 333"/>
              <a:gd name="T7" fmla="*/ 1093 h 1093"/>
              <a:gd name="T8" fmla="*/ 9 w 333"/>
              <a:gd name="T9" fmla="*/ 1046 h 1093"/>
            </a:gdLst>
            <a:ahLst/>
            <a:cxnLst>
              <a:cxn ang="0">
                <a:pos x="T0" y="T1"/>
              </a:cxn>
              <a:cxn ang="0">
                <a:pos x="T2" y="T3"/>
              </a:cxn>
              <a:cxn ang="0">
                <a:pos x="T4" y="T5"/>
              </a:cxn>
              <a:cxn ang="0">
                <a:pos x="T6" y="T7"/>
              </a:cxn>
              <a:cxn ang="0">
                <a:pos x="T8" y="T9"/>
              </a:cxn>
            </a:cxnLst>
            <a:rect l="0" t="0" r="r" b="b"/>
            <a:pathLst>
              <a:path w="333" h="1093">
                <a:moveTo>
                  <a:pt x="9" y="1046"/>
                </a:moveTo>
                <a:lnTo>
                  <a:pt x="0" y="0"/>
                </a:lnTo>
                <a:lnTo>
                  <a:pt x="323" y="47"/>
                </a:lnTo>
                <a:lnTo>
                  <a:pt x="333" y="1093"/>
                </a:lnTo>
                <a:lnTo>
                  <a:pt x="9" y="1046"/>
                </a:lnTo>
                <a:close/>
              </a:path>
            </a:pathLst>
          </a:custGeom>
          <a:solidFill>
            <a:srgbClr val="003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1" name="Freeform 2305"/>
          <p:cNvSpPr>
            <a:spLocks/>
          </p:cNvSpPr>
          <p:nvPr/>
        </p:nvSpPr>
        <p:spPr bwMode="auto">
          <a:xfrm>
            <a:off x="8890001" y="5562602"/>
            <a:ext cx="76200" cy="314325"/>
          </a:xfrm>
          <a:custGeom>
            <a:avLst/>
            <a:gdLst>
              <a:gd name="T0" fmla="*/ 1 w 289"/>
              <a:gd name="T1" fmla="*/ 1044 h 1188"/>
              <a:gd name="T2" fmla="*/ 0 w 289"/>
              <a:gd name="T3" fmla="*/ 0 h 1188"/>
              <a:gd name="T4" fmla="*/ 288 w 289"/>
              <a:gd name="T5" fmla="*/ 142 h 1188"/>
              <a:gd name="T6" fmla="*/ 289 w 289"/>
              <a:gd name="T7" fmla="*/ 1188 h 1188"/>
              <a:gd name="T8" fmla="*/ 1 w 289"/>
              <a:gd name="T9" fmla="*/ 1044 h 1188"/>
            </a:gdLst>
            <a:ahLst/>
            <a:cxnLst>
              <a:cxn ang="0">
                <a:pos x="T0" y="T1"/>
              </a:cxn>
              <a:cxn ang="0">
                <a:pos x="T2" y="T3"/>
              </a:cxn>
              <a:cxn ang="0">
                <a:pos x="T4" y="T5"/>
              </a:cxn>
              <a:cxn ang="0">
                <a:pos x="T6" y="T7"/>
              </a:cxn>
              <a:cxn ang="0">
                <a:pos x="T8" y="T9"/>
              </a:cxn>
            </a:cxnLst>
            <a:rect l="0" t="0" r="r" b="b"/>
            <a:pathLst>
              <a:path w="289" h="1188">
                <a:moveTo>
                  <a:pt x="1" y="1044"/>
                </a:moveTo>
                <a:lnTo>
                  <a:pt x="0" y="0"/>
                </a:lnTo>
                <a:lnTo>
                  <a:pt x="288" y="142"/>
                </a:lnTo>
                <a:lnTo>
                  <a:pt x="289" y="1188"/>
                </a:lnTo>
                <a:lnTo>
                  <a:pt x="1" y="1044"/>
                </a:lnTo>
                <a:close/>
              </a:path>
            </a:pathLst>
          </a:custGeom>
          <a:solidFill>
            <a:srgbClr val="003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2" name="Freeform 2306"/>
          <p:cNvSpPr>
            <a:spLocks/>
          </p:cNvSpPr>
          <p:nvPr/>
        </p:nvSpPr>
        <p:spPr bwMode="auto">
          <a:xfrm>
            <a:off x="7248527" y="5499102"/>
            <a:ext cx="155575" cy="231775"/>
          </a:xfrm>
          <a:custGeom>
            <a:avLst/>
            <a:gdLst>
              <a:gd name="T0" fmla="*/ 0 w 584"/>
              <a:gd name="T1" fmla="*/ 874 h 874"/>
              <a:gd name="T2" fmla="*/ 584 w 584"/>
              <a:gd name="T3" fmla="*/ 773 h 874"/>
              <a:gd name="T4" fmla="*/ 584 w 584"/>
              <a:gd name="T5" fmla="*/ 0 h 874"/>
              <a:gd name="T6" fmla="*/ 0 w 584"/>
              <a:gd name="T7" fmla="*/ 102 h 874"/>
              <a:gd name="T8" fmla="*/ 0 w 584"/>
              <a:gd name="T9" fmla="*/ 874 h 874"/>
            </a:gdLst>
            <a:ahLst/>
            <a:cxnLst>
              <a:cxn ang="0">
                <a:pos x="T0" y="T1"/>
              </a:cxn>
              <a:cxn ang="0">
                <a:pos x="T2" y="T3"/>
              </a:cxn>
              <a:cxn ang="0">
                <a:pos x="T4" y="T5"/>
              </a:cxn>
              <a:cxn ang="0">
                <a:pos x="T6" y="T7"/>
              </a:cxn>
              <a:cxn ang="0">
                <a:pos x="T8" y="T9"/>
              </a:cxn>
            </a:cxnLst>
            <a:rect l="0" t="0" r="r" b="b"/>
            <a:pathLst>
              <a:path w="584" h="874">
                <a:moveTo>
                  <a:pt x="0" y="874"/>
                </a:moveTo>
                <a:lnTo>
                  <a:pt x="584" y="773"/>
                </a:lnTo>
                <a:lnTo>
                  <a:pt x="584" y="0"/>
                </a:lnTo>
                <a:lnTo>
                  <a:pt x="0" y="102"/>
                </a:lnTo>
                <a:lnTo>
                  <a:pt x="0" y="874"/>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3" name="Freeform 2307"/>
          <p:cNvSpPr>
            <a:spLocks/>
          </p:cNvSpPr>
          <p:nvPr/>
        </p:nvSpPr>
        <p:spPr bwMode="auto">
          <a:xfrm>
            <a:off x="7248527" y="5472114"/>
            <a:ext cx="155575" cy="53975"/>
          </a:xfrm>
          <a:custGeom>
            <a:avLst/>
            <a:gdLst>
              <a:gd name="T0" fmla="*/ 0 w 584"/>
              <a:gd name="T1" fmla="*/ 0 h 205"/>
              <a:gd name="T2" fmla="*/ 584 w 584"/>
              <a:gd name="T3" fmla="*/ 103 h 205"/>
              <a:gd name="T4" fmla="*/ 0 w 584"/>
              <a:gd name="T5" fmla="*/ 205 h 205"/>
              <a:gd name="T6" fmla="*/ 0 w 584"/>
              <a:gd name="T7" fmla="*/ 0 h 205"/>
            </a:gdLst>
            <a:ahLst/>
            <a:cxnLst>
              <a:cxn ang="0">
                <a:pos x="T0" y="T1"/>
              </a:cxn>
              <a:cxn ang="0">
                <a:pos x="T2" y="T3"/>
              </a:cxn>
              <a:cxn ang="0">
                <a:pos x="T4" y="T5"/>
              </a:cxn>
              <a:cxn ang="0">
                <a:pos x="T6" y="T7"/>
              </a:cxn>
            </a:cxnLst>
            <a:rect l="0" t="0" r="r" b="b"/>
            <a:pathLst>
              <a:path w="584" h="205">
                <a:moveTo>
                  <a:pt x="0" y="0"/>
                </a:moveTo>
                <a:lnTo>
                  <a:pt x="584" y="103"/>
                </a:lnTo>
                <a:lnTo>
                  <a:pt x="0" y="205"/>
                </a:lnTo>
                <a:lnTo>
                  <a:pt x="0" y="0"/>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4" name="Freeform 2308"/>
          <p:cNvSpPr>
            <a:spLocks/>
          </p:cNvSpPr>
          <p:nvPr/>
        </p:nvSpPr>
        <p:spPr bwMode="auto">
          <a:xfrm>
            <a:off x="10269538" y="4392614"/>
            <a:ext cx="1562100" cy="1235075"/>
          </a:xfrm>
          <a:custGeom>
            <a:avLst/>
            <a:gdLst>
              <a:gd name="T0" fmla="*/ 5902 w 5902"/>
              <a:gd name="T1" fmla="*/ 400 h 4669"/>
              <a:gd name="T2" fmla="*/ 0 w 5902"/>
              <a:gd name="T3" fmla="*/ 0 h 4669"/>
              <a:gd name="T4" fmla="*/ 0 w 5902"/>
              <a:gd name="T5" fmla="*/ 3704 h 4669"/>
              <a:gd name="T6" fmla="*/ 5902 w 5902"/>
              <a:gd name="T7" fmla="*/ 4669 h 4669"/>
              <a:gd name="T8" fmla="*/ 5902 w 5902"/>
              <a:gd name="T9" fmla="*/ 400 h 4669"/>
            </a:gdLst>
            <a:ahLst/>
            <a:cxnLst>
              <a:cxn ang="0">
                <a:pos x="T0" y="T1"/>
              </a:cxn>
              <a:cxn ang="0">
                <a:pos x="T2" y="T3"/>
              </a:cxn>
              <a:cxn ang="0">
                <a:pos x="T4" y="T5"/>
              </a:cxn>
              <a:cxn ang="0">
                <a:pos x="T6" y="T7"/>
              </a:cxn>
              <a:cxn ang="0">
                <a:pos x="T8" y="T9"/>
              </a:cxn>
            </a:cxnLst>
            <a:rect l="0" t="0" r="r" b="b"/>
            <a:pathLst>
              <a:path w="5902" h="4669">
                <a:moveTo>
                  <a:pt x="5902" y="400"/>
                </a:moveTo>
                <a:lnTo>
                  <a:pt x="0" y="0"/>
                </a:lnTo>
                <a:lnTo>
                  <a:pt x="0" y="3704"/>
                </a:lnTo>
                <a:lnTo>
                  <a:pt x="5902" y="4669"/>
                </a:lnTo>
                <a:lnTo>
                  <a:pt x="5902" y="400"/>
                </a:lnTo>
                <a:close/>
              </a:path>
            </a:pathLst>
          </a:custGeom>
          <a:solidFill>
            <a:schemeClr val="accent5">
              <a:lumMod val="75000"/>
              <a:alpha val="62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5" name="Freeform 2309"/>
          <p:cNvSpPr>
            <a:spLocks/>
          </p:cNvSpPr>
          <p:nvPr/>
        </p:nvSpPr>
        <p:spPr bwMode="auto">
          <a:xfrm>
            <a:off x="10296527" y="4394202"/>
            <a:ext cx="1535113" cy="1211263"/>
          </a:xfrm>
          <a:custGeom>
            <a:avLst/>
            <a:gdLst>
              <a:gd name="T0" fmla="*/ 0 w 5798"/>
              <a:gd name="T1" fmla="*/ 3630 h 4578"/>
              <a:gd name="T2" fmla="*/ 5798 w 5798"/>
              <a:gd name="T3" fmla="*/ 4578 h 4578"/>
              <a:gd name="T4" fmla="*/ 5798 w 5798"/>
              <a:gd name="T5" fmla="*/ 393 h 4578"/>
              <a:gd name="T6" fmla="*/ 0 w 5798"/>
              <a:gd name="T7" fmla="*/ 0 h 4578"/>
              <a:gd name="T8" fmla="*/ 0 w 5798"/>
              <a:gd name="T9" fmla="*/ 3630 h 4578"/>
            </a:gdLst>
            <a:ahLst/>
            <a:cxnLst>
              <a:cxn ang="0">
                <a:pos x="T0" y="T1"/>
              </a:cxn>
              <a:cxn ang="0">
                <a:pos x="T2" y="T3"/>
              </a:cxn>
              <a:cxn ang="0">
                <a:pos x="T4" y="T5"/>
              </a:cxn>
              <a:cxn ang="0">
                <a:pos x="T6" y="T7"/>
              </a:cxn>
              <a:cxn ang="0">
                <a:pos x="T8" y="T9"/>
              </a:cxn>
            </a:cxnLst>
            <a:rect l="0" t="0" r="r" b="b"/>
            <a:pathLst>
              <a:path w="5798" h="4578">
                <a:moveTo>
                  <a:pt x="0" y="3630"/>
                </a:moveTo>
                <a:lnTo>
                  <a:pt x="5798" y="4578"/>
                </a:lnTo>
                <a:lnTo>
                  <a:pt x="5798" y="393"/>
                </a:lnTo>
                <a:lnTo>
                  <a:pt x="0" y="0"/>
                </a:lnTo>
                <a:lnTo>
                  <a:pt x="0" y="3630"/>
                </a:lnTo>
                <a:close/>
              </a:path>
            </a:pathLst>
          </a:custGeom>
          <a:solidFill>
            <a:srgbClr val="025666">
              <a:alpha val="59000"/>
            </a:srgb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6" name="Freeform 2310"/>
          <p:cNvSpPr>
            <a:spLocks/>
          </p:cNvSpPr>
          <p:nvPr/>
        </p:nvSpPr>
        <p:spPr bwMode="auto">
          <a:xfrm>
            <a:off x="11350626" y="4856163"/>
            <a:ext cx="190500" cy="209550"/>
          </a:xfrm>
          <a:custGeom>
            <a:avLst/>
            <a:gdLst>
              <a:gd name="T0" fmla="*/ 4 w 717"/>
              <a:gd name="T1" fmla="*/ 599 h 794"/>
              <a:gd name="T2" fmla="*/ 1 w 717"/>
              <a:gd name="T3" fmla="*/ 540 h 794"/>
              <a:gd name="T4" fmla="*/ 16 w 717"/>
              <a:gd name="T5" fmla="*/ 484 h 794"/>
              <a:gd name="T6" fmla="*/ 83 w 717"/>
              <a:gd name="T7" fmla="*/ 368 h 794"/>
              <a:gd name="T8" fmla="*/ 213 w 717"/>
              <a:gd name="T9" fmla="*/ 449 h 794"/>
              <a:gd name="T10" fmla="*/ 150 w 717"/>
              <a:gd name="T11" fmla="*/ 543 h 794"/>
              <a:gd name="T12" fmla="*/ 142 w 717"/>
              <a:gd name="T13" fmla="*/ 563 h 794"/>
              <a:gd name="T14" fmla="*/ 140 w 717"/>
              <a:gd name="T15" fmla="*/ 584 h 794"/>
              <a:gd name="T16" fmla="*/ 142 w 717"/>
              <a:gd name="T17" fmla="*/ 598 h 794"/>
              <a:gd name="T18" fmla="*/ 151 w 717"/>
              <a:gd name="T19" fmla="*/ 620 h 794"/>
              <a:gd name="T20" fmla="*/ 165 w 717"/>
              <a:gd name="T21" fmla="*/ 638 h 794"/>
              <a:gd name="T22" fmla="*/ 178 w 717"/>
              <a:gd name="T23" fmla="*/ 648 h 794"/>
              <a:gd name="T24" fmla="*/ 198 w 717"/>
              <a:gd name="T25" fmla="*/ 659 h 794"/>
              <a:gd name="T26" fmla="*/ 219 w 717"/>
              <a:gd name="T27" fmla="*/ 664 h 794"/>
              <a:gd name="T28" fmla="*/ 235 w 717"/>
              <a:gd name="T29" fmla="*/ 664 h 794"/>
              <a:gd name="T30" fmla="*/ 257 w 717"/>
              <a:gd name="T31" fmla="*/ 659 h 794"/>
              <a:gd name="T32" fmla="*/ 274 w 717"/>
              <a:gd name="T33" fmla="*/ 648 h 794"/>
              <a:gd name="T34" fmla="*/ 285 w 717"/>
              <a:gd name="T35" fmla="*/ 638 h 794"/>
              <a:gd name="T36" fmla="*/ 558 w 717"/>
              <a:gd name="T37" fmla="*/ 273 h 794"/>
              <a:gd name="T38" fmla="*/ 565 w 717"/>
              <a:gd name="T39" fmla="*/ 252 h 794"/>
              <a:gd name="T40" fmla="*/ 564 w 717"/>
              <a:gd name="T41" fmla="*/ 230 h 794"/>
              <a:gd name="T42" fmla="*/ 559 w 717"/>
              <a:gd name="T43" fmla="*/ 213 h 794"/>
              <a:gd name="T44" fmla="*/ 546 w 717"/>
              <a:gd name="T45" fmla="*/ 190 h 794"/>
              <a:gd name="T46" fmla="*/ 527 w 717"/>
              <a:gd name="T47" fmla="*/ 170 h 794"/>
              <a:gd name="T48" fmla="*/ 510 w 717"/>
              <a:gd name="T49" fmla="*/ 159 h 794"/>
              <a:gd name="T50" fmla="*/ 485 w 717"/>
              <a:gd name="T51" fmla="*/ 147 h 794"/>
              <a:gd name="T52" fmla="*/ 460 w 717"/>
              <a:gd name="T53" fmla="*/ 143 h 794"/>
              <a:gd name="T54" fmla="*/ 442 w 717"/>
              <a:gd name="T55" fmla="*/ 144 h 794"/>
              <a:gd name="T56" fmla="*/ 420 w 717"/>
              <a:gd name="T57" fmla="*/ 150 h 794"/>
              <a:gd name="T58" fmla="*/ 404 w 717"/>
              <a:gd name="T59" fmla="*/ 163 h 794"/>
              <a:gd name="T60" fmla="*/ 346 w 717"/>
              <a:gd name="T61" fmla="*/ 249 h 794"/>
              <a:gd name="T62" fmla="*/ 205 w 717"/>
              <a:gd name="T63" fmla="*/ 161 h 794"/>
              <a:gd name="T64" fmla="*/ 253 w 717"/>
              <a:gd name="T65" fmla="*/ 81 h 794"/>
              <a:gd name="T66" fmla="*/ 270 w 717"/>
              <a:gd name="T67" fmla="*/ 56 h 794"/>
              <a:gd name="T68" fmla="*/ 291 w 717"/>
              <a:gd name="T69" fmla="*/ 36 h 794"/>
              <a:gd name="T70" fmla="*/ 316 w 717"/>
              <a:gd name="T71" fmla="*/ 21 h 794"/>
              <a:gd name="T72" fmla="*/ 346 w 717"/>
              <a:gd name="T73" fmla="*/ 9 h 794"/>
              <a:gd name="T74" fmla="*/ 390 w 717"/>
              <a:gd name="T75" fmla="*/ 1 h 794"/>
              <a:gd name="T76" fmla="*/ 464 w 717"/>
              <a:gd name="T77" fmla="*/ 6 h 794"/>
              <a:gd name="T78" fmla="*/ 537 w 717"/>
              <a:gd name="T79" fmla="*/ 32 h 794"/>
              <a:gd name="T80" fmla="*/ 585 w 717"/>
              <a:gd name="T81" fmla="*/ 61 h 794"/>
              <a:gd name="T82" fmla="*/ 647 w 717"/>
              <a:gd name="T83" fmla="*/ 115 h 794"/>
              <a:gd name="T84" fmla="*/ 689 w 717"/>
              <a:gd name="T85" fmla="*/ 178 h 794"/>
              <a:gd name="T86" fmla="*/ 708 w 717"/>
              <a:gd name="T87" fmla="*/ 225 h 794"/>
              <a:gd name="T88" fmla="*/ 717 w 717"/>
              <a:gd name="T89" fmla="*/ 270 h 794"/>
              <a:gd name="T90" fmla="*/ 716 w 717"/>
              <a:gd name="T91" fmla="*/ 302 h 794"/>
              <a:gd name="T92" fmla="*/ 710 w 717"/>
              <a:gd name="T93" fmla="*/ 331 h 794"/>
              <a:gd name="T94" fmla="*/ 699 w 717"/>
              <a:gd name="T95" fmla="*/ 358 h 794"/>
              <a:gd name="T96" fmla="*/ 681 w 717"/>
              <a:gd name="T97" fmla="*/ 383 h 794"/>
              <a:gd name="T98" fmla="*/ 394 w 717"/>
              <a:gd name="T99" fmla="*/ 727 h 794"/>
              <a:gd name="T100" fmla="*/ 350 w 717"/>
              <a:gd name="T101" fmla="*/ 765 h 794"/>
              <a:gd name="T102" fmla="*/ 297 w 717"/>
              <a:gd name="T103" fmla="*/ 788 h 794"/>
              <a:gd name="T104" fmla="*/ 256 w 717"/>
              <a:gd name="T105" fmla="*/ 794 h 794"/>
              <a:gd name="T106" fmla="*/ 195 w 717"/>
              <a:gd name="T107" fmla="*/ 790 h 794"/>
              <a:gd name="T108" fmla="*/ 137 w 717"/>
              <a:gd name="T109" fmla="*/ 770 h 794"/>
              <a:gd name="T110" fmla="*/ 101 w 717"/>
              <a:gd name="T111" fmla="*/ 749 h 794"/>
              <a:gd name="T112" fmla="*/ 55 w 717"/>
              <a:gd name="T113" fmla="*/ 707 h 794"/>
              <a:gd name="T114" fmla="*/ 23 w 717"/>
              <a:gd name="T115" fmla="*/ 657 h 794"/>
              <a:gd name="T116" fmla="*/ 8 w 717"/>
              <a:gd name="T117" fmla="*/ 619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7" h="794">
                <a:moveTo>
                  <a:pt x="8" y="619"/>
                </a:moveTo>
                <a:lnTo>
                  <a:pt x="8" y="619"/>
                </a:lnTo>
                <a:lnTo>
                  <a:pt x="4" y="599"/>
                </a:lnTo>
                <a:lnTo>
                  <a:pt x="1" y="579"/>
                </a:lnTo>
                <a:lnTo>
                  <a:pt x="0" y="560"/>
                </a:lnTo>
                <a:lnTo>
                  <a:pt x="1" y="540"/>
                </a:lnTo>
                <a:lnTo>
                  <a:pt x="4" y="521"/>
                </a:lnTo>
                <a:lnTo>
                  <a:pt x="9" y="503"/>
                </a:lnTo>
                <a:lnTo>
                  <a:pt x="16" y="484"/>
                </a:lnTo>
                <a:lnTo>
                  <a:pt x="25" y="467"/>
                </a:lnTo>
                <a:lnTo>
                  <a:pt x="25" y="467"/>
                </a:lnTo>
                <a:lnTo>
                  <a:pt x="83" y="368"/>
                </a:lnTo>
                <a:lnTo>
                  <a:pt x="83" y="368"/>
                </a:lnTo>
                <a:lnTo>
                  <a:pt x="148" y="407"/>
                </a:lnTo>
                <a:lnTo>
                  <a:pt x="213" y="449"/>
                </a:lnTo>
                <a:lnTo>
                  <a:pt x="213" y="449"/>
                </a:lnTo>
                <a:lnTo>
                  <a:pt x="150" y="543"/>
                </a:lnTo>
                <a:lnTo>
                  <a:pt x="150" y="543"/>
                </a:lnTo>
                <a:lnTo>
                  <a:pt x="147" y="550"/>
                </a:lnTo>
                <a:lnTo>
                  <a:pt x="144" y="557"/>
                </a:lnTo>
                <a:lnTo>
                  <a:pt x="142" y="563"/>
                </a:lnTo>
                <a:lnTo>
                  <a:pt x="140" y="570"/>
                </a:lnTo>
                <a:lnTo>
                  <a:pt x="140" y="577"/>
                </a:lnTo>
                <a:lnTo>
                  <a:pt x="140" y="584"/>
                </a:lnTo>
                <a:lnTo>
                  <a:pt x="141" y="591"/>
                </a:lnTo>
                <a:lnTo>
                  <a:pt x="142" y="598"/>
                </a:lnTo>
                <a:lnTo>
                  <a:pt x="142" y="598"/>
                </a:lnTo>
                <a:lnTo>
                  <a:pt x="145" y="605"/>
                </a:lnTo>
                <a:lnTo>
                  <a:pt x="147" y="613"/>
                </a:lnTo>
                <a:lnTo>
                  <a:pt x="151" y="620"/>
                </a:lnTo>
                <a:lnTo>
                  <a:pt x="155" y="626"/>
                </a:lnTo>
                <a:lnTo>
                  <a:pt x="159" y="632"/>
                </a:lnTo>
                <a:lnTo>
                  <a:pt x="165" y="638"/>
                </a:lnTo>
                <a:lnTo>
                  <a:pt x="171" y="643"/>
                </a:lnTo>
                <a:lnTo>
                  <a:pt x="178" y="648"/>
                </a:lnTo>
                <a:lnTo>
                  <a:pt x="178" y="648"/>
                </a:lnTo>
                <a:lnTo>
                  <a:pt x="184" y="652"/>
                </a:lnTo>
                <a:lnTo>
                  <a:pt x="191" y="656"/>
                </a:lnTo>
                <a:lnTo>
                  <a:pt x="198" y="659"/>
                </a:lnTo>
                <a:lnTo>
                  <a:pt x="205" y="661"/>
                </a:lnTo>
                <a:lnTo>
                  <a:pt x="212" y="663"/>
                </a:lnTo>
                <a:lnTo>
                  <a:pt x="219" y="664"/>
                </a:lnTo>
                <a:lnTo>
                  <a:pt x="228" y="664"/>
                </a:lnTo>
                <a:lnTo>
                  <a:pt x="235" y="664"/>
                </a:lnTo>
                <a:lnTo>
                  <a:pt x="235" y="664"/>
                </a:lnTo>
                <a:lnTo>
                  <a:pt x="243" y="663"/>
                </a:lnTo>
                <a:lnTo>
                  <a:pt x="250" y="661"/>
                </a:lnTo>
                <a:lnTo>
                  <a:pt x="257" y="659"/>
                </a:lnTo>
                <a:lnTo>
                  <a:pt x="263" y="656"/>
                </a:lnTo>
                <a:lnTo>
                  <a:pt x="269" y="652"/>
                </a:lnTo>
                <a:lnTo>
                  <a:pt x="274" y="648"/>
                </a:lnTo>
                <a:lnTo>
                  <a:pt x="280" y="643"/>
                </a:lnTo>
                <a:lnTo>
                  <a:pt x="285" y="638"/>
                </a:lnTo>
                <a:lnTo>
                  <a:pt x="285" y="638"/>
                </a:lnTo>
                <a:lnTo>
                  <a:pt x="554" y="279"/>
                </a:lnTo>
                <a:lnTo>
                  <a:pt x="554" y="279"/>
                </a:lnTo>
                <a:lnTo>
                  <a:pt x="558" y="273"/>
                </a:lnTo>
                <a:lnTo>
                  <a:pt x="561" y="266"/>
                </a:lnTo>
                <a:lnTo>
                  <a:pt x="564" y="260"/>
                </a:lnTo>
                <a:lnTo>
                  <a:pt x="565" y="252"/>
                </a:lnTo>
                <a:lnTo>
                  <a:pt x="565" y="245"/>
                </a:lnTo>
                <a:lnTo>
                  <a:pt x="565" y="237"/>
                </a:lnTo>
                <a:lnTo>
                  <a:pt x="564" y="230"/>
                </a:lnTo>
                <a:lnTo>
                  <a:pt x="562" y="221"/>
                </a:lnTo>
                <a:lnTo>
                  <a:pt x="562" y="221"/>
                </a:lnTo>
                <a:lnTo>
                  <a:pt x="559" y="213"/>
                </a:lnTo>
                <a:lnTo>
                  <a:pt x="555" y="206"/>
                </a:lnTo>
                <a:lnTo>
                  <a:pt x="551" y="198"/>
                </a:lnTo>
                <a:lnTo>
                  <a:pt x="546" y="190"/>
                </a:lnTo>
                <a:lnTo>
                  <a:pt x="541" y="183"/>
                </a:lnTo>
                <a:lnTo>
                  <a:pt x="534" y="176"/>
                </a:lnTo>
                <a:lnTo>
                  <a:pt x="527" y="170"/>
                </a:lnTo>
                <a:lnTo>
                  <a:pt x="518" y="164"/>
                </a:lnTo>
                <a:lnTo>
                  <a:pt x="518" y="164"/>
                </a:lnTo>
                <a:lnTo>
                  <a:pt x="510" y="159"/>
                </a:lnTo>
                <a:lnTo>
                  <a:pt x="502" y="154"/>
                </a:lnTo>
                <a:lnTo>
                  <a:pt x="494" y="150"/>
                </a:lnTo>
                <a:lnTo>
                  <a:pt x="485" y="147"/>
                </a:lnTo>
                <a:lnTo>
                  <a:pt x="477" y="145"/>
                </a:lnTo>
                <a:lnTo>
                  <a:pt x="468" y="144"/>
                </a:lnTo>
                <a:lnTo>
                  <a:pt x="460" y="143"/>
                </a:lnTo>
                <a:lnTo>
                  <a:pt x="450" y="143"/>
                </a:lnTo>
                <a:lnTo>
                  <a:pt x="450" y="143"/>
                </a:lnTo>
                <a:lnTo>
                  <a:pt x="442" y="144"/>
                </a:lnTo>
                <a:lnTo>
                  <a:pt x="434" y="145"/>
                </a:lnTo>
                <a:lnTo>
                  <a:pt x="427" y="147"/>
                </a:lnTo>
                <a:lnTo>
                  <a:pt x="420" y="150"/>
                </a:lnTo>
                <a:lnTo>
                  <a:pt x="414" y="154"/>
                </a:lnTo>
                <a:lnTo>
                  <a:pt x="408" y="158"/>
                </a:lnTo>
                <a:lnTo>
                  <a:pt x="404" y="163"/>
                </a:lnTo>
                <a:lnTo>
                  <a:pt x="398" y="169"/>
                </a:lnTo>
                <a:lnTo>
                  <a:pt x="398" y="169"/>
                </a:lnTo>
                <a:lnTo>
                  <a:pt x="346" y="249"/>
                </a:lnTo>
                <a:lnTo>
                  <a:pt x="346" y="249"/>
                </a:lnTo>
                <a:lnTo>
                  <a:pt x="275" y="204"/>
                </a:lnTo>
                <a:lnTo>
                  <a:pt x="205" y="161"/>
                </a:lnTo>
                <a:lnTo>
                  <a:pt x="205" y="161"/>
                </a:lnTo>
                <a:lnTo>
                  <a:pt x="253" y="81"/>
                </a:lnTo>
                <a:lnTo>
                  <a:pt x="253" y="81"/>
                </a:lnTo>
                <a:lnTo>
                  <a:pt x="258" y="71"/>
                </a:lnTo>
                <a:lnTo>
                  <a:pt x="263" y="63"/>
                </a:lnTo>
                <a:lnTo>
                  <a:pt x="270" y="56"/>
                </a:lnTo>
                <a:lnTo>
                  <a:pt x="276" y="49"/>
                </a:lnTo>
                <a:lnTo>
                  <a:pt x="284" y="42"/>
                </a:lnTo>
                <a:lnTo>
                  <a:pt x="291" y="36"/>
                </a:lnTo>
                <a:lnTo>
                  <a:pt x="299" y="31"/>
                </a:lnTo>
                <a:lnTo>
                  <a:pt x="307" y="26"/>
                </a:lnTo>
                <a:lnTo>
                  <a:pt x="316" y="21"/>
                </a:lnTo>
                <a:lnTo>
                  <a:pt x="325" y="16"/>
                </a:lnTo>
                <a:lnTo>
                  <a:pt x="335" y="12"/>
                </a:lnTo>
                <a:lnTo>
                  <a:pt x="346" y="9"/>
                </a:lnTo>
                <a:lnTo>
                  <a:pt x="367" y="4"/>
                </a:lnTo>
                <a:lnTo>
                  <a:pt x="390" y="1"/>
                </a:lnTo>
                <a:lnTo>
                  <a:pt x="390" y="1"/>
                </a:lnTo>
                <a:lnTo>
                  <a:pt x="415" y="0"/>
                </a:lnTo>
                <a:lnTo>
                  <a:pt x="439" y="2"/>
                </a:lnTo>
                <a:lnTo>
                  <a:pt x="464" y="6"/>
                </a:lnTo>
                <a:lnTo>
                  <a:pt x="488" y="12"/>
                </a:lnTo>
                <a:lnTo>
                  <a:pt x="512" y="22"/>
                </a:lnTo>
                <a:lnTo>
                  <a:pt x="537" y="32"/>
                </a:lnTo>
                <a:lnTo>
                  <a:pt x="561" y="45"/>
                </a:lnTo>
                <a:lnTo>
                  <a:pt x="585" y="61"/>
                </a:lnTo>
                <a:lnTo>
                  <a:pt x="585" y="61"/>
                </a:lnTo>
                <a:lnTo>
                  <a:pt x="608" y="78"/>
                </a:lnTo>
                <a:lnTo>
                  <a:pt x="628" y="96"/>
                </a:lnTo>
                <a:lnTo>
                  <a:pt x="647" y="115"/>
                </a:lnTo>
                <a:lnTo>
                  <a:pt x="663" y="135"/>
                </a:lnTo>
                <a:lnTo>
                  <a:pt x="677" y="157"/>
                </a:lnTo>
                <a:lnTo>
                  <a:pt x="689" y="178"/>
                </a:lnTo>
                <a:lnTo>
                  <a:pt x="700" y="201"/>
                </a:lnTo>
                <a:lnTo>
                  <a:pt x="708" y="225"/>
                </a:lnTo>
                <a:lnTo>
                  <a:pt x="708" y="225"/>
                </a:lnTo>
                <a:lnTo>
                  <a:pt x="714" y="247"/>
                </a:lnTo>
                <a:lnTo>
                  <a:pt x="715" y="260"/>
                </a:lnTo>
                <a:lnTo>
                  <a:pt x="717" y="270"/>
                </a:lnTo>
                <a:lnTo>
                  <a:pt x="717" y="281"/>
                </a:lnTo>
                <a:lnTo>
                  <a:pt x="717" y="291"/>
                </a:lnTo>
                <a:lnTo>
                  <a:pt x="716" y="302"/>
                </a:lnTo>
                <a:lnTo>
                  <a:pt x="715" y="311"/>
                </a:lnTo>
                <a:lnTo>
                  <a:pt x="713" y="322"/>
                </a:lnTo>
                <a:lnTo>
                  <a:pt x="710" y="331"/>
                </a:lnTo>
                <a:lnTo>
                  <a:pt x="707" y="340"/>
                </a:lnTo>
                <a:lnTo>
                  <a:pt x="703" y="349"/>
                </a:lnTo>
                <a:lnTo>
                  <a:pt x="699" y="358"/>
                </a:lnTo>
                <a:lnTo>
                  <a:pt x="693" y="366"/>
                </a:lnTo>
                <a:lnTo>
                  <a:pt x="687" y="375"/>
                </a:lnTo>
                <a:lnTo>
                  <a:pt x="681" y="383"/>
                </a:lnTo>
                <a:lnTo>
                  <a:pt x="681" y="383"/>
                </a:lnTo>
                <a:lnTo>
                  <a:pt x="394" y="727"/>
                </a:lnTo>
                <a:lnTo>
                  <a:pt x="394" y="727"/>
                </a:lnTo>
                <a:lnTo>
                  <a:pt x="380" y="742"/>
                </a:lnTo>
                <a:lnTo>
                  <a:pt x="366" y="754"/>
                </a:lnTo>
                <a:lnTo>
                  <a:pt x="350" y="765"/>
                </a:lnTo>
                <a:lnTo>
                  <a:pt x="333" y="774"/>
                </a:lnTo>
                <a:lnTo>
                  <a:pt x="315" y="781"/>
                </a:lnTo>
                <a:lnTo>
                  <a:pt x="297" y="788"/>
                </a:lnTo>
                <a:lnTo>
                  <a:pt x="276" y="791"/>
                </a:lnTo>
                <a:lnTo>
                  <a:pt x="256" y="794"/>
                </a:lnTo>
                <a:lnTo>
                  <a:pt x="256" y="794"/>
                </a:lnTo>
                <a:lnTo>
                  <a:pt x="235" y="794"/>
                </a:lnTo>
                <a:lnTo>
                  <a:pt x="214" y="793"/>
                </a:lnTo>
                <a:lnTo>
                  <a:pt x="195" y="790"/>
                </a:lnTo>
                <a:lnTo>
                  <a:pt x="175" y="785"/>
                </a:lnTo>
                <a:lnTo>
                  <a:pt x="156" y="778"/>
                </a:lnTo>
                <a:lnTo>
                  <a:pt x="137" y="770"/>
                </a:lnTo>
                <a:lnTo>
                  <a:pt x="119" y="760"/>
                </a:lnTo>
                <a:lnTo>
                  <a:pt x="101" y="749"/>
                </a:lnTo>
                <a:lnTo>
                  <a:pt x="101" y="749"/>
                </a:lnTo>
                <a:lnTo>
                  <a:pt x="84" y="736"/>
                </a:lnTo>
                <a:lnTo>
                  <a:pt x="69" y="722"/>
                </a:lnTo>
                <a:lnTo>
                  <a:pt x="55" y="707"/>
                </a:lnTo>
                <a:lnTo>
                  <a:pt x="43" y="692"/>
                </a:lnTo>
                <a:lnTo>
                  <a:pt x="32" y="676"/>
                </a:lnTo>
                <a:lnTo>
                  <a:pt x="23" y="657"/>
                </a:lnTo>
                <a:lnTo>
                  <a:pt x="15" y="639"/>
                </a:lnTo>
                <a:lnTo>
                  <a:pt x="8" y="619"/>
                </a:lnTo>
                <a:lnTo>
                  <a:pt x="8" y="619"/>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7" name="Freeform 2311"/>
          <p:cNvSpPr>
            <a:spLocks noEditPoints="1"/>
          </p:cNvSpPr>
          <p:nvPr/>
        </p:nvSpPr>
        <p:spPr bwMode="auto">
          <a:xfrm>
            <a:off x="11222038" y="4775201"/>
            <a:ext cx="171450" cy="215900"/>
          </a:xfrm>
          <a:custGeom>
            <a:avLst/>
            <a:gdLst>
              <a:gd name="T0" fmla="*/ 632 w 645"/>
              <a:gd name="T1" fmla="*/ 183 h 820"/>
              <a:gd name="T2" fmla="*/ 643 w 645"/>
              <a:gd name="T3" fmla="*/ 225 h 820"/>
              <a:gd name="T4" fmla="*/ 645 w 645"/>
              <a:gd name="T5" fmla="*/ 254 h 820"/>
              <a:gd name="T6" fmla="*/ 641 w 645"/>
              <a:gd name="T7" fmla="*/ 284 h 820"/>
              <a:gd name="T8" fmla="*/ 631 w 645"/>
              <a:gd name="T9" fmla="*/ 311 h 820"/>
              <a:gd name="T10" fmla="*/ 416 w 645"/>
              <a:gd name="T11" fmla="*/ 716 h 820"/>
              <a:gd name="T12" fmla="*/ 394 w 645"/>
              <a:gd name="T13" fmla="*/ 749 h 820"/>
              <a:gd name="T14" fmla="*/ 351 w 645"/>
              <a:gd name="T15" fmla="*/ 786 h 820"/>
              <a:gd name="T16" fmla="*/ 297 w 645"/>
              <a:gd name="T17" fmla="*/ 811 h 820"/>
              <a:gd name="T18" fmla="*/ 256 w 645"/>
              <a:gd name="T19" fmla="*/ 819 h 820"/>
              <a:gd name="T20" fmla="*/ 197 w 645"/>
              <a:gd name="T21" fmla="*/ 818 h 820"/>
              <a:gd name="T22" fmla="*/ 138 w 645"/>
              <a:gd name="T23" fmla="*/ 801 h 820"/>
              <a:gd name="T24" fmla="*/ 101 w 645"/>
              <a:gd name="T25" fmla="*/ 781 h 820"/>
              <a:gd name="T26" fmla="*/ 57 w 645"/>
              <a:gd name="T27" fmla="*/ 743 h 820"/>
              <a:gd name="T28" fmla="*/ 23 w 645"/>
              <a:gd name="T29" fmla="*/ 693 h 820"/>
              <a:gd name="T30" fmla="*/ 8 w 645"/>
              <a:gd name="T31" fmla="*/ 655 h 820"/>
              <a:gd name="T32" fmla="*/ 0 w 645"/>
              <a:gd name="T33" fmla="*/ 598 h 820"/>
              <a:gd name="T34" fmla="*/ 10 w 645"/>
              <a:gd name="T35" fmla="*/ 540 h 820"/>
              <a:gd name="T36" fmla="*/ 154 w 645"/>
              <a:gd name="T37" fmla="*/ 116 h 820"/>
              <a:gd name="T38" fmla="*/ 172 w 645"/>
              <a:gd name="T39" fmla="*/ 80 h 820"/>
              <a:gd name="T40" fmla="*/ 190 w 645"/>
              <a:gd name="T41" fmla="*/ 57 h 820"/>
              <a:gd name="T42" fmla="*/ 212 w 645"/>
              <a:gd name="T43" fmla="*/ 38 h 820"/>
              <a:gd name="T44" fmla="*/ 251 w 645"/>
              <a:gd name="T45" fmla="*/ 17 h 820"/>
              <a:gd name="T46" fmla="*/ 297 w 645"/>
              <a:gd name="T47" fmla="*/ 4 h 820"/>
              <a:gd name="T48" fmla="*/ 370 w 645"/>
              <a:gd name="T49" fmla="*/ 1 h 820"/>
              <a:gd name="T50" fmla="*/ 447 w 645"/>
              <a:gd name="T51" fmla="*/ 17 h 820"/>
              <a:gd name="T52" fmla="*/ 498 w 645"/>
              <a:gd name="T53" fmla="*/ 40 h 820"/>
              <a:gd name="T54" fmla="*/ 562 w 645"/>
              <a:gd name="T55" fmla="*/ 84 h 820"/>
              <a:gd name="T56" fmla="*/ 610 w 645"/>
              <a:gd name="T57" fmla="*/ 140 h 820"/>
              <a:gd name="T58" fmla="*/ 146 w 645"/>
              <a:gd name="T59" fmla="*/ 589 h 820"/>
              <a:gd name="T60" fmla="*/ 143 w 645"/>
              <a:gd name="T61" fmla="*/ 603 h 820"/>
              <a:gd name="T62" fmla="*/ 142 w 645"/>
              <a:gd name="T63" fmla="*/ 624 h 820"/>
              <a:gd name="T64" fmla="*/ 149 w 645"/>
              <a:gd name="T65" fmla="*/ 645 h 820"/>
              <a:gd name="T66" fmla="*/ 156 w 645"/>
              <a:gd name="T67" fmla="*/ 657 h 820"/>
              <a:gd name="T68" fmla="*/ 173 w 645"/>
              <a:gd name="T69" fmla="*/ 673 h 820"/>
              <a:gd name="T70" fmla="*/ 192 w 645"/>
              <a:gd name="T71" fmla="*/ 685 h 820"/>
              <a:gd name="T72" fmla="*/ 207 w 645"/>
              <a:gd name="T73" fmla="*/ 690 h 820"/>
              <a:gd name="T74" fmla="*/ 229 w 645"/>
              <a:gd name="T75" fmla="*/ 693 h 820"/>
              <a:gd name="T76" fmla="*/ 251 w 645"/>
              <a:gd name="T77" fmla="*/ 689 h 820"/>
              <a:gd name="T78" fmla="*/ 265 w 645"/>
              <a:gd name="T79" fmla="*/ 684 h 820"/>
              <a:gd name="T80" fmla="*/ 282 w 645"/>
              <a:gd name="T81" fmla="*/ 671 h 820"/>
              <a:gd name="T82" fmla="*/ 294 w 645"/>
              <a:gd name="T83" fmla="*/ 653 h 820"/>
              <a:gd name="T84" fmla="*/ 486 w 645"/>
              <a:gd name="T85" fmla="*/ 246 h 820"/>
              <a:gd name="T86" fmla="*/ 491 w 645"/>
              <a:gd name="T87" fmla="*/ 226 h 820"/>
              <a:gd name="T88" fmla="*/ 488 w 645"/>
              <a:gd name="T89" fmla="*/ 204 h 820"/>
              <a:gd name="T90" fmla="*/ 482 w 645"/>
              <a:gd name="T91" fmla="*/ 189 h 820"/>
              <a:gd name="T92" fmla="*/ 465 w 645"/>
              <a:gd name="T93" fmla="*/ 169 h 820"/>
              <a:gd name="T94" fmla="*/ 445 w 645"/>
              <a:gd name="T95" fmla="*/ 152 h 820"/>
              <a:gd name="T96" fmla="*/ 428 w 645"/>
              <a:gd name="T97" fmla="*/ 142 h 820"/>
              <a:gd name="T98" fmla="*/ 401 w 645"/>
              <a:gd name="T99" fmla="*/ 134 h 820"/>
              <a:gd name="T100" fmla="*/ 375 w 645"/>
              <a:gd name="T101" fmla="*/ 133 h 820"/>
              <a:gd name="T102" fmla="*/ 359 w 645"/>
              <a:gd name="T103" fmla="*/ 135 h 820"/>
              <a:gd name="T104" fmla="*/ 336 w 645"/>
              <a:gd name="T105" fmla="*/ 144 h 820"/>
              <a:gd name="T106" fmla="*/ 321 w 645"/>
              <a:gd name="T107" fmla="*/ 160 h 820"/>
              <a:gd name="T108" fmla="*/ 314 w 645"/>
              <a:gd name="T109" fmla="*/ 17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45" h="820">
                <a:moveTo>
                  <a:pt x="622" y="161"/>
                </a:moveTo>
                <a:lnTo>
                  <a:pt x="622" y="161"/>
                </a:lnTo>
                <a:lnTo>
                  <a:pt x="632" y="183"/>
                </a:lnTo>
                <a:lnTo>
                  <a:pt x="639" y="203"/>
                </a:lnTo>
                <a:lnTo>
                  <a:pt x="642" y="215"/>
                </a:lnTo>
                <a:lnTo>
                  <a:pt x="643" y="225"/>
                </a:lnTo>
                <a:lnTo>
                  <a:pt x="645" y="235"/>
                </a:lnTo>
                <a:lnTo>
                  <a:pt x="645" y="245"/>
                </a:lnTo>
                <a:lnTo>
                  <a:pt x="645" y="254"/>
                </a:lnTo>
                <a:lnTo>
                  <a:pt x="644" y="264"/>
                </a:lnTo>
                <a:lnTo>
                  <a:pt x="643" y="274"/>
                </a:lnTo>
                <a:lnTo>
                  <a:pt x="641" y="284"/>
                </a:lnTo>
                <a:lnTo>
                  <a:pt x="639" y="293"/>
                </a:lnTo>
                <a:lnTo>
                  <a:pt x="635" y="302"/>
                </a:lnTo>
                <a:lnTo>
                  <a:pt x="631" y="311"/>
                </a:lnTo>
                <a:lnTo>
                  <a:pt x="627" y="320"/>
                </a:lnTo>
                <a:lnTo>
                  <a:pt x="627" y="320"/>
                </a:lnTo>
                <a:lnTo>
                  <a:pt x="416" y="716"/>
                </a:lnTo>
                <a:lnTo>
                  <a:pt x="416" y="716"/>
                </a:lnTo>
                <a:lnTo>
                  <a:pt x="405" y="733"/>
                </a:lnTo>
                <a:lnTo>
                  <a:pt x="394" y="749"/>
                </a:lnTo>
                <a:lnTo>
                  <a:pt x="381" y="763"/>
                </a:lnTo>
                <a:lnTo>
                  <a:pt x="367" y="775"/>
                </a:lnTo>
                <a:lnTo>
                  <a:pt x="351" y="786"/>
                </a:lnTo>
                <a:lnTo>
                  <a:pt x="334" y="795"/>
                </a:lnTo>
                <a:lnTo>
                  <a:pt x="316" y="804"/>
                </a:lnTo>
                <a:lnTo>
                  <a:pt x="297" y="811"/>
                </a:lnTo>
                <a:lnTo>
                  <a:pt x="297" y="811"/>
                </a:lnTo>
                <a:lnTo>
                  <a:pt x="276" y="816"/>
                </a:lnTo>
                <a:lnTo>
                  <a:pt x="256" y="819"/>
                </a:lnTo>
                <a:lnTo>
                  <a:pt x="237" y="820"/>
                </a:lnTo>
                <a:lnTo>
                  <a:pt x="216" y="820"/>
                </a:lnTo>
                <a:lnTo>
                  <a:pt x="197" y="818"/>
                </a:lnTo>
                <a:lnTo>
                  <a:pt x="178" y="814"/>
                </a:lnTo>
                <a:lnTo>
                  <a:pt x="157" y="808"/>
                </a:lnTo>
                <a:lnTo>
                  <a:pt x="138" y="801"/>
                </a:lnTo>
                <a:lnTo>
                  <a:pt x="138" y="801"/>
                </a:lnTo>
                <a:lnTo>
                  <a:pt x="120" y="791"/>
                </a:lnTo>
                <a:lnTo>
                  <a:pt x="101" y="781"/>
                </a:lnTo>
                <a:lnTo>
                  <a:pt x="85" y="769"/>
                </a:lnTo>
                <a:lnTo>
                  <a:pt x="71" y="757"/>
                </a:lnTo>
                <a:lnTo>
                  <a:pt x="57" y="743"/>
                </a:lnTo>
                <a:lnTo>
                  <a:pt x="44" y="727"/>
                </a:lnTo>
                <a:lnTo>
                  <a:pt x="33" y="710"/>
                </a:lnTo>
                <a:lnTo>
                  <a:pt x="23" y="693"/>
                </a:lnTo>
                <a:lnTo>
                  <a:pt x="23" y="693"/>
                </a:lnTo>
                <a:lnTo>
                  <a:pt x="14" y="673"/>
                </a:lnTo>
                <a:lnTo>
                  <a:pt x="8" y="655"/>
                </a:lnTo>
                <a:lnTo>
                  <a:pt x="3" y="636"/>
                </a:lnTo>
                <a:lnTo>
                  <a:pt x="1" y="616"/>
                </a:lnTo>
                <a:lnTo>
                  <a:pt x="0" y="598"/>
                </a:lnTo>
                <a:lnTo>
                  <a:pt x="1" y="579"/>
                </a:lnTo>
                <a:lnTo>
                  <a:pt x="5" y="559"/>
                </a:lnTo>
                <a:lnTo>
                  <a:pt x="10" y="540"/>
                </a:lnTo>
                <a:lnTo>
                  <a:pt x="10" y="540"/>
                </a:lnTo>
                <a:lnTo>
                  <a:pt x="154" y="116"/>
                </a:lnTo>
                <a:lnTo>
                  <a:pt x="154" y="116"/>
                </a:lnTo>
                <a:lnTo>
                  <a:pt x="162" y="97"/>
                </a:lnTo>
                <a:lnTo>
                  <a:pt x="166" y="88"/>
                </a:lnTo>
                <a:lnTo>
                  <a:pt x="172" y="80"/>
                </a:lnTo>
                <a:lnTo>
                  <a:pt x="177" y="72"/>
                </a:lnTo>
                <a:lnTo>
                  <a:pt x="183" y="64"/>
                </a:lnTo>
                <a:lnTo>
                  <a:pt x="190" y="57"/>
                </a:lnTo>
                <a:lnTo>
                  <a:pt x="197" y="51"/>
                </a:lnTo>
                <a:lnTo>
                  <a:pt x="204" y="44"/>
                </a:lnTo>
                <a:lnTo>
                  <a:pt x="212" y="38"/>
                </a:lnTo>
                <a:lnTo>
                  <a:pt x="221" y="32"/>
                </a:lnTo>
                <a:lnTo>
                  <a:pt x="231" y="27"/>
                </a:lnTo>
                <a:lnTo>
                  <a:pt x="251" y="17"/>
                </a:lnTo>
                <a:lnTo>
                  <a:pt x="273" y="10"/>
                </a:lnTo>
                <a:lnTo>
                  <a:pt x="273" y="10"/>
                </a:lnTo>
                <a:lnTo>
                  <a:pt x="297" y="4"/>
                </a:lnTo>
                <a:lnTo>
                  <a:pt x="321" y="1"/>
                </a:lnTo>
                <a:lnTo>
                  <a:pt x="345" y="0"/>
                </a:lnTo>
                <a:lnTo>
                  <a:pt x="370" y="1"/>
                </a:lnTo>
                <a:lnTo>
                  <a:pt x="395" y="4"/>
                </a:lnTo>
                <a:lnTo>
                  <a:pt x="421" y="10"/>
                </a:lnTo>
                <a:lnTo>
                  <a:pt x="447" y="17"/>
                </a:lnTo>
                <a:lnTo>
                  <a:pt x="473" y="28"/>
                </a:lnTo>
                <a:lnTo>
                  <a:pt x="473" y="28"/>
                </a:lnTo>
                <a:lnTo>
                  <a:pt x="498" y="40"/>
                </a:lnTo>
                <a:lnTo>
                  <a:pt x="521" y="53"/>
                </a:lnTo>
                <a:lnTo>
                  <a:pt x="543" y="68"/>
                </a:lnTo>
                <a:lnTo>
                  <a:pt x="562" y="84"/>
                </a:lnTo>
                <a:lnTo>
                  <a:pt x="580" y="102"/>
                </a:lnTo>
                <a:lnTo>
                  <a:pt x="596" y="120"/>
                </a:lnTo>
                <a:lnTo>
                  <a:pt x="610" y="140"/>
                </a:lnTo>
                <a:lnTo>
                  <a:pt x="622" y="161"/>
                </a:lnTo>
                <a:lnTo>
                  <a:pt x="622" y="161"/>
                </a:lnTo>
                <a:close/>
                <a:moveTo>
                  <a:pt x="146" y="589"/>
                </a:moveTo>
                <a:lnTo>
                  <a:pt x="146" y="589"/>
                </a:lnTo>
                <a:lnTo>
                  <a:pt x="144" y="596"/>
                </a:lnTo>
                <a:lnTo>
                  <a:pt x="143" y="603"/>
                </a:lnTo>
                <a:lnTo>
                  <a:pt x="142" y="610"/>
                </a:lnTo>
                <a:lnTo>
                  <a:pt x="142" y="616"/>
                </a:lnTo>
                <a:lnTo>
                  <a:pt x="142" y="624"/>
                </a:lnTo>
                <a:lnTo>
                  <a:pt x="144" y="631"/>
                </a:lnTo>
                <a:lnTo>
                  <a:pt x="146" y="638"/>
                </a:lnTo>
                <a:lnTo>
                  <a:pt x="149" y="645"/>
                </a:lnTo>
                <a:lnTo>
                  <a:pt x="149" y="645"/>
                </a:lnTo>
                <a:lnTo>
                  <a:pt x="152" y="651"/>
                </a:lnTo>
                <a:lnTo>
                  <a:pt x="156" y="657"/>
                </a:lnTo>
                <a:lnTo>
                  <a:pt x="161" y="663"/>
                </a:lnTo>
                <a:lnTo>
                  <a:pt x="166" y="668"/>
                </a:lnTo>
                <a:lnTo>
                  <a:pt x="173" y="673"/>
                </a:lnTo>
                <a:lnTo>
                  <a:pt x="179" y="677"/>
                </a:lnTo>
                <a:lnTo>
                  <a:pt x="185" y="682"/>
                </a:lnTo>
                <a:lnTo>
                  <a:pt x="192" y="685"/>
                </a:lnTo>
                <a:lnTo>
                  <a:pt x="192" y="685"/>
                </a:lnTo>
                <a:lnTo>
                  <a:pt x="199" y="688"/>
                </a:lnTo>
                <a:lnTo>
                  <a:pt x="207" y="690"/>
                </a:lnTo>
                <a:lnTo>
                  <a:pt x="214" y="692"/>
                </a:lnTo>
                <a:lnTo>
                  <a:pt x="221" y="693"/>
                </a:lnTo>
                <a:lnTo>
                  <a:pt x="229" y="693"/>
                </a:lnTo>
                <a:lnTo>
                  <a:pt x="237" y="692"/>
                </a:lnTo>
                <a:lnTo>
                  <a:pt x="244" y="691"/>
                </a:lnTo>
                <a:lnTo>
                  <a:pt x="251" y="689"/>
                </a:lnTo>
                <a:lnTo>
                  <a:pt x="251" y="689"/>
                </a:lnTo>
                <a:lnTo>
                  <a:pt x="259" y="687"/>
                </a:lnTo>
                <a:lnTo>
                  <a:pt x="265" y="684"/>
                </a:lnTo>
                <a:lnTo>
                  <a:pt x="271" y="680"/>
                </a:lnTo>
                <a:lnTo>
                  <a:pt x="277" y="675"/>
                </a:lnTo>
                <a:lnTo>
                  <a:pt x="282" y="671"/>
                </a:lnTo>
                <a:lnTo>
                  <a:pt x="286" y="665"/>
                </a:lnTo>
                <a:lnTo>
                  <a:pt x="291" y="660"/>
                </a:lnTo>
                <a:lnTo>
                  <a:pt x="294" y="653"/>
                </a:lnTo>
                <a:lnTo>
                  <a:pt x="294" y="653"/>
                </a:lnTo>
                <a:lnTo>
                  <a:pt x="486" y="246"/>
                </a:lnTo>
                <a:lnTo>
                  <a:pt x="486" y="246"/>
                </a:lnTo>
                <a:lnTo>
                  <a:pt x="488" y="240"/>
                </a:lnTo>
                <a:lnTo>
                  <a:pt x="490" y="233"/>
                </a:lnTo>
                <a:lnTo>
                  <a:pt x="491" y="226"/>
                </a:lnTo>
                <a:lnTo>
                  <a:pt x="491" y="219"/>
                </a:lnTo>
                <a:lnTo>
                  <a:pt x="490" y="212"/>
                </a:lnTo>
                <a:lnTo>
                  <a:pt x="488" y="204"/>
                </a:lnTo>
                <a:lnTo>
                  <a:pt x="485" y="197"/>
                </a:lnTo>
                <a:lnTo>
                  <a:pt x="482" y="189"/>
                </a:lnTo>
                <a:lnTo>
                  <a:pt x="482" y="189"/>
                </a:lnTo>
                <a:lnTo>
                  <a:pt x="477" y="182"/>
                </a:lnTo>
                <a:lnTo>
                  <a:pt x="472" y="175"/>
                </a:lnTo>
                <a:lnTo>
                  <a:pt x="465" y="169"/>
                </a:lnTo>
                <a:lnTo>
                  <a:pt x="459" y="163"/>
                </a:lnTo>
                <a:lnTo>
                  <a:pt x="452" y="157"/>
                </a:lnTo>
                <a:lnTo>
                  <a:pt x="445" y="152"/>
                </a:lnTo>
                <a:lnTo>
                  <a:pt x="437" y="147"/>
                </a:lnTo>
                <a:lnTo>
                  <a:pt x="428" y="142"/>
                </a:lnTo>
                <a:lnTo>
                  <a:pt x="428" y="142"/>
                </a:lnTo>
                <a:lnTo>
                  <a:pt x="419" y="139"/>
                </a:lnTo>
                <a:lnTo>
                  <a:pt x="409" y="136"/>
                </a:lnTo>
                <a:lnTo>
                  <a:pt x="401" y="134"/>
                </a:lnTo>
                <a:lnTo>
                  <a:pt x="392" y="133"/>
                </a:lnTo>
                <a:lnTo>
                  <a:pt x="384" y="132"/>
                </a:lnTo>
                <a:lnTo>
                  <a:pt x="375" y="133"/>
                </a:lnTo>
                <a:lnTo>
                  <a:pt x="367" y="134"/>
                </a:lnTo>
                <a:lnTo>
                  <a:pt x="359" y="135"/>
                </a:lnTo>
                <a:lnTo>
                  <a:pt x="359" y="135"/>
                </a:lnTo>
                <a:lnTo>
                  <a:pt x="351" y="138"/>
                </a:lnTo>
                <a:lnTo>
                  <a:pt x="343" y="141"/>
                </a:lnTo>
                <a:lnTo>
                  <a:pt x="336" y="144"/>
                </a:lnTo>
                <a:lnTo>
                  <a:pt x="330" y="149"/>
                </a:lnTo>
                <a:lnTo>
                  <a:pt x="325" y="154"/>
                </a:lnTo>
                <a:lnTo>
                  <a:pt x="321" y="160"/>
                </a:lnTo>
                <a:lnTo>
                  <a:pt x="317" y="166"/>
                </a:lnTo>
                <a:lnTo>
                  <a:pt x="314" y="172"/>
                </a:lnTo>
                <a:lnTo>
                  <a:pt x="314" y="172"/>
                </a:lnTo>
                <a:lnTo>
                  <a:pt x="146" y="589"/>
                </a:lnTo>
                <a:lnTo>
                  <a:pt x="146" y="589"/>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8" name="Freeform 2312"/>
          <p:cNvSpPr>
            <a:spLocks/>
          </p:cNvSpPr>
          <p:nvPr/>
        </p:nvSpPr>
        <p:spPr bwMode="auto">
          <a:xfrm>
            <a:off x="11110914" y="4719638"/>
            <a:ext cx="130175" cy="236538"/>
          </a:xfrm>
          <a:custGeom>
            <a:avLst/>
            <a:gdLst>
              <a:gd name="T0" fmla="*/ 217 w 492"/>
              <a:gd name="T1" fmla="*/ 519 h 892"/>
              <a:gd name="T2" fmla="*/ 217 w 492"/>
              <a:gd name="T3" fmla="*/ 519 h 892"/>
              <a:gd name="T4" fmla="*/ 168 w 492"/>
              <a:gd name="T5" fmla="*/ 508 h 892"/>
              <a:gd name="T6" fmla="*/ 121 w 492"/>
              <a:gd name="T7" fmla="*/ 498 h 892"/>
              <a:gd name="T8" fmla="*/ 72 w 492"/>
              <a:gd name="T9" fmla="*/ 489 h 892"/>
              <a:gd name="T10" fmla="*/ 23 w 492"/>
              <a:gd name="T11" fmla="*/ 480 h 892"/>
              <a:gd name="T12" fmla="*/ 23 w 492"/>
              <a:gd name="T13" fmla="*/ 480 h 892"/>
              <a:gd name="T14" fmla="*/ 43 w 492"/>
              <a:gd name="T15" fmla="*/ 356 h 892"/>
              <a:gd name="T16" fmla="*/ 43 w 492"/>
              <a:gd name="T17" fmla="*/ 356 h 892"/>
              <a:gd name="T18" fmla="*/ 94 w 492"/>
              <a:gd name="T19" fmla="*/ 366 h 892"/>
              <a:gd name="T20" fmla="*/ 145 w 492"/>
              <a:gd name="T21" fmla="*/ 376 h 892"/>
              <a:gd name="T22" fmla="*/ 196 w 492"/>
              <a:gd name="T23" fmla="*/ 386 h 892"/>
              <a:gd name="T24" fmla="*/ 246 w 492"/>
              <a:gd name="T25" fmla="*/ 398 h 892"/>
              <a:gd name="T26" fmla="*/ 246 w 492"/>
              <a:gd name="T27" fmla="*/ 398 h 892"/>
              <a:gd name="T28" fmla="*/ 298 w 492"/>
              <a:gd name="T29" fmla="*/ 179 h 892"/>
              <a:gd name="T30" fmla="*/ 298 w 492"/>
              <a:gd name="T31" fmla="*/ 179 h 892"/>
              <a:gd name="T32" fmla="*/ 223 w 492"/>
              <a:gd name="T33" fmla="*/ 163 h 892"/>
              <a:gd name="T34" fmla="*/ 149 w 492"/>
              <a:gd name="T35" fmla="*/ 148 h 892"/>
              <a:gd name="T36" fmla="*/ 74 w 492"/>
              <a:gd name="T37" fmla="*/ 135 h 892"/>
              <a:gd name="T38" fmla="*/ 0 w 492"/>
              <a:gd name="T39" fmla="*/ 123 h 892"/>
              <a:gd name="T40" fmla="*/ 0 w 492"/>
              <a:gd name="T41" fmla="*/ 123 h 892"/>
              <a:gd name="T42" fmla="*/ 17 w 492"/>
              <a:gd name="T43" fmla="*/ 0 h 892"/>
              <a:gd name="T44" fmla="*/ 17 w 492"/>
              <a:gd name="T45" fmla="*/ 0 h 892"/>
              <a:gd name="T46" fmla="*/ 77 w 492"/>
              <a:gd name="T47" fmla="*/ 9 h 892"/>
              <a:gd name="T48" fmla="*/ 137 w 492"/>
              <a:gd name="T49" fmla="*/ 19 h 892"/>
              <a:gd name="T50" fmla="*/ 197 w 492"/>
              <a:gd name="T51" fmla="*/ 30 h 892"/>
              <a:gd name="T52" fmla="*/ 256 w 492"/>
              <a:gd name="T53" fmla="*/ 42 h 892"/>
              <a:gd name="T54" fmla="*/ 316 w 492"/>
              <a:gd name="T55" fmla="*/ 56 h 892"/>
              <a:gd name="T56" fmla="*/ 375 w 492"/>
              <a:gd name="T57" fmla="*/ 71 h 892"/>
              <a:gd name="T58" fmla="*/ 434 w 492"/>
              <a:gd name="T59" fmla="*/ 86 h 892"/>
              <a:gd name="T60" fmla="*/ 492 w 492"/>
              <a:gd name="T61" fmla="*/ 102 h 892"/>
              <a:gd name="T62" fmla="*/ 492 w 492"/>
              <a:gd name="T63" fmla="*/ 102 h 892"/>
              <a:gd name="T64" fmla="*/ 262 w 492"/>
              <a:gd name="T65" fmla="*/ 892 h 892"/>
              <a:gd name="T66" fmla="*/ 262 w 492"/>
              <a:gd name="T67" fmla="*/ 892 h 892"/>
              <a:gd name="T68" fmla="*/ 200 w 492"/>
              <a:gd name="T69" fmla="*/ 874 h 892"/>
              <a:gd name="T70" fmla="*/ 137 w 492"/>
              <a:gd name="T71" fmla="*/ 858 h 892"/>
              <a:gd name="T72" fmla="*/ 137 w 492"/>
              <a:gd name="T73" fmla="*/ 858 h 892"/>
              <a:gd name="T74" fmla="*/ 217 w 492"/>
              <a:gd name="T75" fmla="*/ 519 h 892"/>
              <a:gd name="T76" fmla="*/ 217 w 492"/>
              <a:gd name="T77" fmla="*/ 519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 h="892">
                <a:moveTo>
                  <a:pt x="217" y="519"/>
                </a:moveTo>
                <a:lnTo>
                  <a:pt x="217" y="519"/>
                </a:lnTo>
                <a:lnTo>
                  <a:pt x="168" y="508"/>
                </a:lnTo>
                <a:lnTo>
                  <a:pt x="121" y="498"/>
                </a:lnTo>
                <a:lnTo>
                  <a:pt x="72" y="489"/>
                </a:lnTo>
                <a:lnTo>
                  <a:pt x="23" y="480"/>
                </a:lnTo>
                <a:lnTo>
                  <a:pt x="23" y="480"/>
                </a:lnTo>
                <a:lnTo>
                  <a:pt x="43" y="356"/>
                </a:lnTo>
                <a:lnTo>
                  <a:pt x="43" y="356"/>
                </a:lnTo>
                <a:lnTo>
                  <a:pt x="94" y="366"/>
                </a:lnTo>
                <a:lnTo>
                  <a:pt x="145" y="376"/>
                </a:lnTo>
                <a:lnTo>
                  <a:pt x="196" y="386"/>
                </a:lnTo>
                <a:lnTo>
                  <a:pt x="246" y="398"/>
                </a:lnTo>
                <a:lnTo>
                  <a:pt x="246" y="398"/>
                </a:lnTo>
                <a:lnTo>
                  <a:pt x="298" y="179"/>
                </a:lnTo>
                <a:lnTo>
                  <a:pt x="298" y="179"/>
                </a:lnTo>
                <a:lnTo>
                  <a:pt x="223" y="163"/>
                </a:lnTo>
                <a:lnTo>
                  <a:pt x="149" y="148"/>
                </a:lnTo>
                <a:lnTo>
                  <a:pt x="74" y="135"/>
                </a:lnTo>
                <a:lnTo>
                  <a:pt x="0" y="123"/>
                </a:lnTo>
                <a:lnTo>
                  <a:pt x="0" y="123"/>
                </a:lnTo>
                <a:lnTo>
                  <a:pt x="17" y="0"/>
                </a:lnTo>
                <a:lnTo>
                  <a:pt x="17" y="0"/>
                </a:lnTo>
                <a:lnTo>
                  <a:pt x="77" y="9"/>
                </a:lnTo>
                <a:lnTo>
                  <a:pt x="137" y="19"/>
                </a:lnTo>
                <a:lnTo>
                  <a:pt x="197" y="30"/>
                </a:lnTo>
                <a:lnTo>
                  <a:pt x="256" y="42"/>
                </a:lnTo>
                <a:lnTo>
                  <a:pt x="316" y="56"/>
                </a:lnTo>
                <a:lnTo>
                  <a:pt x="375" y="71"/>
                </a:lnTo>
                <a:lnTo>
                  <a:pt x="434" y="86"/>
                </a:lnTo>
                <a:lnTo>
                  <a:pt x="492" y="102"/>
                </a:lnTo>
                <a:lnTo>
                  <a:pt x="492" y="102"/>
                </a:lnTo>
                <a:lnTo>
                  <a:pt x="262" y="892"/>
                </a:lnTo>
                <a:lnTo>
                  <a:pt x="262" y="892"/>
                </a:lnTo>
                <a:lnTo>
                  <a:pt x="200" y="874"/>
                </a:lnTo>
                <a:lnTo>
                  <a:pt x="137" y="858"/>
                </a:lnTo>
                <a:lnTo>
                  <a:pt x="137" y="858"/>
                </a:lnTo>
                <a:lnTo>
                  <a:pt x="217" y="519"/>
                </a:lnTo>
                <a:lnTo>
                  <a:pt x="217" y="519"/>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9" name="Freeform 2313"/>
          <p:cNvSpPr>
            <a:spLocks/>
          </p:cNvSpPr>
          <p:nvPr/>
        </p:nvSpPr>
        <p:spPr bwMode="auto">
          <a:xfrm>
            <a:off x="10955338" y="4710113"/>
            <a:ext cx="128588" cy="222250"/>
          </a:xfrm>
          <a:custGeom>
            <a:avLst/>
            <a:gdLst>
              <a:gd name="T0" fmla="*/ 291 w 487"/>
              <a:gd name="T1" fmla="*/ 478 h 836"/>
              <a:gd name="T2" fmla="*/ 291 w 487"/>
              <a:gd name="T3" fmla="*/ 478 h 836"/>
              <a:gd name="T4" fmla="*/ 241 w 487"/>
              <a:gd name="T5" fmla="*/ 475 h 836"/>
              <a:gd name="T6" fmla="*/ 192 w 487"/>
              <a:gd name="T7" fmla="*/ 474 h 836"/>
              <a:gd name="T8" fmla="*/ 142 w 487"/>
              <a:gd name="T9" fmla="*/ 474 h 836"/>
              <a:gd name="T10" fmla="*/ 92 w 487"/>
              <a:gd name="T11" fmla="*/ 474 h 836"/>
              <a:gd name="T12" fmla="*/ 92 w 487"/>
              <a:gd name="T13" fmla="*/ 474 h 836"/>
              <a:gd name="T14" fmla="*/ 90 w 487"/>
              <a:gd name="T15" fmla="*/ 349 h 836"/>
              <a:gd name="T16" fmla="*/ 90 w 487"/>
              <a:gd name="T17" fmla="*/ 349 h 836"/>
              <a:gd name="T18" fmla="*/ 142 w 487"/>
              <a:gd name="T19" fmla="*/ 349 h 836"/>
              <a:gd name="T20" fmla="*/ 194 w 487"/>
              <a:gd name="T21" fmla="*/ 350 h 836"/>
              <a:gd name="T22" fmla="*/ 246 w 487"/>
              <a:gd name="T23" fmla="*/ 351 h 836"/>
              <a:gd name="T24" fmla="*/ 298 w 487"/>
              <a:gd name="T25" fmla="*/ 353 h 836"/>
              <a:gd name="T26" fmla="*/ 298 w 487"/>
              <a:gd name="T27" fmla="*/ 353 h 836"/>
              <a:gd name="T28" fmla="*/ 310 w 487"/>
              <a:gd name="T29" fmla="*/ 129 h 836"/>
              <a:gd name="T30" fmla="*/ 310 w 487"/>
              <a:gd name="T31" fmla="*/ 129 h 836"/>
              <a:gd name="T32" fmla="*/ 234 w 487"/>
              <a:gd name="T33" fmla="*/ 126 h 836"/>
              <a:gd name="T34" fmla="*/ 157 w 487"/>
              <a:gd name="T35" fmla="*/ 125 h 836"/>
              <a:gd name="T36" fmla="*/ 81 w 487"/>
              <a:gd name="T37" fmla="*/ 125 h 836"/>
              <a:gd name="T38" fmla="*/ 5 w 487"/>
              <a:gd name="T39" fmla="*/ 127 h 836"/>
              <a:gd name="T40" fmla="*/ 5 w 487"/>
              <a:gd name="T41" fmla="*/ 127 h 836"/>
              <a:gd name="T42" fmla="*/ 0 w 487"/>
              <a:gd name="T43" fmla="*/ 3 h 836"/>
              <a:gd name="T44" fmla="*/ 0 w 487"/>
              <a:gd name="T45" fmla="*/ 3 h 836"/>
              <a:gd name="T46" fmla="*/ 61 w 487"/>
              <a:gd name="T47" fmla="*/ 1 h 836"/>
              <a:gd name="T48" fmla="*/ 122 w 487"/>
              <a:gd name="T49" fmla="*/ 0 h 836"/>
              <a:gd name="T50" fmla="*/ 183 w 487"/>
              <a:gd name="T51" fmla="*/ 1 h 836"/>
              <a:gd name="T52" fmla="*/ 244 w 487"/>
              <a:gd name="T53" fmla="*/ 2 h 836"/>
              <a:gd name="T54" fmla="*/ 305 w 487"/>
              <a:gd name="T55" fmla="*/ 4 h 836"/>
              <a:gd name="T56" fmla="*/ 366 w 487"/>
              <a:gd name="T57" fmla="*/ 8 h 836"/>
              <a:gd name="T58" fmla="*/ 426 w 487"/>
              <a:gd name="T59" fmla="*/ 13 h 836"/>
              <a:gd name="T60" fmla="*/ 487 w 487"/>
              <a:gd name="T61" fmla="*/ 18 h 836"/>
              <a:gd name="T62" fmla="*/ 487 w 487"/>
              <a:gd name="T63" fmla="*/ 18 h 836"/>
              <a:gd name="T64" fmla="*/ 400 w 487"/>
              <a:gd name="T65" fmla="*/ 836 h 836"/>
              <a:gd name="T66" fmla="*/ 400 w 487"/>
              <a:gd name="T67" fmla="*/ 836 h 836"/>
              <a:gd name="T68" fmla="*/ 336 w 487"/>
              <a:gd name="T69" fmla="*/ 830 h 836"/>
              <a:gd name="T70" fmla="*/ 271 w 487"/>
              <a:gd name="T71" fmla="*/ 826 h 836"/>
              <a:gd name="T72" fmla="*/ 271 w 487"/>
              <a:gd name="T73" fmla="*/ 826 h 836"/>
              <a:gd name="T74" fmla="*/ 291 w 487"/>
              <a:gd name="T75" fmla="*/ 478 h 836"/>
              <a:gd name="T76" fmla="*/ 291 w 487"/>
              <a:gd name="T77" fmla="*/ 478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7" h="836">
                <a:moveTo>
                  <a:pt x="291" y="478"/>
                </a:moveTo>
                <a:lnTo>
                  <a:pt x="291" y="478"/>
                </a:lnTo>
                <a:lnTo>
                  <a:pt x="241" y="475"/>
                </a:lnTo>
                <a:lnTo>
                  <a:pt x="192" y="474"/>
                </a:lnTo>
                <a:lnTo>
                  <a:pt x="142" y="474"/>
                </a:lnTo>
                <a:lnTo>
                  <a:pt x="92" y="474"/>
                </a:lnTo>
                <a:lnTo>
                  <a:pt x="92" y="474"/>
                </a:lnTo>
                <a:lnTo>
                  <a:pt x="90" y="349"/>
                </a:lnTo>
                <a:lnTo>
                  <a:pt x="90" y="349"/>
                </a:lnTo>
                <a:lnTo>
                  <a:pt x="142" y="349"/>
                </a:lnTo>
                <a:lnTo>
                  <a:pt x="194" y="350"/>
                </a:lnTo>
                <a:lnTo>
                  <a:pt x="246" y="351"/>
                </a:lnTo>
                <a:lnTo>
                  <a:pt x="298" y="353"/>
                </a:lnTo>
                <a:lnTo>
                  <a:pt x="298" y="353"/>
                </a:lnTo>
                <a:lnTo>
                  <a:pt x="310" y="129"/>
                </a:lnTo>
                <a:lnTo>
                  <a:pt x="310" y="129"/>
                </a:lnTo>
                <a:lnTo>
                  <a:pt x="234" y="126"/>
                </a:lnTo>
                <a:lnTo>
                  <a:pt x="157" y="125"/>
                </a:lnTo>
                <a:lnTo>
                  <a:pt x="81" y="125"/>
                </a:lnTo>
                <a:lnTo>
                  <a:pt x="5" y="127"/>
                </a:lnTo>
                <a:lnTo>
                  <a:pt x="5" y="127"/>
                </a:lnTo>
                <a:lnTo>
                  <a:pt x="0" y="3"/>
                </a:lnTo>
                <a:lnTo>
                  <a:pt x="0" y="3"/>
                </a:lnTo>
                <a:lnTo>
                  <a:pt x="61" y="1"/>
                </a:lnTo>
                <a:lnTo>
                  <a:pt x="122" y="0"/>
                </a:lnTo>
                <a:lnTo>
                  <a:pt x="183" y="1"/>
                </a:lnTo>
                <a:lnTo>
                  <a:pt x="244" y="2"/>
                </a:lnTo>
                <a:lnTo>
                  <a:pt x="305" y="4"/>
                </a:lnTo>
                <a:lnTo>
                  <a:pt x="366" y="8"/>
                </a:lnTo>
                <a:lnTo>
                  <a:pt x="426" y="13"/>
                </a:lnTo>
                <a:lnTo>
                  <a:pt x="487" y="18"/>
                </a:lnTo>
                <a:lnTo>
                  <a:pt x="487" y="18"/>
                </a:lnTo>
                <a:lnTo>
                  <a:pt x="400" y="836"/>
                </a:lnTo>
                <a:lnTo>
                  <a:pt x="400" y="836"/>
                </a:lnTo>
                <a:lnTo>
                  <a:pt x="336" y="830"/>
                </a:lnTo>
                <a:lnTo>
                  <a:pt x="271" y="826"/>
                </a:lnTo>
                <a:lnTo>
                  <a:pt x="271" y="826"/>
                </a:lnTo>
                <a:lnTo>
                  <a:pt x="291" y="478"/>
                </a:lnTo>
                <a:lnTo>
                  <a:pt x="291" y="478"/>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0" name="Freeform 2314"/>
          <p:cNvSpPr>
            <a:spLocks/>
          </p:cNvSpPr>
          <p:nvPr/>
        </p:nvSpPr>
        <p:spPr bwMode="auto">
          <a:xfrm>
            <a:off x="10795002" y="4713289"/>
            <a:ext cx="144463" cy="231775"/>
          </a:xfrm>
          <a:custGeom>
            <a:avLst/>
            <a:gdLst>
              <a:gd name="T0" fmla="*/ 179 w 546"/>
              <a:gd name="T1" fmla="*/ 875 h 875"/>
              <a:gd name="T2" fmla="*/ 179 w 546"/>
              <a:gd name="T3" fmla="*/ 875 h 875"/>
              <a:gd name="T4" fmla="*/ 151 w 546"/>
              <a:gd name="T5" fmla="*/ 753 h 875"/>
              <a:gd name="T6" fmla="*/ 151 w 546"/>
              <a:gd name="T7" fmla="*/ 753 h 875"/>
              <a:gd name="T8" fmla="*/ 213 w 546"/>
              <a:gd name="T9" fmla="*/ 740 h 875"/>
              <a:gd name="T10" fmla="*/ 276 w 546"/>
              <a:gd name="T11" fmla="*/ 728 h 875"/>
              <a:gd name="T12" fmla="*/ 338 w 546"/>
              <a:gd name="T13" fmla="*/ 718 h 875"/>
              <a:gd name="T14" fmla="*/ 401 w 546"/>
              <a:gd name="T15" fmla="*/ 709 h 875"/>
              <a:gd name="T16" fmla="*/ 401 w 546"/>
              <a:gd name="T17" fmla="*/ 709 h 875"/>
              <a:gd name="T18" fmla="*/ 373 w 546"/>
              <a:gd name="T19" fmla="*/ 487 h 875"/>
              <a:gd name="T20" fmla="*/ 373 w 546"/>
              <a:gd name="T21" fmla="*/ 487 h 875"/>
              <a:gd name="T22" fmla="*/ 323 w 546"/>
              <a:gd name="T23" fmla="*/ 493 h 875"/>
              <a:gd name="T24" fmla="*/ 274 w 546"/>
              <a:gd name="T25" fmla="*/ 502 h 875"/>
              <a:gd name="T26" fmla="*/ 224 w 546"/>
              <a:gd name="T27" fmla="*/ 510 h 875"/>
              <a:gd name="T28" fmla="*/ 176 w 546"/>
              <a:gd name="T29" fmla="*/ 519 h 875"/>
              <a:gd name="T30" fmla="*/ 176 w 546"/>
              <a:gd name="T31" fmla="*/ 519 h 875"/>
              <a:gd name="T32" fmla="*/ 151 w 546"/>
              <a:gd name="T33" fmla="*/ 397 h 875"/>
              <a:gd name="T34" fmla="*/ 151 w 546"/>
              <a:gd name="T35" fmla="*/ 397 h 875"/>
              <a:gd name="T36" fmla="*/ 203 w 546"/>
              <a:gd name="T37" fmla="*/ 388 h 875"/>
              <a:gd name="T38" fmla="*/ 254 w 546"/>
              <a:gd name="T39" fmla="*/ 378 h 875"/>
              <a:gd name="T40" fmla="*/ 306 w 546"/>
              <a:gd name="T41" fmla="*/ 370 h 875"/>
              <a:gd name="T42" fmla="*/ 358 w 546"/>
              <a:gd name="T43" fmla="*/ 363 h 875"/>
              <a:gd name="T44" fmla="*/ 358 w 546"/>
              <a:gd name="T45" fmla="*/ 363 h 875"/>
              <a:gd name="T46" fmla="*/ 329 w 546"/>
              <a:gd name="T47" fmla="*/ 141 h 875"/>
              <a:gd name="T48" fmla="*/ 329 w 546"/>
              <a:gd name="T49" fmla="*/ 141 h 875"/>
              <a:gd name="T50" fmla="*/ 254 w 546"/>
              <a:gd name="T51" fmla="*/ 152 h 875"/>
              <a:gd name="T52" fmla="*/ 178 w 546"/>
              <a:gd name="T53" fmla="*/ 164 h 875"/>
              <a:gd name="T54" fmla="*/ 102 w 546"/>
              <a:gd name="T55" fmla="*/ 178 h 875"/>
              <a:gd name="T56" fmla="*/ 27 w 546"/>
              <a:gd name="T57" fmla="*/ 194 h 875"/>
              <a:gd name="T58" fmla="*/ 27 w 546"/>
              <a:gd name="T59" fmla="*/ 194 h 875"/>
              <a:gd name="T60" fmla="*/ 0 w 546"/>
              <a:gd name="T61" fmla="*/ 72 h 875"/>
              <a:gd name="T62" fmla="*/ 0 w 546"/>
              <a:gd name="T63" fmla="*/ 72 h 875"/>
              <a:gd name="T64" fmla="*/ 60 w 546"/>
              <a:gd name="T65" fmla="*/ 59 h 875"/>
              <a:gd name="T66" fmla="*/ 121 w 546"/>
              <a:gd name="T67" fmla="*/ 48 h 875"/>
              <a:gd name="T68" fmla="*/ 181 w 546"/>
              <a:gd name="T69" fmla="*/ 37 h 875"/>
              <a:gd name="T70" fmla="*/ 242 w 546"/>
              <a:gd name="T71" fmla="*/ 27 h 875"/>
              <a:gd name="T72" fmla="*/ 303 w 546"/>
              <a:gd name="T73" fmla="*/ 19 h 875"/>
              <a:gd name="T74" fmla="*/ 364 w 546"/>
              <a:gd name="T75" fmla="*/ 11 h 875"/>
              <a:gd name="T76" fmla="*/ 425 w 546"/>
              <a:gd name="T77" fmla="*/ 5 h 875"/>
              <a:gd name="T78" fmla="*/ 485 w 546"/>
              <a:gd name="T79" fmla="*/ 0 h 875"/>
              <a:gd name="T80" fmla="*/ 485 w 546"/>
              <a:gd name="T81" fmla="*/ 0 h 875"/>
              <a:gd name="T82" fmla="*/ 546 w 546"/>
              <a:gd name="T83" fmla="*/ 820 h 875"/>
              <a:gd name="T84" fmla="*/ 546 w 546"/>
              <a:gd name="T85" fmla="*/ 820 h 875"/>
              <a:gd name="T86" fmla="*/ 500 w 546"/>
              <a:gd name="T87" fmla="*/ 824 h 875"/>
              <a:gd name="T88" fmla="*/ 454 w 546"/>
              <a:gd name="T89" fmla="*/ 829 h 875"/>
              <a:gd name="T90" fmla="*/ 408 w 546"/>
              <a:gd name="T91" fmla="*/ 834 h 875"/>
              <a:gd name="T92" fmla="*/ 362 w 546"/>
              <a:gd name="T93" fmla="*/ 840 h 875"/>
              <a:gd name="T94" fmla="*/ 316 w 546"/>
              <a:gd name="T95" fmla="*/ 847 h 875"/>
              <a:gd name="T96" fmla="*/ 270 w 546"/>
              <a:gd name="T97" fmla="*/ 856 h 875"/>
              <a:gd name="T98" fmla="*/ 224 w 546"/>
              <a:gd name="T99" fmla="*/ 865 h 875"/>
              <a:gd name="T100" fmla="*/ 179 w 546"/>
              <a:gd name="T101" fmla="*/ 875 h 875"/>
              <a:gd name="T102" fmla="*/ 179 w 546"/>
              <a:gd name="T103" fmla="*/ 875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6" h="875">
                <a:moveTo>
                  <a:pt x="179" y="875"/>
                </a:moveTo>
                <a:lnTo>
                  <a:pt x="179" y="875"/>
                </a:lnTo>
                <a:lnTo>
                  <a:pt x="151" y="753"/>
                </a:lnTo>
                <a:lnTo>
                  <a:pt x="151" y="753"/>
                </a:lnTo>
                <a:lnTo>
                  <a:pt x="213" y="740"/>
                </a:lnTo>
                <a:lnTo>
                  <a:pt x="276" y="728"/>
                </a:lnTo>
                <a:lnTo>
                  <a:pt x="338" y="718"/>
                </a:lnTo>
                <a:lnTo>
                  <a:pt x="401" y="709"/>
                </a:lnTo>
                <a:lnTo>
                  <a:pt x="401" y="709"/>
                </a:lnTo>
                <a:lnTo>
                  <a:pt x="373" y="487"/>
                </a:lnTo>
                <a:lnTo>
                  <a:pt x="373" y="487"/>
                </a:lnTo>
                <a:lnTo>
                  <a:pt x="323" y="493"/>
                </a:lnTo>
                <a:lnTo>
                  <a:pt x="274" y="502"/>
                </a:lnTo>
                <a:lnTo>
                  <a:pt x="224" y="510"/>
                </a:lnTo>
                <a:lnTo>
                  <a:pt x="176" y="519"/>
                </a:lnTo>
                <a:lnTo>
                  <a:pt x="176" y="519"/>
                </a:lnTo>
                <a:lnTo>
                  <a:pt x="151" y="397"/>
                </a:lnTo>
                <a:lnTo>
                  <a:pt x="151" y="397"/>
                </a:lnTo>
                <a:lnTo>
                  <a:pt x="203" y="388"/>
                </a:lnTo>
                <a:lnTo>
                  <a:pt x="254" y="378"/>
                </a:lnTo>
                <a:lnTo>
                  <a:pt x="306" y="370"/>
                </a:lnTo>
                <a:lnTo>
                  <a:pt x="358" y="363"/>
                </a:lnTo>
                <a:lnTo>
                  <a:pt x="358" y="363"/>
                </a:lnTo>
                <a:lnTo>
                  <a:pt x="329" y="141"/>
                </a:lnTo>
                <a:lnTo>
                  <a:pt x="329" y="141"/>
                </a:lnTo>
                <a:lnTo>
                  <a:pt x="254" y="152"/>
                </a:lnTo>
                <a:lnTo>
                  <a:pt x="178" y="164"/>
                </a:lnTo>
                <a:lnTo>
                  <a:pt x="102" y="178"/>
                </a:lnTo>
                <a:lnTo>
                  <a:pt x="27" y="194"/>
                </a:lnTo>
                <a:lnTo>
                  <a:pt x="27" y="194"/>
                </a:lnTo>
                <a:lnTo>
                  <a:pt x="0" y="72"/>
                </a:lnTo>
                <a:lnTo>
                  <a:pt x="0" y="72"/>
                </a:lnTo>
                <a:lnTo>
                  <a:pt x="60" y="59"/>
                </a:lnTo>
                <a:lnTo>
                  <a:pt x="121" y="48"/>
                </a:lnTo>
                <a:lnTo>
                  <a:pt x="181" y="37"/>
                </a:lnTo>
                <a:lnTo>
                  <a:pt x="242" y="27"/>
                </a:lnTo>
                <a:lnTo>
                  <a:pt x="303" y="19"/>
                </a:lnTo>
                <a:lnTo>
                  <a:pt x="364" y="11"/>
                </a:lnTo>
                <a:lnTo>
                  <a:pt x="425" y="5"/>
                </a:lnTo>
                <a:lnTo>
                  <a:pt x="485" y="0"/>
                </a:lnTo>
                <a:lnTo>
                  <a:pt x="485" y="0"/>
                </a:lnTo>
                <a:lnTo>
                  <a:pt x="546" y="820"/>
                </a:lnTo>
                <a:lnTo>
                  <a:pt x="546" y="820"/>
                </a:lnTo>
                <a:lnTo>
                  <a:pt x="500" y="824"/>
                </a:lnTo>
                <a:lnTo>
                  <a:pt x="454" y="829"/>
                </a:lnTo>
                <a:lnTo>
                  <a:pt x="408" y="834"/>
                </a:lnTo>
                <a:lnTo>
                  <a:pt x="362" y="840"/>
                </a:lnTo>
                <a:lnTo>
                  <a:pt x="316" y="847"/>
                </a:lnTo>
                <a:lnTo>
                  <a:pt x="270" y="856"/>
                </a:lnTo>
                <a:lnTo>
                  <a:pt x="224" y="865"/>
                </a:lnTo>
                <a:lnTo>
                  <a:pt x="179" y="875"/>
                </a:lnTo>
                <a:lnTo>
                  <a:pt x="179" y="875"/>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61" name="Freeform 2315"/>
          <p:cNvSpPr>
            <a:spLocks/>
          </p:cNvSpPr>
          <p:nvPr/>
        </p:nvSpPr>
        <p:spPr bwMode="auto">
          <a:xfrm>
            <a:off x="10639427" y="4740276"/>
            <a:ext cx="180975" cy="242888"/>
          </a:xfrm>
          <a:custGeom>
            <a:avLst/>
            <a:gdLst>
              <a:gd name="T0" fmla="*/ 322 w 680"/>
              <a:gd name="T1" fmla="*/ 917 h 917"/>
              <a:gd name="T2" fmla="*/ 322 w 680"/>
              <a:gd name="T3" fmla="*/ 917 h 917"/>
              <a:gd name="T4" fmla="*/ 273 w 680"/>
              <a:gd name="T5" fmla="*/ 802 h 917"/>
              <a:gd name="T6" fmla="*/ 273 w 680"/>
              <a:gd name="T7" fmla="*/ 802 h 917"/>
              <a:gd name="T8" fmla="*/ 333 w 680"/>
              <a:gd name="T9" fmla="*/ 778 h 917"/>
              <a:gd name="T10" fmla="*/ 393 w 680"/>
              <a:gd name="T11" fmla="*/ 755 h 917"/>
              <a:gd name="T12" fmla="*/ 454 w 680"/>
              <a:gd name="T13" fmla="*/ 733 h 917"/>
              <a:gd name="T14" fmla="*/ 515 w 680"/>
              <a:gd name="T15" fmla="*/ 713 h 917"/>
              <a:gd name="T16" fmla="*/ 515 w 680"/>
              <a:gd name="T17" fmla="*/ 713 h 917"/>
              <a:gd name="T18" fmla="*/ 447 w 680"/>
              <a:gd name="T19" fmla="*/ 499 h 917"/>
              <a:gd name="T20" fmla="*/ 447 w 680"/>
              <a:gd name="T21" fmla="*/ 499 h 917"/>
              <a:gd name="T22" fmla="*/ 400 w 680"/>
              <a:gd name="T23" fmla="*/ 514 h 917"/>
              <a:gd name="T24" fmla="*/ 351 w 680"/>
              <a:gd name="T25" fmla="*/ 532 h 917"/>
              <a:gd name="T26" fmla="*/ 303 w 680"/>
              <a:gd name="T27" fmla="*/ 549 h 917"/>
              <a:gd name="T28" fmla="*/ 255 w 680"/>
              <a:gd name="T29" fmla="*/ 567 h 917"/>
              <a:gd name="T30" fmla="*/ 255 w 680"/>
              <a:gd name="T31" fmla="*/ 567 h 917"/>
              <a:gd name="T32" fmla="*/ 209 w 680"/>
              <a:gd name="T33" fmla="*/ 451 h 917"/>
              <a:gd name="T34" fmla="*/ 209 w 680"/>
              <a:gd name="T35" fmla="*/ 451 h 917"/>
              <a:gd name="T36" fmla="*/ 259 w 680"/>
              <a:gd name="T37" fmla="*/ 433 h 917"/>
              <a:gd name="T38" fmla="*/ 309 w 680"/>
              <a:gd name="T39" fmla="*/ 415 h 917"/>
              <a:gd name="T40" fmla="*/ 360 w 680"/>
              <a:gd name="T41" fmla="*/ 396 h 917"/>
              <a:gd name="T42" fmla="*/ 410 w 680"/>
              <a:gd name="T43" fmla="*/ 380 h 917"/>
              <a:gd name="T44" fmla="*/ 410 w 680"/>
              <a:gd name="T45" fmla="*/ 380 h 917"/>
              <a:gd name="T46" fmla="*/ 343 w 680"/>
              <a:gd name="T47" fmla="*/ 167 h 917"/>
              <a:gd name="T48" fmla="*/ 343 w 680"/>
              <a:gd name="T49" fmla="*/ 167 h 917"/>
              <a:gd name="T50" fmla="*/ 268 w 680"/>
              <a:gd name="T51" fmla="*/ 191 h 917"/>
              <a:gd name="T52" fmla="*/ 194 w 680"/>
              <a:gd name="T53" fmla="*/ 217 h 917"/>
              <a:gd name="T54" fmla="*/ 121 w 680"/>
              <a:gd name="T55" fmla="*/ 246 h 917"/>
              <a:gd name="T56" fmla="*/ 49 w 680"/>
              <a:gd name="T57" fmla="*/ 275 h 917"/>
              <a:gd name="T58" fmla="*/ 49 w 680"/>
              <a:gd name="T59" fmla="*/ 275 h 917"/>
              <a:gd name="T60" fmla="*/ 0 w 680"/>
              <a:gd name="T61" fmla="*/ 161 h 917"/>
              <a:gd name="T62" fmla="*/ 0 w 680"/>
              <a:gd name="T63" fmla="*/ 161 h 917"/>
              <a:gd name="T64" fmla="*/ 58 w 680"/>
              <a:gd name="T65" fmla="*/ 137 h 917"/>
              <a:gd name="T66" fmla="*/ 116 w 680"/>
              <a:gd name="T67" fmla="*/ 114 h 917"/>
              <a:gd name="T68" fmla="*/ 175 w 680"/>
              <a:gd name="T69" fmla="*/ 92 h 917"/>
              <a:gd name="T70" fmla="*/ 234 w 680"/>
              <a:gd name="T71" fmla="*/ 71 h 917"/>
              <a:gd name="T72" fmla="*/ 293 w 680"/>
              <a:gd name="T73" fmla="*/ 52 h 917"/>
              <a:gd name="T74" fmla="*/ 353 w 680"/>
              <a:gd name="T75" fmla="*/ 33 h 917"/>
              <a:gd name="T76" fmla="*/ 413 w 680"/>
              <a:gd name="T77" fmla="*/ 16 h 917"/>
              <a:gd name="T78" fmla="*/ 473 w 680"/>
              <a:gd name="T79" fmla="*/ 0 h 917"/>
              <a:gd name="T80" fmla="*/ 473 w 680"/>
              <a:gd name="T81" fmla="*/ 0 h 917"/>
              <a:gd name="T82" fmla="*/ 680 w 680"/>
              <a:gd name="T83" fmla="*/ 795 h 917"/>
              <a:gd name="T84" fmla="*/ 680 w 680"/>
              <a:gd name="T85" fmla="*/ 795 h 917"/>
              <a:gd name="T86" fmla="*/ 634 w 680"/>
              <a:gd name="T87" fmla="*/ 807 h 917"/>
              <a:gd name="T88" fmla="*/ 590 w 680"/>
              <a:gd name="T89" fmla="*/ 821 h 917"/>
              <a:gd name="T90" fmla="*/ 544 w 680"/>
              <a:gd name="T91" fmla="*/ 834 h 917"/>
              <a:gd name="T92" fmla="*/ 499 w 680"/>
              <a:gd name="T93" fmla="*/ 849 h 917"/>
              <a:gd name="T94" fmla="*/ 454 w 680"/>
              <a:gd name="T95" fmla="*/ 865 h 917"/>
              <a:gd name="T96" fmla="*/ 411 w 680"/>
              <a:gd name="T97" fmla="*/ 882 h 917"/>
              <a:gd name="T98" fmla="*/ 366 w 680"/>
              <a:gd name="T99" fmla="*/ 899 h 917"/>
              <a:gd name="T100" fmla="*/ 322 w 680"/>
              <a:gd name="T101" fmla="*/ 917 h 917"/>
              <a:gd name="T102" fmla="*/ 322 w 680"/>
              <a:gd name="T103" fmla="*/ 917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0" h="917">
                <a:moveTo>
                  <a:pt x="322" y="917"/>
                </a:moveTo>
                <a:lnTo>
                  <a:pt x="322" y="917"/>
                </a:lnTo>
                <a:lnTo>
                  <a:pt x="273" y="802"/>
                </a:lnTo>
                <a:lnTo>
                  <a:pt x="273" y="802"/>
                </a:lnTo>
                <a:lnTo>
                  <a:pt x="333" y="778"/>
                </a:lnTo>
                <a:lnTo>
                  <a:pt x="393" y="755"/>
                </a:lnTo>
                <a:lnTo>
                  <a:pt x="454" y="733"/>
                </a:lnTo>
                <a:lnTo>
                  <a:pt x="515" y="713"/>
                </a:lnTo>
                <a:lnTo>
                  <a:pt x="515" y="713"/>
                </a:lnTo>
                <a:lnTo>
                  <a:pt x="447" y="499"/>
                </a:lnTo>
                <a:lnTo>
                  <a:pt x="447" y="499"/>
                </a:lnTo>
                <a:lnTo>
                  <a:pt x="400" y="514"/>
                </a:lnTo>
                <a:lnTo>
                  <a:pt x="351" y="532"/>
                </a:lnTo>
                <a:lnTo>
                  <a:pt x="303" y="549"/>
                </a:lnTo>
                <a:lnTo>
                  <a:pt x="255" y="567"/>
                </a:lnTo>
                <a:lnTo>
                  <a:pt x="255" y="567"/>
                </a:lnTo>
                <a:lnTo>
                  <a:pt x="209" y="451"/>
                </a:lnTo>
                <a:lnTo>
                  <a:pt x="209" y="451"/>
                </a:lnTo>
                <a:lnTo>
                  <a:pt x="259" y="433"/>
                </a:lnTo>
                <a:lnTo>
                  <a:pt x="309" y="415"/>
                </a:lnTo>
                <a:lnTo>
                  <a:pt x="360" y="396"/>
                </a:lnTo>
                <a:lnTo>
                  <a:pt x="410" y="380"/>
                </a:lnTo>
                <a:lnTo>
                  <a:pt x="410" y="380"/>
                </a:lnTo>
                <a:lnTo>
                  <a:pt x="343" y="167"/>
                </a:lnTo>
                <a:lnTo>
                  <a:pt x="343" y="167"/>
                </a:lnTo>
                <a:lnTo>
                  <a:pt x="268" y="191"/>
                </a:lnTo>
                <a:lnTo>
                  <a:pt x="194" y="217"/>
                </a:lnTo>
                <a:lnTo>
                  <a:pt x="121" y="246"/>
                </a:lnTo>
                <a:lnTo>
                  <a:pt x="49" y="275"/>
                </a:lnTo>
                <a:lnTo>
                  <a:pt x="49" y="275"/>
                </a:lnTo>
                <a:lnTo>
                  <a:pt x="0" y="161"/>
                </a:lnTo>
                <a:lnTo>
                  <a:pt x="0" y="161"/>
                </a:lnTo>
                <a:lnTo>
                  <a:pt x="58" y="137"/>
                </a:lnTo>
                <a:lnTo>
                  <a:pt x="116" y="114"/>
                </a:lnTo>
                <a:lnTo>
                  <a:pt x="175" y="92"/>
                </a:lnTo>
                <a:lnTo>
                  <a:pt x="234" y="71"/>
                </a:lnTo>
                <a:lnTo>
                  <a:pt x="293" y="52"/>
                </a:lnTo>
                <a:lnTo>
                  <a:pt x="353" y="33"/>
                </a:lnTo>
                <a:lnTo>
                  <a:pt x="413" y="16"/>
                </a:lnTo>
                <a:lnTo>
                  <a:pt x="473" y="0"/>
                </a:lnTo>
                <a:lnTo>
                  <a:pt x="473" y="0"/>
                </a:lnTo>
                <a:lnTo>
                  <a:pt x="680" y="795"/>
                </a:lnTo>
                <a:lnTo>
                  <a:pt x="680" y="795"/>
                </a:lnTo>
                <a:lnTo>
                  <a:pt x="634" y="807"/>
                </a:lnTo>
                <a:lnTo>
                  <a:pt x="590" y="821"/>
                </a:lnTo>
                <a:lnTo>
                  <a:pt x="544" y="834"/>
                </a:lnTo>
                <a:lnTo>
                  <a:pt x="499" y="849"/>
                </a:lnTo>
                <a:lnTo>
                  <a:pt x="454" y="865"/>
                </a:lnTo>
                <a:lnTo>
                  <a:pt x="411" y="882"/>
                </a:lnTo>
                <a:lnTo>
                  <a:pt x="366" y="899"/>
                </a:lnTo>
                <a:lnTo>
                  <a:pt x="322" y="917"/>
                </a:lnTo>
                <a:lnTo>
                  <a:pt x="322" y="917"/>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3" name="Freeform 2337"/>
          <p:cNvSpPr>
            <a:spLocks/>
          </p:cNvSpPr>
          <p:nvPr/>
        </p:nvSpPr>
        <p:spPr bwMode="auto">
          <a:xfrm>
            <a:off x="7419976" y="5095877"/>
            <a:ext cx="46038" cy="66675"/>
          </a:xfrm>
          <a:custGeom>
            <a:avLst/>
            <a:gdLst>
              <a:gd name="T0" fmla="*/ 171 w 171"/>
              <a:gd name="T1" fmla="*/ 72 h 252"/>
              <a:gd name="T2" fmla="*/ 170 w 171"/>
              <a:gd name="T3" fmla="*/ 57 h 252"/>
              <a:gd name="T4" fmla="*/ 166 w 171"/>
              <a:gd name="T5" fmla="*/ 43 h 252"/>
              <a:gd name="T6" fmla="*/ 159 w 171"/>
              <a:gd name="T7" fmla="*/ 31 h 252"/>
              <a:gd name="T8" fmla="*/ 151 w 171"/>
              <a:gd name="T9" fmla="*/ 21 h 252"/>
              <a:gd name="T10" fmla="*/ 140 w 171"/>
              <a:gd name="T11" fmla="*/ 12 h 252"/>
              <a:gd name="T12" fmla="*/ 127 w 171"/>
              <a:gd name="T13" fmla="*/ 5 h 252"/>
              <a:gd name="T14" fmla="*/ 114 w 171"/>
              <a:gd name="T15" fmla="*/ 1 h 252"/>
              <a:gd name="T16" fmla="*/ 99 w 171"/>
              <a:gd name="T17" fmla="*/ 0 h 252"/>
              <a:gd name="T18" fmla="*/ 73 w 171"/>
              <a:gd name="T19" fmla="*/ 0 h 252"/>
              <a:gd name="T20" fmla="*/ 57 w 171"/>
              <a:gd name="T21" fmla="*/ 1 h 252"/>
              <a:gd name="T22" fmla="*/ 44 w 171"/>
              <a:gd name="T23" fmla="*/ 5 h 252"/>
              <a:gd name="T24" fmla="*/ 32 w 171"/>
              <a:gd name="T25" fmla="*/ 12 h 252"/>
              <a:gd name="T26" fmla="*/ 22 w 171"/>
              <a:gd name="T27" fmla="*/ 21 h 252"/>
              <a:gd name="T28" fmla="*/ 13 w 171"/>
              <a:gd name="T29" fmla="*/ 31 h 252"/>
              <a:gd name="T30" fmla="*/ 5 w 171"/>
              <a:gd name="T31" fmla="*/ 43 h 252"/>
              <a:gd name="T32" fmla="*/ 1 w 171"/>
              <a:gd name="T33" fmla="*/ 57 h 252"/>
              <a:gd name="T34" fmla="*/ 0 w 171"/>
              <a:gd name="T35" fmla="*/ 72 h 252"/>
              <a:gd name="T36" fmla="*/ 0 w 171"/>
              <a:gd name="T37" fmla="*/ 180 h 252"/>
              <a:gd name="T38" fmla="*/ 1 w 171"/>
              <a:gd name="T39" fmla="*/ 194 h 252"/>
              <a:gd name="T40" fmla="*/ 5 w 171"/>
              <a:gd name="T41" fmla="*/ 208 h 252"/>
              <a:gd name="T42" fmla="*/ 13 w 171"/>
              <a:gd name="T43" fmla="*/ 220 h 252"/>
              <a:gd name="T44" fmla="*/ 22 w 171"/>
              <a:gd name="T45" fmla="*/ 231 h 252"/>
              <a:gd name="T46" fmla="*/ 32 w 171"/>
              <a:gd name="T47" fmla="*/ 240 h 252"/>
              <a:gd name="T48" fmla="*/ 44 w 171"/>
              <a:gd name="T49" fmla="*/ 246 h 252"/>
              <a:gd name="T50" fmla="*/ 57 w 171"/>
              <a:gd name="T51" fmla="*/ 250 h 252"/>
              <a:gd name="T52" fmla="*/ 73 w 171"/>
              <a:gd name="T53" fmla="*/ 252 h 252"/>
              <a:gd name="T54" fmla="*/ 99 w 171"/>
              <a:gd name="T55" fmla="*/ 252 h 252"/>
              <a:gd name="T56" fmla="*/ 114 w 171"/>
              <a:gd name="T57" fmla="*/ 250 h 252"/>
              <a:gd name="T58" fmla="*/ 127 w 171"/>
              <a:gd name="T59" fmla="*/ 246 h 252"/>
              <a:gd name="T60" fmla="*/ 140 w 171"/>
              <a:gd name="T61" fmla="*/ 240 h 252"/>
              <a:gd name="T62" fmla="*/ 151 w 171"/>
              <a:gd name="T63" fmla="*/ 231 h 252"/>
              <a:gd name="T64" fmla="*/ 159 w 171"/>
              <a:gd name="T65" fmla="*/ 220 h 252"/>
              <a:gd name="T66" fmla="*/ 166 w 171"/>
              <a:gd name="T67" fmla="*/ 208 h 252"/>
              <a:gd name="T68" fmla="*/ 170 w 171"/>
              <a:gd name="T69" fmla="*/ 194 h 252"/>
              <a:gd name="T70" fmla="*/ 171 w 171"/>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 h="252">
                <a:moveTo>
                  <a:pt x="171" y="72"/>
                </a:moveTo>
                <a:lnTo>
                  <a:pt x="171" y="72"/>
                </a:lnTo>
                <a:lnTo>
                  <a:pt x="171" y="65"/>
                </a:lnTo>
                <a:lnTo>
                  <a:pt x="170" y="57"/>
                </a:lnTo>
                <a:lnTo>
                  <a:pt x="168" y="50"/>
                </a:lnTo>
                <a:lnTo>
                  <a:pt x="166" y="43"/>
                </a:lnTo>
                <a:lnTo>
                  <a:pt x="163" y="37"/>
                </a:lnTo>
                <a:lnTo>
                  <a:pt x="159" y="31"/>
                </a:lnTo>
                <a:lnTo>
                  <a:pt x="155" y="26"/>
                </a:lnTo>
                <a:lnTo>
                  <a:pt x="151" y="21"/>
                </a:lnTo>
                <a:lnTo>
                  <a:pt x="146" y="16"/>
                </a:lnTo>
                <a:lnTo>
                  <a:pt x="140" y="12"/>
                </a:lnTo>
                <a:lnTo>
                  <a:pt x="134" y="8"/>
                </a:lnTo>
                <a:lnTo>
                  <a:pt x="127" y="5"/>
                </a:lnTo>
                <a:lnTo>
                  <a:pt x="121" y="3"/>
                </a:lnTo>
                <a:lnTo>
                  <a:pt x="114" y="1"/>
                </a:lnTo>
                <a:lnTo>
                  <a:pt x="107" y="0"/>
                </a:lnTo>
                <a:lnTo>
                  <a:pt x="99" y="0"/>
                </a:lnTo>
                <a:lnTo>
                  <a:pt x="73" y="0"/>
                </a:lnTo>
                <a:lnTo>
                  <a:pt x="73" y="0"/>
                </a:lnTo>
                <a:lnTo>
                  <a:pt x="65" y="0"/>
                </a:lnTo>
                <a:lnTo>
                  <a:pt x="57" y="1"/>
                </a:lnTo>
                <a:lnTo>
                  <a:pt x="51" y="3"/>
                </a:lnTo>
                <a:lnTo>
                  <a:pt x="44" y="5"/>
                </a:lnTo>
                <a:lnTo>
                  <a:pt x="38" y="8"/>
                </a:lnTo>
                <a:lnTo>
                  <a:pt x="32" y="12"/>
                </a:lnTo>
                <a:lnTo>
                  <a:pt x="27" y="16"/>
                </a:lnTo>
                <a:lnTo>
                  <a:pt x="22" y="21"/>
                </a:lnTo>
                <a:lnTo>
                  <a:pt x="17" y="26"/>
                </a:lnTo>
                <a:lnTo>
                  <a:pt x="13" y="31"/>
                </a:lnTo>
                <a:lnTo>
                  <a:pt x="9" y="37"/>
                </a:lnTo>
                <a:lnTo>
                  <a:pt x="5" y="43"/>
                </a:lnTo>
                <a:lnTo>
                  <a:pt x="3" y="50"/>
                </a:lnTo>
                <a:lnTo>
                  <a:pt x="1" y="57"/>
                </a:lnTo>
                <a:lnTo>
                  <a:pt x="0" y="65"/>
                </a:lnTo>
                <a:lnTo>
                  <a:pt x="0" y="72"/>
                </a:lnTo>
                <a:lnTo>
                  <a:pt x="0" y="180"/>
                </a:lnTo>
                <a:lnTo>
                  <a:pt x="0" y="180"/>
                </a:lnTo>
                <a:lnTo>
                  <a:pt x="0" y="187"/>
                </a:lnTo>
                <a:lnTo>
                  <a:pt x="1" y="194"/>
                </a:lnTo>
                <a:lnTo>
                  <a:pt x="3" y="201"/>
                </a:lnTo>
                <a:lnTo>
                  <a:pt x="5" y="208"/>
                </a:lnTo>
                <a:lnTo>
                  <a:pt x="9" y="214"/>
                </a:lnTo>
                <a:lnTo>
                  <a:pt x="13" y="220"/>
                </a:lnTo>
                <a:lnTo>
                  <a:pt x="17" y="225"/>
                </a:lnTo>
                <a:lnTo>
                  <a:pt x="22" y="231"/>
                </a:lnTo>
                <a:lnTo>
                  <a:pt x="27" y="236"/>
                </a:lnTo>
                <a:lnTo>
                  <a:pt x="32" y="240"/>
                </a:lnTo>
                <a:lnTo>
                  <a:pt x="38" y="243"/>
                </a:lnTo>
                <a:lnTo>
                  <a:pt x="44" y="246"/>
                </a:lnTo>
                <a:lnTo>
                  <a:pt x="51" y="249"/>
                </a:lnTo>
                <a:lnTo>
                  <a:pt x="57" y="250"/>
                </a:lnTo>
                <a:lnTo>
                  <a:pt x="65" y="252"/>
                </a:lnTo>
                <a:lnTo>
                  <a:pt x="73" y="252"/>
                </a:lnTo>
                <a:lnTo>
                  <a:pt x="99" y="252"/>
                </a:lnTo>
                <a:lnTo>
                  <a:pt x="99" y="252"/>
                </a:lnTo>
                <a:lnTo>
                  <a:pt x="107" y="252"/>
                </a:lnTo>
                <a:lnTo>
                  <a:pt x="114" y="250"/>
                </a:lnTo>
                <a:lnTo>
                  <a:pt x="121" y="249"/>
                </a:lnTo>
                <a:lnTo>
                  <a:pt x="127" y="246"/>
                </a:lnTo>
                <a:lnTo>
                  <a:pt x="134" y="243"/>
                </a:lnTo>
                <a:lnTo>
                  <a:pt x="140" y="240"/>
                </a:lnTo>
                <a:lnTo>
                  <a:pt x="146" y="236"/>
                </a:lnTo>
                <a:lnTo>
                  <a:pt x="151" y="231"/>
                </a:lnTo>
                <a:lnTo>
                  <a:pt x="155" y="225"/>
                </a:lnTo>
                <a:lnTo>
                  <a:pt x="159" y="220"/>
                </a:lnTo>
                <a:lnTo>
                  <a:pt x="163" y="214"/>
                </a:lnTo>
                <a:lnTo>
                  <a:pt x="166" y="208"/>
                </a:lnTo>
                <a:lnTo>
                  <a:pt x="168" y="201"/>
                </a:lnTo>
                <a:lnTo>
                  <a:pt x="170" y="194"/>
                </a:lnTo>
                <a:lnTo>
                  <a:pt x="171" y="187"/>
                </a:lnTo>
                <a:lnTo>
                  <a:pt x="171" y="180"/>
                </a:lnTo>
                <a:lnTo>
                  <a:pt x="171"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4" name="Freeform 2338"/>
          <p:cNvSpPr>
            <a:spLocks/>
          </p:cNvSpPr>
          <p:nvPr/>
        </p:nvSpPr>
        <p:spPr bwMode="auto">
          <a:xfrm>
            <a:off x="7423151" y="5091113"/>
            <a:ext cx="39688" cy="14288"/>
          </a:xfrm>
          <a:custGeom>
            <a:avLst/>
            <a:gdLst>
              <a:gd name="T0" fmla="*/ 150 w 152"/>
              <a:gd name="T1" fmla="*/ 18 h 54"/>
              <a:gd name="T2" fmla="*/ 150 w 152"/>
              <a:gd name="T3" fmla="*/ 18 h 54"/>
              <a:gd name="T4" fmla="*/ 146 w 152"/>
              <a:gd name="T5" fmla="*/ 15 h 54"/>
              <a:gd name="T6" fmla="*/ 139 w 152"/>
              <a:gd name="T7" fmla="*/ 11 h 54"/>
              <a:gd name="T8" fmla="*/ 131 w 152"/>
              <a:gd name="T9" fmla="*/ 7 h 54"/>
              <a:gd name="T10" fmla="*/ 122 w 152"/>
              <a:gd name="T11" fmla="*/ 5 h 54"/>
              <a:gd name="T12" fmla="*/ 111 w 152"/>
              <a:gd name="T13" fmla="*/ 2 h 54"/>
              <a:gd name="T14" fmla="*/ 100 w 152"/>
              <a:gd name="T15" fmla="*/ 1 h 54"/>
              <a:gd name="T16" fmla="*/ 89 w 152"/>
              <a:gd name="T17" fmla="*/ 0 h 54"/>
              <a:gd name="T18" fmla="*/ 76 w 152"/>
              <a:gd name="T19" fmla="*/ 0 h 54"/>
              <a:gd name="T20" fmla="*/ 76 w 152"/>
              <a:gd name="T21" fmla="*/ 0 h 54"/>
              <a:gd name="T22" fmla="*/ 63 w 152"/>
              <a:gd name="T23" fmla="*/ 0 h 54"/>
              <a:gd name="T24" fmla="*/ 50 w 152"/>
              <a:gd name="T25" fmla="*/ 1 h 54"/>
              <a:gd name="T26" fmla="*/ 39 w 152"/>
              <a:gd name="T27" fmla="*/ 3 h 54"/>
              <a:gd name="T28" fmla="*/ 29 w 152"/>
              <a:gd name="T29" fmla="*/ 5 h 54"/>
              <a:gd name="T30" fmla="*/ 20 w 152"/>
              <a:gd name="T31" fmla="*/ 7 h 54"/>
              <a:gd name="T32" fmla="*/ 12 w 152"/>
              <a:gd name="T33" fmla="*/ 12 h 54"/>
              <a:gd name="T34" fmla="*/ 6 w 152"/>
              <a:gd name="T35" fmla="*/ 15 h 54"/>
              <a:gd name="T36" fmla="*/ 1 w 152"/>
              <a:gd name="T37" fmla="*/ 19 h 54"/>
              <a:gd name="T38" fmla="*/ 1 w 152"/>
              <a:gd name="T39" fmla="*/ 19 h 54"/>
              <a:gd name="T40" fmla="*/ 0 w 152"/>
              <a:gd name="T41" fmla="*/ 23 h 54"/>
              <a:gd name="T42" fmla="*/ 0 w 152"/>
              <a:gd name="T43" fmla="*/ 28 h 54"/>
              <a:gd name="T44" fmla="*/ 1 w 152"/>
              <a:gd name="T45" fmla="*/ 33 h 54"/>
              <a:gd name="T46" fmla="*/ 2 w 152"/>
              <a:gd name="T47" fmla="*/ 37 h 54"/>
              <a:gd name="T48" fmla="*/ 2 w 152"/>
              <a:gd name="T49" fmla="*/ 37 h 54"/>
              <a:gd name="T50" fmla="*/ 7 w 152"/>
              <a:gd name="T51" fmla="*/ 40 h 54"/>
              <a:gd name="T52" fmla="*/ 14 w 152"/>
              <a:gd name="T53" fmla="*/ 44 h 54"/>
              <a:gd name="T54" fmla="*/ 22 w 152"/>
              <a:gd name="T55" fmla="*/ 47 h 54"/>
              <a:gd name="T56" fmla="*/ 31 w 152"/>
              <a:gd name="T57" fmla="*/ 49 h 54"/>
              <a:gd name="T58" fmla="*/ 40 w 152"/>
              <a:gd name="T59" fmla="*/ 51 h 54"/>
              <a:gd name="T60" fmla="*/ 51 w 152"/>
              <a:gd name="T61" fmla="*/ 53 h 54"/>
              <a:gd name="T62" fmla="*/ 64 w 152"/>
              <a:gd name="T63" fmla="*/ 54 h 54"/>
              <a:gd name="T64" fmla="*/ 76 w 152"/>
              <a:gd name="T65" fmla="*/ 54 h 54"/>
              <a:gd name="T66" fmla="*/ 76 w 152"/>
              <a:gd name="T67" fmla="*/ 54 h 54"/>
              <a:gd name="T68" fmla="*/ 88 w 152"/>
              <a:gd name="T69" fmla="*/ 54 h 54"/>
              <a:gd name="T70" fmla="*/ 99 w 152"/>
              <a:gd name="T71" fmla="*/ 53 h 54"/>
              <a:gd name="T72" fmla="*/ 110 w 152"/>
              <a:gd name="T73" fmla="*/ 51 h 54"/>
              <a:gd name="T74" fmla="*/ 121 w 152"/>
              <a:gd name="T75" fmla="*/ 50 h 54"/>
              <a:gd name="T76" fmla="*/ 129 w 152"/>
              <a:gd name="T77" fmla="*/ 47 h 54"/>
              <a:gd name="T78" fmla="*/ 137 w 152"/>
              <a:gd name="T79" fmla="*/ 44 h 54"/>
              <a:gd name="T80" fmla="*/ 144 w 152"/>
              <a:gd name="T81" fmla="*/ 41 h 54"/>
              <a:gd name="T82" fmla="*/ 149 w 152"/>
              <a:gd name="T83" fmla="*/ 38 h 54"/>
              <a:gd name="T84" fmla="*/ 149 w 152"/>
              <a:gd name="T85" fmla="*/ 38 h 54"/>
              <a:gd name="T86" fmla="*/ 150 w 152"/>
              <a:gd name="T87" fmla="*/ 36 h 54"/>
              <a:gd name="T88" fmla="*/ 151 w 152"/>
              <a:gd name="T89" fmla="*/ 34 h 54"/>
              <a:gd name="T90" fmla="*/ 152 w 152"/>
              <a:gd name="T91" fmla="*/ 28 h 54"/>
              <a:gd name="T92" fmla="*/ 152 w 152"/>
              <a:gd name="T93" fmla="*/ 22 h 54"/>
              <a:gd name="T94" fmla="*/ 151 w 152"/>
              <a:gd name="T95" fmla="*/ 20 h 54"/>
              <a:gd name="T96" fmla="*/ 150 w 152"/>
              <a:gd name="T97" fmla="*/ 18 h 54"/>
              <a:gd name="T98" fmla="*/ 150 w 152"/>
              <a:gd name="T9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54">
                <a:moveTo>
                  <a:pt x="150" y="18"/>
                </a:moveTo>
                <a:lnTo>
                  <a:pt x="150" y="18"/>
                </a:lnTo>
                <a:lnTo>
                  <a:pt x="146" y="15"/>
                </a:lnTo>
                <a:lnTo>
                  <a:pt x="139" y="11"/>
                </a:lnTo>
                <a:lnTo>
                  <a:pt x="131" y="7"/>
                </a:lnTo>
                <a:lnTo>
                  <a:pt x="122" y="5"/>
                </a:lnTo>
                <a:lnTo>
                  <a:pt x="111" y="2"/>
                </a:lnTo>
                <a:lnTo>
                  <a:pt x="100" y="1"/>
                </a:lnTo>
                <a:lnTo>
                  <a:pt x="89" y="0"/>
                </a:lnTo>
                <a:lnTo>
                  <a:pt x="76" y="0"/>
                </a:lnTo>
                <a:lnTo>
                  <a:pt x="76" y="0"/>
                </a:lnTo>
                <a:lnTo>
                  <a:pt x="63" y="0"/>
                </a:lnTo>
                <a:lnTo>
                  <a:pt x="50" y="1"/>
                </a:lnTo>
                <a:lnTo>
                  <a:pt x="39" y="3"/>
                </a:lnTo>
                <a:lnTo>
                  <a:pt x="29" y="5"/>
                </a:lnTo>
                <a:lnTo>
                  <a:pt x="20" y="7"/>
                </a:lnTo>
                <a:lnTo>
                  <a:pt x="12" y="12"/>
                </a:lnTo>
                <a:lnTo>
                  <a:pt x="6" y="15"/>
                </a:lnTo>
                <a:lnTo>
                  <a:pt x="1" y="19"/>
                </a:lnTo>
                <a:lnTo>
                  <a:pt x="1" y="19"/>
                </a:lnTo>
                <a:lnTo>
                  <a:pt x="0" y="23"/>
                </a:lnTo>
                <a:lnTo>
                  <a:pt x="0" y="28"/>
                </a:lnTo>
                <a:lnTo>
                  <a:pt x="1" y="33"/>
                </a:lnTo>
                <a:lnTo>
                  <a:pt x="2" y="37"/>
                </a:lnTo>
                <a:lnTo>
                  <a:pt x="2" y="37"/>
                </a:lnTo>
                <a:lnTo>
                  <a:pt x="7" y="40"/>
                </a:lnTo>
                <a:lnTo>
                  <a:pt x="14" y="44"/>
                </a:lnTo>
                <a:lnTo>
                  <a:pt x="22" y="47"/>
                </a:lnTo>
                <a:lnTo>
                  <a:pt x="31" y="49"/>
                </a:lnTo>
                <a:lnTo>
                  <a:pt x="40" y="51"/>
                </a:lnTo>
                <a:lnTo>
                  <a:pt x="51" y="53"/>
                </a:lnTo>
                <a:lnTo>
                  <a:pt x="64" y="54"/>
                </a:lnTo>
                <a:lnTo>
                  <a:pt x="76" y="54"/>
                </a:lnTo>
                <a:lnTo>
                  <a:pt x="76" y="54"/>
                </a:lnTo>
                <a:lnTo>
                  <a:pt x="88" y="54"/>
                </a:lnTo>
                <a:lnTo>
                  <a:pt x="99" y="53"/>
                </a:lnTo>
                <a:lnTo>
                  <a:pt x="110" y="51"/>
                </a:lnTo>
                <a:lnTo>
                  <a:pt x="121" y="50"/>
                </a:lnTo>
                <a:lnTo>
                  <a:pt x="129" y="47"/>
                </a:lnTo>
                <a:lnTo>
                  <a:pt x="137" y="44"/>
                </a:lnTo>
                <a:lnTo>
                  <a:pt x="144" y="41"/>
                </a:lnTo>
                <a:lnTo>
                  <a:pt x="149" y="38"/>
                </a:lnTo>
                <a:lnTo>
                  <a:pt x="149" y="38"/>
                </a:lnTo>
                <a:lnTo>
                  <a:pt x="150" y="36"/>
                </a:lnTo>
                <a:lnTo>
                  <a:pt x="151" y="34"/>
                </a:lnTo>
                <a:lnTo>
                  <a:pt x="152" y="28"/>
                </a:lnTo>
                <a:lnTo>
                  <a:pt x="152" y="22"/>
                </a:lnTo>
                <a:lnTo>
                  <a:pt x="151" y="20"/>
                </a:lnTo>
                <a:lnTo>
                  <a:pt x="150" y="18"/>
                </a:lnTo>
                <a:lnTo>
                  <a:pt x="150"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5" name="Freeform 2339"/>
          <p:cNvSpPr>
            <a:spLocks/>
          </p:cNvSpPr>
          <p:nvPr/>
        </p:nvSpPr>
        <p:spPr bwMode="auto">
          <a:xfrm>
            <a:off x="7483476" y="5091114"/>
            <a:ext cx="46038" cy="66675"/>
          </a:xfrm>
          <a:custGeom>
            <a:avLst/>
            <a:gdLst>
              <a:gd name="T0" fmla="*/ 172 w 172"/>
              <a:gd name="T1" fmla="*/ 72 h 253"/>
              <a:gd name="T2" fmla="*/ 170 w 172"/>
              <a:gd name="T3" fmla="*/ 58 h 253"/>
              <a:gd name="T4" fmla="*/ 166 w 172"/>
              <a:gd name="T5" fmla="*/ 44 h 253"/>
              <a:gd name="T6" fmla="*/ 160 w 172"/>
              <a:gd name="T7" fmla="*/ 32 h 253"/>
              <a:gd name="T8" fmla="*/ 151 w 172"/>
              <a:gd name="T9" fmla="*/ 22 h 253"/>
              <a:gd name="T10" fmla="*/ 141 w 172"/>
              <a:gd name="T11" fmla="*/ 12 h 253"/>
              <a:gd name="T12" fmla="*/ 129 w 172"/>
              <a:gd name="T13" fmla="*/ 6 h 253"/>
              <a:gd name="T14" fmla="*/ 114 w 172"/>
              <a:gd name="T15" fmla="*/ 2 h 253"/>
              <a:gd name="T16" fmla="*/ 100 w 172"/>
              <a:gd name="T17" fmla="*/ 0 h 253"/>
              <a:gd name="T18" fmla="*/ 73 w 172"/>
              <a:gd name="T19" fmla="*/ 0 h 253"/>
              <a:gd name="T20" fmla="*/ 58 w 172"/>
              <a:gd name="T21" fmla="*/ 2 h 253"/>
              <a:gd name="T22" fmla="*/ 45 w 172"/>
              <a:gd name="T23" fmla="*/ 6 h 253"/>
              <a:gd name="T24" fmla="*/ 33 w 172"/>
              <a:gd name="T25" fmla="*/ 12 h 253"/>
              <a:gd name="T26" fmla="*/ 22 w 172"/>
              <a:gd name="T27" fmla="*/ 22 h 253"/>
              <a:gd name="T28" fmla="*/ 13 w 172"/>
              <a:gd name="T29" fmla="*/ 32 h 253"/>
              <a:gd name="T30" fmla="*/ 6 w 172"/>
              <a:gd name="T31" fmla="*/ 44 h 253"/>
              <a:gd name="T32" fmla="*/ 2 w 172"/>
              <a:gd name="T33" fmla="*/ 58 h 253"/>
              <a:gd name="T34" fmla="*/ 0 w 172"/>
              <a:gd name="T35" fmla="*/ 72 h 253"/>
              <a:gd name="T36" fmla="*/ 0 w 172"/>
              <a:gd name="T37" fmla="*/ 180 h 253"/>
              <a:gd name="T38" fmla="*/ 2 w 172"/>
              <a:gd name="T39" fmla="*/ 195 h 253"/>
              <a:gd name="T40" fmla="*/ 6 w 172"/>
              <a:gd name="T41" fmla="*/ 209 h 253"/>
              <a:gd name="T42" fmla="*/ 13 w 172"/>
              <a:gd name="T43" fmla="*/ 221 h 253"/>
              <a:gd name="T44" fmla="*/ 22 w 172"/>
              <a:gd name="T45" fmla="*/ 231 h 253"/>
              <a:gd name="T46" fmla="*/ 33 w 172"/>
              <a:gd name="T47" fmla="*/ 240 h 253"/>
              <a:gd name="T48" fmla="*/ 45 w 172"/>
              <a:gd name="T49" fmla="*/ 247 h 253"/>
              <a:gd name="T50" fmla="*/ 58 w 172"/>
              <a:gd name="T51" fmla="*/ 252 h 253"/>
              <a:gd name="T52" fmla="*/ 73 w 172"/>
              <a:gd name="T53" fmla="*/ 253 h 253"/>
              <a:gd name="T54" fmla="*/ 100 w 172"/>
              <a:gd name="T55" fmla="*/ 253 h 253"/>
              <a:gd name="T56" fmla="*/ 114 w 172"/>
              <a:gd name="T57" fmla="*/ 252 h 253"/>
              <a:gd name="T58" fmla="*/ 129 w 172"/>
              <a:gd name="T59" fmla="*/ 247 h 253"/>
              <a:gd name="T60" fmla="*/ 141 w 172"/>
              <a:gd name="T61" fmla="*/ 240 h 253"/>
              <a:gd name="T62" fmla="*/ 151 w 172"/>
              <a:gd name="T63" fmla="*/ 231 h 253"/>
              <a:gd name="T64" fmla="*/ 160 w 172"/>
              <a:gd name="T65" fmla="*/ 221 h 253"/>
              <a:gd name="T66" fmla="*/ 166 w 172"/>
              <a:gd name="T67" fmla="*/ 209 h 253"/>
              <a:gd name="T68" fmla="*/ 170 w 172"/>
              <a:gd name="T69" fmla="*/ 195 h 253"/>
              <a:gd name="T70" fmla="*/ 172 w 172"/>
              <a:gd name="T71" fmla="*/ 18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253">
                <a:moveTo>
                  <a:pt x="172" y="72"/>
                </a:moveTo>
                <a:lnTo>
                  <a:pt x="172" y="72"/>
                </a:lnTo>
                <a:lnTo>
                  <a:pt x="172" y="65"/>
                </a:lnTo>
                <a:lnTo>
                  <a:pt x="170" y="58"/>
                </a:lnTo>
                <a:lnTo>
                  <a:pt x="169" y="51"/>
                </a:lnTo>
                <a:lnTo>
                  <a:pt x="166" y="44"/>
                </a:lnTo>
                <a:lnTo>
                  <a:pt x="163" y="38"/>
                </a:lnTo>
                <a:lnTo>
                  <a:pt x="160" y="32"/>
                </a:lnTo>
                <a:lnTo>
                  <a:pt x="156" y="27"/>
                </a:lnTo>
                <a:lnTo>
                  <a:pt x="151" y="22"/>
                </a:lnTo>
                <a:lnTo>
                  <a:pt x="146" y="17"/>
                </a:lnTo>
                <a:lnTo>
                  <a:pt x="141" y="12"/>
                </a:lnTo>
                <a:lnTo>
                  <a:pt x="135" y="9"/>
                </a:lnTo>
                <a:lnTo>
                  <a:pt x="129" y="6"/>
                </a:lnTo>
                <a:lnTo>
                  <a:pt x="121" y="3"/>
                </a:lnTo>
                <a:lnTo>
                  <a:pt x="114" y="2"/>
                </a:lnTo>
                <a:lnTo>
                  <a:pt x="107" y="0"/>
                </a:lnTo>
                <a:lnTo>
                  <a:pt x="100" y="0"/>
                </a:lnTo>
                <a:lnTo>
                  <a:pt x="73" y="0"/>
                </a:lnTo>
                <a:lnTo>
                  <a:pt x="73" y="0"/>
                </a:lnTo>
                <a:lnTo>
                  <a:pt x="65" y="0"/>
                </a:lnTo>
                <a:lnTo>
                  <a:pt x="58" y="2"/>
                </a:lnTo>
                <a:lnTo>
                  <a:pt x="51" y="3"/>
                </a:lnTo>
                <a:lnTo>
                  <a:pt x="45" y="6"/>
                </a:lnTo>
                <a:lnTo>
                  <a:pt x="38" y="9"/>
                </a:lnTo>
                <a:lnTo>
                  <a:pt x="33" y="12"/>
                </a:lnTo>
                <a:lnTo>
                  <a:pt x="27" y="17"/>
                </a:lnTo>
                <a:lnTo>
                  <a:pt x="22" y="22"/>
                </a:lnTo>
                <a:lnTo>
                  <a:pt x="17" y="27"/>
                </a:lnTo>
                <a:lnTo>
                  <a:pt x="13" y="32"/>
                </a:lnTo>
                <a:lnTo>
                  <a:pt x="10" y="38"/>
                </a:lnTo>
                <a:lnTo>
                  <a:pt x="6" y="44"/>
                </a:lnTo>
                <a:lnTo>
                  <a:pt x="3" y="51"/>
                </a:lnTo>
                <a:lnTo>
                  <a:pt x="2" y="58"/>
                </a:lnTo>
                <a:lnTo>
                  <a:pt x="1" y="65"/>
                </a:lnTo>
                <a:lnTo>
                  <a:pt x="0" y="72"/>
                </a:lnTo>
                <a:lnTo>
                  <a:pt x="0" y="180"/>
                </a:lnTo>
                <a:lnTo>
                  <a:pt x="0" y="180"/>
                </a:lnTo>
                <a:lnTo>
                  <a:pt x="1" y="187"/>
                </a:lnTo>
                <a:lnTo>
                  <a:pt x="2" y="195"/>
                </a:lnTo>
                <a:lnTo>
                  <a:pt x="3" y="202"/>
                </a:lnTo>
                <a:lnTo>
                  <a:pt x="6" y="209"/>
                </a:lnTo>
                <a:lnTo>
                  <a:pt x="10" y="215"/>
                </a:lnTo>
                <a:lnTo>
                  <a:pt x="13" y="221"/>
                </a:lnTo>
                <a:lnTo>
                  <a:pt x="17" y="226"/>
                </a:lnTo>
                <a:lnTo>
                  <a:pt x="22" y="231"/>
                </a:lnTo>
                <a:lnTo>
                  <a:pt x="27" y="236"/>
                </a:lnTo>
                <a:lnTo>
                  <a:pt x="33" y="240"/>
                </a:lnTo>
                <a:lnTo>
                  <a:pt x="38" y="244"/>
                </a:lnTo>
                <a:lnTo>
                  <a:pt x="45" y="247"/>
                </a:lnTo>
                <a:lnTo>
                  <a:pt x="51" y="249"/>
                </a:lnTo>
                <a:lnTo>
                  <a:pt x="58" y="252"/>
                </a:lnTo>
                <a:lnTo>
                  <a:pt x="65" y="253"/>
                </a:lnTo>
                <a:lnTo>
                  <a:pt x="73" y="253"/>
                </a:lnTo>
                <a:lnTo>
                  <a:pt x="100" y="253"/>
                </a:lnTo>
                <a:lnTo>
                  <a:pt x="100" y="253"/>
                </a:lnTo>
                <a:lnTo>
                  <a:pt x="107" y="253"/>
                </a:lnTo>
                <a:lnTo>
                  <a:pt x="114" y="252"/>
                </a:lnTo>
                <a:lnTo>
                  <a:pt x="121" y="249"/>
                </a:lnTo>
                <a:lnTo>
                  <a:pt x="129" y="247"/>
                </a:lnTo>
                <a:lnTo>
                  <a:pt x="135" y="244"/>
                </a:lnTo>
                <a:lnTo>
                  <a:pt x="141" y="240"/>
                </a:lnTo>
                <a:lnTo>
                  <a:pt x="146" y="236"/>
                </a:lnTo>
                <a:lnTo>
                  <a:pt x="151" y="231"/>
                </a:lnTo>
                <a:lnTo>
                  <a:pt x="156" y="226"/>
                </a:lnTo>
                <a:lnTo>
                  <a:pt x="160" y="221"/>
                </a:lnTo>
                <a:lnTo>
                  <a:pt x="163" y="215"/>
                </a:lnTo>
                <a:lnTo>
                  <a:pt x="166" y="209"/>
                </a:lnTo>
                <a:lnTo>
                  <a:pt x="169" y="202"/>
                </a:lnTo>
                <a:lnTo>
                  <a:pt x="170" y="195"/>
                </a:lnTo>
                <a:lnTo>
                  <a:pt x="172" y="187"/>
                </a:lnTo>
                <a:lnTo>
                  <a:pt x="172" y="180"/>
                </a:lnTo>
                <a:lnTo>
                  <a:pt x="172"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6" name="Freeform 2340"/>
          <p:cNvSpPr>
            <a:spLocks/>
          </p:cNvSpPr>
          <p:nvPr/>
        </p:nvSpPr>
        <p:spPr bwMode="auto">
          <a:xfrm>
            <a:off x="7486651" y="5086351"/>
            <a:ext cx="39688" cy="14288"/>
          </a:xfrm>
          <a:custGeom>
            <a:avLst/>
            <a:gdLst>
              <a:gd name="T0" fmla="*/ 151 w 153"/>
              <a:gd name="T1" fmla="*/ 18 h 54"/>
              <a:gd name="T2" fmla="*/ 151 w 153"/>
              <a:gd name="T3" fmla="*/ 18 h 54"/>
              <a:gd name="T4" fmla="*/ 146 w 153"/>
              <a:gd name="T5" fmla="*/ 14 h 54"/>
              <a:gd name="T6" fmla="*/ 140 w 153"/>
              <a:gd name="T7" fmla="*/ 11 h 54"/>
              <a:gd name="T8" fmla="*/ 132 w 153"/>
              <a:gd name="T9" fmla="*/ 8 h 54"/>
              <a:gd name="T10" fmla="*/ 123 w 153"/>
              <a:gd name="T11" fmla="*/ 5 h 54"/>
              <a:gd name="T12" fmla="*/ 112 w 153"/>
              <a:gd name="T13" fmla="*/ 3 h 54"/>
              <a:gd name="T14" fmla="*/ 101 w 153"/>
              <a:gd name="T15" fmla="*/ 1 h 54"/>
              <a:gd name="T16" fmla="*/ 89 w 153"/>
              <a:gd name="T17" fmla="*/ 0 h 54"/>
              <a:gd name="T18" fmla="*/ 77 w 153"/>
              <a:gd name="T19" fmla="*/ 0 h 54"/>
              <a:gd name="T20" fmla="*/ 77 w 153"/>
              <a:gd name="T21" fmla="*/ 0 h 54"/>
              <a:gd name="T22" fmla="*/ 64 w 153"/>
              <a:gd name="T23" fmla="*/ 0 h 54"/>
              <a:gd name="T24" fmla="*/ 51 w 153"/>
              <a:gd name="T25" fmla="*/ 1 h 54"/>
              <a:gd name="T26" fmla="*/ 40 w 153"/>
              <a:gd name="T27" fmla="*/ 3 h 54"/>
              <a:gd name="T28" fmla="*/ 29 w 153"/>
              <a:gd name="T29" fmla="*/ 5 h 54"/>
              <a:gd name="T30" fmla="*/ 20 w 153"/>
              <a:gd name="T31" fmla="*/ 8 h 54"/>
              <a:gd name="T32" fmla="*/ 13 w 153"/>
              <a:gd name="T33" fmla="*/ 11 h 54"/>
              <a:gd name="T34" fmla="*/ 6 w 153"/>
              <a:gd name="T35" fmla="*/ 15 h 54"/>
              <a:gd name="T36" fmla="*/ 2 w 153"/>
              <a:gd name="T37" fmla="*/ 18 h 54"/>
              <a:gd name="T38" fmla="*/ 2 w 153"/>
              <a:gd name="T39" fmla="*/ 18 h 54"/>
              <a:gd name="T40" fmla="*/ 0 w 153"/>
              <a:gd name="T41" fmla="*/ 22 h 54"/>
              <a:gd name="T42" fmla="*/ 0 w 153"/>
              <a:gd name="T43" fmla="*/ 27 h 54"/>
              <a:gd name="T44" fmla="*/ 1 w 153"/>
              <a:gd name="T45" fmla="*/ 33 h 54"/>
              <a:gd name="T46" fmla="*/ 3 w 153"/>
              <a:gd name="T47" fmla="*/ 37 h 54"/>
              <a:gd name="T48" fmla="*/ 3 w 153"/>
              <a:gd name="T49" fmla="*/ 37 h 54"/>
              <a:gd name="T50" fmla="*/ 8 w 153"/>
              <a:gd name="T51" fmla="*/ 41 h 54"/>
              <a:gd name="T52" fmla="*/ 14 w 153"/>
              <a:gd name="T53" fmla="*/ 44 h 54"/>
              <a:gd name="T54" fmla="*/ 22 w 153"/>
              <a:gd name="T55" fmla="*/ 47 h 54"/>
              <a:gd name="T56" fmla="*/ 31 w 153"/>
              <a:gd name="T57" fmla="*/ 50 h 54"/>
              <a:gd name="T58" fmla="*/ 41 w 153"/>
              <a:gd name="T59" fmla="*/ 52 h 54"/>
              <a:gd name="T60" fmla="*/ 52 w 153"/>
              <a:gd name="T61" fmla="*/ 53 h 54"/>
              <a:gd name="T62" fmla="*/ 64 w 153"/>
              <a:gd name="T63" fmla="*/ 54 h 54"/>
              <a:gd name="T64" fmla="*/ 77 w 153"/>
              <a:gd name="T65" fmla="*/ 54 h 54"/>
              <a:gd name="T66" fmla="*/ 77 w 153"/>
              <a:gd name="T67" fmla="*/ 54 h 54"/>
              <a:gd name="T68" fmla="*/ 88 w 153"/>
              <a:gd name="T69" fmla="*/ 54 h 54"/>
              <a:gd name="T70" fmla="*/ 100 w 153"/>
              <a:gd name="T71" fmla="*/ 53 h 54"/>
              <a:gd name="T72" fmla="*/ 110 w 153"/>
              <a:gd name="T73" fmla="*/ 52 h 54"/>
              <a:gd name="T74" fmla="*/ 121 w 153"/>
              <a:gd name="T75" fmla="*/ 50 h 54"/>
              <a:gd name="T76" fmla="*/ 130 w 153"/>
              <a:gd name="T77" fmla="*/ 47 h 54"/>
              <a:gd name="T78" fmla="*/ 137 w 153"/>
              <a:gd name="T79" fmla="*/ 45 h 54"/>
              <a:gd name="T80" fmla="*/ 144 w 153"/>
              <a:gd name="T81" fmla="*/ 42 h 54"/>
              <a:gd name="T82" fmla="*/ 149 w 153"/>
              <a:gd name="T83" fmla="*/ 38 h 54"/>
              <a:gd name="T84" fmla="*/ 149 w 153"/>
              <a:gd name="T85" fmla="*/ 38 h 54"/>
              <a:gd name="T86" fmla="*/ 150 w 153"/>
              <a:gd name="T87" fmla="*/ 36 h 54"/>
              <a:gd name="T88" fmla="*/ 151 w 153"/>
              <a:gd name="T89" fmla="*/ 34 h 54"/>
              <a:gd name="T90" fmla="*/ 153 w 153"/>
              <a:gd name="T91" fmla="*/ 27 h 54"/>
              <a:gd name="T92" fmla="*/ 152 w 153"/>
              <a:gd name="T93" fmla="*/ 21 h 54"/>
              <a:gd name="T94" fmla="*/ 152 w 153"/>
              <a:gd name="T95" fmla="*/ 19 h 54"/>
              <a:gd name="T96" fmla="*/ 151 w 153"/>
              <a:gd name="T97" fmla="*/ 18 h 54"/>
              <a:gd name="T98" fmla="*/ 151 w 153"/>
              <a:gd name="T9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3" h="54">
                <a:moveTo>
                  <a:pt x="151" y="18"/>
                </a:moveTo>
                <a:lnTo>
                  <a:pt x="151" y="18"/>
                </a:lnTo>
                <a:lnTo>
                  <a:pt x="146" y="14"/>
                </a:lnTo>
                <a:lnTo>
                  <a:pt x="140" y="11"/>
                </a:lnTo>
                <a:lnTo>
                  <a:pt x="132" y="8"/>
                </a:lnTo>
                <a:lnTo>
                  <a:pt x="123" y="5"/>
                </a:lnTo>
                <a:lnTo>
                  <a:pt x="112" y="3"/>
                </a:lnTo>
                <a:lnTo>
                  <a:pt x="101" y="1"/>
                </a:lnTo>
                <a:lnTo>
                  <a:pt x="89" y="0"/>
                </a:lnTo>
                <a:lnTo>
                  <a:pt x="77" y="0"/>
                </a:lnTo>
                <a:lnTo>
                  <a:pt x="77" y="0"/>
                </a:lnTo>
                <a:lnTo>
                  <a:pt x="64" y="0"/>
                </a:lnTo>
                <a:lnTo>
                  <a:pt x="51" y="1"/>
                </a:lnTo>
                <a:lnTo>
                  <a:pt x="40" y="3"/>
                </a:lnTo>
                <a:lnTo>
                  <a:pt x="29" y="5"/>
                </a:lnTo>
                <a:lnTo>
                  <a:pt x="20" y="8"/>
                </a:lnTo>
                <a:lnTo>
                  <a:pt x="13" y="11"/>
                </a:lnTo>
                <a:lnTo>
                  <a:pt x="6" y="15"/>
                </a:lnTo>
                <a:lnTo>
                  <a:pt x="2" y="18"/>
                </a:lnTo>
                <a:lnTo>
                  <a:pt x="2" y="18"/>
                </a:lnTo>
                <a:lnTo>
                  <a:pt x="0" y="22"/>
                </a:lnTo>
                <a:lnTo>
                  <a:pt x="0" y="27"/>
                </a:lnTo>
                <a:lnTo>
                  <a:pt x="1" y="33"/>
                </a:lnTo>
                <a:lnTo>
                  <a:pt x="3" y="37"/>
                </a:lnTo>
                <a:lnTo>
                  <a:pt x="3" y="37"/>
                </a:lnTo>
                <a:lnTo>
                  <a:pt x="8" y="41"/>
                </a:lnTo>
                <a:lnTo>
                  <a:pt x="14" y="44"/>
                </a:lnTo>
                <a:lnTo>
                  <a:pt x="22" y="47"/>
                </a:lnTo>
                <a:lnTo>
                  <a:pt x="31" y="50"/>
                </a:lnTo>
                <a:lnTo>
                  <a:pt x="41" y="52"/>
                </a:lnTo>
                <a:lnTo>
                  <a:pt x="52" y="53"/>
                </a:lnTo>
                <a:lnTo>
                  <a:pt x="64" y="54"/>
                </a:lnTo>
                <a:lnTo>
                  <a:pt x="77" y="54"/>
                </a:lnTo>
                <a:lnTo>
                  <a:pt x="77" y="54"/>
                </a:lnTo>
                <a:lnTo>
                  <a:pt x="88" y="54"/>
                </a:lnTo>
                <a:lnTo>
                  <a:pt x="100" y="53"/>
                </a:lnTo>
                <a:lnTo>
                  <a:pt x="110" y="52"/>
                </a:lnTo>
                <a:lnTo>
                  <a:pt x="121" y="50"/>
                </a:lnTo>
                <a:lnTo>
                  <a:pt x="130" y="47"/>
                </a:lnTo>
                <a:lnTo>
                  <a:pt x="137" y="45"/>
                </a:lnTo>
                <a:lnTo>
                  <a:pt x="144" y="42"/>
                </a:lnTo>
                <a:lnTo>
                  <a:pt x="149" y="38"/>
                </a:lnTo>
                <a:lnTo>
                  <a:pt x="149" y="38"/>
                </a:lnTo>
                <a:lnTo>
                  <a:pt x="150" y="36"/>
                </a:lnTo>
                <a:lnTo>
                  <a:pt x="151" y="34"/>
                </a:lnTo>
                <a:lnTo>
                  <a:pt x="153" y="27"/>
                </a:lnTo>
                <a:lnTo>
                  <a:pt x="152" y="21"/>
                </a:lnTo>
                <a:lnTo>
                  <a:pt x="152" y="19"/>
                </a:lnTo>
                <a:lnTo>
                  <a:pt x="151" y="18"/>
                </a:lnTo>
                <a:lnTo>
                  <a:pt x="151"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7" name="Freeform 2341"/>
          <p:cNvSpPr>
            <a:spLocks/>
          </p:cNvSpPr>
          <p:nvPr/>
        </p:nvSpPr>
        <p:spPr bwMode="auto">
          <a:xfrm>
            <a:off x="7546976" y="5083177"/>
            <a:ext cx="46038" cy="66675"/>
          </a:xfrm>
          <a:custGeom>
            <a:avLst/>
            <a:gdLst>
              <a:gd name="T0" fmla="*/ 171 w 171"/>
              <a:gd name="T1" fmla="*/ 72 h 252"/>
              <a:gd name="T2" fmla="*/ 170 w 171"/>
              <a:gd name="T3" fmla="*/ 57 h 252"/>
              <a:gd name="T4" fmla="*/ 166 w 171"/>
              <a:gd name="T5" fmla="*/ 44 h 252"/>
              <a:gd name="T6" fmla="*/ 159 w 171"/>
              <a:gd name="T7" fmla="*/ 31 h 252"/>
              <a:gd name="T8" fmla="*/ 151 w 171"/>
              <a:gd name="T9" fmla="*/ 20 h 252"/>
              <a:gd name="T10" fmla="*/ 140 w 171"/>
              <a:gd name="T11" fmla="*/ 12 h 252"/>
              <a:gd name="T12" fmla="*/ 128 w 171"/>
              <a:gd name="T13" fmla="*/ 5 h 252"/>
              <a:gd name="T14" fmla="*/ 114 w 171"/>
              <a:gd name="T15" fmla="*/ 1 h 252"/>
              <a:gd name="T16" fmla="*/ 99 w 171"/>
              <a:gd name="T17" fmla="*/ 0 h 252"/>
              <a:gd name="T18" fmla="*/ 73 w 171"/>
              <a:gd name="T19" fmla="*/ 0 h 252"/>
              <a:gd name="T20" fmla="*/ 57 w 171"/>
              <a:gd name="T21" fmla="*/ 1 h 252"/>
              <a:gd name="T22" fmla="*/ 44 w 171"/>
              <a:gd name="T23" fmla="*/ 5 h 252"/>
              <a:gd name="T24" fmla="*/ 32 w 171"/>
              <a:gd name="T25" fmla="*/ 12 h 252"/>
              <a:gd name="T26" fmla="*/ 22 w 171"/>
              <a:gd name="T27" fmla="*/ 20 h 252"/>
              <a:gd name="T28" fmla="*/ 13 w 171"/>
              <a:gd name="T29" fmla="*/ 31 h 252"/>
              <a:gd name="T30" fmla="*/ 6 w 171"/>
              <a:gd name="T31" fmla="*/ 44 h 252"/>
              <a:gd name="T32" fmla="*/ 1 w 171"/>
              <a:gd name="T33" fmla="*/ 57 h 252"/>
              <a:gd name="T34" fmla="*/ 0 w 171"/>
              <a:gd name="T35" fmla="*/ 72 h 252"/>
              <a:gd name="T36" fmla="*/ 0 w 171"/>
              <a:gd name="T37" fmla="*/ 180 h 252"/>
              <a:gd name="T38" fmla="*/ 1 w 171"/>
              <a:gd name="T39" fmla="*/ 194 h 252"/>
              <a:gd name="T40" fmla="*/ 6 w 171"/>
              <a:gd name="T41" fmla="*/ 207 h 252"/>
              <a:gd name="T42" fmla="*/ 13 w 171"/>
              <a:gd name="T43" fmla="*/ 220 h 252"/>
              <a:gd name="T44" fmla="*/ 22 w 171"/>
              <a:gd name="T45" fmla="*/ 231 h 252"/>
              <a:gd name="T46" fmla="*/ 32 w 171"/>
              <a:gd name="T47" fmla="*/ 240 h 252"/>
              <a:gd name="T48" fmla="*/ 44 w 171"/>
              <a:gd name="T49" fmla="*/ 246 h 252"/>
              <a:gd name="T50" fmla="*/ 57 w 171"/>
              <a:gd name="T51" fmla="*/ 250 h 252"/>
              <a:gd name="T52" fmla="*/ 73 w 171"/>
              <a:gd name="T53" fmla="*/ 252 h 252"/>
              <a:gd name="T54" fmla="*/ 99 w 171"/>
              <a:gd name="T55" fmla="*/ 252 h 252"/>
              <a:gd name="T56" fmla="*/ 114 w 171"/>
              <a:gd name="T57" fmla="*/ 250 h 252"/>
              <a:gd name="T58" fmla="*/ 128 w 171"/>
              <a:gd name="T59" fmla="*/ 246 h 252"/>
              <a:gd name="T60" fmla="*/ 140 w 171"/>
              <a:gd name="T61" fmla="*/ 240 h 252"/>
              <a:gd name="T62" fmla="*/ 151 w 171"/>
              <a:gd name="T63" fmla="*/ 231 h 252"/>
              <a:gd name="T64" fmla="*/ 159 w 171"/>
              <a:gd name="T65" fmla="*/ 220 h 252"/>
              <a:gd name="T66" fmla="*/ 166 w 171"/>
              <a:gd name="T67" fmla="*/ 207 h 252"/>
              <a:gd name="T68" fmla="*/ 170 w 171"/>
              <a:gd name="T69" fmla="*/ 194 h 252"/>
              <a:gd name="T70" fmla="*/ 171 w 171"/>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 h="252">
                <a:moveTo>
                  <a:pt x="171" y="72"/>
                </a:moveTo>
                <a:lnTo>
                  <a:pt x="171" y="72"/>
                </a:lnTo>
                <a:lnTo>
                  <a:pt x="171" y="64"/>
                </a:lnTo>
                <a:lnTo>
                  <a:pt x="170" y="57"/>
                </a:lnTo>
                <a:lnTo>
                  <a:pt x="168" y="51"/>
                </a:lnTo>
                <a:lnTo>
                  <a:pt x="166" y="44"/>
                </a:lnTo>
                <a:lnTo>
                  <a:pt x="163" y="37"/>
                </a:lnTo>
                <a:lnTo>
                  <a:pt x="159" y="31"/>
                </a:lnTo>
                <a:lnTo>
                  <a:pt x="155" y="26"/>
                </a:lnTo>
                <a:lnTo>
                  <a:pt x="151" y="20"/>
                </a:lnTo>
                <a:lnTo>
                  <a:pt x="146" y="16"/>
                </a:lnTo>
                <a:lnTo>
                  <a:pt x="140" y="12"/>
                </a:lnTo>
                <a:lnTo>
                  <a:pt x="134" y="8"/>
                </a:lnTo>
                <a:lnTo>
                  <a:pt x="128" y="5"/>
                </a:lnTo>
                <a:lnTo>
                  <a:pt x="120" y="3"/>
                </a:lnTo>
                <a:lnTo>
                  <a:pt x="114" y="1"/>
                </a:lnTo>
                <a:lnTo>
                  <a:pt x="107" y="0"/>
                </a:lnTo>
                <a:lnTo>
                  <a:pt x="99" y="0"/>
                </a:lnTo>
                <a:lnTo>
                  <a:pt x="73" y="0"/>
                </a:lnTo>
                <a:lnTo>
                  <a:pt x="73" y="0"/>
                </a:lnTo>
                <a:lnTo>
                  <a:pt x="64" y="0"/>
                </a:lnTo>
                <a:lnTo>
                  <a:pt x="57" y="1"/>
                </a:lnTo>
                <a:lnTo>
                  <a:pt x="51" y="3"/>
                </a:lnTo>
                <a:lnTo>
                  <a:pt x="44" y="5"/>
                </a:lnTo>
                <a:lnTo>
                  <a:pt x="38" y="8"/>
                </a:lnTo>
                <a:lnTo>
                  <a:pt x="32" y="12"/>
                </a:lnTo>
                <a:lnTo>
                  <a:pt x="27" y="16"/>
                </a:lnTo>
                <a:lnTo>
                  <a:pt x="22" y="20"/>
                </a:lnTo>
                <a:lnTo>
                  <a:pt x="17" y="26"/>
                </a:lnTo>
                <a:lnTo>
                  <a:pt x="13" y="31"/>
                </a:lnTo>
                <a:lnTo>
                  <a:pt x="9" y="37"/>
                </a:lnTo>
                <a:lnTo>
                  <a:pt x="6" y="44"/>
                </a:lnTo>
                <a:lnTo>
                  <a:pt x="3" y="51"/>
                </a:lnTo>
                <a:lnTo>
                  <a:pt x="1" y="57"/>
                </a:lnTo>
                <a:lnTo>
                  <a:pt x="0" y="64"/>
                </a:lnTo>
                <a:lnTo>
                  <a:pt x="0" y="72"/>
                </a:lnTo>
                <a:lnTo>
                  <a:pt x="0" y="180"/>
                </a:lnTo>
                <a:lnTo>
                  <a:pt x="0" y="180"/>
                </a:lnTo>
                <a:lnTo>
                  <a:pt x="0" y="187"/>
                </a:lnTo>
                <a:lnTo>
                  <a:pt x="1" y="194"/>
                </a:lnTo>
                <a:lnTo>
                  <a:pt x="3" y="201"/>
                </a:lnTo>
                <a:lnTo>
                  <a:pt x="6" y="207"/>
                </a:lnTo>
                <a:lnTo>
                  <a:pt x="9" y="214"/>
                </a:lnTo>
                <a:lnTo>
                  <a:pt x="13" y="220"/>
                </a:lnTo>
                <a:lnTo>
                  <a:pt x="17" y="226"/>
                </a:lnTo>
                <a:lnTo>
                  <a:pt x="22" y="231"/>
                </a:lnTo>
                <a:lnTo>
                  <a:pt x="27" y="236"/>
                </a:lnTo>
                <a:lnTo>
                  <a:pt x="32" y="240"/>
                </a:lnTo>
                <a:lnTo>
                  <a:pt x="38" y="243"/>
                </a:lnTo>
                <a:lnTo>
                  <a:pt x="44" y="246"/>
                </a:lnTo>
                <a:lnTo>
                  <a:pt x="51" y="249"/>
                </a:lnTo>
                <a:lnTo>
                  <a:pt x="57" y="250"/>
                </a:lnTo>
                <a:lnTo>
                  <a:pt x="64" y="251"/>
                </a:lnTo>
                <a:lnTo>
                  <a:pt x="73" y="252"/>
                </a:lnTo>
                <a:lnTo>
                  <a:pt x="99" y="252"/>
                </a:lnTo>
                <a:lnTo>
                  <a:pt x="99" y="252"/>
                </a:lnTo>
                <a:lnTo>
                  <a:pt x="107" y="251"/>
                </a:lnTo>
                <a:lnTo>
                  <a:pt x="114" y="250"/>
                </a:lnTo>
                <a:lnTo>
                  <a:pt x="120" y="249"/>
                </a:lnTo>
                <a:lnTo>
                  <a:pt x="128" y="246"/>
                </a:lnTo>
                <a:lnTo>
                  <a:pt x="134" y="243"/>
                </a:lnTo>
                <a:lnTo>
                  <a:pt x="140" y="240"/>
                </a:lnTo>
                <a:lnTo>
                  <a:pt x="146" y="236"/>
                </a:lnTo>
                <a:lnTo>
                  <a:pt x="151" y="231"/>
                </a:lnTo>
                <a:lnTo>
                  <a:pt x="155" y="226"/>
                </a:lnTo>
                <a:lnTo>
                  <a:pt x="159" y="220"/>
                </a:lnTo>
                <a:lnTo>
                  <a:pt x="163" y="214"/>
                </a:lnTo>
                <a:lnTo>
                  <a:pt x="166" y="207"/>
                </a:lnTo>
                <a:lnTo>
                  <a:pt x="168" y="201"/>
                </a:lnTo>
                <a:lnTo>
                  <a:pt x="170" y="194"/>
                </a:lnTo>
                <a:lnTo>
                  <a:pt x="171" y="187"/>
                </a:lnTo>
                <a:lnTo>
                  <a:pt x="171" y="180"/>
                </a:lnTo>
                <a:lnTo>
                  <a:pt x="171"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8" name="Freeform 2342"/>
          <p:cNvSpPr>
            <a:spLocks/>
          </p:cNvSpPr>
          <p:nvPr/>
        </p:nvSpPr>
        <p:spPr bwMode="auto">
          <a:xfrm>
            <a:off x="7550151" y="5078413"/>
            <a:ext cx="39688" cy="14288"/>
          </a:xfrm>
          <a:custGeom>
            <a:avLst/>
            <a:gdLst>
              <a:gd name="T0" fmla="*/ 150 w 152"/>
              <a:gd name="T1" fmla="*/ 19 h 55"/>
              <a:gd name="T2" fmla="*/ 150 w 152"/>
              <a:gd name="T3" fmla="*/ 19 h 55"/>
              <a:gd name="T4" fmla="*/ 145 w 152"/>
              <a:gd name="T5" fmla="*/ 16 h 55"/>
              <a:gd name="T6" fmla="*/ 139 w 152"/>
              <a:gd name="T7" fmla="*/ 12 h 55"/>
              <a:gd name="T8" fmla="*/ 131 w 152"/>
              <a:gd name="T9" fmla="*/ 9 h 55"/>
              <a:gd name="T10" fmla="*/ 122 w 152"/>
              <a:gd name="T11" fmla="*/ 6 h 55"/>
              <a:gd name="T12" fmla="*/ 111 w 152"/>
              <a:gd name="T13" fmla="*/ 4 h 55"/>
              <a:gd name="T14" fmla="*/ 100 w 152"/>
              <a:gd name="T15" fmla="*/ 3 h 55"/>
              <a:gd name="T16" fmla="*/ 88 w 152"/>
              <a:gd name="T17" fmla="*/ 1 h 55"/>
              <a:gd name="T18" fmla="*/ 76 w 152"/>
              <a:gd name="T19" fmla="*/ 0 h 55"/>
              <a:gd name="T20" fmla="*/ 76 w 152"/>
              <a:gd name="T21" fmla="*/ 0 h 55"/>
              <a:gd name="T22" fmla="*/ 63 w 152"/>
              <a:gd name="T23" fmla="*/ 1 h 55"/>
              <a:gd name="T24" fmla="*/ 50 w 152"/>
              <a:gd name="T25" fmla="*/ 3 h 55"/>
              <a:gd name="T26" fmla="*/ 39 w 152"/>
              <a:gd name="T27" fmla="*/ 4 h 55"/>
              <a:gd name="T28" fmla="*/ 29 w 152"/>
              <a:gd name="T29" fmla="*/ 7 h 55"/>
              <a:gd name="T30" fmla="*/ 20 w 152"/>
              <a:gd name="T31" fmla="*/ 9 h 55"/>
              <a:gd name="T32" fmla="*/ 12 w 152"/>
              <a:gd name="T33" fmla="*/ 13 h 55"/>
              <a:gd name="T34" fmla="*/ 6 w 152"/>
              <a:gd name="T35" fmla="*/ 16 h 55"/>
              <a:gd name="T36" fmla="*/ 1 w 152"/>
              <a:gd name="T37" fmla="*/ 20 h 55"/>
              <a:gd name="T38" fmla="*/ 1 w 152"/>
              <a:gd name="T39" fmla="*/ 20 h 55"/>
              <a:gd name="T40" fmla="*/ 0 w 152"/>
              <a:gd name="T41" fmla="*/ 23 h 55"/>
              <a:gd name="T42" fmla="*/ 0 w 152"/>
              <a:gd name="T43" fmla="*/ 29 h 55"/>
              <a:gd name="T44" fmla="*/ 0 w 152"/>
              <a:gd name="T45" fmla="*/ 34 h 55"/>
              <a:gd name="T46" fmla="*/ 2 w 152"/>
              <a:gd name="T47" fmla="*/ 38 h 55"/>
              <a:gd name="T48" fmla="*/ 2 w 152"/>
              <a:gd name="T49" fmla="*/ 38 h 55"/>
              <a:gd name="T50" fmla="*/ 7 w 152"/>
              <a:gd name="T51" fmla="*/ 41 h 55"/>
              <a:gd name="T52" fmla="*/ 14 w 152"/>
              <a:gd name="T53" fmla="*/ 45 h 55"/>
              <a:gd name="T54" fmla="*/ 22 w 152"/>
              <a:gd name="T55" fmla="*/ 48 h 55"/>
              <a:gd name="T56" fmla="*/ 30 w 152"/>
              <a:gd name="T57" fmla="*/ 50 h 55"/>
              <a:gd name="T58" fmla="*/ 40 w 152"/>
              <a:gd name="T59" fmla="*/ 52 h 55"/>
              <a:gd name="T60" fmla="*/ 51 w 152"/>
              <a:gd name="T61" fmla="*/ 54 h 55"/>
              <a:gd name="T62" fmla="*/ 64 w 152"/>
              <a:gd name="T63" fmla="*/ 55 h 55"/>
              <a:gd name="T64" fmla="*/ 76 w 152"/>
              <a:gd name="T65" fmla="*/ 55 h 55"/>
              <a:gd name="T66" fmla="*/ 76 w 152"/>
              <a:gd name="T67" fmla="*/ 55 h 55"/>
              <a:gd name="T68" fmla="*/ 88 w 152"/>
              <a:gd name="T69" fmla="*/ 55 h 55"/>
              <a:gd name="T70" fmla="*/ 99 w 152"/>
              <a:gd name="T71" fmla="*/ 54 h 55"/>
              <a:gd name="T72" fmla="*/ 110 w 152"/>
              <a:gd name="T73" fmla="*/ 52 h 55"/>
              <a:gd name="T74" fmla="*/ 120 w 152"/>
              <a:gd name="T75" fmla="*/ 50 h 55"/>
              <a:gd name="T76" fmla="*/ 129 w 152"/>
              <a:gd name="T77" fmla="*/ 48 h 55"/>
              <a:gd name="T78" fmla="*/ 137 w 152"/>
              <a:gd name="T79" fmla="*/ 45 h 55"/>
              <a:gd name="T80" fmla="*/ 143 w 152"/>
              <a:gd name="T81" fmla="*/ 42 h 55"/>
              <a:gd name="T82" fmla="*/ 149 w 152"/>
              <a:gd name="T83" fmla="*/ 39 h 55"/>
              <a:gd name="T84" fmla="*/ 149 w 152"/>
              <a:gd name="T85" fmla="*/ 39 h 55"/>
              <a:gd name="T86" fmla="*/ 150 w 152"/>
              <a:gd name="T87" fmla="*/ 37 h 55"/>
              <a:gd name="T88" fmla="*/ 151 w 152"/>
              <a:gd name="T89" fmla="*/ 35 h 55"/>
              <a:gd name="T90" fmla="*/ 152 w 152"/>
              <a:gd name="T91" fmla="*/ 29 h 55"/>
              <a:gd name="T92" fmla="*/ 152 w 152"/>
              <a:gd name="T93" fmla="*/ 23 h 55"/>
              <a:gd name="T94" fmla="*/ 151 w 152"/>
              <a:gd name="T95" fmla="*/ 21 h 55"/>
              <a:gd name="T96" fmla="*/ 150 w 152"/>
              <a:gd name="T97" fmla="*/ 19 h 55"/>
              <a:gd name="T98" fmla="*/ 150 w 152"/>
              <a:gd name="T99" fmla="*/ 1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55">
                <a:moveTo>
                  <a:pt x="150" y="19"/>
                </a:moveTo>
                <a:lnTo>
                  <a:pt x="150" y="19"/>
                </a:lnTo>
                <a:lnTo>
                  <a:pt x="145" y="16"/>
                </a:lnTo>
                <a:lnTo>
                  <a:pt x="139" y="12"/>
                </a:lnTo>
                <a:lnTo>
                  <a:pt x="131" y="9"/>
                </a:lnTo>
                <a:lnTo>
                  <a:pt x="122" y="6"/>
                </a:lnTo>
                <a:lnTo>
                  <a:pt x="111" y="4"/>
                </a:lnTo>
                <a:lnTo>
                  <a:pt x="100" y="3"/>
                </a:lnTo>
                <a:lnTo>
                  <a:pt x="88" y="1"/>
                </a:lnTo>
                <a:lnTo>
                  <a:pt x="76" y="0"/>
                </a:lnTo>
                <a:lnTo>
                  <a:pt x="76" y="0"/>
                </a:lnTo>
                <a:lnTo>
                  <a:pt x="63" y="1"/>
                </a:lnTo>
                <a:lnTo>
                  <a:pt x="50" y="3"/>
                </a:lnTo>
                <a:lnTo>
                  <a:pt x="39" y="4"/>
                </a:lnTo>
                <a:lnTo>
                  <a:pt x="29" y="7"/>
                </a:lnTo>
                <a:lnTo>
                  <a:pt x="20" y="9"/>
                </a:lnTo>
                <a:lnTo>
                  <a:pt x="12" y="13"/>
                </a:lnTo>
                <a:lnTo>
                  <a:pt x="6" y="16"/>
                </a:lnTo>
                <a:lnTo>
                  <a:pt x="1" y="20"/>
                </a:lnTo>
                <a:lnTo>
                  <a:pt x="1" y="20"/>
                </a:lnTo>
                <a:lnTo>
                  <a:pt x="0" y="23"/>
                </a:lnTo>
                <a:lnTo>
                  <a:pt x="0" y="29"/>
                </a:lnTo>
                <a:lnTo>
                  <a:pt x="0" y="34"/>
                </a:lnTo>
                <a:lnTo>
                  <a:pt x="2" y="38"/>
                </a:lnTo>
                <a:lnTo>
                  <a:pt x="2" y="38"/>
                </a:lnTo>
                <a:lnTo>
                  <a:pt x="7" y="41"/>
                </a:lnTo>
                <a:lnTo>
                  <a:pt x="14" y="45"/>
                </a:lnTo>
                <a:lnTo>
                  <a:pt x="22" y="48"/>
                </a:lnTo>
                <a:lnTo>
                  <a:pt x="30" y="50"/>
                </a:lnTo>
                <a:lnTo>
                  <a:pt x="40" y="52"/>
                </a:lnTo>
                <a:lnTo>
                  <a:pt x="51" y="54"/>
                </a:lnTo>
                <a:lnTo>
                  <a:pt x="64" y="55"/>
                </a:lnTo>
                <a:lnTo>
                  <a:pt x="76" y="55"/>
                </a:lnTo>
                <a:lnTo>
                  <a:pt x="76" y="55"/>
                </a:lnTo>
                <a:lnTo>
                  <a:pt x="88" y="55"/>
                </a:lnTo>
                <a:lnTo>
                  <a:pt x="99" y="54"/>
                </a:lnTo>
                <a:lnTo>
                  <a:pt x="110" y="52"/>
                </a:lnTo>
                <a:lnTo>
                  <a:pt x="120" y="50"/>
                </a:lnTo>
                <a:lnTo>
                  <a:pt x="129" y="48"/>
                </a:lnTo>
                <a:lnTo>
                  <a:pt x="137" y="45"/>
                </a:lnTo>
                <a:lnTo>
                  <a:pt x="143" y="42"/>
                </a:lnTo>
                <a:lnTo>
                  <a:pt x="149" y="39"/>
                </a:lnTo>
                <a:lnTo>
                  <a:pt x="149" y="39"/>
                </a:lnTo>
                <a:lnTo>
                  <a:pt x="150" y="37"/>
                </a:lnTo>
                <a:lnTo>
                  <a:pt x="151" y="35"/>
                </a:lnTo>
                <a:lnTo>
                  <a:pt x="152" y="29"/>
                </a:lnTo>
                <a:lnTo>
                  <a:pt x="152" y="23"/>
                </a:lnTo>
                <a:lnTo>
                  <a:pt x="151" y="21"/>
                </a:lnTo>
                <a:lnTo>
                  <a:pt x="150" y="19"/>
                </a:lnTo>
                <a:lnTo>
                  <a:pt x="150" y="19"/>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89" name="Freeform 2343"/>
          <p:cNvSpPr>
            <a:spLocks/>
          </p:cNvSpPr>
          <p:nvPr/>
        </p:nvSpPr>
        <p:spPr bwMode="auto">
          <a:xfrm>
            <a:off x="7418388" y="5241927"/>
            <a:ext cx="44450" cy="66675"/>
          </a:xfrm>
          <a:custGeom>
            <a:avLst/>
            <a:gdLst>
              <a:gd name="T0" fmla="*/ 171 w 171"/>
              <a:gd name="T1" fmla="*/ 72 h 252"/>
              <a:gd name="T2" fmla="*/ 170 w 171"/>
              <a:gd name="T3" fmla="*/ 58 h 252"/>
              <a:gd name="T4" fmla="*/ 166 w 171"/>
              <a:gd name="T5" fmla="*/ 45 h 252"/>
              <a:gd name="T6" fmla="*/ 159 w 171"/>
              <a:gd name="T7" fmla="*/ 33 h 252"/>
              <a:gd name="T8" fmla="*/ 150 w 171"/>
              <a:gd name="T9" fmla="*/ 21 h 252"/>
              <a:gd name="T10" fmla="*/ 140 w 171"/>
              <a:gd name="T11" fmla="*/ 13 h 252"/>
              <a:gd name="T12" fmla="*/ 127 w 171"/>
              <a:gd name="T13" fmla="*/ 6 h 252"/>
              <a:gd name="T14" fmla="*/ 113 w 171"/>
              <a:gd name="T15" fmla="*/ 2 h 252"/>
              <a:gd name="T16" fmla="*/ 99 w 171"/>
              <a:gd name="T17" fmla="*/ 0 h 252"/>
              <a:gd name="T18" fmla="*/ 72 w 171"/>
              <a:gd name="T19" fmla="*/ 0 h 252"/>
              <a:gd name="T20" fmla="*/ 57 w 171"/>
              <a:gd name="T21" fmla="*/ 2 h 252"/>
              <a:gd name="T22" fmla="*/ 44 w 171"/>
              <a:gd name="T23" fmla="*/ 6 h 252"/>
              <a:gd name="T24" fmla="*/ 32 w 171"/>
              <a:gd name="T25" fmla="*/ 13 h 252"/>
              <a:gd name="T26" fmla="*/ 21 w 171"/>
              <a:gd name="T27" fmla="*/ 21 h 252"/>
              <a:gd name="T28" fmla="*/ 12 w 171"/>
              <a:gd name="T29" fmla="*/ 33 h 252"/>
              <a:gd name="T30" fmla="*/ 5 w 171"/>
              <a:gd name="T31" fmla="*/ 45 h 252"/>
              <a:gd name="T32" fmla="*/ 1 w 171"/>
              <a:gd name="T33" fmla="*/ 58 h 252"/>
              <a:gd name="T34" fmla="*/ 0 w 171"/>
              <a:gd name="T35" fmla="*/ 72 h 252"/>
              <a:gd name="T36" fmla="*/ 0 w 171"/>
              <a:gd name="T37" fmla="*/ 180 h 252"/>
              <a:gd name="T38" fmla="*/ 1 w 171"/>
              <a:gd name="T39" fmla="*/ 195 h 252"/>
              <a:gd name="T40" fmla="*/ 5 w 171"/>
              <a:gd name="T41" fmla="*/ 209 h 252"/>
              <a:gd name="T42" fmla="*/ 12 w 171"/>
              <a:gd name="T43" fmla="*/ 221 h 252"/>
              <a:gd name="T44" fmla="*/ 21 w 171"/>
              <a:gd name="T45" fmla="*/ 232 h 252"/>
              <a:gd name="T46" fmla="*/ 32 w 171"/>
              <a:gd name="T47" fmla="*/ 240 h 252"/>
              <a:gd name="T48" fmla="*/ 44 w 171"/>
              <a:gd name="T49" fmla="*/ 247 h 252"/>
              <a:gd name="T50" fmla="*/ 57 w 171"/>
              <a:gd name="T51" fmla="*/ 251 h 252"/>
              <a:gd name="T52" fmla="*/ 72 w 171"/>
              <a:gd name="T53" fmla="*/ 252 h 252"/>
              <a:gd name="T54" fmla="*/ 99 w 171"/>
              <a:gd name="T55" fmla="*/ 252 h 252"/>
              <a:gd name="T56" fmla="*/ 113 w 171"/>
              <a:gd name="T57" fmla="*/ 251 h 252"/>
              <a:gd name="T58" fmla="*/ 127 w 171"/>
              <a:gd name="T59" fmla="*/ 247 h 252"/>
              <a:gd name="T60" fmla="*/ 140 w 171"/>
              <a:gd name="T61" fmla="*/ 240 h 252"/>
              <a:gd name="T62" fmla="*/ 150 w 171"/>
              <a:gd name="T63" fmla="*/ 232 h 252"/>
              <a:gd name="T64" fmla="*/ 159 w 171"/>
              <a:gd name="T65" fmla="*/ 221 h 252"/>
              <a:gd name="T66" fmla="*/ 166 w 171"/>
              <a:gd name="T67" fmla="*/ 209 h 252"/>
              <a:gd name="T68" fmla="*/ 170 w 171"/>
              <a:gd name="T69" fmla="*/ 195 h 252"/>
              <a:gd name="T70" fmla="*/ 171 w 171"/>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 h="252">
                <a:moveTo>
                  <a:pt x="171" y="72"/>
                </a:moveTo>
                <a:lnTo>
                  <a:pt x="171" y="72"/>
                </a:lnTo>
                <a:lnTo>
                  <a:pt x="171" y="65"/>
                </a:lnTo>
                <a:lnTo>
                  <a:pt x="170" y="58"/>
                </a:lnTo>
                <a:lnTo>
                  <a:pt x="168" y="51"/>
                </a:lnTo>
                <a:lnTo>
                  <a:pt x="166" y="45"/>
                </a:lnTo>
                <a:lnTo>
                  <a:pt x="163" y="39"/>
                </a:lnTo>
                <a:lnTo>
                  <a:pt x="159" y="33"/>
                </a:lnTo>
                <a:lnTo>
                  <a:pt x="155" y="26"/>
                </a:lnTo>
                <a:lnTo>
                  <a:pt x="150" y="21"/>
                </a:lnTo>
                <a:lnTo>
                  <a:pt x="145" y="17"/>
                </a:lnTo>
                <a:lnTo>
                  <a:pt x="140" y="13"/>
                </a:lnTo>
                <a:lnTo>
                  <a:pt x="133" y="9"/>
                </a:lnTo>
                <a:lnTo>
                  <a:pt x="127" y="6"/>
                </a:lnTo>
                <a:lnTo>
                  <a:pt x="120" y="4"/>
                </a:lnTo>
                <a:lnTo>
                  <a:pt x="113" y="2"/>
                </a:lnTo>
                <a:lnTo>
                  <a:pt x="106" y="1"/>
                </a:lnTo>
                <a:lnTo>
                  <a:pt x="99" y="0"/>
                </a:lnTo>
                <a:lnTo>
                  <a:pt x="72" y="0"/>
                </a:lnTo>
                <a:lnTo>
                  <a:pt x="72" y="0"/>
                </a:lnTo>
                <a:lnTo>
                  <a:pt x="64" y="1"/>
                </a:lnTo>
                <a:lnTo>
                  <a:pt x="57" y="2"/>
                </a:lnTo>
                <a:lnTo>
                  <a:pt x="50" y="4"/>
                </a:lnTo>
                <a:lnTo>
                  <a:pt x="44" y="6"/>
                </a:lnTo>
                <a:lnTo>
                  <a:pt x="38" y="9"/>
                </a:lnTo>
                <a:lnTo>
                  <a:pt x="32" y="13"/>
                </a:lnTo>
                <a:lnTo>
                  <a:pt x="26" y="17"/>
                </a:lnTo>
                <a:lnTo>
                  <a:pt x="21" y="21"/>
                </a:lnTo>
                <a:lnTo>
                  <a:pt x="16" y="26"/>
                </a:lnTo>
                <a:lnTo>
                  <a:pt x="12" y="33"/>
                </a:lnTo>
                <a:lnTo>
                  <a:pt x="8" y="39"/>
                </a:lnTo>
                <a:lnTo>
                  <a:pt x="5" y="45"/>
                </a:lnTo>
                <a:lnTo>
                  <a:pt x="3" y="51"/>
                </a:lnTo>
                <a:lnTo>
                  <a:pt x="1" y="58"/>
                </a:lnTo>
                <a:lnTo>
                  <a:pt x="0" y="65"/>
                </a:lnTo>
                <a:lnTo>
                  <a:pt x="0" y="72"/>
                </a:lnTo>
                <a:lnTo>
                  <a:pt x="0" y="180"/>
                </a:lnTo>
                <a:lnTo>
                  <a:pt x="0" y="180"/>
                </a:lnTo>
                <a:lnTo>
                  <a:pt x="0" y="188"/>
                </a:lnTo>
                <a:lnTo>
                  <a:pt x="1" y="195"/>
                </a:lnTo>
                <a:lnTo>
                  <a:pt x="3" y="202"/>
                </a:lnTo>
                <a:lnTo>
                  <a:pt x="5" y="209"/>
                </a:lnTo>
                <a:lnTo>
                  <a:pt x="8" y="215"/>
                </a:lnTo>
                <a:lnTo>
                  <a:pt x="12" y="221"/>
                </a:lnTo>
                <a:lnTo>
                  <a:pt x="16" y="227"/>
                </a:lnTo>
                <a:lnTo>
                  <a:pt x="21" y="232"/>
                </a:lnTo>
                <a:lnTo>
                  <a:pt x="26" y="236"/>
                </a:lnTo>
                <a:lnTo>
                  <a:pt x="32" y="240"/>
                </a:lnTo>
                <a:lnTo>
                  <a:pt x="38" y="244"/>
                </a:lnTo>
                <a:lnTo>
                  <a:pt x="44" y="247"/>
                </a:lnTo>
                <a:lnTo>
                  <a:pt x="50" y="249"/>
                </a:lnTo>
                <a:lnTo>
                  <a:pt x="57" y="251"/>
                </a:lnTo>
                <a:lnTo>
                  <a:pt x="64" y="252"/>
                </a:lnTo>
                <a:lnTo>
                  <a:pt x="72" y="252"/>
                </a:lnTo>
                <a:lnTo>
                  <a:pt x="99" y="252"/>
                </a:lnTo>
                <a:lnTo>
                  <a:pt x="99" y="252"/>
                </a:lnTo>
                <a:lnTo>
                  <a:pt x="106" y="252"/>
                </a:lnTo>
                <a:lnTo>
                  <a:pt x="113" y="251"/>
                </a:lnTo>
                <a:lnTo>
                  <a:pt x="120" y="249"/>
                </a:lnTo>
                <a:lnTo>
                  <a:pt x="127" y="247"/>
                </a:lnTo>
                <a:lnTo>
                  <a:pt x="133" y="244"/>
                </a:lnTo>
                <a:lnTo>
                  <a:pt x="140" y="240"/>
                </a:lnTo>
                <a:lnTo>
                  <a:pt x="145" y="236"/>
                </a:lnTo>
                <a:lnTo>
                  <a:pt x="150" y="232"/>
                </a:lnTo>
                <a:lnTo>
                  <a:pt x="155" y="227"/>
                </a:lnTo>
                <a:lnTo>
                  <a:pt x="159" y="221"/>
                </a:lnTo>
                <a:lnTo>
                  <a:pt x="163" y="215"/>
                </a:lnTo>
                <a:lnTo>
                  <a:pt x="166" y="209"/>
                </a:lnTo>
                <a:lnTo>
                  <a:pt x="168" y="202"/>
                </a:lnTo>
                <a:lnTo>
                  <a:pt x="170" y="195"/>
                </a:lnTo>
                <a:lnTo>
                  <a:pt x="171" y="188"/>
                </a:lnTo>
                <a:lnTo>
                  <a:pt x="171" y="180"/>
                </a:lnTo>
                <a:lnTo>
                  <a:pt x="171"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0" name="Freeform 2344"/>
          <p:cNvSpPr>
            <a:spLocks/>
          </p:cNvSpPr>
          <p:nvPr/>
        </p:nvSpPr>
        <p:spPr bwMode="auto">
          <a:xfrm>
            <a:off x="7419976" y="5237164"/>
            <a:ext cx="39688" cy="15875"/>
          </a:xfrm>
          <a:custGeom>
            <a:avLst/>
            <a:gdLst>
              <a:gd name="T0" fmla="*/ 152 w 154"/>
              <a:gd name="T1" fmla="*/ 18 h 55"/>
              <a:gd name="T2" fmla="*/ 152 w 154"/>
              <a:gd name="T3" fmla="*/ 18 h 55"/>
              <a:gd name="T4" fmla="*/ 147 w 154"/>
              <a:gd name="T5" fmla="*/ 14 h 55"/>
              <a:gd name="T6" fmla="*/ 141 w 154"/>
              <a:gd name="T7" fmla="*/ 11 h 55"/>
              <a:gd name="T8" fmla="*/ 133 w 154"/>
              <a:gd name="T9" fmla="*/ 8 h 55"/>
              <a:gd name="T10" fmla="*/ 123 w 154"/>
              <a:gd name="T11" fmla="*/ 5 h 55"/>
              <a:gd name="T12" fmla="*/ 113 w 154"/>
              <a:gd name="T13" fmla="*/ 3 h 55"/>
              <a:gd name="T14" fmla="*/ 102 w 154"/>
              <a:gd name="T15" fmla="*/ 1 h 55"/>
              <a:gd name="T16" fmla="*/ 90 w 154"/>
              <a:gd name="T17" fmla="*/ 0 h 55"/>
              <a:gd name="T18" fmla="*/ 78 w 154"/>
              <a:gd name="T19" fmla="*/ 0 h 55"/>
              <a:gd name="T20" fmla="*/ 78 w 154"/>
              <a:gd name="T21" fmla="*/ 0 h 55"/>
              <a:gd name="T22" fmla="*/ 64 w 154"/>
              <a:gd name="T23" fmla="*/ 0 h 55"/>
              <a:gd name="T24" fmla="*/ 52 w 154"/>
              <a:gd name="T25" fmla="*/ 2 h 55"/>
              <a:gd name="T26" fmla="*/ 41 w 154"/>
              <a:gd name="T27" fmla="*/ 3 h 55"/>
              <a:gd name="T28" fmla="*/ 31 w 154"/>
              <a:gd name="T29" fmla="*/ 5 h 55"/>
              <a:gd name="T30" fmla="*/ 22 w 154"/>
              <a:gd name="T31" fmla="*/ 8 h 55"/>
              <a:gd name="T32" fmla="*/ 14 w 154"/>
              <a:gd name="T33" fmla="*/ 11 h 55"/>
              <a:gd name="T34" fmla="*/ 7 w 154"/>
              <a:gd name="T35" fmla="*/ 15 h 55"/>
              <a:gd name="T36" fmla="*/ 2 w 154"/>
              <a:gd name="T37" fmla="*/ 19 h 55"/>
              <a:gd name="T38" fmla="*/ 2 w 154"/>
              <a:gd name="T39" fmla="*/ 19 h 55"/>
              <a:gd name="T40" fmla="*/ 1 w 154"/>
              <a:gd name="T41" fmla="*/ 22 h 55"/>
              <a:gd name="T42" fmla="*/ 0 w 154"/>
              <a:gd name="T43" fmla="*/ 27 h 55"/>
              <a:gd name="T44" fmla="*/ 1 w 154"/>
              <a:gd name="T45" fmla="*/ 33 h 55"/>
              <a:gd name="T46" fmla="*/ 3 w 154"/>
              <a:gd name="T47" fmla="*/ 36 h 55"/>
              <a:gd name="T48" fmla="*/ 3 w 154"/>
              <a:gd name="T49" fmla="*/ 36 h 55"/>
              <a:gd name="T50" fmla="*/ 8 w 154"/>
              <a:gd name="T51" fmla="*/ 40 h 55"/>
              <a:gd name="T52" fmla="*/ 16 w 154"/>
              <a:gd name="T53" fmla="*/ 43 h 55"/>
              <a:gd name="T54" fmla="*/ 23 w 154"/>
              <a:gd name="T55" fmla="*/ 47 h 55"/>
              <a:gd name="T56" fmla="*/ 32 w 154"/>
              <a:gd name="T57" fmla="*/ 50 h 55"/>
              <a:gd name="T58" fmla="*/ 42 w 154"/>
              <a:gd name="T59" fmla="*/ 52 h 55"/>
              <a:gd name="T60" fmla="*/ 53 w 154"/>
              <a:gd name="T61" fmla="*/ 53 h 55"/>
              <a:gd name="T62" fmla="*/ 65 w 154"/>
              <a:gd name="T63" fmla="*/ 54 h 55"/>
              <a:gd name="T64" fmla="*/ 78 w 154"/>
              <a:gd name="T65" fmla="*/ 55 h 55"/>
              <a:gd name="T66" fmla="*/ 78 w 154"/>
              <a:gd name="T67" fmla="*/ 55 h 55"/>
              <a:gd name="T68" fmla="*/ 90 w 154"/>
              <a:gd name="T69" fmla="*/ 54 h 55"/>
              <a:gd name="T70" fmla="*/ 101 w 154"/>
              <a:gd name="T71" fmla="*/ 53 h 55"/>
              <a:gd name="T72" fmla="*/ 111 w 154"/>
              <a:gd name="T73" fmla="*/ 52 h 55"/>
              <a:gd name="T74" fmla="*/ 121 w 154"/>
              <a:gd name="T75" fmla="*/ 50 h 55"/>
              <a:gd name="T76" fmla="*/ 131 w 154"/>
              <a:gd name="T77" fmla="*/ 48 h 55"/>
              <a:gd name="T78" fmla="*/ 139 w 154"/>
              <a:gd name="T79" fmla="*/ 45 h 55"/>
              <a:gd name="T80" fmla="*/ 145 w 154"/>
              <a:gd name="T81" fmla="*/ 41 h 55"/>
              <a:gd name="T82" fmla="*/ 150 w 154"/>
              <a:gd name="T83" fmla="*/ 37 h 55"/>
              <a:gd name="T84" fmla="*/ 150 w 154"/>
              <a:gd name="T85" fmla="*/ 37 h 55"/>
              <a:gd name="T86" fmla="*/ 152 w 154"/>
              <a:gd name="T87" fmla="*/ 36 h 55"/>
              <a:gd name="T88" fmla="*/ 153 w 154"/>
              <a:gd name="T89" fmla="*/ 33 h 55"/>
              <a:gd name="T90" fmla="*/ 154 w 154"/>
              <a:gd name="T91" fmla="*/ 28 h 55"/>
              <a:gd name="T92" fmla="*/ 154 w 154"/>
              <a:gd name="T93" fmla="*/ 22 h 55"/>
              <a:gd name="T94" fmla="*/ 153 w 154"/>
              <a:gd name="T95" fmla="*/ 20 h 55"/>
              <a:gd name="T96" fmla="*/ 152 w 154"/>
              <a:gd name="T97" fmla="*/ 18 h 55"/>
              <a:gd name="T98" fmla="*/ 152 w 154"/>
              <a:gd name="T99"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55">
                <a:moveTo>
                  <a:pt x="152" y="18"/>
                </a:moveTo>
                <a:lnTo>
                  <a:pt x="152" y="18"/>
                </a:lnTo>
                <a:lnTo>
                  <a:pt x="147" y="14"/>
                </a:lnTo>
                <a:lnTo>
                  <a:pt x="141" y="11"/>
                </a:lnTo>
                <a:lnTo>
                  <a:pt x="133" y="8"/>
                </a:lnTo>
                <a:lnTo>
                  <a:pt x="123" y="5"/>
                </a:lnTo>
                <a:lnTo>
                  <a:pt x="113" y="3"/>
                </a:lnTo>
                <a:lnTo>
                  <a:pt x="102" y="1"/>
                </a:lnTo>
                <a:lnTo>
                  <a:pt x="90" y="0"/>
                </a:lnTo>
                <a:lnTo>
                  <a:pt x="78" y="0"/>
                </a:lnTo>
                <a:lnTo>
                  <a:pt x="78" y="0"/>
                </a:lnTo>
                <a:lnTo>
                  <a:pt x="64" y="0"/>
                </a:lnTo>
                <a:lnTo>
                  <a:pt x="52" y="2"/>
                </a:lnTo>
                <a:lnTo>
                  <a:pt x="41" y="3"/>
                </a:lnTo>
                <a:lnTo>
                  <a:pt x="31" y="5"/>
                </a:lnTo>
                <a:lnTo>
                  <a:pt x="22" y="8"/>
                </a:lnTo>
                <a:lnTo>
                  <a:pt x="14" y="11"/>
                </a:lnTo>
                <a:lnTo>
                  <a:pt x="7" y="15"/>
                </a:lnTo>
                <a:lnTo>
                  <a:pt x="2" y="19"/>
                </a:lnTo>
                <a:lnTo>
                  <a:pt x="2" y="19"/>
                </a:lnTo>
                <a:lnTo>
                  <a:pt x="1" y="22"/>
                </a:lnTo>
                <a:lnTo>
                  <a:pt x="0" y="27"/>
                </a:lnTo>
                <a:lnTo>
                  <a:pt x="1" y="33"/>
                </a:lnTo>
                <a:lnTo>
                  <a:pt x="3" y="36"/>
                </a:lnTo>
                <a:lnTo>
                  <a:pt x="3" y="36"/>
                </a:lnTo>
                <a:lnTo>
                  <a:pt x="8" y="40"/>
                </a:lnTo>
                <a:lnTo>
                  <a:pt x="16" y="43"/>
                </a:lnTo>
                <a:lnTo>
                  <a:pt x="23" y="47"/>
                </a:lnTo>
                <a:lnTo>
                  <a:pt x="32" y="50"/>
                </a:lnTo>
                <a:lnTo>
                  <a:pt x="42" y="52"/>
                </a:lnTo>
                <a:lnTo>
                  <a:pt x="53" y="53"/>
                </a:lnTo>
                <a:lnTo>
                  <a:pt x="65" y="54"/>
                </a:lnTo>
                <a:lnTo>
                  <a:pt x="78" y="55"/>
                </a:lnTo>
                <a:lnTo>
                  <a:pt x="78" y="55"/>
                </a:lnTo>
                <a:lnTo>
                  <a:pt x="90" y="54"/>
                </a:lnTo>
                <a:lnTo>
                  <a:pt x="101" y="53"/>
                </a:lnTo>
                <a:lnTo>
                  <a:pt x="111" y="52"/>
                </a:lnTo>
                <a:lnTo>
                  <a:pt x="121" y="50"/>
                </a:lnTo>
                <a:lnTo>
                  <a:pt x="131" y="48"/>
                </a:lnTo>
                <a:lnTo>
                  <a:pt x="139" y="45"/>
                </a:lnTo>
                <a:lnTo>
                  <a:pt x="145" y="41"/>
                </a:lnTo>
                <a:lnTo>
                  <a:pt x="150" y="37"/>
                </a:lnTo>
                <a:lnTo>
                  <a:pt x="150" y="37"/>
                </a:lnTo>
                <a:lnTo>
                  <a:pt x="152" y="36"/>
                </a:lnTo>
                <a:lnTo>
                  <a:pt x="153" y="33"/>
                </a:lnTo>
                <a:lnTo>
                  <a:pt x="154" y="28"/>
                </a:lnTo>
                <a:lnTo>
                  <a:pt x="154" y="22"/>
                </a:lnTo>
                <a:lnTo>
                  <a:pt x="153" y="20"/>
                </a:lnTo>
                <a:lnTo>
                  <a:pt x="152" y="18"/>
                </a:lnTo>
                <a:lnTo>
                  <a:pt x="152"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1" name="Freeform 2345"/>
          <p:cNvSpPr>
            <a:spLocks/>
          </p:cNvSpPr>
          <p:nvPr/>
        </p:nvSpPr>
        <p:spPr bwMode="auto">
          <a:xfrm>
            <a:off x="7481888" y="5237164"/>
            <a:ext cx="44450" cy="66675"/>
          </a:xfrm>
          <a:custGeom>
            <a:avLst/>
            <a:gdLst>
              <a:gd name="T0" fmla="*/ 172 w 172"/>
              <a:gd name="T1" fmla="*/ 72 h 252"/>
              <a:gd name="T2" fmla="*/ 170 w 172"/>
              <a:gd name="T3" fmla="*/ 57 h 252"/>
              <a:gd name="T4" fmla="*/ 166 w 172"/>
              <a:gd name="T5" fmla="*/ 43 h 252"/>
              <a:gd name="T6" fmla="*/ 159 w 172"/>
              <a:gd name="T7" fmla="*/ 31 h 252"/>
              <a:gd name="T8" fmla="*/ 151 w 172"/>
              <a:gd name="T9" fmla="*/ 20 h 252"/>
              <a:gd name="T10" fmla="*/ 140 w 172"/>
              <a:gd name="T11" fmla="*/ 12 h 252"/>
              <a:gd name="T12" fmla="*/ 127 w 172"/>
              <a:gd name="T13" fmla="*/ 5 h 252"/>
              <a:gd name="T14" fmla="*/ 114 w 172"/>
              <a:gd name="T15" fmla="*/ 1 h 252"/>
              <a:gd name="T16" fmla="*/ 100 w 172"/>
              <a:gd name="T17" fmla="*/ 0 h 252"/>
              <a:gd name="T18" fmla="*/ 72 w 172"/>
              <a:gd name="T19" fmla="*/ 0 h 252"/>
              <a:gd name="T20" fmla="*/ 58 w 172"/>
              <a:gd name="T21" fmla="*/ 1 h 252"/>
              <a:gd name="T22" fmla="*/ 44 w 172"/>
              <a:gd name="T23" fmla="*/ 5 h 252"/>
              <a:gd name="T24" fmla="*/ 32 w 172"/>
              <a:gd name="T25" fmla="*/ 12 h 252"/>
              <a:gd name="T26" fmla="*/ 22 w 172"/>
              <a:gd name="T27" fmla="*/ 20 h 252"/>
              <a:gd name="T28" fmla="*/ 12 w 172"/>
              <a:gd name="T29" fmla="*/ 31 h 252"/>
              <a:gd name="T30" fmla="*/ 6 w 172"/>
              <a:gd name="T31" fmla="*/ 43 h 252"/>
              <a:gd name="T32" fmla="*/ 1 w 172"/>
              <a:gd name="T33" fmla="*/ 57 h 252"/>
              <a:gd name="T34" fmla="*/ 0 w 172"/>
              <a:gd name="T35" fmla="*/ 72 h 252"/>
              <a:gd name="T36" fmla="*/ 0 w 172"/>
              <a:gd name="T37" fmla="*/ 180 h 252"/>
              <a:gd name="T38" fmla="*/ 1 w 172"/>
              <a:gd name="T39" fmla="*/ 194 h 252"/>
              <a:gd name="T40" fmla="*/ 6 w 172"/>
              <a:gd name="T41" fmla="*/ 207 h 252"/>
              <a:gd name="T42" fmla="*/ 12 w 172"/>
              <a:gd name="T43" fmla="*/ 219 h 252"/>
              <a:gd name="T44" fmla="*/ 22 w 172"/>
              <a:gd name="T45" fmla="*/ 231 h 252"/>
              <a:gd name="T46" fmla="*/ 32 w 172"/>
              <a:gd name="T47" fmla="*/ 240 h 252"/>
              <a:gd name="T48" fmla="*/ 44 w 172"/>
              <a:gd name="T49" fmla="*/ 246 h 252"/>
              <a:gd name="T50" fmla="*/ 58 w 172"/>
              <a:gd name="T51" fmla="*/ 250 h 252"/>
              <a:gd name="T52" fmla="*/ 72 w 172"/>
              <a:gd name="T53" fmla="*/ 252 h 252"/>
              <a:gd name="T54" fmla="*/ 100 w 172"/>
              <a:gd name="T55" fmla="*/ 252 h 252"/>
              <a:gd name="T56" fmla="*/ 114 w 172"/>
              <a:gd name="T57" fmla="*/ 250 h 252"/>
              <a:gd name="T58" fmla="*/ 127 w 172"/>
              <a:gd name="T59" fmla="*/ 246 h 252"/>
              <a:gd name="T60" fmla="*/ 140 w 172"/>
              <a:gd name="T61" fmla="*/ 240 h 252"/>
              <a:gd name="T62" fmla="*/ 151 w 172"/>
              <a:gd name="T63" fmla="*/ 231 h 252"/>
              <a:gd name="T64" fmla="*/ 159 w 172"/>
              <a:gd name="T65" fmla="*/ 219 h 252"/>
              <a:gd name="T66" fmla="*/ 166 w 172"/>
              <a:gd name="T67" fmla="*/ 207 h 252"/>
              <a:gd name="T68" fmla="*/ 170 w 172"/>
              <a:gd name="T69" fmla="*/ 194 h 252"/>
              <a:gd name="T70" fmla="*/ 172 w 172"/>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252">
                <a:moveTo>
                  <a:pt x="172" y="72"/>
                </a:moveTo>
                <a:lnTo>
                  <a:pt x="172" y="72"/>
                </a:lnTo>
                <a:lnTo>
                  <a:pt x="171" y="64"/>
                </a:lnTo>
                <a:lnTo>
                  <a:pt x="170" y="57"/>
                </a:lnTo>
                <a:lnTo>
                  <a:pt x="168" y="51"/>
                </a:lnTo>
                <a:lnTo>
                  <a:pt x="166" y="43"/>
                </a:lnTo>
                <a:lnTo>
                  <a:pt x="163" y="37"/>
                </a:lnTo>
                <a:lnTo>
                  <a:pt x="159" y="31"/>
                </a:lnTo>
                <a:lnTo>
                  <a:pt x="155" y="26"/>
                </a:lnTo>
                <a:lnTo>
                  <a:pt x="151" y="20"/>
                </a:lnTo>
                <a:lnTo>
                  <a:pt x="146" y="16"/>
                </a:lnTo>
                <a:lnTo>
                  <a:pt x="140" y="12"/>
                </a:lnTo>
                <a:lnTo>
                  <a:pt x="133" y="8"/>
                </a:lnTo>
                <a:lnTo>
                  <a:pt x="127" y="5"/>
                </a:lnTo>
                <a:lnTo>
                  <a:pt x="121" y="3"/>
                </a:lnTo>
                <a:lnTo>
                  <a:pt x="114" y="1"/>
                </a:lnTo>
                <a:lnTo>
                  <a:pt x="107" y="0"/>
                </a:lnTo>
                <a:lnTo>
                  <a:pt x="100" y="0"/>
                </a:lnTo>
                <a:lnTo>
                  <a:pt x="72" y="0"/>
                </a:lnTo>
                <a:lnTo>
                  <a:pt x="72" y="0"/>
                </a:lnTo>
                <a:lnTo>
                  <a:pt x="65" y="0"/>
                </a:lnTo>
                <a:lnTo>
                  <a:pt x="58" y="1"/>
                </a:lnTo>
                <a:lnTo>
                  <a:pt x="51" y="3"/>
                </a:lnTo>
                <a:lnTo>
                  <a:pt x="44" y="5"/>
                </a:lnTo>
                <a:lnTo>
                  <a:pt x="38" y="8"/>
                </a:lnTo>
                <a:lnTo>
                  <a:pt x="32" y="12"/>
                </a:lnTo>
                <a:lnTo>
                  <a:pt x="27" y="16"/>
                </a:lnTo>
                <a:lnTo>
                  <a:pt x="22" y="20"/>
                </a:lnTo>
                <a:lnTo>
                  <a:pt x="17" y="26"/>
                </a:lnTo>
                <a:lnTo>
                  <a:pt x="12" y="31"/>
                </a:lnTo>
                <a:lnTo>
                  <a:pt x="9" y="37"/>
                </a:lnTo>
                <a:lnTo>
                  <a:pt x="6" y="43"/>
                </a:lnTo>
                <a:lnTo>
                  <a:pt x="3" y="51"/>
                </a:lnTo>
                <a:lnTo>
                  <a:pt x="1" y="57"/>
                </a:lnTo>
                <a:lnTo>
                  <a:pt x="0" y="64"/>
                </a:lnTo>
                <a:lnTo>
                  <a:pt x="0" y="72"/>
                </a:lnTo>
                <a:lnTo>
                  <a:pt x="0" y="180"/>
                </a:lnTo>
                <a:lnTo>
                  <a:pt x="0" y="180"/>
                </a:lnTo>
                <a:lnTo>
                  <a:pt x="0" y="187"/>
                </a:lnTo>
                <a:lnTo>
                  <a:pt x="1" y="194"/>
                </a:lnTo>
                <a:lnTo>
                  <a:pt x="3" y="201"/>
                </a:lnTo>
                <a:lnTo>
                  <a:pt x="6" y="207"/>
                </a:lnTo>
                <a:lnTo>
                  <a:pt x="9" y="214"/>
                </a:lnTo>
                <a:lnTo>
                  <a:pt x="12" y="219"/>
                </a:lnTo>
                <a:lnTo>
                  <a:pt x="17" y="226"/>
                </a:lnTo>
                <a:lnTo>
                  <a:pt x="22" y="231"/>
                </a:lnTo>
                <a:lnTo>
                  <a:pt x="27" y="236"/>
                </a:lnTo>
                <a:lnTo>
                  <a:pt x="32" y="240"/>
                </a:lnTo>
                <a:lnTo>
                  <a:pt x="38" y="243"/>
                </a:lnTo>
                <a:lnTo>
                  <a:pt x="44" y="246"/>
                </a:lnTo>
                <a:lnTo>
                  <a:pt x="51" y="249"/>
                </a:lnTo>
                <a:lnTo>
                  <a:pt x="58" y="250"/>
                </a:lnTo>
                <a:lnTo>
                  <a:pt x="65" y="251"/>
                </a:lnTo>
                <a:lnTo>
                  <a:pt x="72" y="252"/>
                </a:lnTo>
                <a:lnTo>
                  <a:pt x="100" y="252"/>
                </a:lnTo>
                <a:lnTo>
                  <a:pt x="100" y="252"/>
                </a:lnTo>
                <a:lnTo>
                  <a:pt x="107" y="251"/>
                </a:lnTo>
                <a:lnTo>
                  <a:pt x="114" y="250"/>
                </a:lnTo>
                <a:lnTo>
                  <a:pt x="121" y="249"/>
                </a:lnTo>
                <a:lnTo>
                  <a:pt x="127" y="246"/>
                </a:lnTo>
                <a:lnTo>
                  <a:pt x="133" y="243"/>
                </a:lnTo>
                <a:lnTo>
                  <a:pt x="140" y="240"/>
                </a:lnTo>
                <a:lnTo>
                  <a:pt x="146" y="236"/>
                </a:lnTo>
                <a:lnTo>
                  <a:pt x="151" y="231"/>
                </a:lnTo>
                <a:lnTo>
                  <a:pt x="155" y="226"/>
                </a:lnTo>
                <a:lnTo>
                  <a:pt x="159" y="219"/>
                </a:lnTo>
                <a:lnTo>
                  <a:pt x="163" y="214"/>
                </a:lnTo>
                <a:lnTo>
                  <a:pt x="166" y="207"/>
                </a:lnTo>
                <a:lnTo>
                  <a:pt x="168" y="201"/>
                </a:lnTo>
                <a:lnTo>
                  <a:pt x="170" y="194"/>
                </a:lnTo>
                <a:lnTo>
                  <a:pt x="171" y="187"/>
                </a:lnTo>
                <a:lnTo>
                  <a:pt x="172" y="180"/>
                </a:lnTo>
                <a:lnTo>
                  <a:pt x="172"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2" name="Freeform 2346"/>
          <p:cNvSpPr>
            <a:spLocks/>
          </p:cNvSpPr>
          <p:nvPr/>
        </p:nvSpPr>
        <p:spPr bwMode="auto">
          <a:xfrm>
            <a:off x="7483476" y="5232401"/>
            <a:ext cx="39688" cy="14288"/>
          </a:xfrm>
          <a:custGeom>
            <a:avLst/>
            <a:gdLst>
              <a:gd name="T0" fmla="*/ 152 w 153"/>
              <a:gd name="T1" fmla="*/ 19 h 55"/>
              <a:gd name="T2" fmla="*/ 152 w 153"/>
              <a:gd name="T3" fmla="*/ 19 h 55"/>
              <a:gd name="T4" fmla="*/ 147 w 153"/>
              <a:gd name="T5" fmla="*/ 16 h 55"/>
              <a:gd name="T6" fmla="*/ 140 w 153"/>
              <a:gd name="T7" fmla="*/ 12 h 55"/>
              <a:gd name="T8" fmla="*/ 133 w 153"/>
              <a:gd name="T9" fmla="*/ 9 h 55"/>
              <a:gd name="T10" fmla="*/ 123 w 153"/>
              <a:gd name="T11" fmla="*/ 5 h 55"/>
              <a:gd name="T12" fmla="*/ 113 w 153"/>
              <a:gd name="T13" fmla="*/ 3 h 55"/>
              <a:gd name="T14" fmla="*/ 102 w 153"/>
              <a:gd name="T15" fmla="*/ 2 h 55"/>
              <a:gd name="T16" fmla="*/ 90 w 153"/>
              <a:gd name="T17" fmla="*/ 1 h 55"/>
              <a:gd name="T18" fmla="*/ 77 w 153"/>
              <a:gd name="T19" fmla="*/ 0 h 55"/>
              <a:gd name="T20" fmla="*/ 77 w 153"/>
              <a:gd name="T21" fmla="*/ 0 h 55"/>
              <a:gd name="T22" fmla="*/ 64 w 153"/>
              <a:gd name="T23" fmla="*/ 1 h 55"/>
              <a:gd name="T24" fmla="*/ 52 w 153"/>
              <a:gd name="T25" fmla="*/ 2 h 55"/>
              <a:gd name="T26" fmla="*/ 40 w 153"/>
              <a:gd name="T27" fmla="*/ 3 h 55"/>
              <a:gd name="T28" fmla="*/ 30 w 153"/>
              <a:gd name="T29" fmla="*/ 6 h 55"/>
              <a:gd name="T30" fmla="*/ 21 w 153"/>
              <a:gd name="T31" fmla="*/ 9 h 55"/>
              <a:gd name="T32" fmla="*/ 13 w 153"/>
              <a:gd name="T33" fmla="*/ 13 h 55"/>
              <a:gd name="T34" fmla="*/ 6 w 153"/>
              <a:gd name="T35" fmla="*/ 16 h 55"/>
              <a:gd name="T36" fmla="*/ 1 w 153"/>
              <a:gd name="T37" fmla="*/ 20 h 55"/>
              <a:gd name="T38" fmla="*/ 1 w 153"/>
              <a:gd name="T39" fmla="*/ 20 h 55"/>
              <a:gd name="T40" fmla="*/ 0 w 153"/>
              <a:gd name="T41" fmla="*/ 23 h 55"/>
              <a:gd name="T42" fmla="*/ 0 w 153"/>
              <a:gd name="T43" fmla="*/ 29 h 55"/>
              <a:gd name="T44" fmla="*/ 1 w 153"/>
              <a:gd name="T45" fmla="*/ 34 h 55"/>
              <a:gd name="T46" fmla="*/ 3 w 153"/>
              <a:gd name="T47" fmla="*/ 38 h 55"/>
              <a:gd name="T48" fmla="*/ 3 w 153"/>
              <a:gd name="T49" fmla="*/ 38 h 55"/>
              <a:gd name="T50" fmla="*/ 9 w 153"/>
              <a:gd name="T51" fmla="*/ 41 h 55"/>
              <a:gd name="T52" fmla="*/ 15 w 153"/>
              <a:gd name="T53" fmla="*/ 45 h 55"/>
              <a:gd name="T54" fmla="*/ 23 w 153"/>
              <a:gd name="T55" fmla="*/ 48 h 55"/>
              <a:gd name="T56" fmla="*/ 32 w 153"/>
              <a:gd name="T57" fmla="*/ 50 h 55"/>
              <a:gd name="T58" fmla="*/ 42 w 153"/>
              <a:gd name="T59" fmla="*/ 52 h 55"/>
              <a:gd name="T60" fmla="*/ 53 w 153"/>
              <a:gd name="T61" fmla="*/ 54 h 55"/>
              <a:gd name="T62" fmla="*/ 64 w 153"/>
              <a:gd name="T63" fmla="*/ 55 h 55"/>
              <a:gd name="T64" fmla="*/ 77 w 153"/>
              <a:gd name="T65" fmla="*/ 55 h 55"/>
              <a:gd name="T66" fmla="*/ 77 w 153"/>
              <a:gd name="T67" fmla="*/ 55 h 55"/>
              <a:gd name="T68" fmla="*/ 89 w 153"/>
              <a:gd name="T69" fmla="*/ 55 h 55"/>
              <a:gd name="T70" fmla="*/ 100 w 153"/>
              <a:gd name="T71" fmla="*/ 54 h 55"/>
              <a:gd name="T72" fmla="*/ 111 w 153"/>
              <a:gd name="T73" fmla="*/ 52 h 55"/>
              <a:gd name="T74" fmla="*/ 121 w 153"/>
              <a:gd name="T75" fmla="*/ 50 h 55"/>
              <a:gd name="T76" fmla="*/ 130 w 153"/>
              <a:gd name="T77" fmla="*/ 48 h 55"/>
              <a:gd name="T78" fmla="*/ 138 w 153"/>
              <a:gd name="T79" fmla="*/ 45 h 55"/>
              <a:gd name="T80" fmla="*/ 145 w 153"/>
              <a:gd name="T81" fmla="*/ 42 h 55"/>
              <a:gd name="T82" fmla="*/ 150 w 153"/>
              <a:gd name="T83" fmla="*/ 39 h 55"/>
              <a:gd name="T84" fmla="*/ 150 w 153"/>
              <a:gd name="T85" fmla="*/ 39 h 55"/>
              <a:gd name="T86" fmla="*/ 151 w 153"/>
              <a:gd name="T87" fmla="*/ 37 h 55"/>
              <a:gd name="T88" fmla="*/ 152 w 153"/>
              <a:gd name="T89" fmla="*/ 35 h 55"/>
              <a:gd name="T90" fmla="*/ 153 w 153"/>
              <a:gd name="T91" fmla="*/ 29 h 55"/>
              <a:gd name="T92" fmla="*/ 153 w 153"/>
              <a:gd name="T93" fmla="*/ 23 h 55"/>
              <a:gd name="T94" fmla="*/ 152 w 153"/>
              <a:gd name="T95" fmla="*/ 21 h 55"/>
              <a:gd name="T96" fmla="*/ 152 w 153"/>
              <a:gd name="T97" fmla="*/ 19 h 55"/>
              <a:gd name="T98" fmla="*/ 152 w 153"/>
              <a:gd name="T99" fmla="*/ 1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3" h="55">
                <a:moveTo>
                  <a:pt x="152" y="19"/>
                </a:moveTo>
                <a:lnTo>
                  <a:pt x="152" y="19"/>
                </a:lnTo>
                <a:lnTo>
                  <a:pt x="147" y="16"/>
                </a:lnTo>
                <a:lnTo>
                  <a:pt x="140" y="12"/>
                </a:lnTo>
                <a:lnTo>
                  <a:pt x="133" y="9"/>
                </a:lnTo>
                <a:lnTo>
                  <a:pt x="123" y="5"/>
                </a:lnTo>
                <a:lnTo>
                  <a:pt x="113" y="3"/>
                </a:lnTo>
                <a:lnTo>
                  <a:pt x="102" y="2"/>
                </a:lnTo>
                <a:lnTo>
                  <a:pt x="90" y="1"/>
                </a:lnTo>
                <a:lnTo>
                  <a:pt x="77" y="0"/>
                </a:lnTo>
                <a:lnTo>
                  <a:pt x="77" y="0"/>
                </a:lnTo>
                <a:lnTo>
                  <a:pt x="64" y="1"/>
                </a:lnTo>
                <a:lnTo>
                  <a:pt x="52" y="2"/>
                </a:lnTo>
                <a:lnTo>
                  <a:pt x="40" y="3"/>
                </a:lnTo>
                <a:lnTo>
                  <a:pt x="30" y="6"/>
                </a:lnTo>
                <a:lnTo>
                  <a:pt x="21" y="9"/>
                </a:lnTo>
                <a:lnTo>
                  <a:pt x="13" y="13"/>
                </a:lnTo>
                <a:lnTo>
                  <a:pt x="6" y="16"/>
                </a:lnTo>
                <a:lnTo>
                  <a:pt x="1" y="20"/>
                </a:lnTo>
                <a:lnTo>
                  <a:pt x="1" y="20"/>
                </a:lnTo>
                <a:lnTo>
                  <a:pt x="0" y="23"/>
                </a:lnTo>
                <a:lnTo>
                  <a:pt x="0" y="29"/>
                </a:lnTo>
                <a:lnTo>
                  <a:pt x="1" y="34"/>
                </a:lnTo>
                <a:lnTo>
                  <a:pt x="3" y="38"/>
                </a:lnTo>
                <a:lnTo>
                  <a:pt x="3" y="38"/>
                </a:lnTo>
                <a:lnTo>
                  <a:pt x="9" y="41"/>
                </a:lnTo>
                <a:lnTo>
                  <a:pt x="15" y="45"/>
                </a:lnTo>
                <a:lnTo>
                  <a:pt x="23" y="48"/>
                </a:lnTo>
                <a:lnTo>
                  <a:pt x="32" y="50"/>
                </a:lnTo>
                <a:lnTo>
                  <a:pt x="42" y="52"/>
                </a:lnTo>
                <a:lnTo>
                  <a:pt x="53" y="54"/>
                </a:lnTo>
                <a:lnTo>
                  <a:pt x="64" y="55"/>
                </a:lnTo>
                <a:lnTo>
                  <a:pt x="77" y="55"/>
                </a:lnTo>
                <a:lnTo>
                  <a:pt x="77" y="55"/>
                </a:lnTo>
                <a:lnTo>
                  <a:pt x="89" y="55"/>
                </a:lnTo>
                <a:lnTo>
                  <a:pt x="100" y="54"/>
                </a:lnTo>
                <a:lnTo>
                  <a:pt x="111" y="52"/>
                </a:lnTo>
                <a:lnTo>
                  <a:pt x="121" y="50"/>
                </a:lnTo>
                <a:lnTo>
                  <a:pt x="130" y="48"/>
                </a:lnTo>
                <a:lnTo>
                  <a:pt x="138" y="45"/>
                </a:lnTo>
                <a:lnTo>
                  <a:pt x="145" y="42"/>
                </a:lnTo>
                <a:lnTo>
                  <a:pt x="150" y="39"/>
                </a:lnTo>
                <a:lnTo>
                  <a:pt x="150" y="39"/>
                </a:lnTo>
                <a:lnTo>
                  <a:pt x="151" y="37"/>
                </a:lnTo>
                <a:lnTo>
                  <a:pt x="152" y="35"/>
                </a:lnTo>
                <a:lnTo>
                  <a:pt x="153" y="29"/>
                </a:lnTo>
                <a:lnTo>
                  <a:pt x="153" y="23"/>
                </a:lnTo>
                <a:lnTo>
                  <a:pt x="152" y="21"/>
                </a:lnTo>
                <a:lnTo>
                  <a:pt x="152" y="19"/>
                </a:lnTo>
                <a:lnTo>
                  <a:pt x="152" y="19"/>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3" name="Freeform 2347"/>
          <p:cNvSpPr>
            <a:spLocks/>
          </p:cNvSpPr>
          <p:nvPr/>
        </p:nvSpPr>
        <p:spPr bwMode="auto">
          <a:xfrm>
            <a:off x="7545388" y="5229227"/>
            <a:ext cx="44450" cy="66675"/>
          </a:xfrm>
          <a:custGeom>
            <a:avLst/>
            <a:gdLst>
              <a:gd name="T0" fmla="*/ 172 w 172"/>
              <a:gd name="T1" fmla="*/ 72 h 252"/>
              <a:gd name="T2" fmla="*/ 171 w 172"/>
              <a:gd name="T3" fmla="*/ 58 h 252"/>
              <a:gd name="T4" fmla="*/ 166 w 172"/>
              <a:gd name="T5" fmla="*/ 45 h 252"/>
              <a:gd name="T6" fmla="*/ 160 w 172"/>
              <a:gd name="T7" fmla="*/ 33 h 252"/>
              <a:gd name="T8" fmla="*/ 151 w 172"/>
              <a:gd name="T9" fmla="*/ 22 h 252"/>
              <a:gd name="T10" fmla="*/ 141 w 172"/>
              <a:gd name="T11" fmla="*/ 12 h 252"/>
              <a:gd name="T12" fmla="*/ 128 w 172"/>
              <a:gd name="T13" fmla="*/ 6 h 252"/>
              <a:gd name="T14" fmla="*/ 114 w 172"/>
              <a:gd name="T15" fmla="*/ 2 h 252"/>
              <a:gd name="T16" fmla="*/ 100 w 172"/>
              <a:gd name="T17" fmla="*/ 0 h 252"/>
              <a:gd name="T18" fmla="*/ 72 w 172"/>
              <a:gd name="T19" fmla="*/ 0 h 252"/>
              <a:gd name="T20" fmla="*/ 58 w 172"/>
              <a:gd name="T21" fmla="*/ 2 h 252"/>
              <a:gd name="T22" fmla="*/ 45 w 172"/>
              <a:gd name="T23" fmla="*/ 6 h 252"/>
              <a:gd name="T24" fmla="*/ 33 w 172"/>
              <a:gd name="T25" fmla="*/ 12 h 252"/>
              <a:gd name="T26" fmla="*/ 22 w 172"/>
              <a:gd name="T27" fmla="*/ 22 h 252"/>
              <a:gd name="T28" fmla="*/ 13 w 172"/>
              <a:gd name="T29" fmla="*/ 33 h 252"/>
              <a:gd name="T30" fmla="*/ 6 w 172"/>
              <a:gd name="T31" fmla="*/ 45 h 252"/>
              <a:gd name="T32" fmla="*/ 2 w 172"/>
              <a:gd name="T33" fmla="*/ 58 h 252"/>
              <a:gd name="T34" fmla="*/ 0 w 172"/>
              <a:gd name="T35" fmla="*/ 72 h 252"/>
              <a:gd name="T36" fmla="*/ 0 w 172"/>
              <a:gd name="T37" fmla="*/ 180 h 252"/>
              <a:gd name="T38" fmla="*/ 2 w 172"/>
              <a:gd name="T39" fmla="*/ 196 h 252"/>
              <a:gd name="T40" fmla="*/ 6 w 172"/>
              <a:gd name="T41" fmla="*/ 209 h 252"/>
              <a:gd name="T42" fmla="*/ 13 w 172"/>
              <a:gd name="T43" fmla="*/ 221 h 252"/>
              <a:gd name="T44" fmla="*/ 22 w 172"/>
              <a:gd name="T45" fmla="*/ 232 h 252"/>
              <a:gd name="T46" fmla="*/ 33 w 172"/>
              <a:gd name="T47" fmla="*/ 240 h 252"/>
              <a:gd name="T48" fmla="*/ 45 w 172"/>
              <a:gd name="T49" fmla="*/ 247 h 252"/>
              <a:gd name="T50" fmla="*/ 58 w 172"/>
              <a:gd name="T51" fmla="*/ 251 h 252"/>
              <a:gd name="T52" fmla="*/ 72 w 172"/>
              <a:gd name="T53" fmla="*/ 252 h 252"/>
              <a:gd name="T54" fmla="*/ 100 w 172"/>
              <a:gd name="T55" fmla="*/ 252 h 252"/>
              <a:gd name="T56" fmla="*/ 114 w 172"/>
              <a:gd name="T57" fmla="*/ 251 h 252"/>
              <a:gd name="T58" fmla="*/ 128 w 172"/>
              <a:gd name="T59" fmla="*/ 247 h 252"/>
              <a:gd name="T60" fmla="*/ 141 w 172"/>
              <a:gd name="T61" fmla="*/ 240 h 252"/>
              <a:gd name="T62" fmla="*/ 151 w 172"/>
              <a:gd name="T63" fmla="*/ 232 h 252"/>
              <a:gd name="T64" fmla="*/ 160 w 172"/>
              <a:gd name="T65" fmla="*/ 221 h 252"/>
              <a:gd name="T66" fmla="*/ 166 w 172"/>
              <a:gd name="T67" fmla="*/ 209 h 252"/>
              <a:gd name="T68" fmla="*/ 171 w 172"/>
              <a:gd name="T69" fmla="*/ 196 h 252"/>
              <a:gd name="T70" fmla="*/ 172 w 172"/>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252">
                <a:moveTo>
                  <a:pt x="172" y="72"/>
                </a:moveTo>
                <a:lnTo>
                  <a:pt x="172" y="72"/>
                </a:lnTo>
                <a:lnTo>
                  <a:pt x="172" y="65"/>
                </a:lnTo>
                <a:lnTo>
                  <a:pt x="171" y="58"/>
                </a:lnTo>
                <a:lnTo>
                  <a:pt x="169" y="51"/>
                </a:lnTo>
                <a:lnTo>
                  <a:pt x="166" y="45"/>
                </a:lnTo>
                <a:lnTo>
                  <a:pt x="163" y="38"/>
                </a:lnTo>
                <a:lnTo>
                  <a:pt x="160" y="33"/>
                </a:lnTo>
                <a:lnTo>
                  <a:pt x="156" y="27"/>
                </a:lnTo>
                <a:lnTo>
                  <a:pt x="151" y="22"/>
                </a:lnTo>
                <a:lnTo>
                  <a:pt x="146" y="16"/>
                </a:lnTo>
                <a:lnTo>
                  <a:pt x="141" y="12"/>
                </a:lnTo>
                <a:lnTo>
                  <a:pt x="134" y="9"/>
                </a:lnTo>
                <a:lnTo>
                  <a:pt x="128" y="6"/>
                </a:lnTo>
                <a:lnTo>
                  <a:pt x="121" y="3"/>
                </a:lnTo>
                <a:lnTo>
                  <a:pt x="114" y="2"/>
                </a:lnTo>
                <a:lnTo>
                  <a:pt x="107" y="1"/>
                </a:lnTo>
                <a:lnTo>
                  <a:pt x="100" y="0"/>
                </a:lnTo>
                <a:lnTo>
                  <a:pt x="72" y="0"/>
                </a:lnTo>
                <a:lnTo>
                  <a:pt x="72" y="0"/>
                </a:lnTo>
                <a:lnTo>
                  <a:pt x="65" y="1"/>
                </a:lnTo>
                <a:lnTo>
                  <a:pt x="58" y="2"/>
                </a:lnTo>
                <a:lnTo>
                  <a:pt x="51" y="3"/>
                </a:lnTo>
                <a:lnTo>
                  <a:pt x="45" y="6"/>
                </a:lnTo>
                <a:lnTo>
                  <a:pt x="39" y="9"/>
                </a:lnTo>
                <a:lnTo>
                  <a:pt x="33" y="12"/>
                </a:lnTo>
                <a:lnTo>
                  <a:pt x="27" y="16"/>
                </a:lnTo>
                <a:lnTo>
                  <a:pt x="22" y="22"/>
                </a:lnTo>
                <a:lnTo>
                  <a:pt x="18" y="27"/>
                </a:lnTo>
                <a:lnTo>
                  <a:pt x="13" y="33"/>
                </a:lnTo>
                <a:lnTo>
                  <a:pt x="9" y="38"/>
                </a:lnTo>
                <a:lnTo>
                  <a:pt x="6" y="45"/>
                </a:lnTo>
                <a:lnTo>
                  <a:pt x="4" y="51"/>
                </a:lnTo>
                <a:lnTo>
                  <a:pt x="2" y="58"/>
                </a:lnTo>
                <a:lnTo>
                  <a:pt x="1" y="65"/>
                </a:lnTo>
                <a:lnTo>
                  <a:pt x="0" y="72"/>
                </a:lnTo>
                <a:lnTo>
                  <a:pt x="0" y="180"/>
                </a:lnTo>
                <a:lnTo>
                  <a:pt x="0" y="180"/>
                </a:lnTo>
                <a:lnTo>
                  <a:pt x="1" y="188"/>
                </a:lnTo>
                <a:lnTo>
                  <a:pt x="2" y="196"/>
                </a:lnTo>
                <a:lnTo>
                  <a:pt x="4" y="202"/>
                </a:lnTo>
                <a:lnTo>
                  <a:pt x="6" y="209"/>
                </a:lnTo>
                <a:lnTo>
                  <a:pt x="9" y="215"/>
                </a:lnTo>
                <a:lnTo>
                  <a:pt x="13" y="221"/>
                </a:lnTo>
                <a:lnTo>
                  <a:pt x="18" y="227"/>
                </a:lnTo>
                <a:lnTo>
                  <a:pt x="22" y="232"/>
                </a:lnTo>
                <a:lnTo>
                  <a:pt x="27" y="236"/>
                </a:lnTo>
                <a:lnTo>
                  <a:pt x="33" y="240"/>
                </a:lnTo>
                <a:lnTo>
                  <a:pt x="39" y="244"/>
                </a:lnTo>
                <a:lnTo>
                  <a:pt x="45" y="247"/>
                </a:lnTo>
                <a:lnTo>
                  <a:pt x="51" y="249"/>
                </a:lnTo>
                <a:lnTo>
                  <a:pt x="58" y="251"/>
                </a:lnTo>
                <a:lnTo>
                  <a:pt x="65" y="252"/>
                </a:lnTo>
                <a:lnTo>
                  <a:pt x="72" y="252"/>
                </a:lnTo>
                <a:lnTo>
                  <a:pt x="100" y="252"/>
                </a:lnTo>
                <a:lnTo>
                  <a:pt x="100" y="252"/>
                </a:lnTo>
                <a:lnTo>
                  <a:pt x="107" y="252"/>
                </a:lnTo>
                <a:lnTo>
                  <a:pt x="114" y="251"/>
                </a:lnTo>
                <a:lnTo>
                  <a:pt x="121" y="249"/>
                </a:lnTo>
                <a:lnTo>
                  <a:pt x="128" y="247"/>
                </a:lnTo>
                <a:lnTo>
                  <a:pt x="134" y="244"/>
                </a:lnTo>
                <a:lnTo>
                  <a:pt x="141" y="240"/>
                </a:lnTo>
                <a:lnTo>
                  <a:pt x="146" y="236"/>
                </a:lnTo>
                <a:lnTo>
                  <a:pt x="151" y="232"/>
                </a:lnTo>
                <a:lnTo>
                  <a:pt x="156" y="227"/>
                </a:lnTo>
                <a:lnTo>
                  <a:pt x="160" y="221"/>
                </a:lnTo>
                <a:lnTo>
                  <a:pt x="163" y="215"/>
                </a:lnTo>
                <a:lnTo>
                  <a:pt x="166" y="209"/>
                </a:lnTo>
                <a:lnTo>
                  <a:pt x="169" y="202"/>
                </a:lnTo>
                <a:lnTo>
                  <a:pt x="171" y="196"/>
                </a:lnTo>
                <a:lnTo>
                  <a:pt x="172" y="188"/>
                </a:lnTo>
                <a:lnTo>
                  <a:pt x="172" y="180"/>
                </a:lnTo>
                <a:lnTo>
                  <a:pt x="172"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4" name="Freeform 2348"/>
          <p:cNvSpPr>
            <a:spLocks/>
          </p:cNvSpPr>
          <p:nvPr/>
        </p:nvSpPr>
        <p:spPr bwMode="auto">
          <a:xfrm>
            <a:off x="7546977" y="5224463"/>
            <a:ext cx="41275" cy="14288"/>
          </a:xfrm>
          <a:custGeom>
            <a:avLst/>
            <a:gdLst>
              <a:gd name="T0" fmla="*/ 152 w 154"/>
              <a:gd name="T1" fmla="*/ 18 h 55"/>
              <a:gd name="T2" fmla="*/ 152 w 154"/>
              <a:gd name="T3" fmla="*/ 18 h 55"/>
              <a:gd name="T4" fmla="*/ 147 w 154"/>
              <a:gd name="T5" fmla="*/ 14 h 55"/>
              <a:gd name="T6" fmla="*/ 141 w 154"/>
              <a:gd name="T7" fmla="*/ 11 h 55"/>
              <a:gd name="T8" fmla="*/ 133 w 154"/>
              <a:gd name="T9" fmla="*/ 8 h 55"/>
              <a:gd name="T10" fmla="*/ 123 w 154"/>
              <a:gd name="T11" fmla="*/ 5 h 55"/>
              <a:gd name="T12" fmla="*/ 113 w 154"/>
              <a:gd name="T13" fmla="*/ 3 h 55"/>
              <a:gd name="T14" fmla="*/ 102 w 154"/>
              <a:gd name="T15" fmla="*/ 1 h 55"/>
              <a:gd name="T16" fmla="*/ 90 w 154"/>
              <a:gd name="T17" fmla="*/ 0 h 55"/>
              <a:gd name="T18" fmla="*/ 78 w 154"/>
              <a:gd name="T19" fmla="*/ 0 h 55"/>
              <a:gd name="T20" fmla="*/ 78 w 154"/>
              <a:gd name="T21" fmla="*/ 0 h 55"/>
              <a:gd name="T22" fmla="*/ 64 w 154"/>
              <a:gd name="T23" fmla="*/ 0 h 55"/>
              <a:gd name="T24" fmla="*/ 52 w 154"/>
              <a:gd name="T25" fmla="*/ 1 h 55"/>
              <a:gd name="T26" fmla="*/ 41 w 154"/>
              <a:gd name="T27" fmla="*/ 3 h 55"/>
              <a:gd name="T28" fmla="*/ 31 w 154"/>
              <a:gd name="T29" fmla="*/ 5 h 55"/>
              <a:gd name="T30" fmla="*/ 22 w 154"/>
              <a:gd name="T31" fmla="*/ 8 h 55"/>
              <a:gd name="T32" fmla="*/ 14 w 154"/>
              <a:gd name="T33" fmla="*/ 11 h 55"/>
              <a:gd name="T34" fmla="*/ 7 w 154"/>
              <a:gd name="T35" fmla="*/ 15 h 55"/>
              <a:gd name="T36" fmla="*/ 2 w 154"/>
              <a:gd name="T37" fmla="*/ 19 h 55"/>
              <a:gd name="T38" fmla="*/ 2 w 154"/>
              <a:gd name="T39" fmla="*/ 19 h 55"/>
              <a:gd name="T40" fmla="*/ 1 w 154"/>
              <a:gd name="T41" fmla="*/ 22 h 55"/>
              <a:gd name="T42" fmla="*/ 0 w 154"/>
              <a:gd name="T43" fmla="*/ 27 h 55"/>
              <a:gd name="T44" fmla="*/ 1 w 154"/>
              <a:gd name="T45" fmla="*/ 33 h 55"/>
              <a:gd name="T46" fmla="*/ 3 w 154"/>
              <a:gd name="T47" fmla="*/ 37 h 55"/>
              <a:gd name="T48" fmla="*/ 3 w 154"/>
              <a:gd name="T49" fmla="*/ 37 h 55"/>
              <a:gd name="T50" fmla="*/ 9 w 154"/>
              <a:gd name="T51" fmla="*/ 41 h 55"/>
              <a:gd name="T52" fmla="*/ 15 w 154"/>
              <a:gd name="T53" fmla="*/ 44 h 55"/>
              <a:gd name="T54" fmla="*/ 23 w 154"/>
              <a:gd name="T55" fmla="*/ 47 h 55"/>
              <a:gd name="T56" fmla="*/ 32 w 154"/>
              <a:gd name="T57" fmla="*/ 50 h 55"/>
              <a:gd name="T58" fmla="*/ 42 w 154"/>
              <a:gd name="T59" fmla="*/ 52 h 55"/>
              <a:gd name="T60" fmla="*/ 53 w 154"/>
              <a:gd name="T61" fmla="*/ 53 h 55"/>
              <a:gd name="T62" fmla="*/ 65 w 154"/>
              <a:gd name="T63" fmla="*/ 54 h 55"/>
              <a:gd name="T64" fmla="*/ 78 w 154"/>
              <a:gd name="T65" fmla="*/ 55 h 55"/>
              <a:gd name="T66" fmla="*/ 78 w 154"/>
              <a:gd name="T67" fmla="*/ 55 h 55"/>
              <a:gd name="T68" fmla="*/ 90 w 154"/>
              <a:gd name="T69" fmla="*/ 54 h 55"/>
              <a:gd name="T70" fmla="*/ 101 w 154"/>
              <a:gd name="T71" fmla="*/ 53 h 55"/>
              <a:gd name="T72" fmla="*/ 111 w 154"/>
              <a:gd name="T73" fmla="*/ 52 h 55"/>
              <a:gd name="T74" fmla="*/ 121 w 154"/>
              <a:gd name="T75" fmla="*/ 50 h 55"/>
              <a:gd name="T76" fmla="*/ 131 w 154"/>
              <a:gd name="T77" fmla="*/ 48 h 55"/>
              <a:gd name="T78" fmla="*/ 139 w 154"/>
              <a:gd name="T79" fmla="*/ 45 h 55"/>
              <a:gd name="T80" fmla="*/ 145 w 154"/>
              <a:gd name="T81" fmla="*/ 42 h 55"/>
              <a:gd name="T82" fmla="*/ 150 w 154"/>
              <a:gd name="T83" fmla="*/ 38 h 55"/>
              <a:gd name="T84" fmla="*/ 150 w 154"/>
              <a:gd name="T85" fmla="*/ 38 h 55"/>
              <a:gd name="T86" fmla="*/ 152 w 154"/>
              <a:gd name="T87" fmla="*/ 37 h 55"/>
              <a:gd name="T88" fmla="*/ 153 w 154"/>
              <a:gd name="T89" fmla="*/ 33 h 55"/>
              <a:gd name="T90" fmla="*/ 154 w 154"/>
              <a:gd name="T91" fmla="*/ 27 h 55"/>
              <a:gd name="T92" fmla="*/ 153 w 154"/>
              <a:gd name="T93" fmla="*/ 22 h 55"/>
              <a:gd name="T94" fmla="*/ 153 w 154"/>
              <a:gd name="T95" fmla="*/ 19 h 55"/>
              <a:gd name="T96" fmla="*/ 152 w 154"/>
              <a:gd name="T97" fmla="*/ 18 h 55"/>
              <a:gd name="T98" fmla="*/ 152 w 154"/>
              <a:gd name="T99"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55">
                <a:moveTo>
                  <a:pt x="152" y="18"/>
                </a:moveTo>
                <a:lnTo>
                  <a:pt x="152" y="18"/>
                </a:lnTo>
                <a:lnTo>
                  <a:pt x="147" y="14"/>
                </a:lnTo>
                <a:lnTo>
                  <a:pt x="141" y="11"/>
                </a:lnTo>
                <a:lnTo>
                  <a:pt x="133" y="8"/>
                </a:lnTo>
                <a:lnTo>
                  <a:pt x="123" y="5"/>
                </a:lnTo>
                <a:lnTo>
                  <a:pt x="113" y="3"/>
                </a:lnTo>
                <a:lnTo>
                  <a:pt x="102" y="1"/>
                </a:lnTo>
                <a:lnTo>
                  <a:pt x="90" y="0"/>
                </a:lnTo>
                <a:lnTo>
                  <a:pt x="78" y="0"/>
                </a:lnTo>
                <a:lnTo>
                  <a:pt x="78" y="0"/>
                </a:lnTo>
                <a:lnTo>
                  <a:pt x="64" y="0"/>
                </a:lnTo>
                <a:lnTo>
                  <a:pt x="52" y="1"/>
                </a:lnTo>
                <a:lnTo>
                  <a:pt x="41" y="3"/>
                </a:lnTo>
                <a:lnTo>
                  <a:pt x="31" y="5"/>
                </a:lnTo>
                <a:lnTo>
                  <a:pt x="22" y="8"/>
                </a:lnTo>
                <a:lnTo>
                  <a:pt x="14" y="11"/>
                </a:lnTo>
                <a:lnTo>
                  <a:pt x="7" y="15"/>
                </a:lnTo>
                <a:lnTo>
                  <a:pt x="2" y="19"/>
                </a:lnTo>
                <a:lnTo>
                  <a:pt x="2" y="19"/>
                </a:lnTo>
                <a:lnTo>
                  <a:pt x="1" y="22"/>
                </a:lnTo>
                <a:lnTo>
                  <a:pt x="0" y="27"/>
                </a:lnTo>
                <a:lnTo>
                  <a:pt x="1" y="33"/>
                </a:lnTo>
                <a:lnTo>
                  <a:pt x="3" y="37"/>
                </a:lnTo>
                <a:lnTo>
                  <a:pt x="3" y="37"/>
                </a:lnTo>
                <a:lnTo>
                  <a:pt x="9" y="41"/>
                </a:lnTo>
                <a:lnTo>
                  <a:pt x="15" y="44"/>
                </a:lnTo>
                <a:lnTo>
                  <a:pt x="23" y="47"/>
                </a:lnTo>
                <a:lnTo>
                  <a:pt x="32" y="50"/>
                </a:lnTo>
                <a:lnTo>
                  <a:pt x="42" y="52"/>
                </a:lnTo>
                <a:lnTo>
                  <a:pt x="53" y="53"/>
                </a:lnTo>
                <a:lnTo>
                  <a:pt x="65" y="54"/>
                </a:lnTo>
                <a:lnTo>
                  <a:pt x="78" y="55"/>
                </a:lnTo>
                <a:lnTo>
                  <a:pt x="78" y="55"/>
                </a:lnTo>
                <a:lnTo>
                  <a:pt x="90" y="54"/>
                </a:lnTo>
                <a:lnTo>
                  <a:pt x="101" y="53"/>
                </a:lnTo>
                <a:lnTo>
                  <a:pt x="111" y="52"/>
                </a:lnTo>
                <a:lnTo>
                  <a:pt x="121" y="50"/>
                </a:lnTo>
                <a:lnTo>
                  <a:pt x="131" y="48"/>
                </a:lnTo>
                <a:lnTo>
                  <a:pt x="139" y="45"/>
                </a:lnTo>
                <a:lnTo>
                  <a:pt x="145" y="42"/>
                </a:lnTo>
                <a:lnTo>
                  <a:pt x="150" y="38"/>
                </a:lnTo>
                <a:lnTo>
                  <a:pt x="150" y="38"/>
                </a:lnTo>
                <a:lnTo>
                  <a:pt x="152" y="37"/>
                </a:lnTo>
                <a:lnTo>
                  <a:pt x="153" y="33"/>
                </a:lnTo>
                <a:lnTo>
                  <a:pt x="154" y="27"/>
                </a:lnTo>
                <a:lnTo>
                  <a:pt x="153" y="22"/>
                </a:lnTo>
                <a:lnTo>
                  <a:pt x="153" y="19"/>
                </a:lnTo>
                <a:lnTo>
                  <a:pt x="152" y="18"/>
                </a:lnTo>
                <a:lnTo>
                  <a:pt x="152"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5" name="Freeform 2349"/>
          <p:cNvSpPr>
            <a:spLocks/>
          </p:cNvSpPr>
          <p:nvPr/>
        </p:nvSpPr>
        <p:spPr bwMode="auto">
          <a:xfrm>
            <a:off x="7610476" y="5221289"/>
            <a:ext cx="46038" cy="66675"/>
          </a:xfrm>
          <a:custGeom>
            <a:avLst/>
            <a:gdLst>
              <a:gd name="T0" fmla="*/ 171 w 171"/>
              <a:gd name="T1" fmla="*/ 72 h 252"/>
              <a:gd name="T2" fmla="*/ 170 w 171"/>
              <a:gd name="T3" fmla="*/ 58 h 252"/>
              <a:gd name="T4" fmla="*/ 166 w 171"/>
              <a:gd name="T5" fmla="*/ 43 h 252"/>
              <a:gd name="T6" fmla="*/ 159 w 171"/>
              <a:gd name="T7" fmla="*/ 31 h 252"/>
              <a:gd name="T8" fmla="*/ 150 w 171"/>
              <a:gd name="T9" fmla="*/ 21 h 252"/>
              <a:gd name="T10" fmla="*/ 140 w 171"/>
              <a:gd name="T11" fmla="*/ 12 h 252"/>
              <a:gd name="T12" fmla="*/ 128 w 171"/>
              <a:gd name="T13" fmla="*/ 5 h 252"/>
              <a:gd name="T14" fmla="*/ 114 w 171"/>
              <a:gd name="T15" fmla="*/ 1 h 252"/>
              <a:gd name="T16" fmla="*/ 99 w 171"/>
              <a:gd name="T17" fmla="*/ 0 h 252"/>
              <a:gd name="T18" fmla="*/ 73 w 171"/>
              <a:gd name="T19" fmla="*/ 0 h 252"/>
              <a:gd name="T20" fmla="*/ 57 w 171"/>
              <a:gd name="T21" fmla="*/ 1 h 252"/>
              <a:gd name="T22" fmla="*/ 44 w 171"/>
              <a:gd name="T23" fmla="*/ 5 h 252"/>
              <a:gd name="T24" fmla="*/ 32 w 171"/>
              <a:gd name="T25" fmla="*/ 12 h 252"/>
              <a:gd name="T26" fmla="*/ 21 w 171"/>
              <a:gd name="T27" fmla="*/ 21 h 252"/>
              <a:gd name="T28" fmla="*/ 13 w 171"/>
              <a:gd name="T29" fmla="*/ 31 h 252"/>
              <a:gd name="T30" fmla="*/ 6 w 171"/>
              <a:gd name="T31" fmla="*/ 43 h 252"/>
              <a:gd name="T32" fmla="*/ 1 w 171"/>
              <a:gd name="T33" fmla="*/ 58 h 252"/>
              <a:gd name="T34" fmla="*/ 0 w 171"/>
              <a:gd name="T35" fmla="*/ 72 h 252"/>
              <a:gd name="T36" fmla="*/ 0 w 171"/>
              <a:gd name="T37" fmla="*/ 180 h 252"/>
              <a:gd name="T38" fmla="*/ 1 w 171"/>
              <a:gd name="T39" fmla="*/ 194 h 252"/>
              <a:gd name="T40" fmla="*/ 6 w 171"/>
              <a:gd name="T41" fmla="*/ 208 h 252"/>
              <a:gd name="T42" fmla="*/ 13 w 171"/>
              <a:gd name="T43" fmla="*/ 220 h 252"/>
              <a:gd name="T44" fmla="*/ 21 w 171"/>
              <a:gd name="T45" fmla="*/ 231 h 252"/>
              <a:gd name="T46" fmla="*/ 32 w 171"/>
              <a:gd name="T47" fmla="*/ 240 h 252"/>
              <a:gd name="T48" fmla="*/ 44 w 171"/>
              <a:gd name="T49" fmla="*/ 246 h 252"/>
              <a:gd name="T50" fmla="*/ 57 w 171"/>
              <a:gd name="T51" fmla="*/ 250 h 252"/>
              <a:gd name="T52" fmla="*/ 73 w 171"/>
              <a:gd name="T53" fmla="*/ 252 h 252"/>
              <a:gd name="T54" fmla="*/ 99 w 171"/>
              <a:gd name="T55" fmla="*/ 252 h 252"/>
              <a:gd name="T56" fmla="*/ 114 w 171"/>
              <a:gd name="T57" fmla="*/ 250 h 252"/>
              <a:gd name="T58" fmla="*/ 128 w 171"/>
              <a:gd name="T59" fmla="*/ 246 h 252"/>
              <a:gd name="T60" fmla="*/ 140 w 171"/>
              <a:gd name="T61" fmla="*/ 240 h 252"/>
              <a:gd name="T62" fmla="*/ 150 w 171"/>
              <a:gd name="T63" fmla="*/ 231 h 252"/>
              <a:gd name="T64" fmla="*/ 159 w 171"/>
              <a:gd name="T65" fmla="*/ 220 h 252"/>
              <a:gd name="T66" fmla="*/ 166 w 171"/>
              <a:gd name="T67" fmla="*/ 208 h 252"/>
              <a:gd name="T68" fmla="*/ 170 w 171"/>
              <a:gd name="T69" fmla="*/ 194 h 252"/>
              <a:gd name="T70" fmla="*/ 171 w 171"/>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 h="252">
                <a:moveTo>
                  <a:pt x="171" y="72"/>
                </a:moveTo>
                <a:lnTo>
                  <a:pt x="171" y="72"/>
                </a:lnTo>
                <a:lnTo>
                  <a:pt x="171" y="65"/>
                </a:lnTo>
                <a:lnTo>
                  <a:pt x="170" y="58"/>
                </a:lnTo>
                <a:lnTo>
                  <a:pt x="168" y="51"/>
                </a:lnTo>
                <a:lnTo>
                  <a:pt x="166" y="43"/>
                </a:lnTo>
                <a:lnTo>
                  <a:pt x="163" y="37"/>
                </a:lnTo>
                <a:lnTo>
                  <a:pt x="159" y="31"/>
                </a:lnTo>
                <a:lnTo>
                  <a:pt x="155" y="26"/>
                </a:lnTo>
                <a:lnTo>
                  <a:pt x="150" y="21"/>
                </a:lnTo>
                <a:lnTo>
                  <a:pt x="145" y="16"/>
                </a:lnTo>
                <a:lnTo>
                  <a:pt x="140" y="12"/>
                </a:lnTo>
                <a:lnTo>
                  <a:pt x="134" y="8"/>
                </a:lnTo>
                <a:lnTo>
                  <a:pt x="128" y="5"/>
                </a:lnTo>
                <a:lnTo>
                  <a:pt x="120" y="3"/>
                </a:lnTo>
                <a:lnTo>
                  <a:pt x="114" y="1"/>
                </a:lnTo>
                <a:lnTo>
                  <a:pt x="106" y="0"/>
                </a:lnTo>
                <a:lnTo>
                  <a:pt x="99" y="0"/>
                </a:lnTo>
                <a:lnTo>
                  <a:pt x="73" y="0"/>
                </a:lnTo>
                <a:lnTo>
                  <a:pt x="73" y="0"/>
                </a:lnTo>
                <a:lnTo>
                  <a:pt x="65" y="0"/>
                </a:lnTo>
                <a:lnTo>
                  <a:pt x="57" y="1"/>
                </a:lnTo>
                <a:lnTo>
                  <a:pt x="50" y="3"/>
                </a:lnTo>
                <a:lnTo>
                  <a:pt x="44" y="5"/>
                </a:lnTo>
                <a:lnTo>
                  <a:pt x="38" y="8"/>
                </a:lnTo>
                <a:lnTo>
                  <a:pt x="32" y="12"/>
                </a:lnTo>
                <a:lnTo>
                  <a:pt x="26" y="16"/>
                </a:lnTo>
                <a:lnTo>
                  <a:pt x="21" y="21"/>
                </a:lnTo>
                <a:lnTo>
                  <a:pt x="17" y="26"/>
                </a:lnTo>
                <a:lnTo>
                  <a:pt x="13" y="31"/>
                </a:lnTo>
                <a:lnTo>
                  <a:pt x="9" y="37"/>
                </a:lnTo>
                <a:lnTo>
                  <a:pt x="6" y="43"/>
                </a:lnTo>
                <a:lnTo>
                  <a:pt x="3" y="51"/>
                </a:lnTo>
                <a:lnTo>
                  <a:pt x="1" y="58"/>
                </a:lnTo>
                <a:lnTo>
                  <a:pt x="0" y="65"/>
                </a:lnTo>
                <a:lnTo>
                  <a:pt x="0" y="72"/>
                </a:lnTo>
                <a:lnTo>
                  <a:pt x="0" y="180"/>
                </a:lnTo>
                <a:lnTo>
                  <a:pt x="0" y="180"/>
                </a:lnTo>
                <a:lnTo>
                  <a:pt x="0" y="187"/>
                </a:lnTo>
                <a:lnTo>
                  <a:pt x="1" y="194"/>
                </a:lnTo>
                <a:lnTo>
                  <a:pt x="3" y="201"/>
                </a:lnTo>
                <a:lnTo>
                  <a:pt x="6" y="208"/>
                </a:lnTo>
                <a:lnTo>
                  <a:pt x="9" y="214"/>
                </a:lnTo>
                <a:lnTo>
                  <a:pt x="13" y="220"/>
                </a:lnTo>
                <a:lnTo>
                  <a:pt x="17" y="226"/>
                </a:lnTo>
                <a:lnTo>
                  <a:pt x="21" y="231"/>
                </a:lnTo>
                <a:lnTo>
                  <a:pt x="26" y="236"/>
                </a:lnTo>
                <a:lnTo>
                  <a:pt x="32" y="240"/>
                </a:lnTo>
                <a:lnTo>
                  <a:pt x="38" y="243"/>
                </a:lnTo>
                <a:lnTo>
                  <a:pt x="44" y="246"/>
                </a:lnTo>
                <a:lnTo>
                  <a:pt x="50" y="249"/>
                </a:lnTo>
                <a:lnTo>
                  <a:pt x="57" y="250"/>
                </a:lnTo>
                <a:lnTo>
                  <a:pt x="65" y="252"/>
                </a:lnTo>
                <a:lnTo>
                  <a:pt x="73" y="252"/>
                </a:lnTo>
                <a:lnTo>
                  <a:pt x="99" y="252"/>
                </a:lnTo>
                <a:lnTo>
                  <a:pt x="99" y="252"/>
                </a:lnTo>
                <a:lnTo>
                  <a:pt x="106" y="252"/>
                </a:lnTo>
                <a:lnTo>
                  <a:pt x="114" y="250"/>
                </a:lnTo>
                <a:lnTo>
                  <a:pt x="120" y="249"/>
                </a:lnTo>
                <a:lnTo>
                  <a:pt x="128" y="246"/>
                </a:lnTo>
                <a:lnTo>
                  <a:pt x="134" y="243"/>
                </a:lnTo>
                <a:lnTo>
                  <a:pt x="140" y="240"/>
                </a:lnTo>
                <a:lnTo>
                  <a:pt x="145" y="236"/>
                </a:lnTo>
                <a:lnTo>
                  <a:pt x="150" y="231"/>
                </a:lnTo>
                <a:lnTo>
                  <a:pt x="155" y="226"/>
                </a:lnTo>
                <a:lnTo>
                  <a:pt x="159" y="220"/>
                </a:lnTo>
                <a:lnTo>
                  <a:pt x="163" y="214"/>
                </a:lnTo>
                <a:lnTo>
                  <a:pt x="166" y="208"/>
                </a:lnTo>
                <a:lnTo>
                  <a:pt x="168" y="201"/>
                </a:lnTo>
                <a:lnTo>
                  <a:pt x="170" y="194"/>
                </a:lnTo>
                <a:lnTo>
                  <a:pt x="171" y="187"/>
                </a:lnTo>
                <a:lnTo>
                  <a:pt x="171" y="180"/>
                </a:lnTo>
                <a:lnTo>
                  <a:pt x="171"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6" name="Freeform 2350"/>
          <p:cNvSpPr>
            <a:spLocks/>
          </p:cNvSpPr>
          <p:nvPr/>
        </p:nvSpPr>
        <p:spPr bwMode="auto">
          <a:xfrm>
            <a:off x="7613651" y="5218113"/>
            <a:ext cx="39688" cy="14288"/>
          </a:xfrm>
          <a:custGeom>
            <a:avLst/>
            <a:gdLst>
              <a:gd name="T0" fmla="*/ 151 w 153"/>
              <a:gd name="T1" fmla="*/ 18 h 54"/>
              <a:gd name="T2" fmla="*/ 151 w 153"/>
              <a:gd name="T3" fmla="*/ 18 h 54"/>
              <a:gd name="T4" fmla="*/ 146 w 153"/>
              <a:gd name="T5" fmla="*/ 15 h 54"/>
              <a:gd name="T6" fmla="*/ 140 w 153"/>
              <a:gd name="T7" fmla="*/ 11 h 54"/>
              <a:gd name="T8" fmla="*/ 132 w 153"/>
              <a:gd name="T9" fmla="*/ 8 h 54"/>
              <a:gd name="T10" fmla="*/ 123 w 153"/>
              <a:gd name="T11" fmla="*/ 6 h 54"/>
              <a:gd name="T12" fmla="*/ 112 w 153"/>
              <a:gd name="T13" fmla="*/ 2 h 54"/>
              <a:gd name="T14" fmla="*/ 101 w 153"/>
              <a:gd name="T15" fmla="*/ 1 h 54"/>
              <a:gd name="T16" fmla="*/ 89 w 153"/>
              <a:gd name="T17" fmla="*/ 0 h 54"/>
              <a:gd name="T18" fmla="*/ 77 w 153"/>
              <a:gd name="T19" fmla="*/ 0 h 54"/>
              <a:gd name="T20" fmla="*/ 77 w 153"/>
              <a:gd name="T21" fmla="*/ 0 h 54"/>
              <a:gd name="T22" fmla="*/ 64 w 153"/>
              <a:gd name="T23" fmla="*/ 0 h 54"/>
              <a:gd name="T24" fmla="*/ 51 w 153"/>
              <a:gd name="T25" fmla="*/ 1 h 54"/>
              <a:gd name="T26" fmla="*/ 40 w 153"/>
              <a:gd name="T27" fmla="*/ 3 h 54"/>
              <a:gd name="T28" fmla="*/ 30 w 153"/>
              <a:gd name="T29" fmla="*/ 6 h 54"/>
              <a:gd name="T30" fmla="*/ 21 w 153"/>
              <a:gd name="T31" fmla="*/ 9 h 54"/>
              <a:gd name="T32" fmla="*/ 13 w 153"/>
              <a:gd name="T33" fmla="*/ 12 h 54"/>
              <a:gd name="T34" fmla="*/ 7 w 153"/>
              <a:gd name="T35" fmla="*/ 15 h 54"/>
              <a:gd name="T36" fmla="*/ 2 w 153"/>
              <a:gd name="T37" fmla="*/ 19 h 54"/>
              <a:gd name="T38" fmla="*/ 2 w 153"/>
              <a:gd name="T39" fmla="*/ 19 h 54"/>
              <a:gd name="T40" fmla="*/ 1 w 153"/>
              <a:gd name="T41" fmla="*/ 23 h 54"/>
              <a:gd name="T42" fmla="*/ 0 w 153"/>
              <a:gd name="T43" fmla="*/ 28 h 54"/>
              <a:gd name="T44" fmla="*/ 1 w 153"/>
              <a:gd name="T45" fmla="*/ 33 h 54"/>
              <a:gd name="T46" fmla="*/ 3 w 153"/>
              <a:gd name="T47" fmla="*/ 37 h 54"/>
              <a:gd name="T48" fmla="*/ 3 w 153"/>
              <a:gd name="T49" fmla="*/ 37 h 54"/>
              <a:gd name="T50" fmla="*/ 8 w 153"/>
              <a:gd name="T51" fmla="*/ 40 h 54"/>
              <a:gd name="T52" fmla="*/ 15 w 153"/>
              <a:gd name="T53" fmla="*/ 44 h 54"/>
              <a:gd name="T54" fmla="*/ 22 w 153"/>
              <a:gd name="T55" fmla="*/ 47 h 54"/>
              <a:gd name="T56" fmla="*/ 31 w 153"/>
              <a:gd name="T57" fmla="*/ 49 h 54"/>
              <a:gd name="T58" fmla="*/ 41 w 153"/>
              <a:gd name="T59" fmla="*/ 51 h 54"/>
              <a:gd name="T60" fmla="*/ 52 w 153"/>
              <a:gd name="T61" fmla="*/ 53 h 54"/>
              <a:gd name="T62" fmla="*/ 65 w 153"/>
              <a:gd name="T63" fmla="*/ 54 h 54"/>
              <a:gd name="T64" fmla="*/ 77 w 153"/>
              <a:gd name="T65" fmla="*/ 54 h 54"/>
              <a:gd name="T66" fmla="*/ 77 w 153"/>
              <a:gd name="T67" fmla="*/ 54 h 54"/>
              <a:gd name="T68" fmla="*/ 89 w 153"/>
              <a:gd name="T69" fmla="*/ 54 h 54"/>
              <a:gd name="T70" fmla="*/ 100 w 153"/>
              <a:gd name="T71" fmla="*/ 53 h 54"/>
              <a:gd name="T72" fmla="*/ 111 w 153"/>
              <a:gd name="T73" fmla="*/ 51 h 54"/>
              <a:gd name="T74" fmla="*/ 121 w 153"/>
              <a:gd name="T75" fmla="*/ 50 h 54"/>
              <a:gd name="T76" fmla="*/ 130 w 153"/>
              <a:gd name="T77" fmla="*/ 47 h 54"/>
              <a:gd name="T78" fmla="*/ 138 w 153"/>
              <a:gd name="T79" fmla="*/ 44 h 54"/>
              <a:gd name="T80" fmla="*/ 144 w 153"/>
              <a:gd name="T81" fmla="*/ 41 h 54"/>
              <a:gd name="T82" fmla="*/ 149 w 153"/>
              <a:gd name="T83" fmla="*/ 38 h 54"/>
              <a:gd name="T84" fmla="*/ 149 w 153"/>
              <a:gd name="T85" fmla="*/ 38 h 54"/>
              <a:gd name="T86" fmla="*/ 151 w 153"/>
              <a:gd name="T87" fmla="*/ 36 h 54"/>
              <a:gd name="T88" fmla="*/ 152 w 153"/>
              <a:gd name="T89" fmla="*/ 34 h 54"/>
              <a:gd name="T90" fmla="*/ 153 w 153"/>
              <a:gd name="T91" fmla="*/ 28 h 54"/>
              <a:gd name="T92" fmla="*/ 153 w 153"/>
              <a:gd name="T93" fmla="*/ 22 h 54"/>
              <a:gd name="T94" fmla="*/ 152 w 153"/>
              <a:gd name="T95" fmla="*/ 20 h 54"/>
              <a:gd name="T96" fmla="*/ 151 w 153"/>
              <a:gd name="T97" fmla="*/ 18 h 54"/>
              <a:gd name="T98" fmla="*/ 151 w 153"/>
              <a:gd name="T9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3" h="54">
                <a:moveTo>
                  <a:pt x="151" y="18"/>
                </a:moveTo>
                <a:lnTo>
                  <a:pt x="151" y="18"/>
                </a:lnTo>
                <a:lnTo>
                  <a:pt x="146" y="15"/>
                </a:lnTo>
                <a:lnTo>
                  <a:pt x="140" y="11"/>
                </a:lnTo>
                <a:lnTo>
                  <a:pt x="132" y="8"/>
                </a:lnTo>
                <a:lnTo>
                  <a:pt x="123" y="6"/>
                </a:lnTo>
                <a:lnTo>
                  <a:pt x="112" y="2"/>
                </a:lnTo>
                <a:lnTo>
                  <a:pt x="101" y="1"/>
                </a:lnTo>
                <a:lnTo>
                  <a:pt x="89" y="0"/>
                </a:lnTo>
                <a:lnTo>
                  <a:pt x="77" y="0"/>
                </a:lnTo>
                <a:lnTo>
                  <a:pt x="77" y="0"/>
                </a:lnTo>
                <a:lnTo>
                  <a:pt x="64" y="0"/>
                </a:lnTo>
                <a:lnTo>
                  <a:pt x="51" y="1"/>
                </a:lnTo>
                <a:lnTo>
                  <a:pt x="40" y="3"/>
                </a:lnTo>
                <a:lnTo>
                  <a:pt x="30" y="6"/>
                </a:lnTo>
                <a:lnTo>
                  <a:pt x="21" y="9"/>
                </a:lnTo>
                <a:lnTo>
                  <a:pt x="13" y="12"/>
                </a:lnTo>
                <a:lnTo>
                  <a:pt x="7" y="15"/>
                </a:lnTo>
                <a:lnTo>
                  <a:pt x="2" y="19"/>
                </a:lnTo>
                <a:lnTo>
                  <a:pt x="2" y="19"/>
                </a:lnTo>
                <a:lnTo>
                  <a:pt x="1" y="23"/>
                </a:lnTo>
                <a:lnTo>
                  <a:pt x="0" y="28"/>
                </a:lnTo>
                <a:lnTo>
                  <a:pt x="1" y="33"/>
                </a:lnTo>
                <a:lnTo>
                  <a:pt x="3" y="37"/>
                </a:lnTo>
                <a:lnTo>
                  <a:pt x="3" y="37"/>
                </a:lnTo>
                <a:lnTo>
                  <a:pt x="8" y="40"/>
                </a:lnTo>
                <a:lnTo>
                  <a:pt x="15" y="44"/>
                </a:lnTo>
                <a:lnTo>
                  <a:pt x="22" y="47"/>
                </a:lnTo>
                <a:lnTo>
                  <a:pt x="31" y="49"/>
                </a:lnTo>
                <a:lnTo>
                  <a:pt x="41" y="51"/>
                </a:lnTo>
                <a:lnTo>
                  <a:pt x="52" y="53"/>
                </a:lnTo>
                <a:lnTo>
                  <a:pt x="65" y="54"/>
                </a:lnTo>
                <a:lnTo>
                  <a:pt x="77" y="54"/>
                </a:lnTo>
                <a:lnTo>
                  <a:pt x="77" y="54"/>
                </a:lnTo>
                <a:lnTo>
                  <a:pt x="89" y="54"/>
                </a:lnTo>
                <a:lnTo>
                  <a:pt x="100" y="53"/>
                </a:lnTo>
                <a:lnTo>
                  <a:pt x="111" y="51"/>
                </a:lnTo>
                <a:lnTo>
                  <a:pt x="121" y="50"/>
                </a:lnTo>
                <a:lnTo>
                  <a:pt x="130" y="47"/>
                </a:lnTo>
                <a:lnTo>
                  <a:pt x="138" y="44"/>
                </a:lnTo>
                <a:lnTo>
                  <a:pt x="144" y="41"/>
                </a:lnTo>
                <a:lnTo>
                  <a:pt x="149" y="38"/>
                </a:lnTo>
                <a:lnTo>
                  <a:pt x="149" y="38"/>
                </a:lnTo>
                <a:lnTo>
                  <a:pt x="151" y="36"/>
                </a:lnTo>
                <a:lnTo>
                  <a:pt x="152" y="34"/>
                </a:lnTo>
                <a:lnTo>
                  <a:pt x="153" y="28"/>
                </a:lnTo>
                <a:lnTo>
                  <a:pt x="153" y="22"/>
                </a:lnTo>
                <a:lnTo>
                  <a:pt x="152" y="20"/>
                </a:lnTo>
                <a:lnTo>
                  <a:pt x="151" y="18"/>
                </a:lnTo>
                <a:lnTo>
                  <a:pt x="151"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7" name="Freeform 2351"/>
          <p:cNvSpPr>
            <a:spLocks/>
          </p:cNvSpPr>
          <p:nvPr/>
        </p:nvSpPr>
        <p:spPr bwMode="auto">
          <a:xfrm>
            <a:off x="7673976" y="5216527"/>
            <a:ext cx="46038" cy="66675"/>
          </a:xfrm>
          <a:custGeom>
            <a:avLst/>
            <a:gdLst>
              <a:gd name="T0" fmla="*/ 172 w 172"/>
              <a:gd name="T1" fmla="*/ 73 h 253"/>
              <a:gd name="T2" fmla="*/ 170 w 172"/>
              <a:gd name="T3" fmla="*/ 58 h 253"/>
              <a:gd name="T4" fmla="*/ 166 w 172"/>
              <a:gd name="T5" fmla="*/ 44 h 253"/>
              <a:gd name="T6" fmla="*/ 160 w 172"/>
              <a:gd name="T7" fmla="*/ 32 h 253"/>
              <a:gd name="T8" fmla="*/ 151 w 172"/>
              <a:gd name="T9" fmla="*/ 22 h 253"/>
              <a:gd name="T10" fmla="*/ 140 w 172"/>
              <a:gd name="T11" fmla="*/ 13 h 253"/>
              <a:gd name="T12" fmla="*/ 128 w 172"/>
              <a:gd name="T13" fmla="*/ 6 h 253"/>
              <a:gd name="T14" fmla="*/ 114 w 172"/>
              <a:gd name="T15" fmla="*/ 2 h 253"/>
              <a:gd name="T16" fmla="*/ 100 w 172"/>
              <a:gd name="T17" fmla="*/ 0 h 253"/>
              <a:gd name="T18" fmla="*/ 73 w 172"/>
              <a:gd name="T19" fmla="*/ 0 h 253"/>
              <a:gd name="T20" fmla="*/ 58 w 172"/>
              <a:gd name="T21" fmla="*/ 2 h 253"/>
              <a:gd name="T22" fmla="*/ 44 w 172"/>
              <a:gd name="T23" fmla="*/ 6 h 253"/>
              <a:gd name="T24" fmla="*/ 32 w 172"/>
              <a:gd name="T25" fmla="*/ 13 h 253"/>
              <a:gd name="T26" fmla="*/ 22 w 172"/>
              <a:gd name="T27" fmla="*/ 22 h 253"/>
              <a:gd name="T28" fmla="*/ 13 w 172"/>
              <a:gd name="T29" fmla="*/ 32 h 253"/>
              <a:gd name="T30" fmla="*/ 7 w 172"/>
              <a:gd name="T31" fmla="*/ 44 h 253"/>
              <a:gd name="T32" fmla="*/ 1 w 172"/>
              <a:gd name="T33" fmla="*/ 58 h 253"/>
              <a:gd name="T34" fmla="*/ 0 w 172"/>
              <a:gd name="T35" fmla="*/ 73 h 253"/>
              <a:gd name="T36" fmla="*/ 0 w 172"/>
              <a:gd name="T37" fmla="*/ 180 h 253"/>
              <a:gd name="T38" fmla="*/ 1 w 172"/>
              <a:gd name="T39" fmla="*/ 196 h 253"/>
              <a:gd name="T40" fmla="*/ 7 w 172"/>
              <a:gd name="T41" fmla="*/ 209 h 253"/>
              <a:gd name="T42" fmla="*/ 13 w 172"/>
              <a:gd name="T43" fmla="*/ 221 h 253"/>
              <a:gd name="T44" fmla="*/ 22 w 172"/>
              <a:gd name="T45" fmla="*/ 231 h 253"/>
              <a:gd name="T46" fmla="*/ 32 w 172"/>
              <a:gd name="T47" fmla="*/ 240 h 253"/>
              <a:gd name="T48" fmla="*/ 44 w 172"/>
              <a:gd name="T49" fmla="*/ 248 h 253"/>
              <a:gd name="T50" fmla="*/ 58 w 172"/>
              <a:gd name="T51" fmla="*/ 252 h 253"/>
              <a:gd name="T52" fmla="*/ 73 w 172"/>
              <a:gd name="T53" fmla="*/ 253 h 253"/>
              <a:gd name="T54" fmla="*/ 100 w 172"/>
              <a:gd name="T55" fmla="*/ 253 h 253"/>
              <a:gd name="T56" fmla="*/ 114 w 172"/>
              <a:gd name="T57" fmla="*/ 252 h 253"/>
              <a:gd name="T58" fmla="*/ 128 w 172"/>
              <a:gd name="T59" fmla="*/ 248 h 253"/>
              <a:gd name="T60" fmla="*/ 140 w 172"/>
              <a:gd name="T61" fmla="*/ 240 h 253"/>
              <a:gd name="T62" fmla="*/ 151 w 172"/>
              <a:gd name="T63" fmla="*/ 231 h 253"/>
              <a:gd name="T64" fmla="*/ 160 w 172"/>
              <a:gd name="T65" fmla="*/ 221 h 253"/>
              <a:gd name="T66" fmla="*/ 166 w 172"/>
              <a:gd name="T67" fmla="*/ 209 h 253"/>
              <a:gd name="T68" fmla="*/ 170 w 172"/>
              <a:gd name="T69" fmla="*/ 196 h 253"/>
              <a:gd name="T70" fmla="*/ 172 w 172"/>
              <a:gd name="T71" fmla="*/ 18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253">
                <a:moveTo>
                  <a:pt x="172" y="73"/>
                </a:moveTo>
                <a:lnTo>
                  <a:pt x="172" y="73"/>
                </a:lnTo>
                <a:lnTo>
                  <a:pt x="171" y="65"/>
                </a:lnTo>
                <a:lnTo>
                  <a:pt x="170" y="58"/>
                </a:lnTo>
                <a:lnTo>
                  <a:pt x="168" y="51"/>
                </a:lnTo>
                <a:lnTo>
                  <a:pt x="166" y="44"/>
                </a:lnTo>
                <a:lnTo>
                  <a:pt x="163" y="38"/>
                </a:lnTo>
                <a:lnTo>
                  <a:pt x="160" y="32"/>
                </a:lnTo>
                <a:lnTo>
                  <a:pt x="155" y="27"/>
                </a:lnTo>
                <a:lnTo>
                  <a:pt x="151" y="22"/>
                </a:lnTo>
                <a:lnTo>
                  <a:pt x="146" y="17"/>
                </a:lnTo>
                <a:lnTo>
                  <a:pt x="140" y="13"/>
                </a:lnTo>
                <a:lnTo>
                  <a:pt x="135" y="10"/>
                </a:lnTo>
                <a:lnTo>
                  <a:pt x="128" y="6"/>
                </a:lnTo>
                <a:lnTo>
                  <a:pt x="121" y="3"/>
                </a:lnTo>
                <a:lnTo>
                  <a:pt x="114" y="2"/>
                </a:lnTo>
                <a:lnTo>
                  <a:pt x="107" y="0"/>
                </a:lnTo>
                <a:lnTo>
                  <a:pt x="100" y="0"/>
                </a:lnTo>
                <a:lnTo>
                  <a:pt x="73" y="0"/>
                </a:lnTo>
                <a:lnTo>
                  <a:pt x="73" y="0"/>
                </a:lnTo>
                <a:lnTo>
                  <a:pt x="66" y="0"/>
                </a:lnTo>
                <a:lnTo>
                  <a:pt x="58" y="2"/>
                </a:lnTo>
                <a:lnTo>
                  <a:pt x="51" y="3"/>
                </a:lnTo>
                <a:lnTo>
                  <a:pt x="44" y="6"/>
                </a:lnTo>
                <a:lnTo>
                  <a:pt x="38" y="10"/>
                </a:lnTo>
                <a:lnTo>
                  <a:pt x="32" y="13"/>
                </a:lnTo>
                <a:lnTo>
                  <a:pt x="27" y="17"/>
                </a:lnTo>
                <a:lnTo>
                  <a:pt x="22" y="22"/>
                </a:lnTo>
                <a:lnTo>
                  <a:pt x="17" y="27"/>
                </a:lnTo>
                <a:lnTo>
                  <a:pt x="13" y="32"/>
                </a:lnTo>
                <a:lnTo>
                  <a:pt x="10" y="38"/>
                </a:lnTo>
                <a:lnTo>
                  <a:pt x="7" y="44"/>
                </a:lnTo>
                <a:lnTo>
                  <a:pt x="4" y="51"/>
                </a:lnTo>
                <a:lnTo>
                  <a:pt x="1" y="58"/>
                </a:lnTo>
                <a:lnTo>
                  <a:pt x="0" y="65"/>
                </a:lnTo>
                <a:lnTo>
                  <a:pt x="0" y="73"/>
                </a:lnTo>
                <a:lnTo>
                  <a:pt x="0" y="180"/>
                </a:lnTo>
                <a:lnTo>
                  <a:pt x="0" y="180"/>
                </a:lnTo>
                <a:lnTo>
                  <a:pt x="0" y="188"/>
                </a:lnTo>
                <a:lnTo>
                  <a:pt x="1" y="196"/>
                </a:lnTo>
                <a:lnTo>
                  <a:pt x="4" y="202"/>
                </a:lnTo>
                <a:lnTo>
                  <a:pt x="7" y="209"/>
                </a:lnTo>
                <a:lnTo>
                  <a:pt x="10" y="215"/>
                </a:lnTo>
                <a:lnTo>
                  <a:pt x="13" y="221"/>
                </a:lnTo>
                <a:lnTo>
                  <a:pt x="17" y="226"/>
                </a:lnTo>
                <a:lnTo>
                  <a:pt x="22" y="231"/>
                </a:lnTo>
                <a:lnTo>
                  <a:pt x="27" y="236"/>
                </a:lnTo>
                <a:lnTo>
                  <a:pt x="32" y="240"/>
                </a:lnTo>
                <a:lnTo>
                  <a:pt x="38" y="245"/>
                </a:lnTo>
                <a:lnTo>
                  <a:pt x="44" y="248"/>
                </a:lnTo>
                <a:lnTo>
                  <a:pt x="51" y="250"/>
                </a:lnTo>
                <a:lnTo>
                  <a:pt x="58" y="252"/>
                </a:lnTo>
                <a:lnTo>
                  <a:pt x="66" y="253"/>
                </a:lnTo>
                <a:lnTo>
                  <a:pt x="73" y="253"/>
                </a:lnTo>
                <a:lnTo>
                  <a:pt x="100" y="253"/>
                </a:lnTo>
                <a:lnTo>
                  <a:pt x="100" y="253"/>
                </a:lnTo>
                <a:lnTo>
                  <a:pt x="107" y="253"/>
                </a:lnTo>
                <a:lnTo>
                  <a:pt x="114" y="252"/>
                </a:lnTo>
                <a:lnTo>
                  <a:pt x="121" y="250"/>
                </a:lnTo>
                <a:lnTo>
                  <a:pt x="128" y="248"/>
                </a:lnTo>
                <a:lnTo>
                  <a:pt x="135" y="245"/>
                </a:lnTo>
                <a:lnTo>
                  <a:pt x="140" y="240"/>
                </a:lnTo>
                <a:lnTo>
                  <a:pt x="146" y="236"/>
                </a:lnTo>
                <a:lnTo>
                  <a:pt x="151" y="231"/>
                </a:lnTo>
                <a:lnTo>
                  <a:pt x="155" y="226"/>
                </a:lnTo>
                <a:lnTo>
                  <a:pt x="160" y="221"/>
                </a:lnTo>
                <a:lnTo>
                  <a:pt x="163" y="215"/>
                </a:lnTo>
                <a:lnTo>
                  <a:pt x="166" y="209"/>
                </a:lnTo>
                <a:lnTo>
                  <a:pt x="168" y="202"/>
                </a:lnTo>
                <a:lnTo>
                  <a:pt x="170" y="196"/>
                </a:lnTo>
                <a:lnTo>
                  <a:pt x="171" y="188"/>
                </a:lnTo>
                <a:lnTo>
                  <a:pt x="172" y="180"/>
                </a:lnTo>
                <a:lnTo>
                  <a:pt x="172" y="73"/>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8" name="Freeform 2352"/>
          <p:cNvSpPr>
            <a:spLocks/>
          </p:cNvSpPr>
          <p:nvPr/>
        </p:nvSpPr>
        <p:spPr bwMode="auto">
          <a:xfrm>
            <a:off x="7677151" y="5211763"/>
            <a:ext cx="39688" cy="14288"/>
          </a:xfrm>
          <a:custGeom>
            <a:avLst/>
            <a:gdLst>
              <a:gd name="T0" fmla="*/ 151 w 152"/>
              <a:gd name="T1" fmla="*/ 18 h 54"/>
              <a:gd name="T2" fmla="*/ 151 w 152"/>
              <a:gd name="T3" fmla="*/ 18 h 54"/>
              <a:gd name="T4" fmla="*/ 146 w 152"/>
              <a:gd name="T5" fmla="*/ 14 h 54"/>
              <a:gd name="T6" fmla="*/ 139 w 152"/>
              <a:gd name="T7" fmla="*/ 11 h 54"/>
              <a:gd name="T8" fmla="*/ 132 w 152"/>
              <a:gd name="T9" fmla="*/ 8 h 54"/>
              <a:gd name="T10" fmla="*/ 123 w 152"/>
              <a:gd name="T11" fmla="*/ 5 h 54"/>
              <a:gd name="T12" fmla="*/ 113 w 152"/>
              <a:gd name="T13" fmla="*/ 3 h 54"/>
              <a:gd name="T14" fmla="*/ 101 w 152"/>
              <a:gd name="T15" fmla="*/ 1 h 54"/>
              <a:gd name="T16" fmla="*/ 89 w 152"/>
              <a:gd name="T17" fmla="*/ 0 h 54"/>
              <a:gd name="T18" fmla="*/ 76 w 152"/>
              <a:gd name="T19" fmla="*/ 0 h 54"/>
              <a:gd name="T20" fmla="*/ 76 w 152"/>
              <a:gd name="T21" fmla="*/ 0 h 54"/>
              <a:gd name="T22" fmla="*/ 64 w 152"/>
              <a:gd name="T23" fmla="*/ 0 h 54"/>
              <a:gd name="T24" fmla="*/ 51 w 152"/>
              <a:gd name="T25" fmla="*/ 1 h 54"/>
              <a:gd name="T26" fmla="*/ 39 w 152"/>
              <a:gd name="T27" fmla="*/ 3 h 54"/>
              <a:gd name="T28" fmla="*/ 29 w 152"/>
              <a:gd name="T29" fmla="*/ 5 h 54"/>
              <a:gd name="T30" fmla="*/ 20 w 152"/>
              <a:gd name="T31" fmla="*/ 8 h 54"/>
              <a:gd name="T32" fmla="*/ 12 w 152"/>
              <a:gd name="T33" fmla="*/ 11 h 54"/>
              <a:gd name="T34" fmla="*/ 6 w 152"/>
              <a:gd name="T35" fmla="*/ 15 h 54"/>
              <a:gd name="T36" fmla="*/ 1 w 152"/>
              <a:gd name="T37" fmla="*/ 18 h 54"/>
              <a:gd name="T38" fmla="*/ 1 w 152"/>
              <a:gd name="T39" fmla="*/ 18 h 54"/>
              <a:gd name="T40" fmla="*/ 0 w 152"/>
              <a:gd name="T41" fmla="*/ 22 h 54"/>
              <a:gd name="T42" fmla="*/ 0 w 152"/>
              <a:gd name="T43" fmla="*/ 28 h 54"/>
              <a:gd name="T44" fmla="*/ 1 w 152"/>
              <a:gd name="T45" fmla="*/ 34 h 54"/>
              <a:gd name="T46" fmla="*/ 3 w 152"/>
              <a:gd name="T47" fmla="*/ 37 h 54"/>
              <a:gd name="T48" fmla="*/ 3 w 152"/>
              <a:gd name="T49" fmla="*/ 37 h 54"/>
              <a:gd name="T50" fmla="*/ 8 w 152"/>
              <a:gd name="T51" fmla="*/ 41 h 54"/>
              <a:gd name="T52" fmla="*/ 14 w 152"/>
              <a:gd name="T53" fmla="*/ 44 h 54"/>
              <a:gd name="T54" fmla="*/ 22 w 152"/>
              <a:gd name="T55" fmla="*/ 47 h 54"/>
              <a:gd name="T56" fmla="*/ 31 w 152"/>
              <a:gd name="T57" fmla="*/ 50 h 54"/>
              <a:gd name="T58" fmla="*/ 41 w 152"/>
              <a:gd name="T59" fmla="*/ 52 h 54"/>
              <a:gd name="T60" fmla="*/ 52 w 152"/>
              <a:gd name="T61" fmla="*/ 53 h 54"/>
              <a:gd name="T62" fmla="*/ 64 w 152"/>
              <a:gd name="T63" fmla="*/ 54 h 54"/>
              <a:gd name="T64" fmla="*/ 76 w 152"/>
              <a:gd name="T65" fmla="*/ 54 h 54"/>
              <a:gd name="T66" fmla="*/ 76 w 152"/>
              <a:gd name="T67" fmla="*/ 54 h 54"/>
              <a:gd name="T68" fmla="*/ 88 w 152"/>
              <a:gd name="T69" fmla="*/ 54 h 54"/>
              <a:gd name="T70" fmla="*/ 99 w 152"/>
              <a:gd name="T71" fmla="*/ 53 h 54"/>
              <a:gd name="T72" fmla="*/ 110 w 152"/>
              <a:gd name="T73" fmla="*/ 52 h 54"/>
              <a:gd name="T74" fmla="*/ 121 w 152"/>
              <a:gd name="T75" fmla="*/ 50 h 54"/>
              <a:gd name="T76" fmla="*/ 130 w 152"/>
              <a:gd name="T77" fmla="*/ 47 h 54"/>
              <a:gd name="T78" fmla="*/ 137 w 152"/>
              <a:gd name="T79" fmla="*/ 45 h 54"/>
              <a:gd name="T80" fmla="*/ 144 w 152"/>
              <a:gd name="T81" fmla="*/ 42 h 54"/>
              <a:gd name="T82" fmla="*/ 149 w 152"/>
              <a:gd name="T83" fmla="*/ 38 h 54"/>
              <a:gd name="T84" fmla="*/ 149 w 152"/>
              <a:gd name="T85" fmla="*/ 38 h 54"/>
              <a:gd name="T86" fmla="*/ 150 w 152"/>
              <a:gd name="T87" fmla="*/ 36 h 54"/>
              <a:gd name="T88" fmla="*/ 151 w 152"/>
              <a:gd name="T89" fmla="*/ 34 h 54"/>
              <a:gd name="T90" fmla="*/ 152 w 152"/>
              <a:gd name="T91" fmla="*/ 28 h 54"/>
              <a:gd name="T92" fmla="*/ 152 w 152"/>
              <a:gd name="T93" fmla="*/ 22 h 54"/>
              <a:gd name="T94" fmla="*/ 152 w 152"/>
              <a:gd name="T95" fmla="*/ 19 h 54"/>
              <a:gd name="T96" fmla="*/ 151 w 152"/>
              <a:gd name="T97" fmla="*/ 18 h 54"/>
              <a:gd name="T98" fmla="*/ 151 w 152"/>
              <a:gd name="T9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54">
                <a:moveTo>
                  <a:pt x="151" y="18"/>
                </a:moveTo>
                <a:lnTo>
                  <a:pt x="151" y="18"/>
                </a:lnTo>
                <a:lnTo>
                  <a:pt x="146" y="14"/>
                </a:lnTo>
                <a:lnTo>
                  <a:pt x="139" y="11"/>
                </a:lnTo>
                <a:lnTo>
                  <a:pt x="132" y="8"/>
                </a:lnTo>
                <a:lnTo>
                  <a:pt x="123" y="5"/>
                </a:lnTo>
                <a:lnTo>
                  <a:pt x="113" y="3"/>
                </a:lnTo>
                <a:lnTo>
                  <a:pt x="101" y="1"/>
                </a:lnTo>
                <a:lnTo>
                  <a:pt x="89" y="0"/>
                </a:lnTo>
                <a:lnTo>
                  <a:pt x="76" y="0"/>
                </a:lnTo>
                <a:lnTo>
                  <a:pt x="76" y="0"/>
                </a:lnTo>
                <a:lnTo>
                  <a:pt x="64" y="0"/>
                </a:lnTo>
                <a:lnTo>
                  <a:pt x="51" y="1"/>
                </a:lnTo>
                <a:lnTo>
                  <a:pt x="39" y="3"/>
                </a:lnTo>
                <a:lnTo>
                  <a:pt x="29" y="5"/>
                </a:lnTo>
                <a:lnTo>
                  <a:pt x="20" y="8"/>
                </a:lnTo>
                <a:lnTo>
                  <a:pt x="12" y="11"/>
                </a:lnTo>
                <a:lnTo>
                  <a:pt x="6" y="15"/>
                </a:lnTo>
                <a:lnTo>
                  <a:pt x="1" y="18"/>
                </a:lnTo>
                <a:lnTo>
                  <a:pt x="1" y="18"/>
                </a:lnTo>
                <a:lnTo>
                  <a:pt x="0" y="22"/>
                </a:lnTo>
                <a:lnTo>
                  <a:pt x="0" y="28"/>
                </a:lnTo>
                <a:lnTo>
                  <a:pt x="1" y="34"/>
                </a:lnTo>
                <a:lnTo>
                  <a:pt x="3" y="37"/>
                </a:lnTo>
                <a:lnTo>
                  <a:pt x="3" y="37"/>
                </a:lnTo>
                <a:lnTo>
                  <a:pt x="8" y="41"/>
                </a:lnTo>
                <a:lnTo>
                  <a:pt x="14" y="44"/>
                </a:lnTo>
                <a:lnTo>
                  <a:pt x="22" y="47"/>
                </a:lnTo>
                <a:lnTo>
                  <a:pt x="31" y="50"/>
                </a:lnTo>
                <a:lnTo>
                  <a:pt x="41" y="52"/>
                </a:lnTo>
                <a:lnTo>
                  <a:pt x="52" y="53"/>
                </a:lnTo>
                <a:lnTo>
                  <a:pt x="64" y="54"/>
                </a:lnTo>
                <a:lnTo>
                  <a:pt x="76" y="54"/>
                </a:lnTo>
                <a:lnTo>
                  <a:pt x="76" y="54"/>
                </a:lnTo>
                <a:lnTo>
                  <a:pt x="88" y="54"/>
                </a:lnTo>
                <a:lnTo>
                  <a:pt x="99" y="53"/>
                </a:lnTo>
                <a:lnTo>
                  <a:pt x="110" y="52"/>
                </a:lnTo>
                <a:lnTo>
                  <a:pt x="121" y="50"/>
                </a:lnTo>
                <a:lnTo>
                  <a:pt x="130" y="47"/>
                </a:lnTo>
                <a:lnTo>
                  <a:pt x="137" y="45"/>
                </a:lnTo>
                <a:lnTo>
                  <a:pt x="144" y="42"/>
                </a:lnTo>
                <a:lnTo>
                  <a:pt x="149" y="38"/>
                </a:lnTo>
                <a:lnTo>
                  <a:pt x="149" y="38"/>
                </a:lnTo>
                <a:lnTo>
                  <a:pt x="150" y="36"/>
                </a:lnTo>
                <a:lnTo>
                  <a:pt x="151" y="34"/>
                </a:lnTo>
                <a:lnTo>
                  <a:pt x="152" y="28"/>
                </a:lnTo>
                <a:lnTo>
                  <a:pt x="152" y="22"/>
                </a:lnTo>
                <a:lnTo>
                  <a:pt x="152" y="19"/>
                </a:lnTo>
                <a:lnTo>
                  <a:pt x="151" y="18"/>
                </a:lnTo>
                <a:lnTo>
                  <a:pt x="151"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99" name="Freeform 2353"/>
          <p:cNvSpPr>
            <a:spLocks/>
          </p:cNvSpPr>
          <p:nvPr/>
        </p:nvSpPr>
        <p:spPr bwMode="auto">
          <a:xfrm>
            <a:off x="7739063" y="5208589"/>
            <a:ext cx="44450" cy="66675"/>
          </a:xfrm>
          <a:custGeom>
            <a:avLst/>
            <a:gdLst>
              <a:gd name="T0" fmla="*/ 171 w 171"/>
              <a:gd name="T1" fmla="*/ 72 h 252"/>
              <a:gd name="T2" fmla="*/ 170 w 171"/>
              <a:gd name="T3" fmla="*/ 57 h 252"/>
              <a:gd name="T4" fmla="*/ 166 w 171"/>
              <a:gd name="T5" fmla="*/ 44 h 252"/>
              <a:gd name="T6" fmla="*/ 159 w 171"/>
              <a:gd name="T7" fmla="*/ 31 h 252"/>
              <a:gd name="T8" fmla="*/ 150 w 171"/>
              <a:gd name="T9" fmla="*/ 20 h 252"/>
              <a:gd name="T10" fmla="*/ 140 w 171"/>
              <a:gd name="T11" fmla="*/ 12 h 252"/>
              <a:gd name="T12" fmla="*/ 128 w 171"/>
              <a:gd name="T13" fmla="*/ 5 h 252"/>
              <a:gd name="T14" fmla="*/ 113 w 171"/>
              <a:gd name="T15" fmla="*/ 1 h 252"/>
              <a:gd name="T16" fmla="*/ 99 w 171"/>
              <a:gd name="T17" fmla="*/ 0 h 252"/>
              <a:gd name="T18" fmla="*/ 73 w 171"/>
              <a:gd name="T19" fmla="*/ 0 h 252"/>
              <a:gd name="T20" fmla="*/ 57 w 171"/>
              <a:gd name="T21" fmla="*/ 1 h 252"/>
              <a:gd name="T22" fmla="*/ 44 w 171"/>
              <a:gd name="T23" fmla="*/ 5 h 252"/>
              <a:gd name="T24" fmla="*/ 32 w 171"/>
              <a:gd name="T25" fmla="*/ 12 h 252"/>
              <a:gd name="T26" fmla="*/ 21 w 171"/>
              <a:gd name="T27" fmla="*/ 20 h 252"/>
              <a:gd name="T28" fmla="*/ 13 w 171"/>
              <a:gd name="T29" fmla="*/ 31 h 252"/>
              <a:gd name="T30" fmla="*/ 6 w 171"/>
              <a:gd name="T31" fmla="*/ 44 h 252"/>
              <a:gd name="T32" fmla="*/ 2 w 171"/>
              <a:gd name="T33" fmla="*/ 57 h 252"/>
              <a:gd name="T34" fmla="*/ 0 w 171"/>
              <a:gd name="T35" fmla="*/ 72 h 252"/>
              <a:gd name="T36" fmla="*/ 0 w 171"/>
              <a:gd name="T37" fmla="*/ 180 h 252"/>
              <a:gd name="T38" fmla="*/ 2 w 171"/>
              <a:gd name="T39" fmla="*/ 194 h 252"/>
              <a:gd name="T40" fmla="*/ 6 w 171"/>
              <a:gd name="T41" fmla="*/ 207 h 252"/>
              <a:gd name="T42" fmla="*/ 13 w 171"/>
              <a:gd name="T43" fmla="*/ 220 h 252"/>
              <a:gd name="T44" fmla="*/ 21 w 171"/>
              <a:gd name="T45" fmla="*/ 231 h 252"/>
              <a:gd name="T46" fmla="*/ 32 w 171"/>
              <a:gd name="T47" fmla="*/ 240 h 252"/>
              <a:gd name="T48" fmla="*/ 44 w 171"/>
              <a:gd name="T49" fmla="*/ 246 h 252"/>
              <a:gd name="T50" fmla="*/ 57 w 171"/>
              <a:gd name="T51" fmla="*/ 250 h 252"/>
              <a:gd name="T52" fmla="*/ 73 w 171"/>
              <a:gd name="T53" fmla="*/ 252 h 252"/>
              <a:gd name="T54" fmla="*/ 99 w 171"/>
              <a:gd name="T55" fmla="*/ 252 h 252"/>
              <a:gd name="T56" fmla="*/ 113 w 171"/>
              <a:gd name="T57" fmla="*/ 250 h 252"/>
              <a:gd name="T58" fmla="*/ 128 w 171"/>
              <a:gd name="T59" fmla="*/ 246 h 252"/>
              <a:gd name="T60" fmla="*/ 140 w 171"/>
              <a:gd name="T61" fmla="*/ 240 h 252"/>
              <a:gd name="T62" fmla="*/ 150 w 171"/>
              <a:gd name="T63" fmla="*/ 231 h 252"/>
              <a:gd name="T64" fmla="*/ 159 w 171"/>
              <a:gd name="T65" fmla="*/ 220 h 252"/>
              <a:gd name="T66" fmla="*/ 166 w 171"/>
              <a:gd name="T67" fmla="*/ 207 h 252"/>
              <a:gd name="T68" fmla="*/ 170 w 171"/>
              <a:gd name="T69" fmla="*/ 194 h 252"/>
              <a:gd name="T70" fmla="*/ 171 w 171"/>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 h="252">
                <a:moveTo>
                  <a:pt x="171" y="72"/>
                </a:moveTo>
                <a:lnTo>
                  <a:pt x="171" y="72"/>
                </a:lnTo>
                <a:lnTo>
                  <a:pt x="171" y="64"/>
                </a:lnTo>
                <a:lnTo>
                  <a:pt x="170" y="57"/>
                </a:lnTo>
                <a:lnTo>
                  <a:pt x="168" y="51"/>
                </a:lnTo>
                <a:lnTo>
                  <a:pt x="166" y="44"/>
                </a:lnTo>
                <a:lnTo>
                  <a:pt x="163" y="38"/>
                </a:lnTo>
                <a:lnTo>
                  <a:pt x="159" y="31"/>
                </a:lnTo>
                <a:lnTo>
                  <a:pt x="155" y="26"/>
                </a:lnTo>
                <a:lnTo>
                  <a:pt x="150" y="20"/>
                </a:lnTo>
                <a:lnTo>
                  <a:pt x="145" y="16"/>
                </a:lnTo>
                <a:lnTo>
                  <a:pt x="140" y="12"/>
                </a:lnTo>
                <a:lnTo>
                  <a:pt x="134" y="8"/>
                </a:lnTo>
                <a:lnTo>
                  <a:pt x="128" y="5"/>
                </a:lnTo>
                <a:lnTo>
                  <a:pt x="120" y="3"/>
                </a:lnTo>
                <a:lnTo>
                  <a:pt x="113" y="1"/>
                </a:lnTo>
                <a:lnTo>
                  <a:pt x="106" y="0"/>
                </a:lnTo>
                <a:lnTo>
                  <a:pt x="99" y="0"/>
                </a:lnTo>
                <a:lnTo>
                  <a:pt x="73" y="0"/>
                </a:lnTo>
                <a:lnTo>
                  <a:pt x="73" y="0"/>
                </a:lnTo>
                <a:lnTo>
                  <a:pt x="65" y="0"/>
                </a:lnTo>
                <a:lnTo>
                  <a:pt x="57" y="1"/>
                </a:lnTo>
                <a:lnTo>
                  <a:pt x="50" y="3"/>
                </a:lnTo>
                <a:lnTo>
                  <a:pt x="44" y="5"/>
                </a:lnTo>
                <a:lnTo>
                  <a:pt x="38" y="8"/>
                </a:lnTo>
                <a:lnTo>
                  <a:pt x="32" y="12"/>
                </a:lnTo>
                <a:lnTo>
                  <a:pt x="26" y="16"/>
                </a:lnTo>
                <a:lnTo>
                  <a:pt x="21" y="20"/>
                </a:lnTo>
                <a:lnTo>
                  <a:pt x="17" y="26"/>
                </a:lnTo>
                <a:lnTo>
                  <a:pt x="13" y="31"/>
                </a:lnTo>
                <a:lnTo>
                  <a:pt x="9" y="38"/>
                </a:lnTo>
                <a:lnTo>
                  <a:pt x="6" y="44"/>
                </a:lnTo>
                <a:lnTo>
                  <a:pt x="4" y="51"/>
                </a:lnTo>
                <a:lnTo>
                  <a:pt x="2" y="57"/>
                </a:lnTo>
                <a:lnTo>
                  <a:pt x="0" y="64"/>
                </a:lnTo>
                <a:lnTo>
                  <a:pt x="0" y="72"/>
                </a:lnTo>
                <a:lnTo>
                  <a:pt x="0" y="180"/>
                </a:lnTo>
                <a:lnTo>
                  <a:pt x="0" y="180"/>
                </a:lnTo>
                <a:lnTo>
                  <a:pt x="0" y="187"/>
                </a:lnTo>
                <a:lnTo>
                  <a:pt x="2" y="194"/>
                </a:lnTo>
                <a:lnTo>
                  <a:pt x="4" y="201"/>
                </a:lnTo>
                <a:lnTo>
                  <a:pt x="6" y="207"/>
                </a:lnTo>
                <a:lnTo>
                  <a:pt x="9" y="215"/>
                </a:lnTo>
                <a:lnTo>
                  <a:pt x="13" y="220"/>
                </a:lnTo>
                <a:lnTo>
                  <a:pt x="17" y="226"/>
                </a:lnTo>
                <a:lnTo>
                  <a:pt x="21" y="231"/>
                </a:lnTo>
                <a:lnTo>
                  <a:pt x="26" y="236"/>
                </a:lnTo>
                <a:lnTo>
                  <a:pt x="32" y="240"/>
                </a:lnTo>
                <a:lnTo>
                  <a:pt x="38" y="243"/>
                </a:lnTo>
                <a:lnTo>
                  <a:pt x="44" y="246"/>
                </a:lnTo>
                <a:lnTo>
                  <a:pt x="50" y="249"/>
                </a:lnTo>
                <a:lnTo>
                  <a:pt x="57" y="250"/>
                </a:lnTo>
                <a:lnTo>
                  <a:pt x="65" y="251"/>
                </a:lnTo>
                <a:lnTo>
                  <a:pt x="73" y="252"/>
                </a:lnTo>
                <a:lnTo>
                  <a:pt x="99" y="252"/>
                </a:lnTo>
                <a:lnTo>
                  <a:pt x="99" y="252"/>
                </a:lnTo>
                <a:lnTo>
                  <a:pt x="106" y="251"/>
                </a:lnTo>
                <a:lnTo>
                  <a:pt x="113" y="250"/>
                </a:lnTo>
                <a:lnTo>
                  <a:pt x="120" y="249"/>
                </a:lnTo>
                <a:lnTo>
                  <a:pt x="128" y="246"/>
                </a:lnTo>
                <a:lnTo>
                  <a:pt x="134" y="243"/>
                </a:lnTo>
                <a:lnTo>
                  <a:pt x="140" y="240"/>
                </a:lnTo>
                <a:lnTo>
                  <a:pt x="145" y="236"/>
                </a:lnTo>
                <a:lnTo>
                  <a:pt x="150" y="231"/>
                </a:lnTo>
                <a:lnTo>
                  <a:pt x="155" y="226"/>
                </a:lnTo>
                <a:lnTo>
                  <a:pt x="159" y="220"/>
                </a:lnTo>
                <a:lnTo>
                  <a:pt x="163" y="215"/>
                </a:lnTo>
                <a:lnTo>
                  <a:pt x="166" y="207"/>
                </a:lnTo>
                <a:lnTo>
                  <a:pt x="168" y="201"/>
                </a:lnTo>
                <a:lnTo>
                  <a:pt x="170" y="194"/>
                </a:lnTo>
                <a:lnTo>
                  <a:pt x="171" y="187"/>
                </a:lnTo>
                <a:lnTo>
                  <a:pt x="171" y="180"/>
                </a:lnTo>
                <a:lnTo>
                  <a:pt x="171"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0" name="Freeform 2354"/>
          <p:cNvSpPr>
            <a:spLocks/>
          </p:cNvSpPr>
          <p:nvPr/>
        </p:nvSpPr>
        <p:spPr bwMode="auto">
          <a:xfrm>
            <a:off x="7740652" y="5203826"/>
            <a:ext cx="41275" cy="14288"/>
          </a:xfrm>
          <a:custGeom>
            <a:avLst/>
            <a:gdLst>
              <a:gd name="T0" fmla="*/ 151 w 153"/>
              <a:gd name="T1" fmla="*/ 18 h 55"/>
              <a:gd name="T2" fmla="*/ 151 w 153"/>
              <a:gd name="T3" fmla="*/ 18 h 55"/>
              <a:gd name="T4" fmla="*/ 146 w 153"/>
              <a:gd name="T5" fmla="*/ 15 h 55"/>
              <a:gd name="T6" fmla="*/ 140 w 153"/>
              <a:gd name="T7" fmla="*/ 11 h 55"/>
              <a:gd name="T8" fmla="*/ 132 w 153"/>
              <a:gd name="T9" fmla="*/ 8 h 55"/>
              <a:gd name="T10" fmla="*/ 123 w 153"/>
              <a:gd name="T11" fmla="*/ 5 h 55"/>
              <a:gd name="T12" fmla="*/ 113 w 153"/>
              <a:gd name="T13" fmla="*/ 3 h 55"/>
              <a:gd name="T14" fmla="*/ 101 w 153"/>
              <a:gd name="T15" fmla="*/ 2 h 55"/>
              <a:gd name="T16" fmla="*/ 89 w 153"/>
              <a:gd name="T17" fmla="*/ 1 h 55"/>
              <a:gd name="T18" fmla="*/ 77 w 153"/>
              <a:gd name="T19" fmla="*/ 0 h 55"/>
              <a:gd name="T20" fmla="*/ 77 w 153"/>
              <a:gd name="T21" fmla="*/ 0 h 55"/>
              <a:gd name="T22" fmla="*/ 64 w 153"/>
              <a:gd name="T23" fmla="*/ 1 h 55"/>
              <a:gd name="T24" fmla="*/ 51 w 153"/>
              <a:gd name="T25" fmla="*/ 2 h 55"/>
              <a:gd name="T26" fmla="*/ 40 w 153"/>
              <a:gd name="T27" fmla="*/ 3 h 55"/>
              <a:gd name="T28" fmla="*/ 30 w 153"/>
              <a:gd name="T29" fmla="*/ 6 h 55"/>
              <a:gd name="T30" fmla="*/ 21 w 153"/>
              <a:gd name="T31" fmla="*/ 8 h 55"/>
              <a:gd name="T32" fmla="*/ 13 w 153"/>
              <a:gd name="T33" fmla="*/ 12 h 55"/>
              <a:gd name="T34" fmla="*/ 7 w 153"/>
              <a:gd name="T35" fmla="*/ 15 h 55"/>
              <a:gd name="T36" fmla="*/ 2 w 153"/>
              <a:gd name="T37" fmla="*/ 19 h 55"/>
              <a:gd name="T38" fmla="*/ 2 w 153"/>
              <a:gd name="T39" fmla="*/ 19 h 55"/>
              <a:gd name="T40" fmla="*/ 1 w 153"/>
              <a:gd name="T41" fmla="*/ 22 h 55"/>
              <a:gd name="T42" fmla="*/ 0 w 153"/>
              <a:gd name="T43" fmla="*/ 28 h 55"/>
              <a:gd name="T44" fmla="*/ 1 w 153"/>
              <a:gd name="T45" fmla="*/ 33 h 55"/>
              <a:gd name="T46" fmla="*/ 3 w 153"/>
              <a:gd name="T47" fmla="*/ 37 h 55"/>
              <a:gd name="T48" fmla="*/ 3 w 153"/>
              <a:gd name="T49" fmla="*/ 37 h 55"/>
              <a:gd name="T50" fmla="*/ 8 w 153"/>
              <a:gd name="T51" fmla="*/ 40 h 55"/>
              <a:gd name="T52" fmla="*/ 15 w 153"/>
              <a:gd name="T53" fmla="*/ 44 h 55"/>
              <a:gd name="T54" fmla="*/ 22 w 153"/>
              <a:gd name="T55" fmla="*/ 47 h 55"/>
              <a:gd name="T56" fmla="*/ 31 w 153"/>
              <a:gd name="T57" fmla="*/ 49 h 55"/>
              <a:gd name="T58" fmla="*/ 41 w 153"/>
              <a:gd name="T59" fmla="*/ 51 h 55"/>
              <a:gd name="T60" fmla="*/ 53 w 153"/>
              <a:gd name="T61" fmla="*/ 53 h 55"/>
              <a:gd name="T62" fmla="*/ 65 w 153"/>
              <a:gd name="T63" fmla="*/ 55 h 55"/>
              <a:gd name="T64" fmla="*/ 77 w 153"/>
              <a:gd name="T65" fmla="*/ 55 h 55"/>
              <a:gd name="T66" fmla="*/ 77 w 153"/>
              <a:gd name="T67" fmla="*/ 55 h 55"/>
              <a:gd name="T68" fmla="*/ 89 w 153"/>
              <a:gd name="T69" fmla="*/ 55 h 55"/>
              <a:gd name="T70" fmla="*/ 100 w 153"/>
              <a:gd name="T71" fmla="*/ 53 h 55"/>
              <a:gd name="T72" fmla="*/ 111 w 153"/>
              <a:gd name="T73" fmla="*/ 51 h 55"/>
              <a:gd name="T74" fmla="*/ 121 w 153"/>
              <a:gd name="T75" fmla="*/ 49 h 55"/>
              <a:gd name="T76" fmla="*/ 130 w 153"/>
              <a:gd name="T77" fmla="*/ 47 h 55"/>
              <a:gd name="T78" fmla="*/ 138 w 153"/>
              <a:gd name="T79" fmla="*/ 44 h 55"/>
              <a:gd name="T80" fmla="*/ 144 w 153"/>
              <a:gd name="T81" fmla="*/ 41 h 55"/>
              <a:gd name="T82" fmla="*/ 149 w 153"/>
              <a:gd name="T83" fmla="*/ 38 h 55"/>
              <a:gd name="T84" fmla="*/ 149 w 153"/>
              <a:gd name="T85" fmla="*/ 38 h 55"/>
              <a:gd name="T86" fmla="*/ 151 w 153"/>
              <a:gd name="T87" fmla="*/ 36 h 55"/>
              <a:gd name="T88" fmla="*/ 152 w 153"/>
              <a:gd name="T89" fmla="*/ 34 h 55"/>
              <a:gd name="T90" fmla="*/ 153 w 153"/>
              <a:gd name="T91" fmla="*/ 28 h 55"/>
              <a:gd name="T92" fmla="*/ 153 w 153"/>
              <a:gd name="T93" fmla="*/ 22 h 55"/>
              <a:gd name="T94" fmla="*/ 152 w 153"/>
              <a:gd name="T95" fmla="*/ 20 h 55"/>
              <a:gd name="T96" fmla="*/ 151 w 153"/>
              <a:gd name="T97" fmla="*/ 18 h 55"/>
              <a:gd name="T98" fmla="*/ 151 w 153"/>
              <a:gd name="T99"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3" h="55">
                <a:moveTo>
                  <a:pt x="151" y="18"/>
                </a:moveTo>
                <a:lnTo>
                  <a:pt x="151" y="18"/>
                </a:lnTo>
                <a:lnTo>
                  <a:pt x="146" y="15"/>
                </a:lnTo>
                <a:lnTo>
                  <a:pt x="140" y="11"/>
                </a:lnTo>
                <a:lnTo>
                  <a:pt x="132" y="8"/>
                </a:lnTo>
                <a:lnTo>
                  <a:pt x="123" y="5"/>
                </a:lnTo>
                <a:lnTo>
                  <a:pt x="113" y="3"/>
                </a:lnTo>
                <a:lnTo>
                  <a:pt x="101" y="2"/>
                </a:lnTo>
                <a:lnTo>
                  <a:pt x="89" y="1"/>
                </a:lnTo>
                <a:lnTo>
                  <a:pt x="77" y="0"/>
                </a:lnTo>
                <a:lnTo>
                  <a:pt x="77" y="0"/>
                </a:lnTo>
                <a:lnTo>
                  <a:pt x="64" y="1"/>
                </a:lnTo>
                <a:lnTo>
                  <a:pt x="51" y="2"/>
                </a:lnTo>
                <a:lnTo>
                  <a:pt x="40" y="3"/>
                </a:lnTo>
                <a:lnTo>
                  <a:pt x="30" y="6"/>
                </a:lnTo>
                <a:lnTo>
                  <a:pt x="21" y="8"/>
                </a:lnTo>
                <a:lnTo>
                  <a:pt x="13" y="12"/>
                </a:lnTo>
                <a:lnTo>
                  <a:pt x="7" y="15"/>
                </a:lnTo>
                <a:lnTo>
                  <a:pt x="2" y="19"/>
                </a:lnTo>
                <a:lnTo>
                  <a:pt x="2" y="19"/>
                </a:lnTo>
                <a:lnTo>
                  <a:pt x="1" y="22"/>
                </a:lnTo>
                <a:lnTo>
                  <a:pt x="0" y="28"/>
                </a:lnTo>
                <a:lnTo>
                  <a:pt x="1" y="33"/>
                </a:lnTo>
                <a:lnTo>
                  <a:pt x="3" y="37"/>
                </a:lnTo>
                <a:lnTo>
                  <a:pt x="3" y="37"/>
                </a:lnTo>
                <a:lnTo>
                  <a:pt x="8" y="40"/>
                </a:lnTo>
                <a:lnTo>
                  <a:pt x="15" y="44"/>
                </a:lnTo>
                <a:lnTo>
                  <a:pt x="22" y="47"/>
                </a:lnTo>
                <a:lnTo>
                  <a:pt x="31" y="49"/>
                </a:lnTo>
                <a:lnTo>
                  <a:pt x="41" y="51"/>
                </a:lnTo>
                <a:lnTo>
                  <a:pt x="53" y="53"/>
                </a:lnTo>
                <a:lnTo>
                  <a:pt x="65" y="55"/>
                </a:lnTo>
                <a:lnTo>
                  <a:pt x="77" y="55"/>
                </a:lnTo>
                <a:lnTo>
                  <a:pt x="77" y="55"/>
                </a:lnTo>
                <a:lnTo>
                  <a:pt x="89" y="55"/>
                </a:lnTo>
                <a:lnTo>
                  <a:pt x="100" y="53"/>
                </a:lnTo>
                <a:lnTo>
                  <a:pt x="111" y="51"/>
                </a:lnTo>
                <a:lnTo>
                  <a:pt x="121" y="49"/>
                </a:lnTo>
                <a:lnTo>
                  <a:pt x="130" y="47"/>
                </a:lnTo>
                <a:lnTo>
                  <a:pt x="138" y="44"/>
                </a:lnTo>
                <a:lnTo>
                  <a:pt x="144" y="41"/>
                </a:lnTo>
                <a:lnTo>
                  <a:pt x="149" y="38"/>
                </a:lnTo>
                <a:lnTo>
                  <a:pt x="149" y="38"/>
                </a:lnTo>
                <a:lnTo>
                  <a:pt x="151" y="36"/>
                </a:lnTo>
                <a:lnTo>
                  <a:pt x="152" y="34"/>
                </a:lnTo>
                <a:lnTo>
                  <a:pt x="153" y="28"/>
                </a:lnTo>
                <a:lnTo>
                  <a:pt x="153" y="22"/>
                </a:lnTo>
                <a:lnTo>
                  <a:pt x="152" y="20"/>
                </a:lnTo>
                <a:lnTo>
                  <a:pt x="151" y="18"/>
                </a:lnTo>
                <a:lnTo>
                  <a:pt x="151"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1" name="Freeform 2355"/>
          <p:cNvSpPr>
            <a:spLocks/>
          </p:cNvSpPr>
          <p:nvPr/>
        </p:nvSpPr>
        <p:spPr bwMode="auto">
          <a:xfrm>
            <a:off x="7605713" y="4929189"/>
            <a:ext cx="44450" cy="66675"/>
          </a:xfrm>
          <a:custGeom>
            <a:avLst/>
            <a:gdLst>
              <a:gd name="T0" fmla="*/ 172 w 172"/>
              <a:gd name="T1" fmla="*/ 72 h 252"/>
              <a:gd name="T2" fmla="*/ 171 w 172"/>
              <a:gd name="T3" fmla="*/ 58 h 252"/>
              <a:gd name="T4" fmla="*/ 166 w 172"/>
              <a:gd name="T5" fmla="*/ 44 h 252"/>
              <a:gd name="T6" fmla="*/ 160 w 172"/>
              <a:gd name="T7" fmla="*/ 31 h 252"/>
              <a:gd name="T8" fmla="*/ 151 w 172"/>
              <a:gd name="T9" fmla="*/ 21 h 252"/>
              <a:gd name="T10" fmla="*/ 140 w 172"/>
              <a:gd name="T11" fmla="*/ 12 h 252"/>
              <a:gd name="T12" fmla="*/ 128 w 172"/>
              <a:gd name="T13" fmla="*/ 6 h 252"/>
              <a:gd name="T14" fmla="*/ 114 w 172"/>
              <a:gd name="T15" fmla="*/ 1 h 252"/>
              <a:gd name="T16" fmla="*/ 100 w 172"/>
              <a:gd name="T17" fmla="*/ 0 h 252"/>
              <a:gd name="T18" fmla="*/ 72 w 172"/>
              <a:gd name="T19" fmla="*/ 0 h 252"/>
              <a:gd name="T20" fmla="*/ 58 w 172"/>
              <a:gd name="T21" fmla="*/ 1 h 252"/>
              <a:gd name="T22" fmla="*/ 45 w 172"/>
              <a:gd name="T23" fmla="*/ 6 h 252"/>
              <a:gd name="T24" fmla="*/ 33 w 172"/>
              <a:gd name="T25" fmla="*/ 12 h 252"/>
              <a:gd name="T26" fmla="*/ 21 w 172"/>
              <a:gd name="T27" fmla="*/ 21 h 252"/>
              <a:gd name="T28" fmla="*/ 13 w 172"/>
              <a:gd name="T29" fmla="*/ 31 h 252"/>
              <a:gd name="T30" fmla="*/ 6 w 172"/>
              <a:gd name="T31" fmla="*/ 44 h 252"/>
              <a:gd name="T32" fmla="*/ 2 w 172"/>
              <a:gd name="T33" fmla="*/ 58 h 252"/>
              <a:gd name="T34" fmla="*/ 0 w 172"/>
              <a:gd name="T35" fmla="*/ 72 h 252"/>
              <a:gd name="T36" fmla="*/ 0 w 172"/>
              <a:gd name="T37" fmla="*/ 180 h 252"/>
              <a:gd name="T38" fmla="*/ 2 w 172"/>
              <a:gd name="T39" fmla="*/ 194 h 252"/>
              <a:gd name="T40" fmla="*/ 6 w 172"/>
              <a:gd name="T41" fmla="*/ 208 h 252"/>
              <a:gd name="T42" fmla="*/ 13 w 172"/>
              <a:gd name="T43" fmla="*/ 221 h 252"/>
              <a:gd name="T44" fmla="*/ 21 w 172"/>
              <a:gd name="T45" fmla="*/ 231 h 252"/>
              <a:gd name="T46" fmla="*/ 33 w 172"/>
              <a:gd name="T47" fmla="*/ 240 h 252"/>
              <a:gd name="T48" fmla="*/ 45 w 172"/>
              <a:gd name="T49" fmla="*/ 246 h 252"/>
              <a:gd name="T50" fmla="*/ 58 w 172"/>
              <a:gd name="T51" fmla="*/ 251 h 252"/>
              <a:gd name="T52" fmla="*/ 72 w 172"/>
              <a:gd name="T53" fmla="*/ 252 h 252"/>
              <a:gd name="T54" fmla="*/ 100 w 172"/>
              <a:gd name="T55" fmla="*/ 252 h 252"/>
              <a:gd name="T56" fmla="*/ 114 w 172"/>
              <a:gd name="T57" fmla="*/ 251 h 252"/>
              <a:gd name="T58" fmla="*/ 128 w 172"/>
              <a:gd name="T59" fmla="*/ 246 h 252"/>
              <a:gd name="T60" fmla="*/ 140 w 172"/>
              <a:gd name="T61" fmla="*/ 240 h 252"/>
              <a:gd name="T62" fmla="*/ 151 w 172"/>
              <a:gd name="T63" fmla="*/ 231 h 252"/>
              <a:gd name="T64" fmla="*/ 160 w 172"/>
              <a:gd name="T65" fmla="*/ 221 h 252"/>
              <a:gd name="T66" fmla="*/ 166 w 172"/>
              <a:gd name="T67" fmla="*/ 208 h 252"/>
              <a:gd name="T68" fmla="*/ 171 w 172"/>
              <a:gd name="T69" fmla="*/ 194 h 252"/>
              <a:gd name="T70" fmla="*/ 172 w 172"/>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252">
                <a:moveTo>
                  <a:pt x="172" y="72"/>
                </a:moveTo>
                <a:lnTo>
                  <a:pt x="172" y="72"/>
                </a:lnTo>
                <a:lnTo>
                  <a:pt x="172" y="65"/>
                </a:lnTo>
                <a:lnTo>
                  <a:pt x="171" y="58"/>
                </a:lnTo>
                <a:lnTo>
                  <a:pt x="169" y="51"/>
                </a:lnTo>
                <a:lnTo>
                  <a:pt x="166" y="44"/>
                </a:lnTo>
                <a:lnTo>
                  <a:pt x="163" y="38"/>
                </a:lnTo>
                <a:lnTo>
                  <a:pt x="160" y="31"/>
                </a:lnTo>
                <a:lnTo>
                  <a:pt x="156" y="26"/>
                </a:lnTo>
                <a:lnTo>
                  <a:pt x="151" y="21"/>
                </a:lnTo>
                <a:lnTo>
                  <a:pt x="145" y="16"/>
                </a:lnTo>
                <a:lnTo>
                  <a:pt x="140" y="12"/>
                </a:lnTo>
                <a:lnTo>
                  <a:pt x="134" y="9"/>
                </a:lnTo>
                <a:lnTo>
                  <a:pt x="128" y="6"/>
                </a:lnTo>
                <a:lnTo>
                  <a:pt x="121" y="3"/>
                </a:lnTo>
                <a:lnTo>
                  <a:pt x="114" y="1"/>
                </a:lnTo>
                <a:lnTo>
                  <a:pt x="107" y="0"/>
                </a:lnTo>
                <a:lnTo>
                  <a:pt x="100" y="0"/>
                </a:lnTo>
                <a:lnTo>
                  <a:pt x="72" y="0"/>
                </a:lnTo>
                <a:lnTo>
                  <a:pt x="72" y="0"/>
                </a:lnTo>
                <a:lnTo>
                  <a:pt x="65" y="0"/>
                </a:lnTo>
                <a:lnTo>
                  <a:pt x="58" y="1"/>
                </a:lnTo>
                <a:lnTo>
                  <a:pt x="51" y="3"/>
                </a:lnTo>
                <a:lnTo>
                  <a:pt x="45" y="6"/>
                </a:lnTo>
                <a:lnTo>
                  <a:pt x="39" y="9"/>
                </a:lnTo>
                <a:lnTo>
                  <a:pt x="33" y="12"/>
                </a:lnTo>
                <a:lnTo>
                  <a:pt x="26" y="16"/>
                </a:lnTo>
                <a:lnTo>
                  <a:pt x="21" y="21"/>
                </a:lnTo>
                <a:lnTo>
                  <a:pt x="17" y="26"/>
                </a:lnTo>
                <a:lnTo>
                  <a:pt x="13" y="31"/>
                </a:lnTo>
                <a:lnTo>
                  <a:pt x="9" y="38"/>
                </a:lnTo>
                <a:lnTo>
                  <a:pt x="6" y="44"/>
                </a:lnTo>
                <a:lnTo>
                  <a:pt x="4" y="51"/>
                </a:lnTo>
                <a:lnTo>
                  <a:pt x="2" y="58"/>
                </a:lnTo>
                <a:lnTo>
                  <a:pt x="1" y="65"/>
                </a:lnTo>
                <a:lnTo>
                  <a:pt x="0" y="72"/>
                </a:lnTo>
                <a:lnTo>
                  <a:pt x="0" y="180"/>
                </a:lnTo>
                <a:lnTo>
                  <a:pt x="0" y="180"/>
                </a:lnTo>
                <a:lnTo>
                  <a:pt x="1" y="187"/>
                </a:lnTo>
                <a:lnTo>
                  <a:pt x="2" y="194"/>
                </a:lnTo>
                <a:lnTo>
                  <a:pt x="4" y="201"/>
                </a:lnTo>
                <a:lnTo>
                  <a:pt x="6" y="208"/>
                </a:lnTo>
                <a:lnTo>
                  <a:pt x="9" y="215"/>
                </a:lnTo>
                <a:lnTo>
                  <a:pt x="13" y="221"/>
                </a:lnTo>
                <a:lnTo>
                  <a:pt x="17" y="226"/>
                </a:lnTo>
                <a:lnTo>
                  <a:pt x="21" y="231"/>
                </a:lnTo>
                <a:lnTo>
                  <a:pt x="26" y="236"/>
                </a:lnTo>
                <a:lnTo>
                  <a:pt x="33" y="240"/>
                </a:lnTo>
                <a:lnTo>
                  <a:pt x="39" y="243"/>
                </a:lnTo>
                <a:lnTo>
                  <a:pt x="45" y="246"/>
                </a:lnTo>
                <a:lnTo>
                  <a:pt x="51" y="249"/>
                </a:lnTo>
                <a:lnTo>
                  <a:pt x="58" y="251"/>
                </a:lnTo>
                <a:lnTo>
                  <a:pt x="65" y="252"/>
                </a:lnTo>
                <a:lnTo>
                  <a:pt x="72" y="252"/>
                </a:lnTo>
                <a:lnTo>
                  <a:pt x="100" y="252"/>
                </a:lnTo>
                <a:lnTo>
                  <a:pt x="100" y="252"/>
                </a:lnTo>
                <a:lnTo>
                  <a:pt x="107" y="252"/>
                </a:lnTo>
                <a:lnTo>
                  <a:pt x="114" y="251"/>
                </a:lnTo>
                <a:lnTo>
                  <a:pt x="121" y="249"/>
                </a:lnTo>
                <a:lnTo>
                  <a:pt x="128" y="246"/>
                </a:lnTo>
                <a:lnTo>
                  <a:pt x="134" y="243"/>
                </a:lnTo>
                <a:lnTo>
                  <a:pt x="140" y="240"/>
                </a:lnTo>
                <a:lnTo>
                  <a:pt x="145" y="236"/>
                </a:lnTo>
                <a:lnTo>
                  <a:pt x="151" y="231"/>
                </a:lnTo>
                <a:lnTo>
                  <a:pt x="156" y="226"/>
                </a:lnTo>
                <a:lnTo>
                  <a:pt x="160" y="221"/>
                </a:lnTo>
                <a:lnTo>
                  <a:pt x="163" y="215"/>
                </a:lnTo>
                <a:lnTo>
                  <a:pt x="166" y="208"/>
                </a:lnTo>
                <a:lnTo>
                  <a:pt x="169" y="201"/>
                </a:lnTo>
                <a:lnTo>
                  <a:pt x="171" y="194"/>
                </a:lnTo>
                <a:lnTo>
                  <a:pt x="172" y="187"/>
                </a:lnTo>
                <a:lnTo>
                  <a:pt x="172" y="180"/>
                </a:lnTo>
                <a:lnTo>
                  <a:pt x="172"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2" name="Freeform 2356"/>
          <p:cNvSpPr>
            <a:spLocks/>
          </p:cNvSpPr>
          <p:nvPr/>
        </p:nvSpPr>
        <p:spPr bwMode="auto">
          <a:xfrm>
            <a:off x="7607302" y="4926013"/>
            <a:ext cx="41275" cy="14288"/>
          </a:xfrm>
          <a:custGeom>
            <a:avLst/>
            <a:gdLst>
              <a:gd name="T0" fmla="*/ 152 w 154"/>
              <a:gd name="T1" fmla="*/ 18 h 54"/>
              <a:gd name="T2" fmla="*/ 152 w 154"/>
              <a:gd name="T3" fmla="*/ 18 h 54"/>
              <a:gd name="T4" fmla="*/ 147 w 154"/>
              <a:gd name="T5" fmla="*/ 14 h 54"/>
              <a:gd name="T6" fmla="*/ 141 w 154"/>
              <a:gd name="T7" fmla="*/ 10 h 54"/>
              <a:gd name="T8" fmla="*/ 132 w 154"/>
              <a:gd name="T9" fmla="*/ 7 h 54"/>
              <a:gd name="T10" fmla="*/ 123 w 154"/>
              <a:gd name="T11" fmla="*/ 5 h 54"/>
              <a:gd name="T12" fmla="*/ 113 w 154"/>
              <a:gd name="T13" fmla="*/ 3 h 54"/>
              <a:gd name="T14" fmla="*/ 102 w 154"/>
              <a:gd name="T15" fmla="*/ 1 h 54"/>
              <a:gd name="T16" fmla="*/ 90 w 154"/>
              <a:gd name="T17" fmla="*/ 0 h 54"/>
              <a:gd name="T18" fmla="*/ 78 w 154"/>
              <a:gd name="T19" fmla="*/ 0 h 54"/>
              <a:gd name="T20" fmla="*/ 78 w 154"/>
              <a:gd name="T21" fmla="*/ 0 h 54"/>
              <a:gd name="T22" fmla="*/ 64 w 154"/>
              <a:gd name="T23" fmla="*/ 0 h 54"/>
              <a:gd name="T24" fmla="*/ 52 w 154"/>
              <a:gd name="T25" fmla="*/ 1 h 54"/>
              <a:gd name="T26" fmla="*/ 41 w 154"/>
              <a:gd name="T27" fmla="*/ 3 h 54"/>
              <a:gd name="T28" fmla="*/ 31 w 154"/>
              <a:gd name="T29" fmla="*/ 5 h 54"/>
              <a:gd name="T30" fmla="*/ 22 w 154"/>
              <a:gd name="T31" fmla="*/ 8 h 54"/>
              <a:gd name="T32" fmla="*/ 13 w 154"/>
              <a:gd name="T33" fmla="*/ 11 h 54"/>
              <a:gd name="T34" fmla="*/ 6 w 154"/>
              <a:gd name="T35" fmla="*/ 14 h 54"/>
              <a:gd name="T36" fmla="*/ 2 w 154"/>
              <a:gd name="T37" fmla="*/ 18 h 54"/>
              <a:gd name="T38" fmla="*/ 2 w 154"/>
              <a:gd name="T39" fmla="*/ 18 h 54"/>
              <a:gd name="T40" fmla="*/ 1 w 154"/>
              <a:gd name="T41" fmla="*/ 22 h 54"/>
              <a:gd name="T42" fmla="*/ 0 w 154"/>
              <a:gd name="T43" fmla="*/ 27 h 54"/>
              <a:gd name="T44" fmla="*/ 1 w 154"/>
              <a:gd name="T45" fmla="*/ 32 h 54"/>
              <a:gd name="T46" fmla="*/ 3 w 154"/>
              <a:gd name="T47" fmla="*/ 36 h 54"/>
              <a:gd name="T48" fmla="*/ 3 w 154"/>
              <a:gd name="T49" fmla="*/ 36 h 54"/>
              <a:gd name="T50" fmla="*/ 8 w 154"/>
              <a:gd name="T51" fmla="*/ 40 h 54"/>
              <a:gd name="T52" fmla="*/ 14 w 154"/>
              <a:gd name="T53" fmla="*/ 43 h 54"/>
              <a:gd name="T54" fmla="*/ 23 w 154"/>
              <a:gd name="T55" fmla="*/ 46 h 54"/>
              <a:gd name="T56" fmla="*/ 32 w 154"/>
              <a:gd name="T57" fmla="*/ 48 h 54"/>
              <a:gd name="T58" fmla="*/ 42 w 154"/>
              <a:gd name="T59" fmla="*/ 50 h 54"/>
              <a:gd name="T60" fmla="*/ 53 w 154"/>
              <a:gd name="T61" fmla="*/ 53 h 54"/>
              <a:gd name="T62" fmla="*/ 65 w 154"/>
              <a:gd name="T63" fmla="*/ 54 h 54"/>
              <a:gd name="T64" fmla="*/ 78 w 154"/>
              <a:gd name="T65" fmla="*/ 54 h 54"/>
              <a:gd name="T66" fmla="*/ 78 w 154"/>
              <a:gd name="T67" fmla="*/ 54 h 54"/>
              <a:gd name="T68" fmla="*/ 90 w 154"/>
              <a:gd name="T69" fmla="*/ 54 h 54"/>
              <a:gd name="T70" fmla="*/ 101 w 154"/>
              <a:gd name="T71" fmla="*/ 53 h 54"/>
              <a:gd name="T72" fmla="*/ 111 w 154"/>
              <a:gd name="T73" fmla="*/ 52 h 54"/>
              <a:gd name="T74" fmla="*/ 121 w 154"/>
              <a:gd name="T75" fmla="*/ 49 h 54"/>
              <a:gd name="T76" fmla="*/ 130 w 154"/>
              <a:gd name="T77" fmla="*/ 46 h 54"/>
              <a:gd name="T78" fmla="*/ 139 w 154"/>
              <a:gd name="T79" fmla="*/ 44 h 54"/>
              <a:gd name="T80" fmla="*/ 145 w 154"/>
              <a:gd name="T81" fmla="*/ 40 h 54"/>
              <a:gd name="T82" fmla="*/ 150 w 154"/>
              <a:gd name="T83" fmla="*/ 37 h 54"/>
              <a:gd name="T84" fmla="*/ 150 w 154"/>
              <a:gd name="T85" fmla="*/ 37 h 54"/>
              <a:gd name="T86" fmla="*/ 152 w 154"/>
              <a:gd name="T87" fmla="*/ 35 h 54"/>
              <a:gd name="T88" fmla="*/ 153 w 154"/>
              <a:gd name="T89" fmla="*/ 33 h 54"/>
              <a:gd name="T90" fmla="*/ 154 w 154"/>
              <a:gd name="T91" fmla="*/ 27 h 54"/>
              <a:gd name="T92" fmla="*/ 153 w 154"/>
              <a:gd name="T93" fmla="*/ 21 h 54"/>
              <a:gd name="T94" fmla="*/ 153 w 154"/>
              <a:gd name="T95" fmla="*/ 19 h 54"/>
              <a:gd name="T96" fmla="*/ 152 w 154"/>
              <a:gd name="T97" fmla="*/ 18 h 54"/>
              <a:gd name="T98" fmla="*/ 152 w 154"/>
              <a:gd name="T9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54">
                <a:moveTo>
                  <a:pt x="152" y="18"/>
                </a:moveTo>
                <a:lnTo>
                  <a:pt x="152" y="18"/>
                </a:lnTo>
                <a:lnTo>
                  <a:pt x="147" y="14"/>
                </a:lnTo>
                <a:lnTo>
                  <a:pt x="141" y="10"/>
                </a:lnTo>
                <a:lnTo>
                  <a:pt x="132" y="7"/>
                </a:lnTo>
                <a:lnTo>
                  <a:pt x="123" y="5"/>
                </a:lnTo>
                <a:lnTo>
                  <a:pt x="113" y="3"/>
                </a:lnTo>
                <a:lnTo>
                  <a:pt x="102" y="1"/>
                </a:lnTo>
                <a:lnTo>
                  <a:pt x="90" y="0"/>
                </a:lnTo>
                <a:lnTo>
                  <a:pt x="78" y="0"/>
                </a:lnTo>
                <a:lnTo>
                  <a:pt x="78" y="0"/>
                </a:lnTo>
                <a:lnTo>
                  <a:pt x="64" y="0"/>
                </a:lnTo>
                <a:lnTo>
                  <a:pt x="52" y="1"/>
                </a:lnTo>
                <a:lnTo>
                  <a:pt x="41" y="3"/>
                </a:lnTo>
                <a:lnTo>
                  <a:pt x="31" y="5"/>
                </a:lnTo>
                <a:lnTo>
                  <a:pt x="22" y="8"/>
                </a:lnTo>
                <a:lnTo>
                  <a:pt x="13" y="11"/>
                </a:lnTo>
                <a:lnTo>
                  <a:pt x="6" y="14"/>
                </a:lnTo>
                <a:lnTo>
                  <a:pt x="2" y="18"/>
                </a:lnTo>
                <a:lnTo>
                  <a:pt x="2" y="18"/>
                </a:lnTo>
                <a:lnTo>
                  <a:pt x="1" y="22"/>
                </a:lnTo>
                <a:lnTo>
                  <a:pt x="0" y="27"/>
                </a:lnTo>
                <a:lnTo>
                  <a:pt x="1" y="32"/>
                </a:lnTo>
                <a:lnTo>
                  <a:pt x="3" y="36"/>
                </a:lnTo>
                <a:lnTo>
                  <a:pt x="3" y="36"/>
                </a:lnTo>
                <a:lnTo>
                  <a:pt x="8" y="40"/>
                </a:lnTo>
                <a:lnTo>
                  <a:pt x="14" y="43"/>
                </a:lnTo>
                <a:lnTo>
                  <a:pt x="23" y="46"/>
                </a:lnTo>
                <a:lnTo>
                  <a:pt x="32" y="48"/>
                </a:lnTo>
                <a:lnTo>
                  <a:pt x="42" y="50"/>
                </a:lnTo>
                <a:lnTo>
                  <a:pt x="53" y="53"/>
                </a:lnTo>
                <a:lnTo>
                  <a:pt x="65" y="54"/>
                </a:lnTo>
                <a:lnTo>
                  <a:pt x="78" y="54"/>
                </a:lnTo>
                <a:lnTo>
                  <a:pt x="78" y="54"/>
                </a:lnTo>
                <a:lnTo>
                  <a:pt x="90" y="54"/>
                </a:lnTo>
                <a:lnTo>
                  <a:pt x="101" y="53"/>
                </a:lnTo>
                <a:lnTo>
                  <a:pt x="111" y="52"/>
                </a:lnTo>
                <a:lnTo>
                  <a:pt x="121" y="49"/>
                </a:lnTo>
                <a:lnTo>
                  <a:pt x="130" y="46"/>
                </a:lnTo>
                <a:lnTo>
                  <a:pt x="139" y="44"/>
                </a:lnTo>
                <a:lnTo>
                  <a:pt x="145" y="40"/>
                </a:lnTo>
                <a:lnTo>
                  <a:pt x="150" y="37"/>
                </a:lnTo>
                <a:lnTo>
                  <a:pt x="150" y="37"/>
                </a:lnTo>
                <a:lnTo>
                  <a:pt x="152" y="35"/>
                </a:lnTo>
                <a:lnTo>
                  <a:pt x="153" y="33"/>
                </a:lnTo>
                <a:lnTo>
                  <a:pt x="154" y="27"/>
                </a:lnTo>
                <a:lnTo>
                  <a:pt x="153" y="21"/>
                </a:lnTo>
                <a:lnTo>
                  <a:pt x="153" y="19"/>
                </a:lnTo>
                <a:lnTo>
                  <a:pt x="152" y="18"/>
                </a:lnTo>
                <a:lnTo>
                  <a:pt x="152"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3" name="Freeform 2357"/>
          <p:cNvSpPr>
            <a:spLocks/>
          </p:cNvSpPr>
          <p:nvPr/>
        </p:nvSpPr>
        <p:spPr bwMode="auto">
          <a:xfrm>
            <a:off x="7669213" y="4924427"/>
            <a:ext cx="44450" cy="66675"/>
          </a:xfrm>
          <a:custGeom>
            <a:avLst/>
            <a:gdLst>
              <a:gd name="T0" fmla="*/ 171 w 171"/>
              <a:gd name="T1" fmla="*/ 72 h 252"/>
              <a:gd name="T2" fmla="*/ 170 w 171"/>
              <a:gd name="T3" fmla="*/ 58 h 252"/>
              <a:gd name="T4" fmla="*/ 166 w 171"/>
              <a:gd name="T5" fmla="*/ 44 h 252"/>
              <a:gd name="T6" fmla="*/ 159 w 171"/>
              <a:gd name="T7" fmla="*/ 32 h 252"/>
              <a:gd name="T8" fmla="*/ 151 w 171"/>
              <a:gd name="T9" fmla="*/ 21 h 252"/>
              <a:gd name="T10" fmla="*/ 139 w 171"/>
              <a:gd name="T11" fmla="*/ 12 h 252"/>
              <a:gd name="T12" fmla="*/ 127 w 171"/>
              <a:gd name="T13" fmla="*/ 6 h 252"/>
              <a:gd name="T14" fmla="*/ 114 w 171"/>
              <a:gd name="T15" fmla="*/ 2 h 252"/>
              <a:gd name="T16" fmla="*/ 99 w 171"/>
              <a:gd name="T17" fmla="*/ 0 h 252"/>
              <a:gd name="T18" fmla="*/ 72 w 171"/>
              <a:gd name="T19" fmla="*/ 0 h 252"/>
              <a:gd name="T20" fmla="*/ 58 w 171"/>
              <a:gd name="T21" fmla="*/ 2 h 252"/>
              <a:gd name="T22" fmla="*/ 44 w 171"/>
              <a:gd name="T23" fmla="*/ 6 h 252"/>
              <a:gd name="T24" fmla="*/ 32 w 171"/>
              <a:gd name="T25" fmla="*/ 12 h 252"/>
              <a:gd name="T26" fmla="*/ 21 w 171"/>
              <a:gd name="T27" fmla="*/ 21 h 252"/>
              <a:gd name="T28" fmla="*/ 12 w 171"/>
              <a:gd name="T29" fmla="*/ 32 h 252"/>
              <a:gd name="T30" fmla="*/ 5 w 171"/>
              <a:gd name="T31" fmla="*/ 44 h 252"/>
              <a:gd name="T32" fmla="*/ 1 w 171"/>
              <a:gd name="T33" fmla="*/ 58 h 252"/>
              <a:gd name="T34" fmla="*/ 0 w 171"/>
              <a:gd name="T35" fmla="*/ 72 h 252"/>
              <a:gd name="T36" fmla="*/ 0 w 171"/>
              <a:gd name="T37" fmla="*/ 180 h 252"/>
              <a:gd name="T38" fmla="*/ 1 w 171"/>
              <a:gd name="T39" fmla="*/ 195 h 252"/>
              <a:gd name="T40" fmla="*/ 5 w 171"/>
              <a:gd name="T41" fmla="*/ 208 h 252"/>
              <a:gd name="T42" fmla="*/ 12 w 171"/>
              <a:gd name="T43" fmla="*/ 220 h 252"/>
              <a:gd name="T44" fmla="*/ 21 w 171"/>
              <a:gd name="T45" fmla="*/ 231 h 252"/>
              <a:gd name="T46" fmla="*/ 32 w 171"/>
              <a:gd name="T47" fmla="*/ 240 h 252"/>
              <a:gd name="T48" fmla="*/ 44 w 171"/>
              <a:gd name="T49" fmla="*/ 247 h 252"/>
              <a:gd name="T50" fmla="*/ 58 w 171"/>
              <a:gd name="T51" fmla="*/ 251 h 252"/>
              <a:gd name="T52" fmla="*/ 72 w 171"/>
              <a:gd name="T53" fmla="*/ 252 h 252"/>
              <a:gd name="T54" fmla="*/ 99 w 171"/>
              <a:gd name="T55" fmla="*/ 252 h 252"/>
              <a:gd name="T56" fmla="*/ 114 w 171"/>
              <a:gd name="T57" fmla="*/ 251 h 252"/>
              <a:gd name="T58" fmla="*/ 127 w 171"/>
              <a:gd name="T59" fmla="*/ 247 h 252"/>
              <a:gd name="T60" fmla="*/ 139 w 171"/>
              <a:gd name="T61" fmla="*/ 240 h 252"/>
              <a:gd name="T62" fmla="*/ 151 w 171"/>
              <a:gd name="T63" fmla="*/ 231 h 252"/>
              <a:gd name="T64" fmla="*/ 159 w 171"/>
              <a:gd name="T65" fmla="*/ 220 h 252"/>
              <a:gd name="T66" fmla="*/ 166 w 171"/>
              <a:gd name="T67" fmla="*/ 208 h 252"/>
              <a:gd name="T68" fmla="*/ 170 w 171"/>
              <a:gd name="T69" fmla="*/ 195 h 252"/>
              <a:gd name="T70" fmla="*/ 171 w 171"/>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 h="252">
                <a:moveTo>
                  <a:pt x="171" y="72"/>
                </a:moveTo>
                <a:lnTo>
                  <a:pt x="171" y="72"/>
                </a:lnTo>
                <a:lnTo>
                  <a:pt x="171" y="65"/>
                </a:lnTo>
                <a:lnTo>
                  <a:pt x="170" y="58"/>
                </a:lnTo>
                <a:lnTo>
                  <a:pt x="168" y="50"/>
                </a:lnTo>
                <a:lnTo>
                  <a:pt x="166" y="44"/>
                </a:lnTo>
                <a:lnTo>
                  <a:pt x="163" y="37"/>
                </a:lnTo>
                <a:lnTo>
                  <a:pt x="159" y="32"/>
                </a:lnTo>
                <a:lnTo>
                  <a:pt x="155" y="26"/>
                </a:lnTo>
                <a:lnTo>
                  <a:pt x="151" y="21"/>
                </a:lnTo>
                <a:lnTo>
                  <a:pt x="146" y="17"/>
                </a:lnTo>
                <a:lnTo>
                  <a:pt x="139" y="12"/>
                </a:lnTo>
                <a:lnTo>
                  <a:pt x="133" y="9"/>
                </a:lnTo>
                <a:lnTo>
                  <a:pt x="127" y="6"/>
                </a:lnTo>
                <a:lnTo>
                  <a:pt x="121" y="3"/>
                </a:lnTo>
                <a:lnTo>
                  <a:pt x="114" y="2"/>
                </a:lnTo>
                <a:lnTo>
                  <a:pt x="107" y="1"/>
                </a:lnTo>
                <a:lnTo>
                  <a:pt x="99" y="0"/>
                </a:lnTo>
                <a:lnTo>
                  <a:pt x="72" y="0"/>
                </a:lnTo>
                <a:lnTo>
                  <a:pt x="72" y="0"/>
                </a:lnTo>
                <a:lnTo>
                  <a:pt x="65" y="1"/>
                </a:lnTo>
                <a:lnTo>
                  <a:pt x="58" y="2"/>
                </a:lnTo>
                <a:lnTo>
                  <a:pt x="51" y="3"/>
                </a:lnTo>
                <a:lnTo>
                  <a:pt x="44" y="6"/>
                </a:lnTo>
                <a:lnTo>
                  <a:pt x="38" y="9"/>
                </a:lnTo>
                <a:lnTo>
                  <a:pt x="32" y="12"/>
                </a:lnTo>
                <a:lnTo>
                  <a:pt x="27" y="17"/>
                </a:lnTo>
                <a:lnTo>
                  <a:pt x="21" y="21"/>
                </a:lnTo>
                <a:lnTo>
                  <a:pt x="16" y="26"/>
                </a:lnTo>
                <a:lnTo>
                  <a:pt x="12" y="32"/>
                </a:lnTo>
                <a:lnTo>
                  <a:pt x="8" y="37"/>
                </a:lnTo>
                <a:lnTo>
                  <a:pt x="5" y="44"/>
                </a:lnTo>
                <a:lnTo>
                  <a:pt x="3" y="50"/>
                </a:lnTo>
                <a:lnTo>
                  <a:pt x="1" y="58"/>
                </a:lnTo>
                <a:lnTo>
                  <a:pt x="0" y="65"/>
                </a:lnTo>
                <a:lnTo>
                  <a:pt x="0" y="72"/>
                </a:lnTo>
                <a:lnTo>
                  <a:pt x="0" y="180"/>
                </a:lnTo>
                <a:lnTo>
                  <a:pt x="0" y="180"/>
                </a:lnTo>
                <a:lnTo>
                  <a:pt x="0" y="188"/>
                </a:lnTo>
                <a:lnTo>
                  <a:pt x="1" y="195"/>
                </a:lnTo>
                <a:lnTo>
                  <a:pt x="3" y="201"/>
                </a:lnTo>
                <a:lnTo>
                  <a:pt x="5" y="208"/>
                </a:lnTo>
                <a:lnTo>
                  <a:pt x="8" y="214"/>
                </a:lnTo>
                <a:lnTo>
                  <a:pt x="12" y="220"/>
                </a:lnTo>
                <a:lnTo>
                  <a:pt x="16" y="226"/>
                </a:lnTo>
                <a:lnTo>
                  <a:pt x="21" y="231"/>
                </a:lnTo>
                <a:lnTo>
                  <a:pt x="27" y="236"/>
                </a:lnTo>
                <a:lnTo>
                  <a:pt x="32" y="240"/>
                </a:lnTo>
                <a:lnTo>
                  <a:pt x="38" y="244"/>
                </a:lnTo>
                <a:lnTo>
                  <a:pt x="44" y="247"/>
                </a:lnTo>
                <a:lnTo>
                  <a:pt x="51" y="249"/>
                </a:lnTo>
                <a:lnTo>
                  <a:pt x="58" y="251"/>
                </a:lnTo>
                <a:lnTo>
                  <a:pt x="65" y="252"/>
                </a:lnTo>
                <a:lnTo>
                  <a:pt x="72" y="252"/>
                </a:lnTo>
                <a:lnTo>
                  <a:pt x="99" y="252"/>
                </a:lnTo>
                <a:lnTo>
                  <a:pt x="99" y="252"/>
                </a:lnTo>
                <a:lnTo>
                  <a:pt x="107" y="252"/>
                </a:lnTo>
                <a:lnTo>
                  <a:pt x="114" y="251"/>
                </a:lnTo>
                <a:lnTo>
                  <a:pt x="121" y="249"/>
                </a:lnTo>
                <a:lnTo>
                  <a:pt x="127" y="247"/>
                </a:lnTo>
                <a:lnTo>
                  <a:pt x="133" y="244"/>
                </a:lnTo>
                <a:lnTo>
                  <a:pt x="139" y="240"/>
                </a:lnTo>
                <a:lnTo>
                  <a:pt x="146" y="236"/>
                </a:lnTo>
                <a:lnTo>
                  <a:pt x="151" y="231"/>
                </a:lnTo>
                <a:lnTo>
                  <a:pt x="155" y="226"/>
                </a:lnTo>
                <a:lnTo>
                  <a:pt x="159" y="220"/>
                </a:lnTo>
                <a:lnTo>
                  <a:pt x="163" y="214"/>
                </a:lnTo>
                <a:lnTo>
                  <a:pt x="166" y="208"/>
                </a:lnTo>
                <a:lnTo>
                  <a:pt x="168" y="201"/>
                </a:lnTo>
                <a:lnTo>
                  <a:pt x="170" y="195"/>
                </a:lnTo>
                <a:lnTo>
                  <a:pt x="171" y="188"/>
                </a:lnTo>
                <a:lnTo>
                  <a:pt x="171" y="180"/>
                </a:lnTo>
                <a:lnTo>
                  <a:pt x="171"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4" name="Freeform 2358"/>
          <p:cNvSpPr>
            <a:spLocks/>
          </p:cNvSpPr>
          <p:nvPr/>
        </p:nvSpPr>
        <p:spPr bwMode="auto">
          <a:xfrm>
            <a:off x="7670802" y="4919663"/>
            <a:ext cx="41275" cy="14288"/>
          </a:xfrm>
          <a:custGeom>
            <a:avLst/>
            <a:gdLst>
              <a:gd name="T0" fmla="*/ 151 w 153"/>
              <a:gd name="T1" fmla="*/ 19 h 55"/>
              <a:gd name="T2" fmla="*/ 151 w 153"/>
              <a:gd name="T3" fmla="*/ 19 h 55"/>
              <a:gd name="T4" fmla="*/ 147 w 153"/>
              <a:gd name="T5" fmla="*/ 15 h 55"/>
              <a:gd name="T6" fmla="*/ 140 w 153"/>
              <a:gd name="T7" fmla="*/ 11 h 55"/>
              <a:gd name="T8" fmla="*/ 131 w 153"/>
              <a:gd name="T9" fmla="*/ 8 h 55"/>
              <a:gd name="T10" fmla="*/ 123 w 153"/>
              <a:gd name="T11" fmla="*/ 5 h 55"/>
              <a:gd name="T12" fmla="*/ 112 w 153"/>
              <a:gd name="T13" fmla="*/ 3 h 55"/>
              <a:gd name="T14" fmla="*/ 101 w 153"/>
              <a:gd name="T15" fmla="*/ 1 h 55"/>
              <a:gd name="T16" fmla="*/ 90 w 153"/>
              <a:gd name="T17" fmla="*/ 0 h 55"/>
              <a:gd name="T18" fmla="*/ 77 w 153"/>
              <a:gd name="T19" fmla="*/ 0 h 55"/>
              <a:gd name="T20" fmla="*/ 77 w 153"/>
              <a:gd name="T21" fmla="*/ 0 h 55"/>
              <a:gd name="T22" fmla="*/ 64 w 153"/>
              <a:gd name="T23" fmla="*/ 0 h 55"/>
              <a:gd name="T24" fmla="*/ 51 w 153"/>
              <a:gd name="T25" fmla="*/ 1 h 55"/>
              <a:gd name="T26" fmla="*/ 40 w 153"/>
              <a:gd name="T27" fmla="*/ 3 h 55"/>
              <a:gd name="T28" fmla="*/ 30 w 153"/>
              <a:gd name="T29" fmla="*/ 5 h 55"/>
              <a:gd name="T30" fmla="*/ 21 w 153"/>
              <a:gd name="T31" fmla="*/ 8 h 55"/>
              <a:gd name="T32" fmla="*/ 12 w 153"/>
              <a:gd name="T33" fmla="*/ 11 h 55"/>
              <a:gd name="T34" fmla="*/ 6 w 153"/>
              <a:gd name="T35" fmla="*/ 16 h 55"/>
              <a:gd name="T36" fmla="*/ 1 w 153"/>
              <a:gd name="T37" fmla="*/ 20 h 55"/>
              <a:gd name="T38" fmla="*/ 1 w 153"/>
              <a:gd name="T39" fmla="*/ 20 h 55"/>
              <a:gd name="T40" fmla="*/ 0 w 153"/>
              <a:gd name="T41" fmla="*/ 23 h 55"/>
              <a:gd name="T42" fmla="*/ 0 w 153"/>
              <a:gd name="T43" fmla="*/ 28 h 55"/>
              <a:gd name="T44" fmla="*/ 1 w 153"/>
              <a:gd name="T45" fmla="*/ 34 h 55"/>
              <a:gd name="T46" fmla="*/ 3 w 153"/>
              <a:gd name="T47" fmla="*/ 37 h 55"/>
              <a:gd name="T48" fmla="*/ 3 w 153"/>
              <a:gd name="T49" fmla="*/ 37 h 55"/>
              <a:gd name="T50" fmla="*/ 8 w 153"/>
              <a:gd name="T51" fmla="*/ 41 h 55"/>
              <a:gd name="T52" fmla="*/ 14 w 153"/>
              <a:gd name="T53" fmla="*/ 44 h 55"/>
              <a:gd name="T54" fmla="*/ 23 w 153"/>
              <a:gd name="T55" fmla="*/ 47 h 55"/>
              <a:gd name="T56" fmla="*/ 32 w 153"/>
              <a:gd name="T57" fmla="*/ 50 h 55"/>
              <a:gd name="T58" fmla="*/ 42 w 153"/>
              <a:gd name="T59" fmla="*/ 52 h 55"/>
              <a:gd name="T60" fmla="*/ 52 w 153"/>
              <a:gd name="T61" fmla="*/ 53 h 55"/>
              <a:gd name="T62" fmla="*/ 64 w 153"/>
              <a:gd name="T63" fmla="*/ 54 h 55"/>
              <a:gd name="T64" fmla="*/ 77 w 153"/>
              <a:gd name="T65" fmla="*/ 55 h 55"/>
              <a:gd name="T66" fmla="*/ 77 w 153"/>
              <a:gd name="T67" fmla="*/ 55 h 55"/>
              <a:gd name="T68" fmla="*/ 89 w 153"/>
              <a:gd name="T69" fmla="*/ 54 h 55"/>
              <a:gd name="T70" fmla="*/ 100 w 153"/>
              <a:gd name="T71" fmla="*/ 53 h 55"/>
              <a:gd name="T72" fmla="*/ 111 w 153"/>
              <a:gd name="T73" fmla="*/ 52 h 55"/>
              <a:gd name="T74" fmla="*/ 121 w 153"/>
              <a:gd name="T75" fmla="*/ 50 h 55"/>
              <a:gd name="T76" fmla="*/ 129 w 153"/>
              <a:gd name="T77" fmla="*/ 48 h 55"/>
              <a:gd name="T78" fmla="*/ 138 w 153"/>
              <a:gd name="T79" fmla="*/ 45 h 55"/>
              <a:gd name="T80" fmla="*/ 145 w 153"/>
              <a:gd name="T81" fmla="*/ 42 h 55"/>
              <a:gd name="T82" fmla="*/ 150 w 153"/>
              <a:gd name="T83" fmla="*/ 38 h 55"/>
              <a:gd name="T84" fmla="*/ 150 w 153"/>
              <a:gd name="T85" fmla="*/ 38 h 55"/>
              <a:gd name="T86" fmla="*/ 151 w 153"/>
              <a:gd name="T87" fmla="*/ 37 h 55"/>
              <a:gd name="T88" fmla="*/ 152 w 153"/>
              <a:gd name="T89" fmla="*/ 34 h 55"/>
              <a:gd name="T90" fmla="*/ 153 w 153"/>
              <a:gd name="T91" fmla="*/ 28 h 55"/>
              <a:gd name="T92" fmla="*/ 153 w 153"/>
              <a:gd name="T93" fmla="*/ 23 h 55"/>
              <a:gd name="T94" fmla="*/ 152 w 153"/>
              <a:gd name="T95" fmla="*/ 20 h 55"/>
              <a:gd name="T96" fmla="*/ 151 w 153"/>
              <a:gd name="T97" fmla="*/ 19 h 55"/>
              <a:gd name="T98" fmla="*/ 151 w 153"/>
              <a:gd name="T99" fmla="*/ 1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3" h="55">
                <a:moveTo>
                  <a:pt x="151" y="19"/>
                </a:moveTo>
                <a:lnTo>
                  <a:pt x="151" y="19"/>
                </a:lnTo>
                <a:lnTo>
                  <a:pt x="147" y="15"/>
                </a:lnTo>
                <a:lnTo>
                  <a:pt x="140" y="11"/>
                </a:lnTo>
                <a:lnTo>
                  <a:pt x="131" y="8"/>
                </a:lnTo>
                <a:lnTo>
                  <a:pt x="123" y="5"/>
                </a:lnTo>
                <a:lnTo>
                  <a:pt x="112" y="3"/>
                </a:lnTo>
                <a:lnTo>
                  <a:pt x="101" y="1"/>
                </a:lnTo>
                <a:lnTo>
                  <a:pt x="90" y="0"/>
                </a:lnTo>
                <a:lnTo>
                  <a:pt x="77" y="0"/>
                </a:lnTo>
                <a:lnTo>
                  <a:pt x="77" y="0"/>
                </a:lnTo>
                <a:lnTo>
                  <a:pt x="64" y="0"/>
                </a:lnTo>
                <a:lnTo>
                  <a:pt x="51" y="1"/>
                </a:lnTo>
                <a:lnTo>
                  <a:pt x="40" y="3"/>
                </a:lnTo>
                <a:lnTo>
                  <a:pt x="30" y="5"/>
                </a:lnTo>
                <a:lnTo>
                  <a:pt x="21" y="8"/>
                </a:lnTo>
                <a:lnTo>
                  <a:pt x="12" y="11"/>
                </a:lnTo>
                <a:lnTo>
                  <a:pt x="6" y="16"/>
                </a:lnTo>
                <a:lnTo>
                  <a:pt x="1" y="20"/>
                </a:lnTo>
                <a:lnTo>
                  <a:pt x="1" y="20"/>
                </a:lnTo>
                <a:lnTo>
                  <a:pt x="0" y="23"/>
                </a:lnTo>
                <a:lnTo>
                  <a:pt x="0" y="28"/>
                </a:lnTo>
                <a:lnTo>
                  <a:pt x="1" y="34"/>
                </a:lnTo>
                <a:lnTo>
                  <a:pt x="3" y="37"/>
                </a:lnTo>
                <a:lnTo>
                  <a:pt x="3" y="37"/>
                </a:lnTo>
                <a:lnTo>
                  <a:pt x="8" y="41"/>
                </a:lnTo>
                <a:lnTo>
                  <a:pt x="14" y="44"/>
                </a:lnTo>
                <a:lnTo>
                  <a:pt x="23" y="47"/>
                </a:lnTo>
                <a:lnTo>
                  <a:pt x="32" y="50"/>
                </a:lnTo>
                <a:lnTo>
                  <a:pt x="42" y="52"/>
                </a:lnTo>
                <a:lnTo>
                  <a:pt x="52" y="53"/>
                </a:lnTo>
                <a:lnTo>
                  <a:pt x="64" y="54"/>
                </a:lnTo>
                <a:lnTo>
                  <a:pt x="77" y="55"/>
                </a:lnTo>
                <a:lnTo>
                  <a:pt x="77" y="55"/>
                </a:lnTo>
                <a:lnTo>
                  <a:pt x="89" y="54"/>
                </a:lnTo>
                <a:lnTo>
                  <a:pt x="100" y="53"/>
                </a:lnTo>
                <a:lnTo>
                  <a:pt x="111" y="52"/>
                </a:lnTo>
                <a:lnTo>
                  <a:pt x="121" y="50"/>
                </a:lnTo>
                <a:lnTo>
                  <a:pt x="129" y="48"/>
                </a:lnTo>
                <a:lnTo>
                  <a:pt x="138" y="45"/>
                </a:lnTo>
                <a:lnTo>
                  <a:pt x="145" y="42"/>
                </a:lnTo>
                <a:lnTo>
                  <a:pt x="150" y="38"/>
                </a:lnTo>
                <a:lnTo>
                  <a:pt x="150" y="38"/>
                </a:lnTo>
                <a:lnTo>
                  <a:pt x="151" y="37"/>
                </a:lnTo>
                <a:lnTo>
                  <a:pt x="152" y="34"/>
                </a:lnTo>
                <a:lnTo>
                  <a:pt x="153" y="28"/>
                </a:lnTo>
                <a:lnTo>
                  <a:pt x="153" y="23"/>
                </a:lnTo>
                <a:lnTo>
                  <a:pt x="152" y="20"/>
                </a:lnTo>
                <a:lnTo>
                  <a:pt x="151" y="19"/>
                </a:lnTo>
                <a:lnTo>
                  <a:pt x="151" y="19"/>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5" name="Freeform 2359"/>
          <p:cNvSpPr>
            <a:spLocks/>
          </p:cNvSpPr>
          <p:nvPr/>
        </p:nvSpPr>
        <p:spPr bwMode="auto">
          <a:xfrm>
            <a:off x="7732713" y="4916489"/>
            <a:ext cx="44450" cy="66675"/>
          </a:xfrm>
          <a:custGeom>
            <a:avLst/>
            <a:gdLst>
              <a:gd name="T0" fmla="*/ 172 w 172"/>
              <a:gd name="T1" fmla="*/ 72 h 252"/>
              <a:gd name="T2" fmla="*/ 171 w 172"/>
              <a:gd name="T3" fmla="*/ 58 h 252"/>
              <a:gd name="T4" fmla="*/ 166 w 172"/>
              <a:gd name="T5" fmla="*/ 44 h 252"/>
              <a:gd name="T6" fmla="*/ 160 w 172"/>
              <a:gd name="T7" fmla="*/ 32 h 252"/>
              <a:gd name="T8" fmla="*/ 151 w 172"/>
              <a:gd name="T9" fmla="*/ 21 h 252"/>
              <a:gd name="T10" fmla="*/ 140 w 172"/>
              <a:gd name="T11" fmla="*/ 12 h 252"/>
              <a:gd name="T12" fmla="*/ 128 w 172"/>
              <a:gd name="T13" fmla="*/ 5 h 252"/>
              <a:gd name="T14" fmla="*/ 114 w 172"/>
              <a:gd name="T15" fmla="*/ 1 h 252"/>
              <a:gd name="T16" fmla="*/ 100 w 172"/>
              <a:gd name="T17" fmla="*/ 0 h 252"/>
              <a:gd name="T18" fmla="*/ 72 w 172"/>
              <a:gd name="T19" fmla="*/ 0 h 252"/>
              <a:gd name="T20" fmla="*/ 58 w 172"/>
              <a:gd name="T21" fmla="*/ 1 h 252"/>
              <a:gd name="T22" fmla="*/ 45 w 172"/>
              <a:gd name="T23" fmla="*/ 5 h 252"/>
              <a:gd name="T24" fmla="*/ 33 w 172"/>
              <a:gd name="T25" fmla="*/ 12 h 252"/>
              <a:gd name="T26" fmla="*/ 21 w 172"/>
              <a:gd name="T27" fmla="*/ 21 h 252"/>
              <a:gd name="T28" fmla="*/ 12 w 172"/>
              <a:gd name="T29" fmla="*/ 32 h 252"/>
              <a:gd name="T30" fmla="*/ 6 w 172"/>
              <a:gd name="T31" fmla="*/ 44 h 252"/>
              <a:gd name="T32" fmla="*/ 2 w 172"/>
              <a:gd name="T33" fmla="*/ 58 h 252"/>
              <a:gd name="T34" fmla="*/ 0 w 172"/>
              <a:gd name="T35" fmla="*/ 72 h 252"/>
              <a:gd name="T36" fmla="*/ 0 w 172"/>
              <a:gd name="T37" fmla="*/ 180 h 252"/>
              <a:gd name="T38" fmla="*/ 2 w 172"/>
              <a:gd name="T39" fmla="*/ 194 h 252"/>
              <a:gd name="T40" fmla="*/ 6 w 172"/>
              <a:gd name="T41" fmla="*/ 209 h 252"/>
              <a:gd name="T42" fmla="*/ 12 w 172"/>
              <a:gd name="T43" fmla="*/ 221 h 252"/>
              <a:gd name="T44" fmla="*/ 21 w 172"/>
              <a:gd name="T45" fmla="*/ 231 h 252"/>
              <a:gd name="T46" fmla="*/ 33 w 172"/>
              <a:gd name="T47" fmla="*/ 240 h 252"/>
              <a:gd name="T48" fmla="*/ 45 w 172"/>
              <a:gd name="T49" fmla="*/ 246 h 252"/>
              <a:gd name="T50" fmla="*/ 58 w 172"/>
              <a:gd name="T51" fmla="*/ 251 h 252"/>
              <a:gd name="T52" fmla="*/ 72 w 172"/>
              <a:gd name="T53" fmla="*/ 252 h 252"/>
              <a:gd name="T54" fmla="*/ 100 w 172"/>
              <a:gd name="T55" fmla="*/ 252 h 252"/>
              <a:gd name="T56" fmla="*/ 114 w 172"/>
              <a:gd name="T57" fmla="*/ 251 h 252"/>
              <a:gd name="T58" fmla="*/ 128 w 172"/>
              <a:gd name="T59" fmla="*/ 246 h 252"/>
              <a:gd name="T60" fmla="*/ 140 w 172"/>
              <a:gd name="T61" fmla="*/ 240 h 252"/>
              <a:gd name="T62" fmla="*/ 151 w 172"/>
              <a:gd name="T63" fmla="*/ 231 h 252"/>
              <a:gd name="T64" fmla="*/ 160 w 172"/>
              <a:gd name="T65" fmla="*/ 221 h 252"/>
              <a:gd name="T66" fmla="*/ 166 w 172"/>
              <a:gd name="T67" fmla="*/ 209 h 252"/>
              <a:gd name="T68" fmla="*/ 171 w 172"/>
              <a:gd name="T69" fmla="*/ 194 h 252"/>
              <a:gd name="T70" fmla="*/ 172 w 172"/>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252">
                <a:moveTo>
                  <a:pt x="172" y="72"/>
                </a:moveTo>
                <a:lnTo>
                  <a:pt x="172" y="72"/>
                </a:lnTo>
                <a:lnTo>
                  <a:pt x="172" y="65"/>
                </a:lnTo>
                <a:lnTo>
                  <a:pt x="171" y="58"/>
                </a:lnTo>
                <a:lnTo>
                  <a:pt x="169" y="51"/>
                </a:lnTo>
                <a:lnTo>
                  <a:pt x="166" y="44"/>
                </a:lnTo>
                <a:lnTo>
                  <a:pt x="163" y="38"/>
                </a:lnTo>
                <a:lnTo>
                  <a:pt x="160" y="32"/>
                </a:lnTo>
                <a:lnTo>
                  <a:pt x="156" y="27"/>
                </a:lnTo>
                <a:lnTo>
                  <a:pt x="151" y="21"/>
                </a:lnTo>
                <a:lnTo>
                  <a:pt x="146" y="16"/>
                </a:lnTo>
                <a:lnTo>
                  <a:pt x="140" y="12"/>
                </a:lnTo>
                <a:lnTo>
                  <a:pt x="134" y="8"/>
                </a:lnTo>
                <a:lnTo>
                  <a:pt x="128" y="5"/>
                </a:lnTo>
                <a:lnTo>
                  <a:pt x="121" y="3"/>
                </a:lnTo>
                <a:lnTo>
                  <a:pt x="114" y="1"/>
                </a:lnTo>
                <a:lnTo>
                  <a:pt x="107" y="0"/>
                </a:lnTo>
                <a:lnTo>
                  <a:pt x="100" y="0"/>
                </a:lnTo>
                <a:lnTo>
                  <a:pt x="72" y="0"/>
                </a:lnTo>
                <a:lnTo>
                  <a:pt x="72" y="0"/>
                </a:lnTo>
                <a:lnTo>
                  <a:pt x="65" y="0"/>
                </a:lnTo>
                <a:lnTo>
                  <a:pt x="58" y="1"/>
                </a:lnTo>
                <a:lnTo>
                  <a:pt x="51" y="3"/>
                </a:lnTo>
                <a:lnTo>
                  <a:pt x="45" y="5"/>
                </a:lnTo>
                <a:lnTo>
                  <a:pt x="38" y="8"/>
                </a:lnTo>
                <a:lnTo>
                  <a:pt x="33" y="12"/>
                </a:lnTo>
                <a:lnTo>
                  <a:pt x="27" y="16"/>
                </a:lnTo>
                <a:lnTo>
                  <a:pt x="21" y="21"/>
                </a:lnTo>
                <a:lnTo>
                  <a:pt x="17" y="27"/>
                </a:lnTo>
                <a:lnTo>
                  <a:pt x="12" y="32"/>
                </a:lnTo>
                <a:lnTo>
                  <a:pt x="9" y="38"/>
                </a:lnTo>
                <a:lnTo>
                  <a:pt x="6" y="44"/>
                </a:lnTo>
                <a:lnTo>
                  <a:pt x="4" y="51"/>
                </a:lnTo>
                <a:lnTo>
                  <a:pt x="2" y="58"/>
                </a:lnTo>
                <a:lnTo>
                  <a:pt x="1" y="65"/>
                </a:lnTo>
                <a:lnTo>
                  <a:pt x="0" y="72"/>
                </a:lnTo>
                <a:lnTo>
                  <a:pt x="0" y="180"/>
                </a:lnTo>
                <a:lnTo>
                  <a:pt x="0" y="180"/>
                </a:lnTo>
                <a:lnTo>
                  <a:pt x="1" y="187"/>
                </a:lnTo>
                <a:lnTo>
                  <a:pt x="2" y="194"/>
                </a:lnTo>
                <a:lnTo>
                  <a:pt x="4" y="201"/>
                </a:lnTo>
                <a:lnTo>
                  <a:pt x="6" y="209"/>
                </a:lnTo>
                <a:lnTo>
                  <a:pt x="9" y="215"/>
                </a:lnTo>
                <a:lnTo>
                  <a:pt x="12" y="221"/>
                </a:lnTo>
                <a:lnTo>
                  <a:pt x="17" y="226"/>
                </a:lnTo>
                <a:lnTo>
                  <a:pt x="21" y="231"/>
                </a:lnTo>
                <a:lnTo>
                  <a:pt x="27" y="236"/>
                </a:lnTo>
                <a:lnTo>
                  <a:pt x="33" y="240"/>
                </a:lnTo>
                <a:lnTo>
                  <a:pt x="38" y="243"/>
                </a:lnTo>
                <a:lnTo>
                  <a:pt x="45" y="246"/>
                </a:lnTo>
                <a:lnTo>
                  <a:pt x="51" y="249"/>
                </a:lnTo>
                <a:lnTo>
                  <a:pt x="58" y="251"/>
                </a:lnTo>
                <a:lnTo>
                  <a:pt x="65" y="252"/>
                </a:lnTo>
                <a:lnTo>
                  <a:pt x="72" y="252"/>
                </a:lnTo>
                <a:lnTo>
                  <a:pt x="100" y="252"/>
                </a:lnTo>
                <a:lnTo>
                  <a:pt x="100" y="252"/>
                </a:lnTo>
                <a:lnTo>
                  <a:pt x="107" y="252"/>
                </a:lnTo>
                <a:lnTo>
                  <a:pt x="114" y="251"/>
                </a:lnTo>
                <a:lnTo>
                  <a:pt x="121" y="249"/>
                </a:lnTo>
                <a:lnTo>
                  <a:pt x="128" y="246"/>
                </a:lnTo>
                <a:lnTo>
                  <a:pt x="134" y="243"/>
                </a:lnTo>
                <a:lnTo>
                  <a:pt x="140" y="240"/>
                </a:lnTo>
                <a:lnTo>
                  <a:pt x="146" y="236"/>
                </a:lnTo>
                <a:lnTo>
                  <a:pt x="151" y="231"/>
                </a:lnTo>
                <a:lnTo>
                  <a:pt x="156" y="226"/>
                </a:lnTo>
                <a:lnTo>
                  <a:pt x="160" y="221"/>
                </a:lnTo>
                <a:lnTo>
                  <a:pt x="163" y="215"/>
                </a:lnTo>
                <a:lnTo>
                  <a:pt x="166" y="209"/>
                </a:lnTo>
                <a:lnTo>
                  <a:pt x="169" y="201"/>
                </a:lnTo>
                <a:lnTo>
                  <a:pt x="171" y="194"/>
                </a:lnTo>
                <a:lnTo>
                  <a:pt x="172" y="187"/>
                </a:lnTo>
                <a:lnTo>
                  <a:pt x="172" y="180"/>
                </a:lnTo>
                <a:lnTo>
                  <a:pt x="172"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6" name="Freeform 2360"/>
          <p:cNvSpPr>
            <a:spLocks/>
          </p:cNvSpPr>
          <p:nvPr/>
        </p:nvSpPr>
        <p:spPr bwMode="auto">
          <a:xfrm>
            <a:off x="7734302" y="4911726"/>
            <a:ext cx="41275" cy="14288"/>
          </a:xfrm>
          <a:custGeom>
            <a:avLst/>
            <a:gdLst>
              <a:gd name="T0" fmla="*/ 152 w 154"/>
              <a:gd name="T1" fmla="*/ 18 h 54"/>
              <a:gd name="T2" fmla="*/ 152 w 154"/>
              <a:gd name="T3" fmla="*/ 18 h 54"/>
              <a:gd name="T4" fmla="*/ 147 w 154"/>
              <a:gd name="T5" fmla="*/ 14 h 54"/>
              <a:gd name="T6" fmla="*/ 141 w 154"/>
              <a:gd name="T7" fmla="*/ 10 h 54"/>
              <a:gd name="T8" fmla="*/ 132 w 154"/>
              <a:gd name="T9" fmla="*/ 7 h 54"/>
              <a:gd name="T10" fmla="*/ 123 w 154"/>
              <a:gd name="T11" fmla="*/ 5 h 54"/>
              <a:gd name="T12" fmla="*/ 113 w 154"/>
              <a:gd name="T13" fmla="*/ 3 h 54"/>
              <a:gd name="T14" fmla="*/ 102 w 154"/>
              <a:gd name="T15" fmla="*/ 1 h 54"/>
              <a:gd name="T16" fmla="*/ 90 w 154"/>
              <a:gd name="T17" fmla="*/ 0 h 54"/>
              <a:gd name="T18" fmla="*/ 78 w 154"/>
              <a:gd name="T19" fmla="*/ 0 h 54"/>
              <a:gd name="T20" fmla="*/ 78 w 154"/>
              <a:gd name="T21" fmla="*/ 0 h 54"/>
              <a:gd name="T22" fmla="*/ 64 w 154"/>
              <a:gd name="T23" fmla="*/ 0 h 54"/>
              <a:gd name="T24" fmla="*/ 52 w 154"/>
              <a:gd name="T25" fmla="*/ 1 h 54"/>
              <a:gd name="T26" fmla="*/ 41 w 154"/>
              <a:gd name="T27" fmla="*/ 3 h 54"/>
              <a:gd name="T28" fmla="*/ 31 w 154"/>
              <a:gd name="T29" fmla="*/ 5 h 54"/>
              <a:gd name="T30" fmla="*/ 21 w 154"/>
              <a:gd name="T31" fmla="*/ 8 h 54"/>
              <a:gd name="T32" fmla="*/ 13 w 154"/>
              <a:gd name="T33" fmla="*/ 11 h 54"/>
              <a:gd name="T34" fmla="*/ 6 w 154"/>
              <a:gd name="T35" fmla="*/ 14 h 54"/>
              <a:gd name="T36" fmla="*/ 2 w 154"/>
              <a:gd name="T37" fmla="*/ 18 h 54"/>
              <a:gd name="T38" fmla="*/ 2 w 154"/>
              <a:gd name="T39" fmla="*/ 18 h 54"/>
              <a:gd name="T40" fmla="*/ 0 w 154"/>
              <a:gd name="T41" fmla="*/ 22 h 54"/>
              <a:gd name="T42" fmla="*/ 0 w 154"/>
              <a:gd name="T43" fmla="*/ 27 h 54"/>
              <a:gd name="T44" fmla="*/ 1 w 154"/>
              <a:gd name="T45" fmla="*/ 32 h 54"/>
              <a:gd name="T46" fmla="*/ 3 w 154"/>
              <a:gd name="T47" fmla="*/ 36 h 54"/>
              <a:gd name="T48" fmla="*/ 3 w 154"/>
              <a:gd name="T49" fmla="*/ 36 h 54"/>
              <a:gd name="T50" fmla="*/ 8 w 154"/>
              <a:gd name="T51" fmla="*/ 40 h 54"/>
              <a:gd name="T52" fmla="*/ 14 w 154"/>
              <a:gd name="T53" fmla="*/ 44 h 54"/>
              <a:gd name="T54" fmla="*/ 23 w 154"/>
              <a:gd name="T55" fmla="*/ 47 h 54"/>
              <a:gd name="T56" fmla="*/ 32 w 154"/>
              <a:gd name="T57" fmla="*/ 49 h 54"/>
              <a:gd name="T58" fmla="*/ 42 w 154"/>
              <a:gd name="T59" fmla="*/ 51 h 54"/>
              <a:gd name="T60" fmla="*/ 53 w 154"/>
              <a:gd name="T61" fmla="*/ 53 h 54"/>
              <a:gd name="T62" fmla="*/ 64 w 154"/>
              <a:gd name="T63" fmla="*/ 54 h 54"/>
              <a:gd name="T64" fmla="*/ 78 w 154"/>
              <a:gd name="T65" fmla="*/ 54 h 54"/>
              <a:gd name="T66" fmla="*/ 78 w 154"/>
              <a:gd name="T67" fmla="*/ 54 h 54"/>
              <a:gd name="T68" fmla="*/ 89 w 154"/>
              <a:gd name="T69" fmla="*/ 54 h 54"/>
              <a:gd name="T70" fmla="*/ 101 w 154"/>
              <a:gd name="T71" fmla="*/ 53 h 54"/>
              <a:gd name="T72" fmla="*/ 111 w 154"/>
              <a:gd name="T73" fmla="*/ 52 h 54"/>
              <a:gd name="T74" fmla="*/ 121 w 154"/>
              <a:gd name="T75" fmla="*/ 50 h 54"/>
              <a:gd name="T76" fmla="*/ 130 w 154"/>
              <a:gd name="T77" fmla="*/ 47 h 54"/>
              <a:gd name="T78" fmla="*/ 139 w 154"/>
              <a:gd name="T79" fmla="*/ 44 h 54"/>
              <a:gd name="T80" fmla="*/ 145 w 154"/>
              <a:gd name="T81" fmla="*/ 40 h 54"/>
              <a:gd name="T82" fmla="*/ 150 w 154"/>
              <a:gd name="T83" fmla="*/ 37 h 54"/>
              <a:gd name="T84" fmla="*/ 150 w 154"/>
              <a:gd name="T85" fmla="*/ 37 h 54"/>
              <a:gd name="T86" fmla="*/ 152 w 154"/>
              <a:gd name="T87" fmla="*/ 35 h 54"/>
              <a:gd name="T88" fmla="*/ 153 w 154"/>
              <a:gd name="T89" fmla="*/ 33 h 54"/>
              <a:gd name="T90" fmla="*/ 154 w 154"/>
              <a:gd name="T91" fmla="*/ 27 h 54"/>
              <a:gd name="T92" fmla="*/ 153 w 154"/>
              <a:gd name="T93" fmla="*/ 21 h 54"/>
              <a:gd name="T94" fmla="*/ 153 w 154"/>
              <a:gd name="T95" fmla="*/ 19 h 54"/>
              <a:gd name="T96" fmla="*/ 152 w 154"/>
              <a:gd name="T97" fmla="*/ 18 h 54"/>
              <a:gd name="T98" fmla="*/ 152 w 154"/>
              <a:gd name="T9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54">
                <a:moveTo>
                  <a:pt x="152" y="18"/>
                </a:moveTo>
                <a:lnTo>
                  <a:pt x="152" y="18"/>
                </a:lnTo>
                <a:lnTo>
                  <a:pt x="147" y="14"/>
                </a:lnTo>
                <a:lnTo>
                  <a:pt x="141" y="10"/>
                </a:lnTo>
                <a:lnTo>
                  <a:pt x="132" y="7"/>
                </a:lnTo>
                <a:lnTo>
                  <a:pt x="123" y="5"/>
                </a:lnTo>
                <a:lnTo>
                  <a:pt x="113" y="3"/>
                </a:lnTo>
                <a:lnTo>
                  <a:pt x="102" y="1"/>
                </a:lnTo>
                <a:lnTo>
                  <a:pt x="90" y="0"/>
                </a:lnTo>
                <a:lnTo>
                  <a:pt x="78" y="0"/>
                </a:lnTo>
                <a:lnTo>
                  <a:pt x="78" y="0"/>
                </a:lnTo>
                <a:lnTo>
                  <a:pt x="64" y="0"/>
                </a:lnTo>
                <a:lnTo>
                  <a:pt x="52" y="1"/>
                </a:lnTo>
                <a:lnTo>
                  <a:pt x="41" y="3"/>
                </a:lnTo>
                <a:lnTo>
                  <a:pt x="31" y="5"/>
                </a:lnTo>
                <a:lnTo>
                  <a:pt x="21" y="8"/>
                </a:lnTo>
                <a:lnTo>
                  <a:pt x="13" y="11"/>
                </a:lnTo>
                <a:lnTo>
                  <a:pt x="6" y="14"/>
                </a:lnTo>
                <a:lnTo>
                  <a:pt x="2" y="18"/>
                </a:lnTo>
                <a:lnTo>
                  <a:pt x="2" y="18"/>
                </a:lnTo>
                <a:lnTo>
                  <a:pt x="0" y="22"/>
                </a:lnTo>
                <a:lnTo>
                  <a:pt x="0" y="27"/>
                </a:lnTo>
                <a:lnTo>
                  <a:pt x="1" y="32"/>
                </a:lnTo>
                <a:lnTo>
                  <a:pt x="3" y="36"/>
                </a:lnTo>
                <a:lnTo>
                  <a:pt x="3" y="36"/>
                </a:lnTo>
                <a:lnTo>
                  <a:pt x="8" y="40"/>
                </a:lnTo>
                <a:lnTo>
                  <a:pt x="14" y="44"/>
                </a:lnTo>
                <a:lnTo>
                  <a:pt x="23" y="47"/>
                </a:lnTo>
                <a:lnTo>
                  <a:pt x="32" y="49"/>
                </a:lnTo>
                <a:lnTo>
                  <a:pt x="42" y="51"/>
                </a:lnTo>
                <a:lnTo>
                  <a:pt x="53" y="53"/>
                </a:lnTo>
                <a:lnTo>
                  <a:pt x="64" y="54"/>
                </a:lnTo>
                <a:lnTo>
                  <a:pt x="78" y="54"/>
                </a:lnTo>
                <a:lnTo>
                  <a:pt x="78" y="54"/>
                </a:lnTo>
                <a:lnTo>
                  <a:pt x="89" y="54"/>
                </a:lnTo>
                <a:lnTo>
                  <a:pt x="101" y="53"/>
                </a:lnTo>
                <a:lnTo>
                  <a:pt x="111" y="52"/>
                </a:lnTo>
                <a:lnTo>
                  <a:pt x="121" y="50"/>
                </a:lnTo>
                <a:lnTo>
                  <a:pt x="130" y="47"/>
                </a:lnTo>
                <a:lnTo>
                  <a:pt x="139" y="44"/>
                </a:lnTo>
                <a:lnTo>
                  <a:pt x="145" y="40"/>
                </a:lnTo>
                <a:lnTo>
                  <a:pt x="150" y="37"/>
                </a:lnTo>
                <a:lnTo>
                  <a:pt x="150" y="37"/>
                </a:lnTo>
                <a:lnTo>
                  <a:pt x="152" y="35"/>
                </a:lnTo>
                <a:lnTo>
                  <a:pt x="153" y="33"/>
                </a:lnTo>
                <a:lnTo>
                  <a:pt x="154" y="27"/>
                </a:lnTo>
                <a:lnTo>
                  <a:pt x="153" y="21"/>
                </a:lnTo>
                <a:lnTo>
                  <a:pt x="153" y="19"/>
                </a:lnTo>
                <a:lnTo>
                  <a:pt x="152" y="18"/>
                </a:lnTo>
                <a:lnTo>
                  <a:pt x="152"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7" name="Freeform 2361"/>
          <p:cNvSpPr>
            <a:spLocks/>
          </p:cNvSpPr>
          <p:nvPr/>
        </p:nvSpPr>
        <p:spPr bwMode="auto">
          <a:xfrm>
            <a:off x="7408863" y="4948239"/>
            <a:ext cx="46038" cy="66675"/>
          </a:xfrm>
          <a:custGeom>
            <a:avLst/>
            <a:gdLst>
              <a:gd name="T0" fmla="*/ 171 w 171"/>
              <a:gd name="T1" fmla="*/ 72 h 252"/>
              <a:gd name="T2" fmla="*/ 170 w 171"/>
              <a:gd name="T3" fmla="*/ 58 h 252"/>
              <a:gd name="T4" fmla="*/ 165 w 171"/>
              <a:gd name="T5" fmla="*/ 45 h 252"/>
              <a:gd name="T6" fmla="*/ 158 w 171"/>
              <a:gd name="T7" fmla="*/ 32 h 252"/>
              <a:gd name="T8" fmla="*/ 149 w 171"/>
              <a:gd name="T9" fmla="*/ 21 h 252"/>
              <a:gd name="T10" fmla="*/ 139 w 171"/>
              <a:gd name="T11" fmla="*/ 12 h 252"/>
              <a:gd name="T12" fmla="*/ 127 w 171"/>
              <a:gd name="T13" fmla="*/ 6 h 252"/>
              <a:gd name="T14" fmla="*/ 114 w 171"/>
              <a:gd name="T15" fmla="*/ 2 h 252"/>
              <a:gd name="T16" fmla="*/ 98 w 171"/>
              <a:gd name="T17" fmla="*/ 0 h 252"/>
              <a:gd name="T18" fmla="*/ 72 w 171"/>
              <a:gd name="T19" fmla="*/ 0 h 252"/>
              <a:gd name="T20" fmla="*/ 57 w 171"/>
              <a:gd name="T21" fmla="*/ 2 h 252"/>
              <a:gd name="T22" fmla="*/ 43 w 171"/>
              <a:gd name="T23" fmla="*/ 6 h 252"/>
              <a:gd name="T24" fmla="*/ 31 w 171"/>
              <a:gd name="T25" fmla="*/ 12 h 252"/>
              <a:gd name="T26" fmla="*/ 20 w 171"/>
              <a:gd name="T27" fmla="*/ 21 h 252"/>
              <a:gd name="T28" fmla="*/ 12 w 171"/>
              <a:gd name="T29" fmla="*/ 32 h 252"/>
              <a:gd name="T30" fmla="*/ 5 w 171"/>
              <a:gd name="T31" fmla="*/ 45 h 252"/>
              <a:gd name="T32" fmla="*/ 1 w 171"/>
              <a:gd name="T33" fmla="*/ 58 h 252"/>
              <a:gd name="T34" fmla="*/ 0 w 171"/>
              <a:gd name="T35" fmla="*/ 72 h 252"/>
              <a:gd name="T36" fmla="*/ 0 w 171"/>
              <a:gd name="T37" fmla="*/ 180 h 252"/>
              <a:gd name="T38" fmla="*/ 1 w 171"/>
              <a:gd name="T39" fmla="*/ 195 h 252"/>
              <a:gd name="T40" fmla="*/ 5 w 171"/>
              <a:gd name="T41" fmla="*/ 209 h 252"/>
              <a:gd name="T42" fmla="*/ 12 w 171"/>
              <a:gd name="T43" fmla="*/ 221 h 252"/>
              <a:gd name="T44" fmla="*/ 20 w 171"/>
              <a:gd name="T45" fmla="*/ 231 h 252"/>
              <a:gd name="T46" fmla="*/ 31 w 171"/>
              <a:gd name="T47" fmla="*/ 240 h 252"/>
              <a:gd name="T48" fmla="*/ 43 w 171"/>
              <a:gd name="T49" fmla="*/ 247 h 252"/>
              <a:gd name="T50" fmla="*/ 57 w 171"/>
              <a:gd name="T51" fmla="*/ 251 h 252"/>
              <a:gd name="T52" fmla="*/ 72 w 171"/>
              <a:gd name="T53" fmla="*/ 252 h 252"/>
              <a:gd name="T54" fmla="*/ 98 w 171"/>
              <a:gd name="T55" fmla="*/ 252 h 252"/>
              <a:gd name="T56" fmla="*/ 114 w 171"/>
              <a:gd name="T57" fmla="*/ 251 h 252"/>
              <a:gd name="T58" fmla="*/ 127 w 171"/>
              <a:gd name="T59" fmla="*/ 247 h 252"/>
              <a:gd name="T60" fmla="*/ 139 w 171"/>
              <a:gd name="T61" fmla="*/ 240 h 252"/>
              <a:gd name="T62" fmla="*/ 149 w 171"/>
              <a:gd name="T63" fmla="*/ 231 h 252"/>
              <a:gd name="T64" fmla="*/ 158 w 171"/>
              <a:gd name="T65" fmla="*/ 221 h 252"/>
              <a:gd name="T66" fmla="*/ 165 w 171"/>
              <a:gd name="T67" fmla="*/ 209 h 252"/>
              <a:gd name="T68" fmla="*/ 170 w 171"/>
              <a:gd name="T69" fmla="*/ 195 h 252"/>
              <a:gd name="T70" fmla="*/ 171 w 171"/>
              <a:gd name="T71" fmla="*/ 1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 h="252">
                <a:moveTo>
                  <a:pt x="171" y="72"/>
                </a:moveTo>
                <a:lnTo>
                  <a:pt x="171" y="72"/>
                </a:lnTo>
                <a:lnTo>
                  <a:pt x="171" y="65"/>
                </a:lnTo>
                <a:lnTo>
                  <a:pt x="170" y="58"/>
                </a:lnTo>
                <a:lnTo>
                  <a:pt x="167" y="51"/>
                </a:lnTo>
                <a:lnTo>
                  <a:pt x="165" y="45"/>
                </a:lnTo>
                <a:lnTo>
                  <a:pt x="162" y="38"/>
                </a:lnTo>
                <a:lnTo>
                  <a:pt x="158" y="32"/>
                </a:lnTo>
                <a:lnTo>
                  <a:pt x="154" y="27"/>
                </a:lnTo>
                <a:lnTo>
                  <a:pt x="149" y="21"/>
                </a:lnTo>
                <a:lnTo>
                  <a:pt x="144" y="16"/>
                </a:lnTo>
                <a:lnTo>
                  <a:pt x="139" y="12"/>
                </a:lnTo>
                <a:lnTo>
                  <a:pt x="133" y="9"/>
                </a:lnTo>
                <a:lnTo>
                  <a:pt x="127" y="6"/>
                </a:lnTo>
                <a:lnTo>
                  <a:pt x="120" y="3"/>
                </a:lnTo>
                <a:lnTo>
                  <a:pt x="114" y="2"/>
                </a:lnTo>
                <a:lnTo>
                  <a:pt x="106" y="1"/>
                </a:lnTo>
                <a:lnTo>
                  <a:pt x="98" y="0"/>
                </a:lnTo>
                <a:lnTo>
                  <a:pt x="72" y="0"/>
                </a:lnTo>
                <a:lnTo>
                  <a:pt x="72" y="0"/>
                </a:lnTo>
                <a:lnTo>
                  <a:pt x="64" y="1"/>
                </a:lnTo>
                <a:lnTo>
                  <a:pt x="57" y="2"/>
                </a:lnTo>
                <a:lnTo>
                  <a:pt x="51" y="3"/>
                </a:lnTo>
                <a:lnTo>
                  <a:pt x="43" y="6"/>
                </a:lnTo>
                <a:lnTo>
                  <a:pt x="37" y="9"/>
                </a:lnTo>
                <a:lnTo>
                  <a:pt x="31" y="12"/>
                </a:lnTo>
                <a:lnTo>
                  <a:pt x="25" y="16"/>
                </a:lnTo>
                <a:lnTo>
                  <a:pt x="20" y="21"/>
                </a:lnTo>
                <a:lnTo>
                  <a:pt x="16" y="27"/>
                </a:lnTo>
                <a:lnTo>
                  <a:pt x="12" y="32"/>
                </a:lnTo>
                <a:lnTo>
                  <a:pt x="8" y="38"/>
                </a:lnTo>
                <a:lnTo>
                  <a:pt x="5" y="45"/>
                </a:lnTo>
                <a:lnTo>
                  <a:pt x="3" y="51"/>
                </a:lnTo>
                <a:lnTo>
                  <a:pt x="1" y="58"/>
                </a:lnTo>
                <a:lnTo>
                  <a:pt x="0" y="65"/>
                </a:lnTo>
                <a:lnTo>
                  <a:pt x="0" y="72"/>
                </a:lnTo>
                <a:lnTo>
                  <a:pt x="0" y="180"/>
                </a:lnTo>
                <a:lnTo>
                  <a:pt x="0" y="180"/>
                </a:lnTo>
                <a:lnTo>
                  <a:pt x="0" y="188"/>
                </a:lnTo>
                <a:lnTo>
                  <a:pt x="1" y="195"/>
                </a:lnTo>
                <a:lnTo>
                  <a:pt x="3" y="201"/>
                </a:lnTo>
                <a:lnTo>
                  <a:pt x="5" y="209"/>
                </a:lnTo>
                <a:lnTo>
                  <a:pt x="8" y="215"/>
                </a:lnTo>
                <a:lnTo>
                  <a:pt x="12" y="221"/>
                </a:lnTo>
                <a:lnTo>
                  <a:pt x="16" y="226"/>
                </a:lnTo>
                <a:lnTo>
                  <a:pt x="20" y="231"/>
                </a:lnTo>
                <a:lnTo>
                  <a:pt x="25" y="236"/>
                </a:lnTo>
                <a:lnTo>
                  <a:pt x="31" y="240"/>
                </a:lnTo>
                <a:lnTo>
                  <a:pt x="37" y="244"/>
                </a:lnTo>
                <a:lnTo>
                  <a:pt x="43" y="247"/>
                </a:lnTo>
                <a:lnTo>
                  <a:pt x="51" y="249"/>
                </a:lnTo>
                <a:lnTo>
                  <a:pt x="57" y="251"/>
                </a:lnTo>
                <a:lnTo>
                  <a:pt x="64" y="252"/>
                </a:lnTo>
                <a:lnTo>
                  <a:pt x="72" y="252"/>
                </a:lnTo>
                <a:lnTo>
                  <a:pt x="98" y="252"/>
                </a:lnTo>
                <a:lnTo>
                  <a:pt x="98" y="252"/>
                </a:lnTo>
                <a:lnTo>
                  <a:pt x="106" y="252"/>
                </a:lnTo>
                <a:lnTo>
                  <a:pt x="114" y="251"/>
                </a:lnTo>
                <a:lnTo>
                  <a:pt x="120" y="249"/>
                </a:lnTo>
                <a:lnTo>
                  <a:pt x="127" y="247"/>
                </a:lnTo>
                <a:lnTo>
                  <a:pt x="133" y="244"/>
                </a:lnTo>
                <a:lnTo>
                  <a:pt x="139" y="240"/>
                </a:lnTo>
                <a:lnTo>
                  <a:pt x="144" y="236"/>
                </a:lnTo>
                <a:lnTo>
                  <a:pt x="149" y="231"/>
                </a:lnTo>
                <a:lnTo>
                  <a:pt x="154" y="226"/>
                </a:lnTo>
                <a:lnTo>
                  <a:pt x="158" y="221"/>
                </a:lnTo>
                <a:lnTo>
                  <a:pt x="162" y="215"/>
                </a:lnTo>
                <a:lnTo>
                  <a:pt x="165" y="209"/>
                </a:lnTo>
                <a:lnTo>
                  <a:pt x="167" y="201"/>
                </a:lnTo>
                <a:lnTo>
                  <a:pt x="170" y="195"/>
                </a:lnTo>
                <a:lnTo>
                  <a:pt x="171" y="188"/>
                </a:lnTo>
                <a:lnTo>
                  <a:pt x="171" y="180"/>
                </a:lnTo>
                <a:lnTo>
                  <a:pt x="171"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8" name="Freeform 2362"/>
          <p:cNvSpPr>
            <a:spLocks/>
          </p:cNvSpPr>
          <p:nvPr/>
        </p:nvSpPr>
        <p:spPr bwMode="auto">
          <a:xfrm>
            <a:off x="7412038" y="4943476"/>
            <a:ext cx="39688" cy="14288"/>
          </a:xfrm>
          <a:custGeom>
            <a:avLst/>
            <a:gdLst>
              <a:gd name="T0" fmla="*/ 150 w 152"/>
              <a:gd name="T1" fmla="*/ 18 h 54"/>
              <a:gd name="T2" fmla="*/ 150 w 152"/>
              <a:gd name="T3" fmla="*/ 18 h 54"/>
              <a:gd name="T4" fmla="*/ 145 w 152"/>
              <a:gd name="T5" fmla="*/ 14 h 54"/>
              <a:gd name="T6" fmla="*/ 139 w 152"/>
              <a:gd name="T7" fmla="*/ 11 h 54"/>
              <a:gd name="T8" fmla="*/ 131 w 152"/>
              <a:gd name="T9" fmla="*/ 8 h 54"/>
              <a:gd name="T10" fmla="*/ 122 w 152"/>
              <a:gd name="T11" fmla="*/ 5 h 54"/>
              <a:gd name="T12" fmla="*/ 112 w 152"/>
              <a:gd name="T13" fmla="*/ 3 h 54"/>
              <a:gd name="T14" fmla="*/ 101 w 152"/>
              <a:gd name="T15" fmla="*/ 1 h 54"/>
              <a:gd name="T16" fmla="*/ 88 w 152"/>
              <a:gd name="T17" fmla="*/ 0 h 54"/>
              <a:gd name="T18" fmla="*/ 76 w 152"/>
              <a:gd name="T19" fmla="*/ 0 h 54"/>
              <a:gd name="T20" fmla="*/ 76 w 152"/>
              <a:gd name="T21" fmla="*/ 0 h 54"/>
              <a:gd name="T22" fmla="*/ 63 w 152"/>
              <a:gd name="T23" fmla="*/ 0 h 54"/>
              <a:gd name="T24" fmla="*/ 51 w 152"/>
              <a:gd name="T25" fmla="*/ 1 h 54"/>
              <a:gd name="T26" fmla="*/ 40 w 152"/>
              <a:gd name="T27" fmla="*/ 3 h 54"/>
              <a:gd name="T28" fmla="*/ 29 w 152"/>
              <a:gd name="T29" fmla="*/ 5 h 54"/>
              <a:gd name="T30" fmla="*/ 20 w 152"/>
              <a:gd name="T31" fmla="*/ 8 h 54"/>
              <a:gd name="T32" fmla="*/ 12 w 152"/>
              <a:gd name="T33" fmla="*/ 11 h 54"/>
              <a:gd name="T34" fmla="*/ 6 w 152"/>
              <a:gd name="T35" fmla="*/ 15 h 54"/>
              <a:gd name="T36" fmla="*/ 1 w 152"/>
              <a:gd name="T37" fmla="*/ 18 h 54"/>
              <a:gd name="T38" fmla="*/ 1 w 152"/>
              <a:gd name="T39" fmla="*/ 18 h 54"/>
              <a:gd name="T40" fmla="*/ 0 w 152"/>
              <a:gd name="T41" fmla="*/ 22 h 54"/>
              <a:gd name="T42" fmla="*/ 0 w 152"/>
              <a:gd name="T43" fmla="*/ 27 h 54"/>
              <a:gd name="T44" fmla="*/ 0 w 152"/>
              <a:gd name="T45" fmla="*/ 33 h 54"/>
              <a:gd name="T46" fmla="*/ 2 w 152"/>
              <a:gd name="T47" fmla="*/ 36 h 54"/>
              <a:gd name="T48" fmla="*/ 2 w 152"/>
              <a:gd name="T49" fmla="*/ 36 h 54"/>
              <a:gd name="T50" fmla="*/ 7 w 152"/>
              <a:gd name="T51" fmla="*/ 40 h 54"/>
              <a:gd name="T52" fmla="*/ 14 w 152"/>
              <a:gd name="T53" fmla="*/ 44 h 54"/>
              <a:gd name="T54" fmla="*/ 21 w 152"/>
              <a:gd name="T55" fmla="*/ 47 h 54"/>
              <a:gd name="T56" fmla="*/ 30 w 152"/>
              <a:gd name="T57" fmla="*/ 50 h 54"/>
              <a:gd name="T58" fmla="*/ 41 w 152"/>
              <a:gd name="T59" fmla="*/ 52 h 54"/>
              <a:gd name="T60" fmla="*/ 52 w 152"/>
              <a:gd name="T61" fmla="*/ 53 h 54"/>
              <a:gd name="T62" fmla="*/ 64 w 152"/>
              <a:gd name="T63" fmla="*/ 54 h 54"/>
              <a:gd name="T64" fmla="*/ 76 w 152"/>
              <a:gd name="T65" fmla="*/ 54 h 54"/>
              <a:gd name="T66" fmla="*/ 76 w 152"/>
              <a:gd name="T67" fmla="*/ 54 h 54"/>
              <a:gd name="T68" fmla="*/ 88 w 152"/>
              <a:gd name="T69" fmla="*/ 54 h 54"/>
              <a:gd name="T70" fmla="*/ 100 w 152"/>
              <a:gd name="T71" fmla="*/ 53 h 54"/>
              <a:gd name="T72" fmla="*/ 111 w 152"/>
              <a:gd name="T73" fmla="*/ 52 h 54"/>
              <a:gd name="T74" fmla="*/ 120 w 152"/>
              <a:gd name="T75" fmla="*/ 50 h 54"/>
              <a:gd name="T76" fmla="*/ 129 w 152"/>
              <a:gd name="T77" fmla="*/ 48 h 54"/>
              <a:gd name="T78" fmla="*/ 137 w 152"/>
              <a:gd name="T79" fmla="*/ 45 h 54"/>
              <a:gd name="T80" fmla="*/ 143 w 152"/>
              <a:gd name="T81" fmla="*/ 42 h 54"/>
              <a:gd name="T82" fmla="*/ 149 w 152"/>
              <a:gd name="T83" fmla="*/ 37 h 54"/>
              <a:gd name="T84" fmla="*/ 149 w 152"/>
              <a:gd name="T85" fmla="*/ 37 h 54"/>
              <a:gd name="T86" fmla="*/ 150 w 152"/>
              <a:gd name="T87" fmla="*/ 35 h 54"/>
              <a:gd name="T88" fmla="*/ 151 w 152"/>
              <a:gd name="T89" fmla="*/ 33 h 54"/>
              <a:gd name="T90" fmla="*/ 152 w 152"/>
              <a:gd name="T91" fmla="*/ 27 h 54"/>
              <a:gd name="T92" fmla="*/ 152 w 152"/>
              <a:gd name="T93" fmla="*/ 22 h 54"/>
              <a:gd name="T94" fmla="*/ 151 w 152"/>
              <a:gd name="T95" fmla="*/ 19 h 54"/>
              <a:gd name="T96" fmla="*/ 150 w 152"/>
              <a:gd name="T97" fmla="*/ 18 h 54"/>
              <a:gd name="T98" fmla="*/ 150 w 152"/>
              <a:gd name="T9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54">
                <a:moveTo>
                  <a:pt x="150" y="18"/>
                </a:moveTo>
                <a:lnTo>
                  <a:pt x="150" y="18"/>
                </a:lnTo>
                <a:lnTo>
                  <a:pt x="145" y="14"/>
                </a:lnTo>
                <a:lnTo>
                  <a:pt x="139" y="11"/>
                </a:lnTo>
                <a:lnTo>
                  <a:pt x="131" y="8"/>
                </a:lnTo>
                <a:lnTo>
                  <a:pt x="122" y="5"/>
                </a:lnTo>
                <a:lnTo>
                  <a:pt x="112" y="3"/>
                </a:lnTo>
                <a:lnTo>
                  <a:pt x="101" y="1"/>
                </a:lnTo>
                <a:lnTo>
                  <a:pt x="88" y="0"/>
                </a:lnTo>
                <a:lnTo>
                  <a:pt x="76" y="0"/>
                </a:lnTo>
                <a:lnTo>
                  <a:pt x="76" y="0"/>
                </a:lnTo>
                <a:lnTo>
                  <a:pt x="63" y="0"/>
                </a:lnTo>
                <a:lnTo>
                  <a:pt x="51" y="1"/>
                </a:lnTo>
                <a:lnTo>
                  <a:pt x="40" y="3"/>
                </a:lnTo>
                <a:lnTo>
                  <a:pt x="29" y="5"/>
                </a:lnTo>
                <a:lnTo>
                  <a:pt x="20" y="8"/>
                </a:lnTo>
                <a:lnTo>
                  <a:pt x="12" y="11"/>
                </a:lnTo>
                <a:lnTo>
                  <a:pt x="6" y="15"/>
                </a:lnTo>
                <a:lnTo>
                  <a:pt x="1" y="18"/>
                </a:lnTo>
                <a:lnTo>
                  <a:pt x="1" y="18"/>
                </a:lnTo>
                <a:lnTo>
                  <a:pt x="0" y="22"/>
                </a:lnTo>
                <a:lnTo>
                  <a:pt x="0" y="27"/>
                </a:lnTo>
                <a:lnTo>
                  <a:pt x="0" y="33"/>
                </a:lnTo>
                <a:lnTo>
                  <a:pt x="2" y="36"/>
                </a:lnTo>
                <a:lnTo>
                  <a:pt x="2" y="36"/>
                </a:lnTo>
                <a:lnTo>
                  <a:pt x="7" y="40"/>
                </a:lnTo>
                <a:lnTo>
                  <a:pt x="14" y="44"/>
                </a:lnTo>
                <a:lnTo>
                  <a:pt x="21" y="47"/>
                </a:lnTo>
                <a:lnTo>
                  <a:pt x="30" y="50"/>
                </a:lnTo>
                <a:lnTo>
                  <a:pt x="41" y="52"/>
                </a:lnTo>
                <a:lnTo>
                  <a:pt x="52" y="53"/>
                </a:lnTo>
                <a:lnTo>
                  <a:pt x="64" y="54"/>
                </a:lnTo>
                <a:lnTo>
                  <a:pt x="76" y="54"/>
                </a:lnTo>
                <a:lnTo>
                  <a:pt x="76" y="54"/>
                </a:lnTo>
                <a:lnTo>
                  <a:pt x="88" y="54"/>
                </a:lnTo>
                <a:lnTo>
                  <a:pt x="100" y="53"/>
                </a:lnTo>
                <a:lnTo>
                  <a:pt x="111" y="52"/>
                </a:lnTo>
                <a:lnTo>
                  <a:pt x="120" y="50"/>
                </a:lnTo>
                <a:lnTo>
                  <a:pt x="129" y="48"/>
                </a:lnTo>
                <a:lnTo>
                  <a:pt x="137" y="45"/>
                </a:lnTo>
                <a:lnTo>
                  <a:pt x="143" y="42"/>
                </a:lnTo>
                <a:lnTo>
                  <a:pt x="149" y="37"/>
                </a:lnTo>
                <a:lnTo>
                  <a:pt x="149" y="37"/>
                </a:lnTo>
                <a:lnTo>
                  <a:pt x="150" y="35"/>
                </a:lnTo>
                <a:lnTo>
                  <a:pt x="151" y="33"/>
                </a:lnTo>
                <a:lnTo>
                  <a:pt x="152" y="27"/>
                </a:lnTo>
                <a:lnTo>
                  <a:pt x="152" y="22"/>
                </a:lnTo>
                <a:lnTo>
                  <a:pt x="151" y="19"/>
                </a:lnTo>
                <a:lnTo>
                  <a:pt x="150" y="18"/>
                </a:lnTo>
                <a:lnTo>
                  <a:pt x="150"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09" name="Freeform 2363"/>
          <p:cNvSpPr>
            <a:spLocks/>
          </p:cNvSpPr>
          <p:nvPr/>
        </p:nvSpPr>
        <p:spPr bwMode="auto">
          <a:xfrm>
            <a:off x="7472363" y="4941889"/>
            <a:ext cx="46038" cy="66675"/>
          </a:xfrm>
          <a:custGeom>
            <a:avLst/>
            <a:gdLst>
              <a:gd name="T0" fmla="*/ 172 w 172"/>
              <a:gd name="T1" fmla="*/ 72 h 253"/>
              <a:gd name="T2" fmla="*/ 170 w 172"/>
              <a:gd name="T3" fmla="*/ 58 h 253"/>
              <a:gd name="T4" fmla="*/ 165 w 172"/>
              <a:gd name="T5" fmla="*/ 44 h 253"/>
              <a:gd name="T6" fmla="*/ 159 w 172"/>
              <a:gd name="T7" fmla="*/ 32 h 253"/>
              <a:gd name="T8" fmla="*/ 150 w 172"/>
              <a:gd name="T9" fmla="*/ 21 h 253"/>
              <a:gd name="T10" fmla="*/ 139 w 172"/>
              <a:gd name="T11" fmla="*/ 13 h 253"/>
              <a:gd name="T12" fmla="*/ 127 w 172"/>
              <a:gd name="T13" fmla="*/ 6 h 253"/>
              <a:gd name="T14" fmla="*/ 114 w 172"/>
              <a:gd name="T15" fmla="*/ 2 h 253"/>
              <a:gd name="T16" fmla="*/ 99 w 172"/>
              <a:gd name="T17" fmla="*/ 0 h 253"/>
              <a:gd name="T18" fmla="*/ 72 w 172"/>
              <a:gd name="T19" fmla="*/ 0 h 253"/>
              <a:gd name="T20" fmla="*/ 58 w 172"/>
              <a:gd name="T21" fmla="*/ 2 h 253"/>
              <a:gd name="T22" fmla="*/ 43 w 172"/>
              <a:gd name="T23" fmla="*/ 6 h 253"/>
              <a:gd name="T24" fmla="*/ 31 w 172"/>
              <a:gd name="T25" fmla="*/ 13 h 253"/>
              <a:gd name="T26" fmla="*/ 21 w 172"/>
              <a:gd name="T27" fmla="*/ 21 h 253"/>
              <a:gd name="T28" fmla="*/ 12 w 172"/>
              <a:gd name="T29" fmla="*/ 32 h 253"/>
              <a:gd name="T30" fmla="*/ 6 w 172"/>
              <a:gd name="T31" fmla="*/ 44 h 253"/>
              <a:gd name="T32" fmla="*/ 2 w 172"/>
              <a:gd name="T33" fmla="*/ 58 h 253"/>
              <a:gd name="T34" fmla="*/ 0 w 172"/>
              <a:gd name="T35" fmla="*/ 72 h 253"/>
              <a:gd name="T36" fmla="*/ 0 w 172"/>
              <a:gd name="T37" fmla="*/ 181 h 253"/>
              <a:gd name="T38" fmla="*/ 2 w 172"/>
              <a:gd name="T39" fmla="*/ 195 h 253"/>
              <a:gd name="T40" fmla="*/ 6 w 172"/>
              <a:gd name="T41" fmla="*/ 208 h 253"/>
              <a:gd name="T42" fmla="*/ 12 w 172"/>
              <a:gd name="T43" fmla="*/ 220 h 253"/>
              <a:gd name="T44" fmla="*/ 21 w 172"/>
              <a:gd name="T45" fmla="*/ 232 h 253"/>
              <a:gd name="T46" fmla="*/ 31 w 172"/>
              <a:gd name="T47" fmla="*/ 240 h 253"/>
              <a:gd name="T48" fmla="*/ 43 w 172"/>
              <a:gd name="T49" fmla="*/ 247 h 253"/>
              <a:gd name="T50" fmla="*/ 58 w 172"/>
              <a:gd name="T51" fmla="*/ 251 h 253"/>
              <a:gd name="T52" fmla="*/ 72 w 172"/>
              <a:gd name="T53" fmla="*/ 253 h 253"/>
              <a:gd name="T54" fmla="*/ 99 w 172"/>
              <a:gd name="T55" fmla="*/ 253 h 253"/>
              <a:gd name="T56" fmla="*/ 114 w 172"/>
              <a:gd name="T57" fmla="*/ 251 h 253"/>
              <a:gd name="T58" fmla="*/ 127 w 172"/>
              <a:gd name="T59" fmla="*/ 247 h 253"/>
              <a:gd name="T60" fmla="*/ 139 w 172"/>
              <a:gd name="T61" fmla="*/ 240 h 253"/>
              <a:gd name="T62" fmla="*/ 150 w 172"/>
              <a:gd name="T63" fmla="*/ 232 h 253"/>
              <a:gd name="T64" fmla="*/ 159 w 172"/>
              <a:gd name="T65" fmla="*/ 220 h 253"/>
              <a:gd name="T66" fmla="*/ 165 w 172"/>
              <a:gd name="T67" fmla="*/ 208 h 253"/>
              <a:gd name="T68" fmla="*/ 170 w 172"/>
              <a:gd name="T69" fmla="*/ 195 h 253"/>
              <a:gd name="T70" fmla="*/ 172 w 172"/>
              <a:gd name="T71" fmla="*/ 18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253">
                <a:moveTo>
                  <a:pt x="172" y="72"/>
                </a:moveTo>
                <a:lnTo>
                  <a:pt x="172" y="72"/>
                </a:lnTo>
                <a:lnTo>
                  <a:pt x="171" y="65"/>
                </a:lnTo>
                <a:lnTo>
                  <a:pt x="170" y="58"/>
                </a:lnTo>
                <a:lnTo>
                  <a:pt x="169" y="51"/>
                </a:lnTo>
                <a:lnTo>
                  <a:pt x="165" y="44"/>
                </a:lnTo>
                <a:lnTo>
                  <a:pt x="162" y="38"/>
                </a:lnTo>
                <a:lnTo>
                  <a:pt x="159" y="32"/>
                </a:lnTo>
                <a:lnTo>
                  <a:pt x="155" y="26"/>
                </a:lnTo>
                <a:lnTo>
                  <a:pt x="150" y="21"/>
                </a:lnTo>
                <a:lnTo>
                  <a:pt x="145" y="17"/>
                </a:lnTo>
                <a:lnTo>
                  <a:pt x="139" y="13"/>
                </a:lnTo>
                <a:lnTo>
                  <a:pt x="134" y="9"/>
                </a:lnTo>
                <a:lnTo>
                  <a:pt x="127" y="6"/>
                </a:lnTo>
                <a:lnTo>
                  <a:pt x="121" y="4"/>
                </a:lnTo>
                <a:lnTo>
                  <a:pt x="114" y="2"/>
                </a:lnTo>
                <a:lnTo>
                  <a:pt x="106" y="1"/>
                </a:lnTo>
                <a:lnTo>
                  <a:pt x="99" y="0"/>
                </a:lnTo>
                <a:lnTo>
                  <a:pt x="72" y="0"/>
                </a:lnTo>
                <a:lnTo>
                  <a:pt x="72" y="0"/>
                </a:lnTo>
                <a:lnTo>
                  <a:pt x="65" y="1"/>
                </a:lnTo>
                <a:lnTo>
                  <a:pt x="58" y="2"/>
                </a:lnTo>
                <a:lnTo>
                  <a:pt x="51" y="4"/>
                </a:lnTo>
                <a:lnTo>
                  <a:pt x="43" y="6"/>
                </a:lnTo>
                <a:lnTo>
                  <a:pt x="37" y="9"/>
                </a:lnTo>
                <a:lnTo>
                  <a:pt x="31" y="13"/>
                </a:lnTo>
                <a:lnTo>
                  <a:pt x="26" y="17"/>
                </a:lnTo>
                <a:lnTo>
                  <a:pt x="21" y="21"/>
                </a:lnTo>
                <a:lnTo>
                  <a:pt x="16" y="26"/>
                </a:lnTo>
                <a:lnTo>
                  <a:pt x="12" y="32"/>
                </a:lnTo>
                <a:lnTo>
                  <a:pt x="9" y="38"/>
                </a:lnTo>
                <a:lnTo>
                  <a:pt x="6" y="44"/>
                </a:lnTo>
                <a:lnTo>
                  <a:pt x="3" y="51"/>
                </a:lnTo>
                <a:lnTo>
                  <a:pt x="2" y="58"/>
                </a:lnTo>
                <a:lnTo>
                  <a:pt x="0" y="65"/>
                </a:lnTo>
                <a:lnTo>
                  <a:pt x="0" y="72"/>
                </a:lnTo>
                <a:lnTo>
                  <a:pt x="0" y="181"/>
                </a:lnTo>
                <a:lnTo>
                  <a:pt x="0" y="181"/>
                </a:lnTo>
                <a:lnTo>
                  <a:pt x="0" y="188"/>
                </a:lnTo>
                <a:lnTo>
                  <a:pt x="2" y="195"/>
                </a:lnTo>
                <a:lnTo>
                  <a:pt x="3" y="202"/>
                </a:lnTo>
                <a:lnTo>
                  <a:pt x="6" y="208"/>
                </a:lnTo>
                <a:lnTo>
                  <a:pt x="9" y="214"/>
                </a:lnTo>
                <a:lnTo>
                  <a:pt x="12" y="220"/>
                </a:lnTo>
                <a:lnTo>
                  <a:pt x="16" y="227"/>
                </a:lnTo>
                <a:lnTo>
                  <a:pt x="21" y="232"/>
                </a:lnTo>
                <a:lnTo>
                  <a:pt x="26" y="236"/>
                </a:lnTo>
                <a:lnTo>
                  <a:pt x="31" y="240"/>
                </a:lnTo>
                <a:lnTo>
                  <a:pt x="37" y="244"/>
                </a:lnTo>
                <a:lnTo>
                  <a:pt x="43" y="247"/>
                </a:lnTo>
                <a:lnTo>
                  <a:pt x="51" y="249"/>
                </a:lnTo>
                <a:lnTo>
                  <a:pt x="58" y="251"/>
                </a:lnTo>
                <a:lnTo>
                  <a:pt x="65" y="252"/>
                </a:lnTo>
                <a:lnTo>
                  <a:pt x="72" y="253"/>
                </a:lnTo>
                <a:lnTo>
                  <a:pt x="99" y="253"/>
                </a:lnTo>
                <a:lnTo>
                  <a:pt x="99" y="253"/>
                </a:lnTo>
                <a:lnTo>
                  <a:pt x="106" y="252"/>
                </a:lnTo>
                <a:lnTo>
                  <a:pt x="114" y="251"/>
                </a:lnTo>
                <a:lnTo>
                  <a:pt x="121" y="249"/>
                </a:lnTo>
                <a:lnTo>
                  <a:pt x="127" y="247"/>
                </a:lnTo>
                <a:lnTo>
                  <a:pt x="134" y="244"/>
                </a:lnTo>
                <a:lnTo>
                  <a:pt x="139" y="240"/>
                </a:lnTo>
                <a:lnTo>
                  <a:pt x="145" y="236"/>
                </a:lnTo>
                <a:lnTo>
                  <a:pt x="150" y="232"/>
                </a:lnTo>
                <a:lnTo>
                  <a:pt x="155" y="227"/>
                </a:lnTo>
                <a:lnTo>
                  <a:pt x="159" y="220"/>
                </a:lnTo>
                <a:lnTo>
                  <a:pt x="162" y="214"/>
                </a:lnTo>
                <a:lnTo>
                  <a:pt x="165" y="208"/>
                </a:lnTo>
                <a:lnTo>
                  <a:pt x="169" y="202"/>
                </a:lnTo>
                <a:lnTo>
                  <a:pt x="170" y="195"/>
                </a:lnTo>
                <a:lnTo>
                  <a:pt x="171" y="188"/>
                </a:lnTo>
                <a:lnTo>
                  <a:pt x="172" y="181"/>
                </a:lnTo>
                <a:lnTo>
                  <a:pt x="172"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0" name="Freeform 2364"/>
          <p:cNvSpPr>
            <a:spLocks/>
          </p:cNvSpPr>
          <p:nvPr/>
        </p:nvSpPr>
        <p:spPr bwMode="auto">
          <a:xfrm>
            <a:off x="7475538" y="4937127"/>
            <a:ext cx="39688" cy="15875"/>
          </a:xfrm>
          <a:custGeom>
            <a:avLst/>
            <a:gdLst>
              <a:gd name="T0" fmla="*/ 151 w 152"/>
              <a:gd name="T1" fmla="*/ 19 h 55"/>
              <a:gd name="T2" fmla="*/ 151 w 152"/>
              <a:gd name="T3" fmla="*/ 19 h 55"/>
              <a:gd name="T4" fmla="*/ 146 w 152"/>
              <a:gd name="T5" fmla="*/ 15 h 55"/>
              <a:gd name="T6" fmla="*/ 140 w 152"/>
              <a:gd name="T7" fmla="*/ 12 h 55"/>
              <a:gd name="T8" fmla="*/ 132 w 152"/>
              <a:gd name="T9" fmla="*/ 9 h 55"/>
              <a:gd name="T10" fmla="*/ 123 w 152"/>
              <a:gd name="T11" fmla="*/ 6 h 55"/>
              <a:gd name="T12" fmla="*/ 113 w 152"/>
              <a:gd name="T13" fmla="*/ 3 h 55"/>
              <a:gd name="T14" fmla="*/ 102 w 152"/>
              <a:gd name="T15" fmla="*/ 2 h 55"/>
              <a:gd name="T16" fmla="*/ 89 w 152"/>
              <a:gd name="T17" fmla="*/ 1 h 55"/>
              <a:gd name="T18" fmla="*/ 76 w 152"/>
              <a:gd name="T19" fmla="*/ 0 h 55"/>
              <a:gd name="T20" fmla="*/ 76 w 152"/>
              <a:gd name="T21" fmla="*/ 0 h 55"/>
              <a:gd name="T22" fmla="*/ 64 w 152"/>
              <a:gd name="T23" fmla="*/ 1 h 55"/>
              <a:gd name="T24" fmla="*/ 52 w 152"/>
              <a:gd name="T25" fmla="*/ 2 h 55"/>
              <a:gd name="T26" fmla="*/ 41 w 152"/>
              <a:gd name="T27" fmla="*/ 3 h 55"/>
              <a:gd name="T28" fmla="*/ 29 w 152"/>
              <a:gd name="T29" fmla="*/ 6 h 55"/>
              <a:gd name="T30" fmla="*/ 20 w 152"/>
              <a:gd name="T31" fmla="*/ 9 h 55"/>
              <a:gd name="T32" fmla="*/ 12 w 152"/>
              <a:gd name="T33" fmla="*/ 12 h 55"/>
              <a:gd name="T34" fmla="*/ 6 w 152"/>
              <a:gd name="T35" fmla="*/ 16 h 55"/>
              <a:gd name="T36" fmla="*/ 2 w 152"/>
              <a:gd name="T37" fmla="*/ 20 h 55"/>
              <a:gd name="T38" fmla="*/ 2 w 152"/>
              <a:gd name="T39" fmla="*/ 20 h 55"/>
              <a:gd name="T40" fmla="*/ 0 w 152"/>
              <a:gd name="T41" fmla="*/ 23 h 55"/>
              <a:gd name="T42" fmla="*/ 0 w 152"/>
              <a:gd name="T43" fmla="*/ 29 h 55"/>
              <a:gd name="T44" fmla="*/ 1 w 152"/>
              <a:gd name="T45" fmla="*/ 34 h 55"/>
              <a:gd name="T46" fmla="*/ 3 w 152"/>
              <a:gd name="T47" fmla="*/ 38 h 55"/>
              <a:gd name="T48" fmla="*/ 3 w 152"/>
              <a:gd name="T49" fmla="*/ 38 h 55"/>
              <a:gd name="T50" fmla="*/ 8 w 152"/>
              <a:gd name="T51" fmla="*/ 41 h 55"/>
              <a:gd name="T52" fmla="*/ 14 w 152"/>
              <a:gd name="T53" fmla="*/ 44 h 55"/>
              <a:gd name="T54" fmla="*/ 22 w 152"/>
              <a:gd name="T55" fmla="*/ 47 h 55"/>
              <a:gd name="T56" fmla="*/ 31 w 152"/>
              <a:gd name="T57" fmla="*/ 50 h 55"/>
              <a:gd name="T58" fmla="*/ 42 w 152"/>
              <a:gd name="T59" fmla="*/ 52 h 55"/>
              <a:gd name="T60" fmla="*/ 53 w 152"/>
              <a:gd name="T61" fmla="*/ 53 h 55"/>
              <a:gd name="T62" fmla="*/ 64 w 152"/>
              <a:gd name="T63" fmla="*/ 54 h 55"/>
              <a:gd name="T64" fmla="*/ 76 w 152"/>
              <a:gd name="T65" fmla="*/ 55 h 55"/>
              <a:gd name="T66" fmla="*/ 76 w 152"/>
              <a:gd name="T67" fmla="*/ 55 h 55"/>
              <a:gd name="T68" fmla="*/ 88 w 152"/>
              <a:gd name="T69" fmla="*/ 54 h 55"/>
              <a:gd name="T70" fmla="*/ 101 w 152"/>
              <a:gd name="T71" fmla="*/ 54 h 55"/>
              <a:gd name="T72" fmla="*/ 111 w 152"/>
              <a:gd name="T73" fmla="*/ 52 h 55"/>
              <a:gd name="T74" fmla="*/ 121 w 152"/>
              <a:gd name="T75" fmla="*/ 50 h 55"/>
              <a:gd name="T76" fmla="*/ 130 w 152"/>
              <a:gd name="T77" fmla="*/ 48 h 55"/>
              <a:gd name="T78" fmla="*/ 137 w 152"/>
              <a:gd name="T79" fmla="*/ 45 h 55"/>
              <a:gd name="T80" fmla="*/ 144 w 152"/>
              <a:gd name="T81" fmla="*/ 42 h 55"/>
              <a:gd name="T82" fmla="*/ 149 w 152"/>
              <a:gd name="T83" fmla="*/ 38 h 55"/>
              <a:gd name="T84" fmla="*/ 149 w 152"/>
              <a:gd name="T85" fmla="*/ 38 h 55"/>
              <a:gd name="T86" fmla="*/ 150 w 152"/>
              <a:gd name="T87" fmla="*/ 37 h 55"/>
              <a:gd name="T88" fmla="*/ 151 w 152"/>
              <a:gd name="T89" fmla="*/ 34 h 55"/>
              <a:gd name="T90" fmla="*/ 152 w 152"/>
              <a:gd name="T91" fmla="*/ 29 h 55"/>
              <a:gd name="T92" fmla="*/ 152 w 152"/>
              <a:gd name="T93" fmla="*/ 23 h 55"/>
              <a:gd name="T94" fmla="*/ 152 w 152"/>
              <a:gd name="T95" fmla="*/ 21 h 55"/>
              <a:gd name="T96" fmla="*/ 151 w 152"/>
              <a:gd name="T97" fmla="*/ 19 h 55"/>
              <a:gd name="T98" fmla="*/ 151 w 152"/>
              <a:gd name="T99" fmla="*/ 1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55">
                <a:moveTo>
                  <a:pt x="151" y="19"/>
                </a:moveTo>
                <a:lnTo>
                  <a:pt x="151" y="19"/>
                </a:lnTo>
                <a:lnTo>
                  <a:pt x="146" y="15"/>
                </a:lnTo>
                <a:lnTo>
                  <a:pt x="140" y="12"/>
                </a:lnTo>
                <a:lnTo>
                  <a:pt x="132" y="9"/>
                </a:lnTo>
                <a:lnTo>
                  <a:pt x="123" y="6"/>
                </a:lnTo>
                <a:lnTo>
                  <a:pt x="113" y="3"/>
                </a:lnTo>
                <a:lnTo>
                  <a:pt x="102" y="2"/>
                </a:lnTo>
                <a:lnTo>
                  <a:pt x="89" y="1"/>
                </a:lnTo>
                <a:lnTo>
                  <a:pt x="76" y="0"/>
                </a:lnTo>
                <a:lnTo>
                  <a:pt x="76" y="0"/>
                </a:lnTo>
                <a:lnTo>
                  <a:pt x="64" y="1"/>
                </a:lnTo>
                <a:lnTo>
                  <a:pt x="52" y="2"/>
                </a:lnTo>
                <a:lnTo>
                  <a:pt x="41" y="3"/>
                </a:lnTo>
                <a:lnTo>
                  <a:pt x="29" y="6"/>
                </a:lnTo>
                <a:lnTo>
                  <a:pt x="20" y="9"/>
                </a:lnTo>
                <a:lnTo>
                  <a:pt x="12" y="12"/>
                </a:lnTo>
                <a:lnTo>
                  <a:pt x="6" y="16"/>
                </a:lnTo>
                <a:lnTo>
                  <a:pt x="2" y="20"/>
                </a:lnTo>
                <a:lnTo>
                  <a:pt x="2" y="20"/>
                </a:lnTo>
                <a:lnTo>
                  <a:pt x="0" y="23"/>
                </a:lnTo>
                <a:lnTo>
                  <a:pt x="0" y="29"/>
                </a:lnTo>
                <a:lnTo>
                  <a:pt x="1" y="34"/>
                </a:lnTo>
                <a:lnTo>
                  <a:pt x="3" y="38"/>
                </a:lnTo>
                <a:lnTo>
                  <a:pt x="3" y="38"/>
                </a:lnTo>
                <a:lnTo>
                  <a:pt x="8" y="41"/>
                </a:lnTo>
                <a:lnTo>
                  <a:pt x="14" y="44"/>
                </a:lnTo>
                <a:lnTo>
                  <a:pt x="22" y="47"/>
                </a:lnTo>
                <a:lnTo>
                  <a:pt x="31" y="50"/>
                </a:lnTo>
                <a:lnTo>
                  <a:pt x="42" y="52"/>
                </a:lnTo>
                <a:lnTo>
                  <a:pt x="53" y="53"/>
                </a:lnTo>
                <a:lnTo>
                  <a:pt x="64" y="54"/>
                </a:lnTo>
                <a:lnTo>
                  <a:pt x="76" y="55"/>
                </a:lnTo>
                <a:lnTo>
                  <a:pt x="76" y="55"/>
                </a:lnTo>
                <a:lnTo>
                  <a:pt x="88" y="54"/>
                </a:lnTo>
                <a:lnTo>
                  <a:pt x="101" y="54"/>
                </a:lnTo>
                <a:lnTo>
                  <a:pt x="111" y="52"/>
                </a:lnTo>
                <a:lnTo>
                  <a:pt x="121" y="50"/>
                </a:lnTo>
                <a:lnTo>
                  <a:pt x="130" y="48"/>
                </a:lnTo>
                <a:lnTo>
                  <a:pt x="137" y="45"/>
                </a:lnTo>
                <a:lnTo>
                  <a:pt x="144" y="42"/>
                </a:lnTo>
                <a:lnTo>
                  <a:pt x="149" y="38"/>
                </a:lnTo>
                <a:lnTo>
                  <a:pt x="149" y="38"/>
                </a:lnTo>
                <a:lnTo>
                  <a:pt x="150" y="37"/>
                </a:lnTo>
                <a:lnTo>
                  <a:pt x="151" y="34"/>
                </a:lnTo>
                <a:lnTo>
                  <a:pt x="152" y="29"/>
                </a:lnTo>
                <a:lnTo>
                  <a:pt x="152" y="23"/>
                </a:lnTo>
                <a:lnTo>
                  <a:pt x="152" y="21"/>
                </a:lnTo>
                <a:lnTo>
                  <a:pt x="151" y="19"/>
                </a:lnTo>
                <a:lnTo>
                  <a:pt x="151" y="19"/>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1" name="Freeform 2365"/>
          <p:cNvSpPr>
            <a:spLocks/>
          </p:cNvSpPr>
          <p:nvPr/>
        </p:nvSpPr>
        <p:spPr bwMode="auto">
          <a:xfrm>
            <a:off x="7535863" y="4933952"/>
            <a:ext cx="46038" cy="66675"/>
          </a:xfrm>
          <a:custGeom>
            <a:avLst/>
            <a:gdLst>
              <a:gd name="T0" fmla="*/ 171 w 171"/>
              <a:gd name="T1" fmla="*/ 72 h 253"/>
              <a:gd name="T2" fmla="*/ 170 w 171"/>
              <a:gd name="T3" fmla="*/ 58 h 253"/>
              <a:gd name="T4" fmla="*/ 166 w 171"/>
              <a:gd name="T5" fmla="*/ 44 h 253"/>
              <a:gd name="T6" fmla="*/ 158 w 171"/>
              <a:gd name="T7" fmla="*/ 32 h 253"/>
              <a:gd name="T8" fmla="*/ 149 w 171"/>
              <a:gd name="T9" fmla="*/ 22 h 253"/>
              <a:gd name="T10" fmla="*/ 139 w 171"/>
              <a:gd name="T11" fmla="*/ 12 h 253"/>
              <a:gd name="T12" fmla="*/ 127 w 171"/>
              <a:gd name="T13" fmla="*/ 6 h 253"/>
              <a:gd name="T14" fmla="*/ 114 w 171"/>
              <a:gd name="T15" fmla="*/ 1 h 253"/>
              <a:gd name="T16" fmla="*/ 98 w 171"/>
              <a:gd name="T17" fmla="*/ 0 h 253"/>
              <a:gd name="T18" fmla="*/ 72 w 171"/>
              <a:gd name="T19" fmla="*/ 0 h 253"/>
              <a:gd name="T20" fmla="*/ 57 w 171"/>
              <a:gd name="T21" fmla="*/ 1 h 253"/>
              <a:gd name="T22" fmla="*/ 43 w 171"/>
              <a:gd name="T23" fmla="*/ 6 h 253"/>
              <a:gd name="T24" fmla="*/ 31 w 171"/>
              <a:gd name="T25" fmla="*/ 12 h 253"/>
              <a:gd name="T26" fmla="*/ 20 w 171"/>
              <a:gd name="T27" fmla="*/ 22 h 253"/>
              <a:gd name="T28" fmla="*/ 12 w 171"/>
              <a:gd name="T29" fmla="*/ 32 h 253"/>
              <a:gd name="T30" fmla="*/ 5 w 171"/>
              <a:gd name="T31" fmla="*/ 44 h 253"/>
              <a:gd name="T32" fmla="*/ 1 w 171"/>
              <a:gd name="T33" fmla="*/ 58 h 253"/>
              <a:gd name="T34" fmla="*/ 0 w 171"/>
              <a:gd name="T35" fmla="*/ 72 h 253"/>
              <a:gd name="T36" fmla="*/ 0 w 171"/>
              <a:gd name="T37" fmla="*/ 180 h 253"/>
              <a:gd name="T38" fmla="*/ 1 w 171"/>
              <a:gd name="T39" fmla="*/ 195 h 253"/>
              <a:gd name="T40" fmla="*/ 5 w 171"/>
              <a:gd name="T41" fmla="*/ 209 h 253"/>
              <a:gd name="T42" fmla="*/ 12 w 171"/>
              <a:gd name="T43" fmla="*/ 221 h 253"/>
              <a:gd name="T44" fmla="*/ 20 w 171"/>
              <a:gd name="T45" fmla="*/ 231 h 253"/>
              <a:gd name="T46" fmla="*/ 31 w 171"/>
              <a:gd name="T47" fmla="*/ 240 h 253"/>
              <a:gd name="T48" fmla="*/ 43 w 171"/>
              <a:gd name="T49" fmla="*/ 247 h 253"/>
              <a:gd name="T50" fmla="*/ 57 w 171"/>
              <a:gd name="T51" fmla="*/ 251 h 253"/>
              <a:gd name="T52" fmla="*/ 72 w 171"/>
              <a:gd name="T53" fmla="*/ 253 h 253"/>
              <a:gd name="T54" fmla="*/ 98 w 171"/>
              <a:gd name="T55" fmla="*/ 253 h 253"/>
              <a:gd name="T56" fmla="*/ 114 w 171"/>
              <a:gd name="T57" fmla="*/ 251 h 253"/>
              <a:gd name="T58" fmla="*/ 127 w 171"/>
              <a:gd name="T59" fmla="*/ 247 h 253"/>
              <a:gd name="T60" fmla="*/ 139 w 171"/>
              <a:gd name="T61" fmla="*/ 240 h 253"/>
              <a:gd name="T62" fmla="*/ 149 w 171"/>
              <a:gd name="T63" fmla="*/ 231 h 253"/>
              <a:gd name="T64" fmla="*/ 158 w 171"/>
              <a:gd name="T65" fmla="*/ 221 h 253"/>
              <a:gd name="T66" fmla="*/ 166 w 171"/>
              <a:gd name="T67" fmla="*/ 209 h 253"/>
              <a:gd name="T68" fmla="*/ 170 w 171"/>
              <a:gd name="T69" fmla="*/ 195 h 253"/>
              <a:gd name="T70" fmla="*/ 171 w 171"/>
              <a:gd name="T71" fmla="*/ 18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 h="253">
                <a:moveTo>
                  <a:pt x="171" y="72"/>
                </a:moveTo>
                <a:lnTo>
                  <a:pt x="171" y="72"/>
                </a:lnTo>
                <a:lnTo>
                  <a:pt x="171" y="65"/>
                </a:lnTo>
                <a:lnTo>
                  <a:pt x="170" y="58"/>
                </a:lnTo>
                <a:lnTo>
                  <a:pt x="168" y="51"/>
                </a:lnTo>
                <a:lnTo>
                  <a:pt x="166" y="44"/>
                </a:lnTo>
                <a:lnTo>
                  <a:pt x="162" y="38"/>
                </a:lnTo>
                <a:lnTo>
                  <a:pt x="158" y="32"/>
                </a:lnTo>
                <a:lnTo>
                  <a:pt x="154" y="27"/>
                </a:lnTo>
                <a:lnTo>
                  <a:pt x="149" y="22"/>
                </a:lnTo>
                <a:lnTo>
                  <a:pt x="144" y="16"/>
                </a:lnTo>
                <a:lnTo>
                  <a:pt x="139" y="12"/>
                </a:lnTo>
                <a:lnTo>
                  <a:pt x="133" y="9"/>
                </a:lnTo>
                <a:lnTo>
                  <a:pt x="127" y="6"/>
                </a:lnTo>
                <a:lnTo>
                  <a:pt x="120" y="3"/>
                </a:lnTo>
                <a:lnTo>
                  <a:pt x="114" y="1"/>
                </a:lnTo>
                <a:lnTo>
                  <a:pt x="106" y="0"/>
                </a:lnTo>
                <a:lnTo>
                  <a:pt x="98" y="0"/>
                </a:lnTo>
                <a:lnTo>
                  <a:pt x="72" y="0"/>
                </a:lnTo>
                <a:lnTo>
                  <a:pt x="72" y="0"/>
                </a:lnTo>
                <a:lnTo>
                  <a:pt x="64" y="0"/>
                </a:lnTo>
                <a:lnTo>
                  <a:pt x="57" y="1"/>
                </a:lnTo>
                <a:lnTo>
                  <a:pt x="50" y="3"/>
                </a:lnTo>
                <a:lnTo>
                  <a:pt x="43" y="6"/>
                </a:lnTo>
                <a:lnTo>
                  <a:pt x="37" y="9"/>
                </a:lnTo>
                <a:lnTo>
                  <a:pt x="31" y="12"/>
                </a:lnTo>
                <a:lnTo>
                  <a:pt x="25" y="16"/>
                </a:lnTo>
                <a:lnTo>
                  <a:pt x="20" y="22"/>
                </a:lnTo>
                <a:lnTo>
                  <a:pt x="16" y="27"/>
                </a:lnTo>
                <a:lnTo>
                  <a:pt x="12" y="32"/>
                </a:lnTo>
                <a:lnTo>
                  <a:pt x="8" y="38"/>
                </a:lnTo>
                <a:lnTo>
                  <a:pt x="5" y="44"/>
                </a:lnTo>
                <a:lnTo>
                  <a:pt x="3" y="51"/>
                </a:lnTo>
                <a:lnTo>
                  <a:pt x="1" y="58"/>
                </a:lnTo>
                <a:lnTo>
                  <a:pt x="0" y="65"/>
                </a:lnTo>
                <a:lnTo>
                  <a:pt x="0" y="72"/>
                </a:lnTo>
                <a:lnTo>
                  <a:pt x="0" y="180"/>
                </a:lnTo>
                <a:lnTo>
                  <a:pt x="0" y="180"/>
                </a:lnTo>
                <a:lnTo>
                  <a:pt x="0" y="187"/>
                </a:lnTo>
                <a:lnTo>
                  <a:pt x="1" y="195"/>
                </a:lnTo>
                <a:lnTo>
                  <a:pt x="3" y="202"/>
                </a:lnTo>
                <a:lnTo>
                  <a:pt x="5" y="209"/>
                </a:lnTo>
                <a:lnTo>
                  <a:pt x="8" y="215"/>
                </a:lnTo>
                <a:lnTo>
                  <a:pt x="12" y="221"/>
                </a:lnTo>
                <a:lnTo>
                  <a:pt x="16" y="226"/>
                </a:lnTo>
                <a:lnTo>
                  <a:pt x="20" y="231"/>
                </a:lnTo>
                <a:lnTo>
                  <a:pt x="25" y="236"/>
                </a:lnTo>
                <a:lnTo>
                  <a:pt x="31" y="240"/>
                </a:lnTo>
                <a:lnTo>
                  <a:pt x="37" y="244"/>
                </a:lnTo>
                <a:lnTo>
                  <a:pt x="43" y="247"/>
                </a:lnTo>
                <a:lnTo>
                  <a:pt x="50" y="249"/>
                </a:lnTo>
                <a:lnTo>
                  <a:pt x="57" y="251"/>
                </a:lnTo>
                <a:lnTo>
                  <a:pt x="64" y="253"/>
                </a:lnTo>
                <a:lnTo>
                  <a:pt x="72" y="253"/>
                </a:lnTo>
                <a:lnTo>
                  <a:pt x="98" y="253"/>
                </a:lnTo>
                <a:lnTo>
                  <a:pt x="98" y="253"/>
                </a:lnTo>
                <a:lnTo>
                  <a:pt x="106" y="253"/>
                </a:lnTo>
                <a:lnTo>
                  <a:pt x="114" y="251"/>
                </a:lnTo>
                <a:lnTo>
                  <a:pt x="120" y="249"/>
                </a:lnTo>
                <a:lnTo>
                  <a:pt x="127" y="247"/>
                </a:lnTo>
                <a:lnTo>
                  <a:pt x="133" y="244"/>
                </a:lnTo>
                <a:lnTo>
                  <a:pt x="139" y="240"/>
                </a:lnTo>
                <a:lnTo>
                  <a:pt x="144" y="236"/>
                </a:lnTo>
                <a:lnTo>
                  <a:pt x="149" y="231"/>
                </a:lnTo>
                <a:lnTo>
                  <a:pt x="154" y="226"/>
                </a:lnTo>
                <a:lnTo>
                  <a:pt x="158" y="221"/>
                </a:lnTo>
                <a:lnTo>
                  <a:pt x="162" y="215"/>
                </a:lnTo>
                <a:lnTo>
                  <a:pt x="166" y="209"/>
                </a:lnTo>
                <a:lnTo>
                  <a:pt x="168" y="202"/>
                </a:lnTo>
                <a:lnTo>
                  <a:pt x="170" y="195"/>
                </a:lnTo>
                <a:lnTo>
                  <a:pt x="171" y="187"/>
                </a:lnTo>
                <a:lnTo>
                  <a:pt x="171" y="180"/>
                </a:lnTo>
                <a:lnTo>
                  <a:pt x="171" y="7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2" name="Freeform 2366"/>
          <p:cNvSpPr>
            <a:spLocks/>
          </p:cNvSpPr>
          <p:nvPr/>
        </p:nvSpPr>
        <p:spPr bwMode="auto">
          <a:xfrm>
            <a:off x="7539038" y="4930776"/>
            <a:ext cx="39688" cy="14288"/>
          </a:xfrm>
          <a:custGeom>
            <a:avLst/>
            <a:gdLst>
              <a:gd name="T0" fmla="*/ 151 w 153"/>
              <a:gd name="T1" fmla="*/ 18 h 54"/>
              <a:gd name="T2" fmla="*/ 151 w 153"/>
              <a:gd name="T3" fmla="*/ 18 h 54"/>
              <a:gd name="T4" fmla="*/ 146 w 153"/>
              <a:gd name="T5" fmla="*/ 14 h 54"/>
              <a:gd name="T6" fmla="*/ 140 w 153"/>
              <a:gd name="T7" fmla="*/ 11 h 54"/>
              <a:gd name="T8" fmla="*/ 132 w 153"/>
              <a:gd name="T9" fmla="*/ 7 h 54"/>
              <a:gd name="T10" fmla="*/ 123 w 153"/>
              <a:gd name="T11" fmla="*/ 5 h 54"/>
              <a:gd name="T12" fmla="*/ 113 w 153"/>
              <a:gd name="T13" fmla="*/ 3 h 54"/>
              <a:gd name="T14" fmla="*/ 102 w 153"/>
              <a:gd name="T15" fmla="*/ 1 h 54"/>
              <a:gd name="T16" fmla="*/ 89 w 153"/>
              <a:gd name="T17" fmla="*/ 0 h 54"/>
              <a:gd name="T18" fmla="*/ 77 w 153"/>
              <a:gd name="T19" fmla="*/ 0 h 54"/>
              <a:gd name="T20" fmla="*/ 77 w 153"/>
              <a:gd name="T21" fmla="*/ 0 h 54"/>
              <a:gd name="T22" fmla="*/ 64 w 153"/>
              <a:gd name="T23" fmla="*/ 0 h 54"/>
              <a:gd name="T24" fmla="*/ 52 w 153"/>
              <a:gd name="T25" fmla="*/ 1 h 54"/>
              <a:gd name="T26" fmla="*/ 41 w 153"/>
              <a:gd name="T27" fmla="*/ 3 h 54"/>
              <a:gd name="T28" fmla="*/ 30 w 153"/>
              <a:gd name="T29" fmla="*/ 5 h 54"/>
              <a:gd name="T30" fmla="*/ 21 w 153"/>
              <a:gd name="T31" fmla="*/ 8 h 54"/>
              <a:gd name="T32" fmla="*/ 13 w 153"/>
              <a:gd name="T33" fmla="*/ 11 h 54"/>
              <a:gd name="T34" fmla="*/ 7 w 153"/>
              <a:gd name="T35" fmla="*/ 14 h 54"/>
              <a:gd name="T36" fmla="*/ 2 w 153"/>
              <a:gd name="T37" fmla="*/ 18 h 54"/>
              <a:gd name="T38" fmla="*/ 2 w 153"/>
              <a:gd name="T39" fmla="*/ 18 h 54"/>
              <a:gd name="T40" fmla="*/ 1 w 153"/>
              <a:gd name="T41" fmla="*/ 22 h 54"/>
              <a:gd name="T42" fmla="*/ 0 w 153"/>
              <a:gd name="T43" fmla="*/ 27 h 54"/>
              <a:gd name="T44" fmla="*/ 1 w 153"/>
              <a:gd name="T45" fmla="*/ 32 h 54"/>
              <a:gd name="T46" fmla="*/ 3 w 153"/>
              <a:gd name="T47" fmla="*/ 37 h 54"/>
              <a:gd name="T48" fmla="*/ 3 w 153"/>
              <a:gd name="T49" fmla="*/ 37 h 54"/>
              <a:gd name="T50" fmla="*/ 8 w 153"/>
              <a:gd name="T51" fmla="*/ 41 h 54"/>
              <a:gd name="T52" fmla="*/ 15 w 153"/>
              <a:gd name="T53" fmla="*/ 44 h 54"/>
              <a:gd name="T54" fmla="*/ 22 w 153"/>
              <a:gd name="T55" fmla="*/ 47 h 54"/>
              <a:gd name="T56" fmla="*/ 31 w 153"/>
              <a:gd name="T57" fmla="*/ 49 h 54"/>
              <a:gd name="T58" fmla="*/ 42 w 153"/>
              <a:gd name="T59" fmla="*/ 52 h 54"/>
              <a:gd name="T60" fmla="*/ 53 w 153"/>
              <a:gd name="T61" fmla="*/ 53 h 54"/>
              <a:gd name="T62" fmla="*/ 65 w 153"/>
              <a:gd name="T63" fmla="*/ 54 h 54"/>
              <a:gd name="T64" fmla="*/ 77 w 153"/>
              <a:gd name="T65" fmla="*/ 54 h 54"/>
              <a:gd name="T66" fmla="*/ 77 w 153"/>
              <a:gd name="T67" fmla="*/ 54 h 54"/>
              <a:gd name="T68" fmla="*/ 89 w 153"/>
              <a:gd name="T69" fmla="*/ 54 h 54"/>
              <a:gd name="T70" fmla="*/ 101 w 153"/>
              <a:gd name="T71" fmla="*/ 53 h 54"/>
              <a:gd name="T72" fmla="*/ 112 w 153"/>
              <a:gd name="T73" fmla="*/ 52 h 54"/>
              <a:gd name="T74" fmla="*/ 121 w 153"/>
              <a:gd name="T75" fmla="*/ 50 h 54"/>
              <a:gd name="T76" fmla="*/ 130 w 153"/>
              <a:gd name="T77" fmla="*/ 47 h 54"/>
              <a:gd name="T78" fmla="*/ 138 w 153"/>
              <a:gd name="T79" fmla="*/ 45 h 54"/>
              <a:gd name="T80" fmla="*/ 144 w 153"/>
              <a:gd name="T81" fmla="*/ 41 h 54"/>
              <a:gd name="T82" fmla="*/ 149 w 153"/>
              <a:gd name="T83" fmla="*/ 38 h 54"/>
              <a:gd name="T84" fmla="*/ 149 w 153"/>
              <a:gd name="T85" fmla="*/ 38 h 54"/>
              <a:gd name="T86" fmla="*/ 151 w 153"/>
              <a:gd name="T87" fmla="*/ 36 h 54"/>
              <a:gd name="T88" fmla="*/ 152 w 153"/>
              <a:gd name="T89" fmla="*/ 34 h 54"/>
              <a:gd name="T90" fmla="*/ 153 w 153"/>
              <a:gd name="T91" fmla="*/ 27 h 54"/>
              <a:gd name="T92" fmla="*/ 153 w 153"/>
              <a:gd name="T93" fmla="*/ 21 h 54"/>
              <a:gd name="T94" fmla="*/ 152 w 153"/>
              <a:gd name="T95" fmla="*/ 19 h 54"/>
              <a:gd name="T96" fmla="*/ 151 w 153"/>
              <a:gd name="T97" fmla="*/ 18 h 54"/>
              <a:gd name="T98" fmla="*/ 151 w 153"/>
              <a:gd name="T9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3" h="54">
                <a:moveTo>
                  <a:pt x="151" y="18"/>
                </a:moveTo>
                <a:lnTo>
                  <a:pt x="151" y="18"/>
                </a:lnTo>
                <a:lnTo>
                  <a:pt x="146" y="14"/>
                </a:lnTo>
                <a:lnTo>
                  <a:pt x="140" y="11"/>
                </a:lnTo>
                <a:lnTo>
                  <a:pt x="132" y="7"/>
                </a:lnTo>
                <a:lnTo>
                  <a:pt x="123" y="5"/>
                </a:lnTo>
                <a:lnTo>
                  <a:pt x="113" y="3"/>
                </a:lnTo>
                <a:lnTo>
                  <a:pt x="102" y="1"/>
                </a:lnTo>
                <a:lnTo>
                  <a:pt x="89" y="0"/>
                </a:lnTo>
                <a:lnTo>
                  <a:pt x="77" y="0"/>
                </a:lnTo>
                <a:lnTo>
                  <a:pt x="77" y="0"/>
                </a:lnTo>
                <a:lnTo>
                  <a:pt x="64" y="0"/>
                </a:lnTo>
                <a:lnTo>
                  <a:pt x="52" y="1"/>
                </a:lnTo>
                <a:lnTo>
                  <a:pt x="41" y="3"/>
                </a:lnTo>
                <a:lnTo>
                  <a:pt x="30" y="5"/>
                </a:lnTo>
                <a:lnTo>
                  <a:pt x="21" y="8"/>
                </a:lnTo>
                <a:lnTo>
                  <a:pt x="13" y="11"/>
                </a:lnTo>
                <a:lnTo>
                  <a:pt x="7" y="14"/>
                </a:lnTo>
                <a:lnTo>
                  <a:pt x="2" y="18"/>
                </a:lnTo>
                <a:lnTo>
                  <a:pt x="2" y="18"/>
                </a:lnTo>
                <a:lnTo>
                  <a:pt x="1" y="22"/>
                </a:lnTo>
                <a:lnTo>
                  <a:pt x="0" y="27"/>
                </a:lnTo>
                <a:lnTo>
                  <a:pt x="1" y="32"/>
                </a:lnTo>
                <a:lnTo>
                  <a:pt x="3" y="37"/>
                </a:lnTo>
                <a:lnTo>
                  <a:pt x="3" y="37"/>
                </a:lnTo>
                <a:lnTo>
                  <a:pt x="8" y="41"/>
                </a:lnTo>
                <a:lnTo>
                  <a:pt x="15" y="44"/>
                </a:lnTo>
                <a:lnTo>
                  <a:pt x="22" y="47"/>
                </a:lnTo>
                <a:lnTo>
                  <a:pt x="31" y="49"/>
                </a:lnTo>
                <a:lnTo>
                  <a:pt x="42" y="52"/>
                </a:lnTo>
                <a:lnTo>
                  <a:pt x="53" y="53"/>
                </a:lnTo>
                <a:lnTo>
                  <a:pt x="65" y="54"/>
                </a:lnTo>
                <a:lnTo>
                  <a:pt x="77" y="54"/>
                </a:lnTo>
                <a:lnTo>
                  <a:pt x="77" y="54"/>
                </a:lnTo>
                <a:lnTo>
                  <a:pt x="89" y="54"/>
                </a:lnTo>
                <a:lnTo>
                  <a:pt x="101" y="53"/>
                </a:lnTo>
                <a:lnTo>
                  <a:pt x="112" y="52"/>
                </a:lnTo>
                <a:lnTo>
                  <a:pt x="121" y="50"/>
                </a:lnTo>
                <a:lnTo>
                  <a:pt x="130" y="47"/>
                </a:lnTo>
                <a:lnTo>
                  <a:pt x="138" y="45"/>
                </a:lnTo>
                <a:lnTo>
                  <a:pt x="144" y="41"/>
                </a:lnTo>
                <a:lnTo>
                  <a:pt x="149" y="38"/>
                </a:lnTo>
                <a:lnTo>
                  <a:pt x="149" y="38"/>
                </a:lnTo>
                <a:lnTo>
                  <a:pt x="151" y="36"/>
                </a:lnTo>
                <a:lnTo>
                  <a:pt x="152" y="34"/>
                </a:lnTo>
                <a:lnTo>
                  <a:pt x="153" y="27"/>
                </a:lnTo>
                <a:lnTo>
                  <a:pt x="153" y="21"/>
                </a:lnTo>
                <a:lnTo>
                  <a:pt x="152" y="19"/>
                </a:lnTo>
                <a:lnTo>
                  <a:pt x="151" y="18"/>
                </a:lnTo>
                <a:lnTo>
                  <a:pt x="151"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3" name="Freeform 2367"/>
          <p:cNvSpPr>
            <a:spLocks/>
          </p:cNvSpPr>
          <p:nvPr/>
        </p:nvSpPr>
        <p:spPr bwMode="auto">
          <a:xfrm>
            <a:off x="7489827" y="4972052"/>
            <a:ext cx="80963" cy="106363"/>
          </a:xfrm>
          <a:custGeom>
            <a:avLst/>
            <a:gdLst>
              <a:gd name="T0" fmla="*/ 266 w 306"/>
              <a:gd name="T1" fmla="*/ 371 h 402"/>
              <a:gd name="T2" fmla="*/ 266 w 306"/>
              <a:gd name="T3" fmla="*/ 371 h 402"/>
              <a:gd name="T4" fmla="*/ 277 w 306"/>
              <a:gd name="T5" fmla="*/ 368 h 402"/>
              <a:gd name="T6" fmla="*/ 287 w 306"/>
              <a:gd name="T7" fmla="*/ 363 h 402"/>
              <a:gd name="T8" fmla="*/ 294 w 306"/>
              <a:gd name="T9" fmla="*/ 358 h 402"/>
              <a:gd name="T10" fmla="*/ 300 w 306"/>
              <a:gd name="T11" fmla="*/ 353 h 402"/>
              <a:gd name="T12" fmla="*/ 303 w 306"/>
              <a:gd name="T13" fmla="*/ 346 h 402"/>
              <a:gd name="T14" fmla="*/ 306 w 306"/>
              <a:gd name="T15" fmla="*/ 338 h 402"/>
              <a:gd name="T16" fmla="*/ 306 w 306"/>
              <a:gd name="T17" fmla="*/ 330 h 402"/>
              <a:gd name="T18" fmla="*/ 305 w 306"/>
              <a:gd name="T19" fmla="*/ 322 h 402"/>
              <a:gd name="T20" fmla="*/ 301 w 306"/>
              <a:gd name="T21" fmla="*/ 309 h 402"/>
              <a:gd name="T22" fmla="*/ 301 w 306"/>
              <a:gd name="T23" fmla="*/ 309 h 402"/>
              <a:gd name="T24" fmla="*/ 208 w 306"/>
              <a:gd name="T25" fmla="*/ 43 h 402"/>
              <a:gd name="T26" fmla="*/ 208 w 306"/>
              <a:gd name="T27" fmla="*/ 43 h 402"/>
              <a:gd name="T28" fmla="*/ 201 w 306"/>
              <a:gd name="T29" fmla="*/ 25 h 402"/>
              <a:gd name="T30" fmla="*/ 196 w 306"/>
              <a:gd name="T31" fmla="*/ 17 h 402"/>
              <a:gd name="T32" fmla="*/ 191 w 306"/>
              <a:gd name="T33" fmla="*/ 10 h 402"/>
              <a:gd name="T34" fmla="*/ 185 w 306"/>
              <a:gd name="T35" fmla="*/ 5 h 402"/>
              <a:gd name="T36" fmla="*/ 182 w 306"/>
              <a:gd name="T37" fmla="*/ 3 h 402"/>
              <a:gd name="T38" fmla="*/ 178 w 306"/>
              <a:gd name="T39" fmla="*/ 1 h 402"/>
              <a:gd name="T40" fmla="*/ 174 w 306"/>
              <a:gd name="T41" fmla="*/ 0 h 402"/>
              <a:gd name="T42" fmla="*/ 170 w 306"/>
              <a:gd name="T43" fmla="*/ 0 h 402"/>
              <a:gd name="T44" fmla="*/ 165 w 306"/>
              <a:gd name="T45" fmla="*/ 0 h 402"/>
              <a:gd name="T46" fmla="*/ 159 w 306"/>
              <a:gd name="T47" fmla="*/ 1 h 402"/>
              <a:gd name="T48" fmla="*/ 37 w 306"/>
              <a:gd name="T49" fmla="*/ 22 h 402"/>
              <a:gd name="T50" fmla="*/ 37 w 306"/>
              <a:gd name="T51" fmla="*/ 22 h 402"/>
              <a:gd name="T52" fmla="*/ 30 w 306"/>
              <a:gd name="T53" fmla="*/ 24 h 402"/>
              <a:gd name="T54" fmla="*/ 24 w 306"/>
              <a:gd name="T55" fmla="*/ 26 h 402"/>
              <a:gd name="T56" fmla="*/ 19 w 306"/>
              <a:gd name="T57" fmla="*/ 29 h 402"/>
              <a:gd name="T58" fmla="*/ 14 w 306"/>
              <a:gd name="T59" fmla="*/ 31 h 402"/>
              <a:gd name="T60" fmla="*/ 10 w 306"/>
              <a:gd name="T61" fmla="*/ 35 h 402"/>
              <a:gd name="T62" fmla="*/ 7 w 306"/>
              <a:gd name="T63" fmla="*/ 38 h 402"/>
              <a:gd name="T64" fmla="*/ 4 w 306"/>
              <a:gd name="T65" fmla="*/ 42 h 402"/>
              <a:gd name="T66" fmla="*/ 2 w 306"/>
              <a:gd name="T67" fmla="*/ 46 h 402"/>
              <a:gd name="T68" fmla="*/ 0 w 306"/>
              <a:gd name="T69" fmla="*/ 51 h 402"/>
              <a:gd name="T70" fmla="*/ 0 w 306"/>
              <a:gd name="T71" fmla="*/ 55 h 402"/>
              <a:gd name="T72" fmla="*/ 0 w 306"/>
              <a:gd name="T73" fmla="*/ 65 h 402"/>
              <a:gd name="T74" fmla="*/ 1 w 306"/>
              <a:gd name="T75" fmla="*/ 74 h 402"/>
              <a:gd name="T76" fmla="*/ 5 w 306"/>
              <a:gd name="T77" fmla="*/ 84 h 402"/>
              <a:gd name="T78" fmla="*/ 119 w 306"/>
              <a:gd name="T79" fmla="*/ 372 h 402"/>
              <a:gd name="T80" fmla="*/ 119 w 306"/>
              <a:gd name="T81" fmla="*/ 372 h 402"/>
              <a:gd name="T82" fmla="*/ 124 w 306"/>
              <a:gd name="T83" fmla="*/ 381 h 402"/>
              <a:gd name="T84" fmla="*/ 130 w 306"/>
              <a:gd name="T85" fmla="*/ 389 h 402"/>
              <a:gd name="T86" fmla="*/ 138 w 306"/>
              <a:gd name="T87" fmla="*/ 395 h 402"/>
              <a:gd name="T88" fmla="*/ 147 w 306"/>
              <a:gd name="T89" fmla="*/ 399 h 402"/>
              <a:gd name="T90" fmla="*/ 157 w 306"/>
              <a:gd name="T91" fmla="*/ 402 h 402"/>
              <a:gd name="T92" fmla="*/ 169 w 306"/>
              <a:gd name="T93" fmla="*/ 402 h 402"/>
              <a:gd name="T94" fmla="*/ 180 w 306"/>
              <a:gd name="T95" fmla="*/ 400 h 402"/>
              <a:gd name="T96" fmla="*/ 193 w 306"/>
              <a:gd name="T97" fmla="*/ 396 h 402"/>
              <a:gd name="T98" fmla="*/ 266 w 306"/>
              <a:gd name="T99" fmla="*/ 37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 h="402">
                <a:moveTo>
                  <a:pt x="266" y="371"/>
                </a:moveTo>
                <a:lnTo>
                  <a:pt x="266" y="371"/>
                </a:lnTo>
                <a:lnTo>
                  <a:pt x="277" y="368"/>
                </a:lnTo>
                <a:lnTo>
                  <a:pt x="287" y="363"/>
                </a:lnTo>
                <a:lnTo>
                  <a:pt x="294" y="358"/>
                </a:lnTo>
                <a:lnTo>
                  <a:pt x="300" y="353"/>
                </a:lnTo>
                <a:lnTo>
                  <a:pt x="303" y="346"/>
                </a:lnTo>
                <a:lnTo>
                  <a:pt x="306" y="338"/>
                </a:lnTo>
                <a:lnTo>
                  <a:pt x="306" y="330"/>
                </a:lnTo>
                <a:lnTo>
                  <a:pt x="305" y="322"/>
                </a:lnTo>
                <a:lnTo>
                  <a:pt x="301" y="309"/>
                </a:lnTo>
                <a:lnTo>
                  <a:pt x="301" y="309"/>
                </a:lnTo>
                <a:lnTo>
                  <a:pt x="208" y="43"/>
                </a:lnTo>
                <a:lnTo>
                  <a:pt x="208" y="43"/>
                </a:lnTo>
                <a:lnTo>
                  <a:pt x="201" y="25"/>
                </a:lnTo>
                <a:lnTo>
                  <a:pt x="196" y="17"/>
                </a:lnTo>
                <a:lnTo>
                  <a:pt x="191" y="10"/>
                </a:lnTo>
                <a:lnTo>
                  <a:pt x="185" y="5"/>
                </a:lnTo>
                <a:lnTo>
                  <a:pt x="182" y="3"/>
                </a:lnTo>
                <a:lnTo>
                  <a:pt x="178" y="1"/>
                </a:lnTo>
                <a:lnTo>
                  <a:pt x="174" y="0"/>
                </a:lnTo>
                <a:lnTo>
                  <a:pt x="170" y="0"/>
                </a:lnTo>
                <a:lnTo>
                  <a:pt x="165" y="0"/>
                </a:lnTo>
                <a:lnTo>
                  <a:pt x="159" y="1"/>
                </a:lnTo>
                <a:lnTo>
                  <a:pt x="37" y="22"/>
                </a:lnTo>
                <a:lnTo>
                  <a:pt x="37" y="22"/>
                </a:lnTo>
                <a:lnTo>
                  <a:pt x="30" y="24"/>
                </a:lnTo>
                <a:lnTo>
                  <a:pt x="24" y="26"/>
                </a:lnTo>
                <a:lnTo>
                  <a:pt x="19" y="29"/>
                </a:lnTo>
                <a:lnTo>
                  <a:pt x="14" y="31"/>
                </a:lnTo>
                <a:lnTo>
                  <a:pt x="10" y="35"/>
                </a:lnTo>
                <a:lnTo>
                  <a:pt x="7" y="38"/>
                </a:lnTo>
                <a:lnTo>
                  <a:pt x="4" y="42"/>
                </a:lnTo>
                <a:lnTo>
                  <a:pt x="2" y="46"/>
                </a:lnTo>
                <a:lnTo>
                  <a:pt x="0" y="51"/>
                </a:lnTo>
                <a:lnTo>
                  <a:pt x="0" y="55"/>
                </a:lnTo>
                <a:lnTo>
                  <a:pt x="0" y="65"/>
                </a:lnTo>
                <a:lnTo>
                  <a:pt x="1" y="74"/>
                </a:lnTo>
                <a:lnTo>
                  <a:pt x="5" y="84"/>
                </a:lnTo>
                <a:lnTo>
                  <a:pt x="119" y="372"/>
                </a:lnTo>
                <a:lnTo>
                  <a:pt x="119" y="372"/>
                </a:lnTo>
                <a:lnTo>
                  <a:pt x="124" y="381"/>
                </a:lnTo>
                <a:lnTo>
                  <a:pt x="130" y="389"/>
                </a:lnTo>
                <a:lnTo>
                  <a:pt x="138" y="395"/>
                </a:lnTo>
                <a:lnTo>
                  <a:pt x="147" y="399"/>
                </a:lnTo>
                <a:lnTo>
                  <a:pt x="157" y="402"/>
                </a:lnTo>
                <a:lnTo>
                  <a:pt x="169" y="402"/>
                </a:lnTo>
                <a:lnTo>
                  <a:pt x="180" y="400"/>
                </a:lnTo>
                <a:lnTo>
                  <a:pt x="193" y="396"/>
                </a:lnTo>
                <a:lnTo>
                  <a:pt x="266" y="371"/>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4" name="Freeform 2368"/>
          <p:cNvSpPr>
            <a:spLocks/>
          </p:cNvSpPr>
          <p:nvPr/>
        </p:nvSpPr>
        <p:spPr bwMode="auto">
          <a:xfrm>
            <a:off x="7488238" y="4984752"/>
            <a:ext cx="82550" cy="98425"/>
          </a:xfrm>
          <a:custGeom>
            <a:avLst/>
            <a:gdLst>
              <a:gd name="T0" fmla="*/ 273 w 313"/>
              <a:gd name="T1" fmla="*/ 323 h 373"/>
              <a:gd name="T2" fmla="*/ 200 w 313"/>
              <a:gd name="T3" fmla="*/ 348 h 373"/>
              <a:gd name="T4" fmla="*/ 200 w 313"/>
              <a:gd name="T5" fmla="*/ 348 h 373"/>
              <a:gd name="T6" fmla="*/ 187 w 313"/>
              <a:gd name="T7" fmla="*/ 352 h 373"/>
              <a:gd name="T8" fmla="*/ 176 w 313"/>
              <a:gd name="T9" fmla="*/ 354 h 373"/>
              <a:gd name="T10" fmla="*/ 164 w 313"/>
              <a:gd name="T11" fmla="*/ 354 h 373"/>
              <a:gd name="T12" fmla="*/ 154 w 313"/>
              <a:gd name="T13" fmla="*/ 351 h 373"/>
              <a:gd name="T14" fmla="*/ 145 w 313"/>
              <a:gd name="T15" fmla="*/ 347 h 373"/>
              <a:gd name="T16" fmla="*/ 137 w 313"/>
              <a:gd name="T17" fmla="*/ 341 h 373"/>
              <a:gd name="T18" fmla="*/ 131 w 313"/>
              <a:gd name="T19" fmla="*/ 333 h 373"/>
              <a:gd name="T20" fmla="*/ 126 w 313"/>
              <a:gd name="T21" fmla="*/ 324 h 373"/>
              <a:gd name="T22" fmla="*/ 12 w 313"/>
              <a:gd name="T23" fmla="*/ 36 h 373"/>
              <a:gd name="T24" fmla="*/ 12 w 313"/>
              <a:gd name="T25" fmla="*/ 36 h 373"/>
              <a:gd name="T26" fmla="*/ 8 w 313"/>
              <a:gd name="T27" fmla="*/ 27 h 373"/>
              <a:gd name="T28" fmla="*/ 7 w 313"/>
              <a:gd name="T29" fmla="*/ 18 h 373"/>
              <a:gd name="T30" fmla="*/ 7 w 313"/>
              <a:gd name="T31" fmla="*/ 9 h 373"/>
              <a:gd name="T32" fmla="*/ 8 w 313"/>
              <a:gd name="T33" fmla="*/ 0 h 373"/>
              <a:gd name="T34" fmla="*/ 8 w 313"/>
              <a:gd name="T35" fmla="*/ 0 h 373"/>
              <a:gd name="T36" fmla="*/ 4 w 313"/>
              <a:gd name="T37" fmla="*/ 10 h 373"/>
              <a:gd name="T38" fmla="*/ 2 w 313"/>
              <a:gd name="T39" fmla="*/ 15 h 373"/>
              <a:gd name="T40" fmla="*/ 1 w 313"/>
              <a:gd name="T41" fmla="*/ 22 h 373"/>
              <a:gd name="T42" fmla="*/ 0 w 313"/>
              <a:gd name="T43" fmla="*/ 29 h 373"/>
              <a:gd name="T44" fmla="*/ 0 w 313"/>
              <a:gd name="T45" fmla="*/ 37 h 373"/>
              <a:gd name="T46" fmla="*/ 2 w 313"/>
              <a:gd name="T47" fmla="*/ 46 h 373"/>
              <a:gd name="T48" fmla="*/ 5 w 313"/>
              <a:gd name="T49" fmla="*/ 55 h 373"/>
              <a:gd name="T50" fmla="*/ 119 w 313"/>
              <a:gd name="T51" fmla="*/ 342 h 373"/>
              <a:gd name="T52" fmla="*/ 119 w 313"/>
              <a:gd name="T53" fmla="*/ 342 h 373"/>
              <a:gd name="T54" fmla="*/ 124 w 313"/>
              <a:gd name="T55" fmla="*/ 352 h 373"/>
              <a:gd name="T56" fmla="*/ 130 w 313"/>
              <a:gd name="T57" fmla="*/ 360 h 373"/>
              <a:gd name="T58" fmla="*/ 138 w 313"/>
              <a:gd name="T59" fmla="*/ 366 h 373"/>
              <a:gd name="T60" fmla="*/ 147 w 313"/>
              <a:gd name="T61" fmla="*/ 370 h 373"/>
              <a:gd name="T62" fmla="*/ 157 w 313"/>
              <a:gd name="T63" fmla="*/ 372 h 373"/>
              <a:gd name="T64" fmla="*/ 168 w 313"/>
              <a:gd name="T65" fmla="*/ 373 h 373"/>
              <a:gd name="T66" fmla="*/ 180 w 313"/>
              <a:gd name="T67" fmla="*/ 371 h 373"/>
              <a:gd name="T68" fmla="*/ 193 w 313"/>
              <a:gd name="T69" fmla="*/ 368 h 373"/>
              <a:gd name="T70" fmla="*/ 266 w 313"/>
              <a:gd name="T71" fmla="*/ 342 h 373"/>
              <a:gd name="T72" fmla="*/ 266 w 313"/>
              <a:gd name="T73" fmla="*/ 342 h 373"/>
              <a:gd name="T74" fmla="*/ 276 w 313"/>
              <a:gd name="T75" fmla="*/ 338 h 373"/>
              <a:gd name="T76" fmla="*/ 285 w 313"/>
              <a:gd name="T77" fmla="*/ 335 h 373"/>
              <a:gd name="T78" fmla="*/ 293 w 313"/>
              <a:gd name="T79" fmla="*/ 332 h 373"/>
              <a:gd name="T80" fmla="*/ 299 w 313"/>
              <a:gd name="T81" fmla="*/ 327 h 373"/>
              <a:gd name="T82" fmla="*/ 303 w 313"/>
              <a:gd name="T83" fmla="*/ 321 h 373"/>
              <a:gd name="T84" fmla="*/ 307 w 313"/>
              <a:gd name="T85" fmla="*/ 314 h 373"/>
              <a:gd name="T86" fmla="*/ 310 w 313"/>
              <a:gd name="T87" fmla="*/ 304 h 373"/>
              <a:gd name="T88" fmla="*/ 313 w 313"/>
              <a:gd name="T89" fmla="*/ 291 h 373"/>
              <a:gd name="T90" fmla="*/ 313 w 313"/>
              <a:gd name="T91" fmla="*/ 291 h 373"/>
              <a:gd name="T92" fmla="*/ 313 w 313"/>
              <a:gd name="T93" fmla="*/ 291 h 373"/>
              <a:gd name="T94" fmla="*/ 311 w 313"/>
              <a:gd name="T95" fmla="*/ 297 h 373"/>
              <a:gd name="T96" fmla="*/ 309 w 313"/>
              <a:gd name="T97" fmla="*/ 302 h 373"/>
              <a:gd name="T98" fmla="*/ 305 w 313"/>
              <a:gd name="T99" fmla="*/ 306 h 373"/>
              <a:gd name="T100" fmla="*/ 301 w 313"/>
              <a:gd name="T101" fmla="*/ 310 h 373"/>
              <a:gd name="T102" fmla="*/ 295 w 313"/>
              <a:gd name="T103" fmla="*/ 314 h 373"/>
              <a:gd name="T104" fmla="*/ 288 w 313"/>
              <a:gd name="T105" fmla="*/ 318 h 373"/>
              <a:gd name="T106" fmla="*/ 281 w 313"/>
              <a:gd name="T107" fmla="*/ 321 h 373"/>
              <a:gd name="T108" fmla="*/ 273 w 313"/>
              <a:gd name="T109" fmla="*/ 323 h 373"/>
              <a:gd name="T110" fmla="*/ 273 w 313"/>
              <a:gd name="T111" fmla="*/ 32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3" h="373">
                <a:moveTo>
                  <a:pt x="273" y="323"/>
                </a:moveTo>
                <a:lnTo>
                  <a:pt x="200" y="348"/>
                </a:lnTo>
                <a:lnTo>
                  <a:pt x="200" y="348"/>
                </a:lnTo>
                <a:lnTo>
                  <a:pt x="187" y="352"/>
                </a:lnTo>
                <a:lnTo>
                  <a:pt x="176" y="354"/>
                </a:lnTo>
                <a:lnTo>
                  <a:pt x="164" y="354"/>
                </a:lnTo>
                <a:lnTo>
                  <a:pt x="154" y="351"/>
                </a:lnTo>
                <a:lnTo>
                  <a:pt x="145" y="347"/>
                </a:lnTo>
                <a:lnTo>
                  <a:pt x="137" y="341"/>
                </a:lnTo>
                <a:lnTo>
                  <a:pt x="131" y="333"/>
                </a:lnTo>
                <a:lnTo>
                  <a:pt x="126" y="324"/>
                </a:lnTo>
                <a:lnTo>
                  <a:pt x="12" y="36"/>
                </a:lnTo>
                <a:lnTo>
                  <a:pt x="12" y="36"/>
                </a:lnTo>
                <a:lnTo>
                  <a:pt x="8" y="27"/>
                </a:lnTo>
                <a:lnTo>
                  <a:pt x="7" y="18"/>
                </a:lnTo>
                <a:lnTo>
                  <a:pt x="7" y="9"/>
                </a:lnTo>
                <a:lnTo>
                  <a:pt x="8" y="0"/>
                </a:lnTo>
                <a:lnTo>
                  <a:pt x="8" y="0"/>
                </a:lnTo>
                <a:lnTo>
                  <a:pt x="4" y="10"/>
                </a:lnTo>
                <a:lnTo>
                  <a:pt x="2" y="15"/>
                </a:lnTo>
                <a:lnTo>
                  <a:pt x="1" y="22"/>
                </a:lnTo>
                <a:lnTo>
                  <a:pt x="0" y="29"/>
                </a:lnTo>
                <a:lnTo>
                  <a:pt x="0" y="37"/>
                </a:lnTo>
                <a:lnTo>
                  <a:pt x="2" y="46"/>
                </a:lnTo>
                <a:lnTo>
                  <a:pt x="5" y="55"/>
                </a:lnTo>
                <a:lnTo>
                  <a:pt x="119" y="342"/>
                </a:lnTo>
                <a:lnTo>
                  <a:pt x="119" y="342"/>
                </a:lnTo>
                <a:lnTo>
                  <a:pt x="124" y="352"/>
                </a:lnTo>
                <a:lnTo>
                  <a:pt x="130" y="360"/>
                </a:lnTo>
                <a:lnTo>
                  <a:pt x="138" y="366"/>
                </a:lnTo>
                <a:lnTo>
                  <a:pt x="147" y="370"/>
                </a:lnTo>
                <a:lnTo>
                  <a:pt x="157" y="372"/>
                </a:lnTo>
                <a:lnTo>
                  <a:pt x="168" y="373"/>
                </a:lnTo>
                <a:lnTo>
                  <a:pt x="180" y="371"/>
                </a:lnTo>
                <a:lnTo>
                  <a:pt x="193" y="368"/>
                </a:lnTo>
                <a:lnTo>
                  <a:pt x="266" y="342"/>
                </a:lnTo>
                <a:lnTo>
                  <a:pt x="266" y="342"/>
                </a:lnTo>
                <a:lnTo>
                  <a:pt x="276" y="338"/>
                </a:lnTo>
                <a:lnTo>
                  <a:pt x="285" y="335"/>
                </a:lnTo>
                <a:lnTo>
                  <a:pt x="293" y="332"/>
                </a:lnTo>
                <a:lnTo>
                  <a:pt x="299" y="327"/>
                </a:lnTo>
                <a:lnTo>
                  <a:pt x="303" y="321"/>
                </a:lnTo>
                <a:lnTo>
                  <a:pt x="307" y="314"/>
                </a:lnTo>
                <a:lnTo>
                  <a:pt x="310" y="304"/>
                </a:lnTo>
                <a:lnTo>
                  <a:pt x="313" y="291"/>
                </a:lnTo>
                <a:lnTo>
                  <a:pt x="313" y="291"/>
                </a:lnTo>
                <a:lnTo>
                  <a:pt x="313" y="291"/>
                </a:lnTo>
                <a:lnTo>
                  <a:pt x="311" y="297"/>
                </a:lnTo>
                <a:lnTo>
                  <a:pt x="309" y="302"/>
                </a:lnTo>
                <a:lnTo>
                  <a:pt x="305" y="306"/>
                </a:lnTo>
                <a:lnTo>
                  <a:pt x="301" y="310"/>
                </a:lnTo>
                <a:lnTo>
                  <a:pt x="295" y="314"/>
                </a:lnTo>
                <a:lnTo>
                  <a:pt x="288" y="318"/>
                </a:lnTo>
                <a:lnTo>
                  <a:pt x="281" y="321"/>
                </a:lnTo>
                <a:lnTo>
                  <a:pt x="273" y="323"/>
                </a:lnTo>
                <a:lnTo>
                  <a:pt x="273" y="323"/>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5" name="Freeform 2369"/>
          <p:cNvSpPr>
            <a:spLocks/>
          </p:cNvSpPr>
          <p:nvPr/>
        </p:nvSpPr>
        <p:spPr bwMode="auto">
          <a:xfrm>
            <a:off x="7496176" y="4979989"/>
            <a:ext cx="65088" cy="80963"/>
          </a:xfrm>
          <a:custGeom>
            <a:avLst/>
            <a:gdLst>
              <a:gd name="T0" fmla="*/ 166 w 243"/>
              <a:gd name="T1" fmla="*/ 18 h 305"/>
              <a:gd name="T2" fmla="*/ 166 w 243"/>
              <a:gd name="T3" fmla="*/ 18 h 305"/>
              <a:gd name="T4" fmla="*/ 162 w 243"/>
              <a:gd name="T5" fmla="*/ 11 h 305"/>
              <a:gd name="T6" fmla="*/ 158 w 243"/>
              <a:gd name="T7" fmla="*/ 6 h 305"/>
              <a:gd name="T8" fmla="*/ 153 w 243"/>
              <a:gd name="T9" fmla="*/ 3 h 305"/>
              <a:gd name="T10" fmla="*/ 148 w 243"/>
              <a:gd name="T11" fmla="*/ 1 h 305"/>
              <a:gd name="T12" fmla="*/ 144 w 243"/>
              <a:gd name="T13" fmla="*/ 0 h 305"/>
              <a:gd name="T14" fmla="*/ 139 w 243"/>
              <a:gd name="T15" fmla="*/ 0 h 305"/>
              <a:gd name="T16" fmla="*/ 131 w 243"/>
              <a:gd name="T17" fmla="*/ 0 h 305"/>
              <a:gd name="T18" fmla="*/ 131 w 243"/>
              <a:gd name="T19" fmla="*/ 0 h 305"/>
              <a:gd name="T20" fmla="*/ 122 w 243"/>
              <a:gd name="T21" fmla="*/ 2 h 305"/>
              <a:gd name="T22" fmla="*/ 122 w 243"/>
              <a:gd name="T23" fmla="*/ 2 h 305"/>
              <a:gd name="T24" fmla="*/ 30 w 243"/>
              <a:gd name="T25" fmla="*/ 22 h 305"/>
              <a:gd name="T26" fmla="*/ 30 w 243"/>
              <a:gd name="T27" fmla="*/ 22 h 305"/>
              <a:gd name="T28" fmla="*/ 20 w 243"/>
              <a:gd name="T29" fmla="*/ 25 h 305"/>
              <a:gd name="T30" fmla="*/ 10 w 243"/>
              <a:gd name="T31" fmla="*/ 29 h 305"/>
              <a:gd name="T32" fmla="*/ 10 w 243"/>
              <a:gd name="T33" fmla="*/ 29 h 305"/>
              <a:gd name="T34" fmla="*/ 5 w 243"/>
              <a:gd name="T35" fmla="*/ 32 h 305"/>
              <a:gd name="T36" fmla="*/ 2 w 243"/>
              <a:gd name="T37" fmla="*/ 37 h 305"/>
              <a:gd name="T38" fmla="*/ 0 w 243"/>
              <a:gd name="T39" fmla="*/ 42 h 305"/>
              <a:gd name="T40" fmla="*/ 0 w 243"/>
              <a:gd name="T41" fmla="*/ 48 h 305"/>
              <a:gd name="T42" fmla="*/ 1 w 243"/>
              <a:gd name="T43" fmla="*/ 53 h 305"/>
              <a:gd name="T44" fmla="*/ 2 w 243"/>
              <a:gd name="T45" fmla="*/ 59 h 305"/>
              <a:gd name="T46" fmla="*/ 5 w 243"/>
              <a:gd name="T47" fmla="*/ 68 h 305"/>
              <a:gd name="T48" fmla="*/ 5 w 243"/>
              <a:gd name="T49" fmla="*/ 68 h 305"/>
              <a:gd name="T50" fmla="*/ 89 w 243"/>
              <a:gd name="T51" fmla="*/ 276 h 305"/>
              <a:gd name="T52" fmla="*/ 89 w 243"/>
              <a:gd name="T53" fmla="*/ 276 h 305"/>
              <a:gd name="T54" fmla="*/ 96 w 243"/>
              <a:gd name="T55" fmla="*/ 291 h 305"/>
              <a:gd name="T56" fmla="*/ 99 w 243"/>
              <a:gd name="T57" fmla="*/ 296 h 305"/>
              <a:gd name="T58" fmla="*/ 104 w 243"/>
              <a:gd name="T59" fmla="*/ 301 h 305"/>
              <a:gd name="T60" fmla="*/ 109 w 243"/>
              <a:gd name="T61" fmla="*/ 303 h 305"/>
              <a:gd name="T62" fmla="*/ 115 w 243"/>
              <a:gd name="T63" fmla="*/ 305 h 305"/>
              <a:gd name="T64" fmla="*/ 122 w 243"/>
              <a:gd name="T65" fmla="*/ 305 h 305"/>
              <a:gd name="T66" fmla="*/ 131 w 243"/>
              <a:gd name="T67" fmla="*/ 303 h 305"/>
              <a:gd name="T68" fmla="*/ 131 w 243"/>
              <a:gd name="T69" fmla="*/ 303 h 305"/>
              <a:gd name="T70" fmla="*/ 170 w 243"/>
              <a:gd name="T71" fmla="*/ 291 h 305"/>
              <a:gd name="T72" fmla="*/ 204 w 243"/>
              <a:gd name="T73" fmla="*/ 281 h 305"/>
              <a:gd name="T74" fmla="*/ 204 w 243"/>
              <a:gd name="T75" fmla="*/ 281 h 305"/>
              <a:gd name="T76" fmla="*/ 223 w 243"/>
              <a:gd name="T77" fmla="*/ 275 h 305"/>
              <a:gd name="T78" fmla="*/ 231 w 243"/>
              <a:gd name="T79" fmla="*/ 272 h 305"/>
              <a:gd name="T80" fmla="*/ 237 w 243"/>
              <a:gd name="T81" fmla="*/ 268 h 305"/>
              <a:gd name="T82" fmla="*/ 241 w 243"/>
              <a:gd name="T83" fmla="*/ 264 h 305"/>
              <a:gd name="T84" fmla="*/ 242 w 243"/>
              <a:gd name="T85" fmla="*/ 262 h 305"/>
              <a:gd name="T86" fmla="*/ 243 w 243"/>
              <a:gd name="T87" fmla="*/ 259 h 305"/>
              <a:gd name="T88" fmla="*/ 243 w 243"/>
              <a:gd name="T89" fmla="*/ 251 h 305"/>
              <a:gd name="T90" fmla="*/ 241 w 243"/>
              <a:gd name="T91" fmla="*/ 242 h 305"/>
              <a:gd name="T92" fmla="*/ 241 w 243"/>
              <a:gd name="T93" fmla="*/ 242 h 305"/>
              <a:gd name="T94" fmla="*/ 166 w 243"/>
              <a:gd name="T95" fmla="*/ 18 h 305"/>
              <a:gd name="T96" fmla="*/ 166 w 243"/>
              <a:gd name="T97" fmla="*/ 18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305">
                <a:moveTo>
                  <a:pt x="166" y="18"/>
                </a:moveTo>
                <a:lnTo>
                  <a:pt x="166" y="18"/>
                </a:lnTo>
                <a:lnTo>
                  <a:pt x="162" y="11"/>
                </a:lnTo>
                <a:lnTo>
                  <a:pt x="158" y="6"/>
                </a:lnTo>
                <a:lnTo>
                  <a:pt x="153" y="3"/>
                </a:lnTo>
                <a:lnTo>
                  <a:pt x="148" y="1"/>
                </a:lnTo>
                <a:lnTo>
                  <a:pt x="144" y="0"/>
                </a:lnTo>
                <a:lnTo>
                  <a:pt x="139" y="0"/>
                </a:lnTo>
                <a:lnTo>
                  <a:pt x="131" y="0"/>
                </a:lnTo>
                <a:lnTo>
                  <a:pt x="131" y="0"/>
                </a:lnTo>
                <a:lnTo>
                  <a:pt x="122" y="2"/>
                </a:lnTo>
                <a:lnTo>
                  <a:pt x="122" y="2"/>
                </a:lnTo>
                <a:lnTo>
                  <a:pt x="30" y="22"/>
                </a:lnTo>
                <a:lnTo>
                  <a:pt x="30" y="22"/>
                </a:lnTo>
                <a:lnTo>
                  <a:pt x="20" y="25"/>
                </a:lnTo>
                <a:lnTo>
                  <a:pt x="10" y="29"/>
                </a:lnTo>
                <a:lnTo>
                  <a:pt x="10" y="29"/>
                </a:lnTo>
                <a:lnTo>
                  <a:pt x="5" y="32"/>
                </a:lnTo>
                <a:lnTo>
                  <a:pt x="2" y="37"/>
                </a:lnTo>
                <a:lnTo>
                  <a:pt x="0" y="42"/>
                </a:lnTo>
                <a:lnTo>
                  <a:pt x="0" y="48"/>
                </a:lnTo>
                <a:lnTo>
                  <a:pt x="1" y="53"/>
                </a:lnTo>
                <a:lnTo>
                  <a:pt x="2" y="59"/>
                </a:lnTo>
                <a:lnTo>
                  <a:pt x="5" y="68"/>
                </a:lnTo>
                <a:lnTo>
                  <a:pt x="5" y="68"/>
                </a:lnTo>
                <a:lnTo>
                  <a:pt x="89" y="276"/>
                </a:lnTo>
                <a:lnTo>
                  <a:pt x="89" y="276"/>
                </a:lnTo>
                <a:lnTo>
                  <a:pt x="96" y="291"/>
                </a:lnTo>
                <a:lnTo>
                  <a:pt x="99" y="296"/>
                </a:lnTo>
                <a:lnTo>
                  <a:pt x="104" y="301"/>
                </a:lnTo>
                <a:lnTo>
                  <a:pt x="109" y="303"/>
                </a:lnTo>
                <a:lnTo>
                  <a:pt x="115" y="305"/>
                </a:lnTo>
                <a:lnTo>
                  <a:pt x="122" y="305"/>
                </a:lnTo>
                <a:lnTo>
                  <a:pt x="131" y="303"/>
                </a:lnTo>
                <a:lnTo>
                  <a:pt x="131" y="303"/>
                </a:lnTo>
                <a:lnTo>
                  <a:pt x="170" y="291"/>
                </a:lnTo>
                <a:lnTo>
                  <a:pt x="204" y="281"/>
                </a:lnTo>
                <a:lnTo>
                  <a:pt x="204" y="281"/>
                </a:lnTo>
                <a:lnTo>
                  <a:pt x="223" y="275"/>
                </a:lnTo>
                <a:lnTo>
                  <a:pt x="231" y="272"/>
                </a:lnTo>
                <a:lnTo>
                  <a:pt x="237" y="268"/>
                </a:lnTo>
                <a:lnTo>
                  <a:pt x="241" y="264"/>
                </a:lnTo>
                <a:lnTo>
                  <a:pt x="242" y="262"/>
                </a:lnTo>
                <a:lnTo>
                  <a:pt x="243" y="259"/>
                </a:lnTo>
                <a:lnTo>
                  <a:pt x="243" y="251"/>
                </a:lnTo>
                <a:lnTo>
                  <a:pt x="241" y="242"/>
                </a:lnTo>
                <a:lnTo>
                  <a:pt x="241" y="242"/>
                </a:lnTo>
                <a:lnTo>
                  <a:pt x="166" y="18"/>
                </a:lnTo>
                <a:lnTo>
                  <a:pt x="166" y="18"/>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6" name="Freeform 2370"/>
          <p:cNvSpPr>
            <a:spLocks/>
          </p:cNvSpPr>
          <p:nvPr/>
        </p:nvSpPr>
        <p:spPr bwMode="auto">
          <a:xfrm>
            <a:off x="7743826" y="4914902"/>
            <a:ext cx="109538" cy="111125"/>
          </a:xfrm>
          <a:custGeom>
            <a:avLst/>
            <a:gdLst>
              <a:gd name="T0" fmla="*/ 80 w 415"/>
              <a:gd name="T1" fmla="*/ 41 h 424"/>
              <a:gd name="T2" fmla="*/ 105 w 415"/>
              <a:gd name="T3" fmla="*/ 24 h 424"/>
              <a:gd name="T4" fmla="*/ 130 w 415"/>
              <a:gd name="T5" fmla="*/ 12 h 424"/>
              <a:gd name="T6" fmla="*/ 156 w 415"/>
              <a:gd name="T7" fmla="*/ 4 h 424"/>
              <a:gd name="T8" fmla="*/ 184 w 415"/>
              <a:gd name="T9" fmla="*/ 0 h 424"/>
              <a:gd name="T10" fmla="*/ 211 w 415"/>
              <a:gd name="T11" fmla="*/ 0 h 424"/>
              <a:gd name="T12" fmla="*/ 239 w 415"/>
              <a:gd name="T13" fmla="*/ 4 h 424"/>
              <a:gd name="T14" fmla="*/ 266 w 415"/>
              <a:gd name="T15" fmla="*/ 11 h 424"/>
              <a:gd name="T16" fmla="*/ 292 w 415"/>
              <a:gd name="T17" fmla="*/ 21 h 424"/>
              <a:gd name="T18" fmla="*/ 316 w 415"/>
              <a:gd name="T19" fmla="*/ 36 h 424"/>
              <a:gd name="T20" fmla="*/ 339 w 415"/>
              <a:gd name="T21" fmla="*/ 52 h 424"/>
              <a:gd name="T22" fmla="*/ 359 w 415"/>
              <a:gd name="T23" fmla="*/ 70 h 424"/>
              <a:gd name="T24" fmla="*/ 377 w 415"/>
              <a:gd name="T25" fmla="*/ 91 h 424"/>
              <a:gd name="T26" fmla="*/ 391 w 415"/>
              <a:gd name="T27" fmla="*/ 115 h 424"/>
              <a:gd name="T28" fmla="*/ 404 w 415"/>
              <a:gd name="T29" fmla="*/ 140 h 424"/>
              <a:gd name="T30" fmla="*/ 411 w 415"/>
              <a:gd name="T31" fmla="*/ 168 h 424"/>
              <a:gd name="T32" fmla="*/ 414 w 415"/>
              <a:gd name="T33" fmla="*/ 197 h 424"/>
              <a:gd name="T34" fmla="*/ 415 w 415"/>
              <a:gd name="T35" fmla="*/ 209 h 424"/>
              <a:gd name="T36" fmla="*/ 415 w 415"/>
              <a:gd name="T37" fmla="*/ 235 h 424"/>
              <a:gd name="T38" fmla="*/ 411 w 415"/>
              <a:gd name="T39" fmla="*/ 259 h 424"/>
              <a:gd name="T40" fmla="*/ 405 w 415"/>
              <a:gd name="T41" fmla="*/ 284 h 424"/>
              <a:gd name="T42" fmla="*/ 394 w 415"/>
              <a:gd name="T43" fmla="*/ 306 h 424"/>
              <a:gd name="T44" fmla="*/ 382 w 415"/>
              <a:gd name="T45" fmla="*/ 327 h 424"/>
              <a:gd name="T46" fmla="*/ 368 w 415"/>
              <a:gd name="T47" fmla="*/ 348 h 424"/>
              <a:gd name="T48" fmla="*/ 352 w 415"/>
              <a:gd name="T49" fmla="*/ 366 h 424"/>
              <a:gd name="T50" fmla="*/ 333 w 415"/>
              <a:gd name="T51" fmla="*/ 381 h 424"/>
              <a:gd name="T52" fmla="*/ 313 w 415"/>
              <a:gd name="T53" fmla="*/ 396 h 424"/>
              <a:gd name="T54" fmla="*/ 292 w 415"/>
              <a:gd name="T55" fmla="*/ 407 h 424"/>
              <a:gd name="T56" fmla="*/ 269 w 415"/>
              <a:gd name="T57" fmla="*/ 416 h 424"/>
              <a:gd name="T58" fmla="*/ 246 w 415"/>
              <a:gd name="T59" fmla="*/ 421 h 424"/>
              <a:gd name="T60" fmla="*/ 222 w 415"/>
              <a:gd name="T61" fmla="*/ 424 h 424"/>
              <a:gd name="T62" fmla="*/ 196 w 415"/>
              <a:gd name="T63" fmla="*/ 423 h 424"/>
              <a:gd name="T64" fmla="*/ 171 w 415"/>
              <a:gd name="T65" fmla="*/ 418 h 424"/>
              <a:gd name="T66" fmla="*/ 159 w 415"/>
              <a:gd name="T67" fmla="*/ 414 h 424"/>
              <a:gd name="T68" fmla="*/ 130 w 415"/>
              <a:gd name="T69" fmla="*/ 405 h 424"/>
              <a:gd name="T70" fmla="*/ 104 w 415"/>
              <a:gd name="T71" fmla="*/ 392 h 424"/>
              <a:gd name="T72" fmla="*/ 79 w 415"/>
              <a:gd name="T73" fmla="*/ 374 h 424"/>
              <a:gd name="T74" fmla="*/ 59 w 415"/>
              <a:gd name="T75" fmla="*/ 354 h 424"/>
              <a:gd name="T76" fmla="*/ 41 w 415"/>
              <a:gd name="T77" fmla="*/ 331 h 424"/>
              <a:gd name="T78" fmla="*/ 25 w 415"/>
              <a:gd name="T79" fmla="*/ 305 h 424"/>
              <a:gd name="T80" fmla="*/ 14 w 415"/>
              <a:gd name="T81" fmla="*/ 278 h 424"/>
              <a:gd name="T82" fmla="*/ 6 w 415"/>
              <a:gd name="T83" fmla="*/ 249 h 424"/>
              <a:gd name="T84" fmla="*/ 1 w 415"/>
              <a:gd name="T85" fmla="*/ 221 h 424"/>
              <a:gd name="T86" fmla="*/ 0 w 415"/>
              <a:gd name="T87" fmla="*/ 191 h 424"/>
              <a:gd name="T88" fmla="*/ 3 w 415"/>
              <a:gd name="T89" fmla="*/ 162 h 424"/>
              <a:gd name="T90" fmla="*/ 10 w 415"/>
              <a:gd name="T91" fmla="*/ 134 h 424"/>
              <a:gd name="T92" fmla="*/ 21 w 415"/>
              <a:gd name="T93" fmla="*/ 108 h 424"/>
              <a:gd name="T94" fmla="*/ 36 w 415"/>
              <a:gd name="T95" fmla="*/ 82 h 424"/>
              <a:gd name="T96" fmla="*/ 56 w 415"/>
              <a:gd name="T97" fmla="*/ 60 h 424"/>
              <a:gd name="T98" fmla="*/ 80 w 415"/>
              <a:gd name="T99" fmla="*/ 41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5" h="424">
                <a:moveTo>
                  <a:pt x="80" y="41"/>
                </a:moveTo>
                <a:lnTo>
                  <a:pt x="80" y="41"/>
                </a:lnTo>
                <a:lnTo>
                  <a:pt x="92" y="31"/>
                </a:lnTo>
                <a:lnTo>
                  <a:pt x="105" y="24"/>
                </a:lnTo>
                <a:lnTo>
                  <a:pt x="117" y="17"/>
                </a:lnTo>
                <a:lnTo>
                  <a:pt x="130" y="12"/>
                </a:lnTo>
                <a:lnTo>
                  <a:pt x="143" y="7"/>
                </a:lnTo>
                <a:lnTo>
                  <a:pt x="156" y="4"/>
                </a:lnTo>
                <a:lnTo>
                  <a:pt x="170" y="2"/>
                </a:lnTo>
                <a:lnTo>
                  <a:pt x="184" y="0"/>
                </a:lnTo>
                <a:lnTo>
                  <a:pt x="198" y="0"/>
                </a:lnTo>
                <a:lnTo>
                  <a:pt x="211" y="0"/>
                </a:lnTo>
                <a:lnTo>
                  <a:pt x="226" y="2"/>
                </a:lnTo>
                <a:lnTo>
                  <a:pt x="239" y="4"/>
                </a:lnTo>
                <a:lnTo>
                  <a:pt x="252" y="7"/>
                </a:lnTo>
                <a:lnTo>
                  <a:pt x="266" y="11"/>
                </a:lnTo>
                <a:lnTo>
                  <a:pt x="279" y="16"/>
                </a:lnTo>
                <a:lnTo>
                  <a:pt x="292" y="21"/>
                </a:lnTo>
                <a:lnTo>
                  <a:pt x="304" y="28"/>
                </a:lnTo>
                <a:lnTo>
                  <a:pt x="316" y="36"/>
                </a:lnTo>
                <a:lnTo>
                  <a:pt x="327" y="43"/>
                </a:lnTo>
                <a:lnTo>
                  <a:pt x="339" y="52"/>
                </a:lnTo>
                <a:lnTo>
                  <a:pt x="350" y="61"/>
                </a:lnTo>
                <a:lnTo>
                  <a:pt x="359" y="70"/>
                </a:lnTo>
                <a:lnTo>
                  <a:pt x="369" y="80"/>
                </a:lnTo>
                <a:lnTo>
                  <a:pt x="377" y="91"/>
                </a:lnTo>
                <a:lnTo>
                  <a:pt x="385" y="104"/>
                </a:lnTo>
                <a:lnTo>
                  <a:pt x="391" y="115"/>
                </a:lnTo>
                <a:lnTo>
                  <a:pt x="397" y="128"/>
                </a:lnTo>
                <a:lnTo>
                  <a:pt x="404" y="140"/>
                </a:lnTo>
                <a:lnTo>
                  <a:pt x="408" y="155"/>
                </a:lnTo>
                <a:lnTo>
                  <a:pt x="411" y="168"/>
                </a:lnTo>
                <a:lnTo>
                  <a:pt x="413" y="182"/>
                </a:lnTo>
                <a:lnTo>
                  <a:pt x="414" y="197"/>
                </a:lnTo>
                <a:lnTo>
                  <a:pt x="414" y="197"/>
                </a:lnTo>
                <a:lnTo>
                  <a:pt x="415" y="209"/>
                </a:lnTo>
                <a:lnTo>
                  <a:pt x="415" y="223"/>
                </a:lnTo>
                <a:lnTo>
                  <a:pt x="415" y="235"/>
                </a:lnTo>
                <a:lnTo>
                  <a:pt x="413" y="247"/>
                </a:lnTo>
                <a:lnTo>
                  <a:pt x="411" y="259"/>
                </a:lnTo>
                <a:lnTo>
                  <a:pt x="408" y="272"/>
                </a:lnTo>
                <a:lnTo>
                  <a:pt x="405" y="284"/>
                </a:lnTo>
                <a:lnTo>
                  <a:pt x="400" y="295"/>
                </a:lnTo>
                <a:lnTo>
                  <a:pt x="394" y="306"/>
                </a:lnTo>
                <a:lnTo>
                  <a:pt x="389" y="317"/>
                </a:lnTo>
                <a:lnTo>
                  <a:pt x="382" y="327"/>
                </a:lnTo>
                <a:lnTo>
                  <a:pt x="376" y="338"/>
                </a:lnTo>
                <a:lnTo>
                  <a:pt x="368" y="348"/>
                </a:lnTo>
                <a:lnTo>
                  <a:pt x="360" y="357"/>
                </a:lnTo>
                <a:lnTo>
                  <a:pt x="352" y="366"/>
                </a:lnTo>
                <a:lnTo>
                  <a:pt x="343" y="374"/>
                </a:lnTo>
                <a:lnTo>
                  <a:pt x="333" y="381"/>
                </a:lnTo>
                <a:lnTo>
                  <a:pt x="323" y="390"/>
                </a:lnTo>
                <a:lnTo>
                  <a:pt x="313" y="396"/>
                </a:lnTo>
                <a:lnTo>
                  <a:pt x="303" y="402"/>
                </a:lnTo>
                <a:lnTo>
                  <a:pt x="292" y="407"/>
                </a:lnTo>
                <a:lnTo>
                  <a:pt x="281" y="412"/>
                </a:lnTo>
                <a:lnTo>
                  <a:pt x="269" y="416"/>
                </a:lnTo>
                <a:lnTo>
                  <a:pt x="257" y="419"/>
                </a:lnTo>
                <a:lnTo>
                  <a:pt x="246" y="421"/>
                </a:lnTo>
                <a:lnTo>
                  <a:pt x="234" y="423"/>
                </a:lnTo>
                <a:lnTo>
                  <a:pt x="222" y="424"/>
                </a:lnTo>
                <a:lnTo>
                  <a:pt x="208" y="424"/>
                </a:lnTo>
                <a:lnTo>
                  <a:pt x="196" y="423"/>
                </a:lnTo>
                <a:lnTo>
                  <a:pt x="184" y="421"/>
                </a:lnTo>
                <a:lnTo>
                  <a:pt x="171" y="418"/>
                </a:lnTo>
                <a:lnTo>
                  <a:pt x="159" y="414"/>
                </a:lnTo>
                <a:lnTo>
                  <a:pt x="159" y="414"/>
                </a:lnTo>
                <a:lnTo>
                  <a:pt x="144" y="410"/>
                </a:lnTo>
                <a:lnTo>
                  <a:pt x="130" y="405"/>
                </a:lnTo>
                <a:lnTo>
                  <a:pt x="116" y="399"/>
                </a:lnTo>
                <a:lnTo>
                  <a:pt x="104" y="392"/>
                </a:lnTo>
                <a:lnTo>
                  <a:pt x="91" y="383"/>
                </a:lnTo>
                <a:lnTo>
                  <a:pt x="79" y="374"/>
                </a:lnTo>
                <a:lnTo>
                  <a:pt x="69" y="364"/>
                </a:lnTo>
                <a:lnTo>
                  <a:pt x="59" y="354"/>
                </a:lnTo>
                <a:lnTo>
                  <a:pt x="49" y="343"/>
                </a:lnTo>
                <a:lnTo>
                  <a:pt x="41" y="331"/>
                </a:lnTo>
                <a:lnTo>
                  <a:pt x="32" y="318"/>
                </a:lnTo>
                <a:lnTo>
                  <a:pt x="25" y="305"/>
                </a:lnTo>
                <a:lnTo>
                  <a:pt x="19" y="292"/>
                </a:lnTo>
                <a:lnTo>
                  <a:pt x="14" y="278"/>
                </a:lnTo>
                <a:lnTo>
                  <a:pt x="9" y="263"/>
                </a:lnTo>
                <a:lnTo>
                  <a:pt x="6" y="249"/>
                </a:lnTo>
                <a:lnTo>
                  <a:pt x="3" y="235"/>
                </a:lnTo>
                <a:lnTo>
                  <a:pt x="1" y="221"/>
                </a:lnTo>
                <a:lnTo>
                  <a:pt x="0" y="205"/>
                </a:lnTo>
                <a:lnTo>
                  <a:pt x="0" y="191"/>
                </a:lnTo>
                <a:lnTo>
                  <a:pt x="1" y="177"/>
                </a:lnTo>
                <a:lnTo>
                  <a:pt x="3" y="162"/>
                </a:lnTo>
                <a:lnTo>
                  <a:pt x="6" y="148"/>
                </a:lnTo>
                <a:lnTo>
                  <a:pt x="10" y="134"/>
                </a:lnTo>
                <a:lnTo>
                  <a:pt x="15" y="121"/>
                </a:lnTo>
                <a:lnTo>
                  <a:pt x="21" y="108"/>
                </a:lnTo>
                <a:lnTo>
                  <a:pt x="28" y="95"/>
                </a:lnTo>
                <a:lnTo>
                  <a:pt x="36" y="82"/>
                </a:lnTo>
                <a:lnTo>
                  <a:pt x="46" y="71"/>
                </a:lnTo>
                <a:lnTo>
                  <a:pt x="56" y="60"/>
                </a:lnTo>
                <a:lnTo>
                  <a:pt x="68" y="50"/>
                </a:lnTo>
                <a:lnTo>
                  <a:pt x="80" y="41"/>
                </a:lnTo>
                <a:lnTo>
                  <a:pt x="8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7" name="Freeform 2371"/>
          <p:cNvSpPr>
            <a:spLocks/>
          </p:cNvSpPr>
          <p:nvPr/>
        </p:nvSpPr>
        <p:spPr bwMode="auto">
          <a:xfrm>
            <a:off x="7551739" y="5033964"/>
            <a:ext cx="314325" cy="569913"/>
          </a:xfrm>
          <a:custGeom>
            <a:avLst/>
            <a:gdLst>
              <a:gd name="T0" fmla="*/ 1188 w 1189"/>
              <a:gd name="T1" fmla="*/ 605 h 2149"/>
              <a:gd name="T2" fmla="*/ 1188 w 1189"/>
              <a:gd name="T3" fmla="*/ 149 h 2149"/>
              <a:gd name="T4" fmla="*/ 1187 w 1189"/>
              <a:gd name="T5" fmla="*/ 112 h 2149"/>
              <a:gd name="T6" fmla="*/ 1181 w 1189"/>
              <a:gd name="T7" fmla="*/ 64 h 2149"/>
              <a:gd name="T8" fmla="*/ 1172 w 1189"/>
              <a:gd name="T9" fmla="*/ 37 h 2149"/>
              <a:gd name="T10" fmla="*/ 1155 w 1189"/>
              <a:gd name="T11" fmla="*/ 15 h 2149"/>
              <a:gd name="T12" fmla="*/ 1120 w 1189"/>
              <a:gd name="T13" fmla="*/ 4 h 2149"/>
              <a:gd name="T14" fmla="*/ 1073 w 1189"/>
              <a:gd name="T15" fmla="*/ 0 h 2149"/>
              <a:gd name="T16" fmla="*/ 998 w 1189"/>
              <a:gd name="T17" fmla="*/ 3 h 2149"/>
              <a:gd name="T18" fmla="*/ 930 w 1189"/>
              <a:gd name="T19" fmla="*/ 5 h 2149"/>
              <a:gd name="T20" fmla="*/ 845 w 1189"/>
              <a:gd name="T21" fmla="*/ 9 h 2149"/>
              <a:gd name="T22" fmla="*/ 796 w 1189"/>
              <a:gd name="T23" fmla="*/ 17 h 2149"/>
              <a:gd name="T24" fmla="*/ 748 w 1189"/>
              <a:gd name="T25" fmla="*/ 35 h 2149"/>
              <a:gd name="T26" fmla="*/ 689 w 1189"/>
              <a:gd name="T27" fmla="*/ 69 h 2149"/>
              <a:gd name="T28" fmla="*/ 475 w 1189"/>
              <a:gd name="T29" fmla="*/ 206 h 2149"/>
              <a:gd name="T30" fmla="*/ 360 w 1189"/>
              <a:gd name="T31" fmla="*/ 236 h 2149"/>
              <a:gd name="T32" fmla="*/ 222 w 1189"/>
              <a:gd name="T33" fmla="*/ 110 h 2149"/>
              <a:gd name="T34" fmla="*/ 166 w 1189"/>
              <a:gd name="T35" fmla="*/ 60 h 2149"/>
              <a:gd name="T36" fmla="*/ 129 w 1189"/>
              <a:gd name="T37" fmla="*/ 41 h 2149"/>
              <a:gd name="T38" fmla="*/ 90 w 1189"/>
              <a:gd name="T39" fmla="*/ 40 h 2149"/>
              <a:gd name="T40" fmla="*/ 55 w 1189"/>
              <a:gd name="T41" fmla="*/ 55 h 2149"/>
              <a:gd name="T42" fmla="*/ 24 w 1189"/>
              <a:gd name="T43" fmla="*/ 81 h 2149"/>
              <a:gd name="T44" fmla="*/ 4 w 1189"/>
              <a:gd name="T45" fmla="*/ 116 h 2149"/>
              <a:gd name="T46" fmla="*/ 3 w 1189"/>
              <a:gd name="T47" fmla="*/ 142 h 2149"/>
              <a:gd name="T48" fmla="*/ 15 w 1189"/>
              <a:gd name="T49" fmla="*/ 180 h 2149"/>
              <a:gd name="T50" fmla="*/ 35 w 1189"/>
              <a:gd name="T51" fmla="*/ 212 h 2149"/>
              <a:gd name="T52" fmla="*/ 79 w 1189"/>
              <a:gd name="T53" fmla="*/ 261 h 2149"/>
              <a:gd name="T54" fmla="*/ 147 w 1189"/>
              <a:gd name="T55" fmla="*/ 324 h 2149"/>
              <a:gd name="T56" fmla="*/ 265 w 1189"/>
              <a:gd name="T57" fmla="*/ 436 h 2149"/>
              <a:gd name="T58" fmla="*/ 343 w 1189"/>
              <a:gd name="T59" fmla="*/ 500 h 2149"/>
              <a:gd name="T60" fmla="*/ 402 w 1189"/>
              <a:gd name="T61" fmla="*/ 486 h 2149"/>
              <a:gd name="T62" fmla="*/ 614 w 1189"/>
              <a:gd name="T63" fmla="*/ 358 h 2149"/>
              <a:gd name="T64" fmla="*/ 692 w 1189"/>
              <a:gd name="T65" fmla="*/ 402 h 2149"/>
              <a:gd name="T66" fmla="*/ 671 w 1189"/>
              <a:gd name="T67" fmla="*/ 1047 h 2149"/>
              <a:gd name="T68" fmla="*/ 656 w 1189"/>
              <a:gd name="T69" fmla="*/ 1833 h 2149"/>
              <a:gd name="T70" fmla="*/ 656 w 1189"/>
              <a:gd name="T71" fmla="*/ 2038 h 2149"/>
              <a:gd name="T72" fmla="*/ 660 w 1189"/>
              <a:gd name="T73" fmla="*/ 2076 h 2149"/>
              <a:gd name="T74" fmla="*/ 675 w 1189"/>
              <a:gd name="T75" fmla="*/ 2105 h 2149"/>
              <a:gd name="T76" fmla="*/ 699 w 1189"/>
              <a:gd name="T77" fmla="*/ 2127 h 2149"/>
              <a:gd name="T78" fmla="*/ 730 w 1189"/>
              <a:gd name="T79" fmla="*/ 2141 h 2149"/>
              <a:gd name="T80" fmla="*/ 763 w 1189"/>
              <a:gd name="T81" fmla="*/ 2148 h 2149"/>
              <a:gd name="T82" fmla="*/ 799 w 1189"/>
              <a:gd name="T83" fmla="*/ 2147 h 2149"/>
              <a:gd name="T84" fmla="*/ 833 w 1189"/>
              <a:gd name="T85" fmla="*/ 2139 h 2149"/>
              <a:gd name="T86" fmla="*/ 861 w 1189"/>
              <a:gd name="T87" fmla="*/ 2124 h 2149"/>
              <a:gd name="T88" fmla="*/ 883 w 1189"/>
              <a:gd name="T89" fmla="*/ 2100 h 2149"/>
              <a:gd name="T90" fmla="*/ 896 w 1189"/>
              <a:gd name="T91" fmla="*/ 2069 h 2149"/>
              <a:gd name="T92" fmla="*/ 898 w 1189"/>
              <a:gd name="T93" fmla="*/ 2043 h 2149"/>
              <a:gd name="T94" fmla="*/ 900 w 1189"/>
              <a:gd name="T95" fmla="*/ 1547 h 2149"/>
              <a:gd name="T96" fmla="*/ 900 w 1189"/>
              <a:gd name="T97" fmla="*/ 1050 h 2149"/>
              <a:gd name="T98" fmla="*/ 952 w 1189"/>
              <a:gd name="T99" fmla="*/ 1520 h 2149"/>
              <a:gd name="T100" fmla="*/ 953 w 1189"/>
              <a:gd name="T101" fmla="*/ 2027 h 2149"/>
              <a:gd name="T102" fmla="*/ 959 w 1189"/>
              <a:gd name="T103" fmla="*/ 2074 h 2149"/>
              <a:gd name="T104" fmla="*/ 968 w 1189"/>
              <a:gd name="T105" fmla="*/ 2100 h 2149"/>
              <a:gd name="T106" fmla="*/ 984 w 1189"/>
              <a:gd name="T107" fmla="*/ 2123 h 2149"/>
              <a:gd name="T108" fmla="*/ 1006 w 1189"/>
              <a:gd name="T109" fmla="*/ 2137 h 2149"/>
              <a:gd name="T110" fmla="*/ 1052 w 1189"/>
              <a:gd name="T111" fmla="*/ 2149 h 2149"/>
              <a:gd name="T112" fmla="*/ 1099 w 1189"/>
              <a:gd name="T113" fmla="*/ 2144 h 2149"/>
              <a:gd name="T114" fmla="*/ 1142 w 1189"/>
              <a:gd name="T115" fmla="*/ 2124 h 2149"/>
              <a:gd name="T116" fmla="*/ 1171 w 1189"/>
              <a:gd name="T117" fmla="*/ 2088 h 2149"/>
              <a:gd name="T118" fmla="*/ 1180 w 1189"/>
              <a:gd name="T119" fmla="*/ 2066 h 2149"/>
              <a:gd name="T120" fmla="*/ 1184 w 1189"/>
              <a:gd name="T121" fmla="*/ 2040 h 2149"/>
              <a:gd name="T122" fmla="*/ 1187 w 1189"/>
              <a:gd name="T123" fmla="*/ 1680 h 2149"/>
              <a:gd name="T124" fmla="*/ 1187 w 1189"/>
              <a:gd name="T125" fmla="*/ 762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89" h="2149">
                <a:moveTo>
                  <a:pt x="1187" y="762"/>
                </a:moveTo>
                <a:lnTo>
                  <a:pt x="1187" y="762"/>
                </a:lnTo>
                <a:lnTo>
                  <a:pt x="1188" y="605"/>
                </a:lnTo>
                <a:lnTo>
                  <a:pt x="1188" y="605"/>
                </a:lnTo>
                <a:lnTo>
                  <a:pt x="1189" y="377"/>
                </a:lnTo>
                <a:lnTo>
                  <a:pt x="1188" y="149"/>
                </a:lnTo>
                <a:lnTo>
                  <a:pt x="1188" y="149"/>
                </a:lnTo>
                <a:lnTo>
                  <a:pt x="1187" y="131"/>
                </a:lnTo>
                <a:lnTo>
                  <a:pt x="1187" y="112"/>
                </a:lnTo>
                <a:lnTo>
                  <a:pt x="1186" y="92"/>
                </a:lnTo>
                <a:lnTo>
                  <a:pt x="1184" y="73"/>
                </a:lnTo>
                <a:lnTo>
                  <a:pt x="1181" y="64"/>
                </a:lnTo>
                <a:lnTo>
                  <a:pt x="1179" y="55"/>
                </a:lnTo>
                <a:lnTo>
                  <a:pt x="1176" y="45"/>
                </a:lnTo>
                <a:lnTo>
                  <a:pt x="1172" y="37"/>
                </a:lnTo>
                <a:lnTo>
                  <a:pt x="1167" y="29"/>
                </a:lnTo>
                <a:lnTo>
                  <a:pt x="1162" y="22"/>
                </a:lnTo>
                <a:lnTo>
                  <a:pt x="1155" y="15"/>
                </a:lnTo>
                <a:lnTo>
                  <a:pt x="1147" y="9"/>
                </a:lnTo>
                <a:lnTo>
                  <a:pt x="1147" y="9"/>
                </a:lnTo>
                <a:lnTo>
                  <a:pt x="1120" y="4"/>
                </a:lnTo>
                <a:lnTo>
                  <a:pt x="1101" y="1"/>
                </a:lnTo>
                <a:lnTo>
                  <a:pt x="1086" y="0"/>
                </a:lnTo>
                <a:lnTo>
                  <a:pt x="1073" y="0"/>
                </a:lnTo>
                <a:lnTo>
                  <a:pt x="1044" y="2"/>
                </a:lnTo>
                <a:lnTo>
                  <a:pt x="1024" y="3"/>
                </a:lnTo>
                <a:lnTo>
                  <a:pt x="998" y="3"/>
                </a:lnTo>
                <a:lnTo>
                  <a:pt x="998" y="3"/>
                </a:lnTo>
                <a:lnTo>
                  <a:pt x="965" y="4"/>
                </a:lnTo>
                <a:lnTo>
                  <a:pt x="930" y="5"/>
                </a:lnTo>
                <a:lnTo>
                  <a:pt x="896" y="6"/>
                </a:lnTo>
                <a:lnTo>
                  <a:pt x="862" y="7"/>
                </a:lnTo>
                <a:lnTo>
                  <a:pt x="845" y="9"/>
                </a:lnTo>
                <a:lnTo>
                  <a:pt x="829" y="11"/>
                </a:lnTo>
                <a:lnTo>
                  <a:pt x="812" y="14"/>
                </a:lnTo>
                <a:lnTo>
                  <a:pt x="796" y="17"/>
                </a:lnTo>
                <a:lnTo>
                  <a:pt x="780" y="22"/>
                </a:lnTo>
                <a:lnTo>
                  <a:pt x="763" y="28"/>
                </a:lnTo>
                <a:lnTo>
                  <a:pt x="748" y="35"/>
                </a:lnTo>
                <a:lnTo>
                  <a:pt x="733" y="43"/>
                </a:lnTo>
                <a:lnTo>
                  <a:pt x="733" y="43"/>
                </a:lnTo>
                <a:lnTo>
                  <a:pt x="689" y="69"/>
                </a:lnTo>
                <a:lnTo>
                  <a:pt x="646" y="95"/>
                </a:lnTo>
                <a:lnTo>
                  <a:pt x="560" y="150"/>
                </a:lnTo>
                <a:lnTo>
                  <a:pt x="475" y="206"/>
                </a:lnTo>
                <a:lnTo>
                  <a:pt x="388" y="260"/>
                </a:lnTo>
                <a:lnTo>
                  <a:pt x="388" y="260"/>
                </a:lnTo>
                <a:lnTo>
                  <a:pt x="360" y="236"/>
                </a:lnTo>
                <a:lnTo>
                  <a:pt x="332" y="211"/>
                </a:lnTo>
                <a:lnTo>
                  <a:pt x="277" y="160"/>
                </a:lnTo>
                <a:lnTo>
                  <a:pt x="222" y="110"/>
                </a:lnTo>
                <a:lnTo>
                  <a:pt x="195" y="84"/>
                </a:lnTo>
                <a:lnTo>
                  <a:pt x="166" y="60"/>
                </a:lnTo>
                <a:lnTo>
                  <a:pt x="166" y="60"/>
                </a:lnTo>
                <a:lnTo>
                  <a:pt x="154" y="52"/>
                </a:lnTo>
                <a:lnTo>
                  <a:pt x="142" y="45"/>
                </a:lnTo>
                <a:lnTo>
                  <a:pt x="129" y="41"/>
                </a:lnTo>
                <a:lnTo>
                  <a:pt x="117" y="39"/>
                </a:lnTo>
                <a:lnTo>
                  <a:pt x="103" y="38"/>
                </a:lnTo>
                <a:lnTo>
                  <a:pt x="90" y="40"/>
                </a:lnTo>
                <a:lnTo>
                  <a:pt x="78" y="43"/>
                </a:lnTo>
                <a:lnTo>
                  <a:pt x="66" y="48"/>
                </a:lnTo>
                <a:lnTo>
                  <a:pt x="55" y="55"/>
                </a:lnTo>
                <a:lnTo>
                  <a:pt x="43" y="63"/>
                </a:lnTo>
                <a:lnTo>
                  <a:pt x="33" y="71"/>
                </a:lnTo>
                <a:lnTo>
                  <a:pt x="24" y="81"/>
                </a:lnTo>
                <a:lnTo>
                  <a:pt x="16" y="92"/>
                </a:lnTo>
                <a:lnTo>
                  <a:pt x="9" y="103"/>
                </a:lnTo>
                <a:lnTo>
                  <a:pt x="4" y="116"/>
                </a:lnTo>
                <a:lnTo>
                  <a:pt x="0" y="129"/>
                </a:lnTo>
                <a:lnTo>
                  <a:pt x="0" y="129"/>
                </a:lnTo>
                <a:lnTo>
                  <a:pt x="3" y="142"/>
                </a:lnTo>
                <a:lnTo>
                  <a:pt x="6" y="155"/>
                </a:lnTo>
                <a:lnTo>
                  <a:pt x="10" y="168"/>
                </a:lnTo>
                <a:lnTo>
                  <a:pt x="15" y="180"/>
                </a:lnTo>
                <a:lnTo>
                  <a:pt x="21" y="191"/>
                </a:lnTo>
                <a:lnTo>
                  <a:pt x="28" y="202"/>
                </a:lnTo>
                <a:lnTo>
                  <a:pt x="35" y="212"/>
                </a:lnTo>
                <a:lnTo>
                  <a:pt x="43" y="222"/>
                </a:lnTo>
                <a:lnTo>
                  <a:pt x="61" y="243"/>
                </a:lnTo>
                <a:lnTo>
                  <a:pt x="79" y="261"/>
                </a:lnTo>
                <a:lnTo>
                  <a:pt x="117" y="297"/>
                </a:lnTo>
                <a:lnTo>
                  <a:pt x="117" y="297"/>
                </a:lnTo>
                <a:lnTo>
                  <a:pt x="147" y="324"/>
                </a:lnTo>
                <a:lnTo>
                  <a:pt x="177" y="353"/>
                </a:lnTo>
                <a:lnTo>
                  <a:pt x="235" y="409"/>
                </a:lnTo>
                <a:lnTo>
                  <a:pt x="265" y="436"/>
                </a:lnTo>
                <a:lnTo>
                  <a:pt x="296" y="463"/>
                </a:lnTo>
                <a:lnTo>
                  <a:pt x="327" y="488"/>
                </a:lnTo>
                <a:lnTo>
                  <a:pt x="343" y="500"/>
                </a:lnTo>
                <a:lnTo>
                  <a:pt x="361" y="512"/>
                </a:lnTo>
                <a:lnTo>
                  <a:pt x="361" y="512"/>
                </a:lnTo>
                <a:lnTo>
                  <a:pt x="402" y="486"/>
                </a:lnTo>
                <a:lnTo>
                  <a:pt x="444" y="459"/>
                </a:lnTo>
                <a:lnTo>
                  <a:pt x="529" y="409"/>
                </a:lnTo>
                <a:lnTo>
                  <a:pt x="614" y="358"/>
                </a:lnTo>
                <a:lnTo>
                  <a:pt x="697" y="306"/>
                </a:lnTo>
                <a:lnTo>
                  <a:pt x="697" y="306"/>
                </a:lnTo>
                <a:lnTo>
                  <a:pt x="692" y="402"/>
                </a:lnTo>
                <a:lnTo>
                  <a:pt x="686" y="569"/>
                </a:lnTo>
                <a:lnTo>
                  <a:pt x="679" y="790"/>
                </a:lnTo>
                <a:lnTo>
                  <a:pt x="671" y="1047"/>
                </a:lnTo>
                <a:lnTo>
                  <a:pt x="664" y="1318"/>
                </a:lnTo>
                <a:lnTo>
                  <a:pt x="659" y="1587"/>
                </a:lnTo>
                <a:lnTo>
                  <a:pt x="656" y="1833"/>
                </a:lnTo>
                <a:lnTo>
                  <a:pt x="656" y="1942"/>
                </a:lnTo>
                <a:lnTo>
                  <a:pt x="656" y="2038"/>
                </a:lnTo>
                <a:lnTo>
                  <a:pt x="656" y="2038"/>
                </a:lnTo>
                <a:lnTo>
                  <a:pt x="656" y="2052"/>
                </a:lnTo>
                <a:lnTo>
                  <a:pt x="657" y="2064"/>
                </a:lnTo>
                <a:lnTo>
                  <a:pt x="660" y="2076"/>
                </a:lnTo>
                <a:lnTo>
                  <a:pt x="664" y="2086"/>
                </a:lnTo>
                <a:lnTo>
                  <a:pt x="669" y="2096"/>
                </a:lnTo>
                <a:lnTo>
                  <a:pt x="675" y="2105"/>
                </a:lnTo>
                <a:lnTo>
                  <a:pt x="682" y="2113"/>
                </a:lnTo>
                <a:lnTo>
                  <a:pt x="690" y="2121"/>
                </a:lnTo>
                <a:lnTo>
                  <a:pt x="699" y="2127"/>
                </a:lnTo>
                <a:lnTo>
                  <a:pt x="709" y="2132"/>
                </a:lnTo>
                <a:lnTo>
                  <a:pt x="719" y="2137"/>
                </a:lnTo>
                <a:lnTo>
                  <a:pt x="730" y="2141"/>
                </a:lnTo>
                <a:lnTo>
                  <a:pt x="741" y="2144"/>
                </a:lnTo>
                <a:lnTo>
                  <a:pt x="752" y="2147"/>
                </a:lnTo>
                <a:lnTo>
                  <a:pt x="763" y="2148"/>
                </a:lnTo>
                <a:lnTo>
                  <a:pt x="776" y="2149"/>
                </a:lnTo>
                <a:lnTo>
                  <a:pt x="787" y="2148"/>
                </a:lnTo>
                <a:lnTo>
                  <a:pt x="799" y="2147"/>
                </a:lnTo>
                <a:lnTo>
                  <a:pt x="810" y="2146"/>
                </a:lnTo>
                <a:lnTo>
                  <a:pt x="821" y="2143"/>
                </a:lnTo>
                <a:lnTo>
                  <a:pt x="833" y="2139"/>
                </a:lnTo>
                <a:lnTo>
                  <a:pt x="843" y="2135"/>
                </a:lnTo>
                <a:lnTo>
                  <a:pt x="852" y="2130"/>
                </a:lnTo>
                <a:lnTo>
                  <a:pt x="861" y="2124"/>
                </a:lnTo>
                <a:lnTo>
                  <a:pt x="869" y="2117"/>
                </a:lnTo>
                <a:lnTo>
                  <a:pt x="877" y="2109"/>
                </a:lnTo>
                <a:lnTo>
                  <a:pt x="883" y="2100"/>
                </a:lnTo>
                <a:lnTo>
                  <a:pt x="889" y="2090"/>
                </a:lnTo>
                <a:lnTo>
                  <a:pt x="893" y="2080"/>
                </a:lnTo>
                <a:lnTo>
                  <a:pt x="896" y="2069"/>
                </a:lnTo>
                <a:lnTo>
                  <a:pt x="898" y="2057"/>
                </a:lnTo>
                <a:lnTo>
                  <a:pt x="898" y="2043"/>
                </a:lnTo>
                <a:lnTo>
                  <a:pt x="898" y="2043"/>
                </a:lnTo>
                <a:lnTo>
                  <a:pt x="899" y="1919"/>
                </a:lnTo>
                <a:lnTo>
                  <a:pt x="900" y="1795"/>
                </a:lnTo>
                <a:lnTo>
                  <a:pt x="900" y="1547"/>
                </a:lnTo>
                <a:lnTo>
                  <a:pt x="900" y="1299"/>
                </a:lnTo>
                <a:lnTo>
                  <a:pt x="900" y="1050"/>
                </a:lnTo>
                <a:lnTo>
                  <a:pt x="900" y="1050"/>
                </a:lnTo>
                <a:lnTo>
                  <a:pt x="952" y="1050"/>
                </a:lnTo>
                <a:lnTo>
                  <a:pt x="952" y="1050"/>
                </a:lnTo>
                <a:lnTo>
                  <a:pt x="952" y="1520"/>
                </a:lnTo>
                <a:lnTo>
                  <a:pt x="952" y="1990"/>
                </a:lnTo>
                <a:lnTo>
                  <a:pt x="952" y="1990"/>
                </a:lnTo>
                <a:lnTo>
                  <a:pt x="953" y="2027"/>
                </a:lnTo>
                <a:lnTo>
                  <a:pt x="954" y="2047"/>
                </a:lnTo>
                <a:lnTo>
                  <a:pt x="956" y="2065"/>
                </a:lnTo>
                <a:lnTo>
                  <a:pt x="959" y="2074"/>
                </a:lnTo>
                <a:lnTo>
                  <a:pt x="961" y="2083"/>
                </a:lnTo>
                <a:lnTo>
                  <a:pt x="964" y="2091"/>
                </a:lnTo>
                <a:lnTo>
                  <a:pt x="968" y="2100"/>
                </a:lnTo>
                <a:lnTo>
                  <a:pt x="973" y="2108"/>
                </a:lnTo>
                <a:lnTo>
                  <a:pt x="978" y="2116"/>
                </a:lnTo>
                <a:lnTo>
                  <a:pt x="984" y="2123"/>
                </a:lnTo>
                <a:lnTo>
                  <a:pt x="992" y="2129"/>
                </a:lnTo>
                <a:lnTo>
                  <a:pt x="992" y="2129"/>
                </a:lnTo>
                <a:lnTo>
                  <a:pt x="1006" y="2137"/>
                </a:lnTo>
                <a:lnTo>
                  <a:pt x="1021" y="2143"/>
                </a:lnTo>
                <a:lnTo>
                  <a:pt x="1036" y="2147"/>
                </a:lnTo>
                <a:lnTo>
                  <a:pt x="1052" y="2149"/>
                </a:lnTo>
                <a:lnTo>
                  <a:pt x="1069" y="2149"/>
                </a:lnTo>
                <a:lnTo>
                  <a:pt x="1084" y="2148"/>
                </a:lnTo>
                <a:lnTo>
                  <a:pt x="1099" y="2144"/>
                </a:lnTo>
                <a:lnTo>
                  <a:pt x="1114" y="2139"/>
                </a:lnTo>
                <a:lnTo>
                  <a:pt x="1129" y="2132"/>
                </a:lnTo>
                <a:lnTo>
                  <a:pt x="1142" y="2124"/>
                </a:lnTo>
                <a:lnTo>
                  <a:pt x="1153" y="2114"/>
                </a:lnTo>
                <a:lnTo>
                  <a:pt x="1163" y="2101"/>
                </a:lnTo>
                <a:lnTo>
                  <a:pt x="1171" y="2088"/>
                </a:lnTo>
                <a:lnTo>
                  <a:pt x="1175" y="2081"/>
                </a:lnTo>
                <a:lnTo>
                  <a:pt x="1178" y="2074"/>
                </a:lnTo>
                <a:lnTo>
                  <a:pt x="1180" y="2066"/>
                </a:lnTo>
                <a:lnTo>
                  <a:pt x="1182" y="2058"/>
                </a:lnTo>
                <a:lnTo>
                  <a:pt x="1184" y="2049"/>
                </a:lnTo>
                <a:lnTo>
                  <a:pt x="1184" y="2040"/>
                </a:lnTo>
                <a:lnTo>
                  <a:pt x="1184" y="2040"/>
                </a:lnTo>
                <a:lnTo>
                  <a:pt x="1186" y="1875"/>
                </a:lnTo>
                <a:lnTo>
                  <a:pt x="1187" y="1680"/>
                </a:lnTo>
                <a:lnTo>
                  <a:pt x="1188" y="1268"/>
                </a:lnTo>
                <a:lnTo>
                  <a:pt x="1188" y="921"/>
                </a:lnTo>
                <a:lnTo>
                  <a:pt x="1187" y="762"/>
                </a:lnTo>
                <a:lnTo>
                  <a:pt x="1187" y="7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964" name="Group 2963"/>
          <p:cNvGrpSpPr/>
          <p:nvPr/>
        </p:nvGrpSpPr>
        <p:grpSpPr>
          <a:xfrm>
            <a:off x="9033955" y="5014913"/>
            <a:ext cx="409575" cy="782638"/>
            <a:chOff x="9082087" y="4982473"/>
            <a:chExt cx="409575" cy="782638"/>
          </a:xfrm>
        </p:grpSpPr>
        <p:sp>
          <p:nvSpPr>
            <p:cNvPr id="3618" name="Freeform 2372"/>
            <p:cNvSpPr>
              <a:spLocks/>
            </p:cNvSpPr>
            <p:nvPr/>
          </p:nvSpPr>
          <p:spPr bwMode="auto">
            <a:xfrm>
              <a:off x="9277349" y="4982473"/>
              <a:ext cx="127000" cy="125413"/>
            </a:xfrm>
            <a:custGeom>
              <a:avLst/>
              <a:gdLst>
                <a:gd name="T0" fmla="*/ 148 w 479"/>
                <a:gd name="T1" fmla="*/ 19 h 473"/>
                <a:gd name="T2" fmla="*/ 176 w 479"/>
                <a:gd name="T3" fmla="*/ 8 h 473"/>
                <a:gd name="T4" fmla="*/ 206 w 479"/>
                <a:gd name="T5" fmla="*/ 2 h 473"/>
                <a:gd name="T6" fmla="*/ 236 w 479"/>
                <a:gd name="T7" fmla="*/ 0 h 473"/>
                <a:gd name="T8" fmla="*/ 266 w 479"/>
                <a:gd name="T9" fmla="*/ 2 h 473"/>
                <a:gd name="T10" fmla="*/ 294 w 479"/>
                <a:gd name="T11" fmla="*/ 7 h 473"/>
                <a:gd name="T12" fmla="*/ 323 w 479"/>
                <a:gd name="T13" fmla="*/ 16 h 473"/>
                <a:gd name="T14" fmla="*/ 350 w 479"/>
                <a:gd name="T15" fmla="*/ 29 h 473"/>
                <a:gd name="T16" fmla="*/ 376 w 479"/>
                <a:gd name="T17" fmla="*/ 44 h 473"/>
                <a:gd name="T18" fmla="*/ 399 w 479"/>
                <a:gd name="T19" fmla="*/ 63 h 473"/>
                <a:gd name="T20" fmla="*/ 420 w 479"/>
                <a:gd name="T21" fmla="*/ 84 h 473"/>
                <a:gd name="T22" fmla="*/ 440 w 479"/>
                <a:gd name="T23" fmla="*/ 107 h 473"/>
                <a:gd name="T24" fmla="*/ 455 w 479"/>
                <a:gd name="T25" fmla="*/ 132 h 473"/>
                <a:gd name="T26" fmla="*/ 467 w 479"/>
                <a:gd name="T27" fmla="*/ 159 h 473"/>
                <a:gd name="T28" fmla="*/ 475 w 479"/>
                <a:gd name="T29" fmla="*/ 188 h 473"/>
                <a:gd name="T30" fmla="*/ 479 w 479"/>
                <a:gd name="T31" fmla="*/ 217 h 473"/>
                <a:gd name="T32" fmla="*/ 478 w 479"/>
                <a:gd name="T33" fmla="*/ 249 h 473"/>
                <a:gd name="T34" fmla="*/ 478 w 479"/>
                <a:gd name="T35" fmla="*/ 266 h 473"/>
                <a:gd name="T36" fmla="*/ 474 w 479"/>
                <a:gd name="T37" fmla="*/ 301 h 473"/>
                <a:gd name="T38" fmla="*/ 464 w 479"/>
                <a:gd name="T39" fmla="*/ 332 h 473"/>
                <a:gd name="T40" fmla="*/ 449 w 479"/>
                <a:gd name="T41" fmla="*/ 361 h 473"/>
                <a:gd name="T42" fmla="*/ 431 w 479"/>
                <a:gd name="T43" fmla="*/ 387 h 473"/>
                <a:gd name="T44" fmla="*/ 407 w 479"/>
                <a:gd name="T45" fmla="*/ 410 h 473"/>
                <a:gd name="T46" fmla="*/ 381 w 479"/>
                <a:gd name="T47" fmla="*/ 430 h 473"/>
                <a:gd name="T48" fmla="*/ 352 w 479"/>
                <a:gd name="T49" fmla="*/ 446 h 473"/>
                <a:gd name="T50" fmla="*/ 322 w 479"/>
                <a:gd name="T51" fmla="*/ 458 h 473"/>
                <a:gd name="T52" fmla="*/ 289 w 479"/>
                <a:gd name="T53" fmla="*/ 468 h 473"/>
                <a:gd name="T54" fmla="*/ 256 w 479"/>
                <a:gd name="T55" fmla="*/ 472 h 473"/>
                <a:gd name="T56" fmla="*/ 223 w 479"/>
                <a:gd name="T57" fmla="*/ 473 h 473"/>
                <a:gd name="T58" fmla="*/ 190 w 479"/>
                <a:gd name="T59" fmla="*/ 470 h 473"/>
                <a:gd name="T60" fmla="*/ 158 w 479"/>
                <a:gd name="T61" fmla="*/ 461 h 473"/>
                <a:gd name="T62" fmla="*/ 127 w 479"/>
                <a:gd name="T63" fmla="*/ 448 h 473"/>
                <a:gd name="T64" fmla="*/ 98 w 479"/>
                <a:gd name="T65" fmla="*/ 431 h 473"/>
                <a:gd name="T66" fmla="*/ 85 w 479"/>
                <a:gd name="T67" fmla="*/ 420 h 473"/>
                <a:gd name="T68" fmla="*/ 61 w 479"/>
                <a:gd name="T69" fmla="*/ 399 h 473"/>
                <a:gd name="T70" fmla="*/ 41 w 479"/>
                <a:gd name="T71" fmla="*/ 375 h 473"/>
                <a:gd name="T72" fmla="*/ 26 w 479"/>
                <a:gd name="T73" fmla="*/ 350 h 473"/>
                <a:gd name="T74" fmla="*/ 14 w 479"/>
                <a:gd name="T75" fmla="*/ 321 h 473"/>
                <a:gd name="T76" fmla="*/ 6 w 479"/>
                <a:gd name="T77" fmla="*/ 292 h 473"/>
                <a:gd name="T78" fmla="*/ 0 w 479"/>
                <a:gd name="T79" fmla="*/ 262 h 473"/>
                <a:gd name="T80" fmla="*/ 0 w 479"/>
                <a:gd name="T81" fmla="*/ 232 h 473"/>
                <a:gd name="T82" fmla="*/ 2 w 479"/>
                <a:gd name="T83" fmla="*/ 201 h 473"/>
                <a:gd name="T84" fmla="*/ 10 w 479"/>
                <a:gd name="T85" fmla="*/ 170 h 473"/>
                <a:gd name="T86" fmla="*/ 19 w 479"/>
                <a:gd name="T87" fmla="*/ 142 h 473"/>
                <a:gd name="T88" fmla="*/ 32 w 479"/>
                <a:gd name="T89" fmla="*/ 115 h 473"/>
                <a:gd name="T90" fmla="*/ 49 w 479"/>
                <a:gd name="T91" fmla="*/ 89 h 473"/>
                <a:gd name="T92" fmla="*/ 69 w 479"/>
                <a:gd name="T93" fmla="*/ 67 h 473"/>
                <a:gd name="T94" fmla="*/ 92 w 479"/>
                <a:gd name="T95" fmla="*/ 47 h 473"/>
                <a:gd name="T96" fmla="*/ 118 w 479"/>
                <a:gd name="T97" fmla="*/ 31 h 473"/>
                <a:gd name="T98" fmla="*/ 148 w 479"/>
                <a:gd name="T99" fmla="*/ 1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9" h="473">
                  <a:moveTo>
                    <a:pt x="148" y="19"/>
                  </a:moveTo>
                  <a:lnTo>
                    <a:pt x="148" y="19"/>
                  </a:lnTo>
                  <a:lnTo>
                    <a:pt x="162" y="13"/>
                  </a:lnTo>
                  <a:lnTo>
                    <a:pt x="176" y="8"/>
                  </a:lnTo>
                  <a:lnTo>
                    <a:pt x="192" y="5"/>
                  </a:lnTo>
                  <a:lnTo>
                    <a:pt x="206" y="2"/>
                  </a:lnTo>
                  <a:lnTo>
                    <a:pt x="221" y="0"/>
                  </a:lnTo>
                  <a:lnTo>
                    <a:pt x="236" y="0"/>
                  </a:lnTo>
                  <a:lnTo>
                    <a:pt x="251" y="0"/>
                  </a:lnTo>
                  <a:lnTo>
                    <a:pt x="266" y="2"/>
                  </a:lnTo>
                  <a:lnTo>
                    <a:pt x="280" y="4"/>
                  </a:lnTo>
                  <a:lnTo>
                    <a:pt x="294" y="7"/>
                  </a:lnTo>
                  <a:lnTo>
                    <a:pt x="309" y="11"/>
                  </a:lnTo>
                  <a:lnTo>
                    <a:pt x="323" y="16"/>
                  </a:lnTo>
                  <a:lnTo>
                    <a:pt x="337" y="22"/>
                  </a:lnTo>
                  <a:lnTo>
                    <a:pt x="350" y="29"/>
                  </a:lnTo>
                  <a:lnTo>
                    <a:pt x="364" y="36"/>
                  </a:lnTo>
                  <a:lnTo>
                    <a:pt x="376" y="44"/>
                  </a:lnTo>
                  <a:lnTo>
                    <a:pt x="388" y="53"/>
                  </a:lnTo>
                  <a:lnTo>
                    <a:pt x="399" y="63"/>
                  </a:lnTo>
                  <a:lnTo>
                    <a:pt x="410" y="73"/>
                  </a:lnTo>
                  <a:lnTo>
                    <a:pt x="420" y="84"/>
                  </a:lnTo>
                  <a:lnTo>
                    <a:pt x="431" y="95"/>
                  </a:lnTo>
                  <a:lnTo>
                    <a:pt x="440" y="107"/>
                  </a:lnTo>
                  <a:lnTo>
                    <a:pt x="448" y="120"/>
                  </a:lnTo>
                  <a:lnTo>
                    <a:pt x="455" y="132"/>
                  </a:lnTo>
                  <a:lnTo>
                    <a:pt x="461" y="145"/>
                  </a:lnTo>
                  <a:lnTo>
                    <a:pt x="467" y="159"/>
                  </a:lnTo>
                  <a:lnTo>
                    <a:pt x="471" y="174"/>
                  </a:lnTo>
                  <a:lnTo>
                    <a:pt x="475" y="188"/>
                  </a:lnTo>
                  <a:lnTo>
                    <a:pt x="477" y="202"/>
                  </a:lnTo>
                  <a:lnTo>
                    <a:pt x="479" y="217"/>
                  </a:lnTo>
                  <a:lnTo>
                    <a:pt x="479" y="233"/>
                  </a:lnTo>
                  <a:lnTo>
                    <a:pt x="478" y="249"/>
                  </a:lnTo>
                  <a:lnTo>
                    <a:pt x="478" y="249"/>
                  </a:lnTo>
                  <a:lnTo>
                    <a:pt x="478" y="266"/>
                  </a:lnTo>
                  <a:lnTo>
                    <a:pt x="477" y="283"/>
                  </a:lnTo>
                  <a:lnTo>
                    <a:pt x="474" y="301"/>
                  </a:lnTo>
                  <a:lnTo>
                    <a:pt x="469" y="317"/>
                  </a:lnTo>
                  <a:lnTo>
                    <a:pt x="464" y="332"/>
                  </a:lnTo>
                  <a:lnTo>
                    <a:pt x="457" y="346"/>
                  </a:lnTo>
                  <a:lnTo>
                    <a:pt x="449" y="361"/>
                  </a:lnTo>
                  <a:lnTo>
                    <a:pt x="440" y="374"/>
                  </a:lnTo>
                  <a:lnTo>
                    <a:pt x="431" y="387"/>
                  </a:lnTo>
                  <a:lnTo>
                    <a:pt x="419" y="398"/>
                  </a:lnTo>
                  <a:lnTo>
                    <a:pt x="407" y="410"/>
                  </a:lnTo>
                  <a:lnTo>
                    <a:pt x="394" y="420"/>
                  </a:lnTo>
                  <a:lnTo>
                    <a:pt x="381" y="430"/>
                  </a:lnTo>
                  <a:lnTo>
                    <a:pt x="367" y="438"/>
                  </a:lnTo>
                  <a:lnTo>
                    <a:pt x="352" y="446"/>
                  </a:lnTo>
                  <a:lnTo>
                    <a:pt x="337" y="452"/>
                  </a:lnTo>
                  <a:lnTo>
                    <a:pt x="322" y="458"/>
                  </a:lnTo>
                  <a:lnTo>
                    <a:pt x="306" y="463"/>
                  </a:lnTo>
                  <a:lnTo>
                    <a:pt x="289" y="468"/>
                  </a:lnTo>
                  <a:lnTo>
                    <a:pt x="273" y="471"/>
                  </a:lnTo>
                  <a:lnTo>
                    <a:pt x="256" y="472"/>
                  </a:lnTo>
                  <a:lnTo>
                    <a:pt x="239" y="473"/>
                  </a:lnTo>
                  <a:lnTo>
                    <a:pt x="223" y="473"/>
                  </a:lnTo>
                  <a:lnTo>
                    <a:pt x="206" y="472"/>
                  </a:lnTo>
                  <a:lnTo>
                    <a:pt x="190" y="470"/>
                  </a:lnTo>
                  <a:lnTo>
                    <a:pt x="173" y="466"/>
                  </a:lnTo>
                  <a:lnTo>
                    <a:pt x="158" y="461"/>
                  </a:lnTo>
                  <a:lnTo>
                    <a:pt x="142" y="455"/>
                  </a:lnTo>
                  <a:lnTo>
                    <a:pt x="127" y="448"/>
                  </a:lnTo>
                  <a:lnTo>
                    <a:pt x="112" y="440"/>
                  </a:lnTo>
                  <a:lnTo>
                    <a:pt x="98" y="431"/>
                  </a:lnTo>
                  <a:lnTo>
                    <a:pt x="85" y="420"/>
                  </a:lnTo>
                  <a:lnTo>
                    <a:pt x="85" y="420"/>
                  </a:lnTo>
                  <a:lnTo>
                    <a:pt x="73" y="410"/>
                  </a:lnTo>
                  <a:lnTo>
                    <a:pt x="61" y="399"/>
                  </a:lnTo>
                  <a:lnTo>
                    <a:pt x="51" y="387"/>
                  </a:lnTo>
                  <a:lnTo>
                    <a:pt x="41" y="375"/>
                  </a:lnTo>
                  <a:lnTo>
                    <a:pt x="33" y="363"/>
                  </a:lnTo>
                  <a:lnTo>
                    <a:pt x="26" y="350"/>
                  </a:lnTo>
                  <a:lnTo>
                    <a:pt x="19" y="335"/>
                  </a:lnTo>
                  <a:lnTo>
                    <a:pt x="14" y="321"/>
                  </a:lnTo>
                  <a:lnTo>
                    <a:pt x="10" y="307"/>
                  </a:lnTo>
                  <a:lnTo>
                    <a:pt x="6" y="292"/>
                  </a:lnTo>
                  <a:lnTo>
                    <a:pt x="2" y="276"/>
                  </a:lnTo>
                  <a:lnTo>
                    <a:pt x="0" y="262"/>
                  </a:lnTo>
                  <a:lnTo>
                    <a:pt x="0" y="247"/>
                  </a:lnTo>
                  <a:lnTo>
                    <a:pt x="0" y="232"/>
                  </a:lnTo>
                  <a:lnTo>
                    <a:pt x="1" y="216"/>
                  </a:lnTo>
                  <a:lnTo>
                    <a:pt x="2" y="201"/>
                  </a:lnTo>
                  <a:lnTo>
                    <a:pt x="6" y="186"/>
                  </a:lnTo>
                  <a:lnTo>
                    <a:pt x="10" y="170"/>
                  </a:lnTo>
                  <a:lnTo>
                    <a:pt x="14" y="156"/>
                  </a:lnTo>
                  <a:lnTo>
                    <a:pt x="19" y="142"/>
                  </a:lnTo>
                  <a:lnTo>
                    <a:pt x="25" y="128"/>
                  </a:lnTo>
                  <a:lnTo>
                    <a:pt x="32" y="115"/>
                  </a:lnTo>
                  <a:lnTo>
                    <a:pt x="40" y="102"/>
                  </a:lnTo>
                  <a:lnTo>
                    <a:pt x="49" y="89"/>
                  </a:lnTo>
                  <a:lnTo>
                    <a:pt x="58" y="78"/>
                  </a:lnTo>
                  <a:lnTo>
                    <a:pt x="69" y="67"/>
                  </a:lnTo>
                  <a:lnTo>
                    <a:pt x="80" y="57"/>
                  </a:lnTo>
                  <a:lnTo>
                    <a:pt x="92" y="47"/>
                  </a:lnTo>
                  <a:lnTo>
                    <a:pt x="105" y="38"/>
                  </a:lnTo>
                  <a:lnTo>
                    <a:pt x="118" y="31"/>
                  </a:lnTo>
                  <a:lnTo>
                    <a:pt x="133" y="24"/>
                  </a:lnTo>
                  <a:lnTo>
                    <a:pt x="148" y="19"/>
                  </a:lnTo>
                  <a:lnTo>
                    <a:pt x="148"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19" name="Freeform 2373"/>
            <p:cNvSpPr>
              <a:spLocks/>
            </p:cNvSpPr>
            <p:nvPr/>
          </p:nvSpPr>
          <p:spPr bwMode="auto">
            <a:xfrm>
              <a:off x="9082087" y="5128523"/>
              <a:ext cx="409575" cy="636588"/>
            </a:xfrm>
            <a:custGeom>
              <a:avLst/>
              <a:gdLst>
                <a:gd name="T0" fmla="*/ 519 w 1551"/>
                <a:gd name="T1" fmla="*/ 58 h 2407"/>
                <a:gd name="T2" fmla="*/ 567 w 1551"/>
                <a:gd name="T3" fmla="*/ 26 h 2407"/>
                <a:gd name="T4" fmla="*/ 678 w 1551"/>
                <a:gd name="T5" fmla="*/ 1 h 2407"/>
                <a:gd name="T6" fmla="*/ 844 w 1551"/>
                <a:gd name="T7" fmla="*/ 1 h 2407"/>
                <a:gd name="T8" fmla="*/ 1058 w 1551"/>
                <a:gd name="T9" fmla="*/ 1 h 2407"/>
                <a:gd name="T10" fmla="*/ 1236 w 1551"/>
                <a:gd name="T11" fmla="*/ 8 h 2407"/>
                <a:gd name="T12" fmla="*/ 1408 w 1551"/>
                <a:gd name="T13" fmla="*/ 52 h 2407"/>
                <a:gd name="T14" fmla="*/ 1446 w 1551"/>
                <a:gd name="T15" fmla="*/ 73 h 2407"/>
                <a:gd name="T16" fmla="*/ 1510 w 1551"/>
                <a:gd name="T17" fmla="*/ 155 h 2407"/>
                <a:gd name="T18" fmla="*/ 1542 w 1551"/>
                <a:gd name="T19" fmla="*/ 258 h 2407"/>
                <a:gd name="T20" fmla="*/ 1550 w 1551"/>
                <a:gd name="T21" fmla="*/ 435 h 2407"/>
                <a:gd name="T22" fmla="*/ 1550 w 1551"/>
                <a:gd name="T23" fmla="*/ 988 h 2407"/>
                <a:gd name="T24" fmla="*/ 1545 w 1551"/>
                <a:gd name="T25" fmla="*/ 1111 h 2407"/>
                <a:gd name="T26" fmla="*/ 1522 w 1551"/>
                <a:gd name="T27" fmla="*/ 1151 h 2407"/>
                <a:gd name="T28" fmla="*/ 1483 w 1551"/>
                <a:gd name="T29" fmla="*/ 1173 h 2407"/>
                <a:gd name="T30" fmla="*/ 1437 w 1551"/>
                <a:gd name="T31" fmla="*/ 1179 h 2407"/>
                <a:gd name="T32" fmla="*/ 1393 w 1551"/>
                <a:gd name="T33" fmla="*/ 1168 h 2407"/>
                <a:gd name="T34" fmla="*/ 1362 w 1551"/>
                <a:gd name="T35" fmla="*/ 1137 h 2407"/>
                <a:gd name="T36" fmla="*/ 1352 w 1551"/>
                <a:gd name="T37" fmla="*/ 1099 h 2407"/>
                <a:gd name="T38" fmla="*/ 1349 w 1551"/>
                <a:gd name="T39" fmla="*/ 571 h 2407"/>
                <a:gd name="T40" fmla="*/ 1274 w 1551"/>
                <a:gd name="T41" fmla="*/ 393 h 2407"/>
                <a:gd name="T42" fmla="*/ 1274 w 1551"/>
                <a:gd name="T43" fmla="*/ 2272 h 2407"/>
                <a:gd name="T44" fmla="*/ 1263 w 1551"/>
                <a:gd name="T45" fmla="*/ 2317 h 2407"/>
                <a:gd name="T46" fmla="*/ 1212 w 1551"/>
                <a:gd name="T47" fmla="*/ 2381 h 2407"/>
                <a:gd name="T48" fmla="*/ 1136 w 1551"/>
                <a:gd name="T49" fmla="*/ 2407 h 2407"/>
                <a:gd name="T50" fmla="*/ 1089 w 1551"/>
                <a:gd name="T51" fmla="*/ 2401 h 2407"/>
                <a:gd name="T52" fmla="*/ 1053 w 1551"/>
                <a:gd name="T53" fmla="*/ 2387 h 2407"/>
                <a:gd name="T54" fmla="*/ 1025 w 1551"/>
                <a:gd name="T55" fmla="*/ 2356 h 2407"/>
                <a:gd name="T56" fmla="*/ 1011 w 1551"/>
                <a:gd name="T57" fmla="*/ 2278 h 2407"/>
                <a:gd name="T58" fmla="*/ 1011 w 1551"/>
                <a:gd name="T59" fmla="*/ 1455 h 2407"/>
                <a:gd name="T60" fmla="*/ 939 w 1551"/>
                <a:gd name="T61" fmla="*/ 1172 h 2407"/>
                <a:gd name="T62" fmla="*/ 937 w 1551"/>
                <a:gd name="T63" fmla="*/ 2020 h 2407"/>
                <a:gd name="T64" fmla="*/ 927 w 1551"/>
                <a:gd name="T65" fmla="*/ 2329 h 2407"/>
                <a:gd name="T66" fmla="*/ 889 w 1551"/>
                <a:gd name="T67" fmla="*/ 2377 h 2407"/>
                <a:gd name="T68" fmla="*/ 834 w 1551"/>
                <a:gd name="T69" fmla="*/ 2402 h 2407"/>
                <a:gd name="T70" fmla="*/ 773 w 1551"/>
                <a:gd name="T71" fmla="*/ 2403 h 2407"/>
                <a:gd name="T72" fmla="*/ 716 w 1551"/>
                <a:gd name="T73" fmla="*/ 2383 h 2407"/>
                <a:gd name="T74" fmla="*/ 675 w 1551"/>
                <a:gd name="T75" fmla="*/ 2340 h 2407"/>
                <a:gd name="T76" fmla="*/ 661 w 1551"/>
                <a:gd name="T77" fmla="*/ 2277 h 2407"/>
                <a:gd name="T78" fmla="*/ 660 w 1551"/>
                <a:gd name="T79" fmla="*/ 774 h 2407"/>
                <a:gd name="T80" fmla="*/ 597 w 1551"/>
                <a:gd name="T81" fmla="*/ 340 h 2407"/>
                <a:gd name="T82" fmla="*/ 365 w 1551"/>
                <a:gd name="T83" fmla="*/ 620 h 2407"/>
                <a:gd name="T84" fmla="*/ 183 w 1551"/>
                <a:gd name="T85" fmla="*/ 822 h 2407"/>
                <a:gd name="T86" fmla="*/ 146 w 1551"/>
                <a:gd name="T87" fmla="*/ 842 h 2407"/>
                <a:gd name="T88" fmla="*/ 97 w 1551"/>
                <a:gd name="T89" fmla="*/ 843 h 2407"/>
                <a:gd name="T90" fmla="*/ 53 w 1551"/>
                <a:gd name="T91" fmla="*/ 823 h 2407"/>
                <a:gd name="T92" fmla="*/ 18 w 1551"/>
                <a:gd name="T93" fmla="*/ 786 h 2407"/>
                <a:gd name="T94" fmla="*/ 1 w 1551"/>
                <a:gd name="T95" fmla="*/ 741 h 2407"/>
                <a:gd name="T96" fmla="*/ 5 w 1551"/>
                <a:gd name="T97" fmla="*/ 692 h 2407"/>
                <a:gd name="T98" fmla="*/ 78 w 1551"/>
                <a:gd name="T99" fmla="*/ 589 h 2407"/>
                <a:gd name="T100" fmla="*/ 435 w 1551"/>
                <a:gd name="T101" fmla="*/ 158 h 2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51" h="2407">
                  <a:moveTo>
                    <a:pt x="494" y="86"/>
                  </a:moveTo>
                  <a:lnTo>
                    <a:pt x="494" y="86"/>
                  </a:lnTo>
                  <a:lnTo>
                    <a:pt x="502" y="76"/>
                  </a:lnTo>
                  <a:lnTo>
                    <a:pt x="511" y="66"/>
                  </a:lnTo>
                  <a:lnTo>
                    <a:pt x="519" y="58"/>
                  </a:lnTo>
                  <a:lnTo>
                    <a:pt x="528" y="50"/>
                  </a:lnTo>
                  <a:lnTo>
                    <a:pt x="537" y="43"/>
                  </a:lnTo>
                  <a:lnTo>
                    <a:pt x="546" y="37"/>
                  </a:lnTo>
                  <a:lnTo>
                    <a:pt x="556" y="31"/>
                  </a:lnTo>
                  <a:lnTo>
                    <a:pt x="567" y="26"/>
                  </a:lnTo>
                  <a:lnTo>
                    <a:pt x="588" y="17"/>
                  </a:lnTo>
                  <a:lnTo>
                    <a:pt x="609" y="11"/>
                  </a:lnTo>
                  <a:lnTo>
                    <a:pt x="632" y="6"/>
                  </a:lnTo>
                  <a:lnTo>
                    <a:pt x="655" y="3"/>
                  </a:lnTo>
                  <a:lnTo>
                    <a:pt x="678" y="1"/>
                  </a:lnTo>
                  <a:lnTo>
                    <a:pt x="703" y="0"/>
                  </a:lnTo>
                  <a:lnTo>
                    <a:pt x="751" y="0"/>
                  </a:lnTo>
                  <a:lnTo>
                    <a:pt x="798" y="1"/>
                  </a:lnTo>
                  <a:lnTo>
                    <a:pt x="822" y="1"/>
                  </a:lnTo>
                  <a:lnTo>
                    <a:pt x="844" y="1"/>
                  </a:lnTo>
                  <a:lnTo>
                    <a:pt x="844" y="1"/>
                  </a:lnTo>
                  <a:lnTo>
                    <a:pt x="880" y="2"/>
                  </a:lnTo>
                  <a:lnTo>
                    <a:pt x="915" y="2"/>
                  </a:lnTo>
                  <a:lnTo>
                    <a:pt x="987" y="1"/>
                  </a:lnTo>
                  <a:lnTo>
                    <a:pt x="1058" y="1"/>
                  </a:lnTo>
                  <a:lnTo>
                    <a:pt x="1094" y="1"/>
                  </a:lnTo>
                  <a:lnTo>
                    <a:pt x="1130" y="1"/>
                  </a:lnTo>
                  <a:lnTo>
                    <a:pt x="1166" y="2"/>
                  </a:lnTo>
                  <a:lnTo>
                    <a:pt x="1201" y="5"/>
                  </a:lnTo>
                  <a:lnTo>
                    <a:pt x="1236" y="8"/>
                  </a:lnTo>
                  <a:lnTo>
                    <a:pt x="1271" y="13"/>
                  </a:lnTo>
                  <a:lnTo>
                    <a:pt x="1306" y="20"/>
                  </a:lnTo>
                  <a:lnTo>
                    <a:pt x="1340" y="28"/>
                  </a:lnTo>
                  <a:lnTo>
                    <a:pt x="1374" y="39"/>
                  </a:lnTo>
                  <a:lnTo>
                    <a:pt x="1408" y="52"/>
                  </a:lnTo>
                  <a:lnTo>
                    <a:pt x="1408" y="52"/>
                  </a:lnTo>
                  <a:lnTo>
                    <a:pt x="1418" y="56"/>
                  </a:lnTo>
                  <a:lnTo>
                    <a:pt x="1428" y="61"/>
                  </a:lnTo>
                  <a:lnTo>
                    <a:pt x="1437" y="67"/>
                  </a:lnTo>
                  <a:lnTo>
                    <a:pt x="1446" y="73"/>
                  </a:lnTo>
                  <a:lnTo>
                    <a:pt x="1463" y="86"/>
                  </a:lnTo>
                  <a:lnTo>
                    <a:pt x="1477" y="102"/>
                  </a:lnTo>
                  <a:lnTo>
                    <a:pt x="1490" y="118"/>
                  </a:lnTo>
                  <a:lnTo>
                    <a:pt x="1501" y="136"/>
                  </a:lnTo>
                  <a:lnTo>
                    <a:pt x="1510" y="155"/>
                  </a:lnTo>
                  <a:lnTo>
                    <a:pt x="1519" y="175"/>
                  </a:lnTo>
                  <a:lnTo>
                    <a:pt x="1527" y="195"/>
                  </a:lnTo>
                  <a:lnTo>
                    <a:pt x="1533" y="216"/>
                  </a:lnTo>
                  <a:lnTo>
                    <a:pt x="1538" y="237"/>
                  </a:lnTo>
                  <a:lnTo>
                    <a:pt x="1542" y="258"/>
                  </a:lnTo>
                  <a:lnTo>
                    <a:pt x="1545" y="281"/>
                  </a:lnTo>
                  <a:lnTo>
                    <a:pt x="1548" y="302"/>
                  </a:lnTo>
                  <a:lnTo>
                    <a:pt x="1551" y="344"/>
                  </a:lnTo>
                  <a:lnTo>
                    <a:pt x="1551" y="344"/>
                  </a:lnTo>
                  <a:lnTo>
                    <a:pt x="1550" y="435"/>
                  </a:lnTo>
                  <a:lnTo>
                    <a:pt x="1550" y="528"/>
                  </a:lnTo>
                  <a:lnTo>
                    <a:pt x="1551" y="712"/>
                  </a:lnTo>
                  <a:lnTo>
                    <a:pt x="1551" y="804"/>
                  </a:lnTo>
                  <a:lnTo>
                    <a:pt x="1551" y="896"/>
                  </a:lnTo>
                  <a:lnTo>
                    <a:pt x="1550" y="988"/>
                  </a:lnTo>
                  <a:lnTo>
                    <a:pt x="1547" y="1080"/>
                  </a:lnTo>
                  <a:lnTo>
                    <a:pt x="1547" y="1080"/>
                  </a:lnTo>
                  <a:lnTo>
                    <a:pt x="1548" y="1092"/>
                  </a:lnTo>
                  <a:lnTo>
                    <a:pt x="1547" y="1102"/>
                  </a:lnTo>
                  <a:lnTo>
                    <a:pt x="1545" y="1111"/>
                  </a:lnTo>
                  <a:lnTo>
                    <a:pt x="1542" y="1120"/>
                  </a:lnTo>
                  <a:lnTo>
                    <a:pt x="1538" y="1128"/>
                  </a:lnTo>
                  <a:lnTo>
                    <a:pt x="1534" y="1136"/>
                  </a:lnTo>
                  <a:lnTo>
                    <a:pt x="1528" y="1143"/>
                  </a:lnTo>
                  <a:lnTo>
                    <a:pt x="1522" y="1151"/>
                  </a:lnTo>
                  <a:lnTo>
                    <a:pt x="1514" y="1156"/>
                  </a:lnTo>
                  <a:lnTo>
                    <a:pt x="1507" y="1162"/>
                  </a:lnTo>
                  <a:lnTo>
                    <a:pt x="1499" y="1166"/>
                  </a:lnTo>
                  <a:lnTo>
                    <a:pt x="1491" y="1170"/>
                  </a:lnTo>
                  <a:lnTo>
                    <a:pt x="1483" y="1173"/>
                  </a:lnTo>
                  <a:lnTo>
                    <a:pt x="1474" y="1176"/>
                  </a:lnTo>
                  <a:lnTo>
                    <a:pt x="1465" y="1178"/>
                  </a:lnTo>
                  <a:lnTo>
                    <a:pt x="1455" y="1179"/>
                  </a:lnTo>
                  <a:lnTo>
                    <a:pt x="1446" y="1180"/>
                  </a:lnTo>
                  <a:lnTo>
                    <a:pt x="1437" y="1179"/>
                  </a:lnTo>
                  <a:lnTo>
                    <a:pt x="1428" y="1179"/>
                  </a:lnTo>
                  <a:lnTo>
                    <a:pt x="1419" y="1177"/>
                  </a:lnTo>
                  <a:lnTo>
                    <a:pt x="1411" y="1175"/>
                  </a:lnTo>
                  <a:lnTo>
                    <a:pt x="1402" y="1172"/>
                  </a:lnTo>
                  <a:lnTo>
                    <a:pt x="1393" y="1168"/>
                  </a:lnTo>
                  <a:lnTo>
                    <a:pt x="1386" y="1164"/>
                  </a:lnTo>
                  <a:lnTo>
                    <a:pt x="1379" y="1158"/>
                  </a:lnTo>
                  <a:lnTo>
                    <a:pt x="1373" y="1152"/>
                  </a:lnTo>
                  <a:lnTo>
                    <a:pt x="1367" y="1145"/>
                  </a:lnTo>
                  <a:lnTo>
                    <a:pt x="1362" y="1137"/>
                  </a:lnTo>
                  <a:lnTo>
                    <a:pt x="1358" y="1129"/>
                  </a:lnTo>
                  <a:lnTo>
                    <a:pt x="1355" y="1120"/>
                  </a:lnTo>
                  <a:lnTo>
                    <a:pt x="1353" y="1110"/>
                  </a:lnTo>
                  <a:lnTo>
                    <a:pt x="1352" y="1099"/>
                  </a:lnTo>
                  <a:lnTo>
                    <a:pt x="1352" y="1099"/>
                  </a:lnTo>
                  <a:lnTo>
                    <a:pt x="1349" y="1011"/>
                  </a:lnTo>
                  <a:lnTo>
                    <a:pt x="1348" y="923"/>
                  </a:lnTo>
                  <a:lnTo>
                    <a:pt x="1348" y="834"/>
                  </a:lnTo>
                  <a:lnTo>
                    <a:pt x="1348" y="747"/>
                  </a:lnTo>
                  <a:lnTo>
                    <a:pt x="1349" y="571"/>
                  </a:lnTo>
                  <a:lnTo>
                    <a:pt x="1349" y="482"/>
                  </a:lnTo>
                  <a:lnTo>
                    <a:pt x="1348" y="395"/>
                  </a:lnTo>
                  <a:lnTo>
                    <a:pt x="1348" y="395"/>
                  </a:lnTo>
                  <a:lnTo>
                    <a:pt x="1274" y="393"/>
                  </a:lnTo>
                  <a:lnTo>
                    <a:pt x="1274" y="393"/>
                  </a:lnTo>
                  <a:lnTo>
                    <a:pt x="1274" y="1322"/>
                  </a:lnTo>
                  <a:lnTo>
                    <a:pt x="1273" y="2252"/>
                  </a:lnTo>
                  <a:lnTo>
                    <a:pt x="1273" y="2252"/>
                  </a:lnTo>
                  <a:lnTo>
                    <a:pt x="1274" y="2261"/>
                  </a:lnTo>
                  <a:lnTo>
                    <a:pt x="1274" y="2272"/>
                  </a:lnTo>
                  <a:lnTo>
                    <a:pt x="1273" y="2281"/>
                  </a:lnTo>
                  <a:lnTo>
                    <a:pt x="1271" y="2291"/>
                  </a:lnTo>
                  <a:lnTo>
                    <a:pt x="1269" y="2300"/>
                  </a:lnTo>
                  <a:lnTo>
                    <a:pt x="1267" y="2309"/>
                  </a:lnTo>
                  <a:lnTo>
                    <a:pt x="1263" y="2317"/>
                  </a:lnTo>
                  <a:lnTo>
                    <a:pt x="1260" y="2326"/>
                  </a:lnTo>
                  <a:lnTo>
                    <a:pt x="1250" y="2342"/>
                  </a:lnTo>
                  <a:lnTo>
                    <a:pt x="1240" y="2356"/>
                  </a:lnTo>
                  <a:lnTo>
                    <a:pt x="1227" y="2369"/>
                  </a:lnTo>
                  <a:lnTo>
                    <a:pt x="1212" y="2381"/>
                  </a:lnTo>
                  <a:lnTo>
                    <a:pt x="1197" y="2390"/>
                  </a:lnTo>
                  <a:lnTo>
                    <a:pt x="1181" y="2398"/>
                  </a:lnTo>
                  <a:lnTo>
                    <a:pt x="1164" y="2403"/>
                  </a:lnTo>
                  <a:lnTo>
                    <a:pt x="1145" y="2406"/>
                  </a:lnTo>
                  <a:lnTo>
                    <a:pt x="1136" y="2407"/>
                  </a:lnTo>
                  <a:lnTo>
                    <a:pt x="1127" y="2407"/>
                  </a:lnTo>
                  <a:lnTo>
                    <a:pt x="1118" y="2407"/>
                  </a:lnTo>
                  <a:lnTo>
                    <a:pt x="1109" y="2405"/>
                  </a:lnTo>
                  <a:lnTo>
                    <a:pt x="1098" y="2403"/>
                  </a:lnTo>
                  <a:lnTo>
                    <a:pt x="1089" y="2401"/>
                  </a:lnTo>
                  <a:lnTo>
                    <a:pt x="1080" y="2398"/>
                  </a:lnTo>
                  <a:lnTo>
                    <a:pt x="1071" y="2394"/>
                  </a:lnTo>
                  <a:lnTo>
                    <a:pt x="1071" y="2394"/>
                  </a:lnTo>
                  <a:lnTo>
                    <a:pt x="1062" y="2391"/>
                  </a:lnTo>
                  <a:lnTo>
                    <a:pt x="1053" y="2387"/>
                  </a:lnTo>
                  <a:lnTo>
                    <a:pt x="1046" y="2383"/>
                  </a:lnTo>
                  <a:lnTo>
                    <a:pt x="1039" y="2376"/>
                  </a:lnTo>
                  <a:lnTo>
                    <a:pt x="1034" y="2370"/>
                  </a:lnTo>
                  <a:lnTo>
                    <a:pt x="1029" y="2363"/>
                  </a:lnTo>
                  <a:lnTo>
                    <a:pt x="1025" y="2356"/>
                  </a:lnTo>
                  <a:lnTo>
                    <a:pt x="1022" y="2348"/>
                  </a:lnTo>
                  <a:lnTo>
                    <a:pt x="1018" y="2331"/>
                  </a:lnTo>
                  <a:lnTo>
                    <a:pt x="1015" y="2313"/>
                  </a:lnTo>
                  <a:lnTo>
                    <a:pt x="1011" y="2278"/>
                  </a:lnTo>
                  <a:lnTo>
                    <a:pt x="1011" y="2278"/>
                  </a:lnTo>
                  <a:lnTo>
                    <a:pt x="1010" y="2140"/>
                  </a:lnTo>
                  <a:lnTo>
                    <a:pt x="1009" y="2003"/>
                  </a:lnTo>
                  <a:lnTo>
                    <a:pt x="1011" y="1729"/>
                  </a:lnTo>
                  <a:lnTo>
                    <a:pt x="1011" y="1592"/>
                  </a:lnTo>
                  <a:lnTo>
                    <a:pt x="1011" y="1455"/>
                  </a:lnTo>
                  <a:lnTo>
                    <a:pt x="1009" y="1317"/>
                  </a:lnTo>
                  <a:lnTo>
                    <a:pt x="1005" y="1181"/>
                  </a:lnTo>
                  <a:lnTo>
                    <a:pt x="1005" y="1181"/>
                  </a:lnTo>
                  <a:lnTo>
                    <a:pt x="939" y="1172"/>
                  </a:lnTo>
                  <a:lnTo>
                    <a:pt x="939" y="1172"/>
                  </a:lnTo>
                  <a:lnTo>
                    <a:pt x="937" y="1313"/>
                  </a:lnTo>
                  <a:lnTo>
                    <a:pt x="936" y="1455"/>
                  </a:lnTo>
                  <a:lnTo>
                    <a:pt x="936" y="1738"/>
                  </a:lnTo>
                  <a:lnTo>
                    <a:pt x="937" y="1879"/>
                  </a:lnTo>
                  <a:lnTo>
                    <a:pt x="937" y="2020"/>
                  </a:lnTo>
                  <a:lnTo>
                    <a:pt x="936" y="2162"/>
                  </a:lnTo>
                  <a:lnTo>
                    <a:pt x="934" y="2303"/>
                  </a:lnTo>
                  <a:lnTo>
                    <a:pt x="934" y="2303"/>
                  </a:lnTo>
                  <a:lnTo>
                    <a:pt x="931" y="2316"/>
                  </a:lnTo>
                  <a:lnTo>
                    <a:pt x="927" y="2329"/>
                  </a:lnTo>
                  <a:lnTo>
                    <a:pt x="920" y="2341"/>
                  </a:lnTo>
                  <a:lnTo>
                    <a:pt x="914" y="2351"/>
                  </a:lnTo>
                  <a:lnTo>
                    <a:pt x="907" y="2361"/>
                  </a:lnTo>
                  <a:lnTo>
                    <a:pt x="898" y="2369"/>
                  </a:lnTo>
                  <a:lnTo>
                    <a:pt x="889" y="2377"/>
                  </a:lnTo>
                  <a:lnTo>
                    <a:pt x="880" y="2384"/>
                  </a:lnTo>
                  <a:lnTo>
                    <a:pt x="869" y="2390"/>
                  </a:lnTo>
                  <a:lnTo>
                    <a:pt x="857" y="2395"/>
                  </a:lnTo>
                  <a:lnTo>
                    <a:pt x="846" y="2399"/>
                  </a:lnTo>
                  <a:lnTo>
                    <a:pt x="834" y="2402"/>
                  </a:lnTo>
                  <a:lnTo>
                    <a:pt x="823" y="2404"/>
                  </a:lnTo>
                  <a:lnTo>
                    <a:pt x="810" y="2405"/>
                  </a:lnTo>
                  <a:lnTo>
                    <a:pt x="797" y="2405"/>
                  </a:lnTo>
                  <a:lnTo>
                    <a:pt x="785" y="2405"/>
                  </a:lnTo>
                  <a:lnTo>
                    <a:pt x="773" y="2403"/>
                  </a:lnTo>
                  <a:lnTo>
                    <a:pt x="761" y="2401"/>
                  </a:lnTo>
                  <a:lnTo>
                    <a:pt x="749" y="2398"/>
                  </a:lnTo>
                  <a:lnTo>
                    <a:pt x="737" y="2394"/>
                  </a:lnTo>
                  <a:lnTo>
                    <a:pt x="726" y="2389"/>
                  </a:lnTo>
                  <a:lnTo>
                    <a:pt x="716" y="2383"/>
                  </a:lnTo>
                  <a:lnTo>
                    <a:pt x="706" y="2375"/>
                  </a:lnTo>
                  <a:lnTo>
                    <a:pt x="697" y="2368"/>
                  </a:lnTo>
                  <a:lnTo>
                    <a:pt x="689" y="2360"/>
                  </a:lnTo>
                  <a:lnTo>
                    <a:pt x="681" y="2350"/>
                  </a:lnTo>
                  <a:lnTo>
                    <a:pt x="675" y="2340"/>
                  </a:lnTo>
                  <a:lnTo>
                    <a:pt x="669" y="2330"/>
                  </a:lnTo>
                  <a:lnTo>
                    <a:pt x="665" y="2317"/>
                  </a:lnTo>
                  <a:lnTo>
                    <a:pt x="663" y="2305"/>
                  </a:lnTo>
                  <a:lnTo>
                    <a:pt x="661" y="2291"/>
                  </a:lnTo>
                  <a:lnTo>
                    <a:pt x="661" y="2277"/>
                  </a:lnTo>
                  <a:lnTo>
                    <a:pt x="661" y="2277"/>
                  </a:lnTo>
                  <a:lnTo>
                    <a:pt x="660" y="2026"/>
                  </a:lnTo>
                  <a:lnTo>
                    <a:pt x="659" y="1776"/>
                  </a:lnTo>
                  <a:lnTo>
                    <a:pt x="659" y="1275"/>
                  </a:lnTo>
                  <a:lnTo>
                    <a:pt x="660" y="774"/>
                  </a:lnTo>
                  <a:lnTo>
                    <a:pt x="659" y="523"/>
                  </a:lnTo>
                  <a:lnTo>
                    <a:pt x="658" y="273"/>
                  </a:lnTo>
                  <a:lnTo>
                    <a:pt x="658" y="273"/>
                  </a:lnTo>
                  <a:lnTo>
                    <a:pt x="628" y="306"/>
                  </a:lnTo>
                  <a:lnTo>
                    <a:pt x="597" y="340"/>
                  </a:lnTo>
                  <a:lnTo>
                    <a:pt x="568" y="374"/>
                  </a:lnTo>
                  <a:lnTo>
                    <a:pt x="538" y="409"/>
                  </a:lnTo>
                  <a:lnTo>
                    <a:pt x="480" y="479"/>
                  </a:lnTo>
                  <a:lnTo>
                    <a:pt x="423" y="549"/>
                  </a:lnTo>
                  <a:lnTo>
                    <a:pt x="365" y="620"/>
                  </a:lnTo>
                  <a:lnTo>
                    <a:pt x="307" y="689"/>
                  </a:lnTo>
                  <a:lnTo>
                    <a:pt x="277" y="723"/>
                  </a:lnTo>
                  <a:lnTo>
                    <a:pt x="246" y="757"/>
                  </a:lnTo>
                  <a:lnTo>
                    <a:pt x="216" y="789"/>
                  </a:lnTo>
                  <a:lnTo>
                    <a:pt x="183" y="822"/>
                  </a:lnTo>
                  <a:lnTo>
                    <a:pt x="183" y="822"/>
                  </a:lnTo>
                  <a:lnTo>
                    <a:pt x="174" y="829"/>
                  </a:lnTo>
                  <a:lnTo>
                    <a:pt x="165" y="834"/>
                  </a:lnTo>
                  <a:lnTo>
                    <a:pt x="155" y="839"/>
                  </a:lnTo>
                  <a:lnTo>
                    <a:pt x="146" y="842"/>
                  </a:lnTo>
                  <a:lnTo>
                    <a:pt x="135" y="844"/>
                  </a:lnTo>
                  <a:lnTo>
                    <a:pt x="126" y="845"/>
                  </a:lnTo>
                  <a:lnTo>
                    <a:pt x="116" y="846"/>
                  </a:lnTo>
                  <a:lnTo>
                    <a:pt x="107" y="845"/>
                  </a:lnTo>
                  <a:lnTo>
                    <a:pt x="97" y="843"/>
                  </a:lnTo>
                  <a:lnTo>
                    <a:pt x="88" y="841"/>
                  </a:lnTo>
                  <a:lnTo>
                    <a:pt x="78" y="837"/>
                  </a:lnTo>
                  <a:lnTo>
                    <a:pt x="69" y="833"/>
                  </a:lnTo>
                  <a:lnTo>
                    <a:pt x="61" y="828"/>
                  </a:lnTo>
                  <a:lnTo>
                    <a:pt x="53" y="823"/>
                  </a:lnTo>
                  <a:lnTo>
                    <a:pt x="45" y="817"/>
                  </a:lnTo>
                  <a:lnTo>
                    <a:pt x="38" y="810"/>
                  </a:lnTo>
                  <a:lnTo>
                    <a:pt x="31" y="803"/>
                  </a:lnTo>
                  <a:lnTo>
                    <a:pt x="24" y="794"/>
                  </a:lnTo>
                  <a:lnTo>
                    <a:pt x="18" y="786"/>
                  </a:lnTo>
                  <a:lnTo>
                    <a:pt x="13" y="778"/>
                  </a:lnTo>
                  <a:lnTo>
                    <a:pt x="9" y="769"/>
                  </a:lnTo>
                  <a:lnTo>
                    <a:pt x="6" y="760"/>
                  </a:lnTo>
                  <a:lnTo>
                    <a:pt x="3" y="751"/>
                  </a:lnTo>
                  <a:lnTo>
                    <a:pt x="1" y="741"/>
                  </a:lnTo>
                  <a:lnTo>
                    <a:pt x="0" y="731"/>
                  </a:lnTo>
                  <a:lnTo>
                    <a:pt x="0" y="721"/>
                  </a:lnTo>
                  <a:lnTo>
                    <a:pt x="1" y="711"/>
                  </a:lnTo>
                  <a:lnTo>
                    <a:pt x="2" y="701"/>
                  </a:lnTo>
                  <a:lnTo>
                    <a:pt x="5" y="692"/>
                  </a:lnTo>
                  <a:lnTo>
                    <a:pt x="9" y="682"/>
                  </a:lnTo>
                  <a:lnTo>
                    <a:pt x="14" y="672"/>
                  </a:lnTo>
                  <a:lnTo>
                    <a:pt x="21" y="662"/>
                  </a:lnTo>
                  <a:lnTo>
                    <a:pt x="21" y="662"/>
                  </a:lnTo>
                  <a:lnTo>
                    <a:pt x="78" y="589"/>
                  </a:lnTo>
                  <a:lnTo>
                    <a:pt x="136" y="517"/>
                  </a:lnTo>
                  <a:lnTo>
                    <a:pt x="196" y="445"/>
                  </a:lnTo>
                  <a:lnTo>
                    <a:pt x="255" y="372"/>
                  </a:lnTo>
                  <a:lnTo>
                    <a:pt x="375" y="230"/>
                  </a:lnTo>
                  <a:lnTo>
                    <a:pt x="435" y="158"/>
                  </a:lnTo>
                  <a:lnTo>
                    <a:pt x="494" y="86"/>
                  </a:lnTo>
                  <a:lnTo>
                    <a:pt x="494"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620" name="Freeform 2374"/>
          <p:cNvSpPr>
            <a:spLocks/>
          </p:cNvSpPr>
          <p:nvPr/>
        </p:nvSpPr>
        <p:spPr bwMode="auto">
          <a:xfrm>
            <a:off x="8199438" y="5227639"/>
            <a:ext cx="127000" cy="125413"/>
          </a:xfrm>
          <a:custGeom>
            <a:avLst/>
            <a:gdLst>
              <a:gd name="T0" fmla="*/ 331 w 479"/>
              <a:gd name="T1" fmla="*/ 19 h 474"/>
              <a:gd name="T2" fmla="*/ 303 w 479"/>
              <a:gd name="T3" fmla="*/ 9 h 474"/>
              <a:gd name="T4" fmla="*/ 273 w 479"/>
              <a:gd name="T5" fmla="*/ 2 h 474"/>
              <a:gd name="T6" fmla="*/ 243 w 479"/>
              <a:gd name="T7" fmla="*/ 0 h 474"/>
              <a:gd name="T8" fmla="*/ 213 w 479"/>
              <a:gd name="T9" fmla="*/ 2 h 474"/>
              <a:gd name="T10" fmla="*/ 184 w 479"/>
              <a:gd name="T11" fmla="*/ 8 h 474"/>
              <a:gd name="T12" fmla="*/ 156 w 479"/>
              <a:gd name="T13" fmla="*/ 17 h 474"/>
              <a:gd name="T14" fmla="*/ 129 w 479"/>
              <a:gd name="T15" fmla="*/ 30 h 474"/>
              <a:gd name="T16" fmla="*/ 103 w 479"/>
              <a:gd name="T17" fmla="*/ 46 h 474"/>
              <a:gd name="T18" fmla="*/ 80 w 479"/>
              <a:gd name="T19" fmla="*/ 64 h 474"/>
              <a:gd name="T20" fmla="*/ 59 w 479"/>
              <a:gd name="T21" fmla="*/ 84 h 474"/>
              <a:gd name="T22" fmla="*/ 39 w 479"/>
              <a:gd name="T23" fmla="*/ 108 h 474"/>
              <a:gd name="T24" fmla="*/ 24 w 479"/>
              <a:gd name="T25" fmla="*/ 133 h 474"/>
              <a:gd name="T26" fmla="*/ 12 w 479"/>
              <a:gd name="T27" fmla="*/ 160 h 474"/>
              <a:gd name="T28" fmla="*/ 4 w 479"/>
              <a:gd name="T29" fmla="*/ 188 h 474"/>
              <a:gd name="T30" fmla="*/ 0 w 479"/>
              <a:gd name="T31" fmla="*/ 219 h 474"/>
              <a:gd name="T32" fmla="*/ 1 w 479"/>
              <a:gd name="T33" fmla="*/ 249 h 474"/>
              <a:gd name="T34" fmla="*/ 1 w 479"/>
              <a:gd name="T35" fmla="*/ 268 h 474"/>
              <a:gd name="T36" fmla="*/ 5 w 479"/>
              <a:gd name="T37" fmla="*/ 301 h 474"/>
              <a:gd name="T38" fmla="*/ 15 w 479"/>
              <a:gd name="T39" fmla="*/ 333 h 474"/>
              <a:gd name="T40" fmla="*/ 30 w 479"/>
              <a:gd name="T41" fmla="*/ 362 h 474"/>
              <a:gd name="T42" fmla="*/ 48 w 479"/>
              <a:gd name="T43" fmla="*/ 388 h 474"/>
              <a:gd name="T44" fmla="*/ 72 w 479"/>
              <a:gd name="T45" fmla="*/ 411 h 474"/>
              <a:gd name="T46" fmla="*/ 98 w 479"/>
              <a:gd name="T47" fmla="*/ 430 h 474"/>
              <a:gd name="T48" fmla="*/ 127 w 479"/>
              <a:gd name="T49" fmla="*/ 447 h 474"/>
              <a:gd name="T50" fmla="*/ 157 w 479"/>
              <a:gd name="T51" fmla="*/ 459 h 474"/>
              <a:gd name="T52" fmla="*/ 190 w 479"/>
              <a:gd name="T53" fmla="*/ 468 h 474"/>
              <a:gd name="T54" fmla="*/ 222 w 479"/>
              <a:gd name="T55" fmla="*/ 473 h 474"/>
              <a:gd name="T56" fmla="*/ 256 w 479"/>
              <a:gd name="T57" fmla="*/ 474 h 474"/>
              <a:gd name="T58" fmla="*/ 289 w 479"/>
              <a:gd name="T59" fmla="*/ 470 h 474"/>
              <a:gd name="T60" fmla="*/ 321 w 479"/>
              <a:gd name="T61" fmla="*/ 462 h 474"/>
              <a:gd name="T62" fmla="*/ 351 w 479"/>
              <a:gd name="T63" fmla="*/ 450 h 474"/>
              <a:gd name="T64" fmla="*/ 381 w 479"/>
              <a:gd name="T65" fmla="*/ 431 h 474"/>
              <a:gd name="T66" fmla="*/ 394 w 479"/>
              <a:gd name="T67" fmla="*/ 421 h 474"/>
              <a:gd name="T68" fmla="*/ 418 w 479"/>
              <a:gd name="T69" fmla="*/ 400 h 474"/>
              <a:gd name="T70" fmla="*/ 437 w 479"/>
              <a:gd name="T71" fmla="*/ 376 h 474"/>
              <a:gd name="T72" fmla="*/ 453 w 479"/>
              <a:gd name="T73" fmla="*/ 350 h 474"/>
              <a:gd name="T74" fmla="*/ 465 w 479"/>
              <a:gd name="T75" fmla="*/ 322 h 474"/>
              <a:gd name="T76" fmla="*/ 474 w 479"/>
              <a:gd name="T77" fmla="*/ 293 h 474"/>
              <a:gd name="T78" fmla="*/ 478 w 479"/>
              <a:gd name="T79" fmla="*/ 263 h 474"/>
              <a:gd name="T80" fmla="*/ 479 w 479"/>
              <a:gd name="T81" fmla="*/ 232 h 474"/>
              <a:gd name="T82" fmla="*/ 477 w 479"/>
              <a:gd name="T83" fmla="*/ 201 h 474"/>
              <a:gd name="T84" fmla="*/ 469 w 479"/>
              <a:gd name="T85" fmla="*/ 172 h 474"/>
              <a:gd name="T86" fmla="*/ 460 w 479"/>
              <a:gd name="T87" fmla="*/ 142 h 474"/>
              <a:gd name="T88" fmla="*/ 447 w 479"/>
              <a:gd name="T89" fmla="*/ 116 h 474"/>
              <a:gd name="T90" fmla="*/ 430 w 479"/>
              <a:gd name="T91" fmla="*/ 91 h 474"/>
              <a:gd name="T92" fmla="*/ 410 w 479"/>
              <a:gd name="T93" fmla="*/ 68 h 474"/>
              <a:gd name="T94" fmla="*/ 387 w 479"/>
              <a:gd name="T95" fmla="*/ 48 h 474"/>
              <a:gd name="T96" fmla="*/ 361 w 479"/>
              <a:gd name="T97" fmla="*/ 32 h 474"/>
              <a:gd name="T98" fmla="*/ 331 w 479"/>
              <a:gd name="T99" fmla="*/ 19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9" h="474">
                <a:moveTo>
                  <a:pt x="331" y="19"/>
                </a:moveTo>
                <a:lnTo>
                  <a:pt x="331" y="19"/>
                </a:lnTo>
                <a:lnTo>
                  <a:pt x="317" y="13"/>
                </a:lnTo>
                <a:lnTo>
                  <a:pt x="303" y="9"/>
                </a:lnTo>
                <a:lnTo>
                  <a:pt x="287" y="5"/>
                </a:lnTo>
                <a:lnTo>
                  <a:pt x="273" y="2"/>
                </a:lnTo>
                <a:lnTo>
                  <a:pt x="258" y="1"/>
                </a:lnTo>
                <a:lnTo>
                  <a:pt x="243" y="0"/>
                </a:lnTo>
                <a:lnTo>
                  <a:pt x="228" y="1"/>
                </a:lnTo>
                <a:lnTo>
                  <a:pt x="213" y="2"/>
                </a:lnTo>
                <a:lnTo>
                  <a:pt x="199" y="5"/>
                </a:lnTo>
                <a:lnTo>
                  <a:pt x="184" y="8"/>
                </a:lnTo>
                <a:lnTo>
                  <a:pt x="169" y="12"/>
                </a:lnTo>
                <a:lnTo>
                  <a:pt x="156" y="17"/>
                </a:lnTo>
                <a:lnTo>
                  <a:pt x="142" y="23"/>
                </a:lnTo>
                <a:lnTo>
                  <a:pt x="129" y="30"/>
                </a:lnTo>
                <a:lnTo>
                  <a:pt x="116" y="38"/>
                </a:lnTo>
                <a:lnTo>
                  <a:pt x="103" y="46"/>
                </a:lnTo>
                <a:lnTo>
                  <a:pt x="91" y="54"/>
                </a:lnTo>
                <a:lnTo>
                  <a:pt x="80" y="64"/>
                </a:lnTo>
                <a:lnTo>
                  <a:pt x="69" y="74"/>
                </a:lnTo>
                <a:lnTo>
                  <a:pt x="59" y="84"/>
                </a:lnTo>
                <a:lnTo>
                  <a:pt x="48" y="96"/>
                </a:lnTo>
                <a:lnTo>
                  <a:pt x="39" y="108"/>
                </a:lnTo>
                <a:lnTo>
                  <a:pt x="31" y="120"/>
                </a:lnTo>
                <a:lnTo>
                  <a:pt x="24" y="133"/>
                </a:lnTo>
                <a:lnTo>
                  <a:pt x="18" y="147"/>
                </a:lnTo>
                <a:lnTo>
                  <a:pt x="12" y="160"/>
                </a:lnTo>
                <a:lnTo>
                  <a:pt x="8" y="174"/>
                </a:lnTo>
                <a:lnTo>
                  <a:pt x="4" y="188"/>
                </a:lnTo>
                <a:lnTo>
                  <a:pt x="2" y="204"/>
                </a:lnTo>
                <a:lnTo>
                  <a:pt x="0" y="219"/>
                </a:lnTo>
                <a:lnTo>
                  <a:pt x="0" y="234"/>
                </a:lnTo>
                <a:lnTo>
                  <a:pt x="1" y="249"/>
                </a:lnTo>
                <a:lnTo>
                  <a:pt x="1" y="249"/>
                </a:lnTo>
                <a:lnTo>
                  <a:pt x="1" y="268"/>
                </a:lnTo>
                <a:lnTo>
                  <a:pt x="2" y="285"/>
                </a:lnTo>
                <a:lnTo>
                  <a:pt x="5" y="301"/>
                </a:lnTo>
                <a:lnTo>
                  <a:pt x="9" y="317"/>
                </a:lnTo>
                <a:lnTo>
                  <a:pt x="15" y="333"/>
                </a:lnTo>
                <a:lnTo>
                  <a:pt x="22" y="348"/>
                </a:lnTo>
                <a:lnTo>
                  <a:pt x="30" y="362"/>
                </a:lnTo>
                <a:lnTo>
                  <a:pt x="38" y="375"/>
                </a:lnTo>
                <a:lnTo>
                  <a:pt x="48" y="388"/>
                </a:lnTo>
                <a:lnTo>
                  <a:pt x="60" y="400"/>
                </a:lnTo>
                <a:lnTo>
                  <a:pt x="72" y="411"/>
                </a:lnTo>
                <a:lnTo>
                  <a:pt x="84" y="421"/>
                </a:lnTo>
                <a:lnTo>
                  <a:pt x="98" y="430"/>
                </a:lnTo>
                <a:lnTo>
                  <a:pt x="112" y="439"/>
                </a:lnTo>
                <a:lnTo>
                  <a:pt x="127" y="447"/>
                </a:lnTo>
                <a:lnTo>
                  <a:pt x="142" y="454"/>
                </a:lnTo>
                <a:lnTo>
                  <a:pt x="157" y="459"/>
                </a:lnTo>
                <a:lnTo>
                  <a:pt x="174" y="464"/>
                </a:lnTo>
                <a:lnTo>
                  <a:pt x="190" y="468"/>
                </a:lnTo>
                <a:lnTo>
                  <a:pt x="206" y="471"/>
                </a:lnTo>
                <a:lnTo>
                  <a:pt x="222" y="473"/>
                </a:lnTo>
                <a:lnTo>
                  <a:pt x="240" y="474"/>
                </a:lnTo>
                <a:lnTo>
                  <a:pt x="256" y="474"/>
                </a:lnTo>
                <a:lnTo>
                  <a:pt x="273" y="472"/>
                </a:lnTo>
                <a:lnTo>
                  <a:pt x="289" y="470"/>
                </a:lnTo>
                <a:lnTo>
                  <a:pt x="306" y="467"/>
                </a:lnTo>
                <a:lnTo>
                  <a:pt x="321" y="462"/>
                </a:lnTo>
                <a:lnTo>
                  <a:pt x="337" y="456"/>
                </a:lnTo>
                <a:lnTo>
                  <a:pt x="351" y="450"/>
                </a:lnTo>
                <a:lnTo>
                  <a:pt x="367" y="441"/>
                </a:lnTo>
                <a:lnTo>
                  <a:pt x="381" y="431"/>
                </a:lnTo>
                <a:lnTo>
                  <a:pt x="394" y="421"/>
                </a:lnTo>
                <a:lnTo>
                  <a:pt x="394" y="421"/>
                </a:lnTo>
                <a:lnTo>
                  <a:pt x="406" y="411"/>
                </a:lnTo>
                <a:lnTo>
                  <a:pt x="418" y="400"/>
                </a:lnTo>
                <a:lnTo>
                  <a:pt x="428" y="389"/>
                </a:lnTo>
                <a:lnTo>
                  <a:pt x="437" y="376"/>
                </a:lnTo>
                <a:lnTo>
                  <a:pt x="446" y="363"/>
                </a:lnTo>
                <a:lnTo>
                  <a:pt x="453" y="350"/>
                </a:lnTo>
                <a:lnTo>
                  <a:pt x="459" y="336"/>
                </a:lnTo>
                <a:lnTo>
                  <a:pt x="465" y="322"/>
                </a:lnTo>
                <a:lnTo>
                  <a:pt x="469" y="307"/>
                </a:lnTo>
                <a:lnTo>
                  <a:pt x="474" y="293"/>
                </a:lnTo>
                <a:lnTo>
                  <a:pt x="477" y="278"/>
                </a:lnTo>
                <a:lnTo>
                  <a:pt x="478" y="263"/>
                </a:lnTo>
                <a:lnTo>
                  <a:pt x="479" y="247"/>
                </a:lnTo>
                <a:lnTo>
                  <a:pt x="479" y="232"/>
                </a:lnTo>
                <a:lnTo>
                  <a:pt x="478" y="217"/>
                </a:lnTo>
                <a:lnTo>
                  <a:pt x="477" y="201"/>
                </a:lnTo>
                <a:lnTo>
                  <a:pt x="474" y="186"/>
                </a:lnTo>
                <a:lnTo>
                  <a:pt x="469" y="172"/>
                </a:lnTo>
                <a:lnTo>
                  <a:pt x="465" y="157"/>
                </a:lnTo>
                <a:lnTo>
                  <a:pt x="460" y="142"/>
                </a:lnTo>
                <a:lnTo>
                  <a:pt x="454" y="129"/>
                </a:lnTo>
                <a:lnTo>
                  <a:pt x="447" y="116"/>
                </a:lnTo>
                <a:lnTo>
                  <a:pt x="439" y="103"/>
                </a:lnTo>
                <a:lnTo>
                  <a:pt x="430" y="91"/>
                </a:lnTo>
                <a:lnTo>
                  <a:pt x="421" y="78"/>
                </a:lnTo>
                <a:lnTo>
                  <a:pt x="410" y="68"/>
                </a:lnTo>
                <a:lnTo>
                  <a:pt x="399" y="58"/>
                </a:lnTo>
                <a:lnTo>
                  <a:pt x="387" y="48"/>
                </a:lnTo>
                <a:lnTo>
                  <a:pt x="374" y="40"/>
                </a:lnTo>
                <a:lnTo>
                  <a:pt x="361" y="32"/>
                </a:lnTo>
                <a:lnTo>
                  <a:pt x="346" y="25"/>
                </a:lnTo>
                <a:lnTo>
                  <a:pt x="331" y="19"/>
                </a:lnTo>
                <a:lnTo>
                  <a:pt x="331"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1" name="Freeform 2375"/>
          <p:cNvSpPr>
            <a:spLocks/>
          </p:cNvSpPr>
          <p:nvPr/>
        </p:nvSpPr>
        <p:spPr bwMode="auto">
          <a:xfrm>
            <a:off x="8112127" y="5373688"/>
            <a:ext cx="409575" cy="636588"/>
          </a:xfrm>
          <a:custGeom>
            <a:avLst/>
            <a:gdLst>
              <a:gd name="T0" fmla="*/ 1032 w 1551"/>
              <a:gd name="T1" fmla="*/ 58 h 2407"/>
              <a:gd name="T2" fmla="*/ 985 w 1551"/>
              <a:gd name="T3" fmla="*/ 26 h 2407"/>
              <a:gd name="T4" fmla="*/ 873 w 1551"/>
              <a:gd name="T5" fmla="*/ 0 h 2407"/>
              <a:gd name="T6" fmla="*/ 707 w 1551"/>
              <a:gd name="T7" fmla="*/ 0 h 2407"/>
              <a:gd name="T8" fmla="*/ 493 w 1551"/>
              <a:gd name="T9" fmla="*/ 0 h 2407"/>
              <a:gd name="T10" fmla="*/ 315 w 1551"/>
              <a:gd name="T11" fmla="*/ 9 h 2407"/>
              <a:gd name="T12" fmla="*/ 143 w 1551"/>
              <a:gd name="T13" fmla="*/ 51 h 2407"/>
              <a:gd name="T14" fmla="*/ 105 w 1551"/>
              <a:gd name="T15" fmla="*/ 73 h 2407"/>
              <a:gd name="T16" fmla="*/ 40 w 1551"/>
              <a:gd name="T17" fmla="*/ 155 h 2407"/>
              <a:gd name="T18" fmla="*/ 9 w 1551"/>
              <a:gd name="T19" fmla="*/ 259 h 2407"/>
              <a:gd name="T20" fmla="*/ 1 w 1551"/>
              <a:gd name="T21" fmla="*/ 436 h 2407"/>
              <a:gd name="T22" fmla="*/ 1 w 1551"/>
              <a:gd name="T23" fmla="*/ 988 h 2407"/>
              <a:gd name="T24" fmla="*/ 6 w 1551"/>
              <a:gd name="T25" fmla="*/ 1111 h 2407"/>
              <a:gd name="T26" fmla="*/ 30 w 1551"/>
              <a:gd name="T27" fmla="*/ 1150 h 2407"/>
              <a:gd name="T28" fmla="*/ 68 w 1551"/>
              <a:gd name="T29" fmla="*/ 1173 h 2407"/>
              <a:gd name="T30" fmla="*/ 114 w 1551"/>
              <a:gd name="T31" fmla="*/ 1180 h 2407"/>
              <a:gd name="T32" fmla="*/ 157 w 1551"/>
              <a:gd name="T33" fmla="*/ 1167 h 2407"/>
              <a:gd name="T34" fmla="*/ 188 w 1551"/>
              <a:gd name="T35" fmla="*/ 1137 h 2407"/>
              <a:gd name="T36" fmla="*/ 199 w 1551"/>
              <a:gd name="T37" fmla="*/ 1098 h 2407"/>
              <a:gd name="T38" fmla="*/ 202 w 1551"/>
              <a:gd name="T39" fmla="*/ 570 h 2407"/>
              <a:gd name="T40" fmla="*/ 277 w 1551"/>
              <a:gd name="T41" fmla="*/ 393 h 2407"/>
              <a:gd name="T42" fmla="*/ 277 w 1551"/>
              <a:gd name="T43" fmla="*/ 2271 h 2407"/>
              <a:gd name="T44" fmla="*/ 288 w 1551"/>
              <a:gd name="T45" fmla="*/ 2318 h 2407"/>
              <a:gd name="T46" fmla="*/ 339 w 1551"/>
              <a:gd name="T47" fmla="*/ 2381 h 2407"/>
              <a:gd name="T48" fmla="*/ 415 w 1551"/>
              <a:gd name="T49" fmla="*/ 2406 h 2407"/>
              <a:gd name="T50" fmla="*/ 462 w 1551"/>
              <a:gd name="T51" fmla="*/ 2400 h 2407"/>
              <a:gd name="T52" fmla="*/ 498 w 1551"/>
              <a:gd name="T53" fmla="*/ 2387 h 2407"/>
              <a:gd name="T54" fmla="*/ 526 w 1551"/>
              <a:gd name="T55" fmla="*/ 2356 h 2407"/>
              <a:gd name="T56" fmla="*/ 540 w 1551"/>
              <a:gd name="T57" fmla="*/ 2277 h 2407"/>
              <a:gd name="T58" fmla="*/ 540 w 1551"/>
              <a:gd name="T59" fmla="*/ 1455 h 2407"/>
              <a:gd name="T60" fmla="*/ 612 w 1551"/>
              <a:gd name="T61" fmla="*/ 1171 h 2407"/>
              <a:gd name="T62" fmla="*/ 614 w 1551"/>
              <a:gd name="T63" fmla="*/ 2020 h 2407"/>
              <a:gd name="T64" fmla="*/ 625 w 1551"/>
              <a:gd name="T65" fmla="*/ 2329 h 2407"/>
              <a:gd name="T66" fmla="*/ 662 w 1551"/>
              <a:gd name="T67" fmla="*/ 2377 h 2407"/>
              <a:gd name="T68" fmla="*/ 716 w 1551"/>
              <a:gd name="T69" fmla="*/ 2401 h 2407"/>
              <a:gd name="T70" fmla="*/ 778 w 1551"/>
              <a:gd name="T71" fmla="*/ 2403 h 2407"/>
              <a:gd name="T72" fmla="*/ 835 w 1551"/>
              <a:gd name="T73" fmla="*/ 2382 h 2407"/>
              <a:gd name="T74" fmla="*/ 876 w 1551"/>
              <a:gd name="T75" fmla="*/ 2340 h 2407"/>
              <a:gd name="T76" fmla="*/ 890 w 1551"/>
              <a:gd name="T77" fmla="*/ 2277 h 2407"/>
              <a:gd name="T78" fmla="*/ 891 w 1551"/>
              <a:gd name="T79" fmla="*/ 774 h 2407"/>
              <a:gd name="T80" fmla="*/ 954 w 1551"/>
              <a:gd name="T81" fmla="*/ 339 h 2407"/>
              <a:gd name="T82" fmla="*/ 1186 w 1551"/>
              <a:gd name="T83" fmla="*/ 620 h 2407"/>
              <a:gd name="T84" fmla="*/ 1368 w 1551"/>
              <a:gd name="T85" fmla="*/ 822 h 2407"/>
              <a:gd name="T86" fmla="*/ 1406 w 1551"/>
              <a:gd name="T87" fmla="*/ 843 h 2407"/>
              <a:gd name="T88" fmla="*/ 1454 w 1551"/>
              <a:gd name="T89" fmla="*/ 844 h 2407"/>
              <a:gd name="T90" fmla="*/ 1498 w 1551"/>
              <a:gd name="T91" fmla="*/ 822 h 2407"/>
              <a:gd name="T92" fmla="*/ 1533 w 1551"/>
              <a:gd name="T93" fmla="*/ 787 h 2407"/>
              <a:gd name="T94" fmla="*/ 1550 w 1551"/>
              <a:gd name="T95" fmla="*/ 741 h 2407"/>
              <a:gd name="T96" fmla="*/ 1546 w 1551"/>
              <a:gd name="T97" fmla="*/ 691 h 2407"/>
              <a:gd name="T98" fmla="*/ 1473 w 1551"/>
              <a:gd name="T99" fmla="*/ 589 h 2407"/>
              <a:gd name="T100" fmla="*/ 1116 w 1551"/>
              <a:gd name="T101" fmla="*/ 158 h 2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51" h="2407">
                <a:moveTo>
                  <a:pt x="1057" y="86"/>
                </a:moveTo>
                <a:lnTo>
                  <a:pt x="1057" y="86"/>
                </a:lnTo>
                <a:lnTo>
                  <a:pt x="1049" y="76"/>
                </a:lnTo>
                <a:lnTo>
                  <a:pt x="1040" y="67"/>
                </a:lnTo>
                <a:lnTo>
                  <a:pt x="1032" y="58"/>
                </a:lnTo>
                <a:lnTo>
                  <a:pt x="1023" y="50"/>
                </a:lnTo>
                <a:lnTo>
                  <a:pt x="1014" y="43"/>
                </a:lnTo>
                <a:lnTo>
                  <a:pt x="1004" y="37"/>
                </a:lnTo>
                <a:lnTo>
                  <a:pt x="995" y="31"/>
                </a:lnTo>
                <a:lnTo>
                  <a:pt x="985" y="26"/>
                </a:lnTo>
                <a:lnTo>
                  <a:pt x="963" y="18"/>
                </a:lnTo>
                <a:lnTo>
                  <a:pt x="942" y="11"/>
                </a:lnTo>
                <a:lnTo>
                  <a:pt x="919" y="6"/>
                </a:lnTo>
                <a:lnTo>
                  <a:pt x="896" y="2"/>
                </a:lnTo>
                <a:lnTo>
                  <a:pt x="873" y="0"/>
                </a:lnTo>
                <a:lnTo>
                  <a:pt x="848" y="0"/>
                </a:lnTo>
                <a:lnTo>
                  <a:pt x="800" y="0"/>
                </a:lnTo>
                <a:lnTo>
                  <a:pt x="753" y="0"/>
                </a:lnTo>
                <a:lnTo>
                  <a:pt x="729" y="1"/>
                </a:lnTo>
                <a:lnTo>
                  <a:pt x="707" y="0"/>
                </a:lnTo>
                <a:lnTo>
                  <a:pt x="707" y="0"/>
                </a:lnTo>
                <a:lnTo>
                  <a:pt x="671" y="1"/>
                </a:lnTo>
                <a:lnTo>
                  <a:pt x="636" y="1"/>
                </a:lnTo>
                <a:lnTo>
                  <a:pt x="564" y="1"/>
                </a:lnTo>
                <a:lnTo>
                  <a:pt x="493" y="0"/>
                </a:lnTo>
                <a:lnTo>
                  <a:pt x="457" y="0"/>
                </a:lnTo>
                <a:lnTo>
                  <a:pt x="421" y="1"/>
                </a:lnTo>
                <a:lnTo>
                  <a:pt x="386" y="2"/>
                </a:lnTo>
                <a:lnTo>
                  <a:pt x="350" y="5"/>
                </a:lnTo>
                <a:lnTo>
                  <a:pt x="315" y="9"/>
                </a:lnTo>
                <a:lnTo>
                  <a:pt x="280" y="14"/>
                </a:lnTo>
                <a:lnTo>
                  <a:pt x="245" y="20"/>
                </a:lnTo>
                <a:lnTo>
                  <a:pt x="211" y="28"/>
                </a:lnTo>
                <a:lnTo>
                  <a:pt x="177" y="39"/>
                </a:lnTo>
                <a:lnTo>
                  <a:pt x="143" y="51"/>
                </a:lnTo>
                <a:lnTo>
                  <a:pt x="143" y="51"/>
                </a:lnTo>
                <a:lnTo>
                  <a:pt x="133" y="56"/>
                </a:lnTo>
                <a:lnTo>
                  <a:pt x="123" y="61"/>
                </a:lnTo>
                <a:lnTo>
                  <a:pt x="114" y="67"/>
                </a:lnTo>
                <a:lnTo>
                  <a:pt x="105" y="73"/>
                </a:lnTo>
                <a:lnTo>
                  <a:pt x="89" y="87"/>
                </a:lnTo>
                <a:lnTo>
                  <a:pt x="74" y="102"/>
                </a:lnTo>
                <a:lnTo>
                  <a:pt x="61" y="118"/>
                </a:lnTo>
                <a:lnTo>
                  <a:pt x="50" y="136"/>
                </a:lnTo>
                <a:lnTo>
                  <a:pt x="40" y="155"/>
                </a:lnTo>
                <a:lnTo>
                  <a:pt x="32" y="174"/>
                </a:lnTo>
                <a:lnTo>
                  <a:pt x="24" y="195"/>
                </a:lnTo>
                <a:lnTo>
                  <a:pt x="18" y="216"/>
                </a:lnTo>
                <a:lnTo>
                  <a:pt x="13" y="237"/>
                </a:lnTo>
                <a:lnTo>
                  <a:pt x="9" y="259"/>
                </a:lnTo>
                <a:lnTo>
                  <a:pt x="6" y="280"/>
                </a:lnTo>
                <a:lnTo>
                  <a:pt x="3" y="302"/>
                </a:lnTo>
                <a:lnTo>
                  <a:pt x="0" y="343"/>
                </a:lnTo>
                <a:lnTo>
                  <a:pt x="0" y="343"/>
                </a:lnTo>
                <a:lnTo>
                  <a:pt x="1" y="436"/>
                </a:lnTo>
                <a:lnTo>
                  <a:pt x="1" y="527"/>
                </a:lnTo>
                <a:lnTo>
                  <a:pt x="0" y="712"/>
                </a:lnTo>
                <a:lnTo>
                  <a:pt x="0" y="804"/>
                </a:lnTo>
                <a:lnTo>
                  <a:pt x="0" y="896"/>
                </a:lnTo>
                <a:lnTo>
                  <a:pt x="1" y="988"/>
                </a:lnTo>
                <a:lnTo>
                  <a:pt x="3" y="1080"/>
                </a:lnTo>
                <a:lnTo>
                  <a:pt x="3" y="1080"/>
                </a:lnTo>
                <a:lnTo>
                  <a:pt x="3" y="1091"/>
                </a:lnTo>
                <a:lnTo>
                  <a:pt x="4" y="1101"/>
                </a:lnTo>
                <a:lnTo>
                  <a:pt x="6" y="1111"/>
                </a:lnTo>
                <a:lnTo>
                  <a:pt x="9" y="1120"/>
                </a:lnTo>
                <a:lnTo>
                  <a:pt x="13" y="1129"/>
                </a:lnTo>
                <a:lnTo>
                  <a:pt x="17" y="1136"/>
                </a:lnTo>
                <a:lnTo>
                  <a:pt x="23" y="1144"/>
                </a:lnTo>
                <a:lnTo>
                  <a:pt x="30" y="1150"/>
                </a:lnTo>
                <a:lnTo>
                  <a:pt x="37" y="1156"/>
                </a:lnTo>
                <a:lnTo>
                  <a:pt x="44" y="1161"/>
                </a:lnTo>
                <a:lnTo>
                  <a:pt x="52" y="1166"/>
                </a:lnTo>
                <a:lnTo>
                  <a:pt x="60" y="1169"/>
                </a:lnTo>
                <a:lnTo>
                  <a:pt x="68" y="1173"/>
                </a:lnTo>
                <a:lnTo>
                  <a:pt x="77" y="1175"/>
                </a:lnTo>
                <a:lnTo>
                  <a:pt x="87" y="1178"/>
                </a:lnTo>
                <a:lnTo>
                  <a:pt x="96" y="1179"/>
                </a:lnTo>
                <a:lnTo>
                  <a:pt x="105" y="1180"/>
                </a:lnTo>
                <a:lnTo>
                  <a:pt x="114" y="1180"/>
                </a:lnTo>
                <a:lnTo>
                  <a:pt x="123" y="1179"/>
                </a:lnTo>
                <a:lnTo>
                  <a:pt x="132" y="1176"/>
                </a:lnTo>
                <a:lnTo>
                  <a:pt x="140" y="1174"/>
                </a:lnTo>
                <a:lnTo>
                  <a:pt x="150" y="1171"/>
                </a:lnTo>
                <a:lnTo>
                  <a:pt x="157" y="1167"/>
                </a:lnTo>
                <a:lnTo>
                  <a:pt x="165" y="1163"/>
                </a:lnTo>
                <a:lnTo>
                  <a:pt x="172" y="1158"/>
                </a:lnTo>
                <a:lnTo>
                  <a:pt x="178" y="1152"/>
                </a:lnTo>
                <a:lnTo>
                  <a:pt x="184" y="1145"/>
                </a:lnTo>
                <a:lnTo>
                  <a:pt x="188" y="1137"/>
                </a:lnTo>
                <a:lnTo>
                  <a:pt x="192" y="1129"/>
                </a:lnTo>
                <a:lnTo>
                  <a:pt x="196" y="1120"/>
                </a:lnTo>
                <a:lnTo>
                  <a:pt x="198" y="1109"/>
                </a:lnTo>
                <a:lnTo>
                  <a:pt x="199" y="1098"/>
                </a:lnTo>
                <a:lnTo>
                  <a:pt x="199" y="1098"/>
                </a:lnTo>
                <a:lnTo>
                  <a:pt x="202" y="1011"/>
                </a:lnTo>
                <a:lnTo>
                  <a:pt x="203" y="922"/>
                </a:lnTo>
                <a:lnTo>
                  <a:pt x="203" y="835"/>
                </a:lnTo>
                <a:lnTo>
                  <a:pt x="203" y="746"/>
                </a:lnTo>
                <a:lnTo>
                  <a:pt x="202" y="570"/>
                </a:lnTo>
                <a:lnTo>
                  <a:pt x="202" y="483"/>
                </a:lnTo>
                <a:lnTo>
                  <a:pt x="203" y="394"/>
                </a:lnTo>
                <a:lnTo>
                  <a:pt x="203" y="394"/>
                </a:lnTo>
                <a:lnTo>
                  <a:pt x="277" y="393"/>
                </a:lnTo>
                <a:lnTo>
                  <a:pt x="277" y="393"/>
                </a:lnTo>
                <a:lnTo>
                  <a:pt x="277" y="1322"/>
                </a:lnTo>
                <a:lnTo>
                  <a:pt x="278" y="2252"/>
                </a:lnTo>
                <a:lnTo>
                  <a:pt x="278" y="2252"/>
                </a:lnTo>
                <a:lnTo>
                  <a:pt x="277" y="2262"/>
                </a:lnTo>
                <a:lnTo>
                  <a:pt x="277" y="2271"/>
                </a:lnTo>
                <a:lnTo>
                  <a:pt x="278" y="2281"/>
                </a:lnTo>
                <a:lnTo>
                  <a:pt x="280" y="2290"/>
                </a:lnTo>
                <a:lnTo>
                  <a:pt x="282" y="2300"/>
                </a:lnTo>
                <a:lnTo>
                  <a:pt x="284" y="2309"/>
                </a:lnTo>
                <a:lnTo>
                  <a:pt x="288" y="2318"/>
                </a:lnTo>
                <a:lnTo>
                  <a:pt x="291" y="2326"/>
                </a:lnTo>
                <a:lnTo>
                  <a:pt x="300" y="2341"/>
                </a:lnTo>
                <a:lnTo>
                  <a:pt x="311" y="2357"/>
                </a:lnTo>
                <a:lnTo>
                  <a:pt x="324" y="2369"/>
                </a:lnTo>
                <a:lnTo>
                  <a:pt x="339" y="2381"/>
                </a:lnTo>
                <a:lnTo>
                  <a:pt x="354" y="2390"/>
                </a:lnTo>
                <a:lnTo>
                  <a:pt x="370" y="2397"/>
                </a:lnTo>
                <a:lnTo>
                  <a:pt x="388" y="2403"/>
                </a:lnTo>
                <a:lnTo>
                  <a:pt x="406" y="2406"/>
                </a:lnTo>
                <a:lnTo>
                  <a:pt x="415" y="2406"/>
                </a:lnTo>
                <a:lnTo>
                  <a:pt x="424" y="2407"/>
                </a:lnTo>
                <a:lnTo>
                  <a:pt x="433" y="2406"/>
                </a:lnTo>
                <a:lnTo>
                  <a:pt x="442" y="2405"/>
                </a:lnTo>
                <a:lnTo>
                  <a:pt x="453" y="2403"/>
                </a:lnTo>
                <a:lnTo>
                  <a:pt x="462" y="2400"/>
                </a:lnTo>
                <a:lnTo>
                  <a:pt x="471" y="2397"/>
                </a:lnTo>
                <a:lnTo>
                  <a:pt x="480" y="2393"/>
                </a:lnTo>
                <a:lnTo>
                  <a:pt x="480" y="2393"/>
                </a:lnTo>
                <a:lnTo>
                  <a:pt x="489" y="2391"/>
                </a:lnTo>
                <a:lnTo>
                  <a:pt x="498" y="2387"/>
                </a:lnTo>
                <a:lnTo>
                  <a:pt x="506" y="2382"/>
                </a:lnTo>
                <a:lnTo>
                  <a:pt x="512" y="2377"/>
                </a:lnTo>
                <a:lnTo>
                  <a:pt x="517" y="2371"/>
                </a:lnTo>
                <a:lnTo>
                  <a:pt x="522" y="2364"/>
                </a:lnTo>
                <a:lnTo>
                  <a:pt x="526" y="2356"/>
                </a:lnTo>
                <a:lnTo>
                  <a:pt x="529" y="2347"/>
                </a:lnTo>
                <a:lnTo>
                  <a:pt x="533" y="2331"/>
                </a:lnTo>
                <a:lnTo>
                  <a:pt x="536" y="2313"/>
                </a:lnTo>
                <a:lnTo>
                  <a:pt x="540" y="2277"/>
                </a:lnTo>
                <a:lnTo>
                  <a:pt x="540" y="2277"/>
                </a:lnTo>
                <a:lnTo>
                  <a:pt x="541" y="2141"/>
                </a:lnTo>
                <a:lnTo>
                  <a:pt x="542" y="2004"/>
                </a:lnTo>
                <a:lnTo>
                  <a:pt x="540" y="1729"/>
                </a:lnTo>
                <a:lnTo>
                  <a:pt x="540" y="1592"/>
                </a:lnTo>
                <a:lnTo>
                  <a:pt x="540" y="1455"/>
                </a:lnTo>
                <a:lnTo>
                  <a:pt x="542" y="1318"/>
                </a:lnTo>
                <a:lnTo>
                  <a:pt x="546" y="1181"/>
                </a:lnTo>
                <a:lnTo>
                  <a:pt x="546" y="1181"/>
                </a:lnTo>
                <a:lnTo>
                  <a:pt x="612" y="1171"/>
                </a:lnTo>
                <a:lnTo>
                  <a:pt x="612" y="1171"/>
                </a:lnTo>
                <a:lnTo>
                  <a:pt x="614" y="1313"/>
                </a:lnTo>
                <a:lnTo>
                  <a:pt x="615" y="1454"/>
                </a:lnTo>
                <a:lnTo>
                  <a:pt x="615" y="1737"/>
                </a:lnTo>
                <a:lnTo>
                  <a:pt x="614" y="1878"/>
                </a:lnTo>
                <a:lnTo>
                  <a:pt x="614" y="2020"/>
                </a:lnTo>
                <a:lnTo>
                  <a:pt x="615" y="2161"/>
                </a:lnTo>
                <a:lnTo>
                  <a:pt x="617" y="2303"/>
                </a:lnTo>
                <a:lnTo>
                  <a:pt x="617" y="2303"/>
                </a:lnTo>
                <a:lnTo>
                  <a:pt x="620" y="2317"/>
                </a:lnTo>
                <a:lnTo>
                  <a:pt x="625" y="2329"/>
                </a:lnTo>
                <a:lnTo>
                  <a:pt x="631" y="2340"/>
                </a:lnTo>
                <a:lnTo>
                  <a:pt x="637" y="2352"/>
                </a:lnTo>
                <a:lnTo>
                  <a:pt x="644" y="2361"/>
                </a:lnTo>
                <a:lnTo>
                  <a:pt x="653" y="2370"/>
                </a:lnTo>
                <a:lnTo>
                  <a:pt x="662" y="2377"/>
                </a:lnTo>
                <a:lnTo>
                  <a:pt x="671" y="2384"/>
                </a:lnTo>
                <a:lnTo>
                  <a:pt x="682" y="2389"/>
                </a:lnTo>
                <a:lnTo>
                  <a:pt x="693" y="2394"/>
                </a:lnTo>
                <a:lnTo>
                  <a:pt x="705" y="2398"/>
                </a:lnTo>
                <a:lnTo>
                  <a:pt x="716" y="2401"/>
                </a:lnTo>
                <a:lnTo>
                  <a:pt x="728" y="2403"/>
                </a:lnTo>
                <a:lnTo>
                  <a:pt x="741" y="2405"/>
                </a:lnTo>
                <a:lnTo>
                  <a:pt x="754" y="2405"/>
                </a:lnTo>
                <a:lnTo>
                  <a:pt x="766" y="2404"/>
                </a:lnTo>
                <a:lnTo>
                  <a:pt x="778" y="2403"/>
                </a:lnTo>
                <a:lnTo>
                  <a:pt x="790" y="2400"/>
                </a:lnTo>
                <a:lnTo>
                  <a:pt x="802" y="2397"/>
                </a:lnTo>
                <a:lnTo>
                  <a:pt x="814" y="2393"/>
                </a:lnTo>
                <a:lnTo>
                  <a:pt x="825" y="2388"/>
                </a:lnTo>
                <a:lnTo>
                  <a:pt x="835" y="2382"/>
                </a:lnTo>
                <a:lnTo>
                  <a:pt x="845" y="2376"/>
                </a:lnTo>
                <a:lnTo>
                  <a:pt x="854" y="2368"/>
                </a:lnTo>
                <a:lnTo>
                  <a:pt x="862" y="2360"/>
                </a:lnTo>
                <a:lnTo>
                  <a:pt x="870" y="2350"/>
                </a:lnTo>
                <a:lnTo>
                  <a:pt x="876" y="2340"/>
                </a:lnTo>
                <a:lnTo>
                  <a:pt x="882" y="2329"/>
                </a:lnTo>
                <a:lnTo>
                  <a:pt x="886" y="2317"/>
                </a:lnTo>
                <a:lnTo>
                  <a:pt x="888" y="2305"/>
                </a:lnTo>
                <a:lnTo>
                  <a:pt x="890" y="2291"/>
                </a:lnTo>
                <a:lnTo>
                  <a:pt x="890" y="2277"/>
                </a:lnTo>
                <a:lnTo>
                  <a:pt x="890" y="2277"/>
                </a:lnTo>
                <a:lnTo>
                  <a:pt x="891" y="2026"/>
                </a:lnTo>
                <a:lnTo>
                  <a:pt x="892" y="1776"/>
                </a:lnTo>
                <a:lnTo>
                  <a:pt x="892" y="1275"/>
                </a:lnTo>
                <a:lnTo>
                  <a:pt x="891" y="774"/>
                </a:lnTo>
                <a:lnTo>
                  <a:pt x="892" y="523"/>
                </a:lnTo>
                <a:lnTo>
                  <a:pt x="893" y="272"/>
                </a:lnTo>
                <a:lnTo>
                  <a:pt x="893" y="272"/>
                </a:lnTo>
                <a:lnTo>
                  <a:pt x="924" y="306"/>
                </a:lnTo>
                <a:lnTo>
                  <a:pt x="954" y="339"/>
                </a:lnTo>
                <a:lnTo>
                  <a:pt x="984" y="374"/>
                </a:lnTo>
                <a:lnTo>
                  <a:pt x="1013" y="408"/>
                </a:lnTo>
                <a:lnTo>
                  <a:pt x="1071" y="479"/>
                </a:lnTo>
                <a:lnTo>
                  <a:pt x="1128" y="549"/>
                </a:lnTo>
                <a:lnTo>
                  <a:pt x="1186" y="620"/>
                </a:lnTo>
                <a:lnTo>
                  <a:pt x="1244" y="689"/>
                </a:lnTo>
                <a:lnTo>
                  <a:pt x="1274" y="723"/>
                </a:lnTo>
                <a:lnTo>
                  <a:pt x="1305" y="756"/>
                </a:lnTo>
                <a:lnTo>
                  <a:pt x="1335" y="790"/>
                </a:lnTo>
                <a:lnTo>
                  <a:pt x="1368" y="822"/>
                </a:lnTo>
                <a:lnTo>
                  <a:pt x="1368" y="822"/>
                </a:lnTo>
                <a:lnTo>
                  <a:pt x="1377" y="829"/>
                </a:lnTo>
                <a:lnTo>
                  <a:pt x="1386" y="835"/>
                </a:lnTo>
                <a:lnTo>
                  <a:pt x="1395" y="839"/>
                </a:lnTo>
                <a:lnTo>
                  <a:pt x="1406" y="843"/>
                </a:lnTo>
                <a:lnTo>
                  <a:pt x="1416" y="845"/>
                </a:lnTo>
                <a:lnTo>
                  <a:pt x="1425" y="846"/>
                </a:lnTo>
                <a:lnTo>
                  <a:pt x="1435" y="846"/>
                </a:lnTo>
                <a:lnTo>
                  <a:pt x="1444" y="845"/>
                </a:lnTo>
                <a:lnTo>
                  <a:pt x="1454" y="844"/>
                </a:lnTo>
                <a:lnTo>
                  <a:pt x="1464" y="841"/>
                </a:lnTo>
                <a:lnTo>
                  <a:pt x="1473" y="838"/>
                </a:lnTo>
                <a:lnTo>
                  <a:pt x="1482" y="834"/>
                </a:lnTo>
                <a:lnTo>
                  <a:pt x="1490" y="829"/>
                </a:lnTo>
                <a:lnTo>
                  <a:pt x="1498" y="822"/>
                </a:lnTo>
                <a:lnTo>
                  <a:pt x="1506" y="816"/>
                </a:lnTo>
                <a:lnTo>
                  <a:pt x="1513" y="810"/>
                </a:lnTo>
                <a:lnTo>
                  <a:pt x="1520" y="803"/>
                </a:lnTo>
                <a:lnTo>
                  <a:pt x="1527" y="795"/>
                </a:lnTo>
                <a:lnTo>
                  <a:pt x="1533" y="787"/>
                </a:lnTo>
                <a:lnTo>
                  <a:pt x="1537" y="778"/>
                </a:lnTo>
                <a:lnTo>
                  <a:pt x="1542" y="770"/>
                </a:lnTo>
                <a:lnTo>
                  <a:pt x="1545" y="760"/>
                </a:lnTo>
                <a:lnTo>
                  <a:pt x="1548" y="750"/>
                </a:lnTo>
                <a:lnTo>
                  <a:pt x="1550" y="741"/>
                </a:lnTo>
                <a:lnTo>
                  <a:pt x="1551" y="731"/>
                </a:lnTo>
                <a:lnTo>
                  <a:pt x="1551" y="721"/>
                </a:lnTo>
                <a:lnTo>
                  <a:pt x="1550" y="712"/>
                </a:lnTo>
                <a:lnTo>
                  <a:pt x="1549" y="701"/>
                </a:lnTo>
                <a:lnTo>
                  <a:pt x="1546" y="691"/>
                </a:lnTo>
                <a:lnTo>
                  <a:pt x="1542" y="682"/>
                </a:lnTo>
                <a:lnTo>
                  <a:pt x="1537" y="672"/>
                </a:lnTo>
                <a:lnTo>
                  <a:pt x="1530" y="663"/>
                </a:lnTo>
                <a:lnTo>
                  <a:pt x="1530" y="663"/>
                </a:lnTo>
                <a:lnTo>
                  <a:pt x="1473" y="589"/>
                </a:lnTo>
                <a:lnTo>
                  <a:pt x="1414" y="516"/>
                </a:lnTo>
                <a:lnTo>
                  <a:pt x="1355" y="444"/>
                </a:lnTo>
                <a:lnTo>
                  <a:pt x="1296" y="373"/>
                </a:lnTo>
                <a:lnTo>
                  <a:pt x="1176" y="229"/>
                </a:lnTo>
                <a:lnTo>
                  <a:pt x="1116" y="158"/>
                </a:lnTo>
                <a:lnTo>
                  <a:pt x="1057" y="86"/>
                </a:lnTo>
                <a:lnTo>
                  <a:pt x="105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2" name="Freeform 2376"/>
          <p:cNvSpPr>
            <a:spLocks/>
          </p:cNvSpPr>
          <p:nvPr/>
        </p:nvSpPr>
        <p:spPr bwMode="auto">
          <a:xfrm>
            <a:off x="8740777" y="5307013"/>
            <a:ext cx="1458913" cy="674688"/>
          </a:xfrm>
          <a:custGeom>
            <a:avLst/>
            <a:gdLst>
              <a:gd name="T0" fmla="*/ 479 w 5514"/>
              <a:gd name="T1" fmla="*/ 558 h 2549"/>
              <a:gd name="T2" fmla="*/ 5227 w 5514"/>
              <a:gd name="T3" fmla="*/ 0 h 2549"/>
              <a:gd name="T4" fmla="*/ 5514 w 5514"/>
              <a:gd name="T5" fmla="*/ 1912 h 2549"/>
              <a:gd name="T6" fmla="*/ 766 w 5514"/>
              <a:gd name="T7" fmla="*/ 2549 h 2549"/>
              <a:gd name="T8" fmla="*/ 0 w 5514"/>
              <a:gd name="T9" fmla="*/ 2167 h 2549"/>
              <a:gd name="T10" fmla="*/ 479 w 5514"/>
              <a:gd name="T11" fmla="*/ 558 h 2549"/>
            </a:gdLst>
            <a:ahLst/>
            <a:cxnLst>
              <a:cxn ang="0">
                <a:pos x="T0" y="T1"/>
              </a:cxn>
              <a:cxn ang="0">
                <a:pos x="T2" y="T3"/>
              </a:cxn>
              <a:cxn ang="0">
                <a:pos x="T4" y="T5"/>
              </a:cxn>
              <a:cxn ang="0">
                <a:pos x="T6" y="T7"/>
              </a:cxn>
              <a:cxn ang="0">
                <a:pos x="T8" y="T9"/>
              </a:cxn>
              <a:cxn ang="0">
                <a:pos x="T10" y="T11"/>
              </a:cxn>
            </a:cxnLst>
            <a:rect l="0" t="0" r="r" b="b"/>
            <a:pathLst>
              <a:path w="5514" h="2549">
                <a:moveTo>
                  <a:pt x="479" y="558"/>
                </a:moveTo>
                <a:lnTo>
                  <a:pt x="5227" y="0"/>
                </a:lnTo>
                <a:lnTo>
                  <a:pt x="5514" y="1912"/>
                </a:lnTo>
                <a:lnTo>
                  <a:pt x="766" y="2549"/>
                </a:lnTo>
                <a:lnTo>
                  <a:pt x="0" y="2167"/>
                </a:lnTo>
                <a:lnTo>
                  <a:pt x="479" y="558"/>
                </a:lnTo>
                <a:close/>
              </a:path>
            </a:pathLst>
          </a:custGeom>
          <a:solidFill>
            <a:schemeClr val="accent6">
              <a:lumMod val="50000"/>
            </a:schemeClr>
          </a:solidFill>
          <a:ln w="9525">
            <a:solidFill>
              <a:schemeClr val="accent2">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3" name="Freeform 2377"/>
          <p:cNvSpPr>
            <a:spLocks/>
          </p:cNvSpPr>
          <p:nvPr/>
        </p:nvSpPr>
        <p:spPr bwMode="auto">
          <a:xfrm>
            <a:off x="9977438" y="5307014"/>
            <a:ext cx="292100" cy="506413"/>
          </a:xfrm>
          <a:custGeom>
            <a:avLst/>
            <a:gdLst>
              <a:gd name="T0" fmla="*/ 1103 w 1103"/>
              <a:gd name="T1" fmla="*/ 1025 h 1912"/>
              <a:gd name="T2" fmla="*/ 1100 w 1103"/>
              <a:gd name="T3" fmla="*/ 919 h 1912"/>
              <a:gd name="T4" fmla="*/ 1092 w 1103"/>
              <a:gd name="T5" fmla="*/ 817 h 1912"/>
              <a:gd name="T6" fmla="*/ 1079 w 1103"/>
              <a:gd name="T7" fmla="*/ 718 h 1912"/>
              <a:gd name="T8" fmla="*/ 1060 w 1103"/>
              <a:gd name="T9" fmla="*/ 624 h 1912"/>
              <a:gd name="T10" fmla="*/ 1036 w 1103"/>
              <a:gd name="T11" fmla="*/ 533 h 1912"/>
              <a:gd name="T12" fmla="*/ 1009 w 1103"/>
              <a:gd name="T13" fmla="*/ 449 h 1912"/>
              <a:gd name="T14" fmla="*/ 977 w 1103"/>
              <a:gd name="T15" fmla="*/ 371 h 1912"/>
              <a:gd name="T16" fmla="*/ 942 w 1103"/>
              <a:gd name="T17" fmla="*/ 297 h 1912"/>
              <a:gd name="T18" fmla="*/ 902 w 1103"/>
              <a:gd name="T19" fmla="*/ 231 h 1912"/>
              <a:gd name="T20" fmla="*/ 860 w 1103"/>
              <a:gd name="T21" fmla="*/ 172 h 1912"/>
              <a:gd name="T22" fmla="*/ 815 w 1103"/>
              <a:gd name="T23" fmla="*/ 121 h 1912"/>
              <a:gd name="T24" fmla="*/ 766 w 1103"/>
              <a:gd name="T25" fmla="*/ 79 h 1912"/>
              <a:gd name="T26" fmla="*/ 716 w 1103"/>
              <a:gd name="T27" fmla="*/ 45 h 1912"/>
              <a:gd name="T28" fmla="*/ 663 w 1103"/>
              <a:gd name="T29" fmla="*/ 20 h 1912"/>
              <a:gd name="T30" fmla="*/ 636 w 1103"/>
              <a:gd name="T31" fmla="*/ 11 h 1912"/>
              <a:gd name="T32" fmla="*/ 608 w 1103"/>
              <a:gd name="T33" fmla="*/ 5 h 1912"/>
              <a:gd name="T34" fmla="*/ 580 w 1103"/>
              <a:gd name="T35" fmla="*/ 1 h 1912"/>
              <a:gd name="T36" fmla="*/ 551 w 1103"/>
              <a:gd name="T37" fmla="*/ 0 h 1912"/>
              <a:gd name="T38" fmla="*/ 537 w 1103"/>
              <a:gd name="T39" fmla="*/ 1 h 1912"/>
              <a:gd name="T40" fmla="*/ 509 w 1103"/>
              <a:gd name="T41" fmla="*/ 4 h 1912"/>
              <a:gd name="T42" fmla="*/ 481 w 1103"/>
              <a:gd name="T43" fmla="*/ 9 h 1912"/>
              <a:gd name="T44" fmla="*/ 454 w 1103"/>
              <a:gd name="T45" fmla="*/ 18 h 1912"/>
              <a:gd name="T46" fmla="*/ 414 w 1103"/>
              <a:gd name="T47" fmla="*/ 35 h 1912"/>
              <a:gd name="T48" fmla="*/ 362 w 1103"/>
              <a:gd name="T49" fmla="*/ 65 h 1912"/>
              <a:gd name="T50" fmla="*/ 312 w 1103"/>
              <a:gd name="T51" fmla="*/ 106 h 1912"/>
              <a:gd name="T52" fmla="*/ 265 w 1103"/>
              <a:gd name="T53" fmla="*/ 154 h 1912"/>
              <a:gd name="T54" fmla="*/ 222 w 1103"/>
              <a:gd name="T55" fmla="*/ 210 h 1912"/>
              <a:gd name="T56" fmla="*/ 181 w 1103"/>
              <a:gd name="T57" fmla="*/ 274 h 1912"/>
              <a:gd name="T58" fmla="*/ 143 w 1103"/>
              <a:gd name="T59" fmla="*/ 344 h 1912"/>
              <a:gd name="T60" fmla="*/ 110 w 1103"/>
              <a:gd name="T61" fmla="*/ 421 h 1912"/>
              <a:gd name="T62" fmla="*/ 80 w 1103"/>
              <a:gd name="T63" fmla="*/ 504 h 1912"/>
              <a:gd name="T64" fmla="*/ 55 w 1103"/>
              <a:gd name="T65" fmla="*/ 592 h 1912"/>
              <a:gd name="T66" fmla="*/ 34 w 1103"/>
              <a:gd name="T67" fmla="*/ 685 h 1912"/>
              <a:gd name="T68" fmla="*/ 17 w 1103"/>
              <a:gd name="T69" fmla="*/ 782 h 1912"/>
              <a:gd name="T70" fmla="*/ 7 w 1103"/>
              <a:gd name="T71" fmla="*/ 882 h 1912"/>
              <a:gd name="T72" fmla="*/ 1 w 1103"/>
              <a:gd name="T73" fmla="*/ 987 h 1912"/>
              <a:gd name="T74" fmla="*/ 0 w 1103"/>
              <a:gd name="T75" fmla="*/ 1040 h 1912"/>
              <a:gd name="T76" fmla="*/ 5 w 1103"/>
              <a:gd name="T77" fmla="*/ 1176 h 1912"/>
              <a:gd name="T78" fmla="*/ 19 w 1103"/>
              <a:gd name="T79" fmla="*/ 1306 h 1912"/>
              <a:gd name="T80" fmla="*/ 42 w 1103"/>
              <a:gd name="T81" fmla="*/ 1430 h 1912"/>
              <a:gd name="T82" fmla="*/ 72 w 1103"/>
              <a:gd name="T83" fmla="*/ 1546 h 1912"/>
              <a:gd name="T84" fmla="*/ 838 w 1103"/>
              <a:gd name="T85" fmla="*/ 1912 h 1912"/>
              <a:gd name="T86" fmla="*/ 868 w 1103"/>
              <a:gd name="T87" fmla="*/ 1875 h 1912"/>
              <a:gd name="T88" fmla="*/ 895 w 1103"/>
              <a:gd name="T89" fmla="*/ 1837 h 1912"/>
              <a:gd name="T90" fmla="*/ 921 w 1103"/>
              <a:gd name="T91" fmla="*/ 1794 h 1912"/>
              <a:gd name="T92" fmla="*/ 947 w 1103"/>
              <a:gd name="T93" fmla="*/ 1748 h 1912"/>
              <a:gd name="T94" fmla="*/ 970 w 1103"/>
              <a:gd name="T95" fmla="*/ 1700 h 1912"/>
              <a:gd name="T96" fmla="*/ 993 w 1103"/>
              <a:gd name="T97" fmla="*/ 1649 h 1912"/>
              <a:gd name="T98" fmla="*/ 1012 w 1103"/>
              <a:gd name="T99" fmla="*/ 1595 h 1912"/>
              <a:gd name="T100" fmla="*/ 1030 w 1103"/>
              <a:gd name="T101" fmla="*/ 1539 h 1912"/>
              <a:gd name="T102" fmla="*/ 1062 w 1103"/>
              <a:gd name="T103" fmla="*/ 1421 h 1912"/>
              <a:gd name="T104" fmla="*/ 1085 w 1103"/>
              <a:gd name="T105" fmla="*/ 1295 h 1912"/>
              <a:gd name="T106" fmla="*/ 1098 w 1103"/>
              <a:gd name="T107" fmla="*/ 1163 h 1912"/>
              <a:gd name="T108" fmla="*/ 1102 w 1103"/>
              <a:gd name="T109" fmla="*/ 1095 h 1912"/>
              <a:gd name="T110" fmla="*/ 1103 w 1103"/>
              <a:gd name="T111" fmla="*/ 1025 h 1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03" h="1912">
                <a:moveTo>
                  <a:pt x="1103" y="1025"/>
                </a:moveTo>
                <a:lnTo>
                  <a:pt x="1103" y="1025"/>
                </a:lnTo>
                <a:lnTo>
                  <a:pt x="1102" y="972"/>
                </a:lnTo>
                <a:lnTo>
                  <a:pt x="1100" y="919"/>
                </a:lnTo>
                <a:lnTo>
                  <a:pt x="1097" y="868"/>
                </a:lnTo>
                <a:lnTo>
                  <a:pt x="1092" y="817"/>
                </a:lnTo>
                <a:lnTo>
                  <a:pt x="1086" y="767"/>
                </a:lnTo>
                <a:lnTo>
                  <a:pt x="1079" y="718"/>
                </a:lnTo>
                <a:lnTo>
                  <a:pt x="1070" y="671"/>
                </a:lnTo>
                <a:lnTo>
                  <a:pt x="1060" y="624"/>
                </a:lnTo>
                <a:lnTo>
                  <a:pt x="1049" y="578"/>
                </a:lnTo>
                <a:lnTo>
                  <a:pt x="1036" y="533"/>
                </a:lnTo>
                <a:lnTo>
                  <a:pt x="1023" y="491"/>
                </a:lnTo>
                <a:lnTo>
                  <a:pt x="1009" y="449"/>
                </a:lnTo>
                <a:lnTo>
                  <a:pt x="994" y="409"/>
                </a:lnTo>
                <a:lnTo>
                  <a:pt x="977" y="371"/>
                </a:lnTo>
                <a:lnTo>
                  <a:pt x="960" y="333"/>
                </a:lnTo>
                <a:lnTo>
                  <a:pt x="942" y="297"/>
                </a:lnTo>
                <a:lnTo>
                  <a:pt x="922" y="264"/>
                </a:lnTo>
                <a:lnTo>
                  <a:pt x="902" y="231"/>
                </a:lnTo>
                <a:lnTo>
                  <a:pt x="882" y="201"/>
                </a:lnTo>
                <a:lnTo>
                  <a:pt x="860" y="172"/>
                </a:lnTo>
                <a:lnTo>
                  <a:pt x="838" y="146"/>
                </a:lnTo>
                <a:lnTo>
                  <a:pt x="815" y="121"/>
                </a:lnTo>
                <a:lnTo>
                  <a:pt x="790" y="99"/>
                </a:lnTo>
                <a:lnTo>
                  <a:pt x="766" y="79"/>
                </a:lnTo>
                <a:lnTo>
                  <a:pt x="741" y="60"/>
                </a:lnTo>
                <a:lnTo>
                  <a:pt x="716" y="45"/>
                </a:lnTo>
                <a:lnTo>
                  <a:pt x="690" y="31"/>
                </a:lnTo>
                <a:lnTo>
                  <a:pt x="663" y="20"/>
                </a:lnTo>
                <a:lnTo>
                  <a:pt x="649" y="16"/>
                </a:lnTo>
                <a:lnTo>
                  <a:pt x="636" y="11"/>
                </a:lnTo>
                <a:lnTo>
                  <a:pt x="621" y="7"/>
                </a:lnTo>
                <a:lnTo>
                  <a:pt x="608" y="5"/>
                </a:lnTo>
                <a:lnTo>
                  <a:pt x="594" y="3"/>
                </a:lnTo>
                <a:lnTo>
                  <a:pt x="580" y="1"/>
                </a:lnTo>
                <a:lnTo>
                  <a:pt x="565" y="0"/>
                </a:lnTo>
                <a:lnTo>
                  <a:pt x="551" y="0"/>
                </a:lnTo>
                <a:lnTo>
                  <a:pt x="551" y="0"/>
                </a:lnTo>
                <a:lnTo>
                  <a:pt x="537" y="1"/>
                </a:lnTo>
                <a:lnTo>
                  <a:pt x="523" y="2"/>
                </a:lnTo>
                <a:lnTo>
                  <a:pt x="509" y="4"/>
                </a:lnTo>
                <a:lnTo>
                  <a:pt x="495" y="6"/>
                </a:lnTo>
                <a:lnTo>
                  <a:pt x="481" y="9"/>
                </a:lnTo>
                <a:lnTo>
                  <a:pt x="468" y="13"/>
                </a:lnTo>
                <a:lnTo>
                  <a:pt x="454" y="18"/>
                </a:lnTo>
                <a:lnTo>
                  <a:pt x="440" y="23"/>
                </a:lnTo>
                <a:lnTo>
                  <a:pt x="414" y="35"/>
                </a:lnTo>
                <a:lnTo>
                  <a:pt x="387" y="49"/>
                </a:lnTo>
                <a:lnTo>
                  <a:pt x="362" y="65"/>
                </a:lnTo>
                <a:lnTo>
                  <a:pt x="337" y="85"/>
                </a:lnTo>
                <a:lnTo>
                  <a:pt x="312" y="106"/>
                </a:lnTo>
                <a:lnTo>
                  <a:pt x="289" y="128"/>
                </a:lnTo>
                <a:lnTo>
                  <a:pt x="265" y="154"/>
                </a:lnTo>
                <a:lnTo>
                  <a:pt x="243" y="181"/>
                </a:lnTo>
                <a:lnTo>
                  <a:pt x="222" y="210"/>
                </a:lnTo>
                <a:lnTo>
                  <a:pt x="200" y="241"/>
                </a:lnTo>
                <a:lnTo>
                  <a:pt x="181" y="274"/>
                </a:lnTo>
                <a:lnTo>
                  <a:pt x="162" y="308"/>
                </a:lnTo>
                <a:lnTo>
                  <a:pt x="143" y="344"/>
                </a:lnTo>
                <a:lnTo>
                  <a:pt x="126" y="382"/>
                </a:lnTo>
                <a:lnTo>
                  <a:pt x="110" y="421"/>
                </a:lnTo>
                <a:lnTo>
                  <a:pt x="95" y="462"/>
                </a:lnTo>
                <a:lnTo>
                  <a:pt x="80" y="504"/>
                </a:lnTo>
                <a:lnTo>
                  <a:pt x="67" y="548"/>
                </a:lnTo>
                <a:lnTo>
                  <a:pt x="55" y="592"/>
                </a:lnTo>
                <a:lnTo>
                  <a:pt x="44" y="638"/>
                </a:lnTo>
                <a:lnTo>
                  <a:pt x="34" y="685"/>
                </a:lnTo>
                <a:lnTo>
                  <a:pt x="25" y="733"/>
                </a:lnTo>
                <a:lnTo>
                  <a:pt x="17" y="782"/>
                </a:lnTo>
                <a:lnTo>
                  <a:pt x="11" y="831"/>
                </a:lnTo>
                <a:lnTo>
                  <a:pt x="7" y="882"/>
                </a:lnTo>
                <a:lnTo>
                  <a:pt x="3" y="934"/>
                </a:lnTo>
                <a:lnTo>
                  <a:pt x="1" y="987"/>
                </a:lnTo>
                <a:lnTo>
                  <a:pt x="0" y="1040"/>
                </a:lnTo>
                <a:lnTo>
                  <a:pt x="0" y="1040"/>
                </a:lnTo>
                <a:lnTo>
                  <a:pt x="2" y="1108"/>
                </a:lnTo>
                <a:lnTo>
                  <a:pt x="5" y="1176"/>
                </a:lnTo>
                <a:lnTo>
                  <a:pt x="11" y="1241"/>
                </a:lnTo>
                <a:lnTo>
                  <a:pt x="19" y="1306"/>
                </a:lnTo>
                <a:lnTo>
                  <a:pt x="30" y="1369"/>
                </a:lnTo>
                <a:lnTo>
                  <a:pt x="42" y="1430"/>
                </a:lnTo>
                <a:lnTo>
                  <a:pt x="56" y="1489"/>
                </a:lnTo>
                <a:lnTo>
                  <a:pt x="72" y="1546"/>
                </a:lnTo>
                <a:lnTo>
                  <a:pt x="838" y="1912"/>
                </a:lnTo>
                <a:lnTo>
                  <a:pt x="838" y="1912"/>
                </a:lnTo>
                <a:lnTo>
                  <a:pt x="852" y="1893"/>
                </a:lnTo>
                <a:lnTo>
                  <a:pt x="868" y="1875"/>
                </a:lnTo>
                <a:lnTo>
                  <a:pt x="882" y="1856"/>
                </a:lnTo>
                <a:lnTo>
                  <a:pt x="895" y="1837"/>
                </a:lnTo>
                <a:lnTo>
                  <a:pt x="908" y="1815"/>
                </a:lnTo>
                <a:lnTo>
                  <a:pt x="921" y="1794"/>
                </a:lnTo>
                <a:lnTo>
                  <a:pt x="935" y="1771"/>
                </a:lnTo>
                <a:lnTo>
                  <a:pt x="947" y="1748"/>
                </a:lnTo>
                <a:lnTo>
                  <a:pt x="959" y="1725"/>
                </a:lnTo>
                <a:lnTo>
                  <a:pt x="970" y="1700"/>
                </a:lnTo>
                <a:lnTo>
                  <a:pt x="981" y="1675"/>
                </a:lnTo>
                <a:lnTo>
                  <a:pt x="993" y="1649"/>
                </a:lnTo>
                <a:lnTo>
                  <a:pt x="1003" y="1623"/>
                </a:lnTo>
                <a:lnTo>
                  <a:pt x="1012" y="1595"/>
                </a:lnTo>
                <a:lnTo>
                  <a:pt x="1022" y="1568"/>
                </a:lnTo>
                <a:lnTo>
                  <a:pt x="1030" y="1539"/>
                </a:lnTo>
                <a:lnTo>
                  <a:pt x="1048" y="1481"/>
                </a:lnTo>
                <a:lnTo>
                  <a:pt x="1062" y="1421"/>
                </a:lnTo>
                <a:lnTo>
                  <a:pt x="1074" y="1359"/>
                </a:lnTo>
                <a:lnTo>
                  <a:pt x="1085" y="1295"/>
                </a:lnTo>
                <a:lnTo>
                  <a:pt x="1093" y="1230"/>
                </a:lnTo>
                <a:lnTo>
                  <a:pt x="1098" y="1163"/>
                </a:lnTo>
                <a:lnTo>
                  <a:pt x="1101" y="1128"/>
                </a:lnTo>
                <a:lnTo>
                  <a:pt x="1102" y="1095"/>
                </a:lnTo>
                <a:lnTo>
                  <a:pt x="1103" y="1059"/>
                </a:lnTo>
                <a:lnTo>
                  <a:pt x="1103" y="1025"/>
                </a:lnTo>
                <a:lnTo>
                  <a:pt x="1103" y="1025"/>
                </a:lnTo>
                <a:close/>
              </a:path>
            </a:pathLst>
          </a:custGeom>
          <a:solidFill>
            <a:schemeClr val="accent1">
              <a:lumMod val="50000"/>
            </a:schemeClr>
          </a:solidFill>
          <a:ln w="9525">
            <a:solidFill>
              <a:schemeClr val="accent2">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4" name="Freeform 2378"/>
          <p:cNvSpPr>
            <a:spLocks/>
          </p:cNvSpPr>
          <p:nvPr/>
        </p:nvSpPr>
        <p:spPr bwMode="auto">
          <a:xfrm>
            <a:off x="8890001" y="5411789"/>
            <a:ext cx="1309688" cy="188913"/>
          </a:xfrm>
          <a:custGeom>
            <a:avLst/>
            <a:gdLst>
              <a:gd name="T0" fmla="*/ 0 w 4951"/>
              <a:gd name="T1" fmla="*/ 568 h 711"/>
              <a:gd name="T2" fmla="*/ 4628 w 4951"/>
              <a:gd name="T3" fmla="*/ 0 h 711"/>
              <a:gd name="T4" fmla="*/ 4951 w 4951"/>
              <a:gd name="T5" fmla="*/ 120 h 711"/>
              <a:gd name="T6" fmla="*/ 287 w 4951"/>
              <a:gd name="T7" fmla="*/ 711 h 711"/>
              <a:gd name="T8" fmla="*/ 0 w 4951"/>
              <a:gd name="T9" fmla="*/ 568 h 711"/>
            </a:gdLst>
            <a:ahLst/>
            <a:cxnLst>
              <a:cxn ang="0">
                <a:pos x="T0" y="T1"/>
              </a:cxn>
              <a:cxn ang="0">
                <a:pos x="T2" y="T3"/>
              </a:cxn>
              <a:cxn ang="0">
                <a:pos x="T4" y="T5"/>
              </a:cxn>
              <a:cxn ang="0">
                <a:pos x="T6" y="T7"/>
              </a:cxn>
              <a:cxn ang="0">
                <a:pos x="T8" y="T9"/>
              </a:cxn>
            </a:cxnLst>
            <a:rect l="0" t="0" r="r" b="b"/>
            <a:pathLst>
              <a:path w="4951" h="711">
                <a:moveTo>
                  <a:pt x="0" y="568"/>
                </a:moveTo>
                <a:lnTo>
                  <a:pt x="4628" y="0"/>
                </a:lnTo>
                <a:lnTo>
                  <a:pt x="4951" y="120"/>
                </a:lnTo>
                <a:lnTo>
                  <a:pt x="287" y="711"/>
                </a:lnTo>
                <a:lnTo>
                  <a:pt x="0" y="568"/>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5" name="Freeform 2379"/>
          <p:cNvSpPr>
            <a:spLocks/>
          </p:cNvSpPr>
          <p:nvPr/>
        </p:nvSpPr>
        <p:spPr bwMode="auto">
          <a:xfrm>
            <a:off x="8890001" y="5540377"/>
            <a:ext cx="1309688" cy="195263"/>
          </a:xfrm>
          <a:custGeom>
            <a:avLst/>
            <a:gdLst>
              <a:gd name="T0" fmla="*/ 0 w 4951"/>
              <a:gd name="T1" fmla="*/ 595 h 739"/>
              <a:gd name="T2" fmla="*/ 4629 w 4951"/>
              <a:gd name="T3" fmla="*/ 0 h 739"/>
              <a:gd name="T4" fmla="*/ 4951 w 4951"/>
              <a:gd name="T5" fmla="*/ 148 h 739"/>
              <a:gd name="T6" fmla="*/ 287 w 4951"/>
              <a:gd name="T7" fmla="*/ 739 h 739"/>
              <a:gd name="T8" fmla="*/ 0 w 4951"/>
              <a:gd name="T9" fmla="*/ 595 h 739"/>
            </a:gdLst>
            <a:ahLst/>
            <a:cxnLst>
              <a:cxn ang="0">
                <a:pos x="T0" y="T1"/>
              </a:cxn>
              <a:cxn ang="0">
                <a:pos x="T2" y="T3"/>
              </a:cxn>
              <a:cxn ang="0">
                <a:pos x="T4" y="T5"/>
              </a:cxn>
              <a:cxn ang="0">
                <a:pos x="T6" y="T7"/>
              </a:cxn>
              <a:cxn ang="0">
                <a:pos x="T8" y="T9"/>
              </a:cxn>
            </a:cxnLst>
            <a:rect l="0" t="0" r="r" b="b"/>
            <a:pathLst>
              <a:path w="4951" h="739">
                <a:moveTo>
                  <a:pt x="0" y="595"/>
                </a:moveTo>
                <a:lnTo>
                  <a:pt x="4629" y="0"/>
                </a:lnTo>
                <a:lnTo>
                  <a:pt x="4951" y="148"/>
                </a:lnTo>
                <a:lnTo>
                  <a:pt x="287" y="739"/>
                </a:lnTo>
                <a:lnTo>
                  <a:pt x="0" y="595"/>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6" name="Freeform 2380"/>
          <p:cNvSpPr>
            <a:spLocks/>
          </p:cNvSpPr>
          <p:nvPr/>
        </p:nvSpPr>
        <p:spPr bwMode="auto">
          <a:xfrm>
            <a:off x="8890001" y="5681664"/>
            <a:ext cx="1309688" cy="195263"/>
          </a:xfrm>
          <a:custGeom>
            <a:avLst/>
            <a:gdLst>
              <a:gd name="T0" fmla="*/ 0 w 4951"/>
              <a:gd name="T1" fmla="*/ 594 h 738"/>
              <a:gd name="T2" fmla="*/ 4629 w 4951"/>
              <a:gd name="T3" fmla="*/ 0 h 738"/>
              <a:gd name="T4" fmla="*/ 4951 w 4951"/>
              <a:gd name="T5" fmla="*/ 147 h 738"/>
              <a:gd name="T6" fmla="*/ 288 w 4951"/>
              <a:gd name="T7" fmla="*/ 738 h 738"/>
              <a:gd name="T8" fmla="*/ 0 w 4951"/>
              <a:gd name="T9" fmla="*/ 594 h 738"/>
            </a:gdLst>
            <a:ahLst/>
            <a:cxnLst>
              <a:cxn ang="0">
                <a:pos x="T0" y="T1"/>
              </a:cxn>
              <a:cxn ang="0">
                <a:pos x="T2" y="T3"/>
              </a:cxn>
              <a:cxn ang="0">
                <a:pos x="T4" y="T5"/>
              </a:cxn>
              <a:cxn ang="0">
                <a:pos x="T6" y="T7"/>
              </a:cxn>
              <a:cxn ang="0">
                <a:pos x="T8" y="T9"/>
              </a:cxn>
            </a:cxnLst>
            <a:rect l="0" t="0" r="r" b="b"/>
            <a:pathLst>
              <a:path w="4951" h="738">
                <a:moveTo>
                  <a:pt x="0" y="594"/>
                </a:moveTo>
                <a:lnTo>
                  <a:pt x="4629" y="0"/>
                </a:lnTo>
                <a:lnTo>
                  <a:pt x="4951" y="147"/>
                </a:lnTo>
                <a:lnTo>
                  <a:pt x="288" y="738"/>
                </a:lnTo>
                <a:lnTo>
                  <a:pt x="0" y="594"/>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7" name="Freeform 2381"/>
          <p:cNvSpPr>
            <a:spLocks/>
          </p:cNvSpPr>
          <p:nvPr/>
        </p:nvSpPr>
        <p:spPr bwMode="auto">
          <a:xfrm>
            <a:off x="8721726" y="5454651"/>
            <a:ext cx="292100" cy="527050"/>
          </a:xfrm>
          <a:custGeom>
            <a:avLst/>
            <a:gdLst>
              <a:gd name="T0" fmla="*/ 1102 w 1102"/>
              <a:gd name="T1" fmla="*/ 1067 h 1991"/>
              <a:gd name="T2" fmla="*/ 1100 w 1102"/>
              <a:gd name="T3" fmla="*/ 957 h 1991"/>
              <a:gd name="T4" fmla="*/ 1091 w 1102"/>
              <a:gd name="T5" fmla="*/ 850 h 1991"/>
              <a:gd name="T6" fmla="*/ 1078 w 1102"/>
              <a:gd name="T7" fmla="*/ 747 h 1991"/>
              <a:gd name="T8" fmla="*/ 1059 w 1102"/>
              <a:gd name="T9" fmla="*/ 649 h 1991"/>
              <a:gd name="T10" fmla="*/ 1036 w 1102"/>
              <a:gd name="T11" fmla="*/ 555 h 1991"/>
              <a:gd name="T12" fmla="*/ 1008 w 1102"/>
              <a:gd name="T13" fmla="*/ 467 h 1991"/>
              <a:gd name="T14" fmla="*/ 976 w 1102"/>
              <a:gd name="T15" fmla="*/ 384 h 1991"/>
              <a:gd name="T16" fmla="*/ 940 w 1102"/>
              <a:gd name="T17" fmla="*/ 309 h 1991"/>
              <a:gd name="T18" fmla="*/ 902 w 1102"/>
              <a:gd name="T19" fmla="*/ 240 h 1991"/>
              <a:gd name="T20" fmla="*/ 859 w 1102"/>
              <a:gd name="T21" fmla="*/ 179 h 1991"/>
              <a:gd name="T22" fmla="*/ 813 w 1102"/>
              <a:gd name="T23" fmla="*/ 126 h 1991"/>
              <a:gd name="T24" fmla="*/ 765 w 1102"/>
              <a:gd name="T25" fmla="*/ 81 h 1991"/>
              <a:gd name="T26" fmla="*/ 715 w 1102"/>
              <a:gd name="T27" fmla="*/ 46 h 1991"/>
              <a:gd name="T28" fmla="*/ 675 w 1102"/>
              <a:gd name="T29" fmla="*/ 25 h 1991"/>
              <a:gd name="T30" fmla="*/ 648 w 1102"/>
              <a:gd name="T31" fmla="*/ 15 h 1991"/>
              <a:gd name="T32" fmla="*/ 621 w 1102"/>
              <a:gd name="T33" fmla="*/ 7 h 1991"/>
              <a:gd name="T34" fmla="*/ 593 w 1102"/>
              <a:gd name="T35" fmla="*/ 2 h 1991"/>
              <a:gd name="T36" fmla="*/ 564 w 1102"/>
              <a:gd name="T37" fmla="*/ 0 h 1991"/>
              <a:gd name="T38" fmla="*/ 550 w 1102"/>
              <a:gd name="T39" fmla="*/ 0 h 1991"/>
              <a:gd name="T40" fmla="*/ 522 w 1102"/>
              <a:gd name="T41" fmla="*/ 1 h 1991"/>
              <a:gd name="T42" fmla="*/ 494 w 1102"/>
              <a:gd name="T43" fmla="*/ 6 h 1991"/>
              <a:gd name="T44" fmla="*/ 466 w 1102"/>
              <a:gd name="T45" fmla="*/ 13 h 1991"/>
              <a:gd name="T46" fmla="*/ 439 w 1102"/>
              <a:gd name="T47" fmla="*/ 23 h 1991"/>
              <a:gd name="T48" fmla="*/ 413 w 1102"/>
              <a:gd name="T49" fmla="*/ 35 h 1991"/>
              <a:gd name="T50" fmla="*/ 361 w 1102"/>
              <a:gd name="T51" fmla="*/ 67 h 1991"/>
              <a:gd name="T52" fmla="*/ 311 w 1102"/>
              <a:gd name="T53" fmla="*/ 109 h 1991"/>
              <a:gd name="T54" fmla="*/ 264 w 1102"/>
              <a:gd name="T55" fmla="*/ 159 h 1991"/>
              <a:gd name="T56" fmla="*/ 220 w 1102"/>
              <a:gd name="T57" fmla="*/ 217 h 1991"/>
              <a:gd name="T58" fmla="*/ 180 w 1102"/>
              <a:gd name="T59" fmla="*/ 284 h 1991"/>
              <a:gd name="T60" fmla="*/ 142 w 1102"/>
              <a:gd name="T61" fmla="*/ 357 h 1991"/>
              <a:gd name="T62" fmla="*/ 108 w 1102"/>
              <a:gd name="T63" fmla="*/ 437 h 1991"/>
              <a:gd name="T64" fmla="*/ 79 w 1102"/>
              <a:gd name="T65" fmla="*/ 524 h 1991"/>
              <a:gd name="T66" fmla="*/ 54 w 1102"/>
              <a:gd name="T67" fmla="*/ 615 h 1991"/>
              <a:gd name="T68" fmla="*/ 32 w 1102"/>
              <a:gd name="T69" fmla="*/ 712 h 1991"/>
              <a:gd name="T70" fmla="*/ 17 w 1102"/>
              <a:gd name="T71" fmla="*/ 814 h 1991"/>
              <a:gd name="T72" fmla="*/ 6 w 1102"/>
              <a:gd name="T73" fmla="*/ 918 h 1991"/>
              <a:gd name="T74" fmla="*/ 0 w 1102"/>
              <a:gd name="T75" fmla="*/ 1026 h 1991"/>
              <a:gd name="T76" fmla="*/ 0 w 1102"/>
              <a:gd name="T77" fmla="*/ 1082 h 1991"/>
              <a:gd name="T78" fmla="*/ 4 w 1102"/>
              <a:gd name="T79" fmla="*/ 1224 h 1991"/>
              <a:gd name="T80" fmla="*/ 18 w 1102"/>
              <a:gd name="T81" fmla="*/ 1359 h 1991"/>
              <a:gd name="T82" fmla="*/ 40 w 1102"/>
              <a:gd name="T83" fmla="*/ 1488 h 1991"/>
              <a:gd name="T84" fmla="*/ 71 w 1102"/>
              <a:gd name="T85" fmla="*/ 1609 h 1991"/>
              <a:gd name="T86" fmla="*/ 837 w 1102"/>
              <a:gd name="T87" fmla="*/ 1991 h 1991"/>
              <a:gd name="T88" fmla="*/ 866 w 1102"/>
              <a:gd name="T89" fmla="*/ 1953 h 1991"/>
              <a:gd name="T90" fmla="*/ 894 w 1102"/>
              <a:gd name="T91" fmla="*/ 1912 h 1991"/>
              <a:gd name="T92" fmla="*/ 921 w 1102"/>
              <a:gd name="T93" fmla="*/ 1868 h 1991"/>
              <a:gd name="T94" fmla="*/ 945 w 1102"/>
              <a:gd name="T95" fmla="*/ 1821 h 1991"/>
              <a:gd name="T96" fmla="*/ 969 w 1102"/>
              <a:gd name="T97" fmla="*/ 1771 h 1991"/>
              <a:gd name="T98" fmla="*/ 991 w 1102"/>
              <a:gd name="T99" fmla="*/ 1717 h 1991"/>
              <a:gd name="T100" fmla="*/ 1012 w 1102"/>
              <a:gd name="T101" fmla="*/ 1662 h 1991"/>
              <a:gd name="T102" fmla="*/ 1030 w 1102"/>
              <a:gd name="T103" fmla="*/ 1603 h 1991"/>
              <a:gd name="T104" fmla="*/ 1046 w 1102"/>
              <a:gd name="T105" fmla="*/ 1543 h 1991"/>
              <a:gd name="T106" fmla="*/ 1074 w 1102"/>
              <a:gd name="T107" fmla="*/ 1416 h 1991"/>
              <a:gd name="T108" fmla="*/ 1092 w 1102"/>
              <a:gd name="T109" fmla="*/ 1281 h 1991"/>
              <a:gd name="T110" fmla="*/ 1100 w 1102"/>
              <a:gd name="T111" fmla="*/ 1175 h 1991"/>
              <a:gd name="T112" fmla="*/ 1102 w 1102"/>
              <a:gd name="T113" fmla="*/ 1104 h 1991"/>
              <a:gd name="T114" fmla="*/ 1102 w 1102"/>
              <a:gd name="T115" fmla="*/ 1067 h 19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2" h="1991">
                <a:moveTo>
                  <a:pt x="1102" y="1067"/>
                </a:moveTo>
                <a:lnTo>
                  <a:pt x="1102" y="1067"/>
                </a:lnTo>
                <a:lnTo>
                  <a:pt x="1102" y="1012"/>
                </a:lnTo>
                <a:lnTo>
                  <a:pt x="1100" y="957"/>
                </a:lnTo>
                <a:lnTo>
                  <a:pt x="1096" y="903"/>
                </a:lnTo>
                <a:lnTo>
                  <a:pt x="1091" y="850"/>
                </a:lnTo>
                <a:lnTo>
                  <a:pt x="1085" y="798"/>
                </a:lnTo>
                <a:lnTo>
                  <a:pt x="1078" y="747"/>
                </a:lnTo>
                <a:lnTo>
                  <a:pt x="1069" y="698"/>
                </a:lnTo>
                <a:lnTo>
                  <a:pt x="1059" y="649"/>
                </a:lnTo>
                <a:lnTo>
                  <a:pt x="1048" y="601"/>
                </a:lnTo>
                <a:lnTo>
                  <a:pt x="1036" y="555"/>
                </a:lnTo>
                <a:lnTo>
                  <a:pt x="1023" y="510"/>
                </a:lnTo>
                <a:lnTo>
                  <a:pt x="1008" y="467"/>
                </a:lnTo>
                <a:lnTo>
                  <a:pt x="992" y="425"/>
                </a:lnTo>
                <a:lnTo>
                  <a:pt x="976" y="384"/>
                </a:lnTo>
                <a:lnTo>
                  <a:pt x="959" y="346"/>
                </a:lnTo>
                <a:lnTo>
                  <a:pt x="940" y="309"/>
                </a:lnTo>
                <a:lnTo>
                  <a:pt x="921" y="273"/>
                </a:lnTo>
                <a:lnTo>
                  <a:pt x="902" y="240"/>
                </a:lnTo>
                <a:lnTo>
                  <a:pt x="880" y="208"/>
                </a:lnTo>
                <a:lnTo>
                  <a:pt x="859" y="179"/>
                </a:lnTo>
                <a:lnTo>
                  <a:pt x="837" y="151"/>
                </a:lnTo>
                <a:lnTo>
                  <a:pt x="813" y="126"/>
                </a:lnTo>
                <a:lnTo>
                  <a:pt x="790" y="102"/>
                </a:lnTo>
                <a:lnTo>
                  <a:pt x="765" y="81"/>
                </a:lnTo>
                <a:lnTo>
                  <a:pt x="740" y="62"/>
                </a:lnTo>
                <a:lnTo>
                  <a:pt x="715" y="46"/>
                </a:lnTo>
                <a:lnTo>
                  <a:pt x="688" y="31"/>
                </a:lnTo>
                <a:lnTo>
                  <a:pt x="675" y="25"/>
                </a:lnTo>
                <a:lnTo>
                  <a:pt x="662" y="20"/>
                </a:lnTo>
                <a:lnTo>
                  <a:pt x="648" y="15"/>
                </a:lnTo>
                <a:lnTo>
                  <a:pt x="634" y="11"/>
                </a:lnTo>
                <a:lnTo>
                  <a:pt x="621" y="7"/>
                </a:lnTo>
                <a:lnTo>
                  <a:pt x="607" y="4"/>
                </a:lnTo>
                <a:lnTo>
                  <a:pt x="593" y="2"/>
                </a:lnTo>
                <a:lnTo>
                  <a:pt x="578" y="1"/>
                </a:lnTo>
                <a:lnTo>
                  <a:pt x="564" y="0"/>
                </a:lnTo>
                <a:lnTo>
                  <a:pt x="550" y="0"/>
                </a:lnTo>
                <a:lnTo>
                  <a:pt x="550" y="0"/>
                </a:lnTo>
                <a:lnTo>
                  <a:pt x="536" y="0"/>
                </a:lnTo>
                <a:lnTo>
                  <a:pt x="522" y="1"/>
                </a:lnTo>
                <a:lnTo>
                  <a:pt x="508" y="3"/>
                </a:lnTo>
                <a:lnTo>
                  <a:pt x="494" y="6"/>
                </a:lnTo>
                <a:lnTo>
                  <a:pt x="480" y="9"/>
                </a:lnTo>
                <a:lnTo>
                  <a:pt x="466" y="13"/>
                </a:lnTo>
                <a:lnTo>
                  <a:pt x="452" y="17"/>
                </a:lnTo>
                <a:lnTo>
                  <a:pt x="439" y="23"/>
                </a:lnTo>
                <a:lnTo>
                  <a:pt x="426" y="28"/>
                </a:lnTo>
                <a:lnTo>
                  <a:pt x="413" y="35"/>
                </a:lnTo>
                <a:lnTo>
                  <a:pt x="386" y="50"/>
                </a:lnTo>
                <a:lnTo>
                  <a:pt x="361" y="67"/>
                </a:lnTo>
                <a:lnTo>
                  <a:pt x="335" y="87"/>
                </a:lnTo>
                <a:lnTo>
                  <a:pt x="311" y="109"/>
                </a:lnTo>
                <a:lnTo>
                  <a:pt x="287" y="133"/>
                </a:lnTo>
                <a:lnTo>
                  <a:pt x="264" y="159"/>
                </a:lnTo>
                <a:lnTo>
                  <a:pt x="242" y="187"/>
                </a:lnTo>
                <a:lnTo>
                  <a:pt x="220" y="217"/>
                </a:lnTo>
                <a:lnTo>
                  <a:pt x="200" y="250"/>
                </a:lnTo>
                <a:lnTo>
                  <a:pt x="180" y="284"/>
                </a:lnTo>
                <a:lnTo>
                  <a:pt x="160" y="319"/>
                </a:lnTo>
                <a:lnTo>
                  <a:pt x="142" y="357"/>
                </a:lnTo>
                <a:lnTo>
                  <a:pt x="125" y="396"/>
                </a:lnTo>
                <a:lnTo>
                  <a:pt x="108" y="437"/>
                </a:lnTo>
                <a:lnTo>
                  <a:pt x="93" y="480"/>
                </a:lnTo>
                <a:lnTo>
                  <a:pt x="79" y="524"/>
                </a:lnTo>
                <a:lnTo>
                  <a:pt x="66" y="568"/>
                </a:lnTo>
                <a:lnTo>
                  <a:pt x="54" y="615"/>
                </a:lnTo>
                <a:lnTo>
                  <a:pt x="42" y="663"/>
                </a:lnTo>
                <a:lnTo>
                  <a:pt x="32" y="712"/>
                </a:lnTo>
                <a:lnTo>
                  <a:pt x="24" y="762"/>
                </a:lnTo>
                <a:lnTo>
                  <a:pt x="17" y="814"/>
                </a:lnTo>
                <a:lnTo>
                  <a:pt x="11" y="865"/>
                </a:lnTo>
                <a:lnTo>
                  <a:pt x="6" y="918"/>
                </a:lnTo>
                <a:lnTo>
                  <a:pt x="2" y="972"/>
                </a:lnTo>
                <a:lnTo>
                  <a:pt x="0" y="1026"/>
                </a:lnTo>
                <a:lnTo>
                  <a:pt x="0" y="1082"/>
                </a:lnTo>
                <a:lnTo>
                  <a:pt x="0" y="1082"/>
                </a:lnTo>
                <a:lnTo>
                  <a:pt x="1" y="1153"/>
                </a:lnTo>
                <a:lnTo>
                  <a:pt x="4" y="1224"/>
                </a:lnTo>
                <a:lnTo>
                  <a:pt x="10" y="1292"/>
                </a:lnTo>
                <a:lnTo>
                  <a:pt x="18" y="1359"/>
                </a:lnTo>
                <a:lnTo>
                  <a:pt x="28" y="1425"/>
                </a:lnTo>
                <a:lnTo>
                  <a:pt x="40" y="1488"/>
                </a:lnTo>
                <a:lnTo>
                  <a:pt x="55" y="1550"/>
                </a:lnTo>
                <a:lnTo>
                  <a:pt x="71" y="1609"/>
                </a:lnTo>
                <a:lnTo>
                  <a:pt x="837" y="1991"/>
                </a:lnTo>
                <a:lnTo>
                  <a:pt x="837" y="1991"/>
                </a:lnTo>
                <a:lnTo>
                  <a:pt x="852" y="1972"/>
                </a:lnTo>
                <a:lnTo>
                  <a:pt x="866" y="1953"/>
                </a:lnTo>
                <a:lnTo>
                  <a:pt x="880" y="1933"/>
                </a:lnTo>
                <a:lnTo>
                  <a:pt x="894" y="1912"/>
                </a:lnTo>
                <a:lnTo>
                  <a:pt x="908" y="1890"/>
                </a:lnTo>
                <a:lnTo>
                  <a:pt x="921" y="1868"/>
                </a:lnTo>
                <a:lnTo>
                  <a:pt x="933" y="1845"/>
                </a:lnTo>
                <a:lnTo>
                  <a:pt x="945" y="1821"/>
                </a:lnTo>
                <a:lnTo>
                  <a:pt x="958" y="1796"/>
                </a:lnTo>
                <a:lnTo>
                  <a:pt x="969" y="1771"/>
                </a:lnTo>
                <a:lnTo>
                  <a:pt x="980" y="1744"/>
                </a:lnTo>
                <a:lnTo>
                  <a:pt x="991" y="1717"/>
                </a:lnTo>
                <a:lnTo>
                  <a:pt x="1001" y="1690"/>
                </a:lnTo>
                <a:lnTo>
                  <a:pt x="1012" y="1662"/>
                </a:lnTo>
                <a:lnTo>
                  <a:pt x="1021" y="1633"/>
                </a:lnTo>
                <a:lnTo>
                  <a:pt x="1030" y="1603"/>
                </a:lnTo>
                <a:lnTo>
                  <a:pt x="1038" y="1574"/>
                </a:lnTo>
                <a:lnTo>
                  <a:pt x="1046" y="1543"/>
                </a:lnTo>
                <a:lnTo>
                  <a:pt x="1060" y="1480"/>
                </a:lnTo>
                <a:lnTo>
                  <a:pt x="1074" y="1416"/>
                </a:lnTo>
                <a:lnTo>
                  <a:pt x="1084" y="1349"/>
                </a:lnTo>
                <a:lnTo>
                  <a:pt x="1092" y="1281"/>
                </a:lnTo>
                <a:lnTo>
                  <a:pt x="1098" y="1210"/>
                </a:lnTo>
                <a:lnTo>
                  <a:pt x="1100" y="1175"/>
                </a:lnTo>
                <a:lnTo>
                  <a:pt x="1101" y="1139"/>
                </a:lnTo>
                <a:lnTo>
                  <a:pt x="1102" y="1104"/>
                </a:lnTo>
                <a:lnTo>
                  <a:pt x="1102" y="1067"/>
                </a:lnTo>
                <a:lnTo>
                  <a:pt x="1102" y="1067"/>
                </a:lnTo>
                <a:close/>
              </a:path>
            </a:pathLst>
          </a:custGeom>
          <a:solidFill>
            <a:schemeClr val="accent1">
              <a:lumMod val="50000"/>
            </a:schemeClr>
          </a:solidFill>
          <a:ln w="9525">
            <a:solidFill>
              <a:schemeClr val="accent2">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19" name="Freeform 2273"/>
          <p:cNvSpPr>
            <a:spLocks/>
          </p:cNvSpPr>
          <p:nvPr/>
        </p:nvSpPr>
        <p:spPr bwMode="auto">
          <a:xfrm>
            <a:off x="10310814" y="5910264"/>
            <a:ext cx="28575" cy="303213"/>
          </a:xfrm>
          <a:custGeom>
            <a:avLst/>
            <a:gdLst>
              <a:gd name="T0" fmla="*/ 0 w 113"/>
              <a:gd name="T1" fmla="*/ 109 h 1149"/>
              <a:gd name="T2" fmla="*/ 0 w 113"/>
              <a:gd name="T3" fmla="*/ 109 h 1149"/>
              <a:gd name="T4" fmla="*/ 1 w 113"/>
              <a:gd name="T5" fmla="*/ 86 h 1149"/>
              <a:gd name="T6" fmla="*/ 4 w 113"/>
              <a:gd name="T7" fmla="*/ 66 h 1149"/>
              <a:gd name="T8" fmla="*/ 9 w 113"/>
              <a:gd name="T9" fmla="*/ 48 h 1149"/>
              <a:gd name="T10" fmla="*/ 13 w 113"/>
              <a:gd name="T11" fmla="*/ 40 h 1149"/>
              <a:gd name="T12" fmla="*/ 16 w 113"/>
              <a:gd name="T13" fmla="*/ 33 h 1149"/>
              <a:gd name="T14" fmla="*/ 20 w 113"/>
              <a:gd name="T15" fmla="*/ 25 h 1149"/>
              <a:gd name="T16" fmla="*/ 24 w 113"/>
              <a:gd name="T17" fmla="*/ 19 h 1149"/>
              <a:gd name="T18" fmla="*/ 30 w 113"/>
              <a:gd name="T19" fmla="*/ 13 h 1149"/>
              <a:gd name="T20" fmla="*/ 35 w 113"/>
              <a:gd name="T21" fmla="*/ 9 h 1149"/>
              <a:gd name="T22" fmla="*/ 40 w 113"/>
              <a:gd name="T23" fmla="*/ 5 h 1149"/>
              <a:gd name="T24" fmla="*/ 45 w 113"/>
              <a:gd name="T25" fmla="*/ 2 h 1149"/>
              <a:gd name="T26" fmla="*/ 51 w 113"/>
              <a:gd name="T27" fmla="*/ 1 h 1149"/>
              <a:gd name="T28" fmla="*/ 56 w 113"/>
              <a:gd name="T29" fmla="*/ 0 h 1149"/>
              <a:gd name="T30" fmla="*/ 56 w 113"/>
              <a:gd name="T31" fmla="*/ 0 h 1149"/>
              <a:gd name="T32" fmla="*/ 62 w 113"/>
              <a:gd name="T33" fmla="*/ 1 h 1149"/>
              <a:gd name="T34" fmla="*/ 67 w 113"/>
              <a:gd name="T35" fmla="*/ 2 h 1149"/>
              <a:gd name="T36" fmla="*/ 73 w 113"/>
              <a:gd name="T37" fmla="*/ 5 h 1149"/>
              <a:gd name="T38" fmla="*/ 78 w 113"/>
              <a:gd name="T39" fmla="*/ 9 h 1149"/>
              <a:gd name="T40" fmla="*/ 83 w 113"/>
              <a:gd name="T41" fmla="*/ 13 h 1149"/>
              <a:gd name="T42" fmla="*/ 87 w 113"/>
              <a:gd name="T43" fmla="*/ 19 h 1149"/>
              <a:gd name="T44" fmla="*/ 92 w 113"/>
              <a:gd name="T45" fmla="*/ 25 h 1149"/>
              <a:gd name="T46" fmla="*/ 96 w 113"/>
              <a:gd name="T47" fmla="*/ 33 h 1149"/>
              <a:gd name="T48" fmla="*/ 100 w 113"/>
              <a:gd name="T49" fmla="*/ 40 h 1149"/>
              <a:gd name="T50" fmla="*/ 103 w 113"/>
              <a:gd name="T51" fmla="*/ 48 h 1149"/>
              <a:gd name="T52" fmla="*/ 108 w 113"/>
              <a:gd name="T53" fmla="*/ 66 h 1149"/>
              <a:gd name="T54" fmla="*/ 111 w 113"/>
              <a:gd name="T55" fmla="*/ 86 h 1149"/>
              <a:gd name="T56" fmla="*/ 113 w 113"/>
              <a:gd name="T57" fmla="*/ 109 h 1149"/>
              <a:gd name="T58" fmla="*/ 113 w 113"/>
              <a:gd name="T59" fmla="*/ 1041 h 1149"/>
              <a:gd name="T60" fmla="*/ 113 w 113"/>
              <a:gd name="T61" fmla="*/ 1041 h 1149"/>
              <a:gd name="T62" fmla="*/ 111 w 113"/>
              <a:gd name="T63" fmla="*/ 1062 h 1149"/>
              <a:gd name="T64" fmla="*/ 108 w 113"/>
              <a:gd name="T65" fmla="*/ 1082 h 1149"/>
              <a:gd name="T66" fmla="*/ 103 w 113"/>
              <a:gd name="T67" fmla="*/ 1101 h 1149"/>
              <a:gd name="T68" fmla="*/ 100 w 113"/>
              <a:gd name="T69" fmla="*/ 1109 h 1149"/>
              <a:gd name="T70" fmla="*/ 96 w 113"/>
              <a:gd name="T71" fmla="*/ 1117 h 1149"/>
              <a:gd name="T72" fmla="*/ 92 w 113"/>
              <a:gd name="T73" fmla="*/ 1124 h 1149"/>
              <a:gd name="T74" fmla="*/ 87 w 113"/>
              <a:gd name="T75" fmla="*/ 1130 h 1149"/>
              <a:gd name="T76" fmla="*/ 83 w 113"/>
              <a:gd name="T77" fmla="*/ 1135 h 1149"/>
              <a:gd name="T78" fmla="*/ 78 w 113"/>
              <a:gd name="T79" fmla="*/ 1140 h 1149"/>
              <a:gd name="T80" fmla="*/ 73 w 113"/>
              <a:gd name="T81" fmla="*/ 1143 h 1149"/>
              <a:gd name="T82" fmla="*/ 67 w 113"/>
              <a:gd name="T83" fmla="*/ 1147 h 1149"/>
              <a:gd name="T84" fmla="*/ 62 w 113"/>
              <a:gd name="T85" fmla="*/ 1149 h 1149"/>
              <a:gd name="T86" fmla="*/ 56 w 113"/>
              <a:gd name="T87" fmla="*/ 1149 h 1149"/>
              <a:gd name="T88" fmla="*/ 56 w 113"/>
              <a:gd name="T89" fmla="*/ 1149 h 1149"/>
              <a:gd name="T90" fmla="*/ 51 w 113"/>
              <a:gd name="T91" fmla="*/ 1149 h 1149"/>
              <a:gd name="T92" fmla="*/ 45 w 113"/>
              <a:gd name="T93" fmla="*/ 1147 h 1149"/>
              <a:gd name="T94" fmla="*/ 40 w 113"/>
              <a:gd name="T95" fmla="*/ 1143 h 1149"/>
              <a:gd name="T96" fmla="*/ 35 w 113"/>
              <a:gd name="T97" fmla="*/ 1140 h 1149"/>
              <a:gd name="T98" fmla="*/ 30 w 113"/>
              <a:gd name="T99" fmla="*/ 1135 h 1149"/>
              <a:gd name="T100" fmla="*/ 24 w 113"/>
              <a:gd name="T101" fmla="*/ 1130 h 1149"/>
              <a:gd name="T102" fmla="*/ 20 w 113"/>
              <a:gd name="T103" fmla="*/ 1124 h 1149"/>
              <a:gd name="T104" fmla="*/ 16 w 113"/>
              <a:gd name="T105" fmla="*/ 1117 h 1149"/>
              <a:gd name="T106" fmla="*/ 13 w 113"/>
              <a:gd name="T107" fmla="*/ 1109 h 1149"/>
              <a:gd name="T108" fmla="*/ 9 w 113"/>
              <a:gd name="T109" fmla="*/ 1101 h 1149"/>
              <a:gd name="T110" fmla="*/ 4 w 113"/>
              <a:gd name="T111" fmla="*/ 1082 h 1149"/>
              <a:gd name="T112" fmla="*/ 1 w 113"/>
              <a:gd name="T113" fmla="*/ 1062 h 1149"/>
              <a:gd name="T114" fmla="*/ 0 w 113"/>
              <a:gd name="T115" fmla="*/ 1041 h 1149"/>
              <a:gd name="T116" fmla="*/ 0 w 113"/>
              <a:gd name="T117" fmla="*/ 109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3" h="1149">
                <a:moveTo>
                  <a:pt x="0" y="109"/>
                </a:moveTo>
                <a:lnTo>
                  <a:pt x="0" y="109"/>
                </a:lnTo>
                <a:lnTo>
                  <a:pt x="1" y="86"/>
                </a:lnTo>
                <a:lnTo>
                  <a:pt x="4" y="66"/>
                </a:lnTo>
                <a:lnTo>
                  <a:pt x="9" y="48"/>
                </a:lnTo>
                <a:lnTo>
                  <a:pt x="13" y="40"/>
                </a:lnTo>
                <a:lnTo>
                  <a:pt x="16" y="33"/>
                </a:lnTo>
                <a:lnTo>
                  <a:pt x="20" y="25"/>
                </a:lnTo>
                <a:lnTo>
                  <a:pt x="24" y="19"/>
                </a:lnTo>
                <a:lnTo>
                  <a:pt x="30" y="13"/>
                </a:lnTo>
                <a:lnTo>
                  <a:pt x="35" y="9"/>
                </a:lnTo>
                <a:lnTo>
                  <a:pt x="40" y="5"/>
                </a:lnTo>
                <a:lnTo>
                  <a:pt x="45" y="2"/>
                </a:lnTo>
                <a:lnTo>
                  <a:pt x="51" y="1"/>
                </a:lnTo>
                <a:lnTo>
                  <a:pt x="56" y="0"/>
                </a:lnTo>
                <a:lnTo>
                  <a:pt x="56" y="0"/>
                </a:lnTo>
                <a:lnTo>
                  <a:pt x="62" y="1"/>
                </a:lnTo>
                <a:lnTo>
                  <a:pt x="67" y="2"/>
                </a:lnTo>
                <a:lnTo>
                  <a:pt x="73" y="5"/>
                </a:lnTo>
                <a:lnTo>
                  <a:pt x="78" y="9"/>
                </a:lnTo>
                <a:lnTo>
                  <a:pt x="83" y="13"/>
                </a:lnTo>
                <a:lnTo>
                  <a:pt x="87" y="19"/>
                </a:lnTo>
                <a:lnTo>
                  <a:pt x="92" y="25"/>
                </a:lnTo>
                <a:lnTo>
                  <a:pt x="96" y="33"/>
                </a:lnTo>
                <a:lnTo>
                  <a:pt x="100" y="40"/>
                </a:lnTo>
                <a:lnTo>
                  <a:pt x="103" y="48"/>
                </a:lnTo>
                <a:lnTo>
                  <a:pt x="108" y="66"/>
                </a:lnTo>
                <a:lnTo>
                  <a:pt x="111" y="86"/>
                </a:lnTo>
                <a:lnTo>
                  <a:pt x="113" y="109"/>
                </a:lnTo>
                <a:lnTo>
                  <a:pt x="113" y="1041"/>
                </a:lnTo>
                <a:lnTo>
                  <a:pt x="113" y="1041"/>
                </a:lnTo>
                <a:lnTo>
                  <a:pt x="111" y="1062"/>
                </a:lnTo>
                <a:lnTo>
                  <a:pt x="108" y="1082"/>
                </a:lnTo>
                <a:lnTo>
                  <a:pt x="103" y="1101"/>
                </a:lnTo>
                <a:lnTo>
                  <a:pt x="100" y="1109"/>
                </a:lnTo>
                <a:lnTo>
                  <a:pt x="96" y="1117"/>
                </a:lnTo>
                <a:lnTo>
                  <a:pt x="92" y="1124"/>
                </a:lnTo>
                <a:lnTo>
                  <a:pt x="87" y="1130"/>
                </a:lnTo>
                <a:lnTo>
                  <a:pt x="83" y="1135"/>
                </a:lnTo>
                <a:lnTo>
                  <a:pt x="78" y="1140"/>
                </a:lnTo>
                <a:lnTo>
                  <a:pt x="73" y="1143"/>
                </a:lnTo>
                <a:lnTo>
                  <a:pt x="67" y="1147"/>
                </a:lnTo>
                <a:lnTo>
                  <a:pt x="62" y="1149"/>
                </a:lnTo>
                <a:lnTo>
                  <a:pt x="56" y="1149"/>
                </a:lnTo>
                <a:lnTo>
                  <a:pt x="56" y="1149"/>
                </a:lnTo>
                <a:lnTo>
                  <a:pt x="51" y="1149"/>
                </a:lnTo>
                <a:lnTo>
                  <a:pt x="45" y="1147"/>
                </a:lnTo>
                <a:lnTo>
                  <a:pt x="40" y="1143"/>
                </a:lnTo>
                <a:lnTo>
                  <a:pt x="35" y="1140"/>
                </a:lnTo>
                <a:lnTo>
                  <a:pt x="30" y="1135"/>
                </a:lnTo>
                <a:lnTo>
                  <a:pt x="24" y="1130"/>
                </a:lnTo>
                <a:lnTo>
                  <a:pt x="20" y="1124"/>
                </a:lnTo>
                <a:lnTo>
                  <a:pt x="16" y="1117"/>
                </a:lnTo>
                <a:lnTo>
                  <a:pt x="13" y="1109"/>
                </a:lnTo>
                <a:lnTo>
                  <a:pt x="9" y="1101"/>
                </a:lnTo>
                <a:lnTo>
                  <a:pt x="4" y="1082"/>
                </a:lnTo>
                <a:lnTo>
                  <a:pt x="1" y="1062"/>
                </a:lnTo>
                <a:lnTo>
                  <a:pt x="0" y="1041"/>
                </a:lnTo>
                <a:lnTo>
                  <a:pt x="0" y="109"/>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20" name="Freeform 2274"/>
          <p:cNvSpPr>
            <a:spLocks/>
          </p:cNvSpPr>
          <p:nvPr/>
        </p:nvSpPr>
        <p:spPr bwMode="auto">
          <a:xfrm>
            <a:off x="10517189" y="5881689"/>
            <a:ext cx="30163" cy="303213"/>
          </a:xfrm>
          <a:custGeom>
            <a:avLst/>
            <a:gdLst>
              <a:gd name="T0" fmla="*/ 0 w 112"/>
              <a:gd name="T1" fmla="*/ 108 h 1149"/>
              <a:gd name="T2" fmla="*/ 0 w 112"/>
              <a:gd name="T3" fmla="*/ 108 h 1149"/>
              <a:gd name="T4" fmla="*/ 1 w 112"/>
              <a:gd name="T5" fmla="*/ 87 h 1149"/>
              <a:gd name="T6" fmla="*/ 4 w 112"/>
              <a:gd name="T7" fmla="*/ 66 h 1149"/>
              <a:gd name="T8" fmla="*/ 9 w 112"/>
              <a:gd name="T9" fmla="*/ 48 h 1149"/>
              <a:gd name="T10" fmla="*/ 12 w 112"/>
              <a:gd name="T11" fmla="*/ 40 h 1149"/>
              <a:gd name="T12" fmla="*/ 16 w 112"/>
              <a:gd name="T13" fmla="*/ 32 h 1149"/>
              <a:gd name="T14" fmla="*/ 20 w 112"/>
              <a:gd name="T15" fmla="*/ 25 h 1149"/>
              <a:gd name="T16" fmla="*/ 25 w 112"/>
              <a:gd name="T17" fmla="*/ 18 h 1149"/>
              <a:gd name="T18" fmla="*/ 30 w 112"/>
              <a:gd name="T19" fmla="*/ 13 h 1149"/>
              <a:gd name="T20" fmla="*/ 34 w 112"/>
              <a:gd name="T21" fmla="*/ 8 h 1149"/>
              <a:gd name="T22" fmla="*/ 39 w 112"/>
              <a:gd name="T23" fmla="*/ 5 h 1149"/>
              <a:gd name="T24" fmla="*/ 45 w 112"/>
              <a:gd name="T25" fmla="*/ 2 h 1149"/>
              <a:gd name="T26" fmla="*/ 50 w 112"/>
              <a:gd name="T27" fmla="*/ 0 h 1149"/>
              <a:gd name="T28" fmla="*/ 56 w 112"/>
              <a:gd name="T29" fmla="*/ 0 h 1149"/>
              <a:gd name="T30" fmla="*/ 56 w 112"/>
              <a:gd name="T31" fmla="*/ 0 h 1149"/>
              <a:gd name="T32" fmla="*/ 62 w 112"/>
              <a:gd name="T33" fmla="*/ 0 h 1149"/>
              <a:gd name="T34" fmla="*/ 67 w 112"/>
              <a:gd name="T35" fmla="*/ 2 h 1149"/>
              <a:gd name="T36" fmla="*/ 72 w 112"/>
              <a:gd name="T37" fmla="*/ 5 h 1149"/>
              <a:gd name="T38" fmla="*/ 77 w 112"/>
              <a:gd name="T39" fmla="*/ 8 h 1149"/>
              <a:gd name="T40" fmla="*/ 83 w 112"/>
              <a:gd name="T41" fmla="*/ 13 h 1149"/>
              <a:gd name="T42" fmla="*/ 88 w 112"/>
              <a:gd name="T43" fmla="*/ 18 h 1149"/>
              <a:gd name="T44" fmla="*/ 92 w 112"/>
              <a:gd name="T45" fmla="*/ 25 h 1149"/>
              <a:gd name="T46" fmla="*/ 96 w 112"/>
              <a:gd name="T47" fmla="*/ 32 h 1149"/>
              <a:gd name="T48" fmla="*/ 100 w 112"/>
              <a:gd name="T49" fmla="*/ 40 h 1149"/>
              <a:gd name="T50" fmla="*/ 103 w 112"/>
              <a:gd name="T51" fmla="*/ 48 h 1149"/>
              <a:gd name="T52" fmla="*/ 108 w 112"/>
              <a:gd name="T53" fmla="*/ 66 h 1149"/>
              <a:gd name="T54" fmla="*/ 111 w 112"/>
              <a:gd name="T55" fmla="*/ 87 h 1149"/>
              <a:gd name="T56" fmla="*/ 112 w 112"/>
              <a:gd name="T57" fmla="*/ 108 h 1149"/>
              <a:gd name="T58" fmla="*/ 112 w 112"/>
              <a:gd name="T59" fmla="*/ 1040 h 1149"/>
              <a:gd name="T60" fmla="*/ 112 w 112"/>
              <a:gd name="T61" fmla="*/ 1040 h 1149"/>
              <a:gd name="T62" fmla="*/ 111 w 112"/>
              <a:gd name="T63" fmla="*/ 1062 h 1149"/>
              <a:gd name="T64" fmla="*/ 108 w 112"/>
              <a:gd name="T65" fmla="*/ 1082 h 1149"/>
              <a:gd name="T66" fmla="*/ 103 w 112"/>
              <a:gd name="T67" fmla="*/ 1101 h 1149"/>
              <a:gd name="T68" fmla="*/ 100 w 112"/>
              <a:gd name="T69" fmla="*/ 1109 h 1149"/>
              <a:gd name="T70" fmla="*/ 96 w 112"/>
              <a:gd name="T71" fmla="*/ 1116 h 1149"/>
              <a:gd name="T72" fmla="*/ 92 w 112"/>
              <a:gd name="T73" fmla="*/ 1123 h 1149"/>
              <a:gd name="T74" fmla="*/ 88 w 112"/>
              <a:gd name="T75" fmla="*/ 1129 h 1149"/>
              <a:gd name="T76" fmla="*/ 83 w 112"/>
              <a:gd name="T77" fmla="*/ 1136 h 1149"/>
              <a:gd name="T78" fmla="*/ 77 w 112"/>
              <a:gd name="T79" fmla="*/ 1140 h 1149"/>
              <a:gd name="T80" fmla="*/ 72 w 112"/>
              <a:gd name="T81" fmla="*/ 1144 h 1149"/>
              <a:gd name="T82" fmla="*/ 67 w 112"/>
              <a:gd name="T83" fmla="*/ 1146 h 1149"/>
              <a:gd name="T84" fmla="*/ 62 w 112"/>
              <a:gd name="T85" fmla="*/ 1148 h 1149"/>
              <a:gd name="T86" fmla="*/ 56 w 112"/>
              <a:gd name="T87" fmla="*/ 1149 h 1149"/>
              <a:gd name="T88" fmla="*/ 56 w 112"/>
              <a:gd name="T89" fmla="*/ 1149 h 1149"/>
              <a:gd name="T90" fmla="*/ 50 w 112"/>
              <a:gd name="T91" fmla="*/ 1148 h 1149"/>
              <a:gd name="T92" fmla="*/ 45 w 112"/>
              <a:gd name="T93" fmla="*/ 1146 h 1149"/>
              <a:gd name="T94" fmla="*/ 39 w 112"/>
              <a:gd name="T95" fmla="*/ 1144 h 1149"/>
              <a:gd name="T96" fmla="*/ 34 w 112"/>
              <a:gd name="T97" fmla="*/ 1140 h 1149"/>
              <a:gd name="T98" fmla="*/ 30 w 112"/>
              <a:gd name="T99" fmla="*/ 1136 h 1149"/>
              <a:gd name="T100" fmla="*/ 25 w 112"/>
              <a:gd name="T101" fmla="*/ 1129 h 1149"/>
              <a:gd name="T102" fmla="*/ 20 w 112"/>
              <a:gd name="T103" fmla="*/ 1123 h 1149"/>
              <a:gd name="T104" fmla="*/ 16 w 112"/>
              <a:gd name="T105" fmla="*/ 1116 h 1149"/>
              <a:gd name="T106" fmla="*/ 12 w 112"/>
              <a:gd name="T107" fmla="*/ 1109 h 1149"/>
              <a:gd name="T108" fmla="*/ 9 w 112"/>
              <a:gd name="T109" fmla="*/ 1101 h 1149"/>
              <a:gd name="T110" fmla="*/ 4 w 112"/>
              <a:gd name="T111" fmla="*/ 1082 h 1149"/>
              <a:gd name="T112" fmla="*/ 1 w 112"/>
              <a:gd name="T113" fmla="*/ 1062 h 1149"/>
              <a:gd name="T114" fmla="*/ 0 w 112"/>
              <a:gd name="T115" fmla="*/ 1040 h 1149"/>
              <a:gd name="T116" fmla="*/ 0 w 112"/>
              <a:gd name="T117" fmla="*/ 108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 h="1149">
                <a:moveTo>
                  <a:pt x="0" y="108"/>
                </a:moveTo>
                <a:lnTo>
                  <a:pt x="0" y="108"/>
                </a:lnTo>
                <a:lnTo>
                  <a:pt x="1" y="87"/>
                </a:lnTo>
                <a:lnTo>
                  <a:pt x="4" y="66"/>
                </a:lnTo>
                <a:lnTo>
                  <a:pt x="9" y="48"/>
                </a:lnTo>
                <a:lnTo>
                  <a:pt x="12" y="40"/>
                </a:lnTo>
                <a:lnTo>
                  <a:pt x="16" y="32"/>
                </a:lnTo>
                <a:lnTo>
                  <a:pt x="20" y="25"/>
                </a:lnTo>
                <a:lnTo>
                  <a:pt x="25" y="18"/>
                </a:lnTo>
                <a:lnTo>
                  <a:pt x="30" y="13"/>
                </a:lnTo>
                <a:lnTo>
                  <a:pt x="34" y="8"/>
                </a:lnTo>
                <a:lnTo>
                  <a:pt x="39" y="5"/>
                </a:lnTo>
                <a:lnTo>
                  <a:pt x="45" y="2"/>
                </a:lnTo>
                <a:lnTo>
                  <a:pt x="50" y="0"/>
                </a:lnTo>
                <a:lnTo>
                  <a:pt x="56" y="0"/>
                </a:lnTo>
                <a:lnTo>
                  <a:pt x="56" y="0"/>
                </a:lnTo>
                <a:lnTo>
                  <a:pt x="62" y="0"/>
                </a:lnTo>
                <a:lnTo>
                  <a:pt x="67" y="2"/>
                </a:lnTo>
                <a:lnTo>
                  <a:pt x="72" y="5"/>
                </a:lnTo>
                <a:lnTo>
                  <a:pt x="77" y="8"/>
                </a:lnTo>
                <a:lnTo>
                  <a:pt x="83" y="13"/>
                </a:lnTo>
                <a:lnTo>
                  <a:pt x="88" y="18"/>
                </a:lnTo>
                <a:lnTo>
                  <a:pt x="92" y="25"/>
                </a:lnTo>
                <a:lnTo>
                  <a:pt x="96" y="32"/>
                </a:lnTo>
                <a:lnTo>
                  <a:pt x="100" y="40"/>
                </a:lnTo>
                <a:lnTo>
                  <a:pt x="103" y="48"/>
                </a:lnTo>
                <a:lnTo>
                  <a:pt x="108" y="66"/>
                </a:lnTo>
                <a:lnTo>
                  <a:pt x="111" y="87"/>
                </a:lnTo>
                <a:lnTo>
                  <a:pt x="112" y="108"/>
                </a:lnTo>
                <a:lnTo>
                  <a:pt x="112" y="1040"/>
                </a:lnTo>
                <a:lnTo>
                  <a:pt x="112" y="1040"/>
                </a:lnTo>
                <a:lnTo>
                  <a:pt x="111" y="1062"/>
                </a:lnTo>
                <a:lnTo>
                  <a:pt x="108" y="1082"/>
                </a:lnTo>
                <a:lnTo>
                  <a:pt x="103" y="1101"/>
                </a:lnTo>
                <a:lnTo>
                  <a:pt x="100" y="1109"/>
                </a:lnTo>
                <a:lnTo>
                  <a:pt x="96" y="1116"/>
                </a:lnTo>
                <a:lnTo>
                  <a:pt x="92" y="1123"/>
                </a:lnTo>
                <a:lnTo>
                  <a:pt x="88" y="1129"/>
                </a:lnTo>
                <a:lnTo>
                  <a:pt x="83" y="1136"/>
                </a:lnTo>
                <a:lnTo>
                  <a:pt x="77" y="1140"/>
                </a:lnTo>
                <a:lnTo>
                  <a:pt x="72" y="1144"/>
                </a:lnTo>
                <a:lnTo>
                  <a:pt x="67" y="1146"/>
                </a:lnTo>
                <a:lnTo>
                  <a:pt x="62" y="1148"/>
                </a:lnTo>
                <a:lnTo>
                  <a:pt x="56" y="1149"/>
                </a:lnTo>
                <a:lnTo>
                  <a:pt x="56" y="1149"/>
                </a:lnTo>
                <a:lnTo>
                  <a:pt x="50" y="1148"/>
                </a:lnTo>
                <a:lnTo>
                  <a:pt x="45" y="1146"/>
                </a:lnTo>
                <a:lnTo>
                  <a:pt x="39" y="1144"/>
                </a:lnTo>
                <a:lnTo>
                  <a:pt x="34" y="1140"/>
                </a:lnTo>
                <a:lnTo>
                  <a:pt x="30" y="1136"/>
                </a:lnTo>
                <a:lnTo>
                  <a:pt x="25" y="1129"/>
                </a:lnTo>
                <a:lnTo>
                  <a:pt x="20" y="1123"/>
                </a:lnTo>
                <a:lnTo>
                  <a:pt x="16" y="1116"/>
                </a:lnTo>
                <a:lnTo>
                  <a:pt x="12" y="1109"/>
                </a:lnTo>
                <a:lnTo>
                  <a:pt x="9" y="1101"/>
                </a:lnTo>
                <a:lnTo>
                  <a:pt x="4" y="1082"/>
                </a:lnTo>
                <a:lnTo>
                  <a:pt x="1" y="1062"/>
                </a:lnTo>
                <a:lnTo>
                  <a:pt x="0" y="1040"/>
                </a:lnTo>
                <a:lnTo>
                  <a:pt x="0" y="108"/>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21" name="Freeform 2275"/>
          <p:cNvSpPr>
            <a:spLocks/>
          </p:cNvSpPr>
          <p:nvPr/>
        </p:nvSpPr>
        <p:spPr bwMode="auto">
          <a:xfrm>
            <a:off x="10487027" y="5970588"/>
            <a:ext cx="30163" cy="304800"/>
          </a:xfrm>
          <a:custGeom>
            <a:avLst/>
            <a:gdLst>
              <a:gd name="T0" fmla="*/ 0 w 113"/>
              <a:gd name="T1" fmla="*/ 109 h 1149"/>
              <a:gd name="T2" fmla="*/ 0 w 113"/>
              <a:gd name="T3" fmla="*/ 109 h 1149"/>
              <a:gd name="T4" fmla="*/ 1 w 113"/>
              <a:gd name="T5" fmla="*/ 86 h 1149"/>
              <a:gd name="T6" fmla="*/ 5 w 113"/>
              <a:gd name="T7" fmla="*/ 66 h 1149"/>
              <a:gd name="T8" fmla="*/ 10 w 113"/>
              <a:gd name="T9" fmla="*/ 48 h 1149"/>
              <a:gd name="T10" fmla="*/ 13 w 113"/>
              <a:gd name="T11" fmla="*/ 40 h 1149"/>
              <a:gd name="T12" fmla="*/ 16 w 113"/>
              <a:gd name="T13" fmla="*/ 32 h 1149"/>
              <a:gd name="T14" fmla="*/ 21 w 113"/>
              <a:gd name="T15" fmla="*/ 24 h 1149"/>
              <a:gd name="T16" fmla="*/ 26 w 113"/>
              <a:gd name="T17" fmla="*/ 18 h 1149"/>
              <a:gd name="T18" fmla="*/ 30 w 113"/>
              <a:gd name="T19" fmla="*/ 13 h 1149"/>
              <a:gd name="T20" fmla="*/ 35 w 113"/>
              <a:gd name="T21" fmla="*/ 8 h 1149"/>
              <a:gd name="T22" fmla="*/ 40 w 113"/>
              <a:gd name="T23" fmla="*/ 5 h 1149"/>
              <a:gd name="T24" fmla="*/ 45 w 113"/>
              <a:gd name="T25" fmla="*/ 2 h 1149"/>
              <a:gd name="T26" fmla="*/ 51 w 113"/>
              <a:gd name="T27" fmla="*/ 1 h 1149"/>
              <a:gd name="T28" fmla="*/ 56 w 113"/>
              <a:gd name="T29" fmla="*/ 0 h 1149"/>
              <a:gd name="T30" fmla="*/ 56 w 113"/>
              <a:gd name="T31" fmla="*/ 0 h 1149"/>
              <a:gd name="T32" fmla="*/ 62 w 113"/>
              <a:gd name="T33" fmla="*/ 1 h 1149"/>
              <a:gd name="T34" fmla="*/ 68 w 113"/>
              <a:gd name="T35" fmla="*/ 2 h 1149"/>
              <a:gd name="T36" fmla="*/ 73 w 113"/>
              <a:gd name="T37" fmla="*/ 5 h 1149"/>
              <a:gd name="T38" fmla="*/ 79 w 113"/>
              <a:gd name="T39" fmla="*/ 8 h 1149"/>
              <a:gd name="T40" fmla="*/ 84 w 113"/>
              <a:gd name="T41" fmla="*/ 13 h 1149"/>
              <a:gd name="T42" fmla="*/ 88 w 113"/>
              <a:gd name="T43" fmla="*/ 18 h 1149"/>
              <a:gd name="T44" fmla="*/ 93 w 113"/>
              <a:gd name="T45" fmla="*/ 24 h 1149"/>
              <a:gd name="T46" fmla="*/ 97 w 113"/>
              <a:gd name="T47" fmla="*/ 32 h 1149"/>
              <a:gd name="T48" fmla="*/ 100 w 113"/>
              <a:gd name="T49" fmla="*/ 40 h 1149"/>
              <a:gd name="T50" fmla="*/ 103 w 113"/>
              <a:gd name="T51" fmla="*/ 48 h 1149"/>
              <a:gd name="T52" fmla="*/ 108 w 113"/>
              <a:gd name="T53" fmla="*/ 66 h 1149"/>
              <a:gd name="T54" fmla="*/ 112 w 113"/>
              <a:gd name="T55" fmla="*/ 86 h 1149"/>
              <a:gd name="T56" fmla="*/ 113 w 113"/>
              <a:gd name="T57" fmla="*/ 109 h 1149"/>
              <a:gd name="T58" fmla="*/ 113 w 113"/>
              <a:gd name="T59" fmla="*/ 1040 h 1149"/>
              <a:gd name="T60" fmla="*/ 113 w 113"/>
              <a:gd name="T61" fmla="*/ 1040 h 1149"/>
              <a:gd name="T62" fmla="*/ 112 w 113"/>
              <a:gd name="T63" fmla="*/ 1062 h 1149"/>
              <a:gd name="T64" fmla="*/ 108 w 113"/>
              <a:gd name="T65" fmla="*/ 1082 h 1149"/>
              <a:gd name="T66" fmla="*/ 103 w 113"/>
              <a:gd name="T67" fmla="*/ 1101 h 1149"/>
              <a:gd name="T68" fmla="*/ 100 w 113"/>
              <a:gd name="T69" fmla="*/ 1109 h 1149"/>
              <a:gd name="T70" fmla="*/ 97 w 113"/>
              <a:gd name="T71" fmla="*/ 1117 h 1149"/>
              <a:gd name="T72" fmla="*/ 93 w 113"/>
              <a:gd name="T73" fmla="*/ 1124 h 1149"/>
              <a:gd name="T74" fmla="*/ 88 w 113"/>
              <a:gd name="T75" fmla="*/ 1130 h 1149"/>
              <a:gd name="T76" fmla="*/ 84 w 113"/>
              <a:gd name="T77" fmla="*/ 1135 h 1149"/>
              <a:gd name="T78" fmla="*/ 79 w 113"/>
              <a:gd name="T79" fmla="*/ 1140 h 1149"/>
              <a:gd name="T80" fmla="*/ 73 w 113"/>
              <a:gd name="T81" fmla="*/ 1143 h 1149"/>
              <a:gd name="T82" fmla="*/ 68 w 113"/>
              <a:gd name="T83" fmla="*/ 1146 h 1149"/>
              <a:gd name="T84" fmla="*/ 62 w 113"/>
              <a:gd name="T85" fmla="*/ 1148 h 1149"/>
              <a:gd name="T86" fmla="*/ 56 w 113"/>
              <a:gd name="T87" fmla="*/ 1149 h 1149"/>
              <a:gd name="T88" fmla="*/ 56 w 113"/>
              <a:gd name="T89" fmla="*/ 1149 h 1149"/>
              <a:gd name="T90" fmla="*/ 51 w 113"/>
              <a:gd name="T91" fmla="*/ 1148 h 1149"/>
              <a:gd name="T92" fmla="*/ 45 w 113"/>
              <a:gd name="T93" fmla="*/ 1146 h 1149"/>
              <a:gd name="T94" fmla="*/ 40 w 113"/>
              <a:gd name="T95" fmla="*/ 1143 h 1149"/>
              <a:gd name="T96" fmla="*/ 35 w 113"/>
              <a:gd name="T97" fmla="*/ 1140 h 1149"/>
              <a:gd name="T98" fmla="*/ 30 w 113"/>
              <a:gd name="T99" fmla="*/ 1135 h 1149"/>
              <a:gd name="T100" fmla="*/ 26 w 113"/>
              <a:gd name="T101" fmla="*/ 1130 h 1149"/>
              <a:gd name="T102" fmla="*/ 21 w 113"/>
              <a:gd name="T103" fmla="*/ 1124 h 1149"/>
              <a:gd name="T104" fmla="*/ 16 w 113"/>
              <a:gd name="T105" fmla="*/ 1117 h 1149"/>
              <a:gd name="T106" fmla="*/ 13 w 113"/>
              <a:gd name="T107" fmla="*/ 1109 h 1149"/>
              <a:gd name="T108" fmla="*/ 10 w 113"/>
              <a:gd name="T109" fmla="*/ 1101 h 1149"/>
              <a:gd name="T110" fmla="*/ 5 w 113"/>
              <a:gd name="T111" fmla="*/ 1082 h 1149"/>
              <a:gd name="T112" fmla="*/ 1 w 113"/>
              <a:gd name="T113" fmla="*/ 1062 h 1149"/>
              <a:gd name="T114" fmla="*/ 0 w 113"/>
              <a:gd name="T115" fmla="*/ 1040 h 1149"/>
              <a:gd name="T116" fmla="*/ 0 w 113"/>
              <a:gd name="T117" fmla="*/ 109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3" h="1149">
                <a:moveTo>
                  <a:pt x="0" y="109"/>
                </a:moveTo>
                <a:lnTo>
                  <a:pt x="0" y="109"/>
                </a:lnTo>
                <a:lnTo>
                  <a:pt x="1" y="86"/>
                </a:lnTo>
                <a:lnTo>
                  <a:pt x="5" y="66"/>
                </a:lnTo>
                <a:lnTo>
                  <a:pt x="10" y="48"/>
                </a:lnTo>
                <a:lnTo>
                  <a:pt x="13" y="40"/>
                </a:lnTo>
                <a:lnTo>
                  <a:pt x="16" y="32"/>
                </a:lnTo>
                <a:lnTo>
                  <a:pt x="21" y="24"/>
                </a:lnTo>
                <a:lnTo>
                  <a:pt x="26" y="18"/>
                </a:lnTo>
                <a:lnTo>
                  <a:pt x="30" y="13"/>
                </a:lnTo>
                <a:lnTo>
                  <a:pt x="35" y="8"/>
                </a:lnTo>
                <a:lnTo>
                  <a:pt x="40" y="5"/>
                </a:lnTo>
                <a:lnTo>
                  <a:pt x="45" y="2"/>
                </a:lnTo>
                <a:lnTo>
                  <a:pt x="51" y="1"/>
                </a:lnTo>
                <a:lnTo>
                  <a:pt x="56" y="0"/>
                </a:lnTo>
                <a:lnTo>
                  <a:pt x="56" y="0"/>
                </a:lnTo>
                <a:lnTo>
                  <a:pt x="62" y="1"/>
                </a:lnTo>
                <a:lnTo>
                  <a:pt x="68" y="2"/>
                </a:lnTo>
                <a:lnTo>
                  <a:pt x="73" y="5"/>
                </a:lnTo>
                <a:lnTo>
                  <a:pt x="79" y="8"/>
                </a:lnTo>
                <a:lnTo>
                  <a:pt x="84" y="13"/>
                </a:lnTo>
                <a:lnTo>
                  <a:pt x="88" y="18"/>
                </a:lnTo>
                <a:lnTo>
                  <a:pt x="93" y="24"/>
                </a:lnTo>
                <a:lnTo>
                  <a:pt x="97" y="32"/>
                </a:lnTo>
                <a:lnTo>
                  <a:pt x="100" y="40"/>
                </a:lnTo>
                <a:lnTo>
                  <a:pt x="103" y="48"/>
                </a:lnTo>
                <a:lnTo>
                  <a:pt x="108" y="66"/>
                </a:lnTo>
                <a:lnTo>
                  <a:pt x="112" y="86"/>
                </a:lnTo>
                <a:lnTo>
                  <a:pt x="113" y="109"/>
                </a:lnTo>
                <a:lnTo>
                  <a:pt x="113" y="1040"/>
                </a:lnTo>
                <a:lnTo>
                  <a:pt x="113" y="1040"/>
                </a:lnTo>
                <a:lnTo>
                  <a:pt x="112" y="1062"/>
                </a:lnTo>
                <a:lnTo>
                  <a:pt x="108" y="1082"/>
                </a:lnTo>
                <a:lnTo>
                  <a:pt x="103" y="1101"/>
                </a:lnTo>
                <a:lnTo>
                  <a:pt x="100" y="1109"/>
                </a:lnTo>
                <a:lnTo>
                  <a:pt x="97" y="1117"/>
                </a:lnTo>
                <a:lnTo>
                  <a:pt x="93" y="1124"/>
                </a:lnTo>
                <a:lnTo>
                  <a:pt x="88" y="1130"/>
                </a:lnTo>
                <a:lnTo>
                  <a:pt x="84" y="1135"/>
                </a:lnTo>
                <a:lnTo>
                  <a:pt x="79" y="1140"/>
                </a:lnTo>
                <a:lnTo>
                  <a:pt x="73" y="1143"/>
                </a:lnTo>
                <a:lnTo>
                  <a:pt x="68" y="1146"/>
                </a:lnTo>
                <a:lnTo>
                  <a:pt x="62" y="1148"/>
                </a:lnTo>
                <a:lnTo>
                  <a:pt x="56" y="1149"/>
                </a:lnTo>
                <a:lnTo>
                  <a:pt x="56" y="1149"/>
                </a:lnTo>
                <a:lnTo>
                  <a:pt x="51" y="1148"/>
                </a:lnTo>
                <a:lnTo>
                  <a:pt x="45" y="1146"/>
                </a:lnTo>
                <a:lnTo>
                  <a:pt x="40" y="1143"/>
                </a:lnTo>
                <a:lnTo>
                  <a:pt x="35" y="1140"/>
                </a:lnTo>
                <a:lnTo>
                  <a:pt x="30" y="1135"/>
                </a:lnTo>
                <a:lnTo>
                  <a:pt x="26" y="1130"/>
                </a:lnTo>
                <a:lnTo>
                  <a:pt x="21" y="1124"/>
                </a:lnTo>
                <a:lnTo>
                  <a:pt x="16" y="1117"/>
                </a:lnTo>
                <a:lnTo>
                  <a:pt x="13" y="1109"/>
                </a:lnTo>
                <a:lnTo>
                  <a:pt x="10" y="1101"/>
                </a:lnTo>
                <a:lnTo>
                  <a:pt x="5" y="1082"/>
                </a:lnTo>
                <a:lnTo>
                  <a:pt x="1" y="1062"/>
                </a:lnTo>
                <a:lnTo>
                  <a:pt x="0" y="1040"/>
                </a:lnTo>
                <a:lnTo>
                  <a:pt x="0" y="109"/>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22" name="Freeform 2276"/>
          <p:cNvSpPr>
            <a:spLocks/>
          </p:cNvSpPr>
          <p:nvPr/>
        </p:nvSpPr>
        <p:spPr bwMode="auto">
          <a:xfrm>
            <a:off x="10694989" y="5942013"/>
            <a:ext cx="30163" cy="304800"/>
          </a:xfrm>
          <a:custGeom>
            <a:avLst/>
            <a:gdLst>
              <a:gd name="T0" fmla="*/ 0 w 112"/>
              <a:gd name="T1" fmla="*/ 108 h 1148"/>
              <a:gd name="T2" fmla="*/ 0 w 112"/>
              <a:gd name="T3" fmla="*/ 108 h 1148"/>
              <a:gd name="T4" fmla="*/ 1 w 112"/>
              <a:gd name="T5" fmla="*/ 87 h 1148"/>
              <a:gd name="T6" fmla="*/ 4 w 112"/>
              <a:gd name="T7" fmla="*/ 66 h 1148"/>
              <a:gd name="T8" fmla="*/ 9 w 112"/>
              <a:gd name="T9" fmla="*/ 48 h 1148"/>
              <a:gd name="T10" fmla="*/ 13 w 112"/>
              <a:gd name="T11" fmla="*/ 39 h 1148"/>
              <a:gd name="T12" fmla="*/ 17 w 112"/>
              <a:gd name="T13" fmla="*/ 32 h 1148"/>
              <a:gd name="T14" fmla="*/ 21 w 112"/>
              <a:gd name="T15" fmla="*/ 25 h 1148"/>
              <a:gd name="T16" fmla="*/ 25 w 112"/>
              <a:gd name="T17" fmla="*/ 18 h 1148"/>
              <a:gd name="T18" fmla="*/ 30 w 112"/>
              <a:gd name="T19" fmla="*/ 12 h 1148"/>
              <a:gd name="T20" fmla="*/ 35 w 112"/>
              <a:gd name="T21" fmla="*/ 8 h 1148"/>
              <a:gd name="T22" fmla="*/ 40 w 112"/>
              <a:gd name="T23" fmla="*/ 4 h 1148"/>
              <a:gd name="T24" fmla="*/ 45 w 112"/>
              <a:gd name="T25" fmla="*/ 2 h 1148"/>
              <a:gd name="T26" fmla="*/ 50 w 112"/>
              <a:gd name="T27" fmla="*/ 0 h 1148"/>
              <a:gd name="T28" fmla="*/ 56 w 112"/>
              <a:gd name="T29" fmla="*/ 0 h 1148"/>
              <a:gd name="T30" fmla="*/ 56 w 112"/>
              <a:gd name="T31" fmla="*/ 0 h 1148"/>
              <a:gd name="T32" fmla="*/ 62 w 112"/>
              <a:gd name="T33" fmla="*/ 0 h 1148"/>
              <a:gd name="T34" fmla="*/ 67 w 112"/>
              <a:gd name="T35" fmla="*/ 2 h 1148"/>
              <a:gd name="T36" fmla="*/ 74 w 112"/>
              <a:gd name="T37" fmla="*/ 4 h 1148"/>
              <a:gd name="T38" fmla="*/ 79 w 112"/>
              <a:gd name="T39" fmla="*/ 8 h 1148"/>
              <a:gd name="T40" fmla="*/ 83 w 112"/>
              <a:gd name="T41" fmla="*/ 12 h 1148"/>
              <a:gd name="T42" fmla="*/ 88 w 112"/>
              <a:gd name="T43" fmla="*/ 18 h 1148"/>
              <a:gd name="T44" fmla="*/ 92 w 112"/>
              <a:gd name="T45" fmla="*/ 25 h 1148"/>
              <a:gd name="T46" fmla="*/ 96 w 112"/>
              <a:gd name="T47" fmla="*/ 32 h 1148"/>
              <a:gd name="T48" fmla="*/ 100 w 112"/>
              <a:gd name="T49" fmla="*/ 39 h 1148"/>
              <a:gd name="T50" fmla="*/ 103 w 112"/>
              <a:gd name="T51" fmla="*/ 48 h 1148"/>
              <a:gd name="T52" fmla="*/ 108 w 112"/>
              <a:gd name="T53" fmla="*/ 66 h 1148"/>
              <a:gd name="T54" fmla="*/ 111 w 112"/>
              <a:gd name="T55" fmla="*/ 87 h 1148"/>
              <a:gd name="T56" fmla="*/ 112 w 112"/>
              <a:gd name="T57" fmla="*/ 108 h 1148"/>
              <a:gd name="T58" fmla="*/ 112 w 112"/>
              <a:gd name="T59" fmla="*/ 1040 h 1148"/>
              <a:gd name="T60" fmla="*/ 112 w 112"/>
              <a:gd name="T61" fmla="*/ 1040 h 1148"/>
              <a:gd name="T62" fmla="*/ 111 w 112"/>
              <a:gd name="T63" fmla="*/ 1061 h 1148"/>
              <a:gd name="T64" fmla="*/ 108 w 112"/>
              <a:gd name="T65" fmla="*/ 1082 h 1148"/>
              <a:gd name="T66" fmla="*/ 103 w 112"/>
              <a:gd name="T67" fmla="*/ 1100 h 1148"/>
              <a:gd name="T68" fmla="*/ 100 w 112"/>
              <a:gd name="T69" fmla="*/ 1109 h 1148"/>
              <a:gd name="T70" fmla="*/ 96 w 112"/>
              <a:gd name="T71" fmla="*/ 1116 h 1148"/>
              <a:gd name="T72" fmla="*/ 92 w 112"/>
              <a:gd name="T73" fmla="*/ 1123 h 1148"/>
              <a:gd name="T74" fmla="*/ 88 w 112"/>
              <a:gd name="T75" fmla="*/ 1129 h 1148"/>
              <a:gd name="T76" fmla="*/ 83 w 112"/>
              <a:gd name="T77" fmla="*/ 1135 h 1148"/>
              <a:gd name="T78" fmla="*/ 79 w 112"/>
              <a:gd name="T79" fmla="*/ 1140 h 1148"/>
              <a:gd name="T80" fmla="*/ 74 w 112"/>
              <a:gd name="T81" fmla="*/ 1144 h 1148"/>
              <a:gd name="T82" fmla="*/ 67 w 112"/>
              <a:gd name="T83" fmla="*/ 1146 h 1148"/>
              <a:gd name="T84" fmla="*/ 62 w 112"/>
              <a:gd name="T85" fmla="*/ 1148 h 1148"/>
              <a:gd name="T86" fmla="*/ 56 w 112"/>
              <a:gd name="T87" fmla="*/ 1148 h 1148"/>
              <a:gd name="T88" fmla="*/ 56 w 112"/>
              <a:gd name="T89" fmla="*/ 1148 h 1148"/>
              <a:gd name="T90" fmla="*/ 50 w 112"/>
              <a:gd name="T91" fmla="*/ 1148 h 1148"/>
              <a:gd name="T92" fmla="*/ 45 w 112"/>
              <a:gd name="T93" fmla="*/ 1146 h 1148"/>
              <a:gd name="T94" fmla="*/ 40 w 112"/>
              <a:gd name="T95" fmla="*/ 1144 h 1148"/>
              <a:gd name="T96" fmla="*/ 35 w 112"/>
              <a:gd name="T97" fmla="*/ 1140 h 1148"/>
              <a:gd name="T98" fmla="*/ 30 w 112"/>
              <a:gd name="T99" fmla="*/ 1135 h 1148"/>
              <a:gd name="T100" fmla="*/ 25 w 112"/>
              <a:gd name="T101" fmla="*/ 1129 h 1148"/>
              <a:gd name="T102" fmla="*/ 21 w 112"/>
              <a:gd name="T103" fmla="*/ 1123 h 1148"/>
              <a:gd name="T104" fmla="*/ 17 w 112"/>
              <a:gd name="T105" fmla="*/ 1116 h 1148"/>
              <a:gd name="T106" fmla="*/ 13 w 112"/>
              <a:gd name="T107" fmla="*/ 1109 h 1148"/>
              <a:gd name="T108" fmla="*/ 9 w 112"/>
              <a:gd name="T109" fmla="*/ 1100 h 1148"/>
              <a:gd name="T110" fmla="*/ 4 w 112"/>
              <a:gd name="T111" fmla="*/ 1082 h 1148"/>
              <a:gd name="T112" fmla="*/ 1 w 112"/>
              <a:gd name="T113" fmla="*/ 1061 h 1148"/>
              <a:gd name="T114" fmla="*/ 0 w 112"/>
              <a:gd name="T115" fmla="*/ 1040 h 1148"/>
              <a:gd name="T116" fmla="*/ 0 w 112"/>
              <a:gd name="T117" fmla="*/ 108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 h="1148">
                <a:moveTo>
                  <a:pt x="0" y="108"/>
                </a:moveTo>
                <a:lnTo>
                  <a:pt x="0" y="108"/>
                </a:lnTo>
                <a:lnTo>
                  <a:pt x="1" y="87"/>
                </a:lnTo>
                <a:lnTo>
                  <a:pt x="4" y="66"/>
                </a:lnTo>
                <a:lnTo>
                  <a:pt x="9" y="48"/>
                </a:lnTo>
                <a:lnTo>
                  <a:pt x="13" y="39"/>
                </a:lnTo>
                <a:lnTo>
                  <a:pt x="17" y="32"/>
                </a:lnTo>
                <a:lnTo>
                  <a:pt x="21" y="25"/>
                </a:lnTo>
                <a:lnTo>
                  <a:pt x="25" y="18"/>
                </a:lnTo>
                <a:lnTo>
                  <a:pt x="30" y="12"/>
                </a:lnTo>
                <a:lnTo>
                  <a:pt x="35" y="8"/>
                </a:lnTo>
                <a:lnTo>
                  <a:pt x="40" y="4"/>
                </a:lnTo>
                <a:lnTo>
                  <a:pt x="45" y="2"/>
                </a:lnTo>
                <a:lnTo>
                  <a:pt x="50" y="0"/>
                </a:lnTo>
                <a:lnTo>
                  <a:pt x="56" y="0"/>
                </a:lnTo>
                <a:lnTo>
                  <a:pt x="56" y="0"/>
                </a:lnTo>
                <a:lnTo>
                  <a:pt x="62" y="0"/>
                </a:lnTo>
                <a:lnTo>
                  <a:pt x="67" y="2"/>
                </a:lnTo>
                <a:lnTo>
                  <a:pt x="74" y="4"/>
                </a:lnTo>
                <a:lnTo>
                  <a:pt x="79" y="8"/>
                </a:lnTo>
                <a:lnTo>
                  <a:pt x="83" y="12"/>
                </a:lnTo>
                <a:lnTo>
                  <a:pt x="88" y="18"/>
                </a:lnTo>
                <a:lnTo>
                  <a:pt x="92" y="25"/>
                </a:lnTo>
                <a:lnTo>
                  <a:pt x="96" y="32"/>
                </a:lnTo>
                <a:lnTo>
                  <a:pt x="100" y="39"/>
                </a:lnTo>
                <a:lnTo>
                  <a:pt x="103" y="48"/>
                </a:lnTo>
                <a:lnTo>
                  <a:pt x="108" y="66"/>
                </a:lnTo>
                <a:lnTo>
                  <a:pt x="111" y="87"/>
                </a:lnTo>
                <a:lnTo>
                  <a:pt x="112" y="108"/>
                </a:lnTo>
                <a:lnTo>
                  <a:pt x="112" y="1040"/>
                </a:lnTo>
                <a:lnTo>
                  <a:pt x="112" y="1040"/>
                </a:lnTo>
                <a:lnTo>
                  <a:pt x="111" y="1061"/>
                </a:lnTo>
                <a:lnTo>
                  <a:pt x="108" y="1082"/>
                </a:lnTo>
                <a:lnTo>
                  <a:pt x="103" y="1100"/>
                </a:lnTo>
                <a:lnTo>
                  <a:pt x="100" y="1109"/>
                </a:lnTo>
                <a:lnTo>
                  <a:pt x="96" y="1116"/>
                </a:lnTo>
                <a:lnTo>
                  <a:pt x="92" y="1123"/>
                </a:lnTo>
                <a:lnTo>
                  <a:pt x="88" y="1129"/>
                </a:lnTo>
                <a:lnTo>
                  <a:pt x="83" y="1135"/>
                </a:lnTo>
                <a:lnTo>
                  <a:pt x="79" y="1140"/>
                </a:lnTo>
                <a:lnTo>
                  <a:pt x="74" y="1144"/>
                </a:lnTo>
                <a:lnTo>
                  <a:pt x="67" y="1146"/>
                </a:lnTo>
                <a:lnTo>
                  <a:pt x="62" y="1148"/>
                </a:lnTo>
                <a:lnTo>
                  <a:pt x="56" y="1148"/>
                </a:lnTo>
                <a:lnTo>
                  <a:pt x="56" y="1148"/>
                </a:lnTo>
                <a:lnTo>
                  <a:pt x="50" y="1148"/>
                </a:lnTo>
                <a:lnTo>
                  <a:pt x="45" y="1146"/>
                </a:lnTo>
                <a:lnTo>
                  <a:pt x="40" y="1144"/>
                </a:lnTo>
                <a:lnTo>
                  <a:pt x="35" y="1140"/>
                </a:lnTo>
                <a:lnTo>
                  <a:pt x="30" y="1135"/>
                </a:lnTo>
                <a:lnTo>
                  <a:pt x="25" y="1129"/>
                </a:lnTo>
                <a:lnTo>
                  <a:pt x="21" y="1123"/>
                </a:lnTo>
                <a:lnTo>
                  <a:pt x="17" y="1116"/>
                </a:lnTo>
                <a:lnTo>
                  <a:pt x="13" y="1109"/>
                </a:lnTo>
                <a:lnTo>
                  <a:pt x="9" y="1100"/>
                </a:lnTo>
                <a:lnTo>
                  <a:pt x="4" y="1082"/>
                </a:lnTo>
                <a:lnTo>
                  <a:pt x="1" y="1061"/>
                </a:lnTo>
                <a:lnTo>
                  <a:pt x="0" y="1040"/>
                </a:lnTo>
                <a:lnTo>
                  <a:pt x="0" y="108"/>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23" name="Freeform 2277"/>
          <p:cNvSpPr>
            <a:spLocks/>
          </p:cNvSpPr>
          <p:nvPr/>
        </p:nvSpPr>
        <p:spPr bwMode="auto">
          <a:xfrm>
            <a:off x="10296527" y="5899151"/>
            <a:ext cx="455613" cy="109538"/>
          </a:xfrm>
          <a:custGeom>
            <a:avLst/>
            <a:gdLst>
              <a:gd name="T0" fmla="*/ 803 w 1718"/>
              <a:gd name="T1" fmla="*/ 263 h 413"/>
              <a:gd name="T2" fmla="*/ 0 w 1718"/>
              <a:gd name="T3" fmla="*/ 0 h 413"/>
              <a:gd name="T4" fmla="*/ 0 w 1718"/>
              <a:gd name="T5" fmla="*/ 151 h 413"/>
              <a:gd name="T6" fmla="*/ 803 w 1718"/>
              <a:gd name="T7" fmla="*/ 413 h 413"/>
              <a:gd name="T8" fmla="*/ 1718 w 1718"/>
              <a:gd name="T9" fmla="*/ 285 h 413"/>
              <a:gd name="T10" fmla="*/ 1718 w 1718"/>
              <a:gd name="T11" fmla="*/ 135 h 413"/>
              <a:gd name="T12" fmla="*/ 803 w 1718"/>
              <a:gd name="T13" fmla="*/ 263 h 413"/>
            </a:gdLst>
            <a:ahLst/>
            <a:cxnLst>
              <a:cxn ang="0">
                <a:pos x="T0" y="T1"/>
              </a:cxn>
              <a:cxn ang="0">
                <a:pos x="T2" y="T3"/>
              </a:cxn>
              <a:cxn ang="0">
                <a:pos x="T4" y="T5"/>
              </a:cxn>
              <a:cxn ang="0">
                <a:pos x="T6" y="T7"/>
              </a:cxn>
              <a:cxn ang="0">
                <a:pos x="T8" y="T9"/>
              </a:cxn>
              <a:cxn ang="0">
                <a:pos x="T10" y="T11"/>
              </a:cxn>
              <a:cxn ang="0">
                <a:pos x="T12" y="T13"/>
              </a:cxn>
            </a:cxnLst>
            <a:rect l="0" t="0" r="r" b="b"/>
            <a:pathLst>
              <a:path w="1718" h="413">
                <a:moveTo>
                  <a:pt x="803" y="263"/>
                </a:moveTo>
                <a:lnTo>
                  <a:pt x="0" y="0"/>
                </a:lnTo>
                <a:lnTo>
                  <a:pt x="0" y="151"/>
                </a:lnTo>
                <a:lnTo>
                  <a:pt x="803" y="413"/>
                </a:lnTo>
                <a:lnTo>
                  <a:pt x="1718" y="285"/>
                </a:lnTo>
                <a:lnTo>
                  <a:pt x="1718" y="135"/>
                </a:lnTo>
                <a:lnTo>
                  <a:pt x="803" y="263"/>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27" name="Freeform 2281"/>
          <p:cNvSpPr>
            <a:spLocks/>
          </p:cNvSpPr>
          <p:nvPr/>
        </p:nvSpPr>
        <p:spPr bwMode="auto">
          <a:xfrm>
            <a:off x="11390312" y="6199189"/>
            <a:ext cx="414338" cy="280987"/>
          </a:xfrm>
          <a:custGeom>
            <a:avLst/>
            <a:gdLst/>
            <a:ahLst/>
            <a:cxnLst/>
            <a:rect l="l" t="t" r="r" b="b"/>
            <a:pathLst>
              <a:path w="414338" h="280987">
                <a:moveTo>
                  <a:pt x="398987" y="60325"/>
                </a:moveTo>
                <a:lnTo>
                  <a:pt x="400872" y="60591"/>
                </a:lnTo>
                <a:lnTo>
                  <a:pt x="402219" y="61122"/>
                </a:lnTo>
                <a:lnTo>
                  <a:pt x="403835" y="61653"/>
                </a:lnTo>
                <a:lnTo>
                  <a:pt x="405181" y="62715"/>
                </a:lnTo>
                <a:lnTo>
                  <a:pt x="406528" y="63777"/>
                </a:lnTo>
                <a:lnTo>
                  <a:pt x="407605" y="65370"/>
                </a:lnTo>
                <a:lnTo>
                  <a:pt x="408682" y="66963"/>
                </a:lnTo>
                <a:lnTo>
                  <a:pt x="409760" y="68821"/>
                </a:lnTo>
                <a:lnTo>
                  <a:pt x="410837" y="70680"/>
                </a:lnTo>
                <a:lnTo>
                  <a:pt x="411645" y="72804"/>
                </a:lnTo>
                <a:lnTo>
                  <a:pt x="412991" y="78114"/>
                </a:lnTo>
                <a:lnTo>
                  <a:pt x="413799" y="83159"/>
                </a:lnTo>
                <a:lnTo>
                  <a:pt x="414338" y="89000"/>
                </a:lnTo>
                <a:lnTo>
                  <a:pt x="414338" y="280987"/>
                </a:lnTo>
                <a:lnTo>
                  <a:pt x="384175" y="280987"/>
                </a:lnTo>
                <a:lnTo>
                  <a:pt x="384175" y="89000"/>
                </a:lnTo>
                <a:lnTo>
                  <a:pt x="384444" y="83159"/>
                </a:lnTo>
                <a:lnTo>
                  <a:pt x="385252" y="78114"/>
                </a:lnTo>
                <a:lnTo>
                  <a:pt x="386599" y="72804"/>
                </a:lnTo>
                <a:lnTo>
                  <a:pt x="387676" y="70680"/>
                </a:lnTo>
                <a:lnTo>
                  <a:pt x="388484" y="68821"/>
                </a:lnTo>
                <a:lnTo>
                  <a:pt x="389561" y="66963"/>
                </a:lnTo>
                <a:lnTo>
                  <a:pt x="390639" y="65370"/>
                </a:lnTo>
                <a:lnTo>
                  <a:pt x="391985" y="63777"/>
                </a:lnTo>
                <a:lnTo>
                  <a:pt x="393332" y="62715"/>
                </a:lnTo>
                <a:lnTo>
                  <a:pt x="394678" y="61653"/>
                </a:lnTo>
                <a:lnTo>
                  <a:pt x="396025" y="61122"/>
                </a:lnTo>
                <a:lnTo>
                  <a:pt x="397641" y="60591"/>
                </a:lnTo>
                <a:close/>
                <a:moveTo>
                  <a:pt x="14948" y="28575"/>
                </a:moveTo>
                <a:lnTo>
                  <a:pt x="16550" y="28839"/>
                </a:lnTo>
                <a:lnTo>
                  <a:pt x="17884" y="29366"/>
                </a:lnTo>
                <a:lnTo>
                  <a:pt x="19486" y="30158"/>
                </a:lnTo>
                <a:lnTo>
                  <a:pt x="21087" y="30950"/>
                </a:lnTo>
                <a:lnTo>
                  <a:pt x="22422" y="32269"/>
                </a:lnTo>
                <a:lnTo>
                  <a:pt x="23490" y="33589"/>
                </a:lnTo>
                <a:lnTo>
                  <a:pt x="24557" y="35172"/>
                </a:lnTo>
                <a:lnTo>
                  <a:pt x="25625" y="37019"/>
                </a:lnTo>
                <a:lnTo>
                  <a:pt x="26693" y="39130"/>
                </a:lnTo>
                <a:lnTo>
                  <a:pt x="27494" y="41242"/>
                </a:lnTo>
                <a:lnTo>
                  <a:pt x="28828" y="46256"/>
                </a:lnTo>
                <a:lnTo>
                  <a:pt x="29896" y="51533"/>
                </a:lnTo>
                <a:lnTo>
                  <a:pt x="30163" y="57339"/>
                </a:lnTo>
                <a:lnTo>
                  <a:pt x="30163" y="280987"/>
                </a:lnTo>
                <a:lnTo>
                  <a:pt x="0" y="280987"/>
                </a:lnTo>
                <a:lnTo>
                  <a:pt x="0" y="57339"/>
                </a:lnTo>
                <a:lnTo>
                  <a:pt x="267" y="51533"/>
                </a:lnTo>
                <a:lnTo>
                  <a:pt x="1068" y="46256"/>
                </a:lnTo>
                <a:lnTo>
                  <a:pt x="2402" y="41242"/>
                </a:lnTo>
                <a:lnTo>
                  <a:pt x="3470" y="39130"/>
                </a:lnTo>
                <a:lnTo>
                  <a:pt x="4538" y="37019"/>
                </a:lnTo>
                <a:lnTo>
                  <a:pt x="5606" y="35172"/>
                </a:lnTo>
                <a:lnTo>
                  <a:pt x="6673" y="33589"/>
                </a:lnTo>
                <a:lnTo>
                  <a:pt x="8008" y="32269"/>
                </a:lnTo>
                <a:lnTo>
                  <a:pt x="9343" y="30950"/>
                </a:lnTo>
                <a:lnTo>
                  <a:pt x="10677" y="30158"/>
                </a:lnTo>
                <a:lnTo>
                  <a:pt x="12012" y="29366"/>
                </a:lnTo>
                <a:lnTo>
                  <a:pt x="13613" y="28839"/>
                </a:lnTo>
                <a:close/>
                <a:moveTo>
                  <a:pt x="219841" y="0"/>
                </a:moveTo>
                <a:lnTo>
                  <a:pt x="221457" y="0"/>
                </a:lnTo>
                <a:lnTo>
                  <a:pt x="223072" y="0"/>
                </a:lnTo>
                <a:lnTo>
                  <a:pt x="224419" y="528"/>
                </a:lnTo>
                <a:lnTo>
                  <a:pt x="226035" y="1057"/>
                </a:lnTo>
                <a:lnTo>
                  <a:pt x="227381" y="2115"/>
                </a:lnTo>
                <a:lnTo>
                  <a:pt x="228728" y="3172"/>
                </a:lnTo>
                <a:lnTo>
                  <a:pt x="230075" y="4758"/>
                </a:lnTo>
                <a:lnTo>
                  <a:pt x="231152" y="6344"/>
                </a:lnTo>
                <a:lnTo>
                  <a:pt x="232229" y="8195"/>
                </a:lnTo>
                <a:lnTo>
                  <a:pt x="233306" y="10045"/>
                </a:lnTo>
                <a:lnTo>
                  <a:pt x="234114" y="12424"/>
                </a:lnTo>
                <a:lnTo>
                  <a:pt x="235461" y="17447"/>
                </a:lnTo>
                <a:lnTo>
                  <a:pt x="236269" y="22734"/>
                </a:lnTo>
                <a:lnTo>
                  <a:pt x="236538" y="28286"/>
                </a:lnTo>
                <a:lnTo>
                  <a:pt x="236538" y="274663"/>
                </a:lnTo>
                <a:lnTo>
                  <a:pt x="236269" y="280479"/>
                </a:lnTo>
                <a:lnTo>
                  <a:pt x="236191" y="280987"/>
                </a:lnTo>
                <a:lnTo>
                  <a:pt x="206722" y="280987"/>
                </a:lnTo>
                <a:lnTo>
                  <a:pt x="206644" y="280479"/>
                </a:lnTo>
                <a:lnTo>
                  <a:pt x="206376" y="274685"/>
                </a:lnTo>
                <a:lnTo>
                  <a:pt x="206376" y="280987"/>
                </a:lnTo>
                <a:lnTo>
                  <a:pt x="176213" y="280987"/>
                </a:lnTo>
                <a:lnTo>
                  <a:pt x="176213" y="118989"/>
                </a:lnTo>
                <a:lnTo>
                  <a:pt x="176480" y="113447"/>
                </a:lnTo>
                <a:lnTo>
                  <a:pt x="177815" y="108169"/>
                </a:lnTo>
                <a:lnTo>
                  <a:pt x="179149" y="103155"/>
                </a:lnTo>
                <a:lnTo>
                  <a:pt x="179950" y="101044"/>
                </a:lnTo>
                <a:lnTo>
                  <a:pt x="180751" y="98933"/>
                </a:lnTo>
                <a:lnTo>
                  <a:pt x="181819" y="97086"/>
                </a:lnTo>
                <a:lnTo>
                  <a:pt x="183153" y="95502"/>
                </a:lnTo>
                <a:lnTo>
                  <a:pt x="184221" y="94183"/>
                </a:lnTo>
                <a:lnTo>
                  <a:pt x="185556" y="92863"/>
                </a:lnTo>
                <a:lnTo>
                  <a:pt x="186890" y="92072"/>
                </a:lnTo>
                <a:lnTo>
                  <a:pt x="188225" y="91016"/>
                </a:lnTo>
                <a:lnTo>
                  <a:pt x="189826" y="90488"/>
                </a:lnTo>
                <a:lnTo>
                  <a:pt x="191428" y="90488"/>
                </a:lnTo>
                <a:lnTo>
                  <a:pt x="192763" y="90488"/>
                </a:lnTo>
                <a:lnTo>
                  <a:pt x="194631" y="91016"/>
                </a:lnTo>
                <a:lnTo>
                  <a:pt x="195966" y="92072"/>
                </a:lnTo>
                <a:lnTo>
                  <a:pt x="197300" y="92863"/>
                </a:lnTo>
                <a:lnTo>
                  <a:pt x="198635" y="94183"/>
                </a:lnTo>
                <a:lnTo>
                  <a:pt x="199703" y="95502"/>
                </a:lnTo>
                <a:lnTo>
                  <a:pt x="201037" y="97086"/>
                </a:lnTo>
                <a:lnTo>
                  <a:pt x="202105" y="98933"/>
                </a:lnTo>
                <a:lnTo>
                  <a:pt x="202906" y="101044"/>
                </a:lnTo>
                <a:lnTo>
                  <a:pt x="203707" y="103155"/>
                </a:lnTo>
                <a:lnTo>
                  <a:pt x="205308" y="108169"/>
                </a:lnTo>
                <a:lnTo>
                  <a:pt x="206109" y="113447"/>
                </a:lnTo>
                <a:lnTo>
                  <a:pt x="206375" y="118968"/>
                </a:lnTo>
                <a:lnTo>
                  <a:pt x="206375" y="28286"/>
                </a:lnTo>
                <a:lnTo>
                  <a:pt x="206644" y="22734"/>
                </a:lnTo>
                <a:lnTo>
                  <a:pt x="207452" y="17447"/>
                </a:lnTo>
                <a:lnTo>
                  <a:pt x="209068" y="12424"/>
                </a:lnTo>
                <a:lnTo>
                  <a:pt x="209876" y="10045"/>
                </a:lnTo>
                <a:lnTo>
                  <a:pt x="210953" y="8195"/>
                </a:lnTo>
                <a:lnTo>
                  <a:pt x="212031" y="6344"/>
                </a:lnTo>
                <a:lnTo>
                  <a:pt x="213108" y="4758"/>
                </a:lnTo>
                <a:lnTo>
                  <a:pt x="214454" y="3172"/>
                </a:lnTo>
                <a:lnTo>
                  <a:pt x="215532" y="2115"/>
                </a:lnTo>
                <a:lnTo>
                  <a:pt x="217147" y="1057"/>
                </a:lnTo>
                <a:lnTo>
                  <a:pt x="218494" y="528"/>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28" name="Freeform 2282"/>
          <p:cNvSpPr>
            <a:spLocks/>
          </p:cNvSpPr>
          <p:nvPr/>
        </p:nvSpPr>
        <p:spPr bwMode="auto">
          <a:xfrm>
            <a:off x="11376027" y="6192839"/>
            <a:ext cx="455613" cy="93663"/>
          </a:xfrm>
          <a:custGeom>
            <a:avLst/>
            <a:gdLst>
              <a:gd name="T0" fmla="*/ 1718 w 1718"/>
              <a:gd name="T1" fmla="*/ 226 h 353"/>
              <a:gd name="T2" fmla="*/ 918 w 1718"/>
              <a:gd name="T3" fmla="*/ 0 h 353"/>
              <a:gd name="T4" fmla="*/ 0 w 1718"/>
              <a:gd name="T5" fmla="*/ 92 h 353"/>
              <a:gd name="T6" fmla="*/ 803 w 1718"/>
              <a:gd name="T7" fmla="*/ 353 h 353"/>
              <a:gd name="T8" fmla="*/ 1718 w 1718"/>
              <a:gd name="T9" fmla="*/ 226 h 353"/>
            </a:gdLst>
            <a:ahLst/>
            <a:cxnLst>
              <a:cxn ang="0">
                <a:pos x="T0" y="T1"/>
              </a:cxn>
              <a:cxn ang="0">
                <a:pos x="T2" y="T3"/>
              </a:cxn>
              <a:cxn ang="0">
                <a:pos x="T4" y="T5"/>
              </a:cxn>
              <a:cxn ang="0">
                <a:pos x="T6" y="T7"/>
              </a:cxn>
              <a:cxn ang="0">
                <a:pos x="T8" y="T9"/>
              </a:cxn>
            </a:cxnLst>
            <a:rect l="0" t="0" r="r" b="b"/>
            <a:pathLst>
              <a:path w="1718" h="353">
                <a:moveTo>
                  <a:pt x="1718" y="226"/>
                </a:moveTo>
                <a:lnTo>
                  <a:pt x="918" y="0"/>
                </a:lnTo>
                <a:lnTo>
                  <a:pt x="0" y="92"/>
                </a:lnTo>
                <a:lnTo>
                  <a:pt x="803" y="353"/>
                </a:lnTo>
                <a:lnTo>
                  <a:pt x="1718" y="226"/>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29" name="Freeform 2283"/>
          <p:cNvSpPr>
            <a:spLocks/>
          </p:cNvSpPr>
          <p:nvPr/>
        </p:nvSpPr>
        <p:spPr bwMode="auto">
          <a:xfrm>
            <a:off x="11376027" y="6216651"/>
            <a:ext cx="455613" cy="109538"/>
          </a:xfrm>
          <a:custGeom>
            <a:avLst/>
            <a:gdLst>
              <a:gd name="T0" fmla="*/ 803 w 1718"/>
              <a:gd name="T1" fmla="*/ 261 h 413"/>
              <a:gd name="T2" fmla="*/ 0 w 1718"/>
              <a:gd name="T3" fmla="*/ 0 h 413"/>
              <a:gd name="T4" fmla="*/ 0 w 1718"/>
              <a:gd name="T5" fmla="*/ 150 h 413"/>
              <a:gd name="T6" fmla="*/ 803 w 1718"/>
              <a:gd name="T7" fmla="*/ 413 h 413"/>
              <a:gd name="T8" fmla="*/ 1718 w 1718"/>
              <a:gd name="T9" fmla="*/ 285 h 413"/>
              <a:gd name="T10" fmla="*/ 1718 w 1718"/>
              <a:gd name="T11" fmla="*/ 134 h 413"/>
              <a:gd name="T12" fmla="*/ 803 w 1718"/>
              <a:gd name="T13" fmla="*/ 261 h 413"/>
            </a:gdLst>
            <a:ahLst/>
            <a:cxnLst>
              <a:cxn ang="0">
                <a:pos x="T0" y="T1"/>
              </a:cxn>
              <a:cxn ang="0">
                <a:pos x="T2" y="T3"/>
              </a:cxn>
              <a:cxn ang="0">
                <a:pos x="T4" y="T5"/>
              </a:cxn>
              <a:cxn ang="0">
                <a:pos x="T6" y="T7"/>
              </a:cxn>
              <a:cxn ang="0">
                <a:pos x="T8" y="T9"/>
              </a:cxn>
              <a:cxn ang="0">
                <a:pos x="T10" y="T11"/>
              </a:cxn>
              <a:cxn ang="0">
                <a:pos x="T12" y="T13"/>
              </a:cxn>
            </a:cxnLst>
            <a:rect l="0" t="0" r="r" b="b"/>
            <a:pathLst>
              <a:path w="1718" h="413">
                <a:moveTo>
                  <a:pt x="803" y="261"/>
                </a:moveTo>
                <a:lnTo>
                  <a:pt x="0" y="0"/>
                </a:lnTo>
                <a:lnTo>
                  <a:pt x="0" y="150"/>
                </a:lnTo>
                <a:lnTo>
                  <a:pt x="803" y="413"/>
                </a:lnTo>
                <a:lnTo>
                  <a:pt x="1718" y="285"/>
                </a:lnTo>
                <a:lnTo>
                  <a:pt x="1718" y="134"/>
                </a:lnTo>
                <a:lnTo>
                  <a:pt x="803" y="261"/>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550" name="Freeform 2304"/>
          <p:cNvSpPr>
            <a:spLocks/>
          </p:cNvSpPr>
          <p:nvPr/>
        </p:nvSpPr>
        <p:spPr bwMode="auto">
          <a:xfrm>
            <a:off x="10455277" y="5746752"/>
            <a:ext cx="47625" cy="149225"/>
          </a:xfrm>
          <a:custGeom>
            <a:avLst/>
            <a:gdLst>
              <a:gd name="T0" fmla="*/ 69 w 175"/>
              <a:gd name="T1" fmla="*/ 559 h 559"/>
              <a:gd name="T2" fmla="*/ 69 w 175"/>
              <a:gd name="T3" fmla="*/ 559 h 559"/>
              <a:gd name="T4" fmla="*/ 64 w 175"/>
              <a:gd name="T5" fmla="*/ 551 h 559"/>
              <a:gd name="T6" fmla="*/ 59 w 175"/>
              <a:gd name="T7" fmla="*/ 540 h 559"/>
              <a:gd name="T8" fmla="*/ 53 w 175"/>
              <a:gd name="T9" fmla="*/ 524 h 559"/>
              <a:gd name="T10" fmla="*/ 46 w 175"/>
              <a:gd name="T11" fmla="*/ 505 h 559"/>
              <a:gd name="T12" fmla="*/ 39 w 175"/>
              <a:gd name="T13" fmla="*/ 481 h 559"/>
              <a:gd name="T14" fmla="*/ 31 w 175"/>
              <a:gd name="T15" fmla="*/ 452 h 559"/>
              <a:gd name="T16" fmla="*/ 23 w 175"/>
              <a:gd name="T17" fmla="*/ 420 h 559"/>
              <a:gd name="T18" fmla="*/ 15 w 175"/>
              <a:gd name="T19" fmla="*/ 382 h 559"/>
              <a:gd name="T20" fmla="*/ 9 w 175"/>
              <a:gd name="T21" fmla="*/ 341 h 559"/>
              <a:gd name="T22" fmla="*/ 4 w 175"/>
              <a:gd name="T23" fmla="*/ 295 h 559"/>
              <a:gd name="T24" fmla="*/ 1 w 175"/>
              <a:gd name="T25" fmla="*/ 245 h 559"/>
              <a:gd name="T26" fmla="*/ 0 w 175"/>
              <a:gd name="T27" fmla="*/ 190 h 559"/>
              <a:gd name="T28" fmla="*/ 0 w 175"/>
              <a:gd name="T29" fmla="*/ 161 h 559"/>
              <a:gd name="T30" fmla="*/ 1 w 175"/>
              <a:gd name="T31" fmla="*/ 131 h 559"/>
              <a:gd name="T32" fmla="*/ 3 w 175"/>
              <a:gd name="T33" fmla="*/ 100 h 559"/>
              <a:gd name="T34" fmla="*/ 5 w 175"/>
              <a:gd name="T35" fmla="*/ 68 h 559"/>
              <a:gd name="T36" fmla="*/ 8 w 175"/>
              <a:gd name="T37" fmla="*/ 34 h 559"/>
              <a:gd name="T38" fmla="*/ 12 w 175"/>
              <a:gd name="T39" fmla="*/ 0 h 559"/>
              <a:gd name="T40" fmla="*/ 121 w 175"/>
              <a:gd name="T41" fmla="*/ 0 h 559"/>
              <a:gd name="T42" fmla="*/ 121 w 175"/>
              <a:gd name="T43" fmla="*/ 0 h 559"/>
              <a:gd name="T44" fmla="*/ 118 w 175"/>
              <a:gd name="T45" fmla="*/ 11 h 559"/>
              <a:gd name="T46" fmla="*/ 114 w 175"/>
              <a:gd name="T47" fmla="*/ 43 h 559"/>
              <a:gd name="T48" fmla="*/ 111 w 175"/>
              <a:gd name="T49" fmla="*/ 67 h 559"/>
              <a:gd name="T50" fmla="*/ 109 w 175"/>
              <a:gd name="T51" fmla="*/ 94 h 559"/>
              <a:gd name="T52" fmla="*/ 107 w 175"/>
              <a:gd name="T53" fmla="*/ 126 h 559"/>
              <a:gd name="T54" fmla="*/ 107 w 175"/>
              <a:gd name="T55" fmla="*/ 161 h 559"/>
              <a:gd name="T56" fmla="*/ 107 w 175"/>
              <a:gd name="T57" fmla="*/ 200 h 559"/>
              <a:gd name="T58" fmla="*/ 109 w 175"/>
              <a:gd name="T59" fmla="*/ 243 h 559"/>
              <a:gd name="T60" fmla="*/ 114 w 175"/>
              <a:gd name="T61" fmla="*/ 287 h 559"/>
              <a:gd name="T62" fmla="*/ 120 w 175"/>
              <a:gd name="T63" fmla="*/ 336 h 559"/>
              <a:gd name="T64" fmla="*/ 129 w 175"/>
              <a:gd name="T65" fmla="*/ 386 h 559"/>
              <a:gd name="T66" fmla="*/ 134 w 175"/>
              <a:gd name="T67" fmla="*/ 413 h 559"/>
              <a:gd name="T68" fmla="*/ 142 w 175"/>
              <a:gd name="T69" fmla="*/ 439 h 559"/>
              <a:gd name="T70" fmla="*/ 149 w 175"/>
              <a:gd name="T71" fmla="*/ 465 h 559"/>
              <a:gd name="T72" fmla="*/ 157 w 175"/>
              <a:gd name="T73" fmla="*/ 493 h 559"/>
              <a:gd name="T74" fmla="*/ 166 w 175"/>
              <a:gd name="T75" fmla="*/ 520 h 559"/>
              <a:gd name="T76" fmla="*/ 175 w 175"/>
              <a:gd name="T77" fmla="*/ 549 h 559"/>
              <a:gd name="T78" fmla="*/ 69 w 175"/>
              <a:gd name="T79" fmla="*/ 559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559">
                <a:moveTo>
                  <a:pt x="69" y="559"/>
                </a:moveTo>
                <a:lnTo>
                  <a:pt x="69" y="559"/>
                </a:lnTo>
                <a:lnTo>
                  <a:pt x="64" y="551"/>
                </a:lnTo>
                <a:lnTo>
                  <a:pt x="59" y="540"/>
                </a:lnTo>
                <a:lnTo>
                  <a:pt x="53" y="524"/>
                </a:lnTo>
                <a:lnTo>
                  <a:pt x="46" y="505"/>
                </a:lnTo>
                <a:lnTo>
                  <a:pt x="39" y="481"/>
                </a:lnTo>
                <a:lnTo>
                  <a:pt x="31" y="452"/>
                </a:lnTo>
                <a:lnTo>
                  <a:pt x="23" y="420"/>
                </a:lnTo>
                <a:lnTo>
                  <a:pt x="15" y="382"/>
                </a:lnTo>
                <a:lnTo>
                  <a:pt x="9" y="341"/>
                </a:lnTo>
                <a:lnTo>
                  <a:pt x="4" y="295"/>
                </a:lnTo>
                <a:lnTo>
                  <a:pt x="1" y="245"/>
                </a:lnTo>
                <a:lnTo>
                  <a:pt x="0" y="190"/>
                </a:lnTo>
                <a:lnTo>
                  <a:pt x="0" y="161"/>
                </a:lnTo>
                <a:lnTo>
                  <a:pt x="1" y="131"/>
                </a:lnTo>
                <a:lnTo>
                  <a:pt x="3" y="100"/>
                </a:lnTo>
                <a:lnTo>
                  <a:pt x="5" y="68"/>
                </a:lnTo>
                <a:lnTo>
                  <a:pt x="8" y="34"/>
                </a:lnTo>
                <a:lnTo>
                  <a:pt x="12" y="0"/>
                </a:lnTo>
                <a:lnTo>
                  <a:pt x="121" y="0"/>
                </a:lnTo>
                <a:lnTo>
                  <a:pt x="121" y="0"/>
                </a:lnTo>
                <a:lnTo>
                  <a:pt x="118" y="11"/>
                </a:lnTo>
                <a:lnTo>
                  <a:pt x="114" y="43"/>
                </a:lnTo>
                <a:lnTo>
                  <a:pt x="111" y="67"/>
                </a:lnTo>
                <a:lnTo>
                  <a:pt x="109" y="94"/>
                </a:lnTo>
                <a:lnTo>
                  <a:pt x="107" y="126"/>
                </a:lnTo>
                <a:lnTo>
                  <a:pt x="107" y="161"/>
                </a:lnTo>
                <a:lnTo>
                  <a:pt x="107" y="200"/>
                </a:lnTo>
                <a:lnTo>
                  <a:pt x="109" y="243"/>
                </a:lnTo>
                <a:lnTo>
                  <a:pt x="114" y="287"/>
                </a:lnTo>
                <a:lnTo>
                  <a:pt x="120" y="336"/>
                </a:lnTo>
                <a:lnTo>
                  <a:pt x="129" y="386"/>
                </a:lnTo>
                <a:lnTo>
                  <a:pt x="134" y="413"/>
                </a:lnTo>
                <a:lnTo>
                  <a:pt x="142" y="439"/>
                </a:lnTo>
                <a:lnTo>
                  <a:pt x="149" y="465"/>
                </a:lnTo>
                <a:lnTo>
                  <a:pt x="157" y="493"/>
                </a:lnTo>
                <a:lnTo>
                  <a:pt x="166" y="520"/>
                </a:lnTo>
                <a:lnTo>
                  <a:pt x="175" y="549"/>
                </a:lnTo>
                <a:lnTo>
                  <a:pt x="69" y="559"/>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8" name="Freeform 2382"/>
          <p:cNvSpPr>
            <a:spLocks/>
          </p:cNvSpPr>
          <p:nvPr/>
        </p:nvSpPr>
        <p:spPr bwMode="auto">
          <a:xfrm>
            <a:off x="10321926" y="5746752"/>
            <a:ext cx="46038" cy="149225"/>
          </a:xfrm>
          <a:custGeom>
            <a:avLst/>
            <a:gdLst>
              <a:gd name="T0" fmla="*/ 69 w 175"/>
              <a:gd name="T1" fmla="*/ 559 h 559"/>
              <a:gd name="T2" fmla="*/ 69 w 175"/>
              <a:gd name="T3" fmla="*/ 559 h 559"/>
              <a:gd name="T4" fmla="*/ 64 w 175"/>
              <a:gd name="T5" fmla="*/ 551 h 559"/>
              <a:gd name="T6" fmla="*/ 59 w 175"/>
              <a:gd name="T7" fmla="*/ 540 h 559"/>
              <a:gd name="T8" fmla="*/ 53 w 175"/>
              <a:gd name="T9" fmla="*/ 524 h 559"/>
              <a:gd name="T10" fmla="*/ 46 w 175"/>
              <a:gd name="T11" fmla="*/ 505 h 559"/>
              <a:gd name="T12" fmla="*/ 38 w 175"/>
              <a:gd name="T13" fmla="*/ 481 h 559"/>
              <a:gd name="T14" fmla="*/ 30 w 175"/>
              <a:gd name="T15" fmla="*/ 452 h 559"/>
              <a:gd name="T16" fmla="*/ 22 w 175"/>
              <a:gd name="T17" fmla="*/ 420 h 559"/>
              <a:gd name="T18" fmla="*/ 15 w 175"/>
              <a:gd name="T19" fmla="*/ 382 h 559"/>
              <a:gd name="T20" fmla="*/ 9 w 175"/>
              <a:gd name="T21" fmla="*/ 341 h 559"/>
              <a:gd name="T22" fmla="*/ 4 w 175"/>
              <a:gd name="T23" fmla="*/ 295 h 559"/>
              <a:gd name="T24" fmla="*/ 1 w 175"/>
              <a:gd name="T25" fmla="*/ 245 h 559"/>
              <a:gd name="T26" fmla="*/ 0 w 175"/>
              <a:gd name="T27" fmla="*/ 190 h 559"/>
              <a:gd name="T28" fmla="*/ 0 w 175"/>
              <a:gd name="T29" fmla="*/ 161 h 559"/>
              <a:gd name="T30" fmla="*/ 1 w 175"/>
              <a:gd name="T31" fmla="*/ 131 h 559"/>
              <a:gd name="T32" fmla="*/ 3 w 175"/>
              <a:gd name="T33" fmla="*/ 100 h 559"/>
              <a:gd name="T34" fmla="*/ 5 w 175"/>
              <a:gd name="T35" fmla="*/ 68 h 559"/>
              <a:gd name="T36" fmla="*/ 8 w 175"/>
              <a:gd name="T37" fmla="*/ 34 h 559"/>
              <a:gd name="T38" fmla="*/ 12 w 175"/>
              <a:gd name="T39" fmla="*/ 0 h 559"/>
              <a:gd name="T40" fmla="*/ 121 w 175"/>
              <a:gd name="T41" fmla="*/ 0 h 559"/>
              <a:gd name="T42" fmla="*/ 121 w 175"/>
              <a:gd name="T43" fmla="*/ 0 h 559"/>
              <a:gd name="T44" fmla="*/ 118 w 175"/>
              <a:gd name="T45" fmla="*/ 11 h 559"/>
              <a:gd name="T46" fmla="*/ 114 w 175"/>
              <a:gd name="T47" fmla="*/ 43 h 559"/>
              <a:gd name="T48" fmla="*/ 111 w 175"/>
              <a:gd name="T49" fmla="*/ 67 h 559"/>
              <a:gd name="T50" fmla="*/ 109 w 175"/>
              <a:gd name="T51" fmla="*/ 94 h 559"/>
              <a:gd name="T52" fmla="*/ 107 w 175"/>
              <a:gd name="T53" fmla="*/ 126 h 559"/>
              <a:gd name="T54" fmla="*/ 107 w 175"/>
              <a:gd name="T55" fmla="*/ 161 h 559"/>
              <a:gd name="T56" fmla="*/ 107 w 175"/>
              <a:gd name="T57" fmla="*/ 200 h 559"/>
              <a:gd name="T58" fmla="*/ 109 w 175"/>
              <a:gd name="T59" fmla="*/ 243 h 559"/>
              <a:gd name="T60" fmla="*/ 114 w 175"/>
              <a:gd name="T61" fmla="*/ 287 h 559"/>
              <a:gd name="T62" fmla="*/ 120 w 175"/>
              <a:gd name="T63" fmla="*/ 336 h 559"/>
              <a:gd name="T64" fmla="*/ 129 w 175"/>
              <a:gd name="T65" fmla="*/ 386 h 559"/>
              <a:gd name="T66" fmla="*/ 135 w 175"/>
              <a:gd name="T67" fmla="*/ 413 h 559"/>
              <a:gd name="T68" fmla="*/ 141 w 175"/>
              <a:gd name="T69" fmla="*/ 439 h 559"/>
              <a:gd name="T70" fmla="*/ 148 w 175"/>
              <a:gd name="T71" fmla="*/ 465 h 559"/>
              <a:gd name="T72" fmla="*/ 156 w 175"/>
              <a:gd name="T73" fmla="*/ 493 h 559"/>
              <a:gd name="T74" fmla="*/ 166 w 175"/>
              <a:gd name="T75" fmla="*/ 520 h 559"/>
              <a:gd name="T76" fmla="*/ 175 w 175"/>
              <a:gd name="T77" fmla="*/ 549 h 559"/>
              <a:gd name="T78" fmla="*/ 69 w 175"/>
              <a:gd name="T79" fmla="*/ 559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559">
                <a:moveTo>
                  <a:pt x="69" y="559"/>
                </a:moveTo>
                <a:lnTo>
                  <a:pt x="69" y="559"/>
                </a:lnTo>
                <a:lnTo>
                  <a:pt x="64" y="551"/>
                </a:lnTo>
                <a:lnTo>
                  <a:pt x="59" y="540"/>
                </a:lnTo>
                <a:lnTo>
                  <a:pt x="53" y="524"/>
                </a:lnTo>
                <a:lnTo>
                  <a:pt x="46" y="505"/>
                </a:lnTo>
                <a:lnTo>
                  <a:pt x="38" y="481"/>
                </a:lnTo>
                <a:lnTo>
                  <a:pt x="30" y="452"/>
                </a:lnTo>
                <a:lnTo>
                  <a:pt x="22" y="420"/>
                </a:lnTo>
                <a:lnTo>
                  <a:pt x="15" y="382"/>
                </a:lnTo>
                <a:lnTo>
                  <a:pt x="9" y="341"/>
                </a:lnTo>
                <a:lnTo>
                  <a:pt x="4" y="295"/>
                </a:lnTo>
                <a:lnTo>
                  <a:pt x="1" y="245"/>
                </a:lnTo>
                <a:lnTo>
                  <a:pt x="0" y="190"/>
                </a:lnTo>
                <a:lnTo>
                  <a:pt x="0" y="161"/>
                </a:lnTo>
                <a:lnTo>
                  <a:pt x="1" y="131"/>
                </a:lnTo>
                <a:lnTo>
                  <a:pt x="3" y="100"/>
                </a:lnTo>
                <a:lnTo>
                  <a:pt x="5" y="68"/>
                </a:lnTo>
                <a:lnTo>
                  <a:pt x="8" y="34"/>
                </a:lnTo>
                <a:lnTo>
                  <a:pt x="12" y="0"/>
                </a:lnTo>
                <a:lnTo>
                  <a:pt x="121" y="0"/>
                </a:lnTo>
                <a:lnTo>
                  <a:pt x="121" y="0"/>
                </a:lnTo>
                <a:lnTo>
                  <a:pt x="118" y="11"/>
                </a:lnTo>
                <a:lnTo>
                  <a:pt x="114" y="43"/>
                </a:lnTo>
                <a:lnTo>
                  <a:pt x="111" y="67"/>
                </a:lnTo>
                <a:lnTo>
                  <a:pt x="109" y="94"/>
                </a:lnTo>
                <a:lnTo>
                  <a:pt x="107" y="126"/>
                </a:lnTo>
                <a:lnTo>
                  <a:pt x="107" y="161"/>
                </a:lnTo>
                <a:lnTo>
                  <a:pt x="107" y="200"/>
                </a:lnTo>
                <a:lnTo>
                  <a:pt x="109" y="243"/>
                </a:lnTo>
                <a:lnTo>
                  <a:pt x="114" y="287"/>
                </a:lnTo>
                <a:lnTo>
                  <a:pt x="120" y="336"/>
                </a:lnTo>
                <a:lnTo>
                  <a:pt x="129" y="386"/>
                </a:lnTo>
                <a:lnTo>
                  <a:pt x="135" y="413"/>
                </a:lnTo>
                <a:lnTo>
                  <a:pt x="141" y="439"/>
                </a:lnTo>
                <a:lnTo>
                  <a:pt x="148" y="465"/>
                </a:lnTo>
                <a:lnTo>
                  <a:pt x="156" y="493"/>
                </a:lnTo>
                <a:lnTo>
                  <a:pt x="166" y="520"/>
                </a:lnTo>
                <a:lnTo>
                  <a:pt x="175" y="549"/>
                </a:lnTo>
                <a:lnTo>
                  <a:pt x="69" y="559"/>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29" name="Freeform 2383"/>
          <p:cNvSpPr>
            <a:spLocks/>
          </p:cNvSpPr>
          <p:nvPr/>
        </p:nvSpPr>
        <p:spPr bwMode="auto">
          <a:xfrm>
            <a:off x="10296527" y="5875339"/>
            <a:ext cx="455613" cy="93663"/>
          </a:xfrm>
          <a:custGeom>
            <a:avLst/>
            <a:gdLst>
              <a:gd name="T0" fmla="*/ 1718 w 1718"/>
              <a:gd name="T1" fmla="*/ 225 h 353"/>
              <a:gd name="T2" fmla="*/ 918 w 1718"/>
              <a:gd name="T3" fmla="*/ 0 h 353"/>
              <a:gd name="T4" fmla="*/ 0 w 1718"/>
              <a:gd name="T5" fmla="*/ 90 h 353"/>
              <a:gd name="T6" fmla="*/ 803 w 1718"/>
              <a:gd name="T7" fmla="*/ 353 h 353"/>
              <a:gd name="T8" fmla="*/ 1718 w 1718"/>
              <a:gd name="T9" fmla="*/ 225 h 353"/>
            </a:gdLst>
            <a:ahLst/>
            <a:cxnLst>
              <a:cxn ang="0">
                <a:pos x="T0" y="T1"/>
              </a:cxn>
              <a:cxn ang="0">
                <a:pos x="T2" y="T3"/>
              </a:cxn>
              <a:cxn ang="0">
                <a:pos x="T4" y="T5"/>
              </a:cxn>
              <a:cxn ang="0">
                <a:pos x="T6" y="T7"/>
              </a:cxn>
              <a:cxn ang="0">
                <a:pos x="T8" y="T9"/>
              </a:cxn>
            </a:cxnLst>
            <a:rect l="0" t="0" r="r" b="b"/>
            <a:pathLst>
              <a:path w="1718" h="353">
                <a:moveTo>
                  <a:pt x="1718" y="225"/>
                </a:moveTo>
                <a:lnTo>
                  <a:pt x="918" y="0"/>
                </a:lnTo>
                <a:lnTo>
                  <a:pt x="0" y="90"/>
                </a:lnTo>
                <a:lnTo>
                  <a:pt x="803" y="353"/>
                </a:lnTo>
                <a:lnTo>
                  <a:pt x="1718" y="225"/>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0" name="Freeform 2384"/>
          <p:cNvSpPr>
            <a:spLocks/>
          </p:cNvSpPr>
          <p:nvPr/>
        </p:nvSpPr>
        <p:spPr bwMode="auto">
          <a:xfrm>
            <a:off x="11582402" y="5965826"/>
            <a:ext cx="258763" cy="192088"/>
          </a:xfrm>
          <a:custGeom>
            <a:avLst/>
            <a:gdLst>
              <a:gd name="T0" fmla="*/ 983 w 983"/>
              <a:gd name="T1" fmla="*/ 55 h 722"/>
              <a:gd name="T2" fmla="*/ 983 w 983"/>
              <a:gd name="T3" fmla="*/ 55 h 722"/>
              <a:gd name="T4" fmla="*/ 983 w 983"/>
              <a:gd name="T5" fmla="*/ 48 h 722"/>
              <a:gd name="T6" fmla="*/ 982 w 983"/>
              <a:gd name="T7" fmla="*/ 42 h 722"/>
              <a:gd name="T8" fmla="*/ 979 w 983"/>
              <a:gd name="T9" fmla="*/ 31 h 722"/>
              <a:gd name="T10" fmla="*/ 973 w 983"/>
              <a:gd name="T11" fmla="*/ 22 h 722"/>
              <a:gd name="T12" fmla="*/ 966 w 983"/>
              <a:gd name="T13" fmla="*/ 14 h 722"/>
              <a:gd name="T14" fmla="*/ 956 w 983"/>
              <a:gd name="T15" fmla="*/ 7 h 722"/>
              <a:gd name="T16" fmla="*/ 946 w 983"/>
              <a:gd name="T17" fmla="*/ 3 h 722"/>
              <a:gd name="T18" fmla="*/ 935 w 983"/>
              <a:gd name="T19" fmla="*/ 0 h 722"/>
              <a:gd name="T20" fmla="*/ 930 w 983"/>
              <a:gd name="T21" fmla="*/ 0 h 722"/>
              <a:gd name="T22" fmla="*/ 924 w 983"/>
              <a:gd name="T23" fmla="*/ 0 h 722"/>
              <a:gd name="T24" fmla="*/ 59 w 983"/>
              <a:gd name="T25" fmla="*/ 68 h 722"/>
              <a:gd name="T26" fmla="*/ 59 w 983"/>
              <a:gd name="T27" fmla="*/ 68 h 722"/>
              <a:gd name="T28" fmla="*/ 53 w 983"/>
              <a:gd name="T29" fmla="*/ 69 h 722"/>
              <a:gd name="T30" fmla="*/ 47 w 983"/>
              <a:gd name="T31" fmla="*/ 70 h 722"/>
              <a:gd name="T32" fmla="*/ 36 w 983"/>
              <a:gd name="T33" fmla="*/ 75 h 722"/>
              <a:gd name="T34" fmla="*/ 26 w 983"/>
              <a:gd name="T35" fmla="*/ 81 h 722"/>
              <a:gd name="T36" fmla="*/ 18 w 983"/>
              <a:gd name="T37" fmla="*/ 89 h 722"/>
              <a:gd name="T38" fmla="*/ 11 w 983"/>
              <a:gd name="T39" fmla="*/ 98 h 722"/>
              <a:gd name="T40" fmla="*/ 4 w 983"/>
              <a:gd name="T41" fmla="*/ 110 h 722"/>
              <a:gd name="T42" fmla="*/ 1 w 983"/>
              <a:gd name="T43" fmla="*/ 121 h 722"/>
              <a:gd name="T44" fmla="*/ 0 w 983"/>
              <a:gd name="T45" fmla="*/ 127 h 722"/>
              <a:gd name="T46" fmla="*/ 0 w 983"/>
              <a:gd name="T47" fmla="*/ 133 h 722"/>
              <a:gd name="T48" fmla="*/ 0 w 983"/>
              <a:gd name="T49" fmla="*/ 667 h 722"/>
              <a:gd name="T50" fmla="*/ 0 w 983"/>
              <a:gd name="T51" fmla="*/ 667 h 722"/>
              <a:gd name="T52" fmla="*/ 0 w 983"/>
              <a:gd name="T53" fmla="*/ 673 h 722"/>
              <a:gd name="T54" fmla="*/ 1 w 983"/>
              <a:gd name="T55" fmla="*/ 678 h 722"/>
              <a:gd name="T56" fmla="*/ 4 w 983"/>
              <a:gd name="T57" fmla="*/ 689 h 722"/>
              <a:gd name="T58" fmla="*/ 11 w 983"/>
              <a:gd name="T59" fmla="*/ 700 h 722"/>
              <a:gd name="T60" fmla="*/ 18 w 983"/>
              <a:gd name="T61" fmla="*/ 708 h 722"/>
              <a:gd name="T62" fmla="*/ 26 w 983"/>
              <a:gd name="T63" fmla="*/ 714 h 722"/>
              <a:gd name="T64" fmla="*/ 36 w 983"/>
              <a:gd name="T65" fmla="*/ 719 h 722"/>
              <a:gd name="T66" fmla="*/ 47 w 983"/>
              <a:gd name="T67" fmla="*/ 721 h 722"/>
              <a:gd name="T68" fmla="*/ 53 w 983"/>
              <a:gd name="T69" fmla="*/ 722 h 722"/>
              <a:gd name="T70" fmla="*/ 59 w 983"/>
              <a:gd name="T71" fmla="*/ 722 h 722"/>
              <a:gd name="T72" fmla="*/ 924 w 983"/>
              <a:gd name="T73" fmla="*/ 653 h 722"/>
              <a:gd name="T74" fmla="*/ 924 w 983"/>
              <a:gd name="T75" fmla="*/ 653 h 722"/>
              <a:gd name="T76" fmla="*/ 930 w 983"/>
              <a:gd name="T77" fmla="*/ 652 h 722"/>
              <a:gd name="T78" fmla="*/ 935 w 983"/>
              <a:gd name="T79" fmla="*/ 651 h 722"/>
              <a:gd name="T80" fmla="*/ 946 w 983"/>
              <a:gd name="T81" fmla="*/ 647 h 722"/>
              <a:gd name="T82" fmla="*/ 956 w 983"/>
              <a:gd name="T83" fmla="*/ 640 h 722"/>
              <a:gd name="T84" fmla="*/ 966 w 983"/>
              <a:gd name="T85" fmla="*/ 631 h 722"/>
              <a:gd name="T86" fmla="*/ 973 w 983"/>
              <a:gd name="T87" fmla="*/ 622 h 722"/>
              <a:gd name="T88" fmla="*/ 979 w 983"/>
              <a:gd name="T89" fmla="*/ 612 h 722"/>
              <a:gd name="T90" fmla="*/ 982 w 983"/>
              <a:gd name="T91" fmla="*/ 601 h 722"/>
              <a:gd name="T92" fmla="*/ 983 w 983"/>
              <a:gd name="T93" fmla="*/ 595 h 722"/>
              <a:gd name="T94" fmla="*/ 983 w 983"/>
              <a:gd name="T95" fmla="*/ 589 h 722"/>
              <a:gd name="T96" fmla="*/ 983 w 983"/>
              <a:gd name="T97" fmla="*/ 55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3" h="722">
                <a:moveTo>
                  <a:pt x="983" y="55"/>
                </a:moveTo>
                <a:lnTo>
                  <a:pt x="983" y="55"/>
                </a:lnTo>
                <a:lnTo>
                  <a:pt x="983" y="48"/>
                </a:lnTo>
                <a:lnTo>
                  <a:pt x="982" y="42"/>
                </a:lnTo>
                <a:lnTo>
                  <a:pt x="979" y="31"/>
                </a:lnTo>
                <a:lnTo>
                  <a:pt x="973" y="22"/>
                </a:lnTo>
                <a:lnTo>
                  <a:pt x="966" y="14"/>
                </a:lnTo>
                <a:lnTo>
                  <a:pt x="956" y="7"/>
                </a:lnTo>
                <a:lnTo>
                  <a:pt x="946" y="3"/>
                </a:lnTo>
                <a:lnTo>
                  <a:pt x="935" y="0"/>
                </a:lnTo>
                <a:lnTo>
                  <a:pt x="930" y="0"/>
                </a:lnTo>
                <a:lnTo>
                  <a:pt x="924" y="0"/>
                </a:lnTo>
                <a:lnTo>
                  <a:pt x="59" y="68"/>
                </a:lnTo>
                <a:lnTo>
                  <a:pt x="59" y="68"/>
                </a:lnTo>
                <a:lnTo>
                  <a:pt x="53" y="69"/>
                </a:lnTo>
                <a:lnTo>
                  <a:pt x="47" y="70"/>
                </a:lnTo>
                <a:lnTo>
                  <a:pt x="36" y="75"/>
                </a:lnTo>
                <a:lnTo>
                  <a:pt x="26" y="81"/>
                </a:lnTo>
                <a:lnTo>
                  <a:pt x="18" y="89"/>
                </a:lnTo>
                <a:lnTo>
                  <a:pt x="11" y="98"/>
                </a:lnTo>
                <a:lnTo>
                  <a:pt x="4" y="110"/>
                </a:lnTo>
                <a:lnTo>
                  <a:pt x="1" y="121"/>
                </a:lnTo>
                <a:lnTo>
                  <a:pt x="0" y="127"/>
                </a:lnTo>
                <a:lnTo>
                  <a:pt x="0" y="133"/>
                </a:lnTo>
                <a:lnTo>
                  <a:pt x="0" y="667"/>
                </a:lnTo>
                <a:lnTo>
                  <a:pt x="0" y="667"/>
                </a:lnTo>
                <a:lnTo>
                  <a:pt x="0" y="673"/>
                </a:lnTo>
                <a:lnTo>
                  <a:pt x="1" y="678"/>
                </a:lnTo>
                <a:lnTo>
                  <a:pt x="4" y="689"/>
                </a:lnTo>
                <a:lnTo>
                  <a:pt x="11" y="700"/>
                </a:lnTo>
                <a:lnTo>
                  <a:pt x="18" y="708"/>
                </a:lnTo>
                <a:lnTo>
                  <a:pt x="26" y="714"/>
                </a:lnTo>
                <a:lnTo>
                  <a:pt x="36" y="719"/>
                </a:lnTo>
                <a:lnTo>
                  <a:pt x="47" y="721"/>
                </a:lnTo>
                <a:lnTo>
                  <a:pt x="53" y="722"/>
                </a:lnTo>
                <a:lnTo>
                  <a:pt x="59" y="722"/>
                </a:lnTo>
                <a:lnTo>
                  <a:pt x="924" y="653"/>
                </a:lnTo>
                <a:lnTo>
                  <a:pt x="924" y="653"/>
                </a:lnTo>
                <a:lnTo>
                  <a:pt x="930" y="652"/>
                </a:lnTo>
                <a:lnTo>
                  <a:pt x="935" y="651"/>
                </a:lnTo>
                <a:lnTo>
                  <a:pt x="946" y="647"/>
                </a:lnTo>
                <a:lnTo>
                  <a:pt x="956" y="640"/>
                </a:lnTo>
                <a:lnTo>
                  <a:pt x="966" y="631"/>
                </a:lnTo>
                <a:lnTo>
                  <a:pt x="973" y="622"/>
                </a:lnTo>
                <a:lnTo>
                  <a:pt x="979" y="612"/>
                </a:lnTo>
                <a:lnTo>
                  <a:pt x="982" y="601"/>
                </a:lnTo>
                <a:lnTo>
                  <a:pt x="983" y="595"/>
                </a:lnTo>
                <a:lnTo>
                  <a:pt x="983" y="589"/>
                </a:lnTo>
                <a:lnTo>
                  <a:pt x="983" y="55"/>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1" name="Freeform 2385"/>
          <p:cNvSpPr>
            <a:spLocks/>
          </p:cNvSpPr>
          <p:nvPr/>
        </p:nvSpPr>
        <p:spPr bwMode="auto">
          <a:xfrm>
            <a:off x="10296526" y="5602288"/>
            <a:ext cx="260350" cy="190500"/>
          </a:xfrm>
          <a:custGeom>
            <a:avLst/>
            <a:gdLst>
              <a:gd name="T0" fmla="*/ 984 w 984"/>
              <a:gd name="T1" fmla="*/ 55 h 723"/>
              <a:gd name="T2" fmla="*/ 984 w 984"/>
              <a:gd name="T3" fmla="*/ 55 h 723"/>
              <a:gd name="T4" fmla="*/ 984 w 984"/>
              <a:gd name="T5" fmla="*/ 49 h 723"/>
              <a:gd name="T6" fmla="*/ 983 w 984"/>
              <a:gd name="T7" fmla="*/ 44 h 723"/>
              <a:gd name="T8" fmla="*/ 980 w 984"/>
              <a:gd name="T9" fmla="*/ 33 h 723"/>
              <a:gd name="T10" fmla="*/ 973 w 984"/>
              <a:gd name="T11" fmla="*/ 23 h 723"/>
              <a:gd name="T12" fmla="*/ 966 w 984"/>
              <a:gd name="T13" fmla="*/ 14 h 723"/>
              <a:gd name="T14" fmla="*/ 957 w 984"/>
              <a:gd name="T15" fmla="*/ 8 h 723"/>
              <a:gd name="T16" fmla="*/ 947 w 984"/>
              <a:gd name="T17" fmla="*/ 3 h 723"/>
              <a:gd name="T18" fmla="*/ 936 w 984"/>
              <a:gd name="T19" fmla="*/ 1 h 723"/>
              <a:gd name="T20" fmla="*/ 930 w 984"/>
              <a:gd name="T21" fmla="*/ 0 h 723"/>
              <a:gd name="T22" fmla="*/ 924 w 984"/>
              <a:gd name="T23" fmla="*/ 0 h 723"/>
              <a:gd name="T24" fmla="*/ 60 w 984"/>
              <a:gd name="T25" fmla="*/ 69 h 723"/>
              <a:gd name="T26" fmla="*/ 60 w 984"/>
              <a:gd name="T27" fmla="*/ 69 h 723"/>
              <a:gd name="T28" fmla="*/ 54 w 984"/>
              <a:gd name="T29" fmla="*/ 70 h 723"/>
              <a:gd name="T30" fmla="*/ 48 w 984"/>
              <a:gd name="T31" fmla="*/ 71 h 723"/>
              <a:gd name="T32" fmla="*/ 37 w 984"/>
              <a:gd name="T33" fmla="*/ 75 h 723"/>
              <a:gd name="T34" fmla="*/ 27 w 984"/>
              <a:gd name="T35" fmla="*/ 83 h 723"/>
              <a:gd name="T36" fmla="*/ 18 w 984"/>
              <a:gd name="T37" fmla="*/ 90 h 723"/>
              <a:gd name="T38" fmla="*/ 10 w 984"/>
              <a:gd name="T39" fmla="*/ 100 h 723"/>
              <a:gd name="T40" fmla="*/ 5 w 984"/>
              <a:gd name="T41" fmla="*/ 110 h 723"/>
              <a:gd name="T42" fmla="*/ 2 w 984"/>
              <a:gd name="T43" fmla="*/ 121 h 723"/>
              <a:gd name="T44" fmla="*/ 1 w 984"/>
              <a:gd name="T45" fmla="*/ 127 h 723"/>
              <a:gd name="T46" fmla="*/ 0 w 984"/>
              <a:gd name="T47" fmla="*/ 133 h 723"/>
              <a:gd name="T48" fmla="*/ 0 w 984"/>
              <a:gd name="T49" fmla="*/ 668 h 723"/>
              <a:gd name="T50" fmla="*/ 0 w 984"/>
              <a:gd name="T51" fmla="*/ 668 h 723"/>
              <a:gd name="T52" fmla="*/ 1 w 984"/>
              <a:gd name="T53" fmla="*/ 674 h 723"/>
              <a:gd name="T54" fmla="*/ 2 w 984"/>
              <a:gd name="T55" fmla="*/ 680 h 723"/>
              <a:gd name="T56" fmla="*/ 5 w 984"/>
              <a:gd name="T57" fmla="*/ 691 h 723"/>
              <a:gd name="T58" fmla="*/ 10 w 984"/>
              <a:gd name="T59" fmla="*/ 700 h 723"/>
              <a:gd name="T60" fmla="*/ 18 w 984"/>
              <a:gd name="T61" fmla="*/ 708 h 723"/>
              <a:gd name="T62" fmla="*/ 27 w 984"/>
              <a:gd name="T63" fmla="*/ 715 h 723"/>
              <a:gd name="T64" fmla="*/ 37 w 984"/>
              <a:gd name="T65" fmla="*/ 719 h 723"/>
              <a:gd name="T66" fmla="*/ 48 w 984"/>
              <a:gd name="T67" fmla="*/ 723 h 723"/>
              <a:gd name="T68" fmla="*/ 54 w 984"/>
              <a:gd name="T69" fmla="*/ 723 h 723"/>
              <a:gd name="T70" fmla="*/ 60 w 984"/>
              <a:gd name="T71" fmla="*/ 723 h 723"/>
              <a:gd name="T72" fmla="*/ 924 w 984"/>
              <a:gd name="T73" fmla="*/ 654 h 723"/>
              <a:gd name="T74" fmla="*/ 924 w 984"/>
              <a:gd name="T75" fmla="*/ 654 h 723"/>
              <a:gd name="T76" fmla="*/ 930 w 984"/>
              <a:gd name="T77" fmla="*/ 653 h 723"/>
              <a:gd name="T78" fmla="*/ 936 w 984"/>
              <a:gd name="T79" fmla="*/ 651 h 723"/>
              <a:gd name="T80" fmla="*/ 947 w 984"/>
              <a:gd name="T81" fmla="*/ 647 h 723"/>
              <a:gd name="T82" fmla="*/ 957 w 984"/>
              <a:gd name="T83" fmla="*/ 641 h 723"/>
              <a:gd name="T84" fmla="*/ 966 w 984"/>
              <a:gd name="T85" fmla="*/ 633 h 723"/>
              <a:gd name="T86" fmla="*/ 973 w 984"/>
              <a:gd name="T87" fmla="*/ 624 h 723"/>
              <a:gd name="T88" fmla="*/ 980 w 984"/>
              <a:gd name="T89" fmla="*/ 613 h 723"/>
              <a:gd name="T90" fmla="*/ 983 w 984"/>
              <a:gd name="T91" fmla="*/ 601 h 723"/>
              <a:gd name="T92" fmla="*/ 984 w 984"/>
              <a:gd name="T93" fmla="*/ 595 h 723"/>
              <a:gd name="T94" fmla="*/ 984 w 984"/>
              <a:gd name="T95" fmla="*/ 589 h 723"/>
              <a:gd name="T96" fmla="*/ 984 w 984"/>
              <a:gd name="T97" fmla="*/ 55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4" h="723">
                <a:moveTo>
                  <a:pt x="984" y="55"/>
                </a:moveTo>
                <a:lnTo>
                  <a:pt x="984" y="55"/>
                </a:lnTo>
                <a:lnTo>
                  <a:pt x="984" y="49"/>
                </a:lnTo>
                <a:lnTo>
                  <a:pt x="983" y="44"/>
                </a:lnTo>
                <a:lnTo>
                  <a:pt x="980" y="33"/>
                </a:lnTo>
                <a:lnTo>
                  <a:pt x="973" y="23"/>
                </a:lnTo>
                <a:lnTo>
                  <a:pt x="966" y="14"/>
                </a:lnTo>
                <a:lnTo>
                  <a:pt x="957" y="8"/>
                </a:lnTo>
                <a:lnTo>
                  <a:pt x="947" y="3"/>
                </a:lnTo>
                <a:lnTo>
                  <a:pt x="936" y="1"/>
                </a:lnTo>
                <a:lnTo>
                  <a:pt x="930" y="0"/>
                </a:lnTo>
                <a:lnTo>
                  <a:pt x="924" y="0"/>
                </a:lnTo>
                <a:lnTo>
                  <a:pt x="60" y="69"/>
                </a:lnTo>
                <a:lnTo>
                  <a:pt x="60" y="69"/>
                </a:lnTo>
                <a:lnTo>
                  <a:pt x="54" y="70"/>
                </a:lnTo>
                <a:lnTo>
                  <a:pt x="48" y="71"/>
                </a:lnTo>
                <a:lnTo>
                  <a:pt x="37" y="75"/>
                </a:lnTo>
                <a:lnTo>
                  <a:pt x="27" y="83"/>
                </a:lnTo>
                <a:lnTo>
                  <a:pt x="18" y="90"/>
                </a:lnTo>
                <a:lnTo>
                  <a:pt x="10" y="100"/>
                </a:lnTo>
                <a:lnTo>
                  <a:pt x="5" y="110"/>
                </a:lnTo>
                <a:lnTo>
                  <a:pt x="2" y="121"/>
                </a:lnTo>
                <a:lnTo>
                  <a:pt x="1" y="127"/>
                </a:lnTo>
                <a:lnTo>
                  <a:pt x="0" y="133"/>
                </a:lnTo>
                <a:lnTo>
                  <a:pt x="0" y="668"/>
                </a:lnTo>
                <a:lnTo>
                  <a:pt x="0" y="668"/>
                </a:lnTo>
                <a:lnTo>
                  <a:pt x="1" y="674"/>
                </a:lnTo>
                <a:lnTo>
                  <a:pt x="2" y="680"/>
                </a:lnTo>
                <a:lnTo>
                  <a:pt x="5" y="691"/>
                </a:lnTo>
                <a:lnTo>
                  <a:pt x="10" y="700"/>
                </a:lnTo>
                <a:lnTo>
                  <a:pt x="18" y="708"/>
                </a:lnTo>
                <a:lnTo>
                  <a:pt x="27" y="715"/>
                </a:lnTo>
                <a:lnTo>
                  <a:pt x="37" y="719"/>
                </a:lnTo>
                <a:lnTo>
                  <a:pt x="48" y="723"/>
                </a:lnTo>
                <a:lnTo>
                  <a:pt x="54" y="723"/>
                </a:lnTo>
                <a:lnTo>
                  <a:pt x="60" y="723"/>
                </a:lnTo>
                <a:lnTo>
                  <a:pt x="924" y="654"/>
                </a:lnTo>
                <a:lnTo>
                  <a:pt x="924" y="654"/>
                </a:lnTo>
                <a:lnTo>
                  <a:pt x="930" y="653"/>
                </a:lnTo>
                <a:lnTo>
                  <a:pt x="936" y="651"/>
                </a:lnTo>
                <a:lnTo>
                  <a:pt x="947" y="647"/>
                </a:lnTo>
                <a:lnTo>
                  <a:pt x="957" y="641"/>
                </a:lnTo>
                <a:lnTo>
                  <a:pt x="966" y="633"/>
                </a:lnTo>
                <a:lnTo>
                  <a:pt x="973" y="624"/>
                </a:lnTo>
                <a:lnTo>
                  <a:pt x="980" y="613"/>
                </a:lnTo>
                <a:lnTo>
                  <a:pt x="983" y="601"/>
                </a:lnTo>
                <a:lnTo>
                  <a:pt x="984" y="595"/>
                </a:lnTo>
                <a:lnTo>
                  <a:pt x="984" y="589"/>
                </a:lnTo>
                <a:lnTo>
                  <a:pt x="984" y="55"/>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2" name="Freeform 2386"/>
          <p:cNvSpPr>
            <a:spLocks/>
          </p:cNvSpPr>
          <p:nvPr/>
        </p:nvSpPr>
        <p:spPr bwMode="auto">
          <a:xfrm>
            <a:off x="11631614" y="6094414"/>
            <a:ext cx="53975" cy="225425"/>
          </a:xfrm>
          <a:custGeom>
            <a:avLst/>
            <a:gdLst>
              <a:gd name="T0" fmla="*/ 105 w 203"/>
              <a:gd name="T1" fmla="*/ 834 h 853"/>
              <a:gd name="T2" fmla="*/ 105 w 203"/>
              <a:gd name="T3" fmla="*/ 834 h 853"/>
              <a:gd name="T4" fmla="*/ 110 w 203"/>
              <a:gd name="T5" fmla="*/ 820 h 853"/>
              <a:gd name="T6" fmla="*/ 124 w 203"/>
              <a:gd name="T7" fmla="*/ 777 h 853"/>
              <a:gd name="T8" fmla="*/ 132 w 203"/>
              <a:gd name="T9" fmla="*/ 746 h 853"/>
              <a:gd name="T10" fmla="*/ 142 w 203"/>
              <a:gd name="T11" fmla="*/ 707 h 853"/>
              <a:gd name="T12" fmla="*/ 151 w 203"/>
              <a:gd name="T13" fmla="*/ 663 h 853"/>
              <a:gd name="T14" fmla="*/ 161 w 203"/>
              <a:gd name="T15" fmla="*/ 612 h 853"/>
              <a:gd name="T16" fmla="*/ 171 w 203"/>
              <a:gd name="T17" fmla="*/ 555 h 853"/>
              <a:gd name="T18" fmla="*/ 181 w 203"/>
              <a:gd name="T19" fmla="*/ 492 h 853"/>
              <a:gd name="T20" fmla="*/ 189 w 203"/>
              <a:gd name="T21" fmla="*/ 424 h 853"/>
              <a:gd name="T22" fmla="*/ 195 w 203"/>
              <a:gd name="T23" fmla="*/ 350 h 853"/>
              <a:gd name="T24" fmla="*/ 200 w 203"/>
              <a:gd name="T25" fmla="*/ 269 h 853"/>
              <a:gd name="T26" fmla="*/ 202 w 203"/>
              <a:gd name="T27" fmla="*/ 228 h 853"/>
              <a:gd name="T28" fmla="*/ 203 w 203"/>
              <a:gd name="T29" fmla="*/ 185 h 853"/>
              <a:gd name="T30" fmla="*/ 203 w 203"/>
              <a:gd name="T31" fmla="*/ 140 h 853"/>
              <a:gd name="T32" fmla="*/ 203 w 203"/>
              <a:gd name="T33" fmla="*/ 94 h 853"/>
              <a:gd name="T34" fmla="*/ 202 w 203"/>
              <a:gd name="T35" fmla="*/ 48 h 853"/>
              <a:gd name="T36" fmla="*/ 200 w 203"/>
              <a:gd name="T37" fmla="*/ 0 h 853"/>
              <a:gd name="T38" fmla="*/ 90 w 203"/>
              <a:gd name="T39" fmla="*/ 8 h 853"/>
              <a:gd name="T40" fmla="*/ 90 w 203"/>
              <a:gd name="T41" fmla="*/ 8 h 853"/>
              <a:gd name="T42" fmla="*/ 91 w 203"/>
              <a:gd name="T43" fmla="*/ 29 h 853"/>
              <a:gd name="T44" fmla="*/ 92 w 203"/>
              <a:gd name="T45" fmla="*/ 88 h 853"/>
              <a:gd name="T46" fmla="*/ 92 w 203"/>
              <a:gd name="T47" fmla="*/ 130 h 853"/>
              <a:gd name="T48" fmla="*/ 91 w 203"/>
              <a:gd name="T49" fmla="*/ 179 h 853"/>
              <a:gd name="T50" fmla="*/ 89 w 203"/>
              <a:gd name="T51" fmla="*/ 234 h 853"/>
              <a:gd name="T52" fmla="*/ 87 w 203"/>
              <a:gd name="T53" fmla="*/ 294 h 853"/>
              <a:gd name="T54" fmla="*/ 83 w 203"/>
              <a:gd name="T55" fmla="*/ 358 h 853"/>
              <a:gd name="T56" fmla="*/ 77 w 203"/>
              <a:gd name="T57" fmla="*/ 425 h 853"/>
              <a:gd name="T58" fmla="*/ 70 w 203"/>
              <a:gd name="T59" fmla="*/ 495 h 853"/>
              <a:gd name="T60" fmla="*/ 61 w 203"/>
              <a:gd name="T61" fmla="*/ 567 h 853"/>
              <a:gd name="T62" fmla="*/ 49 w 203"/>
              <a:gd name="T63" fmla="*/ 640 h 853"/>
              <a:gd name="T64" fmla="*/ 42 w 203"/>
              <a:gd name="T65" fmla="*/ 676 h 853"/>
              <a:gd name="T66" fmla="*/ 35 w 203"/>
              <a:gd name="T67" fmla="*/ 712 h 853"/>
              <a:gd name="T68" fmla="*/ 27 w 203"/>
              <a:gd name="T69" fmla="*/ 749 h 853"/>
              <a:gd name="T70" fmla="*/ 19 w 203"/>
              <a:gd name="T71" fmla="*/ 784 h 853"/>
              <a:gd name="T72" fmla="*/ 10 w 203"/>
              <a:gd name="T73" fmla="*/ 819 h 853"/>
              <a:gd name="T74" fmla="*/ 0 w 203"/>
              <a:gd name="T75" fmla="*/ 853 h 853"/>
              <a:gd name="T76" fmla="*/ 105 w 203"/>
              <a:gd name="T77" fmla="*/ 834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 h="853">
                <a:moveTo>
                  <a:pt x="105" y="834"/>
                </a:moveTo>
                <a:lnTo>
                  <a:pt x="105" y="834"/>
                </a:lnTo>
                <a:lnTo>
                  <a:pt x="110" y="820"/>
                </a:lnTo>
                <a:lnTo>
                  <a:pt x="124" y="777"/>
                </a:lnTo>
                <a:lnTo>
                  <a:pt x="132" y="746"/>
                </a:lnTo>
                <a:lnTo>
                  <a:pt x="142" y="707"/>
                </a:lnTo>
                <a:lnTo>
                  <a:pt x="151" y="663"/>
                </a:lnTo>
                <a:lnTo>
                  <a:pt x="161" y="612"/>
                </a:lnTo>
                <a:lnTo>
                  <a:pt x="171" y="555"/>
                </a:lnTo>
                <a:lnTo>
                  <a:pt x="181" y="492"/>
                </a:lnTo>
                <a:lnTo>
                  <a:pt x="189" y="424"/>
                </a:lnTo>
                <a:lnTo>
                  <a:pt x="195" y="350"/>
                </a:lnTo>
                <a:lnTo>
                  <a:pt x="200" y="269"/>
                </a:lnTo>
                <a:lnTo>
                  <a:pt x="202" y="228"/>
                </a:lnTo>
                <a:lnTo>
                  <a:pt x="203" y="185"/>
                </a:lnTo>
                <a:lnTo>
                  <a:pt x="203" y="140"/>
                </a:lnTo>
                <a:lnTo>
                  <a:pt x="203" y="94"/>
                </a:lnTo>
                <a:lnTo>
                  <a:pt x="202" y="48"/>
                </a:lnTo>
                <a:lnTo>
                  <a:pt x="200" y="0"/>
                </a:lnTo>
                <a:lnTo>
                  <a:pt x="90" y="8"/>
                </a:lnTo>
                <a:lnTo>
                  <a:pt x="90" y="8"/>
                </a:lnTo>
                <a:lnTo>
                  <a:pt x="91" y="29"/>
                </a:lnTo>
                <a:lnTo>
                  <a:pt x="92" y="88"/>
                </a:lnTo>
                <a:lnTo>
                  <a:pt x="92" y="130"/>
                </a:lnTo>
                <a:lnTo>
                  <a:pt x="91" y="179"/>
                </a:lnTo>
                <a:lnTo>
                  <a:pt x="89" y="234"/>
                </a:lnTo>
                <a:lnTo>
                  <a:pt x="87" y="294"/>
                </a:lnTo>
                <a:lnTo>
                  <a:pt x="83" y="358"/>
                </a:lnTo>
                <a:lnTo>
                  <a:pt x="77" y="425"/>
                </a:lnTo>
                <a:lnTo>
                  <a:pt x="70" y="495"/>
                </a:lnTo>
                <a:lnTo>
                  <a:pt x="61" y="567"/>
                </a:lnTo>
                <a:lnTo>
                  <a:pt x="49" y="640"/>
                </a:lnTo>
                <a:lnTo>
                  <a:pt x="42" y="676"/>
                </a:lnTo>
                <a:lnTo>
                  <a:pt x="35" y="712"/>
                </a:lnTo>
                <a:lnTo>
                  <a:pt x="27" y="749"/>
                </a:lnTo>
                <a:lnTo>
                  <a:pt x="19" y="784"/>
                </a:lnTo>
                <a:lnTo>
                  <a:pt x="10" y="819"/>
                </a:lnTo>
                <a:lnTo>
                  <a:pt x="0" y="853"/>
                </a:lnTo>
                <a:lnTo>
                  <a:pt x="105" y="834"/>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3" name="Freeform 2387"/>
          <p:cNvSpPr>
            <a:spLocks/>
          </p:cNvSpPr>
          <p:nvPr/>
        </p:nvSpPr>
        <p:spPr bwMode="auto">
          <a:xfrm>
            <a:off x="11741151" y="6088063"/>
            <a:ext cx="52388" cy="215900"/>
          </a:xfrm>
          <a:custGeom>
            <a:avLst/>
            <a:gdLst>
              <a:gd name="T0" fmla="*/ 114 w 196"/>
              <a:gd name="T1" fmla="*/ 796 h 812"/>
              <a:gd name="T2" fmla="*/ 114 w 196"/>
              <a:gd name="T3" fmla="*/ 796 h 812"/>
              <a:gd name="T4" fmla="*/ 118 w 196"/>
              <a:gd name="T5" fmla="*/ 783 h 812"/>
              <a:gd name="T6" fmla="*/ 131 w 196"/>
              <a:gd name="T7" fmla="*/ 744 h 812"/>
              <a:gd name="T8" fmla="*/ 138 w 196"/>
              <a:gd name="T9" fmla="*/ 715 h 812"/>
              <a:gd name="T10" fmla="*/ 146 w 196"/>
              <a:gd name="T11" fmla="*/ 680 h 812"/>
              <a:gd name="T12" fmla="*/ 155 w 196"/>
              <a:gd name="T13" fmla="*/ 638 h 812"/>
              <a:gd name="T14" fmla="*/ 164 w 196"/>
              <a:gd name="T15" fmla="*/ 591 h 812"/>
              <a:gd name="T16" fmla="*/ 172 w 196"/>
              <a:gd name="T17" fmla="*/ 538 h 812"/>
              <a:gd name="T18" fmla="*/ 179 w 196"/>
              <a:gd name="T19" fmla="*/ 478 h 812"/>
              <a:gd name="T20" fmla="*/ 187 w 196"/>
              <a:gd name="T21" fmla="*/ 413 h 812"/>
              <a:gd name="T22" fmla="*/ 192 w 196"/>
              <a:gd name="T23" fmla="*/ 341 h 812"/>
              <a:gd name="T24" fmla="*/ 195 w 196"/>
              <a:gd name="T25" fmla="*/ 264 h 812"/>
              <a:gd name="T26" fmla="*/ 196 w 196"/>
              <a:gd name="T27" fmla="*/ 223 h 812"/>
              <a:gd name="T28" fmla="*/ 196 w 196"/>
              <a:gd name="T29" fmla="*/ 182 h 812"/>
              <a:gd name="T30" fmla="*/ 195 w 196"/>
              <a:gd name="T31" fmla="*/ 138 h 812"/>
              <a:gd name="T32" fmla="*/ 194 w 196"/>
              <a:gd name="T33" fmla="*/ 93 h 812"/>
              <a:gd name="T34" fmla="*/ 193 w 196"/>
              <a:gd name="T35" fmla="*/ 47 h 812"/>
              <a:gd name="T36" fmla="*/ 190 w 196"/>
              <a:gd name="T37" fmla="*/ 0 h 812"/>
              <a:gd name="T38" fmla="*/ 90 w 196"/>
              <a:gd name="T39" fmla="*/ 6 h 812"/>
              <a:gd name="T40" fmla="*/ 90 w 196"/>
              <a:gd name="T41" fmla="*/ 6 h 812"/>
              <a:gd name="T42" fmla="*/ 91 w 196"/>
              <a:gd name="T43" fmla="*/ 25 h 812"/>
              <a:gd name="T44" fmla="*/ 92 w 196"/>
              <a:gd name="T45" fmla="*/ 80 h 812"/>
              <a:gd name="T46" fmla="*/ 92 w 196"/>
              <a:gd name="T47" fmla="*/ 119 h 812"/>
              <a:gd name="T48" fmla="*/ 91 w 196"/>
              <a:gd name="T49" fmla="*/ 164 h 812"/>
              <a:gd name="T50" fmla="*/ 90 w 196"/>
              <a:gd name="T51" fmla="*/ 215 h 812"/>
              <a:gd name="T52" fmla="*/ 87 w 196"/>
              <a:gd name="T53" fmla="*/ 271 h 812"/>
              <a:gd name="T54" fmla="*/ 83 w 196"/>
              <a:gd name="T55" fmla="*/ 332 h 812"/>
              <a:gd name="T56" fmla="*/ 78 w 196"/>
              <a:gd name="T57" fmla="*/ 396 h 812"/>
              <a:gd name="T58" fmla="*/ 71 w 196"/>
              <a:gd name="T59" fmla="*/ 462 h 812"/>
              <a:gd name="T60" fmla="*/ 62 w 196"/>
              <a:gd name="T61" fmla="*/ 532 h 812"/>
              <a:gd name="T62" fmla="*/ 50 w 196"/>
              <a:gd name="T63" fmla="*/ 602 h 812"/>
              <a:gd name="T64" fmla="*/ 43 w 196"/>
              <a:gd name="T65" fmla="*/ 636 h 812"/>
              <a:gd name="T66" fmla="*/ 36 w 196"/>
              <a:gd name="T67" fmla="*/ 672 h 812"/>
              <a:gd name="T68" fmla="*/ 28 w 196"/>
              <a:gd name="T69" fmla="*/ 708 h 812"/>
              <a:gd name="T70" fmla="*/ 20 w 196"/>
              <a:gd name="T71" fmla="*/ 742 h 812"/>
              <a:gd name="T72" fmla="*/ 11 w 196"/>
              <a:gd name="T73" fmla="*/ 778 h 812"/>
              <a:gd name="T74" fmla="*/ 0 w 196"/>
              <a:gd name="T75" fmla="*/ 812 h 812"/>
              <a:gd name="T76" fmla="*/ 114 w 196"/>
              <a:gd name="T77" fmla="*/ 796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6" h="812">
                <a:moveTo>
                  <a:pt x="114" y="796"/>
                </a:moveTo>
                <a:lnTo>
                  <a:pt x="114" y="796"/>
                </a:lnTo>
                <a:lnTo>
                  <a:pt x="118" y="783"/>
                </a:lnTo>
                <a:lnTo>
                  <a:pt x="131" y="744"/>
                </a:lnTo>
                <a:lnTo>
                  <a:pt x="138" y="715"/>
                </a:lnTo>
                <a:lnTo>
                  <a:pt x="146" y="680"/>
                </a:lnTo>
                <a:lnTo>
                  <a:pt x="155" y="638"/>
                </a:lnTo>
                <a:lnTo>
                  <a:pt x="164" y="591"/>
                </a:lnTo>
                <a:lnTo>
                  <a:pt x="172" y="538"/>
                </a:lnTo>
                <a:lnTo>
                  <a:pt x="179" y="478"/>
                </a:lnTo>
                <a:lnTo>
                  <a:pt x="187" y="413"/>
                </a:lnTo>
                <a:lnTo>
                  <a:pt x="192" y="341"/>
                </a:lnTo>
                <a:lnTo>
                  <a:pt x="195" y="264"/>
                </a:lnTo>
                <a:lnTo>
                  <a:pt x="196" y="223"/>
                </a:lnTo>
                <a:lnTo>
                  <a:pt x="196" y="182"/>
                </a:lnTo>
                <a:lnTo>
                  <a:pt x="195" y="138"/>
                </a:lnTo>
                <a:lnTo>
                  <a:pt x="194" y="93"/>
                </a:lnTo>
                <a:lnTo>
                  <a:pt x="193" y="47"/>
                </a:lnTo>
                <a:lnTo>
                  <a:pt x="190" y="0"/>
                </a:lnTo>
                <a:lnTo>
                  <a:pt x="90" y="6"/>
                </a:lnTo>
                <a:lnTo>
                  <a:pt x="90" y="6"/>
                </a:lnTo>
                <a:lnTo>
                  <a:pt x="91" y="25"/>
                </a:lnTo>
                <a:lnTo>
                  <a:pt x="92" y="80"/>
                </a:lnTo>
                <a:lnTo>
                  <a:pt x="92" y="119"/>
                </a:lnTo>
                <a:lnTo>
                  <a:pt x="91" y="164"/>
                </a:lnTo>
                <a:lnTo>
                  <a:pt x="90" y="215"/>
                </a:lnTo>
                <a:lnTo>
                  <a:pt x="87" y="271"/>
                </a:lnTo>
                <a:lnTo>
                  <a:pt x="83" y="332"/>
                </a:lnTo>
                <a:lnTo>
                  <a:pt x="78" y="396"/>
                </a:lnTo>
                <a:lnTo>
                  <a:pt x="71" y="462"/>
                </a:lnTo>
                <a:lnTo>
                  <a:pt x="62" y="532"/>
                </a:lnTo>
                <a:lnTo>
                  <a:pt x="50" y="602"/>
                </a:lnTo>
                <a:lnTo>
                  <a:pt x="43" y="636"/>
                </a:lnTo>
                <a:lnTo>
                  <a:pt x="36" y="672"/>
                </a:lnTo>
                <a:lnTo>
                  <a:pt x="28" y="708"/>
                </a:lnTo>
                <a:lnTo>
                  <a:pt x="20" y="742"/>
                </a:lnTo>
                <a:lnTo>
                  <a:pt x="11" y="778"/>
                </a:lnTo>
                <a:lnTo>
                  <a:pt x="0" y="812"/>
                </a:lnTo>
                <a:lnTo>
                  <a:pt x="114" y="796"/>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4" name="Freeform 2388"/>
          <p:cNvSpPr>
            <a:spLocks/>
          </p:cNvSpPr>
          <p:nvPr/>
        </p:nvSpPr>
        <p:spPr bwMode="auto">
          <a:xfrm>
            <a:off x="10820401" y="6269039"/>
            <a:ext cx="457200" cy="123825"/>
          </a:xfrm>
          <a:custGeom>
            <a:avLst/>
            <a:gdLst>
              <a:gd name="T0" fmla="*/ 1726 w 1726"/>
              <a:gd name="T1" fmla="*/ 233 h 467"/>
              <a:gd name="T2" fmla="*/ 1722 w 1726"/>
              <a:gd name="T3" fmla="*/ 210 h 467"/>
              <a:gd name="T4" fmla="*/ 1709 w 1726"/>
              <a:gd name="T5" fmla="*/ 186 h 467"/>
              <a:gd name="T6" fmla="*/ 1687 w 1726"/>
              <a:gd name="T7" fmla="*/ 164 h 467"/>
              <a:gd name="T8" fmla="*/ 1658 w 1726"/>
              <a:gd name="T9" fmla="*/ 143 h 467"/>
              <a:gd name="T10" fmla="*/ 1621 w 1726"/>
              <a:gd name="T11" fmla="*/ 122 h 467"/>
              <a:gd name="T12" fmla="*/ 1579 w 1726"/>
              <a:gd name="T13" fmla="*/ 103 h 467"/>
              <a:gd name="T14" fmla="*/ 1529 w 1726"/>
              <a:gd name="T15" fmla="*/ 85 h 467"/>
              <a:gd name="T16" fmla="*/ 1473 w 1726"/>
              <a:gd name="T17" fmla="*/ 68 h 467"/>
              <a:gd name="T18" fmla="*/ 1412 w 1726"/>
              <a:gd name="T19" fmla="*/ 53 h 467"/>
              <a:gd name="T20" fmla="*/ 1346 w 1726"/>
              <a:gd name="T21" fmla="*/ 40 h 467"/>
              <a:gd name="T22" fmla="*/ 1275 w 1726"/>
              <a:gd name="T23" fmla="*/ 28 h 467"/>
              <a:gd name="T24" fmla="*/ 1120 w 1726"/>
              <a:gd name="T25" fmla="*/ 10 h 467"/>
              <a:gd name="T26" fmla="*/ 951 w 1726"/>
              <a:gd name="T27" fmla="*/ 1 h 467"/>
              <a:gd name="T28" fmla="*/ 863 w 1726"/>
              <a:gd name="T29" fmla="*/ 0 h 467"/>
              <a:gd name="T30" fmla="*/ 819 w 1726"/>
              <a:gd name="T31" fmla="*/ 0 h 467"/>
              <a:gd name="T32" fmla="*/ 689 w 1726"/>
              <a:gd name="T33" fmla="*/ 4 h 467"/>
              <a:gd name="T34" fmla="*/ 527 w 1726"/>
              <a:gd name="T35" fmla="*/ 18 h 467"/>
              <a:gd name="T36" fmla="*/ 415 w 1726"/>
              <a:gd name="T37" fmla="*/ 34 h 467"/>
              <a:gd name="T38" fmla="*/ 347 w 1726"/>
              <a:gd name="T39" fmla="*/ 46 h 467"/>
              <a:gd name="T40" fmla="*/ 283 w 1726"/>
              <a:gd name="T41" fmla="*/ 60 h 467"/>
              <a:gd name="T42" fmla="*/ 224 w 1726"/>
              <a:gd name="T43" fmla="*/ 76 h 467"/>
              <a:gd name="T44" fmla="*/ 171 w 1726"/>
              <a:gd name="T45" fmla="*/ 94 h 467"/>
              <a:gd name="T46" fmla="*/ 125 w 1726"/>
              <a:gd name="T47" fmla="*/ 112 h 467"/>
              <a:gd name="T48" fmla="*/ 85 w 1726"/>
              <a:gd name="T49" fmla="*/ 132 h 467"/>
              <a:gd name="T50" fmla="*/ 52 w 1726"/>
              <a:gd name="T51" fmla="*/ 153 h 467"/>
              <a:gd name="T52" fmla="*/ 27 w 1726"/>
              <a:gd name="T53" fmla="*/ 175 h 467"/>
              <a:gd name="T54" fmla="*/ 9 w 1726"/>
              <a:gd name="T55" fmla="*/ 198 h 467"/>
              <a:gd name="T56" fmla="*/ 1 w 1726"/>
              <a:gd name="T57" fmla="*/ 221 h 467"/>
              <a:gd name="T58" fmla="*/ 0 w 1726"/>
              <a:gd name="T59" fmla="*/ 233 h 467"/>
              <a:gd name="T60" fmla="*/ 4 w 1726"/>
              <a:gd name="T61" fmla="*/ 258 h 467"/>
              <a:gd name="T62" fmla="*/ 18 w 1726"/>
              <a:gd name="T63" fmla="*/ 280 h 467"/>
              <a:gd name="T64" fmla="*/ 39 w 1726"/>
              <a:gd name="T65" fmla="*/ 302 h 467"/>
              <a:gd name="T66" fmla="*/ 67 w 1726"/>
              <a:gd name="T67" fmla="*/ 324 h 467"/>
              <a:gd name="T68" fmla="*/ 104 w 1726"/>
              <a:gd name="T69" fmla="*/ 344 h 467"/>
              <a:gd name="T70" fmla="*/ 148 w 1726"/>
              <a:gd name="T71" fmla="*/ 363 h 467"/>
              <a:gd name="T72" fmla="*/ 197 w 1726"/>
              <a:gd name="T73" fmla="*/ 382 h 467"/>
              <a:gd name="T74" fmla="*/ 252 w 1726"/>
              <a:gd name="T75" fmla="*/ 398 h 467"/>
              <a:gd name="T76" fmla="*/ 313 w 1726"/>
              <a:gd name="T77" fmla="*/ 413 h 467"/>
              <a:gd name="T78" fmla="*/ 381 w 1726"/>
              <a:gd name="T79" fmla="*/ 426 h 467"/>
              <a:gd name="T80" fmla="*/ 452 w 1726"/>
              <a:gd name="T81" fmla="*/ 439 h 467"/>
              <a:gd name="T82" fmla="*/ 606 w 1726"/>
              <a:gd name="T83" fmla="*/ 456 h 467"/>
              <a:gd name="T84" fmla="*/ 775 w 1726"/>
              <a:gd name="T85" fmla="*/ 465 h 467"/>
              <a:gd name="T86" fmla="*/ 863 w 1726"/>
              <a:gd name="T87" fmla="*/ 467 h 467"/>
              <a:gd name="T88" fmla="*/ 907 w 1726"/>
              <a:gd name="T89" fmla="*/ 466 h 467"/>
              <a:gd name="T90" fmla="*/ 1037 w 1726"/>
              <a:gd name="T91" fmla="*/ 462 h 467"/>
              <a:gd name="T92" fmla="*/ 1199 w 1726"/>
              <a:gd name="T93" fmla="*/ 449 h 467"/>
              <a:gd name="T94" fmla="*/ 1310 w 1726"/>
              <a:gd name="T95" fmla="*/ 433 h 467"/>
              <a:gd name="T96" fmla="*/ 1379 w 1726"/>
              <a:gd name="T97" fmla="*/ 420 h 467"/>
              <a:gd name="T98" fmla="*/ 1443 w 1726"/>
              <a:gd name="T99" fmla="*/ 406 h 467"/>
              <a:gd name="T100" fmla="*/ 1501 w 1726"/>
              <a:gd name="T101" fmla="*/ 390 h 467"/>
              <a:gd name="T102" fmla="*/ 1554 w 1726"/>
              <a:gd name="T103" fmla="*/ 373 h 467"/>
              <a:gd name="T104" fmla="*/ 1601 w 1726"/>
              <a:gd name="T105" fmla="*/ 354 h 467"/>
              <a:gd name="T106" fmla="*/ 1641 w 1726"/>
              <a:gd name="T107" fmla="*/ 335 h 467"/>
              <a:gd name="T108" fmla="*/ 1673 w 1726"/>
              <a:gd name="T109" fmla="*/ 314 h 467"/>
              <a:gd name="T110" fmla="*/ 1699 w 1726"/>
              <a:gd name="T111" fmla="*/ 291 h 467"/>
              <a:gd name="T112" fmla="*/ 1716 w 1726"/>
              <a:gd name="T113" fmla="*/ 269 h 467"/>
              <a:gd name="T114" fmla="*/ 1725 w 1726"/>
              <a:gd name="T115" fmla="*/ 245 h 467"/>
              <a:gd name="T116" fmla="*/ 1726 w 1726"/>
              <a:gd name="T117" fmla="*/ 23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6" h="467">
                <a:moveTo>
                  <a:pt x="1726" y="233"/>
                </a:moveTo>
                <a:lnTo>
                  <a:pt x="1726" y="233"/>
                </a:lnTo>
                <a:lnTo>
                  <a:pt x="1725" y="221"/>
                </a:lnTo>
                <a:lnTo>
                  <a:pt x="1722" y="210"/>
                </a:lnTo>
                <a:lnTo>
                  <a:pt x="1716" y="198"/>
                </a:lnTo>
                <a:lnTo>
                  <a:pt x="1709" y="186"/>
                </a:lnTo>
                <a:lnTo>
                  <a:pt x="1699" y="175"/>
                </a:lnTo>
                <a:lnTo>
                  <a:pt x="1687" y="164"/>
                </a:lnTo>
                <a:lnTo>
                  <a:pt x="1673" y="153"/>
                </a:lnTo>
                <a:lnTo>
                  <a:pt x="1658" y="143"/>
                </a:lnTo>
                <a:lnTo>
                  <a:pt x="1641" y="132"/>
                </a:lnTo>
                <a:lnTo>
                  <a:pt x="1621" y="122"/>
                </a:lnTo>
                <a:lnTo>
                  <a:pt x="1601" y="112"/>
                </a:lnTo>
                <a:lnTo>
                  <a:pt x="1579" y="103"/>
                </a:lnTo>
                <a:lnTo>
                  <a:pt x="1554" y="94"/>
                </a:lnTo>
                <a:lnTo>
                  <a:pt x="1529" y="85"/>
                </a:lnTo>
                <a:lnTo>
                  <a:pt x="1501" y="76"/>
                </a:lnTo>
                <a:lnTo>
                  <a:pt x="1473" y="68"/>
                </a:lnTo>
                <a:lnTo>
                  <a:pt x="1443" y="60"/>
                </a:lnTo>
                <a:lnTo>
                  <a:pt x="1412" y="53"/>
                </a:lnTo>
                <a:lnTo>
                  <a:pt x="1379" y="46"/>
                </a:lnTo>
                <a:lnTo>
                  <a:pt x="1346" y="40"/>
                </a:lnTo>
                <a:lnTo>
                  <a:pt x="1310" y="34"/>
                </a:lnTo>
                <a:lnTo>
                  <a:pt x="1275" y="28"/>
                </a:lnTo>
                <a:lnTo>
                  <a:pt x="1199" y="18"/>
                </a:lnTo>
                <a:lnTo>
                  <a:pt x="1120" y="10"/>
                </a:lnTo>
                <a:lnTo>
                  <a:pt x="1037" y="4"/>
                </a:lnTo>
                <a:lnTo>
                  <a:pt x="951" y="1"/>
                </a:lnTo>
                <a:lnTo>
                  <a:pt x="907" y="0"/>
                </a:lnTo>
                <a:lnTo>
                  <a:pt x="863" y="0"/>
                </a:lnTo>
                <a:lnTo>
                  <a:pt x="863" y="0"/>
                </a:lnTo>
                <a:lnTo>
                  <a:pt x="819" y="0"/>
                </a:lnTo>
                <a:lnTo>
                  <a:pt x="775" y="1"/>
                </a:lnTo>
                <a:lnTo>
                  <a:pt x="689" y="4"/>
                </a:lnTo>
                <a:lnTo>
                  <a:pt x="606" y="10"/>
                </a:lnTo>
                <a:lnTo>
                  <a:pt x="527" y="18"/>
                </a:lnTo>
                <a:lnTo>
                  <a:pt x="452" y="28"/>
                </a:lnTo>
                <a:lnTo>
                  <a:pt x="415" y="34"/>
                </a:lnTo>
                <a:lnTo>
                  <a:pt x="381" y="40"/>
                </a:lnTo>
                <a:lnTo>
                  <a:pt x="347" y="46"/>
                </a:lnTo>
                <a:lnTo>
                  <a:pt x="313" y="53"/>
                </a:lnTo>
                <a:lnTo>
                  <a:pt x="283" y="60"/>
                </a:lnTo>
                <a:lnTo>
                  <a:pt x="252" y="68"/>
                </a:lnTo>
                <a:lnTo>
                  <a:pt x="224" y="76"/>
                </a:lnTo>
                <a:lnTo>
                  <a:pt x="197" y="85"/>
                </a:lnTo>
                <a:lnTo>
                  <a:pt x="171" y="94"/>
                </a:lnTo>
                <a:lnTo>
                  <a:pt x="148" y="103"/>
                </a:lnTo>
                <a:lnTo>
                  <a:pt x="125" y="112"/>
                </a:lnTo>
                <a:lnTo>
                  <a:pt x="104" y="122"/>
                </a:lnTo>
                <a:lnTo>
                  <a:pt x="85" y="132"/>
                </a:lnTo>
                <a:lnTo>
                  <a:pt x="67" y="143"/>
                </a:lnTo>
                <a:lnTo>
                  <a:pt x="52" y="153"/>
                </a:lnTo>
                <a:lnTo>
                  <a:pt x="39" y="164"/>
                </a:lnTo>
                <a:lnTo>
                  <a:pt x="27" y="175"/>
                </a:lnTo>
                <a:lnTo>
                  <a:pt x="18" y="186"/>
                </a:lnTo>
                <a:lnTo>
                  <a:pt x="9" y="198"/>
                </a:lnTo>
                <a:lnTo>
                  <a:pt x="4" y="210"/>
                </a:lnTo>
                <a:lnTo>
                  <a:pt x="1" y="221"/>
                </a:lnTo>
                <a:lnTo>
                  <a:pt x="0" y="233"/>
                </a:lnTo>
                <a:lnTo>
                  <a:pt x="0" y="233"/>
                </a:lnTo>
                <a:lnTo>
                  <a:pt x="1" y="245"/>
                </a:lnTo>
                <a:lnTo>
                  <a:pt x="4" y="258"/>
                </a:lnTo>
                <a:lnTo>
                  <a:pt x="9" y="269"/>
                </a:lnTo>
                <a:lnTo>
                  <a:pt x="18" y="280"/>
                </a:lnTo>
                <a:lnTo>
                  <a:pt x="27" y="291"/>
                </a:lnTo>
                <a:lnTo>
                  <a:pt x="39" y="302"/>
                </a:lnTo>
                <a:lnTo>
                  <a:pt x="52" y="314"/>
                </a:lnTo>
                <a:lnTo>
                  <a:pt x="67" y="324"/>
                </a:lnTo>
                <a:lnTo>
                  <a:pt x="85" y="335"/>
                </a:lnTo>
                <a:lnTo>
                  <a:pt x="104" y="344"/>
                </a:lnTo>
                <a:lnTo>
                  <a:pt x="125" y="354"/>
                </a:lnTo>
                <a:lnTo>
                  <a:pt x="148" y="363"/>
                </a:lnTo>
                <a:lnTo>
                  <a:pt x="171" y="373"/>
                </a:lnTo>
                <a:lnTo>
                  <a:pt x="197" y="382"/>
                </a:lnTo>
                <a:lnTo>
                  <a:pt x="224" y="390"/>
                </a:lnTo>
                <a:lnTo>
                  <a:pt x="252" y="398"/>
                </a:lnTo>
                <a:lnTo>
                  <a:pt x="283" y="406"/>
                </a:lnTo>
                <a:lnTo>
                  <a:pt x="313" y="413"/>
                </a:lnTo>
                <a:lnTo>
                  <a:pt x="347" y="420"/>
                </a:lnTo>
                <a:lnTo>
                  <a:pt x="381" y="426"/>
                </a:lnTo>
                <a:lnTo>
                  <a:pt x="415" y="433"/>
                </a:lnTo>
                <a:lnTo>
                  <a:pt x="452" y="439"/>
                </a:lnTo>
                <a:lnTo>
                  <a:pt x="527" y="449"/>
                </a:lnTo>
                <a:lnTo>
                  <a:pt x="606" y="456"/>
                </a:lnTo>
                <a:lnTo>
                  <a:pt x="689" y="462"/>
                </a:lnTo>
                <a:lnTo>
                  <a:pt x="775" y="465"/>
                </a:lnTo>
                <a:lnTo>
                  <a:pt x="819" y="466"/>
                </a:lnTo>
                <a:lnTo>
                  <a:pt x="863" y="467"/>
                </a:lnTo>
                <a:lnTo>
                  <a:pt x="863" y="467"/>
                </a:lnTo>
                <a:lnTo>
                  <a:pt x="907" y="466"/>
                </a:lnTo>
                <a:lnTo>
                  <a:pt x="951" y="465"/>
                </a:lnTo>
                <a:lnTo>
                  <a:pt x="1037" y="462"/>
                </a:lnTo>
                <a:lnTo>
                  <a:pt x="1120" y="456"/>
                </a:lnTo>
                <a:lnTo>
                  <a:pt x="1199" y="449"/>
                </a:lnTo>
                <a:lnTo>
                  <a:pt x="1275" y="439"/>
                </a:lnTo>
                <a:lnTo>
                  <a:pt x="1310" y="433"/>
                </a:lnTo>
                <a:lnTo>
                  <a:pt x="1346" y="426"/>
                </a:lnTo>
                <a:lnTo>
                  <a:pt x="1379" y="420"/>
                </a:lnTo>
                <a:lnTo>
                  <a:pt x="1412" y="413"/>
                </a:lnTo>
                <a:lnTo>
                  <a:pt x="1443" y="406"/>
                </a:lnTo>
                <a:lnTo>
                  <a:pt x="1473" y="398"/>
                </a:lnTo>
                <a:lnTo>
                  <a:pt x="1501" y="390"/>
                </a:lnTo>
                <a:lnTo>
                  <a:pt x="1529" y="382"/>
                </a:lnTo>
                <a:lnTo>
                  <a:pt x="1554" y="373"/>
                </a:lnTo>
                <a:lnTo>
                  <a:pt x="1579" y="363"/>
                </a:lnTo>
                <a:lnTo>
                  <a:pt x="1601" y="354"/>
                </a:lnTo>
                <a:lnTo>
                  <a:pt x="1621" y="344"/>
                </a:lnTo>
                <a:lnTo>
                  <a:pt x="1641" y="335"/>
                </a:lnTo>
                <a:lnTo>
                  <a:pt x="1658" y="324"/>
                </a:lnTo>
                <a:lnTo>
                  <a:pt x="1673" y="314"/>
                </a:lnTo>
                <a:lnTo>
                  <a:pt x="1687" y="302"/>
                </a:lnTo>
                <a:lnTo>
                  <a:pt x="1699" y="291"/>
                </a:lnTo>
                <a:lnTo>
                  <a:pt x="1709" y="280"/>
                </a:lnTo>
                <a:lnTo>
                  <a:pt x="1716" y="269"/>
                </a:lnTo>
                <a:lnTo>
                  <a:pt x="1722" y="258"/>
                </a:lnTo>
                <a:lnTo>
                  <a:pt x="1725" y="245"/>
                </a:lnTo>
                <a:lnTo>
                  <a:pt x="1726" y="233"/>
                </a:lnTo>
                <a:lnTo>
                  <a:pt x="1726" y="233"/>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5" name="Freeform 2389"/>
          <p:cNvSpPr>
            <a:spLocks/>
          </p:cNvSpPr>
          <p:nvPr/>
        </p:nvSpPr>
        <p:spPr bwMode="auto">
          <a:xfrm>
            <a:off x="10820401" y="6330951"/>
            <a:ext cx="457200" cy="90488"/>
          </a:xfrm>
          <a:custGeom>
            <a:avLst/>
            <a:gdLst>
              <a:gd name="T0" fmla="*/ 863 w 1726"/>
              <a:gd name="T1" fmla="*/ 234 h 342"/>
              <a:gd name="T2" fmla="*/ 775 w 1726"/>
              <a:gd name="T3" fmla="*/ 232 h 342"/>
              <a:gd name="T4" fmla="*/ 606 w 1726"/>
              <a:gd name="T5" fmla="*/ 223 h 342"/>
              <a:gd name="T6" fmla="*/ 452 w 1726"/>
              <a:gd name="T7" fmla="*/ 206 h 342"/>
              <a:gd name="T8" fmla="*/ 381 w 1726"/>
              <a:gd name="T9" fmla="*/ 193 h 342"/>
              <a:gd name="T10" fmla="*/ 313 w 1726"/>
              <a:gd name="T11" fmla="*/ 180 h 342"/>
              <a:gd name="T12" fmla="*/ 252 w 1726"/>
              <a:gd name="T13" fmla="*/ 165 h 342"/>
              <a:gd name="T14" fmla="*/ 197 w 1726"/>
              <a:gd name="T15" fmla="*/ 149 h 342"/>
              <a:gd name="T16" fmla="*/ 148 w 1726"/>
              <a:gd name="T17" fmla="*/ 130 h 342"/>
              <a:gd name="T18" fmla="*/ 104 w 1726"/>
              <a:gd name="T19" fmla="*/ 111 h 342"/>
              <a:gd name="T20" fmla="*/ 67 w 1726"/>
              <a:gd name="T21" fmla="*/ 91 h 342"/>
              <a:gd name="T22" fmla="*/ 39 w 1726"/>
              <a:gd name="T23" fmla="*/ 69 h 342"/>
              <a:gd name="T24" fmla="*/ 18 w 1726"/>
              <a:gd name="T25" fmla="*/ 47 h 342"/>
              <a:gd name="T26" fmla="*/ 4 w 1726"/>
              <a:gd name="T27" fmla="*/ 25 h 342"/>
              <a:gd name="T28" fmla="*/ 0 w 1726"/>
              <a:gd name="T29" fmla="*/ 0 h 342"/>
              <a:gd name="T30" fmla="*/ 0 w 1726"/>
              <a:gd name="T31" fmla="*/ 109 h 342"/>
              <a:gd name="T32" fmla="*/ 1 w 1726"/>
              <a:gd name="T33" fmla="*/ 120 h 342"/>
              <a:gd name="T34" fmla="*/ 9 w 1726"/>
              <a:gd name="T35" fmla="*/ 145 h 342"/>
              <a:gd name="T36" fmla="*/ 27 w 1726"/>
              <a:gd name="T37" fmla="*/ 167 h 342"/>
              <a:gd name="T38" fmla="*/ 52 w 1726"/>
              <a:gd name="T39" fmla="*/ 188 h 342"/>
              <a:gd name="T40" fmla="*/ 85 w 1726"/>
              <a:gd name="T41" fmla="*/ 210 h 342"/>
              <a:gd name="T42" fmla="*/ 125 w 1726"/>
              <a:gd name="T43" fmla="*/ 230 h 342"/>
              <a:gd name="T44" fmla="*/ 171 w 1726"/>
              <a:gd name="T45" fmla="*/ 248 h 342"/>
              <a:gd name="T46" fmla="*/ 224 w 1726"/>
              <a:gd name="T47" fmla="*/ 266 h 342"/>
              <a:gd name="T48" fmla="*/ 283 w 1726"/>
              <a:gd name="T49" fmla="*/ 281 h 342"/>
              <a:gd name="T50" fmla="*/ 347 w 1726"/>
              <a:gd name="T51" fmla="*/ 295 h 342"/>
              <a:gd name="T52" fmla="*/ 415 w 1726"/>
              <a:gd name="T53" fmla="*/ 308 h 342"/>
              <a:gd name="T54" fmla="*/ 527 w 1726"/>
              <a:gd name="T55" fmla="*/ 324 h 342"/>
              <a:gd name="T56" fmla="*/ 689 w 1726"/>
              <a:gd name="T57" fmla="*/ 337 h 342"/>
              <a:gd name="T58" fmla="*/ 819 w 1726"/>
              <a:gd name="T59" fmla="*/ 342 h 342"/>
              <a:gd name="T60" fmla="*/ 863 w 1726"/>
              <a:gd name="T61" fmla="*/ 342 h 342"/>
              <a:gd name="T62" fmla="*/ 951 w 1726"/>
              <a:gd name="T63" fmla="*/ 341 h 342"/>
              <a:gd name="T64" fmla="*/ 1120 w 1726"/>
              <a:gd name="T65" fmla="*/ 332 h 342"/>
              <a:gd name="T66" fmla="*/ 1275 w 1726"/>
              <a:gd name="T67" fmla="*/ 313 h 342"/>
              <a:gd name="T68" fmla="*/ 1346 w 1726"/>
              <a:gd name="T69" fmla="*/ 302 h 342"/>
              <a:gd name="T70" fmla="*/ 1412 w 1726"/>
              <a:gd name="T71" fmla="*/ 289 h 342"/>
              <a:gd name="T72" fmla="*/ 1473 w 1726"/>
              <a:gd name="T73" fmla="*/ 274 h 342"/>
              <a:gd name="T74" fmla="*/ 1529 w 1726"/>
              <a:gd name="T75" fmla="*/ 258 h 342"/>
              <a:gd name="T76" fmla="*/ 1579 w 1726"/>
              <a:gd name="T77" fmla="*/ 239 h 342"/>
              <a:gd name="T78" fmla="*/ 1621 w 1726"/>
              <a:gd name="T79" fmla="*/ 220 h 342"/>
              <a:gd name="T80" fmla="*/ 1658 w 1726"/>
              <a:gd name="T81" fmla="*/ 200 h 342"/>
              <a:gd name="T82" fmla="*/ 1687 w 1726"/>
              <a:gd name="T83" fmla="*/ 178 h 342"/>
              <a:gd name="T84" fmla="*/ 1709 w 1726"/>
              <a:gd name="T85" fmla="*/ 156 h 342"/>
              <a:gd name="T86" fmla="*/ 1722 w 1726"/>
              <a:gd name="T87" fmla="*/ 132 h 342"/>
              <a:gd name="T88" fmla="*/ 1726 w 1726"/>
              <a:gd name="T89" fmla="*/ 109 h 342"/>
              <a:gd name="T90" fmla="*/ 1726 w 1726"/>
              <a:gd name="T91" fmla="*/ 0 h 342"/>
              <a:gd name="T92" fmla="*/ 1725 w 1726"/>
              <a:gd name="T93" fmla="*/ 12 h 342"/>
              <a:gd name="T94" fmla="*/ 1716 w 1726"/>
              <a:gd name="T95" fmla="*/ 36 h 342"/>
              <a:gd name="T96" fmla="*/ 1699 w 1726"/>
              <a:gd name="T97" fmla="*/ 58 h 342"/>
              <a:gd name="T98" fmla="*/ 1673 w 1726"/>
              <a:gd name="T99" fmla="*/ 81 h 342"/>
              <a:gd name="T100" fmla="*/ 1641 w 1726"/>
              <a:gd name="T101" fmla="*/ 102 h 342"/>
              <a:gd name="T102" fmla="*/ 1601 w 1726"/>
              <a:gd name="T103" fmla="*/ 121 h 342"/>
              <a:gd name="T104" fmla="*/ 1554 w 1726"/>
              <a:gd name="T105" fmla="*/ 140 h 342"/>
              <a:gd name="T106" fmla="*/ 1501 w 1726"/>
              <a:gd name="T107" fmla="*/ 157 h 342"/>
              <a:gd name="T108" fmla="*/ 1443 w 1726"/>
              <a:gd name="T109" fmla="*/ 173 h 342"/>
              <a:gd name="T110" fmla="*/ 1379 w 1726"/>
              <a:gd name="T111" fmla="*/ 187 h 342"/>
              <a:gd name="T112" fmla="*/ 1310 w 1726"/>
              <a:gd name="T113" fmla="*/ 200 h 342"/>
              <a:gd name="T114" fmla="*/ 1199 w 1726"/>
              <a:gd name="T115" fmla="*/ 216 h 342"/>
              <a:gd name="T116" fmla="*/ 1037 w 1726"/>
              <a:gd name="T117" fmla="*/ 229 h 342"/>
              <a:gd name="T118" fmla="*/ 907 w 1726"/>
              <a:gd name="T119" fmla="*/ 233 h 342"/>
              <a:gd name="T120" fmla="*/ 863 w 1726"/>
              <a:gd name="T121" fmla="*/ 234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6" h="342">
                <a:moveTo>
                  <a:pt x="863" y="234"/>
                </a:moveTo>
                <a:lnTo>
                  <a:pt x="863" y="234"/>
                </a:lnTo>
                <a:lnTo>
                  <a:pt x="819" y="233"/>
                </a:lnTo>
                <a:lnTo>
                  <a:pt x="775" y="232"/>
                </a:lnTo>
                <a:lnTo>
                  <a:pt x="689" y="229"/>
                </a:lnTo>
                <a:lnTo>
                  <a:pt x="606" y="223"/>
                </a:lnTo>
                <a:lnTo>
                  <a:pt x="527" y="216"/>
                </a:lnTo>
                <a:lnTo>
                  <a:pt x="452" y="206"/>
                </a:lnTo>
                <a:lnTo>
                  <a:pt x="415" y="200"/>
                </a:lnTo>
                <a:lnTo>
                  <a:pt x="381" y="193"/>
                </a:lnTo>
                <a:lnTo>
                  <a:pt x="347" y="187"/>
                </a:lnTo>
                <a:lnTo>
                  <a:pt x="313" y="180"/>
                </a:lnTo>
                <a:lnTo>
                  <a:pt x="283" y="173"/>
                </a:lnTo>
                <a:lnTo>
                  <a:pt x="252" y="165"/>
                </a:lnTo>
                <a:lnTo>
                  <a:pt x="224" y="157"/>
                </a:lnTo>
                <a:lnTo>
                  <a:pt x="197" y="149"/>
                </a:lnTo>
                <a:lnTo>
                  <a:pt x="171" y="140"/>
                </a:lnTo>
                <a:lnTo>
                  <a:pt x="148" y="130"/>
                </a:lnTo>
                <a:lnTo>
                  <a:pt x="125" y="121"/>
                </a:lnTo>
                <a:lnTo>
                  <a:pt x="104" y="111"/>
                </a:lnTo>
                <a:lnTo>
                  <a:pt x="85" y="102"/>
                </a:lnTo>
                <a:lnTo>
                  <a:pt x="67" y="91"/>
                </a:lnTo>
                <a:lnTo>
                  <a:pt x="52" y="81"/>
                </a:lnTo>
                <a:lnTo>
                  <a:pt x="39" y="69"/>
                </a:lnTo>
                <a:lnTo>
                  <a:pt x="27" y="58"/>
                </a:lnTo>
                <a:lnTo>
                  <a:pt x="18" y="47"/>
                </a:lnTo>
                <a:lnTo>
                  <a:pt x="9" y="36"/>
                </a:lnTo>
                <a:lnTo>
                  <a:pt x="4" y="25"/>
                </a:lnTo>
                <a:lnTo>
                  <a:pt x="1" y="12"/>
                </a:lnTo>
                <a:lnTo>
                  <a:pt x="0" y="0"/>
                </a:lnTo>
                <a:lnTo>
                  <a:pt x="0" y="0"/>
                </a:lnTo>
                <a:lnTo>
                  <a:pt x="0" y="109"/>
                </a:lnTo>
                <a:lnTo>
                  <a:pt x="0" y="109"/>
                </a:lnTo>
                <a:lnTo>
                  <a:pt x="1" y="120"/>
                </a:lnTo>
                <a:lnTo>
                  <a:pt x="4" y="132"/>
                </a:lnTo>
                <a:lnTo>
                  <a:pt x="9" y="145"/>
                </a:lnTo>
                <a:lnTo>
                  <a:pt x="18" y="156"/>
                </a:lnTo>
                <a:lnTo>
                  <a:pt x="27" y="167"/>
                </a:lnTo>
                <a:lnTo>
                  <a:pt x="39" y="178"/>
                </a:lnTo>
                <a:lnTo>
                  <a:pt x="52" y="188"/>
                </a:lnTo>
                <a:lnTo>
                  <a:pt x="67" y="200"/>
                </a:lnTo>
                <a:lnTo>
                  <a:pt x="85" y="210"/>
                </a:lnTo>
                <a:lnTo>
                  <a:pt x="104" y="220"/>
                </a:lnTo>
                <a:lnTo>
                  <a:pt x="125" y="230"/>
                </a:lnTo>
                <a:lnTo>
                  <a:pt x="148" y="239"/>
                </a:lnTo>
                <a:lnTo>
                  <a:pt x="171" y="248"/>
                </a:lnTo>
                <a:lnTo>
                  <a:pt x="197" y="258"/>
                </a:lnTo>
                <a:lnTo>
                  <a:pt x="224" y="266"/>
                </a:lnTo>
                <a:lnTo>
                  <a:pt x="252" y="274"/>
                </a:lnTo>
                <a:lnTo>
                  <a:pt x="283" y="281"/>
                </a:lnTo>
                <a:lnTo>
                  <a:pt x="313" y="289"/>
                </a:lnTo>
                <a:lnTo>
                  <a:pt x="347" y="295"/>
                </a:lnTo>
                <a:lnTo>
                  <a:pt x="381" y="302"/>
                </a:lnTo>
                <a:lnTo>
                  <a:pt x="415" y="308"/>
                </a:lnTo>
                <a:lnTo>
                  <a:pt x="452" y="313"/>
                </a:lnTo>
                <a:lnTo>
                  <a:pt x="527" y="324"/>
                </a:lnTo>
                <a:lnTo>
                  <a:pt x="606" y="332"/>
                </a:lnTo>
                <a:lnTo>
                  <a:pt x="689" y="337"/>
                </a:lnTo>
                <a:lnTo>
                  <a:pt x="775" y="341"/>
                </a:lnTo>
                <a:lnTo>
                  <a:pt x="819" y="342"/>
                </a:lnTo>
                <a:lnTo>
                  <a:pt x="863" y="342"/>
                </a:lnTo>
                <a:lnTo>
                  <a:pt x="863" y="342"/>
                </a:lnTo>
                <a:lnTo>
                  <a:pt x="907" y="342"/>
                </a:lnTo>
                <a:lnTo>
                  <a:pt x="951" y="341"/>
                </a:lnTo>
                <a:lnTo>
                  <a:pt x="1037" y="337"/>
                </a:lnTo>
                <a:lnTo>
                  <a:pt x="1120" y="332"/>
                </a:lnTo>
                <a:lnTo>
                  <a:pt x="1199" y="324"/>
                </a:lnTo>
                <a:lnTo>
                  <a:pt x="1275" y="313"/>
                </a:lnTo>
                <a:lnTo>
                  <a:pt x="1310" y="308"/>
                </a:lnTo>
                <a:lnTo>
                  <a:pt x="1346" y="302"/>
                </a:lnTo>
                <a:lnTo>
                  <a:pt x="1379" y="295"/>
                </a:lnTo>
                <a:lnTo>
                  <a:pt x="1412" y="289"/>
                </a:lnTo>
                <a:lnTo>
                  <a:pt x="1443" y="281"/>
                </a:lnTo>
                <a:lnTo>
                  <a:pt x="1473" y="274"/>
                </a:lnTo>
                <a:lnTo>
                  <a:pt x="1501" y="266"/>
                </a:lnTo>
                <a:lnTo>
                  <a:pt x="1529" y="258"/>
                </a:lnTo>
                <a:lnTo>
                  <a:pt x="1554" y="248"/>
                </a:lnTo>
                <a:lnTo>
                  <a:pt x="1579" y="239"/>
                </a:lnTo>
                <a:lnTo>
                  <a:pt x="1601" y="230"/>
                </a:lnTo>
                <a:lnTo>
                  <a:pt x="1621" y="220"/>
                </a:lnTo>
                <a:lnTo>
                  <a:pt x="1641" y="210"/>
                </a:lnTo>
                <a:lnTo>
                  <a:pt x="1658" y="200"/>
                </a:lnTo>
                <a:lnTo>
                  <a:pt x="1673" y="188"/>
                </a:lnTo>
                <a:lnTo>
                  <a:pt x="1687" y="178"/>
                </a:lnTo>
                <a:lnTo>
                  <a:pt x="1699" y="167"/>
                </a:lnTo>
                <a:lnTo>
                  <a:pt x="1709" y="156"/>
                </a:lnTo>
                <a:lnTo>
                  <a:pt x="1716" y="145"/>
                </a:lnTo>
                <a:lnTo>
                  <a:pt x="1722" y="132"/>
                </a:lnTo>
                <a:lnTo>
                  <a:pt x="1725" y="120"/>
                </a:lnTo>
                <a:lnTo>
                  <a:pt x="1726" y="109"/>
                </a:lnTo>
                <a:lnTo>
                  <a:pt x="1726" y="109"/>
                </a:lnTo>
                <a:lnTo>
                  <a:pt x="1726" y="0"/>
                </a:lnTo>
                <a:lnTo>
                  <a:pt x="1726" y="0"/>
                </a:lnTo>
                <a:lnTo>
                  <a:pt x="1725" y="12"/>
                </a:lnTo>
                <a:lnTo>
                  <a:pt x="1722" y="25"/>
                </a:lnTo>
                <a:lnTo>
                  <a:pt x="1716" y="36"/>
                </a:lnTo>
                <a:lnTo>
                  <a:pt x="1709" y="47"/>
                </a:lnTo>
                <a:lnTo>
                  <a:pt x="1699" y="58"/>
                </a:lnTo>
                <a:lnTo>
                  <a:pt x="1687" y="69"/>
                </a:lnTo>
                <a:lnTo>
                  <a:pt x="1673" y="81"/>
                </a:lnTo>
                <a:lnTo>
                  <a:pt x="1658" y="91"/>
                </a:lnTo>
                <a:lnTo>
                  <a:pt x="1641" y="102"/>
                </a:lnTo>
                <a:lnTo>
                  <a:pt x="1621" y="111"/>
                </a:lnTo>
                <a:lnTo>
                  <a:pt x="1601" y="121"/>
                </a:lnTo>
                <a:lnTo>
                  <a:pt x="1579" y="130"/>
                </a:lnTo>
                <a:lnTo>
                  <a:pt x="1554" y="140"/>
                </a:lnTo>
                <a:lnTo>
                  <a:pt x="1529" y="149"/>
                </a:lnTo>
                <a:lnTo>
                  <a:pt x="1501" y="157"/>
                </a:lnTo>
                <a:lnTo>
                  <a:pt x="1473" y="165"/>
                </a:lnTo>
                <a:lnTo>
                  <a:pt x="1443" y="173"/>
                </a:lnTo>
                <a:lnTo>
                  <a:pt x="1412" y="180"/>
                </a:lnTo>
                <a:lnTo>
                  <a:pt x="1379" y="187"/>
                </a:lnTo>
                <a:lnTo>
                  <a:pt x="1346" y="193"/>
                </a:lnTo>
                <a:lnTo>
                  <a:pt x="1310" y="200"/>
                </a:lnTo>
                <a:lnTo>
                  <a:pt x="1275" y="206"/>
                </a:lnTo>
                <a:lnTo>
                  <a:pt x="1199" y="216"/>
                </a:lnTo>
                <a:lnTo>
                  <a:pt x="1120" y="223"/>
                </a:lnTo>
                <a:lnTo>
                  <a:pt x="1037" y="229"/>
                </a:lnTo>
                <a:lnTo>
                  <a:pt x="951" y="232"/>
                </a:lnTo>
                <a:lnTo>
                  <a:pt x="907" y="233"/>
                </a:lnTo>
                <a:lnTo>
                  <a:pt x="863" y="234"/>
                </a:lnTo>
                <a:lnTo>
                  <a:pt x="863" y="234"/>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6" name="Freeform 2390"/>
          <p:cNvSpPr>
            <a:spLocks/>
          </p:cNvSpPr>
          <p:nvPr/>
        </p:nvSpPr>
        <p:spPr bwMode="auto">
          <a:xfrm>
            <a:off x="10820401" y="6326189"/>
            <a:ext cx="0" cy="4763"/>
          </a:xfrm>
          <a:custGeom>
            <a:avLst/>
            <a:gdLst>
              <a:gd name="T0" fmla="*/ 0 w 2"/>
              <a:gd name="T1" fmla="*/ 1 h 17"/>
              <a:gd name="T2" fmla="*/ 0 w 2"/>
              <a:gd name="T3" fmla="*/ 1 h 17"/>
              <a:gd name="T4" fmla="*/ 0 w 2"/>
              <a:gd name="T5" fmla="*/ 17 h 17"/>
              <a:gd name="T6" fmla="*/ 0 w 2"/>
              <a:gd name="T7" fmla="*/ 17 h 17"/>
              <a:gd name="T8" fmla="*/ 0 w 2"/>
              <a:gd name="T9" fmla="*/ 9 h 17"/>
              <a:gd name="T10" fmla="*/ 2 w 2"/>
              <a:gd name="T11" fmla="*/ 0 h 17"/>
              <a:gd name="T12" fmla="*/ 2 w 2"/>
              <a:gd name="T13" fmla="*/ 0 h 17"/>
              <a:gd name="T14" fmla="*/ 0 w 2"/>
              <a:gd name="T15" fmla="*/ 1 h 17"/>
              <a:gd name="T16" fmla="*/ 0 w 2"/>
              <a:gd name="T17"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7">
                <a:moveTo>
                  <a:pt x="0" y="1"/>
                </a:moveTo>
                <a:lnTo>
                  <a:pt x="0" y="1"/>
                </a:lnTo>
                <a:lnTo>
                  <a:pt x="0" y="17"/>
                </a:lnTo>
                <a:lnTo>
                  <a:pt x="0" y="17"/>
                </a:lnTo>
                <a:lnTo>
                  <a:pt x="0" y="9"/>
                </a:lnTo>
                <a:lnTo>
                  <a:pt x="2" y="0"/>
                </a:lnTo>
                <a:lnTo>
                  <a:pt x="2" y="0"/>
                </a:lnTo>
                <a:lnTo>
                  <a:pt x="0" y="1"/>
                </a:lnTo>
                <a:lnTo>
                  <a:pt x="0" y="1"/>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7" name="Freeform 2391"/>
          <p:cNvSpPr>
            <a:spLocks/>
          </p:cNvSpPr>
          <p:nvPr/>
        </p:nvSpPr>
        <p:spPr bwMode="auto">
          <a:xfrm>
            <a:off x="11018838" y="6040438"/>
            <a:ext cx="58738" cy="292100"/>
          </a:xfrm>
          <a:custGeom>
            <a:avLst/>
            <a:gdLst>
              <a:gd name="T0" fmla="*/ 0 w 222"/>
              <a:gd name="T1" fmla="*/ 13 h 1106"/>
              <a:gd name="T2" fmla="*/ 0 w 222"/>
              <a:gd name="T3" fmla="*/ 13 h 1106"/>
              <a:gd name="T4" fmla="*/ 1 w 222"/>
              <a:gd name="T5" fmla="*/ 9 h 1106"/>
              <a:gd name="T6" fmla="*/ 4 w 222"/>
              <a:gd name="T7" fmla="*/ 4 h 1106"/>
              <a:gd name="T8" fmla="*/ 8 w 222"/>
              <a:gd name="T9" fmla="*/ 1 h 1106"/>
              <a:gd name="T10" fmla="*/ 12 w 222"/>
              <a:gd name="T11" fmla="*/ 0 h 1106"/>
              <a:gd name="T12" fmla="*/ 209 w 222"/>
              <a:gd name="T13" fmla="*/ 0 h 1106"/>
              <a:gd name="T14" fmla="*/ 209 w 222"/>
              <a:gd name="T15" fmla="*/ 0 h 1106"/>
              <a:gd name="T16" fmla="*/ 214 w 222"/>
              <a:gd name="T17" fmla="*/ 1 h 1106"/>
              <a:gd name="T18" fmla="*/ 218 w 222"/>
              <a:gd name="T19" fmla="*/ 4 h 1106"/>
              <a:gd name="T20" fmla="*/ 221 w 222"/>
              <a:gd name="T21" fmla="*/ 9 h 1106"/>
              <a:gd name="T22" fmla="*/ 222 w 222"/>
              <a:gd name="T23" fmla="*/ 13 h 1106"/>
              <a:gd name="T24" fmla="*/ 222 w 222"/>
              <a:gd name="T25" fmla="*/ 1094 h 1106"/>
              <a:gd name="T26" fmla="*/ 222 w 222"/>
              <a:gd name="T27" fmla="*/ 1094 h 1106"/>
              <a:gd name="T28" fmla="*/ 221 w 222"/>
              <a:gd name="T29" fmla="*/ 1099 h 1106"/>
              <a:gd name="T30" fmla="*/ 218 w 222"/>
              <a:gd name="T31" fmla="*/ 1103 h 1106"/>
              <a:gd name="T32" fmla="*/ 214 w 222"/>
              <a:gd name="T33" fmla="*/ 1106 h 1106"/>
              <a:gd name="T34" fmla="*/ 209 w 222"/>
              <a:gd name="T35" fmla="*/ 1106 h 1106"/>
              <a:gd name="T36" fmla="*/ 12 w 222"/>
              <a:gd name="T37" fmla="*/ 1106 h 1106"/>
              <a:gd name="T38" fmla="*/ 12 w 222"/>
              <a:gd name="T39" fmla="*/ 1106 h 1106"/>
              <a:gd name="T40" fmla="*/ 8 w 222"/>
              <a:gd name="T41" fmla="*/ 1106 h 1106"/>
              <a:gd name="T42" fmla="*/ 4 w 222"/>
              <a:gd name="T43" fmla="*/ 1103 h 1106"/>
              <a:gd name="T44" fmla="*/ 1 w 222"/>
              <a:gd name="T45" fmla="*/ 1099 h 1106"/>
              <a:gd name="T46" fmla="*/ 0 w 222"/>
              <a:gd name="T47" fmla="*/ 1094 h 1106"/>
              <a:gd name="T48" fmla="*/ 0 w 222"/>
              <a:gd name="T49" fmla="*/ 13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2" h="1106">
                <a:moveTo>
                  <a:pt x="0" y="13"/>
                </a:moveTo>
                <a:lnTo>
                  <a:pt x="0" y="13"/>
                </a:lnTo>
                <a:lnTo>
                  <a:pt x="1" y="9"/>
                </a:lnTo>
                <a:lnTo>
                  <a:pt x="4" y="4"/>
                </a:lnTo>
                <a:lnTo>
                  <a:pt x="8" y="1"/>
                </a:lnTo>
                <a:lnTo>
                  <a:pt x="12" y="0"/>
                </a:lnTo>
                <a:lnTo>
                  <a:pt x="209" y="0"/>
                </a:lnTo>
                <a:lnTo>
                  <a:pt x="209" y="0"/>
                </a:lnTo>
                <a:lnTo>
                  <a:pt x="214" y="1"/>
                </a:lnTo>
                <a:lnTo>
                  <a:pt x="218" y="4"/>
                </a:lnTo>
                <a:lnTo>
                  <a:pt x="221" y="9"/>
                </a:lnTo>
                <a:lnTo>
                  <a:pt x="222" y="13"/>
                </a:lnTo>
                <a:lnTo>
                  <a:pt x="222" y="1094"/>
                </a:lnTo>
                <a:lnTo>
                  <a:pt x="222" y="1094"/>
                </a:lnTo>
                <a:lnTo>
                  <a:pt x="221" y="1099"/>
                </a:lnTo>
                <a:lnTo>
                  <a:pt x="218" y="1103"/>
                </a:lnTo>
                <a:lnTo>
                  <a:pt x="214" y="1106"/>
                </a:lnTo>
                <a:lnTo>
                  <a:pt x="209" y="1106"/>
                </a:lnTo>
                <a:lnTo>
                  <a:pt x="12" y="1106"/>
                </a:lnTo>
                <a:lnTo>
                  <a:pt x="12" y="1106"/>
                </a:lnTo>
                <a:lnTo>
                  <a:pt x="8" y="1106"/>
                </a:lnTo>
                <a:lnTo>
                  <a:pt x="4" y="1103"/>
                </a:lnTo>
                <a:lnTo>
                  <a:pt x="1" y="1099"/>
                </a:lnTo>
                <a:lnTo>
                  <a:pt x="0" y="1094"/>
                </a:lnTo>
                <a:lnTo>
                  <a:pt x="0" y="13"/>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38" name="Freeform 2392"/>
          <p:cNvSpPr>
            <a:spLocks/>
          </p:cNvSpPr>
          <p:nvPr/>
        </p:nvSpPr>
        <p:spPr bwMode="auto">
          <a:xfrm>
            <a:off x="10572752" y="5815013"/>
            <a:ext cx="950913" cy="211138"/>
          </a:xfrm>
          <a:custGeom>
            <a:avLst/>
            <a:gdLst>
              <a:gd name="T0" fmla="*/ 3592 w 3593"/>
              <a:gd name="T1" fmla="*/ 388 h 795"/>
              <a:gd name="T2" fmla="*/ 3584 w 3593"/>
              <a:gd name="T3" fmla="*/ 357 h 795"/>
              <a:gd name="T4" fmla="*/ 3564 w 3593"/>
              <a:gd name="T5" fmla="*/ 326 h 795"/>
              <a:gd name="T6" fmla="*/ 3536 w 3593"/>
              <a:gd name="T7" fmla="*/ 298 h 795"/>
              <a:gd name="T8" fmla="*/ 3498 w 3593"/>
              <a:gd name="T9" fmla="*/ 270 h 795"/>
              <a:gd name="T10" fmla="*/ 3416 w 3593"/>
              <a:gd name="T11" fmla="*/ 225 h 795"/>
              <a:gd name="T12" fmla="*/ 3286 w 3593"/>
              <a:gd name="T13" fmla="*/ 175 h 795"/>
              <a:gd name="T14" fmla="*/ 3126 w 3593"/>
              <a:gd name="T15" fmla="*/ 130 h 795"/>
              <a:gd name="T16" fmla="*/ 2939 w 3593"/>
              <a:gd name="T17" fmla="*/ 90 h 795"/>
              <a:gd name="T18" fmla="*/ 2727 w 3593"/>
              <a:gd name="T19" fmla="*/ 57 h 795"/>
              <a:gd name="T20" fmla="*/ 2495 w 3593"/>
              <a:gd name="T21" fmla="*/ 30 h 795"/>
              <a:gd name="T22" fmla="*/ 2245 w 3593"/>
              <a:gd name="T23" fmla="*/ 12 h 795"/>
              <a:gd name="T24" fmla="*/ 1980 w 3593"/>
              <a:gd name="T25" fmla="*/ 2 h 795"/>
              <a:gd name="T26" fmla="*/ 1796 w 3593"/>
              <a:gd name="T27" fmla="*/ 0 h 795"/>
              <a:gd name="T28" fmla="*/ 1522 w 3593"/>
              <a:gd name="T29" fmla="*/ 4 h 795"/>
              <a:gd name="T30" fmla="*/ 1262 w 3593"/>
              <a:gd name="T31" fmla="*/ 17 h 795"/>
              <a:gd name="T32" fmla="*/ 1017 w 3593"/>
              <a:gd name="T33" fmla="*/ 39 h 795"/>
              <a:gd name="T34" fmla="*/ 792 w 3593"/>
              <a:gd name="T35" fmla="*/ 67 h 795"/>
              <a:gd name="T36" fmla="*/ 588 w 3593"/>
              <a:gd name="T37" fmla="*/ 103 h 795"/>
              <a:gd name="T38" fmla="*/ 409 w 3593"/>
              <a:gd name="T39" fmla="*/ 144 h 795"/>
              <a:gd name="T40" fmla="*/ 260 w 3593"/>
              <a:gd name="T41" fmla="*/ 191 h 795"/>
              <a:gd name="T42" fmla="*/ 141 w 3593"/>
              <a:gd name="T43" fmla="*/ 242 h 795"/>
              <a:gd name="T44" fmla="*/ 80 w 3593"/>
              <a:gd name="T45" fmla="*/ 279 h 795"/>
              <a:gd name="T46" fmla="*/ 45 w 3593"/>
              <a:gd name="T47" fmla="*/ 307 h 795"/>
              <a:gd name="T48" fmla="*/ 20 w 3593"/>
              <a:gd name="T49" fmla="*/ 337 h 795"/>
              <a:gd name="T50" fmla="*/ 5 w 3593"/>
              <a:gd name="T51" fmla="*/ 367 h 795"/>
              <a:gd name="T52" fmla="*/ 0 w 3593"/>
              <a:gd name="T53" fmla="*/ 398 h 795"/>
              <a:gd name="T54" fmla="*/ 2 w 3593"/>
              <a:gd name="T55" fmla="*/ 418 h 795"/>
              <a:gd name="T56" fmla="*/ 14 w 3593"/>
              <a:gd name="T57" fmla="*/ 448 h 795"/>
              <a:gd name="T58" fmla="*/ 36 w 3593"/>
              <a:gd name="T59" fmla="*/ 477 h 795"/>
              <a:gd name="T60" fmla="*/ 68 w 3593"/>
              <a:gd name="T61" fmla="*/ 507 h 795"/>
              <a:gd name="T62" fmla="*/ 108 w 3593"/>
              <a:gd name="T63" fmla="*/ 534 h 795"/>
              <a:gd name="T64" fmla="*/ 216 w 3593"/>
              <a:gd name="T65" fmla="*/ 587 h 795"/>
              <a:gd name="T66" fmla="*/ 357 w 3593"/>
              <a:gd name="T67" fmla="*/ 636 h 795"/>
              <a:gd name="T68" fmla="*/ 525 w 3593"/>
              <a:gd name="T69" fmla="*/ 678 h 795"/>
              <a:gd name="T70" fmla="*/ 721 w 3593"/>
              <a:gd name="T71" fmla="*/ 716 h 795"/>
              <a:gd name="T72" fmla="*/ 939 w 3593"/>
              <a:gd name="T73" fmla="*/ 747 h 795"/>
              <a:gd name="T74" fmla="*/ 1178 w 3593"/>
              <a:gd name="T75" fmla="*/ 771 h 795"/>
              <a:gd name="T76" fmla="*/ 1434 w 3593"/>
              <a:gd name="T77" fmla="*/ 787 h 795"/>
              <a:gd name="T78" fmla="*/ 1703 w 3593"/>
              <a:gd name="T79" fmla="*/ 794 h 795"/>
              <a:gd name="T80" fmla="*/ 1888 w 3593"/>
              <a:gd name="T81" fmla="*/ 794 h 795"/>
              <a:gd name="T82" fmla="*/ 2158 w 3593"/>
              <a:gd name="T83" fmla="*/ 787 h 795"/>
              <a:gd name="T84" fmla="*/ 2414 w 3593"/>
              <a:gd name="T85" fmla="*/ 771 h 795"/>
              <a:gd name="T86" fmla="*/ 2652 w 3593"/>
              <a:gd name="T87" fmla="*/ 747 h 795"/>
              <a:gd name="T88" fmla="*/ 2871 w 3593"/>
              <a:gd name="T89" fmla="*/ 716 h 795"/>
              <a:gd name="T90" fmla="*/ 3066 w 3593"/>
              <a:gd name="T91" fmla="*/ 678 h 795"/>
              <a:gd name="T92" fmla="*/ 3236 w 3593"/>
              <a:gd name="T93" fmla="*/ 636 h 795"/>
              <a:gd name="T94" fmla="*/ 3376 w 3593"/>
              <a:gd name="T95" fmla="*/ 587 h 795"/>
              <a:gd name="T96" fmla="*/ 3484 w 3593"/>
              <a:gd name="T97" fmla="*/ 534 h 795"/>
              <a:gd name="T98" fmla="*/ 3525 w 3593"/>
              <a:gd name="T99" fmla="*/ 507 h 795"/>
              <a:gd name="T100" fmla="*/ 3556 w 3593"/>
              <a:gd name="T101" fmla="*/ 477 h 795"/>
              <a:gd name="T102" fmla="*/ 3578 w 3593"/>
              <a:gd name="T103" fmla="*/ 448 h 795"/>
              <a:gd name="T104" fmla="*/ 3590 w 3593"/>
              <a:gd name="T105" fmla="*/ 418 h 795"/>
              <a:gd name="T106" fmla="*/ 3593 w 3593"/>
              <a:gd name="T107" fmla="*/ 398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93" h="795">
                <a:moveTo>
                  <a:pt x="3593" y="398"/>
                </a:moveTo>
                <a:lnTo>
                  <a:pt x="3593" y="398"/>
                </a:lnTo>
                <a:lnTo>
                  <a:pt x="3592" y="388"/>
                </a:lnTo>
                <a:lnTo>
                  <a:pt x="3590" y="377"/>
                </a:lnTo>
                <a:lnTo>
                  <a:pt x="3588" y="367"/>
                </a:lnTo>
                <a:lnTo>
                  <a:pt x="3584" y="357"/>
                </a:lnTo>
                <a:lnTo>
                  <a:pt x="3578" y="347"/>
                </a:lnTo>
                <a:lnTo>
                  <a:pt x="3571" y="337"/>
                </a:lnTo>
                <a:lnTo>
                  <a:pt x="3564" y="326"/>
                </a:lnTo>
                <a:lnTo>
                  <a:pt x="3556" y="317"/>
                </a:lnTo>
                <a:lnTo>
                  <a:pt x="3546" y="307"/>
                </a:lnTo>
                <a:lnTo>
                  <a:pt x="3536" y="298"/>
                </a:lnTo>
                <a:lnTo>
                  <a:pt x="3525" y="289"/>
                </a:lnTo>
                <a:lnTo>
                  <a:pt x="3511" y="279"/>
                </a:lnTo>
                <a:lnTo>
                  <a:pt x="3498" y="270"/>
                </a:lnTo>
                <a:lnTo>
                  <a:pt x="3484" y="260"/>
                </a:lnTo>
                <a:lnTo>
                  <a:pt x="3451" y="242"/>
                </a:lnTo>
                <a:lnTo>
                  <a:pt x="3416" y="225"/>
                </a:lnTo>
                <a:lnTo>
                  <a:pt x="3376" y="207"/>
                </a:lnTo>
                <a:lnTo>
                  <a:pt x="3332" y="191"/>
                </a:lnTo>
                <a:lnTo>
                  <a:pt x="3286" y="175"/>
                </a:lnTo>
                <a:lnTo>
                  <a:pt x="3236" y="160"/>
                </a:lnTo>
                <a:lnTo>
                  <a:pt x="3182" y="144"/>
                </a:lnTo>
                <a:lnTo>
                  <a:pt x="3126" y="130"/>
                </a:lnTo>
                <a:lnTo>
                  <a:pt x="3066" y="116"/>
                </a:lnTo>
                <a:lnTo>
                  <a:pt x="3004" y="103"/>
                </a:lnTo>
                <a:lnTo>
                  <a:pt x="2939" y="90"/>
                </a:lnTo>
                <a:lnTo>
                  <a:pt x="2871" y="78"/>
                </a:lnTo>
                <a:lnTo>
                  <a:pt x="2800" y="67"/>
                </a:lnTo>
                <a:lnTo>
                  <a:pt x="2727" y="57"/>
                </a:lnTo>
                <a:lnTo>
                  <a:pt x="2652" y="48"/>
                </a:lnTo>
                <a:lnTo>
                  <a:pt x="2575" y="39"/>
                </a:lnTo>
                <a:lnTo>
                  <a:pt x="2495" y="30"/>
                </a:lnTo>
                <a:lnTo>
                  <a:pt x="2414" y="23"/>
                </a:lnTo>
                <a:lnTo>
                  <a:pt x="2331" y="17"/>
                </a:lnTo>
                <a:lnTo>
                  <a:pt x="2245" y="12"/>
                </a:lnTo>
                <a:lnTo>
                  <a:pt x="2158" y="8"/>
                </a:lnTo>
                <a:lnTo>
                  <a:pt x="2069" y="4"/>
                </a:lnTo>
                <a:lnTo>
                  <a:pt x="1980" y="2"/>
                </a:lnTo>
                <a:lnTo>
                  <a:pt x="1888" y="0"/>
                </a:lnTo>
                <a:lnTo>
                  <a:pt x="1796" y="0"/>
                </a:lnTo>
                <a:lnTo>
                  <a:pt x="1796" y="0"/>
                </a:lnTo>
                <a:lnTo>
                  <a:pt x="1703" y="0"/>
                </a:lnTo>
                <a:lnTo>
                  <a:pt x="1613" y="2"/>
                </a:lnTo>
                <a:lnTo>
                  <a:pt x="1522" y="4"/>
                </a:lnTo>
                <a:lnTo>
                  <a:pt x="1434" y="8"/>
                </a:lnTo>
                <a:lnTo>
                  <a:pt x="1347" y="12"/>
                </a:lnTo>
                <a:lnTo>
                  <a:pt x="1262" y="17"/>
                </a:lnTo>
                <a:lnTo>
                  <a:pt x="1178" y="23"/>
                </a:lnTo>
                <a:lnTo>
                  <a:pt x="1097" y="30"/>
                </a:lnTo>
                <a:lnTo>
                  <a:pt x="1017" y="39"/>
                </a:lnTo>
                <a:lnTo>
                  <a:pt x="939" y="48"/>
                </a:lnTo>
                <a:lnTo>
                  <a:pt x="864" y="57"/>
                </a:lnTo>
                <a:lnTo>
                  <a:pt x="792" y="67"/>
                </a:lnTo>
                <a:lnTo>
                  <a:pt x="721" y="78"/>
                </a:lnTo>
                <a:lnTo>
                  <a:pt x="654" y="90"/>
                </a:lnTo>
                <a:lnTo>
                  <a:pt x="588" y="103"/>
                </a:lnTo>
                <a:lnTo>
                  <a:pt x="525" y="116"/>
                </a:lnTo>
                <a:lnTo>
                  <a:pt x="466" y="130"/>
                </a:lnTo>
                <a:lnTo>
                  <a:pt x="409" y="144"/>
                </a:lnTo>
                <a:lnTo>
                  <a:pt x="357" y="160"/>
                </a:lnTo>
                <a:lnTo>
                  <a:pt x="307" y="175"/>
                </a:lnTo>
                <a:lnTo>
                  <a:pt x="260" y="191"/>
                </a:lnTo>
                <a:lnTo>
                  <a:pt x="216" y="207"/>
                </a:lnTo>
                <a:lnTo>
                  <a:pt x="177" y="225"/>
                </a:lnTo>
                <a:lnTo>
                  <a:pt x="141" y="242"/>
                </a:lnTo>
                <a:lnTo>
                  <a:pt x="108" y="260"/>
                </a:lnTo>
                <a:lnTo>
                  <a:pt x="94" y="270"/>
                </a:lnTo>
                <a:lnTo>
                  <a:pt x="80" y="279"/>
                </a:lnTo>
                <a:lnTo>
                  <a:pt x="68" y="289"/>
                </a:lnTo>
                <a:lnTo>
                  <a:pt x="56" y="298"/>
                </a:lnTo>
                <a:lnTo>
                  <a:pt x="45" y="307"/>
                </a:lnTo>
                <a:lnTo>
                  <a:pt x="36" y="317"/>
                </a:lnTo>
                <a:lnTo>
                  <a:pt x="27" y="326"/>
                </a:lnTo>
                <a:lnTo>
                  <a:pt x="20" y="337"/>
                </a:lnTo>
                <a:lnTo>
                  <a:pt x="14" y="347"/>
                </a:lnTo>
                <a:lnTo>
                  <a:pt x="9" y="357"/>
                </a:lnTo>
                <a:lnTo>
                  <a:pt x="5" y="367"/>
                </a:lnTo>
                <a:lnTo>
                  <a:pt x="2" y="377"/>
                </a:lnTo>
                <a:lnTo>
                  <a:pt x="0" y="388"/>
                </a:lnTo>
                <a:lnTo>
                  <a:pt x="0" y="398"/>
                </a:lnTo>
                <a:lnTo>
                  <a:pt x="0" y="398"/>
                </a:lnTo>
                <a:lnTo>
                  <a:pt x="0" y="408"/>
                </a:lnTo>
                <a:lnTo>
                  <a:pt x="2" y="418"/>
                </a:lnTo>
                <a:lnTo>
                  <a:pt x="5" y="428"/>
                </a:lnTo>
                <a:lnTo>
                  <a:pt x="9" y="438"/>
                </a:lnTo>
                <a:lnTo>
                  <a:pt x="14" y="448"/>
                </a:lnTo>
                <a:lnTo>
                  <a:pt x="20" y="458"/>
                </a:lnTo>
                <a:lnTo>
                  <a:pt x="27" y="468"/>
                </a:lnTo>
                <a:lnTo>
                  <a:pt x="36" y="477"/>
                </a:lnTo>
                <a:lnTo>
                  <a:pt x="45" y="487"/>
                </a:lnTo>
                <a:lnTo>
                  <a:pt x="56" y="496"/>
                </a:lnTo>
                <a:lnTo>
                  <a:pt x="68" y="507"/>
                </a:lnTo>
                <a:lnTo>
                  <a:pt x="80" y="516"/>
                </a:lnTo>
                <a:lnTo>
                  <a:pt x="94" y="525"/>
                </a:lnTo>
                <a:lnTo>
                  <a:pt x="108" y="534"/>
                </a:lnTo>
                <a:lnTo>
                  <a:pt x="141" y="552"/>
                </a:lnTo>
                <a:lnTo>
                  <a:pt x="177" y="570"/>
                </a:lnTo>
                <a:lnTo>
                  <a:pt x="216" y="587"/>
                </a:lnTo>
                <a:lnTo>
                  <a:pt x="260" y="603"/>
                </a:lnTo>
                <a:lnTo>
                  <a:pt x="307" y="619"/>
                </a:lnTo>
                <a:lnTo>
                  <a:pt x="357" y="636"/>
                </a:lnTo>
                <a:lnTo>
                  <a:pt x="409" y="650"/>
                </a:lnTo>
                <a:lnTo>
                  <a:pt x="466" y="665"/>
                </a:lnTo>
                <a:lnTo>
                  <a:pt x="525" y="678"/>
                </a:lnTo>
                <a:lnTo>
                  <a:pt x="588" y="692"/>
                </a:lnTo>
                <a:lnTo>
                  <a:pt x="654" y="704"/>
                </a:lnTo>
                <a:lnTo>
                  <a:pt x="721" y="716"/>
                </a:lnTo>
                <a:lnTo>
                  <a:pt x="792" y="727"/>
                </a:lnTo>
                <a:lnTo>
                  <a:pt x="864" y="737"/>
                </a:lnTo>
                <a:lnTo>
                  <a:pt x="939" y="747"/>
                </a:lnTo>
                <a:lnTo>
                  <a:pt x="1017" y="756"/>
                </a:lnTo>
                <a:lnTo>
                  <a:pt x="1097" y="764"/>
                </a:lnTo>
                <a:lnTo>
                  <a:pt x="1178" y="771"/>
                </a:lnTo>
                <a:lnTo>
                  <a:pt x="1262" y="777"/>
                </a:lnTo>
                <a:lnTo>
                  <a:pt x="1347" y="782"/>
                </a:lnTo>
                <a:lnTo>
                  <a:pt x="1434" y="787"/>
                </a:lnTo>
                <a:lnTo>
                  <a:pt x="1522" y="790"/>
                </a:lnTo>
                <a:lnTo>
                  <a:pt x="1613" y="793"/>
                </a:lnTo>
                <a:lnTo>
                  <a:pt x="1703" y="794"/>
                </a:lnTo>
                <a:lnTo>
                  <a:pt x="1796" y="795"/>
                </a:lnTo>
                <a:lnTo>
                  <a:pt x="1796" y="795"/>
                </a:lnTo>
                <a:lnTo>
                  <a:pt x="1888" y="794"/>
                </a:lnTo>
                <a:lnTo>
                  <a:pt x="1980" y="793"/>
                </a:lnTo>
                <a:lnTo>
                  <a:pt x="2069" y="790"/>
                </a:lnTo>
                <a:lnTo>
                  <a:pt x="2158" y="787"/>
                </a:lnTo>
                <a:lnTo>
                  <a:pt x="2245" y="782"/>
                </a:lnTo>
                <a:lnTo>
                  <a:pt x="2331" y="777"/>
                </a:lnTo>
                <a:lnTo>
                  <a:pt x="2414" y="771"/>
                </a:lnTo>
                <a:lnTo>
                  <a:pt x="2495" y="764"/>
                </a:lnTo>
                <a:lnTo>
                  <a:pt x="2575" y="756"/>
                </a:lnTo>
                <a:lnTo>
                  <a:pt x="2652" y="747"/>
                </a:lnTo>
                <a:lnTo>
                  <a:pt x="2727" y="737"/>
                </a:lnTo>
                <a:lnTo>
                  <a:pt x="2800" y="727"/>
                </a:lnTo>
                <a:lnTo>
                  <a:pt x="2871" y="716"/>
                </a:lnTo>
                <a:lnTo>
                  <a:pt x="2939" y="704"/>
                </a:lnTo>
                <a:lnTo>
                  <a:pt x="3004" y="692"/>
                </a:lnTo>
                <a:lnTo>
                  <a:pt x="3066" y="678"/>
                </a:lnTo>
                <a:lnTo>
                  <a:pt x="3126" y="665"/>
                </a:lnTo>
                <a:lnTo>
                  <a:pt x="3182" y="650"/>
                </a:lnTo>
                <a:lnTo>
                  <a:pt x="3236" y="636"/>
                </a:lnTo>
                <a:lnTo>
                  <a:pt x="3286" y="619"/>
                </a:lnTo>
                <a:lnTo>
                  <a:pt x="3332" y="603"/>
                </a:lnTo>
                <a:lnTo>
                  <a:pt x="3376" y="587"/>
                </a:lnTo>
                <a:lnTo>
                  <a:pt x="3416" y="570"/>
                </a:lnTo>
                <a:lnTo>
                  <a:pt x="3451" y="552"/>
                </a:lnTo>
                <a:lnTo>
                  <a:pt x="3484" y="534"/>
                </a:lnTo>
                <a:lnTo>
                  <a:pt x="3498" y="525"/>
                </a:lnTo>
                <a:lnTo>
                  <a:pt x="3511" y="516"/>
                </a:lnTo>
                <a:lnTo>
                  <a:pt x="3525" y="507"/>
                </a:lnTo>
                <a:lnTo>
                  <a:pt x="3536" y="496"/>
                </a:lnTo>
                <a:lnTo>
                  <a:pt x="3546" y="487"/>
                </a:lnTo>
                <a:lnTo>
                  <a:pt x="3556" y="477"/>
                </a:lnTo>
                <a:lnTo>
                  <a:pt x="3564" y="468"/>
                </a:lnTo>
                <a:lnTo>
                  <a:pt x="3571" y="458"/>
                </a:lnTo>
                <a:lnTo>
                  <a:pt x="3578" y="448"/>
                </a:lnTo>
                <a:lnTo>
                  <a:pt x="3584" y="438"/>
                </a:lnTo>
                <a:lnTo>
                  <a:pt x="3588" y="428"/>
                </a:lnTo>
                <a:lnTo>
                  <a:pt x="3590" y="418"/>
                </a:lnTo>
                <a:lnTo>
                  <a:pt x="3592" y="408"/>
                </a:lnTo>
                <a:lnTo>
                  <a:pt x="3593" y="398"/>
                </a:lnTo>
                <a:lnTo>
                  <a:pt x="3593" y="398"/>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710" name="Group 3709"/>
          <p:cNvGrpSpPr>
            <a:grpSpLocks noChangeAspect="1"/>
          </p:cNvGrpSpPr>
          <p:nvPr/>
        </p:nvGrpSpPr>
        <p:grpSpPr>
          <a:xfrm>
            <a:off x="10857660" y="5836861"/>
            <a:ext cx="110323" cy="90776"/>
            <a:chOff x="6074941" y="3589634"/>
            <a:chExt cx="586475" cy="398816"/>
          </a:xfrm>
          <a:solidFill>
            <a:schemeClr val="accent5"/>
          </a:solidFill>
        </p:grpSpPr>
        <p:sp>
          <p:nvSpPr>
            <p:cNvPr id="3711" name="Freeform 30"/>
            <p:cNvSpPr>
              <a:spLocks/>
            </p:cNvSpPr>
            <p:nvPr/>
          </p:nvSpPr>
          <p:spPr bwMode="auto">
            <a:xfrm>
              <a:off x="6074941" y="3926945"/>
              <a:ext cx="586475" cy="61505"/>
            </a:xfrm>
            <a:custGeom>
              <a:avLst/>
              <a:gdLst>
                <a:gd name="T0" fmla="*/ 400 w 400"/>
                <a:gd name="T1" fmla="*/ 0 h 42"/>
                <a:gd name="T2" fmla="*/ 0 w 400"/>
                <a:gd name="T3" fmla="*/ 0 h 42"/>
                <a:gd name="T4" fmla="*/ 40 w 400"/>
                <a:gd name="T5" fmla="*/ 42 h 42"/>
                <a:gd name="T6" fmla="*/ 360 w 400"/>
                <a:gd name="T7" fmla="*/ 42 h 42"/>
                <a:gd name="T8" fmla="*/ 400 w 400"/>
                <a:gd name="T9" fmla="*/ 0 h 42"/>
              </a:gdLst>
              <a:ahLst/>
              <a:cxnLst>
                <a:cxn ang="0">
                  <a:pos x="T0" y="T1"/>
                </a:cxn>
                <a:cxn ang="0">
                  <a:pos x="T2" y="T3"/>
                </a:cxn>
                <a:cxn ang="0">
                  <a:pos x="T4" y="T5"/>
                </a:cxn>
                <a:cxn ang="0">
                  <a:pos x="T6" y="T7"/>
                </a:cxn>
                <a:cxn ang="0">
                  <a:pos x="T8" y="T9"/>
                </a:cxn>
              </a:cxnLst>
              <a:rect l="0" t="0" r="r" b="b"/>
              <a:pathLst>
                <a:path w="400" h="42">
                  <a:moveTo>
                    <a:pt x="400" y="0"/>
                  </a:moveTo>
                  <a:cubicBezTo>
                    <a:pt x="0" y="0"/>
                    <a:pt x="0" y="0"/>
                    <a:pt x="0" y="0"/>
                  </a:cubicBezTo>
                  <a:cubicBezTo>
                    <a:pt x="0" y="29"/>
                    <a:pt x="22" y="42"/>
                    <a:pt x="40" y="42"/>
                  </a:cubicBezTo>
                  <a:cubicBezTo>
                    <a:pt x="360" y="42"/>
                    <a:pt x="360" y="42"/>
                    <a:pt x="360" y="42"/>
                  </a:cubicBezTo>
                  <a:cubicBezTo>
                    <a:pt x="381" y="42"/>
                    <a:pt x="400" y="26"/>
                    <a:pt x="4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12" name="Freeform 31"/>
            <p:cNvSpPr>
              <a:spLocks noEditPoints="1"/>
            </p:cNvSpPr>
            <p:nvPr/>
          </p:nvSpPr>
          <p:spPr bwMode="auto">
            <a:xfrm>
              <a:off x="6199817" y="3589634"/>
              <a:ext cx="449800" cy="284542"/>
            </a:xfrm>
            <a:custGeom>
              <a:avLst/>
              <a:gdLst>
                <a:gd name="T0" fmla="*/ 239 w 307"/>
                <a:gd name="T1" fmla="*/ 0 h 194"/>
                <a:gd name="T2" fmla="*/ 0 w 307"/>
                <a:gd name="T3" fmla="*/ 0 h 194"/>
                <a:gd name="T4" fmla="*/ 0 w 307"/>
                <a:gd name="T5" fmla="*/ 156 h 194"/>
                <a:gd name="T6" fmla="*/ 38 w 307"/>
                <a:gd name="T7" fmla="*/ 194 h 194"/>
                <a:gd name="T8" fmla="*/ 193 w 307"/>
                <a:gd name="T9" fmla="*/ 194 h 194"/>
                <a:gd name="T10" fmla="*/ 231 w 307"/>
                <a:gd name="T11" fmla="*/ 156 h 194"/>
                <a:gd name="T12" fmla="*/ 231 w 307"/>
                <a:gd name="T13" fmla="*/ 143 h 194"/>
                <a:gd name="T14" fmla="*/ 307 w 307"/>
                <a:gd name="T15" fmla="*/ 71 h 194"/>
                <a:gd name="T16" fmla="*/ 239 w 307"/>
                <a:gd name="T17" fmla="*/ 0 h 194"/>
                <a:gd name="T18" fmla="*/ 231 w 307"/>
                <a:gd name="T19" fmla="*/ 113 h 194"/>
                <a:gd name="T20" fmla="*/ 231 w 307"/>
                <a:gd name="T21" fmla="*/ 29 h 194"/>
                <a:gd name="T22" fmla="*/ 239 w 307"/>
                <a:gd name="T23" fmla="*/ 29 h 194"/>
                <a:gd name="T24" fmla="*/ 279 w 307"/>
                <a:gd name="T25" fmla="*/ 72 h 194"/>
                <a:gd name="T26" fmla="*/ 231 w 307"/>
                <a:gd name="T27" fmla="*/ 11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194">
                  <a:moveTo>
                    <a:pt x="239" y="0"/>
                  </a:moveTo>
                  <a:cubicBezTo>
                    <a:pt x="0" y="0"/>
                    <a:pt x="0" y="0"/>
                    <a:pt x="0" y="0"/>
                  </a:cubicBezTo>
                  <a:cubicBezTo>
                    <a:pt x="0" y="156"/>
                    <a:pt x="0" y="156"/>
                    <a:pt x="0" y="156"/>
                  </a:cubicBezTo>
                  <a:cubicBezTo>
                    <a:pt x="0" y="177"/>
                    <a:pt x="19" y="194"/>
                    <a:pt x="38" y="194"/>
                  </a:cubicBezTo>
                  <a:cubicBezTo>
                    <a:pt x="193" y="194"/>
                    <a:pt x="193" y="194"/>
                    <a:pt x="193" y="194"/>
                  </a:cubicBezTo>
                  <a:cubicBezTo>
                    <a:pt x="216" y="194"/>
                    <a:pt x="231" y="176"/>
                    <a:pt x="231" y="156"/>
                  </a:cubicBezTo>
                  <a:cubicBezTo>
                    <a:pt x="231" y="143"/>
                    <a:pt x="231" y="143"/>
                    <a:pt x="231" y="143"/>
                  </a:cubicBezTo>
                  <a:cubicBezTo>
                    <a:pt x="275" y="143"/>
                    <a:pt x="307" y="110"/>
                    <a:pt x="307" y="71"/>
                  </a:cubicBezTo>
                  <a:cubicBezTo>
                    <a:pt x="307" y="32"/>
                    <a:pt x="276" y="0"/>
                    <a:pt x="239" y="0"/>
                  </a:cubicBezTo>
                  <a:close/>
                  <a:moveTo>
                    <a:pt x="231" y="113"/>
                  </a:moveTo>
                  <a:cubicBezTo>
                    <a:pt x="231" y="29"/>
                    <a:pt x="231" y="29"/>
                    <a:pt x="231" y="29"/>
                  </a:cubicBezTo>
                  <a:cubicBezTo>
                    <a:pt x="239" y="29"/>
                    <a:pt x="239" y="29"/>
                    <a:pt x="239" y="29"/>
                  </a:cubicBezTo>
                  <a:cubicBezTo>
                    <a:pt x="269" y="29"/>
                    <a:pt x="279" y="58"/>
                    <a:pt x="279" y="72"/>
                  </a:cubicBezTo>
                  <a:cubicBezTo>
                    <a:pt x="279" y="94"/>
                    <a:pt x="262" y="115"/>
                    <a:pt x="23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713" name="Group 3712"/>
          <p:cNvGrpSpPr>
            <a:grpSpLocks noChangeAspect="1"/>
          </p:cNvGrpSpPr>
          <p:nvPr/>
        </p:nvGrpSpPr>
        <p:grpSpPr>
          <a:xfrm>
            <a:off x="11171983" y="5842147"/>
            <a:ext cx="117786" cy="96919"/>
            <a:chOff x="6074941" y="3589634"/>
            <a:chExt cx="586475" cy="398816"/>
          </a:xfrm>
          <a:solidFill>
            <a:schemeClr val="accent5"/>
          </a:solidFill>
        </p:grpSpPr>
        <p:sp>
          <p:nvSpPr>
            <p:cNvPr id="3714" name="Freeform 30"/>
            <p:cNvSpPr>
              <a:spLocks/>
            </p:cNvSpPr>
            <p:nvPr/>
          </p:nvSpPr>
          <p:spPr bwMode="auto">
            <a:xfrm>
              <a:off x="6074941" y="3926945"/>
              <a:ext cx="586475" cy="61505"/>
            </a:xfrm>
            <a:custGeom>
              <a:avLst/>
              <a:gdLst>
                <a:gd name="T0" fmla="*/ 400 w 400"/>
                <a:gd name="T1" fmla="*/ 0 h 42"/>
                <a:gd name="T2" fmla="*/ 0 w 400"/>
                <a:gd name="T3" fmla="*/ 0 h 42"/>
                <a:gd name="T4" fmla="*/ 40 w 400"/>
                <a:gd name="T5" fmla="*/ 42 h 42"/>
                <a:gd name="T6" fmla="*/ 360 w 400"/>
                <a:gd name="T7" fmla="*/ 42 h 42"/>
                <a:gd name="T8" fmla="*/ 400 w 400"/>
                <a:gd name="T9" fmla="*/ 0 h 42"/>
              </a:gdLst>
              <a:ahLst/>
              <a:cxnLst>
                <a:cxn ang="0">
                  <a:pos x="T0" y="T1"/>
                </a:cxn>
                <a:cxn ang="0">
                  <a:pos x="T2" y="T3"/>
                </a:cxn>
                <a:cxn ang="0">
                  <a:pos x="T4" y="T5"/>
                </a:cxn>
                <a:cxn ang="0">
                  <a:pos x="T6" y="T7"/>
                </a:cxn>
                <a:cxn ang="0">
                  <a:pos x="T8" y="T9"/>
                </a:cxn>
              </a:cxnLst>
              <a:rect l="0" t="0" r="r" b="b"/>
              <a:pathLst>
                <a:path w="400" h="42">
                  <a:moveTo>
                    <a:pt x="400" y="0"/>
                  </a:moveTo>
                  <a:cubicBezTo>
                    <a:pt x="0" y="0"/>
                    <a:pt x="0" y="0"/>
                    <a:pt x="0" y="0"/>
                  </a:cubicBezTo>
                  <a:cubicBezTo>
                    <a:pt x="0" y="29"/>
                    <a:pt x="22" y="42"/>
                    <a:pt x="40" y="42"/>
                  </a:cubicBezTo>
                  <a:cubicBezTo>
                    <a:pt x="360" y="42"/>
                    <a:pt x="360" y="42"/>
                    <a:pt x="360" y="42"/>
                  </a:cubicBezTo>
                  <a:cubicBezTo>
                    <a:pt x="381" y="42"/>
                    <a:pt x="400" y="26"/>
                    <a:pt x="4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15" name="Freeform 31"/>
            <p:cNvSpPr>
              <a:spLocks noEditPoints="1"/>
            </p:cNvSpPr>
            <p:nvPr/>
          </p:nvSpPr>
          <p:spPr bwMode="auto">
            <a:xfrm>
              <a:off x="6199817" y="3589634"/>
              <a:ext cx="449800" cy="284542"/>
            </a:xfrm>
            <a:custGeom>
              <a:avLst/>
              <a:gdLst>
                <a:gd name="T0" fmla="*/ 239 w 307"/>
                <a:gd name="T1" fmla="*/ 0 h 194"/>
                <a:gd name="T2" fmla="*/ 0 w 307"/>
                <a:gd name="T3" fmla="*/ 0 h 194"/>
                <a:gd name="T4" fmla="*/ 0 w 307"/>
                <a:gd name="T5" fmla="*/ 156 h 194"/>
                <a:gd name="T6" fmla="*/ 38 w 307"/>
                <a:gd name="T7" fmla="*/ 194 h 194"/>
                <a:gd name="T8" fmla="*/ 193 w 307"/>
                <a:gd name="T9" fmla="*/ 194 h 194"/>
                <a:gd name="T10" fmla="*/ 231 w 307"/>
                <a:gd name="T11" fmla="*/ 156 h 194"/>
                <a:gd name="T12" fmla="*/ 231 w 307"/>
                <a:gd name="T13" fmla="*/ 143 h 194"/>
                <a:gd name="T14" fmla="*/ 307 w 307"/>
                <a:gd name="T15" fmla="*/ 71 h 194"/>
                <a:gd name="T16" fmla="*/ 239 w 307"/>
                <a:gd name="T17" fmla="*/ 0 h 194"/>
                <a:gd name="T18" fmla="*/ 231 w 307"/>
                <a:gd name="T19" fmla="*/ 113 h 194"/>
                <a:gd name="T20" fmla="*/ 231 w 307"/>
                <a:gd name="T21" fmla="*/ 29 h 194"/>
                <a:gd name="T22" fmla="*/ 239 w 307"/>
                <a:gd name="T23" fmla="*/ 29 h 194"/>
                <a:gd name="T24" fmla="*/ 279 w 307"/>
                <a:gd name="T25" fmla="*/ 72 h 194"/>
                <a:gd name="T26" fmla="*/ 231 w 307"/>
                <a:gd name="T27" fmla="*/ 11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194">
                  <a:moveTo>
                    <a:pt x="239" y="0"/>
                  </a:moveTo>
                  <a:cubicBezTo>
                    <a:pt x="0" y="0"/>
                    <a:pt x="0" y="0"/>
                    <a:pt x="0" y="0"/>
                  </a:cubicBezTo>
                  <a:cubicBezTo>
                    <a:pt x="0" y="156"/>
                    <a:pt x="0" y="156"/>
                    <a:pt x="0" y="156"/>
                  </a:cubicBezTo>
                  <a:cubicBezTo>
                    <a:pt x="0" y="177"/>
                    <a:pt x="19" y="194"/>
                    <a:pt x="38" y="194"/>
                  </a:cubicBezTo>
                  <a:cubicBezTo>
                    <a:pt x="193" y="194"/>
                    <a:pt x="193" y="194"/>
                    <a:pt x="193" y="194"/>
                  </a:cubicBezTo>
                  <a:cubicBezTo>
                    <a:pt x="216" y="194"/>
                    <a:pt x="231" y="176"/>
                    <a:pt x="231" y="156"/>
                  </a:cubicBezTo>
                  <a:cubicBezTo>
                    <a:pt x="231" y="143"/>
                    <a:pt x="231" y="143"/>
                    <a:pt x="231" y="143"/>
                  </a:cubicBezTo>
                  <a:cubicBezTo>
                    <a:pt x="275" y="143"/>
                    <a:pt x="307" y="110"/>
                    <a:pt x="307" y="71"/>
                  </a:cubicBezTo>
                  <a:cubicBezTo>
                    <a:pt x="307" y="32"/>
                    <a:pt x="276" y="0"/>
                    <a:pt x="239" y="0"/>
                  </a:cubicBezTo>
                  <a:close/>
                  <a:moveTo>
                    <a:pt x="231" y="113"/>
                  </a:moveTo>
                  <a:cubicBezTo>
                    <a:pt x="231" y="29"/>
                    <a:pt x="231" y="29"/>
                    <a:pt x="231" y="29"/>
                  </a:cubicBezTo>
                  <a:cubicBezTo>
                    <a:pt x="239" y="29"/>
                    <a:pt x="239" y="29"/>
                    <a:pt x="239" y="29"/>
                  </a:cubicBezTo>
                  <a:cubicBezTo>
                    <a:pt x="269" y="29"/>
                    <a:pt x="279" y="58"/>
                    <a:pt x="279" y="72"/>
                  </a:cubicBezTo>
                  <a:cubicBezTo>
                    <a:pt x="279" y="94"/>
                    <a:pt x="262" y="115"/>
                    <a:pt x="23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639" name="Freeform 2393"/>
          <p:cNvSpPr>
            <a:spLocks/>
          </p:cNvSpPr>
          <p:nvPr/>
        </p:nvSpPr>
        <p:spPr bwMode="auto">
          <a:xfrm>
            <a:off x="10572752" y="5919788"/>
            <a:ext cx="950913" cy="153988"/>
          </a:xfrm>
          <a:custGeom>
            <a:avLst/>
            <a:gdLst>
              <a:gd name="T0" fmla="*/ 1703 w 3593"/>
              <a:gd name="T1" fmla="*/ 396 h 582"/>
              <a:gd name="T2" fmla="*/ 1434 w 3593"/>
              <a:gd name="T3" fmla="*/ 389 h 582"/>
              <a:gd name="T4" fmla="*/ 1178 w 3593"/>
              <a:gd name="T5" fmla="*/ 373 h 582"/>
              <a:gd name="T6" fmla="*/ 939 w 3593"/>
              <a:gd name="T7" fmla="*/ 349 h 582"/>
              <a:gd name="T8" fmla="*/ 721 w 3593"/>
              <a:gd name="T9" fmla="*/ 318 h 582"/>
              <a:gd name="T10" fmla="*/ 525 w 3593"/>
              <a:gd name="T11" fmla="*/ 280 h 582"/>
              <a:gd name="T12" fmla="*/ 357 w 3593"/>
              <a:gd name="T13" fmla="*/ 238 h 582"/>
              <a:gd name="T14" fmla="*/ 216 w 3593"/>
              <a:gd name="T15" fmla="*/ 189 h 582"/>
              <a:gd name="T16" fmla="*/ 108 w 3593"/>
              <a:gd name="T17" fmla="*/ 136 h 582"/>
              <a:gd name="T18" fmla="*/ 68 w 3593"/>
              <a:gd name="T19" fmla="*/ 109 h 582"/>
              <a:gd name="T20" fmla="*/ 36 w 3593"/>
              <a:gd name="T21" fmla="*/ 79 h 582"/>
              <a:gd name="T22" fmla="*/ 14 w 3593"/>
              <a:gd name="T23" fmla="*/ 50 h 582"/>
              <a:gd name="T24" fmla="*/ 2 w 3593"/>
              <a:gd name="T25" fmla="*/ 20 h 582"/>
              <a:gd name="T26" fmla="*/ 0 w 3593"/>
              <a:gd name="T27" fmla="*/ 0 h 582"/>
              <a:gd name="T28" fmla="*/ 0 w 3593"/>
              <a:gd name="T29" fmla="*/ 194 h 582"/>
              <a:gd name="T30" fmla="*/ 9 w 3593"/>
              <a:gd name="T31" fmla="*/ 225 h 582"/>
              <a:gd name="T32" fmla="*/ 27 w 3593"/>
              <a:gd name="T33" fmla="*/ 254 h 582"/>
              <a:gd name="T34" fmla="*/ 56 w 3593"/>
              <a:gd name="T35" fmla="*/ 284 h 582"/>
              <a:gd name="T36" fmla="*/ 94 w 3593"/>
              <a:gd name="T37" fmla="*/ 312 h 582"/>
              <a:gd name="T38" fmla="*/ 177 w 3593"/>
              <a:gd name="T39" fmla="*/ 357 h 582"/>
              <a:gd name="T40" fmla="*/ 307 w 3593"/>
              <a:gd name="T41" fmla="*/ 407 h 582"/>
              <a:gd name="T42" fmla="*/ 466 w 3593"/>
              <a:gd name="T43" fmla="*/ 451 h 582"/>
              <a:gd name="T44" fmla="*/ 654 w 3593"/>
              <a:gd name="T45" fmla="*/ 491 h 582"/>
              <a:gd name="T46" fmla="*/ 864 w 3593"/>
              <a:gd name="T47" fmla="*/ 525 h 582"/>
              <a:gd name="T48" fmla="*/ 1097 w 3593"/>
              <a:gd name="T49" fmla="*/ 550 h 582"/>
              <a:gd name="T50" fmla="*/ 1347 w 3593"/>
              <a:gd name="T51" fmla="*/ 569 h 582"/>
              <a:gd name="T52" fmla="*/ 1613 w 3593"/>
              <a:gd name="T53" fmla="*/ 580 h 582"/>
              <a:gd name="T54" fmla="*/ 1796 w 3593"/>
              <a:gd name="T55" fmla="*/ 582 h 582"/>
              <a:gd name="T56" fmla="*/ 2069 w 3593"/>
              <a:gd name="T57" fmla="*/ 578 h 582"/>
              <a:gd name="T58" fmla="*/ 2331 w 3593"/>
              <a:gd name="T59" fmla="*/ 564 h 582"/>
              <a:gd name="T60" fmla="*/ 2575 w 3593"/>
              <a:gd name="T61" fmla="*/ 543 h 582"/>
              <a:gd name="T62" fmla="*/ 2800 w 3593"/>
              <a:gd name="T63" fmla="*/ 513 h 582"/>
              <a:gd name="T64" fmla="*/ 3004 w 3593"/>
              <a:gd name="T65" fmla="*/ 479 h 582"/>
              <a:gd name="T66" fmla="*/ 3182 w 3593"/>
              <a:gd name="T67" fmla="*/ 437 h 582"/>
              <a:gd name="T68" fmla="*/ 3332 w 3593"/>
              <a:gd name="T69" fmla="*/ 390 h 582"/>
              <a:gd name="T70" fmla="*/ 3451 w 3593"/>
              <a:gd name="T71" fmla="*/ 338 h 582"/>
              <a:gd name="T72" fmla="*/ 3511 w 3593"/>
              <a:gd name="T73" fmla="*/ 302 h 582"/>
              <a:gd name="T74" fmla="*/ 3546 w 3593"/>
              <a:gd name="T75" fmla="*/ 273 h 582"/>
              <a:gd name="T76" fmla="*/ 3571 w 3593"/>
              <a:gd name="T77" fmla="*/ 245 h 582"/>
              <a:gd name="T78" fmla="*/ 3588 w 3593"/>
              <a:gd name="T79" fmla="*/ 214 h 582"/>
              <a:gd name="T80" fmla="*/ 3593 w 3593"/>
              <a:gd name="T81" fmla="*/ 184 h 582"/>
              <a:gd name="T82" fmla="*/ 3593 w 3593"/>
              <a:gd name="T83" fmla="*/ 0 h 582"/>
              <a:gd name="T84" fmla="*/ 3588 w 3593"/>
              <a:gd name="T85" fmla="*/ 30 h 582"/>
              <a:gd name="T86" fmla="*/ 3571 w 3593"/>
              <a:gd name="T87" fmla="*/ 60 h 582"/>
              <a:gd name="T88" fmla="*/ 3546 w 3593"/>
              <a:gd name="T89" fmla="*/ 89 h 582"/>
              <a:gd name="T90" fmla="*/ 3511 w 3593"/>
              <a:gd name="T91" fmla="*/ 118 h 582"/>
              <a:gd name="T92" fmla="*/ 3451 w 3593"/>
              <a:gd name="T93" fmla="*/ 154 h 582"/>
              <a:gd name="T94" fmla="*/ 3332 w 3593"/>
              <a:gd name="T95" fmla="*/ 205 h 582"/>
              <a:gd name="T96" fmla="*/ 3182 w 3593"/>
              <a:gd name="T97" fmla="*/ 252 h 582"/>
              <a:gd name="T98" fmla="*/ 3004 w 3593"/>
              <a:gd name="T99" fmla="*/ 294 h 582"/>
              <a:gd name="T100" fmla="*/ 2800 w 3593"/>
              <a:gd name="T101" fmla="*/ 329 h 582"/>
              <a:gd name="T102" fmla="*/ 2575 w 3593"/>
              <a:gd name="T103" fmla="*/ 358 h 582"/>
              <a:gd name="T104" fmla="*/ 2331 w 3593"/>
              <a:gd name="T105" fmla="*/ 379 h 582"/>
              <a:gd name="T106" fmla="*/ 2069 w 3593"/>
              <a:gd name="T107" fmla="*/ 392 h 582"/>
              <a:gd name="T108" fmla="*/ 1796 w 3593"/>
              <a:gd name="T109" fmla="*/ 397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93" h="582">
                <a:moveTo>
                  <a:pt x="1796" y="397"/>
                </a:moveTo>
                <a:lnTo>
                  <a:pt x="1796" y="397"/>
                </a:lnTo>
                <a:lnTo>
                  <a:pt x="1703" y="396"/>
                </a:lnTo>
                <a:lnTo>
                  <a:pt x="1613" y="395"/>
                </a:lnTo>
                <a:lnTo>
                  <a:pt x="1522" y="392"/>
                </a:lnTo>
                <a:lnTo>
                  <a:pt x="1434" y="389"/>
                </a:lnTo>
                <a:lnTo>
                  <a:pt x="1347" y="384"/>
                </a:lnTo>
                <a:lnTo>
                  <a:pt x="1262" y="379"/>
                </a:lnTo>
                <a:lnTo>
                  <a:pt x="1178" y="373"/>
                </a:lnTo>
                <a:lnTo>
                  <a:pt x="1097" y="366"/>
                </a:lnTo>
                <a:lnTo>
                  <a:pt x="1017" y="358"/>
                </a:lnTo>
                <a:lnTo>
                  <a:pt x="939" y="349"/>
                </a:lnTo>
                <a:lnTo>
                  <a:pt x="864" y="339"/>
                </a:lnTo>
                <a:lnTo>
                  <a:pt x="792" y="329"/>
                </a:lnTo>
                <a:lnTo>
                  <a:pt x="721" y="318"/>
                </a:lnTo>
                <a:lnTo>
                  <a:pt x="654" y="306"/>
                </a:lnTo>
                <a:lnTo>
                  <a:pt x="588" y="294"/>
                </a:lnTo>
                <a:lnTo>
                  <a:pt x="525" y="280"/>
                </a:lnTo>
                <a:lnTo>
                  <a:pt x="466" y="267"/>
                </a:lnTo>
                <a:lnTo>
                  <a:pt x="409" y="252"/>
                </a:lnTo>
                <a:lnTo>
                  <a:pt x="357" y="238"/>
                </a:lnTo>
                <a:lnTo>
                  <a:pt x="307" y="221"/>
                </a:lnTo>
                <a:lnTo>
                  <a:pt x="260" y="205"/>
                </a:lnTo>
                <a:lnTo>
                  <a:pt x="216" y="189"/>
                </a:lnTo>
                <a:lnTo>
                  <a:pt x="177" y="172"/>
                </a:lnTo>
                <a:lnTo>
                  <a:pt x="141" y="154"/>
                </a:lnTo>
                <a:lnTo>
                  <a:pt x="108" y="136"/>
                </a:lnTo>
                <a:lnTo>
                  <a:pt x="94" y="127"/>
                </a:lnTo>
                <a:lnTo>
                  <a:pt x="80" y="118"/>
                </a:lnTo>
                <a:lnTo>
                  <a:pt x="68" y="109"/>
                </a:lnTo>
                <a:lnTo>
                  <a:pt x="56" y="98"/>
                </a:lnTo>
                <a:lnTo>
                  <a:pt x="45" y="89"/>
                </a:lnTo>
                <a:lnTo>
                  <a:pt x="36" y="79"/>
                </a:lnTo>
                <a:lnTo>
                  <a:pt x="27" y="70"/>
                </a:lnTo>
                <a:lnTo>
                  <a:pt x="20" y="60"/>
                </a:lnTo>
                <a:lnTo>
                  <a:pt x="14" y="50"/>
                </a:lnTo>
                <a:lnTo>
                  <a:pt x="9" y="40"/>
                </a:lnTo>
                <a:lnTo>
                  <a:pt x="5" y="30"/>
                </a:lnTo>
                <a:lnTo>
                  <a:pt x="2" y="20"/>
                </a:lnTo>
                <a:lnTo>
                  <a:pt x="0" y="10"/>
                </a:lnTo>
                <a:lnTo>
                  <a:pt x="0" y="0"/>
                </a:lnTo>
                <a:lnTo>
                  <a:pt x="0" y="0"/>
                </a:lnTo>
                <a:lnTo>
                  <a:pt x="0" y="184"/>
                </a:lnTo>
                <a:lnTo>
                  <a:pt x="0" y="184"/>
                </a:lnTo>
                <a:lnTo>
                  <a:pt x="0" y="194"/>
                </a:lnTo>
                <a:lnTo>
                  <a:pt x="2" y="204"/>
                </a:lnTo>
                <a:lnTo>
                  <a:pt x="5" y="214"/>
                </a:lnTo>
                <a:lnTo>
                  <a:pt x="9" y="225"/>
                </a:lnTo>
                <a:lnTo>
                  <a:pt x="14" y="235"/>
                </a:lnTo>
                <a:lnTo>
                  <a:pt x="20" y="245"/>
                </a:lnTo>
                <a:lnTo>
                  <a:pt x="27" y="254"/>
                </a:lnTo>
                <a:lnTo>
                  <a:pt x="36" y="264"/>
                </a:lnTo>
                <a:lnTo>
                  <a:pt x="45" y="273"/>
                </a:lnTo>
                <a:lnTo>
                  <a:pt x="56" y="284"/>
                </a:lnTo>
                <a:lnTo>
                  <a:pt x="68" y="293"/>
                </a:lnTo>
                <a:lnTo>
                  <a:pt x="80" y="302"/>
                </a:lnTo>
                <a:lnTo>
                  <a:pt x="94" y="312"/>
                </a:lnTo>
                <a:lnTo>
                  <a:pt x="108" y="321"/>
                </a:lnTo>
                <a:lnTo>
                  <a:pt x="141" y="338"/>
                </a:lnTo>
                <a:lnTo>
                  <a:pt x="177" y="357"/>
                </a:lnTo>
                <a:lnTo>
                  <a:pt x="216" y="374"/>
                </a:lnTo>
                <a:lnTo>
                  <a:pt x="260" y="390"/>
                </a:lnTo>
                <a:lnTo>
                  <a:pt x="307" y="407"/>
                </a:lnTo>
                <a:lnTo>
                  <a:pt x="357" y="422"/>
                </a:lnTo>
                <a:lnTo>
                  <a:pt x="409" y="437"/>
                </a:lnTo>
                <a:lnTo>
                  <a:pt x="466" y="451"/>
                </a:lnTo>
                <a:lnTo>
                  <a:pt x="525" y="466"/>
                </a:lnTo>
                <a:lnTo>
                  <a:pt x="588" y="479"/>
                </a:lnTo>
                <a:lnTo>
                  <a:pt x="654" y="491"/>
                </a:lnTo>
                <a:lnTo>
                  <a:pt x="721" y="502"/>
                </a:lnTo>
                <a:lnTo>
                  <a:pt x="792" y="513"/>
                </a:lnTo>
                <a:lnTo>
                  <a:pt x="864" y="525"/>
                </a:lnTo>
                <a:lnTo>
                  <a:pt x="939" y="534"/>
                </a:lnTo>
                <a:lnTo>
                  <a:pt x="1017" y="543"/>
                </a:lnTo>
                <a:lnTo>
                  <a:pt x="1097" y="550"/>
                </a:lnTo>
                <a:lnTo>
                  <a:pt x="1178" y="557"/>
                </a:lnTo>
                <a:lnTo>
                  <a:pt x="1262" y="564"/>
                </a:lnTo>
                <a:lnTo>
                  <a:pt x="1347" y="569"/>
                </a:lnTo>
                <a:lnTo>
                  <a:pt x="1434" y="573"/>
                </a:lnTo>
                <a:lnTo>
                  <a:pt x="1522" y="578"/>
                </a:lnTo>
                <a:lnTo>
                  <a:pt x="1613" y="580"/>
                </a:lnTo>
                <a:lnTo>
                  <a:pt x="1703" y="582"/>
                </a:lnTo>
                <a:lnTo>
                  <a:pt x="1796" y="582"/>
                </a:lnTo>
                <a:lnTo>
                  <a:pt x="1796" y="582"/>
                </a:lnTo>
                <a:lnTo>
                  <a:pt x="1888" y="582"/>
                </a:lnTo>
                <a:lnTo>
                  <a:pt x="1980" y="580"/>
                </a:lnTo>
                <a:lnTo>
                  <a:pt x="2069" y="578"/>
                </a:lnTo>
                <a:lnTo>
                  <a:pt x="2158" y="573"/>
                </a:lnTo>
                <a:lnTo>
                  <a:pt x="2245" y="569"/>
                </a:lnTo>
                <a:lnTo>
                  <a:pt x="2331" y="564"/>
                </a:lnTo>
                <a:lnTo>
                  <a:pt x="2414" y="557"/>
                </a:lnTo>
                <a:lnTo>
                  <a:pt x="2495" y="550"/>
                </a:lnTo>
                <a:lnTo>
                  <a:pt x="2575" y="543"/>
                </a:lnTo>
                <a:lnTo>
                  <a:pt x="2652" y="534"/>
                </a:lnTo>
                <a:lnTo>
                  <a:pt x="2727" y="525"/>
                </a:lnTo>
                <a:lnTo>
                  <a:pt x="2800" y="513"/>
                </a:lnTo>
                <a:lnTo>
                  <a:pt x="2871" y="502"/>
                </a:lnTo>
                <a:lnTo>
                  <a:pt x="2939" y="491"/>
                </a:lnTo>
                <a:lnTo>
                  <a:pt x="3004" y="479"/>
                </a:lnTo>
                <a:lnTo>
                  <a:pt x="3066" y="466"/>
                </a:lnTo>
                <a:lnTo>
                  <a:pt x="3126" y="451"/>
                </a:lnTo>
                <a:lnTo>
                  <a:pt x="3182" y="437"/>
                </a:lnTo>
                <a:lnTo>
                  <a:pt x="3236" y="422"/>
                </a:lnTo>
                <a:lnTo>
                  <a:pt x="3286" y="407"/>
                </a:lnTo>
                <a:lnTo>
                  <a:pt x="3332" y="390"/>
                </a:lnTo>
                <a:lnTo>
                  <a:pt x="3376" y="374"/>
                </a:lnTo>
                <a:lnTo>
                  <a:pt x="3416" y="357"/>
                </a:lnTo>
                <a:lnTo>
                  <a:pt x="3451" y="338"/>
                </a:lnTo>
                <a:lnTo>
                  <a:pt x="3484" y="321"/>
                </a:lnTo>
                <a:lnTo>
                  <a:pt x="3498" y="312"/>
                </a:lnTo>
                <a:lnTo>
                  <a:pt x="3511" y="302"/>
                </a:lnTo>
                <a:lnTo>
                  <a:pt x="3525" y="293"/>
                </a:lnTo>
                <a:lnTo>
                  <a:pt x="3536" y="284"/>
                </a:lnTo>
                <a:lnTo>
                  <a:pt x="3546" y="273"/>
                </a:lnTo>
                <a:lnTo>
                  <a:pt x="3556" y="264"/>
                </a:lnTo>
                <a:lnTo>
                  <a:pt x="3564" y="254"/>
                </a:lnTo>
                <a:lnTo>
                  <a:pt x="3571" y="245"/>
                </a:lnTo>
                <a:lnTo>
                  <a:pt x="3578" y="235"/>
                </a:lnTo>
                <a:lnTo>
                  <a:pt x="3584" y="225"/>
                </a:lnTo>
                <a:lnTo>
                  <a:pt x="3588" y="214"/>
                </a:lnTo>
                <a:lnTo>
                  <a:pt x="3590" y="204"/>
                </a:lnTo>
                <a:lnTo>
                  <a:pt x="3592" y="194"/>
                </a:lnTo>
                <a:lnTo>
                  <a:pt x="3593" y="184"/>
                </a:lnTo>
                <a:lnTo>
                  <a:pt x="3593" y="184"/>
                </a:lnTo>
                <a:lnTo>
                  <a:pt x="3593" y="0"/>
                </a:lnTo>
                <a:lnTo>
                  <a:pt x="3593" y="0"/>
                </a:lnTo>
                <a:lnTo>
                  <a:pt x="3592" y="10"/>
                </a:lnTo>
                <a:lnTo>
                  <a:pt x="3590" y="20"/>
                </a:lnTo>
                <a:lnTo>
                  <a:pt x="3588" y="30"/>
                </a:lnTo>
                <a:lnTo>
                  <a:pt x="3584" y="40"/>
                </a:lnTo>
                <a:lnTo>
                  <a:pt x="3578" y="50"/>
                </a:lnTo>
                <a:lnTo>
                  <a:pt x="3571" y="60"/>
                </a:lnTo>
                <a:lnTo>
                  <a:pt x="3564" y="70"/>
                </a:lnTo>
                <a:lnTo>
                  <a:pt x="3556" y="79"/>
                </a:lnTo>
                <a:lnTo>
                  <a:pt x="3546" y="89"/>
                </a:lnTo>
                <a:lnTo>
                  <a:pt x="3536" y="98"/>
                </a:lnTo>
                <a:lnTo>
                  <a:pt x="3525" y="109"/>
                </a:lnTo>
                <a:lnTo>
                  <a:pt x="3511" y="118"/>
                </a:lnTo>
                <a:lnTo>
                  <a:pt x="3498" y="127"/>
                </a:lnTo>
                <a:lnTo>
                  <a:pt x="3484" y="136"/>
                </a:lnTo>
                <a:lnTo>
                  <a:pt x="3451" y="154"/>
                </a:lnTo>
                <a:lnTo>
                  <a:pt x="3416" y="172"/>
                </a:lnTo>
                <a:lnTo>
                  <a:pt x="3376" y="189"/>
                </a:lnTo>
                <a:lnTo>
                  <a:pt x="3332" y="205"/>
                </a:lnTo>
                <a:lnTo>
                  <a:pt x="3286" y="221"/>
                </a:lnTo>
                <a:lnTo>
                  <a:pt x="3236" y="238"/>
                </a:lnTo>
                <a:lnTo>
                  <a:pt x="3182" y="252"/>
                </a:lnTo>
                <a:lnTo>
                  <a:pt x="3126" y="267"/>
                </a:lnTo>
                <a:lnTo>
                  <a:pt x="3066" y="280"/>
                </a:lnTo>
                <a:lnTo>
                  <a:pt x="3004" y="294"/>
                </a:lnTo>
                <a:lnTo>
                  <a:pt x="2939" y="306"/>
                </a:lnTo>
                <a:lnTo>
                  <a:pt x="2871" y="318"/>
                </a:lnTo>
                <a:lnTo>
                  <a:pt x="2800" y="329"/>
                </a:lnTo>
                <a:lnTo>
                  <a:pt x="2727" y="339"/>
                </a:lnTo>
                <a:lnTo>
                  <a:pt x="2652" y="349"/>
                </a:lnTo>
                <a:lnTo>
                  <a:pt x="2575" y="358"/>
                </a:lnTo>
                <a:lnTo>
                  <a:pt x="2495" y="366"/>
                </a:lnTo>
                <a:lnTo>
                  <a:pt x="2414" y="373"/>
                </a:lnTo>
                <a:lnTo>
                  <a:pt x="2331" y="379"/>
                </a:lnTo>
                <a:lnTo>
                  <a:pt x="2245" y="384"/>
                </a:lnTo>
                <a:lnTo>
                  <a:pt x="2158" y="389"/>
                </a:lnTo>
                <a:lnTo>
                  <a:pt x="2069" y="392"/>
                </a:lnTo>
                <a:lnTo>
                  <a:pt x="1980" y="395"/>
                </a:lnTo>
                <a:lnTo>
                  <a:pt x="1888" y="396"/>
                </a:lnTo>
                <a:lnTo>
                  <a:pt x="1796" y="397"/>
                </a:lnTo>
                <a:lnTo>
                  <a:pt x="1796" y="397"/>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0" name="Freeform 2394"/>
          <p:cNvSpPr>
            <a:spLocks/>
          </p:cNvSpPr>
          <p:nvPr/>
        </p:nvSpPr>
        <p:spPr bwMode="auto">
          <a:xfrm>
            <a:off x="10572751" y="5911851"/>
            <a:ext cx="1588" cy="7938"/>
          </a:xfrm>
          <a:custGeom>
            <a:avLst/>
            <a:gdLst>
              <a:gd name="T0" fmla="*/ 0 w 5"/>
              <a:gd name="T1" fmla="*/ 1 h 30"/>
              <a:gd name="T2" fmla="*/ 0 w 5"/>
              <a:gd name="T3" fmla="*/ 1 h 30"/>
              <a:gd name="T4" fmla="*/ 0 w 5"/>
              <a:gd name="T5" fmla="*/ 30 h 30"/>
              <a:gd name="T6" fmla="*/ 0 w 5"/>
              <a:gd name="T7" fmla="*/ 30 h 30"/>
              <a:gd name="T8" fmla="*/ 0 w 5"/>
              <a:gd name="T9" fmla="*/ 22 h 30"/>
              <a:gd name="T10" fmla="*/ 1 w 5"/>
              <a:gd name="T11" fmla="*/ 14 h 30"/>
              <a:gd name="T12" fmla="*/ 5 w 5"/>
              <a:gd name="T13" fmla="*/ 0 h 30"/>
              <a:gd name="T14" fmla="*/ 5 w 5"/>
              <a:gd name="T15" fmla="*/ 0 h 30"/>
              <a:gd name="T16" fmla="*/ 0 w 5"/>
              <a:gd name="T17" fmla="*/ 1 h 30"/>
              <a:gd name="T18" fmla="*/ 0 w 5"/>
              <a:gd name="T19"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0">
                <a:moveTo>
                  <a:pt x="0" y="1"/>
                </a:moveTo>
                <a:lnTo>
                  <a:pt x="0" y="1"/>
                </a:lnTo>
                <a:lnTo>
                  <a:pt x="0" y="30"/>
                </a:lnTo>
                <a:lnTo>
                  <a:pt x="0" y="30"/>
                </a:lnTo>
                <a:lnTo>
                  <a:pt x="0" y="22"/>
                </a:lnTo>
                <a:lnTo>
                  <a:pt x="1" y="14"/>
                </a:lnTo>
                <a:lnTo>
                  <a:pt x="5" y="0"/>
                </a:lnTo>
                <a:lnTo>
                  <a:pt x="5" y="0"/>
                </a:lnTo>
                <a:lnTo>
                  <a:pt x="0" y="1"/>
                </a:lnTo>
                <a:lnTo>
                  <a:pt x="0" y="1"/>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3" name="Freeform 2407"/>
          <p:cNvSpPr>
            <a:spLocks/>
          </p:cNvSpPr>
          <p:nvPr/>
        </p:nvSpPr>
        <p:spPr bwMode="auto">
          <a:xfrm>
            <a:off x="7866064" y="5658584"/>
            <a:ext cx="1109663" cy="222250"/>
          </a:xfrm>
          <a:custGeom>
            <a:avLst/>
            <a:gdLst>
              <a:gd name="T0" fmla="*/ 4194 w 4194"/>
              <a:gd name="T1" fmla="*/ 305 h 841"/>
              <a:gd name="T2" fmla="*/ 513 w 4194"/>
              <a:gd name="T3" fmla="*/ 841 h 841"/>
              <a:gd name="T4" fmla="*/ 0 w 4194"/>
              <a:gd name="T5" fmla="*/ 443 h 841"/>
              <a:gd name="T6" fmla="*/ 3264 w 4194"/>
              <a:gd name="T7" fmla="*/ 0 h 841"/>
              <a:gd name="T8" fmla="*/ 4194 w 4194"/>
              <a:gd name="T9" fmla="*/ 305 h 841"/>
            </a:gdLst>
            <a:ahLst/>
            <a:cxnLst>
              <a:cxn ang="0">
                <a:pos x="T0" y="T1"/>
              </a:cxn>
              <a:cxn ang="0">
                <a:pos x="T2" y="T3"/>
              </a:cxn>
              <a:cxn ang="0">
                <a:pos x="T4" y="T5"/>
              </a:cxn>
              <a:cxn ang="0">
                <a:pos x="T6" y="T7"/>
              </a:cxn>
              <a:cxn ang="0">
                <a:pos x="T8" y="T9"/>
              </a:cxn>
            </a:cxnLst>
            <a:rect l="0" t="0" r="r" b="b"/>
            <a:pathLst>
              <a:path w="4194" h="841">
                <a:moveTo>
                  <a:pt x="4194" y="305"/>
                </a:moveTo>
                <a:lnTo>
                  <a:pt x="513" y="841"/>
                </a:lnTo>
                <a:lnTo>
                  <a:pt x="0" y="443"/>
                </a:lnTo>
                <a:lnTo>
                  <a:pt x="3264" y="0"/>
                </a:lnTo>
                <a:lnTo>
                  <a:pt x="4194" y="305"/>
                </a:lnTo>
                <a:close/>
              </a:path>
            </a:pathLst>
          </a:custGeom>
          <a:solidFill>
            <a:schemeClr val="accent5">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4" name="Freeform 2408"/>
          <p:cNvSpPr>
            <a:spLocks/>
          </p:cNvSpPr>
          <p:nvPr/>
        </p:nvSpPr>
        <p:spPr bwMode="auto">
          <a:xfrm>
            <a:off x="8002588" y="5726760"/>
            <a:ext cx="973138" cy="378766"/>
          </a:xfrm>
          <a:custGeom>
            <a:avLst/>
            <a:gdLst>
              <a:gd name="T0" fmla="*/ 3681 w 3681"/>
              <a:gd name="T1" fmla="*/ 0 h 1395"/>
              <a:gd name="T2" fmla="*/ 0 w 3681"/>
              <a:gd name="T3" fmla="*/ 536 h 1395"/>
              <a:gd name="T4" fmla="*/ 0 w 3681"/>
              <a:gd name="T5" fmla="*/ 1395 h 1395"/>
              <a:gd name="T6" fmla="*/ 3596 w 3681"/>
              <a:gd name="T7" fmla="*/ 918 h 1395"/>
              <a:gd name="T8" fmla="*/ 3681 w 3681"/>
              <a:gd name="T9" fmla="*/ 0 h 1395"/>
            </a:gdLst>
            <a:ahLst/>
            <a:cxnLst>
              <a:cxn ang="0">
                <a:pos x="T0" y="T1"/>
              </a:cxn>
              <a:cxn ang="0">
                <a:pos x="T2" y="T3"/>
              </a:cxn>
              <a:cxn ang="0">
                <a:pos x="T4" y="T5"/>
              </a:cxn>
              <a:cxn ang="0">
                <a:pos x="T6" y="T7"/>
              </a:cxn>
              <a:cxn ang="0">
                <a:pos x="T8" y="T9"/>
              </a:cxn>
            </a:cxnLst>
            <a:rect l="0" t="0" r="r" b="b"/>
            <a:pathLst>
              <a:path w="3681" h="1395">
                <a:moveTo>
                  <a:pt x="3681" y="0"/>
                </a:moveTo>
                <a:lnTo>
                  <a:pt x="0" y="536"/>
                </a:lnTo>
                <a:lnTo>
                  <a:pt x="0" y="1395"/>
                </a:lnTo>
                <a:lnTo>
                  <a:pt x="3596" y="918"/>
                </a:lnTo>
                <a:lnTo>
                  <a:pt x="3681" y="0"/>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5" name="Freeform 2409"/>
          <p:cNvSpPr>
            <a:spLocks/>
          </p:cNvSpPr>
          <p:nvPr/>
        </p:nvSpPr>
        <p:spPr bwMode="auto">
          <a:xfrm>
            <a:off x="7248526" y="5264151"/>
            <a:ext cx="77788" cy="26988"/>
          </a:xfrm>
          <a:custGeom>
            <a:avLst/>
            <a:gdLst>
              <a:gd name="T0" fmla="*/ 0 w 292"/>
              <a:gd name="T1" fmla="*/ 104 h 104"/>
              <a:gd name="T2" fmla="*/ 292 w 292"/>
              <a:gd name="T3" fmla="*/ 52 h 104"/>
              <a:gd name="T4" fmla="*/ 0 w 292"/>
              <a:gd name="T5" fmla="*/ 0 h 104"/>
              <a:gd name="T6" fmla="*/ 0 w 292"/>
              <a:gd name="T7" fmla="*/ 104 h 104"/>
            </a:gdLst>
            <a:ahLst/>
            <a:cxnLst>
              <a:cxn ang="0">
                <a:pos x="T0" y="T1"/>
              </a:cxn>
              <a:cxn ang="0">
                <a:pos x="T2" y="T3"/>
              </a:cxn>
              <a:cxn ang="0">
                <a:pos x="T4" y="T5"/>
              </a:cxn>
              <a:cxn ang="0">
                <a:pos x="T6" y="T7"/>
              </a:cxn>
            </a:cxnLst>
            <a:rect l="0" t="0" r="r" b="b"/>
            <a:pathLst>
              <a:path w="292" h="104">
                <a:moveTo>
                  <a:pt x="0" y="104"/>
                </a:moveTo>
                <a:lnTo>
                  <a:pt x="292" y="52"/>
                </a:lnTo>
                <a:lnTo>
                  <a:pt x="0" y="0"/>
                </a:lnTo>
                <a:lnTo>
                  <a:pt x="0" y="104"/>
                </a:lnTo>
                <a:close/>
              </a:path>
            </a:pathLst>
          </a:custGeom>
          <a:solidFill>
            <a:srgbClr val="0270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6" name="Freeform 2410"/>
          <p:cNvSpPr>
            <a:spLocks/>
          </p:cNvSpPr>
          <p:nvPr/>
        </p:nvSpPr>
        <p:spPr bwMode="auto">
          <a:xfrm>
            <a:off x="7248526" y="5276852"/>
            <a:ext cx="77788" cy="219075"/>
          </a:xfrm>
          <a:custGeom>
            <a:avLst/>
            <a:gdLst>
              <a:gd name="T0" fmla="*/ 0 w 292"/>
              <a:gd name="T1" fmla="*/ 824 h 824"/>
              <a:gd name="T2" fmla="*/ 292 w 292"/>
              <a:gd name="T3" fmla="*/ 772 h 824"/>
              <a:gd name="T4" fmla="*/ 292 w 292"/>
              <a:gd name="T5" fmla="*/ 0 h 824"/>
              <a:gd name="T6" fmla="*/ 0 w 292"/>
              <a:gd name="T7" fmla="*/ 51 h 824"/>
              <a:gd name="T8" fmla="*/ 0 w 292"/>
              <a:gd name="T9" fmla="*/ 824 h 824"/>
            </a:gdLst>
            <a:ahLst/>
            <a:cxnLst>
              <a:cxn ang="0">
                <a:pos x="T0" y="T1"/>
              </a:cxn>
              <a:cxn ang="0">
                <a:pos x="T2" y="T3"/>
              </a:cxn>
              <a:cxn ang="0">
                <a:pos x="T4" y="T5"/>
              </a:cxn>
              <a:cxn ang="0">
                <a:pos x="T6" y="T7"/>
              </a:cxn>
              <a:cxn ang="0">
                <a:pos x="T8" y="T9"/>
              </a:cxn>
            </a:cxnLst>
            <a:rect l="0" t="0" r="r" b="b"/>
            <a:pathLst>
              <a:path w="292" h="824">
                <a:moveTo>
                  <a:pt x="0" y="824"/>
                </a:moveTo>
                <a:lnTo>
                  <a:pt x="292" y="772"/>
                </a:lnTo>
                <a:lnTo>
                  <a:pt x="292" y="0"/>
                </a:lnTo>
                <a:lnTo>
                  <a:pt x="0" y="51"/>
                </a:lnTo>
                <a:lnTo>
                  <a:pt x="0" y="824"/>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7" name="Freeform 2411"/>
          <p:cNvSpPr>
            <a:spLocks/>
          </p:cNvSpPr>
          <p:nvPr/>
        </p:nvSpPr>
        <p:spPr bwMode="auto">
          <a:xfrm>
            <a:off x="7426327" y="5384801"/>
            <a:ext cx="111125" cy="26988"/>
          </a:xfrm>
          <a:custGeom>
            <a:avLst/>
            <a:gdLst>
              <a:gd name="T0" fmla="*/ 131 w 419"/>
              <a:gd name="T1" fmla="*/ 105 h 105"/>
              <a:gd name="T2" fmla="*/ 0 w 419"/>
              <a:gd name="T3" fmla="*/ 34 h 105"/>
              <a:gd name="T4" fmla="*/ 268 w 419"/>
              <a:gd name="T5" fmla="*/ 0 h 105"/>
              <a:gd name="T6" fmla="*/ 419 w 419"/>
              <a:gd name="T7" fmla="*/ 68 h 105"/>
              <a:gd name="T8" fmla="*/ 131 w 419"/>
              <a:gd name="T9" fmla="*/ 105 h 105"/>
            </a:gdLst>
            <a:ahLst/>
            <a:cxnLst>
              <a:cxn ang="0">
                <a:pos x="T0" y="T1"/>
              </a:cxn>
              <a:cxn ang="0">
                <a:pos x="T2" y="T3"/>
              </a:cxn>
              <a:cxn ang="0">
                <a:pos x="T4" y="T5"/>
              </a:cxn>
              <a:cxn ang="0">
                <a:pos x="T6" y="T7"/>
              </a:cxn>
              <a:cxn ang="0">
                <a:pos x="T8" y="T9"/>
              </a:cxn>
            </a:cxnLst>
            <a:rect l="0" t="0" r="r" b="b"/>
            <a:pathLst>
              <a:path w="419" h="105">
                <a:moveTo>
                  <a:pt x="131" y="105"/>
                </a:moveTo>
                <a:lnTo>
                  <a:pt x="0" y="34"/>
                </a:lnTo>
                <a:lnTo>
                  <a:pt x="268" y="0"/>
                </a:lnTo>
                <a:lnTo>
                  <a:pt x="419" y="68"/>
                </a:lnTo>
                <a:lnTo>
                  <a:pt x="131" y="105"/>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8" name="Freeform 2412"/>
          <p:cNvSpPr>
            <a:spLocks/>
          </p:cNvSpPr>
          <p:nvPr/>
        </p:nvSpPr>
        <p:spPr bwMode="auto">
          <a:xfrm>
            <a:off x="7427914" y="5392739"/>
            <a:ext cx="34925" cy="87313"/>
          </a:xfrm>
          <a:custGeom>
            <a:avLst/>
            <a:gdLst>
              <a:gd name="T0" fmla="*/ 0 w 129"/>
              <a:gd name="T1" fmla="*/ 0 h 324"/>
              <a:gd name="T2" fmla="*/ 122 w 129"/>
              <a:gd name="T3" fmla="*/ 71 h 324"/>
              <a:gd name="T4" fmla="*/ 129 w 129"/>
              <a:gd name="T5" fmla="*/ 324 h 324"/>
              <a:gd name="T6" fmla="*/ 7 w 129"/>
              <a:gd name="T7" fmla="*/ 223 h 324"/>
              <a:gd name="T8" fmla="*/ 0 w 129"/>
              <a:gd name="T9" fmla="*/ 0 h 324"/>
            </a:gdLst>
            <a:ahLst/>
            <a:cxnLst>
              <a:cxn ang="0">
                <a:pos x="T0" y="T1"/>
              </a:cxn>
              <a:cxn ang="0">
                <a:pos x="T2" y="T3"/>
              </a:cxn>
              <a:cxn ang="0">
                <a:pos x="T4" y="T5"/>
              </a:cxn>
              <a:cxn ang="0">
                <a:pos x="T6" y="T7"/>
              </a:cxn>
              <a:cxn ang="0">
                <a:pos x="T8" y="T9"/>
              </a:cxn>
            </a:cxnLst>
            <a:rect l="0" t="0" r="r" b="b"/>
            <a:pathLst>
              <a:path w="129" h="324">
                <a:moveTo>
                  <a:pt x="0" y="0"/>
                </a:moveTo>
                <a:lnTo>
                  <a:pt x="122" y="71"/>
                </a:lnTo>
                <a:lnTo>
                  <a:pt x="129" y="324"/>
                </a:lnTo>
                <a:lnTo>
                  <a:pt x="7" y="223"/>
                </a:lnTo>
                <a:lnTo>
                  <a:pt x="0" y="0"/>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9" name="Freeform 2413"/>
          <p:cNvSpPr>
            <a:spLocks/>
          </p:cNvSpPr>
          <p:nvPr/>
        </p:nvSpPr>
        <p:spPr bwMode="auto">
          <a:xfrm>
            <a:off x="7461252" y="5402263"/>
            <a:ext cx="79375" cy="77788"/>
          </a:xfrm>
          <a:custGeom>
            <a:avLst/>
            <a:gdLst>
              <a:gd name="T0" fmla="*/ 292 w 300"/>
              <a:gd name="T1" fmla="*/ 0 h 290"/>
              <a:gd name="T2" fmla="*/ 0 w 300"/>
              <a:gd name="T3" fmla="*/ 37 h 290"/>
              <a:gd name="T4" fmla="*/ 7 w 300"/>
              <a:gd name="T5" fmla="*/ 290 h 290"/>
              <a:gd name="T6" fmla="*/ 300 w 300"/>
              <a:gd name="T7" fmla="*/ 254 h 290"/>
              <a:gd name="T8" fmla="*/ 292 w 300"/>
              <a:gd name="T9" fmla="*/ 0 h 290"/>
            </a:gdLst>
            <a:ahLst/>
            <a:cxnLst>
              <a:cxn ang="0">
                <a:pos x="T0" y="T1"/>
              </a:cxn>
              <a:cxn ang="0">
                <a:pos x="T2" y="T3"/>
              </a:cxn>
              <a:cxn ang="0">
                <a:pos x="T4" y="T5"/>
              </a:cxn>
              <a:cxn ang="0">
                <a:pos x="T6" y="T7"/>
              </a:cxn>
              <a:cxn ang="0">
                <a:pos x="T8" y="T9"/>
              </a:cxn>
            </a:cxnLst>
            <a:rect l="0" t="0" r="r" b="b"/>
            <a:pathLst>
              <a:path w="300" h="290">
                <a:moveTo>
                  <a:pt x="292" y="0"/>
                </a:moveTo>
                <a:lnTo>
                  <a:pt x="0" y="37"/>
                </a:lnTo>
                <a:lnTo>
                  <a:pt x="7" y="290"/>
                </a:lnTo>
                <a:lnTo>
                  <a:pt x="300" y="254"/>
                </a:lnTo>
                <a:lnTo>
                  <a:pt x="292"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0" name="Freeform 2414"/>
          <p:cNvSpPr>
            <a:spLocks/>
          </p:cNvSpPr>
          <p:nvPr/>
        </p:nvSpPr>
        <p:spPr bwMode="auto">
          <a:xfrm>
            <a:off x="7570789" y="5364164"/>
            <a:ext cx="111125" cy="28575"/>
          </a:xfrm>
          <a:custGeom>
            <a:avLst/>
            <a:gdLst>
              <a:gd name="T0" fmla="*/ 131 w 419"/>
              <a:gd name="T1" fmla="*/ 105 h 105"/>
              <a:gd name="T2" fmla="*/ 0 w 419"/>
              <a:gd name="T3" fmla="*/ 34 h 105"/>
              <a:gd name="T4" fmla="*/ 268 w 419"/>
              <a:gd name="T5" fmla="*/ 0 h 105"/>
              <a:gd name="T6" fmla="*/ 419 w 419"/>
              <a:gd name="T7" fmla="*/ 68 h 105"/>
              <a:gd name="T8" fmla="*/ 131 w 419"/>
              <a:gd name="T9" fmla="*/ 105 h 105"/>
            </a:gdLst>
            <a:ahLst/>
            <a:cxnLst>
              <a:cxn ang="0">
                <a:pos x="T0" y="T1"/>
              </a:cxn>
              <a:cxn ang="0">
                <a:pos x="T2" y="T3"/>
              </a:cxn>
              <a:cxn ang="0">
                <a:pos x="T4" y="T5"/>
              </a:cxn>
              <a:cxn ang="0">
                <a:pos x="T6" y="T7"/>
              </a:cxn>
              <a:cxn ang="0">
                <a:pos x="T8" y="T9"/>
              </a:cxn>
            </a:cxnLst>
            <a:rect l="0" t="0" r="r" b="b"/>
            <a:pathLst>
              <a:path w="419" h="105">
                <a:moveTo>
                  <a:pt x="131" y="105"/>
                </a:moveTo>
                <a:lnTo>
                  <a:pt x="0" y="34"/>
                </a:lnTo>
                <a:lnTo>
                  <a:pt x="268" y="0"/>
                </a:lnTo>
                <a:lnTo>
                  <a:pt x="419" y="68"/>
                </a:lnTo>
                <a:lnTo>
                  <a:pt x="131" y="105"/>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1" name="Freeform 2415"/>
          <p:cNvSpPr>
            <a:spLocks/>
          </p:cNvSpPr>
          <p:nvPr/>
        </p:nvSpPr>
        <p:spPr bwMode="auto">
          <a:xfrm>
            <a:off x="7572377" y="5373689"/>
            <a:ext cx="34925" cy="85725"/>
          </a:xfrm>
          <a:custGeom>
            <a:avLst/>
            <a:gdLst>
              <a:gd name="T0" fmla="*/ 0 w 129"/>
              <a:gd name="T1" fmla="*/ 0 h 324"/>
              <a:gd name="T2" fmla="*/ 121 w 129"/>
              <a:gd name="T3" fmla="*/ 71 h 324"/>
              <a:gd name="T4" fmla="*/ 129 w 129"/>
              <a:gd name="T5" fmla="*/ 324 h 324"/>
              <a:gd name="T6" fmla="*/ 7 w 129"/>
              <a:gd name="T7" fmla="*/ 222 h 324"/>
              <a:gd name="T8" fmla="*/ 0 w 129"/>
              <a:gd name="T9" fmla="*/ 0 h 324"/>
            </a:gdLst>
            <a:ahLst/>
            <a:cxnLst>
              <a:cxn ang="0">
                <a:pos x="T0" y="T1"/>
              </a:cxn>
              <a:cxn ang="0">
                <a:pos x="T2" y="T3"/>
              </a:cxn>
              <a:cxn ang="0">
                <a:pos x="T4" y="T5"/>
              </a:cxn>
              <a:cxn ang="0">
                <a:pos x="T6" y="T7"/>
              </a:cxn>
              <a:cxn ang="0">
                <a:pos x="T8" y="T9"/>
              </a:cxn>
            </a:cxnLst>
            <a:rect l="0" t="0" r="r" b="b"/>
            <a:pathLst>
              <a:path w="129" h="324">
                <a:moveTo>
                  <a:pt x="0" y="0"/>
                </a:moveTo>
                <a:lnTo>
                  <a:pt x="121" y="71"/>
                </a:lnTo>
                <a:lnTo>
                  <a:pt x="129" y="324"/>
                </a:lnTo>
                <a:lnTo>
                  <a:pt x="7" y="222"/>
                </a:lnTo>
                <a:lnTo>
                  <a:pt x="0" y="0"/>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2" name="Freeform 2416"/>
          <p:cNvSpPr>
            <a:spLocks/>
          </p:cNvSpPr>
          <p:nvPr/>
        </p:nvSpPr>
        <p:spPr bwMode="auto">
          <a:xfrm>
            <a:off x="7604127" y="5383213"/>
            <a:ext cx="79375" cy="76200"/>
          </a:xfrm>
          <a:custGeom>
            <a:avLst/>
            <a:gdLst>
              <a:gd name="T0" fmla="*/ 293 w 300"/>
              <a:gd name="T1" fmla="*/ 0 h 290"/>
              <a:gd name="T2" fmla="*/ 0 w 300"/>
              <a:gd name="T3" fmla="*/ 37 h 290"/>
              <a:gd name="T4" fmla="*/ 8 w 300"/>
              <a:gd name="T5" fmla="*/ 290 h 290"/>
              <a:gd name="T6" fmla="*/ 300 w 300"/>
              <a:gd name="T7" fmla="*/ 253 h 290"/>
              <a:gd name="T8" fmla="*/ 293 w 300"/>
              <a:gd name="T9" fmla="*/ 0 h 290"/>
            </a:gdLst>
            <a:ahLst/>
            <a:cxnLst>
              <a:cxn ang="0">
                <a:pos x="T0" y="T1"/>
              </a:cxn>
              <a:cxn ang="0">
                <a:pos x="T2" y="T3"/>
              </a:cxn>
              <a:cxn ang="0">
                <a:pos x="T4" y="T5"/>
              </a:cxn>
              <a:cxn ang="0">
                <a:pos x="T6" y="T7"/>
              </a:cxn>
              <a:cxn ang="0">
                <a:pos x="T8" y="T9"/>
              </a:cxn>
            </a:cxnLst>
            <a:rect l="0" t="0" r="r" b="b"/>
            <a:pathLst>
              <a:path w="300" h="290">
                <a:moveTo>
                  <a:pt x="293" y="0"/>
                </a:moveTo>
                <a:lnTo>
                  <a:pt x="0" y="37"/>
                </a:lnTo>
                <a:lnTo>
                  <a:pt x="8" y="290"/>
                </a:lnTo>
                <a:lnTo>
                  <a:pt x="300" y="253"/>
                </a:lnTo>
                <a:lnTo>
                  <a:pt x="29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3" name="Freeform 2417"/>
          <p:cNvSpPr>
            <a:spLocks/>
          </p:cNvSpPr>
          <p:nvPr/>
        </p:nvSpPr>
        <p:spPr bwMode="auto">
          <a:xfrm>
            <a:off x="8558214" y="5532439"/>
            <a:ext cx="263525" cy="53975"/>
          </a:xfrm>
          <a:custGeom>
            <a:avLst/>
            <a:gdLst>
              <a:gd name="T0" fmla="*/ 146 w 994"/>
              <a:gd name="T1" fmla="*/ 201 h 201"/>
              <a:gd name="T2" fmla="*/ 0 w 994"/>
              <a:gd name="T3" fmla="*/ 125 h 201"/>
              <a:gd name="T4" fmla="*/ 829 w 994"/>
              <a:gd name="T5" fmla="*/ 0 h 201"/>
              <a:gd name="T6" fmla="*/ 994 w 994"/>
              <a:gd name="T7" fmla="*/ 67 h 201"/>
              <a:gd name="T8" fmla="*/ 146 w 994"/>
              <a:gd name="T9" fmla="*/ 201 h 201"/>
            </a:gdLst>
            <a:ahLst/>
            <a:cxnLst>
              <a:cxn ang="0">
                <a:pos x="T0" y="T1"/>
              </a:cxn>
              <a:cxn ang="0">
                <a:pos x="T2" y="T3"/>
              </a:cxn>
              <a:cxn ang="0">
                <a:pos x="T4" y="T5"/>
              </a:cxn>
              <a:cxn ang="0">
                <a:pos x="T6" y="T7"/>
              </a:cxn>
              <a:cxn ang="0">
                <a:pos x="T8" y="T9"/>
              </a:cxn>
            </a:cxnLst>
            <a:rect l="0" t="0" r="r" b="b"/>
            <a:pathLst>
              <a:path w="994" h="201">
                <a:moveTo>
                  <a:pt x="146" y="201"/>
                </a:moveTo>
                <a:lnTo>
                  <a:pt x="0" y="125"/>
                </a:lnTo>
                <a:lnTo>
                  <a:pt x="829" y="0"/>
                </a:lnTo>
                <a:lnTo>
                  <a:pt x="994" y="67"/>
                </a:lnTo>
                <a:lnTo>
                  <a:pt x="146" y="201"/>
                </a:lnTo>
                <a:close/>
              </a:path>
            </a:pathLst>
          </a:custGeom>
          <a:solidFill>
            <a:schemeClr val="accent2">
              <a:lumMod val="75000"/>
            </a:schemeClr>
          </a:solidFill>
          <a:ln>
            <a:solidFill>
              <a:schemeClr val="accent5">
                <a:lumMod val="50000"/>
              </a:schemeClr>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4" name="Freeform 2418"/>
          <p:cNvSpPr>
            <a:spLocks/>
          </p:cNvSpPr>
          <p:nvPr/>
        </p:nvSpPr>
        <p:spPr bwMode="auto">
          <a:xfrm>
            <a:off x="8586788" y="5551488"/>
            <a:ext cx="234950" cy="217488"/>
          </a:xfrm>
          <a:custGeom>
            <a:avLst/>
            <a:gdLst>
              <a:gd name="T0" fmla="*/ 889 w 889"/>
              <a:gd name="T1" fmla="*/ 0 h 826"/>
              <a:gd name="T2" fmla="*/ 27 w 889"/>
              <a:gd name="T3" fmla="*/ 133 h 826"/>
              <a:gd name="T4" fmla="*/ 0 w 889"/>
              <a:gd name="T5" fmla="*/ 826 h 826"/>
              <a:gd name="T6" fmla="*/ 862 w 889"/>
              <a:gd name="T7" fmla="*/ 689 h 826"/>
              <a:gd name="T8" fmla="*/ 889 w 889"/>
              <a:gd name="T9" fmla="*/ 0 h 826"/>
            </a:gdLst>
            <a:ahLst/>
            <a:cxnLst>
              <a:cxn ang="0">
                <a:pos x="T0" y="T1"/>
              </a:cxn>
              <a:cxn ang="0">
                <a:pos x="T2" y="T3"/>
              </a:cxn>
              <a:cxn ang="0">
                <a:pos x="T4" y="T5"/>
              </a:cxn>
              <a:cxn ang="0">
                <a:pos x="T6" y="T7"/>
              </a:cxn>
              <a:cxn ang="0">
                <a:pos x="T8" y="T9"/>
              </a:cxn>
            </a:cxnLst>
            <a:rect l="0" t="0" r="r" b="b"/>
            <a:pathLst>
              <a:path w="889" h="826">
                <a:moveTo>
                  <a:pt x="889" y="0"/>
                </a:moveTo>
                <a:lnTo>
                  <a:pt x="27" y="133"/>
                </a:lnTo>
                <a:lnTo>
                  <a:pt x="0" y="826"/>
                </a:lnTo>
                <a:lnTo>
                  <a:pt x="862" y="689"/>
                </a:lnTo>
                <a:lnTo>
                  <a:pt x="889" y="0"/>
                </a:lnTo>
                <a:close/>
              </a:path>
            </a:pathLst>
          </a:custGeom>
          <a:solidFill>
            <a:schemeClr val="accent2">
              <a:lumMod val="75000"/>
            </a:schemeClr>
          </a:solidFill>
          <a:ln>
            <a:solidFill>
              <a:schemeClr val="accent5">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5" name="Freeform 2419"/>
          <p:cNvSpPr>
            <a:spLocks/>
          </p:cNvSpPr>
          <p:nvPr/>
        </p:nvSpPr>
        <p:spPr bwMode="auto">
          <a:xfrm>
            <a:off x="8496301" y="5565776"/>
            <a:ext cx="96838" cy="203200"/>
          </a:xfrm>
          <a:custGeom>
            <a:avLst/>
            <a:gdLst>
              <a:gd name="T0" fmla="*/ 230 w 365"/>
              <a:gd name="T1" fmla="*/ 8 h 771"/>
              <a:gd name="T2" fmla="*/ 215 w 365"/>
              <a:gd name="T3" fmla="*/ 0 h 771"/>
              <a:gd name="T4" fmla="*/ 201 w 365"/>
              <a:gd name="T5" fmla="*/ 76 h 771"/>
              <a:gd name="T6" fmla="*/ 201 w 365"/>
              <a:gd name="T7" fmla="*/ 76 h 771"/>
              <a:gd name="T8" fmla="*/ 182 w 365"/>
              <a:gd name="T9" fmla="*/ 81 h 771"/>
              <a:gd name="T10" fmla="*/ 166 w 365"/>
              <a:gd name="T11" fmla="*/ 86 h 771"/>
              <a:gd name="T12" fmla="*/ 150 w 365"/>
              <a:gd name="T13" fmla="*/ 93 h 771"/>
              <a:gd name="T14" fmla="*/ 136 w 365"/>
              <a:gd name="T15" fmla="*/ 102 h 771"/>
              <a:gd name="T16" fmla="*/ 122 w 365"/>
              <a:gd name="T17" fmla="*/ 111 h 771"/>
              <a:gd name="T18" fmla="*/ 110 w 365"/>
              <a:gd name="T19" fmla="*/ 120 h 771"/>
              <a:gd name="T20" fmla="*/ 99 w 365"/>
              <a:gd name="T21" fmla="*/ 131 h 771"/>
              <a:gd name="T22" fmla="*/ 89 w 365"/>
              <a:gd name="T23" fmla="*/ 142 h 771"/>
              <a:gd name="T24" fmla="*/ 80 w 365"/>
              <a:gd name="T25" fmla="*/ 154 h 771"/>
              <a:gd name="T26" fmla="*/ 72 w 365"/>
              <a:gd name="T27" fmla="*/ 167 h 771"/>
              <a:gd name="T28" fmla="*/ 65 w 365"/>
              <a:gd name="T29" fmla="*/ 180 h 771"/>
              <a:gd name="T30" fmla="*/ 57 w 365"/>
              <a:gd name="T31" fmla="*/ 193 h 771"/>
              <a:gd name="T32" fmla="*/ 51 w 365"/>
              <a:gd name="T33" fmla="*/ 206 h 771"/>
              <a:gd name="T34" fmla="*/ 46 w 365"/>
              <a:gd name="T35" fmla="*/ 220 h 771"/>
              <a:gd name="T36" fmla="*/ 42 w 365"/>
              <a:gd name="T37" fmla="*/ 234 h 771"/>
              <a:gd name="T38" fmla="*/ 38 w 365"/>
              <a:gd name="T39" fmla="*/ 247 h 771"/>
              <a:gd name="T40" fmla="*/ 33 w 365"/>
              <a:gd name="T41" fmla="*/ 275 h 771"/>
              <a:gd name="T42" fmla="*/ 29 w 365"/>
              <a:gd name="T43" fmla="*/ 300 h 771"/>
              <a:gd name="T44" fmla="*/ 27 w 365"/>
              <a:gd name="T45" fmla="*/ 323 h 771"/>
              <a:gd name="T46" fmla="*/ 26 w 365"/>
              <a:gd name="T47" fmla="*/ 345 h 771"/>
              <a:gd name="T48" fmla="*/ 25 w 365"/>
              <a:gd name="T49" fmla="*/ 362 h 771"/>
              <a:gd name="T50" fmla="*/ 26 w 365"/>
              <a:gd name="T51" fmla="*/ 375 h 771"/>
              <a:gd name="T52" fmla="*/ 26 w 365"/>
              <a:gd name="T53" fmla="*/ 387 h 771"/>
              <a:gd name="T54" fmla="*/ 6 w 365"/>
              <a:gd name="T55" fmla="*/ 367 h 771"/>
              <a:gd name="T56" fmla="*/ 6 w 365"/>
              <a:gd name="T57" fmla="*/ 369 h 771"/>
              <a:gd name="T58" fmla="*/ 0 w 365"/>
              <a:gd name="T59" fmla="*/ 507 h 771"/>
              <a:gd name="T60" fmla="*/ 338 w 365"/>
              <a:gd name="T61" fmla="*/ 771 h 771"/>
              <a:gd name="T62" fmla="*/ 365 w 365"/>
              <a:gd name="T63" fmla="*/ 78 h 771"/>
              <a:gd name="T64" fmla="*/ 230 w 365"/>
              <a:gd name="T65" fmla="*/ 8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5" h="771">
                <a:moveTo>
                  <a:pt x="230" y="8"/>
                </a:moveTo>
                <a:lnTo>
                  <a:pt x="215" y="0"/>
                </a:lnTo>
                <a:lnTo>
                  <a:pt x="201" y="76"/>
                </a:lnTo>
                <a:lnTo>
                  <a:pt x="201" y="76"/>
                </a:lnTo>
                <a:lnTo>
                  <a:pt x="182" y="81"/>
                </a:lnTo>
                <a:lnTo>
                  <a:pt x="166" y="86"/>
                </a:lnTo>
                <a:lnTo>
                  <a:pt x="150" y="93"/>
                </a:lnTo>
                <a:lnTo>
                  <a:pt x="136" y="102"/>
                </a:lnTo>
                <a:lnTo>
                  <a:pt x="122" y="111"/>
                </a:lnTo>
                <a:lnTo>
                  <a:pt x="110" y="120"/>
                </a:lnTo>
                <a:lnTo>
                  <a:pt x="99" y="131"/>
                </a:lnTo>
                <a:lnTo>
                  <a:pt x="89" y="142"/>
                </a:lnTo>
                <a:lnTo>
                  <a:pt x="80" y="154"/>
                </a:lnTo>
                <a:lnTo>
                  <a:pt x="72" y="167"/>
                </a:lnTo>
                <a:lnTo>
                  <a:pt x="65" y="180"/>
                </a:lnTo>
                <a:lnTo>
                  <a:pt x="57" y="193"/>
                </a:lnTo>
                <a:lnTo>
                  <a:pt x="51" y="206"/>
                </a:lnTo>
                <a:lnTo>
                  <a:pt x="46" y="220"/>
                </a:lnTo>
                <a:lnTo>
                  <a:pt x="42" y="234"/>
                </a:lnTo>
                <a:lnTo>
                  <a:pt x="38" y="247"/>
                </a:lnTo>
                <a:lnTo>
                  <a:pt x="33" y="275"/>
                </a:lnTo>
                <a:lnTo>
                  <a:pt x="29" y="300"/>
                </a:lnTo>
                <a:lnTo>
                  <a:pt x="27" y="323"/>
                </a:lnTo>
                <a:lnTo>
                  <a:pt x="26" y="345"/>
                </a:lnTo>
                <a:lnTo>
                  <a:pt x="25" y="362"/>
                </a:lnTo>
                <a:lnTo>
                  <a:pt x="26" y="375"/>
                </a:lnTo>
                <a:lnTo>
                  <a:pt x="26" y="387"/>
                </a:lnTo>
                <a:lnTo>
                  <a:pt x="6" y="367"/>
                </a:lnTo>
                <a:lnTo>
                  <a:pt x="6" y="369"/>
                </a:lnTo>
                <a:lnTo>
                  <a:pt x="0" y="507"/>
                </a:lnTo>
                <a:lnTo>
                  <a:pt x="338" y="771"/>
                </a:lnTo>
                <a:lnTo>
                  <a:pt x="365" y="78"/>
                </a:lnTo>
                <a:lnTo>
                  <a:pt x="230" y="8"/>
                </a:lnTo>
                <a:close/>
              </a:path>
            </a:pathLst>
          </a:custGeom>
          <a:solidFill>
            <a:schemeClr val="accent2">
              <a:lumMod val="75000"/>
            </a:schemeClr>
          </a:solidFill>
          <a:ln>
            <a:solidFill>
              <a:schemeClr val="accent5">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6" name="Freeform 2420"/>
          <p:cNvSpPr>
            <a:spLocks/>
          </p:cNvSpPr>
          <p:nvPr/>
        </p:nvSpPr>
        <p:spPr bwMode="auto">
          <a:xfrm>
            <a:off x="8674102" y="5526088"/>
            <a:ext cx="30163" cy="33338"/>
          </a:xfrm>
          <a:custGeom>
            <a:avLst/>
            <a:gdLst>
              <a:gd name="T0" fmla="*/ 0 w 115"/>
              <a:gd name="T1" fmla="*/ 35 h 125"/>
              <a:gd name="T2" fmla="*/ 0 w 115"/>
              <a:gd name="T3" fmla="*/ 35 h 125"/>
              <a:gd name="T4" fmla="*/ 0 w 115"/>
              <a:gd name="T5" fmla="*/ 31 h 125"/>
              <a:gd name="T6" fmla="*/ 1 w 115"/>
              <a:gd name="T7" fmla="*/ 28 h 125"/>
              <a:gd name="T8" fmla="*/ 3 w 115"/>
              <a:gd name="T9" fmla="*/ 24 h 125"/>
              <a:gd name="T10" fmla="*/ 6 w 115"/>
              <a:gd name="T11" fmla="*/ 21 h 125"/>
              <a:gd name="T12" fmla="*/ 8 w 115"/>
              <a:gd name="T13" fmla="*/ 18 h 125"/>
              <a:gd name="T14" fmla="*/ 12 w 115"/>
              <a:gd name="T15" fmla="*/ 16 h 125"/>
              <a:gd name="T16" fmla="*/ 15 w 115"/>
              <a:gd name="T17" fmla="*/ 14 h 125"/>
              <a:gd name="T18" fmla="*/ 19 w 115"/>
              <a:gd name="T19" fmla="*/ 13 h 125"/>
              <a:gd name="T20" fmla="*/ 94 w 115"/>
              <a:gd name="T21" fmla="*/ 1 h 125"/>
              <a:gd name="T22" fmla="*/ 94 w 115"/>
              <a:gd name="T23" fmla="*/ 1 h 125"/>
              <a:gd name="T24" fmla="*/ 98 w 115"/>
              <a:gd name="T25" fmla="*/ 0 h 125"/>
              <a:gd name="T26" fmla="*/ 102 w 115"/>
              <a:gd name="T27" fmla="*/ 1 h 125"/>
              <a:gd name="T28" fmla="*/ 105 w 115"/>
              <a:gd name="T29" fmla="*/ 2 h 125"/>
              <a:gd name="T30" fmla="*/ 108 w 115"/>
              <a:gd name="T31" fmla="*/ 4 h 125"/>
              <a:gd name="T32" fmla="*/ 111 w 115"/>
              <a:gd name="T33" fmla="*/ 7 h 125"/>
              <a:gd name="T34" fmla="*/ 113 w 115"/>
              <a:gd name="T35" fmla="*/ 11 h 125"/>
              <a:gd name="T36" fmla="*/ 114 w 115"/>
              <a:gd name="T37" fmla="*/ 14 h 125"/>
              <a:gd name="T38" fmla="*/ 115 w 115"/>
              <a:gd name="T39" fmla="*/ 18 h 125"/>
              <a:gd name="T40" fmla="*/ 115 w 115"/>
              <a:gd name="T41" fmla="*/ 91 h 125"/>
              <a:gd name="T42" fmla="*/ 115 w 115"/>
              <a:gd name="T43" fmla="*/ 91 h 125"/>
              <a:gd name="T44" fmla="*/ 114 w 115"/>
              <a:gd name="T45" fmla="*/ 95 h 125"/>
              <a:gd name="T46" fmla="*/ 113 w 115"/>
              <a:gd name="T47" fmla="*/ 98 h 125"/>
              <a:gd name="T48" fmla="*/ 111 w 115"/>
              <a:gd name="T49" fmla="*/ 102 h 125"/>
              <a:gd name="T50" fmla="*/ 108 w 115"/>
              <a:gd name="T51" fmla="*/ 105 h 125"/>
              <a:gd name="T52" fmla="*/ 105 w 115"/>
              <a:gd name="T53" fmla="*/ 108 h 125"/>
              <a:gd name="T54" fmla="*/ 102 w 115"/>
              <a:gd name="T55" fmla="*/ 110 h 125"/>
              <a:gd name="T56" fmla="*/ 98 w 115"/>
              <a:gd name="T57" fmla="*/ 112 h 125"/>
              <a:gd name="T58" fmla="*/ 94 w 115"/>
              <a:gd name="T59" fmla="*/ 113 h 125"/>
              <a:gd name="T60" fmla="*/ 19 w 115"/>
              <a:gd name="T61" fmla="*/ 124 h 125"/>
              <a:gd name="T62" fmla="*/ 19 w 115"/>
              <a:gd name="T63" fmla="*/ 124 h 125"/>
              <a:gd name="T64" fmla="*/ 15 w 115"/>
              <a:gd name="T65" fmla="*/ 125 h 125"/>
              <a:gd name="T66" fmla="*/ 12 w 115"/>
              <a:gd name="T67" fmla="*/ 124 h 125"/>
              <a:gd name="T68" fmla="*/ 8 w 115"/>
              <a:gd name="T69" fmla="*/ 123 h 125"/>
              <a:gd name="T70" fmla="*/ 6 w 115"/>
              <a:gd name="T71" fmla="*/ 121 h 125"/>
              <a:gd name="T72" fmla="*/ 3 w 115"/>
              <a:gd name="T73" fmla="*/ 118 h 125"/>
              <a:gd name="T74" fmla="*/ 1 w 115"/>
              <a:gd name="T75" fmla="*/ 115 h 125"/>
              <a:gd name="T76" fmla="*/ 0 w 115"/>
              <a:gd name="T77" fmla="*/ 112 h 125"/>
              <a:gd name="T78" fmla="*/ 0 w 115"/>
              <a:gd name="T79" fmla="*/ 108 h 125"/>
              <a:gd name="T80" fmla="*/ 0 w 115"/>
              <a:gd name="T81" fmla="*/ 3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5" h="125">
                <a:moveTo>
                  <a:pt x="0" y="35"/>
                </a:moveTo>
                <a:lnTo>
                  <a:pt x="0" y="35"/>
                </a:lnTo>
                <a:lnTo>
                  <a:pt x="0" y="31"/>
                </a:lnTo>
                <a:lnTo>
                  <a:pt x="1" y="28"/>
                </a:lnTo>
                <a:lnTo>
                  <a:pt x="3" y="24"/>
                </a:lnTo>
                <a:lnTo>
                  <a:pt x="6" y="21"/>
                </a:lnTo>
                <a:lnTo>
                  <a:pt x="8" y="18"/>
                </a:lnTo>
                <a:lnTo>
                  <a:pt x="12" y="16"/>
                </a:lnTo>
                <a:lnTo>
                  <a:pt x="15" y="14"/>
                </a:lnTo>
                <a:lnTo>
                  <a:pt x="19" y="13"/>
                </a:lnTo>
                <a:lnTo>
                  <a:pt x="94" y="1"/>
                </a:lnTo>
                <a:lnTo>
                  <a:pt x="94" y="1"/>
                </a:lnTo>
                <a:lnTo>
                  <a:pt x="98" y="0"/>
                </a:lnTo>
                <a:lnTo>
                  <a:pt x="102" y="1"/>
                </a:lnTo>
                <a:lnTo>
                  <a:pt x="105" y="2"/>
                </a:lnTo>
                <a:lnTo>
                  <a:pt x="108" y="4"/>
                </a:lnTo>
                <a:lnTo>
                  <a:pt x="111" y="7"/>
                </a:lnTo>
                <a:lnTo>
                  <a:pt x="113" y="11"/>
                </a:lnTo>
                <a:lnTo>
                  <a:pt x="114" y="14"/>
                </a:lnTo>
                <a:lnTo>
                  <a:pt x="115" y="18"/>
                </a:lnTo>
                <a:lnTo>
                  <a:pt x="115" y="91"/>
                </a:lnTo>
                <a:lnTo>
                  <a:pt x="115" y="91"/>
                </a:lnTo>
                <a:lnTo>
                  <a:pt x="114" y="95"/>
                </a:lnTo>
                <a:lnTo>
                  <a:pt x="113" y="98"/>
                </a:lnTo>
                <a:lnTo>
                  <a:pt x="111" y="102"/>
                </a:lnTo>
                <a:lnTo>
                  <a:pt x="108" y="105"/>
                </a:lnTo>
                <a:lnTo>
                  <a:pt x="105" y="108"/>
                </a:lnTo>
                <a:lnTo>
                  <a:pt x="102" y="110"/>
                </a:lnTo>
                <a:lnTo>
                  <a:pt x="98" y="112"/>
                </a:lnTo>
                <a:lnTo>
                  <a:pt x="94" y="113"/>
                </a:lnTo>
                <a:lnTo>
                  <a:pt x="19" y="124"/>
                </a:lnTo>
                <a:lnTo>
                  <a:pt x="19" y="124"/>
                </a:lnTo>
                <a:lnTo>
                  <a:pt x="15" y="125"/>
                </a:lnTo>
                <a:lnTo>
                  <a:pt x="12" y="124"/>
                </a:lnTo>
                <a:lnTo>
                  <a:pt x="8" y="123"/>
                </a:lnTo>
                <a:lnTo>
                  <a:pt x="6" y="121"/>
                </a:lnTo>
                <a:lnTo>
                  <a:pt x="3" y="118"/>
                </a:lnTo>
                <a:lnTo>
                  <a:pt x="1" y="115"/>
                </a:lnTo>
                <a:lnTo>
                  <a:pt x="0" y="112"/>
                </a:lnTo>
                <a:lnTo>
                  <a:pt x="0" y="108"/>
                </a:lnTo>
                <a:lnTo>
                  <a:pt x="0" y="35"/>
                </a:lnTo>
                <a:close/>
              </a:path>
            </a:pathLst>
          </a:custGeom>
          <a:solidFill>
            <a:srgbClr val="025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7" name="Freeform 2421"/>
          <p:cNvSpPr>
            <a:spLocks/>
          </p:cNvSpPr>
          <p:nvPr/>
        </p:nvSpPr>
        <p:spPr bwMode="auto">
          <a:xfrm>
            <a:off x="8612188" y="5472114"/>
            <a:ext cx="153988" cy="74613"/>
          </a:xfrm>
          <a:custGeom>
            <a:avLst/>
            <a:gdLst>
              <a:gd name="T0" fmla="*/ 0 w 581"/>
              <a:gd name="T1" fmla="*/ 121 h 282"/>
              <a:gd name="T2" fmla="*/ 0 w 581"/>
              <a:gd name="T3" fmla="*/ 121 h 282"/>
              <a:gd name="T4" fmla="*/ 1 w 581"/>
              <a:gd name="T5" fmla="*/ 113 h 282"/>
              <a:gd name="T6" fmla="*/ 3 w 581"/>
              <a:gd name="T7" fmla="*/ 106 h 282"/>
              <a:gd name="T8" fmla="*/ 7 w 581"/>
              <a:gd name="T9" fmla="*/ 98 h 282"/>
              <a:gd name="T10" fmla="*/ 12 w 581"/>
              <a:gd name="T11" fmla="*/ 91 h 282"/>
              <a:gd name="T12" fmla="*/ 17 w 581"/>
              <a:gd name="T13" fmla="*/ 85 h 282"/>
              <a:gd name="T14" fmla="*/ 24 w 581"/>
              <a:gd name="T15" fmla="*/ 81 h 282"/>
              <a:gd name="T16" fmla="*/ 31 w 581"/>
              <a:gd name="T17" fmla="*/ 77 h 282"/>
              <a:gd name="T18" fmla="*/ 39 w 581"/>
              <a:gd name="T19" fmla="*/ 75 h 282"/>
              <a:gd name="T20" fmla="*/ 543 w 581"/>
              <a:gd name="T21" fmla="*/ 0 h 282"/>
              <a:gd name="T22" fmla="*/ 543 w 581"/>
              <a:gd name="T23" fmla="*/ 0 h 282"/>
              <a:gd name="T24" fmla="*/ 551 w 581"/>
              <a:gd name="T25" fmla="*/ 0 h 282"/>
              <a:gd name="T26" fmla="*/ 558 w 581"/>
              <a:gd name="T27" fmla="*/ 1 h 282"/>
              <a:gd name="T28" fmla="*/ 564 w 581"/>
              <a:gd name="T29" fmla="*/ 3 h 282"/>
              <a:gd name="T30" fmla="*/ 570 w 581"/>
              <a:gd name="T31" fmla="*/ 7 h 282"/>
              <a:gd name="T32" fmla="*/ 575 w 581"/>
              <a:gd name="T33" fmla="*/ 12 h 282"/>
              <a:gd name="T34" fmla="*/ 578 w 581"/>
              <a:gd name="T35" fmla="*/ 18 h 282"/>
              <a:gd name="T36" fmla="*/ 581 w 581"/>
              <a:gd name="T37" fmla="*/ 25 h 282"/>
              <a:gd name="T38" fmla="*/ 581 w 581"/>
              <a:gd name="T39" fmla="*/ 33 h 282"/>
              <a:gd name="T40" fmla="*/ 581 w 581"/>
              <a:gd name="T41" fmla="*/ 161 h 282"/>
              <a:gd name="T42" fmla="*/ 581 w 581"/>
              <a:gd name="T43" fmla="*/ 161 h 282"/>
              <a:gd name="T44" fmla="*/ 581 w 581"/>
              <a:gd name="T45" fmla="*/ 169 h 282"/>
              <a:gd name="T46" fmla="*/ 578 w 581"/>
              <a:gd name="T47" fmla="*/ 176 h 282"/>
              <a:gd name="T48" fmla="*/ 575 w 581"/>
              <a:gd name="T49" fmla="*/ 183 h 282"/>
              <a:gd name="T50" fmla="*/ 570 w 581"/>
              <a:gd name="T51" fmla="*/ 190 h 282"/>
              <a:gd name="T52" fmla="*/ 564 w 581"/>
              <a:gd name="T53" fmla="*/ 196 h 282"/>
              <a:gd name="T54" fmla="*/ 558 w 581"/>
              <a:gd name="T55" fmla="*/ 200 h 282"/>
              <a:gd name="T56" fmla="*/ 551 w 581"/>
              <a:gd name="T57" fmla="*/ 204 h 282"/>
              <a:gd name="T58" fmla="*/ 543 w 581"/>
              <a:gd name="T59" fmla="*/ 205 h 282"/>
              <a:gd name="T60" fmla="*/ 39 w 581"/>
              <a:gd name="T61" fmla="*/ 282 h 282"/>
              <a:gd name="T62" fmla="*/ 39 w 581"/>
              <a:gd name="T63" fmla="*/ 282 h 282"/>
              <a:gd name="T64" fmla="*/ 31 w 581"/>
              <a:gd name="T65" fmla="*/ 282 h 282"/>
              <a:gd name="T66" fmla="*/ 24 w 581"/>
              <a:gd name="T67" fmla="*/ 281 h 282"/>
              <a:gd name="T68" fmla="*/ 17 w 581"/>
              <a:gd name="T69" fmla="*/ 279 h 282"/>
              <a:gd name="T70" fmla="*/ 12 w 581"/>
              <a:gd name="T71" fmla="*/ 275 h 282"/>
              <a:gd name="T72" fmla="*/ 7 w 581"/>
              <a:gd name="T73" fmla="*/ 269 h 282"/>
              <a:gd name="T74" fmla="*/ 3 w 581"/>
              <a:gd name="T75" fmla="*/ 262 h 282"/>
              <a:gd name="T76" fmla="*/ 1 w 581"/>
              <a:gd name="T77" fmla="*/ 255 h 282"/>
              <a:gd name="T78" fmla="*/ 0 w 581"/>
              <a:gd name="T79" fmla="*/ 248 h 282"/>
              <a:gd name="T80" fmla="*/ 0 w 581"/>
              <a:gd name="T81" fmla="*/ 121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1" h="282">
                <a:moveTo>
                  <a:pt x="0" y="121"/>
                </a:moveTo>
                <a:lnTo>
                  <a:pt x="0" y="121"/>
                </a:lnTo>
                <a:lnTo>
                  <a:pt x="1" y="113"/>
                </a:lnTo>
                <a:lnTo>
                  <a:pt x="3" y="106"/>
                </a:lnTo>
                <a:lnTo>
                  <a:pt x="7" y="98"/>
                </a:lnTo>
                <a:lnTo>
                  <a:pt x="12" y="91"/>
                </a:lnTo>
                <a:lnTo>
                  <a:pt x="17" y="85"/>
                </a:lnTo>
                <a:lnTo>
                  <a:pt x="24" y="81"/>
                </a:lnTo>
                <a:lnTo>
                  <a:pt x="31" y="77"/>
                </a:lnTo>
                <a:lnTo>
                  <a:pt x="39" y="75"/>
                </a:lnTo>
                <a:lnTo>
                  <a:pt x="543" y="0"/>
                </a:lnTo>
                <a:lnTo>
                  <a:pt x="543" y="0"/>
                </a:lnTo>
                <a:lnTo>
                  <a:pt x="551" y="0"/>
                </a:lnTo>
                <a:lnTo>
                  <a:pt x="558" y="1"/>
                </a:lnTo>
                <a:lnTo>
                  <a:pt x="564" y="3"/>
                </a:lnTo>
                <a:lnTo>
                  <a:pt x="570" y="7"/>
                </a:lnTo>
                <a:lnTo>
                  <a:pt x="575" y="12"/>
                </a:lnTo>
                <a:lnTo>
                  <a:pt x="578" y="18"/>
                </a:lnTo>
                <a:lnTo>
                  <a:pt x="581" y="25"/>
                </a:lnTo>
                <a:lnTo>
                  <a:pt x="581" y="33"/>
                </a:lnTo>
                <a:lnTo>
                  <a:pt x="581" y="161"/>
                </a:lnTo>
                <a:lnTo>
                  <a:pt x="581" y="161"/>
                </a:lnTo>
                <a:lnTo>
                  <a:pt x="581" y="169"/>
                </a:lnTo>
                <a:lnTo>
                  <a:pt x="578" y="176"/>
                </a:lnTo>
                <a:lnTo>
                  <a:pt x="575" y="183"/>
                </a:lnTo>
                <a:lnTo>
                  <a:pt x="570" y="190"/>
                </a:lnTo>
                <a:lnTo>
                  <a:pt x="564" y="196"/>
                </a:lnTo>
                <a:lnTo>
                  <a:pt x="558" y="200"/>
                </a:lnTo>
                <a:lnTo>
                  <a:pt x="551" y="204"/>
                </a:lnTo>
                <a:lnTo>
                  <a:pt x="543" y="205"/>
                </a:lnTo>
                <a:lnTo>
                  <a:pt x="39" y="282"/>
                </a:lnTo>
                <a:lnTo>
                  <a:pt x="39" y="282"/>
                </a:lnTo>
                <a:lnTo>
                  <a:pt x="31" y="282"/>
                </a:lnTo>
                <a:lnTo>
                  <a:pt x="24" y="281"/>
                </a:lnTo>
                <a:lnTo>
                  <a:pt x="17" y="279"/>
                </a:lnTo>
                <a:lnTo>
                  <a:pt x="12" y="275"/>
                </a:lnTo>
                <a:lnTo>
                  <a:pt x="7" y="269"/>
                </a:lnTo>
                <a:lnTo>
                  <a:pt x="3" y="262"/>
                </a:lnTo>
                <a:lnTo>
                  <a:pt x="1" y="255"/>
                </a:lnTo>
                <a:lnTo>
                  <a:pt x="0" y="248"/>
                </a:lnTo>
                <a:lnTo>
                  <a:pt x="0" y="121"/>
                </a:lnTo>
                <a:close/>
              </a:path>
            </a:pathLst>
          </a:custGeom>
          <a:solidFill>
            <a:schemeClr val="accent2"/>
          </a:solidFill>
          <a:ln>
            <a:solidFill>
              <a:schemeClr val="accent5">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8" name="Freeform 2422"/>
          <p:cNvSpPr>
            <a:spLocks/>
          </p:cNvSpPr>
          <p:nvPr/>
        </p:nvSpPr>
        <p:spPr bwMode="auto">
          <a:xfrm>
            <a:off x="8158163" y="5676901"/>
            <a:ext cx="82550" cy="115888"/>
          </a:xfrm>
          <a:custGeom>
            <a:avLst/>
            <a:gdLst>
              <a:gd name="T0" fmla="*/ 81 w 311"/>
              <a:gd name="T1" fmla="*/ 437 h 437"/>
              <a:gd name="T2" fmla="*/ 230 w 311"/>
              <a:gd name="T3" fmla="*/ 437 h 437"/>
              <a:gd name="T4" fmla="*/ 230 w 311"/>
              <a:gd name="T5" fmla="*/ 437 h 437"/>
              <a:gd name="T6" fmla="*/ 235 w 311"/>
              <a:gd name="T7" fmla="*/ 422 h 437"/>
              <a:gd name="T8" fmla="*/ 240 w 311"/>
              <a:gd name="T9" fmla="*/ 402 h 437"/>
              <a:gd name="T10" fmla="*/ 252 w 311"/>
              <a:gd name="T11" fmla="*/ 349 h 437"/>
              <a:gd name="T12" fmla="*/ 265 w 311"/>
              <a:gd name="T13" fmla="*/ 285 h 437"/>
              <a:gd name="T14" fmla="*/ 279 w 311"/>
              <a:gd name="T15" fmla="*/ 217 h 437"/>
              <a:gd name="T16" fmla="*/ 301 w 311"/>
              <a:gd name="T17" fmla="*/ 92 h 437"/>
              <a:gd name="T18" fmla="*/ 308 w 311"/>
              <a:gd name="T19" fmla="*/ 48 h 437"/>
              <a:gd name="T20" fmla="*/ 311 w 311"/>
              <a:gd name="T21" fmla="*/ 24 h 437"/>
              <a:gd name="T22" fmla="*/ 311 w 311"/>
              <a:gd name="T23" fmla="*/ 24 h 437"/>
              <a:gd name="T24" fmla="*/ 310 w 311"/>
              <a:gd name="T25" fmla="*/ 21 h 437"/>
              <a:gd name="T26" fmla="*/ 308 w 311"/>
              <a:gd name="T27" fmla="*/ 19 h 437"/>
              <a:gd name="T28" fmla="*/ 304 w 311"/>
              <a:gd name="T29" fmla="*/ 16 h 437"/>
              <a:gd name="T30" fmla="*/ 299 w 311"/>
              <a:gd name="T31" fmla="*/ 14 h 437"/>
              <a:gd name="T32" fmla="*/ 284 w 311"/>
              <a:gd name="T33" fmla="*/ 10 h 437"/>
              <a:gd name="T34" fmla="*/ 263 w 311"/>
              <a:gd name="T35" fmla="*/ 6 h 437"/>
              <a:gd name="T36" fmla="*/ 240 w 311"/>
              <a:gd name="T37" fmla="*/ 3 h 437"/>
              <a:gd name="T38" fmla="*/ 215 w 311"/>
              <a:gd name="T39" fmla="*/ 1 h 437"/>
              <a:gd name="T40" fmla="*/ 186 w 311"/>
              <a:gd name="T41" fmla="*/ 0 h 437"/>
              <a:gd name="T42" fmla="*/ 157 w 311"/>
              <a:gd name="T43" fmla="*/ 0 h 437"/>
              <a:gd name="T44" fmla="*/ 128 w 311"/>
              <a:gd name="T45" fmla="*/ 0 h 437"/>
              <a:gd name="T46" fmla="*/ 100 w 311"/>
              <a:gd name="T47" fmla="*/ 1 h 437"/>
              <a:gd name="T48" fmla="*/ 73 w 311"/>
              <a:gd name="T49" fmla="*/ 3 h 437"/>
              <a:gd name="T50" fmla="*/ 49 w 311"/>
              <a:gd name="T51" fmla="*/ 6 h 437"/>
              <a:gd name="T52" fmla="*/ 29 w 311"/>
              <a:gd name="T53" fmla="*/ 9 h 437"/>
              <a:gd name="T54" fmla="*/ 13 w 311"/>
              <a:gd name="T55" fmla="*/ 14 h 437"/>
              <a:gd name="T56" fmla="*/ 8 w 311"/>
              <a:gd name="T57" fmla="*/ 16 h 437"/>
              <a:gd name="T58" fmla="*/ 4 w 311"/>
              <a:gd name="T59" fmla="*/ 19 h 437"/>
              <a:gd name="T60" fmla="*/ 1 w 311"/>
              <a:gd name="T61" fmla="*/ 21 h 437"/>
              <a:gd name="T62" fmla="*/ 0 w 311"/>
              <a:gd name="T63" fmla="*/ 24 h 437"/>
              <a:gd name="T64" fmla="*/ 0 w 311"/>
              <a:gd name="T65" fmla="*/ 24 h 437"/>
              <a:gd name="T66" fmla="*/ 1 w 311"/>
              <a:gd name="T67" fmla="*/ 38 h 437"/>
              <a:gd name="T68" fmla="*/ 3 w 311"/>
              <a:gd name="T69" fmla="*/ 55 h 437"/>
              <a:gd name="T70" fmla="*/ 9 w 311"/>
              <a:gd name="T71" fmla="*/ 102 h 437"/>
              <a:gd name="T72" fmla="*/ 20 w 311"/>
              <a:gd name="T73" fmla="*/ 161 h 437"/>
              <a:gd name="T74" fmla="*/ 33 w 311"/>
              <a:gd name="T75" fmla="*/ 226 h 437"/>
              <a:gd name="T76" fmla="*/ 46 w 311"/>
              <a:gd name="T77" fmla="*/ 292 h 437"/>
              <a:gd name="T78" fmla="*/ 59 w 311"/>
              <a:gd name="T79" fmla="*/ 353 h 437"/>
              <a:gd name="T80" fmla="*/ 71 w 311"/>
              <a:gd name="T81" fmla="*/ 404 h 437"/>
              <a:gd name="T82" fmla="*/ 81 w 311"/>
              <a:gd name="T83" fmla="*/ 437 h 437"/>
              <a:gd name="T84" fmla="*/ 81 w 311"/>
              <a:gd name="T85"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7">
                <a:moveTo>
                  <a:pt x="81" y="437"/>
                </a:moveTo>
                <a:lnTo>
                  <a:pt x="230" y="437"/>
                </a:lnTo>
                <a:lnTo>
                  <a:pt x="230" y="437"/>
                </a:lnTo>
                <a:lnTo>
                  <a:pt x="235" y="422"/>
                </a:lnTo>
                <a:lnTo>
                  <a:pt x="240" y="402"/>
                </a:lnTo>
                <a:lnTo>
                  <a:pt x="252" y="349"/>
                </a:lnTo>
                <a:lnTo>
                  <a:pt x="265" y="285"/>
                </a:lnTo>
                <a:lnTo>
                  <a:pt x="279" y="217"/>
                </a:lnTo>
                <a:lnTo>
                  <a:pt x="301" y="92"/>
                </a:lnTo>
                <a:lnTo>
                  <a:pt x="308" y="48"/>
                </a:lnTo>
                <a:lnTo>
                  <a:pt x="311" y="24"/>
                </a:lnTo>
                <a:lnTo>
                  <a:pt x="311" y="24"/>
                </a:lnTo>
                <a:lnTo>
                  <a:pt x="310" y="21"/>
                </a:lnTo>
                <a:lnTo>
                  <a:pt x="308" y="19"/>
                </a:lnTo>
                <a:lnTo>
                  <a:pt x="304" y="16"/>
                </a:lnTo>
                <a:lnTo>
                  <a:pt x="299" y="14"/>
                </a:lnTo>
                <a:lnTo>
                  <a:pt x="284" y="10"/>
                </a:lnTo>
                <a:lnTo>
                  <a:pt x="263" y="6"/>
                </a:lnTo>
                <a:lnTo>
                  <a:pt x="240" y="3"/>
                </a:lnTo>
                <a:lnTo>
                  <a:pt x="215" y="1"/>
                </a:lnTo>
                <a:lnTo>
                  <a:pt x="186" y="0"/>
                </a:lnTo>
                <a:lnTo>
                  <a:pt x="157" y="0"/>
                </a:lnTo>
                <a:lnTo>
                  <a:pt x="128" y="0"/>
                </a:lnTo>
                <a:lnTo>
                  <a:pt x="100" y="1"/>
                </a:lnTo>
                <a:lnTo>
                  <a:pt x="73" y="3"/>
                </a:lnTo>
                <a:lnTo>
                  <a:pt x="49" y="6"/>
                </a:lnTo>
                <a:lnTo>
                  <a:pt x="29" y="9"/>
                </a:lnTo>
                <a:lnTo>
                  <a:pt x="13" y="14"/>
                </a:lnTo>
                <a:lnTo>
                  <a:pt x="8" y="16"/>
                </a:lnTo>
                <a:lnTo>
                  <a:pt x="4" y="19"/>
                </a:lnTo>
                <a:lnTo>
                  <a:pt x="1" y="21"/>
                </a:lnTo>
                <a:lnTo>
                  <a:pt x="0" y="24"/>
                </a:lnTo>
                <a:lnTo>
                  <a:pt x="0" y="24"/>
                </a:lnTo>
                <a:lnTo>
                  <a:pt x="1" y="38"/>
                </a:lnTo>
                <a:lnTo>
                  <a:pt x="3" y="55"/>
                </a:lnTo>
                <a:lnTo>
                  <a:pt x="9" y="102"/>
                </a:lnTo>
                <a:lnTo>
                  <a:pt x="20" y="161"/>
                </a:lnTo>
                <a:lnTo>
                  <a:pt x="33" y="226"/>
                </a:lnTo>
                <a:lnTo>
                  <a:pt x="46" y="292"/>
                </a:lnTo>
                <a:lnTo>
                  <a:pt x="59" y="353"/>
                </a:lnTo>
                <a:lnTo>
                  <a:pt x="71" y="404"/>
                </a:lnTo>
                <a:lnTo>
                  <a:pt x="81" y="437"/>
                </a:lnTo>
                <a:lnTo>
                  <a:pt x="81" y="437"/>
                </a:lnTo>
                <a:close/>
              </a:path>
            </a:pathLst>
          </a:custGeom>
          <a:solidFill>
            <a:schemeClr val="accent5"/>
          </a:solidFill>
          <a:ln>
            <a:solidFill>
              <a:schemeClr val="accent5">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69" name="Freeform 2423"/>
          <p:cNvSpPr>
            <a:spLocks/>
          </p:cNvSpPr>
          <p:nvPr/>
        </p:nvSpPr>
        <p:spPr bwMode="auto">
          <a:xfrm>
            <a:off x="8158163" y="5675313"/>
            <a:ext cx="82550" cy="19050"/>
          </a:xfrm>
          <a:custGeom>
            <a:avLst/>
            <a:gdLst>
              <a:gd name="T0" fmla="*/ 311 w 311"/>
              <a:gd name="T1" fmla="*/ 37 h 73"/>
              <a:gd name="T2" fmla="*/ 311 w 311"/>
              <a:gd name="T3" fmla="*/ 37 h 73"/>
              <a:gd name="T4" fmla="*/ 310 w 311"/>
              <a:gd name="T5" fmla="*/ 40 h 73"/>
              <a:gd name="T6" fmla="*/ 308 w 311"/>
              <a:gd name="T7" fmla="*/ 44 h 73"/>
              <a:gd name="T8" fmla="*/ 304 w 311"/>
              <a:gd name="T9" fmla="*/ 47 h 73"/>
              <a:gd name="T10" fmla="*/ 299 w 311"/>
              <a:gd name="T11" fmla="*/ 51 h 73"/>
              <a:gd name="T12" fmla="*/ 293 w 311"/>
              <a:gd name="T13" fmla="*/ 54 h 73"/>
              <a:gd name="T14" fmla="*/ 285 w 311"/>
              <a:gd name="T15" fmla="*/ 57 h 73"/>
              <a:gd name="T16" fmla="*/ 265 w 311"/>
              <a:gd name="T17" fmla="*/ 62 h 73"/>
              <a:gd name="T18" fmla="*/ 243 w 311"/>
              <a:gd name="T19" fmla="*/ 67 h 73"/>
              <a:gd name="T20" fmla="*/ 217 w 311"/>
              <a:gd name="T21" fmla="*/ 70 h 73"/>
              <a:gd name="T22" fmla="*/ 187 w 311"/>
              <a:gd name="T23" fmla="*/ 72 h 73"/>
              <a:gd name="T24" fmla="*/ 156 w 311"/>
              <a:gd name="T25" fmla="*/ 73 h 73"/>
              <a:gd name="T26" fmla="*/ 156 w 311"/>
              <a:gd name="T27" fmla="*/ 73 h 73"/>
              <a:gd name="T28" fmla="*/ 124 w 311"/>
              <a:gd name="T29" fmla="*/ 72 h 73"/>
              <a:gd name="T30" fmla="*/ 96 w 311"/>
              <a:gd name="T31" fmla="*/ 70 h 73"/>
              <a:gd name="T32" fmla="*/ 69 w 311"/>
              <a:gd name="T33" fmla="*/ 67 h 73"/>
              <a:gd name="T34" fmla="*/ 46 w 311"/>
              <a:gd name="T35" fmla="*/ 62 h 73"/>
              <a:gd name="T36" fmla="*/ 26 w 311"/>
              <a:gd name="T37" fmla="*/ 57 h 73"/>
              <a:gd name="T38" fmla="*/ 19 w 311"/>
              <a:gd name="T39" fmla="*/ 54 h 73"/>
              <a:gd name="T40" fmla="*/ 12 w 311"/>
              <a:gd name="T41" fmla="*/ 51 h 73"/>
              <a:gd name="T42" fmla="*/ 7 w 311"/>
              <a:gd name="T43" fmla="*/ 47 h 73"/>
              <a:gd name="T44" fmla="*/ 3 w 311"/>
              <a:gd name="T45" fmla="*/ 44 h 73"/>
              <a:gd name="T46" fmla="*/ 1 w 311"/>
              <a:gd name="T47" fmla="*/ 40 h 73"/>
              <a:gd name="T48" fmla="*/ 0 w 311"/>
              <a:gd name="T49" fmla="*/ 37 h 73"/>
              <a:gd name="T50" fmla="*/ 0 w 311"/>
              <a:gd name="T51" fmla="*/ 37 h 73"/>
              <a:gd name="T52" fmla="*/ 1 w 311"/>
              <a:gd name="T53" fmla="*/ 32 h 73"/>
              <a:gd name="T54" fmla="*/ 3 w 311"/>
              <a:gd name="T55" fmla="*/ 28 h 73"/>
              <a:gd name="T56" fmla="*/ 7 w 311"/>
              <a:gd name="T57" fmla="*/ 25 h 73"/>
              <a:gd name="T58" fmla="*/ 12 w 311"/>
              <a:gd name="T59" fmla="*/ 22 h 73"/>
              <a:gd name="T60" fmla="*/ 19 w 311"/>
              <a:gd name="T61" fmla="*/ 19 h 73"/>
              <a:gd name="T62" fmla="*/ 26 w 311"/>
              <a:gd name="T63" fmla="*/ 16 h 73"/>
              <a:gd name="T64" fmla="*/ 46 w 311"/>
              <a:gd name="T65" fmla="*/ 10 h 73"/>
              <a:gd name="T66" fmla="*/ 69 w 311"/>
              <a:gd name="T67" fmla="*/ 6 h 73"/>
              <a:gd name="T68" fmla="*/ 96 w 311"/>
              <a:gd name="T69" fmla="*/ 3 h 73"/>
              <a:gd name="T70" fmla="*/ 124 w 311"/>
              <a:gd name="T71" fmla="*/ 0 h 73"/>
              <a:gd name="T72" fmla="*/ 156 w 311"/>
              <a:gd name="T73" fmla="*/ 0 h 73"/>
              <a:gd name="T74" fmla="*/ 156 w 311"/>
              <a:gd name="T75" fmla="*/ 0 h 73"/>
              <a:gd name="T76" fmla="*/ 187 w 311"/>
              <a:gd name="T77" fmla="*/ 0 h 73"/>
              <a:gd name="T78" fmla="*/ 217 w 311"/>
              <a:gd name="T79" fmla="*/ 3 h 73"/>
              <a:gd name="T80" fmla="*/ 243 w 311"/>
              <a:gd name="T81" fmla="*/ 6 h 73"/>
              <a:gd name="T82" fmla="*/ 265 w 311"/>
              <a:gd name="T83" fmla="*/ 10 h 73"/>
              <a:gd name="T84" fmla="*/ 285 w 311"/>
              <a:gd name="T85" fmla="*/ 16 h 73"/>
              <a:gd name="T86" fmla="*/ 293 w 311"/>
              <a:gd name="T87" fmla="*/ 19 h 73"/>
              <a:gd name="T88" fmla="*/ 299 w 311"/>
              <a:gd name="T89" fmla="*/ 22 h 73"/>
              <a:gd name="T90" fmla="*/ 304 w 311"/>
              <a:gd name="T91" fmla="*/ 25 h 73"/>
              <a:gd name="T92" fmla="*/ 308 w 311"/>
              <a:gd name="T93" fmla="*/ 28 h 73"/>
              <a:gd name="T94" fmla="*/ 310 w 311"/>
              <a:gd name="T95" fmla="*/ 32 h 73"/>
              <a:gd name="T96" fmla="*/ 311 w 311"/>
              <a:gd name="T97" fmla="*/ 37 h 73"/>
              <a:gd name="T98" fmla="*/ 311 w 311"/>
              <a:gd name="T99" fmla="*/ 3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1" h="73">
                <a:moveTo>
                  <a:pt x="311" y="37"/>
                </a:moveTo>
                <a:lnTo>
                  <a:pt x="311" y="37"/>
                </a:lnTo>
                <a:lnTo>
                  <a:pt x="310" y="40"/>
                </a:lnTo>
                <a:lnTo>
                  <a:pt x="308" y="44"/>
                </a:lnTo>
                <a:lnTo>
                  <a:pt x="304" y="47"/>
                </a:lnTo>
                <a:lnTo>
                  <a:pt x="299" y="51"/>
                </a:lnTo>
                <a:lnTo>
                  <a:pt x="293" y="54"/>
                </a:lnTo>
                <a:lnTo>
                  <a:pt x="285" y="57"/>
                </a:lnTo>
                <a:lnTo>
                  <a:pt x="265" y="62"/>
                </a:lnTo>
                <a:lnTo>
                  <a:pt x="243" y="67"/>
                </a:lnTo>
                <a:lnTo>
                  <a:pt x="217" y="70"/>
                </a:lnTo>
                <a:lnTo>
                  <a:pt x="187" y="72"/>
                </a:lnTo>
                <a:lnTo>
                  <a:pt x="156" y="73"/>
                </a:lnTo>
                <a:lnTo>
                  <a:pt x="156" y="73"/>
                </a:lnTo>
                <a:lnTo>
                  <a:pt x="124" y="72"/>
                </a:lnTo>
                <a:lnTo>
                  <a:pt x="96" y="70"/>
                </a:lnTo>
                <a:lnTo>
                  <a:pt x="69" y="67"/>
                </a:lnTo>
                <a:lnTo>
                  <a:pt x="46" y="62"/>
                </a:lnTo>
                <a:lnTo>
                  <a:pt x="26" y="57"/>
                </a:lnTo>
                <a:lnTo>
                  <a:pt x="19" y="54"/>
                </a:lnTo>
                <a:lnTo>
                  <a:pt x="12" y="51"/>
                </a:lnTo>
                <a:lnTo>
                  <a:pt x="7" y="47"/>
                </a:lnTo>
                <a:lnTo>
                  <a:pt x="3" y="44"/>
                </a:lnTo>
                <a:lnTo>
                  <a:pt x="1" y="40"/>
                </a:lnTo>
                <a:lnTo>
                  <a:pt x="0" y="37"/>
                </a:lnTo>
                <a:lnTo>
                  <a:pt x="0" y="37"/>
                </a:lnTo>
                <a:lnTo>
                  <a:pt x="1" y="32"/>
                </a:lnTo>
                <a:lnTo>
                  <a:pt x="3" y="28"/>
                </a:lnTo>
                <a:lnTo>
                  <a:pt x="7" y="25"/>
                </a:lnTo>
                <a:lnTo>
                  <a:pt x="12" y="22"/>
                </a:lnTo>
                <a:lnTo>
                  <a:pt x="19" y="19"/>
                </a:lnTo>
                <a:lnTo>
                  <a:pt x="26" y="16"/>
                </a:lnTo>
                <a:lnTo>
                  <a:pt x="46" y="10"/>
                </a:lnTo>
                <a:lnTo>
                  <a:pt x="69" y="6"/>
                </a:lnTo>
                <a:lnTo>
                  <a:pt x="96" y="3"/>
                </a:lnTo>
                <a:lnTo>
                  <a:pt x="124" y="0"/>
                </a:lnTo>
                <a:lnTo>
                  <a:pt x="156" y="0"/>
                </a:lnTo>
                <a:lnTo>
                  <a:pt x="156" y="0"/>
                </a:lnTo>
                <a:lnTo>
                  <a:pt x="187" y="0"/>
                </a:lnTo>
                <a:lnTo>
                  <a:pt x="217" y="3"/>
                </a:lnTo>
                <a:lnTo>
                  <a:pt x="243" y="6"/>
                </a:lnTo>
                <a:lnTo>
                  <a:pt x="265" y="10"/>
                </a:lnTo>
                <a:lnTo>
                  <a:pt x="285" y="16"/>
                </a:lnTo>
                <a:lnTo>
                  <a:pt x="293" y="19"/>
                </a:lnTo>
                <a:lnTo>
                  <a:pt x="299" y="22"/>
                </a:lnTo>
                <a:lnTo>
                  <a:pt x="304" y="25"/>
                </a:lnTo>
                <a:lnTo>
                  <a:pt x="308" y="28"/>
                </a:lnTo>
                <a:lnTo>
                  <a:pt x="310" y="32"/>
                </a:lnTo>
                <a:lnTo>
                  <a:pt x="311" y="37"/>
                </a:lnTo>
                <a:lnTo>
                  <a:pt x="311" y="37"/>
                </a:lnTo>
                <a:close/>
              </a:path>
            </a:pathLst>
          </a:custGeom>
          <a:solidFill>
            <a:schemeClr val="accent5">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697" name="Group 3696"/>
          <p:cNvGrpSpPr/>
          <p:nvPr/>
        </p:nvGrpSpPr>
        <p:grpSpPr>
          <a:xfrm>
            <a:off x="8702805" y="5520983"/>
            <a:ext cx="317243" cy="710784"/>
            <a:chOff x="8716963" y="5516979"/>
            <a:chExt cx="376238" cy="842963"/>
          </a:xfrm>
        </p:grpSpPr>
        <p:sp>
          <p:nvSpPr>
            <p:cNvPr id="3670" name="Freeform 2424"/>
            <p:cNvSpPr>
              <a:spLocks/>
            </p:cNvSpPr>
            <p:nvPr/>
          </p:nvSpPr>
          <p:spPr bwMode="auto">
            <a:xfrm>
              <a:off x="8836025" y="5516979"/>
              <a:ext cx="138113" cy="136525"/>
            </a:xfrm>
            <a:custGeom>
              <a:avLst/>
              <a:gdLst>
                <a:gd name="T0" fmla="*/ 210 w 522"/>
                <a:gd name="T1" fmla="*/ 5 h 514"/>
                <a:gd name="T2" fmla="*/ 242 w 522"/>
                <a:gd name="T3" fmla="*/ 0 h 514"/>
                <a:gd name="T4" fmla="*/ 272 w 522"/>
                <a:gd name="T5" fmla="*/ 0 h 514"/>
                <a:gd name="T6" fmla="*/ 304 w 522"/>
                <a:gd name="T7" fmla="*/ 4 h 514"/>
                <a:gd name="T8" fmla="*/ 333 w 522"/>
                <a:gd name="T9" fmla="*/ 11 h 514"/>
                <a:gd name="T10" fmla="*/ 363 w 522"/>
                <a:gd name="T11" fmla="*/ 22 h 514"/>
                <a:gd name="T12" fmla="*/ 390 w 522"/>
                <a:gd name="T13" fmla="*/ 36 h 514"/>
                <a:gd name="T14" fmla="*/ 417 w 522"/>
                <a:gd name="T15" fmla="*/ 54 h 514"/>
                <a:gd name="T16" fmla="*/ 440 w 522"/>
                <a:gd name="T17" fmla="*/ 74 h 514"/>
                <a:gd name="T18" fmla="*/ 461 w 522"/>
                <a:gd name="T19" fmla="*/ 96 h 514"/>
                <a:gd name="T20" fmla="*/ 481 w 522"/>
                <a:gd name="T21" fmla="*/ 121 h 514"/>
                <a:gd name="T22" fmla="*/ 496 w 522"/>
                <a:gd name="T23" fmla="*/ 148 h 514"/>
                <a:gd name="T24" fmla="*/ 508 w 522"/>
                <a:gd name="T25" fmla="*/ 176 h 514"/>
                <a:gd name="T26" fmla="*/ 517 w 522"/>
                <a:gd name="T27" fmla="*/ 205 h 514"/>
                <a:gd name="T28" fmla="*/ 521 w 522"/>
                <a:gd name="T29" fmla="*/ 237 h 514"/>
                <a:gd name="T30" fmla="*/ 522 w 522"/>
                <a:gd name="T31" fmla="*/ 268 h 514"/>
                <a:gd name="T32" fmla="*/ 517 w 522"/>
                <a:gd name="T33" fmla="*/ 301 h 514"/>
                <a:gd name="T34" fmla="*/ 515 w 522"/>
                <a:gd name="T35" fmla="*/ 321 h 514"/>
                <a:gd name="T36" fmla="*/ 505 w 522"/>
                <a:gd name="T37" fmla="*/ 359 h 514"/>
                <a:gd name="T38" fmla="*/ 490 w 522"/>
                <a:gd name="T39" fmla="*/ 393 h 514"/>
                <a:gd name="T40" fmla="*/ 469 w 522"/>
                <a:gd name="T41" fmla="*/ 424 h 514"/>
                <a:gd name="T42" fmla="*/ 442 w 522"/>
                <a:gd name="T43" fmla="*/ 450 h 514"/>
                <a:gd name="T44" fmla="*/ 412 w 522"/>
                <a:gd name="T45" fmla="*/ 472 h 514"/>
                <a:gd name="T46" fmla="*/ 379 w 522"/>
                <a:gd name="T47" fmla="*/ 489 h 514"/>
                <a:gd name="T48" fmla="*/ 343 w 522"/>
                <a:gd name="T49" fmla="*/ 502 h 514"/>
                <a:gd name="T50" fmla="*/ 306 w 522"/>
                <a:gd name="T51" fmla="*/ 511 h 514"/>
                <a:gd name="T52" fmla="*/ 268 w 522"/>
                <a:gd name="T53" fmla="*/ 514 h 514"/>
                <a:gd name="T54" fmla="*/ 230 w 522"/>
                <a:gd name="T55" fmla="*/ 513 h 514"/>
                <a:gd name="T56" fmla="*/ 193 w 522"/>
                <a:gd name="T57" fmla="*/ 507 h 514"/>
                <a:gd name="T58" fmla="*/ 156 w 522"/>
                <a:gd name="T59" fmla="*/ 496 h 514"/>
                <a:gd name="T60" fmla="*/ 123 w 522"/>
                <a:gd name="T61" fmla="*/ 479 h 514"/>
                <a:gd name="T62" fmla="*/ 91 w 522"/>
                <a:gd name="T63" fmla="*/ 456 h 514"/>
                <a:gd name="T64" fmla="*/ 65 w 522"/>
                <a:gd name="T65" fmla="*/ 429 h 514"/>
                <a:gd name="T66" fmla="*/ 53 w 522"/>
                <a:gd name="T67" fmla="*/ 414 h 514"/>
                <a:gd name="T68" fmla="*/ 32 w 522"/>
                <a:gd name="T69" fmla="*/ 385 h 514"/>
                <a:gd name="T70" fmla="*/ 17 w 522"/>
                <a:gd name="T71" fmla="*/ 356 h 514"/>
                <a:gd name="T72" fmla="*/ 7 w 522"/>
                <a:gd name="T73" fmla="*/ 325 h 514"/>
                <a:gd name="T74" fmla="*/ 2 w 522"/>
                <a:gd name="T75" fmla="*/ 294 h 514"/>
                <a:gd name="T76" fmla="*/ 0 w 522"/>
                <a:gd name="T77" fmla="*/ 262 h 514"/>
                <a:gd name="T78" fmla="*/ 3 w 522"/>
                <a:gd name="T79" fmla="*/ 231 h 514"/>
                <a:gd name="T80" fmla="*/ 10 w 522"/>
                <a:gd name="T81" fmla="*/ 199 h 514"/>
                <a:gd name="T82" fmla="*/ 20 w 522"/>
                <a:gd name="T83" fmla="*/ 168 h 514"/>
                <a:gd name="T84" fmla="*/ 34 w 522"/>
                <a:gd name="T85" fmla="*/ 140 h 514"/>
                <a:gd name="T86" fmla="*/ 52 w 522"/>
                <a:gd name="T87" fmla="*/ 113 h 514"/>
                <a:gd name="T88" fmla="*/ 72 w 522"/>
                <a:gd name="T89" fmla="*/ 87 h 514"/>
                <a:gd name="T90" fmla="*/ 94 w 522"/>
                <a:gd name="T91" fmla="*/ 64 h 514"/>
                <a:gd name="T92" fmla="*/ 120 w 522"/>
                <a:gd name="T93" fmla="*/ 43 h 514"/>
                <a:gd name="T94" fmla="*/ 148 w 522"/>
                <a:gd name="T95" fmla="*/ 27 h 514"/>
                <a:gd name="T96" fmla="*/ 178 w 522"/>
                <a:gd name="T97" fmla="*/ 14 h 514"/>
                <a:gd name="T98" fmla="*/ 210 w 522"/>
                <a:gd name="T99" fmla="*/ 5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2" h="514">
                  <a:moveTo>
                    <a:pt x="210" y="5"/>
                  </a:moveTo>
                  <a:lnTo>
                    <a:pt x="210" y="5"/>
                  </a:lnTo>
                  <a:lnTo>
                    <a:pt x="226" y="2"/>
                  </a:lnTo>
                  <a:lnTo>
                    <a:pt x="242" y="0"/>
                  </a:lnTo>
                  <a:lnTo>
                    <a:pt x="257" y="0"/>
                  </a:lnTo>
                  <a:lnTo>
                    <a:pt x="272" y="0"/>
                  </a:lnTo>
                  <a:lnTo>
                    <a:pt x="289" y="1"/>
                  </a:lnTo>
                  <a:lnTo>
                    <a:pt x="304" y="4"/>
                  </a:lnTo>
                  <a:lnTo>
                    <a:pt x="319" y="7"/>
                  </a:lnTo>
                  <a:lnTo>
                    <a:pt x="333" y="11"/>
                  </a:lnTo>
                  <a:lnTo>
                    <a:pt x="349" y="16"/>
                  </a:lnTo>
                  <a:lnTo>
                    <a:pt x="363" y="22"/>
                  </a:lnTo>
                  <a:lnTo>
                    <a:pt x="377" y="29"/>
                  </a:lnTo>
                  <a:lnTo>
                    <a:pt x="390" y="36"/>
                  </a:lnTo>
                  <a:lnTo>
                    <a:pt x="403" y="44"/>
                  </a:lnTo>
                  <a:lnTo>
                    <a:pt x="417" y="54"/>
                  </a:lnTo>
                  <a:lnTo>
                    <a:pt x="429" y="64"/>
                  </a:lnTo>
                  <a:lnTo>
                    <a:pt x="440" y="74"/>
                  </a:lnTo>
                  <a:lnTo>
                    <a:pt x="451" y="85"/>
                  </a:lnTo>
                  <a:lnTo>
                    <a:pt x="461" y="96"/>
                  </a:lnTo>
                  <a:lnTo>
                    <a:pt x="472" y="108"/>
                  </a:lnTo>
                  <a:lnTo>
                    <a:pt x="481" y="121"/>
                  </a:lnTo>
                  <a:lnTo>
                    <a:pt x="489" y="134"/>
                  </a:lnTo>
                  <a:lnTo>
                    <a:pt x="496" y="148"/>
                  </a:lnTo>
                  <a:lnTo>
                    <a:pt x="502" y="161"/>
                  </a:lnTo>
                  <a:lnTo>
                    <a:pt x="508" y="176"/>
                  </a:lnTo>
                  <a:lnTo>
                    <a:pt x="513" y="191"/>
                  </a:lnTo>
                  <a:lnTo>
                    <a:pt x="517" y="205"/>
                  </a:lnTo>
                  <a:lnTo>
                    <a:pt x="519" y="220"/>
                  </a:lnTo>
                  <a:lnTo>
                    <a:pt x="521" y="237"/>
                  </a:lnTo>
                  <a:lnTo>
                    <a:pt x="522" y="252"/>
                  </a:lnTo>
                  <a:lnTo>
                    <a:pt x="522" y="268"/>
                  </a:lnTo>
                  <a:lnTo>
                    <a:pt x="520" y="284"/>
                  </a:lnTo>
                  <a:lnTo>
                    <a:pt x="517" y="301"/>
                  </a:lnTo>
                  <a:lnTo>
                    <a:pt x="517" y="301"/>
                  </a:lnTo>
                  <a:lnTo>
                    <a:pt x="515" y="321"/>
                  </a:lnTo>
                  <a:lnTo>
                    <a:pt x="511" y="340"/>
                  </a:lnTo>
                  <a:lnTo>
                    <a:pt x="505" y="359"/>
                  </a:lnTo>
                  <a:lnTo>
                    <a:pt x="498" y="377"/>
                  </a:lnTo>
                  <a:lnTo>
                    <a:pt x="490" y="393"/>
                  </a:lnTo>
                  <a:lnTo>
                    <a:pt x="480" y="409"/>
                  </a:lnTo>
                  <a:lnTo>
                    <a:pt x="469" y="424"/>
                  </a:lnTo>
                  <a:lnTo>
                    <a:pt x="455" y="437"/>
                  </a:lnTo>
                  <a:lnTo>
                    <a:pt x="442" y="450"/>
                  </a:lnTo>
                  <a:lnTo>
                    <a:pt x="428" y="461"/>
                  </a:lnTo>
                  <a:lnTo>
                    <a:pt x="412" y="472"/>
                  </a:lnTo>
                  <a:lnTo>
                    <a:pt x="395" y="481"/>
                  </a:lnTo>
                  <a:lnTo>
                    <a:pt x="379" y="489"/>
                  </a:lnTo>
                  <a:lnTo>
                    <a:pt x="362" y="496"/>
                  </a:lnTo>
                  <a:lnTo>
                    <a:pt x="343" y="502"/>
                  </a:lnTo>
                  <a:lnTo>
                    <a:pt x="325" y="507"/>
                  </a:lnTo>
                  <a:lnTo>
                    <a:pt x="306" y="511"/>
                  </a:lnTo>
                  <a:lnTo>
                    <a:pt x="288" y="513"/>
                  </a:lnTo>
                  <a:lnTo>
                    <a:pt x="268" y="514"/>
                  </a:lnTo>
                  <a:lnTo>
                    <a:pt x="249" y="514"/>
                  </a:lnTo>
                  <a:lnTo>
                    <a:pt x="230" y="513"/>
                  </a:lnTo>
                  <a:lnTo>
                    <a:pt x="211" y="511"/>
                  </a:lnTo>
                  <a:lnTo>
                    <a:pt x="193" y="507"/>
                  </a:lnTo>
                  <a:lnTo>
                    <a:pt x="175" y="502"/>
                  </a:lnTo>
                  <a:lnTo>
                    <a:pt x="156" y="496"/>
                  </a:lnTo>
                  <a:lnTo>
                    <a:pt x="139" y="488"/>
                  </a:lnTo>
                  <a:lnTo>
                    <a:pt x="123" y="479"/>
                  </a:lnTo>
                  <a:lnTo>
                    <a:pt x="107" y="469"/>
                  </a:lnTo>
                  <a:lnTo>
                    <a:pt x="91" y="456"/>
                  </a:lnTo>
                  <a:lnTo>
                    <a:pt x="78" y="444"/>
                  </a:lnTo>
                  <a:lnTo>
                    <a:pt x="65" y="429"/>
                  </a:lnTo>
                  <a:lnTo>
                    <a:pt x="53" y="414"/>
                  </a:lnTo>
                  <a:lnTo>
                    <a:pt x="53" y="414"/>
                  </a:lnTo>
                  <a:lnTo>
                    <a:pt x="41" y="399"/>
                  </a:lnTo>
                  <a:lnTo>
                    <a:pt x="32" y="385"/>
                  </a:lnTo>
                  <a:lnTo>
                    <a:pt x="24" y="371"/>
                  </a:lnTo>
                  <a:lnTo>
                    <a:pt x="17" y="356"/>
                  </a:lnTo>
                  <a:lnTo>
                    <a:pt x="12" y="340"/>
                  </a:lnTo>
                  <a:lnTo>
                    <a:pt x="7" y="325"/>
                  </a:lnTo>
                  <a:lnTo>
                    <a:pt x="4" y="310"/>
                  </a:lnTo>
                  <a:lnTo>
                    <a:pt x="2" y="294"/>
                  </a:lnTo>
                  <a:lnTo>
                    <a:pt x="1" y="278"/>
                  </a:lnTo>
                  <a:lnTo>
                    <a:pt x="0" y="262"/>
                  </a:lnTo>
                  <a:lnTo>
                    <a:pt x="1" y="247"/>
                  </a:lnTo>
                  <a:lnTo>
                    <a:pt x="3" y="231"/>
                  </a:lnTo>
                  <a:lnTo>
                    <a:pt x="6" y="215"/>
                  </a:lnTo>
                  <a:lnTo>
                    <a:pt x="10" y="199"/>
                  </a:lnTo>
                  <a:lnTo>
                    <a:pt x="15" y="184"/>
                  </a:lnTo>
                  <a:lnTo>
                    <a:pt x="20" y="168"/>
                  </a:lnTo>
                  <a:lnTo>
                    <a:pt x="27" y="154"/>
                  </a:lnTo>
                  <a:lnTo>
                    <a:pt x="34" y="140"/>
                  </a:lnTo>
                  <a:lnTo>
                    <a:pt x="42" y="126"/>
                  </a:lnTo>
                  <a:lnTo>
                    <a:pt x="52" y="113"/>
                  </a:lnTo>
                  <a:lnTo>
                    <a:pt x="61" y="99"/>
                  </a:lnTo>
                  <a:lnTo>
                    <a:pt x="72" y="87"/>
                  </a:lnTo>
                  <a:lnTo>
                    <a:pt x="83" y="75"/>
                  </a:lnTo>
                  <a:lnTo>
                    <a:pt x="94" y="64"/>
                  </a:lnTo>
                  <a:lnTo>
                    <a:pt x="107" y="54"/>
                  </a:lnTo>
                  <a:lnTo>
                    <a:pt x="120" y="43"/>
                  </a:lnTo>
                  <a:lnTo>
                    <a:pt x="134" y="35"/>
                  </a:lnTo>
                  <a:lnTo>
                    <a:pt x="148" y="27"/>
                  </a:lnTo>
                  <a:lnTo>
                    <a:pt x="162" y="20"/>
                  </a:lnTo>
                  <a:lnTo>
                    <a:pt x="178" y="14"/>
                  </a:lnTo>
                  <a:lnTo>
                    <a:pt x="194" y="9"/>
                  </a:lnTo>
                  <a:lnTo>
                    <a:pt x="210" y="5"/>
                  </a:lnTo>
                  <a:lnTo>
                    <a:pt x="21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1" name="Freeform 2425"/>
            <p:cNvSpPr>
              <a:spLocks/>
            </p:cNvSpPr>
            <p:nvPr/>
          </p:nvSpPr>
          <p:spPr bwMode="auto">
            <a:xfrm>
              <a:off x="8716963" y="5675729"/>
              <a:ext cx="376238" cy="684213"/>
            </a:xfrm>
            <a:custGeom>
              <a:avLst/>
              <a:gdLst>
                <a:gd name="T0" fmla="*/ 341 w 1421"/>
                <a:gd name="T1" fmla="*/ 57 h 2589"/>
                <a:gd name="T2" fmla="*/ 409 w 1421"/>
                <a:gd name="T3" fmla="*/ 23 h 2589"/>
                <a:gd name="T4" fmla="*/ 531 w 1421"/>
                <a:gd name="T5" fmla="*/ 2 h 2589"/>
                <a:gd name="T6" fmla="*/ 752 w 1421"/>
                <a:gd name="T7" fmla="*/ 3 h 2589"/>
                <a:gd name="T8" fmla="*/ 859 w 1421"/>
                <a:gd name="T9" fmla="*/ 0 h 2589"/>
                <a:gd name="T10" fmla="*/ 988 w 1421"/>
                <a:gd name="T11" fmla="*/ 18 h 2589"/>
                <a:gd name="T12" fmla="*/ 1090 w 1421"/>
                <a:gd name="T13" fmla="*/ 67 h 2589"/>
                <a:gd name="T14" fmla="*/ 1136 w 1421"/>
                <a:gd name="T15" fmla="*/ 112 h 2589"/>
                <a:gd name="T16" fmla="*/ 1184 w 1421"/>
                <a:gd name="T17" fmla="*/ 193 h 2589"/>
                <a:gd name="T18" fmla="*/ 1244 w 1421"/>
                <a:gd name="T19" fmla="*/ 353 h 2589"/>
                <a:gd name="T20" fmla="*/ 1320 w 1421"/>
                <a:gd name="T21" fmla="*/ 617 h 2589"/>
                <a:gd name="T22" fmla="*/ 1364 w 1421"/>
                <a:gd name="T23" fmla="*/ 760 h 2589"/>
                <a:gd name="T24" fmla="*/ 1412 w 1421"/>
                <a:gd name="T25" fmla="*/ 927 h 2589"/>
                <a:gd name="T26" fmla="*/ 1418 w 1421"/>
                <a:gd name="T27" fmla="*/ 1069 h 2589"/>
                <a:gd name="T28" fmla="*/ 1386 w 1421"/>
                <a:gd name="T29" fmla="*/ 1106 h 2589"/>
                <a:gd name="T30" fmla="*/ 1319 w 1421"/>
                <a:gd name="T31" fmla="*/ 1110 h 2589"/>
                <a:gd name="T32" fmla="*/ 1260 w 1421"/>
                <a:gd name="T33" fmla="*/ 1087 h 2589"/>
                <a:gd name="T34" fmla="*/ 1227 w 1421"/>
                <a:gd name="T35" fmla="*/ 1044 h 2589"/>
                <a:gd name="T36" fmla="*/ 1076 w 1421"/>
                <a:gd name="T37" fmla="*/ 569 h 2589"/>
                <a:gd name="T38" fmla="*/ 1015 w 1421"/>
                <a:gd name="T39" fmla="*/ 387 h 2589"/>
                <a:gd name="T40" fmla="*/ 961 w 1421"/>
                <a:gd name="T41" fmla="*/ 330 h 2589"/>
                <a:gd name="T42" fmla="*/ 1041 w 1421"/>
                <a:gd name="T43" fmla="*/ 641 h 2589"/>
                <a:gd name="T44" fmla="*/ 1308 w 1421"/>
                <a:gd name="T45" fmla="*/ 1564 h 2589"/>
                <a:gd name="T46" fmla="*/ 1002 w 1421"/>
                <a:gd name="T47" fmla="*/ 1564 h 2589"/>
                <a:gd name="T48" fmla="*/ 999 w 1421"/>
                <a:gd name="T49" fmla="*/ 2338 h 2589"/>
                <a:gd name="T50" fmla="*/ 994 w 1421"/>
                <a:gd name="T51" fmla="*/ 2486 h 2589"/>
                <a:gd name="T52" fmla="*/ 967 w 1421"/>
                <a:gd name="T53" fmla="*/ 2544 h 2589"/>
                <a:gd name="T54" fmla="*/ 919 w 1421"/>
                <a:gd name="T55" fmla="*/ 2582 h 2589"/>
                <a:gd name="T56" fmla="*/ 867 w 1421"/>
                <a:gd name="T57" fmla="*/ 2589 h 2589"/>
                <a:gd name="T58" fmla="*/ 809 w 1421"/>
                <a:gd name="T59" fmla="*/ 2565 h 2589"/>
                <a:gd name="T60" fmla="*/ 771 w 1421"/>
                <a:gd name="T61" fmla="*/ 2516 h 2589"/>
                <a:gd name="T62" fmla="*/ 762 w 1421"/>
                <a:gd name="T63" fmla="*/ 2453 h 2589"/>
                <a:gd name="T64" fmla="*/ 762 w 1421"/>
                <a:gd name="T65" fmla="*/ 1785 h 2589"/>
                <a:gd name="T66" fmla="*/ 688 w 1421"/>
                <a:gd name="T67" fmla="*/ 1565 h 2589"/>
                <a:gd name="T68" fmla="*/ 688 w 1421"/>
                <a:gd name="T69" fmla="*/ 2254 h 2589"/>
                <a:gd name="T70" fmla="*/ 679 w 1421"/>
                <a:gd name="T71" fmla="*/ 2509 h 2589"/>
                <a:gd name="T72" fmla="*/ 652 w 1421"/>
                <a:gd name="T73" fmla="*/ 2554 h 2589"/>
                <a:gd name="T74" fmla="*/ 608 w 1421"/>
                <a:gd name="T75" fmla="*/ 2580 h 2589"/>
                <a:gd name="T76" fmla="*/ 559 w 1421"/>
                <a:gd name="T77" fmla="*/ 2586 h 2589"/>
                <a:gd name="T78" fmla="*/ 510 w 1421"/>
                <a:gd name="T79" fmla="*/ 2572 h 2589"/>
                <a:gd name="T80" fmla="*/ 471 w 1421"/>
                <a:gd name="T81" fmla="*/ 2537 h 2589"/>
                <a:gd name="T82" fmla="*/ 452 w 1421"/>
                <a:gd name="T83" fmla="*/ 2484 h 2589"/>
                <a:gd name="T84" fmla="*/ 450 w 1421"/>
                <a:gd name="T85" fmla="*/ 1794 h 2589"/>
                <a:gd name="T86" fmla="*/ 142 w 1421"/>
                <a:gd name="T87" fmla="*/ 1563 h 2589"/>
                <a:gd name="T88" fmla="*/ 372 w 1421"/>
                <a:gd name="T89" fmla="*/ 656 h 2589"/>
                <a:gd name="T90" fmla="*/ 400 w 1421"/>
                <a:gd name="T91" fmla="*/ 383 h 2589"/>
                <a:gd name="T92" fmla="*/ 301 w 1421"/>
                <a:gd name="T93" fmla="*/ 714 h 2589"/>
                <a:gd name="T94" fmla="*/ 203 w 1421"/>
                <a:gd name="T95" fmla="*/ 1045 h 2589"/>
                <a:gd name="T96" fmla="*/ 187 w 1421"/>
                <a:gd name="T97" fmla="*/ 1076 h 2589"/>
                <a:gd name="T98" fmla="*/ 154 w 1421"/>
                <a:gd name="T99" fmla="*/ 1103 h 2589"/>
                <a:gd name="T100" fmla="*/ 111 w 1421"/>
                <a:gd name="T101" fmla="*/ 1114 h 2589"/>
                <a:gd name="T102" fmla="*/ 59 w 1421"/>
                <a:gd name="T103" fmla="*/ 1108 h 2589"/>
                <a:gd name="T104" fmla="*/ 24 w 1421"/>
                <a:gd name="T105" fmla="*/ 1085 h 2589"/>
                <a:gd name="T106" fmla="*/ 2 w 1421"/>
                <a:gd name="T107" fmla="*/ 1048 h 2589"/>
                <a:gd name="T108" fmla="*/ 8 w 1421"/>
                <a:gd name="T109" fmla="*/ 966 h 2589"/>
                <a:gd name="T110" fmla="*/ 53 w 1421"/>
                <a:gd name="T111" fmla="*/ 783 h 2589"/>
                <a:gd name="T112" fmla="*/ 136 w 1421"/>
                <a:gd name="T113" fmla="*/ 512 h 2589"/>
                <a:gd name="T114" fmla="*/ 202 w 1421"/>
                <a:gd name="T115" fmla="*/ 274 h 2589"/>
                <a:gd name="T116" fmla="*/ 266 w 1421"/>
                <a:gd name="T117" fmla="*/ 137 h 2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21" h="2589">
                  <a:moveTo>
                    <a:pt x="302" y="87"/>
                  </a:moveTo>
                  <a:lnTo>
                    <a:pt x="302" y="87"/>
                  </a:lnTo>
                  <a:lnTo>
                    <a:pt x="316" y="76"/>
                  </a:lnTo>
                  <a:lnTo>
                    <a:pt x="328" y="66"/>
                  </a:lnTo>
                  <a:lnTo>
                    <a:pt x="341" y="57"/>
                  </a:lnTo>
                  <a:lnTo>
                    <a:pt x="354" y="49"/>
                  </a:lnTo>
                  <a:lnTo>
                    <a:pt x="367" y="41"/>
                  </a:lnTo>
                  <a:lnTo>
                    <a:pt x="381" y="34"/>
                  </a:lnTo>
                  <a:lnTo>
                    <a:pt x="395" y="28"/>
                  </a:lnTo>
                  <a:lnTo>
                    <a:pt x="409" y="23"/>
                  </a:lnTo>
                  <a:lnTo>
                    <a:pt x="424" y="19"/>
                  </a:lnTo>
                  <a:lnTo>
                    <a:pt x="439" y="15"/>
                  </a:lnTo>
                  <a:lnTo>
                    <a:pt x="469" y="9"/>
                  </a:lnTo>
                  <a:lnTo>
                    <a:pt x="500" y="5"/>
                  </a:lnTo>
                  <a:lnTo>
                    <a:pt x="531" y="2"/>
                  </a:lnTo>
                  <a:lnTo>
                    <a:pt x="563" y="1"/>
                  </a:lnTo>
                  <a:lnTo>
                    <a:pt x="594" y="1"/>
                  </a:lnTo>
                  <a:lnTo>
                    <a:pt x="658" y="2"/>
                  </a:lnTo>
                  <a:lnTo>
                    <a:pt x="721" y="3"/>
                  </a:lnTo>
                  <a:lnTo>
                    <a:pt x="752" y="3"/>
                  </a:lnTo>
                  <a:lnTo>
                    <a:pt x="782" y="2"/>
                  </a:lnTo>
                  <a:lnTo>
                    <a:pt x="782" y="2"/>
                  </a:lnTo>
                  <a:lnTo>
                    <a:pt x="808" y="1"/>
                  </a:lnTo>
                  <a:lnTo>
                    <a:pt x="833" y="0"/>
                  </a:lnTo>
                  <a:lnTo>
                    <a:pt x="859" y="0"/>
                  </a:lnTo>
                  <a:lnTo>
                    <a:pt x="885" y="1"/>
                  </a:lnTo>
                  <a:lnTo>
                    <a:pt x="912" y="4"/>
                  </a:lnTo>
                  <a:lnTo>
                    <a:pt x="937" y="7"/>
                  </a:lnTo>
                  <a:lnTo>
                    <a:pt x="962" y="12"/>
                  </a:lnTo>
                  <a:lnTo>
                    <a:pt x="988" y="18"/>
                  </a:lnTo>
                  <a:lnTo>
                    <a:pt x="1012" y="26"/>
                  </a:lnTo>
                  <a:lnTo>
                    <a:pt x="1036" y="35"/>
                  </a:lnTo>
                  <a:lnTo>
                    <a:pt x="1058" y="47"/>
                  </a:lnTo>
                  <a:lnTo>
                    <a:pt x="1079" y="60"/>
                  </a:lnTo>
                  <a:lnTo>
                    <a:pt x="1090" y="67"/>
                  </a:lnTo>
                  <a:lnTo>
                    <a:pt x="1100" y="75"/>
                  </a:lnTo>
                  <a:lnTo>
                    <a:pt x="1110" y="83"/>
                  </a:lnTo>
                  <a:lnTo>
                    <a:pt x="1119" y="92"/>
                  </a:lnTo>
                  <a:lnTo>
                    <a:pt x="1127" y="101"/>
                  </a:lnTo>
                  <a:lnTo>
                    <a:pt x="1136" y="112"/>
                  </a:lnTo>
                  <a:lnTo>
                    <a:pt x="1144" y="122"/>
                  </a:lnTo>
                  <a:lnTo>
                    <a:pt x="1152" y="133"/>
                  </a:lnTo>
                  <a:lnTo>
                    <a:pt x="1152" y="133"/>
                  </a:lnTo>
                  <a:lnTo>
                    <a:pt x="1169" y="163"/>
                  </a:lnTo>
                  <a:lnTo>
                    <a:pt x="1184" y="193"/>
                  </a:lnTo>
                  <a:lnTo>
                    <a:pt x="1198" y="225"/>
                  </a:lnTo>
                  <a:lnTo>
                    <a:pt x="1211" y="256"/>
                  </a:lnTo>
                  <a:lnTo>
                    <a:pt x="1223" y="289"/>
                  </a:lnTo>
                  <a:lnTo>
                    <a:pt x="1234" y="320"/>
                  </a:lnTo>
                  <a:lnTo>
                    <a:pt x="1244" y="353"/>
                  </a:lnTo>
                  <a:lnTo>
                    <a:pt x="1254" y="386"/>
                  </a:lnTo>
                  <a:lnTo>
                    <a:pt x="1273" y="452"/>
                  </a:lnTo>
                  <a:lnTo>
                    <a:pt x="1291" y="519"/>
                  </a:lnTo>
                  <a:lnTo>
                    <a:pt x="1310" y="585"/>
                  </a:lnTo>
                  <a:lnTo>
                    <a:pt x="1320" y="617"/>
                  </a:lnTo>
                  <a:lnTo>
                    <a:pt x="1332" y="650"/>
                  </a:lnTo>
                  <a:lnTo>
                    <a:pt x="1332" y="650"/>
                  </a:lnTo>
                  <a:lnTo>
                    <a:pt x="1339" y="677"/>
                  </a:lnTo>
                  <a:lnTo>
                    <a:pt x="1347" y="705"/>
                  </a:lnTo>
                  <a:lnTo>
                    <a:pt x="1364" y="760"/>
                  </a:lnTo>
                  <a:lnTo>
                    <a:pt x="1382" y="815"/>
                  </a:lnTo>
                  <a:lnTo>
                    <a:pt x="1391" y="843"/>
                  </a:lnTo>
                  <a:lnTo>
                    <a:pt x="1399" y="871"/>
                  </a:lnTo>
                  <a:lnTo>
                    <a:pt x="1406" y="899"/>
                  </a:lnTo>
                  <a:lnTo>
                    <a:pt x="1412" y="927"/>
                  </a:lnTo>
                  <a:lnTo>
                    <a:pt x="1416" y="955"/>
                  </a:lnTo>
                  <a:lnTo>
                    <a:pt x="1419" y="984"/>
                  </a:lnTo>
                  <a:lnTo>
                    <a:pt x="1421" y="1011"/>
                  </a:lnTo>
                  <a:lnTo>
                    <a:pt x="1420" y="1040"/>
                  </a:lnTo>
                  <a:lnTo>
                    <a:pt x="1418" y="1069"/>
                  </a:lnTo>
                  <a:lnTo>
                    <a:pt x="1415" y="1083"/>
                  </a:lnTo>
                  <a:lnTo>
                    <a:pt x="1412" y="1097"/>
                  </a:lnTo>
                  <a:lnTo>
                    <a:pt x="1412" y="1097"/>
                  </a:lnTo>
                  <a:lnTo>
                    <a:pt x="1400" y="1103"/>
                  </a:lnTo>
                  <a:lnTo>
                    <a:pt x="1386" y="1106"/>
                  </a:lnTo>
                  <a:lnTo>
                    <a:pt x="1372" y="1108"/>
                  </a:lnTo>
                  <a:lnTo>
                    <a:pt x="1359" y="1110"/>
                  </a:lnTo>
                  <a:lnTo>
                    <a:pt x="1346" y="1111"/>
                  </a:lnTo>
                  <a:lnTo>
                    <a:pt x="1333" y="1111"/>
                  </a:lnTo>
                  <a:lnTo>
                    <a:pt x="1319" y="1110"/>
                  </a:lnTo>
                  <a:lnTo>
                    <a:pt x="1306" y="1108"/>
                  </a:lnTo>
                  <a:lnTo>
                    <a:pt x="1294" y="1105"/>
                  </a:lnTo>
                  <a:lnTo>
                    <a:pt x="1282" y="1099"/>
                  </a:lnTo>
                  <a:lnTo>
                    <a:pt x="1271" y="1094"/>
                  </a:lnTo>
                  <a:lnTo>
                    <a:pt x="1260" y="1087"/>
                  </a:lnTo>
                  <a:lnTo>
                    <a:pt x="1250" y="1078"/>
                  </a:lnTo>
                  <a:lnTo>
                    <a:pt x="1241" y="1068"/>
                  </a:lnTo>
                  <a:lnTo>
                    <a:pt x="1233" y="1057"/>
                  </a:lnTo>
                  <a:lnTo>
                    <a:pt x="1227" y="1044"/>
                  </a:lnTo>
                  <a:lnTo>
                    <a:pt x="1227" y="1044"/>
                  </a:lnTo>
                  <a:lnTo>
                    <a:pt x="1199" y="965"/>
                  </a:lnTo>
                  <a:lnTo>
                    <a:pt x="1173" y="887"/>
                  </a:lnTo>
                  <a:lnTo>
                    <a:pt x="1148" y="808"/>
                  </a:lnTo>
                  <a:lnTo>
                    <a:pt x="1124" y="728"/>
                  </a:lnTo>
                  <a:lnTo>
                    <a:pt x="1076" y="569"/>
                  </a:lnTo>
                  <a:lnTo>
                    <a:pt x="1052" y="491"/>
                  </a:lnTo>
                  <a:lnTo>
                    <a:pt x="1026" y="412"/>
                  </a:lnTo>
                  <a:lnTo>
                    <a:pt x="1026" y="412"/>
                  </a:lnTo>
                  <a:lnTo>
                    <a:pt x="1021" y="400"/>
                  </a:lnTo>
                  <a:lnTo>
                    <a:pt x="1015" y="387"/>
                  </a:lnTo>
                  <a:lnTo>
                    <a:pt x="1008" y="377"/>
                  </a:lnTo>
                  <a:lnTo>
                    <a:pt x="1000" y="367"/>
                  </a:lnTo>
                  <a:lnTo>
                    <a:pt x="991" y="358"/>
                  </a:lnTo>
                  <a:lnTo>
                    <a:pt x="981" y="349"/>
                  </a:lnTo>
                  <a:lnTo>
                    <a:pt x="961" y="330"/>
                  </a:lnTo>
                  <a:lnTo>
                    <a:pt x="961" y="330"/>
                  </a:lnTo>
                  <a:lnTo>
                    <a:pt x="980" y="409"/>
                  </a:lnTo>
                  <a:lnTo>
                    <a:pt x="1000" y="486"/>
                  </a:lnTo>
                  <a:lnTo>
                    <a:pt x="1020" y="563"/>
                  </a:lnTo>
                  <a:lnTo>
                    <a:pt x="1041" y="641"/>
                  </a:lnTo>
                  <a:lnTo>
                    <a:pt x="1084" y="795"/>
                  </a:lnTo>
                  <a:lnTo>
                    <a:pt x="1129" y="949"/>
                  </a:lnTo>
                  <a:lnTo>
                    <a:pt x="1221" y="1256"/>
                  </a:lnTo>
                  <a:lnTo>
                    <a:pt x="1264" y="1410"/>
                  </a:lnTo>
                  <a:lnTo>
                    <a:pt x="1308" y="1564"/>
                  </a:lnTo>
                  <a:lnTo>
                    <a:pt x="1308" y="1564"/>
                  </a:lnTo>
                  <a:lnTo>
                    <a:pt x="1155" y="1564"/>
                  </a:lnTo>
                  <a:lnTo>
                    <a:pt x="1078" y="1564"/>
                  </a:lnTo>
                  <a:lnTo>
                    <a:pt x="1002" y="1564"/>
                  </a:lnTo>
                  <a:lnTo>
                    <a:pt x="1002" y="1564"/>
                  </a:lnTo>
                  <a:lnTo>
                    <a:pt x="1000" y="1674"/>
                  </a:lnTo>
                  <a:lnTo>
                    <a:pt x="999" y="1785"/>
                  </a:lnTo>
                  <a:lnTo>
                    <a:pt x="999" y="2006"/>
                  </a:lnTo>
                  <a:lnTo>
                    <a:pt x="1000" y="2227"/>
                  </a:lnTo>
                  <a:lnTo>
                    <a:pt x="999" y="2338"/>
                  </a:lnTo>
                  <a:lnTo>
                    <a:pt x="997" y="2447"/>
                  </a:lnTo>
                  <a:lnTo>
                    <a:pt x="997" y="2447"/>
                  </a:lnTo>
                  <a:lnTo>
                    <a:pt x="997" y="2461"/>
                  </a:lnTo>
                  <a:lnTo>
                    <a:pt x="996" y="2473"/>
                  </a:lnTo>
                  <a:lnTo>
                    <a:pt x="994" y="2486"/>
                  </a:lnTo>
                  <a:lnTo>
                    <a:pt x="990" y="2498"/>
                  </a:lnTo>
                  <a:lnTo>
                    <a:pt x="986" y="2511"/>
                  </a:lnTo>
                  <a:lnTo>
                    <a:pt x="981" y="2523"/>
                  </a:lnTo>
                  <a:lnTo>
                    <a:pt x="975" y="2534"/>
                  </a:lnTo>
                  <a:lnTo>
                    <a:pt x="967" y="2544"/>
                  </a:lnTo>
                  <a:lnTo>
                    <a:pt x="959" y="2554"/>
                  </a:lnTo>
                  <a:lnTo>
                    <a:pt x="950" y="2562"/>
                  </a:lnTo>
                  <a:lnTo>
                    <a:pt x="941" y="2571"/>
                  </a:lnTo>
                  <a:lnTo>
                    <a:pt x="931" y="2577"/>
                  </a:lnTo>
                  <a:lnTo>
                    <a:pt x="919" y="2582"/>
                  </a:lnTo>
                  <a:lnTo>
                    <a:pt x="907" y="2586"/>
                  </a:lnTo>
                  <a:lnTo>
                    <a:pt x="894" y="2588"/>
                  </a:lnTo>
                  <a:lnTo>
                    <a:pt x="881" y="2589"/>
                  </a:lnTo>
                  <a:lnTo>
                    <a:pt x="881" y="2589"/>
                  </a:lnTo>
                  <a:lnTo>
                    <a:pt x="867" y="2589"/>
                  </a:lnTo>
                  <a:lnTo>
                    <a:pt x="855" y="2587"/>
                  </a:lnTo>
                  <a:lnTo>
                    <a:pt x="841" y="2584"/>
                  </a:lnTo>
                  <a:lnTo>
                    <a:pt x="830" y="2579"/>
                  </a:lnTo>
                  <a:lnTo>
                    <a:pt x="819" y="2573"/>
                  </a:lnTo>
                  <a:lnTo>
                    <a:pt x="809" y="2565"/>
                  </a:lnTo>
                  <a:lnTo>
                    <a:pt x="800" y="2557"/>
                  </a:lnTo>
                  <a:lnTo>
                    <a:pt x="790" y="2548"/>
                  </a:lnTo>
                  <a:lnTo>
                    <a:pt x="783" y="2538"/>
                  </a:lnTo>
                  <a:lnTo>
                    <a:pt x="776" y="2527"/>
                  </a:lnTo>
                  <a:lnTo>
                    <a:pt x="771" y="2516"/>
                  </a:lnTo>
                  <a:lnTo>
                    <a:pt x="767" y="2503"/>
                  </a:lnTo>
                  <a:lnTo>
                    <a:pt x="764" y="2490"/>
                  </a:lnTo>
                  <a:lnTo>
                    <a:pt x="762" y="2478"/>
                  </a:lnTo>
                  <a:lnTo>
                    <a:pt x="761" y="2465"/>
                  </a:lnTo>
                  <a:lnTo>
                    <a:pt x="762" y="2453"/>
                  </a:lnTo>
                  <a:lnTo>
                    <a:pt x="762" y="2453"/>
                  </a:lnTo>
                  <a:lnTo>
                    <a:pt x="761" y="2341"/>
                  </a:lnTo>
                  <a:lnTo>
                    <a:pt x="761" y="2230"/>
                  </a:lnTo>
                  <a:lnTo>
                    <a:pt x="762" y="2008"/>
                  </a:lnTo>
                  <a:lnTo>
                    <a:pt x="762" y="1785"/>
                  </a:lnTo>
                  <a:lnTo>
                    <a:pt x="761" y="1674"/>
                  </a:lnTo>
                  <a:lnTo>
                    <a:pt x="760" y="1563"/>
                  </a:lnTo>
                  <a:lnTo>
                    <a:pt x="760" y="1563"/>
                  </a:lnTo>
                  <a:lnTo>
                    <a:pt x="688" y="1565"/>
                  </a:lnTo>
                  <a:lnTo>
                    <a:pt x="688" y="1565"/>
                  </a:lnTo>
                  <a:lnTo>
                    <a:pt x="687" y="1680"/>
                  </a:lnTo>
                  <a:lnTo>
                    <a:pt x="687" y="1795"/>
                  </a:lnTo>
                  <a:lnTo>
                    <a:pt x="688" y="2024"/>
                  </a:lnTo>
                  <a:lnTo>
                    <a:pt x="688" y="2139"/>
                  </a:lnTo>
                  <a:lnTo>
                    <a:pt x="688" y="2254"/>
                  </a:lnTo>
                  <a:lnTo>
                    <a:pt x="686" y="2369"/>
                  </a:lnTo>
                  <a:lnTo>
                    <a:pt x="683" y="2484"/>
                  </a:lnTo>
                  <a:lnTo>
                    <a:pt x="683" y="2484"/>
                  </a:lnTo>
                  <a:lnTo>
                    <a:pt x="681" y="2496"/>
                  </a:lnTo>
                  <a:lnTo>
                    <a:pt x="679" y="2509"/>
                  </a:lnTo>
                  <a:lnTo>
                    <a:pt x="675" y="2519"/>
                  </a:lnTo>
                  <a:lnTo>
                    <a:pt x="670" y="2529"/>
                  </a:lnTo>
                  <a:lnTo>
                    <a:pt x="664" y="2538"/>
                  </a:lnTo>
                  <a:lnTo>
                    <a:pt x="658" y="2547"/>
                  </a:lnTo>
                  <a:lnTo>
                    <a:pt x="652" y="2554"/>
                  </a:lnTo>
                  <a:lnTo>
                    <a:pt x="644" y="2561"/>
                  </a:lnTo>
                  <a:lnTo>
                    <a:pt x="636" y="2568"/>
                  </a:lnTo>
                  <a:lnTo>
                    <a:pt x="627" y="2573"/>
                  </a:lnTo>
                  <a:lnTo>
                    <a:pt x="619" y="2577"/>
                  </a:lnTo>
                  <a:lnTo>
                    <a:pt x="608" y="2580"/>
                  </a:lnTo>
                  <a:lnTo>
                    <a:pt x="599" y="2583"/>
                  </a:lnTo>
                  <a:lnTo>
                    <a:pt x="589" y="2585"/>
                  </a:lnTo>
                  <a:lnTo>
                    <a:pt x="579" y="2586"/>
                  </a:lnTo>
                  <a:lnTo>
                    <a:pt x="569" y="2586"/>
                  </a:lnTo>
                  <a:lnTo>
                    <a:pt x="559" y="2586"/>
                  </a:lnTo>
                  <a:lnTo>
                    <a:pt x="548" y="2584"/>
                  </a:lnTo>
                  <a:lnTo>
                    <a:pt x="538" y="2582"/>
                  </a:lnTo>
                  <a:lnTo>
                    <a:pt x="528" y="2580"/>
                  </a:lnTo>
                  <a:lnTo>
                    <a:pt x="519" y="2576"/>
                  </a:lnTo>
                  <a:lnTo>
                    <a:pt x="510" y="2572"/>
                  </a:lnTo>
                  <a:lnTo>
                    <a:pt x="501" y="2565"/>
                  </a:lnTo>
                  <a:lnTo>
                    <a:pt x="492" y="2560"/>
                  </a:lnTo>
                  <a:lnTo>
                    <a:pt x="484" y="2553"/>
                  </a:lnTo>
                  <a:lnTo>
                    <a:pt x="477" y="2545"/>
                  </a:lnTo>
                  <a:lnTo>
                    <a:pt x="471" y="2537"/>
                  </a:lnTo>
                  <a:lnTo>
                    <a:pt x="465" y="2528"/>
                  </a:lnTo>
                  <a:lnTo>
                    <a:pt x="461" y="2518"/>
                  </a:lnTo>
                  <a:lnTo>
                    <a:pt x="457" y="2507"/>
                  </a:lnTo>
                  <a:lnTo>
                    <a:pt x="454" y="2496"/>
                  </a:lnTo>
                  <a:lnTo>
                    <a:pt x="452" y="2484"/>
                  </a:lnTo>
                  <a:lnTo>
                    <a:pt x="452" y="2484"/>
                  </a:lnTo>
                  <a:lnTo>
                    <a:pt x="451" y="2369"/>
                  </a:lnTo>
                  <a:lnTo>
                    <a:pt x="450" y="2254"/>
                  </a:lnTo>
                  <a:lnTo>
                    <a:pt x="450" y="2024"/>
                  </a:lnTo>
                  <a:lnTo>
                    <a:pt x="450" y="1794"/>
                  </a:lnTo>
                  <a:lnTo>
                    <a:pt x="450" y="1679"/>
                  </a:lnTo>
                  <a:lnTo>
                    <a:pt x="449" y="1564"/>
                  </a:lnTo>
                  <a:lnTo>
                    <a:pt x="449" y="1564"/>
                  </a:lnTo>
                  <a:lnTo>
                    <a:pt x="295" y="1565"/>
                  </a:lnTo>
                  <a:lnTo>
                    <a:pt x="142" y="1563"/>
                  </a:lnTo>
                  <a:lnTo>
                    <a:pt x="142" y="1563"/>
                  </a:lnTo>
                  <a:lnTo>
                    <a:pt x="178" y="1412"/>
                  </a:lnTo>
                  <a:lnTo>
                    <a:pt x="216" y="1260"/>
                  </a:lnTo>
                  <a:lnTo>
                    <a:pt x="294" y="958"/>
                  </a:lnTo>
                  <a:lnTo>
                    <a:pt x="372" y="656"/>
                  </a:lnTo>
                  <a:lnTo>
                    <a:pt x="410" y="504"/>
                  </a:lnTo>
                  <a:lnTo>
                    <a:pt x="447" y="353"/>
                  </a:lnTo>
                  <a:lnTo>
                    <a:pt x="447" y="353"/>
                  </a:lnTo>
                  <a:lnTo>
                    <a:pt x="400" y="383"/>
                  </a:lnTo>
                  <a:lnTo>
                    <a:pt x="400" y="383"/>
                  </a:lnTo>
                  <a:lnTo>
                    <a:pt x="386" y="424"/>
                  </a:lnTo>
                  <a:lnTo>
                    <a:pt x="372" y="465"/>
                  </a:lnTo>
                  <a:lnTo>
                    <a:pt x="348" y="547"/>
                  </a:lnTo>
                  <a:lnTo>
                    <a:pt x="324" y="631"/>
                  </a:lnTo>
                  <a:lnTo>
                    <a:pt x="301" y="714"/>
                  </a:lnTo>
                  <a:lnTo>
                    <a:pt x="278" y="796"/>
                  </a:lnTo>
                  <a:lnTo>
                    <a:pt x="255" y="880"/>
                  </a:lnTo>
                  <a:lnTo>
                    <a:pt x="230" y="962"/>
                  </a:lnTo>
                  <a:lnTo>
                    <a:pt x="217" y="1004"/>
                  </a:lnTo>
                  <a:lnTo>
                    <a:pt x="203" y="1045"/>
                  </a:lnTo>
                  <a:lnTo>
                    <a:pt x="203" y="1045"/>
                  </a:lnTo>
                  <a:lnTo>
                    <a:pt x="201" y="1054"/>
                  </a:lnTo>
                  <a:lnTo>
                    <a:pt x="197" y="1062"/>
                  </a:lnTo>
                  <a:lnTo>
                    <a:pt x="192" y="1069"/>
                  </a:lnTo>
                  <a:lnTo>
                    <a:pt x="187" y="1076"/>
                  </a:lnTo>
                  <a:lnTo>
                    <a:pt x="182" y="1083"/>
                  </a:lnTo>
                  <a:lnTo>
                    <a:pt x="175" y="1088"/>
                  </a:lnTo>
                  <a:lnTo>
                    <a:pt x="169" y="1094"/>
                  </a:lnTo>
                  <a:lnTo>
                    <a:pt x="162" y="1098"/>
                  </a:lnTo>
                  <a:lnTo>
                    <a:pt x="154" y="1103"/>
                  </a:lnTo>
                  <a:lnTo>
                    <a:pt x="146" y="1107"/>
                  </a:lnTo>
                  <a:lnTo>
                    <a:pt x="138" y="1109"/>
                  </a:lnTo>
                  <a:lnTo>
                    <a:pt x="128" y="1112"/>
                  </a:lnTo>
                  <a:lnTo>
                    <a:pt x="120" y="1113"/>
                  </a:lnTo>
                  <a:lnTo>
                    <a:pt x="111" y="1114"/>
                  </a:lnTo>
                  <a:lnTo>
                    <a:pt x="94" y="1114"/>
                  </a:lnTo>
                  <a:lnTo>
                    <a:pt x="85" y="1114"/>
                  </a:lnTo>
                  <a:lnTo>
                    <a:pt x="76" y="1112"/>
                  </a:lnTo>
                  <a:lnTo>
                    <a:pt x="67" y="1110"/>
                  </a:lnTo>
                  <a:lnTo>
                    <a:pt x="59" y="1108"/>
                  </a:lnTo>
                  <a:lnTo>
                    <a:pt x="51" y="1104"/>
                  </a:lnTo>
                  <a:lnTo>
                    <a:pt x="43" y="1101"/>
                  </a:lnTo>
                  <a:lnTo>
                    <a:pt x="36" y="1095"/>
                  </a:lnTo>
                  <a:lnTo>
                    <a:pt x="30" y="1090"/>
                  </a:lnTo>
                  <a:lnTo>
                    <a:pt x="24" y="1085"/>
                  </a:lnTo>
                  <a:lnTo>
                    <a:pt x="18" y="1079"/>
                  </a:lnTo>
                  <a:lnTo>
                    <a:pt x="12" y="1072"/>
                  </a:lnTo>
                  <a:lnTo>
                    <a:pt x="8" y="1065"/>
                  </a:lnTo>
                  <a:lnTo>
                    <a:pt x="5" y="1057"/>
                  </a:lnTo>
                  <a:lnTo>
                    <a:pt x="2" y="1048"/>
                  </a:lnTo>
                  <a:lnTo>
                    <a:pt x="1" y="1038"/>
                  </a:lnTo>
                  <a:lnTo>
                    <a:pt x="0" y="1028"/>
                  </a:lnTo>
                  <a:lnTo>
                    <a:pt x="0" y="1028"/>
                  </a:lnTo>
                  <a:lnTo>
                    <a:pt x="3" y="998"/>
                  </a:lnTo>
                  <a:lnTo>
                    <a:pt x="8" y="966"/>
                  </a:lnTo>
                  <a:lnTo>
                    <a:pt x="13" y="936"/>
                  </a:lnTo>
                  <a:lnTo>
                    <a:pt x="21" y="905"/>
                  </a:lnTo>
                  <a:lnTo>
                    <a:pt x="28" y="875"/>
                  </a:lnTo>
                  <a:lnTo>
                    <a:pt x="36" y="844"/>
                  </a:lnTo>
                  <a:lnTo>
                    <a:pt x="53" y="783"/>
                  </a:lnTo>
                  <a:lnTo>
                    <a:pt x="91" y="662"/>
                  </a:lnTo>
                  <a:lnTo>
                    <a:pt x="109" y="602"/>
                  </a:lnTo>
                  <a:lnTo>
                    <a:pt x="126" y="541"/>
                  </a:lnTo>
                  <a:lnTo>
                    <a:pt x="126" y="541"/>
                  </a:lnTo>
                  <a:lnTo>
                    <a:pt x="136" y="512"/>
                  </a:lnTo>
                  <a:lnTo>
                    <a:pt x="144" y="483"/>
                  </a:lnTo>
                  <a:lnTo>
                    <a:pt x="160" y="424"/>
                  </a:lnTo>
                  <a:lnTo>
                    <a:pt x="176" y="364"/>
                  </a:lnTo>
                  <a:lnTo>
                    <a:pt x="192" y="304"/>
                  </a:lnTo>
                  <a:lnTo>
                    <a:pt x="202" y="274"/>
                  </a:lnTo>
                  <a:lnTo>
                    <a:pt x="212" y="246"/>
                  </a:lnTo>
                  <a:lnTo>
                    <a:pt x="223" y="217"/>
                  </a:lnTo>
                  <a:lnTo>
                    <a:pt x="236" y="190"/>
                  </a:lnTo>
                  <a:lnTo>
                    <a:pt x="250" y="163"/>
                  </a:lnTo>
                  <a:lnTo>
                    <a:pt x="266" y="137"/>
                  </a:lnTo>
                  <a:lnTo>
                    <a:pt x="283" y="112"/>
                  </a:lnTo>
                  <a:lnTo>
                    <a:pt x="302" y="87"/>
                  </a:lnTo>
                  <a:lnTo>
                    <a:pt x="302"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3706" name="Group 3705"/>
          <p:cNvGrpSpPr/>
          <p:nvPr/>
        </p:nvGrpSpPr>
        <p:grpSpPr>
          <a:xfrm>
            <a:off x="9059864" y="5418139"/>
            <a:ext cx="981075" cy="271463"/>
            <a:chOff x="9058275" y="5418138"/>
            <a:chExt cx="981075" cy="271463"/>
          </a:xfrm>
          <a:solidFill>
            <a:schemeClr val="accent1">
              <a:lumMod val="75000"/>
            </a:schemeClr>
          </a:solidFill>
        </p:grpSpPr>
        <p:sp>
          <p:nvSpPr>
            <p:cNvPr id="3672" name="Freeform 2426"/>
            <p:cNvSpPr>
              <a:spLocks/>
            </p:cNvSpPr>
            <p:nvPr/>
          </p:nvSpPr>
          <p:spPr bwMode="auto">
            <a:xfrm>
              <a:off x="9058275" y="5524501"/>
              <a:ext cx="84138" cy="34925"/>
            </a:xfrm>
            <a:custGeom>
              <a:avLst/>
              <a:gdLst>
                <a:gd name="T0" fmla="*/ 316 w 316"/>
                <a:gd name="T1" fmla="*/ 67 h 134"/>
                <a:gd name="T2" fmla="*/ 313 w 316"/>
                <a:gd name="T3" fmla="*/ 54 h 134"/>
                <a:gd name="T4" fmla="*/ 304 w 316"/>
                <a:gd name="T5" fmla="*/ 41 h 134"/>
                <a:gd name="T6" fmla="*/ 289 w 316"/>
                <a:gd name="T7" fmla="*/ 30 h 134"/>
                <a:gd name="T8" fmla="*/ 270 w 316"/>
                <a:gd name="T9" fmla="*/ 21 h 134"/>
                <a:gd name="T10" fmla="*/ 246 w 316"/>
                <a:gd name="T11" fmla="*/ 12 h 134"/>
                <a:gd name="T12" fmla="*/ 220 w 316"/>
                <a:gd name="T13" fmla="*/ 6 h 134"/>
                <a:gd name="T14" fmla="*/ 190 w 316"/>
                <a:gd name="T15" fmla="*/ 2 h 134"/>
                <a:gd name="T16" fmla="*/ 159 w 316"/>
                <a:gd name="T17" fmla="*/ 0 h 134"/>
                <a:gd name="T18" fmla="*/ 142 w 316"/>
                <a:gd name="T19" fmla="*/ 1 h 134"/>
                <a:gd name="T20" fmla="*/ 111 w 316"/>
                <a:gd name="T21" fmla="*/ 3 h 134"/>
                <a:gd name="T22" fmla="*/ 83 w 316"/>
                <a:gd name="T23" fmla="*/ 8 h 134"/>
                <a:gd name="T24" fmla="*/ 58 w 316"/>
                <a:gd name="T25" fmla="*/ 15 h 134"/>
                <a:gd name="T26" fmla="*/ 37 w 316"/>
                <a:gd name="T27" fmla="*/ 25 h 134"/>
                <a:gd name="T28" fmla="*/ 19 w 316"/>
                <a:gd name="T29" fmla="*/ 36 h 134"/>
                <a:gd name="T30" fmla="*/ 7 w 316"/>
                <a:gd name="T31" fmla="*/ 48 h 134"/>
                <a:gd name="T32" fmla="*/ 1 w 316"/>
                <a:gd name="T33" fmla="*/ 60 h 134"/>
                <a:gd name="T34" fmla="*/ 0 w 316"/>
                <a:gd name="T35" fmla="*/ 67 h 134"/>
                <a:gd name="T36" fmla="*/ 3 w 316"/>
                <a:gd name="T37" fmla="*/ 81 h 134"/>
                <a:gd name="T38" fmla="*/ 12 w 316"/>
                <a:gd name="T39" fmla="*/ 94 h 134"/>
                <a:gd name="T40" fmla="*/ 27 w 316"/>
                <a:gd name="T41" fmla="*/ 105 h 134"/>
                <a:gd name="T42" fmla="*/ 47 w 316"/>
                <a:gd name="T43" fmla="*/ 114 h 134"/>
                <a:gd name="T44" fmla="*/ 70 w 316"/>
                <a:gd name="T45" fmla="*/ 122 h 134"/>
                <a:gd name="T46" fmla="*/ 97 w 316"/>
                <a:gd name="T47" fmla="*/ 129 h 134"/>
                <a:gd name="T48" fmla="*/ 126 w 316"/>
                <a:gd name="T49" fmla="*/ 132 h 134"/>
                <a:gd name="T50" fmla="*/ 159 w 316"/>
                <a:gd name="T51" fmla="*/ 134 h 134"/>
                <a:gd name="T52" fmla="*/ 174 w 316"/>
                <a:gd name="T53" fmla="*/ 133 h 134"/>
                <a:gd name="T54" fmla="*/ 205 w 316"/>
                <a:gd name="T55" fmla="*/ 131 h 134"/>
                <a:gd name="T56" fmla="*/ 234 w 316"/>
                <a:gd name="T57" fmla="*/ 126 h 134"/>
                <a:gd name="T58" fmla="*/ 258 w 316"/>
                <a:gd name="T59" fmla="*/ 119 h 134"/>
                <a:gd name="T60" fmla="*/ 280 w 316"/>
                <a:gd name="T61" fmla="*/ 110 h 134"/>
                <a:gd name="T62" fmla="*/ 297 w 316"/>
                <a:gd name="T63" fmla="*/ 99 h 134"/>
                <a:gd name="T64" fmla="*/ 309 w 316"/>
                <a:gd name="T65" fmla="*/ 88 h 134"/>
                <a:gd name="T66" fmla="*/ 315 w 316"/>
                <a:gd name="T67" fmla="*/ 74 h 134"/>
                <a:gd name="T68" fmla="*/ 316 w 316"/>
                <a:gd name="T6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6" h="134">
                  <a:moveTo>
                    <a:pt x="316" y="67"/>
                  </a:moveTo>
                  <a:lnTo>
                    <a:pt x="316" y="67"/>
                  </a:lnTo>
                  <a:lnTo>
                    <a:pt x="315" y="60"/>
                  </a:lnTo>
                  <a:lnTo>
                    <a:pt x="313" y="54"/>
                  </a:lnTo>
                  <a:lnTo>
                    <a:pt x="309" y="48"/>
                  </a:lnTo>
                  <a:lnTo>
                    <a:pt x="304" y="41"/>
                  </a:lnTo>
                  <a:lnTo>
                    <a:pt x="297" y="36"/>
                  </a:lnTo>
                  <a:lnTo>
                    <a:pt x="289" y="30"/>
                  </a:lnTo>
                  <a:lnTo>
                    <a:pt x="280" y="25"/>
                  </a:lnTo>
                  <a:lnTo>
                    <a:pt x="270" y="21"/>
                  </a:lnTo>
                  <a:lnTo>
                    <a:pt x="258" y="15"/>
                  </a:lnTo>
                  <a:lnTo>
                    <a:pt x="246" y="12"/>
                  </a:lnTo>
                  <a:lnTo>
                    <a:pt x="234" y="8"/>
                  </a:lnTo>
                  <a:lnTo>
                    <a:pt x="220" y="6"/>
                  </a:lnTo>
                  <a:lnTo>
                    <a:pt x="205" y="3"/>
                  </a:lnTo>
                  <a:lnTo>
                    <a:pt x="190" y="2"/>
                  </a:lnTo>
                  <a:lnTo>
                    <a:pt x="174" y="1"/>
                  </a:lnTo>
                  <a:lnTo>
                    <a:pt x="159" y="0"/>
                  </a:lnTo>
                  <a:lnTo>
                    <a:pt x="159" y="0"/>
                  </a:lnTo>
                  <a:lnTo>
                    <a:pt x="142" y="1"/>
                  </a:lnTo>
                  <a:lnTo>
                    <a:pt x="126" y="2"/>
                  </a:lnTo>
                  <a:lnTo>
                    <a:pt x="111" y="3"/>
                  </a:lnTo>
                  <a:lnTo>
                    <a:pt x="97" y="6"/>
                  </a:lnTo>
                  <a:lnTo>
                    <a:pt x="83" y="8"/>
                  </a:lnTo>
                  <a:lnTo>
                    <a:pt x="70" y="12"/>
                  </a:lnTo>
                  <a:lnTo>
                    <a:pt x="58" y="15"/>
                  </a:lnTo>
                  <a:lnTo>
                    <a:pt x="47" y="21"/>
                  </a:lnTo>
                  <a:lnTo>
                    <a:pt x="37" y="25"/>
                  </a:lnTo>
                  <a:lnTo>
                    <a:pt x="27" y="30"/>
                  </a:lnTo>
                  <a:lnTo>
                    <a:pt x="19" y="36"/>
                  </a:lnTo>
                  <a:lnTo>
                    <a:pt x="12" y="41"/>
                  </a:lnTo>
                  <a:lnTo>
                    <a:pt x="7" y="48"/>
                  </a:lnTo>
                  <a:lnTo>
                    <a:pt x="3" y="54"/>
                  </a:lnTo>
                  <a:lnTo>
                    <a:pt x="1" y="60"/>
                  </a:lnTo>
                  <a:lnTo>
                    <a:pt x="0" y="67"/>
                  </a:lnTo>
                  <a:lnTo>
                    <a:pt x="0" y="67"/>
                  </a:lnTo>
                  <a:lnTo>
                    <a:pt x="1" y="74"/>
                  </a:lnTo>
                  <a:lnTo>
                    <a:pt x="3" y="81"/>
                  </a:lnTo>
                  <a:lnTo>
                    <a:pt x="7" y="88"/>
                  </a:lnTo>
                  <a:lnTo>
                    <a:pt x="12" y="94"/>
                  </a:lnTo>
                  <a:lnTo>
                    <a:pt x="19" y="99"/>
                  </a:lnTo>
                  <a:lnTo>
                    <a:pt x="27" y="105"/>
                  </a:lnTo>
                  <a:lnTo>
                    <a:pt x="37" y="110"/>
                  </a:lnTo>
                  <a:lnTo>
                    <a:pt x="47" y="114"/>
                  </a:lnTo>
                  <a:lnTo>
                    <a:pt x="58" y="119"/>
                  </a:lnTo>
                  <a:lnTo>
                    <a:pt x="70" y="122"/>
                  </a:lnTo>
                  <a:lnTo>
                    <a:pt x="83" y="126"/>
                  </a:lnTo>
                  <a:lnTo>
                    <a:pt x="97" y="129"/>
                  </a:lnTo>
                  <a:lnTo>
                    <a:pt x="111" y="131"/>
                  </a:lnTo>
                  <a:lnTo>
                    <a:pt x="126" y="132"/>
                  </a:lnTo>
                  <a:lnTo>
                    <a:pt x="142" y="133"/>
                  </a:lnTo>
                  <a:lnTo>
                    <a:pt x="159" y="134"/>
                  </a:lnTo>
                  <a:lnTo>
                    <a:pt x="159" y="134"/>
                  </a:lnTo>
                  <a:lnTo>
                    <a:pt x="174" y="133"/>
                  </a:lnTo>
                  <a:lnTo>
                    <a:pt x="190" y="132"/>
                  </a:lnTo>
                  <a:lnTo>
                    <a:pt x="205" y="131"/>
                  </a:lnTo>
                  <a:lnTo>
                    <a:pt x="220" y="129"/>
                  </a:lnTo>
                  <a:lnTo>
                    <a:pt x="234" y="126"/>
                  </a:lnTo>
                  <a:lnTo>
                    <a:pt x="246" y="122"/>
                  </a:lnTo>
                  <a:lnTo>
                    <a:pt x="258" y="119"/>
                  </a:lnTo>
                  <a:lnTo>
                    <a:pt x="270" y="114"/>
                  </a:lnTo>
                  <a:lnTo>
                    <a:pt x="280" y="110"/>
                  </a:lnTo>
                  <a:lnTo>
                    <a:pt x="289" y="105"/>
                  </a:lnTo>
                  <a:lnTo>
                    <a:pt x="297" y="99"/>
                  </a:lnTo>
                  <a:lnTo>
                    <a:pt x="304" y="94"/>
                  </a:lnTo>
                  <a:lnTo>
                    <a:pt x="309" y="88"/>
                  </a:lnTo>
                  <a:lnTo>
                    <a:pt x="313" y="81"/>
                  </a:lnTo>
                  <a:lnTo>
                    <a:pt x="315" y="74"/>
                  </a:lnTo>
                  <a:lnTo>
                    <a:pt x="316" y="67"/>
                  </a:lnTo>
                  <a:lnTo>
                    <a:pt x="316"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3" name="Freeform 2427"/>
            <p:cNvSpPr>
              <a:spLocks/>
            </p:cNvSpPr>
            <p:nvPr/>
          </p:nvSpPr>
          <p:spPr bwMode="auto">
            <a:xfrm>
              <a:off x="9204325" y="5507038"/>
              <a:ext cx="82550" cy="34925"/>
            </a:xfrm>
            <a:custGeom>
              <a:avLst/>
              <a:gdLst>
                <a:gd name="T0" fmla="*/ 315 w 315"/>
                <a:gd name="T1" fmla="*/ 66 h 133"/>
                <a:gd name="T2" fmla="*/ 312 w 315"/>
                <a:gd name="T3" fmla="*/ 53 h 133"/>
                <a:gd name="T4" fmla="*/ 303 w 315"/>
                <a:gd name="T5" fmla="*/ 41 h 133"/>
                <a:gd name="T6" fmla="*/ 289 w 315"/>
                <a:gd name="T7" fmla="*/ 30 h 133"/>
                <a:gd name="T8" fmla="*/ 270 w 315"/>
                <a:gd name="T9" fmla="*/ 19 h 133"/>
                <a:gd name="T10" fmla="*/ 246 w 315"/>
                <a:gd name="T11" fmla="*/ 11 h 133"/>
                <a:gd name="T12" fmla="*/ 219 w 315"/>
                <a:gd name="T13" fmla="*/ 5 h 133"/>
                <a:gd name="T14" fmla="*/ 189 w 315"/>
                <a:gd name="T15" fmla="*/ 1 h 133"/>
                <a:gd name="T16" fmla="*/ 158 w 315"/>
                <a:gd name="T17" fmla="*/ 0 h 133"/>
                <a:gd name="T18" fmla="*/ 142 w 315"/>
                <a:gd name="T19" fmla="*/ 0 h 133"/>
                <a:gd name="T20" fmla="*/ 111 w 315"/>
                <a:gd name="T21" fmla="*/ 3 h 133"/>
                <a:gd name="T22" fmla="*/ 83 w 315"/>
                <a:gd name="T23" fmla="*/ 8 h 133"/>
                <a:gd name="T24" fmla="*/ 57 w 315"/>
                <a:gd name="T25" fmla="*/ 15 h 133"/>
                <a:gd name="T26" fmla="*/ 36 w 315"/>
                <a:gd name="T27" fmla="*/ 24 h 133"/>
                <a:gd name="T28" fmla="*/ 18 w 315"/>
                <a:gd name="T29" fmla="*/ 35 h 133"/>
                <a:gd name="T30" fmla="*/ 7 w 315"/>
                <a:gd name="T31" fmla="*/ 47 h 133"/>
                <a:gd name="T32" fmla="*/ 0 w 315"/>
                <a:gd name="T33" fmla="*/ 60 h 133"/>
                <a:gd name="T34" fmla="*/ 0 w 315"/>
                <a:gd name="T35" fmla="*/ 66 h 133"/>
                <a:gd name="T36" fmla="*/ 3 w 315"/>
                <a:gd name="T37" fmla="*/ 80 h 133"/>
                <a:gd name="T38" fmla="*/ 12 w 315"/>
                <a:gd name="T39" fmla="*/ 93 h 133"/>
                <a:gd name="T40" fmla="*/ 27 w 315"/>
                <a:gd name="T41" fmla="*/ 104 h 133"/>
                <a:gd name="T42" fmla="*/ 46 w 315"/>
                <a:gd name="T43" fmla="*/ 114 h 133"/>
                <a:gd name="T44" fmla="*/ 69 w 315"/>
                <a:gd name="T45" fmla="*/ 122 h 133"/>
                <a:gd name="T46" fmla="*/ 96 w 315"/>
                <a:gd name="T47" fmla="*/ 128 h 133"/>
                <a:gd name="T48" fmla="*/ 126 w 315"/>
                <a:gd name="T49" fmla="*/ 132 h 133"/>
                <a:gd name="T50" fmla="*/ 158 w 315"/>
                <a:gd name="T51" fmla="*/ 133 h 133"/>
                <a:gd name="T52" fmla="*/ 174 w 315"/>
                <a:gd name="T53" fmla="*/ 133 h 133"/>
                <a:gd name="T54" fmla="*/ 205 w 315"/>
                <a:gd name="T55" fmla="*/ 130 h 133"/>
                <a:gd name="T56" fmla="*/ 233 w 315"/>
                <a:gd name="T57" fmla="*/ 125 h 133"/>
                <a:gd name="T58" fmla="*/ 259 w 315"/>
                <a:gd name="T59" fmla="*/ 118 h 133"/>
                <a:gd name="T60" fmla="*/ 280 w 315"/>
                <a:gd name="T61" fmla="*/ 109 h 133"/>
                <a:gd name="T62" fmla="*/ 296 w 315"/>
                <a:gd name="T63" fmla="*/ 99 h 133"/>
                <a:gd name="T64" fmla="*/ 308 w 315"/>
                <a:gd name="T65" fmla="*/ 87 h 133"/>
                <a:gd name="T66" fmla="*/ 314 w 315"/>
                <a:gd name="T67" fmla="*/ 73 h 133"/>
                <a:gd name="T68" fmla="*/ 315 w 315"/>
                <a:gd name="T69"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5" h="133">
                  <a:moveTo>
                    <a:pt x="315" y="66"/>
                  </a:moveTo>
                  <a:lnTo>
                    <a:pt x="315" y="66"/>
                  </a:lnTo>
                  <a:lnTo>
                    <a:pt x="314" y="60"/>
                  </a:lnTo>
                  <a:lnTo>
                    <a:pt x="312" y="53"/>
                  </a:lnTo>
                  <a:lnTo>
                    <a:pt x="308" y="47"/>
                  </a:lnTo>
                  <a:lnTo>
                    <a:pt x="303" y="41"/>
                  </a:lnTo>
                  <a:lnTo>
                    <a:pt x="296" y="35"/>
                  </a:lnTo>
                  <a:lnTo>
                    <a:pt x="289" y="30"/>
                  </a:lnTo>
                  <a:lnTo>
                    <a:pt x="280" y="24"/>
                  </a:lnTo>
                  <a:lnTo>
                    <a:pt x="270" y="19"/>
                  </a:lnTo>
                  <a:lnTo>
                    <a:pt x="259" y="15"/>
                  </a:lnTo>
                  <a:lnTo>
                    <a:pt x="246" y="11"/>
                  </a:lnTo>
                  <a:lnTo>
                    <a:pt x="233" y="8"/>
                  </a:lnTo>
                  <a:lnTo>
                    <a:pt x="219" y="5"/>
                  </a:lnTo>
                  <a:lnTo>
                    <a:pt x="205" y="3"/>
                  </a:lnTo>
                  <a:lnTo>
                    <a:pt x="189" y="1"/>
                  </a:lnTo>
                  <a:lnTo>
                    <a:pt x="174" y="0"/>
                  </a:lnTo>
                  <a:lnTo>
                    <a:pt x="158" y="0"/>
                  </a:lnTo>
                  <a:lnTo>
                    <a:pt x="158" y="0"/>
                  </a:lnTo>
                  <a:lnTo>
                    <a:pt x="142" y="0"/>
                  </a:lnTo>
                  <a:lnTo>
                    <a:pt x="126" y="1"/>
                  </a:lnTo>
                  <a:lnTo>
                    <a:pt x="111" y="3"/>
                  </a:lnTo>
                  <a:lnTo>
                    <a:pt x="96" y="5"/>
                  </a:lnTo>
                  <a:lnTo>
                    <a:pt x="83" y="8"/>
                  </a:lnTo>
                  <a:lnTo>
                    <a:pt x="69" y="11"/>
                  </a:lnTo>
                  <a:lnTo>
                    <a:pt x="57" y="15"/>
                  </a:lnTo>
                  <a:lnTo>
                    <a:pt x="46" y="19"/>
                  </a:lnTo>
                  <a:lnTo>
                    <a:pt x="36" y="24"/>
                  </a:lnTo>
                  <a:lnTo>
                    <a:pt x="27" y="30"/>
                  </a:lnTo>
                  <a:lnTo>
                    <a:pt x="18" y="35"/>
                  </a:lnTo>
                  <a:lnTo>
                    <a:pt x="12" y="41"/>
                  </a:lnTo>
                  <a:lnTo>
                    <a:pt x="7" y="47"/>
                  </a:lnTo>
                  <a:lnTo>
                    <a:pt x="3" y="53"/>
                  </a:lnTo>
                  <a:lnTo>
                    <a:pt x="0" y="60"/>
                  </a:lnTo>
                  <a:lnTo>
                    <a:pt x="0" y="66"/>
                  </a:lnTo>
                  <a:lnTo>
                    <a:pt x="0" y="66"/>
                  </a:lnTo>
                  <a:lnTo>
                    <a:pt x="0" y="73"/>
                  </a:lnTo>
                  <a:lnTo>
                    <a:pt x="3" y="80"/>
                  </a:lnTo>
                  <a:lnTo>
                    <a:pt x="7" y="87"/>
                  </a:lnTo>
                  <a:lnTo>
                    <a:pt x="12" y="93"/>
                  </a:lnTo>
                  <a:lnTo>
                    <a:pt x="18" y="99"/>
                  </a:lnTo>
                  <a:lnTo>
                    <a:pt x="27" y="104"/>
                  </a:lnTo>
                  <a:lnTo>
                    <a:pt x="36" y="109"/>
                  </a:lnTo>
                  <a:lnTo>
                    <a:pt x="46" y="114"/>
                  </a:lnTo>
                  <a:lnTo>
                    <a:pt x="57" y="118"/>
                  </a:lnTo>
                  <a:lnTo>
                    <a:pt x="69" y="122"/>
                  </a:lnTo>
                  <a:lnTo>
                    <a:pt x="83" y="125"/>
                  </a:lnTo>
                  <a:lnTo>
                    <a:pt x="96" y="128"/>
                  </a:lnTo>
                  <a:lnTo>
                    <a:pt x="111" y="130"/>
                  </a:lnTo>
                  <a:lnTo>
                    <a:pt x="126" y="132"/>
                  </a:lnTo>
                  <a:lnTo>
                    <a:pt x="142" y="133"/>
                  </a:lnTo>
                  <a:lnTo>
                    <a:pt x="158" y="133"/>
                  </a:lnTo>
                  <a:lnTo>
                    <a:pt x="158" y="133"/>
                  </a:lnTo>
                  <a:lnTo>
                    <a:pt x="174" y="133"/>
                  </a:lnTo>
                  <a:lnTo>
                    <a:pt x="189" y="132"/>
                  </a:lnTo>
                  <a:lnTo>
                    <a:pt x="205" y="130"/>
                  </a:lnTo>
                  <a:lnTo>
                    <a:pt x="219" y="128"/>
                  </a:lnTo>
                  <a:lnTo>
                    <a:pt x="233" y="125"/>
                  </a:lnTo>
                  <a:lnTo>
                    <a:pt x="246" y="122"/>
                  </a:lnTo>
                  <a:lnTo>
                    <a:pt x="259" y="118"/>
                  </a:lnTo>
                  <a:lnTo>
                    <a:pt x="270" y="114"/>
                  </a:lnTo>
                  <a:lnTo>
                    <a:pt x="280" y="109"/>
                  </a:lnTo>
                  <a:lnTo>
                    <a:pt x="289" y="104"/>
                  </a:lnTo>
                  <a:lnTo>
                    <a:pt x="296" y="99"/>
                  </a:lnTo>
                  <a:lnTo>
                    <a:pt x="303" y="93"/>
                  </a:lnTo>
                  <a:lnTo>
                    <a:pt x="308" y="87"/>
                  </a:lnTo>
                  <a:lnTo>
                    <a:pt x="312" y="80"/>
                  </a:lnTo>
                  <a:lnTo>
                    <a:pt x="314" y="73"/>
                  </a:lnTo>
                  <a:lnTo>
                    <a:pt x="315" y="66"/>
                  </a:lnTo>
                  <a:lnTo>
                    <a:pt x="315"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4" name="Freeform 2428"/>
            <p:cNvSpPr>
              <a:spLocks/>
            </p:cNvSpPr>
            <p:nvPr/>
          </p:nvSpPr>
          <p:spPr bwMode="auto">
            <a:xfrm>
              <a:off x="9348788" y="5489576"/>
              <a:ext cx="82550" cy="34925"/>
            </a:xfrm>
            <a:custGeom>
              <a:avLst/>
              <a:gdLst>
                <a:gd name="T0" fmla="*/ 316 w 316"/>
                <a:gd name="T1" fmla="*/ 67 h 133"/>
                <a:gd name="T2" fmla="*/ 313 w 316"/>
                <a:gd name="T3" fmla="*/ 54 h 133"/>
                <a:gd name="T4" fmla="*/ 303 w 316"/>
                <a:gd name="T5" fmla="*/ 41 h 133"/>
                <a:gd name="T6" fmla="*/ 289 w 316"/>
                <a:gd name="T7" fmla="*/ 29 h 133"/>
                <a:gd name="T8" fmla="*/ 270 w 316"/>
                <a:gd name="T9" fmla="*/ 19 h 133"/>
                <a:gd name="T10" fmla="*/ 246 w 316"/>
                <a:gd name="T11" fmla="*/ 11 h 133"/>
                <a:gd name="T12" fmla="*/ 220 w 316"/>
                <a:gd name="T13" fmla="*/ 5 h 133"/>
                <a:gd name="T14" fmla="*/ 190 w 316"/>
                <a:gd name="T15" fmla="*/ 1 h 133"/>
                <a:gd name="T16" fmla="*/ 158 w 316"/>
                <a:gd name="T17" fmla="*/ 0 h 133"/>
                <a:gd name="T18" fmla="*/ 142 w 316"/>
                <a:gd name="T19" fmla="*/ 0 h 133"/>
                <a:gd name="T20" fmla="*/ 111 w 316"/>
                <a:gd name="T21" fmla="*/ 3 h 133"/>
                <a:gd name="T22" fmla="*/ 83 w 316"/>
                <a:gd name="T23" fmla="*/ 8 h 133"/>
                <a:gd name="T24" fmla="*/ 57 w 316"/>
                <a:gd name="T25" fmla="*/ 15 h 133"/>
                <a:gd name="T26" fmla="*/ 36 w 316"/>
                <a:gd name="T27" fmla="*/ 24 h 133"/>
                <a:gd name="T28" fmla="*/ 20 w 316"/>
                <a:gd name="T29" fmla="*/ 35 h 133"/>
                <a:gd name="T30" fmla="*/ 7 w 316"/>
                <a:gd name="T31" fmla="*/ 47 h 133"/>
                <a:gd name="T32" fmla="*/ 1 w 316"/>
                <a:gd name="T33" fmla="*/ 60 h 133"/>
                <a:gd name="T34" fmla="*/ 0 w 316"/>
                <a:gd name="T35" fmla="*/ 67 h 133"/>
                <a:gd name="T36" fmla="*/ 3 w 316"/>
                <a:gd name="T37" fmla="*/ 80 h 133"/>
                <a:gd name="T38" fmla="*/ 13 w 316"/>
                <a:gd name="T39" fmla="*/ 92 h 133"/>
                <a:gd name="T40" fmla="*/ 27 w 316"/>
                <a:gd name="T41" fmla="*/ 104 h 133"/>
                <a:gd name="T42" fmla="*/ 46 w 316"/>
                <a:gd name="T43" fmla="*/ 114 h 133"/>
                <a:gd name="T44" fmla="*/ 69 w 316"/>
                <a:gd name="T45" fmla="*/ 122 h 133"/>
                <a:gd name="T46" fmla="*/ 97 w 316"/>
                <a:gd name="T47" fmla="*/ 128 h 133"/>
                <a:gd name="T48" fmla="*/ 126 w 316"/>
                <a:gd name="T49" fmla="*/ 132 h 133"/>
                <a:gd name="T50" fmla="*/ 158 w 316"/>
                <a:gd name="T51" fmla="*/ 133 h 133"/>
                <a:gd name="T52" fmla="*/ 174 w 316"/>
                <a:gd name="T53" fmla="*/ 133 h 133"/>
                <a:gd name="T54" fmla="*/ 205 w 316"/>
                <a:gd name="T55" fmla="*/ 130 h 133"/>
                <a:gd name="T56" fmla="*/ 233 w 316"/>
                <a:gd name="T57" fmla="*/ 125 h 133"/>
                <a:gd name="T58" fmla="*/ 259 w 316"/>
                <a:gd name="T59" fmla="*/ 118 h 133"/>
                <a:gd name="T60" fmla="*/ 280 w 316"/>
                <a:gd name="T61" fmla="*/ 110 h 133"/>
                <a:gd name="T62" fmla="*/ 297 w 316"/>
                <a:gd name="T63" fmla="*/ 99 h 133"/>
                <a:gd name="T64" fmla="*/ 308 w 316"/>
                <a:gd name="T65" fmla="*/ 86 h 133"/>
                <a:gd name="T66" fmla="*/ 316 w 316"/>
                <a:gd name="T67" fmla="*/ 73 h 133"/>
                <a:gd name="T68" fmla="*/ 316 w 316"/>
                <a:gd name="T69" fmla="*/ 6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6" h="133">
                  <a:moveTo>
                    <a:pt x="316" y="67"/>
                  </a:moveTo>
                  <a:lnTo>
                    <a:pt x="316" y="67"/>
                  </a:lnTo>
                  <a:lnTo>
                    <a:pt x="316" y="60"/>
                  </a:lnTo>
                  <a:lnTo>
                    <a:pt x="313" y="54"/>
                  </a:lnTo>
                  <a:lnTo>
                    <a:pt x="308" y="47"/>
                  </a:lnTo>
                  <a:lnTo>
                    <a:pt x="303" y="41"/>
                  </a:lnTo>
                  <a:lnTo>
                    <a:pt x="297" y="35"/>
                  </a:lnTo>
                  <a:lnTo>
                    <a:pt x="289" y="29"/>
                  </a:lnTo>
                  <a:lnTo>
                    <a:pt x="280" y="24"/>
                  </a:lnTo>
                  <a:lnTo>
                    <a:pt x="270" y="19"/>
                  </a:lnTo>
                  <a:lnTo>
                    <a:pt x="259" y="15"/>
                  </a:lnTo>
                  <a:lnTo>
                    <a:pt x="246" y="11"/>
                  </a:lnTo>
                  <a:lnTo>
                    <a:pt x="233" y="8"/>
                  </a:lnTo>
                  <a:lnTo>
                    <a:pt x="220" y="5"/>
                  </a:lnTo>
                  <a:lnTo>
                    <a:pt x="205" y="3"/>
                  </a:lnTo>
                  <a:lnTo>
                    <a:pt x="190" y="1"/>
                  </a:lnTo>
                  <a:lnTo>
                    <a:pt x="174" y="0"/>
                  </a:lnTo>
                  <a:lnTo>
                    <a:pt x="158" y="0"/>
                  </a:lnTo>
                  <a:lnTo>
                    <a:pt x="158" y="0"/>
                  </a:lnTo>
                  <a:lnTo>
                    <a:pt x="142" y="0"/>
                  </a:lnTo>
                  <a:lnTo>
                    <a:pt x="126" y="1"/>
                  </a:lnTo>
                  <a:lnTo>
                    <a:pt x="111" y="3"/>
                  </a:lnTo>
                  <a:lnTo>
                    <a:pt x="97" y="5"/>
                  </a:lnTo>
                  <a:lnTo>
                    <a:pt x="83" y="8"/>
                  </a:lnTo>
                  <a:lnTo>
                    <a:pt x="69" y="11"/>
                  </a:lnTo>
                  <a:lnTo>
                    <a:pt x="57" y="15"/>
                  </a:lnTo>
                  <a:lnTo>
                    <a:pt x="46" y="19"/>
                  </a:lnTo>
                  <a:lnTo>
                    <a:pt x="36" y="24"/>
                  </a:lnTo>
                  <a:lnTo>
                    <a:pt x="27" y="29"/>
                  </a:lnTo>
                  <a:lnTo>
                    <a:pt x="20" y="35"/>
                  </a:lnTo>
                  <a:lnTo>
                    <a:pt x="13" y="41"/>
                  </a:lnTo>
                  <a:lnTo>
                    <a:pt x="7" y="47"/>
                  </a:lnTo>
                  <a:lnTo>
                    <a:pt x="3" y="54"/>
                  </a:lnTo>
                  <a:lnTo>
                    <a:pt x="1" y="60"/>
                  </a:lnTo>
                  <a:lnTo>
                    <a:pt x="0" y="67"/>
                  </a:lnTo>
                  <a:lnTo>
                    <a:pt x="0" y="67"/>
                  </a:lnTo>
                  <a:lnTo>
                    <a:pt x="1" y="73"/>
                  </a:lnTo>
                  <a:lnTo>
                    <a:pt x="3" y="80"/>
                  </a:lnTo>
                  <a:lnTo>
                    <a:pt x="7" y="86"/>
                  </a:lnTo>
                  <a:lnTo>
                    <a:pt x="13" y="92"/>
                  </a:lnTo>
                  <a:lnTo>
                    <a:pt x="20" y="99"/>
                  </a:lnTo>
                  <a:lnTo>
                    <a:pt x="27" y="104"/>
                  </a:lnTo>
                  <a:lnTo>
                    <a:pt x="36" y="110"/>
                  </a:lnTo>
                  <a:lnTo>
                    <a:pt x="46" y="114"/>
                  </a:lnTo>
                  <a:lnTo>
                    <a:pt x="57" y="118"/>
                  </a:lnTo>
                  <a:lnTo>
                    <a:pt x="69" y="122"/>
                  </a:lnTo>
                  <a:lnTo>
                    <a:pt x="83" y="125"/>
                  </a:lnTo>
                  <a:lnTo>
                    <a:pt x="97" y="128"/>
                  </a:lnTo>
                  <a:lnTo>
                    <a:pt x="111" y="130"/>
                  </a:lnTo>
                  <a:lnTo>
                    <a:pt x="126" y="132"/>
                  </a:lnTo>
                  <a:lnTo>
                    <a:pt x="142" y="133"/>
                  </a:lnTo>
                  <a:lnTo>
                    <a:pt x="158" y="133"/>
                  </a:lnTo>
                  <a:lnTo>
                    <a:pt x="158" y="133"/>
                  </a:lnTo>
                  <a:lnTo>
                    <a:pt x="174" y="133"/>
                  </a:lnTo>
                  <a:lnTo>
                    <a:pt x="190" y="132"/>
                  </a:lnTo>
                  <a:lnTo>
                    <a:pt x="205" y="130"/>
                  </a:lnTo>
                  <a:lnTo>
                    <a:pt x="220" y="128"/>
                  </a:lnTo>
                  <a:lnTo>
                    <a:pt x="233" y="125"/>
                  </a:lnTo>
                  <a:lnTo>
                    <a:pt x="246" y="122"/>
                  </a:lnTo>
                  <a:lnTo>
                    <a:pt x="259" y="118"/>
                  </a:lnTo>
                  <a:lnTo>
                    <a:pt x="270" y="114"/>
                  </a:lnTo>
                  <a:lnTo>
                    <a:pt x="280" y="110"/>
                  </a:lnTo>
                  <a:lnTo>
                    <a:pt x="289" y="104"/>
                  </a:lnTo>
                  <a:lnTo>
                    <a:pt x="297" y="99"/>
                  </a:lnTo>
                  <a:lnTo>
                    <a:pt x="303" y="92"/>
                  </a:lnTo>
                  <a:lnTo>
                    <a:pt x="308" y="86"/>
                  </a:lnTo>
                  <a:lnTo>
                    <a:pt x="313" y="80"/>
                  </a:lnTo>
                  <a:lnTo>
                    <a:pt x="316" y="73"/>
                  </a:lnTo>
                  <a:lnTo>
                    <a:pt x="316" y="67"/>
                  </a:lnTo>
                  <a:lnTo>
                    <a:pt x="316"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5" name="Freeform 2429"/>
            <p:cNvSpPr>
              <a:spLocks/>
            </p:cNvSpPr>
            <p:nvPr/>
          </p:nvSpPr>
          <p:spPr bwMode="auto">
            <a:xfrm>
              <a:off x="9493250" y="5470526"/>
              <a:ext cx="84138" cy="36513"/>
            </a:xfrm>
            <a:custGeom>
              <a:avLst/>
              <a:gdLst>
                <a:gd name="T0" fmla="*/ 317 w 317"/>
                <a:gd name="T1" fmla="*/ 67 h 134"/>
                <a:gd name="T2" fmla="*/ 314 w 317"/>
                <a:gd name="T3" fmla="*/ 54 h 134"/>
                <a:gd name="T4" fmla="*/ 305 w 317"/>
                <a:gd name="T5" fmla="*/ 41 h 134"/>
                <a:gd name="T6" fmla="*/ 289 w 317"/>
                <a:gd name="T7" fmla="*/ 29 h 134"/>
                <a:gd name="T8" fmla="*/ 270 w 317"/>
                <a:gd name="T9" fmla="*/ 20 h 134"/>
                <a:gd name="T10" fmla="*/ 247 w 317"/>
                <a:gd name="T11" fmla="*/ 12 h 134"/>
                <a:gd name="T12" fmla="*/ 220 w 317"/>
                <a:gd name="T13" fmla="*/ 6 h 134"/>
                <a:gd name="T14" fmla="*/ 191 w 317"/>
                <a:gd name="T15" fmla="*/ 2 h 134"/>
                <a:gd name="T16" fmla="*/ 158 w 317"/>
                <a:gd name="T17" fmla="*/ 0 h 134"/>
                <a:gd name="T18" fmla="*/ 143 w 317"/>
                <a:gd name="T19" fmla="*/ 1 h 134"/>
                <a:gd name="T20" fmla="*/ 111 w 317"/>
                <a:gd name="T21" fmla="*/ 3 h 134"/>
                <a:gd name="T22" fmla="*/ 83 w 317"/>
                <a:gd name="T23" fmla="*/ 8 h 134"/>
                <a:gd name="T24" fmla="*/ 58 w 317"/>
                <a:gd name="T25" fmla="*/ 15 h 134"/>
                <a:gd name="T26" fmla="*/ 37 w 317"/>
                <a:gd name="T27" fmla="*/ 24 h 134"/>
                <a:gd name="T28" fmla="*/ 20 w 317"/>
                <a:gd name="T29" fmla="*/ 35 h 134"/>
                <a:gd name="T30" fmla="*/ 8 w 317"/>
                <a:gd name="T31" fmla="*/ 48 h 134"/>
                <a:gd name="T32" fmla="*/ 2 w 317"/>
                <a:gd name="T33" fmla="*/ 60 h 134"/>
                <a:gd name="T34" fmla="*/ 0 w 317"/>
                <a:gd name="T35" fmla="*/ 67 h 134"/>
                <a:gd name="T36" fmla="*/ 4 w 317"/>
                <a:gd name="T37" fmla="*/ 80 h 134"/>
                <a:gd name="T38" fmla="*/ 13 w 317"/>
                <a:gd name="T39" fmla="*/ 93 h 134"/>
                <a:gd name="T40" fmla="*/ 28 w 317"/>
                <a:gd name="T41" fmla="*/ 105 h 134"/>
                <a:gd name="T42" fmla="*/ 47 w 317"/>
                <a:gd name="T43" fmla="*/ 115 h 134"/>
                <a:gd name="T44" fmla="*/ 71 w 317"/>
                <a:gd name="T45" fmla="*/ 123 h 134"/>
                <a:gd name="T46" fmla="*/ 97 w 317"/>
                <a:gd name="T47" fmla="*/ 129 h 134"/>
                <a:gd name="T48" fmla="*/ 127 w 317"/>
                <a:gd name="T49" fmla="*/ 132 h 134"/>
                <a:gd name="T50" fmla="*/ 158 w 317"/>
                <a:gd name="T51" fmla="*/ 134 h 134"/>
                <a:gd name="T52" fmla="*/ 174 w 317"/>
                <a:gd name="T53" fmla="*/ 133 h 134"/>
                <a:gd name="T54" fmla="*/ 206 w 317"/>
                <a:gd name="T55" fmla="*/ 131 h 134"/>
                <a:gd name="T56" fmla="*/ 233 w 317"/>
                <a:gd name="T57" fmla="*/ 126 h 134"/>
                <a:gd name="T58" fmla="*/ 259 w 317"/>
                <a:gd name="T59" fmla="*/ 119 h 134"/>
                <a:gd name="T60" fmla="*/ 280 w 317"/>
                <a:gd name="T61" fmla="*/ 110 h 134"/>
                <a:gd name="T62" fmla="*/ 297 w 317"/>
                <a:gd name="T63" fmla="*/ 98 h 134"/>
                <a:gd name="T64" fmla="*/ 310 w 317"/>
                <a:gd name="T65" fmla="*/ 87 h 134"/>
                <a:gd name="T66" fmla="*/ 316 w 317"/>
                <a:gd name="T67" fmla="*/ 74 h 134"/>
                <a:gd name="T68" fmla="*/ 317 w 317"/>
                <a:gd name="T6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7" h="134">
                  <a:moveTo>
                    <a:pt x="317" y="67"/>
                  </a:moveTo>
                  <a:lnTo>
                    <a:pt x="317" y="67"/>
                  </a:lnTo>
                  <a:lnTo>
                    <a:pt x="316" y="60"/>
                  </a:lnTo>
                  <a:lnTo>
                    <a:pt x="314" y="54"/>
                  </a:lnTo>
                  <a:lnTo>
                    <a:pt x="310" y="48"/>
                  </a:lnTo>
                  <a:lnTo>
                    <a:pt x="305" y="41"/>
                  </a:lnTo>
                  <a:lnTo>
                    <a:pt x="297" y="35"/>
                  </a:lnTo>
                  <a:lnTo>
                    <a:pt x="289" y="29"/>
                  </a:lnTo>
                  <a:lnTo>
                    <a:pt x="280" y="24"/>
                  </a:lnTo>
                  <a:lnTo>
                    <a:pt x="270" y="20"/>
                  </a:lnTo>
                  <a:lnTo>
                    <a:pt x="259" y="15"/>
                  </a:lnTo>
                  <a:lnTo>
                    <a:pt x="247" y="12"/>
                  </a:lnTo>
                  <a:lnTo>
                    <a:pt x="233" y="8"/>
                  </a:lnTo>
                  <a:lnTo>
                    <a:pt x="220" y="6"/>
                  </a:lnTo>
                  <a:lnTo>
                    <a:pt x="206" y="3"/>
                  </a:lnTo>
                  <a:lnTo>
                    <a:pt x="191" y="2"/>
                  </a:lnTo>
                  <a:lnTo>
                    <a:pt x="174" y="1"/>
                  </a:lnTo>
                  <a:lnTo>
                    <a:pt x="158" y="0"/>
                  </a:lnTo>
                  <a:lnTo>
                    <a:pt x="158" y="0"/>
                  </a:lnTo>
                  <a:lnTo>
                    <a:pt x="143" y="1"/>
                  </a:lnTo>
                  <a:lnTo>
                    <a:pt x="127" y="2"/>
                  </a:lnTo>
                  <a:lnTo>
                    <a:pt x="111" y="3"/>
                  </a:lnTo>
                  <a:lnTo>
                    <a:pt x="97" y="6"/>
                  </a:lnTo>
                  <a:lnTo>
                    <a:pt x="83" y="8"/>
                  </a:lnTo>
                  <a:lnTo>
                    <a:pt x="71" y="12"/>
                  </a:lnTo>
                  <a:lnTo>
                    <a:pt x="58" y="15"/>
                  </a:lnTo>
                  <a:lnTo>
                    <a:pt x="47" y="20"/>
                  </a:lnTo>
                  <a:lnTo>
                    <a:pt x="37" y="24"/>
                  </a:lnTo>
                  <a:lnTo>
                    <a:pt x="28" y="29"/>
                  </a:lnTo>
                  <a:lnTo>
                    <a:pt x="20" y="35"/>
                  </a:lnTo>
                  <a:lnTo>
                    <a:pt x="13" y="41"/>
                  </a:lnTo>
                  <a:lnTo>
                    <a:pt x="8" y="48"/>
                  </a:lnTo>
                  <a:lnTo>
                    <a:pt x="4" y="54"/>
                  </a:lnTo>
                  <a:lnTo>
                    <a:pt x="2" y="60"/>
                  </a:lnTo>
                  <a:lnTo>
                    <a:pt x="0" y="67"/>
                  </a:lnTo>
                  <a:lnTo>
                    <a:pt x="0" y="67"/>
                  </a:lnTo>
                  <a:lnTo>
                    <a:pt x="2" y="74"/>
                  </a:lnTo>
                  <a:lnTo>
                    <a:pt x="4" y="80"/>
                  </a:lnTo>
                  <a:lnTo>
                    <a:pt x="8" y="87"/>
                  </a:lnTo>
                  <a:lnTo>
                    <a:pt x="13" y="93"/>
                  </a:lnTo>
                  <a:lnTo>
                    <a:pt x="20" y="98"/>
                  </a:lnTo>
                  <a:lnTo>
                    <a:pt x="28" y="105"/>
                  </a:lnTo>
                  <a:lnTo>
                    <a:pt x="37" y="110"/>
                  </a:lnTo>
                  <a:lnTo>
                    <a:pt x="47" y="115"/>
                  </a:lnTo>
                  <a:lnTo>
                    <a:pt x="58" y="119"/>
                  </a:lnTo>
                  <a:lnTo>
                    <a:pt x="71" y="123"/>
                  </a:lnTo>
                  <a:lnTo>
                    <a:pt x="83" y="126"/>
                  </a:lnTo>
                  <a:lnTo>
                    <a:pt x="97" y="129"/>
                  </a:lnTo>
                  <a:lnTo>
                    <a:pt x="111" y="131"/>
                  </a:lnTo>
                  <a:lnTo>
                    <a:pt x="127" y="132"/>
                  </a:lnTo>
                  <a:lnTo>
                    <a:pt x="143" y="133"/>
                  </a:lnTo>
                  <a:lnTo>
                    <a:pt x="158" y="134"/>
                  </a:lnTo>
                  <a:lnTo>
                    <a:pt x="158" y="134"/>
                  </a:lnTo>
                  <a:lnTo>
                    <a:pt x="174" y="133"/>
                  </a:lnTo>
                  <a:lnTo>
                    <a:pt x="191" y="132"/>
                  </a:lnTo>
                  <a:lnTo>
                    <a:pt x="206" y="131"/>
                  </a:lnTo>
                  <a:lnTo>
                    <a:pt x="220" y="129"/>
                  </a:lnTo>
                  <a:lnTo>
                    <a:pt x="233" y="126"/>
                  </a:lnTo>
                  <a:lnTo>
                    <a:pt x="247" y="123"/>
                  </a:lnTo>
                  <a:lnTo>
                    <a:pt x="259" y="119"/>
                  </a:lnTo>
                  <a:lnTo>
                    <a:pt x="270" y="115"/>
                  </a:lnTo>
                  <a:lnTo>
                    <a:pt x="280" y="110"/>
                  </a:lnTo>
                  <a:lnTo>
                    <a:pt x="289" y="105"/>
                  </a:lnTo>
                  <a:lnTo>
                    <a:pt x="297" y="98"/>
                  </a:lnTo>
                  <a:lnTo>
                    <a:pt x="305" y="93"/>
                  </a:lnTo>
                  <a:lnTo>
                    <a:pt x="310" y="87"/>
                  </a:lnTo>
                  <a:lnTo>
                    <a:pt x="314" y="80"/>
                  </a:lnTo>
                  <a:lnTo>
                    <a:pt x="316" y="74"/>
                  </a:lnTo>
                  <a:lnTo>
                    <a:pt x="317" y="67"/>
                  </a:lnTo>
                  <a:lnTo>
                    <a:pt x="317"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6" name="Freeform 2430"/>
            <p:cNvSpPr>
              <a:spLocks/>
            </p:cNvSpPr>
            <p:nvPr/>
          </p:nvSpPr>
          <p:spPr bwMode="auto">
            <a:xfrm>
              <a:off x="9782175" y="5435601"/>
              <a:ext cx="84138" cy="34925"/>
            </a:xfrm>
            <a:custGeom>
              <a:avLst/>
              <a:gdLst>
                <a:gd name="T0" fmla="*/ 315 w 315"/>
                <a:gd name="T1" fmla="*/ 67 h 133"/>
                <a:gd name="T2" fmla="*/ 312 w 315"/>
                <a:gd name="T3" fmla="*/ 53 h 133"/>
                <a:gd name="T4" fmla="*/ 303 w 315"/>
                <a:gd name="T5" fmla="*/ 40 h 133"/>
                <a:gd name="T6" fmla="*/ 289 w 315"/>
                <a:gd name="T7" fmla="*/ 29 h 133"/>
                <a:gd name="T8" fmla="*/ 269 w 315"/>
                <a:gd name="T9" fmla="*/ 19 h 133"/>
                <a:gd name="T10" fmla="*/ 246 w 315"/>
                <a:gd name="T11" fmla="*/ 11 h 133"/>
                <a:gd name="T12" fmla="*/ 218 w 315"/>
                <a:gd name="T13" fmla="*/ 5 h 133"/>
                <a:gd name="T14" fmla="*/ 189 w 315"/>
                <a:gd name="T15" fmla="*/ 1 h 133"/>
                <a:gd name="T16" fmla="*/ 157 w 315"/>
                <a:gd name="T17" fmla="*/ 0 h 133"/>
                <a:gd name="T18" fmla="*/ 141 w 315"/>
                <a:gd name="T19" fmla="*/ 0 h 133"/>
                <a:gd name="T20" fmla="*/ 111 w 315"/>
                <a:gd name="T21" fmla="*/ 3 h 133"/>
                <a:gd name="T22" fmla="*/ 82 w 315"/>
                <a:gd name="T23" fmla="*/ 8 h 133"/>
                <a:gd name="T24" fmla="*/ 57 w 315"/>
                <a:gd name="T25" fmla="*/ 15 h 133"/>
                <a:gd name="T26" fmla="*/ 35 w 315"/>
                <a:gd name="T27" fmla="*/ 24 h 133"/>
                <a:gd name="T28" fmla="*/ 18 w 315"/>
                <a:gd name="T29" fmla="*/ 34 h 133"/>
                <a:gd name="T30" fmla="*/ 7 w 315"/>
                <a:gd name="T31" fmla="*/ 46 h 133"/>
                <a:gd name="T32" fmla="*/ 1 w 315"/>
                <a:gd name="T33" fmla="*/ 60 h 133"/>
                <a:gd name="T34" fmla="*/ 0 w 315"/>
                <a:gd name="T35" fmla="*/ 67 h 133"/>
                <a:gd name="T36" fmla="*/ 3 w 315"/>
                <a:gd name="T37" fmla="*/ 80 h 133"/>
                <a:gd name="T38" fmla="*/ 12 w 315"/>
                <a:gd name="T39" fmla="*/ 92 h 133"/>
                <a:gd name="T40" fmla="*/ 26 w 315"/>
                <a:gd name="T41" fmla="*/ 104 h 133"/>
                <a:gd name="T42" fmla="*/ 46 w 315"/>
                <a:gd name="T43" fmla="*/ 113 h 133"/>
                <a:gd name="T44" fmla="*/ 69 w 315"/>
                <a:gd name="T45" fmla="*/ 122 h 133"/>
                <a:gd name="T46" fmla="*/ 96 w 315"/>
                <a:gd name="T47" fmla="*/ 128 h 133"/>
                <a:gd name="T48" fmla="*/ 126 w 315"/>
                <a:gd name="T49" fmla="*/ 132 h 133"/>
                <a:gd name="T50" fmla="*/ 157 w 315"/>
                <a:gd name="T51" fmla="*/ 133 h 133"/>
                <a:gd name="T52" fmla="*/ 174 w 315"/>
                <a:gd name="T53" fmla="*/ 133 h 133"/>
                <a:gd name="T54" fmla="*/ 204 w 315"/>
                <a:gd name="T55" fmla="*/ 131 h 133"/>
                <a:gd name="T56" fmla="*/ 233 w 315"/>
                <a:gd name="T57" fmla="*/ 126 h 133"/>
                <a:gd name="T58" fmla="*/ 258 w 315"/>
                <a:gd name="T59" fmla="*/ 118 h 133"/>
                <a:gd name="T60" fmla="*/ 279 w 315"/>
                <a:gd name="T61" fmla="*/ 109 h 133"/>
                <a:gd name="T62" fmla="*/ 297 w 315"/>
                <a:gd name="T63" fmla="*/ 98 h 133"/>
                <a:gd name="T64" fmla="*/ 308 w 315"/>
                <a:gd name="T65" fmla="*/ 86 h 133"/>
                <a:gd name="T66" fmla="*/ 315 w 315"/>
                <a:gd name="T67" fmla="*/ 74 h 133"/>
                <a:gd name="T68" fmla="*/ 315 w 315"/>
                <a:gd name="T69" fmla="*/ 6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5" h="133">
                  <a:moveTo>
                    <a:pt x="315" y="67"/>
                  </a:moveTo>
                  <a:lnTo>
                    <a:pt x="315" y="67"/>
                  </a:lnTo>
                  <a:lnTo>
                    <a:pt x="315" y="60"/>
                  </a:lnTo>
                  <a:lnTo>
                    <a:pt x="312" y="53"/>
                  </a:lnTo>
                  <a:lnTo>
                    <a:pt x="308" y="46"/>
                  </a:lnTo>
                  <a:lnTo>
                    <a:pt x="303" y="40"/>
                  </a:lnTo>
                  <a:lnTo>
                    <a:pt x="297" y="34"/>
                  </a:lnTo>
                  <a:lnTo>
                    <a:pt x="289" y="29"/>
                  </a:lnTo>
                  <a:lnTo>
                    <a:pt x="279" y="24"/>
                  </a:lnTo>
                  <a:lnTo>
                    <a:pt x="269" y="19"/>
                  </a:lnTo>
                  <a:lnTo>
                    <a:pt x="258" y="15"/>
                  </a:lnTo>
                  <a:lnTo>
                    <a:pt x="246" y="11"/>
                  </a:lnTo>
                  <a:lnTo>
                    <a:pt x="233" y="8"/>
                  </a:lnTo>
                  <a:lnTo>
                    <a:pt x="218" y="5"/>
                  </a:lnTo>
                  <a:lnTo>
                    <a:pt x="204" y="3"/>
                  </a:lnTo>
                  <a:lnTo>
                    <a:pt x="189" y="1"/>
                  </a:lnTo>
                  <a:lnTo>
                    <a:pt x="174" y="0"/>
                  </a:lnTo>
                  <a:lnTo>
                    <a:pt x="157" y="0"/>
                  </a:lnTo>
                  <a:lnTo>
                    <a:pt x="157" y="0"/>
                  </a:lnTo>
                  <a:lnTo>
                    <a:pt x="141" y="0"/>
                  </a:lnTo>
                  <a:lnTo>
                    <a:pt x="126" y="1"/>
                  </a:lnTo>
                  <a:lnTo>
                    <a:pt x="111" y="3"/>
                  </a:lnTo>
                  <a:lnTo>
                    <a:pt x="96" y="5"/>
                  </a:lnTo>
                  <a:lnTo>
                    <a:pt x="82" y="8"/>
                  </a:lnTo>
                  <a:lnTo>
                    <a:pt x="69" y="11"/>
                  </a:lnTo>
                  <a:lnTo>
                    <a:pt x="57" y="15"/>
                  </a:lnTo>
                  <a:lnTo>
                    <a:pt x="46" y="19"/>
                  </a:lnTo>
                  <a:lnTo>
                    <a:pt x="35" y="24"/>
                  </a:lnTo>
                  <a:lnTo>
                    <a:pt x="26" y="29"/>
                  </a:lnTo>
                  <a:lnTo>
                    <a:pt x="18" y="34"/>
                  </a:lnTo>
                  <a:lnTo>
                    <a:pt x="12" y="40"/>
                  </a:lnTo>
                  <a:lnTo>
                    <a:pt x="7" y="46"/>
                  </a:lnTo>
                  <a:lnTo>
                    <a:pt x="3" y="53"/>
                  </a:lnTo>
                  <a:lnTo>
                    <a:pt x="1" y="60"/>
                  </a:lnTo>
                  <a:lnTo>
                    <a:pt x="0" y="67"/>
                  </a:lnTo>
                  <a:lnTo>
                    <a:pt x="0" y="67"/>
                  </a:lnTo>
                  <a:lnTo>
                    <a:pt x="1" y="74"/>
                  </a:lnTo>
                  <a:lnTo>
                    <a:pt x="3" y="80"/>
                  </a:lnTo>
                  <a:lnTo>
                    <a:pt x="7" y="86"/>
                  </a:lnTo>
                  <a:lnTo>
                    <a:pt x="12" y="92"/>
                  </a:lnTo>
                  <a:lnTo>
                    <a:pt x="18" y="98"/>
                  </a:lnTo>
                  <a:lnTo>
                    <a:pt x="26" y="104"/>
                  </a:lnTo>
                  <a:lnTo>
                    <a:pt x="35" y="109"/>
                  </a:lnTo>
                  <a:lnTo>
                    <a:pt x="46" y="113"/>
                  </a:lnTo>
                  <a:lnTo>
                    <a:pt x="57" y="118"/>
                  </a:lnTo>
                  <a:lnTo>
                    <a:pt x="69" y="122"/>
                  </a:lnTo>
                  <a:lnTo>
                    <a:pt x="82" y="126"/>
                  </a:lnTo>
                  <a:lnTo>
                    <a:pt x="96" y="128"/>
                  </a:lnTo>
                  <a:lnTo>
                    <a:pt x="111" y="131"/>
                  </a:lnTo>
                  <a:lnTo>
                    <a:pt x="126" y="132"/>
                  </a:lnTo>
                  <a:lnTo>
                    <a:pt x="141" y="133"/>
                  </a:lnTo>
                  <a:lnTo>
                    <a:pt x="157" y="133"/>
                  </a:lnTo>
                  <a:lnTo>
                    <a:pt x="157" y="133"/>
                  </a:lnTo>
                  <a:lnTo>
                    <a:pt x="174" y="133"/>
                  </a:lnTo>
                  <a:lnTo>
                    <a:pt x="189" y="132"/>
                  </a:lnTo>
                  <a:lnTo>
                    <a:pt x="204" y="131"/>
                  </a:lnTo>
                  <a:lnTo>
                    <a:pt x="218" y="128"/>
                  </a:lnTo>
                  <a:lnTo>
                    <a:pt x="233" y="126"/>
                  </a:lnTo>
                  <a:lnTo>
                    <a:pt x="246" y="122"/>
                  </a:lnTo>
                  <a:lnTo>
                    <a:pt x="258" y="118"/>
                  </a:lnTo>
                  <a:lnTo>
                    <a:pt x="269" y="113"/>
                  </a:lnTo>
                  <a:lnTo>
                    <a:pt x="279" y="109"/>
                  </a:lnTo>
                  <a:lnTo>
                    <a:pt x="289" y="104"/>
                  </a:lnTo>
                  <a:lnTo>
                    <a:pt x="297" y="98"/>
                  </a:lnTo>
                  <a:lnTo>
                    <a:pt x="303" y="92"/>
                  </a:lnTo>
                  <a:lnTo>
                    <a:pt x="308" y="86"/>
                  </a:lnTo>
                  <a:lnTo>
                    <a:pt x="312" y="80"/>
                  </a:lnTo>
                  <a:lnTo>
                    <a:pt x="315" y="74"/>
                  </a:lnTo>
                  <a:lnTo>
                    <a:pt x="315" y="67"/>
                  </a:lnTo>
                  <a:lnTo>
                    <a:pt x="315"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7" name="Freeform 2431"/>
            <p:cNvSpPr>
              <a:spLocks/>
            </p:cNvSpPr>
            <p:nvPr/>
          </p:nvSpPr>
          <p:spPr bwMode="auto">
            <a:xfrm>
              <a:off x="9928225" y="5418138"/>
              <a:ext cx="82550" cy="34925"/>
            </a:xfrm>
            <a:custGeom>
              <a:avLst/>
              <a:gdLst>
                <a:gd name="T0" fmla="*/ 316 w 316"/>
                <a:gd name="T1" fmla="*/ 67 h 134"/>
                <a:gd name="T2" fmla="*/ 312 w 316"/>
                <a:gd name="T3" fmla="*/ 53 h 134"/>
                <a:gd name="T4" fmla="*/ 303 w 316"/>
                <a:gd name="T5" fmla="*/ 41 h 134"/>
                <a:gd name="T6" fmla="*/ 289 w 316"/>
                <a:gd name="T7" fmla="*/ 29 h 134"/>
                <a:gd name="T8" fmla="*/ 269 w 316"/>
                <a:gd name="T9" fmla="*/ 20 h 134"/>
                <a:gd name="T10" fmla="*/ 246 w 316"/>
                <a:gd name="T11" fmla="*/ 12 h 134"/>
                <a:gd name="T12" fmla="*/ 220 w 316"/>
                <a:gd name="T13" fmla="*/ 5 h 134"/>
                <a:gd name="T14" fmla="*/ 190 w 316"/>
                <a:gd name="T15" fmla="*/ 1 h 134"/>
                <a:gd name="T16" fmla="*/ 158 w 316"/>
                <a:gd name="T17" fmla="*/ 0 h 134"/>
                <a:gd name="T18" fmla="*/ 141 w 316"/>
                <a:gd name="T19" fmla="*/ 0 h 134"/>
                <a:gd name="T20" fmla="*/ 111 w 316"/>
                <a:gd name="T21" fmla="*/ 2 h 134"/>
                <a:gd name="T22" fmla="*/ 82 w 316"/>
                <a:gd name="T23" fmla="*/ 8 h 134"/>
                <a:gd name="T24" fmla="*/ 58 w 316"/>
                <a:gd name="T25" fmla="*/ 15 h 134"/>
                <a:gd name="T26" fmla="*/ 36 w 316"/>
                <a:gd name="T27" fmla="*/ 24 h 134"/>
                <a:gd name="T28" fmla="*/ 19 w 316"/>
                <a:gd name="T29" fmla="*/ 35 h 134"/>
                <a:gd name="T30" fmla="*/ 7 w 316"/>
                <a:gd name="T31" fmla="*/ 47 h 134"/>
                <a:gd name="T32" fmla="*/ 1 w 316"/>
                <a:gd name="T33" fmla="*/ 59 h 134"/>
                <a:gd name="T34" fmla="*/ 0 w 316"/>
                <a:gd name="T35" fmla="*/ 67 h 134"/>
                <a:gd name="T36" fmla="*/ 3 w 316"/>
                <a:gd name="T37" fmla="*/ 80 h 134"/>
                <a:gd name="T38" fmla="*/ 12 w 316"/>
                <a:gd name="T39" fmla="*/ 93 h 134"/>
                <a:gd name="T40" fmla="*/ 27 w 316"/>
                <a:gd name="T41" fmla="*/ 104 h 134"/>
                <a:gd name="T42" fmla="*/ 46 w 316"/>
                <a:gd name="T43" fmla="*/ 114 h 134"/>
                <a:gd name="T44" fmla="*/ 69 w 316"/>
                <a:gd name="T45" fmla="*/ 122 h 134"/>
                <a:gd name="T46" fmla="*/ 97 w 316"/>
                <a:gd name="T47" fmla="*/ 129 h 134"/>
                <a:gd name="T48" fmla="*/ 126 w 316"/>
                <a:gd name="T49" fmla="*/ 132 h 134"/>
                <a:gd name="T50" fmla="*/ 158 w 316"/>
                <a:gd name="T51" fmla="*/ 134 h 134"/>
                <a:gd name="T52" fmla="*/ 174 w 316"/>
                <a:gd name="T53" fmla="*/ 133 h 134"/>
                <a:gd name="T54" fmla="*/ 204 w 316"/>
                <a:gd name="T55" fmla="*/ 131 h 134"/>
                <a:gd name="T56" fmla="*/ 233 w 316"/>
                <a:gd name="T57" fmla="*/ 126 h 134"/>
                <a:gd name="T58" fmla="*/ 258 w 316"/>
                <a:gd name="T59" fmla="*/ 118 h 134"/>
                <a:gd name="T60" fmla="*/ 280 w 316"/>
                <a:gd name="T61" fmla="*/ 109 h 134"/>
                <a:gd name="T62" fmla="*/ 297 w 316"/>
                <a:gd name="T63" fmla="*/ 98 h 134"/>
                <a:gd name="T64" fmla="*/ 309 w 316"/>
                <a:gd name="T65" fmla="*/ 87 h 134"/>
                <a:gd name="T66" fmla="*/ 315 w 316"/>
                <a:gd name="T67" fmla="*/ 74 h 134"/>
                <a:gd name="T68" fmla="*/ 316 w 316"/>
                <a:gd name="T6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6" h="134">
                  <a:moveTo>
                    <a:pt x="316" y="67"/>
                  </a:moveTo>
                  <a:lnTo>
                    <a:pt x="316" y="67"/>
                  </a:lnTo>
                  <a:lnTo>
                    <a:pt x="315" y="59"/>
                  </a:lnTo>
                  <a:lnTo>
                    <a:pt x="312" y="53"/>
                  </a:lnTo>
                  <a:lnTo>
                    <a:pt x="309" y="47"/>
                  </a:lnTo>
                  <a:lnTo>
                    <a:pt x="303" y="41"/>
                  </a:lnTo>
                  <a:lnTo>
                    <a:pt x="297" y="35"/>
                  </a:lnTo>
                  <a:lnTo>
                    <a:pt x="289" y="29"/>
                  </a:lnTo>
                  <a:lnTo>
                    <a:pt x="280" y="24"/>
                  </a:lnTo>
                  <a:lnTo>
                    <a:pt x="269" y="20"/>
                  </a:lnTo>
                  <a:lnTo>
                    <a:pt x="258" y="15"/>
                  </a:lnTo>
                  <a:lnTo>
                    <a:pt x="246" y="12"/>
                  </a:lnTo>
                  <a:lnTo>
                    <a:pt x="233" y="8"/>
                  </a:lnTo>
                  <a:lnTo>
                    <a:pt x="220" y="5"/>
                  </a:lnTo>
                  <a:lnTo>
                    <a:pt x="204" y="2"/>
                  </a:lnTo>
                  <a:lnTo>
                    <a:pt x="190" y="1"/>
                  </a:lnTo>
                  <a:lnTo>
                    <a:pt x="174" y="0"/>
                  </a:lnTo>
                  <a:lnTo>
                    <a:pt x="158" y="0"/>
                  </a:lnTo>
                  <a:lnTo>
                    <a:pt x="158" y="0"/>
                  </a:lnTo>
                  <a:lnTo>
                    <a:pt x="141" y="0"/>
                  </a:lnTo>
                  <a:lnTo>
                    <a:pt x="126" y="1"/>
                  </a:lnTo>
                  <a:lnTo>
                    <a:pt x="111" y="2"/>
                  </a:lnTo>
                  <a:lnTo>
                    <a:pt x="97" y="5"/>
                  </a:lnTo>
                  <a:lnTo>
                    <a:pt x="82" y="8"/>
                  </a:lnTo>
                  <a:lnTo>
                    <a:pt x="69" y="12"/>
                  </a:lnTo>
                  <a:lnTo>
                    <a:pt x="58" y="15"/>
                  </a:lnTo>
                  <a:lnTo>
                    <a:pt x="46" y="20"/>
                  </a:lnTo>
                  <a:lnTo>
                    <a:pt x="36" y="24"/>
                  </a:lnTo>
                  <a:lnTo>
                    <a:pt x="27" y="29"/>
                  </a:lnTo>
                  <a:lnTo>
                    <a:pt x="19" y="35"/>
                  </a:lnTo>
                  <a:lnTo>
                    <a:pt x="12" y="41"/>
                  </a:lnTo>
                  <a:lnTo>
                    <a:pt x="7" y="47"/>
                  </a:lnTo>
                  <a:lnTo>
                    <a:pt x="3" y="53"/>
                  </a:lnTo>
                  <a:lnTo>
                    <a:pt x="1" y="59"/>
                  </a:lnTo>
                  <a:lnTo>
                    <a:pt x="0" y="67"/>
                  </a:lnTo>
                  <a:lnTo>
                    <a:pt x="0" y="67"/>
                  </a:lnTo>
                  <a:lnTo>
                    <a:pt x="1" y="74"/>
                  </a:lnTo>
                  <a:lnTo>
                    <a:pt x="3" y="80"/>
                  </a:lnTo>
                  <a:lnTo>
                    <a:pt x="7" y="87"/>
                  </a:lnTo>
                  <a:lnTo>
                    <a:pt x="12" y="93"/>
                  </a:lnTo>
                  <a:lnTo>
                    <a:pt x="19" y="98"/>
                  </a:lnTo>
                  <a:lnTo>
                    <a:pt x="27" y="104"/>
                  </a:lnTo>
                  <a:lnTo>
                    <a:pt x="36" y="109"/>
                  </a:lnTo>
                  <a:lnTo>
                    <a:pt x="46" y="114"/>
                  </a:lnTo>
                  <a:lnTo>
                    <a:pt x="58" y="118"/>
                  </a:lnTo>
                  <a:lnTo>
                    <a:pt x="69" y="122"/>
                  </a:lnTo>
                  <a:lnTo>
                    <a:pt x="82" y="126"/>
                  </a:lnTo>
                  <a:lnTo>
                    <a:pt x="97" y="129"/>
                  </a:lnTo>
                  <a:lnTo>
                    <a:pt x="111" y="131"/>
                  </a:lnTo>
                  <a:lnTo>
                    <a:pt x="126" y="132"/>
                  </a:lnTo>
                  <a:lnTo>
                    <a:pt x="141" y="133"/>
                  </a:lnTo>
                  <a:lnTo>
                    <a:pt x="158" y="134"/>
                  </a:lnTo>
                  <a:lnTo>
                    <a:pt x="158" y="134"/>
                  </a:lnTo>
                  <a:lnTo>
                    <a:pt x="174" y="133"/>
                  </a:lnTo>
                  <a:lnTo>
                    <a:pt x="190" y="132"/>
                  </a:lnTo>
                  <a:lnTo>
                    <a:pt x="204" y="131"/>
                  </a:lnTo>
                  <a:lnTo>
                    <a:pt x="220" y="129"/>
                  </a:lnTo>
                  <a:lnTo>
                    <a:pt x="233" y="126"/>
                  </a:lnTo>
                  <a:lnTo>
                    <a:pt x="246" y="122"/>
                  </a:lnTo>
                  <a:lnTo>
                    <a:pt x="258" y="118"/>
                  </a:lnTo>
                  <a:lnTo>
                    <a:pt x="269" y="114"/>
                  </a:lnTo>
                  <a:lnTo>
                    <a:pt x="280" y="109"/>
                  </a:lnTo>
                  <a:lnTo>
                    <a:pt x="289" y="104"/>
                  </a:lnTo>
                  <a:lnTo>
                    <a:pt x="297" y="98"/>
                  </a:lnTo>
                  <a:lnTo>
                    <a:pt x="303" y="93"/>
                  </a:lnTo>
                  <a:lnTo>
                    <a:pt x="309" y="87"/>
                  </a:lnTo>
                  <a:lnTo>
                    <a:pt x="312" y="80"/>
                  </a:lnTo>
                  <a:lnTo>
                    <a:pt x="315" y="74"/>
                  </a:lnTo>
                  <a:lnTo>
                    <a:pt x="316" y="67"/>
                  </a:lnTo>
                  <a:lnTo>
                    <a:pt x="316"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8" name="Freeform 2432"/>
            <p:cNvSpPr>
              <a:spLocks/>
            </p:cNvSpPr>
            <p:nvPr/>
          </p:nvSpPr>
          <p:spPr bwMode="auto">
            <a:xfrm>
              <a:off x="9086850" y="5653088"/>
              <a:ext cx="84138" cy="36513"/>
            </a:xfrm>
            <a:custGeom>
              <a:avLst/>
              <a:gdLst>
                <a:gd name="T0" fmla="*/ 315 w 315"/>
                <a:gd name="T1" fmla="*/ 67 h 134"/>
                <a:gd name="T2" fmla="*/ 312 w 315"/>
                <a:gd name="T3" fmla="*/ 53 h 134"/>
                <a:gd name="T4" fmla="*/ 303 w 315"/>
                <a:gd name="T5" fmla="*/ 40 h 134"/>
                <a:gd name="T6" fmla="*/ 289 w 315"/>
                <a:gd name="T7" fmla="*/ 29 h 134"/>
                <a:gd name="T8" fmla="*/ 269 w 315"/>
                <a:gd name="T9" fmla="*/ 19 h 134"/>
                <a:gd name="T10" fmla="*/ 246 w 315"/>
                <a:gd name="T11" fmla="*/ 11 h 134"/>
                <a:gd name="T12" fmla="*/ 220 w 315"/>
                <a:gd name="T13" fmla="*/ 5 h 134"/>
                <a:gd name="T14" fmla="*/ 189 w 315"/>
                <a:gd name="T15" fmla="*/ 2 h 134"/>
                <a:gd name="T16" fmla="*/ 157 w 315"/>
                <a:gd name="T17" fmla="*/ 0 h 134"/>
                <a:gd name="T18" fmla="*/ 141 w 315"/>
                <a:gd name="T19" fmla="*/ 1 h 134"/>
                <a:gd name="T20" fmla="*/ 111 w 315"/>
                <a:gd name="T21" fmla="*/ 3 h 134"/>
                <a:gd name="T22" fmla="*/ 82 w 315"/>
                <a:gd name="T23" fmla="*/ 8 h 134"/>
                <a:gd name="T24" fmla="*/ 57 w 315"/>
                <a:gd name="T25" fmla="*/ 15 h 134"/>
                <a:gd name="T26" fmla="*/ 35 w 315"/>
                <a:gd name="T27" fmla="*/ 24 h 134"/>
                <a:gd name="T28" fmla="*/ 18 w 315"/>
                <a:gd name="T29" fmla="*/ 35 h 134"/>
                <a:gd name="T30" fmla="*/ 7 w 315"/>
                <a:gd name="T31" fmla="*/ 46 h 134"/>
                <a:gd name="T32" fmla="*/ 1 w 315"/>
                <a:gd name="T33" fmla="*/ 60 h 134"/>
                <a:gd name="T34" fmla="*/ 0 w 315"/>
                <a:gd name="T35" fmla="*/ 67 h 134"/>
                <a:gd name="T36" fmla="*/ 3 w 315"/>
                <a:gd name="T37" fmla="*/ 80 h 134"/>
                <a:gd name="T38" fmla="*/ 12 w 315"/>
                <a:gd name="T39" fmla="*/ 92 h 134"/>
                <a:gd name="T40" fmla="*/ 26 w 315"/>
                <a:gd name="T41" fmla="*/ 104 h 134"/>
                <a:gd name="T42" fmla="*/ 46 w 315"/>
                <a:gd name="T43" fmla="*/ 113 h 134"/>
                <a:gd name="T44" fmla="*/ 69 w 315"/>
                <a:gd name="T45" fmla="*/ 122 h 134"/>
                <a:gd name="T46" fmla="*/ 96 w 315"/>
                <a:gd name="T47" fmla="*/ 128 h 134"/>
                <a:gd name="T48" fmla="*/ 126 w 315"/>
                <a:gd name="T49" fmla="*/ 132 h 134"/>
                <a:gd name="T50" fmla="*/ 157 w 315"/>
                <a:gd name="T51" fmla="*/ 134 h 134"/>
                <a:gd name="T52" fmla="*/ 174 w 315"/>
                <a:gd name="T53" fmla="*/ 133 h 134"/>
                <a:gd name="T54" fmla="*/ 204 w 315"/>
                <a:gd name="T55" fmla="*/ 131 h 134"/>
                <a:gd name="T56" fmla="*/ 233 w 315"/>
                <a:gd name="T57" fmla="*/ 126 h 134"/>
                <a:gd name="T58" fmla="*/ 258 w 315"/>
                <a:gd name="T59" fmla="*/ 119 h 134"/>
                <a:gd name="T60" fmla="*/ 280 w 315"/>
                <a:gd name="T61" fmla="*/ 109 h 134"/>
                <a:gd name="T62" fmla="*/ 297 w 315"/>
                <a:gd name="T63" fmla="*/ 98 h 134"/>
                <a:gd name="T64" fmla="*/ 308 w 315"/>
                <a:gd name="T65" fmla="*/ 86 h 134"/>
                <a:gd name="T66" fmla="*/ 315 w 315"/>
                <a:gd name="T67" fmla="*/ 74 h 134"/>
                <a:gd name="T68" fmla="*/ 315 w 315"/>
                <a:gd name="T6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5" h="134">
                  <a:moveTo>
                    <a:pt x="315" y="67"/>
                  </a:moveTo>
                  <a:lnTo>
                    <a:pt x="315" y="67"/>
                  </a:lnTo>
                  <a:lnTo>
                    <a:pt x="315" y="60"/>
                  </a:lnTo>
                  <a:lnTo>
                    <a:pt x="312" y="53"/>
                  </a:lnTo>
                  <a:lnTo>
                    <a:pt x="308" y="46"/>
                  </a:lnTo>
                  <a:lnTo>
                    <a:pt x="303" y="40"/>
                  </a:lnTo>
                  <a:lnTo>
                    <a:pt x="297" y="35"/>
                  </a:lnTo>
                  <a:lnTo>
                    <a:pt x="289" y="29"/>
                  </a:lnTo>
                  <a:lnTo>
                    <a:pt x="280" y="24"/>
                  </a:lnTo>
                  <a:lnTo>
                    <a:pt x="269" y="19"/>
                  </a:lnTo>
                  <a:lnTo>
                    <a:pt x="258" y="15"/>
                  </a:lnTo>
                  <a:lnTo>
                    <a:pt x="246" y="11"/>
                  </a:lnTo>
                  <a:lnTo>
                    <a:pt x="233" y="8"/>
                  </a:lnTo>
                  <a:lnTo>
                    <a:pt x="220" y="5"/>
                  </a:lnTo>
                  <a:lnTo>
                    <a:pt x="204" y="3"/>
                  </a:lnTo>
                  <a:lnTo>
                    <a:pt x="189" y="2"/>
                  </a:lnTo>
                  <a:lnTo>
                    <a:pt x="174" y="1"/>
                  </a:lnTo>
                  <a:lnTo>
                    <a:pt x="157" y="0"/>
                  </a:lnTo>
                  <a:lnTo>
                    <a:pt x="157" y="0"/>
                  </a:lnTo>
                  <a:lnTo>
                    <a:pt x="141" y="1"/>
                  </a:lnTo>
                  <a:lnTo>
                    <a:pt x="126" y="2"/>
                  </a:lnTo>
                  <a:lnTo>
                    <a:pt x="111" y="3"/>
                  </a:lnTo>
                  <a:lnTo>
                    <a:pt x="96" y="5"/>
                  </a:lnTo>
                  <a:lnTo>
                    <a:pt x="82" y="8"/>
                  </a:lnTo>
                  <a:lnTo>
                    <a:pt x="69" y="11"/>
                  </a:lnTo>
                  <a:lnTo>
                    <a:pt x="57" y="15"/>
                  </a:lnTo>
                  <a:lnTo>
                    <a:pt x="46" y="19"/>
                  </a:lnTo>
                  <a:lnTo>
                    <a:pt x="35" y="24"/>
                  </a:lnTo>
                  <a:lnTo>
                    <a:pt x="26" y="29"/>
                  </a:lnTo>
                  <a:lnTo>
                    <a:pt x="18" y="35"/>
                  </a:lnTo>
                  <a:lnTo>
                    <a:pt x="12" y="40"/>
                  </a:lnTo>
                  <a:lnTo>
                    <a:pt x="7" y="46"/>
                  </a:lnTo>
                  <a:lnTo>
                    <a:pt x="3" y="53"/>
                  </a:lnTo>
                  <a:lnTo>
                    <a:pt x="1" y="60"/>
                  </a:lnTo>
                  <a:lnTo>
                    <a:pt x="0" y="67"/>
                  </a:lnTo>
                  <a:lnTo>
                    <a:pt x="0" y="67"/>
                  </a:lnTo>
                  <a:lnTo>
                    <a:pt x="1" y="74"/>
                  </a:lnTo>
                  <a:lnTo>
                    <a:pt x="3" y="80"/>
                  </a:lnTo>
                  <a:lnTo>
                    <a:pt x="7" y="86"/>
                  </a:lnTo>
                  <a:lnTo>
                    <a:pt x="12" y="92"/>
                  </a:lnTo>
                  <a:lnTo>
                    <a:pt x="18" y="98"/>
                  </a:lnTo>
                  <a:lnTo>
                    <a:pt x="26" y="104"/>
                  </a:lnTo>
                  <a:lnTo>
                    <a:pt x="35" y="109"/>
                  </a:lnTo>
                  <a:lnTo>
                    <a:pt x="46" y="113"/>
                  </a:lnTo>
                  <a:lnTo>
                    <a:pt x="57" y="119"/>
                  </a:lnTo>
                  <a:lnTo>
                    <a:pt x="69" y="122"/>
                  </a:lnTo>
                  <a:lnTo>
                    <a:pt x="82" y="126"/>
                  </a:lnTo>
                  <a:lnTo>
                    <a:pt x="96" y="128"/>
                  </a:lnTo>
                  <a:lnTo>
                    <a:pt x="111" y="131"/>
                  </a:lnTo>
                  <a:lnTo>
                    <a:pt x="126" y="132"/>
                  </a:lnTo>
                  <a:lnTo>
                    <a:pt x="141" y="133"/>
                  </a:lnTo>
                  <a:lnTo>
                    <a:pt x="157" y="134"/>
                  </a:lnTo>
                  <a:lnTo>
                    <a:pt x="157" y="134"/>
                  </a:lnTo>
                  <a:lnTo>
                    <a:pt x="174" y="133"/>
                  </a:lnTo>
                  <a:lnTo>
                    <a:pt x="189" y="132"/>
                  </a:lnTo>
                  <a:lnTo>
                    <a:pt x="204" y="131"/>
                  </a:lnTo>
                  <a:lnTo>
                    <a:pt x="220" y="128"/>
                  </a:lnTo>
                  <a:lnTo>
                    <a:pt x="233" y="126"/>
                  </a:lnTo>
                  <a:lnTo>
                    <a:pt x="246" y="122"/>
                  </a:lnTo>
                  <a:lnTo>
                    <a:pt x="258" y="119"/>
                  </a:lnTo>
                  <a:lnTo>
                    <a:pt x="269" y="113"/>
                  </a:lnTo>
                  <a:lnTo>
                    <a:pt x="280" y="109"/>
                  </a:lnTo>
                  <a:lnTo>
                    <a:pt x="289" y="104"/>
                  </a:lnTo>
                  <a:lnTo>
                    <a:pt x="297" y="98"/>
                  </a:lnTo>
                  <a:lnTo>
                    <a:pt x="303" y="92"/>
                  </a:lnTo>
                  <a:lnTo>
                    <a:pt x="308" y="86"/>
                  </a:lnTo>
                  <a:lnTo>
                    <a:pt x="312" y="80"/>
                  </a:lnTo>
                  <a:lnTo>
                    <a:pt x="315" y="74"/>
                  </a:lnTo>
                  <a:lnTo>
                    <a:pt x="315" y="67"/>
                  </a:lnTo>
                  <a:lnTo>
                    <a:pt x="315"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79" name="Freeform 2433"/>
            <p:cNvSpPr>
              <a:spLocks/>
            </p:cNvSpPr>
            <p:nvPr/>
          </p:nvSpPr>
          <p:spPr bwMode="auto">
            <a:xfrm>
              <a:off x="9231313" y="5635626"/>
              <a:ext cx="84138" cy="36513"/>
            </a:xfrm>
            <a:custGeom>
              <a:avLst/>
              <a:gdLst>
                <a:gd name="T0" fmla="*/ 316 w 316"/>
                <a:gd name="T1" fmla="*/ 67 h 134"/>
                <a:gd name="T2" fmla="*/ 313 w 316"/>
                <a:gd name="T3" fmla="*/ 53 h 134"/>
                <a:gd name="T4" fmla="*/ 303 w 316"/>
                <a:gd name="T5" fmla="*/ 41 h 134"/>
                <a:gd name="T6" fmla="*/ 289 w 316"/>
                <a:gd name="T7" fmla="*/ 30 h 134"/>
                <a:gd name="T8" fmla="*/ 269 w 316"/>
                <a:gd name="T9" fmla="*/ 20 h 134"/>
                <a:gd name="T10" fmla="*/ 246 w 316"/>
                <a:gd name="T11" fmla="*/ 12 h 134"/>
                <a:gd name="T12" fmla="*/ 220 w 316"/>
                <a:gd name="T13" fmla="*/ 5 h 134"/>
                <a:gd name="T14" fmla="*/ 190 w 316"/>
                <a:gd name="T15" fmla="*/ 1 h 134"/>
                <a:gd name="T16" fmla="*/ 158 w 316"/>
                <a:gd name="T17" fmla="*/ 0 h 134"/>
                <a:gd name="T18" fmla="*/ 141 w 316"/>
                <a:gd name="T19" fmla="*/ 0 h 134"/>
                <a:gd name="T20" fmla="*/ 111 w 316"/>
                <a:gd name="T21" fmla="*/ 3 h 134"/>
                <a:gd name="T22" fmla="*/ 82 w 316"/>
                <a:gd name="T23" fmla="*/ 9 h 134"/>
                <a:gd name="T24" fmla="*/ 58 w 316"/>
                <a:gd name="T25" fmla="*/ 16 h 134"/>
                <a:gd name="T26" fmla="*/ 37 w 316"/>
                <a:gd name="T27" fmla="*/ 24 h 134"/>
                <a:gd name="T28" fmla="*/ 19 w 316"/>
                <a:gd name="T29" fmla="*/ 35 h 134"/>
                <a:gd name="T30" fmla="*/ 7 w 316"/>
                <a:gd name="T31" fmla="*/ 47 h 134"/>
                <a:gd name="T32" fmla="*/ 1 w 316"/>
                <a:gd name="T33" fmla="*/ 60 h 134"/>
                <a:gd name="T34" fmla="*/ 0 w 316"/>
                <a:gd name="T35" fmla="*/ 67 h 134"/>
                <a:gd name="T36" fmla="*/ 3 w 316"/>
                <a:gd name="T37" fmla="*/ 80 h 134"/>
                <a:gd name="T38" fmla="*/ 12 w 316"/>
                <a:gd name="T39" fmla="*/ 93 h 134"/>
                <a:gd name="T40" fmla="*/ 27 w 316"/>
                <a:gd name="T41" fmla="*/ 104 h 134"/>
                <a:gd name="T42" fmla="*/ 47 w 316"/>
                <a:gd name="T43" fmla="*/ 114 h 134"/>
                <a:gd name="T44" fmla="*/ 70 w 316"/>
                <a:gd name="T45" fmla="*/ 122 h 134"/>
                <a:gd name="T46" fmla="*/ 97 w 316"/>
                <a:gd name="T47" fmla="*/ 129 h 134"/>
                <a:gd name="T48" fmla="*/ 126 w 316"/>
                <a:gd name="T49" fmla="*/ 133 h 134"/>
                <a:gd name="T50" fmla="*/ 158 w 316"/>
                <a:gd name="T51" fmla="*/ 134 h 134"/>
                <a:gd name="T52" fmla="*/ 174 w 316"/>
                <a:gd name="T53" fmla="*/ 134 h 134"/>
                <a:gd name="T54" fmla="*/ 205 w 316"/>
                <a:gd name="T55" fmla="*/ 131 h 134"/>
                <a:gd name="T56" fmla="*/ 233 w 316"/>
                <a:gd name="T57" fmla="*/ 126 h 134"/>
                <a:gd name="T58" fmla="*/ 258 w 316"/>
                <a:gd name="T59" fmla="*/ 118 h 134"/>
                <a:gd name="T60" fmla="*/ 280 w 316"/>
                <a:gd name="T61" fmla="*/ 109 h 134"/>
                <a:gd name="T62" fmla="*/ 297 w 316"/>
                <a:gd name="T63" fmla="*/ 99 h 134"/>
                <a:gd name="T64" fmla="*/ 309 w 316"/>
                <a:gd name="T65" fmla="*/ 87 h 134"/>
                <a:gd name="T66" fmla="*/ 315 w 316"/>
                <a:gd name="T67" fmla="*/ 74 h 134"/>
                <a:gd name="T68" fmla="*/ 316 w 316"/>
                <a:gd name="T6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6" h="134">
                  <a:moveTo>
                    <a:pt x="316" y="67"/>
                  </a:moveTo>
                  <a:lnTo>
                    <a:pt x="316" y="67"/>
                  </a:lnTo>
                  <a:lnTo>
                    <a:pt x="315" y="60"/>
                  </a:lnTo>
                  <a:lnTo>
                    <a:pt x="313" y="53"/>
                  </a:lnTo>
                  <a:lnTo>
                    <a:pt x="309" y="47"/>
                  </a:lnTo>
                  <a:lnTo>
                    <a:pt x="303" y="41"/>
                  </a:lnTo>
                  <a:lnTo>
                    <a:pt x="297" y="35"/>
                  </a:lnTo>
                  <a:lnTo>
                    <a:pt x="289" y="30"/>
                  </a:lnTo>
                  <a:lnTo>
                    <a:pt x="280" y="24"/>
                  </a:lnTo>
                  <a:lnTo>
                    <a:pt x="269" y="20"/>
                  </a:lnTo>
                  <a:lnTo>
                    <a:pt x="258" y="16"/>
                  </a:lnTo>
                  <a:lnTo>
                    <a:pt x="246" y="12"/>
                  </a:lnTo>
                  <a:lnTo>
                    <a:pt x="233" y="9"/>
                  </a:lnTo>
                  <a:lnTo>
                    <a:pt x="220" y="5"/>
                  </a:lnTo>
                  <a:lnTo>
                    <a:pt x="205" y="3"/>
                  </a:lnTo>
                  <a:lnTo>
                    <a:pt x="190" y="1"/>
                  </a:lnTo>
                  <a:lnTo>
                    <a:pt x="174" y="0"/>
                  </a:lnTo>
                  <a:lnTo>
                    <a:pt x="158" y="0"/>
                  </a:lnTo>
                  <a:lnTo>
                    <a:pt x="158" y="0"/>
                  </a:lnTo>
                  <a:lnTo>
                    <a:pt x="141" y="0"/>
                  </a:lnTo>
                  <a:lnTo>
                    <a:pt x="126" y="1"/>
                  </a:lnTo>
                  <a:lnTo>
                    <a:pt x="111" y="3"/>
                  </a:lnTo>
                  <a:lnTo>
                    <a:pt x="97" y="5"/>
                  </a:lnTo>
                  <a:lnTo>
                    <a:pt x="82" y="9"/>
                  </a:lnTo>
                  <a:lnTo>
                    <a:pt x="70" y="12"/>
                  </a:lnTo>
                  <a:lnTo>
                    <a:pt x="58" y="16"/>
                  </a:lnTo>
                  <a:lnTo>
                    <a:pt x="47" y="20"/>
                  </a:lnTo>
                  <a:lnTo>
                    <a:pt x="37" y="24"/>
                  </a:lnTo>
                  <a:lnTo>
                    <a:pt x="27" y="30"/>
                  </a:lnTo>
                  <a:lnTo>
                    <a:pt x="19" y="35"/>
                  </a:lnTo>
                  <a:lnTo>
                    <a:pt x="12" y="41"/>
                  </a:lnTo>
                  <a:lnTo>
                    <a:pt x="7" y="47"/>
                  </a:lnTo>
                  <a:lnTo>
                    <a:pt x="3" y="53"/>
                  </a:lnTo>
                  <a:lnTo>
                    <a:pt x="1" y="60"/>
                  </a:lnTo>
                  <a:lnTo>
                    <a:pt x="0" y="67"/>
                  </a:lnTo>
                  <a:lnTo>
                    <a:pt x="0" y="67"/>
                  </a:lnTo>
                  <a:lnTo>
                    <a:pt x="1" y="74"/>
                  </a:lnTo>
                  <a:lnTo>
                    <a:pt x="3" y="80"/>
                  </a:lnTo>
                  <a:lnTo>
                    <a:pt x="7" y="87"/>
                  </a:lnTo>
                  <a:lnTo>
                    <a:pt x="12" y="93"/>
                  </a:lnTo>
                  <a:lnTo>
                    <a:pt x="19" y="99"/>
                  </a:lnTo>
                  <a:lnTo>
                    <a:pt x="27" y="104"/>
                  </a:lnTo>
                  <a:lnTo>
                    <a:pt x="37" y="109"/>
                  </a:lnTo>
                  <a:lnTo>
                    <a:pt x="47" y="114"/>
                  </a:lnTo>
                  <a:lnTo>
                    <a:pt x="58" y="118"/>
                  </a:lnTo>
                  <a:lnTo>
                    <a:pt x="70" y="122"/>
                  </a:lnTo>
                  <a:lnTo>
                    <a:pt x="82" y="126"/>
                  </a:lnTo>
                  <a:lnTo>
                    <a:pt x="97" y="129"/>
                  </a:lnTo>
                  <a:lnTo>
                    <a:pt x="111" y="131"/>
                  </a:lnTo>
                  <a:lnTo>
                    <a:pt x="126" y="133"/>
                  </a:lnTo>
                  <a:lnTo>
                    <a:pt x="141" y="134"/>
                  </a:lnTo>
                  <a:lnTo>
                    <a:pt x="158" y="134"/>
                  </a:lnTo>
                  <a:lnTo>
                    <a:pt x="158" y="134"/>
                  </a:lnTo>
                  <a:lnTo>
                    <a:pt x="174" y="134"/>
                  </a:lnTo>
                  <a:lnTo>
                    <a:pt x="190" y="133"/>
                  </a:lnTo>
                  <a:lnTo>
                    <a:pt x="205" y="131"/>
                  </a:lnTo>
                  <a:lnTo>
                    <a:pt x="220" y="129"/>
                  </a:lnTo>
                  <a:lnTo>
                    <a:pt x="233" y="126"/>
                  </a:lnTo>
                  <a:lnTo>
                    <a:pt x="246" y="122"/>
                  </a:lnTo>
                  <a:lnTo>
                    <a:pt x="258" y="118"/>
                  </a:lnTo>
                  <a:lnTo>
                    <a:pt x="269" y="114"/>
                  </a:lnTo>
                  <a:lnTo>
                    <a:pt x="280" y="109"/>
                  </a:lnTo>
                  <a:lnTo>
                    <a:pt x="289" y="104"/>
                  </a:lnTo>
                  <a:lnTo>
                    <a:pt x="297" y="99"/>
                  </a:lnTo>
                  <a:lnTo>
                    <a:pt x="303" y="93"/>
                  </a:lnTo>
                  <a:lnTo>
                    <a:pt x="309" y="87"/>
                  </a:lnTo>
                  <a:lnTo>
                    <a:pt x="313" y="80"/>
                  </a:lnTo>
                  <a:lnTo>
                    <a:pt x="315" y="74"/>
                  </a:lnTo>
                  <a:lnTo>
                    <a:pt x="316" y="67"/>
                  </a:lnTo>
                  <a:lnTo>
                    <a:pt x="316"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80" name="Freeform 2434"/>
            <p:cNvSpPr>
              <a:spLocks/>
            </p:cNvSpPr>
            <p:nvPr/>
          </p:nvSpPr>
          <p:spPr bwMode="auto">
            <a:xfrm>
              <a:off x="9521825" y="5600701"/>
              <a:ext cx="84138" cy="34925"/>
            </a:xfrm>
            <a:custGeom>
              <a:avLst/>
              <a:gdLst>
                <a:gd name="T0" fmla="*/ 316 w 316"/>
                <a:gd name="T1" fmla="*/ 67 h 134"/>
                <a:gd name="T2" fmla="*/ 313 w 316"/>
                <a:gd name="T3" fmla="*/ 54 h 134"/>
                <a:gd name="T4" fmla="*/ 303 w 316"/>
                <a:gd name="T5" fmla="*/ 41 h 134"/>
                <a:gd name="T6" fmla="*/ 289 w 316"/>
                <a:gd name="T7" fmla="*/ 30 h 134"/>
                <a:gd name="T8" fmla="*/ 270 w 316"/>
                <a:gd name="T9" fmla="*/ 20 h 134"/>
                <a:gd name="T10" fmla="*/ 246 w 316"/>
                <a:gd name="T11" fmla="*/ 12 h 134"/>
                <a:gd name="T12" fmla="*/ 219 w 316"/>
                <a:gd name="T13" fmla="*/ 5 h 134"/>
                <a:gd name="T14" fmla="*/ 189 w 316"/>
                <a:gd name="T15" fmla="*/ 2 h 134"/>
                <a:gd name="T16" fmla="*/ 158 w 316"/>
                <a:gd name="T17" fmla="*/ 0 h 134"/>
                <a:gd name="T18" fmla="*/ 142 w 316"/>
                <a:gd name="T19" fmla="*/ 1 h 134"/>
                <a:gd name="T20" fmla="*/ 111 w 316"/>
                <a:gd name="T21" fmla="*/ 3 h 134"/>
                <a:gd name="T22" fmla="*/ 83 w 316"/>
                <a:gd name="T23" fmla="*/ 8 h 134"/>
                <a:gd name="T24" fmla="*/ 57 w 316"/>
                <a:gd name="T25" fmla="*/ 15 h 134"/>
                <a:gd name="T26" fmla="*/ 36 w 316"/>
                <a:gd name="T27" fmla="*/ 25 h 134"/>
                <a:gd name="T28" fmla="*/ 19 w 316"/>
                <a:gd name="T29" fmla="*/ 36 h 134"/>
                <a:gd name="T30" fmla="*/ 7 w 316"/>
                <a:gd name="T31" fmla="*/ 47 h 134"/>
                <a:gd name="T32" fmla="*/ 0 w 316"/>
                <a:gd name="T33" fmla="*/ 60 h 134"/>
                <a:gd name="T34" fmla="*/ 0 w 316"/>
                <a:gd name="T35" fmla="*/ 67 h 134"/>
                <a:gd name="T36" fmla="*/ 3 w 316"/>
                <a:gd name="T37" fmla="*/ 80 h 134"/>
                <a:gd name="T38" fmla="*/ 13 w 316"/>
                <a:gd name="T39" fmla="*/ 93 h 134"/>
                <a:gd name="T40" fmla="*/ 27 w 316"/>
                <a:gd name="T41" fmla="*/ 105 h 134"/>
                <a:gd name="T42" fmla="*/ 46 w 316"/>
                <a:gd name="T43" fmla="*/ 114 h 134"/>
                <a:gd name="T44" fmla="*/ 69 w 316"/>
                <a:gd name="T45" fmla="*/ 122 h 134"/>
                <a:gd name="T46" fmla="*/ 96 w 316"/>
                <a:gd name="T47" fmla="*/ 128 h 134"/>
                <a:gd name="T48" fmla="*/ 126 w 316"/>
                <a:gd name="T49" fmla="*/ 132 h 134"/>
                <a:gd name="T50" fmla="*/ 158 w 316"/>
                <a:gd name="T51" fmla="*/ 134 h 134"/>
                <a:gd name="T52" fmla="*/ 174 w 316"/>
                <a:gd name="T53" fmla="*/ 133 h 134"/>
                <a:gd name="T54" fmla="*/ 205 w 316"/>
                <a:gd name="T55" fmla="*/ 131 h 134"/>
                <a:gd name="T56" fmla="*/ 233 w 316"/>
                <a:gd name="T57" fmla="*/ 126 h 134"/>
                <a:gd name="T58" fmla="*/ 259 w 316"/>
                <a:gd name="T59" fmla="*/ 119 h 134"/>
                <a:gd name="T60" fmla="*/ 280 w 316"/>
                <a:gd name="T61" fmla="*/ 110 h 134"/>
                <a:gd name="T62" fmla="*/ 296 w 316"/>
                <a:gd name="T63" fmla="*/ 99 h 134"/>
                <a:gd name="T64" fmla="*/ 308 w 316"/>
                <a:gd name="T65" fmla="*/ 87 h 134"/>
                <a:gd name="T66" fmla="*/ 315 w 316"/>
                <a:gd name="T67" fmla="*/ 74 h 134"/>
                <a:gd name="T68" fmla="*/ 316 w 316"/>
                <a:gd name="T6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6" h="134">
                  <a:moveTo>
                    <a:pt x="316" y="67"/>
                  </a:moveTo>
                  <a:lnTo>
                    <a:pt x="316" y="67"/>
                  </a:lnTo>
                  <a:lnTo>
                    <a:pt x="315" y="60"/>
                  </a:lnTo>
                  <a:lnTo>
                    <a:pt x="313" y="54"/>
                  </a:lnTo>
                  <a:lnTo>
                    <a:pt x="308" y="47"/>
                  </a:lnTo>
                  <a:lnTo>
                    <a:pt x="303" y="41"/>
                  </a:lnTo>
                  <a:lnTo>
                    <a:pt x="296" y="36"/>
                  </a:lnTo>
                  <a:lnTo>
                    <a:pt x="289" y="30"/>
                  </a:lnTo>
                  <a:lnTo>
                    <a:pt x="280" y="25"/>
                  </a:lnTo>
                  <a:lnTo>
                    <a:pt x="270" y="20"/>
                  </a:lnTo>
                  <a:lnTo>
                    <a:pt x="259" y="15"/>
                  </a:lnTo>
                  <a:lnTo>
                    <a:pt x="246" y="12"/>
                  </a:lnTo>
                  <a:lnTo>
                    <a:pt x="233" y="8"/>
                  </a:lnTo>
                  <a:lnTo>
                    <a:pt x="219" y="5"/>
                  </a:lnTo>
                  <a:lnTo>
                    <a:pt x="205" y="3"/>
                  </a:lnTo>
                  <a:lnTo>
                    <a:pt x="189" y="2"/>
                  </a:lnTo>
                  <a:lnTo>
                    <a:pt x="174" y="1"/>
                  </a:lnTo>
                  <a:lnTo>
                    <a:pt x="158" y="0"/>
                  </a:lnTo>
                  <a:lnTo>
                    <a:pt x="158" y="0"/>
                  </a:lnTo>
                  <a:lnTo>
                    <a:pt x="142" y="1"/>
                  </a:lnTo>
                  <a:lnTo>
                    <a:pt x="126" y="2"/>
                  </a:lnTo>
                  <a:lnTo>
                    <a:pt x="111" y="3"/>
                  </a:lnTo>
                  <a:lnTo>
                    <a:pt x="96" y="5"/>
                  </a:lnTo>
                  <a:lnTo>
                    <a:pt x="83" y="8"/>
                  </a:lnTo>
                  <a:lnTo>
                    <a:pt x="69" y="12"/>
                  </a:lnTo>
                  <a:lnTo>
                    <a:pt x="57" y="15"/>
                  </a:lnTo>
                  <a:lnTo>
                    <a:pt x="46" y="20"/>
                  </a:lnTo>
                  <a:lnTo>
                    <a:pt x="36" y="25"/>
                  </a:lnTo>
                  <a:lnTo>
                    <a:pt x="27" y="30"/>
                  </a:lnTo>
                  <a:lnTo>
                    <a:pt x="19" y="36"/>
                  </a:lnTo>
                  <a:lnTo>
                    <a:pt x="13" y="41"/>
                  </a:lnTo>
                  <a:lnTo>
                    <a:pt x="7" y="47"/>
                  </a:lnTo>
                  <a:lnTo>
                    <a:pt x="3" y="54"/>
                  </a:lnTo>
                  <a:lnTo>
                    <a:pt x="0" y="60"/>
                  </a:lnTo>
                  <a:lnTo>
                    <a:pt x="0" y="67"/>
                  </a:lnTo>
                  <a:lnTo>
                    <a:pt x="0" y="67"/>
                  </a:lnTo>
                  <a:lnTo>
                    <a:pt x="0" y="74"/>
                  </a:lnTo>
                  <a:lnTo>
                    <a:pt x="3" y="80"/>
                  </a:lnTo>
                  <a:lnTo>
                    <a:pt x="7" y="87"/>
                  </a:lnTo>
                  <a:lnTo>
                    <a:pt x="13" y="93"/>
                  </a:lnTo>
                  <a:lnTo>
                    <a:pt x="19" y="99"/>
                  </a:lnTo>
                  <a:lnTo>
                    <a:pt x="27" y="105"/>
                  </a:lnTo>
                  <a:lnTo>
                    <a:pt x="36" y="110"/>
                  </a:lnTo>
                  <a:lnTo>
                    <a:pt x="46" y="114"/>
                  </a:lnTo>
                  <a:lnTo>
                    <a:pt x="57" y="119"/>
                  </a:lnTo>
                  <a:lnTo>
                    <a:pt x="69" y="122"/>
                  </a:lnTo>
                  <a:lnTo>
                    <a:pt x="83" y="126"/>
                  </a:lnTo>
                  <a:lnTo>
                    <a:pt x="96" y="128"/>
                  </a:lnTo>
                  <a:lnTo>
                    <a:pt x="111" y="131"/>
                  </a:lnTo>
                  <a:lnTo>
                    <a:pt x="126" y="132"/>
                  </a:lnTo>
                  <a:lnTo>
                    <a:pt x="142" y="133"/>
                  </a:lnTo>
                  <a:lnTo>
                    <a:pt x="158" y="134"/>
                  </a:lnTo>
                  <a:lnTo>
                    <a:pt x="158" y="134"/>
                  </a:lnTo>
                  <a:lnTo>
                    <a:pt x="174" y="133"/>
                  </a:lnTo>
                  <a:lnTo>
                    <a:pt x="189" y="132"/>
                  </a:lnTo>
                  <a:lnTo>
                    <a:pt x="205" y="131"/>
                  </a:lnTo>
                  <a:lnTo>
                    <a:pt x="219" y="128"/>
                  </a:lnTo>
                  <a:lnTo>
                    <a:pt x="233" y="126"/>
                  </a:lnTo>
                  <a:lnTo>
                    <a:pt x="246" y="122"/>
                  </a:lnTo>
                  <a:lnTo>
                    <a:pt x="259" y="119"/>
                  </a:lnTo>
                  <a:lnTo>
                    <a:pt x="270" y="114"/>
                  </a:lnTo>
                  <a:lnTo>
                    <a:pt x="280" y="110"/>
                  </a:lnTo>
                  <a:lnTo>
                    <a:pt x="289" y="105"/>
                  </a:lnTo>
                  <a:lnTo>
                    <a:pt x="296" y="99"/>
                  </a:lnTo>
                  <a:lnTo>
                    <a:pt x="303" y="93"/>
                  </a:lnTo>
                  <a:lnTo>
                    <a:pt x="308" y="87"/>
                  </a:lnTo>
                  <a:lnTo>
                    <a:pt x="313" y="80"/>
                  </a:lnTo>
                  <a:lnTo>
                    <a:pt x="315" y="74"/>
                  </a:lnTo>
                  <a:lnTo>
                    <a:pt x="316" y="67"/>
                  </a:lnTo>
                  <a:lnTo>
                    <a:pt x="316"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81" name="Freeform 2435"/>
            <p:cNvSpPr>
              <a:spLocks/>
            </p:cNvSpPr>
            <p:nvPr/>
          </p:nvSpPr>
          <p:spPr bwMode="auto">
            <a:xfrm>
              <a:off x="9666288" y="5583238"/>
              <a:ext cx="84138" cy="34925"/>
            </a:xfrm>
            <a:custGeom>
              <a:avLst/>
              <a:gdLst>
                <a:gd name="T0" fmla="*/ 317 w 317"/>
                <a:gd name="T1" fmla="*/ 66 h 133"/>
                <a:gd name="T2" fmla="*/ 313 w 317"/>
                <a:gd name="T3" fmla="*/ 53 h 133"/>
                <a:gd name="T4" fmla="*/ 304 w 317"/>
                <a:gd name="T5" fmla="*/ 41 h 133"/>
                <a:gd name="T6" fmla="*/ 289 w 317"/>
                <a:gd name="T7" fmla="*/ 29 h 133"/>
                <a:gd name="T8" fmla="*/ 270 w 317"/>
                <a:gd name="T9" fmla="*/ 19 h 133"/>
                <a:gd name="T10" fmla="*/ 247 w 317"/>
                <a:gd name="T11" fmla="*/ 11 h 133"/>
                <a:gd name="T12" fmla="*/ 220 w 317"/>
                <a:gd name="T13" fmla="*/ 5 h 133"/>
                <a:gd name="T14" fmla="*/ 191 w 317"/>
                <a:gd name="T15" fmla="*/ 1 h 133"/>
                <a:gd name="T16" fmla="*/ 158 w 317"/>
                <a:gd name="T17" fmla="*/ 0 h 133"/>
                <a:gd name="T18" fmla="*/ 142 w 317"/>
                <a:gd name="T19" fmla="*/ 0 h 133"/>
                <a:gd name="T20" fmla="*/ 111 w 317"/>
                <a:gd name="T21" fmla="*/ 3 h 133"/>
                <a:gd name="T22" fmla="*/ 83 w 317"/>
                <a:gd name="T23" fmla="*/ 8 h 133"/>
                <a:gd name="T24" fmla="*/ 57 w 317"/>
                <a:gd name="T25" fmla="*/ 15 h 133"/>
                <a:gd name="T26" fmla="*/ 36 w 317"/>
                <a:gd name="T27" fmla="*/ 24 h 133"/>
                <a:gd name="T28" fmla="*/ 20 w 317"/>
                <a:gd name="T29" fmla="*/ 35 h 133"/>
                <a:gd name="T30" fmla="*/ 8 w 317"/>
                <a:gd name="T31" fmla="*/ 47 h 133"/>
                <a:gd name="T32" fmla="*/ 1 w 317"/>
                <a:gd name="T33" fmla="*/ 60 h 133"/>
                <a:gd name="T34" fmla="*/ 0 w 317"/>
                <a:gd name="T35" fmla="*/ 66 h 133"/>
                <a:gd name="T36" fmla="*/ 4 w 317"/>
                <a:gd name="T37" fmla="*/ 80 h 133"/>
                <a:gd name="T38" fmla="*/ 13 w 317"/>
                <a:gd name="T39" fmla="*/ 93 h 133"/>
                <a:gd name="T40" fmla="*/ 27 w 317"/>
                <a:gd name="T41" fmla="*/ 104 h 133"/>
                <a:gd name="T42" fmla="*/ 46 w 317"/>
                <a:gd name="T43" fmla="*/ 114 h 133"/>
                <a:gd name="T44" fmla="*/ 70 w 317"/>
                <a:gd name="T45" fmla="*/ 122 h 133"/>
                <a:gd name="T46" fmla="*/ 97 w 317"/>
                <a:gd name="T47" fmla="*/ 128 h 133"/>
                <a:gd name="T48" fmla="*/ 127 w 317"/>
                <a:gd name="T49" fmla="*/ 132 h 133"/>
                <a:gd name="T50" fmla="*/ 158 w 317"/>
                <a:gd name="T51" fmla="*/ 133 h 133"/>
                <a:gd name="T52" fmla="*/ 174 w 317"/>
                <a:gd name="T53" fmla="*/ 133 h 133"/>
                <a:gd name="T54" fmla="*/ 205 w 317"/>
                <a:gd name="T55" fmla="*/ 130 h 133"/>
                <a:gd name="T56" fmla="*/ 233 w 317"/>
                <a:gd name="T57" fmla="*/ 125 h 133"/>
                <a:gd name="T58" fmla="*/ 259 w 317"/>
                <a:gd name="T59" fmla="*/ 118 h 133"/>
                <a:gd name="T60" fmla="*/ 280 w 317"/>
                <a:gd name="T61" fmla="*/ 109 h 133"/>
                <a:gd name="T62" fmla="*/ 297 w 317"/>
                <a:gd name="T63" fmla="*/ 99 h 133"/>
                <a:gd name="T64" fmla="*/ 310 w 317"/>
                <a:gd name="T65" fmla="*/ 86 h 133"/>
                <a:gd name="T66" fmla="*/ 316 w 317"/>
                <a:gd name="T67" fmla="*/ 73 h 133"/>
                <a:gd name="T68" fmla="*/ 317 w 317"/>
                <a:gd name="T69"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7" h="133">
                  <a:moveTo>
                    <a:pt x="317" y="66"/>
                  </a:moveTo>
                  <a:lnTo>
                    <a:pt x="317" y="66"/>
                  </a:lnTo>
                  <a:lnTo>
                    <a:pt x="316" y="60"/>
                  </a:lnTo>
                  <a:lnTo>
                    <a:pt x="313" y="53"/>
                  </a:lnTo>
                  <a:lnTo>
                    <a:pt x="310" y="47"/>
                  </a:lnTo>
                  <a:lnTo>
                    <a:pt x="304" y="41"/>
                  </a:lnTo>
                  <a:lnTo>
                    <a:pt x="297" y="35"/>
                  </a:lnTo>
                  <a:lnTo>
                    <a:pt x="289" y="29"/>
                  </a:lnTo>
                  <a:lnTo>
                    <a:pt x="280" y="24"/>
                  </a:lnTo>
                  <a:lnTo>
                    <a:pt x="270" y="19"/>
                  </a:lnTo>
                  <a:lnTo>
                    <a:pt x="259" y="15"/>
                  </a:lnTo>
                  <a:lnTo>
                    <a:pt x="247" y="11"/>
                  </a:lnTo>
                  <a:lnTo>
                    <a:pt x="233" y="8"/>
                  </a:lnTo>
                  <a:lnTo>
                    <a:pt x="220" y="5"/>
                  </a:lnTo>
                  <a:lnTo>
                    <a:pt x="205" y="3"/>
                  </a:lnTo>
                  <a:lnTo>
                    <a:pt x="191" y="1"/>
                  </a:lnTo>
                  <a:lnTo>
                    <a:pt x="174" y="0"/>
                  </a:lnTo>
                  <a:lnTo>
                    <a:pt x="158" y="0"/>
                  </a:lnTo>
                  <a:lnTo>
                    <a:pt x="158" y="0"/>
                  </a:lnTo>
                  <a:lnTo>
                    <a:pt x="142" y="0"/>
                  </a:lnTo>
                  <a:lnTo>
                    <a:pt x="127" y="1"/>
                  </a:lnTo>
                  <a:lnTo>
                    <a:pt x="111" y="3"/>
                  </a:lnTo>
                  <a:lnTo>
                    <a:pt x="97" y="5"/>
                  </a:lnTo>
                  <a:lnTo>
                    <a:pt x="83" y="8"/>
                  </a:lnTo>
                  <a:lnTo>
                    <a:pt x="70" y="11"/>
                  </a:lnTo>
                  <a:lnTo>
                    <a:pt x="57" y="15"/>
                  </a:lnTo>
                  <a:lnTo>
                    <a:pt x="46" y="19"/>
                  </a:lnTo>
                  <a:lnTo>
                    <a:pt x="36" y="24"/>
                  </a:lnTo>
                  <a:lnTo>
                    <a:pt x="27" y="29"/>
                  </a:lnTo>
                  <a:lnTo>
                    <a:pt x="20" y="35"/>
                  </a:lnTo>
                  <a:lnTo>
                    <a:pt x="13" y="41"/>
                  </a:lnTo>
                  <a:lnTo>
                    <a:pt x="8" y="47"/>
                  </a:lnTo>
                  <a:lnTo>
                    <a:pt x="4" y="53"/>
                  </a:lnTo>
                  <a:lnTo>
                    <a:pt x="1" y="60"/>
                  </a:lnTo>
                  <a:lnTo>
                    <a:pt x="0" y="66"/>
                  </a:lnTo>
                  <a:lnTo>
                    <a:pt x="0" y="66"/>
                  </a:lnTo>
                  <a:lnTo>
                    <a:pt x="1" y="73"/>
                  </a:lnTo>
                  <a:lnTo>
                    <a:pt x="4" y="80"/>
                  </a:lnTo>
                  <a:lnTo>
                    <a:pt x="8" y="86"/>
                  </a:lnTo>
                  <a:lnTo>
                    <a:pt x="13" y="93"/>
                  </a:lnTo>
                  <a:lnTo>
                    <a:pt x="20" y="99"/>
                  </a:lnTo>
                  <a:lnTo>
                    <a:pt x="27" y="104"/>
                  </a:lnTo>
                  <a:lnTo>
                    <a:pt x="36" y="109"/>
                  </a:lnTo>
                  <a:lnTo>
                    <a:pt x="46" y="114"/>
                  </a:lnTo>
                  <a:lnTo>
                    <a:pt x="57" y="118"/>
                  </a:lnTo>
                  <a:lnTo>
                    <a:pt x="70" y="122"/>
                  </a:lnTo>
                  <a:lnTo>
                    <a:pt x="83" y="125"/>
                  </a:lnTo>
                  <a:lnTo>
                    <a:pt x="97" y="128"/>
                  </a:lnTo>
                  <a:lnTo>
                    <a:pt x="111" y="130"/>
                  </a:lnTo>
                  <a:lnTo>
                    <a:pt x="127" y="132"/>
                  </a:lnTo>
                  <a:lnTo>
                    <a:pt x="142" y="133"/>
                  </a:lnTo>
                  <a:lnTo>
                    <a:pt x="158" y="133"/>
                  </a:lnTo>
                  <a:lnTo>
                    <a:pt x="158" y="133"/>
                  </a:lnTo>
                  <a:lnTo>
                    <a:pt x="174" y="133"/>
                  </a:lnTo>
                  <a:lnTo>
                    <a:pt x="191" y="132"/>
                  </a:lnTo>
                  <a:lnTo>
                    <a:pt x="205" y="130"/>
                  </a:lnTo>
                  <a:lnTo>
                    <a:pt x="220" y="128"/>
                  </a:lnTo>
                  <a:lnTo>
                    <a:pt x="233" y="125"/>
                  </a:lnTo>
                  <a:lnTo>
                    <a:pt x="247" y="122"/>
                  </a:lnTo>
                  <a:lnTo>
                    <a:pt x="259" y="118"/>
                  </a:lnTo>
                  <a:lnTo>
                    <a:pt x="270" y="114"/>
                  </a:lnTo>
                  <a:lnTo>
                    <a:pt x="280" y="109"/>
                  </a:lnTo>
                  <a:lnTo>
                    <a:pt x="289" y="104"/>
                  </a:lnTo>
                  <a:lnTo>
                    <a:pt x="297" y="99"/>
                  </a:lnTo>
                  <a:lnTo>
                    <a:pt x="304" y="93"/>
                  </a:lnTo>
                  <a:lnTo>
                    <a:pt x="310" y="86"/>
                  </a:lnTo>
                  <a:lnTo>
                    <a:pt x="313" y="80"/>
                  </a:lnTo>
                  <a:lnTo>
                    <a:pt x="316" y="73"/>
                  </a:lnTo>
                  <a:lnTo>
                    <a:pt x="317" y="66"/>
                  </a:lnTo>
                  <a:lnTo>
                    <a:pt x="317"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82" name="Freeform 2436"/>
            <p:cNvSpPr>
              <a:spLocks/>
            </p:cNvSpPr>
            <p:nvPr/>
          </p:nvSpPr>
          <p:spPr bwMode="auto">
            <a:xfrm>
              <a:off x="9810750" y="5565776"/>
              <a:ext cx="84138" cy="34925"/>
            </a:xfrm>
            <a:custGeom>
              <a:avLst/>
              <a:gdLst>
                <a:gd name="T0" fmla="*/ 316 w 316"/>
                <a:gd name="T1" fmla="*/ 67 h 133"/>
                <a:gd name="T2" fmla="*/ 313 w 316"/>
                <a:gd name="T3" fmla="*/ 53 h 133"/>
                <a:gd name="T4" fmla="*/ 304 w 316"/>
                <a:gd name="T5" fmla="*/ 41 h 133"/>
                <a:gd name="T6" fmla="*/ 288 w 316"/>
                <a:gd name="T7" fmla="*/ 29 h 133"/>
                <a:gd name="T8" fmla="*/ 269 w 316"/>
                <a:gd name="T9" fmla="*/ 19 h 133"/>
                <a:gd name="T10" fmla="*/ 246 w 316"/>
                <a:gd name="T11" fmla="*/ 11 h 133"/>
                <a:gd name="T12" fmla="*/ 219 w 316"/>
                <a:gd name="T13" fmla="*/ 5 h 133"/>
                <a:gd name="T14" fmla="*/ 190 w 316"/>
                <a:gd name="T15" fmla="*/ 1 h 133"/>
                <a:gd name="T16" fmla="*/ 158 w 316"/>
                <a:gd name="T17" fmla="*/ 0 h 133"/>
                <a:gd name="T18" fmla="*/ 142 w 316"/>
                <a:gd name="T19" fmla="*/ 0 h 133"/>
                <a:gd name="T20" fmla="*/ 110 w 316"/>
                <a:gd name="T21" fmla="*/ 3 h 133"/>
                <a:gd name="T22" fmla="*/ 82 w 316"/>
                <a:gd name="T23" fmla="*/ 8 h 133"/>
                <a:gd name="T24" fmla="*/ 58 w 316"/>
                <a:gd name="T25" fmla="*/ 15 h 133"/>
                <a:gd name="T26" fmla="*/ 36 w 316"/>
                <a:gd name="T27" fmla="*/ 24 h 133"/>
                <a:gd name="T28" fmla="*/ 19 w 316"/>
                <a:gd name="T29" fmla="*/ 34 h 133"/>
                <a:gd name="T30" fmla="*/ 7 w 316"/>
                <a:gd name="T31" fmla="*/ 47 h 133"/>
                <a:gd name="T32" fmla="*/ 1 w 316"/>
                <a:gd name="T33" fmla="*/ 60 h 133"/>
                <a:gd name="T34" fmla="*/ 0 w 316"/>
                <a:gd name="T35" fmla="*/ 67 h 133"/>
                <a:gd name="T36" fmla="*/ 3 w 316"/>
                <a:gd name="T37" fmla="*/ 80 h 133"/>
                <a:gd name="T38" fmla="*/ 12 w 316"/>
                <a:gd name="T39" fmla="*/ 92 h 133"/>
                <a:gd name="T40" fmla="*/ 27 w 316"/>
                <a:gd name="T41" fmla="*/ 104 h 133"/>
                <a:gd name="T42" fmla="*/ 46 w 316"/>
                <a:gd name="T43" fmla="*/ 114 h 133"/>
                <a:gd name="T44" fmla="*/ 70 w 316"/>
                <a:gd name="T45" fmla="*/ 122 h 133"/>
                <a:gd name="T46" fmla="*/ 96 w 316"/>
                <a:gd name="T47" fmla="*/ 128 h 133"/>
                <a:gd name="T48" fmla="*/ 126 w 316"/>
                <a:gd name="T49" fmla="*/ 132 h 133"/>
                <a:gd name="T50" fmla="*/ 158 w 316"/>
                <a:gd name="T51" fmla="*/ 133 h 133"/>
                <a:gd name="T52" fmla="*/ 174 w 316"/>
                <a:gd name="T53" fmla="*/ 133 h 133"/>
                <a:gd name="T54" fmla="*/ 205 w 316"/>
                <a:gd name="T55" fmla="*/ 130 h 133"/>
                <a:gd name="T56" fmla="*/ 234 w 316"/>
                <a:gd name="T57" fmla="*/ 125 h 133"/>
                <a:gd name="T58" fmla="*/ 258 w 316"/>
                <a:gd name="T59" fmla="*/ 118 h 133"/>
                <a:gd name="T60" fmla="*/ 279 w 316"/>
                <a:gd name="T61" fmla="*/ 109 h 133"/>
                <a:gd name="T62" fmla="*/ 297 w 316"/>
                <a:gd name="T63" fmla="*/ 99 h 133"/>
                <a:gd name="T64" fmla="*/ 309 w 316"/>
                <a:gd name="T65" fmla="*/ 86 h 133"/>
                <a:gd name="T66" fmla="*/ 315 w 316"/>
                <a:gd name="T67" fmla="*/ 73 h 133"/>
                <a:gd name="T68" fmla="*/ 316 w 316"/>
                <a:gd name="T69" fmla="*/ 6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6" h="133">
                  <a:moveTo>
                    <a:pt x="316" y="67"/>
                  </a:moveTo>
                  <a:lnTo>
                    <a:pt x="316" y="67"/>
                  </a:lnTo>
                  <a:lnTo>
                    <a:pt x="315" y="60"/>
                  </a:lnTo>
                  <a:lnTo>
                    <a:pt x="313" y="53"/>
                  </a:lnTo>
                  <a:lnTo>
                    <a:pt x="309" y="47"/>
                  </a:lnTo>
                  <a:lnTo>
                    <a:pt x="304" y="41"/>
                  </a:lnTo>
                  <a:lnTo>
                    <a:pt x="297" y="34"/>
                  </a:lnTo>
                  <a:lnTo>
                    <a:pt x="288" y="29"/>
                  </a:lnTo>
                  <a:lnTo>
                    <a:pt x="279" y="24"/>
                  </a:lnTo>
                  <a:lnTo>
                    <a:pt x="269" y="19"/>
                  </a:lnTo>
                  <a:lnTo>
                    <a:pt x="258" y="15"/>
                  </a:lnTo>
                  <a:lnTo>
                    <a:pt x="246" y="11"/>
                  </a:lnTo>
                  <a:lnTo>
                    <a:pt x="234" y="8"/>
                  </a:lnTo>
                  <a:lnTo>
                    <a:pt x="219" y="5"/>
                  </a:lnTo>
                  <a:lnTo>
                    <a:pt x="205" y="3"/>
                  </a:lnTo>
                  <a:lnTo>
                    <a:pt x="190" y="1"/>
                  </a:lnTo>
                  <a:lnTo>
                    <a:pt x="174" y="0"/>
                  </a:lnTo>
                  <a:lnTo>
                    <a:pt x="158" y="0"/>
                  </a:lnTo>
                  <a:lnTo>
                    <a:pt x="158" y="0"/>
                  </a:lnTo>
                  <a:lnTo>
                    <a:pt x="142" y="0"/>
                  </a:lnTo>
                  <a:lnTo>
                    <a:pt x="126" y="1"/>
                  </a:lnTo>
                  <a:lnTo>
                    <a:pt x="110" y="3"/>
                  </a:lnTo>
                  <a:lnTo>
                    <a:pt x="96" y="5"/>
                  </a:lnTo>
                  <a:lnTo>
                    <a:pt x="82" y="8"/>
                  </a:lnTo>
                  <a:lnTo>
                    <a:pt x="70" y="11"/>
                  </a:lnTo>
                  <a:lnTo>
                    <a:pt x="58" y="15"/>
                  </a:lnTo>
                  <a:lnTo>
                    <a:pt x="46" y="19"/>
                  </a:lnTo>
                  <a:lnTo>
                    <a:pt x="36" y="24"/>
                  </a:lnTo>
                  <a:lnTo>
                    <a:pt x="27" y="29"/>
                  </a:lnTo>
                  <a:lnTo>
                    <a:pt x="19" y="34"/>
                  </a:lnTo>
                  <a:lnTo>
                    <a:pt x="12" y="41"/>
                  </a:lnTo>
                  <a:lnTo>
                    <a:pt x="7" y="47"/>
                  </a:lnTo>
                  <a:lnTo>
                    <a:pt x="3" y="53"/>
                  </a:lnTo>
                  <a:lnTo>
                    <a:pt x="1" y="60"/>
                  </a:lnTo>
                  <a:lnTo>
                    <a:pt x="0" y="67"/>
                  </a:lnTo>
                  <a:lnTo>
                    <a:pt x="0" y="67"/>
                  </a:lnTo>
                  <a:lnTo>
                    <a:pt x="1" y="73"/>
                  </a:lnTo>
                  <a:lnTo>
                    <a:pt x="3" y="80"/>
                  </a:lnTo>
                  <a:lnTo>
                    <a:pt x="7" y="86"/>
                  </a:lnTo>
                  <a:lnTo>
                    <a:pt x="12" y="92"/>
                  </a:lnTo>
                  <a:lnTo>
                    <a:pt x="19" y="99"/>
                  </a:lnTo>
                  <a:lnTo>
                    <a:pt x="27" y="104"/>
                  </a:lnTo>
                  <a:lnTo>
                    <a:pt x="36" y="109"/>
                  </a:lnTo>
                  <a:lnTo>
                    <a:pt x="46" y="114"/>
                  </a:lnTo>
                  <a:lnTo>
                    <a:pt x="58" y="118"/>
                  </a:lnTo>
                  <a:lnTo>
                    <a:pt x="70" y="122"/>
                  </a:lnTo>
                  <a:lnTo>
                    <a:pt x="82" y="125"/>
                  </a:lnTo>
                  <a:lnTo>
                    <a:pt x="96" y="128"/>
                  </a:lnTo>
                  <a:lnTo>
                    <a:pt x="110" y="130"/>
                  </a:lnTo>
                  <a:lnTo>
                    <a:pt x="126" y="132"/>
                  </a:lnTo>
                  <a:lnTo>
                    <a:pt x="142" y="133"/>
                  </a:lnTo>
                  <a:lnTo>
                    <a:pt x="158" y="133"/>
                  </a:lnTo>
                  <a:lnTo>
                    <a:pt x="158" y="133"/>
                  </a:lnTo>
                  <a:lnTo>
                    <a:pt x="174" y="133"/>
                  </a:lnTo>
                  <a:lnTo>
                    <a:pt x="190" y="132"/>
                  </a:lnTo>
                  <a:lnTo>
                    <a:pt x="205" y="130"/>
                  </a:lnTo>
                  <a:lnTo>
                    <a:pt x="219" y="128"/>
                  </a:lnTo>
                  <a:lnTo>
                    <a:pt x="234" y="125"/>
                  </a:lnTo>
                  <a:lnTo>
                    <a:pt x="246" y="122"/>
                  </a:lnTo>
                  <a:lnTo>
                    <a:pt x="258" y="118"/>
                  </a:lnTo>
                  <a:lnTo>
                    <a:pt x="269" y="114"/>
                  </a:lnTo>
                  <a:lnTo>
                    <a:pt x="279" y="109"/>
                  </a:lnTo>
                  <a:lnTo>
                    <a:pt x="288" y="104"/>
                  </a:lnTo>
                  <a:lnTo>
                    <a:pt x="297" y="99"/>
                  </a:lnTo>
                  <a:lnTo>
                    <a:pt x="304" y="92"/>
                  </a:lnTo>
                  <a:lnTo>
                    <a:pt x="309" y="86"/>
                  </a:lnTo>
                  <a:lnTo>
                    <a:pt x="313" y="80"/>
                  </a:lnTo>
                  <a:lnTo>
                    <a:pt x="315" y="73"/>
                  </a:lnTo>
                  <a:lnTo>
                    <a:pt x="316" y="67"/>
                  </a:lnTo>
                  <a:lnTo>
                    <a:pt x="316"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83" name="Freeform 2437"/>
            <p:cNvSpPr>
              <a:spLocks/>
            </p:cNvSpPr>
            <p:nvPr/>
          </p:nvSpPr>
          <p:spPr bwMode="auto">
            <a:xfrm>
              <a:off x="9956800" y="5548313"/>
              <a:ext cx="82550" cy="34925"/>
            </a:xfrm>
            <a:custGeom>
              <a:avLst/>
              <a:gdLst>
                <a:gd name="T0" fmla="*/ 316 w 316"/>
                <a:gd name="T1" fmla="*/ 67 h 134"/>
                <a:gd name="T2" fmla="*/ 313 w 316"/>
                <a:gd name="T3" fmla="*/ 54 h 134"/>
                <a:gd name="T4" fmla="*/ 304 w 316"/>
                <a:gd name="T5" fmla="*/ 40 h 134"/>
                <a:gd name="T6" fmla="*/ 290 w 316"/>
                <a:gd name="T7" fmla="*/ 29 h 134"/>
                <a:gd name="T8" fmla="*/ 270 w 316"/>
                <a:gd name="T9" fmla="*/ 20 h 134"/>
                <a:gd name="T10" fmla="*/ 247 w 316"/>
                <a:gd name="T11" fmla="*/ 12 h 134"/>
                <a:gd name="T12" fmla="*/ 219 w 316"/>
                <a:gd name="T13" fmla="*/ 6 h 134"/>
                <a:gd name="T14" fmla="*/ 190 w 316"/>
                <a:gd name="T15" fmla="*/ 2 h 134"/>
                <a:gd name="T16" fmla="*/ 158 w 316"/>
                <a:gd name="T17" fmla="*/ 0 h 134"/>
                <a:gd name="T18" fmla="*/ 142 w 316"/>
                <a:gd name="T19" fmla="*/ 1 h 134"/>
                <a:gd name="T20" fmla="*/ 112 w 316"/>
                <a:gd name="T21" fmla="*/ 3 h 134"/>
                <a:gd name="T22" fmla="*/ 83 w 316"/>
                <a:gd name="T23" fmla="*/ 8 h 134"/>
                <a:gd name="T24" fmla="*/ 58 w 316"/>
                <a:gd name="T25" fmla="*/ 15 h 134"/>
                <a:gd name="T26" fmla="*/ 36 w 316"/>
                <a:gd name="T27" fmla="*/ 24 h 134"/>
                <a:gd name="T28" fmla="*/ 19 w 316"/>
                <a:gd name="T29" fmla="*/ 35 h 134"/>
                <a:gd name="T30" fmla="*/ 7 w 316"/>
                <a:gd name="T31" fmla="*/ 46 h 134"/>
                <a:gd name="T32" fmla="*/ 1 w 316"/>
                <a:gd name="T33" fmla="*/ 60 h 134"/>
                <a:gd name="T34" fmla="*/ 0 w 316"/>
                <a:gd name="T35" fmla="*/ 67 h 134"/>
                <a:gd name="T36" fmla="*/ 4 w 316"/>
                <a:gd name="T37" fmla="*/ 80 h 134"/>
                <a:gd name="T38" fmla="*/ 13 w 316"/>
                <a:gd name="T39" fmla="*/ 93 h 134"/>
                <a:gd name="T40" fmla="*/ 27 w 316"/>
                <a:gd name="T41" fmla="*/ 104 h 134"/>
                <a:gd name="T42" fmla="*/ 47 w 316"/>
                <a:gd name="T43" fmla="*/ 114 h 134"/>
                <a:gd name="T44" fmla="*/ 70 w 316"/>
                <a:gd name="T45" fmla="*/ 122 h 134"/>
                <a:gd name="T46" fmla="*/ 96 w 316"/>
                <a:gd name="T47" fmla="*/ 128 h 134"/>
                <a:gd name="T48" fmla="*/ 127 w 316"/>
                <a:gd name="T49" fmla="*/ 132 h 134"/>
                <a:gd name="T50" fmla="*/ 158 w 316"/>
                <a:gd name="T51" fmla="*/ 134 h 134"/>
                <a:gd name="T52" fmla="*/ 175 w 316"/>
                <a:gd name="T53" fmla="*/ 133 h 134"/>
                <a:gd name="T54" fmla="*/ 205 w 316"/>
                <a:gd name="T55" fmla="*/ 131 h 134"/>
                <a:gd name="T56" fmla="*/ 234 w 316"/>
                <a:gd name="T57" fmla="*/ 126 h 134"/>
                <a:gd name="T58" fmla="*/ 259 w 316"/>
                <a:gd name="T59" fmla="*/ 119 h 134"/>
                <a:gd name="T60" fmla="*/ 280 w 316"/>
                <a:gd name="T61" fmla="*/ 110 h 134"/>
                <a:gd name="T62" fmla="*/ 297 w 316"/>
                <a:gd name="T63" fmla="*/ 98 h 134"/>
                <a:gd name="T64" fmla="*/ 309 w 316"/>
                <a:gd name="T65" fmla="*/ 87 h 134"/>
                <a:gd name="T66" fmla="*/ 315 w 316"/>
                <a:gd name="T67" fmla="*/ 74 h 134"/>
                <a:gd name="T68" fmla="*/ 316 w 316"/>
                <a:gd name="T6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6" h="134">
                  <a:moveTo>
                    <a:pt x="316" y="67"/>
                  </a:moveTo>
                  <a:lnTo>
                    <a:pt x="316" y="67"/>
                  </a:lnTo>
                  <a:lnTo>
                    <a:pt x="315" y="60"/>
                  </a:lnTo>
                  <a:lnTo>
                    <a:pt x="313" y="54"/>
                  </a:lnTo>
                  <a:lnTo>
                    <a:pt x="309" y="46"/>
                  </a:lnTo>
                  <a:lnTo>
                    <a:pt x="304" y="40"/>
                  </a:lnTo>
                  <a:lnTo>
                    <a:pt x="297" y="35"/>
                  </a:lnTo>
                  <a:lnTo>
                    <a:pt x="290" y="29"/>
                  </a:lnTo>
                  <a:lnTo>
                    <a:pt x="280" y="24"/>
                  </a:lnTo>
                  <a:lnTo>
                    <a:pt x="270" y="20"/>
                  </a:lnTo>
                  <a:lnTo>
                    <a:pt x="259" y="15"/>
                  </a:lnTo>
                  <a:lnTo>
                    <a:pt x="247" y="12"/>
                  </a:lnTo>
                  <a:lnTo>
                    <a:pt x="234" y="8"/>
                  </a:lnTo>
                  <a:lnTo>
                    <a:pt x="219" y="6"/>
                  </a:lnTo>
                  <a:lnTo>
                    <a:pt x="205" y="3"/>
                  </a:lnTo>
                  <a:lnTo>
                    <a:pt x="190" y="2"/>
                  </a:lnTo>
                  <a:lnTo>
                    <a:pt x="175" y="1"/>
                  </a:lnTo>
                  <a:lnTo>
                    <a:pt x="158" y="0"/>
                  </a:lnTo>
                  <a:lnTo>
                    <a:pt x="158" y="0"/>
                  </a:lnTo>
                  <a:lnTo>
                    <a:pt x="142" y="1"/>
                  </a:lnTo>
                  <a:lnTo>
                    <a:pt x="127" y="2"/>
                  </a:lnTo>
                  <a:lnTo>
                    <a:pt x="112" y="3"/>
                  </a:lnTo>
                  <a:lnTo>
                    <a:pt x="96" y="6"/>
                  </a:lnTo>
                  <a:lnTo>
                    <a:pt x="83" y="8"/>
                  </a:lnTo>
                  <a:lnTo>
                    <a:pt x="70" y="12"/>
                  </a:lnTo>
                  <a:lnTo>
                    <a:pt x="58" y="15"/>
                  </a:lnTo>
                  <a:lnTo>
                    <a:pt x="47" y="20"/>
                  </a:lnTo>
                  <a:lnTo>
                    <a:pt x="36" y="24"/>
                  </a:lnTo>
                  <a:lnTo>
                    <a:pt x="27" y="29"/>
                  </a:lnTo>
                  <a:lnTo>
                    <a:pt x="19" y="35"/>
                  </a:lnTo>
                  <a:lnTo>
                    <a:pt x="13" y="40"/>
                  </a:lnTo>
                  <a:lnTo>
                    <a:pt x="7" y="46"/>
                  </a:lnTo>
                  <a:lnTo>
                    <a:pt x="4" y="54"/>
                  </a:lnTo>
                  <a:lnTo>
                    <a:pt x="1" y="60"/>
                  </a:lnTo>
                  <a:lnTo>
                    <a:pt x="0" y="67"/>
                  </a:lnTo>
                  <a:lnTo>
                    <a:pt x="0" y="67"/>
                  </a:lnTo>
                  <a:lnTo>
                    <a:pt x="1" y="74"/>
                  </a:lnTo>
                  <a:lnTo>
                    <a:pt x="4" y="80"/>
                  </a:lnTo>
                  <a:lnTo>
                    <a:pt x="7" y="87"/>
                  </a:lnTo>
                  <a:lnTo>
                    <a:pt x="13" y="93"/>
                  </a:lnTo>
                  <a:lnTo>
                    <a:pt x="19" y="98"/>
                  </a:lnTo>
                  <a:lnTo>
                    <a:pt x="27" y="104"/>
                  </a:lnTo>
                  <a:lnTo>
                    <a:pt x="36" y="110"/>
                  </a:lnTo>
                  <a:lnTo>
                    <a:pt x="47" y="114"/>
                  </a:lnTo>
                  <a:lnTo>
                    <a:pt x="58" y="119"/>
                  </a:lnTo>
                  <a:lnTo>
                    <a:pt x="70" y="122"/>
                  </a:lnTo>
                  <a:lnTo>
                    <a:pt x="83" y="126"/>
                  </a:lnTo>
                  <a:lnTo>
                    <a:pt x="96" y="128"/>
                  </a:lnTo>
                  <a:lnTo>
                    <a:pt x="112" y="131"/>
                  </a:lnTo>
                  <a:lnTo>
                    <a:pt x="127" y="132"/>
                  </a:lnTo>
                  <a:lnTo>
                    <a:pt x="142" y="133"/>
                  </a:lnTo>
                  <a:lnTo>
                    <a:pt x="158" y="134"/>
                  </a:lnTo>
                  <a:lnTo>
                    <a:pt x="158" y="134"/>
                  </a:lnTo>
                  <a:lnTo>
                    <a:pt x="175" y="133"/>
                  </a:lnTo>
                  <a:lnTo>
                    <a:pt x="190" y="132"/>
                  </a:lnTo>
                  <a:lnTo>
                    <a:pt x="205" y="131"/>
                  </a:lnTo>
                  <a:lnTo>
                    <a:pt x="219" y="128"/>
                  </a:lnTo>
                  <a:lnTo>
                    <a:pt x="234" y="126"/>
                  </a:lnTo>
                  <a:lnTo>
                    <a:pt x="247" y="122"/>
                  </a:lnTo>
                  <a:lnTo>
                    <a:pt x="259" y="119"/>
                  </a:lnTo>
                  <a:lnTo>
                    <a:pt x="270" y="114"/>
                  </a:lnTo>
                  <a:lnTo>
                    <a:pt x="280" y="110"/>
                  </a:lnTo>
                  <a:lnTo>
                    <a:pt x="290" y="104"/>
                  </a:lnTo>
                  <a:lnTo>
                    <a:pt x="297" y="98"/>
                  </a:lnTo>
                  <a:lnTo>
                    <a:pt x="304" y="93"/>
                  </a:lnTo>
                  <a:lnTo>
                    <a:pt x="309" y="87"/>
                  </a:lnTo>
                  <a:lnTo>
                    <a:pt x="313" y="80"/>
                  </a:lnTo>
                  <a:lnTo>
                    <a:pt x="315" y="74"/>
                  </a:lnTo>
                  <a:lnTo>
                    <a:pt x="316" y="67"/>
                  </a:lnTo>
                  <a:lnTo>
                    <a:pt x="316"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684" name="Freeform 2438"/>
          <p:cNvSpPr>
            <a:spLocks/>
          </p:cNvSpPr>
          <p:nvPr/>
        </p:nvSpPr>
        <p:spPr bwMode="auto">
          <a:xfrm>
            <a:off x="7866064" y="5772151"/>
            <a:ext cx="136525" cy="331788"/>
          </a:xfrm>
          <a:custGeom>
            <a:avLst/>
            <a:gdLst>
              <a:gd name="T0" fmla="*/ 0 w 513"/>
              <a:gd name="T1" fmla="*/ 0 h 1257"/>
              <a:gd name="T2" fmla="*/ 0 w 513"/>
              <a:gd name="T3" fmla="*/ 848 h 1257"/>
              <a:gd name="T4" fmla="*/ 513 w 513"/>
              <a:gd name="T5" fmla="*/ 1257 h 1257"/>
              <a:gd name="T6" fmla="*/ 513 w 513"/>
              <a:gd name="T7" fmla="*/ 398 h 1257"/>
              <a:gd name="T8" fmla="*/ 0 w 513"/>
              <a:gd name="T9" fmla="*/ 0 h 1257"/>
            </a:gdLst>
            <a:ahLst/>
            <a:cxnLst>
              <a:cxn ang="0">
                <a:pos x="T0" y="T1"/>
              </a:cxn>
              <a:cxn ang="0">
                <a:pos x="T2" y="T3"/>
              </a:cxn>
              <a:cxn ang="0">
                <a:pos x="T4" y="T5"/>
              </a:cxn>
              <a:cxn ang="0">
                <a:pos x="T6" y="T7"/>
              </a:cxn>
              <a:cxn ang="0">
                <a:pos x="T8" y="T9"/>
              </a:cxn>
            </a:cxnLst>
            <a:rect l="0" t="0" r="r" b="b"/>
            <a:pathLst>
              <a:path w="513" h="1257">
                <a:moveTo>
                  <a:pt x="0" y="0"/>
                </a:moveTo>
                <a:lnTo>
                  <a:pt x="0" y="848"/>
                </a:lnTo>
                <a:lnTo>
                  <a:pt x="513" y="1257"/>
                </a:lnTo>
                <a:lnTo>
                  <a:pt x="513" y="398"/>
                </a:lnTo>
                <a:lnTo>
                  <a:pt x="0"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3687" name="Group 3686"/>
          <p:cNvGrpSpPr/>
          <p:nvPr/>
        </p:nvGrpSpPr>
        <p:grpSpPr>
          <a:xfrm>
            <a:off x="4045221" y="5664202"/>
            <a:ext cx="238780" cy="534987"/>
            <a:chOff x="7318375" y="5844238"/>
            <a:chExt cx="376238" cy="842963"/>
          </a:xfrm>
        </p:grpSpPr>
        <p:sp>
          <p:nvSpPr>
            <p:cNvPr id="3685" name="Freeform 2424"/>
            <p:cNvSpPr>
              <a:spLocks/>
            </p:cNvSpPr>
            <p:nvPr/>
          </p:nvSpPr>
          <p:spPr bwMode="auto">
            <a:xfrm>
              <a:off x="7437437" y="5844238"/>
              <a:ext cx="138113" cy="136525"/>
            </a:xfrm>
            <a:custGeom>
              <a:avLst/>
              <a:gdLst>
                <a:gd name="T0" fmla="*/ 210 w 522"/>
                <a:gd name="T1" fmla="*/ 5 h 514"/>
                <a:gd name="T2" fmla="*/ 242 w 522"/>
                <a:gd name="T3" fmla="*/ 0 h 514"/>
                <a:gd name="T4" fmla="*/ 272 w 522"/>
                <a:gd name="T5" fmla="*/ 0 h 514"/>
                <a:gd name="T6" fmla="*/ 304 w 522"/>
                <a:gd name="T7" fmla="*/ 4 h 514"/>
                <a:gd name="T8" fmla="*/ 333 w 522"/>
                <a:gd name="T9" fmla="*/ 11 h 514"/>
                <a:gd name="T10" fmla="*/ 363 w 522"/>
                <a:gd name="T11" fmla="*/ 22 h 514"/>
                <a:gd name="T12" fmla="*/ 390 w 522"/>
                <a:gd name="T13" fmla="*/ 36 h 514"/>
                <a:gd name="T14" fmla="*/ 417 w 522"/>
                <a:gd name="T15" fmla="*/ 54 h 514"/>
                <a:gd name="T16" fmla="*/ 440 w 522"/>
                <a:gd name="T17" fmla="*/ 74 h 514"/>
                <a:gd name="T18" fmla="*/ 461 w 522"/>
                <a:gd name="T19" fmla="*/ 96 h 514"/>
                <a:gd name="T20" fmla="*/ 481 w 522"/>
                <a:gd name="T21" fmla="*/ 121 h 514"/>
                <a:gd name="T22" fmla="*/ 496 w 522"/>
                <a:gd name="T23" fmla="*/ 148 h 514"/>
                <a:gd name="T24" fmla="*/ 508 w 522"/>
                <a:gd name="T25" fmla="*/ 176 h 514"/>
                <a:gd name="T26" fmla="*/ 517 w 522"/>
                <a:gd name="T27" fmla="*/ 205 h 514"/>
                <a:gd name="T28" fmla="*/ 521 w 522"/>
                <a:gd name="T29" fmla="*/ 237 h 514"/>
                <a:gd name="T30" fmla="*/ 522 w 522"/>
                <a:gd name="T31" fmla="*/ 268 h 514"/>
                <a:gd name="T32" fmla="*/ 517 w 522"/>
                <a:gd name="T33" fmla="*/ 301 h 514"/>
                <a:gd name="T34" fmla="*/ 515 w 522"/>
                <a:gd name="T35" fmla="*/ 321 h 514"/>
                <a:gd name="T36" fmla="*/ 505 w 522"/>
                <a:gd name="T37" fmla="*/ 359 h 514"/>
                <a:gd name="T38" fmla="*/ 490 w 522"/>
                <a:gd name="T39" fmla="*/ 393 h 514"/>
                <a:gd name="T40" fmla="*/ 469 w 522"/>
                <a:gd name="T41" fmla="*/ 424 h 514"/>
                <a:gd name="T42" fmla="*/ 442 w 522"/>
                <a:gd name="T43" fmla="*/ 450 h 514"/>
                <a:gd name="T44" fmla="*/ 412 w 522"/>
                <a:gd name="T45" fmla="*/ 472 h 514"/>
                <a:gd name="T46" fmla="*/ 379 w 522"/>
                <a:gd name="T47" fmla="*/ 489 h 514"/>
                <a:gd name="T48" fmla="*/ 343 w 522"/>
                <a:gd name="T49" fmla="*/ 502 h 514"/>
                <a:gd name="T50" fmla="*/ 306 w 522"/>
                <a:gd name="T51" fmla="*/ 511 h 514"/>
                <a:gd name="T52" fmla="*/ 268 w 522"/>
                <a:gd name="T53" fmla="*/ 514 h 514"/>
                <a:gd name="T54" fmla="*/ 230 w 522"/>
                <a:gd name="T55" fmla="*/ 513 h 514"/>
                <a:gd name="T56" fmla="*/ 193 w 522"/>
                <a:gd name="T57" fmla="*/ 507 h 514"/>
                <a:gd name="T58" fmla="*/ 156 w 522"/>
                <a:gd name="T59" fmla="*/ 496 h 514"/>
                <a:gd name="T60" fmla="*/ 123 w 522"/>
                <a:gd name="T61" fmla="*/ 479 h 514"/>
                <a:gd name="T62" fmla="*/ 91 w 522"/>
                <a:gd name="T63" fmla="*/ 456 h 514"/>
                <a:gd name="T64" fmla="*/ 65 w 522"/>
                <a:gd name="T65" fmla="*/ 429 h 514"/>
                <a:gd name="T66" fmla="*/ 53 w 522"/>
                <a:gd name="T67" fmla="*/ 414 h 514"/>
                <a:gd name="T68" fmla="*/ 32 w 522"/>
                <a:gd name="T69" fmla="*/ 385 h 514"/>
                <a:gd name="T70" fmla="*/ 17 w 522"/>
                <a:gd name="T71" fmla="*/ 356 h 514"/>
                <a:gd name="T72" fmla="*/ 7 w 522"/>
                <a:gd name="T73" fmla="*/ 325 h 514"/>
                <a:gd name="T74" fmla="*/ 2 w 522"/>
                <a:gd name="T75" fmla="*/ 294 h 514"/>
                <a:gd name="T76" fmla="*/ 0 w 522"/>
                <a:gd name="T77" fmla="*/ 262 h 514"/>
                <a:gd name="T78" fmla="*/ 3 w 522"/>
                <a:gd name="T79" fmla="*/ 231 h 514"/>
                <a:gd name="T80" fmla="*/ 10 w 522"/>
                <a:gd name="T81" fmla="*/ 199 h 514"/>
                <a:gd name="T82" fmla="*/ 20 w 522"/>
                <a:gd name="T83" fmla="*/ 168 h 514"/>
                <a:gd name="T84" fmla="*/ 34 w 522"/>
                <a:gd name="T85" fmla="*/ 140 h 514"/>
                <a:gd name="T86" fmla="*/ 52 w 522"/>
                <a:gd name="T87" fmla="*/ 113 h 514"/>
                <a:gd name="T88" fmla="*/ 72 w 522"/>
                <a:gd name="T89" fmla="*/ 87 h 514"/>
                <a:gd name="T90" fmla="*/ 94 w 522"/>
                <a:gd name="T91" fmla="*/ 64 h 514"/>
                <a:gd name="T92" fmla="*/ 120 w 522"/>
                <a:gd name="T93" fmla="*/ 43 h 514"/>
                <a:gd name="T94" fmla="*/ 148 w 522"/>
                <a:gd name="T95" fmla="*/ 27 h 514"/>
                <a:gd name="T96" fmla="*/ 178 w 522"/>
                <a:gd name="T97" fmla="*/ 14 h 514"/>
                <a:gd name="T98" fmla="*/ 210 w 522"/>
                <a:gd name="T99" fmla="*/ 5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2" h="514">
                  <a:moveTo>
                    <a:pt x="210" y="5"/>
                  </a:moveTo>
                  <a:lnTo>
                    <a:pt x="210" y="5"/>
                  </a:lnTo>
                  <a:lnTo>
                    <a:pt x="226" y="2"/>
                  </a:lnTo>
                  <a:lnTo>
                    <a:pt x="242" y="0"/>
                  </a:lnTo>
                  <a:lnTo>
                    <a:pt x="257" y="0"/>
                  </a:lnTo>
                  <a:lnTo>
                    <a:pt x="272" y="0"/>
                  </a:lnTo>
                  <a:lnTo>
                    <a:pt x="289" y="1"/>
                  </a:lnTo>
                  <a:lnTo>
                    <a:pt x="304" y="4"/>
                  </a:lnTo>
                  <a:lnTo>
                    <a:pt x="319" y="7"/>
                  </a:lnTo>
                  <a:lnTo>
                    <a:pt x="333" y="11"/>
                  </a:lnTo>
                  <a:lnTo>
                    <a:pt x="349" y="16"/>
                  </a:lnTo>
                  <a:lnTo>
                    <a:pt x="363" y="22"/>
                  </a:lnTo>
                  <a:lnTo>
                    <a:pt x="377" y="29"/>
                  </a:lnTo>
                  <a:lnTo>
                    <a:pt x="390" y="36"/>
                  </a:lnTo>
                  <a:lnTo>
                    <a:pt x="403" y="44"/>
                  </a:lnTo>
                  <a:lnTo>
                    <a:pt x="417" y="54"/>
                  </a:lnTo>
                  <a:lnTo>
                    <a:pt x="429" y="64"/>
                  </a:lnTo>
                  <a:lnTo>
                    <a:pt x="440" y="74"/>
                  </a:lnTo>
                  <a:lnTo>
                    <a:pt x="451" y="85"/>
                  </a:lnTo>
                  <a:lnTo>
                    <a:pt x="461" y="96"/>
                  </a:lnTo>
                  <a:lnTo>
                    <a:pt x="472" y="108"/>
                  </a:lnTo>
                  <a:lnTo>
                    <a:pt x="481" y="121"/>
                  </a:lnTo>
                  <a:lnTo>
                    <a:pt x="489" y="134"/>
                  </a:lnTo>
                  <a:lnTo>
                    <a:pt x="496" y="148"/>
                  </a:lnTo>
                  <a:lnTo>
                    <a:pt x="502" y="161"/>
                  </a:lnTo>
                  <a:lnTo>
                    <a:pt x="508" y="176"/>
                  </a:lnTo>
                  <a:lnTo>
                    <a:pt x="513" y="191"/>
                  </a:lnTo>
                  <a:lnTo>
                    <a:pt x="517" y="205"/>
                  </a:lnTo>
                  <a:lnTo>
                    <a:pt x="519" y="220"/>
                  </a:lnTo>
                  <a:lnTo>
                    <a:pt x="521" y="237"/>
                  </a:lnTo>
                  <a:lnTo>
                    <a:pt x="522" y="252"/>
                  </a:lnTo>
                  <a:lnTo>
                    <a:pt x="522" y="268"/>
                  </a:lnTo>
                  <a:lnTo>
                    <a:pt x="520" y="284"/>
                  </a:lnTo>
                  <a:lnTo>
                    <a:pt x="517" y="301"/>
                  </a:lnTo>
                  <a:lnTo>
                    <a:pt x="517" y="301"/>
                  </a:lnTo>
                  <a:lnTo>
                    <a:pt x="515" y="321"/>
                  </a:lnTo>
                  <a:lnTo>
                    <a:pt x="511" y="340"/>
                  </a:lnTo>
                  <a:lnTo>
                    <a:pt x="505" y="359"/>
                  </a:lnTo>
                  <a:lnTo>
                    <a:pt x="498" y="377"/>
                  </a:lnTo>
                  <a:lnTo>
                    <a:pt x="490" y="393"/>
                  </a:lnTo>
                  <a:lnTo>
                    <a:pt x="480" y="409"/>
                  </a:lnTo>
                  <a:lnTo>
                    <a:pt x="469" y="424"/>
                  </a:lnTo>
                  <a:lnTo>
                    <a:pt x="455" y="437"/>
                  </a:lnTo>
                  <a:lnTo>
                    <a:pt x="442" y="450"/>
                  </a:lnTo>
                  <a:lnTo>
                    <a:pt x="428" y="461"/>
                  </a:lnTo>
                  <a:lnTo>
                    <a:pt x="412" y="472"/>
                  </a:lnTo>
                  <a:lnTo>
                    <a:pt x="395" y="481"/>
                  </a:lnTo>
                  <a:lnTo>
                    <a:pt x="379" y="489"/>
                  </a:lnTo>
                  <a:lnTo>
                    <a:pt x="362" y="496"/>
                  </a:lnTo>
                  <a:lnTo>
                    <a:pt x="343" y="502"/>
                  </a:lnTo>
                  <a:lnTo>
                    <a:pt x="325" y="507"/>
                  </a:lnTo>
                  <a:lnTo>
                    <a:pt x="306" y="511"/>
                  </a:lnTo>
                  <a:lnTo>
                    <a:pt x="288" y="513"/>
                  </a:lnTo>
                  <a:lnTo>
                    <a:pt x="268" y="514"/>
                  </a:lnTo>
                  <a:lnTo>
                    <a:pt x="249" y="514"/>
                  </a:lnTo>
                  <a:lnTo>
                    <a:pt x="230" y="513"/>
                  </a:lnTo>
                  <a:lnTo>
                    <a:pt x="211" y="511"/>
                  </a:lnTo>
                  <a:lnTo>
                    <a:pt x="193" y="507"/>
                  </a:lnTo>
                  <a:lnTo>
                    <a:pt x="175" y="502"/>
                  </a:lnTo>
                  <a:lnTo>
                    <a:pt x="156" y="496"/>
                  </a:lnTo>
                  <a:lnTo>
                    <a:pt x="139" y="488"/>
                  </a:lnTo>
                  <a:lnTo>
                    <a:pt x="123" y="479"/>
                  </a:lnTo>
                  <a:lnTo>
                    <a:pt x="107" y="469"/>
                  </a:lnTo>
                  <a:lnTo>
                    <a:pt x="91" y="456"/>
                  </a:lnTo>
                  <a:lnTo>
                    <a:pt x="78" y="444"/>
                  </a:lnTo>
                  <a:lnTo>
                    <a:pt x="65" y="429"/>
                  </a:lnTo>
                  <a:lnTo>
                    <a:pt x="53" y="414"/>
                  </a:lnTo>
                  <a:lnTo>
                    <a:pt x="53" y="414"/>
                  </a:lnTo>
                  <a:lnTo>
                    <a:pt x="41" y="399"/>
                  </a:lnTo>
                  <a:lnTo>
                    <a:pt x="32" y="385"/>
                  </a:lnTo>
                  <a:lnTo>
                    <a:pt x="24" y="371"/>
                  </a:lnTo>
                  <a:lnTo>
                    <a:pt x="17" y="356"/>
                  </a:lnTo>
                  <a:lnTo>
                    <a:pt x="12" y="340"/>
                  </a:lnTo>
                  <a:lnTo>
                    <a:pt x="7" y="325"/>
                  </a:lnTo>
                  <a:lnTo>
                    <a:pt x="4" y="310"/>
                  </a:lnTo>
                  <a:lnTo>
                    <a:pt x="2" y="294"/>
                  </a:lnTo>
                  <a:lnTo>
                    <a:pt x="1" y="278"/>
                  </a:lnTo>
                  <a:lnTo>
                    <a:pt x="0" y="262"/>
                  </a:lnTo>
                  <a:lnTo>
                    <a:pt x="1" y="247"/>
                  </a:lnTo>
                  <a:lnTo>
                    <a:pt x="3" y="231"/>
                  </a:lnTo>
                  <a:lnTo>
                    <a:pt x="6" y="215"/>
                  </a:lnTo>
                  <a:lnTo>
                    <a:pt x="10" y="199"/>
                  </a:lnTo>
                  <a:lnTo>
                    <a:pt x="15" y="184"/>
                  </a:lnTo>
                  <a:lnTo>
                    <a:pt x="20" y="168"/>
                  </a:lnTo>
                  <a:lnTo>
                    <a:pt x="27" y="154"/>
                  </a:lnTo>
                  <a:lnTo>
                    <a:pt x="34" y="140"/>
                  </a:lnTo>
                  <a:lnTo>
                    <a:pt x="42" y="126"/>
                  </a:lnTo>
                  <a:lnTo>
                    <a:pt x="52" y="113"/>
                  </a:lnTo>
                  <a:lnTo>
                    <a:pt x="61" y="99"/>
                  </a:lnTo>
                  <a:lnTo>
                    <a:pt x="72" y="87"/>
                  </a:lnTo>
                  <a:lnTo>
                    <a:pt x="83" y="75"/>
                  </a:lnTo>
                  <a:lnTo>
                    <a:pt x="94" y="64"/>
                  </a:lnTo>
                  <a:lnTo>
                    <a:pt x="107" y="54"/>
                  </a:lnTo>
                  <a:lnTo>
                    <a:pt x="120" y="43"/>
                  </a:lnTo>
                  <a:lnTo>
                    <a:pt x="134" y="35"/>
                  </a:lnTo>
                  <a:lnTo>
                    <a:pt x="148" y="27"/>
                  </a:lnTo>
                  <a:lnTo>
                    <a:pt x="162" y="20"/>
                  </a:lnTo>
                  <a:lnTo>
                    <a:pt x="178" y="14"/>
                  </a:lnTo>
                  <a:lnTo>
                    <a:pt x="194" y="9"/>
                  </a:lnTo>
                  <a:lnTo>
                    <a:pt x="210" y="5"/>
                  </a:lnTo>
                  <a:lnTo>
                    <a:pt x="21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86" name="Freeform 2425"/>
            <p:cNvSpPr>
              <a:spLocks/>
            </p:cNvSpPr>
            <p:nvPr/>
          </p:nvSpPr>
          <p:spPr bwMode="auto">
            <a:xfrm>
              <a:off x="7318375" y="6002988"/>
              <a:ext cx="376238" cy="684213"/>
            </a:xfrm>
            <a:custGeom>
              <a:avLst/>
              <a:gdLst>
                <a:gd name="T0" fmla="*/ 341 w 1421"/>
                <a:gd name="T1" fmla="*/ 57 h 2589"/>
                <a:gd name="T2" fmla="*/ 409 w 1421"/>
                <a:gd name="T3" fmla="*/ 23 h 2589"/>
                <a:gd name="T4" fmla="*/ 531 w 1421"/>
                <a:gd name="T5" fmla="*/ 2 h 2589"/>
                <a:gd name="T6" fmla="*/ 752 w 1421"/>
                <a:gd name="T7" fmla="*/ 3 h 2589"/>
                <a:gd name="T8" fmla="*/ 859 w 1421"/>
                <a:gd name="T9" fmla="*/ 0 h 2589"/>
                <a:gd name="T10" fmla="*/ 988 w 1421"/>
                <a:gd name="T11" fmla="*/ 18 h 2589"/>
                <a:gd name="T12" fmla="*/ 1090 w 1421"/>
                <a:gd name="T13" fmla="*/ 67 h 2589"/>
                <a:gd name="T14" fmla="*/ 1136 w 1421"/>
                <a:gd name="T15" fmla="*/ 112 h 2589"/>
                <a:gd name="T16" fmla="*/ 1184 w 1421"/>
                <a:gd name="T17" fmla="*/ 193 h 2589"/>
                <a:gd name="T18" fmla="*/ 1244 w 1421"/>
                <a:gd name="T19" fmla="*/ 353 h 2589"/>
                <a:gd name="T20" fmla="*/ 1320 w 1421"/>
                <a:gd name="T21" fmla="*/ 617 h 2589"/>
                <a:gd name="T22" fmla="*/ 1364 w 1421"/>
                <a:gd name="T23" fmla="*/ 760 h 2589"/>
                <a:gd name="T24" fmla="*/ 1412 w 1421"/>
                <a:gd name="T25" fmla="*/ 927 h 2589"/>
                <a:gd name="T26" fmla="*/ 1418 w 1421"/>
                <a:gd name="T27" fmla="*/ 1069 h 2589"/>
                <a:gd name="T28" fmla="*/ 1386 w 1421"/>
                <a:gd name="T29" fmla="*/ 1106 h 2589"/>
                <a:gd name="T30" fmla="*/ 1319 w 1421"/>
                <a:gd name="T31" fmla="*/ 1110 h 2589"/>
                <a:gd name="T32" fmla="*/ 1260 w 1421"/>
                <a:gd name="T33" fmla="*/ 1087 h 2589"/>
                <a:gd name="T34" fmla="*/ 1227 w 1421"/>
                <a:gd name="T35" fmla="*/ 1044 h 2589"/>
                <a:gd name="T36" fmla="*/ 1076 w 1421"/>
                <a:gd name="T37" fmla="*/ 569 h 2589"/>
                <a:gd name="T38" fmla="*/ 1015 w 1421"/>
                <a:gd name="T39" fmla="*/ 387 h 2589"/>
                <a:gd name="T40" fmla="*/ 961 w 1421"/>
                <a:gd name="T41" fmla="*/ 330 h 2589"/>
                <a:gd name="T42" fmla="*/ 1041 w 1421"/>
                <a:gd name="T43" fmla="*/ 641 h 2589"/>
                <a:gd name="T44" fmla="*/ 1308 w 1421"/>
                <a:gd name="T45" fmla="*/ 1564 h 2589"/>
                <a:gd name="T46" fmla="*/ 1002 w 1421"/>
                <a:gd name="T47" fmla="*/ 1564 h 2589"/>
                <a:gd name="T48" fmla="*/ 999 w 1421"/>
                <a:gd name="T49" fmla="*/ 2338 h 2589"/>
                <a:gd name="T50" fmla="*/ 994 w 1421"/>
                <a:gd name="T51" fmla="*/ 2486 h 2589"/>
                <a:gd name="T52" fmla="*/ 967 w 1421"/>
                <a:gd name="T53" fmla="*/ 2544 h 2589"/>
                <a:gd name="T54" fmla="*/ 919 w 1421"/>
                <a:gd name="T55" fmla="*/ 2582 h 2589"/>
                <a:gd name="T56" fmla="*/ 867 w 1421"/>
                <a:gd name="T57" fmla="*/ 2589 h 2589"/>
                <a:gd name="T58" fmla="*/ 809 w 1421"/>
                <a:gd name="T59" fmla="*/ 2565 h 2589"/>
                <a:gd name="T60" fmla="*/ 771 w 1421"/>
                <a:gd name="T61" fmla="*/ 2516 h 2589"/>
                <a:gd name="T62" fmla="*/ 762 w 1421"/>
                <a:gd name="T63" fmla="*/ 2453 h 2589"/>
                <a:gd name="T64" fmla="*/ 762 w 1421"/>
                <a:gd name="T65" fmla="*/ 1785 h 2589"/>
                <a:gd name="T66" fmla="*/ 688 w 1421"/>
                <a:gd name="T67" fmla="*/ 1565 h 2589"/>
                <a:gd name="T68" fmla="*/ 688 w 1421"/>
                <a:gd name="T69" fmla="*/ 2254 h 2589"/>
                <a:gd name="T70" fmla="*/ 679 w 1421"/>
                <a:gd name="T71" fmla="*/ 2509 h 2589"/>
                <a:gd name="T72" fmla="*/ 652 w 1421"/>
                <a:gd name="T73" fmla="*/ 2554 h 2589"/>
                <a:gd name="T74" fmla="*/ 608 w 1421"/>
                <a:gd name="T75" fmla="*/ 2580 h 2589"/>
                <a:gd name="T76" fmla="*/ 559 w 1421"/>
                <a:gd name="T77" fmla="*/ 2586 h 2589"/>
                <a:gd name="T78" fmla="*/ 510 w 1421"/>
                <a:gd name="T79" fmla="*/ 2572 h 2589"/>
                <a:gd name="T80" fmla="*/ 471 w 1421"/>
                <a:gd name="T81" fmla="*/ 2537 h 2589"/>
                <a:gd name="T82" fmla="*/ 452 w 1421"/>
                <a:gd name="T83" fmla="*/ 2484 h 2589"/>
                <a:gd name="T84" fmla="*/ 450 w 1421"/>
                <a:gd name="T85" fmla="*/ 1794 h 2589"/>
                <a:gd name="T86" fmla="*/ 142 w 1421"/>
                <a:gd name="T87" fmla="*/ 1563 h 2589"/>
                <a:gd name="T88" fmla="*/ 372 w 1421"/>
                <a:gd name="T89" fmla="*/ 656 h 2589"/>
                <a:gd name="T90" fmla="*/ 400 w 1421"/>
                <a:gd name="T91" fmla="*/ 383 h 2589"/>
                <a:gd name="T92" fmla="*/ 301 w 1421"/>
                <a:gd name="T93" fmla="*/ 714 h 2589"/>
                <a:gd name="T94" fmla="*/ 203 w 1421"/>
                <a:gd name="T95" fmla="*/ 1045 h 2589"/>
                <a:gd name="T96" fmla="*/ 187 w 1421"/>
                <a:gd name="T97" fmla="*/ 1076 h 2589"/>
                <a:gd name="T98" fmla="*/ 154 w 1421"/>
                <a:gd name="T99" fmla="*/ 1103 h 2589"/>
                <a:gd name="T100" fmla="*/ 111 w 1421"/>
                <a:gd name="T101" fmla="*/ 1114 h 2589"/>
                <a:gd name="T102" fmla="*/ 59 w 1421"/>
                <a:gd name="T103" fmla="*/ 1108 h 2589"/>
                <a:gd name="T104" fmla="*/ 24 w 1421"/>
                <a:gd name="T105" fmla="*/ 1085 h 2589"/>
                <a:gd name="T106" fmla="*/ 2 w 1421"/>
                <a:gd name="T107" fmla="*/ 1048 h 2589"/>
                <a:gd name="T108" fmla="*/ 8 w 1421"/>
                <a:gd name="T109" fmla="*/ 966 h 2589"/>
                <a:gd name="T110" fmla="*/ 53 w 1421"/>
                <a:gd name="T111" fmla="*/ 783 h 2589"/>
                <a:gd name="T112" fmla="*/ 136 w 1421"/>
                <a:gd name="T113" fmla="*/ 512 h 2589"/>
                <a:gd name="T114" fmla="*/ 202 w 1421"/>
                <a:gd name="T115" fmla="*/ 274 h 2589"/>
                <a:gd name="T116" fmla="*/ 266 w 1421"/>
                <a:gd name="T117" fmla="*/ 137 h 2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21" h="2589">
                  <a:moveTo>
                    <a:pt x="302" y="87"/>
                  </a:moveTo>
                  <a:lnTo>
                    <a:pt x="302" y="87"/>
                  </a:lnTo>
                  <a:lnTo>
                    <a:pt x="316" y="76"/>
                  </a:lnTo>
                  <a:lnTo>
                    <a:pt x="328" y="66"/>
                  </a:lnTo>
                  <a:lnTo>
                    <a:pt x="341" y="57"/>
                  </a:lnTo>
                  <a:lnTo>
                    <a:pt x="354" y="49"/>
                  </a:lnTo>
                  <a:lnTo>
                    <a:pt x="367" y="41"/>
                  </a:lnTo>
                  <a:lnTo>
                    <a:pt x="381" y="34"/>
                  </a:lnTo>
                  <a:lnTo>
                    <a:pt x="395" y="28"/>
                  </a:lnTo>
                  <a:lnTo>
                    <a:pt x="409" y="23"/>
                  </a:lnTo>
                  <a:lnTo>
                    <a:pt x="424" y="19"/>
                  </a:lnTo>
                  <a:lnTo>
                    <a:pt x="439" y="15"/>
                  </a:lnTo>
                  <a:lnTo>
                    <a:pt x="469" y="9"/>
                  </a:lnTo>
                  <a:lnTo>
                    <a:pt x="500" y="5"/>
                  </a:lnTo>
                  <a:lnTo>
                    <a:pt x="531" y="2"/>
                  </a:lnTo>
                  <a:lnTo>
                    <a:pt x="563" y="1"/>
                  </a:lnTo>
                  <a:lnTo>
                    <a:pt x="594" y="1"/>
                  </a:lnTo>
                  <a:lnTo>
                    <a:pt x="658" y="2"/>
                  </a:lnTo>
                  <a:lnTo>
                    <a:pt x="721" y="3"/>
                  </a:lnTo>
                  <a:lnTo>
                    <a:pt x="752" y="3"/>
                  </a:lnTo>
                  <a:lnTo>
                    <a:pt x="782" y="2"/>
                  </a:lnTo>
                  <a:lnTo>
                    <a:pt x="782" y="2"/>
                  </a:lnTo>
                  <a:lnTo>
                    <a:pt x="808" y="1"/>
                  </a:lnTo>
                  <a:lnTo>
                    <a:pt x="833" y="0"/>
                  </a:lnTo>
                  <a:lnTo>
                    <a:pt x="859" y="0"/>
                  </a:lnTo>
                  <a:lnTo>
                    <a:pt x="885" y="1"/>
                  </a:lnTo>
                  <a:lnTo>
                    <a:pt x="912" y="4"/>
                  </a:lnTo>
                  <a:lnTo>
                    <a:pt x="937" y="7"/>
                  </a:lnTo>
                  <a:lnTo>
                    <a:pt x="962" y="12"/>
                  </a:lnTo>
                  <a:lnTo>
                    <a:pt x="988" y="18"/>
                  </a:lnTo>
                  <a:lnTo>
                    <a:pt x="1012" y="26"/>
                  </a:lnTo>
                  <a:lnTo>
                    <a:pt x="1036" y="35"/>
                  </a:lnTo>
                  <a:lnTo>
                    <a:pt x="1058" y="47"/>
                  </a:lnTo>
                  <a:lnTo>
                    <a:pt x="1079" y="60"/>
                  </a:lnTo>
                  <a:lnTo>
                    <a:pt x="1090" y="67"/>
                  </a:lnTo>
                  <a:lnTo>
                    <a:pt x="1100" y="75"/>
                  </a:lnTo>
                  <a:lnTo>
                    <a:pt x="1110" y="83"/>
                  </a:lnTo>
                  <a:lnTo>
                    <a:pt x="1119" y="92"/>
                  </a:lnTo>
                  <a:lnTo>
                    <a:pt x="1127" y="101"/>
                  </a:lnTo>
                  <a:lnTo>
                    <a:pt x="1136" y="112"/>
                  </a:lnTo>
                  <a:lnTo>
                    <a:pt x="1144" y="122"/>
                  </a:lnTo>
                  <a:lnTo>
                    <a:pt x="1152" y="133"/>
                  </a:lnTo>
                  <a:lnTo>
                    <a:pt x="1152" y="133"/>
                  </a:lnTo>
                  <a:lnTo>
                    <a:pt x="1169" y="163"/>
                  </a:lnTo>
                  <a:lnTo>
                    <a:pt x="1184" y="193"/>
                  </a:lnTo>
                  <a:lnTo>
                    <a:pt x="1198" y="225"/>
                  </a:lnTo>
                  <a:lnTo>
                    <a:pt x="1211" y="256"/>
                  </a:lnTo>
                  <a:lnTo>
                    <a:pt x="1223" y="289"/>
                  </a:lnTo>
                  <a:lnTo>
                    <a:pt x="1234" y="320"/>
                  </a:lnTo>
                  <a:lnTo>
                    <a:pt x="1244" y="353"/>
                  </a:lnTo>
                  <a:lnTo>
                    <a:pt x="1254" y="386"/>
                  </a:lnTo>
                  <a:lnTo>
                    <a:pt x="1273" y="452"/>
                  </a:lnTo>
                  <a:lnTo>
                    <a:pt x="1291" y="519"/>
                  </a:lnTo>
                  <a:lnTo>
                    <a:pt x="1310" y="585"/>
                  </a:lnTo>
                  <a:lnTo>
                    <a:pt x="1320" y="617"/>
                  </a:lnTo>
                  <a:lnTo>
                    <a:pt x="1332" y="650"/>
                  </a:lnTo>
                  <a:lnTo>
                    <a:pt x="1332" y="650"/>
                  </a:lnTo>
                  <a:lnTo>
                    <a:pt x="1339" y="677"/>
                  </a:lnTo>
                  <a:lnTo>
                    <a:pt x="1347" y="705"/>
                  </a:lnTo>
                  <a:lnTo>
                    <a:pt x="1364" y="760"/>
                  </a:lnTo>
                  <a:lnTo>
                    <a:pt x="1382" y="815"/>
                  </a:lnTo>
                  <a:lnTo>
                    <a:pt x="1391" y="843"/>
                  </a:lnTo>
                  <a:lnTo>
                    <a:pt x="1399" y="871"/>
                  </a:lnTo>
                  <a:lnTo>
                    <a:pt x="1406" y="899"/>
                  </a:lnTo>
                  <a:lnTo>
                    <a:pt x="1412" y="927"/>
                  </a:lnTo>
                  <a:lnTo>
                    <a:pt x="1416" y="955"/>
                  </a:lnTo>
                  <a:lnTo>
                    <a:pt x="1419" y="984"/>
                  </a:lnTo>
                  <a:lnTo>
                    <a:pt x="1421" y="1011"/>
                  </a:lnTo>
                  <a:lnTo>
                    <a:pt x="1420" y="1040"/>
                  </a:lnTo>
                  <a:lnTo>
                    <a:pt x="1418" y="1069"/>
                  </a:lnTo>
                  <a:lnTo>
                    <a:pt x="1415" y="1083"/>
                  </a:lnTo>
                  <a:lnTo>
                    <a:pt x="1412" y="1097"/>
                  </a:lnTo>
                  <a:lnTo>
                    <a:pt x="1412" y="1097"/>
                  </a:lnTo>
                  <a:lnTo>
                    <a:pt x="1400" y="1103"/>
                  </a:lnTo>
                  <a:lnTo>
                    <a:pt x="1386" y="1106"/>
                  </a:lnTo>
                  <a:lnTo>
                    <a:pt x="1372" y="1108"/>
                  </a:lnTo>
                  <a:lnTo>
                    <a:pt x="1359" y="1110"/>
                  </a:lnTo>
                  <a:lnTo>
                    <a:pt x="1346" y="1111"/>
                  </a:lnTo>
                  <a:lnTo>
                    <a:pt x="1333" y="1111"/>
                  </a:lnTo>
                  <a:lnTo>
                    <a:pt x="1319" y="1110"/>
                  </a:lnTo>
                  <a:lnTo>
                    <a:pt x="1306" y="1108"/>
                  </a:lnTo>
                  <a:lnTo>
                    <a:pt x="1294" y="1105"/>
                  </a:lnTo>
                  <a:lnTo>
                    <a:pt x="1282" y="1099"/>
                  </a:lnTo>
                  <a:lnTo>
                    <a:pt x="1271" y="1094"/>
                  </a:lnTo>
                  <a:lnTo>
                    <a:pt x="1260" y="1087"/>
                  </a:lnTo>
                  <a:lnTo>
                    <a:pt x="1250" y="1078"/>
                  </a:lnTo>
                  <a:lnTo>
                    <a:pt x="1241" y="1068"/>
                  </a:lnTo>
                  <a:lnTo>
                    <a:pt x="1233" y="1057"/>
                  </a:lnTo>
                  <a:lnTo>
                    <a:pt x="1227" y="1044"/>
                  </a:lnTo>
                  <a:lnTo>
                    <a:pt x="1227" y="1044"/>
                  </a:lnTo>
                  <a:lnTo>
                    <a:pt x="1199" y="965"/>
                  </a:lnTo>
                  <a:lnTo>
                    <a:pt x="1173" y="887"/>
                  </a:lnTo>
                  <a:lnTo>
                    <a:pt x="1148" y="808"/>
                  </a:lnTo>
                  <a:lnTo>
                    <a:pt x="1124" y="728"/>
                  </a:lnTo>
                  <a:lnTo>
                    <a:pt x="1076" y="569"/>
                  </a:lnTo>
                  <a:lnTo>
                    <a:pt x="1052" y="491"/>
                  </a:lnTo>
                  <a:lnTo>
                    <a:pt x="1026" y="412"/>
                  </a:lnTo>
                  <a:lnTo>
                    <a:pt x="1026" y="412"/>
                  </a:lnTo>
                  <a:lnTo>
                    <a:pt x="1021" y="400"/>
                  </a:lnTo>
                  <a:lnTo>
                    <a:pt x="1015" y="387"/>
                  </a:lnTo>
                  <a:lnTo>
                    <a:pt x="1008" y="377"/>
                  </a:lnTo>
                  <a:lnTo>
                    <a:pt x="1000" y="367"/>
                  </a:lnTo>
                  <a:lnTo>
                    <a:pt x="991" y="358"/>
                  </a:lnTo>
                  <a:lnTo>
                    <a:pt x="981" y="349"/>
                  </a:lnTo>
                  <a:lnTo>
                    <a:pt x="961" y="330"/>
                  </a:lnTo>
                  <a:lnTo>
                    <a:pt x="961" y="330"/>
                  </a:lnTo>
                  <a:lnTo>
                    <a:pt x="980" y="409"/>
                  </a:lnTo>
                  <a:lnTo>
                    <a:pt x="1000" y="486"/>
                  </a:lnTo>
                  <a:lnTo>
                    <a:pt x="1020" y="563"/>
                  </a:lnTo>
                  <a:lnTo>
                    <a:pt x="1041" y="641"/>
                  </a:lnTo>
                  <a:lnTo>
                    <a:pt x="1084" y="795"/>
                  </a:lnTo>
                  <a:lnTo>
                    <a:pt x="1129" y="949"/>
                  </a:lnTo>
                  <a:lnTo>
                    <a:pt x="1221" y="1256"/>
                  </a:lnTo>
                  <a:lnTo>
                    <a:pt x="1264" y="1410"/>
                  </a:lnTo>
                  <a:lnTo>
                    <a:pt x="1308" y="1564"/>
                  </a:lnTo>
                  <a:lnTo>
                    <a:pt x="1308" y="1564"/>
                  </a:lnTo>
                  <a:lnTo>
                    <a:pt x="1155" y="1564"/>
                  </a:lnTo>
                  <a:lnTo>
                    <a:pt x="1078" y="1564"/>
                  </a:lnTo>
                  <a:lnTo>
                    <a:pt x="1002" y="1564"/>
                  </a:lnTo>
                  <a:lnTo>
                    <a:pt x="1002" y="1564"/>
                  </a:lnTo>
                  <a:lnTo>
                    <a:pt x="1000" y="1674"/>
                  </a:lnTo>
                  <a:lnTo>
                    <a:pt x="999" y="1785"/>
                  </a:lnTo>
                  <a:lnTo>
                    <a:pt x="999" y="2006"/>
                  </a:lnTo>
                  <a:lnTo>
                    <a:pt x="1000" y="2227"/>
                  </a:lnTo>
                  <a:lnTo>
                    <a:pt x="999" y="2338"/>
                  </a:lnTo>
                  <a:lnTo>
                    <a:pt x="997" y="2447"/>
                  </a:lnTo>
                  <a:lnTo>
                    <a:pt x="997" y="2447"/>
                  </a:lnTo>
                  <a:lnTo>
                    <a:pt x="997" y="2461"/>
                  </a:lnTo>
                  <a:lnTo>
                    <a:pt x="996" y="2473"/>
                  </a:lnTo>
                  <a:lnTo>
                    <a:pt x="994" y="2486"/>
                  </a:lnTo>
                  <a:lnTo>
                    <a:pt x="990" y="2498"/>
                  </a:lnTo>
                  <a:lnTo>
                    <a:pt x="986" y="2511"/>
                  </a:lnTo>
                  <a:lnTo>
                    <a:pt x="981" y="2523"/>
                  </a:lnTo>
                  <a:lnTo>
                    <a:pt x="975" y="2534"/>
                  </a:lnTo>
                  <a:lnTo>
                    <a:pt x="967" y="2544"/>
                  </a:lnTo>
                  <a:lnTo>
                    <a:pt x="959" y="2554"/>
                  </a:lnTo>
                  <a:lnTo>
                    <a:pt x="950" y="2562"/>
                  </a:lnTo>
                  <a:lnTo>
                    <a:pt x="941" y="2571"/>
                  </a:lnTo>
                  <a:lnTo>
                    <a:pt x="931" y="2577"/>
                  </a:lnTo>
                  <a:lnTo>
                    <a:pt x="919" y="2582"/>
                  </a:lnTo>
                  <a:lnTo>
                    <a:pt x="907" y="2586"/>
                  </a:lnTo>
                  <a:lnTo>
                    <a:pt x="894" y="2588"/>
                  </a:lnTo>
                  <a:lnTo>
                    <a:pt x="881" y="2589"/>
                  </a:lnTo>
                  <a:lnTo>
                    <a:pt x="881" y="2589"/>
                  </a:lnTo>
                  <a:lnTo>
                    <a:pt x="867" y="2589"/>
                  </a:lnTo>
                  <a:lnTo>
                    <a:pt x="855" y="2587"/>
                  </a:lnTo>
                  <a:lnTo>
                    <a:pt x="841" y="2584"/>
                  </a:lnTo>
                  <a:lnTo>
                    <a:pt x="830" y="2579"/>
                  </a:lnTo>
                  <a:lnTo>
                    <a:pt x="819" y="2573"/>
                  </a:lnTo>
                  <a:lnTo>
                    <a:pt x="809" y="2565"/>
                  </a:lnTo>
                  <a:lnTo>
                    <a:pt x="800" y="2557"/>
                  </a:lnTo>
                  <a:lnTo>
                    <a:pt x="790" y="2548"/>
                  </a:lnTo>
                  <a:lnTo>
                    <a:pt x="783" y="2538"/>
                  </a:lnTo>
                  <a:lnTo>
                    <a:pt x="776" y="2527"/>
                  </a:lnTo>
                  <a:lnTo>
                    <a:pt x="771" y="2516"/>
                  </a:lnTo>
                  <a:lnTo>
                    <a:pt x="767" y="2503"/>
                  </a:lnTo>
                  <a:lnTo>
                    <a:pt x="764" y="2490"/>
                  </a:lnTo>
                  <a:lnTo>
                    <a:pt x="762" y="2478"/>
                  </a:lnTo>
                  <a:lnTo>
                    <a:pt x="761" y="2465"/>
                  </a:lnTo>
                  <a:lnTo>
                    <a:pt x="762" y="2453"/>
                  </a:lnTo>
                  <a:lnTo>
                    <a:pt x="762" y="2453"/>
                  </a:lnTo>
                  <a:lnTo>
                    <a:pt x="761" y="2341"/>
                  </a:lnTo>
                  <a:lnTo>
                    <a:pt x="761" y="2230"/>
                  </a:lnTo>
                  <a:lnTo>
                    <a:pt x="762" y="2008"/>
                  </a:lnTo>
                  <a:lnTo>
                    <a:pt x="762" y="1785"/>
                  </a:lnTo>
                  <a:lnTo>
                    <a:pt x="761" y="1674"/>
                  </a:lnTo>
                  <a:lnTo>
                    <a:pt x="760" y="1563"/>
                  </a:lnTo>
                  <a:lnTo>
                    <a:pt x="760" y="1563"/>
                  </a:lnTo>
                  <a:lnTo>
                    <a:pt x="688" y="1565"/>
                  </a:lnTo>
                  <a:lnTo>
                    <a:pt x="688" y="1565"/>
                  </a:lnTo>
                  <a:lnTo>
                    <a:pt x="687" y="1680"/>
                  </a:lnTo>
                  <a:lnTo>
                    <a:pt x="687" y="1795"/>
                  </a:lnTo>
                  <a:lnTo>
                    <a:pt x="688" y="2024"/>
                  </a:lnTo>
                  <a:lnTo>
                    <a:pt x="688" y="2139"/>
                  </a:lnTo>
                  <a:lnTo>
                    <a:pt x="688" y="2254"/>
                  </a:lnTo>
                  <a:lnTo>
                    <a:pt x="686" y="2369"/>
                  </a:lnTo>
                  <a:lnTo>
                    <a:pt x="683" y="2484"/>
                  </a:lnTo>
                  <a:lnTo>
                    <a:pt x="683" y="2484"/>
                  </a:lnTo>
                  <a:lnTo>
                    <a:pt x="681" y="2496"/>
                  </a:lnTo>
                  <a:lnTo>
                    <a:pt x="679" y="2509"/>
                  </a:lnTo>
                  <a:lnTo>
                    <a:pt x="675" y="2519"/>
                  </a:lnTo>
                  <a:lnTo>
                    <a:pt x="670" y="2529"/>
                  </a:lnTo>
                  <a:lnTo>
                    <a:pt x="664" y="2538"/>
                  </a:lnTo>
                  <a:lnTo>
                    <a:pt x="658" y="2547"/>
                  </a:lnTo>
                  <a:lnTo>
                    <a:pt x="652" y="2554"/>
                  </a:lnTo>
                  <a:lnTo>
                    <a:pt x="644" y="2561"/>
                  </a:lnTo>
                  <a:lnTo>
                    <a:pt x="636" y="2568"/>
                  </a:lnTo>
                  <a:lnTo>
                    <a:pt x="627" y="2573"/>
                  </a:lnTo>
                  <a:lnTo>
                    <a:pt x="619" y="2577"/>
                  </a:lnTo>
                  <a:lnTo>
                    <a:pt x="608" y="2580"/>
                  </a:lnTo>
                  <a:lnTo>
                    <a:pt x="599" y="2583"/>
                  </a:lnTo>
                  <a:lnTo>
                    <a:pt x="589" y="2585"/>
                  </a:lnTo>
                  <a:lnTo>
                    <a:pt x="579" y="2586"/>
                  </a:lnTo>
                  <a:lnTo>
                    <a:pt x="569" y="2586"/>
                  </a:lnTo>
                  <a:lnTo>
                    <a:pt x="559" y="2586"/>
                  </a:lnTo>
                  <a:lnTo>
                    <a:pt x="548" y="2584"/>
                  </a:lnTo>
                  <a:lnTo>
                    <a:pt x="538" y="2582"/>
                  </a:lnTo>
                  <a:lnTo>
                    <a:pt x="528" y="2580"/>
                  </a:lnTo>
                  <a:lnTo>
                    <a:pt x="519" y="2576"/>
                  </a:lnTo>
                  <a:lnTo>
                    <a:pt x="510" y="2572"/>
                  </a:lnTo>
                  <a:lnTo>
                    <a:pt x="501" y="2565"/>
                  </a:lnTo>
                  <a:lnTo>
                    <a:pt x="492" y="2560"/>
                  </a:lnTo>
                  <a:lnTo>
                    <a:pt x="484" y="2553"/>
                  </a:lnTo>
                  <a:lnTo>
                    <a:pt x="477" y="2545"/>
                  </a:lnTo>
                  <a:lnTo>
                    <a:pt x="471" y="2537"/>
                  </a:lnTo>
                  <a:lnTo>
                    <a:pt x="465" y="2528"/>
                  </a:lnTo>
                  <a:lnTo>
                    <a:pt x="461" y="2518"/>
                  </a:lnTo>
                  <a:lnTo>
                    <a:pt x="457" y="2507"/>
                  </a:lnTo>
                  <a:lnTo>
                    <a:pt x="454" y="2496"/>
                  </a:lnTo>
                  <a:lnTo>
                    <a:pt x="452" y="2484"/>
                  </a:lnTo>
                  <a:lnTo>
                    <a:pt x="452" y="2484"/>
                  </a:lnTo>
                  <a:lnTo>
                    <a:pt x="451" y="2369"/>
                  </a:lnTo>
                  <a:lnTo>
                    <a:pt x="450" y="2254"/>
                  </a:lnTo>
                  <a:lnTo>
                    <a:pt x="450" y="2024"/>
                  </a:lnTo>
                  <a:lnTo>
                    <a:pt x="450" y="1794"/>
                  </a:lnTo>
                  <a:lnTo>
                    <a:pt x="450" y="1679"/>
                  </a:lnTo>
                  <a:lnTo>
                    <a:pt x="449" y="1564"/>
                  </a:lnTo>
                  <a:lnTo>
                    <a:pt x="449" y="1564"/>
                  </a:lnTo>
                  <a:lnTo>
                    <a:pt x="295" y="1565"/>
                  </a:lnTo>
                  <a:lnTo>
                    <a:pt x="142" y="1563"/>
                  </a:lnTo>
                  <a:lnTo>
                    <a:pt x="142" y="1563"/>
                  </a:lnTo>
                  <a:lnTo>
                    <a:pt x="178" y="1412"/>
                  </a:lnTo>
                  <a:lnTo>
                    <a:pt x="216" y="1260"/>
                  </a:lnTo>
                  <a:lnTo>
                    <a:pt x="294" y="958"/>
                  </a:lnTo>
                  <a:lnTo>
                    <a:pt x="372" y="656"/>
                  </a:lnTo>
                  <a:lnTo>
                    <a:pt x="410" y="504"/>
                  </a:lnTo>
                  <a:lnTo>
                    <a:pt x="447" y="353"/>
                  </a:lnTo>
                  <a:lnTo>
                    <a:pt x="447" y="353"/>
                  </a:lnTo>
                  <a:lnTo>
                    <a:pt x="400" y="383"/>
                  </a:lnTo>
                  <a:lnTo>
                    <a:pt x="400" y="383"/>
                  </a:lnTo>
                  <a:lnTo>
                    <a:pt x="386" y="424"/>
                  </a:lnTo>
                  <a:lnTo>
                    <a:pt x="372" y="465"/>
                  </a:lnTo>
                  <a:lnTo>
                    <a:pt x="348" y="547"/>
                  </a:lnTo>
                  <a:lnTo>
                    <a:pt x="324" y="631"/>
                  </a:lnTo>
                  <a:lnTo>
                    <a:pt x="301" y="714"/>
                  </a:lnTo>
                  <a:lnTo>
                    <a:pt x="278" y="796"/>
                  </a:lnTo>
                  <a:lnTo>
                    <a:pt x="255" y="880"/>
                  </a:lnTo>
                  <a:lnTo>
                    <a:pt x="230" y="962"/>
                  </a:lnTo>
                  <a:lnTo>
                    <a:pt x="217" y="1004"/>
                  </a:lnTo>
                  <a:lnTo>
                    <a:pt x="203" y="1045"/>
                  </a:lnTo>
                  <a:lnTo>
                    <a:pt x="203" y="1045"/>
                  </a:lnTo>
                  <a:lnTo>
                    <a:pt x="201" y="1054"/>
                  </a:lnTo>
                  <a:lnTo>
                    <a:pt x="197" y="1062"/>
                  </a:lnTo>
                  <a:lnTo>
                    <a:pt x="192" y="1069"/>
                  </a:lnTo>
                  <a:lnTo>
                    <a:pt x="187" y="1076"/>
                  </a:lnTo>
                  <a:lnTo>
                    <a:pt x="182" y="1083"/>
                  </a:lnTo>
                  <a:lnTo>
                    <a:pt x="175" y="1088"/>
                  </a:lnTo>
                  <a:lnTo>
                    <a:pt x="169" y="1094"/>
                  </a:lnTo>
                  <a:lnTo>
                    <a:pt x="162" y="1098"/>
                  </a:lnTo>
                  <a:lnTo>
                    <a:pt x="154" y="1103"/>
                  </a:lnTo>
                  <a:lnTo>
                    <a:pt x="146" y="1107"/>
                  </a:lnTo>
                  <a:lnTo>
                    <a:pt x="138" y="1109"/>
                  </a:lnTo>
                  <a:lnTo>
                    <a:pt x="128" y="1112"/>
                  </a:lnTo>
                  <a:lnTo>
                    <a:pt x="120" y="1113"/>
                  </a:lnTo>
                  <a:lnTo>
                    <a:pt x="111" y="1114"/>
                  </a:lnTo>
                  <a:lnTo>
                    <a:pt x="94" y="1114"/>
                  </a:lnTo>
                  <a:lnTo>
                    <a:pt x="85" y="1114"/>
                  </a:lnTo>
                  <a:lnTo>
                    <a:pt x="76" y="1112"/>
                  </a:lnTo>
                  <a:lnTo>
                    <a:pt x="67" y="1110"/>
                  </a:lnTo>
                  <a:lnTo>
                    <a:pt x="59" y="1108"/>
                  </a:lnTo>
                  <a:lnTo>
                    <a:pt x="51" y="1104"/>
                  </a:lnTo>
                  <a:lnTo>
                    <a:pt x="43" y="1101"/>
                  </a:lnTo>
                  <a:lnTo>
                    <a:pt x="36" y="1095"/>
                  </a:lnTo>
                  <a:lnTo>
                    <a:pt x="30" y="1090"/>
                  </a:lnTo>
                  <a:lnTo>
                    <a:pt x="24" y="1085"/>
                  </a:lnTo>
                  <a:lnTo>
                    <a:pt x="18" y="1079"/>
                  </a:lnTo>
                  <a:lnTo>
                    <a:pt x="12" y="1072"/>
                  </a:lnTo>
                  <a:lnTo>
                    <a:pt x="8" y="1065"/>
                  </a:lnTo>
                  <a:lnTo>
                    <a:pt x="5" y="1057"/>
                  </a:lnTo>
                  <a:lnTo>
                    <a:pt x="2" y="1048"/>
                  </a:lnTo>
                  <a:lnTo>
                    <a:pt x="1" y="1038"/>
                  </a:lnTo>
                  <a:lnTo>
                    <a:pt x="0" y="1028"/>
                  </a:lnTo>
                  <a:lnTo>
                    <a:pt x="0" y="1028"/>
                  </a:lnTo>
                  <a:lnTo>
                    <a:pt x="3" y="998"/>
                  </a:lnTo>
                  <a:lnTo>
                    <a:pt x="8" y="966"/>
                  </a:lnTo>
                  <a:lnTo>
                    <a:pt x="13" y="936"/>
                  </a:lnTo>
                  <a:lnTo>
                    <a:pt x="21" y="905"/>
                  </a:lnTo>
                  <a:lnTo>
                    <a:pt x="28" y="875"/>
                  </a:lnTo>
                  <a:lnTo>
                    <a:pt x="36" y="844"/>
                  </a:lnTo>
                  <a:lnTo>
                    <a:pt x="53" y="783"/>
                  </a:lnTo>
                  <a:lnTo>
                    <a:pt x="91" y="662"/>
                  </a:lnTo>
                  <a:lnTo>
                    <a:pt x="109" y="602"/>
                  </a:lnTo>
                  <a:lnTo>
                    <a:pt x="126" y="541"/>
                  </a:lnTo>
                  <a:lnTo>
                    <a:pt x="126" y="541"/>
                  </a:lnTo>
                  <a:lnTo>
                    <a:pt x="136" y="512"/>
                  </a:lnTo>
                  <a:lnTo>
                    <a:pt x="144" y="483"/>
                  </a:lnTo>
                  <a:lnTo>
                    <a:pt x="160" y="424"/>
                  </a:lnTo>
                  <a:lnTo>
                    <a:pt x="176" y="364"/>
                  </a:lnTo>
                  <a:lnTo>
                    <a:pt x="192" y="304"/>
                  </a:lnTo>
                  <a:lnTo>
                    <a:pt x="202" y="274"/>
                  </a:lnTo>
                  <a:lnTo>
                    <a:pt x="212" y="246"/>
                  </a:lnTo>
                  <a:lnTo>
                    <a:pt x="223" y="217"/>
                  </a:lnTo>
                  <a:lnTo>
                    <a:pt x="236" y="190"/>
                  </a:lnTo>
                  <a:lnTo>
                    <a:pt x="250" y="163"/>
                  </a:lnTo>
                  <a:lnTo>
                    <a:pt x="266" y="137"/>
                  </a:lnTo>
                  <a:lnTo>
                    <a:pt x="283" y="112"/>
                  </a:lnTo>
                  <a:lnTo>
                    <a:pt x="302" y="87"/>
                  </a:lnTo>
                  <a:lnTo>
                    <a:pt x="302"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688" name="Rounded Rectangle 4"/>
          <p:cNvSpPr>
            <a:spLocks noChangeAspect="1"/>
          </p:cNvSpPr>
          <p:nvPr/>
        </p:nvSpPr>
        <p:spPr bwMode="auto">
          <a:xfrm>
            <a:off x="3667240" y="5771786"/>
            <a:ext cx="156513" cy="296007"/>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3689" name="Group 3688"/>
          <p:cNvGrpSpPr>
            <a:grpSpLocks noChangeAspect="1"/>
          </p:cNvGrpSpPr>
          <p:nvPr/>
        </p:nvGrpSpPr>
        <p:grpSpPr>
          <a:xfrm>
            <a:off x="3791312" y="5733477"/>
            <a:ext cx="180595" cy="344253"/>
            <a:chOff x="13253772" y="-14449"/>
            <a:chExt cx="3216275" cy="6130925"/>
          </a:xfrm>
          <a:solidFill>
            <a:schemeClr val="bg1"/>
          </a:solidFill>
        </p:grpSpPr>
        <p:sp>
          <p:nvSpPr>
            <p:cNvPr id="3690" name="Freeform 120"/>
            <p:cNvSpPr>
              <a:spLocks/>
            </p:cNvSpPr>
            <p:nvPr/>
          </p:nvSpPr>
          <p:spPr bwMode="auto">
            <a:xfrm>
              <a:off x="14787297" y="-14449"/>
              <a:ext cx="993775" cy="981075"/>
            </a:xfrm>
            <a:custGeom>
              <a:avLst/>
              <a:gdLst>
                <a:gd name="T0" fmla="*/ 194 w 626"/>
                <a:gd name="T1" fmla="*/ 24 h 618"/>
                <a:gd name="T2" fmla="*/ 232 w 626"/>
                <a:gd name="T3" fmla="*/ 10 h 618"/>
                <a:gd name="T4" fmla="*/ 270 w 626"/>
                <a:gd name="T5" fmla="*/ 2 h 618"/>
                <a:gd name="T6" fmla="*/ 310 w 626"/>
                <a:gd name="T7" fmla="*/ 0 h 618"/>
                <a:gd name="T8" fmla="*/ 348 w 626"/>
                <a:gd name="T9" fmla="*/ 2 h 618"/>
                <a:gd name="T10" fmla="*/ 386 w 626"/>
                <a:gd name="T11" fmla="*/ 10 h 618"/>
                <a:gd name="T12" fmla="*/ 458 w 626"/>
                <a:gd name="T13" fmla="*/ 38 h 618"/>
                <a:gd name="T14" fmla="*/ 522 w 626"/>
                <a:gd name="T15" fmla="*/ 82 h 618"/>
                <a:gd name="T16" fmla="*/ 574 w 626"/>
                <a:gd name="T17" fmla="*/ 140 h 618"/>
                <a:gd name="T18" fmla="*/ 594 w 626"/>
                <a:gd name="T19" fmla="*/ 172 h 618"/>
                <a:gd name="T20" fmla="*/ 610 w 626"/>
                <a:gd name="T21" fmla="*/ 208 h 618"/>
                <a:gd name="T22" fmla="*/ 622 w 626"/>
                <a:gd name="T23" fmla="*/ 246 h 618"/>
                <a:gd name="T24" fmla="*/ 626 w 626"/>
                <a:gd name="T25" fmla="*/ 284 h 618"/>
                <a:gd name="T26" fmla="*/ 626 w 626"/>
                <a:gd name="T27" fmla="*/ 324 h 618"/>
                <a:gd name="T28" fmla="*/ 626 w 626"/>
                <a:gd name="T29" fmla="*/ 348 h 618"/>
                <a:gd name="T30" fmla="*/ 620 w 626"/>
                <a:gd name="T31" fmla="*/ 392 h 618"/>
                <a:gd name="T32" fmla="*/ 608 w 626"/>
                <a:gd name="T33" fmla="*/ 434 h 618"/>
                <a:gd name="T34" fmla="*/ 588 w 626"/>
                <a:gd name="T35" fmla="*/ 472 h 618"/>
                <a:gd name="T36" fmla="*/ 562 w 626"/>
                <a:gd name="T37" fmla="*/ 506 h 618"/>
                <a:gd name="T38" fmla="*/ 532 w 626"/>
                <a:gd name="T39" fmla="*/ 536 h 618"/>
                <a:gd name="T40" fmla="*/ 498 w 626"/>
                <a:gd name="T41" fmla="*/ 560 h 618"/>
                <a:gd name="T42" fmla="*/ 460 w 626"/>
                <a:gd name="T43" fmla="*/ 582 h 618"/>
                <a:gd name="T44" fmla="*/ 420 w 626"/>
                <a:gd name="T45" fmla="*/ 598 h 618"/>
                <a:gd name="T46" fmla="*/ 378 w 626"/>
                <a:gd name="T47" fmla="*/ 610 h 618"/>
                <a:gd name="T48" fmla="*/ 336 w 626"/>
                <a:gd name="T49" fmla="*/ 616 h 618"/>
                <a:gd name="T50" fmla="*/ 292 w 626"/>
                <a:gd name="T51" fmla="*/ 618 h 618"/>
                <a:gd name="T52" fmla="*/ 248 w 626"/>
                <a:gd name="T53" fmla="*/ 612 h 618"/>
                <a:gd name="T54" fmla="*/ 206 w 626"/>
                <a:gd name="T55" fmla="*/ 602 h 618"/>
                <a:gd name="T56" fmla="*/ 166 w 626"/>
                <a:gd name="T57" fmla="*/ 586 h 618"/>
                <a:gd name="T58" fmla="*/ 130 w 626"/>
                <a:gd name="T59" fmla="*/ 562 h 618"/>
                <a:gd name="T60" fmla="*/ 112 w 626"/>
                <a:gd name="T61" fmla="*/ 548 h 618"/>
                <a:gd name="T62" fmla="*/ 80 w 626"/>
                <a:gd name="T63" fmla="*/ 520 h 618"/>
                <a:gd name="T64" fmla="*/ 56 w 626"/>
                <a:gd name="T65" fmla="*/ 490 h 618"/>
                <a:gd name="T66" fmla="*/ 34 w 626"/>
                <a:gd name="T67" fmla="*/ 456 h 618"/>
                <a:gd name="T68" fmla="*/ 18 w 626"/>
                <a:gd name="T69" fmla="*/ 420 h 618"/>
                <a:gd name="T70" fmla="*/ 8 w 626"/>
                <a:gd name="T71" fmla="*/ 382 h 618"/>
                <a:gd name="T72" fmla="*/ 2 w 626"/>
                <a:gd name="T73" fmla="*/ 342 h 618"/>
                <a:gd name="T74" fmla="*/ 4 w 626"/>
                <a:gd name="T75" fmla="*/ 262 h 618"/>
                <a:gd name="T76" fmla="*/ 18 w 626"/>
                <a:gd name="T77" fmla="*/ 204 h 618"/>
                <a:gd name="T78" fmla="*/ 34 w 626"/>
                <a:gd name="T79" fmla="*/ 168 h 618"/>
                <a:gd name="T80" fmla="*/ 54 w 626"/>
                <a:gd name="T81" fmla="*/ 132 h 618"/>
                <a:gd name="T82" fmla="*/ 78 w 626"/>
                <a:gd name="T83" fmla="*/ 102 h 618"/>
                <a:gd name="T84" fmla="*/ 106 w 626"/>
                <a:gd name="T85" fmla="*/ 74 h 618"/>
                <a:gd name="T86" fmla="*/ 138 w 626"/>
                <a:gd name="T87" fmla="*/ 50 h 618"/>
                <a:gd name="T88" fmla="*/ 174 w 626"/>
                <a:gd name="T89" fmla="*/ 32 h 618"/>
                <a:gd name="T90" fmla="*/ 194 w 626"/>
                <a:gd name="T91" fmla="*/ 2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6" h="618">
                  <a:moveTo>
                    <a:pt x="194" y="24"/>
                  </a:moveTo>
                  <a:lnTo>
                    <a:pt x="194" y="24"/>
                  </a:lnTo>
                  <a:lnTo>
                    <a:pt x="212" y="16"/>
                  </a:lnTo>
                  <a:lnTo>
                    <a:pt x="232" y="10"/>
                  </a:lnTo>
                  <a:lnTo>
                    <a:pt x="250" y="6"/>
                  </a:lnTo>
                  <a:lnTo>
                    <a:pt x="270" y="2"/>
                  </a:lnTo>
                  <a:lnTo>
                    <a:pt x="290" y="0"/>
                  </a:lnTo>
                  <a:lnTo>
                    <a:pt x="310" y="0"/>
                  </a:lnTo>
                  <a:lnTo>
                    <a:pt x="328" y="0"/>
                  </a:lnTo>
                  <a:lnTo>
                    <a:pt x="348" y="2"/>
                  </a:lnTo>
                  <a:lnTo>
                    <a:pt x="366" y="4"/>
                  </a:lnTo>
                  <a:lnTo>
                    <a:pt x="386" y="10"/>
                  </a:lnTo>
                  <a:lnTo>
                    <a:pt x="422" y="22"/>
                  </a:lnTo>
                  <a:lnTo>
                    <a:pt x="458" y="38"/>
                  </a:lnTo>
                  <a:lnTo>
                    <a:pt x="492" y="58"/>
                  </a:lnTo>
                  <a:lnTo>
                    <a:pt x="522" y="82"/>
                  </a:lnTo>
                  <a:lnTo>
                    <a:pt x="550" y="110"/>
                  </a:lnTo>
                  <a:lnTo>
                    <a:pt x="574" y="140"/>
                  </a:lnTo>
                  <a:lnTo>
                    <a:pt x="586" y="156"/>
                  </a:lnTo>
                  <a:lnTo>
                    <a:pt x="594" y="172"/>
                  </a:lnTo>
                  <a:lnTo>
                    <a:pt x="604" y="190"/>
                  </a:lnTo>
                  <a:lnTo>
                    <a:pt x="610" y="208"/>
                  </a:lnTo>
                  <a:lnTo>
                    <a:pt x="616" y="226"/>
                  </a:lnTo>
                  <a:lnTo>
                    <a:pt x="622" y="246"/>
                  </a:lnTo>
                  <a:lnTo>
                    <a:pt x="624" y="264"/>
                  </a:lnTo>
                  <a:lnTo>
                    <a:pt x="626" y="284"/>
                  </a:lnTo>
                  <a:lnTo>
                    <a:pt x="626" y="304"/>
                  </a:lnTo>
                  <a:lnTo>
                    <a:pt x="626" y="324"/>
                  </a:lnTo>
                  <a:lnTo>
                    <a:pt x="626" y="324"/>
                  </a:lnTo>
                  <a:lnTo>
                    <a:pt x="626" y="348"/>
                  </a:lnTo>
                  <a:lnTo>
                    <a:pt x="624" y="370"/>
                  </a:lnTo>
                  <a:lnTo>
                    <a:pt x="620" y="392"/>
                  </a:lnTo>
                  <a:lnTo>
                    <a:pt x="614" y="414"/>
                  </a:lnTo>
                  <a:lnTo>
                    <a:pt x="608" y="434"/>
                  </a:lnTo>
                  <a:lnTo>
                    <a:pt x="598" y="452"/>
                  </a:lnTo>
                  <a:lnTo>
                    <a:pt x="588" y="472"/>
                  </a:lnTo>
                  <a:lnTo>
                    <a:pt x="576" y="488"/>
                  </a:lnTo>
                  <a:lnTo>
                    <a:pt x="562" y="506"/>
                  </a:lnTo>
                  <a:lnTo>
                    <a:pt x="548" y="520"/>
                  </a:lnTo>
                  <a:lnTo>
                    <a:pt x="532" y="536"/>
                  </a:lnTo>
                  <a:lnTo>
                    <a:pt x="516" y="548"/>
                  </a:lnTo>
                  <a:lnTo>
                    <a:pt x="498" y="560"/>
                  </a:lnTo>
                  <a:lnTo>
                    <a:pt x="480" y="572"/>
                  </a:lnTo>
                  <a:lnTo>
                    <a:pt x="460" y="582"/>
                  </a:lnTo>
                  <a:lnTo>
                    <a:pt x="442" y="590"/>
                  </a:lnTo>
                  <a:lnTo>
                    <a:pt x="420" y="598"/>
                  </a:lnTo>
                  <a:lnTo>
                    <a:pt x="400" y="604"/>
                  </a:lnTo>
                  <a:lnTo>
                    <a:pt x="378" y="610"/>
                  </a:lnTo>
                  <a:lnTo>
                    <a:pt x="358" y="614"/>
                  </a:lnTo>
                  <a:lnTo>
                    <a:pt x="336" y="616"/>
                  </a:lnTo>
                  <a:lnTo>
                    <a:pt x="314" y="618"/>
                  </a:lnTo>
                  <a:lnTo>
                    <a:pt x="292" y="618"/>
                  </a:lnTo>
                  <a:lnTo>
                    <a:pt x="270" y="616"/>
                  </a:lnTo>
                  <a:lnTo>
                    <a:pt x="248" y="612"/>
                  </a:lnTo>
                  <a:lnTo>
                    <a:pt x="228" y="608"/>
                  </a:lnTo>
                  <a:lnTo>
                    <a:pt x="206" y="602"/>
                  </a:lnTo>
                  <a:lnTo>
                    <a:pt x="186" y="594"/>
                  </a:lnTo>
                  <a:lnTo>
                    <a:pt x="166" y="586"/>
                  </a:lnTo>
                  <a:lnTo>
                    <a:pt x="148" y="574"/>
                  </a:lnTo>
                  <a:lnTo>
                    <a:pt x="130" y="562"/>
                  </a:lnTo>
                  <a:lnTo>
                    <a:pt x="112" y="548"/>
                  </a:lnTo>
                  <a:lnTo>
                    <a:pt x="112" y="548"/>
                  </a:lnTo>
                  <a:lnTo>
                    <a:pt x="96" y="536"/>
                  </a:lnTo>
                  <a:lnTo>
                    <a:pt x="80" y="520"/>
                  </a:lnTo>
                  <a:lnTo>
                    <a:pt x="68" y="506"/>
                  </a:lnTo>
                  <a:lnTo>
                    <a:pt x="56" y="490"/>
                  </a:lnTo>
                  <a:lnTo>
                    <a:pt x="44" y="474"/>
                  </a:lnTo>
                  <a:lnTo>
                    <a:pt x="34" y="456"/>
                  </a:lnTo>
                  <a:lnTo>
                    <a:pt x="26" y="438"/>
                  </a:lnTo>
                  <a:lnTo>
                    <a:pt x="18" y="420"/>
                  </a:lnTo>
                  <a:lnTo>
                    <a:pt x="12" y="400"/>
                  </a:lnTo>
                  <a:lnTo>
                    <a:pt x="8" y="382"/>
                  </a:lnTo>
                  <a:lnTo>
                    <a:pt x="4" y="362"/>
                  </a:lnTo>
                  <a:lnTo>
                    <a:pt x="2" y="342"/>
                  </a:lnTo>
                  <a:lnTo>
                    <a:pt x="0" y="302"/>
                  </a:lnTo>
                  <a:lnTo>
                    <a:pt x="4" y="262"/>
                  </a:lnTo>
                  <a:lnTo>
                    <a:pt x="12" y="222"/>
                  </a:lnTo>
                  <a:lnTo>
                    <a:pt x="18" y="204"/>
                  </a:lnTo>
                  <a:lnTo>
                    <a:pt x="26" y="186"/>
                  </a:lnTo>
                  <a:lnTo>
                    <a:pt x="34" y="168"/>
                  </a:lnTo>
                  <a:lnTo>
                    <a:pt x="42" y="150"/>
                  </a:lnTo>
                  <a:lnTo>
                    <a:pt x="54" y="132"/>
                  </a:lnTo>
                  <a:lnTo>
                    <a:pt x="64" y="116"/>
                  </a:lnTo>
                  <a:lnTo>
                    <a:pt x="78" y="102"/>
                  </a:lnTo>
                  <a:lnTo>
                    <a:pt x="90" y="88"/>
                  </a:lnTo>
                  <a:lnTo>
                    <a:pt x="106" y="74"/>
                  </a:lnTo>
                  <a:lnTo>
                    <a:pt x="120" y="62"/>
                  </a:lnTo>
                  <a:lnTo>
                    <a:pt x="138" y="50"/>
                  </a:lnTo>
                  <a:lnTo>
                    <a:pt x="156" y="40"/>
                  </a:lnTo>
                  <a:lnTo>
                    <a:pt x="174" y="32"/>
                  </a:lnTo>
                  <a:lnTo>
                    <a:pt x="194" y="24"/>
                  </a:lnTo>
                  <a:lnTo>
                    <a:pt x="194" y="24"/>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3691" name="Freeform 121"/>
            <p:cNvSpPr>
              <a:spLocks/>
            </p:cNvSpPr>
            <p:nvPr/>
          </p:nvSpPr>
          <p:spPr bwMode="auto">
            <a:xfrm>
              <a:off x="13253772" y="1125376"/>
              <a:ext cx="3216275" cy="4991100"/>
            </a:xfrm>
            <a:custGeom>
              <a:avLst/>
              <a:gdLst>
                <a:gd name="T0" fmla="*/ 690 w 2026"/>
                <a:gd name="T1" fmla="*/ 66 h 3144"/>
                <a:gd name="T2" fmla="*/ 796 w 2026"/>
                <a:gd name="T3" fmla="*/ 14 h 3144"/>
                <a:gd name="T4" fmla="*/ 918 w 2026"/>
                <a:gd name="T5" fmla="*/ 0 h 3144"/>
                <a:gd name="T6" fmla="*/ 1102 w 2026"/>
                <a:gd name="T7" fmla="*/ 0 h 3144"/>
                <a:gd name="T8" fmla="*/ 1476 w 2026"/>
                <a:gd name="T9" fmla="*/ 2 h 3144"/>
                <a:gd name="T10" fmla="*/ 1660 w 2026"/>
                <a:gd name="T11" fmla="*/ 18 h 3144"/>
                <a:gd name="T12" fmla="*/ 1840 w 2026"/>
                <a:gd name="T13" fmla="*/ 68 h 3144"/>
                <a:gd name="T14" fmla="*/ 1910 w 2026"/>
                <a:gd name="T15" fmla="*/ 114 h 3144"/>
                <a:gd name="T16" fmla="*/ 1974 w 2026"/>
                <a:gd name="T17" fmla="*/ 202 h 3144"/>
                <a:gd name="T18" fmla="*/ 2010 w 2026"/>
                <a:gd name="T19" fmla="*/ 310 h 3144"/>
                <a:gd name="T20" fmla="*/ 2026 w 2026"/>
                <a:gd name="T21" fmla="*/ 448 h 3144"/>
                <a:gd name="T22" fmla="*/ 2024 w 2026"/>
                <a:gd name="T23" fmla="*/ 1290 h 3144"/>
                <a:gd name="T24" fmla="*/ 2020 w 2026"/>
                <a:gd name="T25" fmla="*/ 1438 h 3144"/>
                <a:gd name="T26" fmla="*/ 2004 w 2026"/>
                <a:gd name="T27" fmla="*/ 1484 h 3144"/>
                <a:gd name="T28" fmla="*/ 1948 w 2026"/>
                <a:gd name="T29" fmla="*/ 1528 h 3144"/>
                <a:gd name="T30" fmla="*/ 1854 w 2026"/>
                <a:gd name="T31" fmla="*/ 1538 h 3144"/>
                <a:gd name="T32" fmla="*/ 1794 w 2026"/>
                <a:gd name="T33" fmla="*/ 1504 h 3144"/>
                <a:gd name="T34" fmla="*/ 1770 w 2026"/>
                <a:gd name="T35" fmla="*/ 1462 h 3144"/>
                <a:gd name="T36" fmla="*/ 1762 w 2026"/>
                <a:gd name="T37" fmla="*/ 1320 h 3144"/>
                <a:gd name="T38" fmla="*/ 1762 w 2026"/>
                <a:gd name="T39" fmla="*/ 630 h 3144"/>
                <a:gd name="T40" fmla="*/ 1664 w 2026"/>
                <a:gd name="T41" fmla="*/ 514 h 3144"/>
                <a:gd name="T42" fmla="*/ 1664 w 2026"/>
                <a:gd name="T43" fmla="*/ 2966 h 3144"/>
                <a:gd name="T44" fmla="*/ 1634 w 2026"/>
                <a:gd name="T45" fmla="*/ 3058 h 3144"/>
                <a:gd name="T46" fmla="*/ 1564 w 2026"/>
                <a:gd name="T47" fmla="*/ 3122 h 3144"/>
                <a:gd name="T48" fmla="*/ 1472 w 2026"/>
                <a:gd name="T49" fmla="*/ 3144 h 3144"/>
                <a:gd name="T50" fmla="*/ 1400 w 2026"/>
                <a:gd name="T51" fmla="*/ 3126 h 3144"/>
                <a:gd name="T52" fmla="*/ 1358 w 2026"/>
                <a:gd name="T53" fmla="*/ 3104 h 3144"/>
                <a:gd name="T54" fmla="*/ 1330 w 2026"/>
                <a:gd name="T55" fmla="*/ 3044 h 3144"/>
                <a:gd name="T56" fmla="*/ 1318 w 2026"/>
                <a:gd name="T57" fmla="*/ 2796 h 3144"/>
                <a:gd name="T58" fmla="*/ 1320 w 2026"/>
                <a:gd name="T59" fmla="*/ 1900 h 3144"/>
                <a:gd name="T60" fmla="*/ 1226 w 2026"/>
                <a:gd name="T61" fmla="*/ 1530 h 3144"/>
                <a:gd name="T62" fmla="*/ 1222 w 2026"/>
                <a:gd name="T63" fmla="*/ 2268 h 3144"/>
                <a:gd name="T64" fmla="*/ 1220 w 2026"/>
                <a:gd name="T65" fmla="*/ 3008 h 3144"/>
                <a:gd name="T66" fmla="*/ 1194 w 2026"/>
                <a:gd name="T67" fmla="*/ 3070 h 3144"/>
                <a:gd name="T68" fmla="*/ 1148 w 2026"/>
                <a:gd name="T69" fmla="*/ 3114 h 3144"/>
                <a:gd name="T70" fmla="*/ 1090 w 2026"/>
                <a:gd name="T71" fmla="*/ 3136 h 3144"/>
                <a:gd name="T72" fmla="*/ 994 w 2026"/>
                <a:gd name="T73" fmla="*/ 3136 h 3144"/>
                <a:gd name="T74" fmla="*/ 936 w 2026"/>
                <a:gd name="T75" fmla="*/ 3112 h 3144"/>
                <a:gd name="T76" fmla="*/ 890 w 2026"/>
                <a:gd name="T77" fmla="*/ 3070 h 3144"/>
                <a:gd name="T78" fmla="*/ 866 w 2026"/>
                <a:gd name="T79" fmla="*/ 3010 h 3144"/>
                <a:gd name="T80" fmla="*/ 862 w 2026"/>
                <a:gd name="T81" fmla="*/ 2320 h 3144"/>
                <a:gd name="T82" fmla="*/ 860 w 2026"/>
                <a:gd name="T83" fmla="*/ 356 h 3144"/>
                <a:gd name="T84" fmla="*/ 552 w 2026"/>
                <a:gd name="T85" fmla="*/ 718 h 3144"/>
                <a:gd name="T86" fmla="*/ 282 w 2026"/>
                <a:gd name="T87" fmla="*/ 1032 h 3144"/>
                <a:gd name="T88" fmla="*/ 216 w 2026"/>
                <a:gd name="T89" fmla="*/ 1090 h 3144"/>
                <a:gd name="T90" fmla="*/ 164 w 2026"/>
                <a:gd name="T91" fmla="*/ 1104 h 3144"/>
                <a:gd name="T92" fmla="*/ 90 w 2026"/>
                <a:gd name="T93" fmla="*/ 1088 h 3144"/>
                <a:gd name="T94" fmla="*/ 18 w 2026"/>
                <a:gd name="T95" fmla="*/ 1016 h 3144"/>
                <a:gd name="T96" fmla="*/ 0 w 2026"/>
                <a:gd name="T97" fmla="*/ 942 h 3144"/>
                <a:gd name="T98" fmla="*/ 12 w 2026"/>
                <a:gd name="T99" fmla="*/ 890 h 3144"/>
                <a:gd name="T100" fmla="*/ 102 w 2026"/>
                <a:gd name="T101" fmla="*/ 770 h 3144"/>
                <a:gd name="T102" fmla="*/ 646 w 2026"/>
                <a:gd name="T103" fmla="*/ 11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6" h="3144">
                  <a:moveTo>
                    <a:pt x="646" y="112"/>
                  </a:moveTo>
                  <a:lnTo>
                    <a:pt x="646" y="112"/>
                  </a:lnTo>
                  <a:lnTo>
                    <a:pt x="666" y="88"/>
                  </a:lnTo>
                  <a:lnTo>
                    <a:pt x="690" y="66"/>
                  </a:lnTo>
                  <a:lnTo>
                    <a:pt x="714" y="48"/>
                  </a:lnTo>
                  <a:lnTo>
                    <a:pt x="740" y="34"/>
                  </a:lnTo>
                  <a:lnTo>
                    <a:pt x="768" y="22"/>
                  </a:lnTo>
                  <a:lnTo>
                    <a:pt x="796" y="14"/>
                  </a:lnTo>
                  <a:lnTo>
                    <a:pt x="826" y="8"/>
                  </a:lnTo>
                  <a:lnTo>
                    <a:pt x="856" y="4"/>
                  </a:lnTo>
                  <a:lnTo>
                    <a:pt x="886" y="2"/>
                  </a:lnTo>
                  <a:lnTo>
                    <a:pt x="918" y="0"/>
                  </a:lnTo>
                  <a:lnTo>
                    <a:pt x="980" y="0"/>
                  </a:lnTo>
                  <a:lnTo>
                    <a:pt x="1042" y="2"/>
                  </a:lnTo>
                  <a:lnTo>
                    <a:pt x="1102" y="0"/>
                  </a:lnTo>
                  <a:lnTo>
                    <a:pt x="1102" y="0"/>
                  </a:lnTo>
                  <a:lnTo>
                    <a:pt x="1196" y="2"/>
                  </a:lnTo>
                  <a:lnTo>
                    <a:pt x="1288" y="2"/>
                  </a:lnTo>
                  <a:lnTo>
                    <a:pt x="1382" y="0"/>
                  </a:lnTo>
                  <a:lnTo>
                    <a:pt x="1476" y="2"/>
                  </a:lnTo>
                  <a:lnTo>
                    <a:pt x="1522" y="4"/>
                  </a:lnTo>
                  <a:lnTo>
                    <a:pt x="1568" y="6"/>
                  </a:lnTo>
                  <a:lnTo>
                    <a:pt x="1614" y="12"/>
                  </a:lnTo>
                  <a:lnTo>
                    <a:pt x="1660" y="18"/>
                  </a:lnTo>
                  <a:lnTo>
                    <a:pt x="1706" y="26"/>
                  </a:lnTo>
                  <a:lnTo>
                    <a:pt x="1750" y="38"/>
                  </a:lnTo>
                  <a:lnTo>
                    <a:pt x="1796" y="50"/>
                  </a:lnTo>
                  <a:lnTo>
                    <a:pt x="1840" y="68"/>
                  </a:lnTo>
                  <a:lnTo>
                    <a:pt x="1840" y="68"/>
                  </a:lnTo>
                  <a:lnTo>
                    <a:pt x="1866" y="80"/>
                  </a:lnTo>
                  <a:lnTo>
                    <a:pt x="1888" y="96"/>
                  </a:lnTo>
                  <a:lnTo>
                    <a:pt x="1910" y="114"/>
                  </a:lnTo>
                  <a:lnTo>
                    <a:pt x="1930" y="134"/>
                  </a:lnTo>
                  <a:lnTo>
                    <a:pt x="1946" y="154"/>
                  </a:lnTo>
                  <a:lnTo>
                    <a:pt x="1960" y="178"/>
                  </a:lnTo>
                  <a:lnTo>
                    <a:pt x="1974" y="202"/>
                  </a:lnTo>
                  <a:lnTo>
                    <a:pt x="1984" y="228"/>
                  </a:lnTo>
                  <a:lnTo>
                    <a:pt x="1994" y="254"/>
                  </a:lnTo>
                  <a:lnTo>
                    <a:pt x="2002" y="282"/>
                  </a:lnTo>
                  <a:lnTo>
                    <a:pt x="2010" y="310"/>
                  </a:lnTo>
                  <a:lnTo>
                    <a:pt x="2014" y="338"/>
                  </a:lnTo>
                  <a:lnTo>
                    <a:pt x="2022" y="394"/>
                  </a:lnTo>
                  <a:lnTo>
                    <a:pt x="2026" y="448"/>
                  </a:lnTo>
                  <a:lnTo>
                    <a:pt x="2026" y="448"/>
                  </a:lnTo>
                  <a:lnTo>
                    <a:pt x="2026" y="690"/>
                  </a:lnTo>
                  <a:lnTo>
                    <a:pt x="2026" y="930"/>
                  </a:lnTo>
                  <a:lnTo>
                    <a:pt x="2026" y="1170"/>
                  </a:lnTo>
                  <a:lnTo>
                    <a:pt x="2024" y="1290"/>
                  </a:lnTo>
                  <a:lnTo>
                    <a:pt x="2022" y="1410"/>
                  </a:lnTo>
                  <a:lnTo>
                    <a:pt x="2022" y="1410"/>
                  </a:lnTo>
                  <a:lnTo>
                    <a:pt x="2022" y="1426"/>
                  </a:lnTo>
                  <a:lnTo>
                    <a:pt x="2020" y="1438"/>
                  </a:lnTo>
                  <a:lnTo>
                    <a:pt x="2018" y="1452"/>
                  </a:lnTo>
                  <a:lnTo>
                    <a:pt x="2014" y="1462"/>
                  </a:lnTo>
                  <a:lnTo>
                    <a:pt x="2010" y="1474"/>
                  </a:lnTo>
                  <a:lnTo>
                    <a:pt x="2004" y="1484"/>
                  </a:lnTo>
                  <a:lnTo>
                    <a:pt x="1996" y="1494"/>
                  </a:lnTo>
                  <a:lnTo>
                    <a:pt x="1988" y="1502"/>
                  </a:lnTo>
                  <a:lnTo>
                    <a:pt x="1970" y="1516"/>
                  </a:lnTo>
                  <a:lnTo>
                    <a:pt x="1948" y="1528"/>
                  </a:lnTo>
                  <a:lnTo>
                    <a:pt x="1926" y="1536"/>
                  </a:lnTo>
                  <a:lnTo>
                    <a:pt x="1902" y="1540"/>
                  </a:lnTo>
                  <a:lnTo>
                    <a:pt x="1878" y="1540"/>
                  </a:lnTo>
                  <a:lnTo>
                    <a:pt x="1854" y="1538"/>
                  </a:lnTo>
                  <a:lnTo>
                    <a:pt x="1832" y="1530"/>
                  </a:lnTo>
                  <a:lnTo>
                    <a:pt x="1812" y="1520"/>
                  </a:lnTo>
                  <a:lnTo>
                    <a:pt x="1802" y="1512"/>
                  </a:lnTo>
                  <a:lnTo>
                    <a:pt x="1794" y="1504"/>
                  </a:lnTo>
                  <a:lnTo>
                    <a:pt x="1786" y="1496"/>
                  </a:lnTo>
                  <a:lnTo>
                    <a:pt x="1780" y="1486"/>
                  </a:lnTo>
                  <a:lnTo>
                    <a:pt x="1774" y="1474"/>
                  </a:lnTo>
                  <a:lnTo>
                    <a:pt x="1770" y="1462"/>
                  </a:lnTo>
                  <a:lnTo>
                    <a:pt x="1768" y="1450"/>
                  </a:lnTo>
                  <a:lnTo>
                    <a:pt x="1766" y="1434"/>
                  </a:lnTo>
                  <a:lnTo>
                    <a:pt x="1766" y="1434"/>
                  </a:lnTo>
                  <a:lnTo>
                    <a:pt x="1762" y="1320"/>
                  </a:lnTo>
                  <a:lnTo>
                    <a:pt x="1760" y="1206"/>
                  </a:lnTo>
                  <a:lnTo>
                    <a:pt x="1760" y="976"/>
                  </a:lnTo>
                  <a:lnTo>
                    <a:pt x="1762" y="746"/>
                  </a:lnTo>
                  <a:lnTo>
                    <a:pt x="1762" y="630"/>
                  </a:lnTo>
                  <a:lnTo>
                    <a:pt x="1760" y="516"/>
                  </a:lnTo>
                  <a:lnTo>
                    <a:pt x="1760" y="516"/>
                  </a:lnTo>
                  <a:lnTo>
                    <a:pt x="1664" y="514"/>
                  </a:lnTo>
                  <a:lnTo>
                    <a:pt x="1664" y="514"/>
                  </a:lnTo>
                  <a:lnTo>
                    <a:pt x="1664" y="1726"/>
                  </a:lnTo>
                  <a:lnTo>
                    <a:pt x="1664" y="2940"/>
                  </a:lnTo>
                  <a:lnTo>
                    <a:pt x="1664" y="2940"/>
                  </a:lnTo>
                  <a:lnTo>
                    <a:pt x="1664" y="2966"/>
                  </a:lnTo>
                  <a:lnTo>
                    <a:pt x="1662" y="2992"/>
                  </a:lnTo>
                  <a:lnTo>
                    <a:pt x="1654" y="3016"/>
                  </a:lnTo>
                  <a:lnTo>
                    <a:pt x="1646" y="3038"/>
                  </a:lnTo>
                  <a:lnTo>
                    <a:pt x="1634" y="3058"/>
                  </a:lnTo>
                  <a:lnTo>
                    <a:pt x="1620" y="3078"/>
                  </a:lnTo>
                  <a:lnTo>
                    <a:pt x="1602" y="3094"/>
                  </a:lnTo>
                  <a:lnTo>
                    <a:pt x="1584" y="3110"/>
                  </a:lnTo>
                  <a:lnTo>
                    <a:pt x="1564" y="3122"/>
                  </a:lnTo>
                  <a:lnTo>
                    <a:pt x="1542" y="3132"/>
                  </a:lnTo>
                  <a:lnTo>
                    <a:pt x="1520" y="3138"/>
                  </a:lnTo>
                  <a:lnTo>
                    <a:pt x="1496" y="3142"/>
                  </a:lnTo>
                  <a:lnTo>
                    <a:pt x="1472" y="3144"/>
                  </a:lnTo>
                  <a:lnTo>
                    <a:pt x="1448" y="3142"/>
                  </a:lnTo>
                  <a:lnTo>
                    <a:pt x="1424" y="3136"/>
                  </a:lnTo>
                  <a:lnTo>
                    <a:pt x="1400" y="3126"/>
                  </a:lnTo>
                  <a:lnTo>
                    <a:pt x="1400" y="3126"/>
                  </a:lnTo>
                  <a:lnTo>
                    <a:pt x="1386" y="3122"/>
                  </a:lnTo>
                  <a:lnTo>
                    <a:pt x="1376" y="3118"/>
                  </a:lnTo>
                  <a:lnTo>
                    <a:pt x="1366" y="3112"/>
                  </a:lnTo>
                  <a:lnTo>
                    <a:pt x="1358" y="3104"/>
                  </a:lnTo>
                  <a:lnTo>
                    <a:pt x="1350" y="3096"/>
                  </a:lnTo>
                  <a:lnTo>
                    <a:pt x="1344" y="3086"/>
                  </a:lnTo>
                  <a:lnTo>
                    <a:pt x="1336" y="3066"/>
                  </a:lnTo>
                  <a:lnTo>
                    <a:pt x="1330" y="3044"/>
                  </a:lnTo>
                  <a:lnTo>
                    <a:pt x="1326" y="3020"/>
                  </a:lnTo>
                  <a:lnTo>
                    <a:pt x="1322" y="2974"/>
                  </a:lnTo>
                  <a:lnTo>
                    <a:pt x="1322" y="2974"/>
                  </a:lnTo>
                  <a:lnTo>
                    <a:pt x="1318" y="2796"/>
                  </a:lnTo>
                  <a:lnTo>
                    <a:pt x="1318" y="2616"/>
                  </a:lnTo>
                  <a:lnTo>
                    <a:pt x="1320" y="2258"/>
                  </a:lnTo>
                  <a:lnTo>
                    <a:pt x="1320" y="2080"/>
                  </a:lnTo>
                  <a:lnTo>
                    <a:pt x="1320" y="1900"/>
                  </a:lnTo>
                  <a:lnTo>
                    <a:pt x="1318" y="1722"/>
                  </a:lnTo>
                  <a:lnTo>
                    <a:pt x="1314" y="1542"/>
                  </a:lnTo>
                  <a:lnTo>
                    <a:pt x="1314" y="1542"/>
                  </a:lnTo>
                  <a:lnTo>
                    <a:pt x="1226" y="1530"/>
                  </a:lnTo>
                  <a:lnTo>
                    <a:pt x="1226" y="1530"/>
                  </a:lnTo>
                  <a:lnTo>
                    <a:pt x="1224" y="1714"/>
                  </a:lnTo>
                  <a:lnTo>
                    <a:pt x="1222" y="1900"/>
                  </a:lnTo>
                  <a:lnTo>
                    <a:pt x="1222" y="2268"/>
                  </a:lnTo>
                  <a:lnTo>
                    <a:pt x="1224" y="2638"/>
                  </a:lnTo>
                  <a:lnTo>
                    <a:pt x="1222" y="2824"/>
                  </a:lnTo>
                  <a:lnTo>
                    <a:pt x="1220" y="3008"/>
                  </a:lnTo>
                  <a:lnTo>
                    <a:pt x="1220" y="3008"/>
                  </a:lnTo>
                  <a:lnTo>
                    <a:pt x="1216" y="3026"/>
                  </a:lnTo>
                  <a:lnTo>
                    <a:pt x="1210" y="3042"/>
                  </a:lnTo>
                  <a:lnTo>
                    <a:pt x="1202" y="3056"/>
                  </a:lnTo>
                  <a:lnTo>
                    <a:pt x="1194" y="3070"/>
                  </a:lnTo>
                  <a:lnTo>
                    <a:pt x="1184" y="3084"/>
                  </a:lnTo>
                  <a:lnTo>
                    <a:pt x="1174" y="3094"/>
                  </a:lnTo>
                  <a:lnTo>
                    <a:pt x="1162" y="3104"/>
                  </a:lnTo>
                  <a:lnTo>
                    <a:pt x="1148" y="3114"/>
                  </a:lnTo>
                  <a:lnTo>
                    <a:pt x="1136" y="3120"/>
                  </a:lnTo>
                  <a:lnTo>
                    <a:pt x="1120" y="3128"/>
                  </a:lnTo>
                  <a:lnTo>
                    <a:pt x="1106" y="3132"/>
                  </a:lnTo>
                  <a:lnTo>
                    <a:pt x="1090" y="3136"/>
                  </a:lnTo>
                  <a:lnTo>
                    <a:pt x="1074" y="3140"/>
                  </a:lnTo>
                  <a:lnTo>
                    <a:pt x="1058" y="3140"/>
                  </a:lnTo>
                  <a:lnTo>
                    <a:pt x="1026" y="3140"/>
                  </a:lnTo>
                  <a:lnTo>
                    <a:pt x="994" y="3136"/>
                  </a:lnTo>
                  <a:lnTo>
                    <a:pt x="978" y="3132"/>
                  </a:lnTo>
                  <a:lnTo>
                    <a:pt x="964" y="3126"/>
                  </a:lnTo>
                  <a:lnTo>
                    <a:pt x="948" y="3120"/>
                  </a:lnTo>
                  <a:lnTo>
                    <a:pt x="936" y="3112"/>
                  </a:lnTo>
                  <a:lnTo>
                    <a:pt x="922" y="3102"/>
                  </a:lnTo>
                  <a:lnTo>
                    <a:pt x="910" y="3092"/>
                  </a:lnTo>
                  <a:lnTo>
                    <a:pt x="900" y="3082"/>
                  </a:lnTo>
                  <a:lnTo>
                    <a:pt x="890" y="3070"/>
                  </a:lnTo>
                  <a:lnTo>
                    <a:pt x="882" y="3056"/>
                  </a:lnTo>
                  <a:lnTo>
                    <a:pt x="874" y="3042"/>
                  </a:lnTo>
                  <a:lnTo>
                    <a:pt x="870" y="3026"/>
                  </a:lnTo>
                  <a:lnTo>
                    <a:pt x="866" y="3010"/>
                  </a:lnTo>
                  <a:lnTo>
                    <a:pt x="864" y="2992"/>
                  </a:lnTo>
                  <a:lnTo>
                    <a:pt x="864" y="2974"/>
                  </a:lnTo>
                  <a:lnTo>
                    <a:pt x="864" y="2974"/>
                  </a:lnTo>
                  <a:lnTo>
                    <a:pt x="862" y="2320"/>
                  </a:lnTo>
                  <a:lnTo>
                    <a:pt x="862" y="1664"/>
                  </a:lnTo>
                  <a:lnTo>
                    <a:pt x="862" y="1010"/>
                  </a:lnTo>
                  <a:lnTo>
                    <a:pt x="860" y="356"/>
                  </a:lnTo>
                  <a:lnTo>
                    <a:pt x="860" y="356"/>
                  </a:lnTo>
                  <a:lnTo>
                    <a:pt x="780" y="444"/>
                  </a:lnTo>
                  <a:lnTo>
                    <a:pt x="702" y="534"/>
                  </a:lnTo>
                  <a:lnTo>
                    <a:pt x="628" y="626"/>
                  </a:lnTo>
                  <a:lnTo>
                    <a:pt x="552" y="718"/>
                  </a:lnTo>
                  <a:lnTo>
                    <a:pt x="478" y="810"/>
                  </a:lnTo>
                  <a:lnTo>
                    <a:pt x="400" y="900"/>
                  </a:lnTo>
                  <a:lnTo>
                    <a:pt x="322" y="988"/>
                  </a:lnTo>
                  <a:lnTo>
                    <a:pt x="282" y="1032"/>
                  </a:lnTo>
                  <a:lnTo>
                    <a:pt x="240" y="1074"/>
                  </a:lnTo>
                  <a:lnTo>
                    <a:pt x="240" y="1074"/>
                  </a:lnTo>
                  <a:lnTo>
                    <a:pt x="228" y="1082"/>
                  </a:lnTo>
                  <a:lnTo>
                    <a:pt x="216" y="1090"/>
                  </a:lnTo>
                  <a:lnTo>
                    <a:pt x="202" y="1096"/>
                  </a:lnTo>
                  <a:lnTo>
                    <a:pt x="190" y="1100"/>
                  </a:lnTo>
                  <a:lnTo>
                    <a:pt x="178" y="1104"/>
                  </a:lnTo>
                  <a:lnTo>
                    <a:pt x="164" y="1104"/>
                  </a:lnTo>
                  <a:lnTo>
                    <a:pt x="152" y="1104"/>
                  </a:lnTo>
                  <a:lnTo>
                    <a:pt x="140" y="1104"/>
                  </a:lnTo>
                  <a:lnTo>
                    <a:pt x="114" y="1098"/>
                  </a:lnTo>
                  <a:lnTo>
                    <a:pt x="90" y="1088"/>
                  </a:lnTo>
                  <a:lnTo>
                    <a:pt x="68" y="1074"/>
                  </a:lnTo>
                  <a:lnTo>
                    <a:pt x="50" y="1058"/>
                  </a:lnTo>
                  <a:lnTo>
                    <a:pt x="32" y="1038"/>
                  </a:lnTo>
                  <a:lnTo>
                    <a:pt x="18" y="1016"/>
                  </a:lnTo>
                  <a:lnTo>
                    <a:pt x="8" y="992"/>
                  </a:lnTo>
                  <a:lnTo>
                    <a:pt x="2" y="968"/>
                  </a:lnTo>
                  <a:lnTo>
                    <a:pt x="0" y="954"/>
                  </a:lnTo>
                  <a:lnTo>
                    <a:pt x="0" y="942"/>
                  </a:lnTo>
                  <a:lnTo>
                    <a:pt x="0" y="930"/>
                  </a:lnTo>
                  <a:lnTo>
                    <a:pt x="4" y="916"/>
                  </a:lnTo>
                  <a:lnTo>
                    <a:pt x="8" y="904"/>
                  </a:lnTo>
                  <a:lnTo>
                    <a:pt x="12" y="890"/>
                  </a:lnTo>
                  <a:lnTo>
                    <a:pt x="20" y="878"/>
                  </a:lnTo>
                  <a:lnTo>
                    <a:pt x="28" y="866"/>
                  </a:lnTo>
                  <a:lnTo>
                    <a:pt x="28" y="866"/>
                  </a:lnTo>
                  <a:lnTo>
                    <a:pt x="102" y="770"/>
                  </a:lnTo>
                  <a:lnTo>
                    <a:pt x="178" y="674"/>
                  </a:lnTo>
                  <a:lnTo>
                    <a:pt x="334" y="486"/>
                  </a:lnTo>
                  <a:lnTo>
                    <a:pt x="490" y="300"/>
                  </a:lnTo>
                  <a:lnTo>
                    <a:pt x="646" y="112"/>
                  </a:lnTo>
                  <a:lnTo>
                    <a:pt x="646" y="112"/>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grpSp>
        <p:nvGrpSpPr>
          <p:cNvPr id="3692" name="Group 3691"/>
          <p:cNvGrpSpPr/>
          <p:nvPr/>
        </p:nvGrpSpPr>
        <p:grpSpPr>
          <a:xfrm rot="16200000">
            <a:off x="3701061" y="5592541"/>
            <a:ext cx="104764" cy="170459"/>
            <a:chOff x="2658904" y="3122439"/>
            <a:chExt cx="81472" cy="132564"/>
          </a:xfrm>
          <a:solidFill>
            <a:schemeClr val="accent3"/>
          </a:solidFill>
        </p:grpSpPr>
        <p:sp>
          <p:nvSpPr>
            <p:cNvPr id="3693"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694"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695"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699" name="Group 3698"/>
          <p:cNvGrpSpPr/>
          <p:nvPr/>
        </p:nvGrpSpPr>
        <p:grpSpPr>
          <a:xfrm>
            <a:off x="9612460" y="3951915"/>
            <a:ext cx="2011680" cy="580398"/>
            <a:chOff x="831806" y="3541921"/>
            <a:chExt cx="1161196" cy="1261872"/>
          </a:xfrm>
        </p:grpSpPr>
        <p:sp>
          <p:nvSpPr>
            <p:cNvPr id="3700" name="Rectangle 3699"/>
            <p:cNvSpPr/>
            <p:nvPr/>
          </p:nvSpPr>
          <p:spPr bwMode="auto">
            <a:xfrm>
              <a:off x="831806" y="3541921"/>
              <a:ext cx="1161196"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FFFFFF"/>
                  </a:solidFill>
                  <a:effectLst/>
                  <a:uLnTx/>
                  <a:uFillTx/>
                </a:rPr>
                <a:t>Configure notifications on employee devices of restaurant equipment maintenance needs</a:t>
              </a:r>
              <a:r>
                <a:rPr kumimoji="0" lang="en-US" sz="900" b="0" i="0" u="none" strike="noStrike" kern="0" cap="none" spc="0" normalizeH="0" baseline="0" noProof="0" dirty="0">
                  <a:ln>
                    <a:noFill/>
                  </a:ln>
                  <a:solidFill>
                    <a:srgbClr val="1B3B41"/>
                  </a:solidFill>
                  <a:effectLst/>
                  <a:uLnTx/>
                  <a:uFillTx/>
                </a:rPr>
                <a:t> </a:t>
              </a:r>
              <a:endParaRPr kumimoji="0" lang="en-US" sz="900" b="0" i="0" u="none" strike="noStrike" kern="0" cap="none" spc="0" normalizeH="0" baseline="0" noProof="0" dirty="0">
                <a:ln w="3175">
                  <a:noFill/>
                </a:ln>
                <a:solidFill>
                  <a:srgbClr val="FFFFFF"/>
                </a:solidFill>
                <a:effectLst/>
                <a:uLnTx/>
                <a:uFillTx/>
                <a:cs typeface="Arial" charset="0"/>
              </a:endParaRPr>
            </a:p>
          </p:txBody>
        </p:sp>
        <p:cxnSp>
          <p:nvCxnSpPr>
            <p:cNvPr id="3701" name="Straight Connector 3700"/>
            <p:cNvCxnSpPr/>
            <p:nvPr/>
          </p:nvCxnSpPr>
          <p:spPr>
            <a:xfrm flipV="1">
              <a:off x="831806" y="3541921"/>
              <a:ext cx="0" cy="1261872"/>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3702" name="Group 3701"/>
          <p:cNvGrpSpPr/>
          <p:nvPr/>
        </p:nvGrpSpPr>
        <p:grpSpPr>
          <a:xfrm>
            <a:off x="7390435" y="3951915"/>
            <a:ext cx="2011680" cy="580398"/>
            <a:chOff x="831806" y="3541921"/>
            <a:chExt cx="925038" cy="1261872"/>
          </a:xfrm>
        </p:grpSpPr>
        <p:sp>
          <p:nvSpPr>
            <p:cNvPr id="3703" name="Rectangle 3702"/>
            <p:cNvSpPr/>
            <p:nvPr/>
          </p:nvSpPr>
          <p:spPr bwMode="auto">
            <a:xfrm>
              <a:off x="831806" y="3541921"/>
              <a:ext cx="925038" cy="1261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w="3175">
                    <a:noFill/>
                  </a:ln>
                  <a:solidFill>
                    <a:srgbClr val="FFFFFF"/>
                  </a:solidFill>
                  <a:effectLst/>
                  <a:uLnTx/>
                  <a:uFillTx/>
                  <a:cs typeface="Arial" charset="0"/>
                </a:rPr>
                <a:t>Manage inventory in near real time, </a:t>
              </a:r>
              <a:br>
                <a:rPr kumimoji="0" lang="en-US" sz="900" b="0" i="0" u="none" strike="noStrike" kern="0" cap="none" spc="0" normalizeH="0" baseline="0" noProof="0" dirty="0">
                  <a:ln w="3175">
                    <a:noFill/>
                  </a:ln>
                  <a:solidFill>
                    <a:srgbClr val="FFFFFF"/>
                  </a:solidFill>
                  <a:effectLst/>
                  <a:uLnTx/>
                  <a:uFillTx/>
                  <a:cs typeface="Arial" charset="0"/>
                </a:rPr>
              </a:br>
              <a:r>
                <a:rPr kumimoji="0" lang="en-US" sz="900" b="0" i="0" u="none" strike="noStrike" kern="0" cap="none" spc="0" normalizeH="0" baseline="0" noProof="0" dirty="0">
                  <a:ln w="3175">
                    <a:noFill/>
                  </a:ln>
                  <a:solidFill>
                    <a:srgbClr val="FFFFFF"/>
                  </a:solidFill>
                  <a:effectLst/>
                  <a:uLnTx/>
                  <a:uFillTx/>
                  <a:cs typeface="Arial" charset="0"/>
                </a:rPr>
                <a:t>and monitor food storage temperatures and expirations</a:t>
              </a:r>
            </a:p>
          </p:txBody>
        </p:sp>
        <p:cxnSp>
          <p:nvCxnSpPr>
            <p:cNvPr id="3704" name="Straight Connector 3703"/>
            <p:cNvCxnSpPr/>
            <p:nvPr/>
          </p:nvCxnSpPr>
          <p:spPr>
            <a:xfrm flipV="1">
              <a:off x="831806" y="3541921"/>
              <a:ext cx="0" cy="1261872"/>
            </a:xfrm>
            <a:prstGeom prst="line">
              <a:avLst/>
            </a:prstGeom>
            <a:solidFill>
              <a:srgbClr val="8DC548">
                <a:alpha val="50000"/>
              </a:srgbClr>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3720" name="Group 3719"/>
          <p:cNvGrpSpPr/>
          <p:nvPr/>
        </p:nvGrpSpPr>
        <p:grpSpPr>
          <a:xfrm rot="4042633" flipH="1">
            <a:off x="7386852" y="4779980"/>
            <a:ext cx="128118" cy="204630"/>
            <a:chOff x="2658904" y="3122439"/>
            <a:chExt cx="81472" cy="132564"/>
          </a:xfrm>
          <a:solidFill>
            <a:schemeClr val="accent2"/>
          </a:solidFill>
        </p:grpSpPr>
        <p:sp>
          <p:nvSpPr>
            <p:cNvPr id="3721"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722"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723"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728" name="Group 3727"/>
          <p:cNvGrpSpPr/>
          <p:nvPr/>
        </p:nvGrpSpPr>
        <p:grpSpPr>
          <a:xfrm rot="8352128" flipH="1">
            <a:off x="8755062" y="5384110"/>
            <a:ext cx="66598" cy="106371"/>
            <a:chOff x="2658904" y="3122439"/>
            <a:chExt cx="81472" cy="132564"/>
          </a:xfrm>
          <a:solidFill>
            <a:schemeClr val="accent2"/>
          </a:solidFill>
        </p:grpSpPr>
        <p:sp>
          <p:nvSpPr>
            <p:cNvPr id="3729" name="Freeform 75"/>
            <p:cNvSpPr>
              <a:spLocks/>
            </p:cNvSpPr>
            <p:nvPr/>
          </p:nvSpPr>
          <p:spPr bwMode="auto">
            <a:xfrm>
              <a:off x="2658904" y="3162427"/>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730" name="Freeform 77"/>
            <p:cNvSpPr>
              <a:spLocks/>
            </p:cNvSpPr>
            <p:nvPr/>
          </p:nvSpPr>
          <p:spPr bwMode="auto">
            <a:xfrm>
              <a:off x="2676687" y="3143176"/>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731" name="Freeform 79"/>
            <p:cNvSpPr>
              <a:spLocks/>
            </p:cNvSpPr>
            <p:nvPr/>
          </p:nvSpPr>
          <p:spPr bwMode="auto">
            <a:xfrm>
              <a:off x="2701125" y="3122439"/>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2957" name="Freeform 1959"/>
          <p:cNvSpPr>
            <a:spLocks/>
          </p:cNvSpPr>
          <p:nvPr/>
        </p:nvSpPr>
        <p:spPr bwMode="auto">
          <a:xfrm rot="20089763">
            <a:off x="4124472" y="1548445"/>
            <a:ext cx="307976" cy="307975"/>
          </a:xfrm>
          <a:custGeom>
            <a:avLst/>
            <a:gdLst>
              <a:gd name="T0" fmla="*/ 0 w 1163"/>
              <a:gd name="T1" fmla="*/ 552 h 1163"/>
              <a:gd name="T2" fmla="*/ 11 w 1163"/>
              <a:gd name="T3" fmla="*/ 464 h 1163"/>
              <a:gd name="T4" fmla="*/ 35 w 1163"/>
              <a:gd name="T5" fmla="*/ 381 h 1163"/>
              <a:gd name="T6" fmla="*/ 69 w 1163"/>
              <a:gd name="T7" fmla="*/ 304 h 1163"/>
              <a:gd name="T8" fmla="*/ 115 w 1163"/>
              <a:gd name="T9" fmla="*/ 234 h 1163"/>
              <a:gd name="T10" fmla="*/ 170 w 1163"/>
              <a:gd name="T11" fmla="*/ 171 h 1163"/>
              <a:gd name="T12" fmla="*/ 233 w 1163"/>
              <a:gd name="T13" fmla="*/ 115 h 1163"/>
              <a:gd name="T14" fmla="*/ 303 w 1163"/>
              <a:gd name="T15" fmla="*/ 70 h 1163"/>
              <a:gd name="T16" fmla="*/ 381 w 1163"/>
              <a:gd name="T17" fmla="*/ 36 h 1163"/>
              <a:gd name="T18" fmla="*/ 464 w 1163"/>
              <a:gd name="T19" fmla="*/ 12 h 1163"/>
              <a:gd name="T20" fmla="*/ 551 w 1163"/>
              <a:gd name="T21" fmla="*/ 1 h 1163"/>
              <a:gd name="T22" fmla="*/ 611 w 1163"/>
              <a:gd name="T23" fmla="*/ 1 h 1163"/>
              <a:gd name="T24" fmla="*/ 698 w 1163"/>
              <a:gd name="T25" fmla="*/ 12 h 1163"/>
              <a:gd name="T26" fmla="*/ 781 w 1163"/>
              <a:gd name="T27" fmla="*/ 36 h 1163"/>
              <a:gd name="T28" fmla="*/ 858 w 1163"/>
              <a:gd name="T29" fmla="*/ 70 h 1163"/>
              <a:gd name="T30" fmla="*/ 929 w 1163"/>
              <a:gd name="T31" fmla="*/ 115 h 1163"/>
              <a:gd name="T32" fmla="*/ 992 w 1163"/>
              <a:gd name="T33" fmla="*/ 171 h 1163"/>
              <a:gd name="T34" fmla="*/ 1047 w 1163"/>
              <a:gd name="T35" fmla="*/ 234 h 1163"/>
              <a:gd name="T36" fmla="*/ 1092 w 1163"/>
              <a:gd name="T37" fmla="*/ 304 h 1163"/>
              <a:gd name="T38" fmla="*/ 1127 w 1163"/>
              <a:gd name="T39" fmla="*/ 381 h 1163"/>
              <a:gd name="T40" fmla="*/ 1151 w 1163"/>
              <a:gd name="T41" fmla="*/ 464 h 1163"/>
              <a:gd name="T42" fmla="*/ 1162 w 1163"/>
              <a:gd name="T43" fmla="*/ 552 h 1163"/>
              <a:gd name="T44" fmla="*/ 1162 w 1163"/>
              <a:gd name="T45" fmla="*/ 611 h 1163"/>
              <a:gd name="T46" fmla="*/ 1151 w 1163"/>
              <a:gd name="T47" fmla="*/ 699 h 1163"/>
              <a:gd name="T48" fmla="*/ 1127 w 1163"/>
              <a:gd name="T49" fmla="*/ 782 h 1163"/>
              <a:gd name="T50" fmla="*/ 1092 w 1163"/>
              <a:gd name="T51" fmla="*/ 858 h 1163"/>
              <a:gd name="T52" fmla="*/ 1047 w 1163"/>
              <a:gd name="T53" fmla="*/ 929 h 1163"/>
              <a:gd name="T54" fmla="*/ 992 w 1163"/>
              <a:gd name="T55" fmla="*/ 992 h 1163"/>
              <a:gd name="T56" fmla="*/ 929 w 1163"/>
              <a:gd name="T57" fmla="*/ 1047 h 1163"/>
              <a:gd name="T58" fmla="*/ 858 w 1163"/>
              <a:gd name="T59" fmla="*/ 1092 h 1163"/>
              <a:gd name="T60" fmla="*/ 781 w 1163"/>
              <a:gd name="T61" fmla="*/ 1127 h 1163"/>
              <a:gd name="T62" fmla="*/ 698 w 1163"/>
              <a:gd name="T63" fmla="*/ 1151 h 1163"/>
              <a:gd name="T64" fmla="*/ 611 w 1163"/>
              <a:gd name="T65" fmla="*/ 1162 h 1163"/>
              <a:gd name="T66" fmla="*/ 551 w 1163"/>
              <a:gd name="T67" fmla="*/ 1162 h 1163"/>
              <a:gd name="T68" fmla="*/ 464 w 1163"/>
              <a:gd name="T69" fmla="*/ 1151 h 1163"/>
              <a:gd name="T70" fmla="*/ 381 w 1163"/>
              <a:gd name="T71" fmla="*/ 1127 h 1163"/>
              <a:gd name="T72" fmla="*/ 303 w 1163"/>
              <a:gd name="T73" fmla="*/ 1092 h 1163"/>
              <a:gd name="T74" fmla="*/ 233 w 1163"/>
              <a:gd name="T75" fmla="*/ 1047 h 1163"/>
              <a:gd name="T76" fmla="*/ 170 w 1163"/>
              <a:gd name="T77" fmla="*/ 992 h 1163"/>
              <a:gd name="T78" fmla="*/ 115 w 1163"/>
              <a:gd name="T79" fmla="*/ 929 h 1163"/>
              <a:gd name="T80" fmla="*/ 69 w 1163"/>
              <a:gd name="T81" fmla="*/ 858 h 1163"/>
              <a:gd name="T82" fmla="*/ 35 w 1163"/>
              <a:gd name="T83" fmla="*/ 782 h 1163"/>
              <a:gd name="T84" fmla="*/ 11 w 1163"/>
              <a:gd name="T85" fmla="*/ 699 h 1163"/>
              <a:gd name="T86" fmla="*/ 0 w 1163"/>
              <a:gd name="T87" fmla="*/ 611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63" h="1163">
                <a:moveTo>
                  <a:pt x="0" y="581"/>
                </a:moveTo>
                <a:lnTo>
                  <a:pt x="0" y="581"/>
                </a:lnTo>
                <a:lnTo>
                  <a:pt x="0" y="552"/>
                </a:lnTo>
                <a:lnTo>
                  <a:pt x="3" y="522"/>
                </a:lnTo>
                <a:lnTo>
                  <a:pt x="6" y="492"/>
                </a:lnTo>
                <a:lnTo>
                  <a:pt x="11" y="464"/>
                </a:lnTo>
                <a:lnTo>
                  <a:pt x="18" y="436"/>
                </a:lnTo>
                <a:lnTo>
                  <a:pt x="26" y="409"/>
                </a:lnTo>
                <a:lnTo>
                  <a:pt x="35" y="381"/>
                </a:lnTo>
                <a:lnTo>
                  <a:pt x="45" y="356"/>
                </a:lnTo>
                <a:lnTo>
                  <a:pt x="57" y="329"/>
                </a:lnTo>
                <a:lnTo>
                  <a:pt x="69" y="304"/>
                </a:lnTo>
                <a:lnTo>
                  <a:pt x="84" y="280"/>
                </a:lnTo>
                <a:lnTo>
                  <a:pt x="99" y="256"/>
                </a:lnTo>
                <a:lnTo>
                  <a:pt x="115" y="234"/>
                </a:lnTo>
                <a:lnTo>
                  <a:pt x="133" y="211"/>
                </a:lnTo>
                <a:lnTo>
                  <a:pt x="151" y="190"/>
                </a:lnTo>
                <a:lnTo>
                  <a:pt x="170" y="171"/>
                </a:lnTo>
                <a:lnTo>
                  <a:pt x="190" y="151"/>
                </a:lnTo>
                <a:lnTo>
                  <a:pt x="212" y="133"/>
                </a:lnTo>
                <a:lnTo>
                  <a:pt x="233" y="115"/>
                </a:lnTo>
                <a:lnTo>
                  <a:pt x="256" y="99"/>
                </a:lnTo>
                <a:lnTo>
                  <a:pt x="280" y="84"/>
                </a:lnTo>
                <a:lnTo>
                  <a:pt x="303" y="70"/>
                </a:lnTo>
                <a:lnTo>
                  <a:pt x="329" y="57"/>
                </a:lnTo>
                <a:lnTo>
                  <a:pt x="355" y="46"/>
                </a:lnTo>
                <a:lnTo>
                  <a:pt x="381" y="36"/>
                </a:lnTo>
                <a:lnTo>
                  <a:pt x="408" y="27"/>
                </a:lnTo>
                <a:lnTo>
                  <a:pt x="435" y="18"/>
                </a:lnTo>
                <a:lnTo>
                  <a:pt x="464" y="12"/>
                </a:lnTo>
                <a:lnTo>
                  <a:pt x="493" y="7"/>
                </a:lnTo>
                <a:lnTo>
                  <a:pt x="521" y="3"/>
                </a:lnTo>
                <a:lnTo>
                  <a:pt x="551" y="1"/>
                </a:lnTo>
                <a:lnTo>
                  <a:pt x="581" y="0"/>
                </a:lnTo>
                <a:lnTo>
                  <a:pt x="581" y="0"/>
                </a:lnTo>
                <a:lnTo>
                  <a:pt x="611" y="1"/>
                </a:lnTo>
                <a:lnTo>
                  <a:pt x="641" y="3"/>
                </a:lnTo>
                <a:lnTo>
                  <a:pt x="669" y="7"/>
                </a:lnTo>
                <a:lnTo>
                  <a:pt x="698" y="12"/>
                </a:lnTo>
                <a:lnTo>
                  <a:pt x="727" y="18"/>
                </a:lnTo>
                <a:lnTo>
                  <a:pt x="754" y="27"/>
                </a:lnTo>
                <a:lnTo>
                  <a:pt x="781" y="36"/>
                </a:lnTo>
                <a:lnTo>
                  <a:pt x="807" y="46"/>
                </a:lnTo>
                <a:lnTo>
                  <a:pt x="833" y="57"/>
                </a:lnTo>
                <a:lnTo>
                  <a:pt x="858" y="70"/>
                </a:lnTo>
                <a:lnTo>
                  <a:pt x="883" y="84"/>
                </a:lnTo>
                <a:lnTo>
                  <a:pt x="906" y="99"/>
                </a:lnTo>
                <a:lnTo>
                  <a:pt x="929" y="115"/>
                </a:lnTo>
                <a:lnTo>
                  <a:pt x="951" y="133"/>
                </a:lnTo>
                <a:lnTo>
                  <a:pt x="972" y="151"/>
                </a:lnTo>
                <a:lnTo>
                  <a:pt x="992" y="171"/>
                </a:lnTo>
                <a:lnTo>
                  <a:pt x="1012" y="190"/>
                </a:lnTo>
                <a:lnTo>
                  <a:pt x="1030" y="211"/>
                </a:lnTo>
                <a:lnTo>
                  <a:pt x="1047" y="234"/>
                </a:lnTo>
                <a:lnTo>
                  <a:pt x="1063" y="256"/>
                </a:lnTo>
                <a:lnTo>
                  <a:pt x="1078" y="280"/>
                </a:lnTo>
                <a:lnTo>
                  <a:pt x="1092" y="304"/>
                </a:lnTo>
                <a:lnTo>
                  <a:pt x="1105" y="329"/>
                </a:lnTo>
                <a:lnTo>
                  <a:pt x="1117" y="356"/>
                </a:lnTo>
                <a:lnTo>
                  <a:pt x="1127" y="381"/>
                </a:lnTo>
                <a:lnTo>
                  <a:pt x="1136" y="409"/>
                </a:lnTo>
                <a:lnTo>
                  <a:pt x="1144" y="436"/>
                </a:lnTo>
                <a:lnTo>
                  <a:pt x="1151" y="464"/>
                </a:lnTo>
                <a:lnTo>
                  <a:pt x="1156" y="492"/>
                </a:lnTo>
                <a:lnTo>
                  <a:pt x="1160" y="522"/>
                </a:lnTo>
                <a:lnTo>
                  <a:pt x="1162" y="552"/>
                </a:lnTo>
                <a:lnTo>
                  <a:pt x="1163" y="581"/>
                </a:lnTo>
                <a:lnTo>
                  <a:pt x="1163" y="581"/>
                </a:lnTo>
                <a:lnTo>
                  <a:pt x="1162" y="611"/>
                </a:lnTo>
                <a:lnTo>
                  <a:pt x="1160" y="641"/>
                </a:lnTo>
                <a:lnTo>
                  <a:pt x="1156" y="670"/>
                </a:lnTo>
                <a:lnTo>
                  <a:pt x="1151" y="699"/>
                </a:lnTo>
                <a:lnTo>
                  <a:pt x="1144" y="726"/>
                </a:lnTo>
                <a:lnTo>
                  <a:pt x="1136" y="754"/>
                </a:lnTo>
                <a:lnTo>
                  <a:pt x="1127" y="782"/>
                </a:lnTo>
                <a:lnTo>
                  <a:pt x="1117" y="807"/>
                </a:lnTo>
                <a:lnTo>
                  <a:pt x="1105" y="834"/>
                </a:lnTo>
                <a:lnTo>
                  <a:pt x="1092" y="858"/>
                </a:lnTo>
                <a:lnTo>
                  <a:pt x="1078" y="883"/>
                </a:lnTo>
                <a:lnTo>
                  <a:pt x="1063" y="906"/>
                </a:lnTo>
                <a:lnTo>
                  <a:pt x="1047" y="929"/>
                </a:lnTo>
                <a:lnTo>
                  <a:pt x="1030" y="951"/>
                </a:lnTo>
                <a:lnTo>
                  <a:pt x="1012" y="973"/>
                </a:lnTo>
                <a:lnTo>
                  <a:pt x="992" y="992"/>
                </a:lnTo>
                <a:lnTo>
                  <a:pt x="972" y="1012"/>
                </a:lnTo>
                <a:lnTo>
                  <a:pt x="951" y="1030"/>
                </a:lnTo>
                <a:lnTo>
                  <a:pt x="929" y="1047"/>
                </a:lnTo>
                <a:lnTo>
                  <a:pt x="906" y="1064"/>
                </a:lnTo>
                <a:lnTo>
                  <a:pt x="883" y="1079"/>
                </a:lnTo>
                <a:lnTo>
                  <a:pt x="858" y="1092"/>
                </a:lnTo>
                <a:lnTo>
                  <a:pt x="833" y="1106"/>
                </a:lnTo>
                <a:lnTo>
                  <a:pt x="807" y="1117"/>
                </a:lnTo>
                <a:lnTo>
                  <a:pt x="781" y="1127"/>
                </a:lnTo>
                <a:lnTo>
                  <a:pt x="754" y="1136"/>
                </a:lnTo>
                <a:lnTo>
                  <a:pt x="727" y="1144"/>
                </a:lnTo>
                <a:lnTo>
                  <a:pt x="698" y="1151"/>
                </a:lnTo>
                <a:lnTo>
                  <a:pt x="669" y="1156"/>
                </a:lnTo>
                <a:lnTo>
                  <a:pt x="641" y="1160"/>
                </a:lnTo>
                <a:lnTo>
                  <a:pt x="611" y="1162"/>
                </a:lnTo>
                <a:lnTo>
                  <a:pt x="581" y="1163"/>
                </a:lnTo>
                <a:lnTo>
                  <a:pt x="581" y="1163"/>
                </a:lnTo>
                <a:lnTo>
                  <a:pt x="551" y="1162"/>
                </a:lnTo>
                <a:lnTo>
                  <a:pt x="521" y="1160"/>
                </a:lnTo>
                <a:lnTo>
                  <a:pt x="493" y="1156"/>
                </a:lnTo>
                <a:lnTo>
                  <a:pt x="464" y="1151"/>
                </a:lnTo>
                <a:lnTo>
                  <a:pt x="435" y="1144"/>
                </a:lnTo>
                <a:lnTo>
                  <a:pt x="408" y="1136"/>
                </a:lnTo>
                <a:lnTo>
                  <a:pt x="381" y="1127"/>
                </a:lnTo>
                <a:lnTo>
                  <a:pt x="355" y="1117"/>
                </a:lnTo>
                <a:lnTo>
                  <a:pt x="329" y="1106"/>
                </a:lnTo>
                <a:lnTo>
                  <a:pt x="303" y="1092"/>
                </a:lnTo>
                <a:lnTo>
                  <a:pt x="280" y="1079"/>
                </a:lnTo>
                <a:lnTo>
                  <a:pt x="256" y="1064"/>
                </a:lnTo>
                <a:lnTo>
                  <a:pt x="233" y="1047"/>
                </a:lnTo>
                <a:lnTo>
                  <a:pt x="212" y="1030"/>
                </a:lnTo>
                <a:lnTo>
                  <a:pt x="190" y="1012"/>
                </a:lnTo>
                <a:lnTo>
                  <a:pt x="170" y="992"/>
                </a:lnTo>
                <a:lnTo>
                  <a:pt x="151" y="973"/>
                </a:lnTo>
                <a:lnTo>
                  <a:pt x="133" y="951"/>
                </a:lnTo>
                <a:lnTo>
                  <a:pt x="115" y="929"/>
                </a:lnTo>
                <a:lnTo>
                  <a:pt x="99" y="906"/>
                </a:lnTo>
                <a:lnTo>
                  <a:pt x="84" y="883"/>
                </a:lnTo>
                <a:lnTo>
                  <a:pt x="69" y="858"/>
                </a:lnTo>
                <a:lnTo>
                  <a:pt x="57" y="834"/>
                </a:lnTo>
                <a:lnTo>
                  <a:pt x="45" y="807"/>
                </a:lnTo>
                <a:lnTo>
                  <a:pt x="35" y="782"/>
                </a:lnTo>
                <a:lnTo>
                  <a:pt x="26" y="754"/>
                </a:lnTo>
                <a:lnTo>
                  <a:pt x="18" y="726"/>
                </a:lnTo>
                <a:lnTo>
                  <a:pt x="11" y="699"/>
                </a:lnTo>
                <a:lnTo>
                  <a:pt x="6" y="670"/>
                </a:lnTo>
                <a:lnTo>
                  <a:pt x="3" y="641"/>
                </a:lnTo>
                <a:lnTo>
                  <a:pt x="0" y="611"/>
                </a:lnTo>
                <a:lnTo>
                  <a:pt x="0" y="581"/>
                </a:lnTo>
                <a:lnTo>
                  <a:pt x="0" y="581"/>
                </a:lnTo>
                <a:close/>
              </a:path>
            </a:pathLst>
          </a:custGeom>
          <a:solidFill>
            <a:srgbClr val="025666">
              <a:alpha val="50000"/>
            </a:srgbClr>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823" name="Group 822"/>
          <p:cNvGrpSpPr/>
          <p:nvPr/>
        </p:nvGrpSpPr>
        <p:grpSpPr>
          <a:xfrm rot="12583252" flipH="1" flipV="1">
            <a:off x="4952004" y="5654637"/>
            <a:ext cx="109844" cy="196620"/>
            <a:chOff x="2687372" y="3149601"/>
            <a:chExt cx="81465" cy="132564"/>
          </a:xfrm>
          <a:solidFill>
            <a:schemeClr val="accent3"/>
          </a:solidFill>
        </p:grpSpPr>
        <p:sp>
          <p:nvSpPr>
            <p:cNvPr id="82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2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965" name="Group 2964"/>
          <p:cNvGrpSpPr/>
          <p:nvPr/>
        </p:nvGrpSpPr>
        <p:grpSpPr>
          <a:xfrm>
            <a:off x="8777271" y="5022799"/>
            <a:ext cx="231811" cy="348032"/>
            <a:chOff x="8843971" y="4990795"/>
            <a:chExt cx="231811" cy="348032"/>
          </a:xfrm>
        </p:grpSpPr>
        <p:grpSp>
          <p:nvGrpSpPr>
            <p:cNvPr id="3733" name="Group 3732"/>
            <p:cNvGrpSpPr/>
            <p:nvPr/>
          </p:nvGrpSpPr>
          <p:grpSpPr>
            <a:xfrm>
              <a:off x="8908540" y="5141069"/>
              <a:ext cx="167242" cy="197758"/>
              <a:chOff x="8908540" y="5141069"/>
              <a:chExt cx="167242" cy="197758"/>
            </a:xfrm>
            <a:solidFill>
              <a:schemeClr val="accent2"/>
            </a:solidFill>
          </p:grpSpPr>
          <p:sp>
            <p:nvSpPr>
              <p:cNvPr id="3708" name="Freeform 6"/>
              <p:cNvSpPr>
                <a:spLocks noEditPoints="1"/>
              </p:cNvSpPr>
              <p:nvPr/>
            </p:nvSpPr>
            <p:spPr bwMode="auto">
              <a:xfrm flipH="1">
                <a:off x="8908540" y="5141069"/>
                <a:ext cx="167242" cy="197758"/>
              </a:xfrm>
              <a:custGeom>
                <a:avLst/>
                <a:gdLst>
                  <a:gd name="T0" fmla="*/ 2560 w 3355"/>
                  <a:gd name="T1" fmla="*/ 2755 h 3967"/>
                  <a:gd name="T2" fmla="*/ 2461 w 3355"/>
                  <a:gd name="T3" fmla="*/ 2842 h 3967"/>
                  <a:gd name="T4" fmla="*/ 2430 w 3355"/>
                  <a:gd name="T5" fmla="*/ 2960 h 3967"/>
                  <a:gd name="T6" fmla="*/ 2458 w 3355"/>
                  <a:gd name="T7" fmla="*/ 3081 h 3967"/>
                  <a:gd name="T8" fmla="*/ 2534 w 3355"/>
                  <a:gd name="T9" fmla="*/ 3177 h 3967"/>
                  <a:gd name="T10" fmla="*/ 2650 w 3355"/>
                  <a:gd name="T11" fmla="*/ 3221 h 3967"/>
                  <a:gd name="T12" fmla="*/ 2790 w 3355"/>
                  <a:gd name="T13" fmla="*/ 3188 h 3967"/>
                  <a:gd name="T14" fmla="*/ 2887 w 3355"/>
                  <a:gd name="T15" fmla="*/ 3077 h 3967"/>
                  <a:gd name="T16" fmla="*/ 2909 w 3355"/>
                  <a:gd name="T17" fmla="*/ 2931 h 3967"/>
                  <a:gd name="T18" fmla="*/ 2839 w 3355"/>
                  <a:gd name="T19" fmla="*/ 2803 h 3967"/>
                  <a:gd name="T20" fmla="*/ 2707 w 3355"/>
                  <a:gd name="T21" fmla="*/ 2735 h 3967"/>
                  <a:gd name="T22" fmla="*/ 2573 w 3355"/>
                  <a:gd name="T23" fmla="*/ 2 h 3967"/>
                  <a:gd name="T24" fmla="*/ 2804 w 3355"/>
                  <a:gd name="T25" fmla="*/ 44 h 3967"/>
                  <a:gd name="T26" fmla="*/ 3000 w 3355"/>
                  <a:gd name="T27" fmla="*/ 163 h 3967"/>
                  <a:gd name="T28" fmla="*/ 3141 w 3355"/>
                  <a:gd name="T29" fmla="*/ 346 h 3967"/>
                  <a:gd name="T30" fmla="*/ 3200 w 3355"/>
                  <a:gd name="T31" fmla="*/ 586 h 3967"/>
                  <a:gd name="T32" fmla="*/ 3154 w 3355"/>
                  <a:gd name="T33" fmla="*/ 839 h 3967"/>
                  <a:gd name="T34" fmla="*/ 3052 w 3355"/>
                  <a:gd name="T35" fmla="*/ 1009 h 3967"/>
                  <a:gd name="T36" fmla="*/ 2996 w 3355"/>
                  <a:gd name="T37" fmla="*/ 1058 h 3967"/>
                  <a:gd name="T38" fmla="*/ 2940 w 3355"/>
                  <a:gd name="T39" fmla="*/ 1114 h 3967"/>
                  <a:gd name="T40" fmla="*/ 2946 w 3355"/>
                  <a:gd name="T41" fmla="*/ 1198 h 3967"/>
                  <a:gd name="T42" fmla="*/ 3004 w 3355"/>
                  <a:gd name="T43" fmla="*/ 1481 h 3967"/>
                  <a:gd name="T44" fmla="*/ 3133 w 3355"/>
                  <a:gd name="T45" fmla="*/ 2254 h 3967"/>
                  <a:gd name="T46" fmla="*/ 3247 w 3355"/>
                  <a:gd name="T47" fmla="*/ 2947 h 3967"/>
                  <a:gd name="T48" fmla="*/ 3353 w 3355"/>
                  <a:gd name="T49" fmla="*/ 3480 h 3967"/>
                  <a:gd name="T50" fmla="*/ 3347 w 3355"/>
                  <a:gd name="T51" fmla="*/ 3842 h 3967"/>
                  <a:gd name="T52" fmla="*/ 3291 w 3355"/>
                  <a:gd name="T53" fmla="*/ 3927 h 3967"/>
                  <a:gd name="T54" fmla="*/ 3195 w 3355"/>
                  <a:gd name="T55" fmla="*/ 3961 h 3967"/>
                  <a:gd name="T56" fmla="*/ 3077 w 3355"/>
                  <a:gd name="T57" fmla="*/ 3967 h 3967"/>
                  <a:gd name="T58" fmla="*/ 132 w 3355"/>
                  <a:gd name="T59" fmla="*/ 3965 h 3967"/>
                  <a:gd name="T60" fmla="*/ 38 w 3355"/>
                  <a:gd name="T61" fmla="*/ 3907 h 3967"/>
                  <a:gd name="T62" fmla="*/ 3 w 3355"/>
                  <a:gd name="T63" fmla="*/ 3800 h 3967"/>
                  <a:gd name="T64" fmla="*/ 15 w 3355"/>
                  <a:gd name="T65" fmla="*/ 3455 h 3967"/>
                  <a:gd name="T66" fmla="*/ 100 w 3355"/>
                  <a:gd name="T67" fmla="*/ 3367 h 3967"/>
                  <a:gd name="T68" fmla="*/ 2091 w 3355"/>
                  <a:gd name="T69" fmla="*/ 3351 h 3967"/>
                  <a:gd name="T70" fmla="*/ 2138 w 3355"/>
                  <a:gd name="T71" fmla="*/ 3344 h 3967"/>
                  <a:gd name="T72" fmla="*/ 2139 w 3355"/>
                  <a:gd name="T73" fmla="*/ 2769 h 3967"/>
                  <a:gd name="T74" fmla="*/ 2126 w 3355"/>
                  <a:gd name="T75" fmla="*/ 1232 h 3967"/>
                  <a:gd name="T76" fmla="*/ 2079 w 3355"/>
                  <a:gd name="T77" fmla="*/ 1218 h 3967"/>
                  <a:gd name="T78" fmla="*/ 1078 w 3355"/>
                  <a:gd name="T79" fmla="*/ 1224 h 3967"/>
                  <a:gd name="T80" fmla="*/ 1066 w 3355"/>
                  <a:gd name="T81" fmla="*/ 1647 h 3967"/>
                  <a:gd name="T82" fmla="*/ 1051 w 3355"/>
                  <a:gd name="T83" fmla="*/ 1677 h 3967"/>
                  <a:gd name="T84" fmla="*/ 776 w 3355"/>
                  <a:gd name="T85" fmla="*/ 1676 h 3967"/>
                  <a:gd name="T86" fmla="*/ 758 w 3355"/>
                  <a:gd name="T87" fmla="*/ 1652 h 3967"/>
                  <a:gd name="T88" fmla="*/ 750 w 3355"/>
                  <a:gd name="T89" fmla="*/ 1222 h 3967"/>
                  <a:gd name="T90" fmla="*/ 737 w 3355"/>
                  <a:gd name="T91" fmla="*/ 1218 h 3967"/>
                  <a:gd name="T92" fmla="*/ 490 w 3355"/>
                  <a:gd name="T93" fmla="*/ 1202 h 3967"/>
                  <a:gd name="T94" fmla="*/ 269 w 3355"/>
                  <a:gd name="T95" fmla="*/ 1107 h 3967"/>
                  <a:gd name="T96" fmla="*/ 100 w 3355"/>
                  <a:gd name="T97" fmla="*/ 939 h 3967"/>
                  <a:gd name="T98" fmla="*/ 9 w 3355"/>
                  <a:gd name="T99" fmla="*/ 715 h 3967"/>
                  <a:gd name="T100" fmla="*/ 17 w 3355"/>
                  <a:gd name="T101" fmla="*/ 471 h 3967"/>
                  <a:gd name="T102" fmla="*/ 117 w 3355"/>
                  <a:gd name="T103" fmla="*/ 265 h 3967"/>
                  <a:gd name="T104" fmla="*/ 286 w 3355"/>
                  <a:gd name="T105" fmla="*/ 110 h 3967"/>
                  <a:gd name="T106" fmla="*/ 502 w 3355"/>
                  <a:gd name="T107" fmla="*/ 12 h 3967"/>
                  <a:gd name="T108" fmla="*/ 1251 w 3355"/>
                  <a:gd name="T109" fmla="*/ 0 h 3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55" h="3967">
                    <a:moveTo>
                      <a:pt x="2670" y="2732"/>
                    </a:moveTo>
                    <a:lnTo>
                      <a:pt x="2632" y="2733"/>
                    </a:lnTo>
                    <a:lnTo>
                      <a:pt x="2597" y="2741"/>
                    </a:lnTo>
                    <a:lnTo>
                      <a:pt x="2560" y="2755"/>
                    </a:lnTo>
                    <a:lnTo>
                      <a:pt x="2529" y="2773"/>
                    </a:lnTo>
                    <a:lnTo>
                      <a:pt x="2501" y="2793"/>
                    </a:lnTo>
                    <a:lnTo>
                      <a:pt x="2480" y="2816"/>
                    </a:lnTo>
                    <a:lnTo>
                      <a:pt x="2461" y="2842"/>
                    </a:lnTo>
                    <a:lnTo>
                      <a:pt x="2447" y="2870"/>
                    </a:lnTo>
                    <a:lnTo>
                      <a:pt x="2437" y="2899"/>
                    </a:lnTo>
                    <a:lnTo>
                      <a:pt x="2433" y="2929"/>
                    </a:lnTo>
                    <a:lnTo>
                      <a:pt x="2430" y="2960"/>
                    </a:lnTo>
                    <a:lnTo>
                      <a:pt x="2431" y="2992"/>
                    </a:lnTo>
                    <a:lnTo>
                      <a:pt x="2437" y="3022"/>
                    </a:lnTo>
                    <a:lnTo>
                      <a:pt x="2446" y="3052"/>
                    </a:lnTo>
                    <a:lnTo>
                      <a:pt x="2458" y="3081"/>
                    </a:lnTo>
                    <a:lnTo>
                      <a:pt x="2472" y="3108"/>
                    </a:lnTo>
                    <a:lnTo>
                      <a:pt x="2490" y="3134"/>
                    </a:lnTo>
                    <a:lnTo>
                      <a:pt x="2511" y="3158"/>
                    </a:lnTo>
                    <a:lnTo>
                      <a:pt x="2534" y="3177"/>
                    </a:lnTo>
                    <a:lnTo>
                      <a:pt x="2560" y="3195"/>
                    </a:lnTo>
                    <a:lnTo>
                      <a:pt x="2588" y="3208"/>
                    </a:lnTo>
                    <a:lnTo>
                      <a:pt x="2618" y="3216"/>
                    </a:lnTo>
                    <a:lnTo>
                      <a:pt x="2650" y="3221"/>
                    </a:lnTo>
                    <a:lnTo>
                      <a:pt x="2684" y="3221"/>
                    </a:lnTo>
                    <a:lnTo>
                      <a:pt x="2719" y="3215"/>
                    </a:lnTo>
                    <a:lnTo>
                      <a:pt x="2756" y="3203"/>
                    </a:lnTo>
                    <a:lnTo>
                      <a:pt x="2790" y="3188"/>
                    </a:lnTo>
                    <a:lnTo>
                      <a:pt x="2820" y="3166"/>
                    </a:lnTo>
                    <a:lnTo>
                      <a:pt x="2848" y="3140"/>
                    </a:lnTo>
                    <a:lnTo>
                      <a:pt x="2869" y="3109"/>
                    </a:lnTo>
                    <a:lnTo>
                      <a:pt x="2887" y="3077"/>
                    </a:lnTo>
                    <a:lnTo>
                      <a:pt x="2901" y="3042"/>
                    </a:lnTo>
                    <a:lnTo>
                      <a:pt x="2909" y="3006"/>
                    </a:lnTo>
                    <a:lnTo>
                      <a:pt x="2913" y="2969"/>
                    </a:lnTo>
                    <a:lnTo>
                      <a:pt x="2909" y="2931"/>
                    </a:lnTo>
                    <a:lnTo>
                      <a:pt x="2901" y="2895"/>
                    </a:lnTo>
                    <a:lnTo>
                      <a:pt x="2885" y="2860"/>
                    </a:lnTo>
                    <a:lnTo>
                      <a:pt x="2864" y="2830"/>
                    </a:lnTo>
                    <a:lnTo>
                      <a:pt x="2839" y="2803"/>
                    </a:lnTo>
                    <a:lnTo>
                      <a:pt x="2810" y="2779"/>
                    </a:lnTo>
                    <a:lnTo>
                      <a:pt x="2778" y="2759"/>
                    </a:lnTo>
                    <a:lnTo>
                      <a:pt x="2743" y="2745"/>
                    </a:lnTo>
                    <a:lnTo>
                      <a:pt x="2707" y="2735"/>
                    </a:lnTo>
                    <a:lnTo>
                      <a:pt x="2670" y="2732"/>
                    </a:lnTo>
                    <a:close/>
                    <a:moveTo>
                      <a:pt x="1251" y="0"/>
                    </a:moveTo>
                    <a:lnTo>
                      <a:pt x="1913" y="0"/>
                    </a:lnTo>
                    <a:lnTo>
                      <a:pt x="2573" y="2"/>
                    </a:lnTo>
                    <a:lnTo>
                      <a:pt x="2633" y="4"/>
                    </a:lnTo>
                    <a:lnTo>
                      <a:pt x="2691" y="12"/>
                    </a:lnTo>
                    <a:lnTo>
                      <a:pt x="2749" y="26"/>
                    </a:lnTo>
                    <a:lnTo>
                      <a:pt x="2804" y="44"/>
                    </a:lnTo>
                    <a:lnTo>
                      <a:pt x="2857" y="67"/>
                    </a:lnTo>
                    <a:lnTo>
                      <a:pt x="2908" y="94"/>
                    </a:lnTo>
                    <a:lnTo>
                      <a:pt x="2956" y="127"/>
                    </a:lnTo>
                    <a:lnTo>
                      <a:pt x="3000" y="163"/>
                    </a:lnTo>
                    <a:lnTo>
                      <a:pt x="3041" y="202"/>
                    </a:lnTo>
                    <a:lnTo>
                      <a:pt x="3079" y="247"/>
                    </a:lnTo>
                    <a:lnTo>
                      <a:pt x="3112" y="295"/>
                    </a:lnTo>
                    <a:lnTo>
                      <a:pt x="3141" y="346"/>
                    </a:lnTo>
                    <a:lnTo>
                      <a:pt x="3164" y="401"/>
                    </a:lnTo>
                    <a:lnTo>
                      <a:pt x="3182" y="459"/>
                    </a:lnTo>
                    <a:lnTo>
                      <a:pt x="3194" y="522"/>
                    </a:lnTo>
                    <a:lnTo>
                      <a:pt x="3200" y="586"/>
                    </a:lnTo>
                    <a:lnTo>
                      <a:pt x="3199" y="651"/>
                    </a:lnTo>
                    <a:lnTo>
                      <a:pt x="3190" y="715"/>
                    </a:lnTo>
                    <a:lnTo>
                      <a:pt x="3175" y="777"/>
                    </a:lnTo>
                    <a:lnTo>
                      <a:pt x="3154" y="839"/>
                    </a:lnTo>
                    <a:lnTo>
                      <a:pt x="3134" y="884"/>
                    </a:lnTo>
                    <a:lnTo>
                      <a:pt x="3110" y="928"/>
                    </a:lnTo>
                    <a:lnTo>
                      <a:pt x="3082" y="970"/>
                    </a:lnTo>
                    <a:lnTo>
                      <a:pt x="3052" y="1009"/>
                    </a:lnTo>
                    <a:lnTo>
                      <a:pt x="3042" y="1019"/>
                    </a:lnTo>
                    <a:lnTo>
                      <a:pt x="3029" y="1030"/>
                    </a:lnTo>
                    <a:lnTo>
                      <a:pt x="3012" y="1043"/>
                    </a:lnTo>
                    <a:lnTo>
                      <a:pt x="2996" y="1058"/>
                    </a:lnTo>
                    <a:lnTo>
                      <a:pt x="2979" y="1073"/>
                    </a:lnTo>
                    <a:lnTo>
                      <a:pt x="2962" y="1088"/>
                    </a:lnTo>
                    <a:lnTo>
                      <a:pt x="2949" y="1101"/>
                    </a:lnTo>
                    <a:lnTo>
                      <a:pt x="2940" y="1114"/>
                    </a:lnTo>
                    <a:lnTo>
                      <a:pt x="2937" y="1125"/>
                    </a:lnTo>
                    <a:lnTo>
                      <a:pt x="2938" y="1149"/>
                    </a:lnTo>
                    <a:lnTo>
                      <a:pt x="2940" y="1174"/>
                    </a:lnTo>
                    <a:lnTo>
                      <a:pt x="2946" y="1198"/>
                    </a:lnTo>
                    <a:lnTo>
                      <a:pt x="2965" y="1266"/>
                    </a:lnTo>
                    <a:lnTo>
                      <a:pt x="2981" y="1337"/>
                    </a:lnTo>
                    <a:lnTo>
                      <a:pt x="2993" y="1408"/>
                    </a:lnTo>
                    <a:lnTo>
                      <a:pt x="3004" y="1481"/>
                    </a:lnTo>
                    <a:lnTo>
                      <a:pt x="3014" y="1553"/>
                    </a:lnTo>
                    <a:lnTo>
                      <a:pt x="3023" y="1624"/>
                    </a:lnTo>
                    <a:lnTo>
                      <a:pt x="3035" y="1695"/>
                    </a:lnTo>
                    <a:lnTo>
                      <a:pt x="3133" y="2254"/>
                    </a:lnTo>
                    <a:lnTo>
                      <a:pt x="3163" y="2426"/>
                    </a:lnTo>
                    <a:lnTo>
                      <a:pt x="3190" y="2601"/>
                    </a:lnTo>
                    <a:lnTo>
                      <a:pt x="3218" y="2774"/>
                    </a:lnTo>
                    <a:lnTo>
                      <a:pt x="3247" y="2947"/>
                    </a:lnTo>
                    <a:lnTo>
                      <a:pt x="3277" y="3120"/>
                    </a:lnTo>
                    <a:lnTo>
                      <a:pt x="3311" y="3292"/>
                    </a:lnTo>
                    <a:lnTo>
                      <a:pt x="3349" y="3463"/>
                    </a:lnTo>
                    <a:lnTo>
                      <a:pt x="3353" y="3480"/>
                    </a:lnTo>
                    <a:lnTo>
                      <a:pt x="3354" y="3497"/>
                    </a:lnTo>
                    <a:lnTo>
                      <a:pt x="3355" y="3773"/>
                    </a:lnTo>
                    <a:lnTo>
                      <a:pt x="3353" y="3811"/>
                    </a:lnTo>
                    <a:lnTo>
                      <a:pt x="3347" y="3842"/>
                    </a:lnTo>
                    <a:lnTo>
                      <a:pt x="3338" y="3870"/>
                    </a:lnTo>
                    <a:lnTo>
                      <a:pt x="3325" y="3892"/>
                    </a:lnTo>
                    <a:lnTo>
                      <a:pt x="3309" y="3912"/>
                    </a:lnTo>
                    <a:lnTo>
                      <a:pt x="3291" y="3927"/>
                    </a:lnTo>
                    <a:lnTo>
                      <a:pt x="3271" y="3939"/>
                    </a:lnTo>
                    <a:lnTo>
                      <a:pt x="3248" y="3949"/>
                    </a:lnTo>
                    <a:lnTo>
                      <a:pt x="3223" y="3956"/>
                    </a:lnTo>
                    <a:lnTo>
                      <a:pt x="3195" y="3961"/>
                    </a:lnTo>
                    <a:lnTo>
                      <a:pt x="3168" y="3965"/>
                    </a:lnTo>
                    <a:lnTo>
                      <a:pt x="3139" y="3966"/>
                    </a:lnTo>
                    <a:lnTo>
                      <a:pt x="3107" y="3967"/>
                    </a:lnTo>
                    <a:lnTo>
                      <a:pt x="3077" y="3967"/>
                    </a:lnTo>
                    <a:lnTo>
                      <a:pt x="3046" y="3967"/>
                    </a:lnTo>
                    <a:lnTo>
                      <a:pt x="1674" y="3967"/>
                    </a:lnTo>
                    <a:lnTo>
                      <a:pt x="164" y="3967"/>
                    </a:lnTo>
                    <a:lnTo>
                      <a:pt x="132" y="3965"/>
                    </a:lnTo>
                    <a:lnTo>
                      <a:pt x="104" y="3956"/>
                    </a:lnTo>
                    <a:lnTo>
                      <a:pt x="79" y="3944"/>
                    </a:lnTo>
                    <a:lnTo>
                      <a:pt x="56" y="3927"/>
                    </a:lnTo>
                    <a:lnTo>
                      <a:pt x="38" y="3907"/>
                    </a:lnTo>
                    <a:lnTo>
                      <a:pt x="23" y="3884"/>
                    </a:lnTo>
                    <a:lnTo>
                      <a:pt x="12" y="3858"/>
                    </a:lnTo>
                    <a:lnTo>
                      <a:pt x="5" y="3830"/>
                    </a:lnTo>
                    <a:lnTo>
                      <a:pt x="3" y="3800"/>
                    </a:lnTo>
                    <a:lnTo>
                      <a:pt x="2" y="3659"/>
                    </a:lnTo>
                    <a:lnTo>
                      <a:pt x="3" y="3517"/>
                    </a:lnTo>
                    <a:lnTo>
                      <a:pt x="5" y="3485"/>
                    </a:lnTo>
                    <a:lnTo>
                      <a:pt x="15" y="3455"/>
                    </a:lnTo>
                    <a:lnTo>
                      <a:pt x="29" y="3427"/>
                    </a:lnTo>
                    <a:lnTo>
                      <a:pt x="49" y="3403"/>
                    </a:lnTo>
                    <a:lnTo>
                      <a:pt x="73" y="3382"/>
                    </a:lnTo>
                    <a:lnTo>
                      <a:pt x="100" y="3367"/>
                    </a:lnTo>
                    <a:lnTo>
                      <a:pt x="130" y="3357"/>
                    </a:lnTo>
                    <a:lnTo>
                      <a:pt x="164" y="3354"/>
                    </a:lnTo>
                    <a:lnTo>
                      <a:pt x="2054" y="3354"/>
                    </a:lnTo>
                    <a:lnTo>
                      <a:pt x="2091" y="3351"/>
                    </a:lnTo>
                    <a:lnTo>
                      <a:pt x="2128" y="3349"/>
                    </a:lnTo>
                    <a:lnTo>
                      <a:pt x="2133" y="3348"/>
                    </a:lnTo>
                    <a:lnTo>
                      <a:pt x="2136" y="3346"/>
                    </a:lnTo>
                    <a:lnTo>
                      <a:pt x="2138" y="3344"/>
                    </a:lnTo>
                    <a:lnTo>
                      <a:pt x="2139" y="3340"/>
                    </a:lnTo>
                    <a:lnTo>
                      <a:pt x="2139" y="3337"/>
                    </a:lnTo>
                    <a:lnTo>
                      <a:pt x="2140" y="3333"/>
                    </a:lnTo>
                    <a:lnTo>
                      <a:pt x="2139" y="2769"/>
                    </a:lnTo>
                    <a:lnTo>
                      <a:pt x="2140" y="1258"/>
                    </a:lnTo>
                    <a:lnTo>
                      <a:pt x="2138" y="1249"/>
                    </a:lnTo>
                    <a:lnTo>
                      <a:pt x="2133" y="1240"/>
                    </a:lnTo>
                    <a:lnTo>
                      <a:pt x="2126" y="1232"/>
                    </a:lnTo>
                    <a:lnTo>
                      <a:pt x="2114" y="1222"/>
                    </a:lnTo>
                    <a:lnTo>
                      <a:pt x="2103" y="1219"/>
                    </a:lnTo>
                    <a:lnTo>
                      <a:pt x="2091" y="1218"/>
                    </a:lnTo>
                    <a:lnTo>
                      <a:pt x="2079" y="1218"/>
                    </a:lnTo>
                    <a:lnTo>
                      <a:pt x="1168" y="1218"/>
                    </a:lnTo>
                    <a:lnTo>
                      <a:pt x="1106" y="1218"/>
                    </a:lnTo>
                    <a:lnTo>
                      <a:pt x="1090" y="1219"/>
                    </a:lnTo>
                    <a:lnTo>
                      <a:pt x="1078" y="1224"/>
                    </a:lnTo>
                    <a:lnTo>
                      <a:pt x="1071" y="1231"/>
                    </a:lnTo>
                    <a:lnTo>
                      <a:pt x="1067" y="1243"/>
                    </a:lnTo>
                    <a:lnTo>
                      <a:pt x="1066" y="1258"/>
                    </a:lnTo>
                    <a:lnTo>
                      <a:pt x="1066" y="1647"/>
                    </a:lnTo>
                    <a:lnTo>
                      <a:pt x="1065" y="1661"/>
                    </a:lnTo>
                    <a:lnTo>
                      <a:pt x="1064" y="1670"/>
                    </a:lnTo>
                    <a:lnTo>
                      <a:pt x="1059" y="1675"/>
                    </a:lnTo>
                    <a:lnTo>
                      <a:pt x="1051" y="1677"/>
                    </a:lnTo>
                    <a:lnTo>
                      <a:pt x="1036" y="1677"/>
                    </a:lnTo>
                    <a:lnTo>
                      <a:pt x="793" y="1677"/>
                    </a:lnTo>
                    <a:lnTo>
                      <a:pt x="785" y="1677"/>
                    </a:lnTo>
                    <a:lnTo>
                      <a:pt x="776" y="1676"/>
                    </a:lnTo>
                    <a:lnTo>
                      <a:pt x="768" y="1673"/>
                    </a:lnTo>
                    <a:lnTo>
                      <a:pt x="762" y="1669"/>
                    </a:lnTo>
                    <a:lnTo>
                      <a:pt x="759" y="1661"/>
                    </a:lnTo>
                    <a:lnTo>
                      <a:pt x="758" y="1652"/>
                    </a:lnTo>
                    <a:lnTo>
                      <a:pt x="757" y="1249"/>
                    </a:lnTo>
                    <a:lnTo>
                      <a:pt x="756" y="1236"/>
                    </a:lnTo>
                    <a:lnTo>
                      <a:pt x="752" y="1225"/>
                    </a:lnTo>
                    <a:lnTo>
                      <a:pt x="750" y="1222"/>
                    </a:lnTo>
                    <a:lnTo>
                      <a:pt x="747" y="1220"/>
                    </a:lnTo>
                    <a:lnTo>
                      <a:pt x="744" y="1219"/>
                    </a:lnTo>
                    <a:lnTo>
                      <a:pt x="740" y="1218"/>
                    </a:lnTo>
                    <a:lnTo>
                      <a:pt x="737" y="1218"/>
                    </a:lnTo>
                    <a:lnTo>
                      <a:pt x="674" y="1218"/>
                    </a:lnTo>
                    <a:lnTo>
                      <a:pt x="612" y="1218"/>
                    </a:lnTo>
                    <a:lnTo>
                      <a:pt x="550" y="1213"/>
                    </a:lnTo>
                    <a:lnTo>
                      <a:pt x="490" y="1202"/>
                    </a:lnTo>
                    <a:lnTo>
                      <a:pt x="431" y="1186"/>
                    </a:lnTo>
                    <a:lnTo>
                      <a:pt x="375" y="1165"/>
                    </a:lnTo>
                    <a:lnTo>
                      <a:pt x="320" y="1138"/>
                    </a:lnTo>
                    <a:lnTo>
                      <a:pt x="269" y="1107"/>
                    </a:lnTo>
                    <a:lnTo>
                      <a:pt x="221" y="1072"/>
                    </a:lnTo>
                    <a:lnTo>
                      <a:pt x="176" y="1031"/>
                    </a:lnTo>
                    <a:lnTo>
                      <a:pt x="136" y="987"/>
                    </a:lnTo>
                    <a:lnTo>
                      <a:pt x="100" y="939"/>
                    </a:lnTo>
                    <a:lnTo>
                      <a:pt x="69" y="888"/>
                    </a:lnTo>
                    <a:lnTo>
                      <a:pt x="44" y="833"/>
                    </a:lnTo>
                    <a:lnTo>
                      <a:pt x="23" y="775"/>
                    </a:lnTo>
                    <a:lnTo>
                      <a:pt x="9" y="715"/>
                    </a:lnTo>
                    <a:lnTo>
                      <a:pt x="2" y="652"/>
                    </a:lnTo>
                    <a:lnTo>
                      <a:pt x="0" y="590"/>
                    </a:lnTo>
                    <a:lnTo>
                      <a:pt x="6" y="530"/>
                    </a:lnTo>
                    <a:lnTo>
                      <a:pt x="17" y="471"/>
                    </a:lnTo>
                    <a:lnTo>
                      <a:pt x="34" y="415"/>
                    </a:lnTo>
                    <a:lnTo>
                      <a:pt x="57" y="362"/>
                    </a:lnTo>
                    <a:lnTo>
                      <a:pt x="85" y="312"/>
                    </a:lnTo>
                    <a:lnTo>
                      <a:pt x="117" y="265"/>
                    </a:lnTo>
                    <a:lnTo>
                      <a:pt x="154" y="222"/>
                    </a:lnTo>
                    <a:lnTo>
                      <a:pt x="194" y="181"/>
                    </a:lnTo>
                    <a:lnTo>
                      <a:pt x="239" y="144"/>
                    </a:lnTo>
                    <a:lnTo>
                      <a:pt x="286" y="110"/>
                    </a:lnTo>
                    <a:lnTo>
                      <a:pt x="336" y="80"/>
                    </a:lnTo>
                    <a:lnTo>
                      <a:pt x="389" y="53"/>
                    </a:lnTo>
                    <a:lnTo>
                      <a:pt x="444" y="30"/>
                    </a:lnTo>
                    <a:lnTo>
                      <a:pt x="502" y="12"/>
                    </a:lnTo>
                    <a:lnTo>
                      <a:pt x="531" y="6"/>
                    </a:lnTo>
                    <a:lnTo>
                      <a:pt x="561" y="3"/>
                    </a:lnTo>
                    <a:lnTo>
                      <a:pt x="591" y="2"/>
                    </a:lnTo>
                    <a:lnTo>
                      <a:pt x="1251" y="0"/>
                    </a:lnTo>
                    <a:close/>
                  </a:path>
                </a:pathLst>
              </a:custGeom>
              <a:solidFill>
                <a:schemeClr val="accent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732" name="Freeform 31"/>
              <p:cNvSpPr>
                <a:spLocks noEditPoints="1"/>
              </p:cNvSpPr>
              <p:nvPr/>
            </p:nvSpPr>
            <p:spPr bwMode="auto">
              <a:xfrm>
                <a:off x="9000808" y="5234708"/>
                <a:ext cx="73610" cy="56344"/>
              </a:xfrm>
              <a:custGeom>
                <a:avLst/>
                <a:gdLst>
                  <a:gd name="T0" fmla="*/ 239 w 307"/>
                  <a:gd name="T1" fmla="*/ 0 h 194"/>
                  <a:gd name="T2" fmla="*/ 0 w 307"/>
                  <a:gd name="T3" fmla="*/ 0 h 194"/>
                  <a:gd name="T4" fmla="*/ 0 w 307"/>
                  <a:gd name="T5" fmla="*/ 156 h 194"/>
                  <a:gd name="T6" fmla="*/ 38 w 307"/>
                  <a:gd name="T7" fmla="*/ 194 h 194"/>
                  <a:gd name="T8" fmla="*/ 193 w 307"/>
                  <a:gd name="T9" fmla="*/ 194 h 194"/>
                  <a:gd name="T10" fmla="*/ 231 w 307"/>
                  <a:gd name="T11" fmla="*/ 156 h 194"/>
                  <a:gd name="T12" fmla="*/ 231 w 307"/>
                  <a:gd name="T13" fmla="*/ 143 h 194"/>
                  <a:gd name="T14" fmla="*/ 307 w 307"/>
                  <a:gd name="T15" fmla="*/ 71 h 194"/>
                  <a:gd name="T16" fmla="*/ 239 w 307"/>
                  <a:gd name="T17" fmla="*/ 0 h 194"/>
                  <a:gd name="T18" fmla="*/ 231 w 307"/>
                  <a:gd name="T19" fmla="*/ 113 h 194"/>
                  <a:gd name="T20" fmla="*/ 231 w 307"/>
                  <a:gd name="T21" fmla="*/ 29 h 194"/>
                  <a:gd name="T22" fmla="*/ 239 w 307"/>
                  <a:gd name="T23" fmla="*/ 29 h 194"/>
                  <a:gd name="T24" fmla="*/ 279 w 307"/>
                  <a:gd name="T25" fmla="*/ 72 h 194"/>
                  <a:gd name="T26" fmla="*/ 231 w 307"/>
                  <a:gd name="T27" fmla="*/ 11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194">
                    <a:moveTo>
                      <a:pt x="239" y="0"/>
                    </a:moveTo>
                    <a:cubicBezTo>
                      <a:pt x="0" y="0"/>
                      <a:pt x="0" y="0"/>
                      <a:pt x="0" y="0"/>
                    </a:cubicBezTo>
                    <a:cubicBezTo>
                      <a:pt x="0" y="156"/>
                      <a:pt x="0" y="156"/>
                      <a:pt x="0" y="156"/>
                    </a:cubicBezTo>
                    <a:cubicBezTo>
                      <a:pt x="0" y="177"/>
                      <a:pt x="19" y="194"/>
                      <a:pt x="38" y="194"/>
                    </a:cubicBezTo>
                    <a:cubicBezTo>
                      <a:pt x="193" y="194"/>
                      <a:pt x="193" y="194"/>
                      <a:pt x="193" y="194"/>
                    </a:cubicBezTo>
                    <a:cubicBezTo>
                      <a:pt x="216" y="194"/>
                      <a:pt x="231" y="176"/>
                      <a:pt x="231" y="156"/>
                    </a:cubicBezTo>
                    <a:cubicBezTo>
                      <a:pt x="231" y="143"/>
                      <a:pt x="231" y="143"/>
                      <a:pt x="231" y="143"/>
                    </a:cubicBezTo>
                    <a:cubicBezTo>
                      <a:pt x="275" y="143"/>
                      <a:pt x="307" y="110"/>
                      <a:pt x="307" y="71"/>
                    </a:cubicBezTo>
                    <a:cubicBezTo>
                      <a:pt x="307" y="32"/>
                      <a:pt x="276" y="0"/>
                      <a:pt x="239" y="0"/>
                    </a:cubicBezTo>
                    <a:close/>
                    <a:moveTo>
                      <a:pt x="231" y="113"/>
                    </a:moveTo>
                    <a:cubicBezTo>
                      <a:pt x="231" y="29"/>
                      <a:pt x="231" y="29"/>
                      <a:pt x="231" y="29"/>
                    </a:cubicBezTo>
                    <a:cubicBezTo>
                      <a:pt x="239" y="29"/>
                      <a:pt x="239" y="29"/>
                      <a:pt x="239" y="29"/>
                    </a:cubicBezTo>
                    <a:cubicBezTo>
                      <a:pt x="269" y="29"/>
                      <a:pt x="279" y="58"/>
                      <a:pt x="279" y="72"/>
                    </a:cubicBezTo>
                    <a:cubicBezTo>
                      <a:pt x="279" y="94"/>
                      <a:pt x="262" y="115"/>
                      <a:pt x="23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1B3B41"/>
                  </a:solidFill>
                  <a:effectLst/>
                  <a:uLnTx/>
                  <a:uFillTx/>
                </a:endParaRPr>
              </a:p>
            </p:txBody>
          </p:sp>
        </p:grpSp>
        <p:grpSp>
          <p:nvGrpSpPr>
            <p:cNvPr id="830" name="Group 829"/>
            <p:cNvGrpSpPr/>
            <p:nvPr/>
          </p:nvGrpSpPr>
          <p:grpSpPr>
            <a:xfrm rot="5400000" flipH="1" flipV="1">
              <a:off x="8887359" y="4947407"/>
              <a:ext cx="109844" cy="196620"/>
              <a:chOff x="2687372" y="3149601"/>
              <a:chExt cx="81465" cy="132564"/>
            </a:xfrm>
            <a:solidFill>
              <a:schemeClr val="accent2"/>
            </a:solidFill>
          </p:grpSpPr>
          <p:sp>
            <p:nvSpPr>
              <p:cNvPr id="831"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2"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4"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83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sp>
        <p:nvSpPr>
          <p:cNvPr id="2910" name="Rectangle 1916"/>
          <p:cNvSpPr>
            <a:spLocks noChangeArrowheads="1"/>
          </p:cNvSpPr>
          <p:nvPr/>
        </p:nvSpPr>
        <p:spPr bwMode="auto">
          <a:xfrm>
            <a:off x="5614073" y="2557860"/>
            <a:ext cx="173647" cy="275431"/>
          </a:xfrm>
          <a:custGeom>
            <a:avLst/>
            <a:gdLst/>
            <a:ahLst/>
            <a:cxnLst/>
            <a:rect l="l" t="t" r="r" b="b"/>
            <a:pathLst>
              <a:path w="173647" h="275431">
                <a:moveTo>
                  <a:pt x="0" y="0"/>
                </a:moveTo>
                <a:lnTo>
                  <a:pt x="173647" y="0"/>
                </a:lnTo>
                <a:lnTo>
                  <a:pt x="173647" y="181516"/>
                </a:lnTo>
                <a:lnTo>
                  <a:pt x="22701" y="174468"/>
                </a:lnTo>
                <a:lnTo>
                  <a:pt x="21526" y="236000"/>
                </a:lnTo>
                <a:cubicBezTo>
                  <a:pt x="21654" y="238420"/>
                  <a:pt x="43918" y="254607"/>
                  <a:pt x="73991" y="275431"/>
                </a:cubicBezTo>
                <a:lnTo>
                  <a:pt x="0" y="275431"/>
                </a:lnTo>
                <a:close/>
              </a:path>
            </a:pathLst>
          </a:custGeom>
          <a:solidFill>
            <a:srgbClr val="012C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2" name="Freeform 1918"/>
          <p:cNvSpPr>
            <a:spLocks/>
          </p:cNvSpPr>
          <p:nvPr/>
        </p:nvSpPr>
        <p:spPr bwMode="auto">
          <a:xfrm>
            <a:off x="5781238" y="2807096"/>
            <a:ext cx="212725" cy="52388"/>
          </a:xfrm>
          <a:custGeom>
            <a:avLst/>
            <a:gdLst>
              <a:gd name="T0" fmla="*/ 801 w 801"/>
              <a:gd name="T1" fmla="*/ 156 h 197"/>
              <a:gd name="T2" fmla="*/ 472 w 801"/>
              <a:gd name="T3" fmla="*/ 0 h 197"/>
              <a:gd name="T4" fmla="*/ 0 w 801"/>
              <a:gd name="T5" fmla="*/ 39 h 197"/>
              <a:gd name="T6" fmla="*/ 0 w 801"/>
              <a:gd name="T7" fmla="*/ 39 h 197"/>
              <a:gd name="T8" fmla="*/ 292 w 801"/>
              <a:gd name="T9" fmla="*/ 197 h 197"/>
              <a:gd name="T10" fmla="*/ 801 w 801"/>
              <a:gd name="T11" fmla="*/ 156 h 197"/>
            </a:gdLst>
            <a:ahLst/>
            <a:cxnLst>
              <a:cxn ang="0">
                <a:pos x="T0" y="T1"/>
              </a:cxn>
              <a:cxn ang="0">
                <a:pos x="T2" y="T3"/>
              </a:cxn>
              <a:cxn ang="0">
                <a:pos x="T4" y="T5"/>
              </a:cxn>
              <a:cxn ang="0">
                <a:pos x="T6" y="T7"/>
              </a:cxn>
              <a:cxn ang="0">
                <a:pos x="T8" y="T9"/>
              </a:cxn>
              <a:cxn ang="0">
                <a:pos x="T10" y="T11"/>
              </a:cxn>
            </a:cxnLst>
            <a:rect l="0" t="0" r="r" b="b"/>
            <a:pathLst>
              <a:path w="801" h="197">
                <a:moveTo>
                  <a:pt x="801" y="156"/>
                </a:moveTo>
                <a:lnTo>
                  <a:pt x="472" y="0"/>
                </a:lnTo>
                <a:lnTo>
                  <a:pt x="0" y="39"/>
                </a:lnTo>
                <a:lnTo>
                  <a:pt x="0" y="39"/>
                </a:lnTo>
                <a:lnTo>
                  <a:pt x="292" y="197"/>
                </a:lnTo>
                <a:lnTo>
                  <a:pt x="801" y="156"/>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21" name="Freeform 1927"/>
          <p:cNvSpPr>
            <a:spLocks/>
          </p:cNvSpPr>
          <p:nvPr/>
        </p:nvSpPr>
        <p:spPr bwMode="auto">
          <a:xfrm>
            <a:off x="5636774" y="2749946"/>
            <a:ext cx="660400" cy="463550"/>
          </a:xfrm>
          <a:custGeom>
            <a:avLst/>
            <a:gdLst>
              <a:gd name="T0" fmla="*/ 2321 w 2499"/>
              <a:gd name="T1" fmla="*/ 1753 h 1753"/>
              <a:gd name="T2" fmla="*/ 2355 w 2499"/>
              <a:gd name="T3" fmla="*/ 1734 h 1753"/>
              <a:gd name="T4" fmla="*/ 2388 w 2499"/>
              <a:gd name="T5" fmla="*/ 1712 h 1753"/>
              <a:gd name="T6" fmla="*/ 2425 w 2499"/>
              <a:gd name="T7" fmla="*/ 1680 h 1753"/>
              <a:gd name="T8" fmla="*/ 2452 w 2499"/>
              <a:gd name="T9" fmla="*/ 1651 h 1753"/>
              <a:gd name="T10" fmla="*/ 2467 w 2499"/>
              <a:gd name="T11" fmla="*/ 1628 h 1753"/>
              <a:gd name="T12" fmla="*/ 2480 w 2499"/>
              <a:gd name="T13" fmla="*/ 1605 h 1753"/>
              <a:gd name="T14" fmla="*/ 2490 w 2499"/>
              <a:gd name="T15" fmla="*/ 1578 h 1753"/>
              <a:gd name="T16" fmla="*/ 2497 w 2499"/>
              <a:gd name="T17" fmla="*/ 1549 h 1753"/>
              <a:gd name="T18" fmla="*/ 2499 w 2499"/>
              <a:gd name="T19" fmla="*/ 1519 h 1753"/>
              <a:gd name="T20" fmla="*/ 2495 w 2499"/>
              <a:gd name="T21" fmla="*/ 1486 h 1753"/>
              <a:gd name="T22" fmla="*/ 2490 w 2499"/>
              <a:gd name="T23" fmla="*/ 1470 h 1753"/>
              <a:gd name="T24" fmla="*/ 2484 w 2499"/>
              <a:gd name="T25" fmla="*/ 1450 h 1753"/>
              <a:gd name="T26" fmla="*/ 2474 w 2499"/>
              <a:gd name="T27" fmla="*/ 1429 h 1753"/>
              <a:gd name="T28" fmla="*/ 2456 w 2499"/>
              <a:gd name="T29" fmla="*/ 1402 h 1753"/>
              <a:gd name="T30" fmla="*/ 2427 w 2499"/>
              <a:gd name="T31" fmla="*/ 1370 h 1753"/>
              <a:gd name="T32" fmla="*/ 2387 w 2499"/>
              <a:gd name="T33" fmla="*/ 1335 h 1753"/>
              <a:gd name="T34" fmla="*/ 2334 w 2499"/>
              <a:gd name="T35" fmla="*/ 1299 h 1753"/>
              <a:gd name="T36" fmla="*/ 2264 w 2499"/>
              <a:gd name="T37" fmla="*/ 1262 h 1753"/>
              <a:gd name="T38" fmla="*/ 0 w 2499"/>
              <a:gd name="T39" fmla="*/ 66 h 1753"/>
              <a:gd name="T40" fmla="*/ 2210 w 2499"/>
              <a:gd name="T41" fmla="*/ 1447 h 1753"/>
              <a:gd name="T42" fmla="*/ 2231 w 2499"/>
              <a:gd name="T43" fmla="*/ 1462 h 1753"/>
              <a:gd name="T44" fmla="*/ 2261 w 2499"/>
              <a:gd name="T45" fmla="*/ 1485 h 1753"/>
              <a:gd name="T46" fmla="*/ 2295 w 2499"/>
              <a:gd name="T47" fmla="*/ 1518 h 1753"/>
              <a:gd name="T48" fmla="*/ 2321 w 2499"/>
              <a:gd name="T49" fmla="*/ 1548 h 1753"/>
              <a:gd name="T50" fmla="*/ 2335 w 2499"/>
              <a:gd name="T51" fmla="*/ 1571 h 1753"/>
              <a:gd name="T52" fmla="*/ 2346 w 2499"/>
              <a:gd name="T53" fmla="*/ 1595 h 1753"/>
              <a:gd name="T54" fmla="*/ 2355 w 2499"/>
              <a:gd name="T55" fmla="*/ 1621 h 1753"/>
              <a:gd name="T56" fmla="*/ 2358 w 2499"/>
              <a:gd name="T57" fmla="*/ 1648 h 1753"/>
              <a:gd name="T58" fmla="*/ 2356 w 2499"/>
              <a:gd name="T59" fmla="*/ 1677 h 1753"/>
              <a:gd name="T60" fmla="*/ 2347 w 2499"/>
              <a:gd name="T61" fmla="*/ 1707 h 1753"/>
              <a:gd name="T62" fmla="*/ 2331 w 2499"/>
              <a:gd name="T63" fmla="*/ 1737 h 1753"/>
              <a:gd name="T64" fmla="*/ 2321 w 2499"/>
              <a:gd name="T65" fmla="*/ 1753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99" h="1753">
                <a:moveTo>
                  <a:pt x="2321" y="1753"/>
                </a:moveTo>
                <a:lnTo>
                  <a:pt x="2321" y="1753"/>
                </a:lnTo>
                <a:lnTo>
                  <a:pt x="2330" y="1748"/>
                </a:lnTo>
                <a:lnTo>
                  <a:pt x="2355" y="1734"/>
                </a:lnTo>
                <a:lnTo>
                  <a:pt x="2371" y="1724"/>
                </a:lnTo>
                <a:lnTo>
                  <a:pt x="2388" y="1712"/>
                </a:lnTo>
                <a:lnTo>
                  <a:pt x="2407" y="1697"/>
                </a:lnTo>
                <a:lnTo>
                  <a:pt x="2425" y="1680"/>
                </a:lnTo>
                <a:lnTo>
                  <a:pt x="2443" y="1661"/>
                </a:lnTo>
                <a:lnTo>
                  <a:pt x="2452" y="1651"/>
                </a:lnTo>
                <a:lnTo>
                  <a:pt x="2460" y="1640"/>
                </a:lnTo>
                <a:lnTo>
                  <a:pt x="2467" y="1628"/>
                </a:lnTo>
                <a:lnTo>
                  <a:pt x="2474" y="1617"/>
                </a:lnTo>
                <a:lnTo>
                  <a:pt x="2480" y="1605"/>
                </a:lnTo>
                <a:lnTo>
                  <a:pt x="2486" y="1591"/>
                </a:lnTo>
                <a:lnTo>
                  <a:pt x="2490" y="1578"/>
                </a:lnTo>
                <a:lnTo>
                  <a:pt x="2495" y="1564"/>
                </a:lnTo>
                <a:lnTo>
                  <a:pt x="2497" y="1549"/>
                </a:lnTo>
                <a:lnTo>
                  <a:pt x="2499" y="1534"/>
                </a:lnTo>
                <a:lnTo>
                  <a:pt x="2499" y="1519"/>
                </a:lnTo>
                <a:lnTo>
                  <a:pt x="2498" y="1503"/>
                </a:lnTo>
                <a:lnTo>
                  <a:pt x="2495" y="1486"/>
                </a:lnTo>
                <a:lnTo>
                  <a:pt x="2490" y="1470"/>
                </a:lnTo>
                <a:lnTo>
                  <a:pt x="2490" y="1470"/>
                </a:lnTo>
                <a:lnTo>
                  <a:pt x="2489" y="1465"/>
                </a:lnTo>
                <a:lnTo>
                  <a:pt x="2484" y="1450"/>
                </a:lnTo>
                <a:lnTo>
                  <a:pt x="2480" y="1441"/>
                </a:lnTo>
                <a:lnTo>
                  <a:pt x="2474" y="1429"/>
                </a:lnTo>
                <a:lnTo>
                  <a:pt x="2466" y="1417"/>
                </a:lnTo>
                <a:lnTo>
                  <a:pt x="2456" y="1402"/>
                </a:lnTo>
                <a:lnTo>
                  <a:pt x="2442" y="1386"/>
                </a:lnTo>
                <a:lnTo>
                  <a:pt x="2427" y="1370"/>
                </a:lnTo>
                <a:lnTo>
                  <a:pt x="2409" y="1353"/>
                </a:lnTo>
                <a:lnTo>
                  <a:pt x="2387" y="1335"/>
                </a:lnTo>
                <a:lnTo>
                  <a:pt x="2363" y="1317"/>
                </a:lnTo>
                <a:lnTo>
                  <a:pt x="2334" y="1299"/>
                </a:lnTo>
                <a:lnTo>
                  <a:pt x="2301" y="1281"/>
                </a:lnTo>
                <a:lnTo>
                  <a:pt x="2264" y="1262"/>
                </a:lnTo>
                <a:lnTo>
                  <a:pt x="0" y="0"/>
                </a:lnTo>
                <a:lnTo>
                  <a:pt x="0" y="66"/>
                </a:lnTo>
                <a:lnTo>
                  <a:pt x="2210" y="1447"/>
                </a:lnTo>
                <a:lnTo>
                  <a:pt x="2210" y="1447"/>
                </a:lnTo>
                <a:lnTo>
                  <a:pt x="2220" y="1453"/>
                </a:lnTo>
                <a:lnTo>
                  <a:pt x="2231" y="1462"/>
                </a:lnTo>
                <a:lnTo>
                  <a:pt x="2245" y="1472"/>
                </a:lnTo>
                <a:lnTo>
                  <a:pt x="2261" y="1485"/>
                </a:lnTo>
                <a:lnTo>
                  <a:pt x="2278" y="1500"/>
                </a:lnTo>
                <a:lnTo>
                  <a:pt x="2295" y="1518"/>
                </a:lnTo>
                <a:lnTo>
                  <a:pt x="2313" y="1537"/>
                </a:lnTo>
                <a:lnTo>
                  <a:pt x="2321" y="1548"/>
                </a:lnTo>
                <a:lnTo>
                  <a:pt x="2328" y="1559"/>
                </a:lnTo>
                <a:lnTo>
                  <a:pt x="2335" y="1571"/>
                </a:lnTo>
                <a:lnTo>
                  <a:pt x="2341" y="1583"/>
                </a:lnTo>
                <a:lnTo>
                  <a:pt x="2346" y="1595"/>
                </a:lnTo>
                <a:lnTo>
                  <a:pt x="2350" y="1608"/>
                </a:lnTo>
                <a:lnTo>
                  <a:pt x="2355" y="1621"/>
                </a:lnTo>
                <a:lnTo>
                  <a:pt x="2357" y="1634"/>
                </a:lnTo>
                <a:lnTo>
                  <a:pt x="2358" y="1648"/>
                </a:lnTo>
                <a:lnTo>
                  <a:pt x="2357" y="1663"/>
                </a:lnTo>
                <a:lnTo>
                  <a:pt x="2356" y="1677"/>
                </a:lnTo>
                <a:lnTo>
                  <a:pt x="2351" y="1691"/>
                </a:lnTo>
                <a:lnTo>
                  <a:pt x="2347" y="1707"/>
                </a:lnTo>
                <a:lnTo>
                  <a:pt x="2340" y="1722"/>
                </a:lnTo>
                <a:lnTo>
                  <a:pt x="2331" y="1737"/>
                </a:lnTo>
                <a:lnTo>
                  <a:pt x="2321" y="1753"/>
                </a:lnTo>
                <a:lnTo>
                  <a:pt x="2321" y="1753"/>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22" name="Freeform 1928"/>
          <p:cNvSpPr>
            <a:spLocks/>
          </p:cNvSpPr>
          <p:nvPr/>
        </p:nvSpPr>
        <p:spPr bwMode="auto">
          <a:xfrm>
            <a:off x="5476227" y="3326210"/>
            <a:ext cx="1155910" cy="214313"/>
          </a:xfrm>
          <a:custGeom>
            <a:avLst/>
            <a:gdLst>
              <a:gd name="T0" fmla="*/ 2959 w 4625"/>
              <a:gd name="T1" fmla="*/ 568 h 811"/>
              <a:gd name="T2" fmla="*/ 2974 w 4625"/>
              <a:gd name="T3" fmla="*/ 568 h 811"/>
              <a:gd name="T4" fmla="*/ 3080 w 4625"/>
              <a:gd name="T5" fmla="*/ 565 h 811"/>
              <a:gd name="T6" fmla="*/ 3214 w 4625"/>
              <a:gd name="T7" fmla="*/ 558 h 811"/>
              <a:gd name="T8" fmla="*/ 3325 w 4625"/>
              <a:gd name="T9" fmla="*/ 549 h 811"/>
              <a:gd name="T10" fmla="*/ 3446 w 4625"/>
              <a:gd name="T11" fmla="*/ 534 h 811"/>
              <a:gd name="T12" fmla="*/ 3578 w 4625"/>
              <a:gd name="T13" fmla="*/ 515 h 811"/>
              <a:gd name="T14" fmla="*/ 3716 w 4625"/>
              <a:gd name="T15" fmla="*/ 489 h 811"/>
              <a:gd name="T16" fmla="*/ 3857 w 4625"/>
              <a:gd name="T17" fmla="*/ 457 h 811"/>
              <a:gd name="T18" fmla="*/ 3997 w 4625"/>
              <a:gd name="T19" fmla="*/ 415 h 811"/>
              <a:gd name="T20" fmla="*/ 4067 w 4625"/>
              <a:gd name="T21" fmla="*/ 391 h 811"/>
              <a:gd name="T22" fmla="*/ 4135 w 4625"/>
              <a:gd name="T23" fmla="*/ 365 h 811"/>
              <a:gd name="T24" fmla="*/ 4201 w 4625"/>
              <a:gd name="T25" fmla="*/ 335 h 811"/>
              <a:gd name="T26" fmla="*/ 4265 w 4625"/>
              <a:gd name="T27" fmla="*/ 303 h 811"/>
              <a:gd name="T28" fmla="*/ 4327 w 4625"/>
              <a:gd name="T29" fmla="*/ 270 h 811"/>
              <a:gd name="T30" fmla="*/ 4387 w 4625"/>
              <a:gd name="T31" fmla="*/ 232 h 811"/>
              <a:gd name="T32" fmla="*/ 4442 w 4625"/>
              <a:gd name="T33" fmla="*/ 192 h 811"/>
              <a:gd name="T34" fmla="*/ 4494 w 4625"/>
              <a:gd name="T35" fmla="*/ 149 h 811"/>
              <a:gd name="T36" fmla="*/ 4542 w 4625"/>
              <a:gd name="T37" fmla="*/ 102 h 811"/>
              <a:gd name="T38" fmla="*/ 4586 w 4625"/>
              <a:gd name="T39" fmla="*/ 53 h 811"/>
              <a:gd name="T40" fmla="*/ 4625 w 4625"/>
              <a:gd name="T41" fmla="*/ 0 h 811"/>
              <a:gd name="T42" fmla="*/ 4595 w 4625"/>
              <a:gd name="T43" fmla="*/ 286 h 811"/>
              <a:gd name="T44" fmla="*/ 4579 w 4625"/>
              <a:gd name="T45" fmla="*/ 308 h 811"/>
              <a:gd name="T46" fmla="*/ 4541 w 4625"/>
              <a:gd name="T47" fmla="*/ 350 h 811"/>
              <a:gd name="T48" fmla="*/ 4502 w 4625"/>
              <a:gd name="T49" fmla="*/ 387 h 811"/>
              <a:gd name="T50" fmla="*/ 4451 w 4625"/>
              <a:gd name="T51" fmla="*/ 429 h 811"/>
              <a:gd name="T52" fmla="*/ 4388 w 4625"/>
              <a:gd name="T53" fmla="*/ 475 h 811"/>
              <a:gd name="T54" fmla="*/ 4310 w 4625"/>
              <a:gd name="T55" fmla="*/ 524 h 811"/>
              <a:gd name="T56" fmla="*/ 4218 w 4625"/>
              <a:gd name="T57" fmla="*/ 573 h 811"/>
              <a:gd name="T58" fmla="*/ 4110 w 4625"/>
              <a:gd name="T59" fmla="*/ 621 h 811"/>
              <a:gd name="T60" fmla="*/ 3985 w 4625"/>
              <a:gd name="T61" fmla="*/ 667 h 811"/>
              <a:gd name="T62" fmla="*/ 3880 w 4625"/>
              <a:gd name="T63" fmla="*/ 700 h 811"/>
              <a:gd name="T64" fmla="*/ 3804 w 4625"/>
              <a:gd name="T65" fmla="*/ 719 h 811"/>
              <a:gd name="T66" fmla="*/ 3723 w 4625"/>
              <a:gd name="T67" fmla="*/ 738 h 811"/>
              <a:gd name="T68" fmla="*/ 3639 w 4625"/>
              <a:gd name="T69" fmla="*/ 755 h 811"/>
              <a:gd name="T70" fmla="*/ 3549 w 4625"/>
              <a:gd name="T71" fmla="*/ 770 h 811"/>
              <a:gd name="T72" fmla="*/ 3453 w 4625"/>
              <a:gd name="T73" fmla="*/ 783 h 811"/>
              <a:gd name="T74" fmla="*/ 3352 w 4625"/>
              <a:gd name="T75" fmla="*/ 794 h 811"/>
              <a:gd name="T76" fmla="*/ 3247 w 4625"/>
              <a:gd name="T77" fmla="*/ 802 h 811"/>
              <a:gd name="T78" fmla="*/ 3136 w 4625"/>
              <a:gd name="T79" fmla="*/ 808 h 811"/>
              <a:gd name="T80" fmla="*/ 3019 w 4625"/>
              <a:gd name="T81" fmla="*/ 811 h 811"/>
              <a:gd name="T82" fmla="*/ 0 w 4625"/>
              <a:gd name="T83" fmla="*/ 811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25" h="811">
                <a:moveTo>
                  <a:pt x="14" y="568"/>
                </a:moveTo>
                <a:lnTo>
                  <a:pt x="2959" y="568"/>
                </a:lnTo>
                <a:lnTo>
                  <a:pt x="2959" y="568"/>
                </a:lnTo>
                <a:lnTo>
                  <a:pt x="2974" y="568"/>
                </a:lnTo>
                <a:lnTo>
                  <a:pt x="3015" y="567"/>
                </a:lnTo>
                <a:lnTo>
                  <a:pt x="3080" y="565"/>
                </a:lnTo>
                <a:lnTo>
                  <a:pt x="3165" y="561"/>
                </a:lnTo>
                <a:lnTo>
                  <a:pt x="3214" y="558"/>
                </a:lnTo>
                <a:lnTo>
                  <a:pt x="3268" y="554"/>
                </a:lnTo>
                <a:lnTo>
                  <a:pt x="3325" y="549"/>
                </a:lnTo>
                <a:lnTo>
                  <a:pt x="3384" y="542"/>
                </a:lnTo>
                <a:lnTo>
                  <a:pt x="3446" y="534"/>
                </a:lnTo>
                <a:lnTo>
                  <a:pt x="3512" y="526"/>
                </a:lnTo>
                <a:lnTo>
                  <a:pt x="3578" y="515"/>
                </a:lnTo>
                <a:lnTo>
                  <a:pt x="3647" y="503"/>
                </a:lnTo>
                <a:lnTo>
                  <a:pt x="3716" y="489"/>
                </a:lnTo>
                <a:lnTo>
                  <a:pt x="3787" y="474"/>
                </a:lnTo>
                <a:lnTo>
                  <a:pt x="3857" y="457"/>
                </a:lnTo>
                <a:lnTo>
                  <a:pt x="3928" y="436"/>
                </a:lnTo>
                <a:lnTo>
                  <a:pt x="3997" y="415"/>
                </a:lnTo>
                <a:lnTo>
                  <a:pt x="4032" y="404"/>
                </a:lnTo>
                <a:lnTo>
                  <a:pt x="4067" y="391"/>
                </a:lnTo>
                <a:lnTo>
                  <a:pt x="4100" y="378"/>
                </a:lnTo>
                <a:lnTo>
                  <a:pt x="4135" y="365"/>
                </a:lnTo>
                <a:lnTo>
                  <a:pt x="4168" y="350"/>
                </a:lnTo>
                <a:lnTo>
                  <a:pt x="4201" y="335"/>
                </a:lnTo>
                <a:lnTo>
                  <a:pt x="4233" y="320"/>
                </a:lnTo>
                <a:lnTo>
                  <a:pt x="4265" y="303"/>
                </a:lnTo>
                <a:lnTo>
                  <a:pt x="4297" y="287"/>
                </a:lnTo>
                <a:lnTo>
                  <a:pt x="4327" y="270"/>
                </a:lnTo>
                <a:lnTo>
                  <a:pt x="4357" y="251"/>
                </a:lnTo>
                <a:lnTo>
                  <a:pt x="4387" y="232"/>
                </a:lnTo>
                <a:lnTo>
                  <a:pt x="4414" y="212"/>
                </a:lnTo>
                <a:lnTo>
                  <a:pt x="4442" y="192"/>
                </a:lnTo>
                <a:lnTo>
                  <a:pt x="4468" y="171"/>
                </a:lnTo>
                <a:lnTo>
                  <a:pt x="4494" y="149"/>
                </a:lnTo>
                <a:lnTo>
                  <a:pt x="4518" y="127"/>
                </a:lnTo>
                <a:lnTo>
                  <a:pt x="4542" y="102"/>
                </a:lnTo>
                <a:lnTo>
                  <a:pt x="4564" y="79"/>
                </a:lnTo>
                <a:lnTo>
                  <a:pt x="4586" y="53"/>
                </a:lnTo>
                <a:lnTo>
                  <a:pt x="4606" y="26"/>
                </a:lnTo>
                <a:lnTo>
                  <a:pt x="4625" y="0"/>
                </a:lnTo>
                <a:lnTo>
                  <a:pt x="4595" y="286"/>
                </a:lnTo>
                <a:lnTo>
                  <a:pt x="4595" y="286"/>
                </a:lnTo>
                <a:lnTo>
                  <a:pt x="4591" y="291"/>
                </a:lnTo>
                <a:lnTo>
                  <a:pt x="4579" y="308"/>
                </a:lnTo>
                <a:lnTo>
                  <a:pt x="4556" y="334"/>
                </a:lnTo>
                <a:lnTo>
                  <a:pt x="4541" y="350"/>
                </a:lnTo>
                <a:lnTo>
                  <a:pt x="4522" y="368"/>
                </a:lnTo>
                <a:lnTo>
                  <a:pt x="4502" y="387"/>
                </a:lnTo>
                <a:lnTo>
                  <a:pt x="4479" y="408"/>
                </a:lnTo>
                <a:lnTo>
                  <a:pt x="4451" y="429"/>
                </a:lnTo>
                <a:lnTo>
                  <a:pt x="4421" y="452"/>
                </a:lnTo>
                <a:lnTo>
                  <a:pt x="4388" y="475"/>
                </a:lnTo>
                <a:lnTo>
                  <a:pt x="4351" y="500"/>
                </a:lnTo>
                <a:lnTo>
                  <a:pt x="4310" y="524"/>
                </a:lnTo>
                <a:lnTo>
                  <a:pt x="4266" y="549"/>
                </a:lnTo>
                <a:lnTo>
                  <a:pt x="4218" y="573"/>
                </a:lnTo>
                <a:lnTo>
                  <a:pt x="4166" y="598"/>
                </a:lnTo>
                <a:lnTo>
                  <a:pt x="4110" y="621"/>
                </a:lnTo>
                <a:lnTo>
                  <a:pt x="4049" y="645"/>
                </a:lnTo>
                <a:lnTo>
                  <a:pt x="3985" y="667"/>
                </a:lnTo>
                <a:lnTo>
                  <a:pt x="3915" y="690"/>
                </a:lnTo>
                <a:lnTo>
                  <a:pt x="3880" y="700"/>
                </a:lnTo>
                <a:lnTo>
                  <a:pt x="3842" y="710"/>
                </a:lnTo>
                <a:lnTo>
                  <a:pt x="3804" y="719"/>
                </a:lnTo>
                <a:lnTo>
                  <a:pt x="3764" y="729"/>
                </a:lnTo>
                <a:lnTo>
                  <a:pt x="3723" y="738"/>
                </a:lnTo>
                <a:lnTo>
                  <a:pt x="3681" y="747"/>
                </a:lnTo>
                <a:lnTo>
                  <a:pt x="3639" y="755"/>
                </a:lnTo>
                <a:lnTo>
                  <a:pt x="3594" y="762"/>
                </a:lnTo>
                <a:lnTo>
                  <a:pt x="3549" y="770"/>
                </a:lnTo>
                <a:lnTo>
                  <a:pt x="3502" y="776"/>
                </a:lnTo>
                <a:lnTo>
                  <a:pt x="3453" y="783"/>
                </a:lnTo>
                <a:lnTo>
                  <a:pt x="3404" y="789"/>
                </a:lnTo>
                <a:lnTo>
                  <a:pt x="3352" y="794"/>
                </a:lnTo>
                <a:lnTo>
                  <a:pt x="3300" y="798"/>
                </a:lnTo>
                <a:lnTo>
                  <a:pt x="3247" y="802"/>
                </a:lnTo>
                <a:lnTo>
                  <a:pt x="3192" y="805"/>
                </a:lnTo>
                <a:lnTo>
                  <a:pt x="3136" y="808"/>
                </a:lnTo>
                <a:lnTo>
                  <a:pt x="3079" y="809"/>
                </a:lnTo>
                <a:lnTo>
                  <a:pt x="3019" y="811"/>
                </a:lnTo>
                <a:lnTo>
                  <a:pt x="2959" y="811"/>
                </a:lnTo>
                <a:lnTo>
                  <a:pt x="0" y="811"/>
                </a:lnTo>
                <a:lnTo>
                  <a:pt x="14" y="56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51" name="Freeform 1953"/>
          <p:cNvSpPr>
            <a:spLocks/>
          </p:cNvSpPr>
          <p:nvPr/>
        </p:nvSpPr>
        <p:spPr bwMode="auto">
          <a:xfrm>
            <a:off x="6551174" y="2559446"/>
            <a:ext cx="82550" cy="82550"/>
          </a:xfrm>
          <a:custGeom>
            <a:avLst/>
            <a:gdLst>
              <a:gd name="T0" fmla="*/ 205 w 316"/>
              <a:gd name="T1" fmla="*/ 8 h 313"/>
              <a:gd name="T2" fmla="*/ 186 w 316"/>
              <a:gd name="T3" fmla="*/ 2 h 313"/>
              <a:gd name="T4" fmla="*/ 166 w 316"/>
              <a:gd name="T5" fmla="*/ 0 h 313"/>
              <a:gd name="T6" fmla="*/ 145 w 316"/>
              <a:gd name="T7" fmla="*/ 0 h 313"/>
              <a:gd name="T8" fmla="*/ 126 w 316"/>
              <a:gd name="T9" fmla="*/ 3 h 313"/>
              <a:gd name="T10" fmla="*/ 106 w 316"/>
              <a:gd name="T11" fmla="*/ 9 h 313"/>
              <a:gd name="T12" fmla="*/ 89 w 316"/>
              <a:gd name="T13" fmla="*/ 17 h 313"/>
              <a:gd name="T14" fmla="*/ 55 w 316"/>
              <a:gd name="T15" fmla="*/ 39 h 313"/>
              <a:gd name="T16" fmla="*/ 28 w 316"/>
              <a:gd name="T17" fmla="*/ 68 h 313"/>
              <a:gd name="T18" fmla="*/ 17 w 316"/>
              <a:gd name="T19" fmla="*/ 86 h 313"/>
              <a:gd name="T20" fmla="*/ 9 w 316"/>
              <a:gd name="T21" fmla="*/ 104 h 313"/>
              <a:gd name="T22" fmla="*/ 3 w 316"/>
              <a:gd name="T23" fmla="*/ 123 h 313"/>
              <a:gd name="T24" fmla="*/ 0 w 316"/>
              <a:gd name="T25" fmla="*/ 143 h 313"/>
              <a:gd name="T26" fmla="*/ 0 w 316"/>
              <a:gd name="T27" fmla="*/ 163 h 313"/>
              <a:gd name="T28" fmla="*/ 3 w 316"/>
              <a:gd name="T29" fmla="*/ 184 h 313"/>
              <a:gd name="T30" fmla="*/ 5 w 316"/>
              <a:gd name="T31" fmla="*/ 195 h 313"/>
              <a:gd name="T32" fmla="*/ 11 w 316"/>
              <a:gd name="T33" fmla="*/ 217 h 313"/>
              <a:gd name="T34" fmla="*/ 22 w 316"/>
              <a:gd name="T35" fmla="*/ 236 h 313"/>
              <a:gd name="T36" fmla="*/ 34 w 316"/>
              <a:gd name="T37" fmla="*/ 254 h 313"/>
              <a:gd name="T38" fmla="*/ 48 w 316"/>
              <a:gd name="T39" fmla="*/ 270 h 313"/>
              <a:gd name="T40" fmla="*/ 65 w 316"/>
              <a:gd name="T41" fmla="*/ 283 h 313"/>
              <a:gd name="T42" fmla="*/ 84 w 316"/>
              <a:gd name="T43" fmla="*/ 293 h 313"/>
              <a:gd name="T44" fmla="*/ 103 w 316"/>
              <a:gd name="T45" fmla="*/ 302 h 313"/>
              <a:gd name="T46" fmla="*/ 125 w 316"/>
              <a:gd name="T47" fmla="*/ 309 h 313"/>
              <a:gd name="T48" fmla="*/ 146 w 316"/>
              <a:gd name="T49" fmla="*/ 312 h 313"/>
              <a:gd name="T50" fmla="*/ 168 w 316"/>
              <a:gd name="T51" fmla="*/ 313 h 313"/>
              <a:gd name="T52" fmla="*/ 189 w 316"/>
              <a:gd name="T53" fmla="*/ 311 h 313"/>
              <a:gd name="T54" fmla="*/ 211 w 316"/>
              <a:gd name="T55" fmla="*/ 306 h 313"/>
              <a:gd name="T56" fmla="*/ 231 w 316"/>
              <a:gd name="T57" fmla="*/ 298 h 313"/>
              <a:gd name="T58" fmla="*/ 249 w 316"/>
              <a:gd name="T59" fmla="*/ 287 h 313"/>
              <a:gd name="T60" fmla="*/ 268 w 316"/>
              <a:gd name="T61" fmla="*/ 274 h 313"/>
              <a:gd name="T62" fmla="*/ 275 w 316"/>
              <a:gd name="T63" fmla="*/ 266 h 313"/>
              <a:gd name="T64" fmla="*/ 288 w 316"/>
              <a:gd name="T65" fmla="*/ 250 h 313"/>
              <a:gd name="T66" fmla="*/ 299 w 316"/>
              <a:gd name="T67" fmla="*/ 233 h 313"/>
              <a:gd name="T68" fmla="*/ 308 w 316"/>
              <a:gd name="T69" fmla="*/ 216 h 313"/>
              <a:gd name="T70" fmla="*/ 313 w 316"/>
              <a:gd name="T71" fmla="*/ 196 h 313"/>
              <a:gd name="T72" fmla="*/ 315 w 316"/>
              <a:gd name="T73" fmla="*/ 177 h 313"/>
              <a:gd name="T74" fmla="*/ 314 w 316"/>
              <a:gd name="T75" fmla="*/ 138 h 313"/>
              <a:gd name="T76" fmla="*/ 304 w 316"/>
              <a:gd name="T77" fmla="*/ 100 h 313"/>
              <a:gd name="T78" fmla="*/ 284 w 316"/>
              <a:gd name="T79" fmla="*/ 66 h 313"/>
              <a:gd name="T80" fmla="*/ 265 w 316"/>
              <a:gd name="T81" fmla="*/ 44 h 313"/>
              <a:gd name="T82" fmla="*/ 250 w 316"/>
              <a:gd name="T83" fmla="*/ 31 h 313"/>
              <a:gd name="T84" fmla="*/ 233 w 316"/>
              <a:gd name="T85" fmla="*/ 19 h 313"/>
              <a:gd name="T86" fmla="*/ 216 w 316"/>
              <a:gd name="T87" fmla="*/ 11 h 313"/>
              <a:gd name="T88" fmla="*/ 205 w 316"/>
              <a:gd name="T89" fmla="*/ 8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6" h="313">
                <a:moveTo>
                  <a:pt x="205" y="8"/>
                </a:moveTo>
                <a:lnTo>
                  <a:pt x="205" y="8"/>
                </a:lnTo>
                <a:lnTo>
                  <a:pt x="195" y="5"/>
                </a:lnTo>
                <a:lnTo>
                  <a:pt x="186" y="2"/>
                </a:lnTo>
                <a:lnTo>
                  <a:pt x="176" y="1"/>
                </a:lnTo>
                <a:lnTo>
                  <a:pt x="166" y="0"/>
                </a:lnTo>
                <a:lnTo>
                  <a:pt x="155" y="0"/>
                </a:lnTo>
                <a:lnTo>
                  <a:pt x="145" y="0"/>
                </a:lnTo>
                <a:lnTo>
                  <a:pt x="136" y="1"/>
                </a:lnTo>
                <a:lnTo>
                  <a:pt x="126" y="3"/>
                </a:lnTo>
                <a:lnTo>
                  <a:pt x="117" y="6"/>
                </a:lnTo>
                <a:lnTo>
                  <a:pt x="106" y="9"/>
                </a:lnTo>
                <a:lnTo>
                  <a:pt x="97" y="12"/>
                </a:lnTo>
                <a:lnTo>
                  <a:pt x="89" y="17"/>
                </a:lnTo>
                <a:lnTo>
                  <a:pt x="72" y="28"/>
                </a:lnTo>
                <a:lnTo>
                  <a:pt x="55" y="39"/>
                </a:lnTo>
                <a:lnTo>
                  <a:pt x="41" y="53"/>
                </a:lnTo>
                <a:lnTo>
                  <a:pt x="28" y="68"/>
                </a:lnTo>
                <a:lnTo>
                  <a:pt x="23" y="77"/>
                </a:lnTo>
                <a:lnTo>
                  <a:pt x="17" y="86"/>
                </a:lnTo>
                <a:lnTo>
                  <a:pt x="13" y="95"/>
                </a:lnTo>
                <a:lnTo>
                  <a:pt x="9" y="104"/>
                </a:lnTo>
                <a:lnTo>
                  <a:pt x="6" y="113"/>
                </a:lnTo>
                <a:lnTo>
                  <a:pt x="3" y="123"/>
                </a:lnTo>
                <a:lnTo>
                  <a:pt x="1" y="133"/>
                </a:lnTo>
                <a:lnTo>
                  <a:pt x="0" y="143"/>
                </a:lnTo>
                <a:lnTo>
                  <a:pt x="0" y="153"/>
                </a:lnTo>
                <a:lnTo>
                  <a:pt x="0" y="163"/>
                </a:lnTo>
                <a:lnTo>
                  <a:pt x="1" y="174"/>
                </a:lnTo>
                <a:lnTo>
                  <a:pt x="3" y="184"/>
                </a:lnTo>
                <a:lnTo>
                  <a:pt x="3" y="184"/>
                </a:lnTo>
                <a:lnTo>
                  <a:pt x="5" y="195"/>
                </a:lnTo>
                <a:lnTo>
                  <a:pt x="8" y="206"/>
                </a:lnTo>
                <a:lnTo>
                  <a:pt x="11" y="217"/>
                </a:lnTo>
                <a:lnTo>
                  <a:pt x="16" y="227"/>
                </a:lnTo>
                <a:lnTo>
                  <a:pt x="22" y="236"/>
                </a:lnTo>
                <a:lnTo>
                  <a:pt x="27" y="245"/>
                </a:lnTo>
                <a:lnTo>
                  <a:pt x="34" y="254"/>
                </a:lnTo>
                <a:lnTo>
                  <a:pt x="41" y="262"/>
                </a:lnTo>
                <a:lnTo>
                  <a:pt x="48" y="270"/>
                </a:lnTo>
                <a:lnTo>
                  <a:pt x="56" y="276"/>
                </a:lnTo>
                <a:lnTo>
                  <a:pt x="65" y="283"/>
                </a:lnTo>
                <a:lnTo>
                  <a:pt x="75" y="288"/>
                </a:lnTo>
                <a:lnTo>
                  <a:pt x="84" y="293"/>
                </a:lnTo>
                <a:lnTo>
                  <a:pt x="94" y="298"/>
                </a:lnTo>
                <a:lnTo>
                  <a:pt x="103" y="302"/>
                </a:lnTo>
                <a:lnTo>
                  <a:pt x="115" y="306"/>
                </a:lnTo>
                <a:lnTo>
                  <a:pt x="125" y="309"/>
                </a:lnTo>
                <a:lnTo>
                  <a:pt x="135" y="311"/>
                </a:lnTo>
                <a:lnTo>
                  <a:pt x="146" y="312"/>
                </a:lnTo>
                <a:lnTo>
                  <a:pt x="157" y="313"/>
                </a:lnTo>
                <a:lnTo>
                  <a:pt x="168" y="313"/>
                </a:lnTo>
                <a:lnTo>
                  <a:pt x="179" y="312"/>
                </a:lnTo>
                <a:lnTo>
                  <a:pt x="189" y="311"/>
                </a:lnTo>
                <a:lnTo>
                  <a:pt x="200" y="309"/>
                </a:lnTo>
                <a:lnTo>
                  <a:pt x="211" y="306"/>
                </a:lnTo>
                <a:lnTo>
                  <a:pt x="221" y="302"/>
                </a:lnTo>
                <a:lnTo>
                  <a:pt x="231" y="298"/>
                </a:lnTo>
                <a:lnTo>
                  <a:pt x="240" y="293"/>
                </a:lnTo>
                <a:lnTo>
                  <a:pt x="249" y="287"/>
                </a:lnTo>
                <a:lnTo>
                  <a:pt x="259" y="281"/>
                </a:lnTo>
                <a:lnTo>
                  <a:pt x="268" y="274"/>
                </a:lnTo>
                <a:lnTo>
                  <a:pt x="275" y="266"/>
                </a:lnTo>
                <a:lnTo>
                  <a:pt x="275" y="266"/>
                </a:lnTo>
                <a:lnTo>
                  <a:pt x="282" y="259"/>
                </a:lnTo>
                <a:lnTo>
                  <a:pt x="288" y="250"/>
                </a:lnTo>
                <a:lnTo>
                  <a:pt x="294" y="242"/>
                </a:lnTo>
                <a:lnTo>
                  <a:pt x="299" y="233"/>
                </a:lnTo>
                <a:lnTo>
                  <a:pt x="304" y="224"/>
                </a:lnTo>
                <a:lnTo>
                  <a:pt x="308" y="216"/>
                </a:lnTo>
                <a:lnTo>
                  <a:pt x="310" y="205"/>
                </a:lnTo>
                <a:lnTo>
                  <a:pt x="313" y="196"/>
                </a:lnTo>
                <a:lnTo>
                  <a:pt x="314" y="187"/>
                </a:lnTo>
                <a:lnTo>
                  <a:pt x="315" y="177"/>
                </a:lnTo>
                <a:lnTo>
                  <a:pt x="316" y="157"/>
                </a:lnTo>
                <a:lnTo>
                  <a:pt x="314" y="138"/>
                </a:lnTo>
                <a:lnTo>
                  <a:pt x="310" y="119"/>
                </a:lnTo>
                <a:lnTo>
                  <a:pt x="304" y="100"/>
                </a:lnTo>
                <a:lnTo>
                  <a:pt x="294" y="83"/>
                </a:lnTo>
                <a:lnTo>
                  <a:pt x="284" y="66"/>
                </a:lnTo>
                <a:lnTo>
                  <a:pt x="272" y="50"/>
                </a:lnTo>
                <a:lnTo>
                  <a:pt x="265" y="44"/>
                </a:lnTo>
                <a:lnTo>
                  <a:pt x="258" y="37"/>
                </a:lnTo>
                <a:lnTo>
                  <a:pt x="250" y="31"/>
                </a:lnTo>
                <a:lnTo>
                  <a:pt x="242" y="25"/>
                </a:lnTo>
                <a:lnTo>
                  <a:pt x="233" y="19"/>
                </a:lnTo>
                <a:lnTo>
                  <a:pt x="225" y="15"/>
                </a:lnTo>
                <a:lnTo>
                  <a:pt x="216" y="11"/>
                </a:lnTo>
                <a:lnTo>
                  <a:pt x="205" y="8"/>
                </a:lnTo>
                <a:lnTo>
                  <a:pt x="205" y="8"/>
                </a:lnTo>
                <a:close/>
              </a:path>
            </a:pathLst>
          </a:custGeom>
          <a:solidFill>
            <a:schemeClr val="accent5">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2952" name="Freeform 1954"/>
          <p:cNvSpPr>
            <a:spLocks/>
          </p:cNvSpPr>
          <p:nvPr/>
        </p:nvSpPr>
        <p:spPr bwMode="auto">
          <a:xfrm>
            <a:off x="6421000" y="2656285"/>
            <a:ext cx="269875" cy="422275"/>
          </a:xfrm>
          <a:custGeom>
            <a:avLst/>
            <a:gdLst>
              <a:gd name="T0" fmla="*/ 823 w 1020"/>
              <a:gd name="T1" fmla="*/ 9 h 1597"/>
              <a:gd name="T2" fmla="*/ 659 w 1020"/>
              <a:gd name="T3" fmla="*/ 0 h 1597"/>
              <a:gd name="T4" fmla="*/ 437 w 1020"/>
              <a:gd name="T5" fmla="*/ 2 h 1597"/>
              <a:gd name="T6" fmla="*/ 392 w 1020"/>
              <a:gd name="T7" fmla="*/ 10 h 1597"/>
              <a:gd name="T8" fmla="*/ 343 w 1020"/>
              <a:gd name="T9" fmla="*/ 42 h 1597"/>
              <a:gd name="T10" fmla="*/ 292 w 1020"/>
              <a:gd name="T11" fmla="*/ 100 h 1597"/>
              <a:gd name="T12" fmla="*/ 222 w 1020"/>
              <a:gd name="T13" fmla="*/ 185 h 1597"/>
              <a:gd name="T14" fmla="*/ 64 w 1020"/>
              <a:gd name="T15" fmla="*/ 376 h 1597"/>
              <a:gd name="T16" fmla="*/ 6 w 1020"/>
              <a:gd name="T17" fmla="*/ 456 h 1597"/>
              <a:gd name="T18" fmla="*/ 0 w 1020"/>
              <a:gd name="T19" fmla="*/ 483 h 1597"/>
              <a:gd name="T20" fmla="*/ 4 w 1020"/>
              <a:gd name="T21" fmla="*/ 509 h 1597"/>
              <a:gd name="T22" fmla="*/ 37 w 1020"/>
              <a:gd name="T23" fmla="*/ 547 h 1597"/>
              <a:gd name="T24" fmla="*/ 86 w 1020"/>
              <a:gd name="T25" fmla="*/ 561 h 1597"/>
              <a:gd name="T26" fmla="*/ 111 w 1020"/>
              <a:gd name="T27" fmla="*/ 554 h 1597"/>
              <a:gd name="T28" fmla="*/ 133 w 1020"/>
              <a:gd name="T29" fmla="*/ 535 h 1597"/>
              <a:gd name="T30" fmla="*/ 248 w 1020"/>
              <a:gd name="T31" fmla="*/ 403 h 1597"/>
              <a:gd name="T32" fmla="*/ 397 w 1020"/>
              <a:gd name="T33" fmla="*/ 225 h 1597"/>
              <a:gd name="T34" fmla="*/ 437 w 1020"/>
              <a:gd name="T35" fmla="*/ 837 h 1597"/>
              <a:gd name="T36" fmla="*/ 441 w 1020"/>
              <a:gd name="T37" fmla="*/ 1520 h 1597"/>
              <a:gd name="T38" fmla="*/ 457 w 1020"/>
              <a:gd name="T39" fmla="*/ 1567 h 1597"/>
              <a:gd name="T40" fmla="*/ 479 w 1020"/>
              <a:gd name="T41" fmla="*/ 1586 h 1597"/>
              <a:gd name="T42" fmla="*/ 507 w 1020"/>
              <a:gd name="T43" fmla="*/ 1595 h 1597"/>
              <a:gd name="T44" fmla="*/ 553 w 1020"/>
              <a:gd name="T45" fmla="*/ 1593 h 1597"/>
              <a:gd name="T46" fmla="*/ 594 w 1020"/>
              <a:gd name="T47" fmla="*/ 1572 h 1597"/>
              <a:gd name="T48" fmla="*/ 618 w 1020"/>
              <a:gd name="T49" fmla="*/ 1536 h 1597"/>
              <a:gd name="T50" fmla="*/ 621 w 1020"/>
              <a:gd name="T51" fmla="*/ 1328 h 1597"/>
              <a:gd name="T52" fmla="*/ 622 w 1020"/>
              <a:gd name="T53" fmla="*/ 780 h 1597"/>
              <a:gd name="T54" fmla="*/ 662 w 1020"/>
              <a:gd name="T55" fmla="*/ 967 h 1597"/>
              <a:gd name="T56" fmla="*/ 663 w 1020"/>
              <a:gd name="T57" fmla="*/ 1528 h 1597"/>
              <a:gd name="T58" fmla="*/ 675 w 1020"/>
              <a:gd name="T59" fmla="*/ 1561 h 1597"/>
              <a:gd name="T60" fmla="*/ 710 w 1020"/>
              <a:gd name="T61" fmla="*/ 1589 h 1597"/>
              <a:gd name="T62" fmla="*/ 755 w 1020"/>
              <a:gd name="T63" fmla="*/ 1597 h 1597"/>
              <a:gd name="T64" fmla="*/ 797 w 1020"/>
              <a:gd name="T65" fmla="*/ 1583 h 1597"/>
              <a:gd name="T66" fmla="*/ 817 w 1020"/>
              <a:gd name="T67" fmla="*/ 1565 h 1597"/>
              <a:gd name="T68" fmla="*/ 829 w 1020"/>
              <a:gd name="T69" fmla="*/ 1542 h 1597"/>
              <a:gd name="T70" fmla="*/ 838 w 1020"/>
              <a:gd name="T71" fmla="*/ 1472 h 1597"/>
              <a:gd name="T72" fmla="*/ 838 w 1020"/>
              <a:gd name="T73" fmla="*/ 262 h 1597"/>
              <a:gd name="T74" fmla="*/ 886 w 1020"/>
              <a:gd name="T75" fmla="*/ 658 h 1597"/>
              <a:gd name="T76" fmla="*/ 887 w 1020"/>
              <a:gd name="T77" fmla="*/ 711 h 1597"/>
              <a:gd name="T78" fmla="*/ 900 w 1020"/>
              <a:gd name="T79" fmla="*/ 755 h 1597"/>
              <a:gd name="T80" fmla="*/ 917 w 1020"/>
              <a:gd name="T81" fmla="*/ 773 h 1597"/>
              <a:gd name="T82" fmla="*/ 953 w 1020"/>
              <a:gd name="T83" fmla="*/ 784 h 1597"/>
              <a:gd name="T84" fmla="*/ 990 w 1020"/>
              <a:gd name="T85" fmla="*/ 775 h 1597"/>
              <a:gd name="T86" fmla="*/ 1013 w 1020"/>
              <a:gd name="T87" fmla="*/ 749 h 1597"/>
              <a:gd name="T88" fmla="*/ 1019 w 1020"/>
              <a:gd name="T89" fmla="*/ 665 h 1597"/>
              <a:gd name="T90" fmla="*/ 1019 w 1020"/>
              <a:gd name="T91" fmla="*/ 209 h 1597"/>
              <a:gd name="T92" fmla="*/ 1015 w 1020"/>
              <a:gd name="T93" fmla="*/ 160 h 1597"/>
              <a:gd name="T94" fmla="*/ 993 w 1020"/>
              <a:gd name="T95" fmla="*/ 99 h 1597"/>
              <a:gd name="T96" fmla="*/ 952 w 1020"/>
              <a:gd name="T97" fmla="*/ 50 h 1597"/>
              <a:gd name="T98" fmla="*/ 895 w 1020"/>
              <a:gd name="T99" fmla="*/ 20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20" h="1597">
                <a:moveTo>
                  <a:pt x="877" y="17"/>
                </a:moveTo>
                <a:lnTo>
                  <a:pt x="877" y="17"/>
                </a:lnTo>
                <a:lnTo>
                  <a:pt x="851" y="12"/>
                </a:lnTo>
                <a:lnTo>
                  <a:pt x="823" y="9"/>
                </a:lnTo>
                <a:lnTo>
                  <a:pt x="796" y="6"/>
                </a:lnTo>
                <a:lnTo>
                  <a:pt x="768" y="4"/>
                </a:lnTo>
                <a:lnTo>
                  <a:pt x="714" y="1"/>
                </a:lnTo>
                <a:lnTo>
                  <a:pt x="659" y="0"/>
                </a:lnTo>
                <a:lnTo>
                  <a:pt x="602" y="1"/>
                </a:lnTo>
                <a:lnTo>
                  <a:pt x="547" y="2"/>
                </a:lnTo>
                <a:lnTo>
                  <a:pt x="492" y="2"/>
                </a:lnTo>
                <a:lnTo>
                  <a:pt x="437" y="2"/>
                </a:lnTo>
                <a:lnTo>
                  <a:pt x="437" y="2"/>
                </a:lnTo>
                <a:lnTo>
                  <a:pt x="422" y="3"/>
                </a:lnTo>
                <a:lnTo>
                  <a:pt x="406" y="6"/>
                </a:lnTo>
                <a:lnTo>
                  <a:pt x="392" y="10"/>
                </a:lnTo>
                <a:lnTo>
                  <a:pt x="379" y="16"/>
                </a:lnTo>
                <a:lnTo>
                  <a:pt x="366" y="23"/>
                </a:lnTo>
                <a:lnTo>
                  <a:pt x="354" y="32"/>
                </a:lnTo>
                <a:lnTo>
                  <a:pt x="343" y="42"/>
                </a:lnTo>
                <a:lnTo>
                  <a:pt x="332" y="53"/>
                </a:lnTo>
                <a:lnTo>
                  <a:pt x="321" y="64"/>
                </a:lnTo>
                <a:lnTo>
                  <a:pt x="311" y="75"/>
                </a:lnTo>
                <a:lnTo>
                  <a:pt x="292" y="100"/>
                </a:lnTo>
                <a:lnTo>
                  <a:pt x="272" y="124"/>
                </a:lnTo>
                <a:lnTo>
                  <a:pt x="254" y="147"/>
                </a:lnTo>
                <a:lnTo>
                  <a:pt x="254" y="147"/>
                </a:lnTo>
                <a:lnTo>
                  <a:pt x="222" y="185"/>
                </a:lnTo>
                <a:lnTo>
                  <a:pt x="191" y="224"/>
                </a:lnTo>
                <a:lnTo>
                  <a:pt x="126" y="299"/>
                </a:lnTo>
                <a:lnTo>
                  <a:pt x="95" y="337"/>
                </a:lnTo>
                <a:lnTo>
                  <a:pt x="64" y="376"/>
                </a:lnTo>
                <a:lnTo>
                  <a:pt x="33" y="415"/>
                </a:lnTo>
                <a:lnTo>
                  <a:pt x="19" y="435"/>
                </a:lnTo>
                <a:lnTo>
                  <a:pt x="6" y="456"/>
                </a:lnTo>
                <a:lnTo>
                  <a:pt x="6" y="456"/>
                </a:lnTo>
                <a:lnTo>
                  <a:pt x="3" y="463"/>
                </a:lnTo>
                <a:lnTo>
                  <a:pt x="1" y="470"/>
                </a:lnTo>
                <a:lnTo>
                  <a:pt x="0" y="477"/>
                </a:lnTo>
                <a:lnTo>
                  <a:pt x="0" y="483"/>
                </a:lnTo>
                <a:lnTo>
                  <a:pt x="0" y="490"/>
                </a:lnTo>
                <a:lnTo>
                  <a:pt x="1" y="496"/>
                </a:lnTo>
                <a:lnTo>
                  <a:pt x="2" y="503"/>
                </a:lnTo>
                <a:lnTo>
                  <a:pt x="4" y="509"/>
                </a:lnTo>
                <a:lnTo>
                  <a:pt x="10" y="521"/>
                </a:lnTo>
                <a:lnTo>
                  <a:pt x="17" y="531"/>
                </a:lnTo>
                <a:lnTo>
                  <a:pt x="27" y="540"/>
                </a:lnTo>
                <a:lnTo>
                  <a:pt x="37" y="547"/>
                </a:lnTo>
                <a:lnTo>
                  <a:pt x="49" y="554"/>
                </a:lnTo>
                <a:lnTo>
                  <a:pt x="61" y="559"/>
                </a:lnTo>
                <a:lnTo>
                  <a:pt x="74" y="561"/>
                </a:lnTo>
                <a:lnTo>
                  <a:pt x="86" y="561"/>
                </a:lnTo>
                <a:lnTo>
                  <a:pt x="93" y="560"/>
                </a:lnTo>
                <a:lnTo>
                  <a:pt x="100" y="559"/>
                </a:lnTo>
                <a:lnTo>
                  <a:pt x="106" y="557"/>
                </a:lnTo>
                <a:lnTo>
                  <a:pt x="111" y="554"/>
                </a:lnTo>
                <a:lnTo>
                  <a:pt x="117" y="551"/>
                </a:lnTo>
                <a:lnTo>
                  <a:pt x="123" y="546"/>
                </a:lnTo>
                <a:lnTo>
                  <a:pt x="128" y="541"/>
                </a:lnTo>
                <a:lnTo>
                  <a:pt x="133" y="535"/>
                </a:lnTo>
                <a:lnTo>
                  <a:pt x="133" y="535"/>
                </a:lnTo>
                <a:lnTo>
                  <a:pt x="172" y="492"/>
                </a:lnTo>
                <a:lnTo>
                  <a:pt x="211" y="448"/>
                </a:lnTo>
                <a:lnTo>
                  <a:pt x="248" y="403"/>
                </a:lnTo>
                <a:lnTo>
                  <a:pt x="285" y="358"/>
                </a:lnTo>
                <a:lnTo>
                  <a:pt x="323" y="313"/>
                </a:lnTo>
                <a:lnTo>
                  <a:pt x="359" y="269"/>
                </a:lnTo>
                <a:lnTo>
                  <a:pt x="397" y="225"/>
                </a:lnTo>
                <a:lnTo>
                  <a:pt x="437" y="181"/>
                </a:lnTo>
                <a:lnTo>
                  <a:pt x="437" y="181"/>
                </a:lnTo>
                <a:lnTo>
                  <a:pt x="437" y="509"/>
                </a:lnTo>
                <a:lnTo>
                  <a:pt x="437" y="837"/>
                </a:lnTo>
                <a:lnTo>
                  <a:pt x="437" y="1493"/>
                </a:lnTo>
                <a:lnTo>
                  <a:pt x="437" y="1493"/>
                </a:lnTo>
                <a:lnTo>
                  <a:pt x="439" y="1506"/>
                </a:lnTo>
                <a:lnTo>
                  <a:pt x="441" y="1520"/>
                </a:lnTo>
                <a:lnTo>
                  <a:pt x="444" y="1535"/>
                </a:lnTo>
                <a:lnTo>
                  <a:pt x="448" y="1549"/>
                </a:lnTo>
                <a:lnTo>
                  <a:pt x="454" y="1561"/>
                </a:lnTo>
                <a:lnTo>
                  <a:pt x="457" y="1567"/>
                </a:lnTo>
                <a:lnTo>
                  <a:pt x="461" y="1572"/>
                </a:lnTo>
                <a:lnTo>
                  <a:pt x="467" y="1577"/>
                </a:lnTo>
                <a:lnTo>
                  <a:pt x="473" y="1582"/>
                </a:lnTo>
                <a:lnTo>
                  <a:pt x="479" y="1586"/>
                </a:lnTo>
                <a:lnTo>
                  <a:pt x="485" y="1589"/>
                </a:lnTo>
                <a:lnTo>
                  <a:pt x="485" y="1589"/>
                </a:lnTo>
                <a:lnTo>
                  <a:pt x="496" y="1593"/>
                </a:lnTo>
                <a:lnTo>
                  <a:pt x="507" y="1595"/>
                </a:lnTo>
                <a:lnTo>
                  <a:pt x="519" y="1597"/>
                </a:lnTo>
                <a:lnTo>
                  <a:pt x="531" y="1597"/>
                </a:lnTo>
                <a:lnTo>
                  <a:pt x="542" y="1596"/>
                </a:lnTo>
                <a:lnTo>
                  <a:pt x="553" y="1593"/>
                </a:lnTo>
                <a:lnTo>
                  <a:pt x="565" y="1590"/>
                </a:lnTo>
                <a:lnTo>
                  <a:pt x="575" y="1586"/>
                </a:lnTo>
                <a:lnTo>
                  <a:pt x="585" y="1580"/>
                </a:lnTo>
                <a:lnTo>
                  <a:pt x="594" y="1572"/>
                </a:lnTo>
                <a:lnTo>
                  <a:pt x="601" y="1565"/>
                </a:lnTo>
                <a:lnTo>
                  <a:pt x="609" y="1556"/>
                </a:lnTo>
                <a:lnTo>
                  <a:pt x="614" y="1547"/>
                </a:lnTo>
                <a:lnTo>
                  <a:pt x="618" y="1536"/>
                </a:lnTo>
                <a:lnTo>
                  <a:pt x="620" y="1524"/>
                </a:lnTo>
                <a:lnTo>
                  <a:pt x="621" y="1511"/>
                </a:lnTo>
                <a:lnTo>
                  <a:pt x="621" y="1511"/>
                </a:lnTo>
                <a:lnTo>
                  <a:pt x="621" y="1328"/>
                </a:lnTo>
                <a:lnTo>
                  <a:pt x="621" y="1146"/>
                </a:lnTo>
                <a:lnTo>
                  <a:pt x="621" y="963"/>
                </a:lnTo>
                <a:lnTo>
                  <a:pt x="622" y="780"/>
                </a:lnTo>
                <a:lnTo>
                  <a:pt x="622" y="780"/>
                </a:lnTo>
                <a:lnTo>
                  <a:pt x="661" y="780"/>
                </a:lnTo>
                <a:lnTo>
                  <a:pt x="661" y="780"/>
                </a:lnTo>
                <a:lnTo>
                  <a:pt x="662" y="874"/>
                </a:lnTo>
                <a:lnTo>
                  <a:pt x="662" y="967"/>
                </a:lnTo>
                <a:lnTo>
                  <a:pt x="662" y="1154"/>
                </a:lnTo>
                <a:lnTo>
                  <a:pt x="662" y="1341"/>
                </a:lnTo>
                <a:lnTo>
                  <a:pt x="662" y="1435"/>
                </a:lnTo>
                <a:lnTo>
                  <a:pt x="663" y="1528"/>
                </a:lnTo>
                <a:lnTo>
                  <a:pt x="663" y="1528"/>
                </a:lnTo>
                <a:lnTo>
                  <a:pt x="666" y="1541"/>
                </a:lnTo>
                <a:lnTo>
                  <a:pt x="669" y="1552"/>
                </a:lnTo>
                <a:lnTo>
                  <a:pt x="675" y="1561"/>
                </a:lnTo>
                <a:lnTo>
                  <a:pt x="682" y="1570"/>
                </a:lnTo>
                <a:lnTo>
                  <a:pt x="690" y="1577"/>
                </a:lnTo>
                <a:lnTo>
                  <a:pt x="700" y="1584"/>
                </a:lnTo>
                <a:lnTo>
                  <a:pt x="710" y="1589"/>
                </a:lnTo>
                <a:lnTo>
                  <a:pt x="720" y="1593"/>
                </a:lnTo>
                <a:lnTo>
                  <a:pt x="731" y="1595"/>
                </a:lnTo>
                <a:lnTo>
                  <a:pt x="742" y="1597"/>
                </a:lnTo>
                <a:lnTo>
                  <a:pt x="755" y="1597"/>
                </a:lnTo>
                <a:lnTo>
                  <a:pt x="766" y="1595"/>
                </a:lnTo>
                <a:lnTo>
                  <a:pt x="777" y="1593"/>
                </a:lnTo>
                <a:lnTo>
                  <a:pt x="787" y="1588"/>
                </a:lnTo>
                <a:lnTo>
                  <a:pt x="797" y="1583"/>
                </a:lnTo>
                <a:lnTo>
                  <a:pt x="806" y="1575"/>
                </a:lnTo>
                <a:lnTo>
                  <a:pt x="806" y="1575"/>
                </a:lnTo>
                <a:lnTo>
                  <a:pt x="812" y="1570"/>
                </a:lnTo>
                <a:lnTo>
                  <a:pt x="817" y="1565"/>
                </a:lnTo>
                <a:lnTo>
                  <a:pt x="821" y="1560"/>
                </a:lnTo>
                <a:lnTo>
                  <a:pt x="824" y="1554"/>
                </a:lnTo>
                <a:lnTo>
                  <a:pt x="827" y="1548"/>
                </a:lnTo>
                <a:lnTo>
                  <a:pt x="829" y="1542"/>
                </a:lnTo>
                <a:lnTo>
                  <a:pt x="833" y="1528"/>
                </a:lnTo>
                <a:lnTo>
                  <a:pt x="835" y="1514"/>
                </a:lnTo>
                <a:lnTo>
                  <a:pt x="837" y="1500"/>
                </a:lnTo>
                <a:lnTo>
                  <a:pt x="838" y="1472"/>
                </a:lnTo>
                <a:lnTo>
                  <a:pt x="838" y="1472"/>
                </a:lnTo>
                <a:lnTo>
                  <a:pt x="837" y="867"/>
                </a:lnTo>
                <a:lnTo>
                  <a:pt x="838" y="262"/>
                </a:lnTo>
                <a:lnTo>
                  <a:pt x="838" y="262"/>
                </a:lnTo>
                <a:lnTo>
                  <a:pt x="886" y="261"/>
                </a:lnTo>
                <a:lnTo>
                  <a:pt x="886" y="261"/>
                </a:lnTo>
                <a:lnTo>
                  <a:pt x="886" y="460"/>
                </a:lnTo>
                <a:lnTo>
                  <a:pt x="886" y="658"/>
                </a:lnTo>
                <a:lnTo>
                  <a:pt x="886" y="658"/>
                </a:lnTo>
                <a:lnTo>
                  <a:pt x="886" y="684"/>
                </a:lnTo>
                <a:lnTo>
                  <a:pt x="886" y="698"/>
                </a:lnTo>
                <a:lnTo>
                  <a:pt x="887" y="711"/>
                </a:lnTo>
                <a:lnTo>
                  <a:pt x="889" y="724"/>
                </a:lnTo>
                <a:lnTo>
                  <a:pt x="892" y="738"/>
                </a:lnTo>
                <a:lnTo>
                  <a:pt x="897" y="750"/>
                </a:lnTo>
                <a:lnTo>
                  <a:pt x="900" y="755"/>
                </a:lnTo>
                <a:lnTo>
                  <a:pt x="904" y="761"/>
                </a:lnTo>
                <a:lnTo>
                  <a:pt x="904" y="761"/>
                </a:lnTo>
                <a:lnTo>
                  <a:pt x="910" y="768"/>
                </a:lnTo>
                <a:lnTo>
                  <a:pt x="917" y="773"/>
                </a:lnTo>
                <a:lnTo>
                  <a:pt x="925" y="778"/>
                </a:lnTo>
                <a:lnTo>
                  <a:pt x="935" y="781"/>
                </a:lnTo>
                <a:lnTo>
                  <a:pt x="944" y="784"/>
                </a:lnTo>
                <a:lnTo>
                  <a:pt x="953" y="784"/>
                </a:lnTo>
                <a:lnTo>
                  <a:pt x="963" y="784"/>
                </a:lnTo>
                <a:lnTo>
                  <a:pt x="972" y="781"/>
                </a:lnTo>
                <a:lnTo>
                  <a:pt x="981" y="778"/>
                </a:lnTo>
                <a:lnTo>
                  <a:pt x="990" y="775"/>
                </a:lnTo>
                <a:lnTo>
                  <a:pt x="997" y="770"/>
                </a:lnTo>
                <a:lnTo>
                  <a:pt x="1004" y="764"/>
                </a:lnTo>
                <a:lnTo>
                  <a:pt x="1009" y="757"/>
                </a:lnTo>
                <a:lnTo>
                  <a:pt x="1013" y="749"/>
                </a:lnTo>
                <a:lnTo>
                  <a:pt x="1016" y="740"/>
                </a:lnTo>
                <a:lnTo>
                  <a:pt x="1017" y="729"/>
                </a:lnTo>
                <a:lnTo>
                  <a:pt x="1017" y="729"/>
                </a:lnTo>
                <a:lnTo>
                  <a:pt x="1019" y="665"/>
                </a:lnTo>
                <a:lnTo>
                  <a:pt x="1020" y="600"/>
                </a:lnTo>
                <a:lnTo>
                  <a:pt x="1020" y="470"/>
                </a:lnTo>
                <a:lnTo>
                  <a:pt x="1019" y="340"/>
                </a:lnTo>
                <a:lnTo>
                  <a:pt x="1019" y="209"/>
                </a:lnTo>
                <a:lnTo>
                  <a:pt x="1019" y="209"/>
                </a:lnTo>
                <a:lnTo>
                  <a:pt x="1019" y="193"/>
                </a:lnTo>
                <a:lnTo>
                  <a:pt x="1018" y="177"/>
                </a:lnTo>
                <a:lnTo>
                  <a:pt x="1015" y="160"/>
                </a:lnTo>
                <a:lnTo>
                  <a:pt x="1011" y="145"/>
                </a:lnTo>
                <a:lnTo>
                  <a:pt x="1006" y="129"/>
                </a:lnTo>
                <a:lnTo>
                  <a:pt x="1000" y="114"/>
                </a:lnTo>
                <a:lnTo>
                  <a:pt x="993" y="99"/>
                </a:lnTo>
                <a:lnTo>
                  <a:pt x="985" y="86"/>
                </a:lnTo>
                <a:lnTo>
                  <a:pt x="974" y="72"/>
                </a:lnTo>
                <a:lnTo>
                  <a:pt x="964" y="61"/>
                </a:lnTo>
                <a:lnTo>
                  <a:pt x="952" y="50"/>
                </a:lnTo>
                <a:lnTo>
                  <a:pt x="939" y="41"/>
                </a:lnTo>
                <a:lnTo>
                  <a:pt x="925" y="32"/>
                </a:lnTo>
                <a:lnTo>
                  <a:pt x="910" y="25"/>
                </a:lnTo>
                <a:lnTo>
                  <a:pt x="895" y="20"/>
                </a:lnTo>
                <a:lnTo>
                  <a:pt x="877" y="17"/>
                </a:lnTo>
                <a:lnTo>
                  <a:pt x="877" y="17"/>
                </a:lnTo>
                <a:close/>
              </a:path>
            </a:pathLst>
          </a:custGeom>
          <a:solidFill>
            <a:schemeClr val="accent5">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nvGrpSpPr>
          <p:cNvPr id="3151" name="Group 3150"/>
          <p:cNvGrpSpPr/>
          <p:nvPr/>
        </p:nvGrpSpPr>
        <p:grpSpPr>
          <a:xfrm>
            <a:off x="5481501" y="2738835"/>
            <a:ext cx="1150637" cy="720725"/>
            <a:chOff x="4961090" y="2738834"/>
            <a:chExt cx="1150637" cy="720725"/>
          </a:xfrm>
          <a:solidFill>
            <a:schemeClr val="accent5">
              <a:lumMod val="75000"/>
            </a:schemeClr>
          </a:solidFill>
        </p:grpSpPr>
        <p:sp>
          <p:nvSpPr>
            <p:cNvPr id="2911" name="Freeform 1917"/>
            <p:cNvSpPr>
              <a:spLocks/>
            </p:cNvSpPr>
            <p:nvPr/>
          </p:nvSpPr>
          <p:spPr bwMode="auto">
            <a:xfrm>
              <a:off x="5351314" y="2854721"/>
              <a:ext cx="234950" cy="60325"/>
            </a:xfrm>
            <a:custGeom>
              <a:avLst/>
              <a:gdLst>
                <a:gd name="T0" fmla="*/ 886 w 886"/>
                <a:gd name="T1" fmla="*/ 176 h 230"/>
                <a:gd name="T2" fmla="*/ 514 w 886"/>
                <a:gd name="T3" fmla="*/ 0 h 230"/>
                <a:gd name="T4" fmla="*/ 0 w 886"/>
                <a:gd name="T5" fmla="*/ 42 h 230"/>
                <a:gd name="T6" fmla="*/ 0 w 886"/>
                <a:gd name="T7" fmla="*/ 42 h 230"/>
                <a:gd name="T8" fmla="*/ 345 w 886"/>
                <a:gd name="T9" fmla="*/ 230 h 230"/>
                <a:gd name="T10" fmla="*/ 886 w 886"/>
                <a:gd name="T11" fmla="*/ 176 h 230"/>
              </a:gdLst>
              <a:ahLst/>
              <a:cxnLst>
                <a:cxn ang="0">
                  <a:pos x="T0" y="T1"/>
                </a:cxn>
                <a:cxn ang="0">
                  <a:pos x="T2" y="T3"/>
                </a:cxn>
                <a:cxn ang="0">
                  <a:pos x="T4" y="T5"/>
                </a:cxn>
                <a:cxn ang="0">
                  <a:pos x="T6" y="T7"/>
                </a:cxn>
                <a:cxn ang="0">
                  <a:pos x="T8" y="T9"/>
                </a:cxn>
                <a:cxn ang="0">
                  <a:pos x="T10" y="T11"/>
                </a:cxn>
              </a:cxnLst>
              <a:rect l="0" t="0" r="r" b="b"/>
              <a:pathLst>
                <a:path w="886" h="230">
                  <a:moveTo>
                    <a:pt x="886" y="176"/>
                  </a:moveTo>
                  <a:lnTo>
                    <a:pt x="514" y="0"/>
                  </a:lnTo>
                  <a:lnTo>
                    <a:pt x="0" y="42"/>
                  </a:lnTo>
                  <a:lnTo>
                    <a:pt x="0" y="42"/>
                  </a:lnTo>
                  <a:lnTo>
                    <a:pt x="345" y="230"/>
                  </a:lnTo>
                  <a:lnTo>
                    <a:pt x="886" y="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3" name="Freeform 1919"/>
            <p:cNvSpPr>
              <a:spLocks/>
            </p:cNvSpPr>
            <p:nvPr/>
          </p:nvSpPr>
          <p:spPr bwMode="auto">
            <a:xfrm>
              <a:off x="5760889" y="3070621"/>
              <a:ext cx="350838" cy="234950"/>
            </a:xfrm>
            <a:custGeom>
              <a:avLst/>
              <a:gdLst>
                <a:gd name="T0" fmla="*/ 696 w 1325"/>
                <a:gd name="T1" fmla="*/ 0 h 883"/>
                <a:gd name="T2" fmla="*/ 0 w 1325"/>
                <a:gd name="T3" fmla="*/ 69 h 883"/>
                <a:gd name="T4" fmla="*/ 44 w 1325"/>
                <a:gd name="T5" fmla="*/ 105 h 883"/>
                <a:gd name="T6" fmla="*/ 80 w 1325"/>
                <a:gd name="T7" fmla="*/ 144 h 883"/>
                <a:gd name="T8" fmla="*/ 107 w 1325"/>
                <a:gd name="T9" fmla="*/ 187 h 883"/>
                <a:gd name="T10" fmla="*/ 116 w 1325"/>
                <a:gd name="T11" fmla="*/ 210 h 883"/>
                <a:gd name="T12" fmla="*/ 123 w 1325"/>
                <a:gd name="T13" fmla="*/ 233 h 883"/>
                <a:gd name="T14" fmla="*/ 128 w 1325"/>
                <a:gd name="T15" fmla="*/ 258 h 883"/>
                <a:gd name="T16" fmla="*/ 130 w 1325"/>
                <a:gd name="T17" fmla="*/ 282 h 883"/>
                <a:gd name="T18" fmla="*/ 130 w 1325"/>
                <a:gd name="T19" fmla="*/ 308 h 883"/>
                <a:gd name="T20" fmla="*/ 127 w 1325"/>
                <a:gd name="T21" fmla="*/ 333 h 883"/>
                <a:gd name="T22" fmla="*/ 122 w 1325"/>
                <a:gd name="T23" fmla="*/ 359 h 883"/>
                <a:gd name="T24" fmla="*/ 114 w 1325"/>
                <a:gd name="T25" fmla="*/ 386 h 883"/>
                <a:gd name="T26" fmla="*/ 103 w 1325"/>
                <a:gd name="T27" fmla="*/ 412 h 883"/>
                <a:gd name="T28" fmla="*/ 89 w 1325"/>
                <a:gd name="T29" fmla="*/ 439 h 883"/>
                <a:gd name="T30" fmla="*/ 81 w 1325"/>
                <a:gd name="T31" fmla="*/ 452 h 883"/>
                <a:gd name="T32" fmla="*/ 54 w 1325"/>
                <a:gd name="T33" fmla="*/ 489 h 883"/>
                <a:gd name="T34" fmla="*/ 1273 w 1325"/>
                <a:gd name="T35" fmla="*/ 883 h 883"/>
                <a:gd name="T36" fmla="*/ 1289 w 1325"/>
                <a:gd name="T37" fmla="*/ 851 h 883"/>
                <a:gd name="T38" fmla="*/ 1302 w 1325"/>
                <a:gd name="T39" fmla="*/ 821 h 883"/>
                <a:gd name="T40" fmla="*/ 1311 w 1325"/>
                <a:gd name="T41" fmla="*/ 790 h 883"/>
                <a:gd name="T42" fmla="*/ 1319 w 1325"/>
                <a:gd name="T43" fmla="*/ 760 h 883"/>
                <a:gd name="T44" fmla="*/ 1324 w 1325"/>
                <a:gd name="T45" fmla="*/ 730 h 883"/>
                <a:gd name="T46" fmla="*/ 1325 w 1325"/>
                <a:gd name="T47" fmla="*/ 699 h 883"/>
                <a:gd name="T48" fmla="*/ 1324 w 1325"/>
                <a:gd name="T49" fmla="*/ 670 h 883"/>
                <a:gd name="T50" fmla="*/ 1315 w 1325"/>
                <a:gd name="T51" fmla="*/ 611 h 883"/>
                <a:gd name="T52" fmla="*/ 1297 w 1325"/>
                <a:gd name="T53" fmla="*/ 554 h 883"/>
                <a:gd name="T54" fmla="*/ 1273 w 1325"/>
                <a:gd name="T55" fmla="*/ 499 h 883"/>
                <a:gd name="T56" fmla="*/ 1241 w 1325"/>
                <a:gd name="T57" fmla="*/ 445 h 883"/>
                <a:gd name="T58" fmla="*/ 1204 w 1325"/>
                <a:gd name="T59" fmla="*/ 393 h 883"/>
                <a:gd name="T60" fmla="*/ 1162 w 1325"/>
                <a:gd name="T61" fmla="*/ 343 h 883"/>
                <a:gd name="T62" fmla="*/ 1116 w 1325"/>
                <a:gd name="T63" fmla="*/ 294 h 883"/>
                <a:gd name="T64" fmla="*/ 1069 w 1325"/>
                <a:gd name="T65" fmla="*/ 248 h 883"/>
                <a:gd name="T66" fmla="*/ 995 w 1325"/>
                <a:gd name="T67" fmla="*/ 183 h 883"/>
                <a:gd name="T68" fmla="*/ 896 w 1325"/>
                <a:gd name="T69" fmla="*/ 107 h 883"/>
                <a:gd name="T70" fmla="*/ 851 w 1325"/>
                <a:gd name="T71" fmla="*/ 73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25" h="883">
                  <a:moveTo>
                    <a:pt x="851" y="73"/>
                  </a:moveTo>
                  <a:lnTo>
                    <a:pt x="696" y="0"/>
                  </a:lnTo>
                  <a:lnTo>
                    <a:pt x="0" y="69"/>
                  </a:lnTo>
                  <a:lnTo>
                    <a:pt x="0" y="69"/>
                  </a:lnTo>
                  <a:lnTo>
                    <a:pt x="24" y="86"/>
                  </a:lnTo>
                  <a:lnTo>
                    <a:pt x="44" y="105"/>
                  </a:lnTo>
                  <a:lnTo>
                    <a:pt x="64" y="124"/>
                  </a:lnTo>
                  <a:lnTo>
                    <a:pt x="80" y="144"/>
                  </a:lnTo>
                  <a:lnTo>
                    <a:pt x="94" y="165"/>
                  </a:lnTo>
                  <a:lnTo>
                    <a:pt x="107" y="187"/>
                  </a:lnTo>
                  <a:lnTo>
                    <a:pt x="112" y="199"/>
                  </a:lnTo>
                  <a:lnTo>
                    <a:pt x="116" y="210"/>
                  </a:lnTo>
                  <a:lnTo>
                    <a:pt x="120" y="222"/>
                  </a:lnTo>
                  <a:lnTo>
                    <a:pt x="123" y="233"/>
                  </a:lnTo>
                  <a:lnTo>
                    <a:pt x="126" y="246"/>
                  </a:lnTo>
                  <a:lnTo>
                    <a:pt x="128" y="258"/>
                  </a:lnTo>
                  <a:lnTo>
                    <a:pt x="130" y="270"/>
                  </a:lnTo>
                  <a:lnTo>
                    <a:pt x="130" y="282"/>
                  </a:lnTo>
                  <a:lnTo>
                    <a:pt x="131" y="295"/>
                  </a:lnTo>
                  <a:lnTo>
                    <a:pt x="130" y="308"/>
                  </a:lnTo>
                  <a:lnTo>
                    <a:pt x="129" y="320"/>
                  </a:lnTo>
                  <a:lnTo>
                    <a:pt x="127" y="333"/>
                  </a:lnTo>
                  <a:lnTo>
                    <a:pt x="125" y="346"/>
                  </a:lnTo>
                  <a:lnTo>
                    <a:pt x="122" y="359"/>
                  </a:lnTo>
                  <a:lnTo>
                    <a:pt x="118" y="372"/>
                  </a:lnTo>
                  <a:lnTo>
                    <a:pt x="114" y="386"/>
                  </a:lnTo>
                  <a:lnTo>
                    <a:pt x="109" y="399"/>
                  </a:lnTo>
                  <a:lnTo>
                    <a:pt x="103" y="412"/>
                  </a:lnTo>
                  <a:lnTo>
                    <a:pt x="96" y="425"/>
                  </a:lnTo>
                  <a:lnTo>
                    <a:pt x="89" y="439"/>
                  </a:lnTo>
                  <a:lnTo>
                    <a:pt x="89" y="439"/>
                  </a:lnTo>
                  <a:lnTo>
                    <a:pt x="81" y="452"/>
                  </a:lnTo>
                  <a:lnTo>
                    <a:pt x="72" y="464"/>
                  </a:lnTo>
                  <a:lnTo>
                    <a:pt x="54" y="489"/>
                  </a:lnTo>
                  <a:lnTo>
                    <a:pt x="1273" y="883"/>
                  </a:lnTo>
                  <a:lnTo>
                    <a:pt x="1273" y="883"/>
                  </a:lnTo>
                  <a:lnTo>
                    <a:pt x="1281" y="867"/>
                  </a:lnTo>
                  <a:lnTo>
                    <a:pt x="1289" y="851"/>
                  </a:lnTo>
                  <a:lnTo>
                    <a:pt x="1296" y="836"/>
                  </a:lnTo>
                  <a:lnTo>
                    <a:pt x="1302" y="821"/>
                  </a:lnTo>
                  <a:lnTo>
                    <a:pt x="1307" y="805"/>
                  </a:lnTo>
                  <a:lnTo>
                    <a:pt x="1311" y="790"/>
                  </a:lnTo>
                  <a:lnTo>
                    <a:pt x="1315" y="775"/>
                  </a:lnTo>
                  <a:lnTo>
                    <a:pt x="1319" y="760"/>
                  </a:lnTo>
                  <a:lnTo>
                    <a:pt x="1322" y="744"/>
                  </a:lnTo>
                  <a:lnTo>
                    <a:pt x="1324" y="730"/>
                  </a:lnTo>
                  <a:lnTo>
                    <a:pt x="1325" y="715"/>
                  </a:lnTo>
                  <a:lnTo>
                    <a:pt x="1325" y="699"/>
                  </a:lnTo>
                  <a:lnTo>
                    <a:pt x="1325" y="685"/>
                  </a:lnTo>
                  <a:lnTo>
                    <a:pt x="1324" y="670"/>
                  </a:lnTo>
                  <a:lnTo>
                    <a:pt x="1321" y="640"/>
                  </a:lnTo>
                  <a:lnTo>
                    <a:pt x="1315" y="611"/>
                  </a:lnTo>
                  <a:lnTo>
                    <a:pt x="1307" y="583"/>
                  </a:lnTo>
                  <a:lnTo>
                    <a:pt x="1297" y="554"/>
                  </a:lnTo>
                  <a:lnTo>
                    <a:pt x="1286" y="527"/>
                  </a:lnTo>
                  <a:lnTo>
                    <a:pt x="1273" y="499"/>
                  </a:lnTo>
                  <a:lnTo>
                    <a:pt x="1257" y="471"/>
                  </a:lnTo>
                  <a:lnTo>
                    <a:pt x="1241" y="445"/>
                  </a:lnTo>
                  <a:lnTo>
                    <a:pt x="1222" y="418"/>
                  </a:lnTo>
                  <a:lnTo>
                    <a:pt x="1204" y="393"/>
                  </a:lnTo>
                  <a:lnTo>
                    <a:pt x="1184" y="367"/>
                  </a:lnTo>
                  <a:lnTo>
                    <a:pt x="1162" y="343"/>
                  </a:lnTo>
                  <a:lnTo>
                    <a:pt x="1140" y="318"/>
                  </a:lnTo>
                  <a:lnTo>
                    <a:pt x="1116" y="294"/>
                  </a:lnTo>
                  <a:lnTo>
                    <a:pt x="1093" y="271"/>
                  </a:lnTo>
                  <a:lnTo>
                    <a:pt x="1069" y="248"/>
                  </a:lnTo>
                  <a:lnTo>
                    <a:pt x="1045" y="226"/>
                  </a:lnTo>
                  <a:lnTo>
                    <a:pt x="995" y="183"/>
                  </a:lnTo>
                  <a:lnTo>
                    <a:pt x="946" y="144"/>
                  </a:lnTo>
                  <a:lnTo>
                    <a:pt x="896" y="107"/>
                  </a:lnTo>
                  <a:lnTo>
                    <a:pt x="851" y="73"/>
                  </a:lnTo>
                  <a:lnTo>
                    <a:pt x="851"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4" name="Freeform 1920"/>
            <p:cNvSpPr>
              <a:spLocks/>
            </p:cNvSpPr>
            <p:nvPr/>
          </p:nvSpPr>
          <p:spPr bwMode="auto">
            <a:xfrm>
              <a:off x="5454502" y="2907109"/>
              <a:ext cx="260350" cy="71438"/>
            </a:xfrm>
            <a:custGeom>
              <a:avLst/>
              <a:gdLst>
                <a:gd name="T0" fmla="*/ 984 w 984"/>
                <a:gd name="T1" fmla="*/ 206 h 266"/>
                <a:gd name="T2" fmla="*/ 547 w 984"/>
                <a:gd name="T3" fmla="*/ 0 h 266"/>
                <a:gd name="T4" fmla="*/ 0 w 984"/>
                <a:gd name="T5" fmla="*/ 54 h 266"/>
                <a:gd name="T6" fmla="*/ 0 w 984"/>
                <a:gd name="T7" fmla="*/ 54 h 266"/>
                <a:gd name="T8" fmla="*/ 389 w 984"/>
                <a:gd name="T9" fmla="*/ 266 h 266"/>
                <a:gd name="T10" fmla="*/ 984 w 984"/>
                <a:gd name="T11" fmla="*/ 206 h 266"/>
              </a:gdLst>
              <a:ahLst/>
              <a:cxnLst>
                <a:cxn ang="0">
                  <a:pos x="T0" y="T1"/>
                </a:cxn>
                <a:cxn ang="0">
                  <a:pos x="T2" y="T3"/>
                </a:cxn>
                <a:cxn ang="0">
                  <a:pos x="T4" y="T5"/>
                </a:cxn>
                <a:cxn ang="0">
                  <a:pos x="T6" y="T7"/>
                </a:cxn>
                <a:cxn ang="0">
                  <a:pos x="T8" y="T9"/>
                </a:cxn>
                <a:cxn ang="0">
                  <a:pos x="T10" y="T11"/>
                </a:cxn>
              </a:cxnLst>
              <a:rect l="0" t="0" r="r" b="b"/>
              <a:pathLst>
                <a:path w="984" h="266">
                  <a:moveTo>
                    <a:pt x="984" y="206"/>
                  </a:moveTo>
                  <a:lnTo>
                    <a:pt x="547" y="0"/>
                  </a:lnTo>
                  <a:lnTo>
                    <a:pt x="0" y="54"/>
                  </a:lnTo>
                  <a:lnTo>
                    <a:pt x="0" y="54"/>
                  </a:lnTo>
                  <a:lnTo>
                    <a:pt x="389" y="266"/>
                  </a:lnTo>
                  <a:lnTo>
                    <a:pt x="98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5" name="Freeform 1921"/>
            <p:cNvSpPr>
              <a:spLocks/>
            </p:cNvSpPr>
            <p:nvPr/>
          </p:nvSpPr>
          <p:spPr bwMode="auto">
            <a:xfrm>
              <a:off x="5181452" y="2765821"/>
              <a:ext cx="190500" cy="44450"/>
            </a:xfrm>
            <a:custGeom>
              <a:avLst/>
              <a:gdLst>
                <a:gd name="T0" fmla="*/ 447 w 722"/>
                <a:gd name="T1" fmla="*/ 0 h 167"/>
                <a:gd name="T2" fmla="*/ 0 w 722"/>
                <a:gd name="T3" fmla="*/ 28 h 167"/>
                <a:gd name="T4" fmla="*/ 0 w 722"/>
                <a:gd name="T5" fmla="*/ 28 h 167"/>
                <a:gd name="T6" fmla="*/ 256 w 722"/>
                <a:gd name="T7" fmla="*/ 167 h 167"/>
                <a:gd name="T8" fmla="*/ 722 w 722"/>
                <a:gd name="T9" fmla="*/ 128 h 167"/>
                <a:gd name="T10" fmla="*/ 447 w 722"/>
                <a:gd name="T11" fmla="*/ 0 h 167"/>
              </a:gdLst>
              <a:ahLst/>
              <a:cxnLst>
                <a:cxn ang="0">
                  <a:pos x="T0" y="T1"/>
                </a:cxn>
                <a:cxn ang="0">
                  <a:pos x="T2" y="T3"/>
                </a:cxn>
                <a:cxn ang="0">
                  <a:pos x="T4" y="T5"/>
                </a:cxn>
                <a:cxn ang="0">
                  <a:pos x="T6" y="T7"/>
                </a:cxn>
                <a:cxn ang="0">
                  <a:pos x="T8" y="T9"/>
                </a:cxn>
                <a:cxn ang="0">
                  <a:pos x="T10" y="T11"/>
                </a:cxn>
              </a:cxnLst>
              <a:rect l="0" t="0" r="r" b="b"/>
              <a:pathLst>
                <a:path w="722" h="167">
                  <a:moveTo>
                    <a:pt x="447" y="0"/>
                  </a:moveTo>
                  <a:lnTo>
                    <a:pt x="0" y="28"/>
                  </a:lnTo>
                  <a:lnTo>
                    <a:pt x="0" y="28"/>
                  </a:lnTo>
                  <a:lnTo>
                    <a:pt x="256" y="167"/>
                  </a:lnTo>
                  <a:lnTo>
                    <a:pt x="722" y="128"/>
                  </a:lnTo>
                  <a:lnTo>
                    <a:pt x="4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6" name="Freeform 1922"/>
            <p:cNvSpPr>
              <a:spLocks/>
            </p:cNvSpPr>
            <p:nvPr/>
          </p:nvSpPr>
          <p:spPr bwMode="auto">
            <a:xfrm>
              <a:off x="4961090" y="3242071"/>
              <a:ext cx="294975" cy="217488"/>
            </a:xfrm>
            <a:custGeom>
              <a:avLst/>
              <a:gdLst>
                <a:gd name="T0" fmla="*/ 267 w 1374"/>
                <a:gd name="T1" fmla="*/ 0 h 823"/>
                <a:gd name="T2" fmla="*/ 267 w 1374"/>
                <a:gd name="T3" fmla="*/ 0 h 823"/>
                <a:gd name="T4" fmla="*/ 9 w 1374"/>
                <a:gd name="T5" fmla="*/ 0 h 823"/>
                <a:gd name="T6" fmla="*/ 0 w 1374"/>
                <a:gd name="T7" fmla="*/ 823 h 823"/>
                <a:gd name="T8" fmla="*/ 989 w 1374"/>
                <a:gd name="T9" fmla="*/ 823 h 823"/>
                <a:gd name="T10" fmla="*/ 989 w 1374"/>
                <a:gd name="T11" fmla="*/ 823 h 823"/>
                <a:gd name="T12" fmla="*/ 1374 w 1374"/>
                <a:gd name="T13" fmla="*/ 823 h 823"/>
                <a:gd name="T14" fmla="*/ 267 w 1374"/>
                <a:gd name="T15" fmla="*/ 0 h 823"/>
                <a:gd name="connsiteX0" fmla="*/ 1943 w 10000"/>
                <a:gd name="connsiteY0" fmla="*/ 0 h 10000"/>
                <a:gd name="connsiteX1" fmla="*/ 1943 w 10000"/>
                <a:gd name="connsiteY1" fmla="*/ 0 h 10000"/>
                <a:gd name="connsiteX2" fmla="*/ 0 w 10000"/>
                <a:gd name="connsiteY2" fmla="*/ 10000 h 10000"/>
                <a:gd name="connsiteX3" fmla="*/ 7198 w 10000"/>
                <a:gd name="connsiteY3" fmla="*/ 10000 h 10000"/>
                <a:gd name="connsiteX4" fmla="*/ 7198 w 10000"/>
                <a:gd name="connsiteY4" fmla="*/ 10000 h 10000"/>
                <a:gd name="connsiteX5" fmla="*/ 10000 w 10000"/>
                <a:gd name="connsiteY5" fmla="*/ 10000 h 10000"/>
                <a:gd name="connsiteX6" fmla="*/ 1943 w 10000"/>
                <a:gd name="connsiteY6" fmla="*/ 0 h 10000"/>
                <a:gd name="connsiteX0" fmla="*/ 57 w 8114"/>
                <a:gd name="connsiteY0" fmla="*/ 0 h 10000"/>
                <a:gd name="connsiteX1" fmla="*/ 57 w 8114"/>
                <a:gd name="connsiteY1" fmla="*/ 0 h 10000"/>
                <a:gd name="connsiteX2" fmla="*/ 0 w 8114"/>
                <a:gd name="connsiteY2" fmla="*/ 10000 h 10000"/>
                <a:gd name="connsiteX3" fmla="*/ 5312 w 8114"/>
                <a:gd name="connsiteY3" fmla="*/ 10000 h 10000"/>
                <a:gd name="connsiteX4" fmla="*/ 5312 w 8114"/>
                <a:gd name="connsiteY4" fmla="*/ 10000 h 10000"/>
                <a:gd name="connsiteX5" fmla="*/ 8114 w 8114"/>
                <a:gd name="connsiteY5" fmla="*/ 10000 h 10000"/>
                <a:gd name="connsiteX6" fmla="*/ 57 w 8114"/>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14" h="10000">
                  <a:moveTo>
                    <a:pt x="57" y="0"/>
                  </a:moveTo>
                  <a:lnTo>
                    <a:pt x="57" y="0"/>
                  </a:lnTo>
                  <a:cubicBezTo>
                    <a:pt x="38" y="3333"/>
                    <a:pt x="19" y="6667"/>
                    <a:pt x="0" y="10000"/>
                  </a:cubicBezTo>
                  <a:lnTo>
                    <a:pt x="5312" y="10000"/>
                  </a:lnTo>
                  <a:lnTo>
                    <a:pt x="5312" y="10000"/>
                  </a:lnTo>
                  <a:lnTo>
                    <a:pt x="8114" y="10000"/>
                  </a:ln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7" name="Freeform 1923"/>
            <p:cNvSpPr>
              <a:spLocks/>
            </p:cNvSpPr>
            <p:nvPr/>
          </p:nvSpPr>
          <p:spPr bwMode="auto">
            <a:xfrm>
              <a:off x="5406877" y="3213496"/>
              <a:ext cx="682625" cy="242888"/>
            </a:xfrm>
            <a:custGeom>
              <a:avLst/>
              <a:gdLst>
                <a:gd name="T0" fmla="*/ 1350 w 2581"/>
                <a:gd name="T1" fmla="*/ 0 h 921"/>
                <a:gd name="T2" fmla="*/ 1350 w 2581"/>
                <a:gd name="T3" fmla="*/ 0 h 921"/>
                <a:gd name="T4" fmla="*/ 1338 w 2581"/>
                <a:gd name="T5" fmla="*/ 9 h 921"/>
                <a:gd name="T6" fmla="*/ 1326 w 2581"/>
                <a:gd name="T7" fmla="*/ 18 h 921"/>
                <a:gd name="T8" fmla="*/ 1301 w 2581"/>
                <a:gd name="T9" fmla="*/ 34 h 921"/>
                <a:gd name="T10" fmla="*/ 1276 w 2581"/>
                <a:gd name="T11" fmla="*/ 49 h 921"/>
                <a:gd name="T12" fmla="*/ 1249 w 2581"/>
                <a:gd name="T13" fmla="*/ 61 h 921"/>
                <a:gd name="T14" fmla="*/ 1222 w 2581"/>
                <a:gd name="T15" fmla="*/ 72 h 921"/>
                <a:gd name="T16" fmla="*/ 1193 w 2581"/>
                <a:gd name="T17" fmla="*/ 81 h 921"/>
                <a:gd name="T18" fmla="*/ 1165 w 2581"/>
                <a:gd name="T19" fmla="*/ 90 h 921"/>
                <a:gd name="T20" fmla="*/ 1135 w 2581"/>
                <a:gd name="T21" fmla="*/ 96 h 921"/>
                <a:gd name="T22" fmla="*/ 1105 w 2581"/>
                <a:gd name="T23" fmla="*/ 102 h 921"/>
                <a:gd name="T24" fmla="*/ 1075 w 2581"/>
                <a:gd name="T25" fmla="*/ 106 h 921"/>
                <a:gd name="T26" fmla="*/ 1044 w 2581"/>
                <a:gd name="T27" fmla="*/ 109 h 921"/>
                <a:gd name="T28" fmla="*/ 1013 w 2581"/>
                <a:gd name="T29" fmla="*/ 111 h 921"/>
                <a:gd name="T30" fmla="*/ 983 w 2581"/>
                <a:gd name="T31" fmla="*/ 112 h 921"/>
                <a:gd name="T32" fmla="*/ 952 w 2581"/>
                <a:gd name="T33" fmla="*/ 113 h 921"/>
                <a:gd name="T34" fmla="*/ 893 w 2581"/>
                <a:gd name="T35" fmla="*/ 113 h 921"/>
                <a:gd name="T36" fmla="*/ 893 w 2581"/>
                <a:gd name="T37" fmla="*/ 113 h 921"/>
                <a:gd name="T38" fmla="*/ 706 w 2581"/>
                <a:gd name="T39" fmla="*/ 112 h 921"/>
                <a:gd name="T40" fmla="*/ 519 w 2581"/>
                <a:gd name="T41" fmla="*/ 111 h 921"/>
                <a:gd name="T42" fmla="*/ 146 w 2581"/>
                <a:gd name="T43" fmla="*/ 110 h 921"/>
                <a:gd name="T44" fmla="*/ 146 w 2581"/>
                <a:gd name="T45" fmla="*/ 110 h 921"/>
                <a:gd name="T46" fmla="*/ 0 w 2581"/>
                <a:gd name="T47" fmla="*/ 109 h 921"/>
                <a:gd name="T48" fmla="*/ 1094 w 2581"/>
                <a:gd name="T49" fmla="*/ 921 h 921"/>
                <a:gd name="T50" fmla="*/ 1094 w 2581"/>
                <a:gd name="T51" fmla="*/ 921 h 921"/>
                <a:gd name="T52" fmla="*/ 1197 w 2581"/>
                <a:gd name="T53" fmla="*/ 915 h 921"/>
                <a:gd name="T54" fmla="*/ 1303 w 2581"/>
                <a:gd name="T55" fmla="*/ 906 h 921"/>
                <a:gd name="T56" fmla="*/ 1356 w 2581"/>
                <a:gd name="T57" fmla="*/ 901 h 921"/>
                <a:gd name="T58" fmla="*/ 1409 w 2581"/>
                <a:gd name="T59" fmla="*/ 896 h 921"/>
                <a:gd name="T60" fmla="*/ 1463 w 2581"/>
                <a:gd name="T61" fmla="*/ 890 h 921"/>
                <a:gd name="T62" fmla="*/ 1517 w 2581"/>
                <a:gd name="T63" fmla="*/ 883 h 921"/>
                <a:gd name="T64" fmla="*/ 1570 w 2581"/>
                <a:gd name="T65" fmla="*/ 874 h 921"/>
                <a:gd name="T66" fmla="*/ 1624 w 2581"/>
                <a:gd name="T67" fmla="*/ 865 h 921"/>
                <a:gd name="T68" fmla="*/ 1678 w 2581"/>
                <a:gd name="T69" fmla="*/ 856 h 921"/>
                <a:gd name="T70" fmla="*/ 1731 w 2581"/>
                <a:gd name="T71" fmla="*/ 846 h 921"/>
                <a:gd name="T72" fmla="*/ 1784 w 2581"/>
                <a:gd name="T73" fmla="*/ 835 h 921"/>
                <a:gd name="T74" fmla="*/ 1836 w 2581"/>
                <a:gd name="T75" fmla="*/ 822 h 921"/>
                <a:gd name="T76" fmla="*/ 1887 w 2581"/>
                <a:gd name="T77" fmla="*/ 809 h 921"/>
                <a:gd name="T78" fmla="*/ 1938 w 2581"/>
                <a:gd name="T79" fmla="*/ 795 h 921"/>
                <a:gd name="T80" fmla="*/ 1988 w 2581"/>
                <a:gd name="T81" fmla="*/ 779 h 921"/>
                <a:gd name="T82" fmla="*/ 2038 w 2581"/>
                <a:gd name="T83" fmla="*/ 763 h 921"/>
                <a:gd name="T84" fmla="*/ 2086 w 2581"/>
                <a:gd name="T85" fmla="*/ 746 h 921"/>
                <a:gd name="T86" fmla="*/ 2133 w 2581"/>
                <a:gd name="T87" fmla="*/ 727 h 921"/>
                <a:gd name="T88" fmla="*/ 2179 w 2581"/>
                <a:gd name="T89" fmla="*/ 707 h 921"/>
                <a:gd name="T90" fmla="*/ 2224 w 2581"/>
                <a:gd name="T91" fmla="*/ 685 h 921"/>
                <a:gd name="T92" fmla="*/ 2268 w 2581"/>
                <a:gd name="T93" fmla="*/ 664 h 921"/>
                <a:gd name="T94" fmla="*/ 2310 w 2581"/>
                <a:gd name="T95" fmla="*/ 639 h 921"/>
                <a:gd name="T96" fmla="*/ 2350 w 2581"/>
                <a:gd name="T97" fmla="*/ 615 h 921"/>
                <a:gd name="T98" fmla="*/ 2389 w 2581"/>
                <a:gd name="T99" fmla="*/ 588 h 921"/>
                <a:gd name="T100" fmla="*/ 2426 w 2581"/>
                <a:gd name="T101" fmla="*/ 561 h 921"/>
                <a:gd name="T102" fmla="*/ 2461 w 2581"/>
                <a:gd name="T103" fmla="*/ 531 h 921"/>
                <a:gd name="T104" fmla="*/ 2478 w 2581"/>
                <a:gd name="T105" fmla="*/ 516 h 921"/>
                <a:gd name="T106" fmla="*/ 2494 w 2581"/>
                <a:gd name="T107" fmla="*/ 500 h 921"/>
                <a:gd name="T108" fmla="*/ 2509 w 2581"/>
                <a:gd name="T109" fmla="*/ 484 h 921"/>
                <a:gd name="T110" fmla="*/ 2525 w 2581"/>
                <a:gd name="T111" fmla="*/ 468 h 921"/>
                <a:gd name="T112" fmla="*/ 2540 w 2581"/>
                <a:gd name="T113" fmla="*/ 450 h 921"/>
                <a:gd name="T114" fmla="*/ 2554 w 2581"/>
                <a:gd name="T115" fmla="*/ 434 h 921"/>
                <a:gd name="T116" fmla="*/ 2568 w 2581"/>
                <a:gd name="T117" fmla="*/ 416 h 921"/>
                <a:gd name="T118" fmla="*/ 2581 w 2581"/>
                <a:gd name="T119" fmla="*/ 398 h 921"/>
                <a:gd name="T120" fmla="*/ 1350 w 2581"/>
                <a:gd name="T121" fmla="*/ 0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81" h="921">
                  <a:moveTo>
                    <a:pt x="1350" y="0"/>
                  </a:moveTo>
                  <a:lnTo>
                    <a:pt x="1350" y="0"/>
                  </a:lnTo>
                  <a:lnTo>
                    <a:pt x="1338" y="9"/>
                  </a:lnTo>
                  <a:lnTo>
                    <a:pt x="1326" y="18"/>
                  </a:lnTo>
                  <a:lnTo>
                    <a:pt x="1301" y="34"/>
                  </a:lnTo>
                  <a:lnTo>
                    <a:pt x="1276" y="49"/>
                  </a:lnTo>
                  <a:lnTo>
                    <a:pt x="1249" y="61"/>
                  </a:lnTo>
                  <a:lnTo>
                    <a:pt x="1222" y="72"/>
                  </a:lnTo>
                  <a:lnTo>
                    <a:pt x="1193" y="81"/>
                  </a:lnTo>
                  <a:lnTo>
                    <a:pt x="1165" y="90"/>
                  </a:lnTo>
                  <a:lnTo>
                    <a:pt x="1135" y="96"/>
                  </a:lnTo>
                  <a:lnTo>
                    <a:pt x="1105" y="102"/>
                  </a:lnTo>
                  <a:lnTo>
                    <a:pt x="1075" y="106"/>
                  </a:lnTo>
                  <a:lnTo>
                    <a:pt x="1044" y="109"/>
                  </a:lnTo>
                  <a:lnTo>
                    <a:pt x="1013" y="111"/>
                  </a:lnTo>
                  <a:lnTo>
                    <a:pt x="983" y="112"/>
                  </a:lnTo>
                  <a:lnTo>
                    <a:pt x="952" y="113"/>
                  </a:lnTo>
                  <a:lnTo>
                    <a:pt x="893" y="113"/>
                  </a:lnTo>
                  <a:lnTo>
                    <a:pt x="893" y="113"/>
                  </a:lnTo>
                  <a:lnTo>
                    <a:pt x="706" y="112"/>
                  </a:lnTo>
                  <a:lnTo>
                    <a:pt x="519" y="111"/>
                  </a:lnTo>
                  <a:lnTo>
                    <a:pt x="146" y="110"/>
                  </a:lnTo>
                  <a:lnTo>
                    <a:pt x="146" y="110"/>
                  </a:lnTo>
                  <a:lnTo>
                    <a:pt x="0" y="109"/>
                  </a:lnTo>
                  <a:lnTo>
                    <a:pt x="1094" y="921"/>
                  </a:lnTo>
                  <a:lnTo>
                    <a:pt x="1094" y="921"/>
                  </a:lnTo>
                  <a:lnTo>
                    <a:pt x="1197" y="915"/>
                  </a:lnTo>
                  <a:lnTo>
                    <a:pt x="1303" y="906"/>
                  </a:lnTo>
                  <a:lnTo>
                    <a:pt x="1356" y="901"/>
                  </a:lnTo>
                  <a:lnTo>
                    <a:pt x="1409" y="896"/>
                  </a:lnTo>
                  <a:lnTo>
                    <a:pt x="1463" y="890"/>
                  </a:lnTo>
                  <a:lnTo>
                    <a:pt x="1517" y="883"/>
                  </a:lnTo>
                  <a:lnTo>
                    <a:pt x="1570" y="874"/>
                  </a:lnTo>
                  <a:lnTo>
                    <a:pt x="1624" y="865"/>
                  </a:lnTo>
                  <a:lnTo>
                    <a:pt x="1678" y="856"/>
                  </a:lnTo>
                  <a:lnTo>
                    <a:pt x="1731" y="846"/>
                  </a:lnTo>
                  <a:lnTo>
                    <a:pt x="1784" y="835"/>
                  </a:lnTo>
                  <a:lnTo>
                    <a:pt x="1836" y="822"/>
                  </a:lnTo>
                  <a:lnTo>
                    <a:pt x="1887" y="809"/>
                  </a:lnTo>
                  <a:lnTo>
                    <a:pt x="1938" y="795"/>
                  </a:lnTo>
                  <a:lnTo>
                    <a:pt x="1988" y="779"/>
                  </a:lnTo>
                  <a:lnTo>
                    <a:pt x="2038" y="763"/>
                  </a:lnTo>
                  <a:lnTo>
                    <a:pt x="2086" y="746"/>
                  </a:lnTo>
                  <a:lnTo>
                    <a:pt x="2133" y="727"/>
                  </a:lnTo>
                  <a:lnTo>
                    <a:pt x="2179" y="707"/>
                  </a:lnTo>
                  <a:lnTo>
                    <a:pt x="2224" y="685"/>
                  </a:lnTo>
                  <a:lnTo>
                    <a:pt x="2268" y="664"/>
                  </a:lnTo>
                  <a:lnTo>
                    <a:pt x="2310" y="639"/>
                  </a:lnTo>
                  <a:lnTo>
                    <a:pt x="2350" y="615"/>
                  </a:lnTo>
                  <a:lnTo>
                    <a:pt x="2389" y="588"/>
                  </a:lnTo>
                  <a:lnTo>
                    <a:pt x="2426" y="561"/>
                  </a:lnTo>
                  <a:lnTo>
                    <a:pt x="2461" y="531"/>
                  </a:lnTo>
                  <a:lnTo>
                    <a:pt x="2478" y="516"/>
                  </a:lnTo>
                  <a:lnTo>
                    <a:pt x="2494" y="500"/>
                  </a:lnTo>
                  <a:lnTo>
                    <a:pt x="2509" y="484"/>
                  </a:lnTo>
                  <a:lnTo>
                    <a:pt x="2525" y="468"/>
                  </a:lnTo>
                  <a:lnTo>
                    <a:pt x="2540" y="450"/>
                  </a:lnTo>
                  <a:lnTo>
                    <a:pt x="2554" y="434"/>
                  </a:lnTo>
                  <a:lnTo>
                    <a:pt x="2568" y="416"/>
                  </a:lnTo>
                  <a:lnTo>
                    <a:pt x="2581" y="398"/>
                  </a:lnTo>
                  <a:lnTo>
                    <a:pt x="13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8" name="Freeform 1924"/>
            <p:cNvSpPr>
              <a:spLocks/>
            </p:cNvSpPr>
            <p:nvPr/>
          </p:nvSpPr>
          <p:spPr bwMode="auto">
            <a:xfrm>
              <a:off x="4987777" y="3242071"/>
              <a:ext cx="682625" cy="217488"/>
            </a:xfrm>
            <a:custGeom>
              <a:avLst/>
              <a:gdLst>
                <a:gd name="T0" fmla="*/ 1479 w 2579"/>
                <a:gd name="T1" fmla="*/ 1 h 824"/>
                <a:gd name="T2" fmla="*/ 1479 w 2579"/>
                <a:gd name="T3" fmla="*/ 1 h 824"/>
                <a:gd name="T4" fmla="*/ 1118 w 2579"/>
                <a:gd name="T5" fmla="*/ 0 h 824"/>
                <a:gd name="T6" fmla="*/ 757 w 2579"/>
                <a:gd name="T7" fmla="*/ 1 h 824"/>
                <a:gd name="T8" fmla="*/ 395 w 2579"/>
                <a:gd name="T9" fmla="*/ 1 h 824"/>
                <a:gd name="T10" fmla="*/ 35 w 2579"/>
                <a:gd name="T11" fmla="*/ 1 h 824"/>
                <a:gd name="T12" fmla="*/ 35 w 2579"/>
                <a:gd name="T13" fmla="*/ 1 h 824"/>
                <a:gd name="T14" fmla="*/ 0 w 2579"/>
                <a:gd name="T15" fmla="*/ 1 h 824"/>
                <a:gd name="T16" fmla="*/ 1108 w 2579"/>
                <a:gd name="T17" fmla="*/ 824 h 824"/>
                <a:gd name="T18" fmla="*/ 1108 w 2579"/>
                <a:gd name="T19" fmla="*/ 824 h 824"/>
                <a:gd name="T20" fmla="*/ 2237 w 2579"/>
                <a:gd name="T21" fmla="*/ 824 h 824"/>
                <a:gd name="T22" fmla="*/ 2237 w 2579"/>
                <a:gd name="T23" fmla="*/ 824 h 824"/>
                <a:gd name="T24" fmla="*/ 2314 w 2579"/>
                <a:gd name="T25" fmla="*/ 823 h 824"/>
                <a:gd name="T26" fmla="*/ 2398 w 2579"/>
                <a:gd name="T27" fmla="*/ 822 h 824"/>
                <a:gd name="T28" fmla="*/ 2487 w 2579"/>
                <a:gd name="T29" fmla="*/ 821 h 824"/>
                <a:gd name="T30" fmla="*/ 2579 w 2579"/>
                <a:gd name="T31" fmla="*/ 818 h 824"/>
                <a:gd name="T32" fmla="*/ 1479 w 2579"/>
                <a:gd name="T33" fmla="*/ 1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79" h="824">
                  <a:moveTo>
                    <a:pt x="1479" y="1"/>
                  </a:moveTo>
                  <a:lnTo>
                    <a:pt x="1479" y="1"/>
                  </a:lnTo>
                  <a:lnTo>
                    <a:pt x="1118" y="0"/>
                  </a:lnTo>
                  <a:lnTo>
                    <a:pt x="757" y="1"/>
                  </a:lnTo>
                  <a:lnTo>
                    <a:pt x="395" y="1"/>
                  </a:lnTo>
                  <a:lnTo>
                    <a:pt x="35" y="1"/>
                  </a:lnTo>
                  <a:lnTo>
                    <a:pt x="35" y="1"/>
                  </a:lnTo>
                  <a:lnTo>
                    <a:pt x="0" y="1"/>
                  </a:lnTo>
                  <a:lnTo>
                    <a:pt x="1108" y="824"/>
                  </a:lnTo>
                  <a:lnTo>
                    <a:pt x="1108" y="824"/>
                  </a:lnTo>
                  <a:lnTo>
                    <a:pt x="2237" y="824"/>
                  </a:lnTo>
                  <a:lnTo>
                    <a:pt x="2237" y="824"/>
                  </a:lnTo>
                  <a:lnTo>
                    <a:pt x="2314" y="823"/>
                  </a:lnTo>
                  <a:lnTo>
                    <a:pt x="2398" y="822"/>
                  </a:lnTo>
                  <a:lnTo>
                    <a:pt x="2487" y="821"/>
                  </a:lnTo>
                  <a:lnTo>
                    <a:pt x="2579" y="818"/>
                  </a:lnTo>
                  <a:lnTo>
                    <a:pt x="147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19" name="Freeform 1925"/>
            <p:cNvSpPr>
              <a:spLocks/>
            </p:cNvSpPr>
            <p:nvPr/>
          </p:nvSpPr>
          <p:spPr bwMode="auto">
            <a:xfrm>
              <a:off x="5116364" y="2738834"/>
              <a:ext cx="168275" cy="26988"/>
            </a:xfrm>
            <a:custGeom>
              <a:avLst/>
              <a:gdLst>
                <a:gd name="T0" fmla="*/ 639 w 639"/>
                <a:gd name="T1" fmla="*/ 79 h 108"/>
                <a:gd name="T2" fmla="*/ 472 w 639"/>
                <a:gd name="T3" fmla="*/ 0 h 108"/>
                <a:gd name="T4" fmla="*/ 0 w 639"/>
                <a:gd name="T5" fmla="*/ 0 h 108"/>
                <a:gd name="T6" fmla="*/ 0 w 639"/>
                <a:gd name="T7" fmla="*/ 0 h 108"/>
                <a:gd name="T8" fmla="*/ 197 w 639"/>
                <a:gd name="T9" fmla="*/ 108 h 108"/>
                <a:gd name="T10" fmla="*/ 639 w 639"/>
                <a:gd name="T11" fmla="*/ 79 h 108"/>
              </a:gdLst>
              <a:ahLst/>
              <a:cxnLst>
                <a:cxn ang="0">
                  <a:pos x="T0" y="T1"/>
                </a:cxn>
                <a:cxn ang="0">
                  <a:pos x="T2" y="T3"/>
                </a:cxn>
                <a:cxn ang="0">
                  <a:pos x="T4" y="T5"/>
                </a:cxn>
                <a:cxn ang="0">
                  <a:pos x="T6" y="T7"/>
                </a:cxn>
                <a:cxn ang="0">
                  <a:pos x="T8" y="T9"/>
                </a:cxn>
                <a:cxn ang="0">
                  <a:pos x="T10" y="T11"/>
                </a:cxn>
              </a:cxnLst>
              <a:rect l="0" t="0" r="r" b="b"/>
              <a:pathLst>
                <a:path w="639" h="108">
                  <a:moveTo>
                    <a:pt x="639" y="79"/>
                  </a:moveTo>
                  <a:lnTo>
                    <a:pt x="472" y="0"/>
                  </a:lnTo>
                  <a:lnTo>
                    <a:pt x="0" y="0"/>
                  </a:lnTo>
                  <a:lnTo>
                    <a:pt x="0" y="0"/>
                  </a:lnTo>
                  <a:lnTo>
                    <a:pt x="197" y="108"/>
                  </a:lnTo>
                  <a:lnTo>
                    <a:pt x="63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20" name="Freeform 1926"/>
            <p:cNvSpPr>
              <a:spLocks/>
            </p:cNvSpPr>
            <p:nvPr/>
          </p:nvSpPr>
          <p:spPr bwMode="auto">
            <a:xfrm>
              <a:off x="5583089" y="2975371"/>
              <a:ext cx="334963" cy="100013"/>
            </a:xfrm>
            <a:custGeom>
              <a:avLst/>
              <a:gdLst>
                <a:gd name="T0" fmla="*/ 1267 w 1267"/>
                <a:gd name="T1" fmla="*/ 313 h 380"/>
                <a:gd name="T2" fmla="*/ 606 w 1267"/>
                <a:gd name="T3" fmla="*/ 0 h 380"/>
                <a:gd name="T4" fmla="*/ 0 w 1267"/>
                <a:gd name="T5" fmla="*/ 60 h 380"/>
                <a:gd name="T6" fmla="*/ 0 w 1267"/>
                <a:gd name="T7" fmla="*/ 60 h 380"/>
                <a:gd name="T8" fmla="*/ 588 w 1267"/>
                <a:gd name="T9" fmla="*/ 380 h 380"/>
                <a:gd name="T10" fmla="*/ 1267 w 1267"/>
                <a:gd name="T11" fmla="*/ 313 h 380"/>
              </a:gdLst>
              <a:ahLst/>
              <a:cxnLst>
                <a:cxn ang="0">
                  <a:pos x="T0" y="T1"/>
                </a:cxn>
                <a:cxn ang="0">
                  <a:pos x="T2" y="T3"/>
                </a:cxn>
                <a:cxn ang="0">
                  <a:pos x="T4" y="T5"/>
                </a:cxn>
                <a:cxn ang="0">
                  <a:pos x="T6" y="T7"/>
                </a:cxn>
                <a:cxn ang="0">
                  <a:pos x="T8" y="T9"/>
                </a:cxn>
                <a:cxn ang="0">
                  <a:pos x="T10" y="T11"/>
                </a:cxn>
              </a:cxnLst>
              <a:rect l="0" t="0" r="r" b="b"/>
              <a:pathLst>
                <a:path w="1267" h="380">
                  <a:moveTo>
                    <a:pt x="1267" y="313"/>
                  </a:moveTo>
                  <a:lnTo>
                    <a:pt x="606" y="0"/>
                  </a:lnTo>
                  <a:lnTo>
                    <a:pt x="0" y="60"/>
                  </a:lnTo>
                  <a:lnTo>
                    <a:pt x="0" y="60"/>
                  </a:lnTo>
                  <a:lnTo>
                    <a:pt x="588" y="380"/>
                  </a:lnTo>
                  <a:lnTo>
                    <a:pt x="1267"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28" name="Freeform 2030"/>
            <p:cNvSpPr>
              <a:spLocks/>
            </p:cNvSpPr>
            <p:nvPr/>
          </p:nvSpPr>
          <p:spPr bwMode="auto">
            <a:xfrm>
              <a:off x="5275725" y="2752849"/>
              <a:ext cx="185127" cy="84683"/>
            </a:xfrm>
            <a:custGeom>
              <a:avLst/>
              <a:gdLst>
                <a:gd name="T0" fmla="*/ 495 w 495"/>
                <a:gd name="T1" fmla="*/ 9 h 431"/>
                <a:gd name="T2" fmla="*/ 495 w 495"/>
                <a:gd name="T3" fmla="*/ 9 h 431"/>
                <a:gd name="T4" fmla="*/ 495 w 495"/>
                <a:gd name="T5" fmla="*/ 6 h 431"/>
                <a:gd name="T6" fmla="*/ 493 w 495"/>
                <a:gd name="T7" fmla="*/ 2 h 431"/>
                <a:gd name="T8" fmla="*/ 491 w 495"/>
                <a:gd name="T9" fmla="*/ 1 h 431"/>
                <a:gd name="T10" fmla="*/ 487 w 495"/>
                <a:gd name="T11" fmla="*/ 0 h 431"/>
                <a:gd name="T12" fmla="*/ 9 w 495"/>
                <a:gd name="T13" fmla="*/ 0 h 431"/>
                <a:gd name="T14" fmla="*/ 9 w 495"/>
                <a:gd name="T15" fmla="*/ 0 h 431"/>
                <a:gd name="T16" fmla="*/ 6 w 495"/>
                <a:gd name="T17" fmla="*/ 1 h 431"/>
                <a:gd name="T18" fmla="*/ 4 w 495"/>
                <a:gd name="T19" fmla="*/ 2 h 431"/>
                <a:gd name="T20" fmla="*/ 1 w 495"/>
                <a:gd name="T21" fmla="*/ 6 h 431"/>
                <a:gd name="T22" fmla="*/ 0 w 495"/>
                <a:gd name="T23" fmla="*/ 9 h 431"/>
                <a:gd name="T24" fmla="*/ 0 w 495"/>
                <a:gd name="T25" fmla="*/ 422 h 431"/>
                <a:gd name="T26" fmla="*/ 0 w 495"/>
                <a:gd name="T27" fmla="*/ 422 h 431"/>
                <a:gd name="T28" fmla="*/ 1 w 495"/>
                <a:gd name="T29" fmla="*/ 425 h 431"/>
                <a:gd name="T30" fmla="*/ 4 w 495"/>
                <a:gd name="T31" fmla="*/ 428 h 431"/>
                <a:gd name="T32" fmla="*/ 6 w 495"/>
                <a:gd name="T33" fmla="*/ 430 h 431"/>
                <a:gd name="T34" fmla="*/ 9 w 495"/>
                <a:gd name="T35" fmla="*/ 431 h 431"/>
                <a:gd name="T36" fmla="*/ 487 w 495"/>
                <a:gd name="T37" fmla="*/ 431 h 431"/>
                <a:gd name="T38" fmla="*/ 487 w 495"/>
                <a:gd name="T39" fmla="*/ 431 h 431"/>
                <a:gd name="T40" fmla="*/ 491 w 495"/>
                <a:gd name="T41" fmla="*/ 430 h 431"/>
                <a:gd name="T42" fmla="*/ 493 w 495"/>
                <a:gd name="T43" fmla="*/ 428 h 431"/>
                <a:gd name="T44" fmla="*/ 495 w 495"/>
                <a:gd name="T45" fmla="*/ 425 h 431"/>
                <a:gd name="T46" fmla="*/ 495 w 495"/>
                <a:gd name="T47" fmla="*/ 422 h 431"/>
                <a:gd name="T48" fmla="*/ 495 w 495"/>
                <a:gd name="T49" fmla="*/ 9 h 431"/>
                <a:gd name="connsiteX0" fmla="*/ 7300 w 10000"/>
                <a:gd name="connsiteY0" fmla="*/ 1787 h 10000"/>
                <a:gd name="connsiteX1" fmla="*/ 10000 w 10000"/>
                <a:gd name="connsiteY1" fmla="*/ 209 h 10000"/>
                <a:gd name="connsiteX2" fmla="*/ 10000 w 10000"/>
                <a:gd name="connsiteY2" fmla="*/ 139 h 10000"/>
                <a:gd name="connsiteX3" fmla="*/ 9960 w 10000"/>
                <a:gd name="connsiteY3" fmla="*/ 46 h 10000"/>
                <a:gd name="connsiteX4" fmla="*/ 9919 w 10000"/>
                <a:gd name="connsiteY4" fmla="*/ 23 h 10000"/>
                <a:gd name="connsiteX5" fmla="*/ 9838 w 10000"/>
                <a:gd name="connsiteY5" fmla="*/ 0 h 10000"/>
                <a:gd name="connsiteX6" fmla="*/ 182 w 10000"/>
                <a:gd name="connsiteY6" fmla="*/ 0 h 10000"/>
                <a:gd name="connsiteX7" fmla="*/ 182 w 10000"/>
                <a:gd name="connsiteY7" fmla="*/ 0 h 10000"/>
                <a:gd name="connsiteX8" fmla="*/ 121 w 10000"/>
                <a:gd name="connsiteY8" fmla="*/ 23 h 10000"/>
                <a:gd name="connsiteX9" fmla="*/ 81 w 10000"/>
                <a:gd name="connsiteY9" fmla="*/ 46 h 10000"/>
                <a:gd name="connsiteX10" fmla="*/ 20 w 10000"/>
                <a:gd name="connsiteY10" fmla="*/ 139 h 10000"/>
                <a:gd name="connsiteX11" fmla="*/ 0 w 10000"/>
                <a:gd name="connsiteY11" fmla="*/ 209 h 10000"/>
                <a:gd name="connsiteX12" fmla="*/ 0 w 10000"/>
                <a:gd name="connsiteY12" fmla="*/ 9791 h 10000"/>
                <a:gd name="connsiteX13" fmla="*/ 0 w 10000"/>
                <a:gd name="connsiteY13" fmla="*/ 9791 h 10000"/>
                <a:gd name="connsiteX14" fmla="*/ 20 w 10000"/>
                <a:gd name="connsiteY14" fmla="*/ 9861 h 10000"/>
                <a:gd name="connsiteX15" fmla="*/ 81 w 10000"/>
                <a:gd name="connsiteY15" fmla="*/ 9930 h 10000"/>
                <a:gd name="connsiteX16" fmla="*/ 121 w 10000"/>
                <a:gd name="connsiteY16" fmla="*/ 9977 h 10000"/>
                <a:gd name="connsiteX17" fmla="*/ 182 w 10000"/>
                <a:gd name="connsiteY17" fmla="*/ 10000 h 10000"/>
                <a:gd name="connsiteX18" fmla="*/ 9838 w 10000"/>
                <a:gd name="connsiteY18" fmla="*/ 10000 h 10000"/>
                <a:gd name="connsiteX19" fmla="*/ 9838 w 10000"/>
                <a:gd name="connsiteY19" fmla="*/ 10000 h 10000"/>
                <a:gd name="connsiteX20" fmla="*/ 9919 w 10000"/>
                <a:gd name="connsiteY20" fmla="*/ 9977 h 10000"/>
                <a:gd name="connsiteX21" fmla="*/ 9960 w 10000"/>
                <a:gd name="connsiteY21" fmla="*/ 9930 h 10000"/>
                <a:gd name="connsiteX22" fmla="*/ 10000 w 10000"/>
                <a:gd name="connsiteY22" fmla="*/ 9861 h 10000"/>
                <a:gd name="connsiteX23" fmla="*/ 10000 w 10000"/>
                <a:gd name="connsiteY23" fmla="*/ 9791 h 10000"/>
                <a:gd name="connsiteX24" fmla="*/ 7300 w 10000"/>
                <a:gd name="connsiteY24" fmla="*/ 1787 h 10000"/>
                <a:gd name="connsiteX0" fmla="*/ 11350 w 14050"/>
                <a:gd name="connsiteY0" fmla="*/ 1787 h 10000"/>
                <a:gd name="connsiteX1" fmla="*/ 14050 w 14050"/>
                <a:gd name="connsiteY1" fmla="*/ 209 h 10000"/>
                <a:gd name="connsiteX2" fmla="*/ 14050 w 14050"/>
                <a:gd name="connsiteY2" fmla="*/ 139 h 10000"/>
                <a:gd name="connsiteX3" fmla="*/ 14010 w 14050"/>
                <a:gd name="connsiteY3" fmla="*/ 46 h 10000"/>
                <a:gd name="connsiteX4" fmla="*/ 13969 w 14050"/>
                <a:gd name="connsiteY4" fmla="*/ 23 h 10000"/>
                <a:gd name="connsiteX5" fmla="*/ 13888 w 14050"/>
                <a:gd name="connsiteY5" fmla="*/ 0 h 10000"/>
                <a:gd name="connsiteX6" fmla="*/ 4232 w 14050"/>
                <a:gd name="connsiteY6" fmla="*/ 0 h 10000"/>
                <a:gd name="connsiteX7" fmla="*/ 4232 w 14050"/>
                <a:gd name="connsiteY7" fmla="*/ 0 h 10000"/>
                <a:gd name="connsiteX8" fmla="*/ 4171 w 14050"/>
                <a:gd name="connsiteY8" fmla="*/ 23 h 10000"/>
                <a:gd name="connsiteX9" fmla="*/ 4131 w 14050"/>
                <a:gd name="connsiteY9" fmla="*/ 46 h 10000"/>
                <a:gd name="connsiteX10" fmla="*/ 4070 w 14050"/>
                <a:gd name="connsiteY10" fmla="*/ 139 h 10000"/>
                <a:gd name="connsiteX11" fmla="*/ 0 w 14050"/>
                <a:gd name="connsiteY11" fmla="*/ 4313 h 10000"/>
                <a:gd name="connsiteX12" fmla="*/ 4050 w 14050"/>
                <a:gd name="connsiteY12" fmla="*/ 9791 h 10000"/>
                <a:gd name="connsiteX13" fmla="*/ 4050 w 14050"/>
                <a:gd name="connsiteY13" fmla="*/ 9791 h 10000"/>
                <a:gd name="connsiteX14" fmla="*/ 4070 w 14050"/>
                <a:gd name="connsiteY14" fmla="*/ 9861 h 10000"/>
                <a:gd name="connsiteX15" fmla="*/ 4131 w 14050"/>
                <a:gd name="connsiteY15" fmla="*/ 9930 h 10000"/>
                <a:gd name="connsiteX16" fmla="*/ 4171 w 14050"/>
                <a:gd name="connsiteY16" fmla="*/ 9977 h 10000"/>
                <a:gd name="connsiteX17" fmla="*/ 4232 w 14050"/>
                <a:gd name="connsiteY17" fmla="*/ 10000 h 10000"/>
                <a:gd name="connsiteX18" fmla="*/ 13888 w 14050"/>
                <a:gd name="connsiteY18" fmla="*/ 10000 h 10000"/>
                <a:gd name="connsiteX19" fmla="*/ 13888 w 14050"/>
                <a:gd name="connsiteY19" fmla="*/ 10000 h 10000"/>
                <a:gd name="connsiteX20" fmla="*/ 13969 w 14050"/>
                <a:gd name="connsiteY20" fmla="*/ 9977 h 10000"/>
                <a:gd name="connsiteX21" fmla="*/ 14010 w 14050"/>
                <a:gd name="connsiteY21" fmla="*/ 9930 h 10000"/>
                <a:gd name="connsiteX22" fmla="*/ 14050 w 14050"/>
                <a:gd name="connsiteY22" fmla="*/ 9861 h 10000"/>
                <a:gd name="connsiteX23" fmla="*/ 14050 w 14050"/>
                <a:gd name="connsiteY23" fmla="*/ 9791 h 10000"/>
                <a:gd name="connsiteX24" fmla="*/ 11350 w 14050"/>
                <a:gd name="connsiteY24" fmla="*/ 1787 h 10000"/>
                <a:gd name="connsiteX0" fmla="*/ 11350 w 14050"/>
                <a:gd name="connsiteY0" fmla="*/ 1787 h 10000"/>
                <a:gd name="connsiteX1" fmla="*/ 14050 w 14050"/>
                <a:gd name="connsiteY1" fmla="*/ 209 h 10000"/>
                <a:gd name="connsiteX2" fmla="*/ 14050 w 14050"/>
                <a:gd name="connsiteY2" fmla="*/ 139 h 10000"/>
                <a:gd name="connsiteX3" fmla="*/ 14010 w 14050"/>
                <a:gd name="connsiteY3" fmla="*/ 46 h 10000"/>
                <a:gd name="connsiteX4" fmla="*/ 13969 w 14050"/>
                <a:gd name="connsiteY4" fmla="*/ 23 h 10000"/>
                <a:gd name="connsiteX5" fmla="*/ 7137 w 14050"/>
                <a:gd name="connsiteY5" fmla="*/ 1263 h 10000"/>
                <a:gd name="connsiteX6" fmla="*/ 4232 w 14050"/>
                <a:gd name="connsiteY6" fmla="*/ 0 h 10000"/>
                <a:gd name="connsiteX7" fmla="*/ 4232 w 14050"/>
                <a:gd name="connsiteY7" fmla="*/ 0 h 10000"/>
                <a:gd name="connsiteX8" fmla="*/ 4171 w 14050"/>
                <a:gd name="connsiteY8" fmla="*/ 23 h 10000"/>
                <a:gd name="connsiteX9" fmla="*/ 4131 w 14050"/>
                <a:gd name="connsiteY9" fmla="*/ 46 h 10000"/>
                <a:gd name="connsiteX10" fmla="*/ 4070 w 14050"/>
                <a:gd name="connsiteY10" fmla="*/ 139 h 10000"/>
                <a:gd name="connsiteX11" fmla="*/ 0 w 14050"/>
                <a:gd name="connsiteY11" fmla="*/ 4313 h 10000"/>
                <a:gd name="connsiteX12" fmla="*/ 4050 w 14050"/>
                <a:gd name="connsiteY12" fmla="*/ 9791 h 10000"/>
                <a:gd name="connsiteX13" fmla="*/ 4050 w 14050"/>
                <a:gd name="connsiteY13" fmla="*/ 9791 h 10000"/>
                <a:gd name="connsiteX14" fmla="*/ 4070 w 14050"/>
                <a:gd name="connsiteY14" fmla="*/ 9861 h 10000"/>
                <a:gd name="connsiteX15" fmla="*/ 4131 w 14050"/>
                <a:gd name="connsiteY15" fmla="*/ 9930 h 10000"/>
                <a:gd name="connsiteX16" fmla="*/ 4171 w 14050"/>
                <a:gd name="connsiteY16" fmla="*/ 9977 h 10000"/>
                <a:gd name="connsiteX17" fmla="*/ 4232 w 14050"/>
                <a:gd name="connsiteY17" fmla="*/ 10000 h 10000"/>
                <a:gd name="connsiteX18" fmla="*/ 13888 w 14050"/>
                <a:gd name="connsiteY18" fmla="*/ 10000 h 10000"/>
                <a:gd name="connsiteX19" fmla="*/ 13888 w 14050"/>
                <a:gd name="connsiteY19" fmla="*/ 10000 h 10000"/>
                <a:gd name="connsiteX20" fmla="*/ 13969 w 14050"/>
                <a:gd name="connsiteY20" fmla="*/ 9977 h 10000"/>
                <a:gd name="connsiteX21" fmla="*/ 14010 w 14050"/>
                <a:gd name="connsiteY21" fmla="*/ 9930 h 10000"/>
                <a:gd name="connsiteX22" fmla="*/ 14050 w 14050"/>
                <a:gd name="connsiteY22" fmla="*/ 9861 h 10000"/>
                <a:gd name="connsiteX23" fmla="*/ 14050 w 14050"/>
                <a:gd name="connsiteY23" fmla="*/ 9791 h 10000"/>
                <a:gd name="connsiteX24" fmla="*/ 11350 w 14050"/>
                <a:gd name="connsiteY24" fmla="*/ 1787 h 10000"/>
                <a:gd name="connsiteX0" fmla="*/ 11350 w 14050"/>
                <a:gd name="connsiteY0" fmla="*/ 1787 h 10000"/>
                <a:gd name="connsiteX1" fmla="*/ 14050 w 14050"/>
                <a:gd name="connsiteY1" fmla="*/ 209 h 10000"/>
                <a:gd name="connsiteX2" fmla="*/ 14050 w 14050"/>
                <a:gd name="connsiteY2" fmla="*/ 139 h 10000"/>
                <a:gd name="connsiteX3" fmla="*/ 14010 w 14050"/>
                <a:gd name="connsiteY3" fmla="*/ 46 h 10000"/>
                <a:gd name="connsiteX4" fmla="*/ 10459 w 14050"/>
                <a:gd name="connsiteY4" fmla="*/ 2233 h 10000"/>
                <a:gd name="connsiteX5" fmla="*/ 7137 w 14050"/>
                <a:gd name="connsiteY5" fmla="*/ 1263 h 10000"/>
                <a:gd name="connsiteX6" fmla="*/ 4232 w 14050"/>
                <a:gd name="connsiteY6" fmla="*/ 0 h 10000"/>
                <a:gd name="connsiteX7" fmla="*/ 4232 w 14050"/>
                <a:gd name="connsiteY7" fmla="*/ 0 h 10000"/>
                <a:gd name="connsiteX8" fmla="*/ 4171 w 14050"/>
                <a:gd name="connsiteY8" fmla="*/ 23 h 10000"/>
                <a:gd name="connsiteX9" fmla="*/ 4131 w 14050"/>
                <a:gd name="connsiteY9" fmla="*/ 46 h 10000"/>
                <a:gd name="connsiteX10" fmla="*/ 4070 w 14050"/>
                <a:gd name="connsiteY10" fmla="*/ 139 h 10000"/>
                <a:gd name="connsiteX11" fmla="*/ 0 w 14050"/>
                <a:gd name="connsiteY11" fmla="*/ 4313 h 10000"/>
                <a:gd name="connsiteX12" fmla="*/ 4050 w 14050"/>
                <a:gd name="connsiteY12" fmla="*/ 9791 h 10000"/>
                <a:gd name="connsiteX13" fmla="*/ 4050 w 14050"/>
                <a:gd name="connsiteY13" fmla="*/ 9791 h 10000"/>
                <a:gd name="connsiteX14" fmla="*/ 4070 w 14050"/>
                <a:gd name="connsiteY14" fmla="*/ 9861 h 10000"/>
                <a:gd name="connsiteX15" fmla="*/ 4131 w 14050"/>
                <a:gd name="connsiteY15" fmla="*/ 9930 h 10000"/>
                <a:gd name="connsiteX16" fmla="*/ 4171 w 14050"/>
                <a:gd name="connsiteY16" fmla="*/ 9977 h 10000"/>
                <a:gd name="connsiteX17" fmla="*/ 4232 w 14050"/>
                <a:gd name="connsiteY17" fmla="*/ 10000 h 10000"/>
                <a:gd name="connsiteX18" fmla="*/ 13888 w 14050"/>
                <a:gd name="connsiteY18" fmla="*/ 10000 h 10000"/>
                <a:gd name="connsiteX19" fmla="*/ 13888 w 14050"/>
                <a:gd name="connsiteY19" fmla="*/ 10000 h 10000"/>
                <a:gd name="connsiteX20" fmla="*/ 13969 w 14050"/>
                <a:gd name="connsiteY20" fmla="*/ 9977 h 10000"/>
                <a:gd name="connsiteX21" fmla="*/ 14010 w 14050"/>
                <a:gd name="connsiteY21" fmla="*/ 9930 h 10000"/>
                <a:gd name="connsiteX22" fmla="*/ 14050 w 14050"/>
                <a:gd name="connsiteY22" fmla="*/ 9861 h 10000"/>
                <a:gd name="connsiteX23" fmla="*/ 14050 w 14050"/>
                <a:gd name="connsiteY23" fmla="*/ 9791 h 10000"/>
                <a:gd name="connsiteX24" fmla="*/ 11350 w 14050"/>
                <a:gd name="connsiteY24" fmla="*/ 1787 h 10000"/>
                <a:gd name="connsiteX0" fmla="*/ 11350 w 14050"/>
                <a:gd name="connsiteY0" fmla="*/ 1787 h 10000"/>
                <a:gd name="connsiteX1" fmla="*/ 14050 w 14050"/>
                <a:gd name="connsiteY1" fmla="*/ 209 h 10000"/>
                <a:gd name="connsiteX2" fmla="*/ 14050 w 14050"/>
                <a:gd name="connsiteY2" fmla="*/ 139 h 10000"/>
                <a:gd name="connsiteX3" fmla="*/ 9690 w 14050"/>
                <a:gd name="connsiteY3" fmla="*/ 2571 h 10000"/>
                <a:gd name="connsiteX4" fmla="*/ 10459 w 14050"/>
                <a:gd name="connsiteY4" fmla="*/ 2233 h 10000"/>
                <a:gd name="connsiteX5" fmla="*/ 7137 w 14050"/>
                <a:gd name="connsiteY5" fmla="*/ 1263 h 10000"/>
                <a:gd name="connsiteX6" fmla="*/ 4232 w 14050"/>
                <a:gd name="connsiteY6" fmla="*/ 0 h 10000"/>
                <a:gd name="connsiteX7" fmla="*/ 4232 w 14050"/>
                <a:gd name="connsiteY7" fmla="*/ 0 h 10000"/>
                <a:gd name="connsiteX8" fmla="*/ 4171 w 14050"/>
                <a:gd name="connsiteY8" fmla="*/ 23 h 10000"/>
                <a:gd name="connsiteX9" fmla="*/ 4131 w 14050"/>
                <a:gd name="connsiteY9" fmla="*/ 46 h 10000"/>
                <a:gd name="connsiteX10" fmla="*/ 4070 w 14050"/>
                <a:gd name="connsiteY10" fmla="*/ 139 h 10000"/>
                <a:gd name="connsiteX11" fmla="*/ 0 w 14050"/>
                <a:gd name="connsiteY11" fmla="*/ 4313 h 10000"/>
                <a:gd name="connsiteX12" fmla="*/ 4050 w 14050"/>
                <a:gd name="connsiteY12" fmla="*/ 9791 h 10000"/>
                <a:gd name="connsiteX13" fmla="*/ 4050 w 14050"/>
                <a:gd name="connsiteY13" fmla="*/ 9791 h 10000"/>
                <a:gd name="connsiteX14" fmla="*/ 4070 w 14050"/>
                <a:gd name="connsiteY14" fmla="*/ 9861 h 10000"/>
                <a:gd name="connsiteX15" fmla="*/ 4131 w 14050"/>
                <a:gd name="connsiteY15" fmla="*/ 9930 h 10000"/>
                <a:gd name="connsiteX16" fmla="*/ 4171 w 14050"/>
                <a:gd name="connsiteY16" fmla="*/ 9977 h 10000"/>
                <a:gd name="connsiteX17" fmla="*/ 4232 w 14050"/>
                <a:gd name="connsiteY17" fmla="*/ 10000 h 10000"/>
                <a:gd name="connsiteX18" fmla="*/ 13888 w 14050"/>
                <a:gd name="connsiteY18" fmla="*/ 10000 h 10000"/>
                <a:gd name="connsiteX19" fmla="*/ 13888 w 14050"/>
                <a:gd name="connsiteY19" fmla="*/ 10000 h 10000"/>
                <a:gd name="connsiteX20" fmla="*/ 13969 w 14050"/>
                <a:gd name="connsiteY20" fmla="*/ 9977 h 10000"/>
                <a:gd name="connsiteX21" fmla="*/ 14010 w 14050"/>
                <a:gd name="connsiteY21" fmla="*/ 9930 h 10000"/>
                <a:gd name="connsiteX22" fmla="*/ 14050 w 14050"/>
                <a:gd name="connsiteY22" fmla="*/ 9861 h 10000"/>
                <a:gd name="connsiteX23" fmla="*/ 14050 w 14050"/>
                <a:gd name="connsiteY23" fmla="*/ 9791 h 10000"/>
                <a:gd name="connsiteX24" fmla="*/ 11350 w 14050"/>
                <a:gd name="connsiteY24" fmla="*/ 1787 h 10000"/>
                <a:gd name="connsiteX0" fmla="*/ 11350 w 14050"/>
                <a:gd name="connsiteY0" fmla="*/ 1787 h 10000"/>
                <a:gd name="connsiteX1" fmla="*/ 14050 w 14050"/>
                <a:gd name="connsiteY1" fmla="*/ 209 h 10000"/>
                <a:gd name="connsiteX2" fmla="*/ 10540 w 14050"/>
                <a:gd name="connsiteY2" fmla="*/ 2349 h 10000"/>
                <a:gd name="connsiteX3" fmla="*/ 9690 w 14050"/>
                <a:gd name="connsiteY3" fmla="*/ 2571 h 10000"/>
                <a:gd name="connsiteX4" fmla="*/ 10459 w 14050"/>
                <a:gd name="connsiteY4" fmla="*/ 2233 h 10000"/>
                <a:gd name="connsiteX5" fmla="*/ 7137 w 14050"/>
                <a:gd name="connsiteY5" fmla="*/ 1263 h 10000"/>
                <a:gd name="connsiteX6" fmla="*/ 4232 w 14050"/>
                <a:gd name="connsiteY6" fmla="*/ 0 h 10000"/>
                <a:gd name="connsiteX7" fmla="*/ 4232 w 14050"/>
                <a:gd name="connsiteY7" fmla="*/ 0 h 10000"/>
                <a:gd name="connsiteX8" fmla="*/ 4171 w 14050"/>
                <a:gd name="connsiteY8" fmla="*/ 23 h 10000"/>
                <a:gd name="connsiteX9" fmla="*/ 4131 w 14050"/>
                <a:gd name="connsiteY9" fmla="*/ 46 h 10000"/>
                <a:gd name="connsiteX10" fmla="*/ 4070 w 14050"/>
                <a:gd name="connsiteY10" fmla="*/ 139 h 10000"/>
                <a:gd name="connsiteX11" fmla="*/ 0 w 14050"/>
                <a:gd name="connsiteY11" fmla="*/ 4313 h 10000"/>
                <a:gd name="connsiteX12" fmla="*/ 4050 w 14050"/>
                <a:gd name="connsiteY12" fmla="*/ 9791 h 10000"/>
                <a:gd name="connsiteX13" fmla="*/ 4050 w 14050"/>
                <a:gd name="connsiteY13" fmla="*/ 9791 h 10000"/>
                <a:gd name="connsiteX14" fmla="*/ 4070 w 14050"/>
                <a:gd name="connsiteY14" fmla="*/ 9861 h 10000"/>
                <a:gd name="connsiteX15" fmla="*/ 4131 w 14050"/>
                <a:gd name="connsiteY15" fmla="*/ 9930 h 10000"/>
                <a:gd name="connsiteX16" fmla="*/ 4171 w 14050"/>
                <a:gd name="connsiteY16" fmla="*/ 9977 h 10000"/>
                <a:gd name="connsiteX17" fmla="*/ 4232 w 14050"/>
                <a:gd name="connsiteY17" fmla="*/ 10000 h 10000"/>
                <a:gd name="connsiteX18" fmla="*/ 13888 w 14050"/>
                <a:gd name="connsiteY18" fmla="*/ 10000 h 10000"/>
                <a:gd name="connsiteX19" fmla="*/ 13888 w 14050"/>
                <a:gd name="connsiteY19" fmla="*/ 10000 h 10000"/>
                <a:gd name="connsiteX20" fmla="*/ 13969 w 14050"/>
                <a:gd name="connsiteY20" fmla="*/ 9977 h 10000"/>
                <a:gd name="connsiteX21" fmla="*/ 14010 w 14050"/>
                <a:gd name="connsiteY21" fmla="*/ 9930 h 10000"/>
                <a:gd name="connsiteX22" fmla="*/ 14050 w 14050"/>
                <a:gd name="connsiteY22" fmla="*/ 9861 h 10000"/>
                <a:gd name="connsiteX23" fmla="*/ 14050 w 14050"/>
                <a:gd name="connsiteY23" fmla="*/ 9791 h 10000"/>
                <a:gd name="connsiteX24" fmla="*/ 11350 w 14050"/>
                <a:gd name="connsiteY24" fmla="*/ 1787 h 10000"/>
                <a:gd name="connsiteX0" fmla="*/ 11350 w 14050"/>
                <a:gd name="connsiteY0" fmla="*/ 1787 h 10000"/>
                <a:gd name="connsiteX1" fmla="*/ 10540 w 14050"/>
                <a:gd name="connsiteY1" fmla="*/ 3050 h 10000"/>
                <a:gd name="connsiteX2" fmla="*/ 10540 w 14050"/>
                <a:gd name="connsiteY2" fmla="*/ 2349 h 10000"/>
                <a:gd name="connsiteX3" fmla="*/ 9690 w 14050"/>
                <a:gd name="connsiteY3" fmla="*/ 2571 h 10000"/>
                <a:gd name="connsiteX4" fmla="*/ 10459 w 14050"/>
                <a:gd name="connsiteY4" fmla="*/ 2233 h 10000"/>
                <a:gd name="connsiteX5" fmla="*/ 7137 w 14050"/>
                <a:gd name="connsiteY5" fmla="*/ 1263 h 10000"/>
                <a:gd name="connsiteX6" fmla="*/ 4232 w 14050"/>
                <a:gd name="connsiteY6" fmla="*/ 0 h 10000"/>
                <a:gd name="connsiteX7" fmla="*/ 4232 w 14050"/>
                <a:gd name="connsiteY7" fmla="*/ 0 h 10000"/>
                <a:gd name="connsiteX8" fmla="*/ 4171 w 14050"/>
                <a:gd name="connsiteY8" fmla="*/ 23 h 10000"/>
                <a:gd name="connsiteX9" fmla="*/ 4131 w 14050"/>
                <a:gd name="connsiteY9" fmla="*/ 46 h 10000"/>
                <a:gd name="connsiteX10" fmla="*/ 4070 w 14050"/>
                <a:gd name="connsiteY10" fmla="*/ 139 h 10000"/>
                <a:gd name="connsiteX11" fmla="*/ 0 w 14050"/>
                <a:gd name="connsiteY11" fmla="*/ 4313 h 10000"/>
                <a:gd name="connsiteX12" fmla="*/ 4050 w 14050"/>
                <a:gd name="connsiteY12" fmla="*/ 9791 h 10000"/>
                <a:gd name="connsiteX13" fmla="*/ 4050 w 14050"/>
                <a:gd name="connsiteY13" fmla="*/ 9791 h 10000"/>
                <a:gd name="connsiteX14" fmla="*/ 4070 w 14050"/>
                <a:gd name="connsiteY14" fmla="*/ 9861 h 10000"/>
                <a:gd name="connsiteX15" fmla="*/ 4131 w 14050"/>
                <a:gd name="connsiteY15" fmla="*/ 9930 h 10000"/>
                <a:gd name="connsiteX16" fmla="*/ 4171 w 14050"/>
                <a:gd name="connsiteY16" fmla="*/ 9977 h 10000"/>
                <a:gd name="connsiteX17" fmla="*/ 4232 w 14050"/>
                <a:gd name="connsiteY17" fmla="*/ 10000 h 10000"/>
                <a:gd name="connsiteX18" fmla="*/ 13888 w 14050"/>
                <a:gd name="connsiteY18" fmla="*/ 10000 h 10000"/>
                <a:gd name="connsiteX19" fmla="*/ 13888 w 14050"/>
                <a:gd name="connsiteY19" fmla="*/ 10000 h 10000"/>
                <a:gd name="connsiteX20" fmla="*/ 13969 w 14050"/>
                <a:gd name="connsiteY20" fmla="*/ 9977 h 10000"/>
                <a:gd name="connsiteX21" fmla="*/ 14010 w 14050"/>
                <a:gd name="connsiteY21" fmla="*/ 9930 h 10000"/>
                <a:gd name="connsiteX22" fmla="*/ 14050 w 14050"/>
                <a:gd name="connsiteY22" fmla="*/ 9861 h 10000"/>
                <a:gd name="connsiteX23" fmla="*/ 14050 w 14050"/>
                <a:gd name="connsiteY23" fmla="*/ 9791 h 10000"/>
                <a:gd name="connsiteX24" fmla="*/ 11350 w 14050"/>
                <a:gd name="connsiteY24" fmla="*/ 178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050" h="10000">
                  <a:moveTo>
                    <a:pt x="11350" y="1787"/>
                  </a:moveTo>
                  <a:lnTo>
                    <a:pt x="10540" y="3050"/>
                  </a:lnTo>
                  <a:lnTo>
                    <a:pt x="10540" y="2349"/>
                  </a:lnTo>
                  <a:cubicBezTo>
                    <a:pt x="10527" y="2318"/>
                    <a:pt x="9703" y="2602"/>
                    <a:pt x="9690" y="2571"/>
                  </a:cubicBezTo>
                  <a:cubicBezTo>
                    <a:pt x="9676" y="2563"/>
                    <a:pt x="10473" y="2241"/>
                    <a:pt x="10459" y="2233"/>
                  </a:cubicBezTo>
                  <a:lnTo>
                    <a:pt x="7137" y="1263"/>
                  </a:lnTo>
                  <a:lnTo>
                    <a:pt x="4232" y="0"/>
                  </a:lnTo>
                  <a:lnTo>
                    <a:pt x="4232" y="0"/>
                  </a:lnTo>
                  <a:cubicBezTo>
                    <a:pt x="4212" y="8"/>
                    <a:pt x="4191" y="15"/>
                    <a:pt x="4171" y="23"/>
                  </a:cubicBezTo>
                  <a:cubicBezTo>
                    <a:pt x="4158" y="31"/>
                    <a:pt x="4144" y="38"/>
                    <a:pt x="4131" y="46"/>
                  </a:cubicBezTo>
                  <a:cubicBezTo>
                    <a:pt x="4111" y="77"/>
                    <a:pt x="4090" y="108"/>
                    <a:pt x="4070" y="139"/>
                  </a:cubicBezTo>
                  <a:cubicBezTo>
                    <a:pt x="4063" y="162"/>
                    <a:pt x="7" y="4290"/>
                    <a:pt x="0" y="4313"/>
                  </a:cubicBezTo>
                  <a:lnTo>
                    <a:pt x="4050" y="9791"/>
                  </a:lnTo>
                  <a:lnTo>
                    <a:pt x="4050" y="9791"/>
                  </a:lnTo>
                  <a:cubicBezTo>
                    <a:pt x="4057" y="9814"/>
                    <a:pt x="4063" y="9838"/>
                    <a:pt x="4070" y="9861"/>
                  </a:cubicBezTo>
                  <a:cubicBezTo>
                    <a:pt x="4090" y="9884"/>
                    <a:pt x="4111" y="9907"/>
                    <a:pt x="4131" y="9930"/>
                  </a:cubicBezTo>
                  <a:cubicBezTo>
                    <a:pt x="4144" y="9946"/>
                    <a:pt x="4158" y="9961"/>
                    <a:pt x="4171" y="9977"/>
                  </a:cubicBezTo>
                  <a:cubicBezTo>
                    <a:pt x="4191" y="9985"/>
                    <a:pt x="4212" y="9992"/>
                    <a:pt x="4232" y="10000"/>
                  </a:cubicBezTo>
                  <a:lnTo>
                    <a:pt x="13888" y="10000"/>
                  </a:lnTo>
                  <a:lnTo>
                    <a:pt x="13888" y="10000"/>
                  </a:lnTo>
                  <a:cubicBezTo>
                    <a:pt x="13915" y="9992"/>
                    <a:pt x="13942" y="9985"/>
                    <a:pt x="13969" y="9977"/>
                  </a:cubicBezTo>
                  <a:lnTo>
                    <a:pt x="14010" y="9930"/>
                  </a:lnTo>
                  <a:cubicBezTo>
                    <a:pt x="14023" y="9907"/>
                    <a:pt x="14037" y="9884"/>
                    <a:pt x="14050" y="9861"/>
                  </a:cubicBezTo>
                  <a:lnTo>
                    <a:pt x="14050" y="9791"/>
                  </a:lnTo>
                  <a:lnTo>
                    <a:pt x="11350" y="1787"/>
                  </a:lnTo>
                  <a:close/>
                </a:path>
              </a:pathLst>
            </a:custGeom>
            <a:solidFill>
              <a:schemeClr val="accent1"/>
            </a:solidFill>
            <a:ln>
              <a:solidFill>
                <a:srgbClr val="005B6B"/>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029" name="Freeform 2031"/>
          <p:cNvSpPr>
            <a:spLocks/>
          </p:cNvSpPr>
          <p:nvPr/>
        </p:nvSpPr>
        <p:spPr bwMode="auto">
          <a:xfrm>
            <a:off x="6014599" y="2842022"/>
            <a:ext cx="166688" cy="117475"/>
          </a:xfrm>
          <a:custGeom>
            <a:avLst/>
            <a:gdLst>
              <a:gd name="T0" fmla="*/ 156 w 629"/>
              <a:gd name="T1" fmla="*/ 362 h 441"/>
              <a:gd name="T2" fmla="*/ 100 w 629"/>
              <a:gd name="T3" fmla="*/ 338 h 441"/>
              <a:gd name="T4" fmla="*/ 56 w 629"/>
              <a:gd name="T5" fmla="*/ 310 h 441"/>
              <a:gd name="T6" fmla="*/ 27 w 629"/>
              <a:gd name="T7" fmla="*/ 274 h 441"/>
              <a:gd name="T8" fmla="*/ 16 w 629"/>
              <a:gd name="T9" fmla="*/ 226 h 441"/>
              <a:gd name="T10" fmla="*/ 25 w 629"/>
              <a:gd name="T11" fmla="*/ 163 h 441"/>
              <a:gd name="T12" fmla="*/ 10 w 629"/>
              <a:gd name="T13" fmla="*/ 153 h 441"/>
              <a:gd name="T14" fmla="*/ 0 w 629"/>
              <a:gd name="T15" fmla="*/ 133 h 441"/>
              <a:gd name="T16" fmla="*/ 3 w 629"/>
              <a:gd name="T17" fmla="*/ 111 h 441"/>
              <a:gd name="T18" fmla="*/ 19 w 629"/>
              <a:gd name="T19" fmla="*/ 83 h 441"/>
              <a:gd name="T20" fmla="*/ 40 w 629"/>
              <a:gd name="T21" fmla="*/ 60 h 441"/>
              <a:gd name="T22" fmla="*/ 70 w 629"/>
              <a:gd name="T23" fmla="*/ 37 h 441"/>
              <a:gd name="T24" fmla="*/ 106 w 629"/>
              <a:gd name="T25" fmla="*/ 18 h 441"/>
              <a:gd name="T26" fmla="*/ 146 w 629"/>
              <a:gd name="T27" fmla="*/ 5 h 441"/>
              <a:gd name="T28" fmla="*/ 186 w 629"/>
              <a:gd name="T29" fmla="*/ 0 h 441"/>
              <a:gd name="T30" fmla="*/ 226 w 629"/>
              <a:gd name="T31" fmla="*/ 3 h 441"/>
              <a:gd name="T32" fmla="*/ 249 w 629"/>
              <a:gd name="T33" fmla="*/ 10 h 441"/>
              <a:gd name="T34" fmla="*/ 282 w 629"/>
              <a:gd name="T35" fmla="*/ 31 h 441"/>
              <a:gd name="T36" fmla="*/ 324 w 629"/>
              <a:gd name="T37" fmla="*/ 61 h 441"/>
              <a:gd name="T38" fmla="*/ 345 w 629"/>
              <a:gd name="T39" fmla="*/ 69 h 441"/>
              <a:gd name="T40" fmla="*/ 391 w 629"/>
              <a:gd name="T41" fmla="*/ 76 h 441"/>
              <a:gd name="T42" fmla="*/ 463 w 629"/>
              <a:gd name="T43" fmla="*/ 82 h 441"/>
              <a:gd name="T44" fmla="*/ 496 w 629"/>
              <a:gd name="T45" fmla="*/ 91 h 441"/>
              <a:gd name="T46" fmla="*/ 522 w 629"/>
              <a:gd name="T47" fmla="*/ 104 h 441"/>
              <a:gd name="T48" fmla="*/ 554 w 629"/>
              <a:gd name="T49" fmla="*/ 131 h 441"/>
              <a:gd name="T50" fmla="*/ 574 w 629"/>
              <a:gd name="T51" fmla="*/ 161 h 441"/>
              <a:gd name="T52" fmla="*/ 586 w 629"/>
              <a:gd name="T53" fmla="*/ 195 h 441"/>
              <a:gd name="T54" fmla="*/ 601 w 629"/>
              <a:gd name="T55" fmla="*/ 272 h 441"/>
              <a:gd name="T56" fmla="*/ 611 w 629"/>
              <a:gd name="T57" fmla="*/ 301 h 441"/>
              <a:gd name="T58" fmla="*/ 627 w 629"/>
              <a:gd name="T59" fmla="*/ 345 h 441"/>
              <a:gd name="T60" fmla="*/ 628 w 629"/>
              <a:gd name="T61" fmla="*/ 369 h 441"/>
              <a:gd name="T62" fmla="*/ 619 w 629"/>
              <a:gd name="T63" fmla="*/ 392 h 441"/>
              <a:gd name="T64" fmla="*/ 603 w 629"/>
              <a:gd name="T65" fmla="*/ 409 h 441"/>
              <a:gd name="T66" fmla="*/ 570 w 629"/>
              <a:gd name="T67" fmla="*/ 426 h 441"/>
              <a:gd name="T68" fmla="*/ 531 w 629"/>
              <a:gd name="T69" fmla="*/ 436 h 441"/>
              <a:gd name="T70" fmla="*/ 450 w 629"/>
              <a:gd name="T71" fmla="*/ 441 h 441"/>
              <a:gd name="T72" fmla="*/ 410 w 629"/>
              <a:gd name="T73" fmla="*/ 438 h 441"/>
              <a:gd name="T74" fmla="*/ 364 w 629"/>
              <a:gd name="T75" fmla="*/ 425 h 441"/>
              <a:gd name="T76" fmla="*/ 307 w 629"/>
              <a:gd name="T77" fmla="*/ 403 h 441"/>
              <a:gd name="T78" fmla="*/ 286 w 629"/>
              <a:gd name="T79" fmla="*/ 400 h 441"/>
              <a:gd name="T80" fmla="*/ 233 w 629"/>
              <a:gd name="T81" fmla="*/ 399 h 441"/>
              <a:gd name="T82" fmla="*/ 210 w 629"/>
              <a:gd name="T83" fmla="*/ 394 h 441"/>
              <a:gd name="T84" fmla="*/ 191 w 629"/>
              <a:gd name="T85" fmla="*/ 380 h 441"/>
              <a:gd name="T86" fmla="*/ 178 w 629"/>
              <a:gd name="T87" fmla="*/ 368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9" h="441">
                <a:moveTo>
                  <a:pt x="178" y="368"/>
                </a:moveTo>
                <a:lnTo>
                  <a:pt x="178" y="368"/>
                </a:lnTo>
                <a:lnTo>
                  <a:pt x="156" y="362"/>
                </a:lnTo>
                <a:lnTo>
                  <a:pt x="136" y="354"/>
                </a:lnTo>
                <a:lnTo>
                  <a:pt x="117" y="346"/>
                </a:lnTo>
                <a:lnTo>
                  <a:pt x="100" y="338"/>
                </a:lnTo>
                <a:lnTo>
                  <a:pt x="84" y="330"/>
                </a:lnTo>
                <a:lnTo>
                  <a:pt x="69" y="321"/>
                </a:lnTo>
                <a:lnTo>
                  <a:pt x="56" y="310"/>
                </a:lnTo>
                <a:lnTo>
                  <a:pt x="45" y="299"/>
                </a:lnTo>
                <a:lnTo>
                  <a:pt x="35" y="287"/>
                </a:lnTo>
                <a:lnTo>
                  <a:pt x="27" y="274"/>
                </a:lnTo>
                <a:lnTo>
                  <a:pt x="21" y="259"/>
                </a:lnTo>
                <a:lnTo>
                  <a:pt x="18" y="243"/>
                </a:lnTo>
                <a:lnTo>
                  <a:pt x="16" y="226"/>
                </a:lnTo>
                <a:lnTo>
                  <a:pt x="17" y="206"/>
                </a:lnTo>
                <a:lnTo>
                  <a:pt x="20" y="186"/>
                </a:lnTo>
                <a:lnTo>
                  <a:pt x="25" y="163"/>
                </a:lnTo>
                <a:lnTo>
                  <a:pt x="25" y="163"/>
                </a:lnTo>
                <a:lnTo>
                  <a:pt x="16" y="158"/>
                </a:lnTo>
                <a:lnTo>
                  <a:pt x="10" y="153"/>
                </a:lnTo>
                <a:lnTo>
                  <a:pt x="5" y="147"/>
                </a:lnTo>
                <a:lnTo>
                  <a:pt x="2" y="140"/>
                </a:lnTo>
                <a:lnTo>
                  <a:pt x="0" y="133"/>
                </a:lnTo>
                <a:lnTo>
                  <a:pt x="0" y="126"/>
                </a:lnTo>
                <a:lnTo>
                  <a:pt x="1" y="118"/>
                </a:lnTo>
                <a:lnTo>
                  <a:pt x="3" y="111"/>
                </a:lnTo>
                <a:lnTo>
                  <a:pt x="6" y="103"/>
                </a:lnTo>
                <a:lnTo>
                  <a:pt x="10" y="96"/>
                </a:lnTo>
                <a:lnTo>
                  <a:pt x="19" y="83"/>
                </a:lnTo>
                <a:lnTo>
                  <a:pt x="29" y="70"/>
                </a:lnTo>
                <a:lnTo>
                  <a:pt x="40" y="60"/>
                </a:lnTo>
                <a:lnTo>
                  <a:pt x="40" y="60"/>
                </a:lnTo>
                <a:lnTo>
                  <a:pt x="50" y="52"/>
                </a:lnTo>
                <a:lnTo>
                  <a:pt x="60" y="44"/>
                </a:lnTo>
                <a:lnTo>
                  <a:pt x="70" y="37"/>
                </a:lnTo>
                <a:lnTo>
                  <a:pt x="82" y="30"/>
                </a:lnTo>
                <a:lnTo>
                  <a:pt x="94" y="24"/>
                </a:lnTo>
                <a:lnTo>
                  <a:pt x="106" y="18"/>
                </a:lnTo>
                <a:lnTo>
                  <a:pt x="119" y="13"/>
                </a:lnTo>
                <a:lnTo>
                  <a:pt x="133" y="9"/>
                </a:lnTo>
                <a:lnTo>
                  <a:pt x="146" y="5"/>
                </a:lnTo>
                <a:lnTo>
                  <a:pt x="159" y="3"/>
                </a:lnTo>
                <a:lnTo>
                  <a:pt x="173" y="1"/>
                </a:lnTo>
                <a:lnTo>
                  <a:pt x="186" y="0"/>
                </a:lnTo>
                <a:lnTo>
                  <a:pt x="199" y="0"/>
                </a:lnTo>
                <a:lnTo>
                  <a:pt x="212" y="1"/>
                </a:lnTo>
                <a:lnTo>
                  <a:pt x="226" y="3"/>
                </a:lnTo>
                <a:lnTo>
                  <a:pt x="238" y="6"/>
                </a:lnTo>
                <a:lnTo>
                  <a:pt x="238" y="6"/>
                </a:lnTo>
                <a:lnTo>
                  <a:pt x="249" y="10"/>
                </a:lnTo>
                <a:lnTo>
                  <a:pt x="260" y="16"/>
                </a:lnTo>
                <a:lnTo>
                  <a:pt x="271" y="23"/>
                </a:lnTo>
                <a:lnTo>
                  <a:pt x="282" y="31"/>
                </a:lnTo>
                <a:lnTo>
                  <a:pt x="302" y="48"/>
                </a:lnTo>
                <a:lnTo>
                  <a:pt x="312" y="55"/>
                </a:lnTo>
                <a:lnTo>
                  <a:pt x="324" y="61"/>
                </a:lnTo>
                <a:lnTo>
                  <a:pt x="324" y="61"/>
                </a:lnTo>
                <a:lnTo>
                  <a:pt x="334" y="65"/>
                </a:lnTo>
                <a:lnTo>
                  <a:pt x="345" y="69"/>
                </a:lnTo>
                <a:lnTo>
                  <a:pt x="356" y="72"/>
                </a:lnTo>
                <a:lnTo>
                  <a:pt x="368" y="74"/>
                </a:lnTo>
                <a:lnTo>
                  <a:pt x="391" y="76"/>
                </a:lnTo>
                <a:lnTo>
                  <a:pt x="415" y="77"/>
                </a:lnTo>
                <a:lnTo>
                  <a:pt x="439" y="80"/>
                </a:lnTo>
                <a:lnTo>
                  <a:pt x="463" y="82"/>
                </a:lnTo>
                <a:lnTo>
                  <a:pt x="474" y="84"/>
                </a:lnTo>
                <a:lnTo>
                  <a:pt x="486" y="87"/>
                </a:lnTo>
                <a:lnTo>
                  <a:pt x="496" y="91"/>
                </a:lnTo>
                <a:lnTo>
                  <a:pt x="508" y="96"/>
                </a:lnTo>
                <a:lnTo>
                  <a:pt x="508" y="96"/>
                </a:lnTo>
                <a:lnTo>
                  <a:pt x="522" y="104"/>
                </a:lnTo>
                <a:lnTo>
                  <a:pt x="534" y="112"/>
                </a:lnTo>
                <a:lnTo>
                  <a:pt x="544" y="121"/>
                </a:lnTo>
                <a:lnTo>
                  <a:pt x="554" y="131"/>
                </a:lnTo>
                <a:lnTo>
                  <a:pt x="562" y="140"/>
                </a:lnTo>
                <a:lnTo>
                  <a:pt x="569" y="150"/>
                </a:lnTo>
                <a:lnTo>
                  <a:pt x="574" y="161"/>
                </a:lnTo>
                <a:lnTo>
                  <a:pt x="579" y="171"/>
                </a:lnTo>
                <a:lnTo>
                  <a:pt x="583" y="183"/>
                </a:lnTo>
                <a:lnTo>
                  <a:pt x="586" y="195"/>
                </a:lnTo>
                <a:lnTo>
                  <a:pt x="591" y="218"/>
                </a:lnTo>
                <a:lnTo>
                  <a:pt x="601" y="272"/>
                </a:lnTo>
                <a:lnTo>
                  <a:pt x="601" y="272"/>
                </a:lnTo>
                <a:lnTo>
                  <a:pt x="603" y="279"/>
                </a:lnTo>
                <a:lnTo>
                  <a:pt x="605" y="286"/>
                </a:lnTo>
                <a:lnTo>
                  <a:pt x="611" y="301"/>
                </a:lnTo>
                <a:lnTo>
                  <a:pt x="617" y="316"/>
                </a:lnTo>
                <a:lnTo>
                  <a:pt x="623" y="331"/>
                </a:lnTo>
                <a:lnTo>
                  <a:pt x="627" y="345"/>
                </a:lnTo>
                <a:lnTo>
                  <a:pt x="628" y="353"/>
                </a:lnTo>
                <a:lnTo>
                  <a:pt x="629" y="361"/>
                </a:lnTo>
                <a:lnTo>
                  <a:pt x="628" y="369"/>
                </a:lnTo>
                <a:lnTo>
                  <a:pt x="626" y="376"/>
                </a:lnTo>
                <a:lnTo>
                  <a:pt x="623" y="384"/>
                </a:lnTo>
                <a:lnTo>
                  <a:pt x="619" y="392"/>
                </a:lnTo>
                <a:lnTo>
                  <a:pt x="619" y="392"/>
                </a:lnTo>
                <a:lnTo>
                  <a:pt x="612" y="400"/>
                </a:lnTo>
                <a:lnTo>
                  <a:pt x="603" y="409"/>
                </a:lnTo>
                <a:lnTo>
                  <a:pt x="594" y="416"/>
                </a:lnTo>
                <a:lnTo>
                  <a:pt x="582" y="421"/>
                </a:lnTo>
                <a:lnTo>
                  <a:pt x="570" y="426"/>
                </a:lnTo>
                <a:lnTo>
                  <a:pt x="558" y="430"/>
                </a:lnTo>
                <a:lnTo>
                  <a:pt x="544" y="433"/>
                </a:lnTo>
                <a:lnTo>
                  <a:pt x="531" y="436"/>
                </a:lnTo>
                <a:lnTo>
                  <a:pt x="504" y="439"/>
                </a:lnTo>
                <a:lnTo>
                  <a:pt x="476" y="441"/>
                </a:lnTo>
                <a:lnTo>
                  <a:pt x="450" y="441"/>
                </a:lnTo>
                <a:lnTo>
                  <a:pt x="428" y="440"/>
                </a:lnTo>
                <a:lnTo>
                  <a:pt x="428" y="440"/>
                </a:lnTo>
                <a:lnTo>
                  <a:pt x="410" y="438"/>
                </a:lnTo>
                <a:lnTo>
                  <a:pt x="393" y="435"/>
                </a:lnTo>
                <a:lnTo>
                  <a:pt x="378" y="430"/>
                </a:lnTo>
                <a:lnTo>
                  <a:pt x="364" y="425"/>
                </a:lnTo>
                <a:lnTo>
                  <a:pt x="336" y="413"/>
                </a:lnTo>
                <a:lnTo>
                  <a:pt x="322" y="408"/>
                </a:lnTo>
                <a:lnTo>
                  <a:pt x="307" y="403"/>
                </a:lnTo>
                <a:lnTo>
                  <a:pt x="307" y="403"/>
                </a:lnTo>
                <a:lnTo>
                  <a:pt x="296" y="401"/>
                </a:lnTo>
                <a:lnTo>
                  <a:pt x="286" y="400"/>
                </a:lnTo>
                <a:lnTo>
                  <a:pt x="267" y="399"/>
                </a:lnTo>
                <a:lnTo>
                  <a:pt x="248" y="399"/>
                </a:lnTo>
                <a:lnTo>
                  <a:pt x="233" y="399"/>
                </a:lnTo>
                <a:lnTo>
                  <a:pt x="225" y="398"/>
                </a:lnTo>
                <a:lnTo>
                  <a:pt x="217" y="397"/>
                </a:lnTo>
                <a:lnTo>
                  <a:pt x="210" y="394"/>
                </a:lnTo>
                <a:lnTo>
                  <a:pt x="204" y="391"/>
                </a:lnTo>
                <a:lnTo>
                  <a:pt x="197" y="386"/>
                </a:lnTo>
                <a:lnTo>
                  <a:pt x="191" y="380"/>
                </a:lnTo>
                <a:lnTo>
                  <a:pt x="184" y="372"/>
                </a:lnTo>
                <a:lnTo>
                  <a:pt x="178" y="362"/>
                </a:lnTo>
                <a:lnTo>
                  <a:pt x="178" y="368"/>
                </a:lnTo>
                <a:close/>
              </a:path>
            </a:pathLst>
          </a:custGeom>
          <a:solidFill>
            <a:schemeClr val="accent1"/>
          </a:solidFill>
          <a:ln>
            <a:solidFill>
              <a:srgbClr val="005B6B"/>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30" name="Freeform 2032"/>
          <p:cNvSpPr>
            <a:spLocks/>
          </p:cNvSpPr>
          <p:nvPr/>
        </p:nvSpPr>
        <p:spPr bwMode="auto">
          <a:xfrm>
            <a:off x="6014599" y="2842022"/>
            <a:ext cx="166688" cy="117475"/>
          </a:xfrm>
          <a:custGeom>
            <a:avLst/>
            <a:gdLst>
              <a:gd name="T0" fmla="*/ 156 w 629"/>
              <a:gd name="T1" fmla="*/ 362 h 441"/>
              <a:gd name="T2" fmla="*/ 100 w 629"/>
              <a:gd name="T3" fmla="*/ 338 h 441"/>
              <a:gd name="T4" fmla="*/ 56 w 629"/>
              <a:gd name="T5" fmla="*/ 310 h 441"/>
              <a:gd name="T6" fmla="*/ 27 w 629"/>
              <a:gd name="T7" fmla="*/ 274 h 441"/>
              <a:gd name="T8" fmla="*/ 16 w 629"/>
              <a:gd name="T9" fmla="*/ 226 h 441"/>
              <a:gd name="T10" fmla="*/ 25 w 629"/>
              <a:gd name="T11" fmla="*/ 163 h 441"/>
              <a:gd name="T12" fmla="*/ 10 w 629"/>
              <a:gd name="T13" fmla="*/ 153 h 441"/>
              <a:gd name="T14" fmla="*/ 0 w 629"/>
              <a:gd name="T15" fmla="*/ 133 h 441"/>
              <a:gd name="T16" fmla="*/ 3 w 629"/>
              <a:gd name="T17" fmla="*/ 111 h 441"/>
              <a:gd name="T18" fmla="*/ 19 w 629"/>
              <a:gd name="T19" fmla="*/ 83 h 441"/>
              <a:gd name="T20" fmla="*/ 40 w 629"/>
              <a:gd name="T21" fmla="*/ 60 h 441"/>
              <a:gd name="T22" fmla="*/ 70 w 629"/>
              <a:gd name="T23" fmla="*/ 37 h 441"/>
              <a:gd name="T24" fmla="*/ 106 w 629"/>
              <a:gd name="T25" fmla="*/ 18 h 441"/>
              <a:gd name="T26" fmla="*/ 146 w 629"/>
              <a:gd name="T27" fmla="*/ 5 h 441"/>
              <a:gd name="T28" fmla="*/ 186 w 629"/>
              <a:gd name="T29" fmla="*/ 0 h 441"/>
              <a:gd name="T30" fmla="*/ 226 w 629"/>
              <a:gd name="T31" fmla="*/ 3 h 441"/>
              <a:gd name="T32" fmla="*/ 249 w 629"/>
              <a:gd name="T33" fmla="*/ 10 h 441"/>
              <a:gd name="T34" fmla="*/ 282 w 629"/>
              <a:gd name="T35" fmla="*/ 31 h 441"/>
              <a:gd name="T36" fmla="*/ 324 w 629"/>
              <a:gd name="T37" fmla="*/ 61 h 441"/>
              <a:gd name="T38" fmla="*/ 345 w 629"/>
              <a:gd name="T39" fmla="*/ 69 h 441"/>
              <a:gd name="T40" fmla="*/ 391 w 629"/>
              <a:gd name="T41" fmla="*/ 76 h 441"/>
              <a:gd name="T42" fmla="*/ 463 w 629"/>
              <a:gd name="T43" fmla="*/ 82 h 441"/>
              <a:gd name="T44" fmla="*/ 496 w 629"/>
              <a:gd name="T45" fmla="*/ 91 h 441"/>
              <a:gd name="T46" fmla="*/ 522 w 629"/>
              <a:gd name="T47" fmla="*/ 104 h 441"/>
              <a:gd name="T48" fmla="*/ 554 w 629"/>
              <a:gd name="T49" fmla="*/ 131 h 441"/>
              <a:gd name="T50" fmla="*/ 574 w 629"/>
              <a:gd name="T51" fmla="*/ 161 h 441"/>
              <a:gd name="T52" fmla="*/ 586 w 629"/>
              <a:gd name="T53" fmla="*/ 195 h 441"/>
              <a:gd name="T54" fmla="*/ 601 w 629"/>
              <a:gd name="T55" fmla="*/ 272 h 441"/>
              <a:gd name="T56" fmla="*/ 611 w 629"/>
              <a:gd name="T57" fmla="*/ 301 h 441"/>
              <a:gd name="T58" fmla="*/ 627 w 629"/>
              <a:gd name="T59" fmla="*/ 345 h 441"/>
              <a:gd name="T60" fmla="*/ 628 w 629"/>
              <a:gd name="T61" fmla="*/ 369 h 441"/>
              <a:gd name="T62" fmla="*/ 619 w 629"/>
              <a:gd name="T63" fmla="*/ 392 h 441"/>
              <a:gd name="T64" fmla="*/ 603 w 629"/>
              <a:gd name="T65" fmla="*/ 409 h 441"/>
              <a:gd name="T66" fmla="*/ 570 w 629"/>
              <a:gd name="T67" fmla="*/ 426 h 441"/>
              <a:gd name="T68" fmla="*/ 531 w 629"/>
              <a:gd name="T69" fmla="*/ 436 h 441"/>
              <a:gd name="T70" fmla="*/ 450 w 629"/>
              <a:gd name="T71" fmla="*/ 441 h 441"/>
              <a:gd name="T72" fmla="*/ 410 w 629"/>
              <a:gd name="T73" fmla="*/ 438 h 441"/>
              <a:gd name="T74" fmla="*/ 364 w 629"/>
              <a:gd name="T75" fmla="*/ 425 h 441"/>
              <a:gd name="T76" fmla="*/ 307 w 629"/>
              <a:gd name="T77" fmla="*/ 403 h 441"/>
              <a:gd name="T78" fmla="*/ 286 w 629"/>
              <a:gd name="T79" fmla="*/ 400 h 441"/>
              <a:gd name="T80" fmla="*/ 233 w 629"/>
              <a:gd name="T81" fmla="*/ 399 h 441"/>
              <a:gd name="T82" fmla="*/ 210 w 629"/>
              <a:gd name="T83" fmla="*/ 394 h 441"/>
              <a:gd name="T84" fmla="*/ 191 w 629"/>
              <a:gd name="T85" fmla="*/ 38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9" h="441">
                <a:moveTo>
                  <a:pt x="178" y="368"/>
                </a:moveTo>
                <a:lnTo>
                  <a:pt x="178" y="368"/>
                </a:lnTo>
                <a:lnTo>
                  <a:pt x="156" y="362"/>
                </a:lnTo>
                <a:lnTo>
                  <a:pt x="136" y="354"/>
                </a:lnTo>
                <a:lnTo>
                  <a:pt x="117" y="346"/>
                </a:lnTo>
                <a:lnTo>
                  <a:pt x="100" y="338"/>
                </a:lnTo>
                <a:lnTo>
                  <a:pt x="84" y="330"/>
                </a:lnTo>
                <a:lnTo>
                  <a:pt x="69" y="321"/>
                </a:lnTo>
                <a:lnTo>
                  <a:pt x="56" y="310"/>
                </a:lnTo>
                <a:lnTo>
                  <a:pt x="45" y="299"/>
                </a:lnTo>
                <a:lnTo>
                  <a:pt x="35" y="287"/>
                </a:lnTo>
                <a:lnTo>
                  <a:pt x="27" y="274"/>
                </a:lnTo>
                <a:lnTo>
                  <a:pt x="21" y="259"/>
                </a:lnTo>
                <a:lnTo>
                  <a:pt x="18" y="243"/>
                </a:lnTo>
                <a:lnTo>
                  <a:pt x="16" y="226"/>
                </a:lnTo>
                <a:lnTo>
                  <a:pt x="17" y="206"/>
                </a:lnTo>
                <a:lnTo>
                  <a:pt x="20" y="186"/>
                </a:lnTo>
                <a:lnTo>
                  <a:pt x="25" y="163"/>
                </a:lnTo>
                <a:lnTo>
                  <a:pt x="25" y="163"/>
                </a:lnTo>
                <a:lnTo>
                  <a:pt x="16" y="158"/>
                </a:lnTo>
                <a:lnTo>
                  <a:pt x="10" y="153"/>
                </a:lnTo>
                <a:lnTo>
                  <a:pt x="5" y="147"/>
                </a:lnTo>
                <a:lnTo>
                  <a:pt x="2" y="140"/>
                </a:lnTo>
                <a:lnTo>
                  <a:pt x="0" y="133"/>
                </a:lnTo>
                <a:lnTo>
                  <a:pt x="0" y="126"/>
                </a:lnTo>
                <a:lnTo>
                  <a:pt x="1" y="118"/>
                </a:lnTo>
                <a:lnTo>
                  <a:pt x="3" y="111"/>
                </a:lnTo>
                <a:lnTo>
                  <a:pt x="6" y="103"/>
                </a:lnTo>
                <a:lnTo>
                  <a:pt x="10" y="96"/>
                </a:lnTo>
                <a:lnTo>
                  <a:pt x="19" y="83"/>
                </a:lnTo>
                <a:lnTo>
                  <a:pt x="29" y="70"/>
                </a:lnTo>
                <a:lnTo>
                  <a:pt x="40" y="60"/>
                </a:lnTo>
                <a:lnTo>
                  <a:pt x="40" y="60"/>
                </a:lnTo>
                <a:lnTo>
                  <a:pt x="50" y="52"/>
                </a:lnTo>
                <a:lnTo>
                  <a:pt x="60" y="44"/>
                </a:lnTo>
                <a:lnTo>
                  <a:pt x="70" y="37"/>
                </a:lnTo>
                <a:lnTo>
                  <a:pt x="82" y="30"/>
                </a:lnTo>
                <a:lnTo>
                  <a:pt x="94" y="24"/>
                </a:lnTo>
                <a:lnTo>
                  <a:pt x="106" y="18"/>
                </a:lnTo>
                <a:lnTo>
                  <a:pt x="119" y="13"/>
                </a:lnTo>
                <a:lnTo>
                  <a:pt x="133" y="9"/>
                </a:lnTo>
                <a:lnTo>
                  <a:pt x="146" y="5"/>
                </a:lnTo>
                <a:lnTo>
                  <a:pt x="159" y="3"/>
                </a:lnTo>
                <a:lnTo>
                  <a:pt x="173" y="1"/>
                </a:lnTo>
                <a:lnTo>
                  <a:pt x="186" y="0"/>
                </a:lnTo>
                <a:lnTo>
                  <a:pt x="199" y="0"/>
                </a:lnTo>
                <a:lnTo>
                  <a:pt x="212" y="1"/>
                </a:lnTo>
                <a:lnTo>
                  <a:pt x="226" y="3"/>
                </a:lnTo>
                <a:lnTo>
                  <a:pt x="238" y="6"/>
                </a:lnTo>
                <a:lnTo>
                  <a:pt x="238" y="6"/>
                </a:lnTo>
                <a:lnTo>
                  <a:pt x="249" y="10"/>
                </a:lnTo>
                <a:lnTo>
                  <a:pt x="260" y="16"/>
                </a:lnTo>
                <a:lnTo>
                  <a:pt x="271" y="23"/>
                </a:lnTo>
                <a:lnTo>
                  <a:pt x="282" y="31"/>
                </a:lnTo>
                <a:lnTo>
                  <a:pt x="302" y="48"/>
                </a:lnTo>
                <a:lnTo>
                  <a:pt x="312" y="55"/>
                </a:lnTo>
                <a:lnTo>
                  <a:pt x="324" y="61"/>
                </a:lnTo>
                <a:lnTo>
                  <a:pt x="324" y="61"/>
                </a:lnTo>
                <a:lnTo>
                  <a:pt x="334" y="65"/>
                </a:lnTo>
                <a:lnTo>
                  <a:pt x="345" y="69"/>
                </a:lnTo>
                <a:lnTo>
                  <a:pt x="356" y="72"/>
                </a:lnTo>
                <a:lnTo>
                  <a:pt x="368" y="74"/>
                </a:lnTo>
                <a:lnTo>
                  <a:pt x="391" y="76"/>
                </a:lnTo>
                <a:lnTo>
                  <a:pt x="415" y="77"/>
                </a:lnTo>
                <a:lnTo>
                  <a:pt x="439" y="80"/>
                </a:lnTo>
                <a:lnTo>
                  <a:pt x="463" y="82"/>
                </a:lnTo>
                <a:lnTo>
                  <a:pt x="474" y="84"/>
                </a:lnTo>
                <a:lnTo>
                  <a:pt x="486" y="87"/>
                </a:lnTo>
                <a:lnTo>
                  <a:pt x="496" y="91"/>
                </a:lnTo>
                <a:lnTo>
                  <a:pt x="508" y="96"/>
                </a:lnTo>
                <a:lnTo>
                  <a:pt x="508" y="96"/>
                </a:lnTo>
                <a:lnTo>
                  <a:pt x="522" y="104"/>
                </a:lnTo>
                <a:lnTo>
                  <a:pt x="534" y="112"/>
                </a:lnTo>
                <a:lnTo>
                  <a:pt x="544" y="121"/>
                </a:lnTo>
                <a:lnTo>
                  <a:pt x="554" y="131"/>
                </a:lnTo>
                <a:lnTo>
                  <a:pt x="562" y="140"/>
                </a:lnTo>
                <a:lnTo>
                  <a:pt x="569" y="150"/>
                </a:lnTo>
                <a:lnTo>
                  <a:pt x="574" y="161"/>
                </a:lnTo>
                <a:lnTo>
                  <a:pt x="579" y="171"/>
                </a:lnTo>
                <a:lnTo>
                  <a:pt x="583" y="183"/>
                </a:lnTo>
                <a:lnTo>
                  <a:pt x="586" y="195"/>
                </a:lnTo>
                <a:lnTo>
                  <a:pt x="591" y="218"/>
                </a:lnTo>
                <a:lnTo>
                  <a:pt x="601" y="272"/>
                </a:lnTo>
                <a:lnTo>
                  <a:pt x="601" y="272"/>
                </a:lnTo>
                <a:lnTo>
                  <a:pt x="603" y="279"/>
                </a:lnTo>
                <a:lnTo>
                  <a:pt x="605" y="286"/>
                </a:lnTo>
                <a:lnTo>
                  <a:pt x="611" y="301"/>
                </a:lnTo>
                <a:lnTo>
                  <a:pt x="617" y="316"/>
                </a:lnTo>
                <a:lnTo>
                  <a:pt x="623" y="331"/>
                </a:lnTo>
                <a:lnTo>
                  <a:pt x="627" y="345"/>
                </a:lnTo>
                <a:lnTo>
                  <a:pt x="628" y="353"/>
                </a:lnTo>
                <a:lnTo>
                  <a:pt x="629" y="361"/>
                </a:lnTo>
                <a:lnTo>
                  <a:pt x="628" y="369"/>
                </a:lnTo>
                <a:lnTo>
                  <a:pt x="626" y="376"/>
                </a:lnTo>
                <a:lnTo>
                  <a:pt x="623" y="384"/>
                </a:lnTo>
                <a:lnTo>
                  <a:pt x="619" y="392"/>
                </a:lnTo>
                <a:lnTo>
                  <a:pt x="619" y="392"/>
                </a:lnTo>
                <a:lnTo>
                  <a:pt x="612" y="400"/>
                </a:lnTo>
                <a:lnTo>
                  <a:pt x="603" y="409"/>
                </a:lnTo>
                <a:lnTo>
                  <a:pt x="594" y="416"/>
                </a:lnTo>
                <a:lnTo>
                  <a:pt x="582" y="421"/>
                </a:lnTo>
                <a:lnTo>
                  <a:pt x="570" y="426"/>
                </a:lnTo>
                <a:lnTo>
                  <a:pt x="558" y="430"/>
                </a:lnTo>
                <a:lnTo>
                  <a:pt x="544" y="433"/>
                </a:lnTo>
                <a:lnTo>
                  <a:pt x="531" y="436"/>
                </a:lnTo>
                <a:lnTo>
                  <a:pt x="504" y="439"/>
                </a:lnTo>
                <a:lnTo>
                  <a:pt x="476" y="441"/>
                </a:lnTo>
                <a:lnTo>
                  <a:pt x="450" y="441"/>
                </a:lnTo>
                <a:lnTo>
                  <a:pt x="428" y="440"/>
                </a:lnTo>
                <a:lnTo>
                  <a:pt x="428" y="440"/>
                </a:lnTo>
                <a:lnTo>
                  <a:pt x="410" y="438"/>
                </a:lnTo>
                <a:lnTo>
                  <a:pt x="393" y="435"/>
                </a:lnTo>
                <a:lnTo>
                  <a:pt x="378" y="430"/>
                </a:lnTo>
                <a:lnTo>
                  <a:pt x="364" y="425"/>
                </a:lnTo>
                <a:lnTo>
                  <a:pt x="336" y="413"/>
                </a:lnTo>
                <a:lnTo>
                  <a:pt x="322" y="408"/>
                </a:lnTo>
                <a:lnTo>
                  <a:pt x="307" y="403"/>
                </a:lnTo>
                <a:lnTo>
                  <a:pt x="307" y="403"/>
                </a:lnTo>
                <a:lnTo>
                  <a:pt x="296" y="401"/>
                </a:lnTo>
                <a:lnTo>
                  <a:pt x="286" y="400"/>
                </a:lnTo>
                <a:lnTo>
                  <a:pt x="267" y="399"/>
                </a:lnTo>
                <a:lnTo>
                  <a:pt x="248" y="399"/>
                </a:lnTo>
                <a:lnTo>
                  <a:pt x="233" y="399"/>
                </a:lnTo>
                <a:lnTo>
                  <a:pt x="225" y="398"/>
                </a:lnTo>
                <a:lnTo>
                  <a:pt x="217" y="397"/>
                </a:lnTo>
                <a:lnTo>
                  <a:pt x="210" y="394"/>
                </a:lnTo>
                <a:lnTo>
                  <a:pt x="204" y="391"/>
                </a:lnTo>
                <a:lnTo>
                  <a:pt x="197" y="386"/>
                </a:lnTo>
                <a:lnTo>
                  <a:pt x="191" y="380"/>
                </a:lnTo>
                <a:lnTo>
                  <a:pt x="184" y="372"/>
                </a:lnTo>
                <a:lnTo>
                  <a:pt x="178" y="3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31" name="Freeform 2033"/>
          <p:cNvSpPr>
            <a:spLocks/>
          </p:cNvSpPr>
          <p:nvPr/>
        </p:nvSpPr>
        <p:spPr bwMode="auto">
          <a:xfrm>
            <a:off x="5695512" y="3202385"/>
            <a:ext cx="439738" cy="219075"/>
          </a:xfrm>
          <a:custGeom>
            <a:avLst/>
            <a:gdLst>
              <a:gd name="T0" fmla="*/ 1148 w 1661"/>
              <a:gd name="T1" fmla="*/ 47 h 833"/>
              <a:gd name="T2" fmla="*/ 1134 w 1661"/>
              <a:gd name="T3" fmla="*/ 38 h 833"/>
              <a:gd name="T4" fmla="*/ 1102 w 1661"/>
              <a:gd name="T5" fmla="*/ 23 h 833"/>
              <a:gd name="T6" fmla="*/ 1067 w 1661"/>
              <a:gd name="T7" fmla="*/ 12 h 833"/>
              <a:gd name="T8" fmla="*/ 1031 w 1661"/>
              <a:gd name="T9" fmla="*/ 5 h 833"/>
              <a:gd name="T10" fmla="*/ 73 w 1661"/>
              <a:gd name="T11" fmla="*/ 0 h 833"/>
              <a:gd name="T12" fmla="*/ 64 w 1661"/>
              <a:gd name="T13" fmla="*/ 0 h 833"/>
              <a:gd name="T14" fmla="*/ 51 w 1661"/>
              <a:gd name="T15" fmla="*/ 3 h 833"/>
              <a:gd name="T16" fmla="*/ 38 w 1661"/>
              <a:gd name="T17" fmla="*/ 8 h 833"/>
              <a:gd name="T18" fmla="*/ 27 w 1661"/>
              <a:gd name="T19" fmla="*/ 16 h 833"/>
              <a:gd name="T20" fmla="*/ 16 w 1661"/>
              <a:gd name="T21" fmla="*/ 26 h 833"/>
              <a:gd name="T22" fmla="*/ 8 w 1661"/>
              <a:gd name="T23" fmla="*/ 38 h 833"/>
              <a:gd name="T24" fmla="*/ 3 w 1661"/>
              <a:gd name="T25" fmla="*/ 51 h 833"/>
              <a:gd name="T26" fmla="*/ 0 w 1661"/>
              <a:gd name="T27" fmla="*/ 64 h 833"/>
              <a:gd name="T28" fmla="*/ 0 w 1661"/>
              <a:gd name="T29" fmla="*/ 349 h 833"/>
              <a:gd name="T30" fmla="*/ 1 w 1661"/>
              <a:gd name="T31" fmla="*/ 366 h 833"/>
              <a:gd name="T32" fmla="*/ 10 w 1661"/>
              <a:gd name="T33" fmla="*/ 397 h 833"/>
              <a:gd name="T34" fmla="*/ 26 w 1661"/>
              <a:gd name="T35" fmla="*/ 428 h 833"/>
              <a:gd name="T36" fmla="*/ 47 w 1661"/>
              <a:gd name="T37" fmla="*/ 455 h 833"/>
              <a:gd name="T38" fmla="*/ 513 w 1661"/>
              <a:gd name="T39" fmla="*/ 786 h 833"/>
              <a:gd name="T40" fmla="*/ 526 w 1661"/>
              <a:gd name="T41" fmla="*/ 795 h 833"/>
              <a:gd name="T42" fmla="*/ 558 w 1661"/>
              <a:gd name="T43" fmla="*/ 809 h 833"/>
              <a:gd name="T44" fmla="*/ 594 w 1661"/>
              <a:gd name="T45" fmla="*/ 821 h 833"/>
              <a:gd name="T46" fmla="*/ 628 w 1661"/>
              <a:gd name="T47" fmla="*/ 828 h 833"/>
              <a:gd name="T48" fmla="*/ 1588 w 1661"/>
              <a:gd name="T49" fmla="*/ 833 h 833"/>
              <a:gd name="T50" fmla="*/ 1595 w 1661"/>
              <a:gd name="T51" fmla="*/ 833 h 833"/>
              <a:gd name="T52" fmla="*/ 1609 w 1661"/>
              <a:gd name="T53" fmla="*/ 830 h 833"/>
              <a:gd name="T54" fmla="*/ 1623 w 1661"/>
              <a:gd name="T55" fmla="*/ 824 h 833"/>
              <a:gd name="T56" fmla="*/ 1634 w 1661"/>
              <a:gd name="T57" fmla="*/ 816 h 833"/>
              <a:gd name="T58" fmla="*/ 1644 w 1661"/>
              <a:gd name="T59" fmla="*/ 806 h 833"/>
              <a:gd name="T60" fmla="*/ 1651 w 1661"/>
              <a:gd name="T61" fmla="*/ 795 h 833"/>
              <a:gd name="T62" fmla="*/ 1657 w 1661"/>
              <a:gd name="T63" fmla="*/ 783 h 833"/>
              <a:gd name="T64" fmla="*/ 1661 w 1661"/>
              <a:gd name="T65" fmla="*/ 768 h 833"/>
              <a:gd name="T66" fmla="*/ 1661 w 1661"/>
              <a:gd name="T67" fmla="*/ 483 h 833"/>
              <a:gd name="T68" fmla="*/ 1659 w 1661"/>
              <a:gd name="T69" fmla="*/ 468 h 833"/>
              <a:gd name="T70" fmla="*/ 1650 w 1661"/>
              <a:gd name="T71" fmla="*/ 435 h 833"/>
              <a:gd name="T72" fmla="*/ 1634 w 1661"/>
              <a:gd name="T73" fmla="*/ 404 h 833"/>
              <a:gd name="T74" fmla="*/ 1614 w 1661"/>
              <a:gd name="T75" fmla="*/ 378 h 833"/>
              <a:gd name="T76" fmla="*/ 1601 w 1661"/>
              <a:gd name="T77" fmla="*/ 369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1" h="833">
                <a:moveTo>
                  <a:pt x="1601" y="369"/>
                </a:moveTo>
                <a:lnTo>
                  <a:pt x="1148" y="47"/>
                </a:lnTo>
                <a:lnTo>
                  <a:pt x="1148" y="47"/>
                </a:lnTo>
                <a:lnTo>
                  <a:pt x="1134" y="38"/>
                </a:lnTo>
                <a:lnTo>
                  <a:pt x="1119" y="30"/>
                </a:lnTo>
                <a:lnTo>
                  <a:pt x="1102" y="23"/>
                </a:lnTo>
                <a:lnTo>
                  <a:pt x="1084" y="17"/>
                </a:lnTo>
                <a:lnTo>
                  <a:pt x="1067" y="12"/>
                </a:lnTo>
                <a:lnTo>
                  <a:pt x="1048" y="8"/>
                </a:lnTo>
                <a:lnTo>
                  <a:pt x="1031" y="5"/>
                </a:lnTo>
                <a:lnTo>
                  <a:pt x="1016" y="4"/>
                </a:lnTo>
                <a:lnTo>
                  <a:pt x="73" y="0"/>
                </a:lnTo>
                <a:lnTo>
                  <a:pt x="73" y="0"/>
                </a:lnTo>
                <a:lnTo>
                  <a:pt x="64" y="0"/>
                </a:lnTo>
                <a:lnTo>
                  <a:pt x="57" y="1"/>
                </a:lnTo>
                <a:lnTo>
                  <a:pt x="51" y="3"/>
                </a:lnTo>
                <a:lnTo>
                  <a:pt x="44" y="5"/>
                </a:lnTo>
                <a:lnTo>
                  <a:pt x="38" y="8"/>
                </a:lnTo>
                <a:lnTo>
                  <a:pt x="32" y="12"/>
                </a:lnTo>
                <a:lnTo>
                  <a:pt x="27" y="16"/>
                </a:lnTo>
                <a:lnTo>
                  <a:pt x="20" y="21"/>
                </a:lnTo>
                <a:lnTo>
                  <a:pt x="16" y="26"/>
                </a:lnTo>
                <a:lnTo>
                  <a:pt x="12" y="32"/>
                </a:lnTo>
                <a:lnTo>
                  <a:pt x="8" y="38"/>
                </a:lnTo>
                <a:lnTo>
                  <a:pt x="5" y="44"/>
                </a:lnTo>
                <a:lnTo>
                  <a:pt x="3" y="51"/>
                </a:lnTo>
                <a:lnTo>
                  <a:pt x="1" y="57"/>
                </a:lnTo>
                <a:lnTo>
                  <a:pt x="0" y="64"/>
                </a:lnTo>
                <a:lnTo>
                  <a:pt x="0" y="72"/>
                </a:lnTo>
                <a:lnTo>
                  <a:pt x="0" y="349"/>
                </a:lnTo>
                <a:lnTo>
                  <a:pt x="0" y="349"/>
                </a:lnTo>
                <a:lnTo>
                  <a:pt x="1" y="366"/>
                </a:lnTo>
                <a:lnTo>
                  <a:pt x="4" y="381"/>
                </a:lnTo>
                <a:lnTo>
                  <a:pt x="10" y="397"/>
                </a:lnTo>
                <a:lnTo>
                  <a:pt x="17" y="414"/>
                </a:lnTo>
                <a:lnTo>
                  <a:pt x="26" y="428"/>
                </a:lnTo>
                <a:lnTo>
                  <a:pt x="36" y="442"/>
                </a:lnTo>
                <a:lnTo>
                  <a:pt x="47" y="455"/>
                </a:lnTo>
                <a:lnTo>
                  <a:pt x="59" y="464"/>
                </a:lnTo>
                <a:lnTo>
                  <a:pt x="513" y="786"/>
                </a:lnTo>
                <a:lnTo>
                  <a:pt x="513" y="786"/>
                </a:lnTo>
                <a:lnTo>
                  <a:pt x="526" y="795"/>
                </a:lnTo>
                <a:lnTo>
                  <a:pt x="542" y="802"/>
                </a:lnTo>
                <a:lnTo>
                  <a:pt x="558" y="809"/>
                </a:lnTo>
                <a:lnTo>
                  <a:pt x="575" y="816"/>
                </a:lnTo>
                <a:lnTo>
                  <a:pt x="594" y="821"/>
                </a:lnTo>
                <a:lnTo>
                  <a:pt x="611" y="824"/>
                </a:lnTo>
                <a:lnTo>
                  <a:pt x="628" y="828"/>
                </a:lnTo>
                <a:lnTo>
                  <a:pt x="645" y="829"/>
                </a:lnTo>
                <a:lnTo>
                  <a:pt x="1588" y="833"/>
                </a:lnTo>
                <a:lnTo>
                  <a:pt x="1588" y="833"/>
                </a:lnTo>
                <a:lnTo>
                  <a:pt x="1595" y="833"/>
                </a:lnTo>
                <a:lnTo>
                  <a:pt x="1602" y="832"/>
                </a:lnTo>
                <a:lnTo>
                  <a:pt x="1609" y="830"/>
                </a:lnTo>
                <a:lnTo>
                  <a:pt x="1617" y="828"/>
                </a:lnTo>
                <a:lnTo>
                  <a:pt x="1623" y="824"/>
                </a:lnTo>
                <a:lnTo>
                  <a:pt x="1629" y="820"/>
                </a:lnTo>
                <a:lnTo>
                  <a:pt x="1634" y="816"/>
                </a:lnTo>
                <a:lnTo>
                  <a:pt x="1639" y="812"/>
                </a:lnTo>
                <a:lnTo>
                  <a:pt x="1644" y="806"/>
                </a:lnTo>
                <a:lnTo>
                  <a:pt x="1648" y="801"/>
                </a:lnTo>
                <a:lnTo>
                  <a:pt x="1651" y="795"/>
                </a:lnTo>
                <a:lnTo>
                  <a:pt x="1654" y="789"/>
                </a:lnTo>
                <a:lnTo>
                  <a:pt x="1657" y="783"/>
                </a:lnTo>
                <a:lnTo>
                  <a:pt x="1659" y="775"/>
                </a:lnTo>
                <a:lnTo>
                  <a:pt x="1661" y="768"/>
                </a:lnTo>
                <a:lnTo>
                  <a:pt x="1661" y="760"/>
                </a:lnTo>
                <a:lnTo>
                  <a:pt x="1661" y="483"/>
                </a:lnTo>
                <a:lnTo>
                  <a:pt x="1661" y="483"/>
                </a:lnTo>
                <a:lnTo>
                  <a:pt x="1659" y="468"/>
                </a:lnTo>
                <a:lnTo>
                  <a:pt x="1655" y="451"/>
                </a:lnTo>
                <a:lnTo>
                  <a:pt x="1650" y="435"/>
                </a:lnTo>
                <a:lnTo>
                  <a:pt x="1643" y="420"/>
                </a:lnTo>
                <a:lnTo>
                  <a:pt x="1634" y="404"/>
                </a:lnTo>
                <a:lnTo>
                  <a:pt x="1625" y="390"/>
                </a:lnTo>
                <a:lnTo>
                  <a:pt x="1614" y="378"/>
                </a:lnTo>
                <a:lnTo>
                  <a:pt x="1601" y="369"/>
                </a:lnTo>
                <a:lnTo>
                  <a:pt x="1601" y="369"/>
                </a:lnTo>
                <a:close/>
              </a:path>
            </a:pathLst>
          </a:custGeom>
          <a:solidFill>
            <a:srgbClr val="00BCF2"/>
          </a:solidFill>
          <a:ln>
            <a:solidFill>
              <a:srgbClr val="005B6B"/>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77" name="Freeform 2033"/>
          <p:cNvSpPr>
            <a:spLocks/>
          </p:cNvSpPr>
          <p:nvPr/>
        </p:nvSpPr>
        <p:spPr bwMode="auto">
          <a:xfrm rot="21329979" flipH="1" flipV="1">
            <a:off x="6331831" y="3112369"/>
            <a:ext cx="266937" cy="166917"/>
          </a:xfrm>
          <a:custGeom>
            <a:avLst/>
            <a:gdLst>
              <a:gd name="T0" fmla="*/ 1148 w 1661"/>
              <a:gd name="T1" fmla="*/ 47 h 833"/>
              <a:gd name="T2" fmla="*/ 1134 w 1661"/>
              <a:gd name="T3" fmla="*/ 38 h 833"/>
              <a:gd name="T4" fmla="*/ 1102 w 1661"/>
              <a:gd name="T5" fmla="*/ 23 h 833"/>
              <a:gd name="T6" fmla="*/ 1067 w 1661"/>
              <a:gd name="T7" fmla="*/ 12 h 833"/>
              <a:gd name="T8" fmla="*/ 1031 w 1661"/>
              <a:gd name="T9" fmla="*/ 5 h 833"/>
              <a:gd name="T10" fmla="*/ 73 w 1661"/>
              <a:gd name="T11" fmla="*/ 0 h 833"/>
              <a:gd name="T12" fmla="*/ 64 w 1661"/>
              <a:gd name="T13" fmla="*/ 0 h 833"/>
              <a:gd name="T14" fmla="*/ 51 w 1661"/>
              <a:gd name="T15" fmla="*/ 3 h 833"/>
              <a:gd name="T16" fmla="*/ 38 w 1661"/>
              <a:gd name="T17" fmla="*/ 8 h 833"/>
              <a:gd name="T18" fmla="*/ 27 w 1661"/>
              <a:gd name="T19" fmla="*/ 16 h 833"/>
              <a:gd name="T20" fmla="*/ 16 w 1661"/>
              <a:gd name="T21" fmla="*/ 26 h 833"/>
              <a:gd name="T22" fmla="*/ 8 w 1661"/>
              <a:gd name="T23" fmla="*/ 38 h 833"/>
              <a:gd name="T24" fmla="*/ 3 w 1661"/>
              <a:gd name="T25" fmla="*/ 51 h 833"/>
              <a:gd name="T26" fmla="*/ 0 w 1661"/>
              <a:gd name="T27" fmla="*/ 64 h 833"/>
              <a:gd name="T28" fmla="*/ 0 w 1661"/>
              <a:gd name="T29" fmla="*/ 349 h 833"/>
              <a:gd name="T30" fmla="*/ 1 w 1661"/>
              <a:gd name="T31" fmla="*/ 366 h 833"/>
              <a:gd name="T32" fmla="*/ 10 w 1661"/>
              <a:gd name="T33" fmla="*/ 397 h 833"/>
              <a:gd name="T34" fmla="*/ 26 w 1661"/>
              <a:gd name="T35" fmla="*/ 428 h 833"/>
              <a:gd name="T36" fmla="*/ 47 w 1661"/>
              <a:gd name="T37" fmla="*/ 455 h 833"/>
              <a:gd name="T38" fmla="*/ 513 w 1661"/>
              <a:gd name="T39" fmla="*/ 786 h 833"/>
              <a:gd name="T40" fmla="*/ 526 w 1661"/>
              <a:gd name="T41" fmla="*/ 795 h 833"/>
              <a:gd name="T42" fmla="*/ 558 w 1661"/>
              <a:gd name="T43" fmla="*/ 809 h 833"/>
              <a:gd name="T44" fmla="*/ 594 w 1661"/>
              <a:gd name="T45" fmla="*/ 821 h 833"/>
              <a:gd name="T46" fmla="*/ 628 w 1661"/>
              <a:gd name="T47" fmla="*/ 828 h 833"/>
              <a:gd name="T48" fmla="*/ 1588 w 1661"/>
              <a:gd name="T49" fmla="*/ 833 h 833"/>
              <a:gd name="T50" fmla="*/ 1595 w 1661"/>
              <a:gd name="T51" fmla="*/ 833 h 833"/>
              <a:gd name="T52" fmla="*/ 1609 w 1661"/>
              <a:gd name="T53" fmla="*/ 830 h 833"/>
              <a:gd name="T54" fmla="*/ 1623 w 1661"/>
              <a:gd name="T55" fmla="*/ 824 h 833"/>
              <a:gd name="T56" fmla="*/ 1634 w 1661"/>
              <a:gd name="T57" fmla="*/ 816 h 833"/>
              <a:gd name="T58" fmla="*/ 1644 w 1661"/>
              <a:gd name="T59" fmla="*/ 806 h 833"/>
              <a:gd name="T60" fmla="*/ 1651 w 1661"/>
              <a:gd name="T61" fmla="*/ 795 h 833"/>
              <a:gd name="T62" fmla="*/ 1657 w 1661"/>
              <a:gd name="T63" fmla="*/ 783 h 833"/>
              <a:gd name="T64" fmla="*/ 1661 w 1661"/>
              <a:gd name="T65" fmla="*/ 768 h 833"/>
              <a:gd name="T66" fmla="*/ 1661 w 1661"/>
              <a:gd name="T67" fmla="*/ 483 h 833"/>
              <a:gd name="T68" fmla="*/ 1659 w 1661"/>
              <a:gd name="T69" fmla="*/ 468 h 833"/>
              <a:gd name="T70" fmla="*/ 1650 w 1661"/>
              <a:gd name="T71" fmla="*/ 435 h 833"/>
              <a:gd name="T72" fmla="*/ 1634 w 1661"/>
              <a:gd name="T73" fmla="*/ 404 h 833"/>
              <a:gd name="T74" fmla="*/ 1614 w 1661"/>
              <a:gd name="T75" fmla="*/ 378 h 833"/>
              <a:gd name="T76" fmla="*/ 1601 w 1661"/>
              <a:gd name="T77" fmla="*/ 369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1" h="833">
                <a:moveTo>
                  <a:pt x="1601" y="369"/>
                </a:moveTo>
                <a:lnTo>
                  <a:pt x="1148" y="47"/>
                </a:lnTo>
                <a:lnTo>
                  <a:pt x="1148" y="47"/>
                </a:lnTo>
                <a:lnTo>
                  <a:pt x="1134" y="38"/>
                </a:lnTo>
                <a:lnTo>
                  <a:pt x="1119" y="30"/>
                </a:lnTo>
                <a:lnTo>
                  <a:pt x="1102" y="23"/>
                </a:lnTo>
                <a:lnTo>
                  <a:pt x="1084" y="17"/>
                </a:lnTo>
                <a:lnTo>
                  <a:pt x="1067" y="12"/>
                </a:lnTo>
                <a:lnTo>
                  <a:pt x="1048" y="8"/>
                </a:lnTo>
                <a:lnTo>
                  <a:pt x="1031" y="5"/>
                </a:lnTo>
                <a:lnTo>
                  <a:pt x="1016" y="4"/>
                </a:lnTo>
                <a:lnTo>
                  <a:pt x="73" y="0"/>
                </a:lnTo>
                <a:lnTo>
                  <a:pt x="73" y="0"/>
                </a:lnTo>
                <a:lnTo>
                  <a:pt x="64" y="0"/>
                </a:lnTo>
                <a:lnTo>
                  <a:pt x="57" y="1"/>
                </a:lnTo>
                <a:lnTo>
                  <a:pt x="51" y="3"/>
                </a:lnTo>
                <a:lnTo>
                  <a:pt x="44" y="5"/>
                </a:lnTo>
                <a:lnTo>
                  <a:pt x="38" y="8"/>
                </a:lnTo>
                <a:lnTo>
                  <a:pt x="32" y="12"/>
                </a:lnTo>
                <a:lnTo>
                  <a:pt x="27" y="16"/>
                </a:lnTo>
                <a:lnTo>
                  <a:pt x="20" y="21"/>
                </a:lnTo>
                <a:lnTo>
                  <a:pt x="16" y="26"/>
                </a:lnTo>
                <a:lnTo>
                  <a:pt x="12" y="32"/>
                </a:lnTo>
                <a:lnTo>
                  <a:pt x="8" y="38"/>
                </a:lnTo>
                <a:lnTo>
                  <a:pt x="5" y="44"/>
                </a:lnTo>
                <a:lnTo>
                  <a:pt x="3" y="51"/>
                </a:lnTo>
                <a:lnTo>
                  <a:pt x="1" y="57"/>
                </a:lnTo>
                <a:lnTo>
                  <a:pt x="0" y="64"/>
                </a:lnTo>
                <a:lnTo>
                  <a:pt x="0" y="72"/>
                </a:lnTo>
                <a:lnTo>
                  <a:pt x="0" y="349"/>
                </a:lnTo>
                <a:lnTo>
                  <a:pt x="0" y="349"/>
                </a:lnTo>
                <a:lnTo>
                  <a:pt x="1" y="366"/>
                </a:lnTo>
                <a:lnTo>
                  <a:pt x="4" y="381"/>
                </a:lnTo>
                <a:lnTo>
                  <a:pt x="10" y="397"/>
                </a:lnTo>
                <a:lnTo>
                  <a:pt x="17" y="414"/>
                </a:lnTo>
                <a:lnTo>
                  <a:pt x="26" y="428"/>
                </a:lnTo>
                <a:lnTo>
                  <a:pt x="36" y="442"/>
                </a:lnTo>
                <a:lnTo>
                  <a:pt x="47" y="455"/>
                </a:lnTo>
                <a:lnTo>
                  <a:pt x="59" y="464"/>
                </a:lnTo>
                <a:lnTo>
                  <a:pt x="513" y="786"/>
                </a:lnTo>
                <a:lnTo>
                  <a:pt x="513" y="786"/>
                </a:lnTo>
                <a:lnTo>
                  <a:pt x="526" y="795"/>
                </a:lnTo>
                <a:lnTo>
                  <a:pt x="542" y="802"/>
                </a:lnTo>
                <a:lnTo>
                  <a:pt x="558" y="809"/>
                </a:lnTo>
                <a:lnTo>
                  <a:pt x="575" y="816"/>
                </a:lnTo>
                <a:lnTo>
                  <a:pt x="594" y="821"/>
                </a:lnTo>
                <a:lnTo>
                  <a:pt x="611" y="824"/>
                </a:lnTo>
                <a:lnTo>
                  <a:pt x="628" y="828"/>
                </a:lnTo>
                <a:lnTo>
                  <a:pt x="645" y="829"/>
                </a:lnTo>
                <a:lnTo>
                  <a:pt x="1588" y="833"/>
                </a:lnTo>
                <a:lnTo>
                  <a:pt x="1588" y="833"/>
                </a:lnTo>
                <a:lnTo>
                  <a:pt x="1595" y="833"/>
                </a:lnTo>
                <a:lnTo>
                  <a:pt x="1602" y="832"/>
                </a:lnTo>
                <a:lnTo>
                  <a:pt x="1609" y="830"/>
                </a:lnTo>
                <a:lnTo>
                  <a:pt x="1617" y="828"/>
                </a:lnTo>
                <a:lnTo>
                  <a:pt x="1623" y="824"/>
                </a:lnTo>
                <a:lnTo>
                  <a:pt x="1629" y="820"/>
                </a:lnTo>
                <a:lnTo>
                  <a:pt x="1634" y="816"/>
                </a:lnTo>
                <a:lnTo>
                  <a:pt x="1639" y="812"/>
                </a:lnTo>
                <a:lnTo>
                  <a:pt x="1644" y="806"/>
                </a:lnTo>
                <a:lnTo>
                  <a:pt x="1648" y="801"/>
                </a:lnTo>
                <a:lnTo>
                  <a:pt x="1651" y="795"/>
                </a:lnTo>
                <a:lnTo>
                  <a:pt x="1654" y="789"/>
                </a:lnTo>
                <a:lnTo>
                  <a:pt x="1657" y="783"/>
                </a:lnTo>
                <a:lnTo>
                  <a:pt x="1659" y="775"/>
                </a:lnTo>
                <a:lnTo>
                  <a:pt x="1661" y="768"/>
                </a:lnTo>
                <a:lnTo>
                  <a:pt x="1661" y="760"/>
                </a:lnTo>
                <a:lnTo>
                  <a:pt x="1661" y="483"/>
                </a:lnTo>
                <a:lnTo>
                  <a:pt x="1661" y="483"/>
                </a:lnTo>
                <a:lnTo>
                  <a:pt x="1659" y="468"/>
                </a:lnTo>
                <a:lnTo>
                  <a:pt x="1655" y="451"/>
                </a:lnTo>
                <a:lnTo>
                  <a:pt x="1650" y="435"/>
                </a:lnTo>
                <a:lnTo>
                  <a:pt x="1643" y="420"/>
                </a:lnTo>
                <a:lnTo>
                  <a:pt x="1634" y="404"/>
                </a:lnTo>
                <a:lnTo>
                  <a:pt x="1625" y="390"/>
                </a:lnTo>
                <a:lnTo>
                  <a:pt x="1614" y="378"/>
                </a:lnTo>
                <a:lnTo>
                  <a:pt x="1601" y="369"/>
                </a:lnTo>
                <a:lnTo>
                  <a:pt x="1601" y="369"/>
                </a:lnTo>
                <a:close/>
              </a:path>
            </a:pathLst>
          </a:custGeom>
          <a:solidFill>
            <a:schemeClr val="accent1"/>
          </a:solidFill>
          <a:ln>
            <a:solidFill>
              <a:srgbClr val="005B6B"/>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78" name="Block Arc 2377"/>
          <p:cNvSpPr/>
          <p:nvPr/>
        </p:nvSpPr>
        <p:spPr bwMode="auto">
          <a:xfrm rot="1905951">
            <a:off x="6079587" y="2830224"/>
            <a:ext cx="44304" cy="56057"/>
          </a:xfrm>
          <a:prstGeom prst="blockArc">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79" name="Block Arc 2378"/>
          <p:cNvSpPr/>
          <p:nvPr/>
        </p:nvSpPr>
        <p:spPr bwMode="auto">
          <a:xfrm rot="10800000">
            <a:off x="5947373" y="3299705"/>
            <a:ext cx="102889" cy="94118"/>
          </a:xfrm>
          <a:prstGeom prst="blockArc">
            <a:avLst/>
          </a:prstGeom>
          <a:solidFill>
            <a:srgbClr val="005D6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885" name="Group 2884"/>
          <p:cNvGrpSpPr/>
          <p:nvPr/>
        </p:nvGrpSpPr>
        <p:grpSpPr>
          <a:xfrm>
            <a:off x="2397382" y="2674939"/>
            <a:ext cx="348555" cy="435393"/>
            <a:chOff x="2079416" y="2611338"/>
            <a:chExt cx="561352" cy="297379"/>
          </a:xfrm>
        </p:grpSpPr>
        <p:sp>
          <p:nvSpPr>
            <p:cNvPr id="803" name="Rectangle 802"/>
            <p:cNvSpPr/>
            <p:nvPr/>
          </p:nvSpPr>
          <p:spPr bwMode="auto">
            <a:xfrm>
              <a:off x="2079416" y="2611338"/>
              <a:ext cx="561352" cy="258415"/>
            </a:xfrm>
            <a:prstGeom prst="rect">
              <a:avLst/>
            </a:prstGeom>
            <a:solidFill>
              <a:schemeClr val="tx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8DC548"/>
                  </a:solidFill>
                  <a:effectLst/>
                  <a:uLnTx/>
                  <a:uFillTx/>
                  <a:cs typeface="Arial" charset="0"/>
                </a:rPr>
                <a:t>NEW GATE:</a:t>
              </a:r>
            </a:p>
            <a:p>
              <a:pPr marL="0" marR="0" lvl="0" indent="0" defTabSz="89563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8DC548"/>
                  </a:solidFill>
                  <a:effectLst/>
                  <a:uLnTx/>
                  <a:uFillTx/>
                  <a:cs typeface="Arial" charset="0"/>
                </a:rPr>
                <a:t>B7</a:t>
              </a:r>
              <a:endParaRPr kumimoji="0" lang="en-US" sz="500" b="0" i="0" u="none" strike="noStrike" kern="0" cap="none" spc="0" normalizeH="0" baseline="0" noProof="0" dirty="0">
                <a:ln w="3175">
                  <a:noFill/>
                </a:ln>
                <a:solidFill>
                  <a:srgbClr val="8DC548"/>
                </a:solidFill>
                <a:effectLst/>
                <a:uLnTx/>
                <a:uFillTx/>
                <a:cs typeface="Arial" charset="0"/>
              </a:endParaRPr>
            </a:p>
          </p:txBody>
        </p:sp>
        <p:sp>
          <p:nvSpPr>
            <p:cNvPr id="807" name="Isosceles Triangle 806"/>
            <p:cNvSpPr/>
            <p:nvPr/>
          </p:nvSpPr>
          <p:spPr bwMode="auto">
            <a:xfrm flipV="1">
              <a:off x="2371986" y="2876763"/>
              <a:ext cx="100601" cy="31954"/>
            </a:xfrm>
            <a:prstGeom prst="triangle">
              <a:avLst>
                <a:gd name="adj" fmla="val 5019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1" name="Group 10"/>
          <p:cNvGrpSpPr/>
          <p:nvPr/>
        </p:nvGrpSpPr>
        <p:grpSpPr>
          <a:xfrm>
            <a:off x="1413107" y="3413109"/>
            <a:ext cx="561352" cy="312589"/>
            <a:chOff x="1401763" y="3337658"/>
            <a:chExt cx="561352" cy="312589"/>
          </a:xfrm>
        </p:grpSpPr>
        <p:sp>
          <p:nvSpPr>
            <p:cNvPr id="896" name="Rectangle 895"/>
            <p:cNvSpPr/>
            <p:nvPr/>
          </p:nvSpPr>
          <p:spPr bwMode="auto">
            <a:xfrm>
              <a:off x="1401763" y="3391832"/>
              <a:ext cx="561352" cy="258415"/>
            </a:xfrm>
            <a:prstGeom prst="rect">
              <a:avLst/>
            </a:prstGeom>
            <a:solidFill>
              <a:schemeClr val="tx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w="3175">
                    <a:noFill/>
                  </a:ln>
                  <a:solidFill>
                    <a:srgbClr val="8DC548"/>
                  </a:solidFill>
                  <a:effectLst/>
                  <a:uLnTx/>
                  <a:uFillTx/>
                  <a:cs typeface="Arial" charset="0"/>
                </a:rPr>
                <a:t>25% off</a:t>
              </a:r>
              <a:endParaRPr kumimoji="0" lang="en-US" sz="600" b="0" i="0" u="none" strike="noStrike" kern="0" cap="none" spc="0" normalizeH="0" baseline="0" noProof="0" dirty="0">
                <a:ln w="3175">
                  <a:noFill/>
                </a:ln>
                <a:solidFill>
                  <a:srgbClr val="8DC548"/>
                </a:solidFill>
                <a:effectLst/>
                <a:uLnTx/>
                <a:uFillTx/>
                <a:cs typeface="Arial" charset="0"/>
              </a:endParaRPr>
            </a:p>
          </p:txBody>
        </p:sp>
        <p:sp>
          <p:nvSpPr>
            <p:cNvPr id="901" name="Isosceles Triangle 900"/>
            <p:cNvSpPr/>
            <p:nvPr/>
          </p:nvSpPr>
          <p:spPr bwMode="auto">
            <a:xfrm>
              <a:off x="1739451" y="3337658"/>
              <a:ext cx="133900" cy="56607"/>
            </a:xfrm>
            <a:prstGeom prst="triangle">
              <a:avLst>
                <a:gd name="adj" fmla="val 5019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3155" name="Group 3154"/>
          <p:cNvGrpSpPr/>
          <p:nvPr/>
        </p:nvGrpSpPr>
        <p:grpSpPr>
          <a:xfrm>
            <a:off x="1084705" y="2556537"/>
            <a:ext cx="1115160" cy="743420"/>
            <a:chOff x="1084240" y="2556537"/>
            <a:chExt cx="846440" cy="743420"/>
          </a:xfrm>
        </p:grpSpPr>
        <p:sp>
          <p:nvSpPr>
            <p:cNvPr id="2880" name="Rectangle 2879"/>
            <p:cNvSpPr/>
            <p:nvPr/>
          </p:nvSpPr>
          <p:spPr bwMode="auto">
            <a:xfrm>
              <a:off x="1088708" y="2556537"/>
              <a:ext cx="841972" cy="730765"/>
            </a:xfrm>
            <a:prstGeom prst="rect">
              <a:avLst/>
            </a:prstGeom>
            <a:solidFill>
              <a:schemeClr val="accent1">
                <a:lumMod val="50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 name="Rectangle 30"/>
            <p:cNvSpPr/>
            <p:nvPr/>
          </p:nvSpPr>
          <p:spPr bwMode="auto">
            <a:xfrm>
              <a:off x="1084240" y="3004770"/>
              <a:ext cx="837758" cy="295187"/>
            </a:xfrm>
            <a:prstGeom prst="rect">
              <a:avLst/>
            </a:prstGeom>
            <a:gradFill>
              <a:gsLst>
                <a:gs pos="44000">
                  <a:srgbClr val="000608">
                    <a:alpha val="0"/>
                  </a:srgbClr>
                </a:gs>
                <a:gs pos="93000">
                  <a:schemeClr val="accent1">
                    <a:lumMod val="75000"/>
                    <a:alpha val="22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grpSp>
      <p:grpSp>
        <p:nvGrpSpPr>
          <p:cNvPr id="30" name="Group 29"/>
          <p:cNvGrpSpPr/>
          <p:nvPr/>
        </p:nvGrpSpPr>
        <p:grpSpPr>
          <a:xfrm>
            <a:off x="1806322" y="2858805"/>
            <a:ext cx="161244" cy="359697"/>
            <a:chOff x="6192694" y="2710259"/>
            <a:chExt cx="144463" cy="322263"/>
          </a:xfrm>
          <a:solidFill>
            <a:schemeClr val="accent5">
              <a:lumMod val="75000"/>
            </a:schemeClr>
          </a:solidFill>
        </p:grpSpPr>
        <p:sp>
          <p:nvSpPr>
            <p:cNvPr id="861" name="Freeform 1956"/>
            <p:cNvSpPr>
              <a:spLocks/>
            </p:cNvSpPr>
            <p:nvPr/>
          </p:nvSpPr>
          <p:spPr bwMode="auto">
            <a:xfrm>
              <a:off x="6237144" y="2710259"/>
              <a:ext cx="53975" cy="52388"/>
            </a:xfrm>
            <a:custGeom>
              <a:avLst/>
              <a:gdLst>
                <a:gd name="T0" fmla="*/ 81 w 200"/>
                <a:gd name="T1" fmla="*/ 1 h 197"/>
                <a:gd name="T2" fmla="*/ 81 w 200"/>
                <a:gd name="T3" fmla="*/ 1 h 197"/>
                <a:gd name="T4" fmla="*/ 93 w 200"/>
                <a:gd name="T5" fmla="*/ 0 h 197"/>
                <a:gd name="T6" fmla="*/ 105 w 200"/>
                <a:gd name="T7" fmla="*/ 0 h 197"/>
                <a:gd name="T8" fmla="*/ 117 w 200"/>
                <a:gd name="T9" fmla="*/ 1 h 197"/>
                <a:gd name="T10" fmla="*/ 129 w 200"/>
                <a:gd name="T11" fmla="*/ 4 h 197"/>
                <a:gd name="T12" fmla="*/ 139 w 200"/>
                <a:gd name="T13" fmla="*/ 8 h 197"/>
                <a:gd name="T14" fmla="*/ 150 w 200"/>
                <a:gd name="T15" fmla="*/ 13 h 197"/>
                <a:gd name="T16" fmla="*/ 161 w 200"/>
                <a:gd name="T17" fmla="*/ 20 h 197"/>
                <a:gd name="T18" fmla="*/ 169 w 200"/>
                <a:gd name="T19" fmla="*/ 27 h 197"/>
                <a:gd name="T20" fmla="*/ 178 w 200"/>
                <a:gd name="T21" fmla="*/ 37 h 197"/>
                <a:gd name="T22" fmla="*/ 185 w 200"/>
                <a:gd name="T23" fmla="*/ 46 h 197"/>
                <a:gd name="T24" fmla="*/ 190 w 200"/>
                <a:gd name="T25" fmla="*/ 56 h 197"/>
                <a:gd name="T26" fmla="*/ 195 w 200"/>
                <a:gd name="T27" fmla="*/ 67 h 197"/>
                <a:gd name="T28" fmla="*/ 198 w 200"/>
                <a:gd name="T29" fmla="*/ 79 h 197"/>
                <a:gd name="T30" fmla="*/ 200 w 200"/>
                <a:gd name="T31" fmla="*/ 90 h 197"/>
                <a:gd name="T32" fmla="*/ 200 w 200"/>
                <a:gd name="T33" fmla="*/ 102 h 197"/>
                <a:gd name="T34" fmla="*/ 199 w 200"/>
                <a:gd name="T35" fmla="*/ 114 h 197"/>
                <a:gd name="T36" fmla="*/ 199 w 200"/>
                <a:gd name="T37" fmla="*/ 114 h 197"/>
                <a:gd name="T38" fmla="*/ 198 w 200"/>
                <a:gd name="T39" fmla="*/ 122 h 197"/>
                <a:gd name="T40" fmla="*/ 196 w 200"/>
                <a:gd name="T41" fmla="*/ 130 h 197"/>
                <a:gd name="T42" fmla="*/ 194 w 200"/>
                <a:gd name="T43" fmla="*/ 137 h 197"/>
                <a:gd name="T44" fmla="*/ 191 w 200"/>
                <a:gd name="T45" fmla="*/ 144 h 197"/>
                <a:gd name="T46" fmla="*/ 188 w 200"/>
                <a:gd name="T47" fmla="*/ 150 h 197"/>
                <a:gd name="T48" fmla="*/ 184 w 200"/>
                <a:gd name="T49" fmla="*/ 156 h 197"/>
                <a:gd name="T50" fmla="*/ 175 w 200"/>
                <a:gd name="T51" fmla="*/ 167 h 197"/>
                <a:gd name="T52" fmla="*/ 165 w 200"/>
                <a:gd name="T53" fmla="*/ 177 h 197"/>
                <a:gd name="T54" fmla="*/ 152 w 200"/>
                <a:gd name="T55" fmla="*/ 184 h 197"/>
                <a:gd name="T56" fmla="*/ 139 w 200"/>
                <a:gd name="T57" fmla="*/ 190 h 197"/>
                <a:gd name="T58" fmla="*/ 125 w 200"/>
                <a:gd name="T59" fmla="*/ 194 h 197"/>
                <a:gd name="T60" fmla="*/ 110 w 200"/>
                <a:gd name="T61" fmla="*/ 196 h 197"/>
                <a:gd name="T62" fmla="*/ 96 w 200"/>
                <a:gd name="T63" fmla="*/ 197 h 197"/>
                <a:gd name="T64" fmla="*/ 82 w 200"/>
                <a:gd name="T65" fmla="*/ 195 h 197"/>
                <a:gd name="T66" fmla="*/ 68 w 200"/>
                <a:gd name="T67" fmla="*/ 192 h 197"/>
                <a:gd name="T68" fmla="*/ 54 w 200"/>
                <a:gd name="T69" fmla="*/ 187 h 197"/>
                <a:gd name="T70" fmla="*/ 41 w 200"/>
                <a:gd name="T71" fmla="*/ 179 h 197"/>
                <a:gd name="T72" fmla="*/ 36 w 200"/>
                <a:gd name="T73" fmla="*/ 175 h 197"/>
                <a:gd name="T74" fmla="*/ 31 w 200"/>
                <a:gd name="T75" fmla="*/ 169 h 197"/>
                <a:gd name="T76" fmla="*/ 26 w 200"/>
                <a:gd name="T77" fmla="*/ 164 h 197"/>
                <a:gd name="T78" fmla="*/ 21 w 200"/>
                <a:gd name="T79" fmla="*/ 158 h 197"/>
                <a:gd name="T80" fmla="*/ 21 w 200"/>
                <a:gd name="T81" fmla="*/ 158 h 197"/>
                <a:gd name="T82" fmla="*/ 13 w 200"/>
                <a:gd name="T83" fmla="*/ 147 h 197"/>
                <a:gd name="T84" fmla="*/ 7 w 200"/>
                <a:gd name="T85" fmla="*/ 136 h 197"/>
                <a:gd name="T86" fmla="*/ 3 w 200"/>
                <a:gd name="T87" fmla="*/ 124 h 197"/>
                <a:gd name="T88" fmla="*/ 1 w 200"/>
                <a:gd name="T89" fmla="*/ 112 h 197"/>
                <a:gd name="T90" fmla="*/ 0 w 200"/>
                <a:gd name="T91" fmla="*/ 100 h 197"/>
                <a:gd name="T92" fmla="*/ 2 w 200"/>
                <a:gd name="T93" fmla="*/ 88 h 197"/>
                <a:gd name="T94" fmla="*/ 4 w 200"/>
                <a:gd name="T95" fmla="*/ 75 h 197"/>
                <a:gd name="T96" fmla="*/ 8 w 200"/>
                <a:gd name="T97" fmla="*/ 64 h 197"/>
                <a:gd name="T98" fmla="*/ 13 w 200"/>
                <a:gd name="T99" fmla="*/ 53 h 197"/>
                <a:gd name="T100" fmla="*/ 21 w 200"/>
                <a:gd name="T101" fmla="*/ 43 h 197"/>
                <a:gd name="T102" fmla="*/ 28 w 200"/>
                <a:gd name="T103" fmla="*/ 33 h 197"/>
                <a:gd name="T104" fmla="*/ 37 w 200"/>
                <a:gd name="T105" fmla="*/ 24 h 197"/>
                <a:gd name="T106" fmla="*/ 46 w 200"/>
                <a:gd name="T107" fmla="*/ 16 h 197"/>
                <a:gd name="T108" fmla="*/ 57 w 200"/>
                <a:gd name="T109" fmla="*/ 10 h 197"/>
                <a:gd name="T110" fmla="*/ 69 w 200"/>
                <a:gd name="T111" fmla="*/ 5 h 197"/>
                <a:gd name="T112" fmla="*/ 81 w 200"/>
                <a:gd name="T113" fmla="*/ 1 h 197"/>
                <a:gd name="T114" fmla="*/ 81 w 200"/>
                <a:gd name="T115" fmla="*/ 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 h="197">
                  <a:moveTo>
                    <a:pt x="81" y="1"/>
                  </a:moveTo>
                  <a:lnTo>
                    <a:pt x="81" y="1"/>
                  </a:lnTo>
                  <a:lnTo>
                    <a:pt x="93" y="0"/>
                  </a:lnTo>
                  <a:lnTo>
                    <a:pt x="105" y="0"/>
                  </a:lnTo>
                  <a:lnTo>
                    <a:pt x="117" y="1"/>
                  </a:lnTo>
                  <a:lnTo>
                    <a:pt x="129" y="4"/>
                  </a:lnTo>
                  <a:lnTo>
                    <a:pt x="139" y="8"/>
                  </a:lnTo>
                  <a:lnTo>
                    <a:pt x="150" y="13"/>
                  </a:lnTo>
                  <a:lnTo>
                    <a:pt x="161" y="20"/>
                  </a:lnTo>
                  <a:lnTo>
                    <a:pt x="169" y="27"/>
                  </a:lnTo>
                  <a:lnTo>
                    <a:pt x="178" y="37"/>
                  </a:lnTo>
                  <a:lnTo>
                    <a:pt x="185" y="46"/>
                  </a:lnTo>
                  <a:lnTo>
                    <a:pt x="190" y="56"/>
                  </a:lnTo>
                  <a:lnTo>
                    <a:pt x="195" y="67"/>
                  </a:lnTo>
                  <a:lnTo>
                    <a:pt x="198" y="79"/>
                  </a:lnTo>
                  <a:lnTo>
                    <a:pt x="200" y="90"/>
                  </a:lnTo>
                  <a:lnTo>
                    <a:pt x="200" y="102"/>
                  </a:lnTo>
                  <a:lnTo>
                    <a:pt x="199" y="114"/>
                  </a:lnTo>
                  <a:lnTo>
                    <a:pt x="199" y="114"/>
                  </a:lnTo>
                  <a:lnTo>
                    <a:pt x="198" y="122"/>
                  </a:lnTo>
                  <a:lnTo>
                    <a:pt x="196" y="130"/>
                  </a:lnTo>
                  <a:lnTo>
                    <a:pt x="194" y="137"/>
                  </a:lnTo>
                  <a:lnTo>
                    <a:pt x="191" y="144"/>
                  </a:lnTo>
                  <a:lnTo>
                    <a:pt x="188" y="150"/>
                  </a:lnTo>
                  <a:lnTo>
                    <a:pt x="184" y="156"/>
                  </a:lnTo>
                  <a:lnTo>
                    <a:pt x="175" y="167"/>
                  </a:lnTo>
                  <a:lnTo>
                    <a:pt x="165" y="177"/>
                  </a:lnTo>
                  <a:lnTo>
                    <a:pt x="152" y="184"/>
                  </a:lnTo>
                  <a:lnTo>
                    <a:pt x="139" y="190"/>
                  </a:lnTo>
                  <a:lnTo>
                    <a:pt x="125" y="194"/>
                  </a:lnTo>
                  <a:lnTo>
                    <a:pt x="110" y="196"/>
                  </a:lnTo>
                  <a:lnTo>
                    <a:pt x="96" y="197"/>
                  </a:lnTo>
                  <a:lnTo>
                    <a:pt x="82" y="195"/>
                  </a:lnTo>
                  <a:lnTo>
                    <a:pt x="68" y="192"/>
                  </a:lnTo>
                  <a:lnTo>
                    <a:pt x="54" y="187"/>
                  </a:lnTo>
                  <a:lnTo>
                    <a:pt x="41" y="179"/>
                  </a:lnTo>
                  <a:lnTo>
                    <a:pt x="36" y="175"/>
                  </a:lnTo>
                  <a:lnTo>
                    <a:pt x="31" y="169"/>
                  </a:lnTo>
                  <a:lnTo>
                    <a:pt x="26" y="164"/>
                  </a:lnTo>
                  <a:lnTo>
                    <a:pt x="21" y="158"/>
                  </a:lnTo>
                  <a:lnTo>
                    <a:pt x="21" y="158"/>
                  </a:lnTo>
                  <a:lnTo>
                    <a:pt x="13" y="147"/>
                  </a:lnTo>
                  <a:lnTo>
                    <a:pt x="7" y="136"/>
                  </a:lnTo>
                  <a:lnTo>
                    <a:pt x="3" y="124"/>
                  </a:lnTo>
                  <a:lnTo>
                    <a:pt x="1" y="112"/>
                  </a:lnTo>
                  <a:lnTo>
                    <a:pt x="0" y="100"/>
                  </a:lnTo>
                  <a:lnTo>
                    <a:pt x="2" y="88"/>
                  </a:lnTo>
                  <a:lnTo>
                    <a:pt x="4" y="75"/>
                  </a:lnTo>
                  <a:lnTo>
                    <a:pt x="8" y="64"/>
                  </a:lnTo>
                  <a:lnTo>
                    <a:pt x="13" y="53"/>
                  </a:lnTo>
                  <a:lnTo>
                    <a:pt x="21" y="43"/>
                  </a:lnTo>
                  <a:lnTo>
                    <a:pt x="28" y="33"/>
                  </a:lnTo>
                  <a:lnTo>
                    <a:pt x="37" y="24"/>
                  </a:lnTo>
                  <a:lnTo>
                    <a:pt x="46" y="16"/>
                  </a:lnTo>
                  <a:lnTo>
                    <a:pt x="57" y="10"/>
                  </a:lnTo>
                  <a:lnTo>
                    <a:pt x="69" y="5"/>
                  </a:lnTo>
                  <a:lnTo>
                    <a:pt x="81" y="1"/>
                  </a:lnTo>
                  <a:lnTo>
                    <a:pt x="81" y="1"/>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862" name="Freeform 1957"/>
            <p:cNvSpPr>
              <a:spLocks/>
            </p:cNvSpPr>
            <p:nvPr/>
          </p:nvSpPr>
          <p:spPr bwMode="auto">
            <a:xfrm>
              <a:off x="6192694" y="2770584"/>
              <a:ext cx="144463" cy="261938"/>
            </a:xfrm>
            <a:custGeom>
              <a:avLst/>
              <a:gdLst>
                <a:gd name="T0" fmla="*/ 136 w 545"/>
                <a:gd name="T1" fmla="*/ 18 h 992"/>
                <a:gd name="T2" fmla="*/ 180 w 545"/>
                <a:gd name="T3" fmla="*/ 3 h 992"/>
                <a:gd name="T4" fmla="*/ 253 w 545"/>
                <a:gd name="T5" fmla="*/ 1 h 992"/>
                <a:gd name="T6" fmla="*/ 320 w 545"/>
                <a:gd name="T7" fmla="*/ 0 h 992"/>
                <a:gd name="T8" fmla="*/ 389 w 545"/>
                <a:gd name="T9" fmla="*/ 10 h 992"/>
                <a:gd name="T10" fmla="*/ 422 w 545"/>
                <a:gd name="T11" fmla="*/ 28 h 992"/>
                <a:gd name="T12" fmla="*/ 442 w 545"/>
                <a:gd name="T13" fmla="*/ 51 h 992"/>
                <a:gd name="T14" fmla="*/ 474 w 545"/>
                <a:gd name="T15" fmla="*/ 122 h 992"/>
                <a:gd name="T16" fmla="*/ 511 w 545"/>
                <a:gd name="T17" fmla="*/ 249 h 992"/>
                <a:gd name="T18" fmla="*/ 531 w 545"/>
                <a:gd name="T19" fmla="*/ 312 h 992"/>
                <a:gd name="T20" fmla="*/ 545 w 545"/>
                <a:gd name="T21" fmla="*/ 377 h 992"/>
                <a:gd name="T22" fmla="*/ 542 w 545"/>
                <a:gd name="T23" fmla="*/ 421 h 992"/>
                <a:gd name="T24" fmla="*/ 511 w 545"/>
                <a:gd name="T25" fmla="*/ 426 h 992"/>
                <a:gd name="T26" fmla="*/ 480 w 545"/>
                <a:gd name="T27" fmla="*/ 413 h 992"/>
                <a:gd name="T28" fmla="*/ 470 w 545"/>
                <a:gd name="T29" fmla="*/ 399 h 992"/>
                <a:gd name="T30" fmla="*/ 413 w 545"/>
                <a:gd name="T31" fmla="*/ 218 h 992"/>
                <a:gd name="T32" fmla="*/ 390 w 545"/>
                <a:gd name="T33" fmla="*/ 148 h 992"/>
                <a:gd name="T34" fmla="*/ 369 w 545"/>
                <a:gd name="T35" fmla="*/ 126 h 992"/>
                <a:gd name="T36" fmla="*/ 434 w 545"/>
                <a:gd name="T37" fmla="*/ 363 h 992"/>
                <a:gd name="T38" fmla="*/ 502 w 545"/>
                <a:gd name="T39" fmla="*/ 600 h 992"/>
                <a:gd name="T40" fmla="*/ 384 w 545"/>
                <a:gd name="T41" fmla="*/ 684 h 992"/>
                <a:gd name="T42" fmla="*/ 383 w 545"/>
                <a:gd name="T43" fmla="*/ 938 h 992"/>
                <a:gd name="T44" fmla="*/ 371 w 545"/>
                <a:gd name="T45" fmla="*/ 975 h 992"/>
                <a:gd name="T46" fmla="*/ 348 w 545"/>
                <a:gd name="T47" fmla="*/ 991 h 992"/>
                <a:gd name="T48" fmla="*/ 334 w 545"/>
                <a:gd name="T49" fmla="*/ 992 h 992"/>
                <a:gd name="T50" fmla="*/ 311 w 545"/>
                <a:gd name="T51" fmla="*/ 983 h 992"/>
                <a:gd name="T52" fmla="*/ 293 w 545"/>
                <a:gd name="T53" fmla="*/ 949 h 992"/>
                <a:gd name="T54" fmla="*/ 293 w 545"/>
                <a:gd name="T55" fmla="*/ 769 h 992"/>
                <a:gd name="T56" fmla="*/ 264 w 545"/>
                <a:gd name="T57" fmla="*/ 600 h 992"/>
                <a:gd name="T58" fmla="*/ 264 w 545"/>
                <a:gd name="T59" fmla="*/ 864 h 992"/>
                <a:gd name="T60" fmla="*/ 261 w 545"/>
                <a:gd name="T61" fmla="*/ 961 h 992"/>
                <a:gd name="T62" fmla="*/ 242 w 545"/>
                <a:gd name="T63" fmla="*/ 986 h 992"/>
                <a:gd name="T64" fmla="*/ 211 w 545"/>
                <a:gd name="T65" fmla="*/ 990 h 992"/>
                <a:gd name="T66" fmla="*/ 183 w 545"/>
                <a:gd name="T67" fmla="*/ 976 h 992"/>
                <a:gd name="T68" fmla="*/ 174 w 545"/>
                <a:gd name="T69" fmla="*/ 951 h 992"/>
                <a:gd name="T70" fmla="*/ 173 w 545"/>
                <a:gd name="T71" fmla="*/ 600 h 992"/>
                <a:gd name="T72" fmla="*/ 55 w 545"/>
                <a:gd name="T73" fmla="*/ 598 h 992"/>
                <a:gd name="T74" fmla="*/ 172 w 545"/>
                <a:gd name="T75" fmla="*/ 135 h 992"/>
                <a:gd name="T76" fmla="*/ 143 w 545"/>
                <a:gd name="T77" fmla="*/ 177 h 992"/>
                <a:gd name="T78" fmla="*/ 89 w 545"/>
                <a:gd name="T79" fmla="*/ 369 h 992"/>
                <a:gd name="T80" fmla="*/ 73 w 545"/>
                <a:gd name="T81" fmla="*/ 413 h 992"/>
                <a:gd name="T82" fmla="*/ 50 w 545"/>
                <a:gd name="T83" fmla="*/ 426 h 992"/>
                <a:gd name="T84" fmla="*/ 23 w 545"/>
                <a:gd name="T85" fmla="*/ 424 h 992"/>
                <a:gd name="T86" fmla="*/ 5 w 545"/>
                <a:gd name="T87" fmla="*/ 407 h 992"/>
                <a:gd name="T88" fmla="*/ 3 w 545"/>
                <a:gd name="T89" fmla="*/ 371 h 992"/>
                <a:gd name="T90" fmla="*/ 35 w 545"/>
                <a:gd name="T91" fmla="*/ 254 h 992"/>
                <a:gd name="T92" fmla="*/ 56 w 545"/>
                <a:gd name="T93" fmla="*/ 185 h 992"/>
                <a:gd name="T94" fmla="*/ 82 w 545"/>
                <a:gd name="T95" fmla="*/ 94 h 992"/>
                <a:gd name="T96" fmla="*/ 110 w 545"/>
                <a:gd name="T97" fmla="*/ 43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5" h="992">
                  <a:moveTo>
                    <a:pt x="117" y="33"/>
                  </a:moveTo>
                  <a:lnTo>
                    <a:pt x="117" y="33"/>
                  </a:lnTo>
                  <a:lnTo>
                    <a:pt x="126" y="25"/>
                  </a:lnTo>
                  <a:lnTo>
                    <a:pt x="136" y="18"/>
                  </a:lnTo>
                  <a:lnTo>
                    <a:pt x="147" y="13"/>
                  </a:lnTo>
                  <a:lnTo>
                    <a:pt x="158" y="9"/>
                  </a:lnTo>
                  <a:lnTo>
                    <a:pt x="169" y="6"/>
                  </a:lnTo>
                  <a:lnTo>
                    <a:pt x="180" y="3"/>
                  </a:lnTo>
                  <a:lnTo>
                    <a:pt x="193" y="2"/>
                  </a:lnTo>
                  <a:lnTo>
                    <a:pt x="204" y="1"/>
                  </a:lnTo>
                  <a:lnTo>
                    <a:pt x="228" y="0"/>
                  </a:lnTo>
                  <a:lnTo>
                    <a:pt x="253" y="1"/>
                  </a:lnTo>
                  <a:lnTo>
                    <a:pt x="277" y="1"/>
                  </a:lnTo>
                  <a:lnTo>
                    <a:pt x="301" y="1"/>
                  </a:lnTo>
                  <a:lnTo>
                    <a:pt x="301" y="1"/>
                  </a:lnTo>
                  <a:lnTo>
                    <a:pt x="320" y="0"/>
                  </a:lnTo>
                  <a:lnTo>
                    <a:pt x="340" y="1"/>
                  </a:lnTo>
                  <a:lnTo>
                    <a:pt x="360" y="3"/>
                  </a:lnTo>
                  <a:lnTo>
                    <a:pt x="380" y="7"/>
                  </a:lnTo>
                  <a:lnTo>
                    <a:pt x="389" y="10"/>
                  </a:lnTo>
                  <a:lnTo>
                    <a:pt x="398" y="13"/>
                  </a:lnTo>
                  <a:lnTo>
                    <a:pt x="406" y="18"/>
                  </a:lnTo>
                  <a:lnTo>
                    <a:pt x="414" y="22"/>
                  </a:lnTo>
                  <a:lnTo>
                    <a:pt x="422" y="28"/>
                  </a:lnTo>
                  <a:lnTo>
                    <a:pt x="430" y="35"/>
                  </a:lnTo>
                  <a:lnTo>
                    <a:pt x="436" y="43"/>
                  </a:lnTo>
                  <a:lnTo>
                    <a:pt x="442" y="51"/>
                  </a:lnTo>
                  <a:lnTo>
                    <a:pt x="442" y="51"/>
                  </a:lnTo>
                  <a:lnTo>
                    <a:pt x="449" y="62"/>
                  </a:lnTo>
                  <a:lnTo>
                    <a:pt x="454" y="74"/>
                  </a:lnTo>
                  <a:lnTo>
                    <a:pt x="465" y="98"/>
                  </a:lnTo>
                  <a:lnTo>
                    <a:pt x="474" y="122"/>
                  </a:lnTo>
                  <a:lnTo>
                    <a:pt x="482" y="148"/>
                  </a:lnTo>
                  <a:lnTo>
                    <a:pt x="495" y="199"/>
                  </a:lnTo>
                  <a:lnTo>
                    <a:pt x="503" y="223"/>
                  </a:lnTo>
                  <a:lnTo>
                    <a:pt x="511" y="249"/>
                  </a:lnTo>
                  <a:lnTo>
                    <a:pt x="511" y="249"/>
                  </a:lnTo>
                  <a:lnTo>
                    <a:pt x="516" y="269"/>
                  </a:lnTo>
                  <a:lnTo>
                    <a:pt x="524" y="291"/>
                  </a:lnTo>
                  <a:lnTo>
                    <a:pt x="531" y="312"/>
                  </a:lnTo>
                  <a:lnTo>
                    <a:pt x="537" y="334"/>
                  </a:lnTo>
                  <a:lnTo>
                    <a:pt x="542" y="355"/>
                  </a:lnTo>
                  <a:lnTo>
                    <a:pt x="544" y="366"/>
                  </a:lnTo>
                  <a:lnTo>
                    <a:pt x="545" y="377"/>
                  </a:lnTo>
                  <a:lnTo>
                    <a:pt x="545" y="387"/>
                  </a:lnTo>
                  <a:lnTo>
                    <a:pt x="545" y="398"/>
                  </a:lnTo>
                  <a:lnTo>
                    <a:pt x="544" y="409"/>
                  </a:lnTo>
                  <a:lnTo>
                    <a:pt x="542" y="421"/>
                  </a:lnTo>
                  <a:lnTo>
                    <a:pt x="542" y="421"/>
                  </a:lnTo>
                  <a:lnTo>
                    <a:pt x="532" y="424"/>
                  </a:lnTo>
                  <a:lnTo>
                    <a:pt x="522" y="425"/>
                  </a:lnTo>
                  <a:lnTo>
                    <a:pt x="511" y="426"/>
                  </a:lnTo>
                  <a:lnTo>
                    <a:pt x="501" y="424"/>
                  </a:lnTo>
                  <a:lnTo>
                    <a:pt x="492" y="422"/>
                  </a:lnTo>
                  <a:lnTo>
                    <a:pt x="484" y="417"/>
                  </a:lnTo>
                  <a:lnTo>
                    <a:pt x="480" y="413"/>
                  </a:lnTo>
                  <a:lnTo>
                    <a:pt x="477" y="409"/>
                  </a:lnTo>
                  <a:lnTo>
                    <a:pt x="474" y="404"/>
                  </a:lnTo>
                  <a:lnTo>
                    <a:pt x="470" y="399"/>
                  </a:lnTo>
                  <a:lnTo>
                    <a:pt x="470" y="399"/>
                  </a:lnTo>
                  <a:lnTo>
                    <a:pt x="460" y="370"/>
                  </a:lnTo>
                  <a:lnTo>
                    <a:pt x="450" y="340"/>
                  </a:lnTo>
                  <a:lnTo>
                    <a:pt x="432" y="279"/>
                  </a:lnTo>
                  <a:lnTo>
                    <a:pt x="413" y="218"/>
                  </a:lnTo>
                  <a:lnTo>
                    <a:pt x="394" y="158"/>
                  </a:lnTo>
                  <a:lnTo>
                    <a:pt x="394" y="158"/>
                  </a:lnTo>
                  <a:lnTo>
                    <a:pt x="393" y="153"/>
                  </a:lnTo>
                  <a:lnTo>
                    <a:pt x="390" y="148"/>
                  </a:lnTo>
                  <a:lnTo>
                    <a:pt x="384" y="141"/>
                  </a:lnTo>
                  <a:lnTo>
                    <a:pt x="376" y="134"/>
                  </a:lnTo>
                  <a:lnTo>
                    <a:pt x="369" y="126"/>
                  </a:lnTo>
                  <a:lnTo>
                    <a:pt x="369" y="126"/>
                  </a:lnTo>
                  <a:lnTo>
                    <a:pt x="384" y="186"/>
                  </a:lnTo>
                  <a:lnTo>
                    <a:pt x="400" y="245"/>
                  </a:lnTo>
                  <a:lnTo>
                    <a:pt x="416" y="304"/>
                  </a:lnTo>
                  <a:lnTo>
                    <a:pt x="434" y="363"/>
                  </a:lnTo>
                  <a:lnTo>
                    <a:pt x="468" y="481"/>
                  </a:lnTo>
                  <a:lnTo>
                    <a:pt x="486" y="540"/>
                  </a:lnTo>
                  <a:lnTo>
                    <a:pt x="502" y="600"/>
                  </a:lnTo>
                  <a:lnTo>
                    <a:pt x="502" y="600"/>
                  </a:lnTo>
                  <a:lnTo>
                    <a:pt x="443" y="600"/>
                  </a:lnTo>
                  <a:lnTo>
                    <a:pt x="385" y="600"/>
                  </a:lnTo>
                  <a:lnTo>
                    <a:pt x="385" y="600"/>
                  </a:lnTo>
                  <a:lnTo>
                    <a:pt x="384" y="684"/>
                  </a:lnTo>
                  <a:lnTo>
                    <a:pt x="384" y="768"/>
                  </a:lnTo>
                  <a:lnTo>
                    <a:pt x="384" y="853"/>
                  </a:lnTo>
                  <a:lnTo>
                    <a:pt x="383" y="938"/>
                  </a:lnTo>
                  <a:lnTo>
                    <a:pt x="383" y="938"/>
                  </a:lnTo>
                  <a:lnTo>
                    <a:pt x="383" y="948"/>
                  </a:lnTo>
                  <a:lnTo>
                    <a:pt x="381" y="957"/>
                  </a:lnTo>
                  <a:lnTo>
                    <a:pt x="376" y="966"/>
                  </a:lnTo>
                  <a:lnTo>
                    <a:pt x="371" y="975"/>
                  </a:lnTo>
                  <a:lnTo>
                    <a:pt x="365" y="982"/>
                  </a:lnTo>
                  <a:lnTo>
                    <a:pt x="357" y="987"/>
                  </a:lnTo>
                  <a:lnTo>
                    <a:pt x="353" y="989"/>
                  </a:lnTo>
                  <a:lnTo>
                    <a:pt x="348" y="991"/>
                  </a:lnTo>
                  <a:lnTo>
                    <a:pt x="344" y="992"/>
                  </a:lnTo>
                  <a:lnTo>
                    <a:pt x="339" y="992"/>
                  </a:lnTo>
                  <a:lnTo>
                    <a:pt x="339" y="992"/>
                  </a:lnTo>
                  <a:lnTo>
                    <a:pt x="334" y="992"/>
                  </a:lnTo>
                  <a:lnTo>
                    <a:pt x="328" y="991"/>
                  </a:lnTo>
                  <a:lnTo>
                    <a:pt x="323" y="990"/>
                  </a:lnTo>
                  <a:lnTo>
                    <a:pt x="319" y="988"/>
                  </a:lnTo>
                  <a:lnTo>
                    <a:pt x="311" y="983"/>
                  </a:lnTo>
                  <a:lnTo>
                    <a:pt x="304" y="977"/>
                  </a:lnTo>
                  <a:lnTo>
                    <a:pt x="299" y="968"/>
                  </a:lnTo>
                  <a:lnTo>
                    <a:pt x="295" y="959"/>
                  </a:lnTo>
                  <a:lnTo>
                    <a:pt x="293" y="949"/>
                  </a:lnTo>
                  <a:lnTo>
                    <a:pt x="293" y="940"/>
                  </a:lnTo>
                  <a:lnTo>
                    <a:pt x="293" y="940"/>
                  </a:lnTo>
                  <a:lnTo>
                    <a:pt x="293" y="854"/>
                  </a:lnTo>
                  <a:lnTo>
                    <a:pt x="293" y="769"/>
                  </a:lnTo>
                  <a:lnTo>
                    <a:pt x="293" y="684"/>
                  </a:lnTo>
                  <a:lnTo>
                    <a:pt x="292" y="598"/>
                  </a:lnTo>
                  <a:lnTo>
                    <a:pt x="292" y="598"/>
                  </a:lnTo>
                  <a:lnTo>
                    <a:pt x="264" y="600"/>
                  </a:lnTo>
                  <a:lnTo>
                    <a:pt x="264" y="600"/>
                  </a:lnTo>
                  <a:lnTo>
                    <a:pt x="264" y="687"/>
                  </a:lnTo>
                  <a:lnTo>
                    <a:pt x="264" y="775"/>
                  </a:lnTo>
                  <a:lnTo>
                    <a:pt x="264" y="864"/>
                  </a:lnTo>
                  <a:lnTo>
                    <a:pt x="264" y="908"/>
                  </a:lnTo>
                  <a:lnTo>
                    <a:pt x="262" y="952"/>
                  </a:lnTo>
                  <a:lnTo>
                    <a:pt x="262" y="952"/>
                  </a:lnTo>
                  <a:lnTo>
                    <a:pt x="261" y="961"/>
                  </a:lnTo>
                  <a:lnTo>
                    <a:pt x="258" y="969"/>
                  </a:lnTo>
                  <a:lnTo>
                    <a:pt x="253" y="976"/>
                  </a:lnTo>
                  <a:lnTo>
                    <a:pt x="248" y="982"/>
                  </a:lnTo>
                  <a:lnTo>
                    <a:pt x="242" y="986"/>
                  </a:lnTo>
                  <a:lnTo>
                    <a:pt x="234" y="989"/>
                  </a:lnTo>
                  <a:lnTo>
                    <a:pt x="226" y="990"/>
                  </a:lnTo>
                  <a:lnTo>
                    <a:pt x="219" y="991"/>
                  </a:lnTo>
                  <a:lnTo>
                    <a:pt x="211" y="990"/>
                  </a:lnTo>
                  <a:lnTo>
                    <a:pt x="203" y="988"/>
                  </a:lnTo>
                  <a:lnTo>
                    <a:pt x="196" y="985"/>
                  </a:lnTo>
                  <a:lnTo>
                    <a:pt x="189" y="981"/>
                  </a:lnTo>
                  <a:lnTo>
                    <a:pt x="183" y="976"/>
                  </a:lnTo>
                  <a:lnTo>
                    <a:pt x="179" y="968"/>
                  </a:lnTo>
                  <a:lnTo>
                    <a:pt x="176" y="960"/>
                  </a:lnTo>
                  <a:lnTo>
                    <a:pt x="174" y="951"/>
                  </a:lnTo>
                  <a:lnTo>
                    <a:pt x="174" y="951"/>
                  </a:lnTo>
                  <a:lnTo>
                    <a:pt x="173" y="863"/>
                  </a:lnTo>
                  <a:lnTo>
                    <a:pt x="173" y="775"/>
                  </a:lnTo>
                  <a:lnTo>
                    <a:pt x="173" y="687"/>
                  </a:lnTo>
                  <a:lnTo>
                    <a:pt x="173" y="600"/>
                  </a:lnTo>
                  <a:lnTo>
                    <a:pt x="173" y="600"/>
                  </a:lnTo>
                  <a:lnTo>
                    <a:pt x="114" y="600"/>
                  </a:lnTo>
                  <a:lnTo>
                    <a:pt x="55" y="598"/>
                  </a:lnTo>
                  <a:lnTo>
                    <a:pt x="55" y="598"/>
                  </a:lnTo>
                  <a:lnTo>
                    <a:pt x="83" y="483"/>
                  </a:lnTo>
                  <a:lnTo>
                    <a:pt x="114" y="367"/>
                  </a:lnTo>
                  <a:lnTo>
                    <a:pt x="143" y="251"/>
                  </a:lnTo>
                  <a:lnTo>
                    <a:pt x="172" y="135"/>
                  </a:lnTo>
                  <a:lnTo>
                    <a:pt x="172" y="135"/>
                  </a:lnTo>
                  <a:lnTo>
                    <a:pt x="154" y="147"/>
                  </a:lnTo>
                  <a:lnTo>
                    <a:pt x="154" y="147"/>
                  </a:lnTo>
                  <a:lnTo>
                    <a:pt x="143" y="177"/>
                  </a:lnTo>
                  <a:lnTo>
                    <a:pt x="134" y="209"/>
                  </a:lnTo>
                  <a:lnTo>
                    <a:pt x="116" y="274"/>
                  </a:lnTo>
                  <a:lnTo>
                    <a:pt x="99" y="337"/>
                  </a:lnTo>
                  <a:lnTo>
                    <a:pt x="89" y="369"/>
                  </a:lnTo>
                  <a:lnTo>
                    <a:pt x="78" y="400"/>
                  </a:lnTo>
                  <a:lnTo>
                    <a:pt x="78" y="400"/>
                  </a:lnTo>
                  <a:lnTo>
                    <a:pt x="76" y="406"/>
                  </a:lnTo>
                  <a:lnTo>
                    <a:pt x="73" y="413"/>
                  </a:lnTo>
                  <a:lnTo>
                    <a:pt x="68" y="417"/>
                  </a:lnTo>
                  <a:lnTo>
                    <a:pt x="63" y="421"/>
                  </a:lnTo>
                  <a:lnTo>
                    <a:pt x="57" y="424"/>
                  </a:lnTo>
                  <a:lnTo>
                    <a:pt x="50" y="426"/>
                  </a:lnTo>
                  <a:lnTo>
                    <a:pt x="43" y="427"/>
                  </a:lnTo>
                  <a:lnTo>
                    <a:pt x="36" y="427"/>
                  </a:lnTo>
                  <a:lnTo>
                    <a:pt x="30" y="426"/>
                  </a:lnTo>
                  <a:lnTo>
                    <a:pt x="23" y="424"/>
                  </a:lnTo>
                  <a:lnTo>
                    <a:pt x="18" y="422"/>
                  </a:lnTo>
                  <a:lnTo>
                    <a:pt x="12" y="418"/>
                  </a:lnTo>
                  <a:lnTo>
                    <a:pt x="8" y="414"/>
                  </a:lnTo>
                  <a:lnTo>
                    <a:pt x="5" y="407"/>
                  </a:lnTo>
                  <a:lnTo>
                    <a:pt x="1" y="401"/>
                  </a:lnTo>
                  <a:lnTo>
                    <a:pt x="0" y="394"/>
                  </a:lnTo>
                  <a:lnTo>
                    <a:pt x="0" y="394"/>
                  </a:lnTo>
                  <a:lnTo>
                    <a:pt x="3" y="371"/>
                  </a:lnTo>
                  <a:lnTo>
                    <a:pt x="9" y="346"/>
                  </a:lnTo>
                  <a:lnTo>
                    <a:pt x="15" y="324"/>
                  </a:lnTo>
                  <a:lnTo>
                    <a:pt x="21" y="300"/>
                  </a:lnTo>
                  <a:lnTo>
                    <a:pt x="35" y="254"/>
                  </a:lnTo>
                  <a:lnTo>
                    <a:pt x="42" y="231"/>
                  </a:lnTo>
                  <a:lnTo>
                    <a:pt x="49" y="207"/>
                  </a:lnTo>
                  <a:lnTo>
                    <a:pt x="49" y="207"/>
                  </a:lnTo>
                  <a:lnTo>
                    <a:pt x="56" y="185"/>
                  </a:lnTo>
                  <a:lnTo>
                    <a:pt x="62" y="162"/>
                  </a:lnTo>
                  <a:lnTo>
                    <a:pt x="68" y="139"/>
                  </a:lnTo>
                  <a:lnTo>
                    <a:pt x="75" y="116"/>
                  </a:lnTo>
                  <a:lnTo>
                    <a:pt x="82" y="94"/>
                  </a:lnTo>
                  <a:lnTo>
                    <a:pt x="91" y="72"/>
                  </a:lnTo>
                  <a:lnTo>
                    <a:pt x="96" y="62"/>
                  </a:lnTo>
                  <a:lnTo>
                    <a:pt x="103" y="52"/>
                  </a:lnTo>
                  <a:lnTo>
                    <a:pt x="110" y="43"/>
                  </a:lnTo>
                  <a:lnTo>
                    <a:pt x="117" y="33"/>
                  </a:lnTo>
                  <a:lnTo>
                    <a:pt x="117" y="3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grpSp>
        <p:nvGrpSpPr>
          <p:cNvPr id="29" name="Group 28"/>
          <p:cNvGrpSpPr/>
          <p:nvPr/>
        </p:nvGrpSpPr>
        <p:grpSpPr>
          <a:xfrm>
            <a:off x="1087261" y="2359877"/>
            <a:ext cx="1099110" cy="202331"/>
            <a:chOff x="1251584" y="2388357"/>
            <a:chExt cx="743271" cy="125631"/>
          </a:xfrm>
        </p:grpSpPr>
        <p:sp>
          <p:nvSpPr>
            <p:cNvPr id="813" name="Rectangle 812"/>
            <p:cNvSpPr/>
            <p:nvPr/>
          </p:nvSpPr>
          <p:spPr bwMode="auto">
            <a:xfrm>
              <a:off x="1251584" y="2497964"/>
              <a:ext cx="743271" cy="1602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1" name="Group 5"/>
            <p:cNvGrpSpPr>
              <a:grpSpLocks noChangeAspect="1"/>
            </p:cNvGrpSpPr>
            <p:nvPr/>
          </p:nvGrpSpPr>
          <p:grpSpPr bwMode="auto">
            <a:xfrm>
              <a:off x="1453010" y="2388357"/>
              <a:ext cx="333204" cy="91221"/>
              <a:chOff x="0" y="1109"/>
              <a:chExt cx="7678" cy="2102"/>
            </a:xfrm>
            <a:solidFill>
              <a:schemeClr val="accent5"/>
            </a:solidFill>
          </p:grpSpPr>
          <p:sp>
            <p:nvSpPr>
              <p:cNvPr id="23" name="Freeform 6"/>
              <p:cNvSpPr>
                <a:spLocks noEditPoints="1"/>
              </p:cNvSpPr>
              <p:nvPr/>
            </p:nvSpPr>
            <p:spPr bwMode="auto">
              <a:xfrm>
                <a:off x="0" y="1127"/>
                <a:ext cx="2030" cy="2084"/>
              </a:xfrm>
              <a:custGeom>
                <a:avLst/>
                <a:gdLst>
                  <a:gd name="T0" fmla="*/ 552 w 2030"/>
                  <a:gd name="T1" fmla="*/ 6 h 2084"/>
                  <a:gd name="T2" fmla="*/ 908 w 2030"/>
                  <a:gd name="T3" fmla="*/ 0 h 2084"/>
                  <a:gd name="T4" fmla="*/ 1144 w 2030"/>
                  <a:gd name="T5" fmla="*/ 21 h 2084"/>
                  <a:gd name="T6" fmla="*/ 1346 w 2030"/>
                  <a:gd name="T7" fmla="*/ 86 h 2084"/>
                  <a:gd name="T8" fmla="*/ 1444 w 2030"/>
                  <a:gd name="T9" fmla="*/ 147 h 2084"/>
                  <a:gd name="T10" fmla="*/ 1543 w 2030"/>
                  <a:gd name="T11" fmla="*/ 251 h 2084"/>
                  <a:gd name="T12" fmla="*/ 1592 w 2030"/>
                  <a:gd name="T13" fmla="*/ 357 h 2084"/>
                  <a:gd name="T14" fmla="*/ 1609 w 2030"/>
                  <a:gd name="T15" fmla="*/ 489 h 2084"/>
                  <a:gd name="T16" fmla="*/ 1590 w 2030"/>
                  <a:gd name="T17" fmla="*/ 618 h 2084"/>
                  <a:gd name="T18" fmla="*/ 1545 w 2030"/>
                  <a:gd name="T19" fmla="*/ 703 h 2084"/>
                  <a:gd name="T20" fmla="*/ 1464 w 2030"/>
                  <a:gd name="T21" fmla="*/ 789 h 2084"/>
                  <a:gd name="T22" fmla="*/ 1338 w 2030"/>
                  <a:gd name="T23" fmla="*/ 862 h 2084"/>
                  <a:gd name="T24" fmla="*/ 1144 w 2030"/>
                  <a:gd name="T25" fmla="*/ 919 h 2084"/>
                  <a:gd name="T26" fmla="*/ 1179 w 2030"/>
                  <a:gd name="T27" fmla="*/ 972 h 2084"/>
                  <a:gd name="T28" fmla="*/ 1444 w 2030"/>
                  <a:gd name="T29" fmla="*/ 1051 h 2084"/>
                  <a:gd name="T30" fmla="*/ 1541 w 2030"/>
                  <a:gd name="T31" fmla="*/ 1119 h 2084"/>
                  <a:gd name="T32" fmla="*/ 1613 w 2030"/>
                  <a:gd name="T33" fmla="*/ 1218 h 2084"/>
                  <a:gd name="T34" fmla="*/ 1653 w 2030"/>
                  <a:gd name="T35" fmla="*/ 1326 h 2084"/>
                  <a:gd name="T36" fmla="*/ 1672 w 2030"/>
                  <a:gd name="T37" fmla="*/ 1463 h 2084"/>
                  <a:gd name="T38" fmla="*/ 1712 w 2030"/>
                  <a:gd name="T39" fmla="*/ 1888 h 2084"/>
                  <a:gd name="T40" fmla="*/ 1749 w 2030"/>
                  <a:gd name="T41" fmla="*/ 1990 h 2084"/>
                  <a:gd name="T42" fmla="*/ 1816 w 2030"/>
                  <a:gd name="T43" fmla="*/ 2019 h 2084"/>
                  <a:gd name="T44" fmla="*/ 1904 w 2030"/>
                  <a:gd name="T45" fmla="*/ 2009 h 2084"/>
                  <a:gd name="T46" fmla="*/ 1971 w 2030"/>
                  <a:gd name="T47" fmla="*/ 1956 h 2084"/>
                  <a:gd name="T48" fmla="*/ 1975 w 2030"/>
                  <a:gd name="T49" fmla="*/ 2005 h 2084"/>
                  <a:gd name="T50" fmla="*/ 1910 w 2030"/>
                  <a:gd name="T51" fmla="*/ 2047 h 2084"/>
                  <a:gd name="T52" fmla="*/ 1824 w 2030"/>
                  <a:gd name="T53" fmla="*/ 2074 h 2084"/>
                  <a:gd name="T54" fmla="*/ 1696 w 2030"/>
                  <a:gd name="T55" fmla="*/ 2084 h 2084"/>
                  <a:gd name="T56" fmla="*/ 1525 w 2030"/>
                  <a:gd name="T57" fmla="*/ 2064 h 2084"/>
                  <a:gd name="T58" fmla="*/ 1427 w 2030"/>
                  <a:gd name="T59" fmla="*/ 2021 h 2084"/>
                  <a:gd name="T60" fmla="*/ 1342 w 2030"/>
                  <a:gd name="T61" fmla="*/ 1945 h 2084"/>
                  <a:gd name="T62" fmla="*/ 1283 w 2030"/>
                  <a:gd name="T63" fmla="*/ 1833 h 2084"/>
                  <a:gd name="T64" fmla="*/ 1252 w 2030"/>
                  <a:gd name="T65" fmla="*/ 1583 h 2084"/>
                  <a:gd name="T66" fmla="*/ 1228 w 2030"/>
                  <a:gd name="T67" fmla="*/ 1302 h 2084"/>
                  <a:gd name="T68" fmla="*/ 1179 w 2030"/>
                  <a:gd name="T69" fmla="*/ 1139 h 2084"/>
                  <a:gd name="T70" fmla="*/ 1112 w 2030"/>
                  <a:gd name="T71" fmla="*/ 1051 h 2084"/>
                  <a:gd name="T72" fmla="*/ 1036 w 2030"/>
                  <a:gd name="T73" fmla="*/ 1000 h 2084"/>
                  <a:gd name="T74" fmla="*/ 900 w 2030"/>
                  <a:gd name="T75" fmla="*/ 972 h 2084"/>
                  <a:gd name="T76" fmla="*/ 943 w 2030"/>
                  <a:gd name="T77" fmla="*/ 2045 h 2084"/>
                  <a:gd name="T78" fmla="*/ 0 w 2030"/>
                  <a:gd name="T79" fmla="*/ 47 h 2084"/>
                  <a:gd name="T80" fmla="*/ 912 w 2030"/>
                  <a:gd name="T81" fmla="*/ 923 h 2084"/>
                  <a:gd name="T82" fmla="*/ 1000 w 2030"/>
                  <a:gd name="T83" fmla="*/ 897 h 2084"/>
                  <a:gd name="T84" fmla="*/ 1079 w 2030"/>
                  <a:gd name="T85" fmla="*/ 844 h 2084"/>
                  <a:gd name="T86" fmla="*/ 1128 w 2030"/>
                  <a:gd name="T87" fmla="*/ 774 h 2084"/>
                  <a:gd name="T88" fmla="*/ 1163 w 2030"/>
                  <a:gd name="T89" fmla="*/ 634 h 2084"/>
                  <a:gd name="T90" fmla="*/ 1167 w 2030"/>
                  <a:gd name="T91" fmla="*/ 459 h 2084"/>
                  <a:gd name="T92" fmla="*/ 1142 w 2030"/>
                  <a:gd name="T93" fmla="*/ 261 h 2084"/>
                  <a:gd name="T94" fmla="*/ 1083 w 2030"/>
                  <a:gd name="T95" fmla="*/ 141 h 2084"/>
                  <a:gd name="T96" fmla="*/ 1018 w 2030"/>
                  <a:gd name="T97" fmla="*/ 84 h 2084"/>
                  <a:gd name="T98" fmla="*/ 947 w 2030"/>
                  <a:gd name="T99" fmla="*/ 55 h 2084"/>
                  <a:gd name="T100" fmla="*/ 774 w 2030"/>
                  <a:gd name="T101" fmla="*/ 39 h 2084"/>
                  <a:gd name="T102" fmla="*/ 796 w 2030"/>
                  <a:gd name="T103" fmla="*/ 931 h 2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30" h="2084">
                    <a:moveTo>
                      <a:pt x="0" y="47"/>
                    </a:moveTo>
                    <a:lnTo>
                      <a:pt x="0" y="8"/>
                    </a:lnTo>
                    <a:lnTo>
                      <a:pt x="432" y="8"/>
                    </a:lnTo>
                    <a:lnTo>
                      <a:pt x="432" y="8"/>
                    </a:lnTo>
                    <a:lnTo>
                      <a:pt x="552" y="6"/>
                    </a:lnTo>
                    <a:lnTo>
                      <a:pt x="670" y="4"/>
                    </a:lnTo>
                    <a:lnTo>
                      <a:pt x="670" y="4"/>
                    </a:lnTo>
                    <a:lnTo>
                      <a:pt x="788" y="0"/>
                    </a:lnTo>
                    <a:lnTo>
                      <a:pt x="908" y="0"/>
                    </a:lnTo>
                    <a:lnTo>
                      <a:pt x="908" y="0"/>
                    </a:lnTo>
                    <a:lnTo>
                      <a:pt x="965" y="0"/>
                    </a:lnTo>
                    <a:lnTo>
                      <a:pt x="1024" y="6"/>
                    </a:lnTo>
                    <a:lnTo>
                      <a:pt x="1083" y="11"/>
                    </a:lnTo>
                    <a:lnTo>
                      <a:pt x="1144" y="21"/>
                    </a:lnTo>
                    <a:lnTo>
                      <a:pt x="1144" y="21"/>
                    </a:lnTo>
                    <a:lnTo>
                      <a:pt x="1205" y="35"/>
                    </a:lnTo>
                    <a:lnTo>
                      <a:pt x="1264" y="53"/>
                    </a:lnTo>
                    <a:lnTo>
                      <a:pt x="1291" y="63"/>
                    </a:lnTo>
                    <a:lnTo>
                      <a:pt x="1319" y="74"/>
                    </a:lnTo>
                    <a:lnTo>
                      <a:pt x="1346" y="86"/>
                    </a:lnTo>
                    <a:lnTo>
                      <a:pt x="1372" y="100"/>
                    </a:lnTo>
                    <a:lnTo>
                      <a:pt x="1372" y="100"/>
                    </a:lnTo>
                    <a:lnTo>
                      <a:pt x="1397" y="116"/>
                    </a:lnTo>
                    <a:lnTo>
                      <a:pt x="1421" y="131"/>
                    </a:lnTo>
                    <a:lnTo>
                      <a:pt x="1444" y="147"/>
                    </a:lnTo>
                    <a:lnTo>
                      <a:pt x="1466" y="167"/>
                    </a:lnTo>
                    <a:lnTo>
                      <a:pt x="1486" y="184"/>
                    </a:lnTo>
                    <a:lnTo>
                      <a:pt x="1505" y="206"/>
                    </a:lnTo>
                    <a:lnTo>
                      <a:pt x="1525" y="228"/>
                    </a:lnTo>
                    <a:lnTo>
                      <a:pt x="1543" y="251"/>
                    </a:lnTo>
                    <a:lnTo>
                      <a:pt x="1543" y="251"/>
                    </a:lnTo>
                    <a:lnTo>
                      <a:pt x="1558" y="275"/>
                    </a:lnTo>
                    <a:lnTo>
                      <a:pt x="1572" y="300"/>
                    </a:lnTo>
                    <a:lnTo>
                      <a:pt x="1582" y="328"/>
                    </a:lnTo>
                    <a:lnTo>
                      <a:pt x="1592" y="357"/>
                    </a:lnTo>
                    <a:lnTo>
                      <a:pt x="1600" y="387"/>
                    </a:lnTo>
                    <a:lnTo>
                      <a:pt x="1606" y="420"/>
                    </a:lnTo>
                    <a:lnTo>
                      <a:pt x="1608" y="453"/>
                    </a:lnTo>
                    <a:lnTo>
                      <a:pt x="1609" y="489"/>
                    </a:lnTo>
                    <a:lnTo>
                      <a:pt x="1609" y="489"/>
                    </a:lnTo>
                    <a:lnTo>
                      <a:pt x="1608" y="516"/>
                    </a:lnTo>
                    <a:lnTo>
                      <a:pt x="1606" y="544"/>
                    </a:lnTo>
                    <a:lnTo>
                      <a:pt x="1602" y="569"/>
                    </a:lnTo>
                    <a:lnTo>
                      <a:pt x="1596" y="595"/>
                    </a:lnTo>
                    <a:lnTo>
                      <a:pt x="1590" y="618"/>
                    </a:lnTo>
                    <a:lnTo>
                      <a:pt x="1580" y="642"/>
                    </a:lnTo>
                    <a:lnTo>
                      <a:pt x="1570" y="664"/>
                    </a:lnTo>
                    <a:lnTo>
                      <a:pt x="1558" y="683"/>
                    </a:lnTo>
                    <a:lnTo>
                      <a:pt x="1558" y="683"/>
                    </a:lnTo>
                    <a:lnTo>
                      <a:pt x="1545" y="703"/>
                    </a:lnTo>
                    <a:lnTo>
                      <a:pt x="1531" y="723"/>
                    </a:lnTo>
                    <a:lnTo>
                      <a:pt x="1515" y="740"/>
                    </a:lnTo>
                    <a:lnTo>
                      <a:pt x="1499" y="758"/>
                    </a:lnTo>
                    <a:lnTo>
                      <a:pt x="1482" y="774"/>
                    </a:lnTo>
                    <a:lnTo>
                      <a:pt x="1464" y="789"/>
                    </a:lnTo>
                    <a:lnTo>
                      <a:pt x="1444" y="803"/>
                    </a:lnTo>
                    <a:lnTo>
                      <a:pt x="1425" y="817"/>
                    </a:lnTo>
                    <a:lnTo>
                      <a:pt x="1425" y="817"/>
                    </a:lnTo>
                    <a:lnTo>
                      <a:pt x="1383" y="840"/>
                    </a:lnTo>
                    <a:lnTo>
                      <a:pt x="1338" y="862"/>
                    </a:lnTo>
                    <a:lnTo>
                      <a:pt x="1291" y="880"/>
                    </a:lnTo>
                    <a:lnTo>
                      <a:pt x="1242" y="895"/>
                    </a:lnTo>
                    <a:lnTo>
                      <a:pt x="1242" y="895"/>
                    </a:lnTo>
                    <a:lnTo>
                      <a:pt x="1193" y="907"/>
                    </a:lnTo>
                    <a:lnTo>
                      <a:pt x="1144" y="919"/>
                    </a:lnTo>
                    <a:lnTo>
                      <a:pt x="1095" y="927"/>
                    </a:lnTo>
                    <a:lnTo>
                      <a:pt x="1045" y="931"/>
                    </a:lnTo>
                    <a:lnTo>
                      <a:pt x="1045" y="947"/>
                    </a:lnTo>
                    <a:lnTo>
                      <a:pt x="1045" y="947"/>
                    </a:lnTo>
                    <a:lnTo>
                      <a:pt x="1179" y="972"/>
                    </a:lnTo>
                    <a:lnTo>
                      <a:pt x="1295" y="998"/>
                    </a:lnTo>
                    <a:lnTo>
                      <a:pt x="1295" y="998"/>
                    </a:lnTo>
                    <a:lnTo>
                      <a:pt x="1348" y="1011"/>
                    </a:lnTo>
                    <a:lnTo>
                      <a:pt x="1399" y="1029"/>
                    </a:lnTo>
                    <a:lnTo>
                      <a:pt x="1444" y="1051"/>
                    </a:lnTo>
                    <a:lnTo>
                      <a:pt x="1486" y="1074"/>
                    </a:lnTo>
                    <a:lnTo>
                      <a:pt x="1486" y="1074"/>
                    </a:lnTo>
                    <a:lnTo>
                      <a:pt x="1505" y="1088"/>
                    </a:lnTo>
                    <a:lnTo>
                      <a:pt x="1525" y="1104"/>
                    </a:lnTo>
                    <a:lnTo>
                      <a:pt x="1541" y="1119"/>
                    </a:lnTo>
                    <a:lnTo>
                      <a:pt x="1558" y="1135"/>
                    </a:lnTo>
                    <a:lnTo>
                      <a:pt x="1574" y="1155"/>
                    </a:lnTo>
                    <a:lnTo>
                      <a:pt x="1588" y="1174"/>
                    </a:lnTo>
                    <a:lnTo>
                      <a:pt x="1602" y="1196"/>
                    </a:lnTo>
                    <a:lnTo>
                      <a:pt x="1613" y="1218"/>
                    </a:lnTo>
                    <a:lnTo>
                      <a:pt x="1613" y="1218"/>
                    </a:lnTo>
                    <a:lnTo>
                      <a:pt x="1625" y="1241"/>
                    </a:lnTo>
                    <a:lnTo>
                      <a:pt x="1635" y="1267"/>
                    </a:lnTo>
                    <a:lnTo>
                      <a:pt x="1645" y="1294"/>
                    </a:lnTo>
                    <a:lnTo>
                      <a:pt x="1653" y="1326"/>
                    </a:lnTo>
                    <a:lnTo>
                      <a:pt x="1659" y="1357"/>
                    </a:lnTo>
                    <a:lnTo>
                      <a:pt x="1665" y="1391"/>
                    </a:lnTo>
                    <a:lnTo>
                      <a:pt x="1668" y="1426"/>
                    </a:lnTo>
                    <a:lnTo>
                      <a:pt x="1672" y="1463"/>
                    </a:lnTo>
                    <a:lnTo>
                      <a:pt x="1672" y="1463"/>
                    </a:lnTo>
                    <a:lnTo>
                      <a:pt x="1696" y="1752"/>
                    </a:lnTo>
                    <a:lnTo>
                      <a:pt x="1696" y="1752"/>
                    </a:lnTo>
                    <a:lnTo>
                      <a:pt x="1700" y="1803"/>
                    </a:lnTo>
                    <a:lnTo>
                      <a:pt x="1706" y="1848"/>
                    </a:lnTo>
                    <a:lnTo>
                      <a:pt x="1712" y="1888"/>
                    </a:lnTo>
                    <a:lnTo>
                      <a:pt x="1720" y="1921"/>
                    </a:lnTo>
                    <a:lnTo>
                      <a:pt x="1720" y="1921"/>
                    </a:lnTo>
                    <a:lnTo>
                      <a:pt x="1727" y="1948"/>
                    </a:lnTo>
                    <a:lnTo>
                      <a:pt x="1737" y="1972"/>
                    </a:lnTo>
                    <a:lnTo>
                      <a:pt x="1749" y="1990"/>
                    </a:lnTo>
                    <a:lnTo>
                      <a:pt x="1763" y="2001"/>
                    </a:lnTo>
                    <a:lnTo>
                      <a:pt x="1763" y="2001"/>
                    </a:lnTo>
                    <a:lnTo>
                      <a:pt x="1777" y="2009"/>
                    </a:lnTo>
                    <a:lnTo>
                      <a:pt x="1796" y="2017"/>
                    </a:lnTo>
                    <a:lnTo>
                      <a:pt x="1816" y="2019"/>
                    </a:lnTo>
                    <a:lnTo>
                      <a:pt x="1841" y="2021"/>
                    </a:lnTo>
                    <a:lnTo>
                      <a:pt x="1841" y="2021"/>
                    </a:lnTo>
                    <a:lnTo>
                      <a:pt x="1869" y="2019"/>
                    </a:lnTo>
                    <a:lnTo>
                      <a:pt x="1892" y="2013"/>
                    </a:lnTo>
                    <a:lnTo>
                      <a:pt x="1904" y="2009"/>
                    </a:lnTo>
                    <a:lnTo>
                      <a:pt x="1916" y="2003"/>
                    </a:lnTo>
                    <a:lnTo>
                      <a:pt x="1926" y="1996"/>
                    </a:lnTo>
                    <a:lnTo>
                      <a:pt x="1936" y="1988"/>
                    </a:lnTo>
                    <a:lnTo>
                      <a:pt x="1936" y="1988"/>
                    </a:lnTo>
                    <a:lnTo>
                      <a:pt x="1971" y="1956"/>
                    </a:lnTo>
                    <a:lnTo>
                      <a:pt x="2001" y="1927"/>
                    </a:lnTo>
                    <a:lnTo>
                      <a:pt x="2030" y="1952"/>
                    </a:lnTo>
                    <a:lnTo>
                      <a:pt x="2030" y="1952"/>
                    </a:lnTo>
                    <a:lnTo>
                      <a:pt x="1975" y="2005"/>
                    </a:lnTo>
                    <a:lnTo>
                      <a:pt x="1975" y="2005"/>
                    </a:lnTo>
                    <a:lnTo>
                      <a:pt x="1959" y="2017"/>
                    </a:lnTo>
                    <a:lnTo>
                      <a:pt x="1946" y="2029"/>
                    </a:lnTo>
                    <a:lnTo>
                      <a:pt x="1928" y="2039"/>
                    </a:lnTo>
                    <a:lnTo>
                      <a:pt x="1910" y="2047"/>
                    </a:lnTo>
                    <a:lnTo>
                      <a:pt x="1910" y="2047"/>
                    </a:lnTo>
                    <a:lnTo>
                      <a:pt x="1892" y="2055"/>
                    </a:lnTo>
                    <a:lnTo>
                      <a:pt x="1871" y="2062"/>
                    </a:lnTo>
                    <a:lnTo>
                      <a:pt x="1849" y="2068"/>
                    </a:lnTo>
                    <a:lnTo>
                      <a:pt x="1824" y="2074"/>
                    </a:lnTo>
                    <a:lnTo>
                      <a:pt x="1824" y="2074"/>
                    </a:lnTo>
                    <a:lnTo>
                      <a:pt x="1796" y="2078"/>
                    </a:lnTo>
                    <a:lnTo>
                      <a:pt x="1767" y="2082"/>
                    </a:lnTo>
                    <a:lnTo>
                      <a:pt x="1731" y="2084"/>
                    </a:lnTo>
                    <a:lnTo>
                      <a:pt x="1696" y="2084"/>
                    </a:lnTo>
                    <a:lnTo>
                      <a:pt x="1696" y="2084"/>
                    </a:lnTo>
                    <a:lnTo>
                      <a:pt x="1657" y="2084"/>
                    </a:lnTo>
                    <a:lnTo>
                      <a:pt x="1621" y="2082"/>
                    </a:lnTo>
                    <a:lnTo>
                      <a:pt x="1586" y="2078"/>
                    </a:lnTo>
                    <a:lnTo>
                      <a:pt x="1554" y="2072"/>
                    </a:lnTo>
                    <a:lnTo>
                      <a:pt x="1525" y="2064"/>
                    </a:lnTo>
                    <a:lnTo>
                      <a:pt x="1497" y="2056"/>
                    </a:lnTo>
                    <a:lnTo>
                      <a:pt x="1472" y="2047"/>
                    </a:lnTo>
                    <a:lnTo>
                      <a:pt x="1448" y="2035"/>
                    </a:lnTo>
                    <a:lnTo>
                      <a:pt x="1448" y="2035"/>
                    </a:lnTo>
                    <a:lnTo>
                      <a:pt x="1427" y="2021"/>
                    </a:lnTo>
                    <a:lnTo>
                      <a:pt x="1407" y="2007"/>
                    </a:lnTo>
                    <a:lnTo>
                      <a:pt x="1389" y="1994"/>
                    </a:lnTo>
                    <a:lnTo>
                      <a:pt x="1372" y="1978"/>
                    </a:lnTo>
                    <a:lnTo>
                      <a:pt x="1356" y="1962"/>
                    </a:lnTo>
                    <a:lnTo>
                      <a:pt x="1342" y="1945"/>
                    </a:lnTo>
                    <a:lnTo>
                      <a:pt x="1328" y="1929"/>
                    </a:lnTo>
                    <a:lnTo>
                      <a:pt x="1317" y="1909"/>
                    </a:lnTo>
                    <a:lnTo>
                      <a:pt x="1317" y="1909"/>
                    </a:lnTo>
                    <a:lnTo>
                      <a:pt x="1297" y="1872"/>
                    </a:lnTo>
                    <a:lnTo>
                      <a:pt x="1283" y="1833"/>
                    </a:lnTo>
                    <a:lnTo>
                      <a:pt x="1271" y="1791"/>
                    </a:lnTo>
                    <a:lnTo>
                      <a:pt x="1264" y="1748"/>
                    </a:lnTo>
                    <a:lnTo>
                      <a:pt x="1264" y="1748"/>
                    </a:lnTo>
                    <a:lnTo>
                      <a:pt x="1256" y="1664"/>
                    </a:lnTo>
                    <a:lnTo>
                      <a:pt x="1252" y="1583"/>
                    </a:lnTo>
                    <a:lnTo>
                      <a:pt x="1252" y="1583"/>
                    </a:lnTo>
                    <a:lnTo>
                      <a:pt x="1244" y="1469"/>
                    </a:lnTo>
                    <a:lnTo>
                      <a:pt x="1236" y="1357"/>
                    </a:lnTo>
                    <a:lnTo>
                      <a:pt x="1236" y="1357"/>
                    </a:lnTo>
                    <a:lnTo>
                      <a:pt x="1228" y="1302"/>
                    </a:lnTo>
                    <a:lnTo>
                      <a:pt x="1218" y="1253"/>
                    </a:lnTo>
                    <a:lnTo>
                      <a:pt x="1205" y="1204"/>
                    </a:lnTo>
                    <a:lnTo>
                      <a:pt x="1189" y="1161"/>
                    </a:lnTo>
                    <a:lnTo>
                      <a:pt x="1189" y="1161"/>
                    </a:lnTo>
                    <a:lnTo>
                      <a:pt x="1179" y="1139"/>
                    </a:lnTo>
                    <a:lnTo>
                      <a:pt x="1167" y="1119"/>
                    </a:lnTo>
                    <a:lnTo>
                      <a:pt x="1156" y="1102"/>
                    </a:lnTo>
                    <a:lnTo>
                      <a:pt x="1142" y="1084"/>
                    </a:lnTo>
                    <a:lnTo>
                      <a:pt x="1128" y="1066"/>
                    </a:lnTo>
                    <a:lnTo>
                      <a:pt x="1112" y="1051"/>
                    </a:lnTo>
                    <a:lnTo>
                      <a:pt x="1095" y="1037"/>
                    </a:lnTo>
                    <a:lnTo>
                      <a:pt x="1077" y="1023"/>
                    </a:lnTo>
                    <a:lnTo>
                      <a:pt x="1077" y="1023"/>
                    </a:lnTo>
                    <a:lnTo>
                      <a:pt x="1057" y="1011"/>
                    </a:lnTo>
                    <a:lnTo>
                      <a:pt x="1036" y="1000"/>
                    </a:lnTo>
                    <a:lnTo>
                      <a:pt x="1012" y="992"/>
                    </a:lnTo>
                    <a:lnTo>
                      <a:pt x="987" y="984"/>
                    </a:lnTo>
                    <a:lnTo>
                      <a:pt x="961" y="978"/>
                    </a:lnTo>
                    <a:lnTo>
                      <a:pt x="932" y="974"/>
                    </a:lnTo>
                    <a:lnTo>
                      <a:pt x="900" y="972"/>
                    </a:lnTo>
                    <a:lnTo>
                      <a:pt x="869" y="972"/>
                    </a:lnTo>
                    <a:lnTo>
                      <a:pt x="680" y="972"/>
                    </a:lnTo>
                    <a:lnTo>
                      <a:pt x="680" y="2003"/>
                    </a:lnTo>
                    <a:lnTo>
                      <a:pt x="943" y="2003"/>
                    </a:lnTo>
                    <a:lnTo>
                      <a:pt x="943" y="2045"/>
                    </a:lnTo>
                    <a:lnTo>
                      <a:pt x="0" y="2045"/>
                    </a:lnTo>
                    <a:lnTo>
                      <a:pt x="0" y="2003"/>
                    </a:lnTo>
                    <a:lnTo>
                      <a:pt x="263" y="2003"/>
                    </a:lnTo>
                    <a:lnTo>
                      <a:pt x="263" y="47"/>
                    </a:lnTo>
                    <a:lnTo>
                      <a:pt x="0" y="47"/>
                    </a:lnTo>
                    <a:close/>
                    <a:moveTo>
                      <a:pt x="796" y="931"/>
                    </a:moveTo>
                    <a:lnTo>
                      <a:pt x="796" y="931"/>
                    </a:lnTo>
                    <a:lnTo>
                      <a:pt x="857" y="929"/>
                    </a:lnTo>
                    <a:lnTo>
                      <a:pt x="886" y="927"/>
                    </a:lnTo>
                    <a:lnTo>
                      <a:pt x="912" y="923"/>
                    </a:lnTo>
                    <a:lnTo>
                      <a:pt x="935" y="917"/>
                    </a:lnTo>
                    <a:lnTo>
                      <a:pt x="959" y="911"/>
                    </a:lnTo>
                    <a:lnTo>
                      <a:pt x="981" y="905"/>
                    </a:lnTo>
                    <a:lnTo>
                      <a:pt x="1000" y="897"/>
                    </a:lnTo>
                    <a:lnTo>
                      <a:pt x="1000" y="897"/>
                    </a:lnTo>
                    <a:lnTo>
                      <a:pt x="1018" y="888"/>
                    </a:lnTo>
                    <a:lnTo>
                      <a:pt x="1034" y="878"/>
                    </a:lnTo>
                    <a:lnTo>
                      <a:pt x="1049" y="868"/>
                    </a:lnTo>
                    <a:lnTo>
                      <a:pt x="1065" y="856"/>
                    </a:lnTo>
                    <a:lnTo>
                      <a:pt x="1079" y="844"/>
                    </a:lnTo>
                    <a:lnTo>
                      <a:pt x="1091" y="833"/>
                    </a:lnTo>
                    <a:lnTo>
                      <a:pt x="1101" y="819"/>
                    </a:lnTo>
                    <a:lnTo>
                      <a:pt x="1110" y="805"/>
                    </a:lnTo>
                    <a:lnTo>
                      <a:pt x="1110" y="805"/>
                    </a:lnTo>
                    <a:lnTo>
                      <a:pt x="1128" y="774"/>
                    </a:lnTo>
                    <a:lnTo>
                      <a:pt x="1142" y="742"/>
                    </a:lnTo>
                    <a:lnTo>
                      <a:pt x="1152" y="707"/>
                    </a:lnTo>
                    <a:lnTo>
                      <a:pt x="1159" y="672"/>
                    </a:lnTo>
                    <a:lnTo>
                      <a:pt x="1159" y="672"/>
                    </a:lnTo>
                    <a:lnTo>
                      <a:pt x="1163" y="634"/>
                    </a:lnTo>
                    <a:lnTo>
                      <a:pt x="1165" y="597"/>
                    </a:lnTo>
                    <a:lnTo>
                      <a:pt x="1167" y="558"/>
                    </a:lnTo>
                    <a:lnTo>
                      <a:pt x="1169" y="520"/>
                    </a:lnTo>
                    <a:lnTo>
                      <a:pt x="1169" y="520"/>
                    </a:lnTo>
                    <a:lnTo>
                      <a:pt x="1167" y="459"/>
                    </a:lnTo>
                    <a:lnTo>
                      <a:pt x="1163" y="402"/>
                    </a:lnTo>
                    <a:lnTo>
                      <a:pt x="1159" y="351"/>
                    </a:lnTo>
                    <a:lnTo>
                      <a:pt x="1152" y="304"/>
                    </a:lnTo>
                    <a:lnTo>
                      <a:pt x="1152" y="304"/>
                    </a:lnTo>
                    <a:lnTo>
                      <a:pt x="1142" y="261"/>
                    </a:lnTo>
                    <a:lnTo>
                      <a:pt x="1128" y="222"/>
                    </a:lnTo>
                    <a:lnTo>
                      <a:pt x="1112" y="186"/>
                    </a:lnTo>
                    <a:lnTo>
                      <a:pt x="1095" y="155"/>
                    </a:lnTo>
                    <a:lnTo>
                      <a:pt x="1095" y="155"/>
                    </a:lnTo>
                    <a:lnTo>
                      <a:pt x="1083" y="141"/>
                    </a:lnTo>
                    <a:lnTo>
                      <a:pt x="1073" y="127"/>
                    </a:lnTo>
                    <a:lnTo>
                      <a:pt x="1059" y="116"/>
                    </a:lnTo>
                    <a:lnTo>
                      <a:pt x="1047" y="104"/>
                    </a:lnTo>
                    <a:lnTo>
                      <a:pt x="1032" y="94"/>
                    </a:lnTo>
                    <a:lnTo>
                      <a:pt x="1018" y="84"/>
                    </a:lnTo>
                    <a:lnTo>
                      <a:pt x="1000" y="74"/>
                    </a:lnTo>
                    <a:lnTo>
                      <a:pt x="985" y="68"/>
                    </a:lnTo>
                    <a:lnTo>
                      <a:pt x="985" y="68"/>
                    </a:lnTo>
                    <a:lnTo>
                      <a:pt x="965" y="61"/>
                    </a:lnTo>
                    <a:lnTo>
                      <a:pt x="947" y="55"/>
                    </a:lnTo>
                    <a:lnTo>
                      <a:pt x="904" y="47"/>
                    </a:lnTo>
                    <a:lnTo>
                      <a:pt x="857" y="41"/>
                    </a:lnTo>
                    <a:lnTo>
                      <a:pt x="806" y="39"/>
                    </a:lnTo>
                    <a:lnTo>
                      <a:pt x="806" y="39"/>
                    </a:lnTo>
                    <a:lnTo>
                      <a:pt x="774" y="39"/>
                    </a:lnTo>
                    <a:lnTo>
                      <a:pt x="743" y="41"/>
                    </a:lnTo>
                    <a:lnTo>
                      <a:pt x="743" y="41"/>
                    </a:lnTo>
                    <a:lnTo>
                      <a:pt x="680" y="47"/>
                    </a:lnTo>
                    <a:lnTo>
                      <a:pt x="680" y="931"/>
                    </a:lnTo>
                    <a:lnTo>
                      <a:pt x="796" y="9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4" name="Freeform 7"/>
              <p:cNvSpPr>
                <a:spLocks noEditPoints="1"/>
              </p:cNvSpPr>
              <p:nvPr/>
            </p:nvSpPr>
            <p:spPr bwMode="auto">
              <a:xfrm>
                <a:off x="2067" y="1905"/>
                <a:ext cx="1231" cy="1304"/>
              </a:xfrm>
              <a:custGeom>
                <a:avLst/>
                <a:gdLst>
                  <a:gd name="T0" fmla="*/ 395 w 1231"/>
                  <a:gd name="T1" fmla="*/ 884 h 1304"/>
                  <a:gd name="T2" fmla="*/ 425 w 1231"/>
                  <a:gd name="T3" fmla="*/ 1029 h 1304"/>
                  <a:gd name="T4" fmla="*/ 462 w 1231"/>
                  <a:gd name="T5" fmla="*/ 1113 h 1304"/>
                  <a:gd name="T6" fmla="*/ 515 w 1231"/>
                  <a:gd name="T7" fmla="*/ 1182 h 1304"/>
                  <a:gd name="T8" fmla="*/ 568 w 1231"/>
                  <a:gd name="T9" fmla="*/ 1225 h 1304"/>
                  <a:gd name="T10" fmla="*/ 661 w 1231"/>
                  <a:gd name="T11" fmla="*/ 1259 h 1304"/>
                  <a:gd name="T12" fmla="*/ 749 w 1231"/>
                  <a:gd name="T13" fmla="*/ 1267 h 1304"/>
                  <a:gd name="T14" fmla="*/ 855 w 1231"/>
                  <a:gd name="T15" fmla="*/ 1255 h 1304"/>
                  <a:gd name="T16" fmla="*/ 944 w 1231"/>
                  <a:gd name="T17" fmla="*/ 1223 h 1304"/>
                  <a:gd name="T18" fmla="*/ 1046 w 1231"/>
                  <a:gd name="T19" fmla="*/ 1151 h 1304"/>
                  <a:gd name="T20" fmla="*/ 1115 w 1231"/>
                  <a:gd name="T21" fmla="*/ 1068 h 1304"/>
                  <a:gd name="T22" fmla="*/ 1166 w 1231"/>
                  <a:gd name="T23" fmla="*/ 968 h 1304"/>
                  <a:gd name="T24" fmla="*/ 1213 w 1231"/>
                  <a:gd name="T25" fmla="*/ 948 h 1304"/>
                  <a:gd name="T26" fmla="*/ 1166 w 1231"/>
                  <a:gd name="T27" fmla="*/ 1064 h 1304"/>
                  <a:gd name="T28" fmla="*/ 1099 w 1231"/>
                  <a:gd name="T29" fmla="*/ 1153 h 1304"/>
                  <a:gd name="T30" fmla="*/ 1003 w 1231"/>
                  <a:gd name="T31" fmla="*/ 1227 h 1304"/>
                  <a:gd name="T32" fmla="*/ 898 w 1231"/>
                  <a:gd name="T33" fmla="*/ 1277 h 1304"/>
                  <a:gd name="T34" fmla="*/ 796 w 1231"/>
                  <a:gd name="T35" fmla="*/ 1298 h 1304"/>
                  <a:gd name="T36" fmla="*/ 671 w 1231"/>
                  <a:gd name="T37" fmla="*/ 1302 h 1304"/>
                  <a:gd name="T38" fmla="*/ 529 w 1231"/>
                  <a:gd name="T39" fmla="*/ 1286 h 1304"/>
                  <a:gd name="T40" fmla="*/ 429 w 1231"/>
                  <a:gd name="T41" fmla="*/ 1259 h 1304"/>
                  <a:gd name="T42" fmla="*/ 309 w 1231"/>
                  <a:gd name="T43" fmla="*/ 1204 h 1304"/>
                  <a:gd name="T44" fmla="*/ 205 w 1231"/>
                  <a:gd name="T45" fmla="*/ 1131 h 1304"/>
                  <a:gd name="T46" fmla="*/ 138 w 1231"/>
                  <a:gd name="T47" fmla="*/ 1062 h 1304"/>
                  <a:gd name="T48" fmla="*/ 69 w 1231"/>
                  <a:gd name="T49" fmla="*/ 954 h 1304"/>
                  <a:gd name="T50" fmla="*/ 30 w 1231"/>
                  <a:gd name="T51" fmla="*/ 862 h 1304"/>
                  <a:gd name="T52" fmla="*/ 4 w 1231"/>
                  <a:gd name="T53" fmla="*/ 725 h 1304"/>
                  <a:gd name="T54" fmla="*/ 0 w 1231"/>
                  <a:gd name="T55" fmla="*/ 618 h 1304"/>
                  <a:gd name="T56" fmla="*/ 20 w 1231"/>
                  <a:gd name="T57" fmla="*/ 497 h 1304"/>
                  <a:gd name="T58" fmla="*/ 51 w 1231"/>
                  <a:gd name="T59" fmla="*/ 408 h 1304"/>
                  <a:gd name="T60" fmla="*/ 112 w 1231"/>
                  <a:gd name="T61" fmla="*/ 298 h 1304"/>
                  <a:gd name="T62" fmla="*/ 193 w 1231"/>
                  <a:gd name="T63" fmla="*/ 200 h 1304"/>
                  <a:gd name="T64" fmla="*/ 266 w 1231"/>
                  <a:gd name="T65" fmla="*/ 137 h 1304"/>
                  <a:gd name="T66" fmla="*/ 376 w 1231"/>
                  <a:gd name="T67" fmla="*/ 68 h 1304"/>
                  <a:gd name="T68" fmla="*/ 466 w 1231"/>
                  <a:gd name="T69" fmla="*/ 31 h 1304"/>
                  <a:gd name="T70" fmla="*/ 598 w 1231"/>
                  <a:gd name="T71" fmla="*/ 2 h 1304"/>
                  <a:gd name="T72" fmla="*/ 718 w 1231"/>
                  <a:gd name="T73" fmla="*/ 2 h 1304"/>
                  <a:gd name="T74" fmla="*/ 867 w 1231"/>
                  <a:gd name="T75" fmla="*/ 31 h 1304"/>
                  <a:gd name="T76" fmla="*/ 961 w 1231"/>
                  <a:gd name="T77" fmla="*/ 70 h 1304"/>
                  <a:gd name="T78" fmla="*/ 1048 w 1231"/>
                  <a:gd name="T79" fmla="*/ 127 h 1304"/>
                  <a:gd name="T80" fmla="*/ 1103 w 1231"/>
                  <a:gd name="T81" fmla="*/ 182 h 1304"/>
                  <a:gd name="T82" fmla="*/ 1166 w 1231"/>
                  <a:gd name="T83" fmla="*/ 273 h 1304"/>
                  <a:gd name="T84" fmla="*/ 1201 w 1231"/>
                  <a:gd name="T85" fmla="*/ 353 h 1304"/>
                  <a:gd name="T86" fmla="*/ 1227 w 1231"/>
                  <a:gd name="T87" fmla="*/ 477 h 1304"/>
                  <a:gd name="T88" fmla="*/ 386 w 1231"/>
                  <a:gd name="T89" fmla="*/ 677 h 1304"/>
                  <a:gd name="T90" fmla="*/ 841 w 1231"/>
                  <a:gd name="T91" fmla="*/ 239 h 1304"/>
                  <a:gd name="T92" fmla="*/ 822 w 1231"/>
                  <a:gd name="T93" fmla="*/ 147 h 1304"/>
                  <a:gd name="T94" fmla="*/ 784 w 1231"/>
                  <a:gd name="T95" fmla="*/ 88 h 1304"/>
                  <a:gd name="T96" fmla="*/ 745 w 1231"/>
                  <a:gd name="T97" fmla="*/ 57 h 1304"/>
                  <a:gd name="T98" fmla="*/ 659 w 1231"/>
                  <a:gd name="T99" fmla="*/ 39 h 1304"/>
                  <a:gd name="T100" fmla="*/ 592 w 1231"/>
                  <a:gd name="T101" fmla="*/ 45 h 1304"/>
                  <a:gd name="T102" fmla="*/ 521 w 1231"/>
                  <a:gd name="T103" fmla="*/ 74 h 1304"/>
                  <a:gd name="T104" fmla="*/ 462 w 1231"/>
                  <a:gd name="T105" fmla="*/ 137 h 1304"/>
                  <a:gd name="T106" fmla="*/ 417 w 1231"/>
                  <a:gd name="T107" fmla="*/ 237 h 1304"/>
                  <a:gd name="T108" fmla="*/ 397 w 1231"/>
                  <a:gd name="T109" fmla="*/ 353 h 1304"/>
                  <a:gd name="T110" fmla="*/ 843 w 1231"/>
                  <a:gd name="T111" fmla="*/ 316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1" h="1304">
                    <a:moveTo>
                      <a:pt x="386" y="677"/>
                    </a:moveTo>
                    <a:lnTo>
                      <a:pt x="386" y="677"/>
                    </a:lnTo>
                    <a:lnTo>
                      <a:pt x="389" y="780"/>
                    </a:lnTo>
                    <a:lnTo>
                      <a:pt x="395" y="884"/>
                    </a:lnTo>
                    <a:lnTo>
                      <a:pt x="395" y="884"/>
                    </a:lnTo>
                    <a:lnTo>
                      <a:pt x="401" y="935"/>
                    </a:lnTo>
                    <a:lnTo>
                      <a:pt x="411" y="984"/>
                    </a:lnTo>
                    <a:lnTo>
                      <a:pt x="425" y="1029"/>
                    </a:lnTo>
                    <a:lnTo>
                      <a:pt x="441" y="1072"/>
                    </a:lnTo>
                    <a:lnTo>
                      <a:pt x="441" y="1072"/>
                    </a:lnTo>
                    <a:lnTo>
                      <a:pt x="450" y="1094"/>
                    </a:lnTo>
                    <a:lnTo>
                      <a:pt x="462" y="1113"/>
                    </a:lnTo>
                    <a:lnTo>
                      <a:pt x="474" y="1133"/>
                    </a:lnTo>
                    <a:lnTo>
                      <a:pt x="486" y="1151"/>
                    </a:lnTo>
                    <a:lnTo>
                      <a:pt x="502" y="1167"/>
                    </a:lnTo>
                    <a:lnTo>
                      <a:pt x="515" y="1182"/>
                    </a:lnTo>
                    <a:lnTo>
                      <a:pt x="533" y="1198"/>
                    </a:lnTo>
                    <a:lnTo>
                      <a:pt x="549" y="1212"/>
                    </a:lnTo>
                    <a:lnTo>
                      <a:pt x="549" y="1212"/>
                    </a:lnTo>
                    <a:lnTo>
                      <a:pt x="568" y="1225"/>
                    </a:lnTo>
                    <a:lnTo>
                      <a:pt x="588" y="1235"/>
                    </a:lnTo>
                    <a:lnTo>
                      <a:pt x="612" y="1245"/>
                    </a:lnTo>
                    <a:lnTo>
                      <a:pt x="635" y="1253"/>
                    </a:lnTo>
                    <a:lnTo>
                      <a:pt x="661" y="1259"/>
                    </a:lnTo>
                    <a:lnTo>
                      <a:pt x="688" y="1263"/>
                    </a:lnTo>
                    <a:lnTo>
                      <a:pt x="718" y="1265"/>
                    </a:lnTo>
                    <a:lnTo>
                      <a:pt x="749" y="1267"/>
                    </a:lnTo>
                    <a:lnTo>
                      <a:pt x="749" y="1267"/>
                    </a:lnTo>
                    <a:lnTo>
                      <a:pt x="779" y="1265"/>
                    </a:lnTo>
                    <a:lnTo>
                      <a:pt x="804" y="1263"/>
                    </a:lnTo>
                    <a:lnTo>
                      <a:pt x="830" y="1261"/>
                    </a:lnTo>
                    <a:lnTo>
                      <a:pt x="855" y="1255"/>
                    </a:lnTo>
                    <a:lnTo>
                      <a:pt x="879" y="1249"/>
                    </a:lnTo>
                    <a:lnTo>
                      <a:pt x="900" y="1241"/>
                    </a:lnTo>
                    <a:lnTo>
                      <a:pt x="922" y="1233"/>
                    </a:lnTo>
                    <a:lnTo>
                      <a:pt x="944" y="1223"/>
                    </a:lnTo>
                    <a:lnTo>
                      <a:pt x="944" y="1223"/>
                    </a:lnTo>
                    <a:lnTo>
                      <a:pt x="981" y="1202"/>
                    </a:lnTo>
                    <a:lnTo>
                      <a:pt x="1014" y="1176"/>
                    </a:lnTo>
                    <a:lnTo>
                      <a:pt x="1046" y="1151"/>
                    </a:lnTo>
                    <a:lnTo>
                      <a:pt x="1071" y="1125"/>
                    </a:lnTo>
                    <a:lnTo>
                      <a:pt x="1071" y="1125"/>
                    </a:lnTo>
                    <a:lnTo>
                      <a:pt x="1095" y="1098"/>
                    </a:lnTo>
                    <a:lnTo>
                      <a:pt x="1115" y="1068"/>
                    </a:lnTo>
                    <a:lnTo>
                      <a:pt x="1132" y="1043"/>
                    </a:lnTo>
                    <a:lnTo>
                      <a:pt x="1146" y="1015"/>
                    </a:lnTo>
                    <a:lnTo>
                      <a:pt x="1146" y="1015"/>
                    </a:lnTo>
                    <a:lnTo>
                      <a:pt x="1166" y="968"/>
                    </a:lnTo>
                    <a:lnTo>
                      <a:pt x="1170" y="948"/>
                    </a:lnTo>
                    <a:lnTo>
                      <a:pt x="1174" y="935"/>
                    </a:lnTo>
                    <a:lnTo>
                      <a:pt x="1213" y="948"/>
                    </a:lnTo>
                    <a:lnTo>
                      <a:pt x="1213" y="948"/>
                    </a:lnTo>
                    <a:lnTo>
                      <a:pt x="1205" y="976"/>
                    </a:lnTo>
                    <a:lnTo>
                      <a:pt x="1193" y="1005"/>
                    </a:lnTo>
                    <a:lnTo>
                      <a:pt x="1181" y="1035"/>
                    </a:lnTo>
                    <a:lnTo>
                      <a:pt x="1166" y="1064"/>
                    </a:lnTo>
                    <a:lnTo>
                      <a:pt x="1166" y="1064"/>
                    </a:lnTo>
                    <a:lnTo>
                      <a:pt x="1146" y="1096"/>
                    </a:lnTo>
                    <a:lnTo>
                      <a:pt x="1124" y="1123"/>
                    </a:lnTo>
                    <a:lnTo>
                      <a:pt x="1099" y="1153"/>
                    </a:lnTo>
                    <a:lnTo>
                      <a:pt x="1069" y="1178"/>
                    </a:lnTo>
                    <a:lnTo>
                      <a:pt x="1069" y="1178"/>
                    </a:lnTo>
                    <a:lnTo>
                      <a:pt x="1038" y="1204"/>
                    </a:lnTo>
                    <a:lnTo>
                      <a:pt x="1003" y="1227"/>
                    </a:lnTo>
                    <a:lnTo>
                      <a:pt x="963" y="1249"/>
                    </a:lnTo>
                    <a:lnTo>
                      <a:pt x="922" y="1269"/>
                    </a:lnTo>
                    <a:lnTo>
                      <a:pt x="922" y="1269"/>
                    </a:lnTo>
                    <a:lnTo>
                      <a:pt x="898" y="1277"/>
                    </a:lnTo>
                    <a:lnTo>
                      <a:pt x="875" y="1282"/>
                    </a:lnTo>
                    <a:lnTo>
                      <a:pt x="849" y="1290"/>
                    </a:lnTo>
                    <a:lnTo>
                      <a:pt x="824" y="1294"/>
                    </a:lnTo>
                    <a:lnTo>
                      <a:pt x="796" y="1298"/>
                    </a:lnTo>
                    <a:lnTo>
                      <a:pt x="767" y="1302"/>
                    </a:lnTo>
                    <a:lnTo>
                      <a:pt x="708" y="1304"/>
                    </a:lnTo>
                    <a:lnTo>
                      <a:pt x="708" y="1304"/>
                    </a:lnTo>
                    <a:lnTo>
                      <a:pt x="671" y="1302"/>
                    </a:lnTo>
                    <a:lnTo>
                      <a:pt x="633" y="1300"/>
                    </a:lnTo>
                    <a:lnTo>
                      <a:pt x="598" y="1298"/>
                    </a:lnTo>
                    <a:lnTo>
                      <a:pt x="562" y="1292"/>
                    </a:lnTo>
                    <a:lnTo>
                      <a:pt x="529" y="1286"/>
                    </a:lnTo>
                    <a:lnTo>
                      <a:pt x="496" y="1278"/>
                    </a:lnTo>
                    <a:lnTo>
                      <a:pt x="462" y="1269"/>
                    </a:lnTo>
                    <a:lnTo>
                      <a:pt x="429" y="1259"/>
                    </a:lnTo>
                    <a:lnTo>
                      <a:pt x="429" y="1259"/>
                    </a:lnTo>
                    <a:lnTo>
                      <a:pt x="397" y="1247"/>
                    </a:lnTo>
                    <a:lnTo>
                      <a:pt x="368" y="1235"/>
                    </a:lnTo>
                    <a:lnTo>
                      <a:pt x="336" y="1220"/>
                    </a:lnTo>
                    <a:lnTo>
                      <a:pt x="309" y="1204"/>
                    </a:lnTo>
                    <a:lnTo>
                      <a:pt x="281" y="1188"/>
                    </a:lnTo>
                    <a:lnTo>
                      <a:pt x="254" y="1170"/>
                    </a:lnTo>
                    <a:lnTo>
                      <a:pt x="228" y="1151"/>
                    </a:lnTo>
                    <a:lnTo>
                      <a:pt x="205" y="1131"/>
                    </a:lnTo>
                    <a:lnTo>
                      <a:pt x="205" y="1131"/>
                    </a:lnTo>
                    <a:lnTo>
                      <a:pt x="181" y="1110"/>
                    </a:lnTo>
                    <a:lnTo>
                      <a:pt x="160" y="1086"/>
                    </a:lnTo>
                    <a:lnTo>
                      <a:pt x="138" y="1062"/>
                    </a:lnTo>
                    <a:lnTo>
                      <a:pt x="118" y="1037"/>
                    </a:lnTo>
                    <a:lnTo>
                      <a:pt x="101" y="1011"/>
                    </a:lnTo>
                    <a:lnTo>
                      <a:pt x="85" y="984"/>
                    </a:lnTo>
                    <a:lnTo>
                      <a:pt x="69" y="954"/>
                    </a:lnTo>
                    <a:lnTo>
                      <a:pt x="53" y="925"/>
                    </a:lnTo>
                    <a:lnTo>
                      <a:pt x="53" y="925"/>
                    </a:lnTo>
                    <a:lnTo>
                      <a:pt x="42" y="893"/>
                    </a:lnTo>
                    <a:lnTo>
                      <a:pt x="30" y="862"/>
                    </a:lnTo>
                    <a:lnTo>
                      <a:pt x="22" y="829"/>
                    </a:lnTo>
                    <a:lnTo>
                      <a:pt x="14" y="795"/>
                    </a:lnTo>
                    <a:lnTo>
                      <a:pt x="8" y="760"/>
                    </a:lnTo>
                    <a:lnTo>
                      <a:pt x="4" y="725"/>
                    </a:lnTo>
                    <a:lnTo>
                      <a:pt x="0" y="687"/>
                    </a:lnTo>
                    <a:lnTo>
                      <a:pt x="0" y="648"/>
                    </a:lnTo>
                    <a:lnTo>
                      <a:pt x="0" y="648"/>
                    </a:lnTo>
                    <a:lnTo>
                      <a:pt x="0" y="618"/>
                    </a:lnTo>
                    <a:lnTo>
                      <a:pt x="2" y="587"/>
                    </a:lnTo>
                    <a:lnTo>
                      <a:pt x="8" y="558"/>
                    </a:lnTo>
                    <a:lnTo>
                      <a:pt x="12" y="526"/>
                    </a:lnTo>
                    <a:lnTo>
                      <a:pt x="20" y="497"/>
                    </a:lnTo>
                    <a:lnTo>
                      <a:pt x="30" y="467"/>
                    </a:lnTo>
                    <a:lnTo>
                      <a:pt x="40" y="438"/>
                    </a:lnTo>
                    <a:lnTo>
                      <a:pt x="51" y="408"/>
                    </a:lnTo>
                    <a:lnTo>
                      <a:pt x="51" y="408"/>
                    </a:lnTo>
                    <a:lnTo>
                      <a:pt x="65" y="379"/>
                    </a:lnTo>
                    <a:lnTo>
                      <a:pt x="79" y="351"/>
                    </a:lnTo>
                    <a:lnTo>
                      <a:pt x="95" y="324"/>
                    </a:lnTo>
                    <a:lnTo>
                      <a:pt x="112" y="298"/>
                    </a:lnTo>
                    <a:lnTo>
                      <a:pt x="130" y="273"/>
                    </a:lnTo>
                    <a:lnTo>
                      <a:pt x="150" y="247"/>
                    </a:lnTo>
                    <a:lnTo>
                      <a:pt x="171" y="224"/>
                    </a:lnTo>
                    <a:lnTo>
                      <a:pt x="193" y="200"/>
                    </a:lnTo>
                    <a:lnTo>
                      <a:pt x="193" y="200"/>
                    </a:lnTo>
                    <a:lnTo>
                      <a:pt x="217" y="178"/>
                    </a:lnTo>
                    <a:lnTo>
                      <a:pt x="240" y="159"/>
                    </a:lnTo>
                    <a:lnTo>
                      <a:pt x="266" y="137"/>
                    </a:lnTo>
                    <a:lnTo>
                      <a:pt x="291" y="119"/>
                    </a:lnTo>
                    <a:lnTo>
                      <a:pt x="319" y="102"/>
                    </a:lnTo>
                    <a:lnTo>
                      <a:pt x="346" y="84"/>
                    </a:lnTo>
                    <a:lnTo>
                      <a:pt x="376" y="68"/>
                    </a:lnTo>
                    <a:lnTo>
                      <a:pt x="405" y="55"/>
                    </a:lnTo>
                    <a:lnTo>
                      <a:pt x="405" y="55"/>
                    </a:lnTo>
                    <a:lnTo>
                      <a:pt x="435" y="41"/>
                    </a:lnTo>
                    <a:lnTo>
                      <a:pt x="466" y="31"/>
                    </a:lnTo>
                    <a:lnTo>
                      <a:pt x="500" y="21"/>
                    </a:lnTo>
                    <a:lnTo>
                      <a:pt x="531" y="13"/>
                    </a:lnTo>
                    <a:lnTo>
                      <a:pt x="564" y="7"/>
                    </a:lnTo>
                    <a:lnTo>
                      <a:pt x="598" y="2"/>
                    </a:lnTo>
                    <a:lnTo>
                      <a:pt x="631" y="0"/>
                    </a:lnTo>
                    <a:lnTo>
                      <a:pt x="667" y="0"/>
                    </a:lnTo>
                    <a:lnTo>
                      <a:pt x="667" y="0"/>
                    </a:lnTo>
                    <a:lnTo>
                      <a:pt x="718" y="2"/>
                    </a:lnTo>
                    <a:lnTo>
                      <a:pt x="767" y="7"/>
                    </a:lnTo>
                    <a:lnTo>
                      <a:pt x="818" y="17"/>
                    </a:lnTo>
                    <a:lnTo>
                      <a:pt x="867" y="31"/>
                    </a:lnTo>
                    <a:lnTo>
                      <a:pt x="867" y="31"/>
                    </a:lnTo>
                    <a:lnTo>
                      <a:pt x="893" y="39"/>
                    </a:lnTo>
                    <a:lnTo>
                      <a:pt x="916" y="49"/>
                    </a:lnTo>
                    <a:lnTo>
                      <a:pt x="940" y="59"/>
                    </a:lnTo>
                    <a:lnTo>
                      <a:pt x="961" y="70"/>
                    </a:lnTo>
                    <a:lnTo>
                      <a:pt x="985" y="84"/>
                    </a:lnTo>
                    <a:lnTo>
                      <a:pt x="1007" y="98"/>
                    </a:lnTo>
                    <a:lnTo>
                      <a:pt x="1026" y="112"/>
                    </a:lnTo>
                    <a:lnTo>
                      <a:pt x="1048" y="127"/>
                    </a:lnTo>
                    <a:lnTo>
                      <a:pt x="1048" y="127"/>
                    </a:lnTo>
                    <a:lnTo>
                      <a:pt x="1067" y="145"/>
                    </a:lnTo>
                    <a:lnTo>
                      <a:pt x="1085" y="163"/>
                    </a:lnTo>
                    <a:lnTo>
                      <a:pt x="1103" y="182"/>
                    </a:lnTo>
                    <a:lnTo>
                      <a:pt x="1121" y="204"/>
                    </a:lnTo>
                    <a:lnTo>
                      <a:pt x="1136" y="226"/>
                    </a:lnTo>
                    <a:lnTo>
                      <a:pt x="1152" y="249"/>
                    </a:lnTo>
                    <a:lnTo>
                      <a:pt x="1166" y="273"/>
                    </a:lnTo>
                    <a:lnTo>
                      <a:pt x="1179" y="298"/>
                    </a:lnTo>
                    <a:lnTo>
                      <a:pt x="1179" y="298"/>
                    </a:lnTo>
                    <a:lnTo>
                      <a:pt x="1191" y="324"/>
                    </a:lnTo>
                    <a:lnTo>
                      <a:pt x="1201" y="353"/>
                    </a:lnTo>
                    <a:lnTo>
                      <a:pt x="1211" y="383"/>
                    </a:lnTo>
                    <a:lnTo>
                      <a:pt x="1217" y="412"/>
                    </a:lnTo>
                    <a:lnTo>
                      <a:pt x="1223" y="446"/>
                    </a:lnTo>
                    <a:lnTo>
                      <a:pt x="1227" y="477"/>
                    </a:lnTo>
                    <a:lnTo>
                      <a:pt x="1231" y="512"/>
                    </a:lnTo>
                    <a:lnTo>
                      <a:pt x="1231" y="548"/>
                    </a:lnTo>
                    <a:lnTo>
                      <a:pt x="386" y="548"/>
                    </a:lnTo>
                    <a:lnTo>
                      <a:pt x="386" y="677"/>
                    </a:lnTo>
                    <a:close/>
                    <a:moveTo>
                      <a:pt x="843" y="316"/>
                    </a:moveTo>
                    <a:lnTo>
                      <a:pt x="843" y="316"/>
                    </a:lnTo>
                    <a:lnTo>
                      <a:pt x="841" y="239"/>
                    </a:lnTo>
                    <a:lnTo>
                      <a:pt x="841" y="239"/>
                    </a:lnTo>
                    <a:lnTo>
                      <a:pt x="840" y="216"/>
                    </a:lnTo>
                    <a:lnTo>
                      <a:pt x="836" y="194"/>
                    </a:lnTo>
                    <a:lnTo>
                      <a:pt x="830" y="171"/>
                    </a:lnTo>
                    <a:lnTo>
                      <a:pt x="822" y="147"/>
                    </a:lnTo>
                    <a:lnTo>
                      <a:pt x="822" y="147"/>
                    </a:lnTo>
                    <a:lnTo>
                      <a:pt x="812" y="125"/>
                    </a:lnTo>
                    <a:lnTo>
                      <a:pt x="798" y="106"/>
                    </a:lnTo>
                    <a:lnTo>
                      <a:pt x="784" y="88"/>
                    </a:lnTo>
                    <a:lnTo>
                      <a:pt x="765" y="70"/>
                    </a:lnTo>
                    <a:lnTo>
                      <a:pt x="765" y="70"/>
                    </a:lnTo>
                    <a:lnTo>
                      <a:pt x="755" y="62"/>
                    </a:lnTo>
                    <a:lnTo>
                      <a:pt x="745" y="57"/>
                    </a:lnTo>
                    <a:lnTo>
                      <a:pt x="731" y="51"/>
                    </a:lnTo>
                    <a:lnTo>
                      <a:pt x="720" y="47"/>
                    </a:lnTo>
                    <a:lnTo>
                      <a:pt x="690" y="41"/>
                    </a:lnTo>
                    <a:lnTo>
                      <a:pt x="659" y="39"/>
                    </a:lnTo>
                    <a:lnTo>
                      <a:pt x="659" y="39"/>
                    </a:lnTo>
                    <a:lnTo>
                      <a:pt x="635" y="39"/>
                    </a:lnTo>
                    <a:lnTo>
                      <a:pt x="612" y="43"/>
                    </a:lnTo>
                    <a:lnTo>
                      <a:pt x="592" y="45"/>
                    </a:lnTo>
                    <a:lnTo>
                      <a:pt x="572" y="51"/>
                    </a:lnTo>
                    <a:lnTo>
                      <a:pt x="555" y="57"/>
                    </a:lnTo>
                    <a:lnTo>
                      <a:pt x="537" y="64"/>
                    </a:lnTo>
                    <a:lnTo>
                      <a:pt x="521" y="74"/>
                    </a:lnTo>
                    <a:lnTo>
                      <a:pt x="507" y="84"/>
                    </a:lnTo>
                    <a:lnTo>
                      <a:pt x="507" y="84"/>
                    </a:lnTo>
                    <a:lnTo>
                      <a:pt x="484" y="110"/>
                    </a:lnTo>
                    <a:lnTo>
                      <a:pt x="462" y="137"/>
                    </a:lnTo>
                    <a:lnTo>
                      <a:pt x="445" y="167"/>
                    </a:lnTo>
                    <a:lnTo>
                      <a:pt x="429" y="200"/>
                    </a:lnTo>
                    <a:lnTo>
                      <a:pt x="429" y="200"/>
                    </a:lnTo>
                    <a:lnTo>
                      <a:pt x="417" y="237"/>
                    </a:lnTo>
                    <a:lnTo>
                      <a:pt x="409" y="273"/>
                    </a:lnTo>
                    <a:lnTo>
                      <a:pt x="401" y="312"/>
                    </a:lnTo>
                    <a:lnTo>
                      <a:pt x="397" y="353"/>
                    </a:lnTo>
                    <a:lnTo>
                      <a:pt x="397" y="353"/>
                    </a:lnTo>
                    <a:lnTo>
                      <a:pt x="389" y="432"/>
                    </a:lnTo>
                    <a:lnTo>
                      <a:pt x="386" y="508"/>
                    </a:lnTo>
                    <a:lnTo>
                      <a:pt x="843" y="508"/>
                    </a:lnTo>
                    <a:lnTo>
                      <a:pt x="843" y="3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5" name="Freeform 8"/>
              <p:cNvSpPr>
                <a:spLocks/>
              </p:cNvSpPr>
              <p:nvPr/>
            </p:nvSpPr>
            <p:spPr bwMode="auto">
              <a:xfrm>
                <a:off x="3494" y="1575"/>
                <a:ext cx="975" cy="1634"/>
              </a:xfrm>
              <a:custGeom>
                <a:avLst/>
                <a:gdLst>
                  <a:gd name="T0" fmla="*/ 279 w 975"/>
                  <a:gd name="T1" fmla="*/ 29 h 1634"/>
                  <a:gd name="T2" fmla="*/ 324 w 975"/>
                  <a:gd name="T3" fmla="*/ 37 h 1634"/>
                  <a:gd name="T4" fmla="*/ 368 w 975"/>
                  <a:gd name="T5" fmla="*/ 41 h 1634"/>
                  <a:gd name="T6" fmla="*/ 389 w 975"/>
                  <a:gd name="T7" fmla="*/ 39 h 1634"/>
                  <a:gd name="T8" fmla="*/ 432 w 975"/>
                  <a:gd name="T9" fmla="*/ 33 h 1634"/>
                  <a:gd name="T10" fmla="*/ 454 w 975"/>
                  <a:gd name="T11" fmla="*/ 29 h 1634"/>
                  <a:gd name="T12" fmla="*/ 543 w 975"/>
                  <a:gd name="T13" fmla="*/ 0 h 1634"/>
                  <a:gd name="T14" fmla="*/ 877 w 975"/>
                  <a:gd name="T15" fmla="*/ 369 h 1634"/>
                  <a:gd name="T16" fmla="*/ 543 w 975"/>
                  <a:gd name="T17" fmla="*/ 408 h 1634"/>
                  <a:gd name="T18" fmla="*/ 543 w 975"/>
                  <a:gd name="T19" fmla="*/ 1367 h 1634"/>
                  <a:gd name="T20" fmla="*/ 548 w 975"/>
                  <a:gd name="T21" fmla="*/ 1447 h 1634"/>
                  <a:gd name="T22" fmla="*/ 550 w 975"/>
                  <a:gd name="T23" fmla="*/ 1465 h 1634"/>
                  <a:gd name="T24" fmla="*/ 562 w 975"/>
                  <a:gd name="T25" fmla="*/ 1498 h 1634"/>
                  <a:gd name="T26" fmla="*/ 570 w 975"/>
                  <a:gd name="T27" fmla="*/ 1514 h 1634"/>
                  <a:gd name="T28" fmla="*/ 588 w 975"/>
                  <a:gd name="T29" fmla="*/ 1542 h 1634"/>
                  <a:gd name="T30" fmla="*/ 615 w 975"/>
                  <a:gd name="T31" fmla="*/ 1561 h 1634"/>
                  <a:gd name="T32" fmla="*/ 631 w 975"/>
                  <a:gd name="T33" fmla="*/ 1569 h 1634"/>
                  <a:gd name="T34" fmla="*/ 670 w 975"/>
                  <a:gd name="T35" fmla="*/ 1577 h 1634"/>
                  <a:gd name="T36" fmla="*/ 694 w 975"/>
                  <a:gd name="T37" fmla="*/ 1579 h 1634"/>
                  <a:gd name="T38" fmla="*/ 745 w 975"/>
                  <a:gd name="T39" fmla="*/ 1573 h 1634"/>
                  <a:gd name="T40" fmla="*/ 786 w 975"/>
                  <a:gd name="T41" fmla="*/ 1555 h 1634"/>
                  <a:gd name="T42" fmla="*/ 806 w 975"/>
                  <a:gd name="T43" fmla="*/ 1544 h 1634"/>
                  <a:gd name="T44" fmla="*/ 839 w 975"/>
                  <a:gd name="T45" fmla="*/ 1514 h 1634"/>
                  <a:gd name="T46" fmla="*/ 853 w 975"/>
                  <a:gd name="T47" fmla="*/ 1498 h 1634"/>
                  <a:gd name="T48" fmla="*/ 881 w 975"/>
                  <a:gd name="T49" fmla="*/ 1459 h 1634"/>
                  <a:gd name="T50" fmla="*/ 900 w 975"/>
                  <a:gd name="T51" fmla="*/ 1416 h 1634"/>
                  <a:gd name="T52" fmla="*/ 918 w 975"/>
                  <a:gd name="T53" fmla="*/ 1371 h 1634"/>
                  <a:gd name="T54" fmla="*/ 975 w 975"/>
                  <a:gd name="T55" fmla="*/ 1335 h 1634"/>
                  <a:gd name="T56" fmla="*/ 963 w 975"/>
                  <a:gd name="T57" fmla="*/ 1383 h 1634"/>
                  <a:gd name="T58" fmla="*/ 943 w 975"/>
                  <a:gd name="T59" fmla="*/ 1442 h 1634"/>
                  <a:gd name="T60" fmla="*/ 926 w 975"/>
                  <a:gd name="T61" fmla="*/ 1477 h 1634"/>
                  <a:gd name="T62" fmla="*/ 916 w 975"/>
                  <a:gd name="T63" fmla="*/ 1493 h 1634"/>
                  <a:gd name="T64" fmla="*/ 871 w 975"/>
                  <a:gd name="T65" fmla="*/ 1544 h 1634"/>
                  <a:gd name="T66" fmla="*/ 822 w 975"/>
                  <a:gd name="T67" fmla="*/ 1581 h 1634"/>
                  <a:gd name="T68" fmla="*/ 794 w 975"/>
                  <a:gd name="T69" fmla="*/ 1597 h 1634"/>
                  <a:gd name="T70" fmla="*/ 737 w 975"/>
                  <a:gd name="T71" fmla="*/ 1616 h 1634"/>
                  <a:gd name="T72" fmla="*/ 708 w 975"/>
                  <a:gd name="T73" fmla="*/ 1624 h 1634"/>
                  <a:gd name="T74" fmla="*/ 621 w 975"/>
                  <a:gd name="T75" fmla="*/ 1632 h 1634"/>
                  <a:gd name="T76" fmla="*/ 594 w 975"/>
                  <a:gd name="T77" fmla="*/ 1634 h 1634"/>
                  <a:gd name="T78" fmla="*/ 491 w 975"/>
                  <a:gd name="T79" fmla="*/ 1628 h 1634"/>
                  <a:gd name="T80" fmla="*/ 434 w 975"/>
                  <a:gd name="T81" fmla="*/ 1620 h 1634"/>
                  <a:gd name="T82" fmla="*/ 385 w 975"/>
                  <a:gd name="T83" fmla="*/ 1607 h 1634"/>
                  <a:gd name="T84" fmla="*/ 364 w 975"/>
                  <a:gd name="T85" fmla="*/ 1599 h 1634"/>
                  <a:gd name="T86" fmla="*/ 293 w 975"/>
                  <a:gd name="T87" fmla="*/ 1561 h 1634"/>
                  <a:gd name="T88" fmla="*/ 265 w 975"/>
                  <a:gd name="T89" fmla="*/ 1538 h 1634"/>
                  <a:gd name="T90" fmla="*/ 244 w 975"/>
                  <a:gd name="T91" fmla="*/ 1514 h 1634"/>
                  <a:gd name="T92" fmla="*/ 226 w 975"/>
                  <a:gd name="T93" fmla="*/ 1487 h 1634"/>
                  <a:gd name="T94" fmla="*/ 203 w 975"/>
                  <a:gd name="T95" fmla="*/ 1432 h 1634"/>
                  <a:gd name="T96" fmla="*/ 199 w 975"/>
                  <a:gd name="T97" fmla="*/ 1402 h 1634"/>
                  <a:gd name="T98" fmla="*/ 193 w 975"/>
                  <a:gd name="T99" fmla="*/ 1290 h 1634"/>
                  <a:gd name="T100" fmla="*/ 0 w 975"/>
                  <a:gd name="T101" fmla="*/ 408 h 1634"/>
                  <a:gd name="T102" fmla="*/ 193 w 975"/>
                  <a:gd name="T103" fmla="*/ 369 h 1634"/>
                  <a:gd name="T104" fmla="*/ 193 w 975"/>
                  <a:gd name="T105" fmla="*/ 0 h 1634"/>
                  <a:gd name="T106" fmla="*/ 279 w 975"/>
                  <a:gd name="T107" fmla="*/ 29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5" h="1634">
                    <a:moveTo>
                      <a:pt x="279" y="29"/>
                    </a:moveTo>
                    <a:lnTo>
                      <a:pt x="279" y="29"/>
                    </a:lnTo>
                    <a:lnTo>
                      <a:pt x="303" y="33"/>
                    </a:lnTo>
                    <a:lnTo>
                      <a:pt x="324" y="37"/>
                    </a:lnTo>
                    <a:lnTo>
                      <a:pt x="346" y="39"/>
                    </a:lnTo>
                    <a:lnTo>
                      <a:pt x="368" y="41"/>
                    </a:lnTo>
                    <a:lnTo>
                      <a:pt x="368" y="41"/>
                    </a:lnTo>
                    <a:lnTo>
                      <a:pt x="389" y="39"/>
                    </a:lnTo>
                    <a:lnTo>
                      <a:pt x="411" y="37"/>
                    </a:lnTo>
                    <a:lnTo>
                      <a:pt x="432" y="33"/>
                    </a:lnTo>
                    <a:lnTo>
                      <a:pt x="454" y="29"/>
                    </a:lnTo>
                    <a:lnTo>
                      <a:pt x="454" y="29"/>
                    </a:lnTo>
                    <a:lnTo>
                      <a:pt x="499" y="15"/>
                    </a:lnTo>
                    <a:lnTo>
                      <a:pt x="543" y="0"/>
                    </a:lnTo>
                    <a:lnTo>
                      <a:pt x="543" y="369"/>
                    </a:lnTo>
                    <a:lnTo>
                      <a:pt x="877" y="369"/>
                    </a:lnTo>
                    <a:lnTo>
                      <a:pt x="877" y="408"/>
                    </a:lnTo>
                    <a:lnTo>
                      <a:pt x="543" y="408"/>
                    </a:lnTo>
                    <a:lnTo>
                      <a:pt x="543" y="1367"/>
                    </a:lnTo>
                    <a:lnTo>
                      <a:pt x="543" y="1367"/>
                    </a:lnTo>
                    <a:lnTo>
                      <a:pt x="543" y="1408"/>
                    </a:lnTo>
                    <a:lnTo>
                      <a:pt x="548" y="1447"/>
                    </a:lnTo>
                    <a:lnTo>
                      <a:pt x="548" y="1447"/>
                    </a:lnTo>
                    <a:lnTo>
                      <a:pt x="550" y="1465"/>
                    </a:lnTo>
                    <a:lnTo>
                      <a:pt x="556" y="1483"/>
                    </a:lnTo>
                    <a:lnTo>
                      <a:pt x="562" y="1498"/>
                    </a:lnTo>
                    <a:lnTo>
                      <a:pt x="570" y="1514"/>
                    </a:lnTo>
                    <a:lnTo>
                      <a:pt x="570" y="1514"/>
                    </a:lnTo>
                    <a:lnTo>
                      <a:pt x="578" y="1530"/>
                    </a:lnTo>
                    <a:lnTo>
                      <a:pt x="588" y="1542"/>
                    </a:lnTo>
                    <a:lnTo>
                      <a:pt x="601" y="1553"/>
                    </a:lnTo>
                    <a:lnTo>
                      <a:pt x="615" y="1561"/>
                    </a:lnTo>
                    <a:lnTo>
                      <a:pt x="615" y="1561"/>
                    </a:lnTo>
                    <a:lnTo>
                      <a:pt x="631" y="1569"/>
                    </a:lnTo>
                    <a:lnTo>
                      <a:pt x="649" y="1575"/>
                    </a:lnTo>
                    <a:lnTo>
                      <a:pt x="670" y="1577"/>
                    </a:lnTo>
                    <a:lnTo>
                      <a:pt x="694" y="1579"/>
                    </a:lnTo>
                    <a:lnTo>
                      <a:pt x="694" y="1579"/>
                    </a:lnTo>
                    <a:lnTo>
                      <a:pt x="719" y="1577"/>
                    </a:lnTo>
                    <a:lnTo>
                      <a:pt x="745" y="1573"/>
                    </a:lnTo>
                    <a:lnTo>
                      <a:pt x="767" y="1565"/>
                    </a:lnTo>
                    <a:lnTo>
                      <a:pt x="786" y="1555"/>
                    </a:lnTo>
                    <a:lnTo>
                      <a:pt x="786" y="1555"/>
                    </a:lnTo>
                    <a:lnTo>
                      <a:pt x="806" y="1544"/>
                    </a:lnTo>
                    <a:lnTo>
                      <a:pt x="824" y="1530"/>
                    </a:lnTo>
                    <a:lnTo>
                      <a:pt x="839" y="1514"/>
                    </a:lnTo>
                    <a:lnTo>
                      <a:pt x="853" y="1498"/>
                    </a:lnTo>
                    <a:lnTo>
                      <a:pt x="853" y="1498"/>
                    </a:lnTo>
                    <a:lnTo>
                      <a:pt x="867" y="1479"/>
                    </a:lnTo>
                    <a:lnTo>
                      <a:pt x="881" y="1459"/>
                    </a:lnTo>
                    <a:lnTo>
                      <a:pt x="890" y="1438"/>
                    </a:lnTo>
                    <a:lnTo>
                      <a:pt x="900" y="1416"/>
                    </a:lnTo>
                    <a:lnTo>
                      <a:pt x="900" y="1416"/>
                    </a:lnTo>
                    <a:lnTo>
                      <a:pt x="918" y="1371"/>
                    </a:lnTo>
                    <a:lnTo>
                      <a:pt x="932" y="1328"/>
                    </a:lnTo>
                    <a:lnTo>
                      <a:pt x="975" y="1335"/>
                    </a:lnTo>
                    <a:lnTo>
                      <a:pt x="975" y="1335"/>
                    </a:lnTo>
                    <a:lnTo>
                      <a:pt x="963" y="1383"/>
                    </a:lnTo>
                    <a:lnTo>
                      <a:pt x="951" y="1424"/>
                    </a:lnTo>
                    <a:lnTo>
                      <a:pt x="943" y="1442"/>
                    </a:lnTo>
                    <a:lnTo>
                      <a:pt x="934" y="1459"/>
                    </a:lnTo>
                    <a:lnTo>
                      <a:pt x="926" y="1477"/>
                    </a:lnTo>
                    <a:lnTo>
                      <a:pt x="916" y="1493"/>
                    </a:lnTo>
                    <a:lnTo>
                      <a:pt x="916" y="1493"/>
                    </a:lnTo>
                    <a:lnTo>
                      <a:pt x="894" y="1520"/>
                    </a:lnTo>
                    <a:lnTo>
                      <a:pt x="871" y="1544"/>
                    </a:lnTo>
                    <a:lnTo>
                      <a:pt x="847" y="1565"/>
                    </a:lnTo>
                    <a:lnTo>
                      <a:pt x="822" y="1581"/>
                    </a:lnTo>
                    <a:lnTo>
                      <a:pt x="822" y="1581"/>
                    </a:lnTo>
                    <a:lnTo>
                      <a:pt x="794" y="1597"/>
                    </a:lnTo>
                    <a:lnTo>
                      <a:pt x="767" y="1608"/>
                    </a:lnTo>
                    <a:lnTo>
                      <a:pt x="737" y="1616"/>
                    </a:lnTo>
                    <a:lnTo>
                      <a:pt x="708" y="1624"/>
                    </a:lnTo>
                    <a:lnTo>
                      <a:pt x="708" y="1624"/>
                    </a:lnTo>
                    <a:lnTo>
                      <a:pt x="649" y="1630"/>
                    </a:lnTo>
                    <a:lnTo>
                      <a:pt x="621" y="1632"/>
                    </a:lnTo>
                    <a:lnTo>
                      <a:pt x="594" y="1634"/>
                    </a:lnTo>
                    <a:lnTo>
                      <a:pt x="594" y="1634"/>
                    </a:lnTo>
                    <a:lnTo>
                      <a:pt x="523" y="1632"/>
                    </a:lnTo>
                    <a:lnTo>
                      <a:pt x="491" y="1628"/>
                    </a:lnTo>
                    <a:lnTo>
                      <a:pt x="462" y="1624"/>
                    </a:lnTo>
                    <a:lnTo>
                      <a:pt x="434" y="1620"/>
                    </a:lnTo>
                    <a:lnTo>
                      <a:pt x="409" y="1614"/>
                    </a:lnTo>
                    <a:lnTo>
                      <a:pt x="385" y="1607"/>
                    </a:lnTo>
                    <a:lnTo>
                      <a:pt x="364" y="1599"/>
                    </a:lnTo>
                    <a:lnTo>
                      <a:pt x="364" y="1599"/>
                    </a:lnTo>
                    <a:lnTo>
                      <a:pt x="324" y="1581"/>
                    </a:lnTo>
                    <a:lnTo>
                      <a:pt x="293" y="1561"/>
                    </a:lnTo>
                    <a:lnTo>
                      <a:pt x="277" y="1550"/>
                    </a:lnTo>
                    <a:lnTo>
                      <a:pt x="265" y="1538"/>
                    </a:lnTo>
                    <a:lnTo>
                      <a:pt x="254" y="1526"/>
                    </a:lnTo>
                    <a:lnTo>
                      <a:pt x="244" y="1514"/>
                    </a:lnTo>
                    <a:lnTo>
                      <a:pt x="244" y="1514"/>
                    </a:lnTo>
                    <a:lnTo>
                      <a:pt x="226" y="1487"/>
                    </a:lnTo>
                    <a:lnTo>
                      <a:pt x="212" y="1459"/>
                    </a:lnTo>
                    <a:lnTo>
                      <a:pt x="203" y="1432"/>
                    </a:lnTo>
                    <a:lnTo>
                      <a:pt x="199" y="1402"/>
                    </a:lnTo>
                    <a:lnTo>
                      <a:pt x="199" y="1402"/>
                    </a:lnTo>
                    <a:lnTo>
                      <a:pt x="195" y="1343"/>
                    </a:lnTo>
                    <a:lnTo>
                      <a:pt x="193" y="1290"/>
                    </a:lnTo>
                    <a:lnTo>
                      <a:pt x="193" y="408"/>
                    </a:lnTo>
                    <a:lnTo>
                      <a:pt x="0" y="408"/>
                    </a:lnTo>
                    <a:lnTo>
                      <a:pt x="0" y="369"/>
                    </a:lnTo>
                    <a:lnTo>
                      <a:pt x="193" y="369"/>
                    </a:lnTo>
                    <a:lnTo>
                      <a:pt x="193" y="0"/>
                    </a:lnTo>
                    <a:lnTo>
                      <a:pt x="193" y="0"/>
                    </a:lnTo>
                    <a:lnTo>
                      <a:pt x="236" y="15"/>
                    </a:lnTo>
                    <a:lnTo>
                      <a:pt x="279" y="29"/>
                    </a:lnTo>
                    <a:lnTo>
                      <a:pt x="279"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6" name="Freeform 9"/>
              <p:cNvSpPr>
                <a:spLocks noEditPoints="1"/>
              </p:cNvSpPr>
              <p:nvPr/>
            </p:nvSpPr>
            <p:spPr bwMode="auto">
              <a:xfrm>
                <a:off x="4577" y="1905"/>
                <a:ext cx="1330" cy="1304"/>
              </a:xfrm>
              <a:custGeom>
                <a:avLst/>
                <a:gdLst>
                  <a:gd name="T0" fmla="*/ 1073 w 1330"/>
                  <a:gd name="T1" fmla="*/ 1304 h 1304"/>
                  <a:gd name="T2" fmla="*/ 920 w 1330"/>
                  <a:gd name="T3" fmla="*/ 1282 h 1304"/>
                  <a:gd name="T4" fmla="*/ 825 w 1330"/>
                  <a:gd name="T5" fmla="*/ 1223 h 1304"/>
                  <a:gd name="T6" fmla="*/ 770 w 1330"/>
                  <a:gd name="T7" fmla="*/ 1110 h 1304"/>
                  <a:gd name="T8" fmla="*/ 709 w 1330"/>
                  <a:gd name="T9" fmla="*/ 1204 h 1304"/>
                  <a:gd name="T10" fmla="*/ 617 w 1330"/>
                  <a:gd name="T11" fmla="*/ 1273 h 1304"/>
                  <a:gd name="T12" fmla="*/ 442 w 1330"/>
                  <a:gd name="T13" fmla="*/ 1302 h 1304"/>
                  <a:gd name="T14" fmla="*/ 265 w 1330"/>
                  <a:gd name="T15" fmla="*/ 1288 h 1304"/>
                  <a:gd name="T16" fmla="*/ 134 w 1330"/>
                  <a:gd name="T17" fmla="*/ 1243 h 1304"/>
                  <a:gd name="T18" fmla="*/ 27 w 1330"/>
                  <a:gd name="T19" fmla="*/ 1141 h 1304"/>
                  <a:gd name="T20" fmla="*/ 0 w 1330"/>
                  <a:gd name="T21" fmla="*/ 1041 h 1304"/>
                  <a:gd name="T22" fmla="*/ 18 w 1330"/>
                  <a:gd name="T23" fmla="*/ 911 h 1304"/>
                  <a:gd name="T24" fmla="*/ 92 w 1330"/>
                  <a:gd name="T25" fmla="*/ 807 h 1304"/>
                  <a:gd name="T26" fmla="*/ 238 w 1330"/>
                  <a:gd name="T27" fmla="*/ 725 h 1304"/>
                  <a:gd name="T28" fmla="*/ 568 w 1330"/>
                  <a:gd name="T29" fmla="*/ 618 h 1304"/>
                  <a:gd name="T30" fmla="*/ 680 w 1330"/>
                  <a:gd name="T31" fmla="*/ 567 h 1304"/>
                  <a:gd name="T32" fmla="*/ 743 w 1330"/>
                  <a:gd name="T33" fmla="*/ 487 h 1304"/>
                  <a:gd name="T34" fmla="*/ 753 w 1330"/>
                  <a:gd name="T35" fmla="*/ 224 h 1304"/>
                  <a:gd name="T36" fmla="*/ 723 w 1330"/>
                  <a:gd name="T37" fmla="*/ 117 h 1304"/>
                  <a:gd name="T38" fmla="*/ 662 w 1330"/>
                  <a:gd name="T39" fmla="*/ 55 h 1304"/>
                  <a:gd name="T40" fmla="*/ 542 w 1330"/>
                  <a:gd name="T41" fmla="*/ 41 h 1304"/>
                  <a:gd name="T42" fmla="*/ 440 w 1330"/>
                  <a:gd name="T43" fmla="*/ 88 h 1304"/>
                  <a:gd name="T44" fmla="*/ 413 w 1330"/>
                  <a:gd name="T45" fmla="*/ 178 h 1304"/>
                  <a:gd name="T46" fmla="*/ 426 w 1330"/>
                  <a:gd name="T47" fmla="*/ 304 h 1304"/>
                  <a:gd name="T48" fmla="*/ 419 w 1330"/>
                  <a:gd name="T49" fmla="*/ 391 h 1304"/>
                  <a:gd name="T50" fmla="*/ 362 w 1330"/>
                  <a:gd name="T51" fmla="*/ 440 h 1304"/>
                  <a:gd name="T52" fmla="*/ 305 w 1330"/>
                  <a:gd name="T53" fmla="*/ 451 h 1304"/>
                  <a:gd name="T54" fmla="*/ 181 w 1330"/>
                  <a:gd name="T55" fmla="*/ 448 h 1304"/>
                  <a:gd name="T56" fmla="*/ 122 w 1330"/>
                  <a:gd name="T57" fmla="*/ 410 h 1304"/>
                  <a:gd name="T58" fmla="*/ 90 w 1330"/>
                  <a:gd name="T59" fmla="*/ 332 h 1304"/>
                  <a:gd name="T60" fmla="*/ 98 w 1330"/>
                  <a:gd name="T61" fmla="*/ 237 h 1304"/>
                  <a:gd name="T62" fmla="*/ 153 w 1330"/>
                  <a:gd name="T63" fmla="*/ 147 h 1304"/>
                  <a:gd name="T64" fmla="*/ 314 w 1330"/>
                  <a:gd name="T65" fmla="*/ 43 h 1304"/>
                  <a:gd name="T66" fmla="*/ 531 w 1330"/>
                  <a:gd name="T67" fmla="*/ 0 h 1304"/>
                  <a:gd name="T68" fmla="*/ 782 w 1330"/>
                  <a:gd name="T69" fmla="*/ 15 h 1304"/>
                  <a:gd name="T70" fmla="*/ 949 w 1330"/>
                  <a:gd name="T71" fmla="*/ 78 h 1304"/>
                  <a:gd name="T72" fmla="*/ 1038 w 1330"/>
                  <a:gd name="T73" fmla="*/ 167 h 1304"/>
                  <a:gd name="T74" fmla="*/ 1085 w 1330"/>
                  <a:gd name="T75" fmla="*/ 269 h 1304"/>
                  <a:gd name="T76" fmla="*/ 1102 w 1330"/>
                  <a:gd name="T77" fmla="*/ 1112 h 1304"/>
                  <a:gd name="T78" fmla="*/ 1118 w 1330"/>
                  <a:gd name="T79" fmla="*/ 1208 h 1304"/>
                  <a:gd name="T80" fmla="*/ 1167 w 1330"/>
                  <a:gd name="T81" fmla="*/ 1247 h 1304"/>
                  <a:gd name="T82" fmla="*/ 1244 w 1330"/>
                  <a:gd name="T83" fmla="*/ 1241 h 1304"/>
                  <a:gd name="T84" fmla="*/ 1330 w 1330"/>
                  <a:gd name="T85" fmla="*/ 1220 h 1304"/>
                  <a:gd name="T86" fmla="*/ 1266 w 1330"/>
                  <a:gd name="T87" fmla="*/ 1277 h 1304"/>
                  <a:gd name="T88" fmla="*/ 747 w 1330"/>
                  <a:gd name="T89" fmla="*/ 558 h 1304"/>
                  <a:gd name="T90" fmla="*/ 703 w 1330"/>
                  <a:gd name="T91" fmla="*/ 607 h 1304"/>
                  <a:gd name="T92" fmla="*/ 509 w 1330"/>
                  <a:gd name="T93" fmla="*/ 703 h 1304"/>
                  <a:gd name="T94" fmla="*/ 409 w 1330"/>
                  <a:gd name="T95" fmla="*/ 803 h 1304"/>
                  <a:gd name="T96" fmla="*/ 365 w 1330"/>
                  <a:gd name="T97" fmla="*/ 968 h 1304"/>
                  <a:gd name="T98" fmla="*/ 377 w 1330"/>
                  <a:gd name="T99" fmla="*/ 1094 h 1304"/>
                  <a:gd name="T100" fmla="*/ 432 w 1330"/>
                  <a:gd name="T101" fmla="*/ 1194 h 1304"/>
                  <a:gd name="T102" fmla="*/ 493 w 1330"/>
                  <a:gd name="T103" fmla="*/ 1233 h 1304"/>
                  <a:gd name="T104" fmla="*/ 607 w 1330"/>
                  <a:gd name="T105" fmla="*/ 1231 h 1304"/>
                  <a:gd name="T106" fmla="*/ 690 w 1330"/>
                  <a:gd name="T107" fmla="*/ 1170 h 1304"/>
                  <a:gd name="T108" fmla="*/ 735 w 1330"/>
                  <a:gd name="T109" fmla="*/ 1076 h 1304"/>
                  <a:gd name="T110" fmla="*/ 747 w 1330"/>
                  <a:gd name="T111" fmla="*/ 558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30" h="1304">
                    <a:moveTo>
                      <a:pt x="1214" y="1292"/>
                    </a:moveTo>
                    <a:lnTo>
                      <a:pt x="1214" y="1292"/>
                    </a:lnTo>
                    <a:lnTo>
                      <a:pt x="1177" y="1296"/>
                    </a:lnTo>
                    <a:lnTo>
                      <a:pt x="1142" y="1300"/>
                    </a:lnTo>
                    <a:lnTo>
                      <a:pt x="1106" y="1302"/>
                    </a:lnTo>
                    <a:lnTo>
                      <a:pt x="1073" y="1304"/>
                    </a:lnTo>
                    <a:lnTo>
                      <a:pt x="1073" y="1304"/>
                    </a:lnTo>
                    <a:lnTo>
                      <a:pt x="1038" y="1302"/>
                    </a:lnTo>
                    <a:lnTo>
                      <a:pt x="1004" y="1300"/>
                    </a:lnTo>
                    <a:lnTo>
                      <a:pt x="975" y="1296"/>
                    </a:lnTo>
                    <a:lnTo>
                      <a:pt x="945" y="1290"/>
                    </a:lnTo>
                    <a:lnTo>
                      <a:pt x="920" y="1282"/>
                    </a:lnTo>
                    <a:lnTo>
                      <a:pt x="896" y="1275"/>
                    </a:lnTo>
                    <a:lnTo>
                      <a:pt x="876" y="1265"/>
                    </a:lnTo>
                    <a:lnTo>
                      <a:pt x="857" y="1251"/>
                    </a:lnTo>
                    <a:lnTo>
                      <a:pt x="857" y="1251"/>
                    </a:lnTo>
                    <a:lnTo>
                      <a:pt x="841" y="1239"/>
                    </a:lnTo>
                    <a:lnTo>
                      <a:pt x="825" y="1223"/>
                    </a:lnTo>
                    <a:lnTo>
                      <a:pt x="812" y="1208"/>
                    </a:lnTo>
                    <a:lnTo>
                      <a:pt x="800" y="1190"/>
                    </a:lnTo>
                    <a:lnTo>
                      <a:pt x="790" y="1172"/>
                    </a:lnTo>
                    <a:lnTo>
                      <a:pt x="782" y="1153"/>
                    </a:lnTo>
                    <a:lnTo>
                      <a:pt x="774" y="1131"/>
                    </a:lnTo>
                    <a:lnTo>
                      <a:pt x="770" y="1110"/>
                    </a:lnTo>
                    <a:lnTo>
                      <a:pt x="764" y="1110"/>
                    </a:lnTo>
                    <a:lnTo>
                      <a:pt x="764" y="1110"/>
                    </a:lnTo>
                    <a:lnTo>
                      <a:pt x="753" y="1137"/>
                    </a:lnTo>
                    <a:lnTo>
                      <a:pt x="739" y="1161"/>
                    </a:lnTo>
                    <a:lnTo>
                      <a:pt x="725" y="1184"/>
                    </a:lnTo>
                    <a:lnTo>
                      <a:pt x="709" y="1204"/>
                    </a:lnTo>
                    <a:lnTo>
                      <a:pt x="694" y="1223"/>
                    </a:lnTo>
                    <a:lnTo>
                      <a:pt x="676" y="1239"/>
                    </a:lnTo>
                    <a:lnTo>
                      <a:pt x="658" y="1253"/>
                    </a:lnTo>
                    <a:lnTo>
                      <a:pt x="639" y="1263"/>
                    </a:lnTo>
                    <a:lnTo>
                      <a:pt x="639" y="1263"/>
                    </a:lnTo>
                    <a:lnTo>
                      <a:pt x="617" y="1273"/>
                    </a:lnTo>
                    <a:lnTo>
                      <a:pt x="593" y="1280"/>
                    </a:lnTo>
                    <a:lnTo>
                      <a:pt x="568" y="1288"/>
                    </a:lnTo>
                    <a:lnTo>
                      <a:pt x="540" y="1294"/>
                    </a:lnTo>
                    <a:lnTo>
                      <a:pt x="509" y="1298"/>
                    </a:lnTo>
                    <a:lnTo>
                      <a:pt x="477" y="1300"/>
                    </a:lnTo>
                    <a:lnTo>
                      <a:pt x="442" y="1302"/>
                    </a:lnTo>
                    <a:lnTo>
                      <a:pt x="407" y="1304"/>
                    </a:lnTo>
                    <a:lnTo>
                      <a:pt x="407" y="1304"/>
                    </a:lnTo>
                    <a:lnTo>
                      <a:pt x="371" y="1302"/>
                    </a:lnTo>
                    <a:lnTo>
                      <a:pt x="336" y="1300"/>
                    </a:lnTo>
                    <a:lnTo>
                      <a:pt x="301" y="1296"/>
                    </a:lnTo>
                    <a:lnTo>
                      <a:pt x="265" y="1288"/>
                    </a:lnTo>
                    <a:lnTo>
                      <a:pt x="265" y="1288"/>
                    </a:lnTo>
                    <a:lnTo>
                      <a:pt x="230" y="1280"/>
                    </a:lnTo>
                    <a:lnTo>
                      <a:pt x="196" y="1271"/>
                    </a:lnTo>
                    <a:lnTo>
                      <a:pt x="165" y="1259"/>
                    </a:lnTo>
                    <a:lnTo>
                      <a:pt x="134" y="1243"/>
                    </a:lnTo>
                    <a:lnTo>
                      <a:pt x="134" y="1243"/>
                    </a:lnTo>
                    <a:lnTo>
                      <a:pt x="106" y="1225"/>
                    </a:lnTo>
                    <a:lnTo>
                      <a:pt x="81" y="1206"/>
                    </a:lnTo>
                    <a:lnTo>
                      <a:pt x="57" y="1182"/>
                    </a:lnTo>
                    <a:lnTo>
                      <a:pt x="37" y="1157"/>
                    </a:lnTo>
                    <a:lnTo>
                      <a:pt x="37" y="1157"/>
                    </a:lnTo>
                    <a:lnTo>
                      <a:pt x="27" y="1141"/>
                    </a:lnTo>
                    <a:lnTo>
                      <a:pt x="22" y="1127"/>
                    </a:lnTo>
                    <a:lnTo>
                      <a:pt x="14" y="1112"/>
                    </a:lnTo>
                    <a:lnTo>
                      <a:pt x="10" y="1094"/>
                    </a:lnTo>
                    <a:lnTo>
                      <a:pt x="6" y="1076"/>
                    </a:lnTo>
                    <a:lnTo>
                      <a:pt x="2" y="1058"/>
                    </a:lnTo>
                    <a:lnTo>
                      <a:pt x="0" y="1041"/>
                    </a:lnTo>
                    <a:lnTo>
                      <a:pt x="0" y="1021"/>
                    </a:lnTo>
                    <a:lnTo>
                      <a:pt x="0" y="1021"/>
                    </a:lnTo>
                    <a:lnTo>
                      <a:pt x="2" y="980"/>
                    </a:lnTo>
                    <a:lnTo>
                      <a:pt x="8" y="945"/>
                    </a:lnTo>
                    <a:lnTo>
                      <a:pt x="12" y="927"/>
                    </a:lnTo>
                    <a:lnTo>
                      <a:pt x="18" y="911"/>
                    </a:lnTo>
                    <a:lnTo>
                      <a:pt x="25" y="895"/>
                    </a:lnTo>
                    <a:lnTo>
                      <a:pt x="33" y="882"/>
                    </a:lnTo>
                    <a:lnTo>
                      <a:pt x="33" y="882"/>
                    </a:lnTo>
                    <a:lnTo>
                      <a:pt x="51" y="854"/>
                    </a:lnTo>
                    <a:lnTo>
                      <a:pt x="71" y="831"/>
                    </a:lnTo>
                    <a:lnTo>
                      <a:pt x="92" y="807"/>
                    </a:lnTo>
                    <a:lnTo>
                      <a:pt x="118" y="787"/>
                    </a:lnTo>
                    <a:lnTo>
                      <a:pt x="118" y="787"/>
                    </a:lnTo>
                    <a:lnTo>
                      <a:pt x="145" y="768"/>
                    </a:lnTo>
                    <a:lnTo>
                      <a:pt x="175" y="752"/>
                    </a:lnTo>
                    <a:lnTo>
                      <a:pt x="206" y="736"/>
                    </a:lnTo>
                    <a:lnTo>
                      <a:pt x="238" y="725"/>
                    </a:lnTo>
                    <a:lnTo>
                      <a:pt x="238" y="725"/>
                    </a:lnTo>
                    <a:lnTo>
                      <a:pt x="306" y="701"/>
                    </a:lnTo>
                    <a:lnTo>
                      <a:pt x="377" y="677"/>
                    </a:lnTo>
                    <a:lnTo>
                      <a:pt x="377" y="677"/>
                    </a:lnTo>
                    <a:lnTo>
                      <a:pt x="483" y="646"/>
                    </a:lnTo>
                    <a:lnTo>
                      <a:pt x="568" y="618"/>
                    </a:lnTo>
                    <a:lnTo>
                      <a:pt x="568" y="618"/>
                    </a:lnTo>
                    <a:lnTo>
                      <a:pt x="601" y="607"/>
                    </a:lnTo>
                    <a:lnTo>
                      <a:pt x="633" y="593"/>
                    </a:lnTo>
                    <a:lnTo>
                      <a:pt x="658" y="581"/>
                    </a:lnTo>
                    <a:lnTo>
                      <a:pt x="680" y="567"/>
                    </a:lnTo>
                    <a:lnTo>
                      <a:pt x="680" y="567"/>
                    </a:lnTo>
                    <a:lnTo>
                      <a:pt x="700" y="554"/>
                    </a:lnTo>
                    <a:lnTo>
                      <a:pt x="715" y="538"/>
                    </a:lnTo>
                    <a:lnTo>
                      <a:pt x="727" y="522"/>
                    </a:lnTo>
                    <a:lnTo>
                      <a:pt x="737" y="504"/>
                    </a:lnTo>
                    <a:lnTo>
                      <a:pt x="737" y="504"/>
                    </a:lnTo>
                    <a:lnTo>
                      <a:pt x="743" y="487"/>
                    </a:lnTo>
                    <a:lnTo>
                      <a:pt x="749" y="465"/>
                    </a:lnTo>
                    <a:lnTo>
                      <a:pt x="751" y="442"/>
                    </a:lnTo>
                    <a:lnTo>
                      <a:pt x="753" y="416"/>
                    </a:lnTo>
                    <a:lnTo>
                      <a:pt x="753" y="241"/>
                    </a:lnTo>
                    <a:lnTo>
                      <a:pt x="753" y="241"/>
                    </a:lnTo>
                    <a:lnTo>
                      <a:pt x="753" y="224"/>
                    </a:lnTo>
                    <a:lnTo>
                      <a:pt x="751" y="204"/>
                    </a:lnTo>
                    <a:lnTo>
                      <a:pt x="747" y="186"/>
                    </a:lnTo>
                    <a:lnTo>
                      <a:pt x="743" y="169"/>
                    </a:lnTo>
                    <a:lnTo>
                      <a:pt x="737" y="151"/>
                    </a:lnTo>
                    <a:lnTo>
                      <a:pt x="731" y="135"/>
                    </a:lnTo>
                    <a:lnTo>
                      <a:pt x="723" y="117"/>
                    </a:lnTo>
                    <a:lnTo>
                      <a:pt x="715" y="102"/>
                    </a:lnTo>
                    <a:lnTo>
                      <a:pt x="715" y="102"/>
                    </a:lnTo>
                    <a:lnTo>
                      <a:pt x="705" y="88"/>
                    </a:lnTo>
                    <a:lnTo>
                      <a:pt x="692" y="74"/>
                    </a:lnTo>
                    <a:lnTo>
                      <a:pt x="678" y="64"/>
                    </a:lnTo>
                    <a:lnTo>
                      <a:pt x="662" y="55"/>
                    </a:lnTo>
                    <a:lnTo>
                      <a:pt x="643" y="49"/>
                    </a:lnTo>
                    <a:lnTo>
                      <a:pt x="623" y="43"/>
                    </a:lnTo>
                    <a:lnTo>
                      <a:pt x="599" y="41"/>
                    </a:lnTo>
                    <a:lnTo>
                      <a:pt x="576" y="39"/>
                    </a:lnTo>
                    <a:lnTo>
                      <a:pt x="576" y="39"/>
                    </a:lnTo>
                    <a:lnTo>
                      <a:pt x="542" y="41"/>
                    </a:lnTo>
                    <a:lnTo>
                      <a:pt x="513" y="47"/>
                    </a:lnTo>
                    <a:lnTo>
                      <a:pt x="485" y="57"/>
                    </a:lnTo>
                    <a:lnTo>
                      <a:pt x="460" y="68"/>
                    </a:lnTo>
                    <a:lnTo>
                      <a:pt x="460" y="68"/>
                    </a:lnTo>
                    <a:lnTo>
                      <a:pt x="450" y="78"/>
                    </a:lnTo>
                    <a:lnTo>
                      <a:pt x="440" y="88"/>
                    </a:lnTo>
                    <a:lnTo>
                      <a:pt x="430" y="98"/>
                    </a:lnTo>
                    <a:lnTo>
                      <a:pt x="424" y="112"/>
                    </a:lnTo>
                    <a:lnTo>
                      <a:pt x="419" y="125"/>
                    </a:lnTo>
                    <a:lnTo>
                      <a:pt x="415" y="143"/>
                    </a:lnTo>
                    <a:lnTo>
                      <a:pt x="413" y="161"/>
                    </a:lnTo>
                    <a:lnTo>
                      <a:pt x="413" y="178"/>
                    </a:lnTo>
                    <a:lnTo>
                      <a:pt x="413" y="178"/>
                    </a:lnTo>
                    <a:lnTo>
                      <a:pt x="415" y="210"/>
                    </a:lnTo>
                    <a:lnTo>
                      <a:pt x="415" y="210"/>
                    </a:lnTo>
                    <a:lnTo>
                      <a:pt x="420" y="257"/>
                    </a:lnTo>
                    <a:lnTo>
                      <a:pt x="420" y="257"/>
                    </a:lnTo>
                    <a:lnTo>
                      <a:pt x="426" y="304"/>
                    </a:lnTo>
                    <a:lnTo>
                      <a:pt x="426" y="304"/>
                    </a:lnTo>
                    <a:lnTo>
                      <a:pt x="428" y="338"/>
                    </a:lnTo>
                    <a:lnTo>
                      <a:pt x="428" y="338"/>
                    </a:lnTo>
                    <a:lnTo>
                      <a:pt x="428" y="357"/>
                    </a:lnTo>
                    <a:lnTo>
                      <a:pt x="424" y="375"/>
                    </a:lnTo>
                    <a:lnTo>
                      <a:pt x="419" y="391"/>
                    </a:lnTo>
                    <a:lnTo>
                      <a:pt x="409" y="404"/>
                    </a:lnTo>
                    <a:lnTo>
                      <a:pt x="409" y="404"/>
                    </a:lnTo>
                    <a:lnTo>
                      <a:pt x="399" y="416"/>
                    </a:lnTo>
                    <a:lnTo>
                      <a:pt x="387" y="424"/>
                    </a:lnTo>
                    <a:lnTo>
                      <a:pt x="375" y="434"/>
                    </a:lnTo>
                    <a:lnTo>
                      <a:pt x="362" y="440"/>
                    </a:lnTo>
                    <a:lnTo>
                      <a:pt x="362" y="440"/>
                    </a:lnTo>
                    <a:lnTo>
                      <a:pt x="348" y="446"/>
                    </a:lnTo>
                    <a:lnTo>
                      <a:pt x="334" y="448"/>
                    </a:lnTo>
                    <a:lnTo>
                      <a:pt x="320" y="451"/>
                    </a:lnTo>
                    <a:lnTo>
                      <a:pt x="305" y="451"/>
                    </a:lnTo>
                    <a:lnTo>
                      <a:pt x="305" y="451"/>
                    </a:lnTo>
                    <a:lnTo>
                      <a:pt x="253" y="453"/>
                    </a:lnTo>
                    <a:lnTo>
                      <a:pt x="253" y="453"/>
                    </a:lnTo>
                    <a:lnTo>
                      <a:pt x="226" y="453"/>
                    </a:lnTo>
                    <a:lnTo>
                      <a:pt x="196" y="449"/>
                    </a:lnTo>
                    <a:lnTo>
                      <a:pt x="196" y="449"/>
                    </a:lnTo>
                    <a:lnTo>
                      <a:pt x="181" y="448"/>
                    </a:lnTo>
                    <a:lnTo>
                      <a:pt x="167" y="442"/>
                    </a:lnTo>
                    <a:lnTo>
                      <a:pt x="155" y="436"/>
                    </a:lnTo>
                    <a:lnTo>
                      <a:pt x="143" y="430"/>
                    </a:lnTo>
                    <a:lnTo>
                      <a:pt x="143" y="430"/>
                    </a:lnTo>
                    <a:lnTo>
                      <a:pt x="132" y="420"/>
                    </a:lnTo>
                    <a:lnTo>
                      <a:pt x="122" y="410"/>
                    </a:lnTo>
                    <a:lnTo>
                      <a:pt x="112" y="398"/>
                    </a:lnTo>
                    <a:lnTo>
                      <a:pt x="104" y="385"/>
                    </a:lnTo>
                    <a:lnTo>
                      <a:pt x="104" y="385"/>
                    </a:lnTo>
                    <a:lnTo>
                      <a:pt x="98" y="369"/>
                    </a:lnTo>
                    <a:lnTo>
                      <a:pt x="92" y="351"/>
                    </a:lnTo>
                    <a:lnTo>
                      <a:pt x="90" y="332"/>
                    </a:lnTo>
                    <a:lnTo>
                      <a:pt x="88" y="308"/>
                    </a:lnTo>
                    <a:lnTo>
                      <a:pt x="88" y="308"/>
                    </a:lnTo>
                    <a:lnTo>
                      <a:pt x="88" y="290"/>
                    </a:lnTo>
                    <a:lnTo>
                      <a:pt x="90" y="273"/>
                    </a:lnTo>
                    <a:lnTo>
                      <a:pt x="94" y="255"/>
                    </a:lnTo>
                    <a:lnTo>
                      <a:pt x="98" y="237"/>
                    </a:lnTo>
                    <a:lnTo>
                      <a:pt x="104" y="222"/>
                    </a:lnTo>
                    <a:lnTo>
                      <a:pt x="112" y="206"/>
                    </a:lnTo>
                    <a:lnTo>
                      <a:pt x="120" y="190"/>
                    </a:lnTo>
                    <a:lnTo>
                      <a:pt x="130" y="174"/>
                    </a:lnTo>
                    <a:lnTo>
                      <a:pt x="130" y="174"/>
                    </a:lnTo>
                    <a:lnTo>
                      <a:pt x="153" y="147"/>
                    </a:lnTo>
                    <a:lnTo>
                      <a:pt x="179" y="121"/>
                    </a:lnTo>
                    <a:lnTo>
                      <a:pt x="208" y="98"/>
                    </a:lnTo>
                    <a:lnTo>
                      <a:pt x="240" y="78"/>
                    </a:lnTo>
                    <a:lnTo>
                      <a:pt x="240" y="78"/>
                    </a:lnTo>
                    <a:lnTo>
                      <a:pt x="275" y="59"/>
                    </a:lnTo>
                    <a:lnTo>
                      <a:pt x="314" y="43"/>
                    </a:lnTo>
                    <a:lnTo>
                      <a:pt x="354" y="31"/>
                    </a:lnTo>
                    <a:lnTo>
                      <a:pt x="397" y="19"/>
                    </a:lnTo>
                    <a:lnTo>
                      <a:pt x="397" y="19"/>
                    </a:lnTo>
                    <a:lnTo>
                      <a:pt x="440" y="9"/>
                    </a:lnTo>
                    <a:lnTo>
                      <a:pt x="485" y="4"/>
                    </a:lnTo>
                    <a:lnTo>
                      <a:pt x="531" y="0"/>
                    </a:lnTo>
                    <a:lnTo>
                      <a:pt x="578" y="0"/>
                    </a:lnTo>
                    <a:lnTo>
                      <a:pt x="578" y="0"/>
                    </a:lnTo>
                    <a:lnTo>
                      <a:pt x="631" y="0"/>
                    </a:lnTo>
                    <a:lnTo>
                      <a:pt x="684" y="4"/>
                    </a:lnTo>
                    <a:lnTo>
                      <a:pt x="733" y="9"/>
                    </a:lnTo>
                    <a:lnTo>
                      <a:pt x="782" y="15"/>
                    </a:lnTo>
                    <a:lnTo>
                      <a:pt x="782" y="15"/>
                    </a:lnTo>
                    <a:lnTo>
                      <a:pt x="829" y="27"/>
                    </a:lnTo>
                    <a:lnTo>
                      <a:pt x="872" y="41"/>
                    </a:lnTo>
                    <a:lnTo>
                      <a:pt x="912" y="59"/>
                    </a:lnTo>
                    <a:lnTo>
                      <a:pt x="949" y="78"/>
                    </a:lnTo>
                    <a:lnTo>
                      <a:pt x="949" y="78"/>
                    </a:lnTo>
                    <a:lnTo>
                      <a:pt x="965" y="92"/>
                    </a:lnTo>
                    <a:lnTo>
                      <a:pt x="983" y="104"/>
                    </a:lnTo>
                    <a:lnTo>
                      <a:pt x="996" y="117"/>
                    </a:lnTo>
                    <a:lnTo>
                      <a:pt x="1012" y="133"/>
                    </a:lnTo>
                    <a:lnTo>
                      <a:pt x="1026" y="149"/>
                    </a:lnTo>
                    <a:lnTo>
                      <a:pt x="1038" y="167"/>
                    </a:lnTo>
                    <a:lnTo>
                      <a:pt x="1049" y="184"/>
                    </a:lnTo>
                    <a:lnTo>
                      <a:pt x="1059" y="204"/>
                    </a:lnTo>
                    <a:lnTo>
                      <a:pt x="1059" y="204"/>
                    </a:lnTo>
                    <a:lnTo>
                      <a:pt x="1069" y="224"/>
                    </a:lnTo>
                    <a:lnTo>
                      <a:pt x="1079" y="245"/>
                    </a:lnTo>
                    <a:lnTo>
                      <a:pt x="1085" y="269"/>
                    </a:lnTo>
                    <a:lnTo>
                      <a:pt x="1091" y="292"/>
                    </a:lnTo>
                    <a:lnTo>
                      <a:pt x="1097" y="318"/>
                    </a:lnTo>
                    <a:lnTo>
                      <a:pt x="1098" y="345"/>
                    </a:lnTo>
                    <a:lnTo>
                      <a:pt x="1100" y="373"/>
                    </a:lnTo>
                    <a:lnTo>
                      <a:pt x="1102" y="402"/>
                    </a:lnTo>
                    <a:lnTo>
                      <a:pt x="1102" y="1112"/>
                    </a:lnTo>
                    <a:lnTo>
                      <a:pt x="1102" y="1112"/>
                    </a:lnTo>
                    <a:lnTo>
                      <a:pt x="1102" y="1139"/>
                    </a:lnTo>
                    <a:lnTo>
                      <a:pt x="1106" y="1163"/>
                    </a:lnTo>
                    <a:lnTo>
                      <a:pt x="1110" y="1186"/>
                    </a:lnTo>
                    <a:lnTo>
                      <a:pt x="1118" y="1208"/>
                    </a:lnTo>
                    <a:lnTo>
                      <a:pt x="1118" y="1208"/>
                    </a:lnTo>
                    <a:lnTo>
                      <a:pt x="1122" y="1218"/>
                    </a:lnTo>
                    <a:lnTo>
                      <a:pt x="1128" y="1225"/>
                    </a:lnTo>
                    <a:lnTo>
                      <a:pt x="1136" y="1233"/>
                    </a:lnTo>
                    <a:lnTo>
                      <a:pt x="1146" y="1239"/>
                    </a:lnTo>
                    <a:lnTo>
                      <a:pt x="1155" y="1243"/>
                    </a:lnTo>
                    <a:lnTo>
                      <a:pt x="1167" y="1247"/>
                    </a:lnTo>
                    <a:lnTo>
                      <a:pt x="1181" y="1249"/>
                    </a:lnTo>
                    <a:lnTo>
                      <a:pt x="1197" y="1249"/>
                    </a:lnTo>
                    <a:lnTo>
                      <a:pt x="1197" y="1249"/>
                    </a:lnTo>
                    <a:lnTo>
                      <a:pt x="1214" y="1249"/>
                    </a:lnTo>
                    <a:lnTo>
                      <a:pt x="1230" y="1245"/>
                    </a:lnTo>
                    <a:lnTo>
                      <a:pt x="1244" y="1241"/>
                    </a:lnTo>
                    <a:lnTo>
                      <a:pt x="1258" y="1235"/>
                    </a:lnTo>
                    <a:lnTo>
                      <a:pt x="1258" y="1235"/>
                    </a:lnTo>
                    <a:lnTo>
                      <a:pt x="1269" y="1227"/>
                    </a:lnTo>
                    <a:lnTo>
                      <a:pt x="1281" y="1218"/>
                    </a:lnTo>
                    <a:lnTo>
                      <a:pt x="1305" y="1194"/>
                    </a:lnTo>
                    <a:lnTo>
                      <a:pt x="1330" y="1220"/>
                    </a:lnTo>
                    <a:lnTo>
                      <a:pt x="1330" y="1220"/>
                    </a:lnTo>
                    <a:lnTo>
                      <a:pt x="1321" y="1235"/>
                    </a:lnTo>
                    <a:lnTo>
                      <a:pt x="1309" y="1247"/>
                    </a:lnTo>
                    <a:lnTo>
                      <a:pt x="1295" y="1259"/>
                    </a:lnTo>
                    <a:lnTo>
                      <a:pt x="1281" y="1269"/>
                    </a:lnTo>
                    <a:lnTo>
                      <a:pt x="1266" y="1277"/>
                    </a:lnTo>
                    <a:lnTo>
                      <a:pt x="1250" y="1282"/>
                    </a:lnTo>
                    <a:lnTo>
                      <a:pt x="1232" y="1288"/>
                    </a:lnTo>
                    <a:lnTo>
                      <a:pt x="1214" y="1292"/>
                    </a:lnTo>
                    <a:lnTo>
                      <a:pt x="1214" y="1292"/>
                    </a:lnTo>
                    <a:close/>
                    <a:moveTo>
                      <a:pt x="747" y="558"/>
                    </a:moveTo>
                    <a:lnTo>
                      <a:pt x="747" y="558"/>
                    </a:lnTo>
                    <a:lnTo>
                      <a:pt x="743" y="565"/>
                    </a:lnTo>
                    <a:lnTo>
                      <a:pt x="739" y="573"/>
                    </a:lnTo>
                    <a:lnTo>
                      <a:pt x="725" y="589"/>
                    </a:lnTo>
                    <a:lnTo>
                      <a:pt x="725" y="589"/>
                    </a:lnTo>
                    <a:lnTo>
                      <a:pt x="715" y="599"/>
                    </a:lnTo>
                    <a:lnTo>
                      <a:pt x="703" y="607"/>
                    </a:lnTo>
                    <a:lnTo>
                      <a:pt x="670" y="626"/>
                    </a:lnTo>
                    <a:lnTo>
                      <a:pt x="670" y="626"/>
                    </a:lnTo>
                    <a:lnTo>
                      <a:pt x="560" y="675"/>
                    </a:lnTo>
                    <a:lnTo>
                      <a:pt x="560" y="675"/>
                    </a:lnTo>
                    <a:lnTo>
                      <a:pt x="534" y="689"/>
                    </a:lnTo>
                    <a:lnTo>
                      <a:pt x="509" y="703"/>
                    </a:lnTo>
                    <a:lnTo>
                      <a:pt x="485" y="719"/>
                    </a:lnTo>
                    <a:lnTo>
                      <a:pt x="464" y="736"/>
                    </a:lnTo>
                    <a:lnTo>
                      <a:pt x="464" y="736"/>
                    </a:lnTo>
                    <a:lnTo>
                      <a:pt x="442" y="756"/>
                    </a:lnTo>
                    <a:lnTo>
                      <a:pt x="424" y="780"/>
                    </a:lnTo>
                    <a:lnTo>
                      <a:pt x="409" y="803"/>
                    </a:lnTo>
                    <a:lnTo>
                      <a:pt x="393" y="829"/>
                    </a:lnTo>
                    <a:lnTo>
                      <a:pt x="393" y="829"/>
                    </a:lnTo>
                    <a:lnTo>
                      <a:pt x="381" y="858"/>
                    </a:lnTo>
                    <a:lnTo>
                      <a:pt x="373" y="891"/>
                    </a:lnTo>
                    <a:lnTo>
                      <a:pt x="367" y="927"/>
                    </a:lnTo>
                    <a:lnTo>
                      <a:pt x="365" y="968"/>
                    </a:lnTo>
                    <a:lnTo>
                      <a:pt x="365" y="968"/>
                    </a:lnTo>
                    <a:lnTo>
                      <a:pt x="367" y="1005"/>
                    </a:lnTo>
                    <a:lnTo>
                      <a:pt x="369" y="1049"/>
                    </a:lnTo>
                    <a:lnTo>
                      <a:pt x="369" y="1049"/>
                    </a:lnTo>
                    <a:lnTo>
                      <a:pt x="373" y="1072"/>
                    </a:lnTo>
                    <a:lnTo>
                      <a:pt x="377" y="1094"/>
                    </a:lnTo>
                    <a:lnTo>
                      <a:pt x="385" y="1115"/>
                    </a:lnTo>
                    <a:lnTo>
                      <a:pt x="393" y="1137"/>
                    </a:lnTo>
                    <a:lnTo>
                      <a:pt x="393" y="1137"/>
                    </a:lnTo>
                    <a:lnTo>
                      <a:pt x="403" y="1159"/>
                    </a:lnTo>
                    <a:lnTo>
                      <a:pt x="417" y="1176"/>
                    </a:lnTo>
                    <a:lnTo>
                      <a:pt x="432" y="1194"/>
                    </a:lnTo>
                    <a:lnTo>
                      <a:pt x="450" y="1210"/>
                    </a:lnTo>
                    <a:lnTo>
                      <a:pt x="450" y="1210"/>
                    </a:lnTo>
                    <a:lnTo>
                      <a:pt x="458" y="1218"/>
                    </a:lnTo>
                    <a:lnTo>
                      <a:pt x="470" y="1223"/>
                    </a:lnTo>
                    <a:lnTo>
                      <a:pt x="481" y="1229"/>
                    </a:lnTo>
                    <a:lnTo>
                      <a:pt x="493" y="1233"/>
                    </a:lnTo>
                    <a:lnTo>
                      <a:pt x="521" y="1239"/>
                    </a:lnTo>
                    <a:lnTo>
                      <a:pt x="552" y="1241"/>
                    </a:lnTo>
                    <a:lnTo>
                      <a:pt x="552" y="1241"/>
                    </a:lnTo>
                    <a:lnTo>
                      <a:pt x="570" y="1239"/>
                    </a:lnTo>
                    <a:lnTo>
                      <a:pt x="589" y="1235"/>
                    </a:lnTo>
                    <a:lnTo>
                      <a:pt x="607" y="1231"/>
                    </a:lnTo>
                    <a:lnTo>
                      <a:pt x="625" y="1223"/>
                    </a:lnTo>
                    <a:lnTo>
                      <a:pt x="625" y="1223"/>
                    </a:lnTo>
                    <a:lnTo>
                      <a:pt x="643" y="1214"/>
                    </a:lnTo>
                    <a:lnTo>
                      <a:pt x="658" y="1202"/>
                    </a:lnTo>
                    <a:lnTo>
                      <a:pt x="674" y="1188"/>
                    </a:lnTo>
                    <a:lnTo>
                      <a:pt x="690" y="1170"/>
                    </a:lnTo>
                    <a:lnTo>
                      <a:pt x="690" y="1170"/>
                    </a:lnTo>
                    <a:lnTo>
                      <a:pt x="703" y="1151"/>
                    </a:lnTo>
                    <a:lnTo>
                      <a:pt x="715" y="1129"/>
                    </a:lnTo>
                    <a:lnTo>
                      <a:pt x="725" y="1104"/>
                    </a:lnTo>
                    <a:lnTo>
                      <a:pt x="735" y="1076"/>
                    </a:lnTo>
                    <a:lnTo>
                      <a:pt x="735" y="1076"/>
                    </a:lnTo>
                    <a:lnTo>
                      <a:pt x="743" y="1045"/>
                    </a:lnTo>
                    <a:lnTo>
                      <a:pt x="749" y="1011"/>
                    </a:lnTo>
                    <a:lnTo>
                      <a:pt x="751" y="974"/>
                    </a:lnTo>
                    <a:lnTo>
                      <a:pt x="753" y="935"/>
                    </a:lnTo>
                    <a:lnTo>
                      <a:pt x="753" y="558"/>
                    </a:lnTo>
                    <a:lnTo>
                      <a:pt x="747" y="5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7" name="Freeform 10"/>
              <p:cNvSpPr>
                <a:spLocks noEditPoints="1"/>
              </p:cNvSpPr>
              <p:nvPr/>
            </p:nvSpPr>
            <p:spPr bwMode="auto">
              <a:xfrm>
                <a:off x="6045" y="1127"/>
                <a:ext cx="733" cy="2045"/>
              </a:xfrm>
              <a:custGeom>
                <a:avLst/>
                <a:gdLst>
                  <a:gd name="T0" fmla="*/ 540 w 733"/>
                  <a:gd name="T1" fmla="*/ 2003 h 2045"/>
                  <a:gd name="T2" fmla="*/ 733 w 733"/>
                  <a:gd name="T3" fmla="*/ 2045 h 2045"/>
                  <a:gd name="T4" fmla="*/ 0 w 733"/>
                  <a:gd name="T5" fmla="*/ 2003 h 2045"/>
                  <a:gd name="T6" fmla="*/ 191 w 733"/>
                  <a:gd name="T7" fmla="*/ 856 h 2045"/>
                  <a:gd name="T8" fmla="*/ 0 w 733"/>
                  <a:gd name="T9" fmla="*/ 817 h 2045"/>
                  <a:gd name="T10" fmla="*/ 224 w 733"/>
                  <a:gd name="T11" fmla="*/ 59 h 2045"/>
                  <a:gd name="T12" fmla="*/ 238 w 733"/>
                  <a:gd name="T13" fmla="*/ 45 h 2045"/>
                  <a:gd name="T14" fmla="*/ 271 w 733"/>
                  <a:gd name="T15" fmla="*/ 23 h 2045"/>
                  <a:gd name="T16" fmla="*/ 306 w 733"/>
                  <a:gd name="T17" fmla="*/ 8 h 2045"/>
                  <a:gd name="T18" fmla="*/ 346 w 733"/>
                  <a:gd name="T19" fmla="*/ 0 h 2045"/>
                  <a:gd name="T20" fmla="*/ 365 w 733"/>
                  <a:gd name="T21" fmla="*/ 0 h 2045"/>
                  <a:gd name="T22" fmla="*/ 407 w 733"/>
                  <a:gd name="T23" fmla="*/ 4 h 2045"/>
                  <a:gd name="T24" fmla="*/ 444 w 733"/>
                  <a:gd name="T25" fmla="*/ 13 h 2045"/>
                  <a:gd name="T26" fmla="*/ 477 w 733"/>
                  <a:gd name="T27" fmla="*/ 33 h 2045"/>
                  <a:gd name="T28" fmla="*/ 509 w 733"/>
                  <a:gd name="T29" fmla="*/ 59 h 2045"/>
                  <a:gd name="T30" fmla="*/ 523 w 733"/>
                  <a:gd name="T31" fmla="*/ 74 h 2045"/>
                  <a:gd name="T32" fmla="*/ 546 w 733"/>
                  <a:gd name="T33" fmla="*/ 108 h 2045"/>
                  <a:gd name="T34" fmla="*/ 560 w 733"/>
                  <a:gd name="T35" fmla="*/ 143 h 2045"/>
                  <a:gd name="T36" fmla="*/ 568 w 733"/>
                  <a:gd name="T37" fmla="*/ 182 h 2045"/>
                  <a:gd name="T38" fmla="*/ 570 w 733"/>
                  <a:gd name="T39" fmla="*/ 202 h 2045"/>
                  <a:gd name="T40" fmla="*/ 566 w 733"/>
                  <a:gd name="T41" fmla="*/ 241 h 2045"/>
                  <a:gd name="T42" fmla="*/ 554 w 733"/>
                  <a:gd name="T43" fmla="*/ 279 h 2045"/>
                  <a:gd name="T44" fmla="*/ 534 w 733"/>
                  <a:gd name="T45" fmla="*/ 314 h 2045"/>
                  <a:gd name="T46" fmla="*/ 509 w 733"/>
                  <a:gd name="T47" fmla="*/ 345 h 2045"/>
                  <a:gd name="T48" fmla="*/ 493 w 733"/>
                  <a:gd name="T49" fmla="*/ 359 h 2045"/>
                  <a:gd name="T50" fmla="*/ 462 w 733"/>
                  <a:gd name="T51" fmla="*/ 381 h 2045"/>
                  <a:gd name="T52" fmla="*/ 424 w 733"/>
                  <a:gd name="T53" fmla="*/ 397 h 2045"/>
                  <a:gd name="T54" fmla="*/ 387 w 733"/>
                  <a:gd name="T55" fmla="*/ 404 h 2045"/>
                  <a:gd name="T56" fmla="*/ 365 w 733"/>
                  <a:gd name="T57" fmla="*/ 404 h 2045"/>
                  <a:gd name="T58" fmla="*/ 326 w 733"/>
                  <a:gd name="T59" fmla="*/ 400 h 2045"/>
                  <a:gd name="T60" fmla="*/ 289 w 733"/>
                  <a:gd name="T61" fmla="*/ 391 h 2045"/>
                  <a:gd name="T62" fmla="*/ 255 w 733"/>
                  <a:gd name="T63" fmla="*/ 371 h 2045"/>
                  <a:gd name="T64" fmla="*/ 224 w 733"/>
                  <a:gd name="T65" fmla="*/ 345 h 2045"/>
                  <a:gd name="T66" fmla="*/ 208 w 733"/>
                  <a:gd name="T67" fmla="*/ 330 h 2045"/>
                  <a:gd name="T68" fmla="*/ 187 w 733"/>
                  <a:gd name="T69" fmla="*/ 296 h 2045"/>
                  <a:gd name="T70" fmla="*/ 171 w 733"/>
                  <a:gd name="T71" fmla="*/ 261 h 2045"/>
                  <a:gd name="T72" fmla="*/ 163 w 733"/>
                  <a:gd name="T73" fmla="*/ 222 h 2045"/>
                  <a:gd name="T74" fmla="*/ 163 w 733"/>
                  <a:gd name="T75" fmla="*/ 202 h 2045"/>
                  <a:gd name="T76" fmla="*/ 167 w 733"/>
                  <a:gd name="T77" fmla="*/ 163 h 2045"/>
                  <a:gd name="T78" fmla="*/ 179 w 733"/>
                  <a:gd name="T79" fmla="*/ 125 h 2045"/>
                  <a:gd name="T80" fmla="*/ 196 w 733"/>
                  <a:gd name="T81" fmla="*/ 90 h 2045"/>
                  <a:gd name="T82" fmla="*/ 224 w 733"/>
                  <a:gd name="T83" fmla="*/ 59 h 2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3" h="2045">
                    <a:moveTo>
                      <a:pt x="540" y="817"/>
                    </a:moveTo>
                    <a:lnTo>
                      <a:pt x="540" y="2003"/>
                    </a:lnTo>
                    <a:lnTo>
                      <a:pt x="733" y="2003"/>
                    </a:lnTo>
                    <a:lnTo>
                      <a:pt x="733" y="2045"/>
                    </a:lnTo>
                    <a:lnTo>
                      <a:pt x="0" y="2045"/>
                    </a:lnTo>
                    <a:lnTo>
                      <a:pt x="0" y="2003"/>
                    </a:lnTo>
                    <a:lnTo>
                      <a:pt x="191" y="2003"/>
                    </a:lnTo>
                    <a:lnTo>
                      <a:pt x="191" y="856"/>
                    </a:lnTo>
                    <a:lnTo>
                      <a:pt x="0" y="856"/>
                    </a:lnTo>
                    <a:lnTo>
                      <a:pt x="0" y="817"/>
                    </a:lnTo>
                    <a:lnTo>
                      <a:pt x="540" y="817"/>
                    </a:lnTo>
                    <a:close/>
                    <a:moveTo>
                      <a:pt x="224" y="59"/>
                    </a:moveTo>
                    <a:lnTo>
                      <a:pt x="224" y="59"/>
                    </a:lnTo>
                    <a:lnTo>
                      <a:pt x="238" y="45"/>
                    </a:lnTo>
                    <a:lnTo>
                      <a:pt x="255" y="33"/>
                    </a:lnTo>
                    <a:lnTo>
                      <a:pt x="271" y="23"/>
                    </a:lnTo>
                    <a:lnTo>
                      <a:pt x="289" y="13"/>
                    </a:lnTo>
                    <a:lnTo>
                      <a:pt x="306" y="8"/>
                    </a:lnTo>
                    <a:lnTo>
                      <a:pt x="326" y="4"/>
                    </a:lnTo>
                    <a:lnTo>
                      <a:pt x="346" y="0"/>
                    </a:lnTo>
                    <a:lnTo>
                      <a:pt x="365" y="0"/>
                    </a:lnTo>
                    <a:lnTo>
                      <a:pt x="365" y="0"/>
                    </a:lnTo>
                    <a:lnTo>
                      <a:pt x="387" y="0"/>
                    </a:lnTo>
                    <a:lnTo>
                      <a:pt x="407" y="4"/>
                    </a:lnTo>
                    <a:lnTo>
                      <a:pt x="424" y="8"/>
                    </a:lnTo>
                    <a:lnTo>
                      <a:pt x="444" y="13"/>
                    </a:lnTo>
                    <a:lnTo>
                      <a:pt x="462" y="23"/>
                    </a:lnTo>
                    <a:lnTo>
                      <a:pt x="477" y="33"/>
                    </a:lnTo>
                    <a:lnTo>
                      <a:pt x="493" y="45"/>
                    </a:lnTo>
                    <a:lnTo>
                      <a:pt x="509" y="59"/>
                    </a:lnTo>
                    <a:lnTo>
                      <a:pt x="509" y="59"/>
                    </a:lnTo>
                    <a:lnTo>
                      <a:pt x="523" y="74"/>
                    </a:lnTo>
                    <a:lnTo>
                      <a:pt x="534" y="90"/>
                    </a:lnTo>
                    <a:lnTo>
                      <a:pt x="546" y="108"/>
                    </a:lnTo>
                    <a:lnTo>
                      <a:pt x="554" y="125"/>
                    </a:lnTo>
                    <a:lnTo>
                      <a:pt x="560" y="143"/>
                    </a:lnTo>
                    <a:lnTo>
                      <a:pt x="566" y="163"/>
                    </a:lnTo>
                    <a:lnTo>
                      <a:pt x="568" y="182"/>
                    </a:lnTo>
                    <a:lnTo>
                      <a:pt x="570" y="202"/>
                    </a:lnTo>
                    <a:lnTo>
                      <a:pt x="570" y="202"/>
                    </a:lnTo>
                    <a:lnTo>
                      <a:pt x="568" y="222"/>
                    </a:lnTo>
                    <a:lnTo>
                      <a:pt x="566" y="241"/>
                    </a:lnTo>
                    <a:lnTo>
                      <a:pt x="560" y="261"/>
                    </a:lnTo>
                    <a:lnTo>
                      <a:pt x="554" y="279"/>
                    </a:lnTo>
                    <a:lnTo>
                      <a:pt x="546" y="296"/>
                    </a:lnTo>
                    <a:lnTo>
                      <a:pt x="534" y="314"/>
                    </a:lnTo>
                    <a:lnTo>
                      <a:pt x="523" y="330"/>
                    </a:lnTo>
                    <a:lnTo>
                      <a:pt x="509" y="345"/>
                    </a:lnTo>
                    <a:lnTo>
                      <a:pt x="509" y="345"/>
                    </a:lnTo>
                    <a:lnTo>
                      <a:pt x="493" y="359"/>
                    </a:lnTo>
                    <a:lnTo>
                      <a:pt x="477" y="371"/>
                    </a:lnTo>
                    <a:lnTo>
                      <a:pt x="462" y="381"/>
                    </a:lnTo>
                    <a:lnTo>
                      <a:pt x="444" y="391"/>
                    </a:lnTo>
                    <a:lnTo>
                      <a:pt x="424" y="397"/>
                    </a:lnTo>
                    <a:lnTo>
                      <a:pt x="407" y="400"/>
                    </a:lnTo>
                    <a:lnTo>
                      <a:pt x="387" y="404"/>
                    </a:lnTo>
                    <a:lnTo>
                      <a:pt x="365" y="404"/>
                    </a:lnTo>
                    <a:lnTo>
                      <a:pt x="365" y="404"/>
                    </a:lnTo>
                    <a:lnTo>
                      <a:pt x="346" y="404"/>
                    </a:lnTo>
                    <a:lnTo>
                      <a:pt x="326" y="400"/>
                    </a:lnTo>
                    <a:lnTo>
                      <a:pt x="306" y="397"/>
                    </a:lnTo>
                    <a:lnTo>
                      <a:pt x="289" y="391"/>
                    </a:lnTo>
                    <a:lnTo>
                      <a:pt x="271" y="381"/>
                    </a:lnTo>
                    <a:lnTo>
                      <a:pt x="255" y="371"/>
                    </a:lnTo>
                    <a:lnTo>
                      <a:pt x="238" y="359"/>
                    </a:lnTo>
                    <a:lnTo>
                      <a:pt x="224" y="345"/>
                    </a:lnTo>
                    <a:lnTo>
                      <a:pt x="224" y="345"/>
                    </a:lnTo>
                    <a:lnTo>
                      <a:pt x="208" y="330"/>
                    </a:lnTo>
                    <a:lnTo>
                      <a:pt x="196" y="314"/>
                    </a:lnTo>
                    <a:lnTo>
                      <a:pt x="187" y="296"/>
                    </a:lnTo>
                    <a:lnTo>
                      <a:pt x="179" y="279"/>
                    </a:lnTo>
                    <a:lnTo>
                      <a:pt x="171" y="261"/>
                    </a:lnTo>
                    <a:lnTo>
                      <a:pt x="167" y="241"/>
                    </a:lnTo>
                    <a:lnTo>
                      <a:pt x="163" y="222"/>
                    </a:lnTo>
                    <a:lnTo>
                      <a:pt x="163" y="202"/>
                    </a:lnTo>
                    <a:lnTo>
                      <a:pt x="163" y="202"/>
                    </a:lnTo>
                    <a:lnTo>
                      <a:pt x="163" y="182"/>
                    </a:lnTo>
                    <a:lnTo>
                      <a:pt x="167" y="163"/>
                    </a:lnTo>
                    <a:lnTo>
                      <a:pt x="171" y="143"/>
                    </a:lnTo>
                    <a:lnTo>
                      <a:pt x="179" y="125"/>
                    </a:lnTo>
                    <a:lnTo>
                      <a:pt x="187" y="108"/>
                    </a:lnTo>
                    <a:lnTo>
                      <a:pt x="196" y="90"/>
                    </a:lnTo>
                    <a:lnTo>
                      <a:pt x="208" y="74"/>
                    </a:lnTo>
                    <a:lnTo>
                      <a:pt x="224" y="59"/>
                    </a:lnTo>
                    <a:lnTo>
                      <a:pt x="22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 name="Freeform 11"/>
              <p:cNvSpPr>
                <a:spLocks/>
              </p:cNvSpPr>
              <p:nvPr/>
            </p:nvSpPr>
            <p:spPr bwMode="auto">
              <a:xfrm>
                <a:off x="6947" y="1109"/>
                <a:ext cx="731" cy="2063"/>
              </a:xfrm>
              <a:custGeom>
                <a:avLst/>
                <a:gdLst>
                  <a:gd name="T0" fmla="*/ 540 w 731"/>
                  <a:gd name="T1" fmla="*/ 0 h 2063"/>
                  <a:gd name="T2" fmla="*/ 540 w 731"/>
                  <a:gd name="T3" fmla="*/ 2021 h 2063"/>
                  <a:gd name="T4" fmla="*/ 731 w 731"/>
                  <a:gd name="T5" fmla="*/ 2021 h 2063"/>
                  <a:gd name="T6" fmla="*/ 731 w 731"/>
                  <a:gd name="T7" fmla="*/ 2063 h 2063"/>
                  <a:gd name="T8" fmla="*/ 0 w 731"/>
                  <a:gd name="T9" fmla="*/ 2063 h 2063"/>
                  <a:gd name="T10" fmla="*/ 0 w 731"/>
                  <a:gd name="T11" fmla="*/ 2021 h 2063"/>
                  <a:gd name="T12" fmla="*/ 191 w 731"/>
                  <a:gd name="T13" fmla="*/ 2021 h 2063"/>
                  <a:gd name="T14" fmla="*/ 191 w 731"/>
                  <a:gd name="T15" fmla="*/ 39 h 2063"/>
                  <a:gd name="T16" fmla="*/ 0 w 731"/>
                  <a:gd name="T17" fmla="*/ 39 h 2063"/>
                  <a:gd name="T18" fmla="*/ 0 w 731"/>
                  <a:gd name="T19" fmla="*/ 0 h 2063"/>
                  <a:gd name="T20" fmla="*/ 540 w 731"/>
                  <a:gd name="T21" fmla="*/ 0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1" h="2063">
                    <a:moveTo>
                      <a:pt x="540" y="0"/>
                    </a:moveTo>
                    <a:lnTo>
                      <a:pt x="540" y="2021"/>
                    </a:lnTo>
                    <a:lnTo>
                      <a:pt x="731" y="2021"/>
                    </a:lnTo>
                    <a:lnTo>
                      <a:pt x="731" y="2063"/>
                    </a:lnTo>
                    <a:lnTo>
                      <a:pt x="0" y="2063"/>
                    </a:lnTo>
                    <a:lnTo>
                      <a:pt x="0" y="2021"/>
                    </a:lnTo>
                    <a:lnTo>
                      <a:pt x="191" y="2021"/>
                    </a:lnTo>
                    <a:lnTo>
                      <a:pt x="191" y="39"/>
                    </a:lnTo>
                    <a:lnTo>
                      <a:pt x="0" y="39"/>
                    </a:lnTo>
                    <a:lnTo>
                      <a:pt x="0" y="0"/>
                    </a:lnTo>
                    <a:lnTo>
                      <a:pt x="5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905" name="Group 904"/>
          <p:cNvGrpSpPr/>
          <p:nvPr/>
        </p:nvGrpSpPr>
        <p:grpSpPr>
          <a:xfrm rot="15010402" flipH="1">
            <a:off x="1816615" y="2490940"/>
            <a:ext cx="120829" cy="216282"/>
            <a:chOff x="2687372" y="3149601"/>
            <a:chExt cx="81465" cy="132564"/>
          </a:xfrm>
          <a:solidFill>
            <a:schemeClr val="accent2"/>
          </a:solidFill>
        </p:grpSpPr>
        <p:sp>
          <p:nvSpPr>
            <p:cNvPr id="906"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07"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08"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09"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10"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11"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926" name="Rectangle 2025"/>
          <p:cNvSpPr>
            <a:spLocks noChangeArrowheads="1"/>
          </p:cNvSpPr>
          <p:nvPr/>
        </p:nvSpPr>
        <p:spPr bwMode="auto">
          <a:xfrm>
            <a:off x="1322087" y="2912830"/>
            <a:ext cx="484927" cy="22515"/>
          </a:xfrm>
          <a:prstGeom prst="rect">
            <a:avLst/>
          </a:pr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6" name="Group 15"/>
          <p:cNvGrpSpPr/>
          <p:nvPr/>
        </p:nvGrpSpPr>
        <p:grpSpPr>
          <a:xfrm>
            <a:off x="1630286" y="2777583"/>
            <a:ext cx="118243" cy="110677"/>
            <a:chOff x="1638539" y="2742604"/>
            <a:chExt cx="88838" cy="83153"/>
          </a:xfrm>
        </p:grpSpPr>
        <p:sp>
          <p:nvSpPr>
            <p:cNvPr id="925" name="Freeform 1952"/>
            <p:cNvSpPr>
              <a:spLocks/>
            </p:cNvSpPr>
            <p:nvPr/>
          </p:nvSpPr>
          <p:spPr bwMode="auto">
            <a:xfrm>
              <a:off x="1659150" y="2742604"/>
              <a:ext cx="49749" cy="49039"/>
            </a:xfrm>
            <a:custGeom>
              <a:avLst/>
              <a:gdLst>
                <a:gd name="T0" fmla="*/ 153 w 415"/>
                <a:gd name="T1" fmla="*/ 7 h 413"/>
                <a:gd name="T2" fmla="*/ 182 w 415"/>
                <a:gd name="T3" fmla="*/ 1 h 413"/>
                <a:gd name="T4" fmla="*/ 210 w 415"/>
                <a:gd name="T5" fmla="*/ 0 h 413"/>
                <a:gd name="T6" fmla="*/ 237 w 415"/>
                <a:gd name="T7" fmla="*/ 2 h 413"/>
                <a:gd name="T8" fmla="*/ 265 w 415"/>
                <a:gd name="T9" fmla="*/ 9 h 413"/>
                <a:gd name="T10" fmla="*/ 290 w 415"/>
                <a:gd name="T11" fmla="*/ 21 h 413"/>
                <a:gd name="T12" fmla="*/ 315 w 415"/>
                <a:gd name="T13" fmla="*/ 34 h 413"/>
                <a:gd name="T14" fmla="*/ 337 w 415"/>
                <a:gd name="T15" fmla="*/ 51 h 413"/>
                <a:gd name="T16" fmla="*/ 358 w 415"/>
                <a:gd name="T17" fmla="*/ 71 h 413"/>
                <a:gd name="T18" fmla="*/ 376 w 415"/>
                <a:gd name="T19" fmla="*/ 92 h 413"/>
                <a:gd name="T20" fmla="*/ 390 w 415"/>
                <a:gd name="T21" fmla="*/ 116 h 413"/>
                <a:gd name="T22" fmla="*/ 403 w 415"/>
                <a:gd name="T23" fmla="*/ 141 h 413"/>
                <a:gd name="T24" fmla="*/ 411 w 415"/>
                <a:gd name="T25" fmla="*/ 168 h 413"/>
                <a:gd name="T26" fmla="*/ 415 w 415"/>
                <a:gd name="T27" fmla="*/ 194 h 413"/>
                <a:gd name="T28" fmla="*/ 415 w 415"/>
                <a:gd name="T29" fmla="*/ 222 h 413"/>
                <a:gd name="T30" fmla="*/ 410 w 415"/>
                <a:gd name="T31" fmla="*/ 249 h 413"/>
                <a:gd name="T32" fmla="*/ 400 w 415"/>
                <a:gd name="T33" fmla="*/ 277 h 413"/>
                <a:gd name="T34" fmla="*/ 396 w 415"/>
                <a:gd name="T35" fmla="*/ 290 h 413"/>
                <a:gd name="T36" fmla="*/ 383 w 415"/>
                <a:gd name="T37" fmla="*/ 315 h 413"/>
                <a:gd name="T38" fmla="*/ 368 w 415"/>
                <a:gd name="T39" fmla="*/ 337 h 413"/>
                <a:gd name="T40" fmla="*/ 350 w 415"/>
                <a:gd name="T41" fmla="*/ 357 h 413"/>
                <a:gd name="T42" fmla="*/ 329 w 415"/>
                <a:gd name="T43" fmla="*/ 373 h 413"/>
                <a:gd name="T44" fmla="*/ 307 w 415"/>
                <a:gd name="T45" fmla="*/ 387 h 413"/>
                <a:gd name="T46" fmla="*/ 282 w 415"/>
                <a:gd name="T47" fmla="*/ 399 h 413"/>
                <a:gd name="T48" fmla="*/ 256 w 415"/>
                <a:gd name="T49" fmla="*/ 406 h 413"/>
                <a:gd name="T50" fmla="*/ 229 w 415"/>
                <a:gd name="T51" fmla="*/ 411 h 413"/>
                <a:gd name="T52" fmla="*/ 202 w 415"/>
                <a:gd name="T53" fmla="*/ 413 h 413"/>
                <a:gd name="T54" fmla="*/ 176 w 415"/>
                <a:gd name="T55" fmla="*/ 411 h 413"/>
                <a:gd name="T56" fmla="*/ 149 w 415"/>
                <a:gd name="T57" fmla="*/ 406 h 413"/>
                <a:gd name="T58" fmla="*/ 124 w 415"/>
                <a:gd name="T59" fmla="*/ 398 h 413"/>
                <a:gd name="T60" fmla="*/ 100 w 415"/>
                <a:gd name="T61" fmla="*/ 386 h 413"/>
                <a:gd name="T62" fmla="*/ 79 w 415"/>
                <a:gd name="T63" fmla="*/ 371 h 413"/>
                <a:gd name="T64" fmla="*/ 58 w 415"/>
                <a:gd name="T65" fmla="*/ 352 h 413"/>
                <a:gd name="T66" fmla="*/ 49 w 415"/>
                <a:gd name="T67" fmla="*/ 340 h 413"/>
                <a:gd name="T68" fmla="*/ 33 w 415"/>
                <a:gd name="T69" fmla="*/ 320 h 413"/>
                <a:gd name="T70" fmla="*/ 20 w 415"/>
                <a:gd name="T71" fmla="*/ 297 h 413"/>
                <a:gd name="T72" fmla="*/ 9 w 415"/>
                <a:gd name="T73" fmla="*/ 273 h 413"/>
                <a:gd name="T74" fmla="*/ 3 w 415"/>
                <a:gd name="T75" fmla="*/ 248 h 413"/>
                <a:gd name="T76" fmla="*/ 0 w 415"/>
                <a:gd name="T77" fmla="*/ 223 h 413"/>
                <a:gd name="T78" fmla="*/ 1 w 415"/>
                <a:gd name="T79" fmla="*/ 196 h 413"/>
                <a:gd name="T80" fmla="*/ 4 w 415"/>
                <a:gd name="T81" fmla="*/ 171 h 413"/>
                <a:gd name="T82" fmla="*/ 10 w 415"/>
                <a:gd name="T83" fmla="*/ 145 h 413"/>
                <a:gd name="T84" fmla="*/ 20 w 415"/>
                <a:gd name="T85" fmla="*/ 121 h 413"/>
                <a:gd name="T86" fmla="*/ 32 w 415"/>
                <a:gd name="T87" fmla="*/ 98 h 413"/>
                <a:gd name="T88" fmla="*/ 46 w 415"/>
                <a:gd name="T89" fmla="*/ 77 h 413"/>
                <a:gd name="T90" fmla="*/ 62 w 415"/>
                <a:gd name="T91" fmla="*/ 57 h 413"/>
                <a:gd name="T92" fmla="*/ 82 w 415"/>
                <a:gd name="T93" fmla="*/ 40 h 413"/>
                <a:gd name="T94" fmla="*/ 104 w 415"/>
                <a:gd name="T95" fmla="*/ 26 h 413"/>
                <a:gd name="T96" fmla="*/ 128 w 415"/>
                <a:gd name="T97" fmla="*/ 14 h 413"/>
                <a:gd name="T98" fmla="*/ 153 w 415"/>
                <a:gd name="T99" fmla="*/ 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5" h="413">
                  <a:moveTo>
                    <a:pt x="153" y="7"/>
                  </a:moveTo>
                  <a:lnTo>
                    <a:pt x="153" y="7"/>
                  </a:lnTo>
                  <a:lnTo>
                    <a:pt x="168" y="4"/>
                  </a:lnTo>
                  <a:lnTo>
                    <a:pt x="182" y="1"/>
                  </a:lnTo>
                  <a:lnTo>
                    <a:pt x="196" y="0"/>
                  </a:lnTo>
                  <a:lnTo>
                    <a:pt x="210" y="0"/>
                  </a:lnTo>
                  <a:lnTo>
                    <a:pt x="224" y="0"/>
                  </a:lnTo>
                  <a:lnTo>
                    <a:pt x="237" y="2"/>
                  </a:lnTo>
                  <a:lnTo>
                    <a:pt x="252" y="5"/>
                  </a:lnTo>
                  <a:lnTo>
                    <a:pt x="265" y="9"/>
                  </a:lnTo>
                  <a:lnTo>
                    <a:pt x="278" y="14"/>
                  </a:lnTo>
                  <a:lnTo>
                    <a:pt x="290" y="21"/>
                  </a:lnTo>
                  <a:lnTo>
                    <a:pt x="303" y="27"/>
                  </a:lnTo>
                  <a:lnTo>
                    <a:pt x="315" y="34"/>
                  </a:lnTo>
                  <a:lnTo>
                    <a:pt x="326" y="42"/>
                  </a:lnTo>
                  <a:lnTo>
                    <a:pt x="337" y="51"/>
                  </a:lnTo>
                  <a:lnTo>
                    <a:pt x="349" y="60"/>
                  </a:lnTo>
                  <a:lnTo>
                    <a:pt x="358" y="71"/>
                  </a:lnTo>
                  <a:lnTo>
                    <a:pt x="367" y="81"/>
                  </a:lnTo>
                  <a:lnTo>
                    <a:pt x="376" y="92"/>
                  </a:lnTo>
                  <a:lnTo>
                    <a:pt x="384" y="103"/>
                  </a:lnTo>
                  <a:lnTo>
                    <a:pt x="390" y="116"/>
                  </a:lnTo>
                  <a:lnTo>
                    <a:pt x="398" y="128"/>
                  </a:lnTo>
                  <a:lnTo>
                    <a:pt x="403" y="141"/>
                  </a:lnTo>
                  <a:lnTo>
                    <a:pt x="407" y="154"/>
                  </a:lnTo>
                  <a:lnTo>
                    <a:pt x="411" y="168"/>
                  </a:lnTo>
                  <a:lnTo>
                    <a:pt x="413" y="181"/>
                  </a:lnTo>
                  <a:lnTo>
                    <a:pt x="415" y="194"/>
                  </a:lnTo>
                  <a:lnTo>
                    <a:pt x="415" y="209"/>
                  </a:lnTo>
                  <a:lnTo>
                    <a:pt x="415" y="222"/>
                  </a:lnTo>
                  <a:lnTo>
                    <a:pt x="413" y="236"/>
                  </a:lnTo>
                  <a:lnTo>
                    <a:pt x="410" y="249"/>
                  </a:lnTo>
                  <a:lnTo>
                    <a:pt x="406" y="264"/>
                  </a:lnTo>
                  <a:lnTo>
                    <a:pt x="400" y="277"/>
                  </a:lnTo>
                  <a:lnTo>
                    <a:pt x="400" y="277"/>
                  </a:lnTo>
                  <a:lnTo>
                    <a:pt x="396" y="290"/>
                  </a:lnTo>
                  <a:lnTo>
                    <a:pt x="389" y="304"/>
                  </a:lnTo>
                  <a:lnTo>
                    <a:pt x="383" y="315"/>
                  </a:lnTo>
                  <a:lnTo>
                    <a:pt x="376" y="327"/>
                  </a:lnTo>
                  <a:lnTo>
                    <a:pt x="368" y="337"/>
                  </a:lnTo>
                  <a:lnTo>
                    <a:pt x="359" y="348"/>
                  </a:lnTo>
                  <a:lnTo>
                    <a:pt x="350" y="357"/>
                  </a:lnTo>
                  <a:lnTo>
                    <a:pt x="339" y="366"/>
                  </a:lnTo>
                  <a:lnTo>
                    <a:pt x="329" y="373"/>
                  </a:lnTo>
                  <a:lnTo>
                    <a:pt x="318" y="381"/>
                  </a:lnTo>
                  <a:lnTo>
                    <a:pt x="307" y="387"/>
                  </a:lnTo>
                  <a:lnTo>
                    <a:pt x="294" y="394"/>
                  </a:lnTo>
                  <a:lnTo>
                    <a:pt x="282" y="399"/>
                  </a:lnTo>
                  <a:lnTo>
                    <a:pt x="269" y="403"/>
                  </a:lnTo>
                  <a:lnTo>
                    <a:pt x="256" y="406"/>
                  </a:lnTo>
                  <a:lnTo>
                    <a:pt x="242" y="409"/>
                  </a:lnTo>
                  <a:lnTo>
                    <a:pt x="229" y="411"/>
                  </a:lnTo>
                  <a:lnTo>
                    <a:pt x="216" y="412"/>
                  </a:lnTo>
                  <a:lnTo>
                    <a:pt x="202" y="413"/>
                  </a:lnTo>
                  <a:lnTo>
                    <a:pt x="189" y="412"/>
                  </a:lnTo>
                  <a:lnTo>
                    <a:pt x="176" y="411"/>
                  </a:lnTo>
                  <a:lnTo>
                    <a:pt x="163" y="409"/>
                  </a:lnTo>
                  <a:lnTo>
                    <a:pt x="149" y="406"/>
                  </a:lnTo>
                  <a:lnTo>
                    <a:pt x="137" y="402"/>
                  </a:lnTo>
                  <a:lnTo>
                    <a:pt x="124" y="398"/>
                  </a:lnTo>
                  <a:lnTo>
                    <a:pt x="113" y="393"/>
                  </a:lnTo>
                  <a:lnTo>
                    <a:pt x="100" y="386"/>
                  </a:lnTo>
                  <a:lnTo>
                    <a:pt x="89" y="378"/>
                  </a:lnTo>
                  <a:lnTo>
                    <a:pt x="79" y="371"/>
                  </a:lnTo>
                  <a:lnTo>
                    <a:pt x="69" y="362"/>
                  </a:lnTo>
                  <a:lnTo>
                    <a:pt x="58" y="352"/>
                  </a:lnTo>
                  <a:lnTo>
                    <a:pt x="49" y="340"/>
                  </a:lnTo>
                  <a:lnTo>
                    <a:pt x="49" y="340"/>
                  </a:lnTo>
                  <a:lnTo>
                    <a:pt x="41" y="330"/>
                  </a:lnTo>
                  <a:lnTo>
                    <a:pt x="33" y="320"/>
                  </a:lnTo>
                  <a:lnTo>
                    <a:pt x="26" y="309"/>
                  </a:lnTo>
                  <a:lnTo>
                    <a:pt x="20" y="297"/>
                  </a:lnTo>
                  <a:lnTo>
                    <a:pt x="14" y="285"/>
                  </a:lnTo>
                  <a:lnTo>
                    <a:pt x="9" y="273"/>
                  </a:lnTo>
                  <a:lnTo>
                    <a:pt x="6" y="261"/>
                  </a:lnTo>
                  <a:lnTo>
                    <a:pt x="3" y="248"/>
                  </a:lnTo>
                  <a:lnTo>
                    <a:pt x="1" y="235"/>
                  </a:lnTo>
                  <a:lnTo>
                    <a:pt x="0" y="223"/>
                  </a:lnTo>
                  <a:lnTo>
                    <a:pt x="0" y="210"/>
                  </a:lnTo>
                  <a:lnTo>
                    <a:pt x="1" y="196"/>
                  </a:lnTo>
                  <a:lnTo>
                    <a:pt x="2" y="183"/>
                  </a:lnTo>
                  <a:lnTo>
                    <a:pt x="4" y="171"/>
                  </a:lnTo>
                  <a:lnTo>
                    <a:pt x="7" y="158"/>
                  </a:lnTo>
                  <a:lnTo>
                    <a:pt x="10" y="145"/>
                  </a:lnTo>
                  <a:lnTo>
                    <a:pt x="14" y="133"/>
                  </a:lnTo>
                  <a:lnTo>
                    <a:pt x="20" y="121"/>
                  </a:lnTo>
                  <a:lnTo>
                    <a:pt x="25" y="109"/>
                  </a:lnTo>
                  <a:lnTo>
                    <a:pt x="32" y="98"/>
                  </a:lnTo>
                  <a:lnTo>
                    <a:pt x="38" y="87"/>
                  </a:lnTo>
                  <a:lnTo>
                    <a:pt x="46" y="77"/>
                  </a:lnTo>
                  <a:lnTo>
                    <a:pt x="54" y="67"/>
                  </a:lnTo>
                  <a:lnTo>
                    <a:pt x="62" y="57"/>
                  </a:lnTo>
                  <a:lnTo>
                    <a:pt x="73" y="48"/>
                  </a:lnTo>
                  <a:lnTo>
                    <a:pt x="82" y="40"/>
                  </a:lnTo>
                  <a:lnTo>
                    <a:pt x="93" y="33"/>
                  </a:lnTo>
                  <a:lnTo>
                    <a:pt x="104" y="26"/>
                  </a:lnTo>
                  <a:lnTo>
                    <a:pt x="116" y="20"/>
                  </a:lnTo>
                  <a:lnTo>
                    <a:pt x="128" y="14"/>
                  </a:lnTo>
                  <a:lnTo>
                    <a:pt x="141" y="10"/>
                  </a:lnTo>
                  <a:lnTo>
                    <a:pt x="153" y="7"/>
                  </a:lnTo>
                  <a:lnTo>
                    <a:pt x="153" y="7"/>
                  </a:lnTo>
                  <a:close/>
                </a:path>
              </a:pathLst>
            </a:custGeom>
            <a:solidFill>
              <a:schemeClr val="accent5">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927" name="Freeform 2029"/>
            <p:cNvSpPr>
              <a:spLocks/>
            </p:cNvSpPr>
            <p:nvPr/>
          </p:nvSpPr>
          <p:spPr bwMode="auto">
            <a:xfrm>
              <a:off x="1638539" y="2795907"/>
              <a:ext cx="88838" cy="29850"/>
            </a:xfrm>
            <a:custGeom>
              <a:avLst/>
              <a:gdLst>
                <a:gd name="T0" fmla="*/ 689 w 747"/>
                <a:gd name="T1" fmla="*/ 69 h 247"/>
                <a:gd name="T2" fmla="*/ 689 w 747"/>
                <a:gd name="T3" fmla="*/ 69 h 247"/>
                <a:gd name="T4" fmla="*/ 675 w 747"/>
                <a:gd name="T5" fmla="*/ 54 h 247"/>
                <a:gd name="T6" fmla="*/ 659 w 747"/>
                <a:gd name="T7" fmla="*/ 42 h 247"/>
                <a:gd name="T8" fmla="*/ 644 w 747"/>
                <a:gd name="T9" fmla="*/ 32 h 247"/>
                <a:gd name="T10" fmla="*/ 628 w 747"/>
                <a:gd name="T11" fmla="*/ 23 h 247"/>
                <a:gd name="T12" fmla="*/ 610 w 747"/>
                <a:gd name="T13" fmla="*/ 16 h 247"/>
                <a:gd name="T14" fmla="*/ 594 w 747"/>
                <a:gd name="T15" fmla="*/ 11 h 247"/>
                <a:gd name="T16" fmla="*/ 576 w 747"/>
                <a:gd name="T17" fmla="*/ 7 h 247"/>
                <a:gd name="T18" fmla="*/ 558 w 747"/>
                <a:gd name="T19" fmla="*/ 4 h 247"/>
                <a:gd name="T20" fmla="*/ 540 w 747"/>
                <a:gd name="T21" fmla="*/ 2 h 247"/>
                <a:gd name="T22" fmla="*/ 523 w 747"/>
                <a:gd name="T23" fmla="*/ 1 h 247"/>
                <a:gd name="T24" fmla="*/ 486 w 747"/>
                <a:gd name="T25" fmla="*/ 0 h 247"/>
                <a:gd name="T26" fmla="*/ 450 w 747"/>
                <a:gd name="T27" fmla="*/ 1 h 247"/>
                <a:gd name="T28" fmla="*/ 415 w 747"/>
                <a:gd name="T29" fmla="*/ 1 h 247"/>
                <a:gd name="T30" fmla="*/ 415 w 747"/>
                <a:gd name="T31" fmla="*/ 1 h 247"/>
                <a:gd name="T32" fmla="*/ 395 w 747"/>
                <a:gd name="T33" fmla="*/ 1 h 247"/>
                <a:gd name="T34" fmla="*/ 375 w 747"/>
                <a:gd name="T35" fmla="*/ 2 h 247"/>
                <a:gd name="T36" fmla="*/ 335 w 747"/>
                <a:gd name="T37" fmla="*/ 1 h 247"/>
                <a:gd name="T38" fmla="*/ 294 w 747"/>
                <a:gd name="T39" fmla="*/ 0 h 247"/>
                <a:gd name="T40" fmla="*/ 253 w 747"/>
                <a:gd name="T41" fmla="*/ 0 h 247"/>
                <a:gd name="T42" fmla="*/ 233 w 747"/>
                <a:gd name="T43" fmla="*/ 0 h 247"/>
                <a:gd name="T44" fmla="*/ 213 w 747"/>
                <a:gd name="T45" fmla="*/ 2 h 247"/>
                <a:gd name="T46" fmla="*/ 192 w 747"/>
                <a:gd name="T47" fmla="*/ 4 h 247"/>
                <a:gd name="T48" fmla="*/ 173 w 747"/>
                <a:gd name="T49" fmla="*/ 7 h 247"/>
                <a:gd name="T50" fmla="*/ 154 w 747"/>
                <a:gd name="T51" fmla="*/ 12 h 247"/>
                <a:gd name="T52" fmla="*/ 133 w 747"/>
                <a:gd name="T53" fmla="*/ 17 h 247"/>
                <a:gd name="T54" fmla="*/ 114 w 747"/>
                <a:gd name="T55" fmla="*/ 25 h 247"/>
                <a:gd name="T56" fmla="*/ 95 w 747"/>
                <a:gd name="T57" fmla="*/ 35 h 247"/>
                <a:gd name="T58" fmla="*/ 95 w 747"/>
                <a:gd name="T59" fmla="*/ 35 h 247"/>
                <a:gd name="T60" fmla="*/ 83 w 747"/>
                <a:gd name="T61" fmla="*/ 41 h 247"/>
                <a:gd name="T62" fmla="*/ 73 w 747"/>
                <a:gd name="T63" fmla="*/ 49 h 247"/>
                <a:gd name="T64" fmla="*/ 63 w 747"/>
                <a:gd name="T65" fmla="*/ 59 h 247"/>
                <a:gd name="T66" fmla="*/ 54 w 747"/>
                <a:gd name="T67" fmla="*/ 69 h 247"/>
                <a:gd name="T68" fmla="*/ 44 w 747"/>
                <a:gd name="T69" fmla="*/ 81 h 247"/>
                <a:gd name="T70" fmla="*/ 37 w 747"/>
                <a:gd name="T71" fmla="*/ 93 h 247"/>
                <a:gd name="T72" fmla="*/ 30 w 747"/>
                <a:gd name="T73" fmla="*/ 106 h 247"/>
                <a:gd name="T74" fmla="*/ 23 w 747"/>
                <a:gd name="T75" fmla="*/ 120 h 247"/>
                <a:gd name="T76" fmla="*/ 18 w 747"/>
                <a:gd name="T77" fmla="*/ 135 h 247"/>
                <a:gd name="T78" fmla="*/ 13 w 747"/>
                <a:gd name="T79" fmla="*/ 150 h 247"/>
                <a:gd name="T80" fmla="*/ 9 w 747"/>
                <a:gd name="T81" fmla="*/ 165 h 247"/>
                <a:gd name="T82" fmla="*/ 5 w 747"/>
                <a:gd name="T83" fmla="*/ 182 h 247"/>
                <a:gd name="T84" fmla="*/ 3 w 747"/>
                <a:gd name="T85" fmla="*/ 198 h 247"/>
                <a:gd name="T86" fmla="*/ 1 w 747"/>
                <a:gd name="T87" fmla="*/ 214 h 247"/>
                <a:gd name="T88" fmla="*/ 0 w 747"/>
                <a:gd name="T89" fmla="*/ 231 h 247"/>
                <a:gd name="T90" fmla="*/ 0 w 747"/>
                <a:gd name="T91" fmla="*/ 247 h 247"/>
                <a:gd name="T92" fmla="*/ 747 w 747"/>
                <a:gd name="T93" fmla="*/ 247 h 247"/>
                <a:gd name="T94" fmla="*/ 747 w 747"/>
                <a:gd name="T95" fmla="*/ 247 h 247"/>
                <a:gd name="T96" fmla="*/ 745 w 747"/>
                <a:gd name="T97" fmla="*/ 222 h 247"/>
                <a:gd name="T98" fmla="*/ 742 w 747"/>
                <a:gd name="T99" fmla="*/ 197 h 247"/>
                <a:gd name="T100" fmla="*/ 738 w 747"/>
                <a:gd name="T101" fmla="*/ 173 h 247"/>
                <a:gd name="T102" fmla="*/ 732 w 747"/>
                <a:gd name="T103" fmla="*/ 149 h 247"/>
                <a:gd name="T104" fmla="*/ 725 w 747"/>
                <a:gd name="T105" fmla="*/ 127 h 247"/>
                <a:gd name="T106" fmla="*/ 721 w 747"/>
                <a:gd name="T107" fmla="*/ 116 h 247"/>
                <a:gd name="T108" fmla="*/ 716 w 747"/>
                <a:gd name="T109" fmla="*/ 106 h 247"/>
                <a:gd name="T110" fmla="*/ 710 w 747"/>
                <a:gd name="T111" fmla="*/ 96 h 247"/>
                <a:gd name="T112" fmla="*/ 703 w 747"/>
                <a:gd name="T113" fmla="*/ 87 h 247"/>
                <a:gd name="T114" fmla="*/ 697 w 747"/>
                <a:gd name="T115" fmla="*/ 77 h 247"/>
                <a:gd name="T116" fmla="*/ 689 w 747"/>
                <a:gd name="T117" fmla="*/ 69 h 247"/>
                <a:gd name="T118" fmla="*/ 689 w 747"/>
                <a:gd name="T119" fmla="*/ 6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7" h="247">
                  <a:moveTo>
                    <a:pt x="689" y="69"/>
                  </a:moveTo>
                  <a:lnTo>
                    <a:pt x="689" y="69"/>
                  </a:lnTo>
                  <a:lnTo>
                    <a:pt x="675" y="54"/>
                  </a:lnTo>
                  <a:lnTo>
                    <a:pt x="659" y="42"/>
                  </a:lnTo>
                  <a:lnTo>
                    <a:pt x="644" y="32"/>
                  </a:lnTo>
                  <a:lnTo>
                    <a:pt x="628" y="23"/>
                  </a:lnTo>
                  <a:lnTo>
                    <a:pt x="610" y="16"/>
                  </a:lnTo>
                  <a:lnTo>
                    <a:pt x="594" y="11"/>
                  </a:lnTo>
                  <a:lnTo>
                    <a:pt x="576" y="7"/>
                  </a:lnTo>
                  <a:lnTo>
                    <a:pt x="558" y="4"/>
                  </a:lnTo>
                  <a:lnTo>
                    <a:pt x="540" y="2"/>
                  </a:lnTo>
                  <a:lnTo>
                    <a:pt x="523" y="1"/>
                  </a:lnTo>
                  <a:lnTo>
                    <a:pt x="486" y="0"/>
                  </a:lnTo>
                  <a:lnTo>
                    <a:pt x="450" y="1"/>
                  </a:lnTo>
                  <a:lnTo>
                    <a:pt x="415" y="1"/>
                  </a:lnTo>
                  <a:lnTo>
                    <a:pt x="415" y="1"/>
                  </a:lnTo>
                  <a:lnTo>
                    <a:pt x="395" y="1"/>
                  </a:lnTo>
                  <a:lnTo>
                    <a:pt x="375" y="2"/>
                  </a:lnTo>
                  <a:lnTo>
                    <a:pt x="335" y="1"/>
                  </a:lnTo>
                  <a:lnTo>
                    <a:pt x="294" y="0"/>
                  </a:lnTo>
                  <a:lnTo>
                    <a:pt x="253" y="0"/>
                  </a:lnTo>
                  <a:lnTo>
                    <a:pt x="233" y="0"/>
                  </a:lnTo>
                  <a:lnTo>
                    <a:pt x="213" y="2"/>
                  </a:lnTo>
                  <a:lnTo>
                    <a:pt x="192" y="4"/>
                  </a:lnTo>
                  <a:lnTo>
                    <a:pt x="173" y="7"/>
                  </a:lnTo>
                  <a:lnTo>
                    <a:pt x="154" y="12"/>
                  </a:lnTo>
                  <a:lnTo>
                    <a:pt x="133" y="17"/>
                  </a:lnTo>
                  <a:lnTo>
                    <a:pt x="114" y="25"/>
                  </a:lnTo>
                  <a:lnTo>
                    <a:pt x="95" y="35"/>
                  </a:lnTo>
                  <a:lnTo>
                    <a:pt x="95" y="35"/>
                  </a:lnTo>
                  <a:lnTo>
                    <a:pt x="83" y="41"/>
                  </a:lnTo>
                  <a:lnTo>
                    <a:pt x="73" y="49"/>
                  </a:lnTo>
                  <a:lnTo>
                    <a:pt x="63" y="59"/>
                  </a:lnTo>
                  <a:lnTo>
                    <a:pt x="54" y="69"/>
                  </a:lnTo>
                  <a:lnTo>
                    <a:pt x="44" y="81"/>
                  </a:lnTo>
                  <a:lnTo>
                    <a:pt x="37" y="93"/>
                  </a:lnTo>
                  <a:lnTo>
                    <a:pt x="30" y="106"/>
                  </a:lnTo>
                  <a:lnTo>
                    <a:pt x="23" y="120"/>
                  </a:lnTo>
                  <a:lnTo>
                    <a:pt x="18" y="135"/>
                  </a:lnTo>
                  <a:lnTo>
                    <a:pt x="13" y="150"/>
                  </a:lnTo>
                  <a:lnTo>
                    <a:pt x="9" y="165"/>
                  </a:lnTo>
                  <a:lnTo>
                    <a:pt x="5" y="182"/>
                  </a:lnTo>
                  <a:lnTo>
                    <a:pt x="3" y="198"/>
                  </a:lnTo>
                  <a:lnTo>
                    <a:pt x="1" y="214"/>
                  </a:lnTo>
                  <a:lnTo>
                    <a:pt x="0" y="231"/>
                  </a:lnTo>
                  <a:lnTo>
                    <a:pt x="0" y="247"/>
                  </a:lnTo>
                  <a:lnTo>
                    <a:pt x="747" y="247"/>
                  </a:lnTo>
                  <a:lnTo>
                    <a:pt x="747" y="247"/>
                  </a:lnTo>
                  <a:lnTo>
                    <a:pt x="745" y="222"/>
                  </a:lnTo>
                  <a:lnTo>
                    <a:pt x="742" y="197"/>
                  </a:lnTo>
                  <a:lnTo>
                    <a:pt x="738" y="173"/>
                  </a:lnTo>
                  <a:lnTo>
                    <a:pt x="732" y="149"/>
                  </a:lnTo>
                  <a:lnTo>
                    <a:pt x="725" y="127"/>
                  </a:lnTo>
                  <a:lnTo>
                    <a:pt x="721" y="116"/>
                  </a:lnTo>
                  <a:lnTo>
                    <a:pt x="716" y="106"/>
                  </a:lnTo>
                  <a:lnTo>
                    <a:pt x="710" y="96"/>
                  </a:lnTo>
                  <a:lnTo>
                    <a:pt x="703" y="87"/>
                  </a:lnTo>
                  <a:lnTo>
                    <a:pt x="697" y="77"/>
                  </a:lnTo>
                  <a:lnTo>
                    <a:pt x="689" y="69"/>
                  </a:lnTo>
                  <a:lnTo>
                    <a:pt x="689" y="69"/>
                  </a:lnTo>
                  <a:close/>
                </a:path>
              </a:pathLst>
            </a:custGeom>
            <a:solidFill>
              <a:schemeClr val="accent5">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grpSp>
        <p:nvGrpSpPr>
          <p:cNvPr id="2895" name="Group 2894"/>
          <p:cNvGrpSpPr/>
          <p:nvPr/>
        </p:nvGrpSpPr>
        <p:grpSpPr>
          <a:xfrm>
            <a:off x="1236762" y="2635905"/>
            <a:ext cx="93804" cy="193233"/>
            <a:chOff x="3259494" y="2845478"/>
            <a:chExt cx="407131" cy="481302"/>
          </a:xfrm>
          <a:solidFill>
            <a:schemeClr val="tx1">
              <a:lumMod val="75000"/>
              <a:lumOff val="25000"/>
            </a:schemeClr>
          </a:solidFill>
        </p:grpSpPr>
        <p:grpSp>
          <p:nvGrpSpPr>
            <p:cNvPr id="912" name="Group 4"/>
            <p:cNvGrpSpPr>
              <a:grpSpLocks noChangeAspect="1"/>
            </p:cNvGrpSpPr>
            <p:nvPr/>
          </p:nvGrpSpPr>
          <p:grpSpPr bwMode="auto">
            <a:xfrm>
              <a:off x="3259494" y="2845478"/>
              <a:ext cx="197934" cy="481116"/>
              <a:chOff x="3008" y="790"/>
              <a:chExt cx="808" cy="1964"/>
            </a:xfrm>
            <a:grpFill/>
          </p:grpSpPr>
          <p:sp>
            <p:nvSpPr>
              <p:cNvPr id="918"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19"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922" name="Group 4"/>
            <p:cNvGrpSpPr>
              <a:grpSpLocks noChangeAspect="1"/>
            </p:cNvGrpSpPr>
            <p:nvPr/>
          </p:nvGrpSpPr>
          <p:grpSpPr bwMode="auto">
            <a:xfrm flipH="1">
              <a:off x="3468691" y="2845664"/>
              <a:ext cx="197934" cy="481116"/>
              <a:chOff x="3008" y="790"/>
              <a:chExt cx="808" cy="1964"/>
            </a:xfrm>
            <a:grpFill/>
          </p:grpSpPr>
          <p:sp>
            <p:nvSpPr>
              <p:cNvPr id="923"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24"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928" name="Group 927"/>
          <p:cNvGrpSpPr/>
          <p:nvPr/>
        </p:nvGrpSpPr>
        <p:grpSpPr>
          <a:xfrm>
            <a:off x="1320161" y="2660961"/>
            <a:ext cx="93804" cy="193233"/>
            <a:chOff x="3259494" y="2845478"/>
            <a:chExt cx="407131" cy="481302"/>
          </a:xfrm>
          <a:solidFill>
            <a:schemeClr val="tx1">
              <a:lumMod val="75000"/>
              <a:lumOff val="25000"/>
            </a:schemeClr>
          </a:solidFill>
        </p:grpSpPr>
        <p:grpSp>
          <p:nvGrpSpPr>
            <p:cNvPr id="929" name="Group 4"/>
            <p:cNvGrpSpPr>
              <a:grpSpLocks noChangeAspect="1"/>
            </p:cNvGrpSpPr>
            <p:nvPr/>
          </p:nvGrpSpPr>
          <p:grpSpPr bwMode="auto">
            <a:xfrm>
              <a:off x="3259494" y="2845478"/>
              <a:ext cx="197934" cy="481116"/>
              <a:chOff x="3008" y="790"/>
              <a:chExt cx="808" cy="1964"/>
            </a:xfrm>
            <a:grpFill/>
          </p:grpSpPr>
          <p:sp>
            <p:nvSpPr>
              <p:cNvPr id="933"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4"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930" name="Group 4"/>
            <p:cNvGrpSpPr>
              <a:grpSpLocks noChangeAspect="1"/>
            </p:cNvGrpSpPr>
            <p:nvPr/>
          </p:nvGrpSpPr>
          <p:grpSpPr bwMode="auto">
            <a:xfrm flipH="1">
              <a:off x="3468691" y="2845664"/>
              <a:ext cx="197934" cy="481116"/>
              <a:chOff x="3008" y="790"/>
              <a:chExt cx="808" cy="1964"/>
            </a:xfrm>
            <a:grpFill/>
          </p:grpSpPr>
          <p:sp>
            <p:nvSpPr>
              <p:cNvPr id="931"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2"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grpSp>
        <p:nvGrpSpPr>
          <p:cNvPr id="935" name="Group 934"/>
          <p:cNvGrpSpPr/>
          <p:nvPr/>
        </p:nvGrpSpPr>
        <p:grpSpPr>
          <a:xfrm>
            <a:off x="1403560" y="2686017"/>
            <a:ext cx="93804" cy="193233"/>
            <a:chOff x="3259494" y="2845478"/>
            <a:chExt cx="407131" cy="481302"/>
          </a:xfrm>
          <a:solidFill>
            <a:schemeClr val="accent2"/>
          </a:solidFill>
        </p:grpSpPr>
        <p:grpSp>
          <p:nvGrpSpPr>
            <p:cNvPr id="936" name="Group 4"/>
            <p:cNvGrpSpPr>
              <a:grpSpLocks noChangeAspect="1"/>
            </p:cNvGrpSpPr>
            <p:nvPr/>
          </p:nvGrpSpPr>
          <p:grpSpPr bwMode="auto">
            <a:xfrm>
              <a:off x="3259494" y="2845478"/>
              <a:ext cx="197934" cy="481116"/>
              <a:chOff x="3008" y="790"/>
              <a:chExt cx="808" cy="1964"/>
            </a:xfrm>
            <a:grpFill/>
          </p:grpSpPr>
          <p:sp>
            <p:nvSpPr>
              <p:cNvPr id="940"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41"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937" name="Group 4"/>
            <p:cNvGrpSpPr>
              <a:grpSpLocks noChangeAspect="1"/>
            </p:cNvGrpSpPr>
            <p:nvPr/>
          </p:nvGrpSpPr>
          <p:grpSpPr bwMode="auto">
            <a:xfrm flipH="1">
              <a:off x="3468691" y="2845664"/>
              <a:ext cx="197934" cy="481116"/>
              <a:chOff x="3008" y="790"/>
              <a:chExt cx="808" cy="1964"/>
            </a:xfrm>
            <a:grpFill/>
          </p:grpSpPr>
          <p:sp>
            <p:nvSpPr>
              <p:cNvPr id="938" name="Freeform 11"/>
              <p:cNvSpPr>
                <a:spLocks noEditPoints="1"/>
              </p:cNvSpPr>
              <p:nvPr/>
            </p:nvSpPr>
            <p:spPr bwMode="auto">
              <a:xfrm>
                <a:off x="3008" y="791"/>
                <a:ext cx="808" cy="1963"/>
              </a:xfrm>
              <a:custGeom>
                <a:avLst/>
                <a:gdLst>
                  <a:gd name="T0" fmla="*/ 459 w 808"/>
                  <a:gd name="T1" fmla="*/ 1633 h 1963"/>
                  <a:gd name="T2" fmla="*/ 459 w 808"/>
                  <a:gd name="T3" fmla="*/ 1677 h 1963"/>
                  <a:gd name="T4" fmla="*/ 728 w 808"/>
                  <a:gd name="T5" fmla="*/ 1677 h 1963"/>
                  <a:gd name="T6" fmla="*/ 728 w 808"/>
                  <a:gd name="T7" fmla="*/ 1633 h 1963"/>
                  <a:gd name="T8" fmla="*/ 459 w 808"/>
                  <a:gd name="T9" fmla="*/ 1633 h 1963"/>
                  <a:gd name="T10" fmla="*/ 562 w 808"/>
                  <a:gd name="T11" fmla="*/ 0 h 1963"/>
                  <a:gd name="T12" fmla="*/ 492 w 808"/>
                  <a:gd name="T13" fmla="*/ 82 h 1963"/>
                  <a:gd name="T14" fmla="*/ 511 w 808"/>
                  <a:gd name="T15" fmla="*/ 97 h 1963"/>
                  <a:gd name="T16" fmla="*/ 511 w 808"/>
                  <a:gd name="T17" fmla="*/ 98 h 1963"/>
                  <a:gd name="T18" fmla="*/ 512 w 808"/>
                  <a:gd name="T19" fmla="*/ 98 h 1963"/>
                  <a:gd name="T20" fmla="*/ 512 w 808"/>
                  <a:gd name="T21" fmla="*/ 98 h 1963"/>
                  <a:gd name="T22" fmla="*/ 512 w 808"/>
                  <a:gd name="T23" fmla="*/ 98 h 1963"/>
                  <a:gd name="T24" fmla="*/ 556 w 808"/>
                  <a:gd name="T25" fmla="*/ 98 h 1963"/>
                  <a:gd name="T26" fmla="*/ 557 w 808"/>
                  <a:gd name="T27" fmla="*/ 145 h 1963"/>
                  <a:gd name="T28" fmla="*/ 554 w 808"/>
                  <a:gd name="T29" fmla="*/ 148 h 1963"/>
                  <a:gd name="T30" fmla="*/ 808 w 808"/>
                  <a:gd name="T31" fmla="*/ 376 h 1963"/>
                  <a:gd name="T32" fmla="*/ 803 w 808"/>
                  <a:gd name="T33" fmla="*/ 1963 h 1963"/>
                  <a:gd name="T34" fmla="*/ 381 w 808"/>
                  <a:gd name="T35" fmla="*/ 1963 h 1963"/>
                  <a:gd name="T36" fmla="*/ 377 w 808"/>
                  <a:gd name="T37" fmla="*/ 608 h 1963"/>
                  <a:gd name="T38" fmla="*/ 377 w 808"/>
                  <a:gd name="T39" fmla="*/ 572 h 1963"/>
                  <a:gd name="T40" fmla="*/ 320 w 808"/>
                  <a:gd name="T41" fmla="*/ 572 h 1963"/>
                  <a:gd name="T42" fmla="*/ 306 w 808"/>
                  <a:gd name="T43" fmla="*/ 572 h 1963"/>
                  <a:gd name="T44" fmla="*/ 296 w 808"/>
                  <a:gd name="T45" fmla="*/ 572 h 1963"/>
                  <a:gd name="T46" fmla="*/ 293 w 808"/>
                  <a:gd name="T47" fmla="*/ 572 h 1963"/>
                  <a:gd name="T48" fmla="*/ 291 w 808"/>
                  <a:gd name="T49" fmla="*/ 998 h 1963"/>
                  <a:gd name="T50" fmla="*/ 291 w 808"/>
                  <a:gd name="T51" fmla="*/ 1424 h 1963"/>
                  <a:gd name="T52" fmla="*/ 0 w 808"/>
                  <a:gd name="T53" fmla="*/ 1424 h 1963"/>
                  <a:gd name="T54" fmla="*/ 0 w 808"/>
                  <a:gd name="T55" fmla="*/ 1062 h 1963"/>
                  <a:gd name="T56" fmla="*/ 3 w 808"/>
                  <a:gd name="T57" fmla="*/ 700 h 1963"/>
                  <a:gd name="T58" fmla="*/ 1 w 808"/>
                  <a:gd name="T59" fmla="*/ 659 h 1963"/>
                  <a:gd name="T60" fmla="*/ 1 w 808"/>
                  <a:gd name="T61" fmla="*/ 617 h 1963"/>
                  <a:gd name="T62" fmla="*/ 0 w 808"/>
                  <a:gd name="T63" fmla="*/ 574 h 1963"/>
                  <a:gd name="T64" fmla="*/ 0 w 808"/>
                  <a:gd name="T65" fmla="*/ 530 h 1963"/>
                  <a:gd name="T66" fmla="*/ 0 w 808"/>
                  <a:gd name="T67" fmla="*/ 487 h 1963"/>
                  <a:gd name="T68" fmla="*/ 0 w 808"/>
                  <a:gd name="T69" fmla="*/ 444 h 1963"/>
                  <a:gd name="T70" fmla="*/ 4 w 808"/>
                  <a:gd name="T71" fmla="*/ 400 h 1963"/>
                  <a:gd name="T72" fmla="*/ 8 w 808"/>
                  <a:gd name="T73" fmla="*/ 358 h 1963"/>
                  <a:gd name="T74" fmla="*/ 15 w 808"/>
                  <a:gd name="T75" fmla="*/ 316 h 1963"/>
                  <a:gd name="T76" fmla="*/ 24 w 808"/>
                  <a:gd name="T77" fmla="*/ 277 h 1963"/>
                  <a:gd name="T78" fmla="*/ 38 w 808"/>
                  <a:gd name="T79" fmla="*/ 238 h 1963"/>
                  <a:gd name="T80" fmla="*/ 55 w 808"/>
                  <a:gd name="T81" fmla="*/ 202 h 1963"/>
                  <a:gd name="T82" fmla="*/ 75 w 808"/>
                  <a:gd name="T83" fmla="*/ 167 h 1963"/>
                  <a:gd name="T84" fmla="*/ 101 w 808"/>
                  <a:gd name="T85" fmla="*/ 135 h 1963"/>
                  <a:gd name="T86" fmla="*/ 131 w 808"/>
                  <a:gd name="T87" fmla="*/ 106 h 1963"/>
                  <a:gd name="T88" fmla="*/ 167 w 808"/>
                  <a:gd name="T89" fmla="*/ 80 h 1963"/>
                  <a:gd name="T90" fmla="*/ 208 w 808"/>
                  <a:gd name="T91" fmla="*/ 57 h 1963"/>
                  <a:gd name="T92" fmla="*/ 254 w 808"/>
                  <a:gd name="T93" fmla="*/ 40 h 1963"/>
                  <a:gd name="T94" fmla="*/ 301 w 808"/>
                  <a:gd name="T95" fmla="*/ 27 h 1963"/>
                  <a:gd name="T96" fmla="*/ 352 w 808"/>
                  <a:gd name="T97" fmla="*/ 17 h 1963"/>
                  <a:gd name="T98" fmla="*/ 404 w 808"/>
                  <a:gd name="T99" fmla="*/ 9 h 1963"/>
                  <a:gd name="T100" fmla="*/ 456 w 808"/>
                  <a:gd name="T101" fmla="*/ 5 h 1963"/>
                  <a:gd name="T102" fmla="*/ 510 w 808"/>
                  <a:gd name="T103" fmla="*/ 1 h 1963"/>
                  <a:gd name="T104" fmla="*/ 562 w 808"/>
                  <a:gd name="T105" fmla="*/ 0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8" h="1963">
                    <a:moveTo>
                      <a:pt x="459" y="1633"/>
                    </a:moveTo>
                    <a:lnTo>
                      <a:pt x="459" y="1677"/>
                    </a:lnTo>
                    <a:lnTo>
                      <a:pt x="728" y="1677"/>
                    </a:lnTo>
                    <a:lnTo>
                      <a:pt x="728" y="1633"/>
                    </a:lnTo>
                    <a:lnTo>
                      <a:pt x="459" y="1633"/>
                    </a:lnTo>
                    <a:close/>
                    <a:moveTo>
                      <a:pt x="562" y="0"/>
                    </a:moveTo>
                    <a:lnTo>
                      <a:pt x="492" y="82"/>
                    </a:lnTo>
                    <a:lnTo>
                      <a:pt x="511" y="97"/>
                    </a:lnTo>
                    <a:lnTo>
                      <a:pt x="511" y="98"/>
                    </a:lnTo>
                    <a:lnTo>
                      <a:pt x="512" y="98"/>
                    </a:lnTo>
                    <a:lnTo>
                      <a:pt x="512" y="98"/>
                    </a:lnTo>
                    <a:lnTo>
                      <a:pt x="512" y="98"/>
                    </a:lnTo>
                    <a:lnTo>
                      <a:pt x="556" y="98"/>
                    </a:lnTo>
                    <a:lnTo>
                      <a:pt x="557" y="145"/>
                    </a:lnTo>
                    <a:lnTo>
                      <a:pt x="554" y="148"/>
                    </a:lnTo>
                    <a:lnTo>
                      <a:pt x="808" y="376"/>
                    </a:lnTo>
                    <a:lnTo>
                      <a:pt x="803" y="1963"/>
                    </a:lnTo>
                    <a:lnTo>
                      <a:pt x="381" y="1963"/>
                    </a:lnTo>
                    <a:lnTo>
                      <a:pt x="377" y="608"/>
                    </a:lnTo>
                    <a:lnTo>
                      <a:pt x="377" y="572"/>
                    </a:lnTo>
                    <a:lnTo>
                      <a:pt x="320" y="572"/>
                    </a:lnTo>
                    <a:lnTo>
                      <a:pt x="306" y="572"/>
                    </a:lnTo>
                    <a:lnTo>
                      <a:pt x="296" y="572"/>
                    </a:lnTo>
                    <a:lnTo>
                      <a:pt x="293" y="572"/>
                    </a:lnTo>
                    <a:lnTo>
                      <a:pt x="291" y="998"/>
                    </a:lnTo>
                    <a:lnTo>
                      <a:pt x="291" y="1424"/>
                    </a:lnTo>
                    <a:lnTo>
                      <a:pt x="0" y="1424"/>
                    </a:lnTo>
                    <a:lnTo>
                      <a:pt x="0" y="1062"/>
                    </a:lnTo>
                    <a:lnTo>
                      <a:pt x="3" y="700"/>
                    </a:lnTo>
                    <a:lnTo>
                      <a:pt x="1" y="659"/>
                    </a:lnTo>
                    <a:lnTo>
                      <a:pt x="1" y="617"/>
                    </a:lnTo>
                    <a:lnTo>
                      <a:pt x="0" y="574"/>
                    </a:lnTo>
                    <a:lnTo>
                      <a:pt x="0" y="530"/>
                    </a:lnTo>
                    <a:lnTo>
                      <a:pt x="0" y="487"/>
                    </a:lnTo>
                    <a:lnTo>
                      <a:pt x="0" y="444"/>
                    </a:lnTo>
                    <a:lnTo>
                      <a:pt x="4" y="400"/>
                    </a:lnTo>
                    <a:lnTo>
                      <a:pt x="8" y="358"/>
                    </a:lnTo>
                    <a:lnTo>
                      <a:pt x="15" y="316"/>
                    </a:lnTo>
                    <a:lnTo>
                      <a:pt x="24" y="277"/>
                    </a:lnTo>
                    <a:lnTo>
                      <a:pt x="38" y="238"/>
                    </a:lnTo>
                    <a:lnTo>
                      <a:pt x="55" y="202"/>
                    </a:lnTo>
                    <a:lnTo>
                      <a:pt x="75" y="167"/>
                    </a:lnTo>
                    <a:lnTo>
                      <a:pt x="101" y="135"/>
                    </a:lnTo>
                    <a:lnTo>
                      <a:pt x="131" y="106"/>
                    </a:lnTo>
                    <a:lnTo>
                      <a:pt x="167" y="80"/>
                    </a:lnTo>
                    <a:lnTo>
                      <a:pt x="208" y="57"/>
                    </a:lnTo>
                    <a:lnTo>
                      <a:pt x="254" y="40"/>
                    </a:lnTo>
                    <a:lnTo>
                      <a:pt x="301" y="27"/>
                    </a:lnTo>
                    <a:lnTo>
                      <a:pt x="352" y="17"/>
                    </a:lnTo>
                    <a:lnTo>
                      <a:pt x="404" y="9"/>
                    </a:lnTo>
                    <a:lnTo>
                      <a:pt x="456" y="5"/>
                    </a:lnTo>
                    <a:lnTo>
                      <a:pt x="510" y="1"/>
                    </a:lnTo>
                    <a:lnTo>
                      <a:pt x="5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939" name="Freeform 12"/>
              <p:cNvSpPr>
                <a:spLocks/>
              </p:cNvSpPr>
              <p:nvPr/>
            </p:nvSpPr>
            <p:spPr bwMode="auto">
              <a:xfrm>
                <a:off x="3543" y="790"/>
                <a:ext cx="273" cy="341"/>
              </a:xfrm>
              <a:custGeom>
                <a:avLst/>
                <a:gdLst>
                  <a:gd name="T0" fmla="*/ 97 w 273"/>
                  <a:gd name="T1" fmla="*/ 0 h 341"/>
                  <a:gd name="T2" fmla="*/ 273 w 273"/>
                  <a:gd name="T3" fmla="*/ 231 h 341"/>
                  <a:gd name="T4" fmla="*/ 273 w 273"/>
                  <a:gd name="T5" fmla="*/ 341 h 341"/>
                  <a:gd name="T6" fmla="*/ 47 w 273"/>
                  <a:gd name="T7" fmla="*/ 138 h 341"/>
                  <a:gd name="T8" fmla="*/ 47 w 273"/>
                  <a:gd name="T9" fmla="*/ 87 h 341"/>
                  <a:gd name="T10" fmla="*/ 46 w 273"/>
                  <a:gd name="T11" fmla="*/ 73 h 341"/>
                  <a:gd name="T12" fmla="*/ 46 w 273"/>
                  <a:gd name="T13" fmla="*/ 73 h 341"/>
                  <a:gd name="T14" fmla="*/ 46 w 273"/>
                  <a:gd name="T15" fmla="*/ 73 h 341"/>
                  <a:gd name="T16" fmla="*/ 40 w 273"/>
                  <a:gd name="T17" fmla="*/ 73 h 341"/>
                  <a:gd name="T18" fmla="*/ 0 w 273"/>
                  <a:gd name="T19" fmla="*/ 73 h 341"/>
                  <a:gd name="T20" fmla="*/ 63 w 273"/>
                  <a:gd name="T21" fmla="*/ 1 h 341"/>
                  <a:gd name="T22" fmla="*/ 97 w 273"/>
                  <a:gd name="T23"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341">
                    <a:moveTo>
                      <a:pt x="97" y="0"/>
                    </a:moveTo>
                    <a:lnTo>
                      <a:pt x="273" y="231"/>
                    </a:lnTo>
                    <a:lnTo>
                      <a:pt x="273" y="341"/>
                    </a:lnTo>
                    <a:lnTo>
                      <a:pt x="47" y="138"/>
                    </a:lnTo>
                    <a:lnTo>
                      <a:pt x="47" y="87"/>
                    </a:lnTo>
                    <a:lnTo>
                      <a:pt x="46" y="73"/>
                    </a:lnTo>
                    <a:lnTo>
                      <a:pt x="46" y="73"/>
                    </a:lnTo>
                    <a:lnTo>
                      <a:pt x="46" y="73"/>
                    </a:lnTo>
                    <a:lnTo>
                      <a:pt x="40" y="73"/>
                    </a:lnTo>
                    <a:lnTo>
                      <a:pt x="0" y="73"/>
                    </a:lnTo>
                    <a:lnTo>
                      <a:pt x="63" y="1"/>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2898" name="Rectangle 2897"/>
          <p:cNvSpPr/>
          <p:nvPr/>
        </p:nvSpPr>
        <p:spPr bwMode="auto">
          <a:xfrm>
            <a:off x="1360302" y="2935590"/>
            <a:ext cx="412037" cy="32823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cxnSp>
        <p:nvCxnSpPr>
          <p:cNvPr id="2907" name="Straight Connector 2906"/>
          <p:cNvCxnSpPr>
            <a:stCxn id="1033" idx="0"/>
            <a:endCxn id="979" idx="0"/>
          </p:cNvCxnSpPr>
          <p:nvPr/>
        </p:nvCxnSpPr>
        <p:spPr>
          <a:xfrm flipV="1">
            <a:off x="3558259" y="3275830"/>
            <a:ext cx="53418" cy="56645"/>
          </a:xfrm>
          <a:prstGeom prst="line">
            <a:avLst/>
          </a:prstGeom>
          <a:ln w="1270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nvGrpSpPr>
          <p:cNvPr id="997" name="Group 996"/>
          <p:cNvGrpSpPr/>
          <p:nvPr/>
        </p:nvGrpSpPr>
        <p:grpSpPr>
          <a:xfrm rot="3302966">
            <a:off x="3571723" y="2438062"/>
            <a:ext cx="75025" cy="134294"/>
            <a:chOff x="2687372" y="3149601"/>
            <a:chExt cx="81465" cy="132564"/>
          </a:xfrm>
          <a:solidFill>
            <a:schemeClr val="accent2"/>
          </a:solidFill>
        </p:grpSpPr>
        <p:sp>
          <p:nvSpPr>
            <p:cNvPr id="998"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999"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0"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1"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2"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03"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2960" name="Group 2959"/>
          <p:cNvGrpSpPr/>
          <p:nvPr/>
        </p:nvGrpSpPr>
        <p:grpSpPr>
          <a:xfrm>
            <a:off x="8421688" y="5202239"/>
            <a:ext cx="273050" cy="203201"/>
            <a:chOff x="8420100" y="5202238"/>
            <a:chExt cx="273050" cy="203201"/>
          </a:xfrm>
          <a:solidFill>
            <a:schemeClr val="accent5"/>
          </a:solidFill>
        </p:grpSpPr>
        <p:sp>
          <p:nvSpPr>
            <p:cNvPr id="3641" name="Freeform 2395"/>
            <p:cNvSpPr>
              <a:spLocks/>
            </p:cNvSpPr>
            <p:nvPr/>
          </p:nvSpPr>
          <p:spPr bwMode="auto">
            <a:xfrm>
              <a:off x="8420100" y="5289551"/>
              <a:ext cx="82550" cy="115888"/>
            </a:xfrm>
            <a:custGeom>
              <a:avLst/>
              <a:gdLst>
                <a:gd name="T0" fmla="*/ 230 w 311"/>
                <a:gd name="T1" fmla="*/ 0 h 437"/>
                <a:gd name="T2" fmla="*/ 81 w 311"/>
                <a:gd name="T3" fmla="*/ 0 h 437"/>
                <a:gd name="T4" fmla="*/ 81 w 311"/>
                <a:gd name="T5" fmla="*/ 0 h 437"/>
                <a:gd name="T6" fmla="*/ 76 w 311"/>
                <a:gd name="T7" fmla="*/ 15 h 437"/>
                <a:gd name="T8" fmla="*/ 71 w 311"/>
                <a:gd name="T9" fmla="*/ 36 h 437"/>
                <a:gd name="T10" fmla="*/ 59 w 311"/>
                <a:gd name="T11" fmla="*/ 89 h 437"/>
                <a:gd name="T12" fmla="*/ 45 w 311"/>
                <a:gd name="T13" fmla="*/ 153 h 437"/>
                <a:gd name="T14" fmla="*/ 32 w 311"/>
                <a:gd name="T15" fmla="*/ 221 h 437"/>
                <a:gd name="T16" fmla="*/ 10 w 311"/>
                <a:gd name="T17" fmla="*/ 346 h 437"/>
                <a:gd name="T18" fmla="*/ 3 w 311"/>
                <a:gd name="T19" fmla="*/ 390 h 437"/>
                <a:gd name="T20" fmla="*/ 0 w 311"/>
                <a:gd name="T21" fmla="*/ 413 h 437"/>
                <a:gd name="T22" fmla="*/ 0 w 311"/>
                <a:gd name="T23" fmla="*/ 413 h 437"/>
                <a:gd name="T24" fmla="*/ 1 w 311"/>
                <a:gd name="T25" fmla="*/ 416 h 437"/>
                <a:gd name="T26" fmla="*/ 3 w 311"/>
                <a:gd name="T27" fmla="*/ 418 h 437"/>
                <a:gd name="T28" fmla="*/ 7 w 311"/>
                <a:gd name="T29" fmla="*/ 421 h 437"/>
                <a:gd name="T30" fmla="*/ 12 w 311"/>
                <a:gd name="T31" fmla="*/ 423 h 437"/>
                <a:gd name="T32" fmla="*/ 27 w 311"/>
                <a:gd name="T33" fmla="*/ 428 h 437"/>
                <a:gd name="T34" fmla="*/ 47 w 311"/>
                <a:gd name="T35" fmla="*/ 431 h 437"/>
                <a:gd name="T36" fmla="*/ 71 w 311"/>
                <a:gd name="T37" fmla="*/ 434 h 437"/>
                <a:gd name="T38" fmla="*/ 97 w 311"/>
                <a:gd name="T39" fmla="*/ 436 h 437"/>
                <a:gd name="T40" fmla="*/ 125 w 311"/>
                <a:gd name="T41" fmla="*/ 437 h 437"/>
                <a:gd name="T42" fmla="*/ 154 w 311"/>
                <a:gd name="T43" fmla="*/ 437 h 437"/>
                <a:gd name="T44" fmla="*/ 184 w 311"/>
                <a:gd name="T45" fmla="*/ 437 h 437"/>
                <a:gd name="T46" fmla="*/ 211 w 311"/>
                <a:gd name="T47" fmla="*/ 436 h 437"/>
                <a:gd name="T48" fmla="*/ 238 w 311"/>
                <a:gd name="T49" fmla="*/ 434 h 437"/>
                <a:gd name="T50" fmla="*/ 262 w 311"/>
                <a:gd name="T51" fmla="*/ 431 h 437"/>
                <a:gd name="T52" fmla="*/ 281 w 311"/>
                <a:gd name="T53" fmla="*/ 428 h 437"/>
                <a:gd name="T54" fmla="*/ 298 w 311"/>
                <a:gd name="T55" fmla="*/ 423 h 437"/>
                <a:gd name="T56" fmla="*/ 303 w 311"/>
                <a:gd name="T57" fmla="*/ 421 h 437"/>
                <a:gd name="T58" fmla="*/ 308 w 311"/>
                <a:gd name="T59" fmla="*/ 418 h 437"/>
                <a:gd name="T60" fmla="*/ 310 w 311"/>
                <a:gd name="T61" fmla="*/ 416 h 437"/>
                <a:gd name="T62" fmla="*/ 311 w 311"/>
                <a:gd name="T63" fmla="*/ 413 h 437"/>
                <a:gd name="T64" fmla="*/ 311 w 311"/>
                <a:gd name="T65" fmla="*/ 413 h 437"/>
                <a:gd name="T66" fmla="*/ 310 w 311"/>
                <a:gd name="T67" fmla="*/ 400 h 437"/>
                <a:gd name="T68" fmla="*/ 309 w 311"/>
                <a:gd name="T69" fmla="*/ 383 h 437"/>
                <a:gd name="T70" fmla="*/ 302 w 311"/>
                <a:gd name="T71" fmla="*/ 336 h 437"/>
                <a:gd name="T72" fmla="*/ 291 w 311"/>
                <a:gd name="T73" fmla="*/ 277 h 437"/>
                <a:gd name="T74" fmla="*/ 278 w 311"/>
                <a:gd name="T75" fmla="*/ 212 h 437"/>
                <a:gd name="T76" fmla="*/ 265 w 311"/>
                <a:gd name="T77" fmla="*/ 146 h 437"/>
                <a:gd name="T78" fmla="*/ 252 w 311"/>
                <a:gd name="T79" fmla="*/ 84 h 437"/>
                <a:gd name="T80" fmla="*/ 240 w 311"/>
                <a:gd name="T81" fmla="*/ 34 h 437"/>
                <a:gd name="T82" fmla="*/ 230 w 311"/>
                <a:gd name="T83" fmla="*/ 0 h 437"/>
                <a:gd name="T84" fmla="*/ 230 w 311"/>
                <a:gd name="T85"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7">
                  <a:moveTo>
                    <a:pt x="230" y="0"/>
                  </a:moveTo>
                  <a:lnTo>
                    <a:pt x="81" y="0"/>
                  </a:lnTo>
                  <a:lnTo>
                    <a:pt x="81" y="0"/>
                  </a:lnTo>
                  <a:lnTo>
                    <a:pt x="76" y="15"/>
                  </a:lnTo>
                  <a:lnTo>
                    <a:pt x="71" y="36"/>
                  </a:lnTo>
                  <a:lnTo>
                    <a:pt x="59" y="89"/>
                  </a:lnTo>
                  <a:lnTo>
                    <a:pt x="45" y="153"/>
                  </a:lnTo>
                  <a:lnTo>
                    <a:pt x="32" y="221"/>
                  </a:lnTo>
                  <a:lnTo>
                    <a:pt x="10" y="346"/>
                  </a:lnTo>
                  <a:lnTo>
                    <a:pt x="3" y="390"/>
                  </a:lnTo>
                  <a:lnTo>
                    <a:pt x="0" y="413"/>
                  </a:lnTo>
                  <a:lnTo>
                    <a:pt x="0" y="413"/>
                  </a:lnTo>
                  <a:lnTo>
                    <a:pt x="1" y="416"/>
                  </a:lnTo>
                  <a:lnTo>
                    <a:pt x="3" y="418"/>
                  </a:lnTo>
                  <a:lnTo>
                    <a:pt x="7" y="421"/>
                  </a:lnTo>
                  <a:lnTo>
                    <a:pt x="12" y="423"/>
                  </a:lnTo>
                  <a:lnTo>
                    <a:pt x="27" y="428"/>
                  </a:lnTo>
                  <a:lnTo>
                    <a:pt x="47" y="431"/>
                  </a:lnTo>
                  <a:lnTo>
                    <a:pt x="71" y="434"/>
                  </a:lnTo>
                  <a:lnTo>
                    <a:pt x="97" y="436"/>
                  </a:lnTo>
                  <a:lnTo>
                    <a:pt x="125" y="437"/>
                  </a:lnTo>
                  <a:lnTo>
                    <a:pt x="154" y="437"/>
                  </a:lnTo>
                  <a:lnTo>
                    <a:pt x="184" y="437"/>
                  </a:lnTo>
                  <a:lnTo>
                    <a:pt x="211" y="436"/>
                  </a:lnTo>
                  <a:lnTo>
                    <a:pt x="238" y="434"/>
                  </a:lnTo>
                  <a:lnTo>
                    <a:pt x="262" y="431"/>
                  </a:lnTo>
                  <a:lnTo>
                    <a:pt x="281" y="428"/>
                  </a:lnTo>
                  <a:lnTo>
                    <a:pt x="298" y="423"/>
                  </a:lnTo>
                  <a:lnTo>
                    <a:pt x="303" y="421"/>
                  </a:lnTo>
                  <a:lnTo>
                    <a:pt x="308" y="418"/>
                  </a:lnTo>
                  <a:lnTo>
                    <a:pt x="310" y="416"/>
                  </a:lnTo>
                  <a:lnTo>
                    <a:pt x="311" y="413"/>
                  </a:lnTo>
                  <a:lnTo>
                    <a:pt x="311" y="413"/>
                  </a:lnTo>
                  <a:lnTo>
                    <a:pt x="310" y="400"/>
                  </a:lnTo>
                  <a:lnTo>
                    <a:pt x="309" y="383"/>
                  </a:lnTo>
                  <a:lnTo>
                    <a:pt x="302" y="336"/>
                  </a:lnTo>
                  <a:lnTo>
                    <a:pt x="291" y="277"/>
                  </a:lnTo>
                  <a:lnTo>
                    <a:pt x="278" y="212"/>
                  </a:lnTo>
                  <a:lnTo>
                    <a:pt x="265" y="146"/>
                  </a:lnTo>
                  <a:lnTo>
                    <a:pt x="252" y="84"/>
                  </a:lnTo>
                  <a:lnTo>
                    <a:pt x="240" y="34"/>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2" name="Freeform 2396"/>
            <p:cNvSpPr>
              <a:spLocks/>
            </p:cNvSpPr>
            <p:nvPr/>
          </p:nvSpPr>
          <p:spPr bwMode="auto">
            <a:xfrm>
              <a:off x="8420100" y="5264151"/>
              <a:ext cx="82550" cy="115888"/>
            </a:xfrm>
            <a:custGeom>
              <a:avLst/>
              <a:gdLst>
                <a:gd name="T0" fmla="*/ 230 w 311"/>
                <a:gd name="T1" fmla="*/ 0 h 438"/>
                <a:gd name="T2" fmla="*/ 81 w 311"/>
                <a:gd name="T3" fmla="*/ 0 h 438"/>
                <a:gd name="T4" fmla="*/ 81 w 311"/>
                <a:gd name="T5" fmla="*/ 0 h 438"/>
                <a:gd name="T6" fmla="*/ 76 w 311"/>
                <a:gd name="T7" fmla="*/ 16 h 438"/>
                <a:gd name="T8" fmla="*/ 71 w 311"/>
                <a:gd name="T9" fmla="*/ 36 h 438"/>
                <a:gd name="T10" fmla="*/ 59 w 311"/>
                <a:gd name="T11" fmla="*/ 89 h 438"/>
                <a:gd name="T12" fmla="*/ 45 w 311"/>
                <a:gd name="T13" fmla="*/ 153 h 438"/>
                <a:gd name="T14" fmla="*/ 32 w 311"/>
                <a:gd name="T15" fmla="*/ 221 h 438"/>
                <a:gd name="T16" fmla="*/ 10 w 311"/>
                <a:gd name="T17" fmla="*/ 346 h 438"/>
                <a:gd name="T18" fmla="*/ 3 w 311"/>
                <a:gd name="T19" fmla="*/ 390 h 438"/>
                <a:gd name="T20" fmla="*/ 0 w 311"/>
                <a:gd name="T21" fmla="*/ 413 h 438"/>
                <a:gd name="T22" fmla="*/ 0 w 311"/>
                <a:gd name="T23" fmla="*/ 413 h 438"/>
                <a:gd name="T24" fmla="*/ 1 w 311"/>
                <a:gd name="T25" fmla="*/ 417 h 438"/>
                <a:gd name="T26" fmla="*/ 3 w 311"/>
                <a:gd name="T27" fmla="*/ 419 h 438"/>
                <a:gd name="T28" fmla="*/ 7 w 311"/>
                <a:gd name="T29" fmla="*/ 422 h 438"/>
                <a:gd name="T30" fmla="*/ 12 w 311"/>
                <a:gd name="T31" fmla="*/ 424 h 438"/>
                <a:gd name="T32" fmla="*/ 27 w 311"/>
                <a:gd name="T33" fmla="*/ 428 h 438"/>
                <a:gd name="T34" fmla="*/ 47 w 311"/>
                <a:gd name="T35" fmla="*/ 432 h 438"/>
                <a:gd name="T36" fmla="*/ 71 w 311"/>
                <a:gd name="T37" fmla="*/ 435 h 438"/>
                <a:gd name="T38" fmla="*/ 97 w 311"/>
                <a:gd name="T39" fmla="*/ 437 h 438"/>
                <a:gd name="T40" fmla="*/ 125 w 311"/>
                <a:gd name="T41" fmla="*/ 438 h 438"/>
                <a:gd name="T42" fmla="*/ 154 w 311"/>
                <a:gd name="T43" fmla="*/ 438 h 438"/>
                <a:gd name="T44" fmla="*/ 184 w 311"/>
                <a:gd name="T45" fmla="*/ 438 h 438"/>
                <a:gd name="T46" fmla="*/ 211 w 311"/>
                <a:gd name="T47" fmla="*/ 437 h 438"/>
                <a:gd name="T48" fmla="*/ 238 w 311"/>
                <a:gd name="T49" fmla="*/ 435 h 438"/>
                <a:gd name="T50" fmla="*/ 262 w 311"/>
                <a:gd name="T51" fmla="*/ 432 h 438"/>
                <a:gd name="T52" fmla="*/ 281 w 311"/>
                <a:gd name="T53" fmla="*/ 429 h 438"/>
                <a:gd name="T54" fmla="*/ 298 w 311"/>
                <a:gd name="T55" fmla="*/ 424 h 438"/>
                <a:gd name="T56" fmla="*/ 303 w 311"/>
                <a:gd name="T57" fmla="*/ 422 h 438"/>
                <a:gd name="T58" fmla="*/ 308 w 311"/>
                <a:gd name="T59" fmla="*/ 419 h 438"/>
                <a:gd name="T60" fmla="*/ 310 w 311"/>
                <a:gd name="T61" fmla="*/ 417 h 438"/>
                <a:gd name="T62" fmla="*/ 311 w 311"/>
                <a:gd name="T63" fmla="*/ 413 h 438"/>
                <a:gd name="T64" fmla="*/ 311 w 311"/>
                <a:gd name="T65" fmla="*/ 413 h 438"/>
                <a:gd name="T66" fmla="*/ 310 w 311"/>
                <a:gd name="T67" fmla="*/ 400 h 438"/>
                <a:gd name="T68" fmla="*/ 309 w 311"/>
                <a:gd name="T69" fmla="*/ 383 h 438"/>
                <a:gd name="T70" fmla="*/ 302 w 311"/>
                <a:gd name="T71" fmla="*/ 336 h 438"/>
                <a:gd name="T72" fmla="*/ 291 w 311"/>
                <a:gd name="T73" fmla="*/ 277 h 438"/>
                <a:gd name="T74" fmla="*/ 278 w 311"/>
                <a:gd name="T75" fmla="*/ 212 h 438"/>
                <a:gd name="T76" fmla="*/ 265 w 311"/>
                <a:gd name="T77" fmla="*/ 146 h 438"/>
                <a:gd name="T78" fmla="*/ 252 w 311"/>
                <a:gd name="T79" fmla="*/ 85 h 438"/>
                <a:gd name="T80" fmla="*/ 240 w 311"/>
                <a:gd name="T81" fmla="*/ 34 h 438"/>
                <a:gd name="T82" fmla="*/ 230 w 311"/>
                <a:gd name="T83" fmla="*/ 0 h 438"/>
                <a:gd name="T84" fmla="*/ 230 w 311"/>
                <a:gd name="T8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8">
                  <a:moveTo>
                    <a:pt x="230" y="0"/>
                  </a:moveTo>
                  <a:lnTo>
                    <a:pt x="81" y="0"/>
                  </a:lnTo>
                  <a:lnTo>
                    <a:pt x="81" y="0"/>
                  </a:lnTo>
                  <a:lnTo>
                    <a:pt x="76" y="16"/>
                  </a:lnTo>
                  <a:lnTo>
                    <a:pt x="71" y="36"/>
                  </a:lnTo>
                  <a:lnTo>
                    <a:pt x="59" y="89"/>
                  </a:lnTo>
                  <a:lnTo>
                    <a:pt x="45" y="153"/>
                  </a:lnTo>
                  <a:lnTo>
                    <a:pt x="32" y="221"/>
                  </a:lnTo>
                  <a:lnTo>
                    <a:pt x="10" y="346"/>
                  </a:lnTo>
                  <a:lnTo>
                    <a:pt x="3" y="390"/>
                  </a:lnTo>
                  <a:lnTo>
                    <a:pt x="0" y="413"/>
                  </a:lnTo>
                  <a:lnTo>
                    <a:pt x="0" y="413"/>
                  </a:lnTo>
                  <a:lnTo>
                    <a:pt x="1" y="417"/>
                  </a:lnTo>
                  <a:lnTo>
                    <a:pt x="3" y="419"/>
                  </a:lnTo>
                  <a:lnTo>
                    <a:pt x="7" y="422"/>
                  </a:lnTo>
                  <a:lnTo>
                    <a:pt x="12" y="424"/>
                  </a:lnTo>
                  <a:lnTo>
                    <a:pt x="27" y="428"/>
                  </a:lnTo>
                  <a:lnTo>
                    <a:pt x="47" y="432"/>
                  </a:lnTo>
                  <a:lnTo>
                    <a:pt x="71" y="435"/>
                  </a:lnTo>
                  <a:lnTo>
                    <a:pt x="97" y="437"/>
                  </a:lnTo>
                  <a:lnTo>
                    <a:pt x="125" y="438"/>
                  </a:lnTo>
                  <a:lnTo>
                    <a:pt x="154" y="438"/>
                  </a:lnTo>
                  <a:lnTo>
                    <a:pt x="184" y="438"/>
                  </a:lnTo>
                  <a:lnTo>
                    <a:pt x="211" y="437"/>
                  </a:lnTo>
                  <a:lnTo>
                    <a:pt x="238" y="435"/>
                  </a:lnTo>
                  <a:lnTo>
                    <a:pt x="262" y="432"/>
                  </a:lnTo>
                  <a:lnTo>
                    <a:pt x="281" y="429"/>
                  </a:lnTo>
                  <a:lnTo>
                    <a:pt x="298" y="424"/>
                  </a:lnTo>
                  <a:lnTo>
                    <a:pt x="303" y="422"/>
                  </a:lnTo>
                  <a:lnTo>
                    <a:pt x="308" y="419"/>
                  </a:lnTo>
                  <a:lnTo>
                    <a:pt x="310" y="417"/>
                  </a:lnTo>
                  <a:lnTo>
                    <a:pt x="311" y="413"/>
                  </a:lnTo>
                  <a:lnTo>
                    <a:pt x="311" y="413"/>
                  </a:lnTo>
                  <a:lnTo>
                    <a:pt x="310" y="400"/>
                  </a:lnTo>
                  <a:lnTo>
                    <a:pt x="309" y="383"/>
                  </a:lnTo>
                  <a:lnTo>
                    <a:pt x="302" y="336"/>
                  </a:lnTo>
                  <a:lnTo>
                    <a:pt x="291" y="277"/>
                  </a:lnTo>
                  <a:lnTo>
                    <a:pt x="278" y="212"/>
                  </a:lnTo>
                  <a:lnTo>
                    <a:pt x="265" y="146"/>
                  </a:lnTo>
                  <a:lnTo>
                    <a:pt x="252" y="85"/>
                  </a:lnTo>
                  <a:lnTo>
                    <a:pt x="240" y="34"/>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3" name="Freeform 2397"/>
            <p:cNvSpPr>
              <a:spLocks/>
            </p:cNvSpPr>
            <p:nvPr/>
          </p:nvSpPr>
          <p:spPr bwMode="auto">
            <a:xfrm>
              <a:off x="8420100" y="5238751"/>
              <a:ext cx="82550" cy="115888"/>
            </a:xfrm>
            <a:custGeom>
              <a:avLst/>
              <a:gdLst>
                <a:gd name="T0" fmla="*/ 230 w 311"/>
                <a:gd name="T1" fmla="*/ 0 h 437"/>
                <a:gd name="T2" fmla="*/ 81 w 311"/>
                <a:gd name="T3" fmla="*/ 0 h 437"/>
                <a:gd name="T4" fmla="*/ 81 w 311"/>
                <a:gd name="T5" fmla="*/ 0 h 437"/>
                <a:gd name="T6" fmla="*/ 76 w 311"/>
                <a:gd name="T7" fmla="*/ 15 h 437"/>
                <a:gd name="T8" fmla="*/ 71 w 311"/>
                <a:gd name="T9" fmla="*/ 35 h 437"/>
                <a:gd name="T10" fmla="*/ 59 w 311"/>
                <a:gd name="T11" fmla="*/ 88 h 437"/>
                <a:gd name="T12" fmla="*/ 45 w 311"/>
                <a:gd name="T13" fmla="*/ 152 h 437"/>
                <a:gd name="T14" fmla="*/ 32 w 311"/>
                <a:gd name="T15" fmla="*/ 221 h 437"/>
                <a:gd name="T16" fmla="*/ 10 w 311"/>
                <a:gd name="T17" fmla="*/ 346 h 437"/>
                <a:gd name="T18" fmla="*/ 3 w 311"/>
                <a:gd name="T19" fmla="*/ 389 h 437"/>
                <a:gd name="T20" fmla="*/ 0 w 311"/>
                <a:gd name="T21" fmla="*/ 413 h 437"/>
                <a:gd name="T22" fmla="*/ 0 w 311"/>
                <a:gd name="T23" fmla="*/ 413 h 437"/>
                <a:gd name="T24" fmla="*/ 1 w 311"/>
                <a:gd name="T25" fmla="*/ 416 h 437"/>
                <a:gd name="T26" fmla="*/ 3 w 311"/>
                <a:gd name="T27" fmla="*/ 418 h 437"/>
                <a:gd name="T28" fmla="*/ 7 w 311"/>
                <a:gd name="T29" fmla="*/ 421 h 437"/>
                <a:gd name="T30" fmla="*/ 12 w 311"/>
                <a:gd name="T31" fmla="*/ 423 h 437"/>
                <a:gd name="T32" fmla="*/ 27 w 311"/>
                <a:gd name="T33" fmla="*/ 427 h 437"/>
                <a:gd name="T34" fmla="*/ 47 w 311"/>
                <a:gd name="T35" fmla="*/ 431 h 437"/>
                <a:gd name="T36" fmla="*/ 71 w 311"/>
                <a:gd name="T37" fmla="*/ 434 h 437"/>
                <a:gd name="T38" fmla="*/ 97 w 311"/>
                <a:gd name="T39" fmla="*/ 436 h 437"/>
                <a:gd name="T40" fmla="*/ 125 w 311"/>
                <a:gd name="T41" fmla="*/ 437 h 437"/>
                <a:gd name="T42" fmla="*/ 154 w 311"/>
                <a:gd name="T43" fmla="*/ 437 h 437"/>
                <a:gd name="T44" fmla="*/ 184 w 311"/>
                <a:gd name="T45" fmla="*/ 437 h 437"/>
                <a:gd name="T46" fmla="*/ 211 w 311"/>
                <a:gd name="T47" fmla="*/ 436 h 437"/>
                <a:gd name="T48" fmla="*/ 238 w 311"/>
                <a:gd name="T49" fmla="*/ 434 h 437"/>
                <a:gd name="T50" fmla="*/ 262 w 311"/>
                <a:gd name="T51" fmla="*/ 431 h 437"/>
                <a:gd name="T52" fmla="*/ 281 w 311"/>
                <a:gd name="T53" fmla="*/ 428 h 437"/>
                <a:gd name="T54" fmla="*/ 298 w 311"/>
                <a:gd name="T55" fmla="*/ 423 h 437"/>
                <a:gd name="T56" fmla="*/ 303 w 311"/>
                <a:gd name="T57" fmla="*/ 421 h 437"/>
                <a:gd name="T58" fmla="*/ 308 w 311"/>
                <a:gd name="T59" fmla="*/ 418 h 437"/>
                <a:gd name="T60" fmla="*/ 310 w 311"/>
                <a:gd name="T61" fmla="*/ 416 h 437"/>
                <a:gd name="T62" fmla="*/ 311 w 311"/>
                <a:gd name="T63" fmla="*/ 413 h 437"/>
                <a:gd name="T64" fmla="*/ 311 w 311"/>
                <a:gd name="T65" fmla="*/ 413 h 437"/>
                <a:gd name="T66" fmla="*/ 310 w 311"/>
                <a:gd name="T67" fmla="*/ 400 h 437"/>
                <a:gd name="T68" fmla="*/ 309 w 311"/>
                <a:gd name="T69" fmla="*/ 382 h 437"/>
                <a:gd name="T70" fmla="*/ 302 w 311"/>
                <a:gd name="T71" fmla="*/ 336 h 437"/>
                <a:gd name="T72" fmla="*/ 291 w 311"/>
                <a:gd name="T73" fmla="*/ 277 h 437"/>
                <a:gd name="T74" fmla="*/ 278 w 311"/>
                <a:gd name="T75" fmla="*/ 211 h 437"/>
                <a:gd name="T76" fmla="*/ 265 w 311"/>
                <a:gd name="T77" fmla="*/ 145 h 437"/>
                <a:gd name="T78" fmla="*/ 252 w 311"/>
                <a:gd name="T79" fmla="*/ 84 h 437"/>
                <a:gd name="T80" fmla="*/ 240 w 311"/>
                <a:gd name="T81" fmla="*/ 33 h 437"/>
                <a:gd name="T82" fmla="*/ 230 w 311"/>
                <a:gd name="T83" fmla="*/ 0 h 437"/>
                <a:gd name="T84" fmla="*/ 230 w 311"/>
                <a:gd name="T85"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7">
                  <a:moveTo>
                    <a:pt x="230" y="0"/>
                  </a:moveTo>
                  <a:lnTo>
                    <a:pt x="81" y="0"/>
                  </a:lnTo>
                  <a:lnTo>
                    <a:pt x="81" y="0"/>
                  </a:lnTo>
                  <a:lnTo>
                    <a:pt x="76" y="15"/>
                  </a:lnTo>
                  <a:lnTo>
                    <a:pt x="71" y="35"/>
                  </a:lnTo>
                  <a:lnTo>
                    <a:pt x="59" y="88"/>
                  </a:lnTo>
                  <a:lnTo>
                    <a:pt x="45" y="152"/>
                  </a:lnTo>
                  <a:lnTo>
                    <a:pt x="32" y="221"/>
                  </a:lnTo>
                  <a:lnTo>
                    <a:pt x="10" y="346"/>
                  </a:lnTo>
                  <a:lnTo>
                    <a:pt x="3" y="389"/>
                  </a:lnTo>
                  <a:lnTo>
                    <a:pt x="0" y="413"/>
                  </a:lnTo>
                  <a:lnTo>
                    <a:pt x="0" y="413"/>
                  </a:lnTo>
                  <a:lnTo>
                    <a:pt x="1" y="416"/>
                  </a:lnTo>
                  <a:lnTo>
                    <a:pt x="3" y="418"/>
                  </a:lnTo>
                  <a:lnTo>
                    <a:pt x="7" y="421"/>
                  </a:lnTo>
                  <a:lnTo>
                    <a:pt x="12" y="423"/>
                  </a:lnTo>
                  <a:lnTo>
                    <a:pt x="27" y="427"/>
                  </a:lnTo>
                  <a:lnTo>
                    <a:pt x="47" y="431"/>
                  </a:lnTo>
                  <a:lnTo>
                    <a:pt x="71" y="434"/>
                  </a:lnTo>
                  <a:lnTo>
                    <a:pt x="97" y="436"/>
                  </a:lnTo>
                  <a:lnTo>
                    <a:pt x="125" y="437"/>
                  </a:lnTo>
                  <a:lnTo>
                    <a:pt x="154" y="437"/>
                  </a:lnTo>
                  <a:lnTo>
                    <a:pt x="184" y="437"/>
                  </a:lnTo>
                  <a:lnTo>
                    <a:pt x="211" y="436"/>
                  </a:lnTo>
                  <a:lnTo>
                    <a:pt x="238" y="434"/>
                  </a:lnTo>
                  <a:lnTo>
                    <a:pt x="262" y="431"/>
                  </a:lnTo>
                  <a:lnTo>
                    <a:pt x="281" y="428"/>
                  </a:lnTo>
                  <a:lnTo>
                    <a:pt x="298" y="423"/>
                  </a:lnTo>
                  <a:lnTo>
                    <a:pt x="303" y="421"/>
                  </a:lnTo>
                  <a:lnTo>
                    <a:pt x="308" y="418"/>
                  </a:lnTo>
                  <a:lnTo>
                    <a:pt x="310" y="416"/>
                  </a:lnTo>
                  <a:lnTo>
                    <a:pt x="311" y="413"/>
                  </a:lnTo>
                  <a:lnTo>
                    <a:pt x="311" y="413"/>
                  </a:lnTo>
                  <a:lnTo>
                    <a:pt x="310" y="400"/>
                  </a:lnTo>
                  <a:lnTo>
                    <a:pt x="309" y="382"/>
                  </a:lnTo>
                  <a:lnTo>
                    <a:pt x="302" y="336"/>
                  </a:lnTo>
                  <a:lnTo>
                    <a:pt x="291" y="277"/>
                  </a:lnTo>
                  <a:lnTo>
                    <a:pt x="278" y="211"/>
                  </a:lnTo>
                  <a:lnTo>
                    <a:pt x="265" y="145"/>
                  </a:lnTo>
                  <a:lnTo>
                    <a:pt x="252" y="84"/>
                  </a:lnTo>
                  <a:lnTo>
                    <a:pt x="240" y="33"/>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4" name="Freeform 2398"/>
            <p:cNvSpPr>
              <a:spLocks/>
            </p:cNvSpPr>
            <p:nvPr/>
          </p:nvSpPr>
          <p:spPr bwMode="auto">
            <a:xfrm>
              <a:off x="8420100" y="5214938"/>
              <a:ext cx="82550" cy="115888"/>
            </a:xfrm>
            <a:custGeom>
              <a:avLst/>
              <a:gdLst>
                <a:gd name="T0" fmla="*/ 230 w 311"/>
                <a:gd name="T1" fmla="*/ 0 h 439"/>
                <a:gd name="T2" fmla="*/ 81 w 311"/>
                <a:gd name="T3" fmla="*/ 0 h 439"/>
                <a:gd name="T4" fmla="*/ 81 w 311"/>
                <a:gd name="T5" fmla="*/ 0 h 439"/>
                <a:gd name="T6" fmla="*/ 76 w 311"/>
                <a:gd name="T7" fmla="*/ 17 h 439"/>
                <a:gd name="T8" fmla="*/ 71 w 311"/>
                <a:gd name="T9" fmla="*/ 37 h 439"/>
                <a:gd name="T10" fmla="*/ 59 w 311"/>
                <a:gd name="T11" fmla="*/ 90 h 439"/>
                <a:gd name="T12" fmla="*/ 45 w 311"/>
                <a:gd name="T13" fmla="*/ 154 h 439"/>
                <a:gd name="T14" fmla="*/ 32 w 311"/>
                <a:gd name="T15" fmla="*/ 222 h 439"/>
                <a:gd name="T16" fmla="*/ 10 w 311"/>
                <a:gd name="T17" fmla="*/ 347 h 439"/>
                <a:gd name="T18" fmla="*/ 3 w 311"/>
                <a:gd name="T19" fmla="*/ 391 h 439"/>
                <a:gd name="T20" fmla="*/ 0 w 311"/>
                <a:gd name="T21" fmla="*/ 414 h 439"/>
                <a:gd name="T22" fmla="*/ 0 w 311"/>
                <a:gd name="T23" fmla="*/ 414 h 439"/>
                <a:gd name="T24" fmla="*/ 1 w 311"/>
                <a:gd name="T25" fmla="*/ 416 h 439"/>
                <a:gd name="T26" fmla="*/ 3 w 311"/>
                <a:gd name="T27" fmla="*/ 419 h 439"/>
                <a:gd name="T28" fmla="*/ 7 w 311"/>
                <a:gd name="T29" fmla="*/ 422 h 439"/>
                <a:gd name="T30" fmla="*/ 12 w 311"/>
                <a:gd name="T31" fmla="*/ 424 h 439"/>
                <a:gd name="T32" fmla="*/ 27 w 311"/>
                <a:gd name="T33" fmla="*/ 429 h 439"/>
                <a:gd name="T34" fmla="*/ 47 w 311"/>
                <a:gd name="T35" fmla="*/ 433 h 439"/>
                <a:gd name="T36" fmla="*/ 71 w 311"/>
                <a:gd name="T37" fmla="*/ 436 h 439"/>
                <a:gd name="T38" fmla="*/ 97 w 311"/>
                <a:gd name="T39" fmla="*/ 437 h 439"/>
                <a:gd name="T40" fmla="*/ 125 w 311"/>
                <a:gd name="T41" fmla="*/ 439 h 439"/>
                <a:gd name="T42" fmla="*/ 154 w 311"/>
                <a:gd name="T43" fmla="*/ 439 h 439"/>
                <a:gd name="T44" fmla="*/ 184 w 311"/>
                <a:gd name="T45" fmla="*/ 439 h 439"/>
                <a:gd name="T46" fmla="*/ 211 w 311"/>
                <a:gd name="T47" fmla="*/ 438 h 439"/>
                <a:gd name="T48" fmla="*/ 238 w 311"/>
                <a:gd name="T49" fmla="*/ 436 h 439"/>
                <a:gd name="T50" fmla="*/ 262 w 311"/>
                <a:gd name="T51" fmla="*/ 433 h 439"/>
                <a:gd name="T52" fmla="*/ 281 w 311"/>
                <a:gd name="T53" fmla="*/ 430 h 439"/>
                <a:gd name="T54" fmla="*/ 298 w 311"/>
                <a:gd name="T55" fmla="*/ 424 h 439"/>
                <a:gd name="T56" fmla="*/ 303 w 311"/>
                <a:gd name="T57" fmla="*/ 422 h 439"/>
                <a:gd name="T58" fmla="*/ 308 w 311"/>
                <a:gd name="T59" fmla="*/ 419 h 439"/>
                <a:gd name="T60" fmla="*/ 310 w 311"/>
                <a:gd name="T61" fmla="*/ 416 h 439"/>
                <a:gd name="T62" fmla="*/ 311 w 311"/>
                <a:gd name="T63" fmla="*/ 413 h 439"/>
                <a:gd name="T64" fmla="*/ 311 w 311"/>
                <a:gd name="T65" fmla="*/ 413 h 439"/>
                <a:gd name="T66" fmla="*/ 310 w 311"/>
                <a:gd name="T67" fmla="*/ 401 h 439"/>
                <a:gd name="T68" fmla="*/ 309 w 311"/>
                <a:gd name="T69" fmla="*/ 384 h 439"/>
                <a:gd name="T70" fmla="*/ 302 w 311"/>
                <a:gd name="T71" fmla="*/ 337 h 439"/>
                <a:gd name="T72" fmla="*/ 291 w 311"/>
                <a:gd name="T73" fmla="*/ 278 h 439"/>
                <a:gd name="T74" fmla="*/ 278 w 311"/>
                <a:gd name="T75" fmla="*/ 213 h 439"/>
                <a:gd name="T76" fmla="*/ 265 w 311"/>
                <a:gd name="T77" fmla="*/ 147 h 439"/>
                <a:gd name="T78" fmla="*/ 252 w 311"/>
                <a:gd name="T79" fmla="*/ 86 h 439"/>
                <a:gd name="T80" fmla="*/ 240 w 311"/>
                <a:gd name="T81" fmla="*/ 35 h 439"/>
                <a:gd name="T82" fmla="*/ 230 w 311"/>
                <a:gd name="T83" fmla="*/ 0 h 439"/>
                <a:gd name="T84" fmla="*/ 230 w 311"/>
                <a:gd name="T85" fmla="*/ 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9">
                  <a:moveTo>
                    <a:pt x="230" y="0"/>
                  </a:moveTo>
                  <a:lnTo>
                    <a:pt x="81" y="0"/>
                  </a:lnTo>
                  <a:lnTo>
                    <a:pt x="81" y="0"/>
                  </a:lnTo>
                  <a:lnTo>
                    <a:pt x="76" y="17"/>
                  </a:lnTo>
                  <a:lnTo>
                    <a:pt x="71" y="37"/>
                  </a:lnTo>
                  <a:lnTo>
                    <a:pt x="59" y="90"/>
                  </a:lnTo>
                  <a:lnTo>
                    <a:pt x="45" y="154"/>
                  </a:lnTo>
                  <a:lnTo>
                    <a:pt x="32" y="222"/>
                  </a:lnTo>
                  <a:lnTo>
                    <a:pt x="10" y="347"/>
                  </a:lnTo>
                  <a:lnTo>
                    <a:pt x="3" y="391"/>
                  </a:lnTo>
                  <a:lnTo>
                    <a:pt x="0" y="414"/>
                  </a:lnTo>
                  <a:lnTo>
                    <a:pt x="0" y="414"/>
                  </a:lnTo>
                  <a:lnTo>
                    <a:pt x="1" y="416"/>
                  </a:lnTo>
                  <a:lnTo>
                    <a:pt x="3" y="419"/>
                  </a:lnTo>
                  <a:lnTo>
                    <a:pt x="7" y="422"/>
                  </a:lnTo>
                  <a:lnTo>
                    <a:pt x="12" y="424"/>
                  </a:lnTo>
                  <a:lnTo>
                    <a:pt x="27" y="429"/>
                  </a:lnTo>
                  <a:lnTo>
                    <a:pt x="47" y="433"/>
                  </a:lnTo>
                  <a:lnTo>
                    <a:pt x="71" y="436"/>
                  </a:lnTo>
                  <a:lnTo>
                    <a:pt x="97" y="437"/>
                  </a:lnTo>
                  <a:lnTo>
                    <a:pt x="125" y="439"/>
                  </a:lnTo>
                  <a:lnTo>
                    <a:pt x="154" y="439"/>
                  </a:lnTo>
                  <a:lnTo>
                    <a:pt x="184" y="439"/>
                  </a:lnTo>
                  <a:lnTo>
                    <a:pt x="211" y="438"/>
                  </a:lnTo>
                  <a:lnTo>
                    <a:pt x="238" y="436"/>
                  </a:lnTo>
                  <a:lnTo>
                    <a:pt x="262" y="433"/>
                  </a:lnTo>
                  <a:lnTo>
                    <a:pt x="281" y="430"/>
                  </a:lnTo>
                  <a:lnTo>
                    <a:pt x="298" y="424"/>
                  </a:lnTo>
                  <a:lnTo>
                    <a:pt x="303" y="422"/>
                  </a:lnTo>
                  <a:lnTo>
                    <a:pt x="308" y="419"/>
                  </a:lnTo>
                  <a:lnTo>
                    <a:pt x="310" y="416"/>
                  </a:lnTo>
                  <a:lnTo>
                    <a:pt x="311" y="413"/>
                  </a:lnTo>
                  <a:lnTo>
                    <a:pt x="311" y="413"/>
                  </a:lnTo>
                  <a:lnTo>
                    <a:pt x="310" y="401"/>
                  </a:lnTo>
                  <a:lnTo>
                    <a:pt x="309" y="384"/>
                  </a:lnTo>
                  <a:lnTo>
                    <a:pt x="302" y="337"/>
                  </a:lnTo>
                  <a:lnTo>
                    <a:pt x="291" y="278"/>
                  </a:lnTo>
                  <a:lnTo>
                    <a:pt x="278" y="213"/>
                  </a:lnTo>
                  <a:lnTo>
                    <a:pt x="265" y="147"/>
                  </a:lnTo>
                  <a:lnTo>
                    <a:pt x="252" y="86"/>
                  </a:lnTo>
                  <a:lnTo>
                    <a:pt x="240" y="35"/>
                  </a:lnTo>
                  <a:lnTo>
                    <a:pt x="230" y="0"/>
                  </a:lnTo>
                  <a:lnTo>
                    <a:pt x="230" y="0"/>
                  </a:lnTo>
                  <a:close/>
                </a:path>
              </a:pathLst>
            </a:custGeom>
            <a:grpFill/>
            <a:ln>
              <a:solidFill>
                <a:schemeClr val="accent5">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5" name="Freeform 2399"/>
            <p:cNvSpPr>
              <a:spLocks/>
            </p:cNvSpPr>
            <p:nvPr/>
          </p:nvSpPr>
          <p:spPr bwMode="auto">
            <a:xfrm>
              <a:off x="8516938" y="5287963"/>
              <a:ext cx="82550" cy="115888"/>
            </a:xfrm>
            <a:custGeom>
              <a:avLst/>
              <a:gdLst>
                <a:gd name="T0" fmla="*/ 230 w 311"/>
                <a:gd name="T1" fmla="*/ 0 h 437"/>
                <a:gd name="T2" fmla="*/ 81 w 311"/>
                <a:gd name="T3" fmla="*/ 0 h 437"/>
                <a:gd name="T4" fmla="*/ 81 w 311"/>
                <a:gd name="T5" fmla="*/ 0 h 437"/>
                <a:gd name="T6" fmla="*/ 76 w 311"/>
                <a:gd name="T7" fmla="*/ 15 h 437"/>
                <a:gd name="T8" fmla="*/ 71 w 311"/>
                <a:gd name="T9" fmla="*/ 36 h 437"/>
                <a:gd name="T10" fmla="*/ 59 w 311"/>
                <a:gd name="T11" fmla="*/ 88 h 437"/>
                <a:gd name="T12" fmla="*/ 46 w 311"/>
                <a:gd name="T13" fmla="*/ 153 h 437"/>
                <a:gd name="T14" fmla="*/ 32 w 311"/>
                <a:gd name="T15" fmla="*/ 221 h 437"/>
                <a:gd name="T16" fmla="*/ 10 w 311"/>
                <a:gd name="T17" fmla="*/ 346 h 437"/>
                <a:gd name="T18" fmla="*/ 3 w 311"/>
                <a:gd name="T19" fmla="*/ 390 h 437"/>
                <a:gd name="T20" fmla="*/ 0 w 311"/>
                <a:gd name="T21" fmla="*/ 413 h 437"/>
                <a:gd name="T22" fmla="*/ 0 w 311"/>
                <a:gd name="T23" fmla="*/ 413 h 437"/>
                <a:gd name="T24" fmla="*/ 1 w 311"/>
                <a:gd name="T25" fmla="*/ 416 h 437"/>
                <a:gd name="T26" fmla="*/ 3 w 311"/>
                <a:gd name="T27" fmla="*/ 418 h 437"/>
                <a:gd name="T28" fmla="*/ 7 w 311"/>
                <a:gd name="T29" fmla="*/ 421 h 437"/>
                <a:gd name="T30" fmla="*/ 12 w 311"/>
                <a:gd name="T31" fmla="*/ 423 h 437"/>
                <a:gd name="T32" fmla="*/ 27 w 311"/>
                <a:gd name="T33" fmla="*/ 428 h 437"/>
                <a:gd name="T34" fmla="*/ 48 w 311"/>
                <a:gd name="T35" fmla="*/ 431 h 437"/>
                <a:gd name="T36" fmla="*/ 71 w 311"/>
                <a:gd name="T37" fmla="*/ 434 h 437"/>
                <a:gd name="T38" fmla="*/ 96 w 311"/>
                <a:gd name="T39" fmla="*/ 436 h 437"/>
                <a:gd name="T40" fmla="*/ 125 w 311"/>
                <a:gd name="T41" fmla="*/ 437 h 437"/>
                <a:gd name="T42" fmla="*/ 154 w 311"/>
                <a:gd name="T43" fmla="*/ 437 h 437"/>
                <a:gd name="T44" fmla="*/ 183 w 311"/>
                <a:gd name="T45" fmla="*/ 437 h 437"/>
                <a:gd name="T46" fmla="*/ 211 w 311"/>
                <a:gd name="T47" fmla="*/ 436 h 437"/>
                <a:gd name="T48" fmla="*/ 238 w 311"/>
                <a:gd name="T49" fmla="*/ 434 h 437"/>
                <a:gd name="T50" fmla="*/ 262 w 311"/>
                <a:gd name="T51" fmla="*/ 431 h 437"/>
                <a:gd name="T52" fmla="*/ 282 w 311"/>
                <a:gd name="T53" fmla="*/ 428 h 437"/>
                <a:gd name="T54" fmla="*/ 298 w 311"/>
                <a:gd name="T55" fmla="*/ 423 h 437"/>
                <a:gd name="T56" fmla="*/ 303 w 311"/>
                <a:gd name="T57" fmla="*/ 421 h 437"/>
                <a:gd name="T58" fmla="*/ 307 w 311"/>
                <a:gd name="T59" fmla="*/ 418 h 437"/>
                <a:gd name="T60" fmla="*/ 310 w 311"/>
                <a:gd name="T61" fmla="*/ 416 h 437"/>
                <a:gd name="T62" fmla="*/ 311 w 311"/>
                <a:gd name="T63" fmla="*/ 413 h 437"/>
                <a:gd name="T64" fmla="*/ 311 w 311"/>
                <a:gd name="T65" fmla="*/ 413 h 437"/>
                <a:gd name="T66" fmla="*/ 310 w 311"/>
                <a:gd name="T67" fmla="*/ 400 h 437"/>
                <a:gd name="T68" fmla="*/ 308 w 311"/>
                <a:gd name="T69" fmla="*/ 382 h 437"/>
                <a:gd name="T70" fmla="*/ 302 w 311"/>
                <a:gd name="T71" fmla="*/ 336 h 437"/>
                <a:gd name="T72" fmla="*/ 291 w 311"/>
                <a:gd name="T73" fmla="*/ 277 h 437"/>
                <a:gd name="T74" fmla="*/ 278 w 311"/>
                <a:gd name="T75" fmla="*/ 212 h 437"/>
                <a:gd name="T76" fmla="*/ 265 w 311"/>
                <a:gd name="T77" fmla="*/ 145 h 437"/>
                <a:gd name="T78" fmla="*/ 252 w 311"/>
                <a:gd name="T79" fmla="*/ 84 h 437"/>
                <a:gd name="T80" fmla="*/ 240 w 311"/>
                <a:gd name="T81" fmla="*/ 34 h 437"/>
                <a:gd name="T82" fmla="*/ 230 w 311"/>
                <a:gd name="T83" fmla="*/ 0 h 437"/>
                <a:gd name="T84" fmla="*/ 230 w 311"/>
                <a:gd name="T85"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7">
                  <a:moveTo>
                    <a:pt x="230" y="0"/>
                  </a:moveTo>
                  <a:lnTo>
                    <a:pt x="81" y="0"/>
                  </a:lnTo>
                  <a:lnTo>
                    <a:pt x="81" y="0"/>
                  </a:lnTo>
                  <a:lnTo>
                    <a:pt x="76" y="15"/>
                  </a:lnTo>
                  <a:lnTo>
                    <a:pt x="71" y="36"/>
                  </a:lnTo>
                  <a:lnTo>
                    <a:pt x="59" y="88"/>
                  </a:lnTo>
                  <a:lnTo>
                    <a:pt x="46" y="153"/>
                  </a:lnTo>
                  <a:lnTo>
                    <a:pt x="32" y="221"/>
                  </a:lnTo>
                  <a:lnTo>
                    <a:pt x="10" y="346"/>
                  </a:lnTo>
                  <a:lnTo>
                    <a:pt x="3" y="390"/>
                  </a:lnTo>
                  <a:lnTo>
                    <a:pt x="0" y="413"/>
                  </a:lnTo>
                  <a:lnTo>
                    <a:pt x="0" y="413"/>
                  </a:lnTo>
                  <a:lnTo>
                    <a:pt x="1" y="416"/>
                  </a:lnTo>
                  <a:lnTo>
                    <a:pt x="3" y="418"/>
                  </a:lnTo>
                  <a:lnTo>
                    <a:pt x="7" y="421"/>
                  </a:lnTo>
                  <a:lnTo>
                    <a:pt x="12" y="423"/>
                  </a:lnTo>
                  <a:lnTo>
                    <a:pt x="27" y="428"/>
                  </a:lnTo>
                  <a:lnTo>
                    <a:pt x="48" y="431"/>
                  </a:lnTo>
                  <a:lnTo>
                    <a:pt x="71" y="434"/>
                  </a:lnTo>
                  <a:lnTo>
                    <a:pt x="96" y="436"/>
                  </a:lnTo>
                  <a:lnTo>
                    <a:pt x="125" y="437"/>
                  </a:lnTo>
                  <a:lnTo>
                    <a:pt x="154" y="437"/>
                  </a:lnTo>
                  <a:lnTo>
                    <a:pt x="183" y="437"/>
                  </a:lnTo>
                  <a:lnTo>
                    <a:pt x="211" y="436"/>
                  </a:lnTo>
                  <a:lnTo>
                    <a:pt x="238" y="434"/>
                  </a:lnTo>
                  <a:lnTo>
                    <a:pt x="262" y="431"/>
                  </a:lnTo>
                  <a:lnTo>
                    <a:pt x="282" y="428"/>
                  </a:lnTo>
                  <a:lnTo>
                    <a:pt x="298" y="423"/>
                  </a:lnTo>
                  <a:lnTo>
                    <a:pt x="303" y="421"/>
                  </a:lnTo>
                  <a:lnTo>
                    <a:pt x="307" y="418"/>
                  </a:lnTo>
                  <a:lnTo>
                    <a:pt x="310" y="416"/>
                  </a:lnTo>
                  <a:lnTo>
                    <a:pt x="311" y="413"/>
                  </a:lnTo>
                  <a:lnTo>
                    <a:pt x="311" y="413"/>
                  </a:lnTo>
                  <a:lnTo>
                    <a:pt x="310" y="400"/>
                  </a:lnTo>
                  <a:lnTo>
                    <a:pt x="308" y="382"/>
                  </a:lnTo>
                  <a:lnTo>
                    <a:pt x="302" y="336"/>
                  </a:lnTo>
                  <a:lnTo>
                    <a:pt x="291" y="277"/>
                  </a:lnTo>
                  <a:lnTo>
                    <a:pt x="278" y="212"/>
                  </a:lnTo>
                  <a:lnTo>
                    <a:pt x="265" y="145"/>
                  </a:lnTo>
                  <a:lnTo>
                    <a:pt x="252" y="84"/>
                  </a:lnTo>
                  <a:lnTo>
                    <a:pt x="240" y="34"/>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6" name="Freeform 2400"/>
            <p:cNvSpPr>
              <a:spLocks/>
            </p:cNvSpPr>
            <p:nvPr/>
          </p:nvSpPr>
          <p:spPr bwMode="auto">
            <a:xfrm>
              <a:off x="8516938" y="5262563"/>
              <a:ext cx="82550" cy="115888"/>
            </a:xfrm>
            <a:custGeom>
              <a:avLst/>
              <a:gdLst>
                <a:gd name="T0" fmla="*/ 230 w 311"/>
                <a:gd name="T1" fmla="*/ 0 h 438"/>
                <a:gd name="T2" fmla="*/ 81 w 311"/>
                <a:gd name="T3" fmla="*/ 0 h 438"/>
                <a:gd name="T4" fmla="*/ 81 w 311"/>
                <a:gd name="T5" fmla="*/ 0 h 438"/>
                <a:gd name="T6" fmla="*/ 76 w 311"/>
                <a:gd name="T7" fmla="*/ 16 h 438"/>
                <a:gd name="T8" fmla="*/ 71 w 311"/>
                <a:gd name="T9" fmla="*/ 36 h 438"/>
                <a:gd name="T10" fmla="*/ 59 w 311"/>
                <a:gd name="T11" fmla="*/ 89 h 438"/>
                <a:gd name="T12" fmla="*/ 46 w 311"/>
                <a:gd name="T13" fmla="*/ 153 h 438"/>
                <a:gd name="T14" fmla="*/ 32 w 311"/>
                <a:gd name="T15" fmla="*/ 221 h 438"/>
                <a:gd name="T16" fmla="*/ 10 w 311"/>
                <a:gd name="T17" fmla="*/ 346 h 438"/>
                <a:gd name="T18" fmla="*/ 3 w 311"/>
                <a:gd name="T19" fmla="*/ 390 h 438"/>
                <a:gd name="T20" fmla="*/ 0 w 311"/>
                <a:gd name="T21" fmla="*/ 413 h 438"/>
                <a:gd name="T22" fmla="*/ 0 w 311"/>
                <a:gd name="T23" fmla="*/ 413 h 438"/>
                <a:gd name="T24" fmla="*/ 1 w 311"/>
                <a:gd name="T25" fmla="*/ 416 h 438"/>
                <a:gd name="T26" fmla="*/ 3 w 311"/>
                <a:gd name="T27" fmla="*/ 418 h 438"/>
                <a:gd name="T28" fmla="*/ 7 w 311"/>
                <a:gd name="T29" fmla="*/ 422 h 438"/>
                <a:gd name="T30" fmla="*/ 12 w 311"/>
                <a:gd name="T31" fmla="*/ 424 h 438"/>
                <a:gd name="T32" fmla="*/ 27 w 311"/>
                <a:gd name="T33" fmla="*/ 429 h 438"/>
                <a:gd name="T34" fmla="*/ 48 w 311"/>
                <a:gd name="T35" fmla="*/ 432 h 438"/>
                <a:gd name="T36" fmla="*/ 71 w 311"/>
                <a:gd name="T37" fmla="*/ 435 h 438"/>
                <a:gd name="T38" fmla="*/ 96 w 311"/>
                <a:gd name="T39" fmla="*/ 437 h 438"/>
                <a:gd name="T40" fmla="*/ 125 w 311"/>
                <a:gd name="T41" fmla="*/ 438 h 438"/>
                <a:gd name="T42" fmla="*/ 154 w 311"/>
                <a:gd name="T43" fmla="*/ 438 h 438"/>
                <a:gd name="T44" fmla="*/ 183 w 311"/>
                <a:gd name="T45" fmla="*/ 438 h 438"/>
                <a:gd name="T46" fmla="*/ 211 w 311"/>
                <a:gd name="T47" fmla="*/ 437 h 438"/>
                <a:gd name="T48" fmla="*/ 238 w 311"/>
                <a:gd name="T49" fmla="*/ 435 h 438"/>
                <a:gd name="T50" fmla="*/ 262 w 311"/>
                <a:gd name="T51" fmla="*/ 432 h 438"/>
                <a:gd name="T52" fmla="*/ 282 w 311"/>
                <a:gd name="T53" fmla="*/ 429 h 438"/>
                <a:gd name="T54" fmla="*/ 298 w 311"/>
                <a:gd name="T55" fmla="*/ 424 h 438"/>
                <a:gd name="T56" fmla="*/ 303 w 311"/>
                <a:gd name="T57" fmla="*/ 422 h 438"/>
                <a:gd name="T58" fmla="*/ 307 w 311"/>
                <a:gd name="T59" fmla="*/ 418 h 438"/>
                <a:gd name="T60" fmla="*/ 310 w 311"/>
                <a:gd name="T61" fmla="*/ 416 h 438"/>
                <a:gd name="T62" fmla="*/ 311 w 311"/>
                <a:gd name="T63" fmla="*/ 413 h 438"/>
                <a:gd name="T64" fmla="*/ 311 w 311"/>
                <a:gd name="T65" fmla="*/ 413 h 438"/>
                <a:gd name="T66" fmla="*/ 310 w 311"/>
                <a:gd name="T67" fmla="*/ 400 h 438"/>
                <a:gd name="T68" fmla="*/ 308 w 311"/>
                <a:gd name="T69" fmla="*/ 383 h 438"/>
                <a:gd name="T70" fmla="*/ 302 w 311"/>
                <a:gd name="T71" fmla="*/ 336 h 438"/>
                <a:gd name="T72" fmla="*/ 291 w 311"/>
                <a:gd name="T73" fmla="*/ 277 h 438"/>
                <a:gd name="T74" fmla="*/ 278 w 311"/>
                <a:gd name="T75" fmla="*/ 212 h 438"/>
                <a:gd name="T76" fmla="*/ 265 w 311"/>
                <a:gd name="T77" fmla="*/ 146 h 438"/>
                <a:gd name="T78" fmla="*/ 252 w 311"/>
                <a:gd name="T79" fmla="*/ 85 h 438"/>
                <a:gd name="T80" fmla="*/ 240 w 311"/>
                <a:gd name="T81" fmla="*/ 34 h 438"/>
                <a:gd name="T82" fmla="*/ 230 w 311"/>
                <a:gd name="T83" fmla="*/ 0 h 438"/>
                <a:gd name="T84" fmla="*/ 230 w 311"/>
                <a:gd name="T8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8">
                  <a:moveTo>
                    <a:pt x="230" y="0"/>
                  </a:moveTo>
                  <a:lnTo>
                    <a:pt x="81" y="0"/>
                  </a:lnTo>
                  <a:lnTo>
                    <a:pt x="81" y="0"/>
                  </a:lnTo>
                  <a:lnTo>
                    <a:pt x="76" y="16"/>
                  </a:lnTo>
                  <a:lnTo>
                    <a:pt x="71" y="36"/>
                  </a:lnTo>
                  <a:lnTo>
                    <a:pt x="59" y="89"/>
                  </a:lnTo>
                  <a:lnTo>
                    <a:pt x="46" y="153"/>
                  </a:lnTo>
                  <a:lnTo>
                    <a:pt x="32" y="221"/>
                  </a:lnTo>
                  <a:lnTo>
                    <a:pt x="10" y="346"/>
                  </a:lnTo>
                  <a:lnTo>
                    <a:pt x="3" y="390"/>
                  </a:lnTo>
                  <a:lnTo>
                    <a:pt x="0" y="413"/>
                  </a:lnTo>
                  <a:lnTo>
                    <a:pt x="0" y="413"/>
                  </a:lnTo>
                  <a:lnTo>
                    <a:pt x="1" y="416"/>
                  </a:lnTo>
                  <a:lnTo>
                    <a:pt x="3" y="418"/>
                  </a:lnTo>
                  <a:lnTo>
                    <a:pt x="7" y="422"/>
                  </a:lnTo>
                  <a:lnTo>
                    <a:pt x="12" y="424"/>
                  </a:lnTo>
                  <a:lnTo>
                    <a:pt x="27" y="429"/>
                  </a:lnTo>
                  <a:lnTo>
                    <a:pt x="48" y="432"/>
                  </a:lnTo>
                  <a:lnTo>
                    <a:pt x="71" y="435"/>
                  </a:lnTo>
                  <a:lnTo>
                    <a:pt x="96" y="437"/>
                  </a:lnTo>
                  <a:lnTo>
                    <a:pt x="125" y="438"/>
                  </a:lnTo>
                  <a:lnTo>
                    <a:pt x="154" y="438"/>
                  </a:lnTo>
                  <a:lnTo>
                    <a:pt x="183" y="438"/>
                  </a:lnTo>
                  <a:lnTo>
                    <a:pt x="211" y="437"/>
                  </a:lnTo>
                  <a:lnTo>
                    <a:pt x="238" y="435"/>
                  </a:lnTo>
                  <a:lnTo>
                    <a:pt x="262" y="432"/>
                  </a:lnTo>
                  <a:lnTo>
                    <a:pt x="282" y="429"/>
                  </a:lnTo>
                  <a:lnTo>
                    <a:pt x="298" y="424"/>
                  </a:lnTo>
                  <a:lnTo>
                    <a:pt x="303" y="422"/>
                  </a:lnTo>
                  <a:lnTo>
                    <a:pt x="307" y="418"/>
                  </a:lnTo>
                  <a:lnTo>
                    <a:pt x="310" y="416"/>
                  </a:lnTo>
                  <a:lnTo>
                    <a:pt x="311" y="413"/>
                  </a:lnTo>
                  <a:lnTo>
                    <a:pt x="311" y="413"/>
                  </a:lnTo>
                  <a:lnTo>
                    <a:pt x="310" y="400"/>
                  </a:lnTo>
                  <a:lnTo>
                    <a:pt x="308" y="383"/>
                  </a:lnTo>
                  <a:lnTo>
                    <a:pt x="302" y="336"/>
                  </a:lnTo>
                  <a:lnTo>
                    <a:pt x="291" y="277"/>
                  </a:lnTo>
                  <a:lnTo>
                    <a:pt x="278" y="212"/>
                  </a:lnTo>
                  <a:lnTo>
                    <a:pt x="265" y="146"/>
                  </a:lnTo>
                  <a:lnTo>
                    <a:pt x="252" y="85"/>
                  </a:lnTo>
                  <a:lnTo>
                    <a:pt x="240" y="34"/>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7" name="Freeform 2401"/>
            <p:cNvSpPr>
              <a:spLocks/>
            </p:cNvSpPr>
            <p:nvPr/>
          </p:nvSpPr>
          <p:spPr bwMode="auto">
            <a:xfrm>
              <a:off x="8516938" y="5237163"/>
              <a:ext cx="82550" cy="115888"/>
            </a:xfrm>
            <a:custGeom>
              <a:avLst/>
              <a:gdLst>
                <a:gd name="T0" fmla="*/ 230 w 311"/>
                <a:gd name="T1" fmla="*/ 0 h 437"/>
                <a:gd name="T2" fmla="*/ 81 w 311"/>
                <a:gd name="T3" fmla="*/ 0 h 437"/>
                <a:gd name="T4" fmla="*/ 81 w 311"/>
                <a:gd name="T5" fmla="*/ 0 h 437"/>
                <a:gd name="T6" fmla="*/ 76 w 311"/>
                <a:gd name="T7" fmla="*/ 15 h 437"/>
                <a:gd name="T8" fmla="*/ 71 w 311"/>
                <a:gd name="T9" fmla="*/ 35 h 437"/>
                <a:gd name="T10" fmla="*/ 59 w 311"/>
                <a:gd name="T11" fmla="*/ 88 h 437"/>
                <a:gd name="T12" fmla="*/ 46 w 311"/>
                <a:gd name="T13" fmla="*/ 152 h 437"/>
                <a:gd name="T14" fmla="*/ 32 w 311"/>
                <a:gd name="T15" fmla="*/ 221 h 437"/>
                <a:gd name="T16" fmla="*/ 10 w 311"/>
                <a:gd name="T17" fmla="*/ 346 h 437"/>
                <a:gd name="T18" fmla="*/ 3 w 311"/>
                <a:gd name="T19" fmla="*/ 389 h 437"/>
                <a:gd name="T20" fmla="*/ 0 w 311"/>
                <a:gd name="T21" fmla="*/ 413 h 437"/>
                <a:gd name="T22" fmla="*/ 0 w 311"/>
                <a:gd name="T23" fmla="*/ 413 h 437"/>
                <a:gd name="T24" fmla="*/ 1 w 311"/>
                <a:gd name="T25" fmla="*/ 416 h 437"/>
                <a:gd name="T26" fmla="*/ 3 w 311"/>
                <a:gd name="T27" fmla="*/ 418 h 437"/>
                <a:gd name="T28" fmla="*/ 7 w 311"/>
                <a:gd name="T29" fmla="*/ 421 h 437"/>
                <a:gd name="T30" fmla="*/ 12 w 311"/>
                <a:gd name="T31" fmla="*/ 423 h 437"/>
                <a:gd name="T32" fmla="*/ 27 w 311"/>
                <a:gd name="T33" fmla="*/ 428 h 437"/>
                <a:gd name="T34" fmla="*/ 48 w 311"/>
                <a:gd name="T35" fmla="*/ 431 h 437"/>
                <a:gd name="T36" fmla="*/ 71 w 311"/>
                <a:gd name="T37" fmla="*/ 434 h 437"/>
                <a:gd name="T38" fmla="*/ 96 w 311"/>
                <a:gd name="T39" fmla="*/ 436 h 437"/>
                <a:gd name="T40" fmla="*/ 125 w 311"/>
                <a:gd name="T41" fmla="*/ 437 h 437"/>
                <a:gd name="T42" fmla="*/ 154 w 311"/>
                <a:gd name="T43" fmla="*/ 437 h 437"/>
                <a:gd name="T44" fmla="*/ 183 w 311"/>
                <a:gd name="T45" fmla="*/ 437 h 437"/>
                <a:gd name="T46" fmla="*/ 211 w 311"/>
                <a:gd name="T47" fmla="*/ 436 h 437"/>
                <a:gd name="T48" fmla="*/ 238 w 311"/>
                <a:gd name="T49" fmla="*/ 434 h 437"/>
                <a:gd name="T50" fmla="*/ 262 w 311"/>
                <a:gd name="T51" fmla="*/ 431 h 437"/>
                <a:gd name="T52" fmla="*/ 282 w 311"/>
                <a:gd name="T53" fmla="*/ 428 h 437"/>
                <a:gd name="T54" fmla="*/ 298 w 311"/>
                <a:gd name="T55" fmla="*/ 423 h 437"/>
                <a:gd name="T56" fmla="*/ 303 w 311"/>
                <a:gd name="T57" fmla="*/ 421 h 437"/>
                <a:gd name="T58" fmla="*/ 307 w 311"/>
                <a:gd name="T59" fmla="*/ 418 h 437"/>
                <a:gd name="T60" fmla="*/ 310 w 311"/>
                <a:gd name="T61" fmla="*/ 416 h 437"/>
                <a:gd name="T62" fmla="*/ 311 w 311"/>
                <a:gd name="T63" fmla="*/ 413 h 437"/>
                <a:gd name="T64" fmla="*/ 311 w 311"/>
                <a:gd name="T65" fmla="*/ 413 h 437"/>
                <a:gd name="T66" fmla="*/ 310 w 311"/>
                <a:gd name="T67" fmla="*/ 400 h 437"/>
                <a:gd name="T68" fmla="*/ 308 w 311"/>
                <a:gd name="T69" fmla="*/ 382 h 437"/>
                <a:gd name="T70" fmla="*/ 302 w 311"/>
                <a:gd name="T71" fmla="*/ 335 h 437"/>
                <a:gd name="T72" fmla="*/ 291 w 311"/>
                <a:gd name="T73" fmla="*/ 276 h 437"/>
                <a:gd name="T74" fmla="*/ 278 w 311"/>
                <a:gd name="T75" fmla="*/ 211 h 437"/>
                <a:gd name="T76" fmla="*/ 265 w 311"/>
                <a:gd name="T77" fmla="*/ 145 h 437"/>
                <a:gd name="T78" fmla="*/ 252 w 311"/>
                <a:gd name="T79" fmla="*/ 84 h 437"/>
                <a:gd name="T80" fmla="*/ 240 w 311"/>
                <a:gd name="T81" fmla="*/ 33 h 437"/>
                <a:gd name="T82" fmla="*/ 230 w 311"/>
                <a:gd name="T83" fmla="*/ 0 h 437"/>
                <a:gd name="T84" fmla="*/ 230 w 311"/>
                <a:gd name="T85"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7">
                  <a:moveTo>
                    <a:pt x="230" y="0"/>
                  </a:moveTo>
                  <a:lnTo>
                    <a:pt x="81" y="0"/>
                  </a:lnTo>
                  <a:lnTo>
                    <a:pt x="81" y="0"/>
                  </a:lnTo>
                  <a:lnTo>
                    <a:pt x="76" y="15"/>
                  </a:lnTo>
                  <a:lnTo>
                    <a:pt x="71" y="35"/>
                  </a:lnTo>
                  <a:lnTo>
                    <a:pt x="59" y="88"/>
                  </a:lnTo>
                  <a:lnTo>
                    <a:pt x="46" y="152"/>
                  </a:lnTo>
                  <a:lnTo>
                    <a:pt x="32" y="221"/>
                  </a:lnTo>
                  <a:lnTo>
                    <a:pt x="10" y="346"/>
                  </a:lnTo>
                  <a:lnTo>
                    <a:pt x="3" y="389"/>
                  </a:lnTo>
                  <a:lnTo>
                    <a:pt x="0" y="413"/>
                  </a:lnTo>
                  <a:lnTo>
                    <a:pt x="0" y="413"/>
                  </a:lnTo>
                  <a:lnTo>
                    <a:pt x="1" y="416"/>
                  </a:lnTo>
                  <a:lnTo>
                    <a:pt x="3" y="418"/>
                  </a:lnTo>
                  <a:lnTo>
                    <a:pt x="7" y="421"/>
                  </a:lnTo>
                  <a:lnTo>
                    <a:pt x="12" y="423"/>
                  </a:lnTo>
                  <a:lnTo>
                    <a:pt x="27" y="428"/>
                  </a:lnTo>
                  <a:lnTo>
                    <a:pt x="48" y="431"/>
                  </a:lnTo>
                  <a:lnTo>
                    <a:pt x="71" y="434"/>
                  </a:lnTo>
                  <a:lnTo>
                    <a:pt x="96" y="436"/>
                  </a:lnTo>
                  <a:lnTo>
                    <a:pt x="125" y="437"/>
                  </a:lnTo>
                  <a:lnTo>
                    <a:pt x="154" y="437"/>
                  </a:lnTo>
                  <a:lnTo>
                    <a:pt x="183" y="437"/>
                  </a:lnTo>
                  <a:lnTo>
                    <a:pt x="211" y="436"/>
                  </a:lnTo>
                  <a:lnTo>
                    <a:pt x="238" y="434"/>
                  </a:lnTo>
                  <a:lnTo>
                    <a:pt x="262" y="431"/>
                  </a:lnTo>
                  <a:lnTo>
                    <a:pt x="282" y="428"/>
                  </a:lnTo>
                  <a:lnTo>
                    <a:pt x="298" y="423"/>
                  </a:lnTo>
                  <a:lnTo>
                    <a:pt x="303" y="421"/>
                  </a:lnTo>
                  <a:lnTo>
                    <a:pt x="307" y="418"/>
                  </a:lnTo>
                  <a:lnTo>
                    <a:pt x="310" y="416"/>
                  </a:lnTo>
                  <a:lnTo>
                    <a:pt x="311" y="413"/>
                  </a:lnTo>
                  <a:lnTo>
                    <a:pt x="311" y="413"/>
                  </a:lnTo>
                  <a:lnTo>
                    <a:pt x="310" y="400"/>
                  </a:lnTo>
                  <a:lnTo>
                    <a:pt x="308" y="382"/>
                  </a:lnTo>
                  <a:lnTo>
                    <a:pt x="302" y="335"/>
                  </a:lnTo>
                  <a:lnTo>
                    <a:pt x="291" y="276"/>
                  </a:lnTo>
                  <a:lnTo>
                    <a:pt x="278" y="211"/>
                  </a:lnTo>
                  <a:lnTo>
                    <a:pt x="265" y="145"/>
                  </a:lnTo>
                  <a:lnTo>
                    <a:pt x="252" y="84"/>
                  </a:lnTo>
                  <a:lnTo>
                    <a:pt x="240" y="33"/>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8" name="Freeform 2402"/>
            <p:cNvSpPr>
              <a:spLocks/>
            </p:cNvSpPr>
            <p:nvPr/>
          </p:nvSpPr>
          <p:spPr bwMode="auto">
            <a:xfrm>
              <a:off x="8516938" y="5213351"/>
              <a:ext cx="82550" cy="115888"/>
            </a:xfrm>
            <a:custGeom>
              <a:avLst/>
              <a:gdLst>
                <a:gd name="T0" fmla="*/ 230 w 311"/>
                <a:gd name="T1" fmla="*/ 0 h 438"/>
                <a:gd name="T2" fmla="*/ 81 w 311"/>
                <a:gd name="T3" fmla="*/ 0 h 438"/>
                <a:gd name="T4" fmla="*/ 81 w 311"/>
                <a:gd name="T5" fmla="*/ 0 h 438"/>
                <a:gd name="T6" fmla="*/ 76 w 311"/>
                <a:gd name="T7" fmla="*/ 15 h 438"/>
                <a:gd name="T8" fmla="*/ 71 w 311"/>
                <a:gd name="T9" fmla="*/ 36 h 438"/>
                <a:gd name="T10" fmla="*/ 59 w 311"/>
                <a:gd name="T11" fmla="*/ 89 h 438"/>
                <a:gd name="T12" fmla="*/ 46 w 311"/>
                <a:gd name="T13" fmla="*/ 153 h 438"/>
                <a:gd name="T14" fmla="*/ 32 w 311"/>
                <a:gd name="T15" fmla="*/ 221 h 438"/>
                <a:gd name="T16" fmla="*/ 10 w 311"/>
                <a:gd name="T17" fmla="*/ 346 h 438"/>
                <a:gd name="T18" fmla="*/ 3 w 311"/>
                <a:gd name="T19" fmla="*/ 390 h 438"/>
                <a:gd name="T20" fmla="*/ 0 w 311"/>
                <a:gd name="T21" fmla="*/ 413 h 438"/>
                <a:gd name="T22" fmla="*/ 0 w 311"/>
                <a:gd name="T23" fmla="*/ 413 h 438"/>
                <a:gd name="T24" fmla="*/ 1 w 311"/>
                <a:gd name="T25" fmla="*/ 416 h 438"/>
                <a:gd name="T26" fmla="*/ 3 w 311"/>
                <a:gd name="T27" fmla="*/ 418 h 438"/>
                <a:gd name="T28" fmla="*/ 7 w 311"/>
                <a:gd name="T29" fmla="*/ 421 h 438"/>
                <a:gd name="T30" fmla="*/ 12 w 311"/>
                <a:gd name="T31" fmla="*/ 423 h 438"/>
                <a:gd name="T32" fmla="*/ 27 w 311"/>
                <a:gd name="T33" fmla="*/ 427 h 438"/>
                <a:gd name="T34" fmla="*/ 48 w 311"/>
                <a:gd name="T35" fmla="*/ 432 h 438"/>
                <a:gd name="T36" fmla="*/ 71 w 311"/>
                <a:gd name="T37" fmla="*/ 435 h 438"/>
                <a:gd name="T38" fmla="*/ 96 w 311"/>
                <a:gd name="T39" fmla="*/ 437 h 438"/>
                <a:gd name="T40" fmla="*/ 125 w 311"/>
                <a:gd name="T41" fmla="*/ 438 h 438"/>
                <a:gd name="T42" fmla="*/ 154 w 311"/>
                <a:gd name="T43" fmla="*/ 438 h 438"/>
                <a:gd name="T44" fmla="*/ 183 w 311"/>
                <a:gd name="T45" fmla="*/ 438 h 438"/>
                <a:gd name="T46" fmla="*/ 211 w 311"/>
                <a:gd name="T47" fmla="*/ 437 h 438"/>
                <a:gd name="T48" fmla="*/ 238 w 311"/>
                <a:gd name="T49" fmla="*/ 435 h 438"/>
                <a:gd name="T50" fmla="*/ 262 w 311"/>
                <a:gd name="T51" fmla="*/ 432 h 438"/>
                <a:gd name="T52" fmla="*/ 282 w 311"/>
                <a:gd name="T53" fmla="*/ 428 h 438"/>
                <a:gd name="T54" fmla="*/ 298 w 311"/>
                <a:gd name="T55" fmla="*/ 423 h 438"/>
                <a:gd name="T56" fmla="*/ 303 w 311"/>
                <a:gd name="T57" fmla="*/ 421 h 438"/>
                <a:gd name="T58" fmla="*/ 307 w 311"/>
                <a:gd name="T59" fmla="*/ 418 h 438"/>
                <a:gd name="T60" fmla="*/ 310 w 311"/>
                <a:gd name="T61" fmla="*/ 416 h 438"/>
                <a:gd name="T62" fmla="*/ 311 w 311"/>
                <a:gd name="T63" fmla="*/ 413 h 438"/>
                <a:gd name="T64" fmla="*/ 311 w 311"/>
                <a:gd name="T65" fmla="*/ 413 h 438"/>
                <a:gd name="T66" fmla="*/ 310 w 311"/>
                <a:gd name="T67" fmla="*/ 400 h 438"/>
                <a:gd name="T68" fmla="*/ 308 w 311"/>
                <a:gd name="T69" fmla="*/ 383 h 438"/>
                <a:gd name="T70" fmla="*/ 302 w 311"/>
                <a:gd name="T71" fmla="*/ 336 h 438"/>
                <a:gd name="T72" fmla="*/ 291 w 311"/>
                <a:gd name="T73" fmla="*/ 277 h 438"/>
                <a:gd name="T74" fmla="*/ 278 w 311"/>
                <a:gd name="T75" fmla="*/ 212 h 438"/>
                <a:gd name="T76" fmla="*/ 265 w 311"/>
                <a:gd name="T77" fmla="*/ 146 h 438"/>
                <a:gd name="T78" fmla="*/ 252 w 311"/>
                <a:gd name="T79" fmla="*/ 85 h 438"/>
                <a:gd name="T80" fmla="*/ 240 w 311"/>
                <a:gd name="T81" fmla="*/ 34 h 438"/>
                <a:gd name="T82" fmla="*/ 230 w 311"/>
                <a:gd name="T83" fmla="*/ 0 h 438"/>
                <a:gd name="T84" fmla="*/ 230 w 311"/>
                <a:gd name="T8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8">
                  <a:moveTo>
                    <a:pt x="230" y="0"/>
                  </a:moveTo>
                  <a:lnTo>
                    <a:pt x="81" y="0"/>
                  </a:lnTo>
                  <a:lnTo>
                    <a:pt x="81" y="0"/>
                  </a:lnTo>
                  <a:lnTo>
                    <a:pt x="76" y="15"/>
                  </a:lnTo>
                  <a:lnTo>
                    <a:pt x="71" y="36"/>
                  </a:lnTo>
                  <a:lnTo>
                    <a:pt x="59" y="89"/>
                  </a:lnTo>
                  <a:lnTo>
                    <a:pt x="46" y="153"/>
                  </a:lnTo>
                  <a:lnTo>
                    <a:pt x="32" y="221"/>
                  </a:lnTo>
                  <a:lnTo>
                    <a:pt x="10" y="346"/>
                  </a:lnTo>
                  <a:lnTo>
                    <a:pt x="3" y="390"/>
                  </a:lnTo>
                  <a:lnTo>
                    <a:pt x="0" y="413"/>
                  </a:lnTo>
                  <a:lnTo>
                    <a:pt x="0" y="413"/>
                  </a:lnTo>
                  <a:lnTo>
                    <a:pt x="1" y="416"/>
                  </a:lnTo>
                  <a:lnTo>
                    <a:pt x="3" y="418"/>
                  </a:lnTo>
                  <a:lnTo>
                    <a:pt x="7" y="421"/>
                  </a:lnTo>
                  <a:lnTo>
                    <a:pt x="12" y="423"/>
                  </a:lnTo>
                  <a:lnTo>
                    <a:pt x="27" y="427"/>
                  </a:lnTo>
                  <a:lnTo>
                    <a:pt x="48" y="432"/>
                  </a:lnTo>
                  <a:lnTo>
                    <a:pt x="71" y="435"/>
                  </a:lnTo>
                  <a:lnTo>
                    <a:pt x="96" y="437"/>
                  </a:lnTo>
                  <a:lnTo>
                    <a:pt x="125" y="438"/>
                  </a:lnTo>
                  <a:lnTo>
                    <a:pt x="154" y="438"/>
                  </a:lnTo>
                  <a:lnTo>
                    <a:pt x="183" y="438"/>
                  </a:lnTo>
                  <a:lnTo>
                    <a:pt x="211" y="437"/>
                  </a:lnTo>
                  <a:lnTo>
                    <a:pt x="238" y="435"/>
                  </a:lnTo>
                  <a:lnTo>
                    <a:pt x="262" y="432"/>
                  </a:lnTo>
                  <a:lnTo>
                    <a:pt x="282" y="428"/>
                  </a:lnTo>
                  <a:lnTo>
                    <a:pt x="298" y="423"/>
                  </a:lnTo>
                  <a:lnTo>
                    <a:pt x="303" y="421"/>
                  </a:lnTo>
                  <a:lnTo>
                    <a:pt x="307" y="418"/>
                  </a:lnTo>
                  <a:lnTo>
                    <a:pt x="310" y="416"/>
                  </a:lnTo>
                  <a:lnTo>
                    <a:pt x="311" y="413"/>
                  </a:lnTo>
                  <a:lnTo>
                    <a:pt x="311" y="413"/>
                  </a:lnTo>
                  <a:lnTo>
                    <a:pt x="310" y="400"/>
                  </a:lnTo>
                  <a:lnTo>
                    <a:pt x="308" y="383"/>
                  </a:lnTo>
                  <a:lnTo>
                    <a:pt x="302" y="336"/>
                  </a:lnTo>
                  <a:lnTo>
                    <a:pt x="291" y="277"/>
                  </a:lnTo>
                  <a:lnTo>
                    <a:pt x="278" y="212"/>
                  </a:lnTo>
                  <a:lnTo>
                    <a:pt x="265" y="146"/>
                  </a:lnTo>
                  <a:lnTo>
                    <a:pt x="252" y="85"/>
                  </a:lnTo>
                  <a:lnTo>
                    <a:pt x="240" y="34"/>
                  </a:lnTo>
                  <a:lnTo>
                    <a:pt x="230" y="0"/>
                  </a:lnTo>
                  <a:lnTo>
                    <a:pt x="230" y="0"/>
                  </a:lnTo>
                  <a:close/>
                </a:path>
              </a:pathLst>
            </a:custGeom>
            <a:grpFill/>
            <a:ln>
              <a:solidFill>
                <a:schemeClr val="accent5">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49" name="Freeform 2403"/>
            <p:cNvSpPr>
              <a:spLocks/>
            </p:cNvSpPr>
            <p:nvPr/>
          </p:nvSpPr>
          <p:spPr bwMode="auto">
            <a:xfrm>
              <a:off x="8610600" y="5276851"/>
              <a:ext cx="82550" cy="115888"/>
            </a:xfrm>
            <a:custGeom>
              <a:avLst/>
              <a:gdLst>
                <a:gd name="T0" fmla="*/ 230 w 311"/>
                <a:gd name="T1" fmla="*/ 0 h 438"/>
                <a:gd name="T2" fmla="*/ 80 w 311"/>
                <a:gd name="T3" fmla="*/ 0 h 438"/>
                <a:gd name="T4" fmla="*/ 80 w 311"/>
                <a:gd name="T5" fmla="*/ 0 h 438"/>
                <a:gd name="T6" fmla="*/ 76 w 311"/>
                <a:gd name="T7" fmla="*/ 16 h 438"/>
                <a:gd name="T8" fmla="*/ 70 w 311"/>
                <a:gd name="T9" fmla="*/ 36 h 438"/>
                <a:gd name="T10" fmla="*/ 59 w 311"/>
                <a:gd name="T11" fmla="*/ 89 h 438"/>
                <a:gd name="T12" fmla="*/ 46 w 311"/>
                <a:gd name="T13" fmla="*/ 153 h 438"/>
                <a:gd name="T14" fmla="*/ 32 w 311"/>
                <a:gd name="T15" fmla="*/ 221 h 438"/>
                <a:gd name="T16" fmla="*/ 10 w 311"/>
                <a:gd name="T17" fmla="*/ 346 h 438"/>
                <a:gd name="T18" fmla="*/ 3 w 311"/>
                <a:gd name="T19" fmla="*/ 390 h 438"/>
                <a:gd name="T20" fmla="*/ 0 w 311"/>
                <a:gd name="T21" fmla="*/ 413 h 438"/>
                <a:gd name="T22" fmla="*/ 0 w 311"/>
                <a:gd name="T23" fmla="*/ 413 h 438"/>
                <a:gd name="T24" fmla="*/ 0 w 311"/>
                <a:gd name="T25" fmla="*/ 416 h 438"/>
                <a:gd name="T26" fmla="*/ 3 w 311"/>
                <a:gd name="T27" fmla="*/ 418 h 438"/>
                <a:gd name="T28" fmla="*/ 7 w 311"/>
                <a:gd name="T29" fmla="*/ 421 h 438"/>
                <a:gd name="T30" fmla="*/ 12 w 311"/>
                <a:gd name="T31" fmla="*/ 423 h 438"/>
                <a:gd name="T32" fmla="*/ 27 w 311"/>
                <a:gd name="T33" fmla="*/ 428 h 438"/>
                <a:gd name="T34" fmla="*/ 47 w 311"/>
                <a:gd name="T35" fmla="*/ 432 h 438"/>
                <a:gd name="T36" fmla="*/ 71 w 311"/>
                <a:gd name="T37" fmla="*/ 435 h 438"/>
                <a:gd name="T38" fmla="*/ 96 w 311"/>
                <a:gd name="T39" fmla="*/ 437 h 438"/>
                <a:gd name="T40" fmla="*/ 125 w 311"/>
                <a:gd name="T41" fmla="*/ 438 h 438"/>
                <a:gd name="T42" fmla="*/ 154 w 311"/>
                <a:gd name="T43" fmla="*/ 438 h 438"/>
                <a:gd name="T44" fmla="*/ 183 w 311"/>
                <a:gd name="T45" fmla="*/ 438 h 438"/>
                <a:gd name="T46" fmla="*/ 211 w 311"/>
                <a:gd name="T47" fmla="*/ 437 h 438"/>
                <a:gd name="T48" fmla="*/ 238 w 311"/>
                <a:gd name="T49" fmla="*/ 435 h 438"/>
                <a:gd name="T50" fmla="*/ 262 w 311"/>
                <a:gd name="T51" fmla="*/ 432 h 438"/>
                <a:gd name="T52" fmla="*/ 281 w 311"/>
                <a:gd name="T53" fmla="*/ 429 h 438"/>
                <a:gd name="T54" fmla="*/ 297 w 311"/>
                <a:gd name="T55" fmla="*/ 423 h 438"/>
                <a:gd name="T56" fmla="*/ 303 w 311"/>
                <a:gd name="T57" fmla="*/ 421 h 438"/>
                <a:gd name="T58" fmla="*/ 307 w 311"/>
                <a:gd name="T59" fmla="*/ 418 h 438"/>
                <a:gd name="T60" fmla="*/ 310 w 311"/>
                <a:gd name="T61" fmla="*/ 416 h 438"/>
                <a:gd name="T62" fmla="*/ 311 w 311"/>
                <a:gd name="T63" fmla="*/ 413 h 438"/>
                <a:gd name="T64" fmla="*/ 311 w 311"/>
                <a:gd name="T65" fmla="*/ 413 h 438"/>
                <a:gd name="T66" fmla="*/ 310 w 311"/>
                <a:gd name="T67" fmla="*/ 400 h 438"/>
                <a:gd name="T68" fmla="*/ 308 w 311"/>
                <a:gd name="T69" fmla="*/ 383 h 438"/>
                <a:gd name="T70" fmla="*/ 301 w 311"/>
                <a:gd name="T71" fmla="*/ 336 h 438"/>
                <a:gd name="T72" fmla="*/ 291 w 311"/>
                <a:gd name="T73" fmla="*/ 277 h 438"/>
                <a:gd name="T74" fmla="*/ 278 w 311"/>
                <a:gd name="T75" fmla="*/ 212 h 438"/>
                <a:gd name="T76" fmla="*/ 265 w 311"/>
                <a:gd name="T77" fmla="*/ 146 h 438"/>
                <a:gd name="T78" fmla="*/ 251 w 311"/>
                <a:gd name="T79" fmla="*/ 85 h 438"/>
                <a:gd name="T80" fmla="*/ 240 w 311"/>
                <a:gd name="T81" fmla="*/ 34 h 438"/>
                <a:gd name="T82" fmla="*/ 230 w 311"/>
                <a:gd name="T83" fmla="*/ 0 h 438"/>
                <a:gd name="T84" fmla="*/ 230 w 311"/>
                <a:gd name="T8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8">
                  <a:moveTo>
                    <a:pt x="230" y="0"/>
                  </a:moveTo>
                  <a:lnTo>
                    <a:pt x="80" y="0"/>
                  </a:lnTo>
                  <a:lnTo>
                    <a:pt x="80" y="0"/>
                  </a:lnTo>
                  <a:lnTo>
                    <a:pt x="76" y="16"/>
                  </a:lnTo>
                  <a:lnTo>
                    <a:pt x="70" y="36"/>
                  </a:lnTo>
                  <a:lnTo>
                    <a:pt x="59" y="89"/>
                  </a:lnTo>
                  <a:lnTo>
                    <a:pt x="46" y="153"/>
                  </a:lnTo>
                  <a:lnTo>
                    <a:pt x="32" y="221"/>
                  </a:lnTo>
                  <a:lnTo>
                    <a:pt x="10" y="346"/>
                  </a:lnTo>
                  <a:lnTo>
                    <a:pt x="3" y="390"/>
                  </a:lnTo>
                  <a:lnTo>
                    <a:pt x="0" y="413"/>
                  </a:lnTo>
                  <a:lnTo>
                    <a:pt x="0" y="413"/>
                  </a:lnTo>
                  <a:lnTo>
                    <a:pt x="0" y="416"/>
                  </a:lnTo>
                  <a:lnTo>
                    <a:pt x="3" y="418"/>
                  </a:lnTo>
                  <a:lnTo>
                    <a:pt x="7" y="421"/>
                  </a:lnTo>
                  <a:lnTo>
                    <a:pt x="12" y="423"/>
                  </a:lnTo>
                  <a:lnTo>
                    <a:pt x="27" y="428"/>
                  </a:lnTo>
                  <a:lnTo>
                    <a:pt x="47" y="432"/>
                  </a:lnTo>
                  <a:lnTo>
                    <a:pt x="71" y="435"/>
                  </a:lnTo>
                  <a:lnTo>
                    <a:pt x="96" y="437"/>
                  </a:lnTo>
                  <a:lnTo>
                    <a:pt x="125" y="438"/>
                  </a:lnTo>
                  <a:lnTo>
                    <a:pt x="154" y="438"/>
                  </a:lnTo>
                  <a:lnTo>
                    <a:pt x="183" y="438"/>
                  </a:lnTo>
                  <a:lnTo>
                    <a:pt x="211" y="437"/>
                  </a:lnTo>
                  <a:lnTo>
                    <a:pt x="238" y="435"/>
                  </a:lnTo>
                  <a:lnTo>
                    <a:pt x="262" y="432"/>
                  </a:lnTo>
                  <a:lnTo>
                    <a:pt x="281" y="429"/>
                  </a:lnTo>
                  <a:lnTo>
                    <a:pt x="297" y="423"/>
                  </a:lnTo>
                  <a:lnTo>
                    <a:pt x="303" y="421"/>
                  </a:lnTo>
                  <a:lnTo>
                    <a:pt x="307" y="418"/>
                  </a:lnTo>
                  <a:lnTo>
                    <a:pt x="310" y="416"/>
                  </a:lnTo>
                  <a:lnTo>
                    <a:pt x="311" y="413"/>
                  </a:lnTo>
                  <a:lnTo>
                    <a:pt x="311" y="413"/>
                  </a:lnTo>
                  <a:lnTo>
                    <a:pt x="310" y="400"/>
                  </a:lnTo>
                  <a:lnTo>
                    <a:pt x="308" y="383"/>
                  </a:lnTo>
                  <a:lnTo>
                    <a:pt x="301" y="336"/>
                  </a:lnTo>
                  <a:lnTo>
                    <a:pt x="291" y="277"/>
                  </a:lnTo>
                  <a:lnTo>
                    <a:pt x="278" y="212"/>
                  </a:lnTo>
                  <a:lnTo>
                    <a:pt x="265" y="146"/>
                  </a:lnTo>
                  <a:lnTo>
                    <a:pt x="251" y="85"/>
                  </a:lnTo>
                  <a:lnTo>
                    <a:pt x="240" y="34"/>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0" name="Freeform 2404"/>
            <p:cNvSpPr>
              <a:spLocks/>
            </p:cNvSpPr>
            <p:nvPr/>
          </p:nvSpPr>
          <p:spPr bwMode="auto">
            <a:xfrm>
              <a:off x="8610600" y="5251451"/>
              <a:ext cx="82550" cy="115888"/>
            </a:xfrm>
            <a:custGeom>
              <a:avLst/>
              <a:gdLst>
                <a:gd name="T0" fmla="*/ 230 w 311"/>
                <a:gd name="T1" fmla="*/ 0 h 437"/>
                <a:gd name="T2" fmla="*/ 80 w 311"/>
                <a:gd name="T3" fmla="*/ 0 h 437"/>
                <a:gd name="T4" fmla="*/ 80 w 311"/>
                <a:gd name="T5" fmla="*/ 0 h 437"/>
                <a:gd name="T6" fmla="*/ 76 w 311"/>
                <a:gd name="T7" fmla="*/ 15 h 437"/>
                <a:gd name="T8" fmla="*/ 70 w 311"/>
                <a:gd name="T9" fmla="*/ 35 h 437"/>
                <a:gd name="T10" fmla="*/ 59 w 311"/>
                <a:gd name="T11" fmla="*/ 88 h 437"/>
                <a:gd name="T12" fmla="*/ 46 w 311"/>
                <a:gd name="T13" fmla="*/ 152 h 437"/>
                <a:gd name="T14" fmla="*/ 32 w 311"/>
                <a:gd name="T15" fmla="*/ 220 h 437"/>
                <a:gd name="T16" fmla="*/ 10 w 311"/>
                <a:gd name="T17" fmla="*/ 346 h 437"/>
                <a:gd name="T18" fmla="*/ 3 w 311"/>
                <a:gd name="T19" fmla="*/ 389 h 437"/>
                <a:gd name="T20" fmla="*/ 0 w 311"/>
                <a:gd name="T21" fmla="*/ 413 h 437"/>
                <a:gd name="T22" fmla="*/ 0 w 311"/>
                <a:gd name="T23" fmla="*/ 413 h 437"/>
                <a:gd name="T24" fmla="*/ 0 w 311"/>
                <a:gd name="T25" fmla="*/ 416 h 437"/>
                <a:gd name="T26" fmla="*/ 3 w 311"/>
                <a:gd name="T27" fmla="*/ 418 h 437"/>
                <a:gd name="T28" fmla="*/ 7 w 311"/>
                <a:gd name="T29" fmla="*/ 421 h 437"/>
                <a:gd name="T30" fmla="*/ 12 w 311"/>
                <a:gd name="T31" fmla="*/ 423 h 437"/>
                <a:gd name="T32" fmla="*/ 27 w 311"/>
                <a:gd name="T33" fmla="*/ 427 h 437"/>
                <a:gd name="T34" fmla="*/ 47 w 311"/>
                <a:gd name="T35" fmla="*/ 431 h 437"/>
                <a:gd name="T36" fmla="*/ 71 w 311"/>
                <a:gd name="T37" fmla="*/ 434 h 437"/>
                <a:gd name="T38" fmla="*/ 96 w 311"/>
                <a:gd name="T39" fmla="*/ 436 h 437"/>
                <a:gd name="T40" fmla="*/ 125 w 311"/>
                <a:gd name="T41" fmla="*/ 437 h 437"/>
                <a:gd name="T42" fmla="*/ 154 w 311"/>
                <a:gd name="T43" fmla="*/ 437 h 437"/>
                <a:gd name="T44" fmla="*/ 183 w 311"/>
                <a:gd name="T45" fmla="*/ 437 h 437"/>
                <a:gd name="T46" fmla="*/ 211 w 311"/>
                <a:gd name="T47" fmla="*/ 436 h 437"/>
                <a:gd name="T48" fmla="*/ 238 w 311"/>
                <a:gd name="T49" fmla="*/ 434 h 437"/>
                <a:gd name="T50" fmla="*/ 262 w 311"/>
                <a:gd name="T51" fmla="*/ 431 h 437"/>
                <a:gd name="T52" fmla="*/ 281 w 311"/>
                <a:gd name="T53" fmla="*/ 428 h 437"/>
                <a:gd name="T54" fmla="*/ 297 w 311"/>
                <a:gd name="T55" fmla="*/ 423 h 437"/>
                <a:gd name="T56" fmla="*/ 303 w 311"/>
                <a:gd name="T57" fmla="*/ 421 h 437"/>
                <a:gd name="T58" fmla="*/ 307 w 311"/>
                <a:gd name="T59" fmla="*/ 418 h 437"/>
                <a:gd name="T60" fmla="*/ 310 w 311"/>
                <a:gd name="T61" fmla="*/ 416 h 437"/>
                <a:gd name="T62" fmla="*/ 311 w 311"/>
                <a:gd name="T63" fmla="*/ 413 h 437"/>
                <a:gd name="T64" fmla="*/ 311 w 311"/>
                <a:gd name="T65" fmla="*/ 413 h 437"/>
                <a:gd name="T66" fmla="*/ 310 w 311"/>
                <a:gd name="T67" fmla="*/ 399 h 437"/>
                <a:gd name="T68" fmla="*/ 308 w 311"/>
                <a:gd name="T69" fmla="*/ 382 h 437"/>
                <a:gd name="T70" fmla="*/ 301 w 311"/>
                <a:gd name="T71" fmla="*/ 335 h 437"/>
                <a:gd name="T72" fmla="*/ 291 w 311"/>
                <a:gd name="T73" fmla="*/ 276 h 437"/>
                <a:gd name="T74" fmla="*/ 278 w 311"/>
                <a:gd name="T75" fmla="*/ 211 h 437"/>
                <a:gd name="T76" fmla="*/ 265 w 311"/>
                <a:gd name="T77" fmla="*/ 145 h 437"/>
                <a:gd name="T78" fmla="*/ 251 w 311"/>
                <a:gd name="T79" fmla="*/ 84 h 437"/>
                <a:gd name="T80" fmla="*/ 240 w 311"/>
                <a:gd name="T81" fmla="*/ 33 h 437"/>
                <a:gd name="T82" fmla="*/ 230 w 311"/>
                <a:gd name="T83" fmla="*/ 0 h 437"/>
                <a:gd name="T84" fmla="*/ 230 w 311"/>
                <a:gd name="T85"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7">
                  <a:moveTo>
                    <a:pt x="230" y="0"/>
                  </a:moveTo>
                  <a:lnTo>
                    <a:pt x="80" y="0"/>
                  </a:lnTo>
                  <a:lnTo>
                    <a:pt x="80" y="0"/>
                  </a:lnTo>
                  <a:lnTo>
                    <a:pt x="76" y="15"/>
                  </a:lnTo>
                  <a:lnTo>
                    <a:pt x="70" y="35"/>
                  </a:lnTo>
                  <a:lnTo>
                    <a:pt x="59" y="88"/>
                  </a:lnTo>
                  <a:lnTo>
                    <a:pt x="46" y="152"/>
                  </a:lnTo>
                  <a:lnTo>
                    <a:pt x="32" y="220"/>
                  </a:lnTo>
                  <a:lnTo>
                    <a:pt x="10" y="346"/>
                  </a:lnTo>
                  <a:lnTo>
                    <a:pt x="3" y="389"/>
                  </a:lnTo>
                  <a:lnTo>
                    <a:pt x="0" y="413"/>
                  </a:lnTo>
                  <a:lnTo>
                    <a:pt x="0" y="413"/>
                  </a:lnTo>
                  <a:lnTo>
                    <a:pt x="0" y="416"/>
                  </a:lnTo>
                  <a:lnTo>
                    <a:pt x="3" y="418"/>
                  </a:lnTo>
                  <a:lnTo>
                    <a:pt x="7" y="421"/>
                  </a:lnTo>
                  <a:lnTo>
                    <a:pt x="12" y="423"/>
                  </a:lnTo>
                  <a:lnTo>
                    <a:pt x="27" y="427"/>
                  </a:lnTo>
                  <a:lnTo>
                    <a:pt x="47" y="431"/>
                  </a:lnTo>
                  <a:lnTo>
                    <a:pt x="71" y="434"/>
                  </a:lnTo>
                  <a:lnTo>
                    <a:pt x="96" y="436"/>
                  </a:lnTo>
                  <a:lnTo>
                    <a:pt x="125" y="437"/>
                  </a:lnTo>
                  <a:lnTo>
                    <a:pt x="154" y="437"/>
                  </a:lnTo>
                  <a:lnTo>
                    <a:pt x="183" y="437"/>
                  </a:lnTo>
                  <a:lnTo>
                    <a:pt x="211" y="436"/>
                  </a:lnTo>
                  <a:lnTo>
                    <a:pt x="238" y="434"/>
                  </a:lnTo>
                  <a:lnTo>
                    <a:pt x="262" y="431"/>
                  </a:lnTo>
                  <a:lnTo>
                    <a:pt x="281" y="428"/>
                  </a:lnTo>
                  <a:lnTo>
                    <a:pt x="297" y="423"/>
                  </a:lnTo>
                  <a:lnTo>
                    <a:pt x="303" y="421"/>
                  </a:lnTo>
                  <a:lnTo>
                    <a:pt x="307" y="418"/>
                  </a:lnTo>
                  <a:lnTo>
                    <a:pt x="310" y="416"/>
                  </a:lnTo>
                  <a:lnTo>
                    <a:pt x="311" y="413"/>
                  </a:lnTo>
                  <a:lnTo>
                    <a:pt x="311" y="413"/>
                  </a:lnTo>
                  <a:lnTo>
                    <a:pt x="310" y="399"/>
                  </a:lnTo>
                  <a:lnTo>
                    <a:pt x="308" y="382"/>
                  </a:lnTo>
                  <a:lnTo>
                    <a:pt x="301" y="335"/>
                  </a:lnTo>
                  <a:lnTo>
                    <a:pt x="291" y="276"/>
                  </a:lnTo>
                  <a:lnTo>
                    <a:pt x="278" y="211"/>
                  </a:lnTo>
                  <a:lnTo>
                    <a:pt x="265" y="145"/>
                  </a:lnTo>
                  <a:lnTo>
                    <a:pt x="251" y="84"/>
                  </a:lnTo>
                  <a:lnTo>
                    <a:pt x="240" y="33"/>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1" name="Freeform 2405"/>
            <p:cNvSpPr>
              <a:spLocks/>
            </p:cNvSpPr>
            <p:nvPr/>
          </p:nvSpPr>
          <p:spPr bwMode="auto">
            <a:xfrm>
              <a:off x="8610600" y="5227638"/>
              <a:ext cx="82550" cy="115888"/>
            </a:xfrm>
            <a:custGeom>
              <a:avLst/>
              <a:gdLst>
                <a:gd name="T0" fmla="*/ 230 w 311"/>
                <a:gd name="T1" fmla="*/ 0 h 438"/>
                <a:gd name="T2" fmla="*/ 80 w 311"/>
                <a:gd name="T3" fmla="*/ 0 h 438"/>
                <a:gd name="T4" fmla="*/ 80 w 311"/>
                <a:gd name="T5" fmla="*/ 0 h 438"/>
                <a:gd name="T6" fmla="*/ 76 w 311"/>
                <a:gd name="T7" fmla="*/ 15 h 438"/>
                <a:gd name="T8" fmla="*/ 70 w 311"/>
                <a:gd name="T9" fmla="*/ 36 h 438"/>
                <a:gd name="T10" fmla="*/ 59 w 311"/>
                <a:gd name="T11" fmla="*/ 89 h 438"/>
                <a:gd name="T12" fmla="*/ 46 w 311"/>
                <a:gd name="T13" fmla="*/ 153 h 438"/>
                <a:gd name="T14" fmla="*/ 32 w 311"/>
                <a:gd name="T15" fmla="*/ 221 h 438"/>
                <a:gd name="T16" fmla="*/ 10 w 311"/>
                <a:gd name="T17" fmla="*/ 346 h 438"/>
                <a:gd name="T18" fmla="*/ 3 w 311"/>
                <a:gd name="T19" fmla="*/ 390 h 438"/>
                <a:gd name="T20" fmla="*/ 0 w 311"/>
                <a:gd name="T21" fmla="*/ 413 h 438"/>
                <a:gd name="T22" fmla="*/ 0 w 311"/>
                <a:gd name="T23" fmla="*/ 413 h 438"/>
                <a:gd name="T24" fmla="*/ 0 w 311"/>
                <a:gd name="T25" fmla="*/ 416 h 438"/>
                <a:gd name="T26" fmla="*/ 3 w 311"/>
                <a:gd name="T27" fmla="*/ 418 h 438"/>
                <a:gd name="T28" fmla="*/ 7 w 311"/>
                <a:gd name="T29" fmla="*/ 421 h 438"/>
                <a:gd name="T30" fmla="*/ 12 w 311"/>
                <a:gd name="T31" fmla="*/ 423 h 438"/>
                <a:gd name="T32" fmla="*/ 27 w 311"/>
                <a:gd name="T33" fmla="*/ 427 h 438"/>
                <a:gd name="T34" fmla="*/ 47 w 311"/>
                <a:gd name="T35" fmla="*/ 431 h 438"/>
                <a:gd name="T36" fmla="*/ 71 w 311"/>
                <a:gd name="T37" fmla="*/ 434 h 438"/>
                <a:gd name="T38" fmla="*/ 96 w 311"/>
                <a:gd name="T39" fmla="*/ 436 h 438"/>
                <a:gd name="T40" fmla="*/ 125 w 311"/>
                <a:gd name="T41" fmla="*/ 438 h 438"/>
                <a:gd name="T42" fmla="*/ 154 w 311"/>
                <a:gd name="T43" fmla="*/ 438 h 438"/>
                <a:gd name="T44" fmla="*/ 183 w 311"/>
                <a:gd name="T45" fmla="*/ 438 h 438"/>
                <a:gd name="T46" fmla="*/ 211 w 311"/>
                <a:gd name="T47" fmla="*/ 436 h 438"/>
                <a:gd name="T48" fmla="*/ 238 w 311"/>
                <a:gd name="T49" fmla="*/ 434 h 438"/>
                <a:gd name="T50" fmla="*/ 262 w 311"/>
                <a:gd name="T51" fmla="*/ 431 h 438"/>
                <a:gd name="T52" fmla="*/ 281 w 311"/>
                <a:gd name="T53" fmla="*/ 428 h 438"/>
                <a:gd name="T54" fmla="*/ 297 w 311"/>
                <a:gd name="T55" fmla="*/ 423 h 438"/>
                <a:gd name="T56" fmla="*/ 303 w 311"/>
                <a:gd name="T57" fmla="*/ 421 h 438"/>
                <a:gd name="T58" fmla="*/ 307 w 311"/>
                <a:gd name="T59" fmla="*/ 418 h 438"/>
                <a:gd name="T60" fmla="*/ 310 w 311"/>
                <a:gd name="T61" fmla="*/ 415 h 438"/>
                <a:gd name="T62" fmla="*/ 311 w 311"/>
                <a:gd name="T63" fmla="*/ 413 h 438"/>
                <a:gd name="T64" fmla="*/ 311 w 311"/>
                <a:gd name="T65" fmla="*/ 413 h 438"/>
                <a:gd name="T66" fmla="*/ 310 w 311"/>
                <a:gd name="T67" fmla="*/ 400 h 438"/>
                <a:gd name="T68" fmla="*/ 308 w 311"/>
                <a:gd name="T69" fmla="*/ 383 h 438"/>
                <a:gd name="T70" fmla="*/ 301 w 311"/>
                <a:gd name="T71" fmla="*/ 336 h 438"/>
                <a:gd name="T72" fmla="*/ 291 w 311"/>
                <a:gd name="T73" fmla="*/ 277 h 438"/>
                <a:gd name="T74" fmla="*/ 278 w 311"/>
                <a:gd name="T75" fmla="*/ 212 h 438"/>
                <a:gd name="T76" fmla="*/ 265 w 311"/>
                <a:gd name="T77" fmla="*/ 146 h 438"/>
                <a:gd name="T78" fmla="*/ 251 w 311"/>
                <a:gd name="T79" fmla="*/ 84 h 438"/>
                <a:gd name="T80" fmla="*/ 240 w 311"/>
                <a:gd name="T81" fmla="*/ 34 h 438"/>
                <a:gd name="T82" fmla="*/ 230 w 311"/>
                <a:gd name="T83" fmla="*/ 0 h 438"/>
                <a:gd name="T84" fmla="*/ 230 w 311"/>
                <a:gd name="T8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8">
                  <a:moveTo>
                    <a:pt x="230" y="0"/>
                  </a:moveTo>
                  <a:lnTo>
                    <a:pt x="80" y="0"/>
                  </a:lnTo>
                  <a:lnTo>
                    <a:pt x="80" y="0"/>
                  </a:lnTo>
                  <a:lnTo>
                    <a:pt x="76" y="15"/>
                  </a:lnTo>
                  <a:lnTo>
                    <a:pt x="70" y="36"/>
                  </a:lnTo>
                  <a:lnTo>
                    <a:pt x="59" y="89"/>
                  </a:lnTo>
                  <a:lnTo>
                    <a:pt x="46" y="153"/>
                  </a:lnTo>
                  <a:lnTo>
                    <a:pt x="32" y="221"/>
                  </a:lnTo>
                  <a:lnTo>
                    <a:pt x="10" y="346"/>
                  </a:lnTo>
                  <a:lnTo>
                    <a:pt x="3" y="390"/>
                  </a:lnTo>
                  <a:lnTo>
                    <a:pt x="0" y="413"/>
                  </a:lnTo>
                  <a:lnTo>
                    <a:pt x="0" y="413"/>
                  </a:lnTo>
                  <a:lnTo>
                    <a:pt x="0" y="416"/>
                  </a:lnTo>
                  <a:lnTo>
                    <a:pt x="3" y="418"/>
                  </a:lnTo>
                  <a:lnTo>
                    <a:pt x="7" y="421"/>
                  </a:lnTo>
                  <a:lnTo>
                    <a:pt x="12" y="423"/>
                  </a:lnTo>
                  <a:lnTo>
                    <a:pt x="27" y="427"/>
                  </a:lnTo>
                  <a:lnTo>
                    <a:pt x="47" y="431"/>
                  </a:lnTo>
                  <a:lnTo>
                    <a:pt x="71" y="434"/>
                  </a:lnTo>
                  <a:lnTo>
                    <a:pt x="96" y="436"/>
                  </a:lnTo>
                  <a:lnTo>
                    <a:pt x="125" y="438"/>
                  </a:lnTo>
                  <a:lnTo>
                    <a:pt x="154" y="438"/>
                  </a:lnTo>
                  <a:lnTo>
                    <a:pt x="183" y="438"/>
                  </a:lnTo>
                  <a:lnTo>
                    <a:pt x="211" y="436"/>
                  </a:lnTo>
                  <a:lnTo>
                    <a:pt x="238" y="434"/>
                  </a:lnTo>
                  <a:lnTo>
                    <a:pt x="262" y="431"/>
                  </a:lnTo>
                  <a:lnTo>
                    <a:pt x="281" y="428"/>
                  </a:lnTo>
                  <a:lnTo>
                    <a:pt x="297" y="423"/>
                  </a:lnTo>
                  <a:lnTo>
                    <a:pt x="303" y="421"/>
                  </a:lnTo>
                  <a:lnTo>
                    <a:pt x="307" y="418"/>
                  </a:lnTo>
                  <a:lnTo>
                    <a:pt x="310" y="415"/>
                  </a:lnTo>
                  <a:lnTo>
                    <a:pt x="311" y="413"/>
                  </a:lnTo>
                  <a:lnTo>
                    <a:pt x="311" y="413"/>
                  </a:lnTo>
                  <a:lnTo>
                    <a:pt x="310" y="400"/>
                  </a:lnTo>
                  <a:lnTo>
                    <a:pt x="308" y="383"/>
                  </a:lnTo>
                  <a:lnTo>
                    <a:pt x="301" y="336"/>
                  </a:lnTo>
                  <a:lnTo>
                    <a:pt x="291" y="277"/>
                  </a:lnTo>
                  <a:lnTo>
                    <a:pt x="278" y="212"/>
                  </a:lnTo>
                  <a:lnTo>
                    <a:pt x="265" y="146"/>
                  </a:lnTo>
                  <a:lnTo>
                    <a:pt x="251" y="84"/>
                  </a:lnTo>
                  <a:lnTo>
                    <a:pt x="240" y="34"/>
                  </a:lnTo>
                  <a:lnTo>
                    <a:pt x="230" y="0"/>
                  </a:lnTo>
                  <a:lnTo>
                    <a:pt x="230" y="0"/>
                  </a:lnTo>
                  <a:close/>
                </a:path>
              </a:pathLst>
            </a:custGeom>
            <a:grpFill/>
            <a:ln w="9525">
              <a:solidFill>
                <a:schemeClr val="accent5">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652" name="Freeform 2406"/>
            <p:cNvSpPr>
              <a:spLocks/>
            </p:cNvSpPr>
            <p:nvPr/>
          </p:nvSpPr>
          <p:spPr bwMode="auto">
            <a:xfrm>
              <a:off x="8610600" y="5202238"/>
              <a:ext cx="82550" cy="115888"/>
            </a:xfrm>
            <a:custGeom>
              <a:avLst/>
              <a:gdLst>
                <a:gd name="T0" fmla="*/ 230 w 311"/>
                <a:gd name="T1" fmla="*/ 0 h 439"/>
                <a:gd name="T2" fmla="*/ 80 w 311"/>
                <a:gd name="T3" fmla="*/ 0 h 439"/>
                <a:gd name="T4" fmla="*/ 80 w 311"/>
                <a:gd name="T5" fmla="*/ 0 h 439"/>
                <a:gd name="T6" fmla="*/ 76 w 311"/>
                <a:gd name="T7" fmla="*/ 17 h 439"/>
                <a:gd name="T8" fmla="*/ 70 w 311"/>
                <a:gd name="T9" fmla="*/ 37 h 439"/>
                <a:gd name="T10" fmla="*/ 59 w 311"/>
                <a:gd name="T11" fmla="*/ 90 h 439"/>
                <a:gd name="T12" fmla="*/ 46 w 311"/>
                <a:gd name="T13" fmla="*/ 154 h 439"/>
                <a:gd name="T14" fmla="*/ 32 w 311"/>
                <a:gd name="T15" fmla="*/ 222 h 439"/>
                <a:gd name="T16" fmla="*/ 10 w 311"/>
                <a:gd name="T17" fmla="*/ 347 h 439"/>
                <a:gd name="T18" fmla="*/ 3 w 311"/>
                <a:gd name="T19" fmla="*/ 391 h 439"/>
                <a:gd name="T20" fmla="*/ 0 w 311"/>
                <a:gd name="T21" fmla="*/ 415 h 439"/>
                <a:gd name="T22" fmla="*/ 0 w 311"/>
                <a:gd name="T23" fmla="*/ 415 h 439"/>
                <a:gd name="T24" fmla="*/ 0 w 311"/>
                <a:gd name="T25" fmla="*/ 417 h 439"/>
                <a:gd name="T26" fmla="*/ 3 w 311"/>
                <a:gd name="T27" fmla="*/ 420 h 439"/>
                <a:gd name="T28" fmla="*/ 7 w 311"/>
                <a:gd name="T29" fmla="*/ 423 h 439"/>
                <a:gd name="T30" fmla="*/ 12 w 311"/>
                <a:gd name="T31" fmla="*/ 425 h 439"/>
                <a:gd name="T32" fmla="*/ 27 w 311"/>
                <a:gd name="T33" fmla="*/ 429 h 439"/>
                <a:gd name="T34" fmla="*/ 47 w 311"/>
                <a:gd name="T35" fmla="*/ 433 h 439"/>
                <a:gd name="T36" fmla="*/ 71 w 311"/>
                <a:gd name="T37" fmla="*/ 436 h 439"/>
                <a:gd name="T38" fmla="*/ 96 w 311"/>
                <a:gd name="T39" fmla="*/ 437 h 439"/>
                <a:gd name="T40" fmla="*/ 125 w 311"/>
                <a:gd name="T41" fmla="*/ 439 h 439"/>
                <a:gd name="T42" fmla="*/ 154 w 311"/>
                <a:gd name="T43" fmla="*/ 439 h 439"/>
                <a:gd name="T44" fmla="*/ 183 w 311"/>
                <a:gd name="T45" fmla="*/ 439 h 439"/>
                <a:gd name="T46" fmla="*/ 211 w 311"/>
                <a:gd name="T47" fmla="*/ 438 h 439"/>
                <a:gd name="T48" fmla="*/ 238 w 311"/>
                <a:gd name="T49" fmla="*/ 436 h 439"/>
                <a:gd name="T50" fmla="*/ 262 w 311"/>
                <a:gd name="T51" fmla="*/ 433 h 439"/>
                <a:gd name="T52" fmla="*/ 281 w 311"/>
                <a:gd name="T53" fmla="*/ 430 h 439"/>
                <a:gd name="T54" fmla="*/ 297 w 311"/>
                <a:gd name="T55" fmla="*/ 425 h 439"/>
                <a:gd name="T56" fmla="*/ 303 w 311"/>
                <a:gd name="T57" fmla="*/ 423 h 439"/>
                <a:gd name="T58" fmla="*/ 307 w 311"/>
                <a:gd name="T59" fmla="*/ 420 h 439"/>
                <a:gd name="T60" fmla="*/ 310 w 311"/>
                <a:gd name="T61" fmla="*/ 417 h 439"/>
                <a:gd name="T62" fmla="*/ 311 w 311"/>
                <a:gd name="T63" fmla="*/ 413 h 439"/>
                <a:gd name="T64" fmla="*/ 311 w 311"/>
                <a:gd name="T65" fmla="*/ 413 h 439"/>
                <a:gd name="T66" fmla="*/ 310 w 311"/>
                <a:gd name="T67" fmla="*/ 401 h 439"/>
                <a:gd name="T68" fmla="*/ 308 w 311"/>
                <a:gd name="T69" fmla="*/ 384 h 439"/>
                <a:gd name="T70" fmla="*/ 301 w 311"/>
                <a:gd name="T71" fmla="*/ 337 h 439"/>
                <a:gd name="T72" fmla="*/ 291 w 311"/>
                <a:gd name="T73" fmla="*/ 278 h 439"/>
                <a:gd name="T74" fmla="*/ 278 w 311"/>
                <a:gd name="T75" fmla="*/ 213 h 439"/>
                <a:gd name="T76" fmla="*/ 265 w 311"/>
                <a:gd name="T77" fmla="*/ 147 h 439"/>
                <a:gd name="T78" fmla="*/ 251 w 311"/>
                <a:gd name="T79" fmla="*/ 86 h 439"/>
                <a:gd name="T80" fmla="*/ 240 w 311"/>
                <a:gd name="T81" fmla="*/ 35 h 439"/>
                <a:gd name="T82" fmla="*/ 230 w 311"/>
                <a:gd name="T83" fmla="*/ 0 h 439"/>
                <a:gd name="T84" fmla="*/ 230 w 311"/>
                <a:gd name="T85" fmla="*/ 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439">
                  <a:moveTo>
                    <a:pt x="230" y="0"/>
                  </a:moveTo>
                  <a:lnTo>
                    <a:pt x="80" y="0"/>
                  </a:lnTo>
                  <a:lnTo>
                    <a:pt x="80" y="0"/>
                  </a:lnTo>
                  <a:lnTo>
                    <a:pt x="76" y="17"/>
                  </a:lnTo>
                  <a:lnTo>
                    <a:pt x="70" y="37"/>
                  </a:lnTo>
                  <a:lnTo>
                    <a:pt x="59" y="90"/>
                  </a:lnTo>
                  <a:lnTo>
                    <a:pt x="46" y="154"/>
                  </a:lnTo>
                  <a:lnTo>
                    <a:pt x="32" y="222"/>
                  </a:lnTo>
                  <a:lnTo>
                    <a:pt x="10" y="347"/>
                  </a:lnTo>
                  <a:lnTo>
                    <a:pt x="3" y="391"/>
                  </a:lnTo>
                  <a:lnTo>
                    <a:pt x="0" y="415"/>
                  </a:lnTo>
                  <a:lnTo>
                    <a:pt x="0" y="415"/>
                  </a:lnTo>
                  <a:lnTo>
                    <a:pt x="0" y="417"/>
                  </a:lnTo>
                  <a:lnTo>
                    <a:pt x="3" y="420"/>
                  </a:lnTo>
                  <a:lnTo>
                    <a:pt x="7" y="423"/>
                  </a:lnTo>
                  <a:lnTo>
                    <a:pt x="12" y="425"/>
                  </a:lnTo>
                  <a:lnTo>
                    <a:pt x="27" y="429"/>
                  </a:lnTo>
                  <a:lnTo>
                    <a:pt x="47" y="433"/>
                  </a:lnTo>
                  <a:lnTo>
                    <a:pt x="71" y="436"/>
                  </a:lnTo>
                  <a:lnTo>
                    <a:pt x="96" y="437"/>
                  </a:lnTo>
                  <a:lnTo>
                    <a:pt x="125" y="439"/>
                  </a:lnTo>
                  <a:lnTo>
                    <a:pt x="154" y="439"/>
                  </a:lnTo>
                  <a:lnTo>
                    <a:pt x="183" y="439"/>
                  </a:lnTo>
                  <a:lnTo>
                    <a:pt x="211" y="438"/>
                  </a:lnTo>
                  <a:lnTo>
                    <a:pt x="238" y="436"/>
                  </a:lnTo>
                  <a:lnTo>
                    <a:pt x="262" y="433"/>
                  </a:lnTo>
                  <a:lnTo>
                    <a:pt x="281" y="430"/>
                  </a:lnTo>
                  <a:lnTo>
                    <a:pt x="297" y="425"/>
                  </a:lnTo>
                  <a:lnTo>
                    <a:pt x="303" y="423"/>
                  </a:lnTo>
                  <a:lnTo>
                    <a:pt x="307" y="420"/>
                  </a:lnTo>
                  <a:lnTo>
                    <a:pt x="310" y="417"/>
                  </a:lnTo>
                  <a:lnTo>
                    <a:pt x="311" y="413"/>
                  </a:lnTo>
                  <a:lnTo>
                    <a:pt x="311" y="413"/>
                  </a:lnTo>
                  <a:lnTo>
                    <a:pt x="310" y="401"/>
                  </a:lnTo>
                  <a:lnTo>
                    <a:pt x="308" y="384"/>
                  </a:lnTo>
                  <a:lnTo>
                    <a:pt x="301" y="337"/>
                  </a:lnTo>
                  <a:lnTo>
                    <a:pt x="291" y="278"/>
                  </a:lnTo>
                  <a:lnTo>
                    <a:pt x="278" y="213"/>
                  </a:lnTo>
                  <a:lnTo>
                    <a:pt x="265" y="147"/>
                  </a:lnTo>
                  <a:lnTo>
                    <a:pt x="251" y="86"/>
                  </a:lnTo>
                  <a:lnTo>
                    <a:pt x="240" y="35"/>
                  </a:lnTo>
                  <a:lnTo>
                    <a:pt x="230" y="0"/>
                  </a:lnTo>
                  <a:lnTo>
                    <a:pt x="230" y="0"/>
                  </a:lnTo>
                  <a:close/>
                </a:path>
              </a:pathLst>
            </a:custGeom>
            <a:grpFill/>
            <a:ln>
              <a:solidFill>
                <a:schemeClr val="accent5">
                  <a:lumMod val="50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973" name="Oval 211"/>
          <p:cNvSpPr>
            <a:spLocks noChangeAspect="1"/>
          </p:cNvSpPr>
          <p:nvPr/>
        </p:nvSpPr>
        <p:spPr bwMode="auto">
          <a:xfrm>
            <a:off x="10443371" y="2038188"/>
            <a:ext cx="365125" cy="191955"/>
          </a:xfrm>
          <a:custGeom>
            <a:avLst/>
            <a:gdLst/>
            <a:ahLst/>
            <a:cxnLst/>
            <a:rect l="l" t="t" r="r" b="b"/>
            <a:pathLst>
              <a:path w="492300" h="258814">
                <a:moveTo>
                  <a:pt x="91747" y="0"/>
                </a:moveTo>
                <a:lnTo>
                  <a:pt x="404224" y="36967"/>
                </a:lnTo>
                <a:cubicBezTo>
                  <a:pt x="406591" y="40348"/>
                  <a:pt x="407281" y="44149"/>
                  <a:pt x="407780" y="48010"/>
                </a:cubicBezTo>
                <a:cubicBezTo>
                  <a:pt x="412828" y="45542"/>
                  <a:pt x="418412" y="44830"/>
                  <a:pt x="424162" y="44830"/>
                </a:cubicBezTo>
                <a:cubicBezTo>
                  <a:pt x="461793" y="44830"/>
                  <a:pt x="492300" y="75337"/>
                  <a:pt x="492300" y="112969"/>
                </a:cubicBezTo>
                <a:cubicBezTo>
                  <a:pt x="492300" y="150601"/>
                  <a:pt x="461793" y="181108"/>
                  <a:pt x="424162" y="181108"/>
                </a:cubicBezTo>
                <a:lnTo>
                  <a:pt x="412220" y="178697"/>
                </a:lnTo>
                <a:cubicBezTo>
                  <a:pt x="405996" y="201067"/>
                  <a:pt x="385307" y="217114"/>
                  <a:pt x="360869" y="217114"/>
                </a:cubicBezTo>
                <a:cubicBezTo>
                  <a:pt x="351143" y="217114"/>
                  <a:pt x="342010" y="214572"/>
                  <a:pt x="334511" y="209385"/>
                </a:cubicBezTo>
                <a:cubicBezTo>
                  <a:pt x="329106" y="237841"/>
                  <a:pt x="303815" y="258814"/>
                  <a:pt x="273626" y="258814"/>
                </a:cubicBezTo>
                <a:cubicBezTo>
                  <a:pt x="253640" y="258814"/>
                  <a:pt x="235800" y="249622"/>
                  <a:pt x="224827" y="234647"/>
                </a:cubicBezTo>
                <a:cubicBezTo>
                  <a:pt x="210503" y="249607"/>
                  <a:pt x="190306" y="258814"/>
                  <a:pt x="167960" y="258814"/>
                </a:cubicBezTo>
                <a:cubicBezTo>
                  <a:pt x="128327" y="258814"/>
                  <a:pt x="95459" y="229854"/>
                  <a:pt x="90870" y="191698"/>
                </a:cubicBezTo>
                <a:cubicBezTo>
                  <a:pt x="82797" y="196041"/>
                  <a:pt x="73546" y="198234"/>
                  <a:pt x="63782" y="198234"/>
                </a:cubicBezTo>
                <a:cubicBezTo>
                  <a:pt x="28556" y="198234"/>
                  <a:pt x="0" y="169678"/>
                  <a:pt x="0" y="134451"/>
                </a:cubicBezTo>
                <a:cubicBezTo>
                  <a:pt x="0" y="99225"/>
                  <a:pt x="28556" y="70668"/>
                  <a:pt x="63782" y="70668"/>
                </a:cubicBezTo>
                <a:lnTo>
                  <a:pt x="65294" y="70913"/>
                </a:lnTo>
                <a:cubicBezTo>
                  <a:pt x="63338" y="67454"/>
                  <a:pt x="63072" y="63712"/>
                  <a:pt x="63072" y="59908"/>
                </a:cubicBezTo>
                <a:cubicBezTo>
                  <a:pt x="63072" y="35611"/>
                  <a:pt x="73955" y="13857"/>
                  <a:pt x="91747" y="0"/>
                </a:cubicBezTo>
                <a:close/>
              </a:path>
            </a:pathLst>
          </a:custGeom>
          <a:solidFill>
            <a:schemeClr val="bg2">
              <a:lumMod val="5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err="1">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2972" name="Group 2971"/>
          <p:cNvGrpSpPr/>
          <p:nvPr/>
        </p:nvGrpSpPr>
        <p:grpSpPr>
          <a:xfrm>
            <a:off x="9676653" y="4956930"/>
            <a:ext cx="116767" cy="93151"/>
            <a:chOff x="9703057" y="4956929"/>
            <a:chExt cx="116767" cy="93151"/>
          </a:xfrm>
        </p:grpSpPr>
        <p:sp>
          <p:nvSpPr>
            <p:cNvPr id="2888" name="Freeform 10"/>
            <p:cNvSpPr>
              <a:spLocks/>
            </p:cNvSpPr>
            <p:nvPr/>
          </p:nvSpPr>
          <p:spPr bwMode="auto">
            <a:xfrm>
              <a:off x="9703057" y="4956929"/>
              <a:ext cx="116767" cy="93151"/>
            </a:xfrm>
            <a:custGeom>
              <a:avLst/>
              <a:gdLst>
                <a:gd name="T0" fmla="*/ 715 w 715"/>
                <a:gd name="T1" fmla="*/ 58 h 567"/>
                <a:gd name="T2" fmla="*/ 715 w 715"/>
                <a:gd name="T3" fmla="*/ 58 h 567"/>
                <a:gd name="T4" fmla="*/ 714 w 715"/>
                <a:gd name="T5" fmla="*/ 46 h 567"/>
                <a:gd name="T6" fmla="*/ 711 w 715"/>
                <a:gd name="T7" fmla="*/ 34 h 567"/>
                <a:gd name="T8" fmla="*/ 706 w 715"/>
                <a:gd name="T9" fmla="*/ 24 h 567"/>
                <a:gd name="T10" fmla="*/ 698 w 715"/>
                <a:gd name="T11" fmla="*/ 15 h 567"/>
                <a:gd name="T12" fmla="*/ 688 w 715"/>
                <a:gd name="T13" fmla="*/ 8 h 567"/>
                <a:gd name="T14" fmla="*/ 678 w 715"/>
                <a:gd name="T15" fmla="*/ 3 h 567"/>
                <a:gd name="T16" fmla="*/ 667 w 715"/>
                <a:gd name="T17" fmla="*/ 0 h 567"/>
                <a:gd name="T18" fmla="*/ 660 w 715"/>
                <a:gd name="T19" fmla="*/ 0 h 567"/>
                <a:gd name="T20" fmla="*/ 654 w 715"/>
                <a:gd name="T21" fmla="*/ 0 h 567"/>
                <a:gd name="T22" fmla="*/ 61 w 715"/>
                <a:gd name="T23" fmla="*/ 33 h 567"/>
                <a:gd name="T24" fmla="*/ 61 w 715"/>
                <a:gd name="T25" fmla="*/ 33 h 567"/>
                <a:gd name="T26" fmla="*/ 49 w 715"/>
                <a:gd name="T27" fmla="*/ 35 h 567"/>
                <a:gd name="T28" fmla="*/ 37 w 715"/>
                <a:gd name="T29" fmla="*/ 39 h 567"/>
                <a:gd name="T30" fmla="*/ 27 w 715"/>
                <a:gd name="T31" fmla="*/ 46 h 567"/>
                <a:gd name="T32" fmla="*/ 18 w 715"/>
                <a:gd name="T33" fmla="*/ 53 h 567"/>
                <a:gd name="T34" fmla="*/ 11 w 715"/>
                <a:gd name="T35" fmla="*/ 63 h 567"/>
                <a:gd name="T36" fmla="*/ 4 w 715"/>
                <a:gd name="T37" fmla="*/ 74 h 567"/>
                <a:gd name="T38" fmla="*/ 1 w 715"/>
                <a:gd name="T39" fmla="*/ 86 h 567"/>
                <a:gd name="T40" fmla="*/ 0 w 715"/>
                <a:gd name="T41" fmla="*/ 99 h 567"/>
                <a:gd name="T42" fmla="*/ 0 w 715"/>
                <a:gd name="T43" fmla="*/ 509 h 567"/>
                <a:gd name="T44" fmla="*/ 0 w 715"/>
                <a:gd name="T45" fmla="*/ 509 h 567"/>
                <a:gd name="T46" fmla="*/ 1 w 715"/>
                <a:gd name="T47" fmla="*/ 521 h 567"/>
                <a:gd name="T48" fmla="*/ 4 w 715"/>
                <a:gd name="T49" fmla="*/ 532 h 567"/>
                <a:gd name="T50" fmla="*/ 11 w 715"/>
                <a:gd name="T51" fmla="*/ 542 h 567"/>
                <a:gd name="T52" fmla="*/ 18 w 715"/>
                <a:gd name="T53" fmla="*/ 552 h 567"/>
                <a:gd name="T54" fmla="*/ 27 w 715"/>
                <a:gd name="T55" fmla="*/ 558 h 567"/>
                <a:gd name="T56" fmla="*/ 37 w 715"/>
                <a:gd name="T57" fmla="*/ 564 h 567"/>
                <a:gd name="T58" fmla="*/ 49 w 715"/>
                <a:gd name="T59" fmla="*/ 567 h 567"/>
                <a:gd name="T60" fmla="*/ 61 w 715"/>
                <a:gd name="T61" fmla="*/ 567 h 567"/>
                <a:gd name="T62" fmla="*/ 654 w 715"/>
                <a:gd name="T63" fmla="*/ 537 h 567"/>
                <a:gd name="T64" fmla="*/ 654 w 715"/>
                <a:gd name="T65" fmla="*/ 537 h 567"/>
                <a:gd name="T66" fmla="*/ 667 w 715"/>
                <a:gd name="T67" fmla="*/ 534 h 567"/>
                <a:gd name="T68" fmla="*/ 678 w 715"/>
                <a:gd name="T69" fmla="*/ 530 h 567"/>
                <a:gd name="T70" fmla="*/ 688 w 715"/>
                <a:gd name="T71" fmla="*/ 525 h 567"/>
                <a:gd name="T72" fmla="*/ 698 w 715"/>
                <a:gd name="T73" fmla="*/ 516 h 567"/>
                <a:gd name="T74" fmla="*/ 706 w 715"/>
                <a:gd name="T75" fmla="*/ 507 h 567"/>
                <a:gd name="T76" fmla="*/ 711 w 715"/>
                <a:gd name="T77" fmla="*/ 496 h 567"/>
                <a:gd name="T78" fmla="*/ 714 w 715"/>
                <a:gd name="T79" fmla="*/ 484 h 567"/>
                <a:gd name="T80" fmla="*/ 715 w 715"/>
                <a:gd name="T81" fmla="*/ 472 h 567"/>
                <a:gd name="T82" fmla="*/ 715 w 715"/>
                <a:gd name="T83" fmla="*/ 58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5" h="567">
                  <a:moveTo>
                    <a:pt x="715" y="58"/>
                  </a:moveTo>
                  <a:lnTo>
                    <a:pt x="715" y="58"/>
                  </a:lnTo>
                  <a:lnTo>
                    <a:pt x="714" y="46"/>
                  </a:lnTo>
                  <a:lnTo>
                    <a:pt x="711" y="34"/>
                  </a:lnTo>
                  <a:lnTo>
                    <a:pt x="706" y="24"/>
                  </a:lnTo>
                  <a:lnTo>
                    <a:pt x="698" y="15"/>
                  </a:lnTo>
                  <a:lnTo>
                    <a:pt x="688" y="8"/>
                  </a:lnTo>
                  <a:lnTo>
                    <a:pt x="678" y="3"/>
                  </a:lnTo>
                  <a:lnTo>
                    <a:pt x="667" y="0"/>
                  </a:lnTo>
                  <a:lnTo>
                    <a:pt x="660" y="0"/>
                  </a:lnTo>
                  <a:lnTo>
                    <a:pt x="654" y="0"/>
                  </a:lnTo>
                  <a:lnTo>
                    <a:pt x="61" y="33"/>
                  </a:lnTo>
                  <a:lnTo>
                    <a:pt x="61" y="33"/>
                  </a:lnTo>
                  <a:lnTo>
                    <a:pt x="49" y="35"/>
                  </a:lnTo>
                  <a:lnTo>
                    <a:pt x="37" y="39"/>
                  </a:lnTo>
                  <a:lnTo>
                    <a:pt x="27" y="46"/>
                  </a:lnTo>
                  <a:lnTo>
                    <a:pt x="18" y="53"/>
                  </a:lnTo>
                  <a:lnTo>
                    <a:pt x="11" y="63"/>
                  </a:lnTo>
                  <a:lnTo>
                    <a:pt x="4" y="74"/>
                  </a:lnTo>
                  <a:lnTo>
                    <a:pt x="1" y="86"/>
                  </a:lnTo>
                  <a:lnTo>
                    <a:pt x="0" y="99"/>
                  </a:lnTo>
                  <a:lnTo>
                    <a:pt x="0" y="509"/>
                  </a:lnTo>
                  <a:lnTo>
                    <a:pt x="0" y="509"/>
                  </a:lnTo>
                  <a:lnTo>
                    <a:pt x="1" y="521"/>
                  </a:lnTo>
                  <a:lnTo>
                    <a:pt x="4" y="532"/>
                  </a:lnTo>
                  <a:lnTo>
                    <a:pt x="11" y="542"/>
                  </a:lnTo>
                  <a:lnTo>
                    <a:pt x="18" y="552"/>
                  </a:lnTo>
                  <a:lnTo>
                    <a:pt x="27" y="558"/>
                  </a:lnTo>
                  <a:lnTo>
                    <a:pt x="37" y="564"/>
                  </a:lnTo>
                  <a:lnTo>
                    <a:pt x="49" y="567"/>
                  </a:lnTo>
                  <a:lnTo>
                    <a:pt x="61" y="567"/>
                  </a:lnTo>
                  <a:lnTo>
                    <a:pt x="654" y="537"/>
                  </a:lnTo>
                  <a:lnTo>
                    <a:pt x="654" y="537"/>
                  </a:lnTo>
                  <a:lnTo>
                    <a:pt x="667" y="534"/>
                  </a:lnTo>
                  <a:lnTo>
                    <a:pt x="678" y="530"/>
                  </a:lnTo>
                  <a:lnTo>
                    <a:pt x="688" y="525"/>
                  </a:lnTo>
                  <a:lnTo>
                    <a:pt x="698" y="516"/>
                  </a:lnTo>
                  <a:lnTo>
                    <a:pt x="706" y="507"/>
                  </a:lnTo>
                  <a:lnTo>
                    <a:pt x="711" y="496"/>
                  </a:lnTo>
                  <a:lnTo>
                    <a:pt x="714" y="484"/>
                  </a:lnTo>
                  <a:lnTo>
                    <a:pt x="715" y="472"/>
                  </a:lnTo>
                  <a:lnTo>
                    <a:pt x="715" y="58"/>
                  </a:lnTo>
                  <a:close/>
                </a:path>
              </a:pathLst>
            </a:custGeom>
            <a:solidFill>
              <a:schemeClr val="accent1">
                <a:lumMod val="50000"/>
              </a:schemeClr>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892" name="Freeform 13"/>
            <p:cNvSpPr>
              <a:spLocks/>
            </p:cNvSpPr>
            <p:nvPr/>
          </p:nvSpPr>
          <p:spPr bwMode="auto">
            <a:xfrm>
              <a:off x="9714865" y="4968737"/>
              <a:ext cx="93151" cy="68223"/>
            </a:xfrm>
            <a:custGeom>
              <a:avLst/>
              <a:gdLst>
                <a:gd name="T0" fmla="*/ 0 w 562"/>
                <a:gd name="T1" fmla="*/ 32 h 412"/>
                <a:gd name="T2" fmla="*/ 562 w 562"/>
                <a:gd name="T3" fmla="*/ 0 h 412"/>
                <a:gd name="T4" fmla="*/ 562 w 562"/>
                <a:gd name="T5" fmla="*/ 383 h 412"/>
                <a:gd name="T6" fmla="*/ 0 w 562"/>
                <a:gd name="T7" fmla="*/ 412 h 412"/>
                <a:gd name="T8" fmla="*/ 0 w 562"/>
                <a:gd name="T9" fmla="*/ 32 h 412"/>
              </a:gdLst>
              <a:ahLst/>
              <a:cxnLst>
                <a:cxn ang="0">
                  <a:pos x="T0" y="T1"/>
                </a:cxn>
                <a:cxn ang="0">
                  <a:pos x="T2" y="T3"/>
                </a:cxn>
                <a:cxn ang="0">
                  <a:pos x="T4" y="T5"/>
                </a:cxn>
                <a:cxn ang="0">
                  <a:pos x="T6" y="T7"/>
                </a:cxn>
                <a:cxn ang="0">
                  <a:pos x="T8" y="T9"/>
                </a:cxn>
              </a:cxnLst>
              <a:rect l="0" t="0" r="r" b="b"/>
              <a:pathLst>
                <a:path w="562" h="412">
                  <a:moveTo>
                    <a:pt x="0" y="32"/>
                  </a:moveTo>
                  <a:lnTo>
                    <a:pt x="562" y="0"/>
                  </a:lnTo>
                  <a:lnTo>
                    <a:pt x="562" y="383"/>
                  </a:lnTo>
                  <a:lnTo>
                    <a:pt x="0" y="412"/>
                  </a:lnTo>
                  <a:lnTo>
                    <a:pt x="0" y="32"/>
                  </a:lnTo>
                  <a:close/>
                </a:path>
              </a:pathLst>
            </a:custGeom>
            <a:solidFill>
              <a:schemeClr val="accent1">
                <a:lumMod val="50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65" name="Freeform 1064"/>
            <p:cNvSpPr>
              <a:spLocks noEditPoints="1"/>
            </p:cNvSpPr>
            <p:nvPr/>
          </p:nvSpPr>
          <p:spPr bwMode="auto">
            <a:xfrm rot="21439078" flipH="1">
              <a:off x="9770336" y="4976795"/>
              <a:ext cx="34721" cy="23960"/>
            </a:xfrm>
            <a:custGeom>
              <a:avLst/>
              <a:gdLst>
                <a:gd name="T0" fmla="*/ 568 w 627"/>
                <a:gd name="T1" fmla="*/ 0 h 510"/>
                <a:gd name="T2" fmla="*/ 59 w 627"/>
                <a:gd name="T3" fmla="*/ 0 h 510"/>
                <a:gd name="T4" fmla="*/ 0 w 627"/>
                <a:gd name="T5" fmla="*/ 59 h 510"/>
                <a:gd name="T6" fmla="*/ 0 w 627"/>
                <a:gd name="T7" fmla="*/ 451 h 510"/>
                <a:gd name="T8" fmla="*/ 59 w 627"/>
                <a:gd name="T9" fmla="*/ 510 h 510"/>
                <a:gd name="T10" fmla="*/ 568 w 627"/>
                <a:gd name="T11" fmla="*/ 510 h 510"/>
                <a:gd name="T12" fmla="*/ 627 w 627"/>
                <a:gd name="T13" fmla="*/ 451 h 510"/>
                <a:gd name="T14" fmla="*/ 627 w 627"/>
                <a:gd name="T15" fmla="*/ 59 h 510"/>
                <a:gd name="T16" fmla="*/ 568 w 627"/>
                <a:gd name="T17" fmla="*/ 0 h 510"/>
                <a:gd name="T18" fmla="*/ 244 w 627"/>
                <a:gd name="T19" fmla="*/ 259 h 510"/>
                <a:gd name="T20" fmla="*/ 78 w 627"/>
                <a:gd name="T21" fmla="*/ 389 h 510"/>
                <a:gd name="T22" fmla="*/ 78 w 627"/>
                <a:gd name="T23" fmla="*/ 81 h 510"/>
                <a:gd name="T24" fmla="*/ 244 w 627"/>
                <a:gd name="T25" fmla="*/ 259 h 510"/>
                <a:gd name="T26" fmla="*/ 108 w 627"/>
                <a:gd name="T27" fmla="*/ 79 h 510"/>
                <a:gd name="T28" fmla="*/ 519 w 627"/>
                <a:gd name="T29" fmla="*/ 79 h 510"/>
                <a:gd name="T30" fmla="*/ 313 w 627"/>
                <a:gd name="T31" fmla="*/ 233 h 510"/>
                <a:gd name="T32" fmla="*/ 108 w 627"/>
                <a:gd name="T33" fmla="*/ 79 h 510"/>
                <a:gd name="T34" fmla="*/ 251 w 627"/>
                <a:gd name="T35" fmla="*/ 266 h 510"/>
                <a:gd name="T36" fmla="*/ 313 w 627"/>
                <a:gd name="T37" fmla="*/ 334 h 510"/>
                <a:gd name="T38" fmla="*/ 376 w 627"/>
                <a:gd name="T39" fmla="*/ 266 h 510"/>
                <a:gd name="T40" fmla="*/ 505 w 627"/>
                <a:gd name="T41" fmla="*/ 432 h 510"/>
                <a:gd name="T42" fmla="*/ 122 w 627"/>
                <a:gd name="T43" fmla="*/ 432 h 510"/>
                <a:gd name="T44" fmla="*/ 251 w 627"/>
                <a:gd name="T45" fmla="*/ 266 h 510"/>
                <a:gd name="T46" fmla="*/ 383 w 627"/>
                <a:gd name="T47" fmla="*/ 259 h 510"/>
                <a:gd name="T48" fmla="*/ 549 w 627"/>
                <a:gd name="T49" fmla="*/ 81 h 510"/>
                <a:gd name="T50" fmla="*/ 549 w 627"/>
                <a:gd name="T51" fmla="*/ 388 h 510"/>
                <a:gd name="T52" fmla="*/ 383 w 627"/>
                <a:gd name="T53" fmla="*/ 259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7" h="510">
                  <a:moveTo>
                    <a:pt x="568" y="0"/>
                  </a:moveTo>
                  <a:cubicBezTo>
                    <a:pt x="59" y="0"/>
                    <a:pt x="59" y="0"/>
                    <a:pt x="59" y="0"/>
                  </a:cubicBezTo>
                  <a:cubicBezTo>
                    <a:pt x="26" y="0"/>
                    <a:pt x="0" y="27"/>
                    <a:pt x="0" y="59"/>
                  </a:cubicBezTo>
                  <a:cubicBezTo>
                    <a:pt x="0" y="451"/>
                    <a:pt x="0" y="451"/>
                    <a:pt x="0" y="451"/>
                  </a:cubicBezTo>
                  <a:cubicBezTo>
                    <a:pt x="0" y="484"/>
                    <a:pt x="26" y="510"/>
                    <a:pt x="59" y="510"/>
                  </a:cubicBezTo>
                  <a:cubicBezTo>
                    <a:pt x="568" y="510"/>
                    <a:pt x="568" y="510"/>
                    <a:pt x="568" y="510"/>
                  </a:cubicBezTo>
                  <a:cubicBezTo>
                    <a:pt x="601" y="510"/>
                    <a:pt x="627" y="484"/>
                    <a:pt x="627" y="451"/>
                  </a:cubicBezTo>
                  <a:cubicBezTo>
                    <a:pt x="627" y="59"/>
                    <a:pt x="627" y="59"/>
                    <a:pt x="627" y="59"/>
                  </a:cubicBezTo>
                  <a:cubicBezTo>
                    <a:pt x="627" y="27"/>
                    <a:pt x="601" y="0"/>
                    <a:pt x="568" y="0"/>
                  </a:cubicBezTo>
                  <a:close/>
                  <a:moveTo>
                    <a:pt x="244" y="259"/>
                  </a:moveTo>
                  <a:cubicBezTo>
                    <a:pt x="78" y="389"/>
                    <a:pt x="78" y="389"/>
                    <a:pt x="78" y="389"/>
                  </a:cubicBezTo>
                  <a:cubicBezTo>
                    <a:pt x="78" y="81"/>
                    <a:pt x="78" y="81"/>
                    <a:pt x="78" y="81"/>
                  </a:cubicBezTo>
                  <a:lnTo>
                    <a:pt x="244" y="259"/>
                  </a:lnTo>
                  <a:close/>
                  <a:moveTo>
                    <a:pt x="108" y="79"/>
                  </a:moveTo>
                  <a:cubicBezTo>
                    <a:pt x="519" y="79"/>
                    <a:pt x="519" y="79"/>
                    <a:pt x="519" y="79"/>
                  </a:cubicBezTo>
                  <a:cubicBezTo>
                    <a:pt x="313" y="233"/>
                    <a:pt x="313" y="233"/>
                    <a:pt x="313" y="233"/>
                  </a:cubicBezTo>
                  <a:lnTo>
                    <a:pt x="108" y="79"/>
                  </a:lnTo>
                  <a:close/>
                  <a:moveTo>
                    <a:pt x="251" y="266"/>
                  </a:moveTo>
                  <a:cubicBezTo>
                    <a:pt x="313" y="334"/>
                    <a:pt x="313" y="334"/>
                    <a:pt x="313" y="334"/>
                  </a:cubicBezTo>
                  <a:cubicBezTo>
                    <a:pt x="376" y="266"/>
                    <a:pt x="376" y="266"/>
                    <a:pt x="376" y="266"/>
                  </a:cubicBezTo>
                  <a:cubicBezTo>
                    <a:pt x="505" y="432"/>
                    <a:pt x="505" y="432"/>
                    <a:pt x="505" y="432"/>
                  </a:cubicBezTo>
                  <a:cubicBezTo>
                    <a:pt x="122" y="432"/>
                    <a:pt x="122" y="432"/>
                    <a:pt x="122" y="432"/>
                  </a:cubicBezTo>
                  <a:lnTo>
                    <a:pt x="251" y="266"/>
                  </a:lnTo>
                  <a:close/>
                  <a:moveTo>
                    <a:pt x="383" y="259"/>
                  </a:moveTo>
                  <a:cubicBezTo>
                    <a:pt x="549" y="81"/>
                    <a:pt x="549" y="81"/>
                    <a:pt x="549" y="81"/>
                  </a:cubicBezTo>
                  <a:cubicBezTo>
                    <a:pt x="549" y="388"/>
                    <a:pt x="549" y="388"/>
                    <a:pt x="549" y="388"/>
                  </a:cubicBezTo>
                  <a:lnTo>
                    <a:pt x="383" y="2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66" name="Freeform 1065"/>
            <p:cNvSpPr>
              <a:spLocks noEditPoints="1"/>
            </p:cNvSpPr>
            <p:nvPr/>
          </p:nvSpPr>
          <p:spPr bwMode="auto">
            <a:xfrm rot="21439078" flipH="1">
              <a:off x="9723723" y="4979704"/>
              <a:ext cx="29042" cy="26334"/>
            </a:xfrm>
            <a:custGeom>
              <a:avLst/>
              <a:gdLst>
                <a:gd name="T0" fmla="*/ 79 w 589"/>
                <a:gd name="T1" fmla="*/ 569 h 627"/>
                <a:gd name="T2" fmla="*/ 138 w 589"/>
                <a:gd name="T3" fmla="*/ 627 h 627"/>
                <a:gd name="T4" fmla="*/ 196 w 589"/>
                <a:gd name="T5" fmla="*/ 569 h 627"/>
                <a:gd name="T6" fmla="*/ 138 w 589"/>
                <a:gd name="T7" fmla="*/ 510 h 627"/>
                <a:gd name="T8" fmla="*/ 79 w 589"/>
                <a:gd name="T9" fmla="*/ 569 h 627"/>
                <a:gd name="T10" fmla="*/ 471 w 589"/>
                <a:gd name="T11" fmla="*/ 569 h 627"/>
                <a:gd name="T12" fmla="*/ 530 w 589"/>
                <a:gd name="T13" fmla="*/ 627 h 627"/>
                <a:gd name="T14" fmla="*/ 589 w 589"/>
                <a:gd name="T15" fmla="*/ 569 h 627"/>
                <a:gd name="T16" fmla="*/ 530 w 589"/>
                <a:gd name="T17" fmla="*/ 510 h 627"/>
                <a:gd name="T18" fmla="*/ 471 w 589"/>
                <a:gd name="T19" fmla="*/ 569 h 627"/>
                <a:gd name="T20" fmla="*/ 589 w 589"/>
                <a:gd name="T21" fmla="*/ 314 h 627"/>
                <a:gd name="T22" fmla="*/ 589 w 589"/>
                <a:gd name="T23" fmla="*/ 78 h 627"/>
                <a:gd name="T24" fmla="*/ 79 w 589"/>
                <a:gd name="T25" fmla="*/ 78 h 627"/>
                <a:gd name="T26" fmla="*/ 0 w 589"/>
                <a:gd name="T27" fmla="*/ 0 h 627"/>
                <a:gd name="T28" fmla="*/ 0 w 589"/>
                <a:gd name="T29" fmla="*/ 39 h 627"/>
                <a:gd name="T30" fmla="*/ 40 w 589"/>
                <a:gd name="T31" fmla="*/ 78 h 627"/>
                <a:gd name="T32" fmla="*/ 69 w 589"/>
                <a:gd name="T33" fmla="*/ 331 h 627"/>
                <a:gd name="T34" fmla="*/ 40 w 589"/>
                <a:gd name="T35" fmla="*/ 392 h 627"/>
                <a:gd name="T36" fmla="*/ 118 w 589"/>
                <a:gd name="T37" fmla="*/ 471 h 627"/>
                <a:gd name="T38" fmla="*/ 589 w 589"/>
                <a:gd name="T39" fmla="*/ 471 h 627"/>
                <a:gd name="T40" fmla="*/ 589 w 589"/>
                <a:gd name="T41" fmla="*/ 431 h 627"/>
                <a:gd name="T42" fmla="*/ 118 w 589"/>
                <a:gd name="T43" fmla="*/ 431 h 627"/>
                <a:gd name="T44" fmla="*/ 79 w 589"/>
                <a:gd name="T45" fmla="*/ 392 h 627"/>
                <a:gd name="T46" fmla="*/ 79 w 589"/>
                <a:gd name="T47" fmla="*/ 392 h 627"/>
                <a:gd name="T48" fmla="*/ 589 w 589"/>
                <a:gd name="T49" fmla="*/ 31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9" h="627">
                  <a:moveTo>
                    <a:pt x="79" y="569"/>
                  </a:moveTo>
                  <a:cubicBezTo>
                    <a:pt x="79" y="601"/>
                    <a:pt x="105" y="627"/>
                    <a:pt x="138" y="627"/>
                  </a:cubicBezTo>
                  <a:cubicBezTo>
                    <a:pt x="170" y="627"/>
                    <a:pt x="196" y="601"/>
                    <a:pt x="196" y="569"/>
                  </a:cubicBezTo>
                  <a:cubicBezTo>
                    <a:pt x="196" y="536"/>
                    <a:pt x="170" y="510"/>
                    <a:pt x="138" y="510"/>
                  </a:cubicBezTo>
                  <a:cubicBezTo>
                    <a:pt x="105" y="510"/>
                    <a:pt x="79" y="536"/>
                    <a:pt x="79" y="569"/>
                  </a:cubicBezTo>
                  <a:close/>
                  <a:moveTo>
                    <a:pt x="471" y="569"/>
                  </a:moveTo>
                  <a:cubicBezTo>
                    <a:pt x="471" y="601"/>
                    <a:pt x="497" y="627"/>
                    <a:pt x="530" y="627"/>
                  </a:cubicBezTo>
                  <a:cubicBezTo>
                    <a:pt x="562" y="627"/>
                    <a:pt x="589" y="601"/>
                    <a:pt x="589" y="569"/>
                  </a:cubicBezTo>
                  <a:cubicBezTo>
                    <a:pt x="589" y="536"/>
                    <a:pt x="562" y="510"/>
                    <a:pt x="530" y="510"/>
                  </a:cubicBezTo>
                  <a:cubicBezTo>
                    <a:pt x="497" y="510"/>
                    <a:pt x="471" y="536"/>
                    <a:pt x="471" y="569"/>
                  </a:cubicBezTo>
                  <a:close/>
                  <a:moveTo>
                    <a:pt x="589" y="314"/>
                  </a:moveTo>
                  <a:cubicBezTo>
                    <a:pt x="589" y="78"/>
                    <a:pt x="589" y="78"/>
                    <a:pt x="589" y="78"/>
                  </a:cubicBezTo>
                  <a:cubicBezTo>
                    <a:pt x="79" y="78"/>
                    <a:pt x="79" y="78"/>
                    <a:pt x="79" y="78"/>
                  </a:cubicBezTo>
                  <a:cubicBezTo>
                    <a:pt x="79" y="35"/>
                    <a:pt x="44" y="0"/>
                    <a:pt x="0" y="0"/>
                  </a:cubicBezTo>
                  <a:cubicBezTo>
                    <a:pt x="0" y="39"/>
                    <a:pt x="0" y="39"/>
                    <a:pt x="0" y="39"/>
                  </a:cubicBezTo>
                  <a:cubicBezTo>
                    <a:pt x="22" y="39"/>
                    <a:pt x="40" y="57"/>
                    <a:pt x="40" y="78"/>
                  </a:cubicBezTo>
                  <a:cubicBezTo>
                    <a:pt x="69" y="331"/>
                    <a:pt x="69" y="331"/>
                    <a:pt x="69" y="331"/>
                  </a:cubicBezTo>
                  <a:cubicBezTo>
                    <a:pt x="51" y="345"/>
                    <a:pt x="40" y="367"/>
                    <a:pt x="40" y="392"/>
                  </a:cubicBezTo>
                  <a:cubicBezTo>
                    <a:pt x="40" y="435"/>
                    <a:pt x="75" y="471"/>
                    <a:pt x="118" y="471"/>
                  </a:cubicBezTo>
                  <a:cubicBezTo>
                    <a:pt x="589" y="471"/>
                    <a:pt x="589" y="471"/>
                    <a:pt x="589" y="471"/>
                  </a:cubicBezTo>
                  <a:cubicBezTo>
                    <a:pt x="589" y="431"/>
                    <a:pt x="589" y="431"/>
                    <a:pt x="589" y="431"/>
                  </a:cubicBezTo>
                  <a:cubicBezTo>
                    <a:pt x="118" y="431"/>
                    <a:pt x="118" y="431"/>
                    <a:pt x="118" y="431"/>
                  </a:cubicBezTo>
                  <a:cubicBezTo>
                    <a:pt x="96" y="431"/>
                    <a:pt x="79" y="414"/>
                    <a:pt x="79" y="392"/>
                  </a:cubicBezTo>
                  <a:cubicBezTo>
                    <a:pt x="79" y="392"/>
                    <a:pt x="79" y="392"/>
                    <a:pt x="79" y="392"/>
                  </a:cubicBezTo>
                  <a:lnTo>
                    <a:pt x="589" y="3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67" name="Freeform 1066"/>
            <p:cNvSpPr>
              <a:spLocks/>
            </p:cNvSpPr>
            <p:nvPr/>
          </p:nvSpPr>
          <p:spPr bwMode="auto">
            <a:xfrm rot="21439078" flipH="1">
              <a:off x="9775276" y="5012638"/>
              <a:ext cx="28199" cy="23941"/>
            </a:xfrm>
            <a:custGeom>
              <a:avLst/>
              <a:gdLst>
                <a:gd name="T0" fmla="*/ 615 w 632"/>
                <a:gd name="T1" fmla="*/ 502 h 632"/>
                <a:gd name="T2" fmla="*/ 332 w 632"/>
                <a:gd name="T3" fmla="*/ 260 h 632"/>
                <a:gd name="T4" fmla="*/ 353 w 632"/>
                <a:gd name="T5" fmla="*/ 177 h 632"/>
                <a:gd name="T6" fmla="*/ 176 w 632"/>
                <a:gd name="T7" fmla="*/ 0 h 632"/>
                <a:gd name="T8" fmla="*/ 125 w 632"/>
                <a:gd name="T9" fmla="*/ 8 h 632"/>
                <a:gd name="T10" fmla="*/ 227 w 632"/>
                <a:gd name="T11" fmla="*/ 110 h 632"/>
                <a:gd name="T12" fmla="*/ 227 w 632"/>
                <a:gd name="T13" fmla="*/ 165 h 632"/>
                <a:gd name="T14" fmla="*/ 165 w 632"/>
                <a:gd name="T15" fmla="*/ 228 h 632"/>
                <a:gd name="T16" fmla="*/ 110 w 632"/>
                <a:gd name="T17" fmla="*/ 228 h 632"/>
                <a:gd name="T18" fmla="*/ 8 w 632"/>
                <a:gd name="T19" fmla="*/ 126 h 632"/>
                <a:gd name="T20" fmla="*/ 0 w 632"/>
                <a:gd name="T21" fmla="*/ 177 h 632"/>
                <a:gd name="T22" fmla="*/ 176 w 632"/>
                <a:gd name="T23" fmla="*/ 353 h 632"/>
                <a:gd name="T24" fmla="*/ 259 w 632"/>
                <a:gd name="T25" fmla="*/ 333 h 632"/>
                <a:gd name="T26" fmla="*/ 501 w 632"/>
                <a:gd name="T27" fmla="*/ 615 h 632"/>
                <a:gd name="T28" fmla="*/ 554 w 632"/>
                <a:gd name="T29" fmla="*/ 617 h 632"/>
                <a:gd name="T30" fmla="*/ 617 w 632"/>
                <a:gd name="T31" fmla="*/ 555 h 632"/>
                <a:gd name="T32" fmla="*/ 615 w 632"/>
                <a:gd name="T33" fmla="*/ 50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2" h="632">
                  <a:moveTo>
                    <a:pt x="615" y="502"/>
                  </a:moveTo>
                  <a:cubicBezTo>
                    <a:pt x="332" y="260"/>
                    <a:pt x="332" y="260"/>
                    <a:pt x="332" y="260"/>
                  </a:cubicBezTo>
                  <a:cubicBezTo>
                    <a:pt x="346" y="235"/>
                    <a:pt x="353" y="207"/>
                    <a:pt x="353" y="177"/>
                  </a:cubicBezTo>
                  <a:cubicBezTo>
                    <a:pt x="353" y="79"/>
                    <a:pt x="274" y="0"/>
                    <a:pt x="176" y="0"/>
                  </a:cubicBezTo>
                  <a:cubicBezTo>
                    <a:pt x="159" y="0"/>
                    <a:pt x="141" y="3"/>
                    <a:pt x="125" y="8"/>
                  </a:cubicBezTo>
                  <a:cubicBezTo>
                    <a:pt x="227" y="110"/>
                    <a:pt x="227" y="110"/>
                    <a:pt x="227" y="110"/>
                  </a:cubicBezTo>
                  <a:cubicBezTo>
                    <a:pt x="242" y="125"/>
                    <a:pt x="242" y="150"/>
                    <a:pt x="227" y="165"/>
                  </a:cubicBezTo>
                  <a:cubicBezTo>
                    <a:pt x="165" y="228"/>
                    <a:pt x="165" y="228"/>
                    <a:pt x="165" y="228"/>
                  </a:cubicBezTo>
                  <a:cubicBezTo>
                    <a:pt x="150" y="243"/>
                    <a:pt x="125" y="243"/>
                    <a:pt x="110" y="228"/>
                  </a:cubicBezTo>
                  <a:cubicBezTo>
                    <a:pt x="8" y="126"/>
                    <a:pt x="8" y="126"/>
                    <a:pt x="8" y="126"/>
                  </a:cubicBezTo>
                  <a:cubicBezTo>
                    <a:pt x="3" y="142"/>
                    <a:pt x="0" y="159"/>
                    <a:pt x="0" y="177"/>
                  </a:cubicBezTo>
                  <a:cubicBezTo>
                    <a:pt x="0" y="274"/>
                    <a:pt x="79" y="353"/>
                    <a:pt x="176" y="353"/>
                  </a:cubicBezTo>
                  <a:cubicBezTo>
                    <a:pt x="206" y="353"/>
                    <a:pt x="235" y="346"/>
                    <a:pt x="259" y="333"/>
                  </a:cubicBezTo>
                  <a:cubicBezTo>
                    <a:pt x="501" y="615"/>
                    <a:pt x="501" y="615"/>
                    <a:pt x="501" y="615"/>
                  </a:cubicBezTo>
                  <a:cubicBezTo>
                    <a:pt x="515" y="631"/>
                    <a:pt x="539" y="632"/>
                    <a:pt x="554" y="617"/>
                  </a:cubicBezTo>
                  <a:cubicBezTo>
                    <a:pt x="617" y="555"/>
                    <a:pt x="617" y="555"/>
                    <a:pt x="617" y="555"/>
                  </a:cubicBezTo>
                  <a:cubicBezTo>
                    <a:pt x="632" y="540"/>
                    <a:pt x="631" y="516"/>
                    <a:pt x="615" y="50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068" name="Freeform 1067"/>
            <p:cNvSpPr>
              <a:spLocks/>
            </p:cNvSpPr>
            <p:nvPr/>
          </p:nvSpPr>
          <p:spPr bwMode="auto">
            <a:xfrm rot="21439078" flipH="1">
              <a:off x="9732684" y="5014369"/>
              <a:ext cx="14311" cy="25119"/>
            </a:xfrm>
            <a:custGeom>
              <a:avLst/>
              <a:gdLst>
                <a:gd name="T0" fmla="*/ 222 w 248"/>
                <a:gd name="T1" fmla="*/ 15 h 510"/>
                <a:gd name="T2" fmla="*/ 248 w 248"/>
                <a:gd name="T3" fmla="*/ 25 h 510"/>
                <a:gd name="T4" fmla="*/ 248 w 248"/>
                <a:gd name="T5" fmla="*/ 485 h 510"/>
                <a:gd name="T6" fmla="*/ 222 w 248"/>
                <a:gd name="T7" fmla="*/ 495 h 510"/>
                <a:gd name="T8" fmla="*/ 88 w 248"/>
                <a:gd name="T9" fmla="*/ 362 h 510"/>
                <a:gd name="T10" fmla="*/ 0 w 248"/>
                <a:gd name="T11" fmla="*/ 362 h 510"/>
                <a:gd name="T12" fmla="*/ 0 w 248"/>
                <a:gd name="T13" fmla="*/ 149 h 510"/>
                <a:gd name="T14" fmla="*/ 88 w 248"/>
                <a:gd name="T15" fmla="*/ 149 h 510"/>
                <a:gd name="T16" fmla="*/ 222 w 248"/>
                <a:gd name="T17" fmla="*/ 15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 h="510">
                  <a:moveTo>
                    <a:pt x="222" y="15"/>
                  </a:moveTo>
                  <a:cubicBezTo>
                    <a:pt x="236" y="0"/>
                    <a:pt x="248" y="5"/>
                    <a:pt x="248" y="25"/>
                  </a:cubicBezTo>
                  <a:cubicBezTo>
                    <a:pt x="248" y="485"/>
                    <a:pt x="248" y="485"/>
                    <a:pt x="248" y="485"/>
                  </a:cubicBezTo>
                  <a:cubicBezTo>
                    <a:pt x="248" y="505"/>
                    <a:pt x="236" y="510"/>
                    <a:pt x="222" y="495"/>
                  </a:cubicBezTo>
                  <a:cubicBezTo>
                    <a:pt x="88" y="362"/>
                    <a:pt x="88" y="362"/>
                    <a:pt x="88" y="362"/>
                  </a:cubicBezTo>
                  <a:cubicBezTo>
                    <a:pt x="0" y="362"/>
                    <a:pt x="0" y="362"/>
                    <a:pt x="0" y="362"/>
                  </a:cubicBezTo>
                  <a:cubicBezTo>
                    <a:pt x="0" y="149"/>
                    <a:pt x="0" y="149"/>
                    <a:pt x="0" y="149"/>
                  </a:cubicBezTo>
                  <a:cubicBezTo>
                    <a:pt x="88" y="149"/>
                    <a:pt x="88" y="149"/>
                    <a:pt x="88" y="149"/>
                  </a:cubicBezTo>
                  <a:lnTo>
                    <a:pt x="222"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1031" name="Group 1030"/>
          <p:cNvGrpSpPr/>
          <p:nvPr/>
        </p:nvGrpSpPr>
        <p:grpSpPr>
          <a:xfrm rot="19847095">
            <a:off x="9837790" y="4847697"/>
            <a:ext cx="82530" cy="143802"/>
            <a:chOff x="2687372" y="3149601"/>
            <a:chExt cx="81465" cy="132564"/>
          </a:xfrm>
          <a:solidFill>
            <a:srgbClr val="8DC548"/>
          </a:solidFill>
        </p:grpSpPr>
        <p:sp>
          <p:nvSpPr>
            <p:cNvPr id="1058"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9"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0"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1"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2"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63"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3150" name="Freeform 33"/>
          <p:cNvSpPr>
            <a:spLocks/>
          </p:cNvSpPr>
          <p:nvPr/>
        </p:nvSpPr>
        <p:spPr bwMode="auto">
          <a:xfrm>
            <a:off x="4017735" y="2433889"/>
            <a:ext cx="272217" cy="156559"/>
          </a:xfrm>
          <a:custGeom>
            <a:avLst/>
            <a:gdLst>
              <a:gd name="T0" fmla="*/ 1933 w 1935"/>
              <a:gd name="T1" fmla="*/ 720 h 1112"/>
              <a:gd name="T2" fmla="*/ 1918 w 1935"/>
              <a:gd name="T3" fmla="*/ 798 h 1112"/>
              <a:gd name="T4" fmla="*/ 1890 w 1935"/>
              <a:gd name="T5" fmla="*/ 872 h 1112"/>
              <a:gd name="T6" fmla="*/ 1850 w 1935"/>
              <a:gd name="T7" fmla="*/ 938 h 1112"/>
              <a:gd name="T8" fmla="*/ 1799 w 1935"/>
              <a:gd name="T9" fmla="*/ 995 h 1112"/>
              <a:gd name="T10" fmla="*/ 1738 w 1935"/>
              <a:gd name="T11" fmla="*/ 1044 h 1112"/>
              <a:gd name="T12" fmla="*/ 1670 w 1935"/>
              <a:gd name="T13" fmla="*/ 1081 h 1112"/>
              <a:gd name="T14" fmla="*/ 1596 w 1935"/>
              <a:gd name="T15" fmla="*/ 1106 h 1112"/>
              <a:gd name="T16" fmla="*/ 298 w 1935"/>
              <a:gd name="T17" fmla="*/ 1112 h 1112"/>
              <a:gd name="T18" fmla="*/ 252 w 1935"/>
              <a:gd name="T19" fmla="*/ 1109 h 1112"/>
              <a:gd name="T20" fmla="*/ 196 w 1935"/>
              <a:gd name="T21" fmla="*/ 1094 h 1112"/>
              <a:gd name="T22" fmla="*/ 143 w 1935"/>
              <a:gd name="T23" fmla="*/ 1069 h 1112"/>
              <a:gd name="T24" fmla="*/ 97 w 1935"/>
              <a:gd name="T25" fmla="*/ 1035 h 1112"/>
              <a:gd name="T26" fmla="*/ 60 w 1935"/>
              <a:gd name="T27" fmla="*/ 992 h 1112"/>
              <a:gd name="T28" fmla="*/ 29 w 1935"/>
              <a:gd name="T29" fmla="*/ 943 h 1112"/>
              <a:gd name="T30" fmla="*/ 10 w 1935"/>
              <a:gd name="T31" fmla="*/ 889 h 1112"/>
              <a:gd name="T32" fmla="*/ 0 w 1935"/>
              <a:gd name="T33" fmla="*/ 830 h 1112"/>
              <a:gd name="T34" fmla="*/ 1 w 1935"/>
              <a:gd name="T35" fmla="*/ 784 h 1112"/>
              <a:gd name="T36" fmla="*/ 14 w 1935"/>
              <a:gd name="T37" fmla="*/ 726 h 1112"/>
              <a:gd name="T38" fmla="*/ 36 w 1935"/>
              <a:gd name="T39" fmla="*/ 673 h 1112"/>
              <a:gd name="T40" fmla="*/ 68 w 1935"/>
              <a:gd name="T41" fmla="*/ 625 h 1112"/>
              <a:gd name="T42" fmla="*/ 109 w 1935"/>
              <a:gd name="T43" fmla="*/ 585 h 1112"/>
              <a:gd name="T44" fmla="*/ 155 w 1935"/>
              <a:gd name="T45" fmla="*/ 552 h 1112"/>
              <a:gd name="T46" fmla="*/ 209 w 1935"/>
              <a:gd name="T47" fmla="*/ 531 h 1112"/>
              <a:gd name="T48" fmla="*/ 268 w 1935"/>
              <a:gd name="T49" fmla="*/ 518 h 1112"/>
              <a:gd name="T50" fmla="*/ 311 w 1935"/>
              <a:gd name="T51" fmla="*/ 517 h 1112"/>
              <a:gd name="T52" fmla="*/ 361 w 1935"/>
              <a:gd name="T53" fmla="*/ 508 h 1112"/>
              <a:gd name="T54" fmla="*/ 406 w 1935"/>
              <a:gd name="T55" fmla="*/ 453 h 1112"/>
              <a:gd name="T56" fmla="*/ 463 w 1935"/>
              <a:gd name="T57" fmla="*/ 412 h 1112"/>
              <a:gd name="T58" fmla="*/ 530 w 1935"/>
              <a:gd name="T59" fmla="*/ 388 h 1112"/>
              <a:gd name="T60" fmla="*/ 585 w 1935"/>
              <a:gd name="T61" fmla="*/ 382 h 1112"/>
              <a:gd name="T62" fmla="*/ 647 w 1935"/>
              <a:gd name="T63" fmla="*/ 390 h 1112"/>
              <a:gd name="T64" fmla="*/ 705 w 1935"/>
              <a:gd name="T65" fmla="*/ 411 h 1112"/>
              <a:gd name="T66" fmla="*/ 699 w 1935"/>
              <a:gd name="T67" fmla="*/ 355 h 1112"/>
              <a:gd name="T68" fmla="*/ 703 w 1935"/>
              <a:gd name="T69" fmla="*/ 301 h 1112"/>
              <a:gd name="T70" fmla="*/ 720 w 1935"/>
              <a:gd name="T71" fmla="*/ 232 h 1112"/>
              <a:gd name="T72" fmla="*/ 750 w 1935"/>
              <a:gd name="T73" fmla="*/ 171 h 1112"/>
              <a:gd name="T74" fmla="*/ 791 w 1935"/>
              <a:gd name="T75" fmla="*/ 115 h 1112"/>
              <a:gd name="T76" fmla="*/ 841 w 1935"/>
              <a:gd name="T77" fmla="*/ 70 h 1112"/>
              <a:gd name="T78" fmla="*/ 900 w 1935"/>
              <a:gd name="T79" fmla="*/ 34 h 1112"/>
              <a:gd name="T80" fmla="*/ 965 w 1935"/>
              <a:gd name="T81" fmla="*/ 10 h 1112"/>
              <a:gd name="T82" fmla="*/ 1035 w 1935"/>
              <a:gd name="T83" fmla="*/ 0 h 1112"/>
              <a:gd name="T84" fmla="*/ 1084 w 1935"/>
              <a:gd name="T85" fmla="*/ 1 h 1112"/>
              <a:gd name="T86" fmla="*/ 1169 w 1935"/>
              <a:gd name="T87" fmla="*/ 19 h 1112"/>
              <a:gd name="T88" fmla="*/ 1269 w 1935"/>
              <a:gd name="T89" fmla="*/ 74 h 1112"/>
              <a:gd name="T90" fmla="*/ 1346 w 1935"/>
              <a:gd name="T91" fmla="*/ 156 h 1112"/>
              <a:gd name="T92" fmla="*/ 1394 w 1935"/>
              <a:gd name="T93" fmla="*/ 260 h 1112"/>
              <a:gd name="T94" fmla="*/ 1473 w 1935"/>
              <a:gd name="T95" fmla="*/ 246 h 1112"/>
              <a:gd name="T96" fmla="*/ 1545 w 1935"/>
              <a:gd name="T97" fmla="*/ 248 h 1112"/>
              <a:gd name="T98" fmla="*/ 1630 w 1935"/>
              <a:gd name="T99" fmla="*/ 264 h 1112"/>
              <a:gd name="T100" fmla="*/ 1707 w 1935"/>
              <a:gd name="T101" fmla="*/ 298 h 1112"/>
              <a:gd name="T102" fmla="*/ 1777 w 1935"/>
              <a:gd name="T103" fmla="*/ 344 h 1112"/>
              <a:gd name="T104" fmla="*/ 1835 w 1935"/>
              <a:gd name="T105" fmla="*/ 403 h 1112"/>
              <a:gd name="T106" fmla="*/ 1882 w 1935"/>
              <a:gd name="T107" fmla="*/ 472 h 1112"/>
              <a:gd name="T108" fmla="*/ 1915 w 1935"/>
              <a:gd name="T109" fmla="*/ 549 h 1112"/>
              <a:gd name="T110" fmla="*/ 1933 w 1935"/>
              <a:gd name="T111" fmla="*/ 635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35" h="1112">
                <a:moveTo>
                  <a:pt x="1935" y="679"/>
                </a:moveTo>
                <a:lnTo>
                  <a:pt x="1935" y="679"/>
                </a:lnTo>
                <a:lnTo>
                  <a:pt x="1934" y="699"/>
                </a:lnTo>
                <a:lnTo>
                  <a:pt x="1933" y="720"/>
                </a:lnTo>
                <a:lnTo>
                  <a:pt x="1931" y="740"/>
                </a:lnTo>
                <a:lnTo>
                  <a:pt x="1927" y="759"/>
                </a:lnTo>
                <a:lnTo>
                  <a:pt x="1923" y="779"/>
                </a:lnTo>
                <a:lnTo>
                  <a:pt x="1918" y="798"/>
                </a:lnTo>
                <a:lnTo>
                  <a:pt x="1912" y="818"/>
                </a:lnTo>
                <a:lnTo>
                  <a:pt x="1906" y="835"/>
                </a:lnTo>
                <a:lnTo>
                  <a:pt x="1898" y="854"/>
                </a:lnTo>
                <a:lnTo>
                  <a:pt x="1890" y="872"/>
                </a:lnTo>
                <a:lnTo>
                  <a:pt x="1881" y="888"/>
                </a:lnTo>
                <a:lnTo>
                  <a:pt x="1872" y="906"/>
                </a:lnTo>
                <a:lnTo>
                  <a:pt x="1861" y="922"/>
                </a:lnTo>
                <a:lnTo>
                  <a:pt x="1850" y="938"/>
                </a:lnTo>
                <a:lnTo>
                  <a:pt x="1838" y="953"/>
                </a:lnTo>
                <a:lnTo>
                  <a:pt x="1826" y="968"/>
                </a:lnTo>
                <a:lnTo>
                  <a:pt x="1812" y="982"/>
                </a:lnTo>
                <a:lnTo>
                  <a:pt x="1799" y="995"/>
                </a:lnTo>
                <a:lnTo>
                  <a:pt x="1784" y="1009"/>
                </a:lnTo>
                <a:lnTo>
                  <a:pt x="1770" y="1022"/>
                </a:lnTo>
                <a:lnTo>
                  <a:pt x="1754" y="1033"/>
                </a:lnTo>
                <a:lnTo>
                  <a:pt x="1738" y="1044"/>
                </a:lnTo>
                <a:lnTo>
                  <a:pt x="1722" y="1055"/>
                </a:lnTo>
                <a:lnTo>
                  <a:pt x="1705" y="1064"/>
                </a:lnTo>
                <a:lnTo>
                  <a:pt x="1688" y="1074"/>
                </a:lnTo>
                <a:lnTo>
                  <a:pt x="1670" y="1081"/>
                </a:lnTo>
                <a:lnTo>
                  <a:pt x="1652" y="1088"/>
                </a:lnTo>
                <a:lnTo>
                  <a:pt x="1633" y="1095"/>
                </a:lnTo>
                <a:lnTo>
                  <a:pt x="1615" y="1101"/>
                </a:lnTo>
                <a:lnTo>
                  <a:pt x="1596" y="1106"/>
                </a:lnTo>
                <a:lnTo>
                  <a:pt x="1576" y="1110"/>
                </a:lnTo>
                <a:lnTo>
                  <a:pt x="1556" y="1112"/>
                </a:lnTo>
                <a:lnTo>
                  <a:pt x="330" y="1112"/>
                </a:lnTo>
                <a:lnTo>
                  <a:pt x="298" y="1112"/>
                </a:lnTo>
                <a:lnTo>
                  <a:pt x="298" y="1112"/>
                </a:lnTo>
                <a:lnTo>
                  <a:pt x="282" y="1112"/>
                </a:lnTo>
                <a:lnTo>
                  <a:pt x="268" y="1111"/>
                </a:lnTo>
                <a:lnTo>
                  <a:pt x="252" y="1109"/>
                </a:lnTo>
                <a:lnTo>
                  <a:pt x="238" y="1107"/>
                </a:lnTo>
                <a:lnTo>
                  <a:pt x="223" y="1103"/>
                </a:lnTo>
                <a:lnTo>
                  <a:pt x="209" y="1100"/>
                </a:lnTo>
                <a:lnTo>
                  <a:pt x="196" y="1094"/>
                </a:lnTo>
                <a:lnTo>
                  <a:pt x="182" y="1089"/>
                </a:lnTo>
                <a:lnTo>
                  <a:pt x="169" y="1083"/>
                </a:lnTo>
                <a:lnTo>
                  <a:pt x="155" y="1077"/>
                </a:lnTo>
                <a:lnTo>
                  <a:pt x="143" y="1069"/>
                </a:lnTo>
                <a:lnTo>
                  <a:pt x="131" y="1061"/>
                </a:lnTo>
                <a:lnTo>
                  <a:pt x="120" y="1053"/>
                </a:lnTo>
                <a:lnTo>
                  <a:pt x="109" y="1044"/>
                </a:lnTo>
                <a:lnTo>
                  <a:pt x="97" y="1035"/>
                </a:lnTo>
                <a:lnTo>
                  <a:pt x="88" y="1026"/>
                </a:lnTo>
                <a:lnTo>
                  <a:pt x="77" y="1015"/>
                </a:lnTo>
                <a:lnTo>
                  <a:pt x="68" y="1004"/>
                </a:lnTo>
                <a:lnTo>
                  <a:pt x="60" y="992"/>
                </a:lnTo>
                <a:lnTo>
                  <a:pt x="51" y="981"/>
                </a:lnTo>
                <a:lnTo>
                  <a:pt x="43" y="968"/>
                </a:lnTo>
                <a:lnTo>
                  <a:pt x="36" y="956"/>
                </a:lnTo>
                <a:lnTo>
                  <a:pt x="29" y="943"/>
                </a:lnTo>
                <a:lnTo>
                  <a:pt x="23" y="930"/>
                </a:lnTo>
                <a:lnTo>
                  <a:pt x="18" y="916"/>
                </a:lnTo>
                <a:lnTo>
                  <a:pt x="14" y="903"/>
                </a:lnTo>
                <a:lnTo>
                  <a:pt x="10" y="889"/>
                </a:lnTo>
                <a:lnTo>
                  <a:pt x="6" y="875"/>
                </a:lnTo>
                <a:lnTo>
                  <a:pt x="3" y="860"/>
                </a:lnTo>
                <a:lnTo>
                  <a:pt x="1" y="845"/>
                </a:lnTo>
                <a:lnTo>
                  <a:pt x="0" y="830"/>
                </a:lnTo>
                <a:lnTo>
                  <a:pt x="0" y="815"/>
                </a:lnTo>
                <a:lnTo>
                  <a:pt x="0" y="815"/>
                </a:lnTo>
                <a:lnTo>
                  <a:pt x="0" y="799"/>
                </a:lnTo>
                <a:lnTo>
                  <a:pt x="1" y="784"/>
                </a:lnTo>
                <a:lnTo>
                  <a:pt x="3" y="769"/>
                </a:lnTo>
                <a:lnTo>
                  <a:pt x="6" y="754"/>
                </a:lnTo>
                <a:lnTo>
                  <a:pt x="10" y="741"/>
                </a:lnTo>
                <a:lnTo>
                  <a:pt x="14" y="726"/>
                </a:lnTo>
                <a:lnTo>
                  <a:pt x="18" y="713"/>
                </a:lnTo>
                <a:lnTo>
                  <a:pt x="23" y="699"/>
                </a:lnTo>
                <a:lnTo>
                  <a:pt x="29" y="686"/>
                </a:lnTo>
                <a:lnTo>
                  <a:pt x="36" y="673"/>
                </a:lnTo>
                <a:lnTo>
                  <a:pt x="43" y="661"/>
                </a:lnTo>
                <a:lnTo>
                  <a:pt x="51" y="648"/>
                </a:lnTo>
                <a:lnTo>
                  <a:pt x="60" y="637"/>
                </a:lnTo>
                <a:lnTo>
                  <a:pt x="68" y="625"/>
                </a:lnTo>
                <a:lnTo>
                  <a:pt x="77" y="615"/>
                </a:lnTo>
                <a:lnTo>
                  <a:pt x="88" y="604"/>
                </a:lnTo>
                <a:lnTo>
                  <a:pt x="97" y="594"/>
                </a:lnTo>
                <a:lnTo>
                  <a:pt x="109" y="585"/>
                </a:lnTo>
                <a:lnTo>
                  <a:pt x="120" y="576"/>
                </a:lnTo>
                <a:lnTo>
                  <a:pt x="131" y="568"/>
                </a:lnTo>
                <a:lnTo>
                  <a:pt x="143" y="560"/>
                </a:lnTo>
                <a:lnTo>
                  <a:pt x="155" y="552"/>
                </a:lnTo>
                <a:lnTo>
                  <a:pt x="169" y="546"/>
                </a:lnTo>
                <a:lnTo>
                  <a:pt x="182" y="540"/>
                </a:lnTo>
                <a:lnTo>
                  <a:pt x="196" y="535"/>
                </a:lnTo>
                <a:lnTo>
                  <a:pt x="209" y="531"/>
                </a:lnTo>
                <a:lnTo>
                  <a:pt x="223" y="526"/>
                </a:lnTo>
                <a:lnTo>
                  <a:pt x="238" y="523"/>
                </a:lnTo>
                <a:lnTo>
                  <a:pt x="252" y="520"/>
                </a:lnTo>
                <a:lnTo>
                  <a:pt x="268" y="518"/>
                </a:lnTo>
                <a:lnTo>
                  <a:pt x="282" y="517"/>
                </a:lnTo>
                <a:lnTo>
                  <a:pt x="298" y="517"/>
                </a:lnTo>
                <a:lnTo>
                  <a:pt x="298" y="517"/>
                </a:lnTo>
                <a:lnTo>
                  <a:pt x="311" y="517"/>
                </a:lnTo>
                <a:lnTo>
                  <a:pt x="326" y="518"/>
                </a:lnTo>
                <a:lnTo>
                  <a:pt x="353" y="522"/>
                </a:lnTo>
                <a:lnTo>
                  <a:pt x="353" y="522"/>
                </a:lnTo>
                <a:lnTo>
                  <a:pt x="361" y="508"/>
                </a:lnTo>
                <a:lnTo>
                  <a:pt x="372" y="492"/>
                </a:lnTo>
                <a:lnTo>
                  <a:pt x="382" y="479"/>
                </a:lnTo>
                <a:lnTo>
                  <a:pt x="394" y="465"/>
                </a:lnTo>
                <a:lnTo>
                  <a:pt x="406" y="453"/>
                </a:lnTo>
                <a:lnTo>
                  <a:pt x="420" y="441"/>
                </a:lnTo>
                <a:lnTo>
                  <a:pt x="433" y="431"/>
                </a:lnTo>
                <a:lnTo>
                  <a:pt x="448" y="421"/>
                </a:lnTo>
                <a:lnTo>
                  <a:pt x="463" y="412"/>
                </a:lnTo>
                <a:lnTo>
                  <a:pt x="479" y="405"/>
                </a:lnTo>
                <a:lnTo>
                  <a:pt x="495" y="397"/>
                </a:lnTo>
                <a:lnTo>
                  <a:pt x="512" y="392"/>
                </a:lnTo>
                <a:lnTo>
                  <a:pt x="530" y="388"/>
                </a:lnTo>
                <a:lnTo>
                  <a:pt x="549" y="385"/>
                </a:lnTo>
                <a:lnTo>
                  <a:pt x="566" y="383"/>
                </a:lnTo>
                <a:lnTo>
                  <a:pt x="585" y="382"/>
                </a:lnTo>
                <a:lnTo>
                  <a:pt x="585" y="382"/>
                </a:lnTo>
                <a:lnTo>
                  <a:pt x="602" y="383"/>
                </a:lnTo>
                <a:lnTo>
                  <a:pt x="617" y="384"/>
                </a:lnTo>
                <a:lnTo>
                  <a:pt x="633" y="387"/>
                </a:lnTo>
                <a:lnTo>
                  <a:pt x="647" y="390"/>
                </a:lnTo>
                <a:lnTo>
                  <a:pt x="662" y="394"/>
                </a:lnTo>
                <a:lnTo>
                  <a:pt x="676" y="399"/>
                </a:lnTo>
                <a:lnTo>
                  <a:pt x="691" y="405"/>
                </a:lnTo>
                <a:lnTo>
                  <a:pt x="705" y="411"/>
                </a:lnTo>
                <a:lnTo>
                  <a:pt x="705" y="411"/>
                </a:lnTo>
                <a:lnTo>
                  <a:pt x="700" y="383"/>
                </a:lnTo>
                <a:lnTo>
                  <a:pt x="699" y="368"/>
                </a:lnTo>
                <a:lnTo>
                  <a:pt x="699" y="355"/>
                </a:lnTo>
                <a:lnTo>
                  <a:pt x="699" y="355"/>
                </a:lnTo>
                <a:lnTo>
                  <a:pt x="699" y="336"/>
                </a:lnTo>
                <a:lnTo>
                  <a:pt x="700" y="318"/>
                </a:lnTo>
                <a:lnTo>
                  <a:pt x="703" y="301"/>
                </a:lnTo>
                <a:lnTo>
                  <a:pt x="707" y="283"/>
                </a:lnTo>
                <a:lnTo>
                  <a:pt x="710" y="265"/>
                </a:lnTo>
                <a:lnTo>
                  <a:pt x="715" y="249"/>
                </a:lnTo>
                <a:lnTo>
                  <a:pt x="720" y="232"/>
                </a:lnTo>
                <a:lnTo>
                  <a:pt x="726" y="216"/>
                </a:lnTo>
                <a:lnTo>
                  <a:pt x="734" y="201"/>
                </a:lnTo>
                <a:lnTo>
                  <a:pt x="742" y="185"/>
                </a:lnTo>
                <a:lnTo>
                  <a:pt x="750" y="171"/>
                </a:lnTo>
                <a:lnTo>
                  <a:pt x="760" y="156"/>
                </a:lnTo>
                <a:lnTo>
                  <a:pt x="769" y="143"/>
                </a:lnTo>
                <a:lnTo>
                  <a:pt x="779" y="129"/>
                </a:lnTo>
                <a:lnTo>
                  <a:pt x="791" y="115"/>
                </a:lnTo>
                <a:lnTo>
                  <a:pt x="802" y="103"/>
                </a:lnTo>
                <a:lnTo>
                  <a:pt x="815" y="92"/>
                </a:lnTo>
                <a:lnTo>
                  <a:pt x="828" y="80"/>
                </a:lnTo>
                <a:lnTo>
                  <a:pt x="841" y="70"/>
                </a:lnTo>
                <a:lnTo>
                  <a:pt x="855" y="60"/>
                </a:lnTo>
                <a:lnTo>
                  <a:pt x="870" y="51"/>
                </a:lnTo>
                <a:lnTo>
                  <a:pt x="884" y="43"/>
                </a:lnTo>
                <a:lnTo>
                  <a:pt x="900" y="34"/>
                </a:lnTo>
                <a:lnTo>
                  <a:pt x="916" y="27"/>
                </a:lnTo>
                <a:lnTo>
                  <a:pt x="931" y="21"/>
                </a:lnTo>
                <a:lnTo>
                  <a:pt x="948" y="16"/>
                </a:lnTo>
                <a:lnTo>
                  <a:pt x="965" y="10"/>
                </a:lnTo>
                <a:lnTo>
                  <a:pt x="982" y="7"/>
                </a:lnTo>
                <a:lnTo>
                  <a:pt x="1000" y="4"/>
                </a:lnTo>
                <a:lnTo>
                  <a:pt x="1018" y="1"/>
                </a:lnTo>
                <a:lnTo>
                  <a:pt x="1035" y="0"/>
                </a:lnTo>
                <a:lnTo>
                  <a:pt x="1054" y="0"/>
                </a:lnTo>
                <a:lnTo>
                  <a:pt x="1054" y="0"/>
                </a:lnTo>
                <a:lnTo>
                  <a:pt x="1069" y="0"/>
                </a:lnTo>
                <a:lnTo>
                  <a:pt x="1084" y="1"/>
                </a:lnTo>
                <a:lnTo>
                  <a:pt x="1099" y="2"/>
                </a:lnTo>
                <a:lnTo>
                  <a:pt x="1113" y="4"/>
                </a:lnTo>
                <a:lnTo>
                  <a:pt x="1141" y="10"/>
                </a:lnTo>
                <a:lnTo>
                  <a:pt x="1169" y="19"/>
                </a:lnTo>
                <a:lnTo>
                  <a:pt x="1197" y="30"/>
                </a:lnTo>
                <a:lnTo>
                  <a:pt x="1221" y="43"/>
                </a:lnTo>
                <a:lnTo>
                  <a:pt x="1246" y="57"/>
                </a:lnTo>
                <a:lnTo>
                  <a:pt x="1269" y="74"/>
                </a:lnTo>
                <a:lnTo>
                  <a:pt x="1291" y="92"/>
                </a:lnTo>
                <a:lnTo>
                  <a:pt x="1311" y="111"/>
                </a:lnTo>
                <a:lnTo>
                  <a:pt x="1330" y="133"/>
                </a:lnTo>
                <a:lnTo>
                  <a:pt x="1346" y="156"/>
                </a:lnTo>
                <a:lnTo>
                  <a:pt x="1361" y="180"/>
                </a:lnTo>
                <a:lnTo>
                  <a:pt x="1374" y="206"/>
                </a:lnTo>
                <a:lnTo>
                  <a:pt x="1385" y="232"/>
                </a:lnTo>
                <a:lnTo>
                  <a:pt x="1394" y="260"/>
                </a:lnTo>
                <a:lnTo>
                  <a:pt x="1394" y="260"/>
                </a:lnTo>
                <a:lnTo>
                  <a:pt x="1420" y="254"/>
                </a:lnTo>
                <a:lnTo>
                  <a:pt x="1446" y="249"/>
                </a:lnTo>
                <a:lnTo>
                  <a:pt x="1473" y="246"/>
                </a:lnTo>
                <a:lnTo>
                  <a:pt x="1501" y="244"/>
                </a:lnTo>
                <a:lnTo>
                  <a:pt x="1501" y="244"/>
                </a:lnTo>
                <a:lnTo>
                  <a:pt x="1523" y="246"/>
                </a:lnTo>
                <a:lnTo>
                  <a:pt x="1545" y="248"/>
                </a:lnTo>
                <a:lnTo>
                  <a:pt x="1567" y="250"/>
                </a:lnTo>
                <a:lnTo>
                  <a:pt x="1589" y="254"/>
                </a:lnTo>
                <a:lnTo>
                  <a:pt x="1609" y="259"/>
                </a:lnTo>
                <a:lnTo>
                  <a:pt x="1630" y="264"/>
                </a:lnTo>
                <a:lnTo>
                  <a:pt x="1650" y="272"/>
                </a:lnTo>
                <a:lnTo>
                  <a:pt x="1670" y="279"/>
                </a:lnTo>
                <a:lnTo>
                  <a:pt x="1688" y="288"/>
                </a:lnTo>
                <a:lnTo>
                  <a:pt x="1707" y="298"/>
                </a:lnTo>
                <a:lnTo>
                  <a:pt x="1726" y="308"/>
                </a:lnTo>
                <a:lnTo>
                  <a:pt x="1744" y="319"/>
                </a:lnTo>
                <a:lnTo>
                  <a:pt x="1760" y="331"/>
                </a:lnTo>
                <a:lnTo>
                  <a:pt x="1777" y="344"/>
                </a:lnTo>
                <a:lnTo>
                  <a:pt x="1793" y="358"/>
                </a:lnTo>
                <a:lnTo>
                  <a:pt x="1808" y="372"/>
                </a:lnTo>
                <a:lnTo>
                  <a:pt x="1822" y="387"/>
                </a:lnTo>
                <a:lnTo>
                  <a:pt x="1835" y="403"/>
                </a:lnTo>
                <a:lnTo>
                  <a:pt x="1849" y="419"/>
                </a:lnTo>
                <a:lnTo>
                  <a:pt x="1860" y="436"/>
                </a:lnTo>
                <a:lnTo>
                  <a:pt x="1872" y="454"/>
                </a:lnTo>
                <a:lnTo>
                  <a:pt x="1882" y="472"/>
                </a:lnTo>
                <a:lnTo>
                  <a:pt x="1892" y="491"/>
                </a:lnTo>
                <a:lnTo>
                  <a:pt x="1901" y="510"/>
                </a:lnTo>
                <a:lnTo>
                  <a:pt x="1908" y="529"/>
                </a:lnTo>
                <a:lnTo>
                  <a:pt x="1915" y="549"/>
                </a:lnTo>
                <a:lnTo>
                  <a:pt x="1921" y="570"/>
                </a:lnTo>
                <a:lnTo>
                  <a:pt x="1926" y="591"/>
                </a:lnTo>
                <a:lnTo>
                  <a:pt x="1930" y="613"/>
                </a:lnTo>
                <a:lnTo>
                  <a:pt x="1933" y="635"/>
                </a:lnTo>
                <a:lnTo>
                  <a:pt x="1934" y="656"/>
                </a:lnTo>
                <a:lnTo>
                  <a:pt x="1935" y="67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20" name="Rectangle 2022"/>
          <p:cNvSpPr>
            <a:spLocks noChangeArrowheads="1"/>
          </p:cNvSpPr>
          <p:nvPr/>
        </p:nvSpPr>
        <p:spPr bwMode="auto">
          <a:xfrm>
            <a:off x="5471204" y="2272110"/>
            <a:ext cx="38100" cy="1489075"/>
          </a:xfrm>
          <a:prstGeom prst="rect">
            <a:avLst/>
          </a:prstGeom>
          <a:solidFill>
            <a:srgbClr val="00708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966" name="Group 2965"/>
          <p:cNvGrpSpPr/>
          <p:nvPr/>
        </p:nvGrpSpPr>
        <p:grpSpPr>
          <a:xfrm>
            <a:off x="2348144" y="3108506"/>
            <a:ext cx="781361" cy="629752"/>
            <a:chOff x="2086720" y="2952492"/>
            <a:chExt cx="859497" cy="692727"/>
          </a:xfrm>
        </p:grpSpPr>
        <p:sp>
          <p:nvSpPr>
            <p:cNvPr id="2949" name="Freeform 1951"/>
            <p:cNvSpPr>
              <a:spLocks/>
            </p:cNvSpPr>
            <p:nvPr/>
          </p:nvSpPr>
          <p:spPr bwMode="auto">
            <a:xfrm>
              <a:off x="2169785" y="3102583"/>
              <a:ext cx="261216" cy="510886"/>
            </a:xfrm>
            <a:custGeom>
              <a:avLst/>
              <a:gdLst>
                <a:gd name="T0" fmla="*/ 1 w 1086"/>
                <a:gd name="T1" fmla="*/ 227 h 2128"/>
                <a:gd name="T2" fmla="*/ 5 w 1086"/>
                <a:gd name="T3" fmla="*/ 177 h 2128"/>
                <a:gd name="T4" fmla="*/ 19 w 1086"/>
                <a:gd name="T5" fmla="*/ 132 h 2128"/>
                <a:gd name="T6" fmla="*/ 41 w 1086"/>
                <a:gd name="T7" fmla="*/ 93 h 2128"/>
                <a:gd name="T8" fmla="*/ 73 w 1086"/>
                <a:gd name="T9" fmla="*/ 60 h 2128"/>
                <a:gd name="T10" fmla="*/ 110 w 1086"/>
                <a:gd name="T11" fmla="*/ 33 h 2128"/>
                <a:gd name="T12" fmla="*/ 152 w 1086"/>
                <a:gd name="T13" fmla="*/ 15 h 2128"/>
                <a:gd name="T14" fmla="*/ 197 w 1086"/>
                <a:gd name="T15" fmla="*/ 3 h 2128"/>
                <a:gd name="T16" fmla="*/ 242 w 1086"/>
                <a:gd name="T17" fmla="*/ 1 h 2128"/>
                <a:gd name="T18" fmla="*/ 287 w 1086"/>
                <a:gd name="T19" fmla="*/ 9 h 2128"/>
                <a:gd name="T20" fmla="*/ 329 w 1086"/>
                <a:gd name="T21" fmla="*/ 25 h 2128"/>
                <a:gd name="T22" fmla="*/ 348 w 1086"/>
                <a:gd name="T23" fmla="*/ 37 h 2128"/>
                <a:gd name="T24" fmla="*/ 361 w 1086"/>
                <a:gd name="T25" fmla="*/ 54 h 2128"/>
                <a:gd name="T26" fmla="*/ 385 w 1086"/>
                <a:gd name="T27" fmla="*/ 113 h 2128"/>
                <a:gd name="T28" fmla="*/ 404 w 1086"/>
                <a:gd name="T29" fmla="*/ 198 h 2128"/>
                <a:gd name="T30" fmla="*/ 424 w 1086"/>
                <a:gd name="T31" fmla="*/ 338 h 2128"/>
                <a:gd name="T32" fmla="*/ 442 w 1086"/>
                <a:gd name="T33" fmla="*/ 571 h 2128"/>
                <a:gd name="T34" fmla="*/ 453 w 1086"/>
                <a:gd name="T35" fmla="*/ 869 h 2128"/>
                <a:gd name="T36" fmla="*/ 565 w 1086"/>
                <a:gd name="T37" fmla="*/ 904 h 2128"/>
                <a:gd name="T38" fmla="*/ 898 w 1086"/>
                <a:gd name="T39" fmla="*/ 905 h 2128"/>
                <a:gd name="T40" fmla="*/ 929 w 1086"/>
                <a:gd name="T41" fmla="*/ 908 h 2128"/>
                <a:gd name="T42" fmla="*/ 977 w 1086"/>
                <a:gd name="T43" fmla="*/ 920 h 2128"/>
                <a:gd name="T44" fmla="*/ 1021 w 1086"/>
                <a:gd name="T45" fmla="*/ 944 h 2128"/>
                <a:gd name="T46" fmla="*/ 1056 w 1086"/>
                <a:gd name="T47" fmla="*/ 977 h 2128"/>
                <a:gd name="T48" fmla="*/ 1077 w 1086"/>
                <a:gd name="T49" fmla="*/ 1022 h 2128"/>
                <a:gd name="T50" fmla="*/ 1082 w 1086"/>
                <a:gd name="T51" fmla="*/ 1059 h 2128"/>
                <a:gd name="T52" fmla="*/ 1086 w 1086"/>
                <a:gd name="T53" fmla="*/ 1529 h 2128"/>
                <a:gd name="T54" fmla="*/ 1085 w 1086"/>
                <a:gd name="T55" fmla="*/ 2013 h 2128"/>
                <a:gd name="T56" fmla="*/ 1080 w 1086"/>
                <a:gd name="T57" fmla="*/ 2051 h 2128"/>
                <a:gd name="T58" fmla="*/ 1064 w 1086"/>
                <a:gd name="T59" fmla="*/ 2082 h 2128"/>
                <a:gd name="T60" fmla="*/ 1040 w 1086"/>
                <a:gd name="T61" fmla="*/ 2104 h 2128"/>
                <a:gd name="T62" fmla="*/ 1010 w 1086"/>
                <a:gd name="T63" fmla="*/ 2120 h 2128"/>
                <a:gd name="T64" fmla="*/ 976 w 1086"/>
                <a:gd name="T65" fmla="*/ 2127 h 2128"/>
                <a:gd name="T66" fmla="*/ 941 w 1086"/>
                <a:gd name="T67" fmla="*/ 2126 h 2128"/>
                <a:gd name="T68" fmla="*/ 907 w 1086"/>
                <a:gd name="T69" fmla="*/ 2117 h 2128"/>
                <a:gd name="T70" fmla="*/ 877 w 1086"/>
                <a:gd name="T71" fmla="*/ 2099 h 2128"/>
                <a:gd name="T72" fmla="*/ 854 w 1086"/>
                <a:gd name="T73" fmla="*/ 2074 h 2128"/>
                <a:gd name="T74" fmla="*/ 838 w 1086"/>
                <a:gd name="T75" fmla="*/ 2040 h 2128"/>
                <a:gd name="T76" fmla="*/ 832 w 1086"/>
                <a:gd name="T77" fmla="*/ 1982 h 2128"/>
                <a:gd name="T78" fmla="*/ 825 w 1086"/>
                <a:gd name="T79" fmla="*/ 1848 h 2128"/>
                <a:gd name="T80" fmla="*/ 827 w 1086"/>
                <a:gd name="T81" fmla="*/ 1487 h 2128"/>
                <a:gd name="T82" fmla="*/ 826 w 1086"/>
                <a:gd name="T83" fmla="*/ 1306 h 2128"/>
                <a:gd name="T84" fmla="*/ 393 w 1086"/>
                <a:gd name="T85" fmla="*/ 1307 h 2128"/>
                <a:gd name="T86" fmla="*/ 238 w 1086"/>
                <a:gd name="T87" fmla="*/ 1305 h 2128"/>
                <a:gd name="T88" fmla="*/ 205 w 1086"/>
                <a:gd name="T89" fmla="*/ 1299 h 2128"/>
                <a:gd name="T90" fmla="*/ 166 w 1086"/>
                <a:gd name="T91" fmla="*/ 1283 h 2128"/>
                <a:gd name="T92" fmla="*/ 115 w 1086"/>
                <a:gd name="T93" fmla="*/ 1242 h 2128"/>
                <a:gd name="T94" fmla="*/ 74 w 1086"/>
                <a:gd name="T95" fmla="*/ 1189 h 2128"/>
                <a:gd name="T96" fmla="*/ 45 w 1086"/>
                <a:gd name="T97" fmla="*/ 1125 h 2128"/>
                <a:gd name="T98" fmla="*/ 28 w 1086"/>
                <a:gd name="T99" fmla="*/ 1059 h 2128"/>
                <a:gd name="T100" fmla="*/ 17 w 1086"/>
                <a:gd name="T101" fmla="*/ 798 h 2128"/>
                <a:gd name="T102" fmla="*/ 5 w 1086"/>
                <a:gd name="T103" fmla="*/ 392 h 2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86" h="2128">
                  <a:moveTo>
                    <a:pt x="4" y="246"/>
                  </a:moveTo>
                  <a:lnTo>
                    <a:pt x="4" y="246"/>
                  </a:lnTo>
                  <a:lnTo>
                    <a:pt x="1" y="227"/>
                  </a:lnTo>
                  <a:lnTo>
                    <a:pt x="0" y="211"/>
                  </a:lnTo>
                  <a:lnTo>
                    <a:pt x="1" y="194"/>
                  </a:lnTo>
                  <a:lnTo>
                    <a:pt x="5" y="177"/>
                  </a:lnTo>
                  <a:lnTo>
                    <a:pt x="8" y="162"/>
                  </a:lnTo>
                  <a:lnTo>
                    <a:pt x="13" y="147"/>
                  </a:lnTo>
                  <a:lnTo>
                    <a:pt x="19" y="132"/>
                  </a:lnTo>
                  <a:lnTo>
                    <a:pt x="25" y="119"/>
                  </a:lnTo>
                  <a:lnTo>
                    <a:pt x="33" y="106"/>
                  </a:lnTo>
                  <a:lnTo>
                    <a:pt x="41" y="93"/>
                  </a:lnTo>
                  <a:lnTo>
                    <a:pt x="52" y="81"/>
                  </a:lnTo>
                  <a:lnTo>
                    <a:pt x="62" y="70"/>
                  </a:lnTo>
                  <a:lnTo>
                    <a:pt x="73" y="60"/>
                  </a:lnTo>
                  <a:lnTo>
                    <a:pt x="85" y="51"/>
                  </a:lnTo>
                  <a:lnTo>
                    <a:pt x="98" y="41"/>
                  </a:lnTo>
                  <a:lnTo>
                    <a:pt x="110" y="33"/>
                  </a:lnTo>
                  <a:lnTo>
                    <a:pt x="124" y="26"/>
                  </a:lnTo>
                  <a:lnTo>
                    <a:pt x="137" y="20"/>
                  </a:lnTo>
                  <a:lnTo>
                    <a:pt x="152" y="15"/>
                  </a:lnTo>
                  <a:lnTo>
                    <a:pt x="167" y="10"/>
                  </a:lnTo>
                  <a:lnTo>
                    <a:pt x="181" y="7"/>
                  </a:lnTo>
                  <a:lnTo>
                    <a:pt x="197" y="3"/>
                  </a:lnTo>
                  <a:lnTo>
                    <a:pt x="212" y="1"/>
                  </a:lnTo>
                  <a:lnTo>
                    <a:pt x="226" y="0"/>
                  </a:lnTo>
                  <a:lnTo>
                    <a:pt x="242" y="1"/>
                  </a:lnTo>
                  <a:lnTo>
                    <a:pt x="257" y="2"/>
                  </a:lnTo>
                  <a:lnTo>
                    <a:pt x="272" y="5"/>
                  </a:lnTo>
                  <a:lnTo>
                    <a:pt x="287" y="9"/>
                  </a:lnTo>
                  <a:lnTo>
                    <a:pt x="302" y="13"/>
                  </a:lnTo>
                  <a:lnTo>
                    <a:pt x="316" y="19"/>
                  </a:lnTo>
                  <a:lnTo>
                    <a:pt x="329" y="25"/>
                  </a:lnTo>
                  <a:lnTo>
                    <a:pt x="343" y="33"/>
                  </a:lnTo>
                  <a:lnTo>
                    <a:pt x="343" y="33"/>
                  </a:lnTo>
                  <a:lnTo>
                    <a:pt x="348" y="37"/>
                  </a:lnTo>
                  <a:lnTo>
                    <a:pt x="352" y="41"/>
                  </a:lnTo>
                  <a:lnTo>
                    <a:pt x="357" y="47"/>
                  </a:lnTo>
                  <a:lnTo>
                    <a:pt x="361" y="54"/>
                  </a:lnTo>
                  <a:lnTo>
                    <a:pt x="369" y="70"/>
                  </a:lnTo>
                  <a:lnTo>
                    <a:pt x="378" y="89"/>
                  </a:lnTo>
                  <a:lnTo>
                    <a:pt x="385" y="113"/>
                  </a:lnTo>
                  <a:lnTo>
                    <a:pt x="392" y="138"/>
                  </a:lnTo>
                  <a:lnTo>
                    <a:pt x="398" y="167"/>
                  </a:lnTo>
                  <a:lnTo>
                    <a:pt x="404" y="198"/>
                  </a:lnTo>
                  <a:lnTo>
                    <a:pt x="409" y="230"/>
                  </a:lnTo>
                  <a:lnTo>
                    <a:pt x="414" y="265"/>
                  </a:lnTo>
                  <a:lnTo>
                    <a:pt x="424" y="338"/>
                  </a:lnTo>
                  <a:lnTo>
                    <a:pt x="431" y="415"/>
                  </a:lnTo>
                  <a:lnTo>
                    <a:pt x="437" y="493"/>
                  </a:lnTo>
                  <a:lnTo>
                    <a:pt x="442" y="571"/>
                  </a:lnTo>
                  <a:lnTo>
                    <a:pt x="446" y="645"/>
                  </a:lnTo>
                  <a:lnTo>
                    <a:pt x="451" y="777"/>
                  </a:lnTo>
                  <a:lnTo>
                    <a:pt x="453" y="869"/>
                  </a:lnTo>
                  <a:lnTo>
                    <a:pt x="454" y="903"/>
                  </a:lnTo>
                  <a:lnTo>
                    <a:pt x="454" y="903"/>
                  </a:lnTo>
                  <a:lnTo>
                    <a:pt x="565" y="904"/>
                  </a:lnTo>
                  <a:lnTo>
                    <a:pt x="675" y="904"/>
                  </a:lnTo>
                  <a:lnTo>
                    <a:pt x="786" y="904"/>
                  </a:lnTo>
                  <a:lnTo>
                    <a:pt x="898" y="905"/>
                  </a:lnTo>
                  <a:lnTo>
                    <a:pt x="898" y="905"/>
                  </a:lnTo>
                  <a:lnTo>
                    <a:pt x="913" y="906"/>
                  </a:lnTo>
                  <a:lnTo>
                    <a:pt x="929" y="908"/>
                  </a:lnTo>
                  <a:lnTo>
                    <a:pt x="946" y="911"/>
                  </a:lnTo>
                  <a:lnTo>
                    <a:pt x="961" y="915"/>
                  </a:lnTo>
                  <a:lnTo>
                    <a:pt x="977" y="920"/>
                  </a:lnTo>
                  <a:lnTo>
                    <a:pt x="993" y="927"/>
                  </a:lnTo>
                  <a:lnTo>
                    <a:pt x="1007" y="934"/>
                  </a:lnTo>
                  <a:lnTo>
                    <a:pt x="1021" y="944"/>
                  </a:lnTo>
                  <a:lnTo>
                    <a:pt x="1034" y="954"/>
                  </a:lnTo>
                  <a:lnTo>
                    <a:pt x="1046" y="965"/>
                  </a:lnTo>
                  <a:lnTo>
                    <a:pt x="1056" y="977"/>
                  </a:lnTo>
                  <a:lnTo>
                    <a:pt x="1065" y="991"/>
                  </a:lnTo>
                  <a:lnTo>
                    <a:pt x="1072" y="1006"/>
                  </a:lnTo>
                  <a:lnTo>
                    <a:pt x="1077" y="1022"/>
                  </a:lnTo>
                  <a:lnTo>
                    <a:pt x="1081" y="1040"/>
                  </a:lnTo>
                  <a:lnTo>
                    <a:pt x="1082" y="1059"/>
                  </a:lnTo>
                  <a:lnTo>
                    <a:pt x="1082" y="1059"/>
                  </a:lnTo>
                  <a:lnTo>
                    <a:pt x="1084" y="1177"/>
                  </a:lnTo>
                  <a:lnTo>
                    <a:pt x="1085" y="1294"/>
                  </a:lnTo>
                  <a:lnTo>
                    <a:pt x="1086" y="1529"/>
                  </a:lnTo>
                  <a:lnTo>
                    <a:pt x="1084" y="1999"/>
                  </a:lnTo>
                  <a:lnTo>
                    <a:pt x="1084" y="1999"/>
                  </a:lnTo>
                  <a:lnTo>
                    <a:pt x="1085" y="2013"/>
                  </a:lnTo>
                  <a:lnTo>
                    <a:pt x="1085" y="2027"/>
                  </a:lnTo>
                  <a:lnTo>
                    <a:pt x="1083" y="2040"/>
                  </a:lnTo>
                  <a:lnTo>
                    <a:pt x="1080" y="2051"/>
                  </a:lnTo>
                  <a:lnTo>
                    <a:pt x="1075" y="2062"/>
                  </a:lnTo>
                  <a:lnTo>
                    <a:pt x="1070" y="2073"/>
                  </a:lnTo>
                  <a:lnTo>
                    <a:pt x="1064" y="2082"/>
                  </a:lnTo>
                  <a:lnTo>
                    <a:pt x="1057" y="2090"/>
                  </a:lnTo>
                  <a:lnTo>
                    <a:pt x="1049" y="2098"/>
                  </a:lnTo>
                  <a:lnTo>
                    <a:pt x="1040" y="2104"/>
                  </a:lnTo>
                  <a:lnTo>
                    <a:pt x="1030" y="2111"/>
                  </a:lnTo>
                  <a:lnTo>
                    <a:pt x="1020" y="2116"/>
                  </a:lnTo>
                  <a:lnTo>
                    <a:pt x="1010" y="2120"/>
                  </a:lnTo>
                  <a:lnTo>
                    <a:pt x="999" y="2123"/>
                  </a:lnTo>
                  <a:lnTo>
                    <a:pt x="988" y="2125"/>
                  </a:lnTo>
                  <a:lnTo>
                    <a:pt x="976" y="2127"/>
                  </a:lnTo>
                  <a:lnTo>
                    <a:pt x="964" y="2128"/>
                  </a:lnTo>
                  <a:lnTo>
                    <a:pt x="953" y="2127"/>
                  </a:lnTo>
                  <a:lnTo>
                    <a:pt x="941" y="2126"/>
                  </a:lnTo>
                  <a:lnTo>
                    <a:pt x="929" y="2124"/>
                  </a:lnTo>
                  <a:lnTo>
                    <a:pt x="918" y="2121"/>
                  </a:lnTo>
                  <a:lnTo>
                    <a:pt x="907" y="2117"/>
                  </a:lnTo>
                  <a:lnTo>
                    <a:pt x="897" y="2113"/>
                  </a:lnTo>
                  <a:lnTo>
                    <a:pt x="886" y="2106"/>
                  </a:lnTo>
                  <a:lnTo>
                    <a:pt x="877" y="2099"/>
                  </a:lnTo>
                  <a:lnTo>
                    <a:pt x="869" y="2092"/>
                  </a:lnTo>
                  <a:lnTo>
                    <a:pt x="861" y="2084"/>
                  </a:lnTo>
                  <a:lnTo>
                    <a:pt x="854" y="2074"/>
                  </a:lnTo>
                  <a:lnTo>
                    <a:pt x="848" y="2064"/>
                  </a:lnTo>
                  <a:lnTo>
                    <a:pt x="842" y="2052"/>
                  </a:lnTo>
                  <a:lnTo>
                    <a:pt x="838" y="2040"/>
                  </a:lnTo>
                  <a:lnTo>
                    <a:pt x="835" y="2027"/>
                  </a:lnTo>
                  <a:lnTo>
                    <a:pt x="835" y="2027"/>
                  </a:lnTo>
                  <a:lnTo>
                    <a:pt x="832" y="1982"/>
                  </a:lnTo>
                  <a:lnTo>
                    <a:pt x="829" y="1938"/>
                  </a:lnTo>
                  <a:lnTo>
                    <a:pt x="827" y="1893"/>
                  </a:lnTo>
                  <a:lnTo>
                    <a:pt x="825" y="1848"/>
                  </a:lnTo>
                  <a:lnTo>
                    <a:pt x="824" y="1758"/>
                  </a:lnTo>
                  <a:lnTo>
                    <a:pt x="825" y="1667"/>
                  </a:lnTo>
                  <a:lnTo>
                    <a:pt x="827" y="1487"/>
                  </a:lnTo>
                  <a:lnTo>
                    <a:pt x="827" y="1396"/>
                  </a:lnTo>
                  <a:lnTo>
                    <a:pt x="826" y="1306"/>
                  </a:lnTo>
                  <a:lnTo>
                    <a:pt x="826" y="1306"/>
                  </a:lnTo>
                  <a:lnTo>
                    <a:pt x="682" y="1306"/>
                  </a:lnTo>
                  <a:lnTo>
                    <a:pt x="538" y="1307"/>
                  </a:lnTo>
                  <a:lnTo>
                    <a:pt x="393" y="1307"/>
                  </a:lnTo>
                  <a:lnTo>
                    <a:pt x="250" y="1306"/>
                  </a:lnTo>
                  <a:lnTo>
                    <a:pt x="250" y="1306"/>
                  </a:lnTo>
                  <a:lnTo>
                    <a:pt x="238" y="1305"/>
                  </a:lnTo>
                  <a:lnTo>
                    <a:pt x="226" y="1304"/>
                  </a:lnTo>
                  <a:lnTo>
                    <a:pt x="216" y="1302"/>
                  </a:lnTo>
                  <a:lnTo>
                    <a:pt x="205" y="1299"/>
                  </a:lnTo>
                  <a:lnTo>
                    <a:pt x="195" y="1296"/>
                  </a:lnTo>
                  <a:lnTo>
                    <a:pt x="185" y="1292"/>
                  </a:lnTo>
                  <a:lnTo>
                    <a:pt x="166" y="1283"/>
                  </a:lnTo>
                  <a:lnTo>
                    <a:pt x="148" y="1271"/>
                  </a:lnTo>
                  <a:lnTo>
                    <a:pt x="130" y="1257"/>
                  </a:lnTo>
                  <a:lnTo>
                    <a:pt x="115" y="1242"/>
                  </a:lnTo>
                  <a:lnTo>
                    <a:pt x="100" y="1226"/>
                  </a:lnTo>
                  <a:lnTo>
                    <a:pt x="86" y="1207"/>
                  </a:lnTo>
                  <a:lnTo>
                    <a:pt x="74" y="1189"/>
                  </a:lnTo>
                  <a:lnTo>
                    <a:pt x="64" y="1168"/>
                  </a:lnTo>
                  <a:lnTo>
                    <a:pt x="54" y="1147"/>
                  </a:lnTo>
                  <a:lnTo>
                    <a:pt x="45" y="1125"/>
                  </a:lnTo>
                  <a:lnTo>
                    <a:pt x="38" y="1104"/>
                  </a:lnTo>
                  <a:lnTo>
                    <a:pt x="33" y="1082"/>
                  </a:lnTo>
                  <a:lnTo>
                    <a:pt x="28" y="1059"/>
                  </a:lnTo>
                  <a:lnTo>
                    <a:pt x="28" y="1059"/>
                  </a:lnTo>
                  <a:lnTo>
                    <a:pt x="25" y="986"/>
                  </a:lnTo>
                  <a:lnTo>
                    <a:pt x="17" y="798"/>
                  </a:lnTo>
                  <a:lnTo>
                    <a:pt x="12" y="674"/>
                  </a:lnTo>
                  <a:lnTo>
                    <a:pt x="8" y="537"/>
                  </a:lnTo>
                  <a:lnTo>
                    <a:pt x="5" y="392"/>
                  </a:lnTo>
                  <a:lnTo>
                    <a:pt x="4" y="246"/>
                  </a:lnTo>
                  <a:lnTo>
                    <a:pt x="4" y="2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344" name="Group 2343"/>
            <p:cNvGrpSpPr/>
            <p:nvPr/>
          </p:nvGrpSpPr>
          <p:grpSpPr>
            <a:xfrm>
              <a:off x="2383376" y="3274321"/>
              <a:ext cx="562841" cy="370898"/>
              <a:chOff x="2419350" y="3336925"/>
              <a:chExt cx="619125" cy="407988"/>
            </a:xfrm>
            <a:solidFill>
              <a:schemeClr val="accent5">
                <a:lumMod val="75000"/>
              </a:schemeClr>
            </a:solidFill>
          </p:grpSpPr>
          <p:sp>
            <p:nvSpPr>
              <p:cNvPr id="3000" name="Rectangle 2002"/>
              <p:cNvSpPr>
                <a:spLocks noChangeArrowheads="1"/>
              </p:cNvSpPr>
              <p:nvPr/>
            </p:nvSpPr>
            <p:spPr bwMode="auto">
              <a:xfrm>
                <a:off x="2419350" y="3336925"/>
                <a:ext cx="61912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01" name="Rectangle 2003"/>
              <p:cNvSpPr>
                <a:spLocks noChangeArrowheads="1"/>
              </p:cNvSpPr>
              <p:nvPr/>
            </p:nvSpPr>
            <p:spPr bwMode="auto">
              <a:xfrm>
                <a:off x="2690813" y="3379788"/>
                <a:ext cx="76200" cy="295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02" name="Freeform 2004"/>
              <p:cNvSpPr>
                <a:spLocks/>
              </p:cNvSpPr>
              <p:nvPr/>
            </p:nvSpPr>
            <p:spPr bwMode="auto">
              <a:xfrm>
                <a:off x="2562225" y="3652838"/>
                <a:ext cx="331788" cy="92075"/>
              </a:xfrm>
              <a:custGeom>
                <a:avLst/>
                <a:gdLst>
                  <a:gd name="T0" fmla="*/ 195 w 1256"/>
                  <a:gd name="T1" fmla="*/ 345 h 345"/>
                  <a:gd name="T2" fmla="*/ 238 w 1256"/>
                  <a:gd name="T3" fmla="*/ 307 h 345"/>
                  <a:gd name="T4" fmla="*/ 285 w 1256"/>
                  <a:gd name="T5" fmla="*/ 273 h 345"/>
                  <a:gd name="T6" fmla="*/ 335 w 1256"/>
                  <a:gd name="T7" fmla="*/ 243 h 345"/>
                  <a:gd name="T8" fmla="*/ 388 w 1256"/>
                  <a:gd name="T9" fmla="*/ 218 h 345"/>
                  <a:gd name="T10" fmla="*/ 444 w 1256"/>
                  <a:gd name="T11" fmla="*/ 198 h 345"/>
                  <a:gd name="T12" fmla="*/ 504 w 1256"/>
                  <a:gd name="T13" fmla="*/ 183 h 345"/>
                  <a:gd name="T14" fmla="*/ 565 w 1256"/>
                  <a:gd name="T15" fmla="*/ 175 h 345"/>
                  <a:gd name="T16" fmla="*/ 627 w 1256"/>
                  <a:gd name="T17" fmla="*/ 172 h 345"/>
                  <a:gd name="T18" fmla="*/ 659 w 1256"/>
                  <a:gd name="T19" fmla="*/ 172 h 345"/>
                  <a:gd name="T20" fmla="*/ 721 w 1256"/>
                  <a:gd name="T21" fmla="*/ 178 h 345"/>
                  <a:gd name="T22" fmla="*/ 782 w 1256"/>
                  <a:gd name="T23" fmla="*/ 190 h 345"/>
                  <a:gd name="T24" fmla="*/ 839 w 1256"/>
                  <a:gd name="T25" fmla="*/ 208 h 345"/>
                  <a:gd name="T26" fmla="*/ 894 w 1256"/>
                  <a:gd name="T27" fmla="*/ 230 h 345"/>
                  <a:gd name="T28" fmla="*/ 946 w 1256"/>
                  <a:gd name="T29" fmla="*/ 258 h 345"/>
                  <a:gd name="T30" fmla="*/ 994 w 1256"/>
                  <a:gd name="T31" fmla="*/ 289 h 345"/>
                  <a:gd name="T32" fmla="*/ 1039 w 1256"/>
                  <a:gd name="T33" fmla="*/ 325 h 345"/>
                  <a:gd name="T34" fmla="*/ 1256 w 1256"/>
                  <a:gd name="T35" fmla="*/ 345 h 345"/>
                  <a:gd name="T36" fmla="*/ 1246 w 1256"/>
                  <a:gd name="T37" fmla="*/ 326 h 345"/>
                  <a:gd name="T38" fmla="*/ 1223 w 1256"/>
                  <a:gd name="T39" fmla="*/ 289 h 345"/>
                  <a:gd name="T40" fmla="*/ 1199 w 1256"/>
                  <a:gd name="T41" fmla="*/ 255 h 345"/>
                  <a:gd name="T42" fmla="*/ 1170 w 1256"/>
                  <a:gd name="T43" fmla="*/ 222 h 345"/>
                  <a:gd name="T44" fmla="*/ 1139 w 1256"/>
                  <a:gd name="T45" fmla="*/ 190 h 345"/>
                  <a:gd name="T46" fmla="*/ 1106 w 1256"/>
                  <a:gd name="T47" fmla="*/ 161 h 345"/>
                  <a:gd name="T48" fmla="*/ 1070 w 1256"/>
                  <a:gd name="T49" fmla="*/ 134 h 345"/>
                  <a:gd name="T50" fmla="*/ 1031 w 1256"/>
                  <a:gd name="T51" fmla="*/ 109 h 345"/>
                  <a:gd name="T52" fmla="*/ 990 w 1256"/>
                  <a:gd name="T53" fmla="*/ 86 h 345"/>
                  <a:gd name="T54" fmla="*/ 947 w 1256"/>
                  <a:gd name="T55" fmla="*/ 66 h 345"/>
                  <a:gd name="T56" fmla="*/ 902 w 1256"/>
                  <a:gd name="T57" fmla="*/ 47 h 345"/>
                  <a:gd name="T58" fmla="*/ 855 w 1256"/>
                  <a:gd name="T59" fmla="*/ 32 h 345"/>
                  <a:gd name="T60" fmla="*/ 807 w 1256"/>
                  <a:gd name="T61" fmla="*/ 20 h 345"/>
                  <a:gd name="T62" fmla="*/ 757 w 1256"/>
                  <a:gd name="T63" fmla="*/ 10 h 345"/>
                  <a:gd name="T64" fmla="*/ 706 w 1256"/>
                  <a:gd name="T65" fmla="*/ 4 h 345"/>
                  <a:gd name="T66" fmla="*/ 654 w 1256"/>
                  <a:gd name="T67" fmla="*/ 0 h 345"/>
                  <a:gd name="T68" fmla="*/ 627 w 1256"/>
                  <a:gd name="T69" fmla="*/ 0 h 345"/>
                  <a:gd name="T70" fmla="*/ 575 w 1256"/>
                  <a:gd name="T71" fmla="*/ 2 h 345"/>
                  <a:gd name="T72" fmla="*/ 523 w 1256"/>
                  <a:gd name="T73" fmla="*/ 6 h 345"/>
                  <a:gd name="T74" fmla="*/ 473 w 1256"/>
                  <a:gd name="T75" fmla="*/ 15 h 345"/>
                  <a:gd name="T76" fmla="*/ 424 w 1256"/>
                  <a:gd name="T77" fmla="*/ 26 h 345"/>
                  <a:gd name="T78" fmla="*/ 376 w 1256"/>
                  <a:gd name="T79" fmla="*/ 39 h 345"/>
                  <a:gd name="T80" fmla="*/ 330 w 1256"/>
                  <a:gd name="T81" fmla="*/ 56 h 345"/>
                  <a:gd name="T82" fmla="*/ 286 w 1256"/>
                  <a:gd name="T83" fmla="*/ 75 h 345"/>
                  <a:gd name="T84" fmla="*/ 244 w 1256"/>
                  <a:gd name="T85" fmla="*/ 97 h 345"/>
                  <a:gd name="T86" fmla="*/ 204 w 1256"/>
                  <a:gd name="T87" fmla="*/ 121 h 345"/>
                  <a:gd name="T88" fmla="*/ 168 w 1256"/>
                  <a:gd name="T89" fmla="*/ 147 h 345"/>
                  <a:gd name="T90" fmla="*/ 133 w 1256"/>
                  <a:gd name="T91" fmla="*/ 175 h 345"/>
                  <a:gd name="T92" fmla="*/ 100 w 1256"/>
                  <a:gd name="T93" fmla="*/ 206 h 345"/>
                  <a:gd name="T94" fmla="*/ 70 w 1256"/>
                  <a:gd name="T95" fmla="*/ 238 h 345"/>
                  <a:gd name="T96" fmla="*/ 44 w 1256"/>
                  <a:gd name="T97" fmla="*/ 272 h 345"/>
                  <a:gd name="T98" fmla="*/ 20 w 1256"/>
                  <a:gd name="T99" fmla="*/ 308 h 345"/>
                  <a:gd name="T100" fmla="*/ 0 w 1256"/>
                  <a:gd name="T101" fmla="*/ 34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56" h="345">
                    <a:moveTo>
                      <a:pt x="195" y="345"/>
                    </a:moveTo>
                    <a:lnTo>
                      <a:pt x="195" y="345"/>
                    </a:lnTo>
                    <a:lnTo>
                      <a:pt x="217" y="325"/>
                    </a:lnTo>
                    <a:lnTo>
                      <a:pt x="238" y="307"/>
                    </a:lnTo>
                    <a:lnTo>
                      <a:pt x="261" y="289"/>
                    </a:lnTo>
                    <a:lnTo>
                      <a:pt x="285" y="273"/>
                    </a:lnTo>
                    <a:lnTo>
                      <a:pt x="310" y="258"/>
                    </a:lnTo>
                    <a:lnTo>
                      <a:pt x="335" y="243"/>
                    </a:lnTo>
                    <a:lnTo>
                      <a:pt x="361" y="230"/>
                    </a:lnTo>
                    <a:lnTo>
                      <a:pt x="388" y="218"/>
                    </a:lnTo>
                    <a:lnTo>
                      <a:pt x="416" y="208"/>
                    </a:lnTo>
                    <a:lnTo>
                      <a:pt x="444" y="198"/>
                    </a:lnTo>
                    <a:lnTo>
                      <a:pt x="474" y="190"/>
                    </a:lnTo>
                    <a:lnTo>
                      <a:pt x="504" y="183"/>
                    </a:lnTo>
                    <a:lnTo>
                      <a:pt x="533" y="178"/>
                    </a:lnTo>
                    <a:lnTo>
                      <a:pt x="565" y="175"/>
                    </a:lnTo>
                    <a:lnTo>
                      <a:pt x="596" y="172"/>
                    </a:lnTo>
                    <a:lnTo>
                      <a:pt x="627" y="172"/>
                    </a:lnTo>
                    <a:lnTo>
                      <a:pt x="627" y="172"/>
                    </a:lnTo>
                    <a:lnTo>
                      <a:pt x="659" y="172"/>
                    </a:lnTo>
                    <a:lnTo>
                      <a:pt x="691" y="175"/>
                    </a:lnTo>
                    <a:lnTo>
                      <a:pt x="721" y="178"/>
                    </a:lnTo>
                    <a:lnTo>
                      <a:pt x="752" y="183"/>
                    </a:lnTo>
                    <a:lnTo>
                      <a:pt x="782" y="190"/>
                    </a:lnTo>
                    <a:lnTo>
                      <a:pt x="811" y="198"/>
                    </a:lnTo>
                    <a:lnTo>
                      <a:pt x="839" y="208"/>
                    </a:lnTo>
                    <a:lnTo>
                      <a:pt x="868" y="218"/>
                    </a:lnTo>
                    <a:lnTo>
                      <a:pt x="894" y="230"/>
                    </a:lnTo>
                    <a:lnTo>
                      <a:pt x="921" y="243"/>
                    </a:lnTo>
                    <a:lnTo>
                      <a:pt x="946" y="258"/>
                    </a:lnTo>
                    <a:lnTo>
                      <a:pt x="971" y="273"/>
                    </a:lnTo>
                    <a:lnTo>
                      <a:pt x="994" y="289"/>
                    </a:lnTo>
                    <a:lnTo>
                      <a:pt x="1017" y="307"/>
                    </a:lnTo>
                    <a:lnTo>
                      <a:pt x="1039" y="325"/>
                    </a:lnTo>
                    <a:lnTo>
                      <a:pt x="1060" y="345"/>
                    </a:lnTo>
                    <a:lnTo>
                      <a:pt x="1256" y="345"/>
                    </a:lnTo>
                    <a:lnTo>
                      <a:pt x="1256" y="345"/>
                    </a:lnTo>
                    <a:lnTo>
                      <a:pt x="1246" y="326"/>
                    </a:lnTo>
                    <a:lnTo>
                      <a:pt x="1235" y="308"/>
                    </a:lnTo>
                    <a:lnTo>
                      <a:pt x="1223" y="289"/>
                    </a:lnTo>
                    <a:lnTo>
                      <a:pt x="1211" y="272"/>
                    </a:lnTo>
                    <a:lnTo>
                      <a:pt x="1199" y="255"/>
                    </a:lnTo>
                    <a:lnTo>
                      <a:pt x="1184" y="238"/>
                    </a:lnTo>
                    <a:lnTo>
                      <a:pt x="1170" y="222"/>
                    </a:lnTo>
                    <a:lnTo>
                      <a:pt x="1155" y="206"/>
                    </a:lnTo>
                    <a:lnTo>
                      <a:pt x="1139" y="190"/>
                    </a:lnTo>
                    <a:lnTo>
                      <a:pt x="1123" y="175"/>
                    </a:lnTo>
                    <a:lnTo>
                      <a:pt x="1106" y="161"/>
                    </a:lnTo>
                    <a:lnTo>
                      <a:pt x="1088" y="147"/>
                    </a:lnTo>
                    <a:lnTo>
                      <a:pt x="1070" y="134"/>
                    </a:lnTo>
                    <a:lnTo>
                      <a:pt x="1050" y="121"/>
                    </a:lnTo>
                    <a:lnTo>
                      <a:pt x="1031" y="109"/>
                    </a:lnTo>
                    <a:lnTo>
                      <a:pt x="1011" y="97"/>
                    </a:lnTo>
                    <a:lnTo>
                      <a:pt x="990" y="86"/>
                    </a:lnTo>
                    <a:lnTo>
                      <a:pt x="969" y="75"/>
                    </a:lnTo>
                    <a:lnTo>
                      <a:pt x="947" y="66"/>
                    </a:lnTo>
                    <a:lnTo>
                      <a:pt x="925" y="56"/>
                    </a:lnTo>
                    <a:lnTo>
                      <a:pt x="902" y="47"/>
                    </a:lnTo>
                    <a:lnTo>
                      <a:pt x="879" y="39"/>
                    </a:lnTo>
                    <a:lnTo>
                      <a:pt x="855" y="32"/>
                    </a:lnTo>
                    <a:lnTo>
                      <a:pt x="832" y="26"/>
                    </a:lnTo>
                    <a:lnTo>
                      <a:pt x="807" y="20"/>
                    </a:lnTo>
                    <a:lnTo>
                      <a:pt x="783" y="15"/>
                    </a:lnTo>
                    <a:lnTo>
                      <a:pt x="757" y="10"/>
                    </a:lnTo>
                    <a:lnTo>
                      <a:pt x="733" y="6"/>
                    </a:lnTo>
                    <a:lnTo>
                      <a:pt x="706" y="4"/>
                    </a:lnTo>
                    <a:lnTo>
                      <a:pt x="681" y="2"/>
                    </a:lnTo>
                    <a:lnTo>
                      <a:pt x="654" y="0"/>
                    </a:lnTo>
                    <a:lnTo>
                      <a:pt x="627" y="0"/>
                    </a:lnTo>
                    <a:lnTo>
                      <a:pt x="627" y="0"/>
                    </a:lnTo>
                    <a:lnTo>
                      <a:pt x="601" y="0"/>
                    </a:lnTo>
                    <a:lnTo>
                      <a:pt x="575" y="2"/>
                    </a:lnTo>
                    <a:lnTo>
                      <a:pt x="549" y="4"/>
                    </a:lnTo>
                    <a:lnTo>
                      <a:pt x="523" y="6"/>
                    </a:lnTo>
                    <a:lnTo>
                      <a:pt x="498" y="10"/>
                    </a:lnTo>
                    <a:lnTo>
                      <a:pt x="473" y="15"/>
                    </a:lnTo>
                    <a:lnTo>
                      <a:pt x="448" y="20"/>
                    </a:lnTo>
                    <a:lnTo>
                      <a:pt x="424" y="26"/>
                    </a:lnTo>
                    <a:lnTo>
                      <a:pt x="400" y="32"/>
                    </a:lnTo>
                    <a:lnTo>
                      <a:pt x="376" y="39"/>
                    </a:lnTo>
                    <a:lnTo>
                      <a:pt x="353" y="47"/>
                    </a:lnTo>
                    <a:lnTo>
                      <a:pt x="330" y="56"/>
                    </a:lnTo>
                    <a:lnTo>
                      <a:pt x="309" y="66"/>
                    </a:lnTo>
                    <a:lnTo>
                      <a:pt x="286" y="75"/>
                    </a:lnTo>
                    <a:lnTo>
                      <a:pt x="266" y="86"/>
                    </a:lnTo>
                    <a:lnTo>
                      <a:pt x="244" y="97"/>
                    </a:lnTo>
                    <a:lnTo>
                      <a:pt x="225" y="109"/>
                    </a:lnTo>
                    <a:lnTo>
                      <a:pt x="204" y="121"/>
                    </a:lnTo>
                    <a:lnTo>
                      <a:pt x="186" y="134"/>
                    </a:lnTo>
                    <a:lnTo>
                      <a:pt x="168" y="147"/>
                    </a:lnTo>
                    <a:lnTo>
                      <a:pt x="149" y="161"/>
                    </a:lnTo>
                    <a:lnTo>
                      <a:pt x="133" y="175"/>
                    </a:lnTo>
                    <a:lnTo>
                      <a:pt x="116" y="190"/>
                    </a:lnTo>
                    <a:lnTo>
                      <a:pt x="100" y="206"/>
                    </a:lnTo>
                    <a:lnTo>
                      <a:pt x="85" y="222"/>
                    </a:lnTo>
                    <a:lnTo>
                      <a:pt x="70" y="238"/>
                    </a:lnTo>
                    <a:lnTo>
                      <a:pt x="57" y="255"/>
                    </a:lnTo>
                    <a:lnTo>
                      <a:pt x="44" y="272"/>
                    </a:lnTo>
                    <a:lnTo>
                      <a:pt x="32" y="289"/>
                    </a:lnTo>
                    <a:lnTo>
                      <a:pt x="20" y="308"/>
                    </a:lnTo>
                    <a:lnTo>
                      <a:pt x="10" y="326"/>
                    </a:lnTo>
                    <a:lnTo>
                      <a:pt x="0" y="345"/>
                    </a:lnTo>
                    <a:lnTo>
                      <a:pt x="195" y="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3006" name="Freeform 2008"/>
            <p:cNvSpPr>
              <a:spLocks/>
            </p:cNvSpPr>
            <p:nvPr/>
          </p:nvSpPr>
          <p:spPr bwMode="auto">
            <a:xfrm>
              <a:off x="2312661" y="3168969"/>
              <a:ext cx="194830" cy="66386"/>
            </a:xfrm>
            <a:custGeom>
              <a:avLst/>
              <a:gdLst>
                <a:gd name="T0" fmla="*/ 810 w 810"/>
                <a:gd name="T1" fmla="*/ 137 h 273"/>
                <a:gd name="T2" fmla="*/ 807 w 810"/>
                <a:gd name="T3" fmla="*/ 110 h 273"/>
                <a:gd name="T4" fmla="*/ 799 w 810"/>
                <a:gd name="T5" fmla="*/ 83 h 273"/>
                <a:gd name="T6" fmla="*/ 787 w 810"/>
                <a:gd name="T7" fmla="*/ 61 h 273"/>
                <a:gd name="T8" fmla="*/ 770 w 810"/>
                <a:gd name="T9" fmla="*/ 40 h 273"/>
                <a:gd name="T10" fmla="*/ 750 w 810"/>
                <a:gd name="T11" fmla="*/ 24 h 273"/>
                <a:gd name="T12" fmla="*/ 727 w 810"/>
                <a:gd name="T13" fmla="*/ 11 h 273"/>
                <a:gd name="T14" fmla="*/ 701 w 810"/>
                <a:gd name="T15" fmla="*/ 3 h 273"/>
                <a:gd name="T16" fmla="*/ 673 w 810"/>
                <a:gd name="T17" fmla="*/ 0 h 273"/>
                <a:gd name="T18" fmla="*/ 136 w 810"/>
                <a:gd name="T19" fmla="*/ 0 h 273"/>
                <a:gd name="T20" fmla="*/ 108 w 810"/>
                <a:gd name="T21" fmla="*/ 3 h 273"/>
                <a:gd name="T22" fmla="*/ 83 w 810"/>
                <a:gd name="T23" fmla="*/ 11 h 273"/>
                <a:gd name="T24" fmla="*/ 60 w 810"/>
                <a:gd name="T25" fmla="*/ 24 h 273"/>
                <a:gd name="T26" fmla="*/ 40 w 810"/>
                <a:gd name="T27" fmla="*/ 40 h 273"/>
                <a:gd name="T28" fmla="*/ 24 w 810"/>
                <a:gd name="T29" fmla="*/ 61 h 273"/>
                <a:gd name="T30" fmla="*/ 10 w 810"/>
                <a:gd name="T31" fmla="*/ 83 h 273"/>
                <a:gd name="T32" fmla="*/ 2 w 810"/>
                <a:gd name="T33" fmla="*/ 110 h 273"/>
                <a:gd name="T34" fmla="*/ 0 w 810"/>
                <a:gd name="T35" fmla="*/ 137 h 273"/>
                <a:gd name="T36" fmla="*/ 0 w 810"/>
                <a:gd name="T37" fmla="*/ 137 h 273"/>
                <a:gd name="T38" fmla="*/ 2 w 810"/>
                <a:gd name="T39" fmla="*/ 164 h 273"/>
                <a:gd name="T40" fmla="*/ 10 w 810"/>
                <a:gd name="T41" fmla="*/ 190 h 273"/>
                <a:gd name="T42" fmla="*/ 24 w 810"/>
                <a:gd name="T43" fmla="*/ 213 h 273"/>
                <a:gd name="T44" fmla="*/ 40 w 810"/>
                <a:gd name="T45" fmla="*/ 233 h 273"/>
                <a:gd name="T46" fmla="*/ 60 w 810"/>
                <a:gd name="T47" fmla="*/ 250 h 273"/>
                <a:gd name="T48" fmla="*/ 83 w 810"/>
                <a:gd name="T49" fmla="*/ 263 h 273"/>
                <a:gd name="T50" fmla="*/ 108 w 810"/>
                <a:gd name="T51" fmla="*/ 271 h 273"/>
                <a:gd name="T52" fmla="*/ 136 w 810"/>
                <a:gd name="T53" fmla="*/ 273 h 273"/>
                <a:gd name="T54" fmla="*/ 673 w 810"/>
                <a:gd name="T55" fmla="*/ 273 h 273"/>
                <a:gd name="T56" fmla="*/ 701 w 810"/>
                <a:gd name="T57" fmla="*/ 271 h 273"/>
                <a:gd name="T58" fmla="*/ 727 w 810"/>
                <a:gd name="T59" fmla="*/ 263 h 273"/>
                <a:gd name="T60" fmla="*/ 750 w 810"/>
                <a:gd name="T61" fmla="*/ 250 h 273"/>
                <a:gd name="T62" fmla="*/ 770 w 810"/>
                <a:gd name="T63" fmla="*/ 233 h 273"/>
                <a:gd name="T64" fmla="*/ 787 w 810"/>
                <a:gd name="T65" fmla="*/ 213 h 273"/>
                <a:gd name="T66" fmla="*/ 799 w 810"/>
                <a:gd name="T67" fmla="*/ 190 h 273"/>
                <a:gd name="T68" fmla="*/ 807 w 810"/>
                <a:gd name="T69" fmla="*/ 164 h 273"/>
                <a:gd name="T70" fmla="*/ 810 w 810"/>
                <a:gd name="T71" fmla="*/ 13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0" h="273">
                  <a:moveTo>
                    <a:pt x="810" y="137"/>
                  </a:moveTo>
                  <a:lnTo>
                    <a:pt x="810" y="137"/>
                  </a:lnTo>
                  <a:lnTo>
                    <a:pt x="809" y="123"/>
                  </a:lnTo>
                  <a:lnTo>
                    <a:pt x="807" y="110"/>
                  </a:lnTo>
                  <a:lnTo>
                    <a:pt x="804" y="96"/>
                  </a:lnTo>
                  <a:lnTo>
                    <a:pt x="799" y="83"/>
                  </a:lnTo>
                  <a:lnTo>
                    <a:pt x="793" y="72"/>
                  </a:lnTo>
                  <a:lnTo>
                    <a:pt x="787" y="61"/>
                  </a:lnTo>
                  <a:lnTo>
                    <a:pt x="779" y="49"/>
                  </a:lnTo>
                  <a:lnTo>
                    <a:pt x="770" y="40"/>
                  </a:lnTo>
                  <a:lnTo>
                    <a:pt x="760" y="31"/>
                  </a:lnTo>
                  <a:lnTo>
                    <a:pt x="750" y="24"/>
                  </a:lnTo>
                  <a:lnTo>
                    <a:pt x="739" y="17"/>
                  </a:lnTo>
                  <a:lnTo>
                    <a:pt x="727" y="11"/>
                  </a:lnTo>
                  <a:lnTo>
                    <a:pt x="714" y="6"/>
                  </a:lnTo>
                  <a:lnTo>
                    <a:pt x="701" y="3"/>
                  </a:lnTo>
                  <a:lnTo>
                    <a:pt x="688" y="0"/>
                  </a:lnTo>
                  <a:lnTo>
                    <a:pt x="673" y="0"/>
                  </a:lnTo>
                  <a:lnTo>
                    <a:pt x="136" y="0"/>
                  </a:lnTo>
                  <a:lnTo>
                    <a:pt x="136" y="0"/>
                  </a:lnTo>
                  <a:lnTo>
                    <a:pt x="123" y="0"/>
                  </a:lnTo>
                  <a:lnTo>
                    <a:pt x="108" y="3"/>
                  </a:lnTo>
                  <a:lnTo>
                    <a:pt x="96" y="6"/>
                  </a:lnTo>
                  <a:lnTo>
                    <a:pt x="83" y="11"/>
                  </a:lnTo>
                  <a:lnTo>
                    <a:pt x="72" y="17"/>
                  </a:lnTo>
                  <a:lnTo>
                    <a:pt x="60" y="24"/>
                  </a:lnTo>
                  <a:lnTo>
                    <a:pt x="49" y="31"/>
                  </a:lnTo>
                  <a:lnTo>
                    <a:pt x="40" y="40"/>
                  </a:lnTo>
                  <a:lnTo>
                    <a:pt x="31" y="49"/>
                  </a:lnTo>
                  <a:lnTo>
                    <a:pt x="24" y="61"/>
                  </a:lnTo>
                  <a:lnTo>
                    <a:pt x="16" y="72"/>
                  </a:lnTo>
                  <a:lnTo>
                    <a:pt x="10" y="83"/>
                  </a:lnTo>
                  <a:lnTo>
                    <a:pt x="6" y="96"/>
                  </a:lnTo>
                  <a:lnTo>
                    <a:pt x="2" y="110"/>
                  </a:lnTo>
                  <a:lnTo>
                    <a:pt x="0" y="123"/>
                  </a:lnTo>
                  <a:lnTo>
                    <a:pt x="0" y="137"/>
                  </a:lnTo>
                  <a:lnTo>
                    <a:pt x="0" y="137"/>
                  </a:lnTo>
                  <a:lnTo>
                    <a:pt x="0" y="137"/>
                  </a:lnTo>
                  <a:lnTo>
                    <a:pt x="0" y="151"/>
                  </a:lnTo>
                  <a:lnTo>
                    <a:pt x="2" y="164"/>
                  </a:lnTo>
                  <a:lnTo>
                    <a:pt x="6" y="177"/>
                  </a:lnTo>
                  <a:lnTo>
                    <a:pt x="10" y="190"/>
                  </a:lnTo>
                  <a:lnTo>
                    <a:pt x="16" y="202"/>
                  </a:lnTo>
                  <a:lnTo>
                    <a:pt x="24" y="213"/>
                  </a:lnTo>
                  <a:lnTo>
                    <a:pt x="31" y="224"/>
                  </a:lnTo>
                  <a:lnTo>
                    <a:pt x="40" y="233"/>
                  </a:lnTo>
                  <a:lnTo>
                    <a:pt x="49" y="243"/>
                  </a:lnTo>
                  <a:lnTo>
                    <a:pt x="60" y="250"/>
                  </a:lnTo>
                  <a:lnTo>
                    <a:pt x="72" y="257"/>
                  </a:lnTo>
                  <a:lnTo>
                    <a:pt x="83" y="263"/>
                  </a:lnTo>
                  <a:lnTo>
                    <a:pt x="96" y="267"/>
                  </a:lnTo>
                  <a:lnTo>
                    <a:pt x="108" y="271"/>
                  </a:lnTo>
                  <a:lnTo>
                    <a:pt x="123" y="273"/>
                  </a:lnTo>
                  <a:lnTo>
                    <a:pt x="136" y="273"/>
                  </a:lnTo>
                  <a:lnTo>
                    <a:pt x="673" y="273"/>
                  </a:lnTo>
                  <a:lnTo>
                    <a:pt x="673" y="273"/>
                  </a:lnTo>
                  <a:lnTo>
                    <a:pt x="688" y="273"/>
                  </a:lnTo>
                  <a:lnTo>
                    <a:pt x="701" y="271"/>
                  </a:lnTo>
                  <a:lnTo>
                    <a:pt x="714" y="267"/>
                  </a:lnTo>
                  <a:lnTo>
                    <a:pt x="727" y="263"/>
                  </a:lnTo>
                  <a:lnTo>
                    <a:pt x="739" y="257"/>
                  </a:lnTo>
                  <a:lnTo>
                    <a:pt x="750" y="250"/>
                  </a:lnTo>
                  <a:lnTo>
                    <a:pt x="760" y="243"/>
                  </a:lnTo>
                  <a:lnTo>
                    <a:pt x="770" y="233"/>
                  </a:lnTo>
                  <a:lnTo>
                    <a:pt x="779" y="224"/>
                  </a:lnTo>
                  <a:lnTo>
                    <a:pt x="787" y="213"/>
                  </a:lnTo>
                  <a:lnTo>
                    <a:pt x="793" y="202"/>
                  </a:lnTo>
                  <a:lnTo>
                    <a:pt x="799" y="190"/>
                  </a:lnTo>
                  <a:lnTo>
                    <a:pt x="804" y="177"/>
                  </a:lnTo>
                  <a:lnTo>
                    <a:pt x="807" y="164"/>
                  </a:lnTo>
                  <a:lnTo>
                    <a:pt x="809" y="151"/>
                  </a:lnTo>
                  <a:lnTo>
                    <a:pt x="810" y="137"/>
                  </a:lnTo>
                  <a:lnTo>
                    <a:pt x="810" y="1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07" name="Freeform 2009"/>
            <p:cNvSpPr>
              <a:spLocks/>
            </p:cNvSpPr>
            <p:nvPr/>
          </p:nvSpPr>
          <p:spPr bwMode="auto">
            <a:xfrm>
              <a:off x="2201535" y="3104025"/>
              <a:ext cx="177512" cy="129886"/>
            </a:xfrm>
            <a:custGeom>
              <a:avLst/>
              <a:gdLst>
                <a:gd name="T0" fmla="*/ 725 w 742"/>
                <a:gd name="T1" fmla="*/ 466 h 535"/>
                <a:gd name="T2" fmla="*/ 736 w 742"/>
                <a:gd name="T3" fmla="*/ 440 h 535"/>
                <a:gd name="T4" fmla="*/ 741 w 742"/>
                <a:gd name="T5" fmla="*/ 413 h 535"/>
                <a:gd name="T6" fmla="*/ 742 w 742"/>
                <a:gd name="T7" fmla="*/ 387 h 535"/>
                <a:gd name="T8" fmla="*/ 737 w 742"/>
                <a:gd name="T9" fmla="*/ 361 h 535"/>
                <a:gd name="T10" fmla="*/ 728 w 742"/>
                <a:gd name="T11" fmla="*/ 337 h 535"/>
                <a:gd name="T12" fmla="*/ 713 w 742"/>
                <a:gd name="T13" fmla="*/ 314 h 535"/>
                <a:gd name="T14" fmla="*/ 695 w 742"/>
                <a:gd name="T15" fmla="*/ 295 h 535"/>
                <a:gd name="T16" fmla="*/ 673 w 742"/>
                <a:gd name="T17" fmla="*/ 280 h 535"/>
                <a:gd name="T18" fmla="*/ 204 w 742"/>
                <a:gd name="T19" fmla="*/ 17 h 535"/>
                <a:gd name="T20" fmla="*/ 179 w 742"/>
                <a:gd name="T21" fmla="*/ 6 h 535"/>
                <a:gd name="T22" fmla="*/ 152 w 742"/>
                <a:gd name="T23" fmla="*/ 0 h 535"/>
                <a:gd name="T24" fmla="*/ 126 w 742"/>
                <a:gd name="T25" fmla="*/ 0 h 535"/>
                <a:gd name="T26" fmla="*/ 100 w 742"/>
                <a:gd name="T27" fmla="*/ 5 h 535"/>
                <a:gd name="T28" fmla="*/ 76 w 742"/>
                <a:gd name="T29" fmla="*/ 14 h 535"/>
                <a:gd name="T30" fmla="*/ 53 w 742"/>
                <a:gd name="T31" fmla="*/ 28 h 535"/>
                <a:gd name="T32" fmla="*/ 34 w 742"/>
                <a:gd name="T33" fmla="*/ 47 h 535"/>
                <a:gd name="T34" fmla="*/ 18 w 742"/>
                <a:gd name="T35" fmla="*/ 69 h 535"/>
                <a:gd name="T36" fmla="*/ 18 w 742"/>
                <a:gd name="T37" fmla="*/ 69 h 535"/>
                <a:gd name="T38" fmla="*/ 7 w 742"/>
                <a:gd name="T39" fmla="*/ 95 h 535"/>
                <a:gd name="T40" fmla="*/ 1 w 742"/>
                <a:gd name="T41" fmla="*/ 121 h 535"/>
                <a:gd name="T42" fmla="*/ 1 w 742"/>
                <a:gd name="T43" fmla="*/ 147 h 535"/>
                <a:gd name="T44" fmla="*/ 5 w 742"/>
                <a:gd name="T45" fmla="*/ 173 h 535"/>
                <a:gd name="T46" fmla="*/ 16 w 742"/>
                <a:gd name="T47" fmla="*/ 198 h 535"/>
                <a:gd name="T48" fmla="*/ 29 w 742"/>
                <a:gd name="T49" fmla="*/ 219 h 535"/>
                <a:gd name="T50" fmla="*/ 48 w 742"/>
                <a:gd name="T51" fmla="*/ 239 h 535"/>
                <a:gd name="T52" fmla="*/ 71 w 742"/>
                <a:gd name="T53" fmla="*/ 255 h 535"/>
                <a:gd name="T54" fmla="*/ 539 w 742"/>
                <a:gd name="T55" fmla="*/ 518 h 535"/>
                <a:gd name="T56" fmla="*/ 564 w 742"/>
                <a:gd name="T57" fmla="*/ 529 h 535"/>
                <a:gd name="T58" fmla="*/ 591 w 742"/>
                <a:gd name="T59" fmla="*/ 534 h 535"/>
                <a:gd name="T60" fmla="*/ 616 w 742"/>
                <a:gd name="T61" fmla="*/ 535 h 535"/>
                <a:gd name="T62" fmla="*/ 643 w 742"/>
                <a:gd name="T63" fmla="*/ 530 h 535"/>
                <a:gd name="T64" fmla="*/ 667 w 742"/>
                <a:gd name="T65" fmla="*/ 521 h 535"/>
                <a:gd name="T66" fmla="*/ 689 w 742"/>
                <a:gd name="T67" fmla="*/ 506 h 535"/>
                <a:gd name="T68" fmla="*/ 708 w 742"/>
                <a:gd name="T69" fmla="*/ 488 h 535"/>
                <a:gd name="T70" fmla="*/ 725 w 742"/>
                <a:gd name="T71" fmla="*/ 46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42" h="535">
                  <a:moveTo>
                    <a:pt x="725" y="466"/>
                  </a:moveTo>
                  <a:lnTo>
                    <a:pt x="725" y="466"/>
                  </a:lnTo>
                  <a:lnTo>
                    <a:pt x="731" y="452"/>
                  </a:lnTo>
                  <a:lnTo>
                    <a:pt x="736" y="440"/>
                  </a:lnTo>
                  <a:lnTo>
                    <a:pt x="739" y="427"/>
                  </a:lnTo>
                  <a:lnTo>
                    <a:pt x="741" y="413"/>
                  </a:lnTo>
                  <a:lnTo>
                    <a:pt x="742" y="400"/>
                  </a:lnTo>
                  <a:lnTo>
                    <a:pt x="742" y="387"/>
                  </a:lnTo>
                  <a:lnTo>
                    <a:pt x="740" y="374"/>
                  </a:lnTo>
                  <a:lnTo>
                    <a:pt x="737" y="361"/>
                  </a:lnTo>
                  <a:lnTo>
                    <a:pt x="733" y="349"/>
                  </a:lnTo>
                  <a:lnTo>
                    <a:pt x="728" y="337"/>
                  </a:lnTo>
                  <a:lnTo>
                    <a:pt x="721" y="326"/>
                  </a:lnTo>
                  <a:lnTo>
                    <a:pt x="713" y="314"/>
                  </a:lnTo>
                  <a:lnTo>
                    <a:pt x="705" y="304"/>
                  </a:lnTo>
                  <a:lnTo>
                    <a:pt x="695" y="295"/>
                  </a:lnTo>
                  <a:lnTo>
                    <a:pt x="684" y="287"/>
                  </a:lnTo>
                  <a:lnTo>
                    <a:pt x="673" y="280"/>
                  </a:lnTo>
                  <a:lnTo>
                    <a:pt x="204" y="17"/>
                  </a:lnTo>
                  <a:lnTo>
                    <a:pt x="204" y="17"/>
                  </a:lnTo>
                  <a:lnTo>
                    <a:pt x="191" y="11"/>
                  </a:lnTo>
                  <a:lnTo>
                    <a:pt x="179" y="6"/>
                  </a:lnTo>
                  <a:lnTo>
                    <a:pt x="166" y="3"/>
                  </a:lnTo>
                  <a:lnTo>
                    <a:pt x="152" y="0"/>
                  </a:lnTo>
                  <a:lnTo>
                    <a:pt x="139" y="0"/>
                  </a:lnTo>
                  <a:lnTo>
                    <a:pt x="126" y="0"/>
                  </a:lnTo>
                  <a:lnTo>
                    <a:pt x="113" y="2"/>
                  </a:lnTo>
                  <a:lnTo>
                    <a:pt x="100" y="5"/>
                  </a:lnTo>
                  <a:lnTo>
                    <a:pt x="88" y="9"/>
                  </a:lnTo>
                  <a:lnTo>
                    <a:pt x="76" y="14"/>
                  </a:lnTo>
                  <a:lnTo>
                    <a:pt x="65" y="20"/>
                  </a:lnTo>
                  <a:lnTo>
                    <a:pt x="53" y="28"/>
                  </a:lnTo>
                  <a:lnTo>
                    <a:pt x="43" y="36"/>
                  </a:lnTo>
                  <a:lnTo>
                    <a:pt x="34" y="47"/>
                  </a:lnTo>
                  <a:lnTo>
                    <a:pt x="26" y="57"/>
                  </a:lnTo>
                  <a:lnTo>
                    <a:pt x="18" y="69"/>
                  </a:lnTo>
                  <a:lnTo>
                    <a:pt x="18" y="69"/>
                  </a:lnTo>
                  <a:lnTo>
                    <a:pt x="18" y="69"/>
                  </a:lnTo>
                  <a:lnTo>
                    <a:pt x="11" y="81"/>
                  </a:lnTo>
                  <a:lnTo>
                    <a:pt x="7" y="95"/>
                  </a:lnTo>
                  <a:lnTo>
                    <a:pt x="3" y="108"/>
                  </a:lnTo>
                  <a:lnTo>
                    <a:pt x="1" y="121"/>
                  </a:lnTo>
                  <a:lnTo>
                    <a:pt x="0" y="133"/>
                  </a:lnTo>
                  <a:lnTo>
                    <a:pt x="1" y="147"/>
                  </a:lnTo>
                  <a:lnTo>
                    <a:pt x="2" y="160"/>
                  </a:lnTo>
                  <a:lnTo>
                    <a:pt x="5" y="173"/>
                  </a:lnTo>
                  <a:lnTo>
                    <a:pt x="9" y="186"/>
                  </a:lnTo>
                  <a:lnTo>
                    <a:pt x="16" y="198"/>
                  </a:lnTo>
                  <a:lnTo>
                    <a:pt x="22" y="209"/>
                  </a:lnTo>
                  <a:lnTo>
                    <a:pt x="29" y="219"/>
                  </a:lnTo>
                  <a:lnTo>
                    <a:pt x="38" y="230"/>
                  </a:lnTo>
                  <a:lnTo>
                    <a:pt x="48" y="239"/>
                  </a:lnTo>
                  <a:lnTo>
                    <a:pt x="58" y="248"/>
                  </a:lnTo>
                  <a:lnTo>
                    <a:pt x="71" y="255"/>
                  </a:lnTo>
                  <a:lnTo>
                    <a:pt x="539" y="518"/>
                  </a:lnTo>
                  <a:lnTo>
                    <a:pt x="539" y="518"/>
                  </a:lnTo>
                  <a:lnTo>
                    <a:pt x="551" y="524"/>
                  </a:lnTo>
                  <a:lnTo>
                    <a:pt x="564" y="529"/>
                  </a:lnTo>
                  <a:lnTo>
                    <a:pt x="578" y="532"/>
                  </a:lnTo>
                  <a:lnTo>
                    <a:pt x="591" y="534"/>
                  </a:lnTo>
                  <a:lnTo>
                    <a:pt x="604" y="535"/>
                  </a:lnTo>
                  <a:lnTo>
                    <a:pt x="616" y="535"/>
                  </a:lnTo>
                  <a:lnTo>
                    <a:pt x="630" y="533"/>
                  </a:lnTo>
                  <a:lnTo>
                    <a:pt x="643" y="530"/>
                  </a:lnTo>
                  <a:lnTo>
                    <a:pt x="655" y="526"/>
                  </a:lnTo>
                  <a:lnTo>
                    <a:pt x="667" y="521"/>
                  </a:lnTo>
                  <a:lnTo>
                    <a:pt x="679" y="514"/>
                  </a:lnTo>
                  <a:lnTo>
                    <a:pt x="689" y="506"/>
                  </a:lnTo>
                  <a:lnTo>
                    <a:pt x="699" y="497"/>
                  </a:lnTo>
                  <a:lnTo>
                    <a:pt x="708" y="488"/>
                  </a:lnTo>
                  <a:lnTo>
                    <a:pt x="718" y="477"/>
                  </a:lnTo>
                  <a:lnTo>
                    <a:pt x="725" y="466"/>
                  </a:lnTo>
                  <a:lnTo>
                    <a:pt x="725" y="4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08" name="Freeform 2010"/>
            <p:cNvSpPr>
              <a:spLocks/>
            </p:cNvSpPr>
            <p:nvPr/>
          </p:nvSpPr>
          <p:spPr bwMode="auto">
            <a:xfrm>
              <a:off x="2465638" y="3111242"/>
              <a:ext cx="145762" cy="144318"/>
            </a:xfrm>
            <a:custGeom>
              <a:avLst/>
              <a:gdLst>
                <a:gd name="T0" fmla="*/ 51 w 604"/>
                <a:gd name="T1" fmla="*/ 596 h 596"/>
                <a:gd name="T2" fmla="*/ 51 w 604"/>
                <a:gd name="T3" fmla="*/ 596 h 596"/>
                <a:gd name="T4" fmla="*/ 44 w 604"/>
                <a:gd name="T5" fmla="*/ 595 h 596"/>
                <a:gd name="T6" fmla="*/ 37 w 604"/>
                <a:gd name="T7" fmla="*/ 594 h 596"/>
                <a:gd name="T8" fmla="*/ 30 w 604"/>
                <a:gd name="T9" fmla="*/ 593 h 596"/>
                <a:gd name="T10" fmla="*/ 25 w 604"/>
                <a:gd name="T11" fmla="*/ 591 h 596"/>
                <a:gd name="T12" fmla="*/ 19 w 604"/>
                <a:gd name="T13" fmla="*/ 588 h 596"/>
                <a:gd name="T14" fmla="*/ 15 w 604"/>
                <a:gd name="T15" fmla="*/ 585 h 596"/>
                <a:gd name="T16" fmla="*/ 11 w 604"/>
                <a:gd name="T17" fmla="*/ 581 h 596"/>
                <a:gd name="T18" fmla="*/ 7 w 604"/>
                <a:gd name="T19" fmla="*/ 577 h 596"/>
                <a:gd name="T20" fmla="*/ 5 w 604"/>
                <a:gd name="T21" fmla="*/ 571 h 596"/>
                <a:gd name="T22" fmla="*/ 2 w 604"/>
                <a:gd name="T23" fmla="*/ 566 h 596"/>
                <a:gd name="T24" fmla="*/ 1 w 604"/>
                <a:gd name="T25" fmla="*/ 560 h 596"/>
                <a:gd name="T26" fmla="*/ 0 w 604"/>
                <a:gd name="T27" fmla="*/ 554 h 596"/>
                <a:gd name="T28" fmla="*/ 0 w 604"/>
                <a:gd name="T29" fmla="*/ 548 h 596"/>
                <a:gd name="T30" fmla="*/ 1 w 604"/>
                <a:gd name="T31" fmla="*/ 542 h 596"/>
                <a:gd name="T32" fmla="*/ 2 w 604"/>
                <a:gd name="T33" fmla="*/ 535 h 596"/>
                <a:gd name="T34" fmla="*/ 4 w 604"/>
                <a:gd name="T35" fmla="*/ 529 h 596"/>
                <a:gd name="T36" fmla="*/ 176 w 604"/>
                <a:gd name="T37" fmla="*/ 68 h 596"/>
                <a:gd name="T38" fmla="*/ 176 w 604"/>
                <a:gd name="T39" fmla="*/ 68 h 596"/>
                <a:gd name="T40" fmla="*/ 180 w 604"/>
                <a:gd name="T41" fmla="*/ 62 h 596"/>
                <a:gd name="T42" fmla="*/ 183 w 604"/>
                <a:gd name="T43" fmla="*/ 54 h 596"/>
                <a:gd name="T44" fmla="*/ 192 w 604"/>
                <a:gd name="T45" fmla="*/ 42 h 596"/>
                <a:gd name="T46" fmla="*/ 203 w 604"/>
                <a:gd name="T47" fmla="*/ 30 h 596"/>
                <a:gd name="T48" fmla="*/ 215 w 604"/>
                <a:gd name="T49" fmla="*/ 20 h 596"/>
                <a:gd name="T50" fmla="*/ 230 w 604"/>
                <a:gd name="T51" fmla="*/ 12 h 596"/>
                <a:gd name="T52" fmla="*/ 244 w 604"/>
                <a:gd name="T53" fmla="*/ 5 h 596"/>
                <a:gd name="T54" fmla="*/ 259 w 604"/>
                <a:gd name="T55" fmla="*/ 1 h 596"/>
                <a:gd name="T56" fmla="*/ 266 w 604"/>
                <a:gd name="T57" fmla="*/ 0 h 596"/>
                <a:gd name="T58" fmla="*/ 275 w 604"/>
                <a:gd name="T59" fmla="*/ 0 h 596"/>
                <a:gd name="T60" fmla="*/ 552 w 604"/>
                <a:gd name="T61" fmla="*/ 0 h 596"/>
                <a:gd name="T62" fmla="*/ 552 w 604"/>
                <a:gd name="T63" fmla="*/ 0 h 596"/>
                <a:gd name="T64" fmla="*/ 559 w 604"/>
                <a:gd name="T65" fmla="*/ 0 h 596"/>
                <a:gd name="T66" fmla="*/ 566 w 604"/>
                <a:gd name="T67" fmla="*/ 1 h 596"/>
                <a:gd name="T68" fmla="*/ 572 w 604"/>
                <a:gd name="T69" fmla="*/ 3 h 596"/>
                <a:gd name="T70" fmla="*/ 578 w 604"/>
                <a:gd name="T71" fmla="*/ 5 h 596"/>
                <a:gd name="T72" fmla="*/ 583 w 604"/>
                <a:gd name="T73" fmla="*/ 8 h 596"/>
                <a:gd name="T74" fmla="*/ 587 w 604"/>
                <a:gd name="T75" fmla="*/ 12 h 596"/>
                <a:gd name="T76" fmla="*/ 591 w 604"/>
                <a:gd name="T77" fmla="*/ 16 h 596"/>
                <a:gd name="T78" fmla="*/ 595 w 604"/>
                <a:gd name="T79" fmla="*/ 21 h 596"/>
                <a:gd name="T80" fmla="*/ 599 w 604"/>
                <a:gd name="T81" fmla="*/ 25 h 596"/>
                <a:gd name="T82" fmla="*/ 601 w 604"/>
                <a:gd name="T83" fmla="*/ 30 h 596"/>
                <a:gd name="T84" fmla="*/ 603 w 604"/>
                <a:gd name="T85" fmla="*/ 36 h 596"/>
                <a:gd name="T86" fmla="*/ 604 w 604"/>
                <a:gd name="T87" fmla="*/ 42 h 596"/>
                <a:gd name="T88" fmla="*/ 604 w 604"/>
                <a:gd name="T89" fmla="*/ 48 h 596"/>
                <a:gd name="T90" fmla="*/ 603 w 604"/>
                <a:gd name="T91" fmla="*/ 54 h 596"/>
                <a:gd name="T92" fmla="*/ 602 w 604"/>
                <a:gd name="T93" fmla="*/ 62 h 596"/>
                <a:gd name="T94" fmla="*/ 600 w 604"/>
                <a:gd name="T95" fmla="*/ 69 h 596"/>
                <a:gd name="T96" fmla="*/ 436 w 604"/>
                <a:gd name="T97" fmla="*/ 525 h 596"/>
                <a:gd name="T98" fmla="*/ 436 w 604"/>
                <a:gd name="T99" fmla="*/ 525 h 596"/>
                <a:gd name="T100" fmla="*/ 433 w 604"/>
                <a:gd name="T101" fmla="*/ 533 h 596"/>
                <a:gd name="T102" fmla="*/ 430 w 604"/>
                <a:gd name="T103" fmla="*/ 540 h 596"/>
                <a:gd name="T104" fmla="*/ 426 w 604"/>
                <a:gd name="T105" fmla="*/ 546 h 596"/>
                <a:gd name="T106" fmla="*/ 421 w 604"/>
                <a:gd name="T107" fmla="*/ 552 h 596"/>
                <a:gd name="T108" fmla="*/ 409 w 604"/>
                <a:gd name="T109" fmla="*/ 564 h 596"/>
                <a:gd name="T110" fmla="*/ 397 w 604"/>
                <a:gd name="T111" fmla="*/ 575 h 596"/>
                <a:gd name="T112" fmla="*/ 384 w 604"/>
                <a:gd name="T113" fmla="*/ 583 h 596"/>
                <a:gd name="T114" fmla="*/ 370 w 604"/>
                <a:gd name="T115" fmla="*/ 589 h 596"/>
                <a:gd name="T116" fmla="*/ 361 w 604"/>
                <a:gd name="T117" fmla="*/ 591 h 596"/>
                <a:gd name="T118" fmla="*/ 354 w 604"/>
                <a:gd name="T119" fmla="*/ 593 h 596"/>
                <a:gd name="T120" fmla="*/ 346 w 604"/>
                <a:gd name="T121" fmla="*/ 594 h 596"/>
                <a:gd name="T122" fmla="*/ 339 w 604"/>
                <a:gd name="T123" fmla="*/ 594 h 596"/>
                <a:gd name="T124" fmla="*/ 51 w 604"/>
                <a:gd name="T125"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4" h="596">
                  <a:moveTo>
                    <a:pt x="51" y="596"/>
                  </a:moveTo>
                  <a:lnTo>
                    <a:pt x="51" y="596"/>
                  </a:lnTo>
                  <a:lnTo>
                    <a:pt x="44" y="595"/>
                  </a:lnTo>
                  <a:lnTo>
                    <a:pt x="37" y="594"/>
                  </a:lnTo>
                  <a:lnTo>
                    <a:pt x="30" y="593"/>
                  </a:lnTo>
                  <a:lnTo>
                    <a:pt x="25" y="591"/>
                  </a:lnTo>
                  <a:lnTo>
                    <a:pt x="19" y="588"/>
                  </a:lnTo>
                  <a:lnTo>
                    <a:pt x="15" y="585"/>
                  </a:lnTo>
                  <a:lnTo>
                    <a:pt x="11" y="581"/>
                  </a:lnTo>
                  <a:lnTo>
                    <a:pt x="7" y="577"/>
                  </a:lnTo>
                  <a:lnTo>
                    <a:pt x="5" y="571"/>
                  </a:lnTo>
                  <a:lnTo>
                    <a:pt x="2" y="566"/>
                  </a:lnTo>
                  <a:lnTo>
                    <a:pt x="1" y="560"/>
                  </a:lnTo>
                  <a:lnTo>
                    <a:pt x="0" y="554"/>
                  </a:lnTo>
                  <a:lnTo>
                    <a:pt x="0" y="548"/>
                  </a:lnTo>
                  <a:lnTo>
                    <a:pt x="1" y="542"/>
                  </a:lnTo>
                  <a:lnTo>
                    <a:pt x="2" y="535"/>
                  </a:lnTo>
                  <a:lnTo>
                    <a:pt x="4" y="529"/>
                  </a:lnTo>
                  <a:lnTo>
                    <a:pt x="176" y="68"/>
                  </a:lnTo>
                  <a:lnTo>
                    <a:pt x="176" y="68"/>
                  </a:lnTo>
                  <a:lnTo>
                    <a:pt x="180" y="62"/>
                  </a:lnTo>
                  <a:lnTo>
                    <a:pt x="183" y="54"/>
                  </a:lnTo>
                  <a:lnTo>
                    <a:pt x="192" y="42"/>
                  </a:lnTo>
                  <a:lnTo>
                    <a:pt x="203" y="30"/>
                  </a:lnTo>
                  <a:lnTo>
                    <a:pt x="215" y="20"/>
                  </a:lnTo>
                  <a:lnTo>
                    <a:pt x="230" y="12"/>
                  </a:lnTo>
                  <a:lnTo>
                    <a:pt x="244" y="5"/>
                  </a:lnTo>
                  <a:lnTo>
                    <a:pt x="259" y="1"/>
                  </a:lnTo>
                  <a:lnTo>
                    <a:pt x="266" y="0"/>
                  </a:lnTo>
                  <a:lnTo>
                    <a:pt x="275" y="0"/>
                  </a:lnTo>
                  <a:lnTo>
                    <a:pt x="552" y="0"/>
                  </a:lnTo>
                  <a:lnTo>
                    <a:pt x="552" y="0"/>
                  </a:lnTo>
                  <a:lnTo>
                    <a:pt x="559" y="0"/>
                  </a:lnTo>
                  <a:lnTo>
                    <a:pt x="566" y="1"/>
                  </a:lnTo>
                  <a:lnTo>
                    <a:pt x="572" y="3"/>
                  </a:lnTo>
                  <a:lnTo>
                    <a:pt x="578" y="5"/>
                  </a:lnTo>
                  <a:lnTo>
                    <a:pt x="583" y="8"/>
                  </a:lnTo>
                  <a:lnTo>
                    <a:pt x="587" y="12"/>
                  </a:lnTo>
                  <a:lnTo>
                    <a:pt x="591" y="16"/>
                  </a:lnTo>
                  <a:lnTo>
                    <a:pt x="595" y="21"/>
                  </a:lnTo>
                  <a:lnTo>
                    <a:pt x="599" y="25"/>
                  </a:lnTo>
                  <a:lnTo>
                    <a:pt x="601" y="30"/>
                  </a:lnTo>
                  <a:lnTo>
                    <a:pt x="603" y="36"/>
                  </a:lnTo>
                  <a:lnTo>
                    <a:pt x="604" y="42"/>
                  </a:lnTo>
                  <a:lnTo>
                    <a:pt x="604" y="48"/>
                  </a:lnTo>
                  <a:lnTo>
                    <a:pt x="603" y="54"/>
                  </a:lnTo>
                  <a:lnTo>
                    <a:pt x="602" y="62"/>
                  </a:lnTo>
                  <a:lnTo>
                    <a:pt x="600" y="69"/>
                  </a:lnTo>
                  <a:lnTo>
                    <a:pt x="436" y="525"/>
                  </a:lnTo>
                  <a:lnTo>
                    <a:pt x="436" y="525"/>
                  </a:lnTo>
                  <a:lnTo>
                    <a:pt x="433" y="533"/>
                  </a:lnTo>
                  <a:lnTo>
                    <a:pt x="430" y="540"/>
                  </a:lnTo>
                  <a:lnTo>
                    <a:pt x="426" y="546"/>
                  </a:lnTo>
                  <a:lnTo>
                    <a:pt x="421" y="552"/>
                  </a:lnTo>
                  <a:lnTo>
                    <a:pt x="409" y="564"/>
                  </a:lnTo>
                  <a:lnTo>
                    <a:pt x="397" y="575"/>
                  </a:lnTo>
                  <a:lnTo>
                    <a:pt x="384" y="583"/>
                  </a:lnTo>
                  <a:lnTo>
                    <a:pt x="370" y="589"/>
                  </a:lnTo>
                  <a:lnTo>
                    <a:pt x="361" y="591"/>
                  </a:lnTo>
                  <a:lnTo>
                    <a:pt x="354" y="593"/>
                  </a:lnTo>
                  <a:lnTo>
                    <a:pt x="346" y="594"/>
                  </a:lnTo>
                  <a:lnTo>
                    <a:pt x="339" y="594"/>
                  </a:lnTo>
                  <a:lnTo>
                    <a:pt x="51" y="59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3009" name="Freeform 2011"/>
            <p:cNvSpPr>
              <a:spLocks/>
            </p:cNvSpPr>
            <p:nvPr/>
          </p:nvSpPr>
          <p:spPr bwMode="auto">
            <a:xfrm>
              <a:off x="2483918" y="3126635"/>
              <a:ext cx="105353" cy="109682"/>
            </a:xfrm>
            <a:custGeom>
              <a:avLst/>
              <a:gdLst>
                <a:gd name="T0" fmla="*/ 160 w 437"/>
                <a:gd name="T1" fmla="*/ 20 h 450"/>
                <a:gd name="T2" fmla="*/ 160 w 437"/>
                <a:gd name="T3" fmla="*/ 20 h 450"/>
                <a:gd name="T4" fmla="*/ 162 w 437"/>
                <a:gd name="T5" fmla="*/ 17 h 450"/>
                <a:gd name="T6" fmla="*/ 165 w 437"/>
                <a:gd name="T7" fmla="*/ 13 h 450"/>
                <a:gd name="T8" fmla="*/ 173 w 437"/>
                <a:gd name="T9" fmla="*/ 7 h 450"/>
                <a:gd name="T10" fmla="*/ 182 w 437"/>
                <a:gd name="T11" fmla="*/ 2 h 450"/>
                <a:gd name="T12" fmla="*/ 187 w 437"/>
                <a:gd name="T13" fmla="*/ 0 h 450"/>
                <a:gd name="T14" fmla="*/ 191 w 437"/>
                <a:gd name="T15" fmla="*/ 0 h 450"/>
                <a:gd name="T16" fmla="*/ 437 w 437"/>
                <a:gd name="T17" fmla="*/ 0 h 450"/>
                <a:gd name="T18" fmla="*/ 284 w 437"/>
                <a:gd name="T19" fmla="*/ 428 h 450"/>
                <a:gd name="T20" fmla="*/ 284 w 437"/>
                <a:gd name="T21" fmla="*/ 428 h 450"/>
                <a:gd name="T22" fmla="*/ 282 w 437"/>
                <a:gd name="T23" fmla="*/ 432 h 450"/>
                <a:gd name="T24" fmla="*/ 279 w 437"/>
                <a:gd name="T25" fmla="*/ 435 h 450"/>
                <a:gd name="T26" fmla="*/ 271 w 437"/>
                <a:gd name="T27" fmla="*/ 442 h 450"/>
                <a:gd name="T28" fmla="*/ 263 w 437"/>
                <a:gd name="T29" fmla="*/ 446 h 450"/>
                <a:gd name="T30" fmla="*/ 258 w 437"/>
                <a:gd name="T31" fmla="*/ 448 h 450"/>
                <a:gd name="T32" fmla="*/ 255 w 437"/>
                <a:gd name="T33" fmla="*/ 448 h 450"/>
                <a:gd name="T34" fmla="*/ 0 w 437"/>
                <a:gd name="T35" fmla="*/ 450 h 450"/>
                <a:gd name="T36" fmla="*/ 160 w 437"/>
                <a:gd name="T37" fmla="*/ 2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7" h="450">
                  <a:moveTo>
                    <a:pt x="160" y="20"/>
                  </a:moveTo>
                  <a:lnTo>
                    <a:pt x="160" y="20"/>
                  </a:lnTo>
                  <a:lnTo>
                    <a:pt x="162" y="17"/>
                  </a:lnTo>
                  <a:lnTo>
                    <a:pt x="165" y="13"/>
                  </a:lnTo>
                  <a:lnTo>
                    <a:pt x="173" y="7"/>
                  </a:lnTo>
                  <a:lnTo>
                    <a:pt x="182" y="2"/>
                  </a:lnTo>
                  <a:lnTo>
                    <a:pt x="187" y="0"/>
                  </a:lnTo>
                  <a:lnTo>
                    <a:pt x="191" y="0"/>
                  </a:lnTo>
                  <a:lnTo>
                    <a:pt x="437" y="0"/>
                  </a:lnTo>
                  <a:lnTo>
                    <a:pt x="284" y="428"/>
                  </a:lnTo>
                  <a:lnTo>
                    <a:pt x="284" y="428"/>
                  </a:lnTo>
                  <a:lnTo>
                    <a:pt x="282" y="432"/>
                  </a:lnTo>
                  <a:lnTo>
                    <a:pt x="279" y="435"/>
                  </a:lnTo>
                  <a:lnTo>
                    <a:pt x="271" y="442"/>
                  </a:lnTo>
                  <a:lnTo>
                    <a:pt x="263" y="446"/>
                  </a:lnTo>
                  <a:lnTo>
                    <a:pt x="258" y="448"/>
                  </a:lnTo>
                  <a:lnTo>
                    <a:pt x="255" y="448"/>
                  </a:lnTo>
                  <a:lnTo>
                    <a:pt x="0" y="450"/>
                  </a:lnTo>
                  <a:lnTo>
                    <a:pt x="160" y="20"/>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345" name="Group 2344"/>
            <p:cNvGrpSpPr/>
            <p:nvPr/>
          </p:nvGrpSpPr>
          <p:grpSpPr>
            <a:xfrm>
              <a:off x="2594081" y="3053514"/>
              <a:ext cx="282864" cy="203488"/>
              <a:chOff x="2651125" y="3094038"/>
              <a:chExt cx="311150" cy="223837"/>
            </a:xfrm>
          </p:grpSpPr>
          <p:sp>
            <p:nvSpPr>
              <p:cNvPr id="3010" name="Freeform 2012"/>
              <p:cNvSpPr>
                <a:spLocks/>
              </p:cNvSpPr>
              <p:nvPr/>
            </p:nvSpPr>
            <p:spPr bwMode="auto">
              <a:xfrm>
                <a:off x="2870200" y="3176588"/>
                <a:ext cx="92075" cy="139700"/>
              </a:xfrm>
              <a:custGeom>
                <a:avLst/>
                <a:gdLst>
                  <a:gd name="T0" fmla="*/ 344 w 344"/>
                  <a:gd name="T1" fmla="*/ 0 h 523"/>
                  <a:gd name="T2" fmla="*/ 0 w 344"/>
                  <a:gd name="T3" fmla="*/ 0 h 523"/>
                  <a:gd name="T4" fmla="*/ 37 w 344"/>
                  <a:gd name="T5" fmla="*/ 523 h 523"/>
                  <a:gd name="T6" fmla="*/ 308 w 344"/>
                  <a:gd name="T7" fmla="*/ 523 h 523"/>
                  <a:gd name="T8" fmla="*/ 344 w 344"/>
                  <a:gd name="T9" fmla="*/ 0 h 523"/>
                </a:gdLst>
                <a:ahLst/>
                <a:cxnLst>
                  <a:cxn ang="0">
                    <a:pos x="T0" y="T1"/>
                  </a:cxn>
                  <a:cxn ang="0">
                    <a:pos x="T2" y="T3"/>
                  </a:cxn>
                  <a:cxn ang="0">
                    <a:pos x="T4" y="T5"/>
                  </a:cxn>
                  <a:cxn ang="0">
                    <a:pos x="T6" y="T7"/>
                  </a:cxn>
                  <a:cxn ang="0">
                    <a:pos x="T8" y="T9"/>
                  </a:cxn>
                </a:cxnLst>
                <a:rect l="0" t="0" r="r" b="b"/>
                <a:pathLst>
                  <a:path w="344" h="523">
                    <a:moveTo>
                      <a:pt x="344" y="0"/>
                    </a:moveTo>
                    <a:lnTo>
                      <a:pt x="0" y="0"/>
                    </a:lnTo>
                    <a:lnTo>
                      <a:pt x="37" y="523"/>
                    </a:lnTo>
                    <a:lnTo>
                      <a:pt x="308" y="523"/>
                    </a:lnTo>
                    <a:lnTo>
                      <a:pt x="3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11" name="Rectangle 2013"/>
              <p:cNvSpPr>
                <a:spLocks noChangeArrowheads="1"/>
              </p:cNvSpPr>
              <p:nvPr/>
            </p:nvSpPr>
            <p:spPr bwMode="auto">
              <a:xfrm>
                <a:off x="2894013" y="3094038"/>
                <a:ext cx="12700"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12" name="Freeform 2014"/>
              <p:cNvSpPr>
                <a:spLocks/>
              </p:cNvSpPr>
              <p:nvPr/>
            </p:nvSpPr>
            <p:spPr bwMode="auto">
              <a:xfrm>
                <a:off x="2703513" y="3244850"/>
                <a:ext cx="104775" cy="25400"/>
              </a:xfrm>
              <a:custGeom>
                <a:avLst/>
                <a:gdLst>
                  <a:gd name="T0" fmla="*/ 399 w 399"/>
                  <a:gd name="T1" fmla="*/ 49 h 97"/>
                  <a:gd name="T2" fmla="*/ 399 w 399"/>
                  <a:gd name="T3" fmla="*/ 49 h 97"/>
                  <a:gd name="T4" fmla="*/ 399 w 399"/>
                  <a:gd name="T5" fmla="*/ 44 h 97"/>
                  <a:gd name="T6" fmla="*/ 398 w 399"/>
                  <a:gd name="T7" fmla="*/ 39 h 97"/>
                  <a:gd name="T8" fmla="*/ 394 w 399"/>
                  <a:gd name="T9" fmla="*/ 30 h 97"/>
                  <a:gd name="T10" fmla="*/ 389 w 399"/>
                  <a:gd name="T11" fmla="*/ 22 h 97"/>
                  <a:gd name="T12" fmla="*/ 380 w 399"/>
                  <a:gd name="T13" fmla="*/ 15 h 97"/>
                  <a:gd name="T14" fmla="*/ 371 w 399"/>
                  <a:gd name="T15" fmla="*/ 8 h 97"/>
                  <a:gd name="T16" fmla="*/ 361 w 399"/>
                  <a:gd name="T17" fmla="*/ 4 h 97"/>
                  <a:gd name="T18" fmla="*/ 349 w 399"/>
                  <a:gd name="T19" fmla="*/ 1 h 97"/>
                  <a:gd name="T20" fmla="*/ 337 w 399"/>
                  <a:gd name="T21" fmla="*/ 0 h 97"/>
                  <a:gd name="T22" fmla="*/ 63 w 399"/>
                  <a:gd name="T23" fmla="*/ 0 h 97"/>
                  <a:gd name="T24" fmla="*/ 63 w 399"/>
                  <a:gd name="T25" fmla="*/ 0 h 97"/>
                  <a:gd name="T26" fmla="*/ 50 w 399"/>
                  <a:gd name="T27" fmla="*/ 1 h 97"/>
                  <a:gd name="T28" fmla="*/ 38 w 399"/>
                  <a:gd name="T29" fmla="*/ 4 h 97"/>
                  <a:gd name="T30" fmla="*/ 28 w 399"/>
                  <a:gd name="T31" fmla="*/ 8 h 97"/>
                  <a:gd name="T32" fmla="*/ 19 w 399"/>
                  <a:gd name="T33" fmla="*/ 15 h 97"/>
                  <a:gd name="T34" fmla="*/ 11 w 399"/>
                  <a:gd name="T35" fmla="*/ 22 h 97"/>
                  <a:gd name="T36" fmla="*/ 5 w 399"/>
                  <a:gd name="T37" fmla="*/ 30 h 97"/>
                  <a:gd name="T38" fmla="*/ 1 w 399"/>
                  <a:gd name="T39" fmla="*/ 39 h 97"/>
                  <a:gd name="T40" fmla="*/ 0 w 399"/>
                  <a:gd name="T41" fmla="*/ 44 h 97"/>
                  <a:gd name="T42" fmla="*/ 0 w 399"/>
                  <a:gd name="T43" fmla="*/ 49 h 97"/>
                  <a:gd name="T44" fmla="*/ 0 w 399"/>
                  <a:gd name="T45" fmla="*/ 49 h 97"/>
                  <a:gd name="T46" fmla="*/ 0 w 399"/>
                  <a:gd name="T47" fmla="*/ 49 h 97"/>
                  <a:gd name="T48" fmla="*/ 0 w 399"/>
                  <a:gd name="T49" fmla="*/ 54 h 97"/>
                  <a:gd name="T50" fmla="*/ 1 w 399"/>
                  <a:gd name="T51" fmla="*/ 59 h 97"/>
                  <a:gd name="T52" fmla="*/ 5 w 399"/>
                  <a:gd name="T53" fmla="*/ 68 h 97"/>
                  <a:gd name="T54" fmla="*/ 11 w 399"/>
                  <a:gd name="T55" fmla="*/ 76 h 97"/>
                  <a:gd name="T56" fmla="*/ 19 w 399"/>
                  <a:gd name="T57" fmla="*/ 83 h 97"/>
                  <a:gd name="T58" fmla="*/ 28 w 399"/>
                  <a:gd name="T59" fmla="*/ 89 h 97"/>
                  <a:gd name="T60" fmla="*/ 38 w 399"/>
                  <a:gd name="T61" fmla="*/ 94 h 97"/>
                  <a:gd name="T62" fmla="*/ 50 w 399"/>
                  <a:gd name="T63" fmla="*/ 96 h 97"/>
                  <a:gd name="T64" fmla="*/ 63 w 399"/>
                  <a:gd name="T65" fmla="*/ 97 h 97"/>
                  <a:gd name="T66" fmla="*/ 337 w 399"/>
                  <a:gd name="T67" fmla="*/ 97 h 97"/>
                  <a:gd name="T68" fmla="*/ 337 w 399"/>
                  <a:gd name="T69" fmla="*/ 97 h 97"/>
                  <a:gd name="T70" fmla="*/ 349 w 399"/>
                  <a:gd name="T71" fmla="*/ 96 h 97"/>
                  <a:gd name="T72" fmla="*/ 361 w 399"/>
                  <a:gd name="T73" fmla="*/ 94 h 97"/>
                  <a:gd name="T74" fmla="*/ 371 w 399"/>
                  <a:gd name="T75" fmla="*/ 89 h 97"/>
                  <a:gd name="T76" fmla="*/ 380 w 399"/>
                  <a:gd name="T77" fmla="*/ 83 h 97"/>
                  <a:gd name="T78" fmla="*/ 389 w 399"/>
                  <a:gd name="T79" fmla="*/ 76 h 97"/>
                  <a:gd name="T80" fmla="*/ 394 w 399"/>
                  <a:gd name="T81" fmla="*/ 68 h 97"/>
                  <a:gd name="T82" fmla="*/ 398 w 399"/>
                  <a:gd name="T83" fmla="*/ 59 h 97"/>
                  <a:gd name="T84" fmla="*/ 399 w 399"/>
                  <a:gd name="T85" fmla="*/ 54 h 97"/>
                  <a:gd name="T86" fmla="*/ 399 w 399"/>
                  <a:gd name="T87" fmla="*/ 49 h 97"/>
                  <a:gd name="T88" fmla="*/ 399 w 399"/>
                  <a:gd name="T89" fmla="*/ 4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9" h="97">
                    <a:moveTo>
                      <a:pt x="399" y="49"/>
                    </a:moveTo>
                    <a:lnTo>
                      <a:pt x="399" y="49"/>
                    </a:lnTo>
                    <a:lnTo>
                      <a:pt x="399" y="44"/>
                    </a:lnTo>
                    <a:lnTo>
                      <a:pt x="398" y="39"/>
                    </a:lnTo>
                    <a:lnTo>
                      <a:pt x="394" y="30"/>
                    </a:lnTo>
                    <a:lnTo>
                      <a:pt x="389" y="22"/>
                    </a:lnTo>
                    <a:lnTo>
                      <a:pt x="380" y="15"/>
                    </a:lnTo>
                    <a:lnTo>
                      <a:pt x="371" y="8"/>
                    </a:lnTo>
                    <a:lnTo>
                      <a:pt x="361" y="4"/>
                    </a:lnTo>
                    <a:lnTo>
                      <a:pt x="349" y="1"/>
                    </a:lnTo>
                    <a:lnTo>
                      <a:pt x="337" y="0"/>
                    </a:lnTo>
                    <a:lnTo>
                      <a:pt x="63" y="0"/>
                    </a:lnTo>
                    <a:lnTo>
                      <a:pt x="63" y="0"/>
                    </a:lnTo>
                    <a:lnTo>
                      <a:pt x="50" y="1"/>
                    </a:lnTo>
                    <a:lnTo>
                      <a:pt x="38" y="4"/>
                    </a:lnTo>
                    <a:lnTo>
                      <a:pt x="28" y="8"/>
                    </a:lnTo>
                    <a:lnTo>
                      <a:pt x="19" y="15"/>
                    </a:lnTo>
                    <a:lnTo>
                      <a:pt x="11" y="22"/>
                    </a:lnTo>
                    <a:lnTo>
                      <a:pt x="5" y="30"/>
                    </a:lnTo>
                    <a:lnTo>
                      <a:pt x="1" y="39"/>
                    </a:lnTo>
                    <a:lnTo>
                      <a:pt x="0" y="44"/>
                    </a:lnTo>
                    <a:lnTo>
                      <a:pt x="0" y="49"/>
                    </a:lnTo>
                    <a:lnTo>
                      <a:pt x="0" y="49"/>
                    </a:lnTo>
                    <a:lnTo>
                      <a:pt x="0" y="49"/>
                    </a:lnTo>
                    <a:lnTo>
                      <a:pt x="0" y="54"/>
                    </a:lnTo>
                    <a:lnTo>
                      <a:pt x="1" y="59"/>
                    </a:lnTo>
                    <a:lnTo>
                      <a:pt x="5" y="68"/>
                    </a:lnTo>
                    <a:lnTo>
                      <a:pt x="11" y="76"/>
                    </a:lnTo>
                    <a:lnTo>
                      <a:pt x="19" y="83"/>
                    </a:lnTo>
                    <a:lnTo>
                      <a:pt x="28" y="89"/>
                    </a:lnTo>
                    <a:lnTo>
                      <a:pt x="38" y="94"/>
                    </a:lnTo>
                    <a:lnTo>
                      <a:pt x="50" y="96"/>
                    </a:lnTo>
                    <a:lnTo>
                      <a:pt x="63" y="97"/>
                    </a:lnTo>
                    <a:lnTo>
                      <a:pt x="337" y="97"/>
                    </a:lnTo>
                    <a:lnTo>
                      <a:pt x="337" y="97"/>
                    </a:lnTo>
                    <a:lnTo>
                      <a:pt x="349" y="96"/>
                    </a:lnTo>
                    <a:lnTo>
                      <a:pt x="361" y="94"/>
                    </a:lnTo>
                    <a:lnTo>
                      <a:pt x="371" y="89"/>
                    </a:lnTo>
                    <a:lnTo>
                      <a:pt x="380" y="83"/>
                    </a:lnTo>
                    <a:lnTo>
                      <a:pt x="389" y="76"/>
                    </a:lnTo>
                    <a:lnTo>
                      <a:pt x="394" y="68"/>
                    </a:lnTo>
                    <a:lnTo>
                      <a:pt x="398" y="59"/>
                    </a:lnTo>
                    <a:lnTo>
                      <a:pt x="399" y="54"/>
                    </a:lnTo>
                    <a:lnTo>
                      <a:pt x="399" y="49"/>
                    </a:lnTo>
                    <a:lnTo>
                      <a:pt x="399"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13" name="Freeform 2015"/>
              <p:cNvSpPr>
                <a:spLocks/>
              </p:cNvSpPr>
              <p:nvPr/>
            </p:nvSpPr>
            <p:spPr bwMode="auto">
              <a:xfrm>
                <a:off x="2709863" y="3276600"/>
                <a:ext cx="93663" cy="19050"/>
              </a:xfrm>
              <a:custGeom>
                <a:avLst/>
                <a:gdLst>
                  <a:gd name="T0" fmla="*/ 0 w 353"/>
                  <a:gd name="T1" fmla="*/ 0 h 74"/>
                  <a:gd name="T2" fmla="*/ 0 w 353"/>
                  <a:gd name="T3" fmla="*/ 0 h 74"/>
                  <a:gd name="T4" fmla="*/ 3 w 353"/>
                  <a:gd name="T5" fmla="*/ 16 h 74"/>
                  <a:gd name="T6" fmla="*/ 7 w 353"/>
                  <a:gd name="T7" fmla="*/ 29 h 74"/>
                  <a:gd name="T8" fmla="*/ 12 w 353"/>
                  <a:gd name="T9" fmla="*/ 43 h 74"/>
                  <a:gd name="T10" fmla="*/ 19 w 353"/>
                  <a:gd name="T11" fmla="*/ 54 h 74"/>
                  <a:gd name="T12" fmla="*/ 27 w 353"/>
                  <a:gd name="T13" fmla="*/ 62 h 74"/>
                  <a:gd name="T14" fmla="*/ 36 w 353"/>
                  <a:gd name="T15" fmla="*/ 69 h 74"/>
                  <a:gd name="T16" fmla="*/ 41 w 353"/>
                  <a:gd name="T17" fmla="*/ 71 h 74"/>
                  <a:gd name="T18" fmla="*/ 45 w 353"/>
                  <a:gd name="T19" fmla="*/ 73 h 74"/>
                  <a:gd name="T20" fmla="*/ 50 w 353"/>
                  <a:gd name="T21" fmla="*/ 74 h 74"/>
                  <a:gd name="T22" fmla="*/ 55 w 353"/>
                  <a:gd name="T23" fmla="*/ 74 h 74"/>
                  <a:gd name="T24" fmla="*/ 298 w 353"/>
                  <a:gd name="T25" fmla="*/ 74 h 74"/>
                  <a:gd name="T26" fmla="*/ 298 w 353"/>
                  <a:gd name="T27" fmla="*/ 74 h 74"/>
                  <a:gd name="T28" fmla="*/ 303 w 353"/>
                  <a:gd name="T29" fmla="*/ 74 h 74"/>
                  <a:gd name="T30" fmla="*/ 308 w 353"/>
                  <a:gd name="T31" fmla="*/ 73 h 74"/>
                  <a:gd name="T32" fmla="*/ 313 w 353"/>
                  <a:gd name="T33" fmla="*/ 71 h 74"/>
                  <a:gd name="T34" fmla="*/ 318 w 353"/>
                  <a:gd name="T35" fmla="*/ 69 h 74"/>
                  <a:gd name="T36" fmla="*/ 326 w 353"/>
                  <a:gd name="T37" fmla="*/ 62 h 74"/>
                  <a:gd name="T38" fmla="*/ 334 w 353"/>
                  <a:gd name="T39" fmla="*/ 54 h 74"/>
                  <a:gd name="T40" fmla="*/ 341 w 353"/>
                  <a:gd name="T41" fmla="*/ 43 h 74"/>
                  <a:gd name="T42" fmla="*/ 346 w 353"/>
                  <a:gd name="T43" fmla="*/ 29 h 74"/>
                  <a:gd name="T44" fmla="*/ 350 w 353"/>
                  <a:gd name="T45" fmla="*/ 16 h 74"/>
                  <a:gd name="T46" fmla="*/ 353 w 353"/>
                  <a:gd name="T47" fmla="*/ 0 h 74"/>
                  <a:gd name="T48" fmla="*/ 0 w 353"/>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3" h="74">
                    <a:moveTo>
                      <a:pt x="0" y="0"/>
                    </a:moveTo>
                    <a:lnTo>
                      <a:pt x="0" y="0"/>
                    </a:lnTo>
                    <a:lnTo>
                      <a:pt x="3" y="16"/>
                    </a:lnTo>
                    <a:lnTo>
                      <a:pt x="7" y="29"/>
                    </a:lnTo>
                    <a:lnTo>
                      <a:pt x="12" y="43"/>
                    </a:lnTo>
                    <a:lnTo>
                      <a:pt x="19" y="54"/>
                    </a:lnTo>
                    <a:lnTo>
                      <a:pt x="27" y="62"/>
                    </a:lnTo>
                    <a:lnTo>
                      <a:pt x="36" y="69"/>
                    </a:lnTo>
                    <a:lnTo>
                      <a:pt x="41" y="71"/>
                    </a:lnTo>
                    <a:lnTo>
                      <a:pt x="45" y="73"/>
                    </a:lnTo>
                    <a:lnTo>
                      <a:pt x="50" y="74"/>
                    </a:lnTo>
                    <a:lnTo>
                      <a:pt x="55" y="74"/>
                    </a:lnTo>
                    <a:lnTo>
                      <a:pt x="298" y="74"/>
                    </a:lnTo>
                    <a:lnTo>
                      <a:pt x="298" y="74"/>
                    </a:lnTo>
                    <a:lnTo>
                      <a:pt x="303" y="74"/>
                    </a:lnTo>
                    <a:lnTo>
                      <a:pt x="308" y="73"/>
                    </a:lnTo>
                    <a:lnTo>
                      <a:pt x="313" y="71"/>
                    </a:lnTo>
                    <a:lnTo>
                      <a:pt x="318" y="69"/>
                    </a:lnTo>
                    <a:lnTo>
                      <a:pt x="326" y="62"/>
                    </a:lnTo>
                    <a:lnTo>
                      <a:pt x="334" y="54"/>
                    </a:lnTo>
                    <a:lnTo>
                      <a:pt x="341" y="43"/>
                    </a:lnTo>
                    <a:lnTo>
                      <a:pt x="346" y="29"/>
                    </a:lnTo>
                    <a:lnTo>
                      <a:pt x="350" y="16"/>
                    </a:lnTo>
                    <a:lnTo>
                      <a:pt x="35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14" name="Freeform 2016"/>
              <p:cNvSpPr>
                <a:spLocks/>
              </p:cNvSpPr>
              <p:nvPr/>
            </p:nvSpPr>
            <p:spPr bwMode="auto">
              <a:xfrm>
                <a:off x="2709863" y="3211513"/>
                <a:ext cx="93663" cy="26988"/>
              </a:xfrm>
              <a:custGeom>
                <a:avLst/>
                <a:gdLst>
                  <a:gd name="T0" fmla="*/ 353 w 353"/>
                  <a:gd name="T1" fmla="*/ 105 h 105"/>
                  <a:gd name="T2" fmla="*/ 353 w 353"/>
                  <a:gd name="T3" fmla="*/ 105 h 105"/>
                  <a:gd name="T4" fmla="*/ 351 w 353"/>
                  <a:gd name="T5" fmla="*/ 95 h 105"/>
                  <a:gd name="T6" fmla="*/ 347 w 353"/>
                  <a:gd name="T7" fmla="*/ 83 h 105"/>
                  <a:gd name="T8" fmla="*/ 342 w 353"/>
                  <a:gd name="T9" fmla="*/ 73 h 105"/>
                  <a:gd name="T10" fmla="*/ 335 w 353"/>
                  <a:gd name="T11" fmla="*/ 64 h 105"/>
                  <a:gd name="T12" fmla="*/ 327 w 353"/>
                  <a:gd name="T13" fmla="*/ 55 h 105"/>
                  <a:gd name="T14" fmla="*/ 318 w 353"/>
                  <a:gd name="T15" fmla="*/ 46 h 105"/>
                  <a:gd name="T16" fmla="*/ 308 w 353"/>
                  <a:gd name="T17" fmla="*/ 37 h 105"/>
                  <a:gd name="T18" fmla="*/ 298 w 353"/>
                  <a:gd name="T19" fmla="*/ 30 h 105"/>
                  <a:gd name="T20" fmla="*/ 287 w 353"/>
                  <a:gd name="T21" fmla="*/ 23 h 105"/>
                  <a:gd name="T22" fmla="*/ 277 w 353"/>
                  <a:gd name="T23" fmla="*/ 18 h 105"/>
                  <a:gd name="T24" fmla="*/ 256 w 353"/>
                  <a:gd name="T25" fmla="*/ 8 h 105"/>
                  <a:gd name="T26" fmla="*/ 239 w 353"/>
                  <a:gd name="T27" fmla="*/ 2 h 105"/>
                  <a:gd name="T28" fmla="*/ 232 w 353"/>
                  <a:gd name="T29" fmla="*/ 1 h 105"/>
                  <a:gd name="T30" fmla="*/ 226 w 353"/>
                  <a:gd name="T31" fmla="*/ 0 h 105"/>
                  <a:gd name="T32" fmla="*/ 128 w 353"/>
                  <a:gd name="T33" fmla="*/ 0 h 105"/>
                  <a:gd name="T34" fmla="*/ 128 w 353"/>
                  <a:gd name="T35" fmla="*/ 0 h 105"/>
                  <a:gd name="T36" fmla="*/ 121 w 353"/>
                  <a:gd name="T37" fmla="*/ 1 h 105"/>
                  <a:gd name="T38" fmla="*/ 114 w 353"/>
                  <a:gd name="T39" fmla="*/ 2 h 105"/>
                  <a:gd name="T40" fmla="*/ 97 w 353"/>
                  <a:gd name="T41" fmla="*/ 8 h 105"/>
                  <a:gd name="T42" fmla="*/ 76 w 353"/>
                  <a:gd name="T43" fmla="*/ 18 h 105"/>
                  <a:gd name="T44" fmla="*/ 66 w 353"/>
                  <a:gd name="T45" fmla="*/ 23 h 105"/>
                  <a:gd name="T46" fmla="*/ 55 w 353"/>
                  <a:gd name="T47" fmla="*/ 30 h 105"/>
                  <a:gd name="T48" fmla="*/ 45 w 353"/>
                  <a:gd name="T49" fmla="*/ 37 h 105"/>
                  <a:gd name="T50" fmla="*/ 36 w 353"/>
                  <a:gd name="T51" fmla="*/ 46 h 105"/>
                  <a:gd name="T52" fmla="*/ 26 w 353"/>
                  <a:gd name="T53" fmla="*/ 55 h 105"/>
                  <a:gd name="T54" fmla="*/ 18 w 353"/>
                  <a:gd name="T55" fmla="*/ 64 h 105"/>
                  <a:gd name="T56" fmla="*/ 11 w 353"/>
                  <a:gd name="T57" fmla="*/ 73 h 105"/>
                  <a:gd name="T58" fmla="*/ 6 w 353"/>
                  <a:gd name="T59" fmla="*/ 83 h 105"/>
                  <a:gd name="T60" fmla="*/ 2 w 353"/>
                  <a:gd name="T61" fmla="*/ 95 h 105"/>
                  <a:gd name="T62" fmla="*/ 0 w 353"/>
                  <a:gd name="T63" fmla="*/ 105 h 105"/>
                  <a:gd name="T64" fmla="*/ 353 w 353"/>
                  <a:gd name="T65"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 h="105">
                    <a:moveTo>
                      <a:pt x="353" y="105"/>
                    </a:moveTo>
                    <a:lnTo>
                      <a:pt x="353" y="105"/>
                    </a:lnTo>
                    <a:lnTo>
                      <a:pt x="351" y="95"/>
                    </a:lnTo>
                    <a:lnTo>
                      <a:pt x="347" y="83"/>
                    </a:lnTo>
                    <a:lnTo>
                      <a:pt x="342" y="73"/>
                    </a:lnTo>
                    <a:lnTo>
                      <a:pt x="335" y="64"/>
                    </a:lnTo>
                    <a:lnTo>
                      <a:pt x="327" y="55"/>
                    </a:lnTo>
                    <a:lnTo>
                      <a:pt x="318" y="46"/>
                    </a:lnTo>
                    <a:lnTo>
                      <a:pt x="308" y="37"/>
                    </a:lnTo>
                    <a:lnTo>
                      <a:pt x="298" y="30"/>
                    </a:lnTo>
                    <a:lnTo>
                      <a:pt x="287" y="23"/>
                    </a:lnTo>
                    <a:lnTo>
                      <a:pt x="277" y="18"/>
                    </a:lnTo>
                    <a:lnTo>
                      <a:pt x="256" y="8"/>
                    </a:lnTo>
                    <a:lnTo>
                      <a:pt x="239" y="2"/>
                    </a:lnTo>
                    <a:lnTo>
                      <a:pt x="232" y="1"/>
                    </a:lnTo>
                    <a:lnTo>
                      <a:pt x="226" y="0"/>
                    </a:lnTo>
                    <a:lnTo>
                      <a:pt x="128" y="0"/>
                    </a:lnTo>
                    <a:lnTo>
                      <a:pt x="128" y="0"/>
                    </a:lnTo>
                    <a:lnTo>
                      <a:pt x="121" y="1"/>
                    </a:lnTo>
                    <a:lnTo>
                      <a:pt x="114" y="2"/>
                    </a:lnTo>
                    <a:lnTo>
                      <a:pt x="97" y="8"/>
                    </a:lnTo>
                    <a:lnTo>
                      <a:pt x="76" y="18"/>
                    </a:lnTo>
                    <a:lnTo>
                      <a:pt x="66" y="23"/>
                    </a:lnTo>
                    <a:lnTo>
                      <a:pt x="55" y="30"/>
                    </a:lnTo>
                    <a:lnTo>
                      <a:pt x="45" y="37"/>
                    </a:lnTo>
                    <a:lnTo>
                      <a:pt x="36" y="46"/>
                    </a:lnTo>
                    <a:lnTo>
                      <a:pt x="26" y="55"/>
                    </a:lnTo>
                    <a:lnTo>
                      <a:pt x="18" y="64"/>
                    </a:lnTo>
                    <a:lnTo>
                      <a:pt x="11" y="73"/>
                    </a:lnTo>
                    <a:lnTo>
                      <a:pt x="6" y="83"/>
                    </a:lnTo>
                    <a:lnTo>
                      <a:pt x="2" y="95"/>
                    </a:lnTo>
                    <a:lnTo>
                      <a:pt x="0" y="105"/>
                    </a:lnTo>
                    <a:lnTo>
                      <a:pt x="353"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15" name="Rectangle 2017"/>
              <p:cNvSpPr>
                <a:spLocks noChangeArrowheads="1"/>
              </p:cNvSpPr>
              <p:nvPr/>
            </p:nvSpPr>
            <p:spPr bwMode="auto">
              <a:xfrm>
                <a:off x="2651125" y="3305175"/>
                <a:ext cx="20955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2948" name="Freeform 1950"/>
            <p:cNvSpPr>
              <a:spLocks/>
            </p:cNvSpPr>
            <p:nvPr/>
          </p:nvSpPr>
          <p:spPr bwMode="auto">
            <a:xfrm>
              <a:off x="2192876" y="2952492"/>
              <a:ext cx="127000" cy="128444"/>
            </a:xfrm>
            <a:custGeom>
              <a:avLst/>
              <a:gdLst>
                <a:gd name="T0" fmla="*/ 163 w 528"/>
                <a:gd name="T1" fmla="*/ 26 h 530"/>
                <a:gd name="T2" fmla="*/ 199 w 528"/>
                <a:gd name="T3" fmla="*/ 10 h 530"/>
                <a:gd name="T4" fmla="*/ 237 w 528"/>
                <a:gd name="T5" fmla="*/ 2 h 530"/>
                <a:gd name="T6" fmla="*/ 272 w 528"/>
                <a:gd name="T7" fmla="*/ 0 h 530"/>
                <a:gd name="T8" fmla="*/ 309 w 528"/>
                <a:gd name="T9" fmla="*/ 4 h 530"/>
                <a:gd name="T10" fmla="*/ 344 w 528"/>
                <a:gd name="T11" fmla="*/ 13 h 530"/>
                <a:gd name="T12" fmla="*/ 378 w 528"/>
                <a:gd name="T13" fmla="*/ 29 h 530"/>
                <a:gd name="T14" fmla="*/ 408 w 528"/>
                <a:gd name="T15" fmla="*/ 47 h 530"/>
                <a:gd name="T16" fmla="*/ 437 w 528"/>
                <a:gd name="T17" fmla="*/ 71 h 530"/>
                <a:gd name="T18" fmla="*/ 463 w 528"/>
                <a:gd name="T19" fmla="*/ 98 h 530"/>
                <a:gd name="T20" fmla="*/ 485 w 528"/>
                <a:gd name="T21" fmla="*/ 128 h 530"/>
                <a:gd name="T22" fmla="*/ 503 w 528"/>
                <a:gd name="T23" fmla="*/ 160 h 530"/>
                <a:gd name="T24" fmla="*/ 517 w 528"/>
                <a:gd name="T25" fmla="*/ 194 h 530"/>
                <a:gd name="T26" fmla="*/ 525 w 528"/>
                <a:gd name="T27" fmla="*/ 230 h 530"/>
                <a:gd name="T28" fmla="*/ 528 w 528"/>
                <a:gd name="T29" fmla="*/ 267 h 530"/>
                <a:gd name="T30" fmla="*/ 525 w 528"/>
                <a:gd name="T31" fmla="*/ 305 h 530"/>
                <a:gd name="T32" fmla="*/ 516 w 528"/>
                <a:gd name="T33" fmla="*/ 341 h 530"/>
                <a:gd name="T34" fmla="*/ 511 w 528"/>
                <a:gd name="T35" fmla="*/ 360 h 530"/>
                <a:gd name="T36" fmla="*/ 498 w 528"/>
                <a:gd name="T37" fmla="*/ 392 h 530"/>
                <a:gd name="T38" fmla="*/ 481 w 528"/>
                <a:gd name="T39" fmla="*/ 421 h 530"/>
                <a:gd name="T40" fmla="*/ 459 w 528"/>
                <a:gd name="T41" fmla="*/ 448 h 530"/>
                <a:gd name="T42" fmla="*/ 435 w 528"/>
                <a:gd name="T43" fmla="*/ 470 h 530"/>
                <a:gd name="T44" fmla="*/ 407 w 528"/>
                <a:gd name="T45" fmla="*/ 490 h 530"/>
                <a:gd name="T46" fmla="*/ 378 w 528"/>
                <a:gd name="T47" fmla="*/ 506 h 530"/>
                <a:gd name="T48" fmla="*/ 345 w 528"/>
                <a:gd name="T49" fmla="*/ 517 h 530"/>
                <a:gd name="T50" fmla="*/ 312 w 528"/>
                <a:gd name="T51" fmla="*/ 525 h 530"/>
                <a:gd name="T52" fmla="*/ 277 w 528"/>
                <a:gd name="T53" fmla="*/ 529 h 530"/>
                <a:gd name="T54" fmla="*/ 244 w 528"/>
                <a:gd name="T55" fmla="*/ 529 h 530"/>
                <a:gd name="T56" fmla="*/ 210 w 528"/>
                <a:gd name="T57" fmla="*/ 526 h 530"/>
                <a:gd name="T58" fmla="*/ 176 w 528"/>
                <a:gd name="T59" fmla="*/ 517 h 530"/>
                <a:gd name="T60" fmla="*/ 146 w 528"/>
                <a:gd name="T61" fmla="*/ 505 h 530"/>
                <a:gd name="T62" fmla="*/ 116 w 528"/>
                <a:gd name="T63" fmla="*/ 488 h 530"/>
                <a:gd name="T64" fmla="*/ 88 w 528"/>
                <a:gd name="T65" fmla="*/ 466 h 530"/>
                <a:gd name="T66" fmla="*/ 76 w 528"/>
                <a:gd name="T67" fmla="*/ 454 h 530"/>
                <a:gd name="T68" fmla="*/ 54 w 528"/>
                <a:gd name="T69" fmla="*/ 429 h 530"/>
                <a:gd name="T70" fmla="*/ 35 w 528"/>
                <a:gd name="T71" fmla="*/ 403 h 530"/>
                <a:gd name="T72" fmla="*/ 21 w 528"/>
                <a:gd name="T73" fmla="*/ 374 h 530"/>
                <a:gd name="T74" fmla="*/ 11 w 528"/>
                <a:gd name="T75" fmla="*/ 343 h 530"/>
                <a:gd name="T76" fmla="*/ 4 w 528"/>
                <a:gd name="T77" fmla="*/ 312 h 530"/>
                <a:gd name="T78" fmla="*/ 0 w 528"/>
                <a:gd name="T79" fmla="*/ 280 h 530"/>
                <a:gd name="T80" fmla="*/ 2 w 528"/>
                <a:gd name="T81" fmla="*/ 248 h 530"/>
                <a:gd name="T82" fmla="*/ 7 w 528"/>
                <a:gd name="T83" fmla="*/ 217 h 530"/>
                <a:gd name="T84" fmla="*/ 15 w 528"/>
                <a:gd name="T85" fmla="*/ 186 h 530"/>
                <a:gd name="T86" fmla="*/ 26 w 528"/>
                <a:gd name="T87" fmla="*/ 155 h 530"/>
                <a:gd name="T88" fmla="*/ 41 w 528"/>
                <a:gd name="T89" fmla="*/ 128 h 530"/>
                <a:gd name="T90" fmla="*/ 59 w 528"/>
                <a:gd name="T91" fmla="*/ 101 h 530"/>
                <a:gd name="T92" fmla="*/ 80 w 528"/>
                <a:gd name="T93" fmla="*/ 78 h 530"/>
                <a:gd name="T94" fmla="*/ 105 w 528"/>
                <a:gd name="T95" fmla="*/ 57 h 530"/>
                <a:gd name="T96" fmla="*/ 132 w 528"/>
                <a:gd name="T97" fmla="*/ 40 h 530"/>
                <a:gd name="T98" fmla="*/ 163 w 528"/>
                <a:gd name="T99" fmla="*/ 2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8" h="530">
                  <a:moveTo>
                    <a:pt x="163" y="26"/>
                  </a:moveTo>
                  <a:lnTo>
                    <a:pt x="163" y="26"/>
                  </a:lnTo>
                  <a:lnTo>
                    <a:pt x="180" y="18"/>
                  </a:lnTo>
                  <a:lnTo>
                    <a:pt x="199" y="10"/>
                  </a:lnTo>
                  <a:lnTo>
                    <a:pt x="217" y="5"/>
                  </a:lnTo>
                  <a:lnTo>
                    <a:pt x="237" y="2"/>
                  </a:lnTo>
                  <a:lnTo>
                    <a:pt x="255" y="0"/>
                  </a:lnTo>
                  <a:lnTo>
                    <a:pt x="272" y="0"/>
                  </a:lnTo>
                  <a:lnTo>
                    <a:pt x="291" y="1"/>
                  </a:lnTo>
                  <a:lnTo>
                    <a:pt x="309" y="4"/>
                  </a:lnTo>
                  <a:lnTo>
                    <a:pt x="326" y="8"/>
                  </a:lnTo>
                  <a:lnTo>
                    <a:pt x="344" y="13"/>
                  </a:lnTo>
                  <a:lnTo>
                    <a:pt x="361" y="21"/>
                  </a:lnTo>
                  <a:lnTo>
                    <a:pt x="378" y="29"/>
                  </a:lnTo>
                  <a:lnTo>
                    <a:pt x="393" y="38"/>
                  </a:lnTo>
                  <a:lnTo>
                    <a:pt x="408" y="47"/>
                  </a:lnTo>
                  <a:lnTo>
                    <a:pt x="424" y="58"/>
                  </a:lnTo>
                  <a:lnTo>
                    <a:pt x="437" y="71"/>
                  </a:lnTo>
                  <a:lnTo>
                    <a:pt x="450" y="84"/>
                  </a:lnTo>
                  <a:lnTo>
                    <a:pt x="463" y="98"/>
                  </a:lnTo>
                  <a:lnTo>
                    <a:pt x="475" y="113"/>
                  </a:lnTo>
                  <a:lnTo>
                    <a:pt x="485" y="128"/>
                  </a:lnTo>
                  <a:lnTo>
                    <a:pt x="494" y="143"/>
                  </a:lnTo>
                  <a:lnTo>
                    <a:pt x="503" y="160"/>
                  </a:lnTo>
                  <a:lnTo>
                    <a:pt x="510" y="177"/>
                  </a:lnTo>
                  <a:lnTo>
                    <a:pt x="517" y="194"/>
                  </a:lnTo>
                  <a:lnTo>
                    <a:pt x="522" y="212"/>
                  </a:lnTo>
                  <a:lnTo>
                    <a:pt x="525" y="230"/>
                  </a:lnTo>
                  <a:lnTo>
                    <a:pt x="527" y="248"/>
                  </a:lnTo>
                  <a:lnTo>
                    <a:pt x="528" y="267"/>
                  </a:lnTo>
                  <a:lnTo>
                    <a:pt x="527" y="286"/>
                  </a:lnTo>
                  <a:lnTo>
                    <a:pt x="525" y="305"/>
                  </a:lnTo>
                  <a:lnTo>
                    <a:pt x="521" y="323"/>
                  </a:lnTo>
                  <a:lnTo>
                    <a:pt x="516" y="341"/>
                  </a:lnTo>
                  <a:lnTo>
                    <a:pt x="516" y="341"/>
                  </a:lnTo>
                  <a:lnTo>
                    <a:pt x="511" y="360"/>
                  </a:lnTo>
                  <a:lnTo>
                    <a:pt x="505" y="376"/>
                  </a:lnTo>
                  <a:lnTo>
                    <a:pt x="498" y="392"/>
                  </a:lnTo>
                  <a:lnTo>
                    <a:pt x="490" y="407"/>
                  </a:lnTo>
                  <a:lnTo>
                    <a:pt x="481" y="421"/>
                  </a:lnTo>
                  <a:lnTo>
                    <a:pt x="471" y="435"/>
                  </a:lnTo>
                  <a:lnTo>
                    <a:pt x="459" y="448"/>
                  </a:lnTo>
                  <a:lnTo>
                    <a:pt x="448" y="460"/>
                  </a:lnTo>
                  <a:lnTo>
                    <a:pt x="435" y="470"/>
                  </a:lnTo>
                  <a:lnTo>
                    <a:pt x="421" y="480"/>
                  </a:lnTo>
                  <a:lnTo>
                    <a:pt x="407" y="490"/>
                  </a:lnTo>
                  <a:lnTo>
                    <a:pt x="393" y="498"/>
                  </a:lnTo>
                  <a:lnTo>
                    <a:pt x="378" y="506"/>
                  </a:lnTo>
                  <a:lnTo>
                    <a:pt x="361" y="512"/>
                  </a:lnTo>
                  <a:lnTo>
                    <a:pt x="345" y="517"/>
                  </a:lnTo>
                  <a:lnTo>
                    <a:pt x="329" y="522"/>
                  </a:lnTo>
                  <a:lnTo>
                    <a:pt x="312" y="525"/>
                  </a:lnTo>
                  <a:lnTo>
                    <a:pt x="295" y="528"/>
                  </a:lnTo>
                  <a:lnTo>
                    <a:pt x="277" y="529"/>
                  </a:lnTo>
                  <a:lnTo>
                    <a:pt x="261" y="530"/>
                  </a:lnTo>
                  <a:lnTo>
                    <a:pt x="244" y="529"/>
                  </a:lnTo>
                  <a:lnTo>
                    <a:pt x="226" y="528"/>
                  </a:lnTo>
                  <a:lnTo>
                    <a:pt x="210" y="526"/>
                  </a:lnTo>
                  <a:lnTo>
                    <a:pt x="193" y="522"/>
                  </a:lnTo>
                  <a:lnTo>
                    <a:pt x="176" y="517"/>
                  </a:lnTo>
                  <a:lnTo>
                    <a:pt x="161" y="512"/>
                  </a:lnTo>
                  <a:lnTo>
                    <a:pt x="146" y="505"/>
                  </a:lnTo>
                  <a:lnTo>
                    <a:pt x="130" y="497"/>
                  </a:lnTo>
                  <a:lnTo>
                    <a:pt x="116" y="488"/>
                  </a:lnTo>
                  <a:lnTo>
                    <a:pt x="102" y="477"/>
                  </a:lnTo>
                  <a:lnTo>
                    <a:pt x="88" y="466"/>
                  </a:lnTo>
                  <a:lnTo>
                    <a:pt x="76" y="454"/>
                  </a:lnTo>
                  <a:lnTo>
                    <a:pt x="76" y="454"/>
                  </a:lnTo>
                  <a:lnTo>
                    <a:pt x="65" y="442"/>
                  </a:lnTo>
                  <a:lnTo>
                    <a:pt x="54" y="429"/>
                  </a:lnTo>
                  <a:lnTo>
                    <a:pt x="44" y="416"/>
                  </a:lnTo>
                  <a:lnTo>
                    <a:pt x="35" y="403"/>
                  </a:lnTo>
                  <a:lnTo>
                    <a:pt x="27" y="388"/>
                  </a:lnTo>
                  <a:lnTo>
                    <a:pt x="21" y="374"/>
                  </a:lnTo>
                  <a:lnTo>
                    <a:pt x="15" y="359"/>
                  </a:lnTo>
                  <a:lnTo>
                    <a:pt x="11" y="343"/>
                  </a:lnTo>
                  <a:lnTo>
                    <a:pt x="7" y="328"/>
                  </a:lnTo>
                  <a:lnTo>
                    <a:pt x="4" y="312"/>
                  </a:lnTo>
                  <a:lnTo>
                    <a:pt x="2" y="296"/>
                  </a:lnTo>
                  <a:lnTo>
                    <a:pt x="0" y="280"/>
                  </a:lnTo>
                  <a:lnTo>
                    <a:pt x="0" y="265"/>
                  </a:lnTo>
                  <a:lnTo>
                    <a:pt x="2" y="248"/>
                  </a:lnTo>
                  <a:lnTo>
                    <a:pt x="4" y="232"/>
                  </a:lnTo>
                  <a:lnTo>
                    <a:pt x="7" y="217"/>
                  </a:lnTo>
                  <a:lnTo>
                    <a:pt x="10" y="201"/>
                  </a:lnTo>
                  <a:lnTo>
                    <a:pt x="15" y="186"/>
                  </a:lnTo>
                  <a:lnTo>
                    <a:pt x="20" y="171"/>
                  </a:lnTo>
                  <a:lnTo>
                    <a:pt x="26" y="155"/>
                  </a:lnTo>
                  <a:lnTo>
                    <a:pt x="33" y="141"/>
                  </a:lnTo>
                  <a:lnTo>
                    <a:pt x="41" y="128"/>
                  </a:lnTo>
                  <a:lnTo>
                    <a:pt x="50" y="115"/>
                  </a:lnTo>
                  <a:lnTo>
                    <a:pt x="59" y="101"/>
                  </a:lnTo>
                  <a:lnTo>
                    <a:pt x="69" y="89"/>
                  </a:lnTo>
                  <a:lnTo>
                    <a:pt x="80" y="78"/>
                  </a:lnTo>
                  <a:lnTo>
                    <a:pt x="92" y="67"/>
                  </a:lnTo>
                  <a:lnTo>
                    <a:pt x="105" y="57"/>
                  </a:lnTo>
                  <a:lnTo>
                    <a:pt x="118" y="48"/>
                  </a:lnTo>
                  <a:lnTo>
                    <a:pt x="132" y="40"/>
                  </a:lnTo>
                  <a:lnTo>
                    <a:pt x="147" y="32"/>
                  </a:lnTo>
                  <a:lnTo>
                    <a:pt x="163" y="26"/>
                  </a:lnTo>
                  <a:lnTo>
                    <a:pt x="163"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343" name="Group 2342"/>
            <p:cNvGrpSpPr/>
            <p:nvPr/>
          </p:nvGrpSpPr>
          <p:grpSpPr>
            <a:xfrm>
              <a:off x="2086720" y="3138766"/>
              <a:ext cx="292327" cy="503566"/>
              <a:chOff x="2093028" y="3187815"/>
              <a:chExt cx="321560" cy="553923"/>
            </a:xfrm>
            <a:solidFill>
              <a:schemeClr val="accent5">
                <a:lumMod val="75000"/>
              </a:schemeClr>
            </a:solidFill>
          </p:grpSpPr>
          <p:sp>
            <p:nvSpPr>
              <p:cNvPr id="3003" name="Freeform 2005"/>
              <p:cNvSpPr>
                <a:spLocks/>
              </p:cNvSpPr>
              <p:nvPr/>
            </p:nvSpPr>
            <p:spPr bwMode="auto">
              <a:xfrm>
                <a:off x="2132013" y="3484563"/>
                <a:ext cx="282575" cy="47625"/>
              </a:xfrm>
              <a:custGeom>
                <a:avLst/>
                <a:gdLst>
                  <a:gd name="T0" fmla="*/ 0 w 1071"/>
                  <a:gd name="T1" fmla="*/ 89 h 180"/>
                  <a:gd name="T2" fmla="*/ 2 w 1071"/>
                  <a:gd name="T3" fmla="*/ 71 h 180"/>
                  <a:gd name="T4" fmla="*/ 6 w 1071"/>
                  <a:gd name="T5" fmla="*/ 55 h 180"/>
                  <a:gd name="T6" fmla="*/ 12 w 1071"/>
                  <a:gd name="T7" fmla="*/ 39 h 180"/>
                  <a:gd name="T8" fmla="*/ 22 w 1071"/>
                  <a:gd name="T9" fmla="*/ 26 h 180"/>
                  <a:gd name="T10" fmla="*/ 33 w 1071"/>
                  <a:gd name="T11" fmla="*/ 15 h 180"/>
                  <a:gd name="T12" fmla="*/ 45 w 1071"/>
                  <a:gd name="T13" fmla="*/ 7 h 180"/>
                  <a:gd name="T14" fmla="*/ 58 w 1071"/>
                  <a:gd name="T15" fmla="*/ 2 h 180"/>
                  <a:gd name="T16" fmla="*/ 73 w 1071"/>
                  <a:gd name="T17" fmla="*/ 0 h 180"/>
                  <a:gd name="T18" fmla="*/ 998 w 1071"/>
                  <a:gd name="T19" fmla="*/ 0 h 180"/>
                  <a:gd name="T20" fmla="*/ 1014 w 1071"/>
                  <a:gd name="T21" fmla="*/ 2 h 180"/>
                  <a:gd name="T22" fmla="*/ 1027 w 1071"/>
                  <a:gd name="T23" fmla="*/ 7 h 180"/>
                  <a:gd name="T24" fmla="*/ 1039 w 1071"/>
                  <a:gd name="T25" fmla="*/ 15 h 180"/>
                  <a:gd name="T26" fmla="*/ 1050 w 1071"/>
                  <a:gd name="T27" fmla="*/ 26 h 180"/>
                  <a:gd name="T28" fmla="*/ 1059 w 1071"/>
                  <a:gd name="T29" fmla="*/ 39 h 180"/>
                  <a:gd name="T30" fmla="*/ 1066 w 1071"/>
                  <a:gd name="T31" fmla="*/ 55 h 180"/>
                  <a:gd name="T32" fmla="*/ 1070 w 1071"/>
                  <a:gd name="T33" fmla="*/ 71 h 180"/>
                  <a:gd name="T34" fmla="*/ 1071 w 1071"/>
                  <a:gd name="T35" fmla="*/ 89 h 180"/>
                  <a:gd name="T36" fmla="*/ 1071 w 1071"/>
                  <a:gd name="T37" fmla="*/ 89 h 180"/>
                  <a:gd name="T38" fmla="*/ 1070 w 1071"/>
                  <a:gd name="T39" fmla="*/ 108 h 180"/>
                  <a:gd name="T40" fmla="*/ 1066 w 1071"/>
                  <a:gd name="T41" fmla="*/ 125 h 180"/>
                  <a:gd name="T42" fmla="*/ 1059 w 1071"/>
                  <a:gd name="T43" fmla="*/ 141 h 180"/>
                  <a:gd name="T44" fmla="*/ 1050 w 1071"/>
                  <a:gd name="T45" fmla="*/ 154 h 180"/>
                  <a:gd name="T46" fmla="*/ 1039 w 1071"/>
                  <a:gd name="T47" fmla="*/ 165 h 180"/>
                  <a:gd name="T48" fmla="*/ 1027 w 1071"/>
                  <a:gd name="T49" fmla="*/ 173 h 180"/>
                  <a:gd name="T50" fmla="*/ 1014 w 1071"/>
                  <a:gd name="T51" fmla="*/ 178 h 180"/>
                  <a:gd name="T52" fmla="*/ 998 w 1071"/>
                  <a:gd name="T53" fmla="*/ 180 h 180"/>
                  <a:gd name="T54" fmla="*/ 73 w 1071"/>
                  <a:gd name="T55" fmla="*/ 180 h 180"/>
                  <a:gd name="T56" fmla="*/ 58 w 1071"/>
                  <a:gd name="T57" fmla="*/ 178 h 180"/>
                  <a:gd name="T58" fmla="*/ 45 w 1071"/>
                  <a:gd name="T59" fmla="*/ 173 h 180"/>
                  <a:gd name="T60" fmla="*/ 33 w 1071"/>
                  <a:gd name="T61" fmla="*/ 165 h 180"/>
                  <a:gd name="T62" fmla="*/ 22 w 1071"/>
                  <a:gd name="T63" fmla="*/ 154 h 180"/>
                  <a:gd name="T64" fmla="*/ 12 w 1071"/>
                  <a:gd name="T65" fmla="*/ 141 h 180"/>
                  <a:gd name="T66" fmla="*/ 6 w 1071"/>
                  <a:gd name="T67" fmla="*/ 125 h 180"/>
                  <a:gd name="T68" fmla="*/ 2 w 1071"/>
                  <a:gd name="T69" fmla="*/ 108 h 180"/>
                  <a:gd name="T70" fmla="*/ 0 w 1071"/>
                  <a:gd name="T71" fmla="*/ 8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71" h="180">
                    <a:moveTo>
                      <a:pt x="0" y="89"/>
                    </a:moveTo>
                    <a:lnTo>
                      <a:pt x="0" y="89"/>
                    </a:lnTo>
                    <a:lnTo>
                      <a:pt x="1" y="80"/>
                    </a:lnTo>
                    <a:lnTo>
                      <a:pt x="2" y="71"/>
                    </a:lnTo>
                    <a:lnTo>
                      <a:pt x="4" y="63"/>
                    </a:lnTo>
                    <a:lnTo>
                      <a:pt x="6" y="55"/>
                    </a:lnTo>
                    <a:lnTo>
                      <a:pt x="9" y="47"/>
                    </a:lnTo>
                    <a:lnTo>
                      <a:pt x="12" y="39"/>
                    </a:lnTo>
                    <a:lnTo>
                      <a:pt x="18" y="32"/>
                    </a:lnTo>
                    <a:lnTo>
                      <a:pt x="22" y="26"/>
                    </a:lnTo>
                    <a:lnTo>
                      <a:pt x="27" y="20"/>
                    </a:lnTo>
                    <a:lnTo>
                      <a:pt x="33" y="15"/>
                    </a:lnTo>
                    <a:lnTo>
                      <a:pt x="38" y="10"/>
                    </a:lnTo>
                    <a:lnTo>
                      <a:pt x="45" y="7"/>
                    </a:lnTo>
                    <a:lnTo>
                      <a:pt x="51" y="4"/>
                    </a:lnTo>
                    <a:lnTo>
                      <a:pt x="58" y="2"/>
                    </a:lnTo>
                    <a:lnTo>
                      <a:pt x="66" y="0"/>
                    </a:lnTo>
                    <a:lnTo>
                      <a:pt x="73" y="0"/>
                    </a:lnTo>
                    <a:lnTo>
                      <a:pt x="998" y="0"/>
                    </a:lnTo>
                    <a:lnTo>
                      <a:pt x="998" y="0"/>
                    </a:lnTo>
                    <a:lnTo>
                      <a:pt x="1007" y="0"/>
                    </a:lnTo>
                    <a:lnTo>
                      <a:pt x="1014" y="2"/>
                    </a:lnTo>
                    <a:lnTo>
                      <a:pt x="1020" y="4"/>
                    </a:lnTo>
                    <a:lnTo>
                      <a:pt x="1027" y="7"/>
                    </a:lnTo>
                    <a:lnTo>
                      <a:pt x="1033" y="10"/>
                    </a:lnTo>
                    <a:lnTo>
                      <a:pt x="1039" y="15"/>
                    </a:lnTo>
                    <a:lnTo>
                      <a:pt x="1044" y="20"/>
                    </a:lnTo>
                    <a:lnTo>
                      <a:pt x="1050" y="26"/>
                    </a:lnTo>
                    <a:lnTo>
                      <a:pt x="1055" y="32"/>
                    </a:lnTo>
                    <a:lnTo>
                      <a:pt x="1059" y="39"/>
                    </a:lnTo>
                    <a:lnTo>
                      <a:pt x="1063" y="47"/>
                    </a:lnTo>
                    <a:lnTo>
                      <a:pt x="1066" y="55"/>
                    </a:lnTo>
                    <a:lnTo>
                      <a:pt x="1068" y="63"/>
                    </a:lnTo>
                    <a:lnTo>
                      <a:pt x="1070" y="71"/>
                    </a:lnTo>
                    <a:lnTo>
                      <a:pt x="1071" y="80"/>
                    </a:lnTo>
                    <a:lnTo>
                      <a:pt x="1071" y="89"/>
                    </a:lnTo>
                    <a:lnTo>
                      <a:pt x="1071" y="89"/>
                    </a:lnTo>
                    <a:lnTo>
                      <a:pt x="1071" y="89"/>
                    </a:lnTo>
                    <a:lnTo>
                      <a:pt x="1071" y="99"/>
                    </a:lnTo>
                    <a:lnTo>
                      <a:pt x="1070" y="108"/>
                    </a:lnTo>
                    <a:lnTo>
                      <a:pt x="1068" y="117"/>
                    </a:lnTo>
                    <a:lnTo>
                      <a:pt x="1066" y="125"/>
                    </a:lnTo>
                    <a:lnTo>
                      <a:pt x="1063" y="132"/>
                    </a:lnTo>
                    <a:lnTo>
                      <a:pt x="1059" y="141"/>
                    </a:lnTo>
                    <a:lnTo>
                      <a:pt x="1055" y="148"/>
                    </a:lnTo>
                    <a:lnTo>
                      <a:pt x="1050" y="154"/>
                    </a:lnTo>
                    <a:lnTo>
                      <a:pt x="1044" y="160"/>
                    </a:lnTo>
                    <a:lnTo>
                      <a:pt x="1039" y="165"/>
                    </a:lnTo>
                    <a:lnTo>
                      <a:pt x="1033" y="169"/>
                    </a:lnTo>
                    <a:lnTo>
                      <a:pt x="1027" y="173"/>
                    </a:lnTo>
                    <a:lnTo>
                      <a:pt x="1020" y="176"/>
                    </a:lnTo>
                    <a:lnTo>
                      <a:pt x="1014" y="178"/>
                    </a:lnTo>
                    <a:lnTo>
                      <a:pt x="1007" y="179"/>
                    </a:lnTo>
                    <a:lnTo>
                      <a:pt x="998" y="180"/>
                    </a:lnTo>
                    <a:lnTo>
                      <a:pt x="73" y="180"/>
                    </a:lnTo>
                    <a:lnTo>
                      <a:pt x="73" y="180"/>
                    </a:lnTo>
                    <a:lnTo>
                      <a:pt x="66" y="179"/>
                    </a:lnTo>
                    <a:lnTo>
                      <a:pt x="58" y="178"/>
                    </a:lnTo>
                    <a:lnTo>
                      <a:pt x="51" y="176"/>
                    </a:lnTo>
                    <a:lnTo>
                      <a:pt x="45" y="173"/>
                    </a:lnTo>
                    <a:lnTo>
                      <a:pt x="38" y="169"/>
                    </a:lnTo>
                    <a:lnTo>
                      <a:pt x="33" y="165"/>
                    </a:lnTo>
                    <a:lnTo>
                      <a:pt x="27" y="160"/>
                    </a:lnTo>
                    <a:lnTo>
                      <a:pt x="22" y="154"/>
                    </a:lnTo>
                    <a:lnTo>
                      <a:pt x="18" y="148"/>
                    </a:lnTo>
                    <a:lnTo>
                      <a:pt x="12" y="141"/>
                    </a:lnTo>
                    <a:lnTo>
                      <a:pt x="9" y="132"/>
                    </a:lnTo>
                    <a:lnTo>
                      <a:pt x="6" y="125"/>
                    </a:lnTo>
                    <a:lnTo>
                      <a:pt x="4" y="117"/>
                    </a:lnTo>
                    <a:lnTo>
                      <a:pt x="2" y="108"/>
                    </a:lnTo>
                    <a:lnTo>
                      <a:pt x="1" y="99"/>
                    </a:lnTo>
                    <a:lnTo>
                      <a:pt x="0" y="89"/>
                    </a:lnTo>
                    <a:lnTo>
                      <a:pt x="0"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04" name="Freeform 2006"/>
              <p:cNvSpPr>
                <a:spLocks/>
              </p:cNvSpPr>
              <p:nvPr/>
            </p:nvSpPr>
            <p:spPr bwMode="auto">
              <a:xfrm>
                <a:off x="2349500" y="3549650"/>
                <a:ext cx="58738" cy="192088"/>
              </a:xfrm>
              <a:custGeom>
                <a:avLst/>
                <a:gdLst>
                  <a:gd name="T0" fmla="*/ 0 w 225"/>
                  <a:gd name="T1" fmla="*/ 0 h 723"/>
                  <a:gd name="T2" fmla="*/ 103 w 225"/>
                  <a:gd name="T3" fmla="*/ 0 h 723"/>
                  <a:gd name="T4" fmla="*/ 225 w 225"/>
                  <a:gd name="T5" fmla="*/ 723 h 723"/>
                  <a:gd name="T6" fmla="*/ 122 w 225"/>
                  <a:gd name="T7" fmla="*/ 723 h 723"/>
                  <a:gd name="T8" fmla="*/ 0 w 225"/>
                  <a:gd name="T9" fmla="*/ 0 h 723"/>
                </a:gdLst>
                <a:ahLst/>
                <a:cxnLst>
                  <a:cxn ang="0">
                    <a:pos x="T0" y="T1"/>
                  </a:cxn>
                  <a:cxn ang="0">
                    <a:pos x="T2" y="T3"/>
                  </a:cxn>
                  <a:cxn ang="0">
                    <a:pos x="T4" y="T5"/>
                  </a:cxn>
                  <a:cxn ang="0">
                    <a:pos x="T6" y="T7"/>
                  </a:cxn>
                  <a:cxn ang="0">
                    <a:pos x="T8" y="T9"/>
                  </a:cxn>
                </a:cxnLst>
                <a:rect l="0" t="0" r="r" b="b"/>
                <a:pathLst>
                  <a:path w="225" h="723">
                    <a:moveTo>
                      <a:pt x="0" y="0"/>
                    </a:moveTo>
                    <a:lnTo>
                      <a:pt x="103" y="0"/>
                    </a:lnTo>
                    <a:lnTo>
                      <a:pt x="225" y="723"/>
                    </a:lnTo>
                    <a:lnTo>
                      <a:pt x="122" y="72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005" name="Freeform 2007"/>
              <p:cNvSpPr>
                <a:spLocks/>
              </p:cNvSpPr>
              <p:nvPr/>
            </p:nvSpPr>
            <p:spPr bwMode="auto">
              <a:xfrm>
                <a:off x="2125663" y="3549650"/>
                <a:ext cx="60325" cy="192088"/>
              </a:xfrm>
              <a:custGeom>
                <a:avLst/>
                <a:gdLst>
                  <a:gd name="T0" fmla="*/ 225 w 225"/>
                  <a:gd name="T1" fmla="*/ 0 h 723"/>
                  <a:gd name="T2" fmla="*/ 122 w 225"/>
                  <a:gd name="T3" fmla="*/ 0 h 723"/>
                  <a:gd name="T4" fmla="*/ 0 w 225"/>
                  <a:gd name="T5" fmla="*/ 723 h 723"/>
                  <a:gd name="T6" fmla="*/ 102 w 225"/>
                  <a:gd name="T7" fmla="*/ 723 h 723"/>
                  <a:gd name="T8" fmla="*/ 225 w 225"/>
                  <a:gd name="T9" fmla="*/ 0 h 723"/>
                </a:gdLst>
                <a:ahLst/>
                <a:cxnLst>
                  <a:cxn ang="0">
                    <a:pos x="T0" y="T1"/>
                  </a:cxn>
                  <a:cxn ang="0">
                    <a:pos x="T2" y="T3"/>
                  </a:cxn>
                  <a:cxn ang="0">
                    <a:pos x="T4" y="T5"/>
                  </a:cxn>
                  <a:cxn ang="0">
                    <a:pos x="T6" y="T7"/>
                  </a:cxn>
                  <a:cxn ang="0">
                    <a:pos x="T8" y="T9"/>
                  </a:cxn>
                </a:cxnLst>
                <a:rect l="0" t="0" r="r" b="b"/>
                <a:pathLst>
                  <a:path w="225" h="723">
                    <a:moveTo>
                      <a:pt x="225" y="0"/>
                    </a:moveTo>
                    <a:lnTo>
                      <a:pt x="122" y="0"/>
                    </a:lnTo>
                    <a:lnTo>
                      <a:pt x="0" y="723"/>
                    </a:lnTo>
                    <a:lnTo>
                      <a:pt x="102" y="723"/>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42" name="Freeform 2005"/>
              <p:cNvSpPr>
                <a:spLocks/>
              </p:cNvSpPr>
              <p:nvPr/>
            </p:nvSpPr>
            <p:spPr bwMode="auto">
              <a:xfrm rot="4500000">
                <a:off x="1975553" y="3305290"/>
                <a:ext cx="282575" cy="47625"/>
              </a:xfrm>
              <a:custGeom>
                <a:avLst/>
                <a:gdLst>
                  <a:gd name="T0" fmla="*/ 0 w 1071"/>
                  <a:gd name="T1" fmla="*/ 89 h 180"/>
                  <a:gd name="T2" fmla="*/ 2 w 1071"/>
                  <a:gd name="T3" fmla="*/ 71 h 180"/>
                  <a:gd name="T4" fmla="*/ 6 w 1071"/>
                  <a:gd name="T5" fmla="*/ 55 h 180"/>
                  <a:gd name="T6" fmla="*/ 12 w 1071"/>
                  <a:gd name="T7" fmla="*/ 39 h 180"/>
                  <a:gd name="T8" fmla="*/ 22 w 1071"/>
                  <a:gd name="T9" fmla="*/ 26 h 180"/>
                  <a:gd name="T10" fmla="*/ 33 w 1071"/>
                  <a:gd name="T11" fmla="*/ 15 h 180"/>
                  <a:gd name="T12" fmla="*/ 45 w 1071"/>
                  <a:gd name="T13" fmla="*/ 7 h 180"/>
                  <a:gd name="T14" fmla="*/ 58 w 1071"/>
                  <a:gd name="T15" fmla="*/ 2 h 180"/>
                  <a:gd name="T16" fmla="*/ 73 w 1071"/>
                  <a:gd name="T17" fmla="*/ 0 h 180"/>
                  <a:gd name="T18" fmla="*/ 998 w 1071"/>
                  <a:gd name="T19" fmla="*/ 0 h 180"/>
                  <a:gd name="T20" fmla="*/ 1014 w 1071"/>
                  <a:gd name="T21" fmla="*/ 2 h 180"/>
                  <a:gd name="T22" fmla="*/ 1027 w 1071"/>
                  <a:gd name="T23" fmla="*/ 7 h 180"/>
                  <a:gd name="T24" fmla="*/ 1039 w 1071"/>
                  <a:gd name="T25" fmla="*/ 15 h 180"/>
                  <a:gd name="T26" fmla="*/ 1050 w 1071"/>
                  <a:gd name="T27" fmla="*/ 26 h 180"/>
                  <a:gd name="T28" fmla="*/ 1059 w 1071"/>
                  <a:gd name="T29" fmla="*/ 39 h 180"/>
                  <a:gd name="T30" fmla="*/ 1066 w 1071"/>
                  <a:gd name="T31" fmla="*/ 55 h 180"/>
                  <a:gd name="T32" fmla="*/ 1070 w 1071"/>
                  <a:gd name="T33" fmla="*/ 71 h 180"/>
                  <a:gd name="T34" fmla="*/ 1071 w 1071"/>
                  <a:gd name="T35" fmla="*/ 89 h 180"/>
                  <a:gd name="T36" fmla="*/ 1071 w 1071"/>
                  <a:gd name="T37" fmla="*/ 89 h 180"/>
                  <a:gd name="T38" fmla="*/ 1070 w 1071"/>
                  <a:gd name="T39" fmla="*/ 108 h 180"/>
                  <a:gd name="T40" fmla="*/ 1066 w 1071"/>
                  <a:gd name="T41" fmla="*/ 125 h 180"/>
                  <a:gd name="T42" fmla="*/ 1059 w 1071"/>
                  <a:gd name="T43" fmla="*/ 141 h 180"/>
                  <a:gd name="T44" fmla="*/ 1050 w 1071"/>
                  <a:gd name="T45" fmla="*/ 154 h 180"/>
                  <a:gd name="T46" fmla="*/ 1039 w 1071"/>
                  <a:gd name="T47" fmla="*/ 165 h 180"/>
                  <a:gd name="T48" fmla="*/ 1027 w 1071"/>
                  <a:gd name="T49" fmla="*/ 173 h 180"/>
                  <a:gd name="T50" fmla="*/ 1014 w 1071"/>
                  <a:gd name="T51" fmla="*/ 178 h 180"/>
                  <a:gd name="T52" fmla="*/ 998 w 1071"/>
                  <a:gd name="T53" fmla="*/ 180 h 180"/>
                  <a:gd name="T54" fmla="*/ 73 w 1071"/>
                  <a:gd name="T55" fmla="*/ 180 h 180"/>
                  <a:gd name="T56" fmla="*/ 58 w 1071"/>
                  <a:gd name="T57" fmla="*/ 178 h 180"/>
                  <a:gd name="T58" fmla="*/ 45 w 1071"/>
                  <a:gd name="T59" fmla="*/ 173 h 180"/>
                  <a:gd name="T60" fmla="*/ 33 w 1071"/>
                  <a:gd name="T61" fmla="*/ 165 h 180"/>
                  <a:gd name="T62" fmla="*/ 22 w 1071"/>
                  <a:gd name="T63" fmla="*/ 154 h 180"/>
                  <a:gd name="T64" fmla="*/ 12 w 1071"/>
                  <a:gd name="T65" fmla="*/ 141 h 180"/>
                  <a:gd name="T66" fmla="*/ 6 w 1071"/>
                  <a:gd name="T67" fmla="*/ 125 h 180"/>
                  <a:gd name="T68" fmla="*/ 2 w 1071"/>
                  <a:gd name="T69" fmla="*/ 108 h 180"/>
                  <a:gd name="T70" fmla="*/ 0 w 1071"/>
                  <a:gd name="T71" fmla="*/ 8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71" h="180">
                    <a:moveTo>
                      <a:pt x="0" y="89"/>
                    </a:moveTo>
                    <a:lnTo>
                      <a:pt x="0" y="89"/>
                    </a:lnTo>
                    <a:lnTo>
                      <a:pt x="1" y="80"/>
                    </a:lnTo>
                    <a:lnTo>
                      <a:pt x="2" y="71"/>
                    </a:lnTo>
                    <a:lnTo>
                      <a:pt x="4" y="63"/>
                    </a:lnTo>
                    <a:lnTo>
                      <a:pt x="6" y="55"/>
                    </a:lnTo>
                    <a:lnTo>
                      <a:pt x="9" y="47"/>
                    </a:lnTo>
                    <a:lnTo>
                      <a:pt x="12" y="39"/>
                    </a:lnTo>
                    <a:lnTo>
                      <a:pt x="18" y="32"/>
                    </a:lnTo>
                    <a:lnTo>
                      <a:pt x="22" y="26"/>
                    </a:lnTo>
                    <a:lnTo>
                      <a:pt x="27" y="20"/>
                    </a:lnTo>
                    <a:lnTo>
                      <a:pt x="33" y="15"/>
                    </a:lnTo>
                    <a:lnTo>
                      <a:pt x="38" y="10"/>
                    </a:lnTo>
                    <a:lnTo>
                      <a:pt x="45" y="7"/>
                    </a:lnTo>
                    <a:lnTo>
                      <a:pt x="51" y="4"/>
                    </a:lnTo>
                    <a:lnTo>
                      <a:pt x="58" y="2"/>
                    </a:lnTo>
                    <a:lnTo>
                      <a:pt x="66" y="0"/>
                    </a:lnTo>
                    <a:lnTo>
                      <a:pt x="73" y="0"/>
                    </a:lnTo>
                    <a:lnTo>
                      <a:pt x="998" y="0"/>
                    </a:lnTo>
                    <a:lnTo>
                      <a:pt x="998" y="0"/>
                    </a:lnTo>
                    <a:lnTo>
                      <a:pt x="1007" y="0"/>
                    </a:lnTo>
                    <a:lnTo>
                      <a:pt x="1014" y="2"/>
                    </a:lnTo>
                    <a:lnTo>
                      <a:pt x="1020" y="4"/>
                    </a:lnTo>
                    <a:lnTo>
                      <a:pt x="1027" y="7"/>
                    </a:lnTo>
                    <a:lnTo>
                      <a:pt x="1033" y="10"/>
                    </a:lnTo>
                    <a:lnTo>
                      <a:pt x="1039" y="15"/>
                    </a:lnTo>
                    <a:lnTo>
                      <a:pt x="1044" y="20"/>
                    </a:lnTo>
                    <a:lnTo>
                      <a:pt x="1050" y="26"/>
                    </a:lnTo>
                    <a:lnTo>
                      <a:pt x="1055" y="32"/>
                    </a:lnTo>
                    <a:lnTo>
                      <a:pt x="1059" y="39"/>
                    </a:lnTo>
                    <a:lnTo>
                      <a:pt x="1063" y="47"/>
                    </a:lnTo>
                    <a:lnTo>
                      <a:pt x="1066" y="55"/>
                    </a:lnTo>
                    <a:lnTo>
                      <a:pt x="1068" y="63"/>
                    </a:lnTo>
                    <a:lnTo>
                      <a:pt x="1070" y="71"/>
                    </a:lnTo>
                    <a:lnTo>
                      <a:pt x="1071" y="80"/>
                    </a:lnTo>
                    <a:lnTo>
                      <a:pt x="1071" y="89"/>
                    </a:lnTo>
                    <a:lnTo>
                      <a:pt x="1071" y="89"/>
                    </a:lnTo>
                    <a:lnTo>
                      <a:pt x="1071" y="89"/>
                    </a:lnTo>
                    <a:lnTo>
                      <a:pt x="1071" y="99"/>
                    </a:lnTo>
                    <a:lnTo>
                      <a:pt x="1070" y="108"/>
                    </a:lnTo>
                    <a:lnTo>
                      <a:pt x="1068" y="117"/>
                    </a:lnTo>
                    <a:lnTo>
                      <a:pt x="1066" y="125"/>
                    </a:lnTo>
                    <a:lnTo>
                      <a:pt x="1063" y="132"/>
                    </a:lnTo>
                    <a:lnTo>
                      <a:pt x="1059" y="141"/>
                    </a:lnTo>
                    <a:lnTo>
                      <a:pt x="1055" y="148"/>
                    </a:lnTo>
                    <a:lnTo>
                      <a:pt x="1050" y="154"/>
                    </a:lnTo>
                    <a:lnTo>
                      <a:pt x="1044" y="160"/>
                    </a:lnTo>
                    <a:lnTo>
                      <a:pt x="1039" y="165"/>
                    </a:lnTo>
                    <a:lnTo>
                      <a:pt x="1033" y="169"/>
                    </a:lnTo>
                    <a:lnTo>
                      <a:pt x="1027" y="173"/>
                    </a:lnTo>
                    <a:lnTo>
                      <a:pt x="1020" y="176"/>
                    </a:lnTo>
                    <a:lnTo>
                      <a:pt x="1014" y="178"/>
                    </a:lnTo>
                    <a:lnTo>
                      <a:pt x="1007" y="179"/>
                    </a:lnTo>
                    <a:lnTo>
                      <a:pt x="998" y="180"/>
                    </a:lnTo>
                    <a:lnTo>
                      <a:pt x="73" y="180"/>
                    </a:lnTo>
                    <a:lnTo>
                      <a:pt x="73" y="180"/>
                    </a:lnTo>
                    <a:lnTo>
                      <a:pt x="66" y="179"/>
                    </a:lnTo>
                    <a:lnTo>
                      <a:pt x="58" y="178"/>
                    </a:lnTo>
                    <a:lnTo>
                      <a:pt x="51" y="176"/>
                    </a:lnTo>
                    <a:lnTo>
                      <a:pt x="45" y="173"/>
                    </a:lnTo>
                    <a:lnTo>
                      <a:pt x="38" y="169"/>
                    </a:lnTo>
                    <a:lnTo>
                      <a:pt x="33" y="165"/>
                    </a:lnTo>
                    <a:lnTo>
                      <a:pt x="27" y="160"/>
                    </a:lnTo>
                    <a:lnTo>
                      <a:pt x="22" y="154"/>
                    </a:lnTo>
                    <a:lnTo>
                      <a:pt x="18" y="148"/>
                    </a:lnTo>
                    <a:lnTo>
                      <a:pt x="12" y="141"/>
                    </a:lnTo>
                    <a:lnTo>
                      <a:pt x="9" y="132"/>
                    </a:lnTo>
                    <a:lnTo>
                      <a:pt x="6" y="125"/>
                    </a:lnTo>
                    <a:lnTo>
                      <a:pt x="4" y="117"/>
                    </a:lnTo>
                    <a:lnTo>
                      <a:pt x="2" y="108"/>
                    </a:lnTo>
                    <a:lnTo>
                      <a:pt x="1" y="99"/>
                    </a:lnTo>
                    <a:lnTo>
                      <a:pt x="0" y="89"/>
                    </a:lnTo>
                    <a:lnTo>
                      <a:pt x="0"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cxnSp>
        <p:nvCxnSpPr>
          <p:cNvPr id="2889" name="Elbow Connector 2888"/>
          <p:cNvCxnSpPr>
            <a:stCxn id="903" idx="12"/>
            <a:endCxn id="901" idx="0"/>
          </p:cNvCxnSpPr>
          <p:nvPr/>
        </p:nvCxnSpPr>
        <p:spPr>
          <a:xfrm>
            <a:off x="1666815" y="3214588"/>
            <a:ext cx="151197" cy="198520"/>
          </a:xfrm>
          <a:prstGeom prst="bentConnector2">
            <a:avLst/>
          </a:prstGeom>
          <a:ln w="12700">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004" name="Rectangle 2023"/>
          <p:cNvSpPr>
            <a:spLocks noChangeArrowheads="1"/>
          </p:cNvSpPr>
          <p:nvPr/>
        </p:nvSpPr>
        <p:spPr bwMode="auto">
          <a:xfrm>
            <a:off x="1078950" y="2272110"/>
            <a:ext cx="34636" cy="1489075"/>
          </a:xfrm>
          <a:prstGeom prst="rect">
            <a:avLst/>
          </a:prstGeom>
          <a:solidFill>
            <a:srgbClr val="00708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1010" name="Group 1009"/>
          <p:cNvGrpSpPr/>
          <p:nvPr/>
        </p:nvGrpSpPr>
        <p:grpSpPr>
          <a:xfrm>
            <a:off x="1047107" y="2904089"/>
            <a:ext cx="245856" cy="245856"/>
            <a:chOff x="4826727" y="1390548"/>
            <a:chExt cx="502642" cy="502642"/>
          </a:xfrm>
        </p:grpSpPr>
        <p:sp>
          <p:nvSpPr>
            <p:cNvPr id="1011" name="Oval 1010"/>
            <p:cNvSpPr/>
            <p:nvPr/>
          </p:nvSpPr>
          <p:spPr bwMode="auto">
            <a:xfrm>
              <a:off x="4826727" y="1390548"/>
              <a:ext cx="502642" cy="502642"/>
            </a:xfrm>
            <a:prstGeom prst="ellipse">
              <a:avLst/>
            </a:prstGeom>
            <a:solidFill>
              <a:schemeClr val="bg2">
                <a:lumMod val="10000"/>
              </a:schemeClr>
            </a:solidFill>
            <a:ln w="28575">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12" name="Left Arrow 1011"/>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cxnSp>
        <p:nvCxnSpPr>
          <p:cNvPr id="1028" name="Elbow Connector 1027"/>
          <p:cNvCxnSpPr>
            <a:stCxn id="807" idx="0"/>
            <a:endCxn id="3008" idx="34"/>
          </p:cNvCxnSpPr>
          <p:nvPr/>
        </p:nvCxnSpPr>
        <p:spPr>
          <a:xfrm rot="16200000" flipH="1">
            <a:off x="2642678" y="3078055"/>
            <a:ext cx="143153" cy="207704"/>
          </a:xfrm>
          <a:prstGeom prst="bentConnector4">
            <a:avLst>
              <a:gd name="adj1" fmla="val 49769"/>
              <a:gd name="adj2" fmla="val 101133"/>
            </a:avLst>
          </a:prstGeom>
          <a:ln w="1270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nvGrpSpPr>
          <p:cNvPr id="3177" name="Group 3176"/>
          <p:cNvGrpSpPr/>
          <p:nvPr/>
        </p:nvGrpSpPr>
        <p:grpSpPr>
          <a:xfrm>
            <a:off x="2056412" y="2272110"/>
            <a:ext cx="245856" cy="1489075"/>
            <a:chOff x="1933949" y="2272109"/>
            <a:chExt cx="245856" cy="1489075"/>
          </a:xfrm>
        </p:grpSpPr>
        <p:sp>
          <p:nvSpPr>
            <p:cNvPr id="3021" name="Rectangle 2023"/>
            <p:cNvSpPr>
              <a:spLocks noChangeArrowheads="1"/>
            </p:cNvSpPr>
            <p:nvPr/>
          </p:nvSpPr>
          <p:spPr bwMode="auto">
            <a:xfrm>
              <a:off x="2039362" y="2272109"/>
              <a:ext cx="34636" cy="1489075"/>
            </a:xfrm>
            <a:prstGeom prst="rect">
              <a:avLst/>
            </a:prstGeom>
            <a:solidFill>
              <a:srgbClr val="00708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348" name="Group 2347"/>
            <p:cNvGrpSpPr/>
            <p:nvPr/>
          </p:nvGrpSpPr>
          <p:grpSpPr>
            <a:xfrm>
              <a:off x="1933949" y="2904089"/>
              <a:ext cx="245856" cy="245856"/>
              <a:chOff x="4826727" y="1390548"/>
              <a:chExt cx="502642" cy="502642"/>
            </a:xfrm>
          </p:grpSpPr>
          <p:sp>
            <p:nvSpPr>
              <p:cNvPr id="2349" name="Oval 2348"/>
              <p:cNvSpPr/>
              <p:nvPr/>
            </p:nvSpPr>
            <p:spPr bwMode="auto">
              <a:xfrm>
                <a:off x="4826727" y="1390548"/>
                <a:ext cx="502642" cy="502642"/>
              </a:xfrm>
              <a:prstGeom prst="ellipse">
                <a:avLst/>
              </a:prstGeom>
              <a:solidFill>
                <a:schemeClr val="bg2">
                  <a:lumMod val="10000"/>
                </a:schemeClr>
              </a:solidFill>
              <a:ln w="28575">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50" name="Left Arrow 2349"/>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grpSp>
        <p:nvGrpSpPr>
          <p:cNvPr id="3156" name="Group 3155"/>
          <p:cNvGrpSpPr/>
          <p:nvPr/>
        </p:nvGrpSpPr>
        <p:grpSpPr>
          <a:xfrm>
            <a:off x="3390163" y="3190821"/>
            <a:ext cx="180398" cy="168853"/>
            <a:chOff x="2862505" y="2959130"/>
            <a:chExt cx="180398" cy="168853"/>
          </a:xfrm>
        </p:grpSpPr>
        <p:sp>
          <p:nvSpPr>
            <p:cNvPr id="1044" name="Freeform 1952"/>
            <p:cNvSpPr>
              <a:spLocks/>
            </p:cNvSpPr>
            <p:nvPr/>
          </p:nvSpPr>
          <p:spPr bwMode="auto">
            <a:xfrm>
              <a:off x="2904358" y="2959130"/>
              <a:ext cx="101023" cy="99580"/>
            </a:xfrm>
            <a:custGeom>
              <a:avLst/>
              <a:gdLst>
                <a:gd name="T0" fmla="*/ 153 w 415"/>
                <a:gd name="T1" fmla="*/ 7 h 413"/>
                <a:gd name="T2" fmla="*/ 182 w 415"/>
                <a:gd name="T3" fmla="*/ 1 h 413"/>
                <a:gd name="T4" fmla="*/ 210 w 415"/>
                <a:gd name="T5" fmla="*/ 0 h 413"/>
                <a:gd name="T6" fmla="*/ 237 w 415"/>
                <a:gd name="T7" fmla="*/ 2 h 413"/>
                <a:gd name="T8" fmla="*/ 265 w 415"/>
                <a:gd name="T9" fmla="*/ 9 h 413"/>
                <a:gd name="T10" fmla="*/ 290 w 415"/>
                <a:gd name="T11" fmla="*/ 21 h 413"/>
                <a:gd name="T12" fmla="*/ 315 w 415"/>
                <a:gd name="T13" fmla="*/ 34 h 413"/>
                <a:gd name="T14" fmla="*/ 337 w 415"/>
                <a:gd name="T15" fmla="*/ 51 h 413"/>
                <a:gd name="T16" fmla="*/ 358 w 415"/>
                <a:gd name="T17" fmla="*/ 71 h 413"/>
                <a:gd name="T18" fmla="*/ 376 w 415"/>
                <a:gd name="T19" fmla="*/ 92 h 413"/>
                <a:gd name="T20" fmla="*/ 390 w 415"/>
                <a:gd name="T21" fmla="*/ 116 h 413"/>
                <a:gd name="T22" fmla="*/ 403 w 415"/>
                <a:gd name="T23" fmla="*/ 141 h 413"/>
                <a:gd name="T24" fmla="*/ 411 w 415"/>
                <a:gd name="T25" fmla="*/ 168 h 413"/>
                <a:gd name="T26" fmla="*/ 415 w 415"/>
                <a:gd name="T27" fmla="*/ 194 h 413"/>
                <a:gd name="T28" fmla="*/ 415 w 415"/>
                <a:gd name="T29" fmla="*/ 222 h 413"/>
                <a:gd name="T30" fmla="*/ 410 w 415"/>
                <a:gd name="T31" fmla="*/ 249 h 413"/>
                <a:gd name="T32" fmla="*/ 400 w 415"/>
                <a:gd name="T33" fmla="*/ 277 h 413"/>
                <a:gd name="T34" fmla="*/ 396 w 415"/>
                <a:gd name="T35" fmla="*/ 290 h 413"/>
                <a:gd name="T36" fmla="*/ 383 w 415"/>
                <a:gd name="T37" fmla="*/ 315 h 413"/>
                <a:gd name="T38" fmla="*/ 368 w 415"/>
                <a:gd name="T39" fmla="*/ 337 h 413"/>
                <a:gd name="T40" fmla="*/ 350 w 415"/>
                <a:gd name="T41" fmla="*/ 357 h 413"/>
                <a:gd name="T42" fmla="*/ 329 w 415"/>
                <a:gd name="T43" fmla="*/ 373 h 413"/>
                <a:gd name="T44" fmla="*/ 307 w 415"/>
                <a:gd name="T45" fmla="*/ 387 h 413"/>
                <a:gd name="T46" fmla="*/ 282 w 415"/>
                <a:gd name="T47" fmla="*/ 399 h 413"/>
                <a:gd name="T48" fmla="*/ 256 w 415"/>
                <a:gd name="T49" fmla="*/ 406 h 413"/>
                <a:gd name="T50" fmla="*/ 229 w 415"/>
                <a:gd name="T51" fmla="*/ 411 h 413"/>
                <a:gd name="T52" fmla="*/ 202 w 415"/>
                <a:gd name="T53" fmla="*/ 413 h 413"/>
                <a:gd name="T54" fmla="*/ 176 w 415"/>
                <a:gd name="T55" fmla="*/ 411 h 413"/>
                <a:gd name="T56" fmla="*/ 149 w 415"/>
                <a:gd name="T57" fmla="*/ 406 h 413"/>
                <a:gd name="T58" fmla="*/ 124 w 415"/>
                <a:gd name="T59" fmla="*/ 398 h 413"/>
                <a:gd name="T60" fmla="*/ 100 w 415"/>
                <a:gd name="T61" fmla="*/ 386 h 413"/>
                <a:gd name="T62" fmla="*/ 79 w 415"/>
                <a:gd name="T63" fmla="*/ 371 h 413"/>
                <a:gd name="T64" fmla="*/ 58 w 415"/>
                <a:gd name="T65" fmla="*/ 352 h 413"/>
                <a:gd name="T66" fmla="*/ 49 w 415"/>
                <a:gd name="T67" fmla="*/ 340 h 413"/>
                <a:gd name="T68" fmla="*/ 33 w 415"/>
                <a:gd name="T69" fmla="*/ 320 h 413"/>
                <a:gd name="T70" fmla="*/ 20 w 415"/>
                <a:gd name="T71" fmla="*/ 297 h 413"/>
                <a:gd name="T72" fmla="*/ 9 w 415"/>
                <a:gd name="T73" fmla="*/ 273 h 413"/>
                <a:gd name="T74" fmla="*/ 3 w 415"/>
                <a:gd name="T75" fmla="*/ 248 h 413"/>
                <a:gd name="T76" fmla="*/ 0 w 415"/>
                <a:gd name="T77" fmla="*/ 223 h 413"/>
                <a:gd name="T78" fmla="*/ 1 w 415"/>
                <a:gd name="T79" fmla="*/ 196 h 413"/>
                <a:gd name="T80" fmla="*/ 4 w 415"/>
                <a:gd name="T81" fmla="*/ 171 h 413"/>
                <a:gd name="T82" fmla="*/ 10 w 415"/>
                <a:gd name="T83" fmla="*/ 145 h 413"/>
                <a:gd name="T84" fmla="*/ 20 w 415"/>
                <a:gd name="T85" fmla="*/ 121 h 413"/>
                <a:gd name="T86" fmla="*/ 32 w 415"/>
                <a:gd name="T87" fmla="*/ 98 h 413"/>
                <a:gd name="T88" fmla="*/ 46 w 415"/>
                <a:gd name="T89" fmla="*/ 77 h 413"/>
                <a:gd name="T90" fmla="*/ 62 w 415"/>
                <a:gd name="T91" fmla="*/ 57 h 413"/>
                <a:gd name="T92" fmla="*/ 82 w 415"/>
                <a:gd name="T93" fmla="*/ 40 h 413"/>
                <a:gd name="T94" fmla="*/ 104 w 415"/>
                <a:gd name="T95" fmla="*/ 26 h 413"/>
                <a:gd name="T96" fmla="*/ 128 w 415"/>
                <a:gd name="T97" fmla="*/ 14 h 413"/>
                <a:gd name="T98" fmla="*/ 153 w 415"/>
                <a:gd name="T99" fmla="*/ 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5" h="413">
                  <a:moveTo>
                    <a:pt x="153" y="7"/>
                  </a:moveTo>
                  <a:lnTo>
                    <a:pt x="153" y="7"/>
                  </a:lnTo>
                  <a:lnTo>
                    <a:pt x="168" y="4"/>
                  </a:lnTo>
                  <a:lnTo>
                    <a:pt x="182" y="1"/>
                  </a:lnTo>
                  <a:lnTo>
                    <a:pt x="196" y="0"/>
                  </a:lnTo>
                  <a:lnTo>
                    <a:pt x="210" y="0"/>
                  </a:lnTo>
                  <a:lnTo>
                    <a:pt x="224" y="0"/>
                  </a:lnTo>
                  <a:lnTo>
                    <a:pt x="237" y="2"/>
                  </a:lnTo>
                  <a:lnTo>
                    <a:pt x="252" y="5"/>
                  </a:lnTo>
                  <a:lnTo>
                    <a:pt x="265" y="9"/>
                  </a:lnTo>
                  <a:lnTo>
                    <a:pt x="278" y="14"/>
                  </a:lnTo>
                  <a:lnTo>
                    <a:pt x="290" y="21"/>
                  </a:lnTo>
                  <a:lnTo>
                    <a:pt x="303" y="27"/>
                  </a:lnTo>
                  <a:lnTo>
                    <a:pt x="315" y="34"/>
                  </a:lnTo>
                  <a:lnTo>
                    <a:pt x="326" y="42"/>
                  </a:lnTo>
                  <a:lnTo>
                    <a:pt x="337" y="51"/>
                  </a:lnTo>
                  <a:lnTo>
                    <a:pt x="349" y="60"/>
                  </a:lnTo>
                  <a:lnTo>
                    <a:pt x="358" y="71"/>
                  </a:lnTo>
                  <a:lnTo>
                    <a:pt x="367" y="81"/>
                  </a:lnTo>
                  <a:lnTo>
                    <a:pt x="376" y="92"/>
                  </a:lnTo>
                  <a:lnTo>
                    <a:pt x="384" y="103"/>
                  </a:lnTo>
                  <a:lnTo>
                    <a:pt x="390" y="116"/>
                  </a:lnTo>
                  <a:lnTo>
                    <a:pt x="398" y="128"/>
                  </a:lnTo>
                  <a:lnTo>
                    <a:pt x="403" y="141"/>
                  </a:lnTo>
                  <a:lnTo>
                    <a:pt x="407" y="154"/>
                  </a:lnTo>
                  <a:lnTo>
                    <a:pt x="411" y="168"/>
                  </a:lnTo>
                  <a:lnTo>
                    <a:pt x="413" y="181"/>
                  </a:lnTo>
                  <a:lnTo>
                    <a:pt x="415" y="194"/>
                  </a:lnTo>
                  <a:lnTo>
                    <a:pt x="415" y="209"/>
                  </a:lnTo>
                  <a:lnTo>
                    <a:pt x="415" y="222"/>
                  </a:lnTo>
                  <a:lnTo>
                    <a:pt x="413" y="236"/>
                  </a:lnTo>
                  <a:lnTo>
                    <a:pt x="410" y="249"/>
                  </a:lnTo>
                  <a:lnTo>
                    <a:pt x="406" y="264"/>
                  </a:lnTo>
                  <a:lnTo>
                    <a:pt x="400" y="277"/>
                  </a:lnTo>
                  <a:lnTo>
                    <a:pt x="400" y="277"/>
                  </a:lnTo>
                  <a:lnTo>
                    <a:pt x="396" y="290"/>
                  </a:lnTo>
                  <a:lnTo>
                    <a:pt x="389" y="304"/>
                  </a:lnTo>
                  <a:lnTo>
                    <a:pt x="383" y="315"/>
                  </a:lnTo>
                  <a:lnTo>
                    <a:pt x="376" y="327"/>
                  </a:lnTo>
                  <a:lnTo>
                    <a:pt x="368" y="337"/>
                  </a:lnTo>
                  <a:lnTo>
                    <a:pt x="359" y="348"/>
                  </a:lnTo>
                  <a:lnTo>
                    <a:pt x="350" y="357"/>
                  </a:lnTo>
                  <a:lnTo>
                    <a:pt x="339" y="366"/>
                  </a:lnTo>
                  <a:lnTo>
                    <a:pt x="329" y="373"/>
                  </a:lnTo>
                  <a:lnTo>
                    <a:pt x="318" y="381"/>
                  </a:lnTo>
                  <a:lnTo>
                    <a:pt x="307" y="387"/>
                  </a:lnTo>
                  <a:lnTo>
                    <a:pt x="294" y="394"/>
                  </a:lnTo>
                  <a:lnTo>
                    <a:pt x="282" y="399"/>
                  </a:lnTo>
                  <a:lnTo>
                    <a:pt x="269" y="403"/>
                  </a:lnTo>
                  <a:lnTo>
                    <a:pt x="256" y="406"/>
                  </a:lnTo>
                  <a:lnTo>
                    <a:pt x="242" y="409"/>
                  </a:lnTo>
                  <a:lnTo>
                    <a:pt x="229" y="411"/>
                  </a:lnTo>
                  <a:lnTo>
                    <a:pt x="216" y="412"/>
                  </a:lnTo>
                  <a:lnTo>
                    <a:pt x="202" y="413"/>
                  </a:lnTo>
                  <a:lnTo>
                    <a:pt x="189" y="412"/>
                  </a:lnTo>
                  <a:lnTo>
                    <a:pt x="176" y="411"/>
                  </a:lnTo>
                  <a:lnTo>
                    <a:pt x="163" y="409"/>
                  </a:lnTo>
                  <a:lnTo>
                    <a:pt x="149" y="406"/>
                  </a:lnTo>
                  <a:lnTo>
                    <a:pt x="137" y="402"/>
                  </a:lnTo>
                  <a:lnTo>
                    <a:pt x="124" y="398"/>
                  </a:lnTo>
                  <a:lnTo>
                    <a:pt x="113" y="393"/>
                  </a:lnTo>
                  <a:lnTo>
                    <a:pt x="100" y="386"/>
                  </a:lnTo>
                  <a:lnTo>
                    <a:pt x="89" y="378"/>
                  </a:lnTo>
                  <a:lnTo>
                    <a:pt x="79" y="371"/>
                  </a:lnTo>
                  <a:lnTo>
                    <a:pt x="69" y="362"/>
                  </a:lnTo>
                  <a:lnTo>
                    <a:pt x="58" y="352"/>
                  </a:lnTo>
                  <a:lnTo>
                    <a:pt x="49" y="340"/>
                  </a:lnTo>
                  <a:lnTo>
                    <a:pt x="49" y="340"/>
                  </a:lnTo>
                  <a:lnTo>
                    <a:pt x="41" y="330"/>
                  </a:lnTo>
                  <a:lnTo>
                    <a:pt x="33" y="320"/>
                  </a:lnTo>
                  <a:lnTo>
                    <a:pt x="26" y="309"/>
                  </a:lnTo>
                  <a:lnTo>
                    <a:pt x="20" y="297"/>
                  </a:lnTo>
                  <a:lnTo>
                    <a:pt x="14" y="285"/>
                  </a:lnTo>
                  <a:lnTo>
                    <a:pt x="9" y="273"/>
                  </a:lnTo>
                  <a:lnTo>
                    <a:pt x="6" y="261"/>
                  </a:lnTo>
                  <a:lnTo>
                    <a:pt x="3" y="248"/>
                  </a:lnTo>
                  <a:lnTo>
                    <a:pt x="1" y="235"/>
                  </a:lnTo>
                  <a:lnTo>
                    <a:pt x="0" y="223"/>
                  </a:lnTo>
                  <a:lnTo>
                    <a:pt x="0" y="210"/>
                  </a:lnTo>
                  <a:lnTo>
                    <a:pt x="1" y="196"/>
                  </a:lnTo>
                  <a:lnTo>
                    <a:pt x="2" y="183"/>
                  </a:lnTo>
                  <a:lnTo>
                    <a:pt x="4" y="171"/>
                  </a:lnTo>
                  <a:lnTo>
                    <a:pt x="7" y="158"/>
                  </a:lnTo>
                  <a:lnTo>
                    <a:pt x="10" y="145"/>
                  </a:lnTo>
                  <a:lnTo>
                    <a:pt x="14" y="133"/>
                  </a:lnTo>
                  <a:lnTo>
                    <a:pt x="20" y="121"/>
                  </a:lnTo>
                  <a:lnTo>
                    <a:pt x="25" y="109"/>
                  </a:lnTo>
                  <a:lnTo>
                    <a:pt x="32" y="98"/>
                  </a:lnTo>
                  <a:lnTo>
                    <a:pt x="38" y="87"/>
                  </a:lnTo>
                  <a:lnTo>
                    <a:pt x="46" y="77"/>
                  </a:lnTo>
                  <a:lnTo>
                    <a:pt x="54" y="67"/>
                  </a:lnTo>
                  <a:lnTo>
                    <a:pt x="62" y="57"/>
                  </a:lnTo>
                  <a:lnTo>
                    <a:pt x="73" y="48"/>
                  </a:lnTo>
                  <a:lnTo>
                    <a:pt x="82" y="40"/>
                  </a:lnTo>
                  <a:lnTo>
                    <a:pt x="93" y="33"/>
                  </a:lnTo>
                  <a:lnTo>
                    <a:pt x="104" y="26"/>
                  </a:lnTo>
                  <a:lnTo>
                    <a:pt x="116" y="20"/>
                  </a:lnTo>
                  <a:lnTo>
                    <a:pt x="128" y="14"/>
                  </a:lnTo>
                  <a:lnTo>
                    <a:pt x="141" y="10"/>
                  </a:lnTo>
                  <a:lnTo>
                    <a:pt x="153" y="7"/>
                  </a:lnTo>
                  <a:lnTo>
                    <a:pt x="153" y="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1045" name="Freeform 2029"/>
            <p:cNvSpPr>
              <a:spLocks/>
            </p:cNvSpPr>
            <p:nvPr/>
          </p:nvSpPr>
          <p:spPr bwMode="auto">
            <a:xfrm>
              <a:off x="2862505" y="3067369"/>
              <a:ext cx="180398" cy="60614"/>
            </a:xfrm>
            <a:custGeom>
              <a:avLst/>
              <a:gdLst>
                <a:gd name="T0" fmla="*/ 689 w 747"/>
                <a:gd name="T1" fmla="*/ 69 h 247"/>
                <a:gd name="T2" fmla="*/ 689 w 747"/>
                <a:gd name="T3" fmla="*/ 69 h 247"/>
                <a:gd name="T4" fmla="*/ 675 w 747"/>
                <a:gd name="T5" fmla="*/ 54 h 247"/>
                <a:gd name="T6" fmla="*/ 659 w 747"/>
                <a:gd name="T7" fmla="*/ 42 h 247"/>
                <a:gd name="T8" fmla="*/ 644 w 747"/>
                <a:gd name="T9" fmla="*/ 32 h 247"/>
                <a:gd name="T10" fmla="*/ 628 w 747"/>
                <a:gd name="T11" fmla="*/ 23 h 247"/>
                <a:gd name="T12" fmla="*/ 610 w 747"/>
                <a:gd name="T13" fmla="*/ 16 h 247"/>
                <a:gd name="T14" fmla="*/ 594 w 747"/>
                <a:gd name="T15" fmla="*/ 11 h 247"/>
                <a:gd name="T16" fmla="*/ 576 w 747"/>
                <a:gd name="T17" fmla="*/ 7 h 247"/>
                <a:gd name="T18" fmla="*/ 558 w 747"/>
                <a:gd name="T19" fmla="*/ 4 h 247"/>
                <a:gd name="T20" fmla="*/ 540 w 747"/>
                <a:gd name="T21" fmla="*/ 2 h 247"/>
                <a:gd name="T22" fmla="*/ 523 w 747"/>
                <a:gd name="T23" fmla="*/ 1 h 247"/>
                <a:gd name="T24" fmla="*/ 486 w 747"/>
                <a:gd name="T25" fmla="*/ 0 h 247"/>
                <a:gd name="T26" fmla="*/ 450 w 747"/>
                <a:gd name="T27" fmla="*/ 1 h 247"/>
                <a:gd name="T28" fmla="*/ 415 w 747"/>
                <a:gd name="T29" fmla="*/ 1 h 247"/>
                <a:gd name="T30" fmla="*/ 415 w 747"/>
                <a:gd name="T31" fmla="*/ 1 h 247"/>
                <a:gd name="T32" fmla="*/ 395 w 747"/>
                <a:gd name="T33" fmla="*/ 1 h 247"/>
                <a:gd name="T34" fmla="*/ 375 w 747"/>
                <a:gd name="T35" fmla="*/ 2 h 247"/>
                <a:gd name="T36" fmla="*/ 335 w 747"/>
                <a:gd name="T37" fmla="*/ 1 h 247"/>
                <a:gd name="T38" fmla="*/ 294 w 747"/>
                <a:gd name="T39" fmla="*/ 0 h 247"/>
                <a:gd name="T40" fmla="*/ 253 w 747"/>
                <a:gd name="T41" fmla="*/ 0 h 247"/>
                <a:gd name="T42" fmla="*/ 233 w 747"/>
                <a:gd name="T43" fmla="*/ 0 h 247"/>
                <a:gd name="T44" fmla="*/ 213 w 747"/>
                <a:gd name="T45" fmla="*/ 2 h 247"/>
                <a:gd name="T46" fmla="*/ 192 w 747"/>
                <a:gd name="T47" fmla="*/ 4 h 247"/>
                <a:gd name="T48" fmla="*/ 173 w 747"/>
                <a:gd name="T49" fmla="*/ 7 h 247"/>
                <a:gd name="T50" fmla="*/ 154 w 747"/>
                <a:gd name="T51" fmla="*/ 12 h 247"/>
                <a:gd name="T52" fmla="*/ 133 w 747"/>
                <a:gd name="T53" fmla="*/ 17 h 247"/>
                <a:gd name="T54" fmla="*/ 114 w 747"/>
                <a:gd name="T55" fmla="*/ 25 h 247"/>
                <a:gd name="T56" fmla="*/ 95 w 747"/>
                <a:gd name="T57" fmla="*/ 35 h 247"/>
                <a:gd name="T58" fmla="*/ 95 w 747"/>
                <a:gd name="T59" fmla="*/ 35 h 247"/>
                <a:gd name="T60" fmla="*/ 83 w 747"/>
                <a:gd name="T61" fmla="*/ 41 h 247"/>
                <a:gd name="T62" fmla="*/ 73 w 747"/>
                <a:gd name="T63" fmla="*/ 49 h 247"/>
                <a:gd name="T64" fmla="*/ 63 w 747"/>
                <a:gd name="T65" fmla="*/ 59 h 247"/>
                <a:gd name="T66" fmla="*/ 54 w 747"/>
                <a:gd name="T67" fmla="*/ 69 h 247"/>
                <a:gd name="T68" fmla="*/ 44 w 747"/>
                <a:gd name="T69" fmla="*/ 81 h 247"/>
                <a:gd name="T70" fmla="*/ 37 w 747"/>
                <a:gd name="T71" fmla="*/ 93 h 247"/>
                <a:gd name="T72" fmla="*/ 30 w 747"/>
                <a:gd name="T73" fmla="*/ 106 h 247"/>
                <a:gd name="T74" fmla="*/ 23 w 747"/>
                <a:gd name="T75" fmla="*/ 120 h 247"/>
                <a:gd name="T76" fmla="*/ 18 w 747"/>
                <a:gd name="T77" fmla="*/ 135 h 247"/>
                <a:gd name="T78" fmla="*/ 13 w 747"/>
                <a:gd name="T79" fmla="*/ 150 h 247"/>
                <a:gd name="T80" fmla="*/ 9 w 747"/>
                <a:gd name="T81" fmla="*/ 165 h 247"/>
                <a:gd name="T82" fmla="*/ 5 w 747"/>
                <a:gd name="T83" fmla="*/ 182 h 247"/>
                <a:gd name="T84" fmla="*/ 3 w 747"/>
                <a:gd name="T85" fmla="*/ 198 h 247"/>
                <a:gd name="T86" fmla="*/ 1 w 747"/>
                <a:gd name="T87" fmla="*/ 214 h 247"/>
                <a:gd name="T88" fmla="*/ 0 w 747"/>
                <a:gd name="T89" fmla="*/ 231 h 247"/>
                <a:gd name="T90" fmla="*/ 0 w 747"/>
                <a:gd name="T91" fmla="*/ 247 h 247"/>
                <a:gd name="T92" fmla="*/ 747 w 747"/>
                <a:gd name="T93" fmla="*/ 247 h 247"/>
                <a:gd name="T94" fmla="*/ 747 w 747"/>
                <a:gd name="T95" fmla="*/ 247 h 247"/>
                <a:gd name="T96" fmla="*/ 745 w 747"/>
                <a:gd name="T97" fmla="*/ 222 h 247"/>
                <a:gd name="T98" fmla="*/ 742 w 747"/>
                <a:gd name="T99" fmla="*/ 197 h 247"/>
                <a:gd name="T100" fmla="*/ 738 w 747"/>
                <a:gd name="T101" fmla="*/ 173 h 247"/>
                <a:gd name="T102" fmla="*/ 732 w 747"/>
                <a:gd name="T103" fmla="*/ 149 h 247"/>
                <a:gd name="T104" fmla="*/ 725 w 747"/>
                <a:gd name="T105" fmla="*/ 127 h 247"/>
                <a:gd name="T106" fmla="*/ 721 w 747"/>
                <a:gd name="T107" fmla="*/ 116 h 247"/>
                <a:gd name="T108" fmla="*/ 716 w 747"/>
                <a:gd name="T109" fmla="*/ 106 h 247"/>
                <a:gd name="T110" fmla="*/ 710 w 747"/>
                <a:gd name="T111" fmla="*/ 96 h 247"/>
                <a:gd name="T112" fmla="*/ 703 w 747"/>
                <a:gd name="T113" fmla="*/ 87 h 247"/>
                <a:gd name="T114" fmla="*/ 697 w 747"/>
                <a:gd name="T115" fmla="*/ 77 h 247"/>
                <a:gd name="T116" fmla="*/ 689 w 747"/>
                <a:gd name="T117" fmla="*/ 69 h 247"/>
                <a:gd name="T118" fmla="*/ 689 w 747"/>
                <a:gd name="T119" fmla="*/ 6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7" h="247">
                  <a:moveTo>
                    <a:pt x="689" y="69"/>
                  </a:moveTo>
                  <a:lnTo>
                    <a:pt x="689" y="69"/>
                  </a:lnTo>
                  <a:lnTo>
                    <a:pt x="675" y="54"/>
                  </a:lnTo>
                  <a:lnTo>
                    <a:pt x="659" y="42"/>
                  </a:lnTo>
                  <a:lnTo>
                    <a:pt x="644" y="32"/>
                  </a:lnTo>
                  <a:lnTo>
                    <a:pt x="628" y="23"/>
                  </a:lnTo>
                  <a:lnTo>
                    <a:pt x="610" y="16"/>
                  </a:lnTo>
                  <a:lnTo>
                    <a:pt x="594" y="11"/>
                  </a:lnTo>
                  <a:lnTo>
                    <a:pt x="576" y="7"/>
                  </a:lnTo>
                  <a:lnTo>
                    <a:pt x="558" y="4"/>
                  </a:lnTo>
                  <a:lnTo>
                    <a:pt x="540" y="2"/>
                  </a:lnTo>
                  <a:lnTo>
                    <a:pt x="523" y="1"/>
                  </a:lnTo>
                  <a:lnTo>
                    <a:pt x="486" y="0"/>
                  </a:lnTo>
                  <a:lnTo>
                    <a:pt x="450" y="1"/>
                  </a:lnTo>
                  <a:lnTo>
                    <a:pt x="415" y="1"/>
                  </a:lnTo>
                  <a:lnTo>
                    <a:pt x="415" y="1"/>
                  </a:lnTo>
                  <a:lnTo>
                    <a:pt x="395" y="1"/>
                  </a:lnTo>
                  <a:lnTo>
                    <a:pt x="375" y="2"/>
                  </a:lnTo>
                  <a:lnTo>
                    <a:pt x="335" y="1"/>
                  </a:lnTo>
                  <a:lnTo>
                    <a:pt x="294" y="0"/>
                  </a:lnTo>
                  <a:lnTo>
                    <a:pt x="253" y="0"/>
                  </a:lnTo>
                  <a:lnTo>
                    <a:pt x="233" y="0"/>
                  </a:lnTo>
                  <a:lnTo>
                    <a:pt x="213" y="2"/>
                  </a:lnTo>
                  <a:lnTo>
                    <a:pt x="192" y="4"/>
                  </a:lnTo>
                  <a:lnTo>
                    <a:pt x="173" y="7"/>
                  </a:lnTo>
                  <a:lnTo>
                    <a:pt x="154" y="12"/>
                  </a:lnTo>
                  <a:lnTo>
                    <a:pt x="133" y="17"/>
                  </a:lnTo>
                  <a:lnTo>
                    <a:pt x="114" y="25"/>
                  </a:lnTo>
                  <a:lnTo>
                    <a:pt x="95" y="35"/>
                  </a:lnTo>
                  <a:lnTo>
                    <a:pt x="95" y="35"/>
                  </a:lnTo>
                  <a:lnTo>
                    <a:pt x="83" y="41"/>
                  </a:lnTo>
                  <a:lnTo>
                    <a:pt x="73" y="49"/>
                  </a:lnTo>
                  <a:lnTo>
                    <a:pt x="63" y="59"/>
                  </a:lnTo>
                  <a:lnTo>
                    <a:pt x="54" y="69"/>
                  </a:lnTo>
                  <a:lnTo>
                    <a:pt x="44" y="81"/>
                  </a:lnTo>
                  <a:lnTo>
                    <a:pt x="37" y="93"/>
                  </a:lnTo>
                  <a:lnTo>
                    <a:pt x="30" y="106"/>
                  </a:lnTo>
                  <a:lnTo>
                    <a:pt x="23" y="120"/>
                  </a:lnTo>
                  <a:lnTo>
                    <a:pt x="18" y="135"/>
                  </a:lnTo>
                  <a:lnTo>
                    <a:pt x="13" y="150"/>
                  </a:lnTo>
                  <a:lnTo>
                    <a:pt x="9" y="165"/>
                  </a:lnTo>
                  <a:lnTo>
                    <a:pt x="5" y="182"/>
                  </a:lnTo>
                  <a:lnTo>
                    <a:pt x="3" y="198"/>
                  </a:lnTo>
                  <a:lnTo>
                    <a:pt x="1" y="214"/>
                  </a:lnTo>
                  <a:lnTo>
                    <a:pt x="0" y="231"/>
                  </a:lnTo>
                  <a:lnTo>
                    <a:pt x="0" y="247"/>
                  </a:lnTo>
                  <a:lnTo>
                    <a:pt x="747" y="247"/>
                  </a:lnTo>
                  <a:lnTo>
                    <a:pt x="747" y="247"/>
                  </a:lnTo>
                  <a:lnTo>
                    <a:pt x="745" y="222"/>
                  </a:lnTo>
                  <a:lnTo>
                    <a:pt x="742" y="197"/>
                  </a:lnTo>
                  <a:lnTo>
                    <a:pt x="738" y="173"/>
                  </a:lnTo>
                  <a:lnTo>
                    <a:pt x="732" y="149"/>
                  </a:lnTo>
                  <a:lnTo>
                    <a:pt x="725" y="127"/>
                  </a:lnTo>
                  <a:lnTo>
                    <a:pt x="721" y="116"/>
                  </a:lnTo>
                  <a:lnTo>
                    <a:pt x="716" y="106"/>
                  </a:lnTo>
                  <a:lnTo>
                    <a:pt x="710" y="96"/>
                  </a:lnTo>
                  <a:lnTo>
                    <a:pt x="703" y="87"/>
                  </a:lnTo>
                  <a:lnTo>
                    <a:pt x="697" y="77"/>
                  </a:lnTo>
                  <a:lnTo>
                    <a:pt x="689" y="69"/>
                  </a:lnTo>
                  <a:lnTo>
                    <a:pt x="689" y="6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grpSp>
        <p:nvGrpSpPr>
          <p:cNvPr id="1119" name="Group 1118"/>
          <p:cNvGrpSpPr/>
          <p:nvPr/>
        </p:nvGrpSpPr>
        <p:grpSpPr>
          <a:xfrm rot="21139630">
            <a:off x="3381344" y="2348523"/>
            <a:ext cx="202173" cy="143835"/>
            <a:chOff x="681815" y="1311969"/>
            <a:chExt cx="433376" cy="308323"/>
          </a:xfrm>
          <a:solidFill>
            <a:srgbClr val="008DB5"/>
          </a:solidFill>
        </p:grpSpPr>
        <p:sp>
          <p:nvSpPr>
            <p:cNvPr id="1120" name="Freeform 132"/>
            <p:cNvSpPr>
              <a:spLocks/>
            </p:cNvSpPr>
            <p:nvPr/>
          </p:nvSpPr>
          <p:spPr bwMode="auto">
            <a:xfrm>
              <a:off x="681815" y="1311969"/>
              <a:ext cx="433376" cy="308323"/>
            </a:xfrm>
            <a:custGeom>
              <a:avLst/>
              <a:gdLst>
                <a:gd name="T0" fmla="*/ 592 w 602"/>
                <a:gd name="T1" fmla="*/ 368 h 429"/>
                <a:gd name="T2" fmla="*/ 592 w 602"/>
                <a:gd name="T3" fmla="*/ 368 h 429"/>
                <a:gd name="T4" fmla="*/ 586 w 602"/>
                <a:gd name="T5" fmla="*/ 373 h 429"/>
                <a:gd name="T6" fmla="*/ 581 w 602"/>
                <a:gd name="T7" fmla="*/ 376 h 429"/>
                <a:gd name="T8" fmla="*/ 574 w 602"/>
                <a:gd name="T9" fmla="*/ 378 h 429"/>
                <a:gd name="T10" fmla="*/ 568 w 602"/>
                <a:gd name="T11" fmla="*/ 380 h 429"/>
                <a:gd name="T12" fmla="*/ 553 w 602"/>
                <a:gd name="T13" fmla="*/ 381 h 429"/>
                <a:gd name="T14" fmla="*/ 538 w 602"/>
                <a:gd name="T15" fmla="*/ 380 h 429"/>
                <a:gd name="T16" fmla="*/ 522 w 602"/>
                <a:gd name="T17" fmla="*/ 377 h 429"/>
                <a:gd name="T18" fmla="*/ 508 w 602"/>
                <a:gd name="T19" fmla="*/ 373 h 429"/>
                <a:gd name="T20" fmla="*/ 478 w 602"/>
                <a:gd name="T21" fmla="*/ 364 h 429"/>
                <a:gd name="T22" fmla="*/ 478 w 602"/>
                <a:gd name="T23" fmla="*/ 364 h 429"/>
                <a:gd name="T24" fmla="*/ 425 w 602"/>
                <a:gd name="T25" fmla="*/ 347 h 429"/>
                <a:gd name="T26" fmla="*/ 371 w 602"/>
                <a:gd name="T27" fmla="*/ 330 h 429"/>
                <a:gd name="T28" fmla="*/ 371 w 602"/>
                <a:gd name="T29" fmla="*/ 330 h 429"/>
                <a:gd name="T30" fmla="*/ 327 w 602"/>
                <a:gd name="T31" fmla="*/ 346 h 429"/>
                <a:gd name="T32" fmla="*/ 279 w 602"/>
                <a:gd name="T33" fmla="*/ 365 h 429"/>
                <a:gd name="T34" fmla="*/ 184 w 602"/>
                <a:gd name="T35" fmla="*/ 404 h 429"/>
                <a:gd name="T36" fmla="*/ 184 w 602"/>
                <a:gd name="T37" fmla="*/ 404 h 429"/>
                <a:gd name="T38" fmla="*/ 152 w 602"/>
                <a:gd name="T39" fmla="*/ 417 h 429"/>
                <a:gd name="T40" fmla="*/ 136 w 602"/>
                <a:gd name="T41" fmla="*/ 422 h 429"/>
                <a:gd name="T42" fmla="*/ 120 w 602"/>
                <a:gd name="T43" fmla="*/ 426 h 429"/>
                <a:gd name="T44" fmla="*/ 120 w 602"/>
                <a:gd name="T45" fmla="*/ 426 h 429"/>
                <a:gd name="T46" fmla="*/ 112 w 602"/>
                <a:gd name="T47" fmla="*/ 428 h 429"/>
                <a:gd name="T48" fmla="*/ 103 w 602"/>
                <a:gd name="T49" fmla="*/ 429 h 429"/>
                <a:gd name="T50" fmla="*/ 95 w 602"/>
                <a:gd name="T51" fmla="*/ 428 h 429"/>
                <a:gd name="T52" fmla="*/ 87 w 602"/>
                <a:gd name="T53" fmla="*/ 426 h 429"/>
                <a:gd name="T54" fmla="*/ 72 w 602"/>
                <a:gd name="T55" fmla="*/ 422 h 429"/>
                <a:gd name="T56" fmla="*/ 58 w 602"/>
                <a:gd name="T57" fmla="*/ 416 h 429"/>
                <a:gd name="T58" fmla="*/ 58 w 602"/>
                <a:gd name="T59" fmla="*/ 416 h 429"/>
                <a:gd name="T60" fmla="*/ 62 w 602"/>
                <a:gd name="T61" fmla="*/ 409 h 429"/>
                <a:gd name="T62" fmla="*/ 66 w 602"/>
                <a:gd name="T63" fmla="*/ 404 h 429"/>
                <a:gd name="T64" fmla="*/ 77 w 602"/>
                <a:gd name="T65" fmla="*/ 394 h 429"/>
                <a:gd name="T66" fmla="*/ 100 w 602"/>
                <a:gd name="T67" fmla="*/ 378 h 429"/>
                <a:gd name="T68" fmla="*/ 100 w 602"/>
                <a:gd name="T69" fmla="*/ 378 h 429"/>
                <a:gd name="T70" fmla="*/ 235 w 602"/>
                <a:gd name="T71" fmla="*/ 282 h 429"/>
                <a:gd name="T72" fmla="*/ 0 w 602"/>
                <a:gd name="T73" fmla="*/ 166 h 429"/>
                <a:gd name="T74" fmla="*/ 37 w 602"/>
                <a:gd name="T75" fmla="*/ 0 h 429"/>
                <a:gd name="T76" fmla="*/ 64 w 602"/>
                <a:gd name="T77" fmla="*/ 13 h 429"/>
                <a:gd name="T78" fmla="*/ 87 w 602"/>
                <a:gd name="T79" fmla="*/ 114 h 429"/>
                <a:gd name="T80" fmla="*/ 87 w 602"/>
                <a:gd name="T81" fmla="*/ 114 h 429"/>
                <a:gd name="T82" fmla="*/ 159 w 602"/>
                <a:gd name="T83" fmla="*/ 140 h 429"/>
                <a:gd name="T84" fmla="*/ 159 w 602"/>
                <a:gd name="T85" fmla="*/ 140 h 429"/>
                <a:gd name="T86" fmla="*/ 266 w 602"/>
                <a:gd name="T87" fmla="*/ 179 h 429"/>
                <a:gd name="T88" fmla="*/ 373 w 602"/>
                <a:gd name="T89" fmla="*/ 218 h 429"/>
                <a:gd name="T90" fmla="*/ 373 w 602"/>
                <a:gd name="T91" fmla="*/ 218 h 429"/>
                <a:gd name="T92" fmla="*/ 445 w 602"/>
                <a:gd name="T93" fmla="*/ 242 h 429"/>
                <a:gd name="T94" fmla="*/ 482 w 602"/>
                <a:gd name="T95" fmla="*/ 255 h 429"/>
                <a:gd name="T96" fmla="*/ 517 w 602"/>
                <a:gd name="T97" fmla="*/ 270 h 429"/>
                <a:gd name="T98" fmla="*/ 517 w 602"/>
                <a:gd name="T99" fmla="*/ 270 h 429"/>
                <a:gd name="T100" fmla="*/ 552 w 602"/>
                <a:gd name="T101" fmla="*/ 286 h 429"/>
                <a:gd name="T102" fmla="*/ 569 w 602"/>
                <a:gd name="T103" fmla="*/ 294 h 429"/>
                <a:gd name="T104" fmla="*/ 584 w 602"/>
                <a:gd name="T105" fmla="*/ 305 h 429"/>
                <a:gd name="T106" fmla="*/ 590 w 602"/>
                <a:gd name="T107" fmla="*/ 310 h 429"/>
                <a:gd name="T108" fmla="*/ 596 w 602"/>
                <a:gd name="T109" fmla="*/ 317 h 429"/>
                <a:gd name="T110" fmla="*/ 600 w 602"/>
                <a:gd name="T111" fmla="*/ 323 h 429"/>
                <a:gd name="T112" fmla="*/ 601 w 602"/>
                <a:gd name="T113" fmla="*/ 331 h 429"/>
                <a:gd name="T114" fmla="*/ 602 w 602"/>
                <a:gd name="T115" fmla="*/ 339 h 429"/>
                <a:gd name="T116" fmla="*/ 601 w 602"/>
                <a:gd name="T117" fmla="*/ 347 h 429"/>
                <a:gd name="T118" fmla="*/ 597 w 602"/>
                <a:gd name="T119" fmla="*/ 358 h 429"/>
                <a:gd name="T120" fmla="*/ 592 w 602"/>
                <a:gd name="T121" fmla="*/ 368 h 429"/>
                <a:gd name="T122" fmla="*/ 592 w 602"/>
                <a:gd name="T123" fmla="*/ 36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2" h="429">
                  <a:moveTo>
                    <a:pt x="592" y="368"/>
                  </a:moveTo>
                  <a:lnTo>
                    <a:pt x="592" y="368"/>
                  </a:lnTo>
                  <a:lnTo>
                    <a:pt x="586" y="373"/>
                  </a:lnTo>
                  <a:lnTo>
                    <a:pt x="581" y="376"/>
                  </a:lnTo>
                  <a:lnTo>
                    <a:pt x="574" y="378"/>
                  </a:lnTo>
                  <a:lnTo>
                    <a:pt x="568" y="380"/>
                  </a:lnTo>
                  <a:lnTo>
                    <a:pt x="553" y="381"/>
                  </a:lnTo>
                  <a:lnTo>
                    <a:pt x="538" y="380"/>
                  </a:lnTo>
                  <a:lnTo>
                    <a:pt x="522" y="377"/>
                  </a:lnTo>
                  <a:lnTo>
                    <a:pt x="508" y="373"/>
                  </a:lnTo>
                  <a:lnTo>
                    <a:pt x="478" y="364"/>
                  </a:lnTo>
                  <a:lnTo>
                    <a:pt x="478" y="364"/>
                  </a:lnTo>
                  <a:lnTo>
                    <a:pt x="425" y="347"/>
                  </a:lnTo>
                  <a:lnTo>
                    <a:pt x="371" y="330"/>
                  </a:lnTo>
                  <a:lnTo>
                    <a:pt x="371" y="330"/>
                  </a:lnTo>
                  <a:lnTo>
                    <a:pt x="327" y="346"/>
                  </a:lnTo>
                  <a:lnTo>
                    <a:pt x="279" y="365"/>
                  </a:lnTo>
                  <a:lnTo>
                    <a:pt x="184" y="404"/>
                  </a:lnTo>
                  <a:lnTo>
                    <a:pt x="184" y="404"/>
                  </a:lnTo>
                  <a:lnTo>
                    <a:pt x="152" y="417"/>
                  </a:lnTo>
                  <a:lnTo>
                    <a:pt x="136" y="422"/>
                  </a:lnTo>
                  <a:lnTo>
                    <a:pt x="120" y="426"/>
                  </a:lnTo>
                  <a:lnTo>
                    <a:pt x="120" y="426"/>
                  </a:lnTo>
                  <a:lnTo>
                    <a:pt x="112" y="428"/>
                  </a:lnTo>
                  <a:lnTo>
                    <a:pt x="103" y="429"/>
                  </a:lnTo>
                  <a:lnTo>
                    <a:pt x="95" y="428"/>
                  </a:lnTo>
                  <a:lnTo>
                    <a:pt x="87" y="426"/>
                  </a:lnTo>
                  <a:lnTo>
                    <a:pt x="72" y="422"/>
                  </a:lnTo>
                  <a:lnTo>
                    <a:pt x="58" y="416"/>
                  </a:lnTo>
                  <a:lnTo>
                    <a:pt x="58" y="416"/>
                  </a:lnTo>
                  <a:lnTo>
                    <a:pt x="62" y="409"/>
                  </a:lnTo>
                  <a:lnTo>
                    <a:pt x="66" y="404"/>
                  </a:lnTo>
                  <a:lnTo>
                    <a:pt x="77" y="394"/>
                  </a:lnTo>
                  <a:lnTo>
                    <a:pt x="100" y="378"/>
                  </a:lnTo>
                  <a:lnTo>
                    <a:pt x="100" y="378"/>
                  </a:lnTo>
                  <a:lnTo>
                    <a:pt x="235" y="282"/>
                  </a:lnTo>
                  <a:lnTo>
                    <a:pt x="0" y="166"/>
                  </a:lnTo>
                  <a:lnTo>
                    <a:pt x="37" y="0"/>
                  </a:lnTo>
                  <a:lnTo>
                    <a:pt x="64" y="13"/>
                  </a:lnTo>
                  <a:lnTo>
                    <a:pt x="87" y="114"/>
                  </a:lnTo>
                  <a:lnTo>
                    <a:pt x="87" y="114"/>
                  </a:lnTo>
                  <a:lnTo>
                    <a:pt x="159" y="140"/>
                  </a:lnTo>
                  <a:lnTo>
                    <a:pt x="159" y="140"/>
                  </a:lnTo>
                  <a:lnTo>
                    <a:pt x="266" y="179"/>
                  </a:lnTo>
                  <a:lnTo>
                    <a:pt x="373" y="218"/>
                  </a:lnTo>
                  <a:lnTo>
                    <a:pt x="373" y="218"/>
                  </a:lnTo>
                  <a:lnTo>
                    <a:pt x="445" y="242"/>
                  </a:lnTo>
                  <a:lnTo>
                    <a:pt x="482" y="255"/>
                  </a:lnTo>
                  <a:lnTo>
                    <a:pt x="517" y="270"/>
                  </a:lnTo>
                  <a:lnTo>
                    <a:pt x="517" y="270"/>
                  </a:lnTo>
                  <a:lnTo>
                    <a:pt x="552" y="286"/>
                  </a:lnTo>
                  <a:lnTo>
                    <a:pt x="569" y="294"/>
                  </a:lnTo>
                  <a:lnTo>
                    <a:pt x="584" y="305"/>
                  </a:lnTo>
                  <a:lnTo>
                    <a:pt x="590" y="310"/>
                  </a:lnTo>
                  <a:lnTo>
                    <a:pt x="596" y="317"/>
                  </a:lnTo>
                  <a:lnTo>
                    <a:pt x="600" y="323"/>
                  </a:lnTo>
                  <a:lnTo>
                    <a:pt x="601" y="331"/>
                  </a:lnTo>
                  <a:lnTo>
                    <a:pt x="602" y="339"/>
                  </a:lnTo>
                  <a:lnTo>
                    <a:pt x="601" y="347"/>
                  </a:lnTo>
                  <a:lnTo>
                    <a:pt x="597" y="358"/>
                  </a:lnTo>
                  <a:lnTo>
                    <a:pt x="592" y="368"/>
                  </a:lnTo>
                  <a:lnTo>
                    <a:pt x="592"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1121" name="Freeform 133"/>
            <p:cNvSpPr>
              <a:spLocks/>
            </p:cNvSpPr>
            <p:nvPr/>
          </p:nvSpPr>
          <p:spPr bwMode="auto">
            <a:xfrm>
              <a:off x="826274" y="1322746"/>
              <a:ext cx="90556" cy="112117"/>
            </a:xfrm>
            <a:custGeom>
              <a:avLst/>
              <a:gdLst>
                <a:gd name="T0" fmla="*/ 127 w 127"/>
                <a:gd name="T1" fmla="*/ 155 h 155"/>
                <a:gd name="T2" fmla="*/ 127 w 127"/>
                <a:gd name="T3" fmla="*/ 155 h 155"/>
                <a:gd name="T4" fmla="*/ 91 w 127"/>
                <a:gd name="T5" fmla="*/ 143 h 155"/>
                <a:gd name="T6" fmla="*/ 58 w 127"/>
                <a:gd name="T7" fmla="*/ 131 h 155"/>
                <a:gd name="T8" fmla="*/ 28 w 127"/>
                <a:gd name="T9" fmla="*/ 122 h 155"/>
                <a:gd name="T10" fmla="*/ 28 w 127"/>
                <a:gd name="T11" fmla="*/ 122 h 155"/>
                <a:gd name="T12" fmla="*/ 20 w 127"/>
                <a:gd name="T13" fmla="*/ 92 h 155"/>
                <a:gd name="T14" fmla="*/ 12 w 127"/>
                <a:gd name="T15" fmla="*/ 63 h 155"/>
                <a:gd name="T16" fmla="*/ 4 w 127"/>
                <a:gd name="T17" fmla="*/ 33 h 155"/>
                <a:gd name="T18" fmla="*/ 1 w 127"/>
                <a:gd name="T19" fmla="*/ 19 h 155"/>
                <a:gd name="T20" fmla="*/ 0 w 127"/>
                <a:gd name="T21" fmla="*/ 4 h 155"/>
                <a:gd name="T22" fmla="*/ 0 w 127"/>
                <a:gd name="T23" fmla="*/ 4 h 155"/>
                <a:gd name="T24" fmla="*/ 0 w 127"/>
                <a:gd name="T25" fmla="*/ 1 h 155"/>
                <a:gd name="T26" fmla="*/ 1 w 127"/>
                <a:gd name="T27" fmla="*/ 0 h 155"/>
                <a:gd name="T28" fmla="*/ 1 w 127"/>
                <a:gd name="T29" fmla="*/ 0 h 155"/>
                <a:gd name="T30" fmla="*/ 15 w 127"/>
                <a:gd name="T31" fmla="*/ 5 h 155"/>
                <a:gd name="T32" fmla="*/ 27 w 127"/>
                <a:gd name="T33" fmla="*/ 12 h 155"/>
                <a:gd name="T34" fmla="*/ 42 w 127"/>
                <a:gd name="T35" fmla="*/ 21 h 155"/>
                <a:gd name="T36" fmla="*/ 127 w 127"/>
                <a:gd name="T3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55">
                  <a:moveTo>
                    <a:pt x="127" y="155"/>
                  </a:moveTo>
                  <a:lnTo>
                    <a:pt x="127" y="155"/>
                  </a:lnTo>
                  <a:lnTo>
                    <a:pt x="91" y="143"/>
                  </a:lnTo>
                  <a:lnTo>
                    <a:pt x="58" y="131"/>
                  </a:lnTo>
                  <a:lnTo>
                    <a:pt x="28" y="122"/>
                  </a:lnTo>
                  <a:lnTo>
                    <a:pt x="28" y="122"/>
                  </a:lnTo>
                  <a:lnTo>
                    <a:pt x="20" y="92"/>
                  </a:lnTo>
                  <a:lnTo>
                    <a:pt x="12" y="63"/>
                  </a:lnTo>
                  <a:lnTo>
                    <a:pt x="4" y="33"/>
                  </a:lnTo>
                  <a:lnTo>
                    <a:pt x="1" y="19"/>
                  </a:lnTo>
                  <a:lnTo>
                    <a:pt x="0" y="4"/>
                  </a:lnTo>
                  <a:lnTo>
                    <a:pt x="0" y="4"/>
                  </a:lnTo>
                  <a:lnTo>
                    <a:pt x="0" y="1"/>
                  </a:lnTo>
                  <a:lnTo>
                    <a:pt x="1" y="0"/>
                  </a:lnTo>
                  <a:lnTo>
                    <a:pt x="1" y="0"/>
                  </a:lnTo>
                  <a:lnTo>
                    <a:pt x="15" y="5"/>
                  </a:lnTo>
                  <a:lnTo>
                    <a:pt x="27" y="12"/>
                  </a:lnTo>
                  <a:lnTo>
                    <a:pt x="42" y="21"/>
                  </a:lnTo>
                  <a:lnTo>
                    <a:pt x="127"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sp>
        <p:nvSpPr>
          <p:cNvPr id="1136" name="Rectangle 1135"/>
          <p:cNvSpPr/>
          <p:nvPr/>
        </p:nvSpPr>
        <p:spPr bwMode="auto">
          <a:xfrm rot="5400000">
            <a:off x="3390111" y="2862883"/>
            <a:ext cx="1176181" cy="31227"/>
          </a:xfrm>
          <a:prstGeom prst="rect">
            <a:avLst/>
          </a:prstGeom>
          <a:solidFill>
            <a:srgbClr val="005B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030" name="Group 1029"/>
          <p:cNvGrpSpPr/>
          <p:nvPr/>
        </p:nvGrpSpPr>
        <p:grpSpPr>
          <a:xfrm>
            <a:off x="3317130" y="3332474"/>
            <a:ext cx="794987" cy="400934"/>
            <a:chOff x="5151353" y="4312189"/>
            <a:chExt cx="655032" cy="363387"/>
          </a:xfrm>
          <a:solidFill>
            <a:srgbClr val="008DB5"/>
          </a:solidFill>
        </p:grpSpPr>
        <p:sp>
          <p:nvSpPr>
            <p:cNvPr id="1033" name="Freeform 1032"/>
            <p:cNvSpPr>
              <a:spLocks/>
            </p:cNvSpPr>
            <p:nvPr/>
          </p:nvSpPr>
          <p:spPr bwMode="auto">
            <a:xfrm>
              <a:off x="5177866" y="4312189"/>
              <a:ext cx="188712" cy="190272"/>
            </a:xfrm>
            <a:custGeom>
              <a:avLst/>
              <a:gdLst>
                <a:gd name="T0" fmla="*/ 333 w 365"/>
                <a:gd name="T1" fmla="*/ 0 h 364"/>
                <a:gd name="T2" fmla="*/ 32 w 365"/>
                <a:gd name="T3" fmla="*/ 0 h 364"/>
                <a:gd name="T4" fmla="*/ 32 w 365"/>
                <a:gd name="T5" fmla="*/ 0 h 364"/>
                <a:gd name="T6" fmla="*/ 26 w 365"/>
                <a:gd name="T7" fmla="*/ 1 h 364"/>
                <a:gd name="T8" fmla="*/ 20 w 365"/>
                <a:gd name="T9" fmla="*/ 3 h 364"/>
                <a:gd name="T10" fmla="*/ 15 w 365"/>
                <a:gd name="T11" fmla="*/ 5 h 364"/>
                <a:gd name="T12" fmla="*/ 10 w 365"/>
                <a:gd name="T13" fmla="*/ 9 h 364"/>
                <a:gd name="T14" fmla="*/ 6 w 365"/>
                <a:gd name="T15" fmla="*/ 15 h 364"/>
                <a:gd name="T16" fmla="*/ 3 w 365"/>
                <a:gd name="T17" fmla="*/ 20 h 364"/>
                <a:gd name="T18" fmla="*/ 2 w 365"/>
                <a:gd name="T19" fmla="*/ 25 h 364"/>
                <a:gd name="T20" fmla="*/ 0 w 365"/>
                <a:gd name="T21" fmla="*/ 32 h 364"/>
                <a:gd name="T22" fmla="*/ 0 w 365"/>
                <a:gd name="T23" fmla="*/ 333 h 364"/>
                <a:gd name="T24" fmla="*/ 0 w 365"/>
                <a:gd name="T25" fmla="*/ 333 h 364"/>
                <a:gd name="T26" fmla="*/ 2 w 365"/>
                <a:gd name="T27" fmla="*/ 339 h 364"/>
                <a:gd name="T28" fmla="*/ 3 w 365"/>
                <a:gd name="T29" fmla="*/ 345 h 364"/>
                <a:gd name="T30" fmla="*/ 6 w 365"/>
                <a:gd name="T31" fmla="*/ 350 h 364"/>
                <a:gd name="T32" fmla="*/ 10 w 365"/>
                <a:gd name="T33" fmla="*/ 354 h 364"/>
                <a:gd name="T34" fmla="*/ 15 w 365"/>
                <a:gd name="T35" fmla="*/ 358 h 364"/>
                <a:gd name="T36" fmla="*/ 20 w 365"/>
                <a:gd name="T37" fmla="*/ 361 h 364"/>
                <a:gd name="T38" fmla="*/ 26 w 365"/>
                <a:gd name="T39" fmla="*/ 364 h 364"/>
                <a:gd name="T40" fmla="*/ 32 w 365"/>
                <a:gd name="T41" fmla="*/ 364 h 364"/>
                <a:gd name="T42" fmla="*/ 333 w 365"/>
                <a:gd name="T43" fmla="*/ 364 h 364"/>
                <a:gd name="T44" fmla="*/ 333 w 365"/>
                <a:gd name="T45" fmla="*/ 364 h 364"/>
                <a:gd name="T46" fmla="*/ 340 w 365"/>
                <a:gd name="T47" fmla="*/ 364 h 364"/>
                <a:gd name="T48" fmla="*/ 345 w 365"/>
                <a:gd name="T49" fmla="*/ 361 h 364"/>
                <a:gd name="T50" fmla="*/ 350 w 365"/>
                <a:gd name="T51" fmla="*/ 358 h 364"/>
                <a:gd name="T52" fmla="*/ 356 w 365"/>
                <a:gd name="T53" fmla="*/ 354 h 364"/>
                <a:gd name="T54" fmla="*/ 358 w 365"/>
                <a:gd name="T55" fmla="*/ 350 h 364"/>
                <a:gd name="T56" fmla="*/ 362 w 365"/>
                <a:gd name="T57" fmla="*/ 345 h 364"/>
                <a:gd name="T58" fmla="*/ 364 w 365"/>
                <a:gd name="T59" fmla="*/ 339 h 364"/>
                <a:gd name="T60" fmla="*/ 365 w 365"/>
                <a:gd name="T61" fmla="*/ 333 h 364"/>
                <a:gd name="T62" fmla="*/ 365 w 365"/>
                <a:gd name="T63" fmla="*/ 32 h 364"/>
                <a:gd name="T64" fmla="*/ 365 w 365"/>
                <a:gd name="T65" fmla="*/ 32 h 364"/>
                <a:gd name="T66" fmla="*/ 364 w 365"/>
                <a:gd name="T67" fmla="*/ 25 h 364"/>
                <a:gd name="T68" fmla="*/ 362 w 365"/>
                <a:gd name="T69" fmla="*/ 20 h 364"/>
                <a:gd name="T70" fmla="*/ 358 w 365"/>
                <a:gd name="T71" fmla="*/ 15 h 364"/>
                <a:gd name="T72" fmla="*/ 356 w 365"/>
                <a:gd name="T73" fmla="*/ 9 h 364"/>
                <a:gd name="T74" fmla="*/ 350 w 365"/>
                <a:gd name="T75" fmla="*/ 5 h 364"/>
                <a:gd name="T76" fmla="*/ 345 w 365"/>
                <a:gd name="T77" fmla="*/ 3 h 364"/>
                <a:gd name="T78" fmla="*/ 340 w 365"/>
                <a:gd name="T79" fmla="*/ 1 h 364"/>
                <a:gd name="T80" fmla="*/ 333 w 365"/>
                <a:gd name="T81" fmla="*/ 0 h 364"/>
                <a:gd name="T82" fmla="*/ 333 w 365"/>
                <a:gd name="T8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5" h="364">
                  <a:moveTo>
                    <a:pt x="333" y="0"/>
                  </a:moveTo>
                  <a:lnTo>
                    <a:pt x="32" y="0"/>
                  </a:lnTo>
                  <a:lnTo>
                    <a:pt x="32" y="0"/>
                  </a:lnTo>
                  <a:lnTo>
                    <a:pt x="26" y="1"/>
                  </a:lnTo>
                  <a:lnTo>
                    <a:pt x="20" y="3"/>
                  </a:lnTo>
                  <a:lnTo>
                    <a:pt x="15" y="5"/>
                  </a:lnTo>
                  <a:lnTo>
                    <a:pt x="10" y="9"/>
                  </a:lnTo>
                  <a:lnTo>
                    <a:pt x="6" y="15"/>
                  </a:lnTo>
                  <a:lnTo>
                    <a:pt x="3" y="20"/>
                  </a:lnTo>
                  <a:lnTo>
                    <a:pt x="2" y="25"/>
                  </a:lnTo>
                  <a:lnTo>
                    <a:pt x="0" y="32"/>
                  </a:lnTo>
                  <a:lnTo>
                    <a:pt x="0" y="333"/>
                  </a:lnTo>
                  <a:lnTo>
                    <a:pt x="0" y="333"/>
                  </a:lnTo>
                  <a:lnTo>
                    <a:pt x="2" y="339"/>
                  </a:lnTo>
                  <a:lnTo>
                    <a:pt x="3" y="345"/>
                  </a:lnTo>
                  <a:lnTo>
                    <a:pt x="6" y="350"/>
                  </a:lnTo>
                  <a:lnTo>
                    <a:pt x="10" y="354"/>
                  </a:lnTo>
                  <a:lnTo>
                    <a:pt x="15" y="358"/>
                  </a:lnTo>
                  <a:lnTo>
                    <a:pt x="20" y="361"/>
                  </a:lnTo>
                  <a:lnTo>
                    <a:pt x="26" y="364"/>
                  </a:lnTo>
                  <a:lnTo>
                    <a:pt x="32" y="364"/>
                  </a:lnTo>
                  <a:lnTo>
                    <a:pt x="333" y="364"/>
                  </a:lnTo>
                  <a:lnTo>
                    <a:pt x="333" y="364"/>
                  </a:lnTo>
                  <a:lnTo>
                    <a:pt x="340" y="364"/>
                  </a:lnTo>
                  <a:lnTo>
                    <a:pt x="345" y="361"/>
                  </a:lnTo>
                  <a:lnTo>
                    <a:pt x="350" y="358"/>
                  </a:lnTo>
                  <a:lnTo>
                    <a:pt x="356" y="354"/>
                  </a:lnTo>
                  <a:lnTo>
                    <a:pt x="358" y="350"/>
                  </a:lnTo>
                  <a:lnTo>
                    <a:pt x="362" y="345"/>
                  </a:lnTo>
                  <a:lnTo>
                    <a:pt x="364" y="339"/>
                  </a:lnTo>
                  <a:lnTo>
                    <a:pt x="365" y="333"/>
                  </a:lnTo>
                  <a:lnTo>
                    <a:pt x="365" y="32"/>
                  </a:lnTo>
                  <a:lnTo>
                    <a:pt x="365" y="32"/>
                  </a:lnTo>
                  <a:lnTo>
                    <a:pt x="364" y="25"/>
                  </a:lnTo>
                  <a:lnTo>
                    <a:pt x="362" y="20"/>
                  </a:lnTo>
                  <a:lnTo>
                    <a:pt x="358" y="15"/>
                  </a:lnTo>
                  <a:lnTo>
                    <a:pt x="356" y="9"/>
                  </a:lnTo>
                  <a:lnTo>
                    <a:pt x="350" y="5"/>
                  </a:lnTo>
                  <a:lnTo>
                    <a:pt x="345" y="3"/>
                  </a:lnTo>
                  <a:lnTo>
                    <a:pt x="340" y="1"/>
                  </a:lnTo>
                  <a:lnTo>
                    <a:pt x="333" y="0"/>
                  </a:lnTo>
                  <a:lnTo>
                    <a:pt x="333"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mn-lt"/>
                <a:ea typeface="+mn-ea"/>
                <a:cs typeface="Arial" charset="0"/>
              </a:endParaRPr>
            </a:p>
          </p:txBody>
        </p:sp>
        <p:sp>
          <p:nvSpPr>
            <p:cNvPr id="1034" name="Freeform 1033"/>
            <p:cNvSpPr>
              <a:spLocks/>
            </p:cNvSpPr>
            <p:nvPr/>
          </p:nvSpPr>
          <p:spPr bwMode="auto">
            <a:xfrm>
              <a:off x="5379055" y="4312189"/>
              <a:ext cx="190272" cy="190272"/>
            </a:xfrm>
            <a:custGeom>
              <a:avLst/>
              <a:gdLst>
                <a:gd name="T0" fmla="*/ 332 w 364"/>
                <a:gd name="T1" fmla="*/ 0 h 364"/>
                <a:gd name="T2" fmla="*/ 31 w 364"/>
                <a:gd name="T3" fmla="*/ 0 h 364"/>
                <a:gd name="T4" fmla="*/ 31 w 364"/>
                <a:gd name="T5" fmla="*/ 0 h 364"/>
                <a:gd name="T6" fmla="*/ 26 w 364"/>
                <a:gd name="T7" fmla="*/ 1 h 364"/>
                <a:gd name="T8" fmla="*/ 19 w 364"/>
                <a:gd name="T9" fmla="*/ 3 h 364"/>
                <a:gd name="T10" fmla="*/ 14 w 364"/>
                <a:gd name="T11" fmla="*/ 5 h 364"/>
                <a:gd name="T12" fmla="*/ 10 w 364"/>
                <a:gd name="T13" fmla="*/ 9 h 364"/>
                <a:gd name="T14" fmla="*/ 5 w 364"/>
                <a:gd name="T15" fmla="*/ 15 h 364"/>
                <a:gd name="T16" fmla="*/ 3 w 364"/>
                <a:gd name="T17" fmla="*/ 20 h 364"/>
                <a:gd name="T18" fmla="*/ 0 w 364"/>
                <a:gd name="T19" fmla="*/ 25 h 364"/>
                <a:gd name="T20" fmla="*/ 0 w 364"/>
                <a:gd name="T21" fmla="*/ 32 h 364"/>
                <a:gd name="T22" fmla="*/ 0 w 364"/>
                <a:gd name="T23" fmla="*/ 333 h 364"/>
                <a:gd name="T24" fmla="*/ 0 w 364"/>
                <a:gd name="T25" fmla="*/ 333 h 364"/>
                <a:gd name="T26" fmla="*/ 0 w 364"/>
                <a:gd name="T27" fmla="*/ 339 h 364"/>
                <a:gd name="T28" fmla="*/ 3 w 364"/>
                <a:gd name="T29" fmla="*/ 345 h 364"/>
                <a:gd name="T30" fmla="*/ 5 w 364"/>
                <a:gd name="T31" fmla="*/ 350 h 364"/>
                <a:gd name="T32" fmla="*/ 10 w 364"/>
                <a:gd name="T33" fmla="*/ 354 h 364"/>
                <a:gd name="T34" fmla="*/ 14 w 364"/>
                <a:gd name="T35" fmla="*/ 358 h 364"/>
                <a:gd name="T36" fmla="*/ 19 w 364"/>
                <a:gd name="T37" fmla="*/ 361 h 364"/>
                <a:gd name="T38" fmla="*/ 26 w 364"/>
                <a:gd name="T39" fmla="*/ 364 h 364"/>
                <a:gd name="T40" fmla="*/ 31 w 364"/>
                <a:gd name="T41" fmla="*/ 364 h 364"/>
                <a:gd name="T42" fmla="*/ 332 w 364"/>
                <a:gd name="T43" fmla="*/ 364 h 364"/>
                <a:gd name="T44" fmla="*/ 332 w 364"/>
                <a:gd name="T45" fmla="*/ 364 h 364"/>
                <a:gd name="T46" fmla="*/ 338 w 364"/>
                <a:gd name="T47" fmla="*/ 364 h 364"/>
                <a:gd name="T48" fmla="*/ 344 w 364"/>
                <a:gd name="T49" fmla="*/ 361 h 364"/>
                <a:gd name="T50" fmla="*/ 349 w 364"/>
                <a:gd name="T51" fmla="*/ 358 h 364"/>
                <a:gd name="T52" fmla="*/ 354 w 364"/>
                <a:gd name="T53" fmla="*/ 354 h 364"/>
                <a:gd name="T54" fmla="*/ 358 w 364"/>
                <a:gd name="T55" fmla="*/ 350 h 364"/>
                <a:gd name="T56" fmla="*/ 361 w 364"/>
                <a:gd name="T57" fmla="*/ 345 h 364"/>
                <a:gd name="T58" fmla="*/ 362 w 364"/>
                <a:gd name="T59" fmla="*/ 339 h 364"/>
                <a:gd name="T60" fmla="*/ 364 w 364"/>
                <a:gd name="T61" fmla="*/ 333 h 364"/>
                <a:gd name="T62" fmla="*/ 364 w 364"/>
                <a:gd name="T63" fmla="*/ 32 h 364"/>
                <a:gd name="T64" fmla="*/ 364 w 364"/>
                <a:gd name="T65" fmla="*/ 32 h 364"/>
                <a:gd name="T66" fmla="*/ 362 w 364"/>
                <a:gd name="T67" fmla="*/ 25 h 364"/>
                <a:gd name="T68" fmla="*/ 361 w 364"/>
                <a:gd name="T69" fmla="*/ 20 h 364"/>
                <a:gd name="T70" fmla="*/ 358 w 364"/>
                <a:gd name="T71" fmla="*/ 15 h 364"/>
                <a:gd name="T72" fmla="*/ 354 w 364"/>
                <a:gd name="T73" fmla="*/ 9 h 364"/>
                <a:gd name="T74" fmla="*/ 349 w 364"/>
                <a:gd name="T75" fmla="*/ 5 h 364"/>
                <a:gd name="T76" fmla="*/ 344 w 364"/>
                <a:gd name="T77" fmla="*/ 3 h 364"/>
                <a:gd name="T78" fmla="*/ 338 w 364"/>
                <a:gd name="T79" fmla="*/ 1 h 364"/>
                <a:gd name="T80" fmla="*/ 332 w 364"/>
                <a:gd name="T81" fmla="*/ 0 h 364"/>
                <a:gd name="T82" fmla="*/ 332 w 364"/>
                <a:gd name="T8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4" h="364">
                  <a:moveTo>
                    <a:pt x="332" y="0"/>
                  </a:moveTo>
                  <a:lnTo>
                    <a:pt x="31" y="0"/>
                  </a:lnTo>
                  <a:lnTo>
                    <a:pt x="31" y="0"/>
                  </a:lnTo>
                  <a:lnTo>
                    <a:pt x="26" y="1"/>
                  </a:lnTo>
                  <a:lnTo>
                    <a:pt x="19" y="3"/>
                  </a:lnTo>
                  <a:lnTo>
                    <a:pt x="14" y="5"/>
                  </a:lnTo>
                  <a:lnTo>
                    <a:pt x="10" y="9"/>
                  </a:lnTo>
                  <a:lnTo>
                    <a:pt x="5" y="15"/>
                  </a:lnTo>
                  <a:lnTo>
                    <a:pt x="3" y="20"/>
                  </a:lnTo>
                  <a:lnTo>
                    <a:pt x="0" y="25"/>
                  </a:lnTo>
                  <a:lnTo>
                    <a:pt x="0" y="32"/>
                  </a:lnTo>
                  <a:lnTo>
                    <a:pt x="0" y="333"/>
                  </a:lnTo>
                  <a:lnTo>
                    <a:pt x="0" y="333"/>
                  </a:lnTo>
                  <a:lnTo>
                    <a:pt x="0" y="339"/>
                  </a:lnTo>
                  <a:lnTo>
                    <a:pt x="3" y="345"/>
                  </a:lnTo>
                  <a:lnTo>
                    <a:pt x="5" y="350"/>
                  </a:lnTo>
                  <a:lnTo>
                    <a:pt x="10" y="354"/>
                  </a:lnTo>
                  <a:lnTo>
                    <a:pt x="14" y="358"/>
                  </a:lnTo>
                  <a:lnTo>
                    <a:pt x="19" y="361"/>
                  </a:lnTo>
                  <a:lnTo>
                    <a:pt x="26" y="364"/>
                  </a:lnTo>
                  <a:lnTo>
                    <a:pt x="31" y="364"/>
                  </a:lnTo>
                  <a:lnTo>
                    <a:pt x="332" y="364"/>
                  </a:lnTo>
                  <a:lnTo>
                    <a:pt x="332" y="364"/>
                  </a:lnTo>
                  <a:lnTo>
                    <a:pt x="338" y="364"/>
                  </a:lnTo>
                  <a:lnTo>
                    <a:pt x="344" y="361"/>
                  </a:lnTo>
                  <a:lnTo>
                    <a:pt x="349" y="358"/>
                  </a:lnTo>
                  <a:lnTo>
                    <a:pt x="354" y="354"/>
                  </a:lnTo>
                  <a:lnTo>
                    <a:pt x="358" y="350"/>
                  </a:lnTo>
                  <a:lnTo>
                    <a:pt x="361" y="345"/>
                  </a:lnTo>
                  <a:lnTo>
                    <a:pt x="362" y="339"/>
                  </a:lnTo>
                  <a:lnTo>
                    <a:pt x="364" y="333"/>
                  </a:lnTo>
                  <a:lnTo>
                    <a:pt x="364" y="32"/>
                  </a:lnTo>
                  <a:lnTo>
                    <a:pt x="364" y="32"/>
                  </a:lnTo>
                  <a:lnTo>
                    <a:pt x="362" y="25"/>
                  </a:lnTo>
                  <a:lnTo>
                    <a:pt x="361" y="20"/>
                  </a:lnTo>
                  <a:lnTo>
                    <a:pt x="358" y="15"/>
                  </a:lnTo>
                  <a:lnTo>
                    <a:pt x="354" y="9"/>
                  </a:lnTo>
                  <a:lnTo>
                    <a:pt x="349" y="5"/>
                  </a:lnTo>
                  <a:lnTo>
                    <a:pt x="344" y="3"/>
                  </a:lnTo>
                  <a:lnTo>
                    <a:pt x="338" y="1"/>
                  </a:lnTo>
                  <a:lnTo>
                    <a:pt x="332" y="0"/>
                  </a:lnTo>
                  <a:lnTo>
                    <a:pt x="332"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mn-lt"/>
                <a:ea typeface="+mn-ea"/>
                <a:cs typeface="Arial" charset="0"/>
              </a:endParaRPr>
            </a:p>
          </p:txBody>
        </p:sp>
        <p:sp>
          <p:nvSpPr>
            <p:cNvPr id="1035" name="Freeform 1034"/>
            <p:cNvSpPr>
              <a:spLocks/>
            </p:cNvSpPr>
            <p:nvPr/>
          </p:nvSpPr>
          <p:spPr bwMode="auto">
            <a:xfrm>
              <a:off x="5581802" y="4312189"/>
              <a:ext cx="188712" cy="190272"/>
            </a:xfrm>
            <a:custGeom>
              <a:avLst/>
              <a:gdLst>
                <a:gd name="T0" fmla="*/ 32 w 363"/>
                <a:gd name="T1" fmla="*/ 364 h 364"/>
                <a:gd name="T2" fmla="*/ 333 w 363"/>
                <a:gd name="T3" fmla="*/ 364 h 364"/>
                <a:gd name="T4" fmla="*/ 333 w 363"/>
                <a:gd name="T5" fmla="*/ 364 h 364"/>
                <a:gd name="T6" fmla="*/ 338 w 363"/>
                <a:gd name="T7" fmla="*/ 364 h 364"/>
                <a:gd name="T8" fmla="*/ 345 w 363"/>
                <a:gd name="T9" fmla="*/ 361 h 364"/>
                <a:gd name="T10" fmla="*/ 350 w 363"/>
                <a:gd name="T11" fmla="*/ 358 h 364"/>
                <a:gd name="T12" fmla="*/ 354 w 363"/>
                <a:gd name="T13" fmla="*/ 354 h 364"/>
                <a:gd name="T14" fmla="*/ 358 w 363"/>
                <a:gd name="T15" fmla="*/ 350 h 364"/>
                <a:gd name="T16" fmla="*/ 361 w 363"/>
                <a:gd name="T17" fmla="*/ 345 h 364"/>
                <a:gd name="T18" fmla="*/ 363 w 363"/>
                <a:gd name="T19" fmla="*/ 339 h 364"/>
                <a:gd name="T20" fmla="*/ 363 w 363"/>
                <a:gd name="T21" fmla="*/ 333 h 364"/>
                <a:gd name="T22" fmla="*/ 363 w 363"/>
                <a:gd name="T23" fmla="*/ 32 h 364"/>
                <a:gd name="T24" fmla="*/ 363 w 363"/>
                <a:gd name="T25" fmla="*/ 32 h 364"/>
                <a:gd name="T26" fmla="*/ 363 w 363"/>
                <a:gd name="T27" fmla="*/ 25 h 364"/>
                <a:gd name="T28" fmla="*/ 361 w 363"/>
                <a:gd name="T29" fmla="*/ 20 h 364"/>
                <a:gd name="T30" fmla="*/ 358 w 363"/>
                <a:gd name="T31" fmla="*/ 15 h 364"/>
                <a:gd name="T32" fmla="*/ 354 w 363"/>
                <a:gd name="T33" fmla="*/ 9 h 364"/>
                <a:gd name="T34" fmla="*/ 350 w 363"/>
                <a:gd name="T35" fmla="*/ 5 h 364"/>
                <a:gd name="T36" fmla="*/ 345 w 363"/>
                <a:gd name="T37" fmla="*/ 3 h 364"/>
                <a:gd name="T38" fmla="*/ 338 w 363"/>
                <a:gd name="T39" fmla="*/ 1 h 364"/>
                <a:gd name="T40" fmla="*/ 333 w 363"/>
                <a:gd name="T41" fmla="*/ 0 h 364"/>
                <a:gd name="T42" fmla="*/ 32 w 363"/>
                <a:gd name="T43" fmla="*/ 0 h 364"/>
                <a:gd name="T44" fmla="*/ 32 w 363"/>
                <a:gd name="T45" fmla="*/ 0 h 364"/>
                <a:gd name="T46" fmla="*/ 25 w 363"/>
                <a:gd name="T47" fmla="*/ 1 h 364"/>
                <a:gd name="T48" fmla="*/ 20 w 363"/>
                <a:gd name="T49" fmla="*/ 3 h 364"/>
                <a:gd name="T50" fmla="*/ 14 w 363"/>
                <a:gd name="T51" fmla="*/ 5 h 364"/>
                <a:gd name="T52" fmla="*/ 9 w 363"/>
                <a:gd name="T53" fmla="*/ 9 h 364"/>
                <a:gd name="T54" fmla="*/ 5 w 363"/>
                <a:gd name="T55" fmla="*/ 15 h 364"/>
                <a:gd name="T56" fmla="*/ 2 w 363"/>
                <a:gd name="T57" fmla="*/ 20 h 364"/>
                <a:gd name="T58" fmla="*/ 1 w 363"/>
                <a:gd name="T59" fmla="*/ 25 h 364"/>
                <a:gd name="T60" fmla="*/ 0 w 363"/>
                <a:gd name="T61" fmla="*/ 32 h 364"/>
                <a:gd name="T62" fmla="*/ 0 w 363"/>
                <a:gd name="T63" fmla="*/ 333 h 364"/>
                <a:gd name="T64" fmla="*/ 0 w 363"/>
                <a:gd name="T65" fmla="*/ 333 h 364"/>
                <a:gd name="T66" fmla="*/ 1 w 363"/>
                <a:gd name="T67" fmla="*/ 339 h 364"/>
                <a:gd name="T68" fmla="*/ 2 w 363"/>
                <a:gd name="T69" fmla="*/ 345 h 364"/>
                <a:gd name="T70" fmla="*/ 5 w 363"/>
                <a:gd name="T71" fmla="*/ 350 h 364"/>
                <a:gd name="T72" fmla="*/ 9 w 363"/>
                <a:gd name="T73" fmla="*/ 354 h 364"/>
                <a:gd name="T74" fmla="*/ 14 w 363"/>
                <a:gd name="T75" fmla="*/ 358 h 364"/>
                <a:gd name="T76" fmla="*/ 20 w 363"/>
                <a:gd name="T77" fmla="*/ 361 h 364"/>
                <a:gd name="T78" fmla="*/ 25 w 363"/>
                <a:gd name="T79" fmla="*/ 364 h 364"/>
                <a:gd name="T80" fmla="*/ 32 w 363"/>
                <a:gd name="T81" fmla="*/ 364 h 364"/>
                <a:gd name="T82" fmla="*/ 32 w 363"/>
                <a:gd name="T83"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3" h="364">
                  <a:moveTo>
                    <a:pt x="32" y="364"/>
                  </a:moveTo>
                  <a:lnTo>
                    <a:pt x="333" y="364"/>
                  </a:lnTo>
                  <a:lnTo>
                    <a:pt x="333" y="364"/>
                  </a:lnTo>
                  <a:lnTo>
                    <a:pt x="338" y="364"/>
                  </a:lnTo>
                  <a:lnTo>
                    <a:pt x="345" y="361"/>
                  </a:lnTo>
                  <a:lnTo>
                    <a:pt x="350" y="358"/>
                  </a:lnTo>
                  <a:lnTo>
                    <a:pt x="354" y="354"/>
                  </a:lnTo>
                  <a:lnTo>
                    <a:pt x="358" y="350"/>
                  </a:lnTo>
                  <a:lnTo>
                    <a:pt x="361" y="345"/>
                  </a:lnTo>
                  <a:lnTo>
                    <a:pt x="363" y="339"/>
                  </a:lnTo>
                  <a:lnTo>
                    <a:pt x="363" y="333"/>
                  </a:lnTo>
                  <a:lnTo>
                    <a:pt x="363" y="32"/>
                  </a:lnTo>
                  <a:lnTo>
                    <a:pt x="363" y="32"/>
                  </a:lnTo>
                  <a:lnTo>
                    <a:pt x="363" y="25"/>
                  </a:lnTo>
                  <a:lnTo>
                    <a:pt x="361" y="20"/>
                  </a:lnTo>
                  <a:lnTo>
                    <a:pt x="358" y="15"/>
                  </a:lnTo>
                  <a:lnTo>
                    <a:pt x="354" y="9"/>
                  </a:lnTo>
                  <a:lnTo>
                    <a:pt x="350" y="5"/>
                  </a:lnTo>
                  <a:lnTo>
                    <a:pt x="345" y="3"/>
                  </a:lnTo>
                  <a:lnTo>
                    <a:pt x="338" y="1"/>
                  </a:lnTo>
                  <a:lnTo>
                    <a:pt x="333" y="0"/>
                  </a:lnTo>
                  <a:lnTo>
                    <a:pt x="32" y="0"/>
                  </a:lnTo>
                  <a:lnTo>
                    <a:pt x="32" y="0"/>
                  </a:lnTo>
                  <a:lnTo>
                    <a:pt x="25" y="1"/>
                  </a:lnTo>
                  <a:lnTo>
                    <a:pt x="20" y="3"/>
                  </a:lnTo>
                  <a:lnTo>
                    <a:pt x="14" y="5"/>
                  </a:lnTo>
                  <a:lnTo>
                    <a:pt x="9" y="9"/>
                  </a:lnTo>
                  <a:lnTo>
                    <a:pt x="5" y="15"/>
                  </a:lnTo>
                  <a:lnTo>
                    <a:pt x="2" y="20"/>
                  </a:lnTo>
                  <a:lnTo>
                    <a:pt x="1" y="25"/>
                  </a:lnTo>
                  <a:lnTo>
                    <a:pt x="0" y="32"/>
                  </a:lnTo>
                  <a:lnTo>
                    <a:pt x="0" y="333"/>
                  </a:lnTo>
                  <a:lnTo>
                    <a:pt x="0" y="333"/>
                  </a:lnTo>
                  <a:lnTo>
                    <a:pt x="1" y="339"/>
                  </a:lnTo>
                  <a:lnTo>
                    <a:pt x="2" y="345"/>
                  </a:lnTo>
                  <a:lnTo>
                    <a:pt x="5" y="350"/>
                  </a:lnTo>
                  <a:lnTo>
                    <a:pt x="9" y="354"/>
                  </a:lnTo>
                  <a:lnTo>
                    <a:pt x="14" y="358"/>
                  </a:lnTo>
                  <a:lnTo>
                    <a:pt x="20" y="361"/>
                  </a:lnTo>
                  <a:lnTo>
                    <a:pt x="25" y="364"/>
                  </a:lnTo>
                  <a:lnTo>
                    <a:pt x="32" y="364"/>
                  </a:lnTo>
                  <a:lnTo>
                    <a:pt x="32" y="364"/>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mn-lt"/>
                <a:ea typeface="+mn-ea"/>
                <a:cs typeface="Arial" charset="0"/>
              </a:endParaRPr>
            </a:p>
          </p:txBody>
        </p:sp>
        <p:sp>
          <p:nvSpPr>
            <p:cNvPr id="1036" name="Freeform 1035"/>
            <p:cNvSpPr>
              <a:spLocks/>
            </p:cNvSpPr>
            <p:nvPr/>
          </p:nvSpPr>
          <p:spPr bwMode="auto">
            <a:xfrm>
              <a:off x="5151353" y="4510259"/>
              <a:ext cx="215225" cy="165317"/>
            </a:xfrm>
            <a:custGeom>
              <a:avLst/>
              <a:gdLst>
                <a:gd name="T0" fmla="*/ 384 w 416"/>
                <a:gd name="T1" fmla="*/ 0 h 317"/>
                <a:gd name="T2" fmla="*/ 83 w 416"/>
                <a:gd name="T3" fmla="*/ 0 h 317"/>
                <a:gd name="T4" fmla="*/ 83 w 416"/>
                <a:gd name="T5" fmla="*/ 0 h 317"/>
                <a:gd name="T6" fmla="*/ 71 w 416"/>
                <a:gd name="T7" fmla="*/ 1 h 317"/>
                <a:gd name="T8" fmla="*/ 61 w 416"/>
                <a:gd name="T9" fmla="*/ 3 h 317"/>
                <a:gd name="T10" fmla="*/ 54 w 416"/>
                <a:gd name="T11" fmla="*/ 5 h 317"/>
                <a:gd name="T12" fmla="*/ 53 w 416"/>
                <a:gd name="T13" fmla="*/ 7 h 317"/>
                <a:gd name="T14" fmla="*/ 51 w 416"/>
                <a:gd name="T15" fmla="*/ 8 h 317"/>
                <a:gd name="T16" fmla="*/ 20 w 416"/>
                <a:gd name="T17" fmla="*/ 73 h 317"/>
                <a:gd name="T18" fmla="*/ 20 w 416"/>
                <a:gd name="T19" fmla="*/ 73 h 317"/>
                <a:gd name="T20" fmla="*/ 22 w 416"/>
                <a:gd name="T21" fmla="*/ 76 h 317"/>
                <a:gd name="T22" fmla="*/ 24 w 416"/>
                <a:gd name="T23" fmla="*/ 79 h 317"/>
                <a:gd name="T24" fmla="*/ 31 w 416"/>
                <a:gd name="T25" fmla="*/ 80 h 317"/>
                <a:gd name="T26" fmla="*/ 42 w 416"/>
                <a:gd name="T27" fmla="*/ 81 h 317"/>
                <a:gd name="T28" fmla="*/ 70 w 416"/>
                <a:gd name="T29" fmla="*/ 81 h 317"/>
                <a:gd name="T30" fmla="*/ 70 w 416"/>
                <a:gd name="T31" fmla="*/ 289 h 317"/>
                <a:gd name="T32" fmla="*/ 0 w 416"/>
                <a:gd name="T33" fmla="*/ 289 h 317"/>
                <a:gd name="T34" fmla="*/ 0 w 416"/>
                <a:gd name="T35" fmla="*/ 317 h 317"/>
                <a:gd name="T36" fmla="*/ 166 w 416"/>
                <a:gd name="T37" fmla="*/ 317 h 317"/>
                <a:gd name="T38" fmla="*/ 166 w 416"/>
                <a:gd name="T39" fmla="*/ 289 h 317"/>
                <a:gd name="T40" fmla="*/ 97 w 416"/>
                <a:gd name="T41" fmla="*/ 289 h 317"/>
                <a:gd name="T42" fmla="*/ 97 w 416"/>
                <a:gd name="T43" fmla="*/ 81 h 317"/>
                <a:gd name="T44" fmla="*/ 384 w 416"/>
                <a:gd name="T45" fmla="*/ 81 h 317"/>
                <a:gd name="T46" fmla="*/ 384 w 416"/>
                <a:gd name="T47" fmla="*/ 81 h 317"/>
                <a:gd name="T48" fmla="*/ 396 w 416"/>
                <a:gd name="T49" fmla="*/ 80 h 317"/>
                <a:gd name="T50" fmla="*/ 407 w 416"/>
                <a:gd name="T51" fmla="*/ 79 h 317"/>
                <a:gd name="T52" fmla="*/ 413 w 416"/>
                <a:gd name="T53" fmla="*/ 76 h 317"/>
                <a:gd name="T54" fmla="*/ 415 w 416"/>
                <a:gd name="T55" fmla="*/ 75 h 317"/>
                <a:gd name="T56" fmla="*/ 416 w 416"/>
                <a:gd name="T57" fmla="*/ 73 h 317"/>
                <a:gd name="T58" fmla="*/ 416 w 416"/>
                <a:gd name="T59" fmla="*/ 8 h 317"/>
                <a:gd name="T60" fmla="*/ 416 w 416"/>
                <a:gd name="T61" fmla="*/ 8 h 317"/>
                <a:gd name="T62" fmla="*/ 415 w 416"/>
                <a:gd name="T63" fmla="*/ 7 h 317"/>
                <a:gd name="T64" fmla="*/ 413 w 416"/>
                <a:gd name="T65" fmla="*/ 5 h 317"/>
                <a:gd name="T66" fmla="*/ 407 w 416"/>
                <a:gd name="T67" fmla="*/ 3 h 317"/>
                <a:gd name="T68" fmla="*/ 396 w 416"/>
                <a:gd name="T69" fmla="*/ 1 h 317"/>
                <a:gd name="T70" fmla="*/ 384 w 416"/>
                <a:gd name="T71" fmla="*/ 0 h 317"/>
                <a:gd name="T72" fmla="*/ 384 w 416"/>
                <a:gd name="T73"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6" h="317">
                  <a:moveTo>
                    <a:pt x="384" y="0"/>
                  </a:moveTo>
                  <a:lnTo>
                    <a:pt x="83" y="0"/>
                  </a:lnTo>
                  <a:lnTo>
                    <a:pt x="83" y="0"/>
                  </a:lnTo>
                  <a:lnTo>
                    <a:pt x="71" y="1"/>
                  </a:lnTo>
                  <a:lnTo>
                    <a:pt x="61" y="3"/>
                  </a:lnTo>
                  <a:lnTo>
                    <a:pt x="54" y="5"/>
                  </a:lnTo>
                  <a:lnTo>
                    <a:pt x="53" y="7"/>
                  </a:lnTo>
                  <a:lnTo>
                    <a:pt x="51" y="8"/>
                  </a:lnTo>
                  <a:lnTo>
                    <a:pt x="20" y="73"/>
                  </a:lnTo>
                  <a:lnTo>
                    <a:pt x="20" y="73"/>
                  </a:lnTo>
                  <a:lnTo>
                    <a:pt x="22" y="76"/>
                  </a:lnTo>
                  <a:lnTo>
                    <a:pt x="24" y="79"/>
                  </a:lnTo>
                  <a:lnTo>
                    <a:pt x="31" y="80"/>
                  </a:lnTo>
                  <a:lnTo>
                    <a:pt x="42" y="81"/>
                  </a:lnTo>
                  <a:lnTo>
                    <a:pt x="70" y="81"/>
                  </a:lnTo>
                  <a:lnTo>
                    <a:pt x="70" y="289"/>
                  </a:lnTo>
                  <a:lnTo>
                    <a:pt x="0" y="289"/>
                  </a:lnTo>
                  <a:lnTo>
                    <a:pt x="0" y="317"/>
                  </a:lnTo>
                  <a:lnTo>
                    <a:pt x="166" y="317"/>
                  </a:lnTo>
                  <a:lnTo>
                    <a:pt x="166" y="289"/>
                  </a:lnTo>
                  <a:lnTo>
                    <a:pt x="97" y="289"/>
                  </a:lnTo>
                  <a:lnTo>
                    <a:pt x="97" y="81"/>
                  </a:lnTo>
                  <a:lnTo>
                    <a:pt x="384" y="81"/>
                  </a:lnTo>
                  <a:lnTo>
                    <a:pt x="384" y="81"/>
                  </a:lnTo>
                  <a:lnTo>
                    <a:pt x="396" y="80"/>
                  </a:lnTo>
                  <a:lnTo>
                    <a:pt x="407" y="79"/>
                  </a:lnTo>
                  <a:lnTo>
                    <a:pt x="413" y="76"/>
                  </a:lnTo>
                  <a:lnTo>
                    <a:pt x="415" y="75"/>
                  </a:lnTo>
                  <a:lnTo>
                    <a:pt x="416" y="73"/>
                  </a:lnTo>
                  <a:lnTo>
                    <a:pt x="416" y="8"/>
                  </a:lnTo>
                  <a:lnTo>
                    <a:pt x="416" y="8"/>
                  </a:lnTo>
                  <a:lnTo>
                    <a:pt x="415" y="7"/>
                  </a:lnTo>
                  <a:lnTo>
                    <a:pt x="413" y="5"/>
                  </a:lnTo>
                  <a:lnTo>
                    <a:pt x="407" y="3"/>
                  </a:lnTo>
                  <a:lnTo>
                    <a:pt x="396" y="1"/>
                  </a:lnTo>
                  <a:lnTo>
                    <a:pt x="384" y="0"/>
                  </a:lnTo>
                  <a:lnTo>
                    <a:pt x="384"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mn-lt"/>
                <a:ea typeface="+mn-ea"/>
                <a:cs typeface="Arial" charset="0"/>
              </a:endParaRPr>
            </a:p>
          </p:txBody>
        </p:sp>
        <p:sp>
          <p:nvSpPr>
            <p:cNvPr id="1037" name="Freeform 1036"/>
            <p:cNvSpPr>
              <a:spLocks/>
            </p:cNvSpPr>
            <p:nvPr/>
          </p:nvSpPr>
          <p:spPr bwMode="auto">
            <a:xfrm>
              <a:off x="5379055" y="4510259"/>
              <a:ext cx="190272" cy="42110"/>
            </a:xfrm>
            <a:custGeom>
              <a:avLst/>
              <a:gdLst>
                <a:gd name="T0" fmla="*/ 332 w 364"/>
                <a:gd name="T1" fmla="*/ 0 h 81"/>
                <a:gd name="T2" fmla="*/ 31 w 364"/>
                <a:gd name="T3" fmla="*/ 0 h 81"/>
                <a:gd name="T4" fmla="*/ 31 w 364"/>
                <a:gd name="T5" fmla="*/ 0 h 81"/>
                <a:gd name="T6" fmla="*/ 19 w 364"/>
                <a:gd name="T7" fmla="*/ 1 h 81"/>
                <a:gd name="T8" fmla="*/ 10 w 364"/>
                <a:gd name="T9" fmla="*/ 3 h 81"/>
                <a:gd name="T10" fmla="*/ 3 w 364"/>
                <a:gd name="T11" fmla="*/ 5 h 81"/>
                <a:gd name="T12" fmla="*/ 0 w 364"/>
                <a:gd name="T13" fmla="*/ 7 h 81"/>
                <a:gd name="T14" fmla="*/ 0 w 364"/>
                <a:gd name="T15" fmla="*/ 8 h 81"/>
                <a:gd name="T16" fmla="*/ 0 w 364"/>
                <a:gd name="T17" fmla="*/ 73 h 81"/>
                <a:gd name="T18" fmla="*/ 0 w 364"/>
                <a:gd name="T19" fmla="*/ 73 h 81"/>
                <a:gd name="T20" fmla="*/ 0 w 364"/>
                <a:gd name="T21" fmla="*/ 75 h 81"/>
                <a:gd name="T22" fmla="*/ 3 w 364"/>
                <a:gd name="T23" fmla="*/ 76 h 81"/>
                <a:gd name="T24" fmla="*/ 10 w 364"/>
                <a:gd name="T25" fmla="*/ 79 h 81"/>
                <a:gd name="T26" fmla="*/ 19 w 364"/>
                <a:gd name="T27" fmla="*/ 80 h 81"/>
                <a:gd name="T28" fmla="*/ 31 w 364"/>
                <a:gd name="T29" fmla="*/ 81 h 81"/>
                <a:gd name="T30" fmla="*/ 332 w 364"/>
                <a:gd name="T31" fmla="*/ 81 h 81"/>
                <a:gd name="T32" fmla="*/ 332 w 364"/>
                <a:gd name="T33" fmla="*/ 81 h 81"/>
                <a:gd name="T34" fmla="*/ 344 w 364"/>
                <a:gd name="T35" fmla="*/ 80 h 81"/>
                <a:gd name="T36" fmla="*/ 354 w 364"/>
                <a:gd name="T37" fmla="*/ 79 h 81"/>
                <a:gd name="T38" fmla="*/ 361 w 364"/>
                <a:gd name="T39" fmla="*/ 76 h 81"/>
                <a:gd name="T40" fmla="*/ 362 w 364"/>
                <a:gd name="T41" fmla="*/ 75 h 81"/>
                <a:gd name="T42" fmla="*/ 364 w 364"/>
                <a:gd name="T43" fmla="*/ 73 h 81"/>
                <a:gd name="T44" fmla="*/ 364 w 364"/>
                <a:gd name="T45" fmla="*/ 8 h 81"/>
                <a:gd name="T46" fmla="*/ 364 w 364"/>
                <a:gd name="T47" fmla="*/ 8 h 81"/>
                <a:gd name="T48" fmla="*/ 362 w 364"/>
                <a:gd name="T49" fmla="*/ 7 h 81"/>
                <a:gd name="T50" fmla="*/ 361 w 364"/>
                <a:gd name="T51" fmla="*/ 5 h 81"/>
                <a:gd name="T52" fmla="*/ 354 w 364"/>
                <a:gd name="T53" fmla="*/ 3 h 81"/>
                <a:gd name="T54" fmla="*/ 344 w 364"/>
                <a:gd name="T55" fmla="*/ 1 h 81"/>
                <a:gd name="T56" fmla="*/ 332 w 364"/>
                <a:gd name="T57" fmla="*/ 0 h 81"/>
                <a:gd name="T58" fmla="*/ 332 w 364"/>
                <a:gd name="T5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4" h="81">
                  <a:moveTo>
                    <a:pt x="332" y="0"/>
                  </a:moveTo>
                  <a:lnTo>
                    <a:pt x="31" y="0"/>
                  </a:lnTo>
                  <a:lnTo>
                    <a:pt x="31" y="0"/>
                  </a:lnTo>
                  <a:lnTo>
                    <a:pt x="19" y="1"/>
                  </a:lnTo>
                  <a:lnTo>
                    <a:pt x="10" y="3"/>
                  </a:lnTo>
                  <a:lnTo>
                    <a:pt x="3" y="5"/>
                  </a:lnTo>
                  <a:lnTo>
                    <a:pt x="0" y="7"/>
                  </a:lnTo>
                  <a:lnTo>
                    <a:pt x="0" y="8"/>
                  </a:lnTo>
                  <a:lnTo>
                    <a:pt x="0" y="73"/>
                  </a:lnTo>
                  <a:lnTo>
                    <a:pt x="0" y="73"/>
                  </a:lnTo>
                  <a:lnTo>
                    <a:pt x="0" y="75"/>
                  </a:lnTo>
                  <a:lnTo>
                    <a:pt x="3" y="76"/>
                  </a:lnTo>
                  <a:lnTo>
                    <a:pt x="10" y="79"/>
                  </a:lnTo>
                  <a:lnTo>
                    <a:pt x="19" y="80"/>
                  </a:lnTo>
                  <a:lnTo>
                    <a:pt x="31" y="81"/>
                  </a:lnTo>
                  <a:lnTo>
                    <a:pt x="332" y="81"/>
                  </a:lnTo>
                  <a:lnTo>
                    <a:pt x="332" y="81"/>
                  </a:lnTo>
                  <a:lnTo>
                    <a:pt x="344" y="80"/>
                  </a:lnTo>
                  <a:lnTo>
                    <a:pt x="354" y="79"/>
                  </a:lnTo>
                  <a:lnTo>
                    <a:pt x="361" y="76"/>
                  </a:lnTo>
                  <a:lnTo>
                    <a:pt x="362" y="75"/>
                  </a:lnTo>
                  <a:lnTo>
                    <a:pt x="364" y="73"/>
                  </a:lnTo>
                  <a:lnTo>
                    <a:pt x="364" y="8"/>
                  </a:lnTo>
                  <a:lnTo>
                    <a:pt x="364" y="8"/>
                  </a:lnTo>
                  <a:lnTo>
                    <a:pt x="362" y="7"/>
                  </a:lnTo>
                  <a:lnTo>
                    <a:pt x="361" y="5"/>
                  </a:lnTo>
                  <a:lnTo>
                    <a:pt x="354" y="3"/>
                  </a:lnTo>
                  <a:lnTo>
                    <a:pt x="344" y="1"/>
                  </a:lnTo>
                  <a:lnTo>
                    <a:pt x="332" y="0"/>
                  </a:lnTo>
                  <a:lnTo>
                    <a:pt x="332"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mn-lt"/>
                <a:ea typeface="+mn-ea"/>
                <a:cs typeface="Arial" charset="0"/>
              </a:endParaRPr>
            </a:p>
          </p:txBody>
        </p:sp>
        <p:sp>
          <p:nvSpPr>
            <p:cNvPr id="1038" name="Freeform 1037"/>
            <p:cNvSpPr>
              <a:spLocks/>
            </p:cNvSpPr>
            <p:nvPr/>
          </p:nvSpPr>
          <p:spPr bwMode="auto">
            <a:xfrm>
              <a:off x="5581802" y="4510259"/>
              <a:ext cx="224583" cy="165317"/>
            </a:xfrm>
            <a:custGeom>
              <a:avLst/>
              <a:gdLst>
                <a:gd name="T0" fmla="*/ 363 w 433"/>
                <a:gd name="T1" fmla="*/ 289 h 317"/>
                <a:gd name="T2" fmla="*/ 363 w 433"/>
                <a:gd name="T3" fmla="*/ 81 h 317"/>
                <a:gd name="T4" fmla="*/ 374 w 433"/>
                <a:gd name="T5" fmla="*/ 81 h 317"/>
                <a:gd name="T6" fmla="*/ 374 w 433"/>
                <a:gd name="T7" fmla="*/ 81 h 317"/>
                <a:gd name="T8" fmla="*/ 385 w 433"/>
                <a:gd name="T9" fmla="*/ 80 h 317"/>
                <a:gd name="T10" fmla="*/ 391 w 433"/>
                <a:gd name="T11" fmla="*/ 79 h 317"/>
                <a:gd name="T12" fmla="*/ 394 w 433"/>
                <a:gd name="T13" fmla="*/ 76 h 317"/>
                <a:gd name="T14" fmla="*/ 395 w 433"/>
                <a:gd name="T15" fmla="*/ 73 h 317"/>
                <a:gd name="T16" fmla="*/ 363 w 433"/>
                <a:gd name="T17" fmla="*/ 8 h 317"/>
                <a:gd name="T18" fmla="*/ 363 w 433"/>
                <a:gd name="T19" fmla="*/ 8 h 317"/>
                <a:gd name="T20" fmla="*/ 363 w 433"/>
                <a:gd name="T21" fmla="*/ 7 h 317"/>
                <a:gd name="T22" fmla="*/ 361 w 433"/>
                <a:gd name="T23" fmla="*/ 5 h 317"/>
                <a:gd name="T24" fmla="*/ 354 w 433"/>
                <a:gd name="T25" fmla="*/ 3 h 317"/>
                <a:gd name="T26" fmla="*/ 345 w 433"/>
                <a:gd name="T27" fmla="*/ 1 h 317"/>
                <a:gd name="T28" fmla="*/ 333 w 433"/>
                <a:gd name="T29" fmla="*/ 0 h 317"/>
                <a:gd name="T30" fmla="*/ 32 w 433"/>
                <a:gd name="T31" fmla="*/ 0 h 317"/>
                <a:gd name="T32" fmla="*/ 32 w 433"/>
                <a:gd name="T33" fmla="*/ 0 h 317"/>
                <a:gd name="T34" fmla="*/ 20 w 433"/>
                <a:gd name="T35" fmla="*/ 1 h 317"/>
                <a:gd name="T36" fmla="*/ 9 w 433"/>
                <a:gd name="T37" fmla="*/ 3 h 317"/>
                <a:gd name="T38" fmla="*/ 2 w 433"/>
                <a:gd name="T39" fmla="*/ 5 h 317"/>
                <a:gd name="T40" fmla="*/ 1 w 433"/>
                <a:gd name="T41" fmla="*/ 7 h 317"/>
                <a:gd name="T42" fmla="*/ 0 w 433"/>
                <a:gd name="T43" fmla="*/ 8 h 317"/>
                <a:gd name="T44" fmla="*/ 0 w 433"/>
                <a:gd name="T45" fmla="*/ 73 h 317"/>
                <a:gd name="T46" fmla="*/ 0 w 433"/>
                <a:gd name="T47" fmla="*/ 73 h 317"/>
                <a:gd name="T48" fmla="*/ 1 w 433"/>
                <a:gd name="T49" fmla="*/ 75 h 317"/>
                <a:gd name="T50" fmla="*/ 2 w 433"/>
                <a:gd name="T51" fmla="*/ 76 h 317"/>
                <a:gd name="T52" fmla="*/ 9 w 433"/>
                <a:gd name="T53" fmla="*/ 79 h 317"/>
                <a:gd name="T54" fmla="*/ 20 w 433"/>
                <a:gd name="T55" fmla="*/ 80 h 317"/>
                <a:gd name="T56" fmla="*/ 32 w 433"/>
                <a:gd name="T57" fmla="*/ 81 h 317"/>
                <a:gd name="T58" fmla="*/ 335 w 433"/>
                <a:gd name="T59" fmla="*/ 81 h 317"/>
                <a:gd name="T60" fmla="*/ 335 w 433"/>
                <a:gd name="T61" fmla="*/ 289 h 317"/>
                <a:gd name="T62" fmla="*/ 267 w 433"/>
                <a:gd name="T63" fmla="*/ 289 h 317"/>
                <a:gd name="T64" fmla="*/ 267 w 433"/>
                <a:gd name="T65" fmla="*/ 317 h 317"/>
                <a:gd name="T66" fmla="*/ 433 w 433"/>
                <a:gd name="T67" fmla="*/ 317 h 317"/>
                <a:gd name="T68" fmla="*/ 433 w 433"/>
                <a:gd name="T69" fmla="*/ 289 h 317"/>
                <a:gd name="T70" fmla="*/ 363 w 433"/>
                <a:gd name="T71" fmla="*/ 28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3" h="317">
                  <a:moveTo>
                    <a:pt x="363" y="289"/>
                  </a:moveTo>
                  <a:lnTo>
                    <a:pt x="363" y="81"/>
                  </a:lnTo>
                  <a:lnTo>
                    <a:pt x="374" y="81"/>
                  </a:lnTo>
                  <a:lnTo>
                    <a:pt x="374" y="81"/>
                  </a:lnTo>
                  <a:lnTo>
                    <a:pt x="385" y="80"/>
                  </a:lnTo>
                  <a:lnTo>
                    <a:pt x="391" y="79"/>
                  </a:lnTo>
                  <a:lnTo>
                    <a:pt x="394" y="76"/>
                  </a:lnTo>
                  <a:lnTo>
                    <a:pt x="395" y="73"/>
                  </a:lnTo>
                  <a:lnTo>
                    <a:pt x="363" y="8"/>
                  </a:lnTo>
                  <a:lnTo>
                    <a:pt x="363" y="8"/>
                  </a:lnTo>
                  <a:lnTo>
                    <a:pt x="363" y="7"/>
                  </a:lnTo>
                  <a:lnTo>
                    <a:pt x="361" y="5"/>
                  </a:lnTo>
                  <a:lnTo>
                    <a:pt x="354" y="3"/>
                  </a:lnTo>
                  <a:lnTo>
                    <a:pt x="345" y="1"/>
                  </a:lnTo>
                  <a:lnTo>
                    <a:pt x="333" y="0"/>
                  </a:lnTo>
                  <a:lnTo>
                    <a:pt x="32" y="0"/>
                  </a:lnTo>
                  <a:lnTo>
                    <a:pt x="32" y="0"/>
                  </a:lnTo>
                  <a:lnTo>
                    <a:pt x="20" y="1"/>
                  </a:lnTo>
                  <a:lnTo>
                    <a:pt x="9" y="3"/>
                  </a:lnTo>
                  <a:lnTo>
                    <a:pt x="2" y="5"/>
                  </a:lnTo>
                  <a:lnTo>
                    <a:pt x="1" y="7"/>
                  </a:lnTo>
                  <a:lnTo>
                    <a:pt x="0" y="8"/>
                  </a:lnTo>
                  <a:lnTo>
                    <a:pt x="0" y="73"/>
                  </a:lnTo>
                  <a:lnTo>
                    <a:pt x="0" y="73"/>
                  </a:lnTo>
                  <a:lnTo>
                    <a:pt x="1" y="75"/>
                  </a:lnTo>
                  <a:lnTo>
                    <a:pt x="2" y="76"/>
                  </a:lnTo>
                  <a:lnTo>
                    <a:pt x="9" y="79"/>
                  </a:lnTo>
                  <a:lnTo>
                    <a:pt x="20" y="80"/>
                  </a:lnTo>
                  <a:lnTo>
                    <a:pt x="32" y="81"/>
                  </a:lnTo>
                  <a:lnTo>
                    <a:pt x="335" y="81"/>
                  </a:lnTo>
                  <a:lnTo>
                    <a:pt x="335" y="289"/>
                  </a:lnTo>
                  <a:lnTo>
                    <a:pt x="267" y="289"/>
                  </a:lnTo>
                  <a:lnTo>
                    <a:pt x="267" y="317"/>
                  </a:lnTo>
                  <a:lnTo>
                    <a:pt x="433" y="317"/>
                  </a:lnTo>
                  <a:lnTo>
                    <a:pt x="433" y="289"/>
                  </a:lnTo>
                  <a:lnTo>
                    <a:pt x="363" y="289"/>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mn-lt"/>
                <a:ea typeface="+mn-ea"/>
                <a:cs typeface="Arial" charset="0"/>
              </a:endParaRPr>
            </a:p>
          </p:txBody>
        </p:sp>
      </p:grpSp>
      <p:grpSp>
        <p:nvGrpSpPr>
          <p:cNvPr id="976" name="Group 975"/>
          <p:cNvGrpSpPr/>
          <p:nvPr/>
        </p:nvGrpSpPr>
        <p:grpSpPr>
          <a:xfrm>
            <a:off x="3611678" y="3181186"/>
            <a:ext cx="609391" cy="176502"/>
            <a:chOff x="2031377" y="2611338"/>
            <a:chExt cx="609391" cy="258415"/>
          </a:xfrm>
        </p:grpSpPr>
        <p:sp>
          <p:nvSpPr>
            <p:cNvPr id="977" name="Rectangle 976"/>
            <p:cNvSpPr/>
            <p:nvPr/>
          </p:nvSpPr>
          <p:spPr bwMode="auto">
            <a:xfrm>
              <a:off x="2079416" y="2611338"/>
              <a:ext cx="561352" cy="258415"/>
            </a:xfrm>
            <a:prstGeom prst="rect">
              <a:avLst/>
            </a:prstGeom>
            <a:solidFill>
              <a:schemeClr val="tx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895639"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w="3175">
                    <a:noFill/>
                  </a:ln>
                  <a:solidFill>
                    <a:srgbClr val="8DC548"/>
                  </a:solidFill>
                  <a:effectLst/>
                  <a:uLnTx/>
                  <a:uFillTx/>
                  <a:cs typeface="Arial" charset="0"/>
                </a:rPr>
                <a:t>ON TIME</a:t>
              </a:r>
              <a:endParaRPr kumimoji="0" lang="en-US" sz="500" b="0" i="0" u="none" strike="noStrike" kern="0" cap="none" spc="0" normalizeH="0" baseline="0" noProof="0" dirty="0">
                <a:ln w="3175">
                  <a:noFill/>
                </a:ln>
                <a:solidFill>
                  <a:srgbClr val="8DC548"/>
                </a:solidFill>
                <a:effectLst/>
                <a:uLnTx/>
                <a:uFillTx/>
                <a:cs typeface="Arial" charset="0"/>
              </a:endParaRPr>
            </a:p>
          </p:txBody>
        </p:sp>
        <p:sp>
          <p:nvSpPr>
            <p:cNvPr id="979" name="Isosceles Triangle 978"/>
            <p:cNvSpPr/>
            <p:nvPr/>
          </p:nvSpPr>
          <p:spPr bwMode="auto">
            <a:xfrm rot="5400000" flipV="1">
              <a:off x="1961600" y="2730215"/>
              <a:ext cx="178219" cy="38666"/>
            </a:xfrm>
            <a:prstGeom prst="triangle">
              <a:avLst>
                <a:gd name="adj" fmla="val 5019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1"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140" name="Group 1139"/>
          <p:cNvGrpSpPr/>
          <p:nvPr/>
        </p:nvGrpSpPr>
        <p:grpSpPr>
          <a:xfrm rot="17785875">
            <a:off x="3861041" y="2837836"/>
            <a:ext cx="75025" cy="134294"/>
            <a:chOff x="2687372" y="3149601"/>
            <a:chExt cx="81465" cy="132564"/>
          </a:xfrm>
          <a:solidFill>
            <a:schemeClr val="accent2"/>
          </a:solidFill>
        </p:grpSpPr>
        <p:sp>
          <p:nvSpPr>
            <p:cNvPr id="1141"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2"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4"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14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1053" name="Rectangle 2024"/>
          <p:cNvSpPr>
            <a:spLocks noChangeArrowheads="1"/>
          </p:cNvSpPr>
          <p:nvPr/>
        </p:nvSpPr>
        <p:spPr bwMode="auto">
          <a:xfrm>
            <a:off x="4401393" y="2272110"/>
            <a:ext cx="38100" cy="1489075"/>
          </a:xfrm>
          <a:prstGeom prst="rect">
            <a:avLst/>
          </a:prstGeom>
          <a:solidFill>
            <a:srgbClr val="00708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899" name="Group 2898"/>
          <p:cNvGrpSpPr/>
          <p:nvPr/>
        </p:nvGrpSpPr>
        <p:grpSpPr>
          <a:xfrm>
            <a:off x="1326871" y="2985606"/>
            <a:ext cx="414618" cy="426285"/>
            <a:chOff x="1347449" y="2836555"/>
            <a:chExt cx="414618" cy="426285"/>
          </a:xfrm>
        </p:grpSpPr>
        <p:grpSp>
          <p:nvGrpSpPr>
            <p:cNvPr id="2882" name="Group 2881"/>
            <p:cNvGrpSpPr/>
            <p:nvPr/>
          </p:nvGrpSpPr>
          <p:grpSpPr>
            <a:xfrm flipH="1">
              <a:off x="1347449" y="2836555"/>
              <a:ext cx="359051" cy="426285"/>
              <a:chOff x="1470952" y="3080936"/>
              <a:chExt cx="271565" cy="322417"/>
            </a:xfrm>
            <a:solidFill>
              <a:schemeClr val="bg1"/>
            </a:solidFill>
          </p:grpSpPr>
          <p:sp>
            <p:nvSpPr>
              <p:cNvPr id="864" name="Freeform 144"/>
              <p:cNvSpPr>
                <a:spLocks noEditPoints="1"/>
              </p:cNvSpPr>
              <p:nvPr/>
            </p:nvSpPr>
            <p:spPr bwMode="black">
              <a:xfrm flipH="1">
                <a:off x="1470952" y="3080936"/>
                <a:ext cx="182626" cy="322417"/>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nvGrpSpPr>
              <p:cNvPr id="2881" name="Group 2880"/>
              <p:cNvGrpSpPr/>
              <p:nvPr/>
            </p:nvGrpSpPr>
            <p:grpSpPr>
              <a:xfrm>
                <a:off x="1639836" y="3237356"/>
                <a:ext cx="102681" cy="163332"/>
                <a:chOff x="-35312" y="2354970"/>
                <a:chExt cx="231943" cy="368946"/>
              </a:xfrm>
              <a:grpFill/>
            </p:grpSpPr>
            <p:sp>
              <p:nvSpPr>
                <p:cNvPr id="868" name="Freeform 1968"/>
                <p:cNvSpPr>
                  <a:spLocks/>
                </p:cNvSpPr>
                <p:nvPr/>
              </p:nvSpPr>
              <p:spPr bwMode="auto">
                <a:xfrm>
                  <a:off x="52418" y="2430683"/>
                  <a:ext cx="144213" cy="258382"/>
                </a:xfrm>
                <a:custGeom>
                  <a:avLst/>
                  <a:gdLst>
                    <a:gd name="T0" fmla="*/ 601 w 721"/>
                    <a:gd name="T1" fmla="*/ 1288 h 1288"/>
                    <a:gd name="T2" fmla="*/ 628 w 721"/>
                    <a:gd name="T3" fmla="*/ 1276 h 1288"/>
                    <a:gd name="T4" fmla="*/ 628 w 721"/>
                    <a:gd name="T5" fmla="*/ 1276 h 1288"/>
                    <a:gd name="T6" fmla="*/ 641 w 721"/>
                    <a:gd name="T7" fmla="*/ 1267 h 1288"/>
                    <a:gd name="T8" fmla="*/ 654 w 721"/>
                    <a:gd name="T9" fmla="*/ 1259 h 1288"/>
                    <a:gd name="T10" fmla="*/ 665 w 721"/>
                    <a:gd name="T11" fmla="*/ 1250 h 1288"/>
                    <a:gd name="T12" fmla="*/ 677 w 721"/>
                    <a:gd name="T13" fmla="*/ 1240 h 1288"/>
                    <a:gd name="T14" fmla="*/ 687 w 721"/>
                    <a:gd name="T15" fmla="*/ 1230 h 1288"/>
                    <a:gd name="T16" fmla="*/ 695 w 721"/>
                    <a:gd name="T17" fmla="*/ 1218 h 1288"/>
                    <a:gd name="T18" fmla="*/ 702 w 721"/>
                    <a:gd name="T19" fmla="*/ 1206 h 1288"/>
                    <a:gd name="T20" fmla="*/ 708 w 721"/>
                    <a:gd name="T21" fmla="*/ 1194 h 1288"/>
                    <a:gd name="T22" fmla="*/ 713 w 721"/>
                    <a:gd name="T23" fmla="*/ 1181 h 1288"/>
                    <a:gd name="T24" fmla="*/ 718 w 721"/>
                    <a:gd name="T25" fmla="*/ 1168 h 1288"/>
                    <a:gd name="T26" fmla="*/ 720 w 721"/>
                    <a:gd name="T27" fmla="*/ 1155 h 1288"/>
                    <a:gd name="T28" fmla="*/ 721 w 721"/>
                    <a:gd name="T29" fmla="*/ 1142 h 1288"/>
                    <a:gd name="T30" fmla="*/ 721 w 721"/>
                    <a:gd name="T31" fmla="*/ 1129 h 1288"/>
                    <a:gd name="T32" fmla="*/ 719 w 721"/>
                    <a:gd name="T33" fmla="*/ 1115 h 1288"/>
                    <a:gd name="T34" fmla="*/ 714 w 721"/>
                    <a:gd name="T35" fmla="*/ 1103 h 1288"/>
                    <a:gd name="T36" fmla="*/ 709 w 721"/>
                    <a:gd name="T37" fmla="*/ 1090 h 1288"/>
                    <a:gd name="T38" fmla="*/ 224 w 721"/>
                    <a:gd name="T39" fmla="*/ 71 h 1288"/>
                    <a:gd name="T40" fmla="*/ 224 w 721"/>
                    <a:gd name="T41" fmla="*/ 71 h 1288"/>
                    <a:gd name="T42" fmla="*/ 218 w 721"/>
                    <a:gd name="T43" fmla="*/ 59 h 1288"/>
                    <a:gd name="T44" fmla="*/ 211 w 721"/>
                    <a:gd name="T45" fmla="*/ 48 h 1288"/>
                    <a:gd name="T46" fmla="*/ 202 w 721"/>
                    <a:gd name="T47" fmla="*/ 38 h 1288"/>
                    <a:gd name="T48" fmla="*/ 191 w 721"/>
                    <a:gd name="T49" fmla="*/ 30 h 1288"/>
                    <a:gd name="T50" fmla="*/ 181 w 721"/>
                    <a:gd name="T51" fmla="*/ 22 h 1288"/>
                    <a:gd name="T52" fmla="*/ 169 w 721"/>
                    <a:gd name="T53" fmla="*/ 16 h 1288"/>
                    <a:gd name="T54" fmla="*/ 157 w 721"/>
                    <a:gd name="T55" fmla="*/ 11 h 1288"/>
                    <a:gd name="T56" fmla="*/ 143 w 721"/>
                    <a:gd name="T57" fmla="*/ 7 h 1288"/>
                    <a:gd name="T58" fmla="*/ 130 w 721"/>
                    <a:gd name="T59" fmla="*/ 3 h 1288"/>
                    <a:gd name="T60" fmla="*/ 117 w 721"/>
                    <a:gd name="T61" fmla="*/ 1 h 1288"/>
                    <a:gd name="T62" fmla="*/ 102 w 721"/>
                    <a:gd name="T63" fmla="*/ 0 h 1288"/>
                    <a:gd name="T64" fmla="*/ 87 w 721"/>
                    <a:gd name="T65" fmla="*/ 1 h 1288"/>
                    <a:gd name="T66" fmla="*/ 73 w 721"/>
                    <a:gd name="T67" fmla="*/ 3 h 1288"/>
                    <a:gd name="T68" fmla="*/ 58 w 721"/>
                    <a:gd name="T69" fmla="*/ 8 h 1288"/>
                    <a:gd name="T70" fmla="*/ 43 w 721"/>
                    <a:gd name="T71" fmla="*/ 12 h 1288"/>
                    <a:gd name="T72" fmla="*/ 29 w 721"/>
                    <a:gd name="T73" fmla="*/ 18 h 1288"/>
                    <a:gd name="T74" fmla="*/ 0 w 721"/>
                    <a:gd name="T75" fmla="*/ 32 h 1288"/>
                    <a:gd name="T76" fmla="*/ 601 w 721"/>
                    <a:gd name="T77" fmla="*/ 1288 h 1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1" h="1288">
                      <a:moveTo>
                        <a:pt x="601" y="1288"/>
                      </a:moveTo>
                      <a:lnTo>
                        <a:pt x="628" y="1276"/>
                      </a:lnTo>
                      <a:lnTo>
                        <a:pt x="628" y="1276"/>
                      </a:lnTo>
                      <a:lnTo>
                        <a:pt x="641" y="1267"/>
                      </a:lnTo>
                      <a:lnTo>
                        <a:pt x="654" y="1259"/>
                      </a:lnTo>
                      <a:lnTo>
                        <a:pt x="665" y="1250"/>
                      </a:lnTo>
                      <a:lnTo>
                        <a:pt x="677" y="1240"/>
                      </a:lnTo>
                      <a:lnTo>
                        <a:pt x="687" y="1230"/>
                      </a:lnTo>
                      <a:lnTo>
                        <a:pt x="695" y="1218"/>
                      </a:lnTo>
                      <a:lnTo>
                        <a:pt x="702" y="1206"/>
                      </a:lnTo>
                      <a:lnTo>
                        <a:pt x="708" y="1194"/>
                      </a:lnTo>
                      <a:lnTo>
                        <a:pt x="713" y="1181"/>
                      </a:lnTo>
                      <a:lnTo>
                        <a:pt x="718" y="1168"/>
                      </a:lnTo>
                      <a:lnTo>
                        <a:pt x="720" y="1155"/>
                      </a:lnTo>
                      <a:lnTo>
                        <a:pt x="721" y="1142"/>
                      </a:lnTo>
                      <a:lnTo>
                        <a:pt x="721" y="1129"/>
                      </a:lnTo>
                      <a:lnTo>
                        <a:pt x="719" y="1115"/>
                      </a:lnTo>
                      <a:lnTo>
                        <a:pt x="714" y="1103"/>
                      </a:lnTo>
                      <a:lnTo>
                        <a:pt x="709" y="1090"/>
                      </a:lnTo>
                      <a:lnTo>
                        <a:pt x="224" y="71"/>
                      </a:lnTo>
                      <a:lnTo>
                        <a:pt x="224" y="71"/>
                      </a:lnTo>
                      <a:lnTo>
                        <a:pt x="218" y="59"/>
                      </a:lnTo>
                      <a:lnTo>
                        <a:pt x="211" y="48"/>
                      </a:lnTo>
                      <a:lnTo>
                        <a:pt x="202" y="38"/>
                      </a:lnTo>
                      <a:lnTo>
                        <a:pt x="191" y="30"/>
                      </a:lnTo>
                      <a:lnTo>
                        <a:pt x="181" y="22"/>
                      </a:lnTo>
                      <a:lnTo>
                        <a:pt x="169" y="16"/>
                      </a:lnTo>
                      <a:lnTo>
                        <a:pt x="157" y="11"/>
                      </a:lnTo>
                      <a:lnTo>
                        <a:pt x="143" y="7"/>
                      </a:lnTo>
                      <a:lnTo>
                        <a:pt x="130" y="3"/>
                      </a:lnTo>
                      <a:lnTo>
                        <a:pt x="117" y="1"/>
                      </a:lnTo>
                      <a:lnTo>
                        <a:pt x="102" y="0"/>
                      </a:lnTo>
                      <a:lnTo>
                        <a:pt x="87" y="1"/>
                      </a:lnTo>
                      <a:lnTo>
                        <a:pt x="73" y="3"/>
                      </a:lnTo>
                      <a:lnTo>
                        <a:pt x="58" y="8"/>
                      </a:lnTo>
                      <a:lnTo>
                        <a:pt x="43" y="12"/>
                      </a:lnTo>
                      <a:lnTo>
                        <a:pt x="29" y="18"/>
                      </a:lnTo>
                      <a:lnTo>
                        <a:pt x="0" y="32"/>
                      </a:lnTo>
                      <a:lnTo>
                        <a:pt x="601" y="1288"/>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869" name="Freeform 1969"/>
                <p:cNvSpPr>
                  <a:spLocks/>
                </p:cNvSpPr>
                <p:nvPr/>
              </p:nvSpPr>
              <p:spPr bwMode="auto">
                <a:xfrm>
                  <a:off x="16364" y="2442700"/>
                  <a:ext cx="145415" cy="258382"/>
                </a:xfrm>
                <a:custGeom>
                  <a:avLst/>
                  <a:gdLst>
                    <a:gd name="T0" fmla="*/ 123 w 725"/>
                    <a:gd name="T1" fmla="*/ 0 h 1287"/>
                    <a:gd name="T2" fmla="*/ 94 w 725"/>
                    <a:gd name="T3" fmla="*/ 13 h 1287"/>
                    <a:gd name="T4" fmla="*/ 94 w 725"/>
                    <a:gd name="T5" fmla="*/ 13 h 1287"/>
                    <a:gd name="T6" fmla="*/ 80 w 725"/>
                    <a:gd name="T7" fmla="*/ 20 h 1287"/>
                    <a:gd name="T8" fmla="*/ 67 w 725"/>
                    <a:gd name="T9" fmla="*/ 29 h 1287"/>
                    <a:gd name="T10" fmla="*/ 56 w 725"/>
                    <a:gd name="T11" fmla="*/ 39 h 1287"/>
                    <a:gd name="T12" fmla="*/ 44 w 725"/>
                    <a:gd name="T13" fmla="*/ 49 h 1287"/>
                    <a:gd name="T14" fmla="*/ 35 w 725"/>
                    <a:gd name="T15" fmla="*/ 59 h 1287"/>
                    <a:gd name="T16" fmla="*/ 26 w 725"/>
                    <a:gd name="T17" fmla="*/ 70 h 1287"/>
                    <a:gd name="T18" fmla="*/ 19 w 725"/>
                    <a:gd name="T19" fmla="*/ 82 h 1287"/>
                    <a:gd name="T20" fmla="*/ 13 w 725"/>
                    <a:gd name="T21" fmla="*/ 95 h 1287"/>
                    <a:gd name="T22" fmla="*/ 7 w 725"/>
                    <a:gd name="T23" fmla="*/ 108 h 1287"/>
                    <a:gd name="T24" fmla="*/ 3 w 725"/>
                    <a:gd name="T25" fmla="*/ 120 h 1287"/>
                    <a:gd name="T26" fmla="*/ 1 w 725"/>
                    <a:gd name="T27" fmla="*/ 134 h 1287"/>
                    <a:gd name="T28" fmla="*/ 0 w 725"/>
                    <a:gd name="T29" fmla="*/ 147 h 1287"/>
                    <a:gd name="T30" fmla="*/ 1 w 725"/>
                    <a:gd name="T31" fmla="*/ 160 h 1287"/>
                    <a:gd name="T32" fmla="*/ 3 w 725"/>
                    <a:gd name="T33" fmla="*/ 173 h 1287"/>
                    <a:gd name="T34" fmla="*/ 6 w 725"/>
                    <a:gd name="T35" fmla="*/ 186 h 1287"/>
                    <a:gd name="T36" fmla="*/ 12 w 725"/>
                    <a:gd name="T37" fmla="*/ 198 h 1287"/>
                    <a:gd name="T38" fmla="*/ 497 w 725"/>
                    <a:gd name="T39" fmla="*/ 1218 h 1287"/>
                    <a:gd name="T40" fmla="*/ 497 w 725"/>
                    <a:gd name="T41" fmla="*/ 1218 h 1287"/>
                    <a:gd name="T42" fmla="*/ 503 w 725"/>
                    <a:gd name="T43" fmla="*/ 1229 h 1287"/>
                    <a:gd name="T44" fmla="*/ 511 w 725"/>
                    <a:gd name="T45" fmla="*/ 1240 h 1287"/>
                    <a:gd name="T46" fmla="*/ 519 w 725"/>
                    <a:gd name="T47" fmla="*/ 1250 h 1287"/>
                    <a:gd name="T48" fmla="*/ 530 w 725"/>
                    <a:gd name="T49" fmla="*/ 1259 h 1287"/>
                    <a:gd name="T50" fmla="*/ 541 w 725"/>
                    <a:gd name="T51" fmla="*/ 1267 h 1287"/>
                    <a:gd name="T52" fmla="*/ 552 w 725"/>
                    <a:gd name="T53" fmla="*/ 1273 h 1287"/>
                    <a:gd name="T54" fmla="*/ 564 w 725"/>
                    <a:gd name="T55" fmla="*/ 1278 h 1287"/>
                    <a:gd name="T56" fmla="*/ 578 w 725"/>
                    <a:gd name="T57" fmla="*/ 1282 h 1287"/>
                    <a:gd name="T58" fmla="*/ 591 w 725"/>
                    <a:gd name="T59" fmla="*/ 1285 h 1287"/>
                    <a:gd name="T60" fmla="*/ 605 w 725"/>
                    <a:gd name="T61" fmla="*/ 1287 h 1287"/>
                    <a:gd name="T62" fmla="*/ 620 w 725"/>
                    <a:gd name="T63" fmla="*/ 1287 h 1287"/>
                    <a:gd name="T64" fmla="*/ 634 w 725"/>
                    <a:gd name="T65" fmla="*/ 1287 h 1287"/>
                    <a:gd name="T66" fmla="*/ 648 w 725"/>
                    <a:gd name="T67" fmla="*/ 1285 h 1287"/>
                    <a:gd name="T68" fmla="*/ 664 w 725"/>
                    <a:gd name="T69" fmla="*/ 1281 h 1287"/>
                    <a:gd name="T70" fmla="*/ 678 w 725"/>
                    <a:gd name="T71" fmla="*/ 1277 h 1287"/>
                    <a:gd name="T72" fmla="*/ 692 w 725"/>
                    <a:gd name="T73" fmla="*/ 1271 h 1287"/>
                    <a:gd name="T74" fmla="*/ 725 w 725"/>
                    <a:gd name="T75" fmla="*/ 1256 h 1287"/>
                    <a:gd name="T76" fmla="*/ 123 w 725"/>
                    <a:gd name="T77" fmla="*/ 0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5" h="1287">
                      <a:moveTo>
                        <a:pt x="123" y="0"/>
                      </a:moveTo>
                      <a:lnTo>
                        <a:pt x="94" y="13"/>
                      </a:lnTo>
                      <a:lnTo>
                        <a:pt x="94" y="13"/>
                      </a:lnTo>
                      <a:lnTo>
                        <a:pt x="80" y="20"/>
                      </a:lnTo>
                      <a:lnTo>
                        <a:pt x="67" y="29"/>
                      </a:lnTo>
                      <a:lnTo>
                        <a:pt x="56" y="39"/>
                      </a:lnTo>
                      <a:lnTo>
                        <a:pt x="44" y="49"/>
                      </a:lnTo>
                      <a:lnTo>
                        <a:pt x="35" y="59"/>
                      </a:lnTo>
                      <a:lnTo>
                        <a:pt x="26" y="70"/>
                      </a:lnTo>
                      <a:lnTo>
                        <a:pt x="19" y="82"/>
                      </a:lnTo>
                      <a:lnTo>
                        <a:pt x="13" y="95"/>
                      </a:lnTo>
                      <a:lnTo>
                        <a:pt x="7" y="108"/>
                      </a:lnTo>
                      <a:lnTo>
                        <a:pt x="3" y="120"/>
                      </a:lnTo>
                      <a:lnTo>
                        <a:pt x="1" y="134"/>
                      </a:lnTo>
                      <a:lnTo>
                        <a:pt x="0" y="147"/>
                      </a:lnTo>
                      <a:lnTo>
                        <a:pt x="1" y="160"/>
                      </a:lnTo>
                      <a:lnTo>
                        <a:pt x="3" y="173"/>
                      </a:lnTo>
                      <a:lnTo>
                        <a:pt x="6" y="186"/>
                      </a:lnTo>
                      <a:lnTo>
                        <a:pt x="12" y="198"/>
                      </a:lnTo>
                      <a:lnTo>
                        <a:pt x="497" y="1218"/>
                      </a:lnTo>
                      <a:lnTo>
                        <a:pt x="497" y="1218"/>
                      </a:lnTo>
                      <a:lnTo>
                        <a:pt x="503" y="1229"/>
                      </a:lnTo>
                      <a:lnTo>
                        <a:pt x="511" y="1240"/>
                      </a:lnTo>
                      <a:lnTo>
                        <a:pt x="519" y="1250"/>
                      </a:lnTo>
                      <a:lnTo>
                        <a:pt x="530" y="1259"/>
                      </a:lnTo>
                      <a:lnTo>
                        <a:pt x="541" y="1267"/>
                      </a:lnTo>
                      <a:lnTo>
                        <a:pt x="552" y="1273"/>
                      </a:lnTo>
                      <a:lnTo>
                        <a:pt x="564" y="1278"/>
                      </a:lnTo>
                      <a:lnTo>
                        <a:pt x="578" y="1282"/>
                      </a:lnTo>
                      <a:lnTo>
                        <a:pt x="591" y="1285"/>
                      </a:lnTo>
                      <a:lnTo>
                        <a:pt x="605" y="1287"/>
                      </a:lnTo>
                      <a:lnTo>
                        <a:pt x="620" y="1287"/>
                      </a:lnTo>
                      <a:lnTo>
                        <a:pt x="634" y="1287"/>
                      </a:lnTo>
                      <a:lnTo>
                        <a:pt x="648" y="1285"/>
                      </a:lnTo>
                      <a:lnTo>
                        <a:pt x="664" y="1281"/>
                      </a:lnTo>
                      <a:lnTo>
                        <a:pt x="678" y="1277"/>
                      </a:lnTo>
                      <a:lnTo>
                        <a:pt x="692" y="1271"/>
                      </a:lnTo>
                      <a:lnTo>
                        <a:pt x="725" y="1256"/>
                      </a:lnTo>
                      <a:lnTo>
                        <a:pt x="123"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870" name="Freeform 1970"/>
                <p:cNvSpPr>
                  <a:spLocks/>
                </p:cNvSpPr>
                <p:nvPr/>
              </p:nvSpPr>
              <p:spPr bwMode="auto">
                <a:xfrm>
                  <a:off x="123322" y="2697477"/>
                  <a:ext cx="26439" cy="26439"/>
                </a:xfrm>
                <a:custGeom>
                  <a:avLst/>
                  <a:gdLst>
                    <a:gd name="T0" fmla="*/ 133 w 133"/>
                    <a:gd name="T1" fmla="*/ 66 h 132"/>
                    <a:gd name="T2" fmla="*/ 133 w 133"/>
                    <a:gd name="T3" fmla="*/ 66 h 132"/>
                    <a:gd name="T4" fmla="*/ 132 w 133"/>
                    <a:gd name="T5" fmla="*/ 59 h 132"/>
                    <a:gd name="T6" fmla="*/ 131 w 133"/>
                    <a:gd name="T7" fmla="*/ 53 h 132"/>
                    <a:gd name="T8" fmla="*/ 130 w 133"/>
                    <a:gd name="T9" fmla="*/ 46 h 132"/>
                    <a:gd name="T10" fmla="*/ 127 w 133"/>
                    <a:gd name="T11" fmla="*/ 40 h 132"/>
                    <a:gd name="T12" fmla="*/ 124 w 133"/>
                    <a:gd name="T13" fmla="*/ 35 h 132"/>
                    <a:gd name="T14" fmla="*/ 121 w 133"/>
                    <a:gd name="T15" fmla="*/ 28 h 132"/>
                    <a:gd name="T16" fmla="*/ 113 w 133"/>
                    <a:gd name="T17" fmla="*/ 19 h 132"/>
                    <a:gd name="T18" fmla="*/ 103 w 133"/>
                    <a:gd name="T19" fmla="*/ 11 h 132"/>
                    <a:gd name="T20" fmla="*/ 98 w 133"/>
                    <a:gd name="T21" fmla="*/ 8 h 132"/>
                    <a:gd name="T22" fmla="*/ 92 w 133"/>
                    <a:gd name="T23" fmla="*/ 5 h 132"/>
                    <a:gd name="T24" fmla="*/ 86 w 133"/>
                    <a:gd name="T25" fmla="*/ 3 h 132"/>
                    <a:gd name="T26" fmla="*/ 79 w 133"/>
                    <a:gd name="T27" fmla="*/ 1 h 132"/>
                    <a:gd name="T28" fmla="*/ 73 w 133"/>
                    <a:gd name="T29" fmla="*/ 0 h 132"/>
                    <a:gd name="T30" fmla="*/ 66 w 133"/>
                    <a:gd name="T31" fmla="*/ 0 h 132"/>
                    <a:gd name="T32" fmla="*/ 66 w 133"/>
                    <a:gd name="T33" fmla="*/ 0 h 132"/>
                    <a:gd name="T34" fmla="*/ 59 w 133"/>
                    <a:gd name="T35" fmla="*/ 0 h 132"/>
                    <a:gd name="T36" fmla="*/ 53 w 133"/>
                    <a:gd name="T37" fmla="*/ 1 h 132"/>
                    <a:gd name="T38" fmla="*/ 47 w 133"/>
                    <a:gd name="T39" fmla="*/ 3 h 132"/>
                    <a:gd name="T40" fmla="*/ 41 w 133"/>
                    <a:gd name="T41" fmla="*/ 5 h 132"/>
                    <a:gd name="T42" fmla="*/ 35 w 133"/>
                    <a:gd name="T43" fmla="*/ 8 h 132"/>
                    <a:gd name="T44" fmla="*/ 29 w 133"/>
                    <a:gd name="T45" fmla="*/ 11 h 132"/>
                    <a:gd name="T46" fmla="*/ 19 w 133"/>
                    <a:gd name="T47" fmla="*/ 19 h 132"/>
                    <a:gd name="T48" fmla="*/ 11 w 133"/>
                    <a:gd name="T49" fmla="*/ 28 h 132"/>
                    <a:gd name="T50" fmla="*/ 8 w 133"/>
                    <a:gd name="T51" fmla="*/ 35 h 132"/>
                    <a:gd name="T52" fmla="*/ 5 w 133"/>
                    <a:gd name="T53" fmla="*/ 40 h 132"/>
                    <a:gd name="T54" fmla="*/ 3 w 133"/>
                    <a:gd name="T55" fmla="*/ 46 h 132"/>
                    <a:gd name="T56" fmla="*/ 2 w 133"/>
                    <a:gd name="T57" fmla="*/ 53 h 132"/>
                    <a:gd name="T58" fmla="*/ 1 w 133"/>
                    <a:gd name="T59" fmla="*/ 59 h 132"/>
                    <a:gd name="T60" fmla="*/ 0 w 133"/>
                    <a:gd name="T61" fmla="*/ 66 h 132"/>
                    <a:gd name="T62" fmla="*/ 0 w 133"/>
                    <a:gd name="T63" fmla="*/ 66 h 132"/>
                    <a:gd name="T64" fmla="*/ 1 w 133"/>
                    <a:gd name="T65" fmla="*/ 72 h 132"/>
                    <a:gd name="T66" fmla="*/ 2 w 133"/>
                    <a:gd name="T67" fmla="*/ 79 h 132"/>
                    <a:gd name="T68" fmla="*/ 3 w 133"/>
                    <a:gd name="T69" fmla="*/ 86 h 132"/>
                    <a:gd name="T70" fmla="*/ 5 w 133"/>
                    <a:gd name="T71" fmla="*/ 92 h 132"/>
                    <a:gd name="T72" fmla="*/ 8 w 133"/>
                    <a:gd name="T73" fmla="*/ 97 h 132"/>
                    <a:gd name="T74" fmla="*/ 11 w 133"/>
                    <a:gd name="T75" fmla="*/ 103 h 132"/>
                    <a:gd name="T76" fmla="*/ 19 w 133"/>
                    <a:gd name="T77" fmla="*/ 112 h 132"/>
                    <a:gd name="T78" fmla="*/ 29 w 133"/>
                    <a:gd name="T79" fmla="*/ 120 h 132"/>
                    <a:gd name="T80" fmla="*/ 35 w 133"/>
                    <a:gd name="T81" fmla="*/ 123 h 132"/>
                    <a:gd name="T82" fmla="*/ 41 w 133"/>
                    <a:gd name="T83" fmla="*/ 127 h 132"/>
                    <a:gd name="T84" fmla="*/ 47 w 133"/>
                    <a:gd name="T85" fmla="*/ 129 h 132"/>
                    <a:gd name="T86" fmla="*/ 53 w 133"/>
                    <a:gd name="T87" fmla="*/ 131 h 132"/>
                    <a:gd name="T88" fmla="*/ 59 w 133"/>
                    <a:gd name="T89" fmla="*/ 132 h 132"/>
                    <a:gd name="T90" fmla="*/ 66 w 133"/>
                    <a:gd name="T91" fmla="*/ 132 h 132"/>
                    <a:gd name="T92" fmla="*/ 66 w 133"/>
                    <a:gd name="T93" fmla="*/ 132 h 132"/>
                    <a:gd name="T94" fmla="*/ 73 w 133"/>
                    <a:gd name="T95" fmla="*/ 132 h 132"/>
                    <a:gd name="T96" fmla="*/ 79 w 133"/>
                    <a:gd name="T97" fmla="*/ 131 h 132"/>
                    <a:gd name="T98" fmla="*/ 86 w 133"/>
                    <a:gd name="T99" fmla="*/ 129 h 132"/>
                    <a:gd name="T100" fmla="*/ 92 w 133"/>
                    <a:gd name="T101" fmla="*/ 127 h 132"/>
                    <a:gd name="T102" fmla="*/ 98 w 133"/>
                    <a:gd name="T103" fmla="*/ 123 h 132"/>
                    <a:gd name="T104" fmla="*/ 103 w 133"/>
                    <a:gd name="T105" fmla="*/ 120 h 132"/>
                    <a:gd name="T106" fmla="*/ 113 w 133"/>
                    <a:gd name="T107" fmla="*/ 112 h 132"/>
                    <a:gd name="T108" fmla="*/ 121 w 133"/>
                    <a:gd name="T109" fmla="*/ 103 h 132"/>
                    <a:gd name="T110" fmla="*/ 124 w 133"/>
                    <a:gd name="T111" fmla="*/ 97 h 132"/>
                    <a:gd name="T112" fmla="*/ 127 w 133"/>
                    <a:gd name="T113" fmla="*/ 92 h 132"/>
                    <a:gd name="T114" fmla="*/ 130 w 133"/>
                    <a:gd name="T115" fmla="*/ 86 h 132"/>
                    <a:gd name="T116" fmla="*/ 131 w 133"/>
                    <a:gd name="T117" fmla="*/ 79 h 132"/>
                    <a:gd name="T118" fmla="*/ 132 w 133"/>
                    <a:gd name="T119" fmla="*/ 72 h 132"/>
                    <a:gd name="T120" fmla="*/ 133 w 133"/>
                    <a:gd name="T121" fmla="*/ 66 h 132"/>
                    <a:gd name="T122" fmla="*/ 133 w 133"/>
                    <a:gd name="T123" fmla="*/ 6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132">
                      <a:moveTo>
                        <a:pt x="133" y="66"/>
                      </a:moveTo>
                      <a:lnTo>
                        <a:pt x="133" y="66"/>
                      </a:lnTo>
                      <a:lnTo>
                        <a:pt x="132" y="59"/>
                      </a:lnTo>
                      <a:lnTo>
                        <a:pt x="131" y="53"/>
                      </a:lnTo>
                      <a:lnTo>
                        <a:pt x="130" y="46"/>
                      </a:lnTo>
                      <a:lnTo>
                        <a:pt x="127" y="40"/>
                      </a:lnTo>
                      <a:lnTo>
                        <a:pt x="124" y="35"/>
                      </a:lnTo>
                      <a:lnTo>
                        <a:pt x="121" y="28"/>
                      </a:lnTo>
                      <a:lnTo>
                        <a:pt x="113" y="19"/>
                      </a:lnTo>
                      <a:lnTo>
                        <a:pt x="103" y="11"/>
                      </a:lnTo>
                      <a:lnTo>
                        <a:pt x="98" y="8"/>
                      </a:lnTo>
                      <a:lnTo>
                        <a:pt x="92" y="5"/>
                      </a:lnTo>
                      <a:lnTo>
                        <a:pt x="86" y="3"/>
                      </a:lnTo>
                      <a:lnTo>
                        <a:pt x="79" y="1"/>
                      </a:lnTo>
                      <a:lnTo>
                        <a:pt x="73" y="0"/>
                      </a:lnTo>
                      <a:lnTo>
                        <a:pt x="66" y="0"/>
                      </a:lnTo>
                      <a:lnTo>
                        <a:pt x="66" y="0"/>
                      </a:lnTo>
                      <a:lnTo>
                        <a:pt x="59" y="0"/>
                      </a:lnTo>
                      <a:lnTo>
                        <a:pt x="53" y="1"/>
                      </a:lnTo>
                      <a:lnTo>
                        <a:pt x="47" y="3"/>
                      </a:lnTo>
                      <a:lnTo>
                        <a:pt x="41" y="5"/>
                      </a:lnTo>
                      <a:lnTo>
                        <a:pt x="35" y="8"/>
                      </a:lnTo>
                      <a:lnTo>
                        <a:pt x="29" y="11"/>
                      </a:lnTo>
                      <a:lnTo>
                        <a:pt x="19" y="19"/>
                      </a:lnTo>
                      <a:lnTo>
                        <a:pt x="11" y="28"/>
                      </a:lnTo>
                      <a:lnTo>
                        <a:pt x="8" y="35"/>
                      </a:lnTo>
                      <a:lnTo>
                        <a:pt x="5" y="40"/>
                      </a:lnTo>
                      <a:lnTo>
                        <a:pt x="3" y="46"/>
                      </a:lnTo>
                      <a:lnTo>
                        <a:pt x="2" y="53"/>
                      </a:lnTo>
                      <a:lnTo>
                        <a:pt x="1" y="59"/>
                      </a:lnTo>
                      <a:lnTo>
                        <a:pt x="0" y="66"/>
                      </a:lnTo>
                      <a:lnTo>
                        <a:pt x="0" y="66"/>
                      </a:lnTo>
                      <a:lnTo>
                        <a:pt x="1" y="72"/>
                      </a:lnTo>
                      <a:lnTo>
                        <a:pt x="2" y="79"/>
                      </a:lnTo>
                      <a:lnTo>
                        <a:pt x="3" y="86"/>
                      </a:lnTo>
                      <a:lnTo>
                        <a:pt x="5" y="92"/>
                      </a:lnTo>
                      <a:lnTo>
                        <a:pt x="8" y="97"/>
                      </a:lnTo>
                      <a:lnTo>
                        <a:pt x="11" y="103"/>
                      </a:lnTo>
                      <a:lnTo>
                        <a:pt x="19" y="112"/>
                      </a:lnTo>
                      <a:lnTo>
                        <a:pt x="29" y="120"/>
                      </a:lnTo>
                      <a:lnTo>
                        <a:pt x="35" y="123"/>
                      </a:lnTo>
                      <a:lnTo>
                        <a:pt x="41" y="127"/>
                      </a:lnTo>
                      <a:lnTo>
                        <a:pt x="47" y="129"/>
                      </a:lnTo>
                      <a:lnTo>
                        <a:pt x="53" y="131"/>
                      </a:lnTo>
                      <a:lnTo>
                        <a:pt x="59" y="132"/>
                      </a:lnTo>
                      <a:lnTo>
                        <a:pt x="66" y="132"/>
                      </a:lnTo>
                      <a:lnTo>
                        <a:pt x="66" y="132"/>
                      </a:lnTo>
                      <a:lnTo>
                        <a:pt x="73" y="132"/>
                      </a:lnTo>
                      <a:lnTo>
                        <a:pt x="79" y="131"/>
                      </a:lnTo>
                      <a:lnTo>
                        <a:pt x="86" y="129"/>
                      </a:lnTo>
                      <a:lnTo>
                        <a:pt x="92" y="127"/>
                      </a:lnTo>
                      <a:lnTo>
                        <a:pt x="98" y="123"/>
                      </a:lnTo>
                      <a:lnTo>
                        <a:pt x="103" y="120"/>
                      </a:lnTo>
                      <a:lnTo>
                        <a:pt x="113" y="112"/>
                      </a:lnTo>
                      <a:lnTo>
                        <a:pt x="121" y="103"/>
                      </a:lnTo>
                      <a:lnTo>
                        <a:pt x="124" y="97"/>
                      </a:lnTo>
                      <a:lnTo>
                        <a:pt x="127" y="92"/>
                      </a:lnTo>
                      <a:lnTo>
                        <a:pt x="130" y="86"/>
                      </a:lnTo>
                      <a:lnTo>
                        <a:pt x="131" y="79"/>
                      </a:lnTo>
                      <a:lnTo>
                        <a:pt x="132" y="72"/>
                      </a:lnTo>
                      <a:lnTo>
                        <a:pt x="133" y="66"/>
                      </a:lnTo>
                      <a:lnTo>
                        <a:pt x="133" y="6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sp>
              <p:nvSpPr>
                <p:cNvPr id="871" name="Freeform 1971"/>
                <p:cNvSpPr>
                  <a:spLocks/>
                </p:cNvSpPr>
                <p:nvPr/>
              </p:nvSpPr>
              <p:spPr bwMode="auto">
                <a:xfrm>
                  <a:off x="-35312" y="2354970"/>
                  <a:ext cx="175459" cy="342507"/>
                </a:xfrm>
                <a:custGeom>
                  <a:avLst/>
                  <a:gdLst>
                    <a:gd name="T0" fmla="*/ 876 w 876"/>
                    <a:gd name="T1" fmla="*/ 1684 h 1710"/>
                    <a:gd name="T2" fmla="*/ 823 w 876"/>
                    <a:gd name="T3" fmla="*/ 1710 h 1710"/>
                    <a:gd name="T4" fmla="*/ 0 w 876"/>
                    <a:gd name="T5" fmla="*/ 25 h 1710"/>
                    <a:gd name="T6" fmla="*/ 52 w 876"/>
                    <a:gd name="T7" fmla="*/ 0 h 1710"/>
                    <a:gd name="T8" fmla="*/ 876 w 876"/>
                    <a:gd name="T9" fmla="*/ 1684 h 1710"/>
                  </a:gdLst>
                  <a:ahLst/>
                  <a:cxnLst>
                    <a:cxn ang="0">
                      <a:pos x="T0" y="T1"/>
                    </a:cxn>
                    <a:cxn ang="0">
                      <a:pos x="T2" y="T3"/>
                    </a:cxn>
                    <a:cxn ang="0">
                      <a:pos x="T4" y="T5"/>
                    </a:cxn>
                    <a:cxn ang="0">
                      <a:pos x="T6" y="T7"/>
                    </a:cxn>
                    <a:cxn ang="0">
                      <a:pos x="T8" y="T9"/>
                    </a:cxn>
                  </a:cxnLst>
                  <a:rect l="0" t="0" r="r" b="b"/>
                  <a:pathLst>
                    <a:path w="876" h="1710">
                      <a:moveTo>
                        <a:pt x="876" y="1684"/>
                      </a:moveTo>
                      <a:lnTo>
                        <a:pt x="823" y="1710"/>
                      </a:lnTo>
                      <a:lnTo>
                        <a:pt x="0" y="25"/>
                      </a:lnTo>
                      <a:lnTo>
                        <a:pt x="52" y="0"/>
                      </a:lnTo>
                      <a:lnTo>
                        <a:pt x="876" y="1684"/>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B3B41"/>
                    </a:solidFill>
                    <a:effectLst/>
                    <a:uLnTx/>
                    <a:uFillTx/>
                  </a:endParaRPr>
                </a:p>
              </p:txBody>
            </p:sp>
          </p:grpSp>
        </p:grpSp>
        <p:grpSp>
          <p:nvGrpSpPr>
            <p:cNvPr id="2887" name="Group 2886"/>
            <p:cNvGrpSpPr/>
            <p:nvPr/>
          </p:nvGrpSpPr>
          <p:grpSpPr>
            <a:xfrm>
              <a:off x="1687268" y="2988995"/>
              <a:ext cx="74799" cy="81464"/>
              <a:chOff x="2618038" y="3263642"/>
              <a:chExt cx="145762" cy="144318"/>
            </a:xfrm>
          </p:grpSpPr>
          <p:sp>
            <p:nvSpPr>
              <p:cNvPr id="903" name="Freeform 2010"/>
              <p:cNvSpPr>
                <a:spLocks/>
              </p:cNvSpPr>
              <p:nvPr/>
            </p:nvSpPr>
            <p:spPr bwMode="auto">
              <a:xfrm>
                <a:off x="2618038" y="3263642"/>
                <a:ext cx="145762" cy="144318"/>
              </a:xfrm>
              <a:custGeom>
                <a:avLst/>
                <a:gdLst>
                  <a:gd name="T0" fmla="*/ 51 w 604"/>
                  <a:gd name="T1" fmla="*/ 596 h 596"/>
                  <a:gd name="T2" fmla="*/ 51 w 604"/>
                  <a:gd name="T3" fmla="*/ 596 h 596"/>
                  <a:gd name="T4" fmla="*/ 44 w 604"/>
                  <a:gd name="T5" fmla="*/ 595 h 596"/>
                  <a:gd name="T6" fmla="*/ 37 w 604"/>
                  <a:gd name="T7" fmla="*/ 594 h 596"/>
                  <a:gd name="T8" fmla="*/ 30 w 604"/>
                  <a:gd name="T9" fmla="*/ 593 h 596"/>
                  <a:gd name="T10" fmla="*/ 25 w 604"/>
                  <a:gd name="T11" fmla="*/ 591 h 596"/>
                  <a:gd name="T12" fmla="*/ 19 w 604"/>
                  <a:gd name="T13" fmla="*/ 588 h 596"/>
                  <a:gd name="T14" fmla="*/ 15 w 604"/>
                  <a:gd name="T15" fmla="*/ 585 h 596"/>
                  <a:gd name="T16" fmla="*/ 11 w 604"/>
                  <a:gd name="T17" fmla="*/ 581 h 596"/>
                  <a:gd name="T18" fmla="*/ 7 w 604"/>
                  <a:gd name="T19" fmla="*/ 577 h 596"/>
                  <a:gd name="T20" fmla="*/ 5 w 604"/>
                  <a:gd name="T21" fmla="*/ 571 h 596"/>
                  <a:gd name="T22" fmla="*/ 2 w 604"/>
                  <a:gd name="T23" fmla="*/ 566 h 596"/>
                  <a:gd name="T24" fmla="*/ 1 w 604"/>
                  <a:gd name="T25" fmla="*/ 560 h 596"/>
                  <a:gd name="T26" fmla="*/ 0 w 604"/>
                  <a:gd name="T27" fmla="*/ 554 h 596"/>
                  <a:gd name="T28" fmla="*/ 0 w 604"/>
                  <a:gd name="T29" fmla="*/ 548 h 596"/>
                  <a:gd name="T30" fmla="*/ 1 w 604"/>
                  <a:gd name="T31" fmla="*/ 542 h 596"/>
                  <a:gd name="T32" fmla="*/ 2 w 604"/>
                  <a:gd name="T33" fmla="*/ 535 h 596"/>
                  <a:gd name="T34" fmla="*/ 4 w 604"/>
                  <a:gd name="T35" fmla="*/ 529 h 596"/>
                  <a:gd name="T36" fmla="*/ 176 w 604"/>
                  <a:gd name="T37" fmla="*/ 68 h 596"/>
                  <a:gd name="T38" fmla="*/ 176 w 604"/>
                  <a:gd name="T39" fmla="*/ 68 h 596"/>
                  <a:gd name="T40" fmla="*/ 180 w 604"/>
                  <a:gd name="T41" fmla="*/ 62 h 596"/>
                  <a:gd name="T42" fmla="*/ 183 w 604"/>
                  <a:gd name="T43" fmla="*/ 54 h 596"/>
                  <a:gd name="T44" fmla="*/ 192 w 604"/>
                  <a:gd name="T45" fmla="*/ 42 h 596"/>
                  <a:gd name="T46" fmla="*/ 203 w 604"/>
                  <a:gd name="T47" fmla="*/ 30 h 596"/>
                  <a:gd name="T48" fmla="*/ 215 w 604"/>
                  <a:gd name="T49" fmla="*/ 20 h 596"/>
                  <a:gd name="T50" fmla="*/ 230 w 604"/>
                  <a:gd name="T51" fmla="*/ 12 h 596"/>
                  <a:gd name="T52" fmla="*/ 244 w 604"/>
                  <a:gd name="T53" fmla="*/ 5 h 596"/>
                  <a:gd name="T54" fmla="*/ 259 w 604"/>
                  <a:gd name="T55" fmla="*/ 1 h 596"/>
                  <a:gd name="T56" fmla="*/ 266 w 604"/>
                  <a:gd name="T57" fmla="*/ 0 h 596"/>
                  <a:gd name="T58" fmla="*/ 275 w 604"/>
                  <a:gd name="T59" fmla="*/ 0 h 596"/>
                  <a:gd name="T60" fmla="*/ 552 w 604"/>
                  <a:gd name="T61" fmla="*/ 0 h 596"/>
                  <a:gd name="T62" fmla="*/ 552 w 604"/>
                  <a:gd name="T63" fmla="*/ 0 h 596"/>
                  <a:gd name="T64" fmla="*/ 559 w 604"/>
                  <a:gd name="T65" fmla="*/ 0 h 596"/>
                  <a:gd name="T66" fmla="*/ 566 w 604"/>
                  <a:gd name="T67" fmla="*/ 1 h 596"/>
                  <a:gd name="T68" fmla="*/ 572 w 604"/>
                  <a:gd name="T69" fmla="*/ 3 h 596"/>
                  <a:gd name="T70" fmla="*/ 578 w 604"/>
                  <a:gd name="T71" fmla="*/ 5 h 596"/>
                  <a:gd name="T72" fmla="*/ 583 w 604"/>
                  <a:gd name="T73" fmla="*/ 8 h 596"/>
                  <a:gd name="T74" fmla="*/ 587 w 604"/>
                  <a:gd name="T75" fmla="*/ 12 h 596"/>
                  <a:gd name="T76" fmla="*/ 591 w 604"/>
                  <a:gd name="T77" fmla="*/ 16 h 596"/>
                  <a:gd name="T78" fmla="*/ 595 w 604"/>
                  <a:gd name="T79" fmla="*/ 21 h 596"/>
                  <a:gd name="T80" fmla="*/ 599 w 604"/>
                  <a:gd name="T81" fmla="*/ 25 h 596"/>
                  <a:gd name="T82" fmla="*/ 601 w 604"/>
                  <a:gd name="T83" fmla="*/ 30 h 596"/>
                  <a:gd name="T84" fmla="*/ 603 w 604"/>
                  <a:gd name="T85" fmla="*/ 36 h 596"/>
                  <a:gd name="T86" fmla="*/ 604 w 604"/>
                  <a:gd name="T87" fmla="*/ 42 h 596"/>
                  <a:gd name="T88" fmla="*/ 604 w 604"/>
                  <a:gd name="T89" fmla="*/ 48 h 596"/>
                  <a:gd name="T90" fmla="*/ 603 w 604"/>
                  <a:gd name="T91" fmla="*/ 54 h 596"/>
                  <a:gd name="T92" fmla="*/ 602 w 604"/>
                  <a:gd name="T93" fmla="*/ 62 h 596"/>
                  <a:gd name="T94" fmla="*/ 600 w 604"/>
                  <a:gd name="T95" fmla="*/ 69 h 596"/>
                  <a:gd name="T96" fmla="*/ 436 w 604"/>
                  <a:gd name="T97" fmla="*/ 525 h 596"/>
                  <a:gd name="T98" fmla="*/ 436 w 604"/>
                  <a:gd name="T99" fmla="*/ 525 h 596"/>
                  <a:gd name="T100" fmla="*/ 433 w 604"/>
                  <a:gd name="T101" fmla="*/ 533 h 596"/>
                  <a:gd name="T102" fmla="*/ 430 w 604"/>
                  <a:gd name="T103" fmla="*/ 540 h 596"/>
                  <a:gd name="T104" fmla="*/ 426 w 604"/>
                  <a:gd name="T105" fmla="*/ 546 h 596"/>
                  <a:gd name="T106" fmla="*/ 421 w 604"/>
                  <a:gd name="T107" fmla="*/ 552 h 596"/>
                  <a:gd name="T108" fmla="*/ 409 w 604"/>
                  <a:gd name="T109" fmla="*/ 564 h 596"/>
                  <a:gd name="T110" fmla="*/ 397 w 604"/>
                  <a:gd name="T111" fmla="*/ 575 h 596"/>
                  <a:gd name="T112" fmla="*/ 384 w 604"/>
                  <a:gd name="T113" fmla="*/ 583 h 596"/>
                  <a:gd name="T114" fmla="*/ 370 w 604"/>
                  <a:gd name="T115" fmla="*/ 589 h 596"/>
                  <a:gd name="T116" fmla="*/ 361 w 604"/>
                  <a:gd name="T117" fmla="*/ 591 h 596"/>
                  <a:gd name="T118" fmla="*/ 354 w 604"/>
                  <a:gd name="T119" fmla="*/ 593 h 596"/>
                  <a:gd name="T120" fmla="*/ 346 w 604"/>
                  <a:gd name="T121" fmla="*/ 594 h 596"/>
                  <a:gd name="T122" fmla="*/ 339 w 604"/>
                  <a:gd name="T123" fmla="*/ 594 h 596"/>
                  <a:gd name="T124" fmla="*/ 51 w 604"/>
                  <a:gd name="T125"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4" h="596">
                    <a:moveTo>
                      <a:pt x="51" y="596"/>
                    </a:moveTo>
                    <a:lnTo>
                      <a:pt x="51" y="596"/>
                    </a:lnTo>
                    <a:lnTo>
                      <a:pt x="44" y="595"/>
                    </a:lnTo>
                    <a:lnTo>
                      <a:pt x="37" y="594"/>
                    </a:lnTo>
                    <a:lnTo>
                      <a:pt x="30" y="593"/>
                    </a:lnTo>
                    <a:lnTo>
                      <a:pt x="25" y="591"/>
                    </a:lnTo>
                    <a:lnTo>
                      <a:pt x="19" y="588"/>
                    </a:lnTo>
                    <a:lnTo>
                      <a:pt x="15" y="585"/>
                    </a:lnTo>
                    <a:lnTo>
                      <a:pt x="11" y="581"/>
                    </a:lnTo>
                    <a:lnTo>
                      <a:pt x="7" y="577"/>
                    </a:lnTo>
                    <a:lnTo>
                      <a:pt x="5" y="571"/>
                    </a:lnTo>
                    <a:lnTo>
                      <a:pt x="2" y="566"/>
                    </a:lnTo>
                    <a:lnTo>
                      <a:pt x="1" y="560"/>
                    </a:lnTo>
                    <a:lnTo>
                      <a:pt x="0" y="554"/>
                    </a:lnTo>
                    <a:lnTo>
                      <a:pt x="0" y="548"/>
                    </a:lnTo>
                    <a:lnTo>
                      <a:pt x="1" y="542"/>
                    </a:lnTo>
                    <a:lnTo>
                      <a:pt x="2" y="535"/>
                    </a:lnTo>
                    <a:lnTo>
                      <a:pt x="4" y="529"/>
                    </a:lnTo>
                    <a:lnTo>
                      <a:pt x="176" y="68"/>
                    </a:lnTo>
                    <a:lnTo>
                      <a:pt x="176" y="68"/>
                    </a:lnTo>
                    <a:lnTo>
                      <a:pt x="180" y="62"/>
                    </a:lnTo>
                    <a:lnTo>
                      <a:pt x="183" y="54"/>
                    </a:lnTo>
                    <a:lnTo>
                      <a:pt x="192" y="42"/>
                    </a:lnTo>
                    <a:lnTo>
                      <a:pt x="203" y="30"/>
                    </a:lnTo>
                    <a:lnTo>
                      <a:pt x="215" y="20"/>
                    </a:lnTo>
                    <a:lnTo>
                      <a:pt x="230" y="12"/>
                    </a:lnTo>
                    <a:lnTo>
                      <a:pt x="244" y="5"/>
                    </a:lnTo>
                    <a:lnTo>
                      <a:pt x="259" y="1"/>
                    </a:lnTo>
                    <a:lnTo>
                      <a:pt x="266" y="0"/>
                    </a:lnTo>
                    <a:lnTo>
                      <a:pt x="275" y="0"/>
                    </a:lnTo>
                    <a:lnTo>
                      <a:pt x="552" y="0"/>
                    </a:lnTo>
                    <a:lnTo>
                      <a:pt x="552" y="0"/>
                    </a:lnTo>
                    <a:lnTo>
                      <a:pt x="559" y="0"/>
                    </a:lnTo>
                    <a:lnTo>
                      <a:pt x="566" y="1"/>
                    </a:lnTo>
                    <a:lnTo>
                      <a:pt x="572" y="3"/>
                    </a:lnTo>
                    <a:lnTo>
                      <a:pt x="578" y="5"/>
                    </a:lnTo>
                    <a:lnTo>
                      <a:pt x="583" y="8"/>
                    </a:lnTo>
                    <a:lnTo>
                      <a:pt x="587" y="12"/>
                    </a:lnTo>
                    <a:lnTo>
                      <a:pt x="591" y="16"/>
                    </a:lnTo>
                    <a:lnTo>
                      <a:pt x="595" y="21"/>
                    </a:lnTo>
                    <a:lnTo>
                      <a:pt x="599" y="25"/>
                    </a:lnTo>
                    <a:lnTo>
                      <a:pt x="601" y="30"/>
                    </a:lnTo>
                    <a:lnTo>
                      <a:pt x="603" y="36"/>
                    </a:lnTo>
                    <a:lnTo>
                      <a:pt x="604" y="42"/>
                    </a:lnTo>
                    <a:lnTo>
                      <a:pt x="604" y="48"/>
                    </a:lnTo>
                    <a:lnTo>
                      <a:pt x="603" y="54"/>
                    </a:lnTo>
                    <a:lnTo>
                      <a:pt x="602" y="62"/>
                    </a:lnTo>
                    <a:lnTo>
                      <a:pt x="600" y="69"/>
                    </a:lnTo>
                    <a:lnTo>
                      <a:pt x="436" y="525"/>
                    </a:lnTo>
                    <a:lnTo>
                      <a:pt x="436" y="525"/>
                    </a:lnTo>
                    <a:lnTo>
                      <a:pt x="433" y="533"/>
                    </a:lnTo>
                    <a:lnTo>
                      <a:pt x="430" y="540"/>
                    </a:lnTo>
                    <a:lnTo>
                      <a:pt x="426" y="546"/>
                    </a:lnTo>
                    <a:lnTo>
                      <a:pt x="421" y="552"/>
                    </a:lnTo>
                    <a:lnTo>
                      <a:pt x="409" y="564"/>
                    </a:lnTo>
                    <a:lnTo>
                      <a:pt x="397" y="575"/>
                    </a:lnTo>
                    <a:lnTo>
                      <a:pt x="384" y="583"/>
                    </a:lnTo>
                    <a:lnTo>
                      <a:pt x="370" y="589"/>
                    </a:lnTo>
                    <a:lnTo>
                      <a:pt x="361" y="591"/>
                    </a:lnTo>
                    <a:lnTo>
                      <a:pt x="354" y="593"/>
                    </a:lnTo>
                    <a:lnTo>
                      <a:pt x="346" y="594"/>
                    </a:lnTo>
                    <a:lnTo>
                      <a:pt x="339" y="594"/>
                    </a:lnTo>
                    <a:lnTo>
                      <a:pt x="51" y="59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B3B41"/>
                  </a:solidFill>
                  <a:effectLst/>
                  <a:uLnTx/>
                  <a:uFillTx/>
                </a:endParaRPr>
              </a:p>
            </p:txBody>
          </p:sp>
          <p:sp>
            <p:nvSpPr>
              <p:cNvPr id="904" name="Freeform 2011"/>
              <p:cNvSpPr>
                <a:spLocks/>
              </p:cNvSpPr>
              <p:nvPr/>
            </p:nvSpPr>
            <p:spPr bwMode="auto">
              <a:xfrm>
                <a:off x="2636318" y="3279035"/>
                <a:ext cx="105353" cy="109682"/>
              </a:xfrm>
              <a:custGeom>
                <a:avLst/>
                <a:gdLst>
                  <a:gd name="T0" fmla="*/ 160 w 437"/>
                  <a:gd name="T1" fmla="*/ 20 h 450"/>
                  <a:gd name="T2" fmla="*/ 160 w 437"/>
                  <a:gd name="T3" fmla="*/ 20 h 450"/>
                  <a:gd name="T4" fmla="*/ 162 w 437"/>
                  <a:gd name="T5" fmla="*/ 17 h 450"/>
                  <a:gd name="T6" fmla="*/ 165 w 437"/>
                  <a:gd name="T7" fmla="*/ 13 h 450"/>
                  <a:gd name="T8" fmla="*/ 173 w 437"/>
                  <a:gd name="T9" fmla="*/ 7 h 450"/>
                  <a:gd name="T10" fmla="*/ 182 w 437"/>
                  <a:gd name="T11" fmla="*/ 2 h 450"/>
                  <a:gd name="T12" fmla="*/ 187 w 437"/>
                  <a:gd name="T13" fmla="*/ 0 h 450"/>
                  <a:gd name="T14" fmla="*/ 191 w 437"/>
                  <a:gd name="T15" fmla="*/ 0 h 450"/>
                  <a:gd name="T16" fmla="*/ 437 w 437"/>
                  <a:gd name="T17" fmla="*/ 0 h 450"/>
                  <a:gd name="T18" fmla="*/ 284 w 437"/>
                  <a:gd name="T19" fmla="*/ 428 h 450"/>
                  <a:gd name="T20" fmla="*/ 284 w 437"/>
                  <a:gd name="T21" fmla="*/ 428 h 450"/>
                  <a:gd name="T22" fmla="*/ 282 w 437"/>
                  <a:gd name="T23" fmla="*/ 432 h 450"/>
                  <a:gd name="T24" fmla="*/ 279 w 437"/>
                  <a:gd name="T25" fmla="*/ 435 h 450"/>
                  <a:gd name="T26" fmla="*/ 271 w 437"/>
                  <a:gd name="T27" fmla="*/ 442 h 450"/>
                  <a:gd name="T28" fmla="*/ 263 w 437"/>
                  <a:gd name="T29" fmla="*/ 446 h 450"/>
                  <a:gd name="T30" fmla="*/ 258 w 437"/>
                  <a:gd name="T31" fmla="*/ 448 h 450"/>
                  <a:gd name="T32" fmla="*/ 255 w 437"/>
                  <a:gd name="T33" fmla="*/ 448 h 450"/>
                  <a:gd name="T34" fmla="*/ 0 w 437"/>
                  <a:gd name="T35" fmla="*/ 450 h 450"/>
                  <a:gd name="T36" fmla="*/ 160 w 437"/>
                  <a:gd name="T37" fmla="*/ 2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7" h="450">
                    <a:moveTo>
                      <a:pt x="160" y="20"/>
                    </a:moveTo>
                    <a:lnTo>
                      <a:pt x="160" y="20"/>
                    </a:lnTo>
                    <a:lnTo>
                      <a:pt x="162" y="17"/>
                    </a:lnTo>
                    <a:lnTo>
                      <a:pt x="165" y="13"/>
                    </a:lnTo>
                    <a:lnTo>
                      <a:pt x="173" y="7"/>
                    </a:lnTo>
                    <a:lnTo>
                      <a:pt x="182" y="2"/>
                    </a:lnTo>
                    <a:lnTo>
                      <a:pt x="187" y="0"/>
                    </a:lnTo>
                    <a:lnTo>
                      <a:pt x="191" y="0"/>
                    </a:lnTo>
                    <a:lnTo>
                      <a:pt x="437" y="0"/>
                    </a:lnTo>
                    <a:lnTo>
                      <a:pt x="284" y="428"/>
                    </a:lnTo>
                    <a:lnTo>
                      <a:pt x="284" y="428"/>
                    </a:lnTo>
                    <a:lnTo>
                      <a:pt x="282" y="432"/>
                    </a:lnTo>
                    <a:lnTo>
                      <a:pt x="279" y="435"/>
                    </a:lnTo>
                    <a:lnTo>
                      <a:pt x="271" y="442"/>
                    </a:lnTo>
                    <a:lnTo>
                      <a:pt x="263" y="446"/>
                    </a:lnTo>
                    <a:lnTo>
                      <a:pt x="258" y="448"/>
                    </a:lnTo>
                    <a:lnTo>
                      <a:pt x="255" y="448"/>
                    </a:lnTo>
                    <a:lnTo>
                      <a:pt x="0" y="450"/>
                    </a:lnTo>
                    <a:lnTo>
                      <a:pt x="160" y="20"/>
                    </a:lnTo>
                    <a:close/>
                  </a:path>
                </a:pathLst>
              </a:custGeom>
              <a:solidFill>
                <a:srgbClr val="055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sp>
        <p:nvSpPr>
          <p:cNvPr id="1171" name="Rectangle 1170"/>
          <p:cNvSpPr/>
          <p:nvPr/>
        </p:nvSpPr>
        <p:spPr bwMode="auto">
          <a:xfrm rot="5400000">
            <a:off x="166416" y="2620799"/>
            <a:ext cx="730315" cy="31227"/>
          </a:xfrm>
          <a:prstGeom prst="rect">
            <a:avLst/>
          </a:prstGeom>
          <a:solidFill>
            <a:srgbClr val="005B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13" name="Group 12"/>
          <p:cNvGrpSpPr/>
          <p:nvPr/>
        </p:nvGrpSpPr>
        <p:grpSpPr>
          <a:xfrm>
            <a:off x="241112" y="2441088"/>
            <a:ext cx="717769" cy="271765"/>
            <a:chOff x="423714" y="2395934"/>
            <a:chExt cx="876300" cy="301625"/>
          </a:xfrm>
        </p:grpSpPr>
        <p:sp>
          <p:nvSpPr>
            <p:cNvPr id="2988" name="Rectangle 1990"/>
            <p:cNvSpPr>
              <a:spLocks noChangeArrowheads="1"/>
            </p:cNvSpPr>
            <p:nvPr/>
          </p:nvSpPr>
          <p:spPr bwMode="auto">
            <a:xfrm>
              <a:off x="528489" y="2459434"/>
              <a:ext cx="771525" cy="177800"/>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grpSp>
          <p:nvGrpSpPr>
            <p:cNvPr id="3038" name="Group 3037"/>
            <p:cNvGrpSpPr/>
            <p:nvPr/>
          </p:nvGrpSpPr>
          <p:grpSpPr>
            <a:xfrm>
              <a:off x="712639" y="2553096"/>
              <a:ext cx="563563" cy="58738"/>
              <a:chOff x="698500" y="2590800"/>
              <a:chExt cx="563563" cy="58738"/>
            </a:xfrm>
            <a:solidFill>
              <a:schemeClr val="accent1"/>
            </a:solidFill>
          </p:grpSpPr>
          <p:sp>
            <p:nvSpPr>
              <p:cNvPr id="2989" name="Freeform 1991"/>
              <p:cNvSpPr>
                <a:spLocks noEditPoints="1"/>
              </p:cNvSpPr>
              <p:nvPr/>
            </p:nvSpPr>
            <p:spPr bwMode="auto">
              <a:xfrm>
                <a:off x="698500" y="2592388"/>
                <a:ext cx="47625" cy="52388"/>
              </a:xfrm>
              <a:custGeom>
                <a:avLst/>
                <a:gdLst>
                  <a:gd name="T0" fmla="*/ 80 w 182"/>
                  <a:gd name="T1" fmla="*/ 0 h 202"/>
                  <a:gd name="T2" fmla="*/ 89 w 182"/>
                  <a:gd name="T3" fmla="*/ 1 h 202"/>
                  <a:gd name="T4" fmla="*/ 109 w 182"/>
                  <a:gd name="T5" fmla="*/ 4 h 202"/>
                  <a:gd name="T6" fmla="*/ 118 w 182"/>
                  <a:gd name="T7" fmla="*/ 6 h 202"/>
                  <a:gd name="T8" fmla="*/ 135 w 182"/>
                  <a:gd name="T9" fmla="*/ 14 h 202"/>
                  <a:gd name="T10" fmla="*/ 151 w 182"/>
                  <a:gd name="T11" fmla="*/ 25 h 202"/>
                  <a:gd name="T12" fmla="*/ 158 w 182"/>
                  <a:gd name="T13" fmla="*/ 31 h 202"/>
                  <a:gd name="T14" fmla="*/ 169 w 182"/>
                  <a:gd name="T15" fmla="*/ 48 h 202"/>
                  <a:gd name="T16" fmla="*/ 174 w 182"/>
                  <a:gd name="T17" fmla="*/ 56 h 202"/>
                  <a:gd name="T18" fmla="*/ 180 w 182"/>
                  <a:gd name="T19" fmla="*/ 77 h 202"/>
                  <a:gd name="T20" fmla="*/ 182 w 182"/>
                  <a:gd name="T21" fmla="*/ 101 h 202"/>
                  <a:gd name="T22" fmla="*/ 182 w 182"/>
                  <a:gd name="T23" fmla="*/ 113 h 202"/>
                  <a:gd name="T24" fmla="*/ 177 w 182"/>
                  <a:gd name="T25" fmla="*/ 135 h 202"/>
                  <a:gd name="T26" fmla="*/ 173 w 182"/>
                  <a:gd name="T27" fmla="*/ 146 h 202"/>
                  <a:gd name="T28" fmla="*/ 162 w 182"/>
                  <a:gd name="T29" fmla="*/ 163 h 202"/>
                  <a:gd name="T30" fmla="*/ 147 w 182"/>
                  <a:gd name="T31" fmla="*/ 177 h 202"/>
                  <a:gd name="T32" fmla="*/ 139 w 182"/>
                  <a:gd name="T33" fmla="*/ 182 h 202"/>
                  <a:gd name="T34" fmla="*/ 122 w 182"/>
                  <a:gd name="T35" fmla="*/ 192 h 202"/>
                  <a:gd name="T36" fmla="*/ 113 w 182"/>
                  <a:gd name="T37" fmla="*/ 196 h 202"/>
                  <a:gd name="T38" fmla="*/ 94 w 182"/>
                  <a:gd name="T39" fmla="*/ 200 h 202"/>
                  <a:gd name="T40" fmla="*/ 76 w 182"/>
                  <a:gd name="T41" fmla="*/ 202 h 202"/>
                  <a:gd name="T42" fmla="*/ 0 w 182"/>
                  <a:gd name="T43" fmla="*/ 0 h 202"/>
                  <a:gd name="T44" fmla="*/ 63 w 182"/>
                  <a:gd name="T45" fmla="*/ 169 h 202"/>
                  <a:gd name="T46" fmla="*/ 94 w 182"/>
                  <a:gd name="T47" fmla="*/ 165 h 202"/>
                  <a:gd name="T48" fmla="*/ 101 w 182"/>
                  <a:gd name="T49" fmla="*/ 163 h 202"/>
                  <a:gd name="T50" fmla="*/ 115 w 182"/>
                  <a:gd name="T51" fmla="*/ 157 h 202"/>
                  <a:gd name="T52" fmla="*/ 121 w 182"/>
                  <a:gd name="T53" fmla="*/ 154 h 202"/>
                  <a:gd name="T54" fmla="*/ 131 w 182"/>
                  <a:gd name="T55" fmla="*/ 144 h 202"/>
                  <a:gd name="T56" fmla="*/ 138 w 182"/>
                  <a:gd name="T57" fmla="*/ 132 h 202"/>
                  <a:gd name="T58" fmla="*/ 141 w 182"/>
                  <a:gd name="T59" fmla="*/ 125 h 202"/>
                  <a:gd name="T60" fmla="*/ 144 w 182"/>
                  <a:gd name="T61" fmla="*/ 110 h 202"/>
                  <a:gd name="T62" fmla="*/ 144 w 182"/>
                  <a:gd name="T63" fmla="*/ 101 h 202"/>
                  <a:gd name="T64" fmla="*/ 143 w 182"/>
                  <a:gd name="T65" fmla="*/ 84 h 202"/>
                  <a:gd name="T66" fmla="*/ 139 w 182"/>
                  <a:gd name="T67" fmla="*/ 69 h 202"/>
                  <a:gd name="T68" fmla="*/ 136 w 182"/>
                  <a:gd name="T69" fmla="*/ 63 h 202"/>
                  <a:gd name="T70" fmla="*/ 128 w 182"/>
                  <a:gd name="T71" fmla="*/ 53 h 202"/>
                  <a:gd name="T72" fmla="*/ 123 w 182"/>
                  <a:gd name="T73" fmla="*/ 49 h 202"/>
                  <a:gd name="T74" fmla="*/ 112 w 182"/>
                  <a:gd name="T75" fmla="*/ 41 h 202"/>
                  <a:gd name="T76" fmla="*/ 99 w 182"/>
                  <a:gd name="T77" fmla="*/ 36 h 202"/>
                  <a:gd name="T78" fmla="*/ 85 w 182"/>
                  <a:gd name="T79" fmla="*/ 33 h 202"/>
                  <a:gd name="T80" fmla="*/ 36 w 182"/>
                  <a:gd name="T81" fmla="*/ 32 h 202"/>
                  <a:gd name="T82" fmla="*/ 63 w 182"/>
                  <a:gd name="T83" fmla="*/ 16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2" h="202">
                    <a:moveTo>
                      <a:pt x="0" y="0"/>
                    </a:moveTo>
                    <a:lnTo>
                      <a:pt x="80" y="0"/>
                    </a:lnTo>
                    <a:lnTo>
                      <a:pt x="80" y="0"/>
                    </a:lnTo>
                    <a:lnTo>
                      <a:pt x="89" y="1"/>
                    </a:lnTo>
                    <a:lnTo>
                      <a:pt x="99" y="2"/>
                    </a:lnTo>
                    <a:lnTo>
                      <a:pt x="109" y="4"/>
                    </a:lnTo>
                    <a:lnTo>
                      <a:pt x="118" y="6"/>
                    </a:lnTo>
                    <a:lnTo>
                      <a:pt x="118" y="6"/>
                    </a:lnTo>
                    <a:lnTo>
                      <a:pt x="127" y="10"/>
                    </a:lnTo>
                    <a:lnTo>
                      <a:pt x="135" y="14"/>
                    </a:lnTo>
                    <a:lnTo>
                      <a:pt x="143" y="19"/>
                    </a:lnTo>
                    <a:lnTo>
                      <a:pt x="151" y="25"/>
                    </a:lnTo>
                    <a:lnTo>
                      <a:pt x="151" y="25"/>
                    </a:lnTo>
                    <a:lnTo>
                      <a:pt x="158" y="31"/>
                    </a:lnTo>
                    <a:lnTo>
                      <a:pt x="164" y="38"/>
                    </a:lnTo>
                    <a:lnTo>
                      <a:pt x="169" y="48"/>
                    </a:lnTo>
                    <a:lnTo>
                      <a:pt x="174" y="56"/>
                    </a:lnTo>
                    <a:lnTo>
                      <a:pt x="174" y="56"/>
                    </a:lnTo>
                    <a:lnTo>
                      <a:pt x="177" y="66"/>
                    </a:lnTo>
                    <a:lnTo>
                      <a:pt x="180" y="77"/>
                    </a:lnTo>
                    <a:lnTo>
                      <a:pt x="182" y="88"/>
                    </a:lnTo>
                    <a:lnTo>
                      <a:pt x="182" y="101"/>
                    </a:lnTo>
                    <a:lnTo>
                      <a:pt x="182" y="101"/>
                    </a:lnTo>
                    <a:lnTo>
                      <a:pt x="182" y="113"/>
                    </a:lnTo>
                    <a:lnTo>
                      <a:pt x="180" y="125"/>
                    </a:lnTo>
                    <a:lnTo>
                      <a:pt x="177" y="135"/>
                    </a:lnTo>
                    <a:lnTo>
                      <a:pt x="173" y="146"/>
                    </a:lnTo>
                    <a:lnTo>
                      <a:pt x="173" y="146"/>
                    </a:lnTo>
                    <a:lnTo>
                      <a:pt x="167" y="155"/>
                    </a:lnTo>
                    <a:lnTo>
                      <a:pt x="162" y="163"/>
                    </a:lnTo>
                    <a:lnTo>
                      <a:pt x="155" y="170"/>
                    </a:lnTo>
                    <a:lnTo>
                      <a:pt x="147" y="177"/>
                    </a:lnTo>
                    <a:lnTo>
                      <a:pt x="147" y="177"/>
                    </a:lnTo>
                    <a:lnTo>
                      <a:pt x="139" y="182"/>
                    </a:lnTo>
                    <a:lnTo>
                      <a:pt x="131" y="188"/>
                    </a:lnTo>
                    <a:lnTo>
                      <a:pt x="122" y="192"/>
                    </a:lnTo>
                    <a:lnTo>
                      <a:pt x="113" y="196"/>
                    </a:lnTo>
                    <a:lnTo>
                      <a:pt x="113" y="196"/>
                    </a:lnTo>
                    <a:lnTo>
                      <a:pt x="104" y="198"/>
                    </a:lnTo>
                    <a:lnTo>
                      <a:pt x="94" y="200"/>
                    </a:lnTo>
                    <a:lnTo>
                      <a:pt x="85" y="201"/>
                    </a:lnTo>
                    <a:lnTo>
                      <a:pt x="76" y="202"/>
                    </a:lnTo>
                    <a:lnTo>
                      <a:pt x="0" y="202"/>
                    </a:lnTo>
                    <a:lnTo>
                      <a:pt x="0" y="0"/>
                    </a:lnTo>
                    <a:close/>
                    <a:moveTo>
                      <a:pt x="63" y="169"/>
                    </a:moveTo>
                    <a:lnTo>
                      <a:pt x="63" y="169"/>
                    </a:lnTo>
                    <a:lnTo>
                      <a:pt x="79" y="168"/>
                    </a:lnTo>
                    <a:lnTo>
                      <a:pt x="94" y="165"/>
                    </a:lnTo>
                    <a:lnTo>
                      <a:pt x="94" y="165"/>
                    </a:lnTo>
                    <a:lnTo>
                      <a:pt x="101" y="163"/>
                    </a:lnTo>
                    <a:lnTo>
                      <a:pt x="109" y="160"/>
                    </a:lnTo>
                    <a:lnTo>
                      <a:pt x="115" y="157"/>
                    </a:lnTo>
                    <a:lnTo>
                      <a:pt x="121" y="154"/>
                    </a:lnTo>
                    <a:lnTo>
                      <a:pt x="121" y="154"/>
                    </a:lnTo>
                    <a:lnTo>
                      <a:pt x="126" y="149"/>
                    </a:lnTo>
                    <a:lnTo>
                      <a:pt x="131" y="144"/>
                    </a:lnTo>
                    <a:lnTo>
                      <a:pt x="135" y="139"/>
                    </a:lnTo>
                    <a:lnTo>
                      <a:pt x="138" y="132"/>
                    </a:lnTo>
                    <a:lnTo>
                      <a:pt x="138" y="132"/>
                    </a:lnTo>
                    <a:lnTo>
                      <a:pt x="141" y="125"/>
                    </a:lnTo>
                    <a:lnTo>
                      <a:pt x="143" y="118"/>
                    </a:lnTo>
                    <a:lnTo>
                      <a:pt x="144" y="110"/>
                    </a:lnTo>
                    <a:lnTo>
                      <a:pt x="144" y="101"/>
                    </a:lnTo>
                    <a:lnTo>
                      <a:pt x="144" y="101"/>
                    </a:lnTo>
                    <a:lnTo>
                      <a:pt x="144" y="93"/>
                    </a:lnTo>
                    <a:lnTo>
                      <a:pt x="143" y="84"/>
                    </a:lnTo>
                    <a:lnTo>
                      <a:pt x="141" y="76"/>
                    </a:lnTo>
                    <a:lnTo>
                      <a:pt x="139" y="69"/>
                    </a:lnTo>
                    <a:lnTo>
                      <a:pt x="139" y="69"/>
                    </a:lnTo>
                    <a:lnTo>
                      <a:pt x="136" y="63"/>
                    </a:lnTo>
                    <a:lnTo>
                      <a:pt x="132" y="58"/>
                    </a:lnTo>
                    <a:lnTo>
                      <a:pt x="128" y="53"/>
                    </a:lnTo>
                    <a:lnTo>
                      <a:pt x="123" y="49"/>
                    </a:lnTo>
                    <a:lnTo>
                      <a:pt x="123" y="49"/>
                    </a:lnTo>
                    <a:lnTo>
                      <a:pt x="118" y="45"/>
                    </a:lnTo>
                    <a:lnTo>
                      <a:pt x="112" y="41"/>
                    </a:lnTo>
                    <a:lnTo>
                      <a:pt x="106" y="38"/>
                    </a:lnTo>
                    <a:lnTo>
                      <a:pt x="99" y="36"/>
                    </a:lnTo>
                    <a:lnTo>
                      <a:pt x="99" y="36"/>
                    </a:lnTo>
                    <a:lnTo>
                      <a:pt x="85" y="33"/>
                    </a:lnTo>
                    <a:lnTo>
                      <a:pt x="69" y="32"/>
                    </a:lnTo>
                    <a:lnTo>
                      <a:pt x="36" y="32"/>
                    </a:lnTo>
                    <a:lnTo>
                      <a:pt x="36" y="169"/>
                    </a:lnTo>
                    <a:lnTo>
                      <a:pt x="63"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0" name="Freeform 1992"/>
              <p:cNvSpPr>
                <a:spLocks/>
              </p:cNvSpPr>
              <p:nvPr/>
            </p:nvSpPr>
            <p:spPr bwMode="auto">
              <a:xfrm>
                <a:off x="755650" y="2592388"/>
                <a:ext cx="36513" cy="52388"/>
              </a:xfrm>
              <a:custGeom>
                <a:avLst/>
                <a:gdLst>
                  <a:gd name="T0" fmla="*/ 0 w 138"/>
                  <a:gd name="T1" fmla="*/ 0 h 202"/>
                  <a:gd name="T2" fmla="*/ 133 w 138"/>
                  <a:gd name="T3" fmla="*/ 0 h 202"/>
                  <a:gd name="T4" fmla="*/ 133 w 138"/>
                  <a:gd name="T5" fmla="*/ 32 h 202"/>
                  <a:gd name="T6" fmla="*/ 36 w 138"/>
                  <a:gd name="T7" fmla="*/ 32 h 202"/>
                  <a:gd name="T8" fmla="*/ 36 w 138"/>
                  <a:gd name="T9" fmla="*/ 82 h 202"/>
                  <a:gd name="T10" fmla="*/ 128 w 138"/>
                  <a:gd name="T11" fmla="*/ 82 h 202"/>
                  <a:gd name="T12" fmla="*/ 128 w 138"/>
                  <a:gd name="T13" fmla="*/ 114 h 202"/>
                  <a:gd name="T14" fmla="*/ 36 w 138"/>
                  <a:gd name="T15" fmla="*/ 114 h 202"/>
                  <a:gd name="T16" fmla="*/ 36 w 138"/>
                  <a:gd name="T17" fmla="*/ 169 h 202"/>
                  <a:gd name="T18" fmla="*/ 138 w 138"/>
                  <a:gd name="T19" fmla="*/ 169 h 202"/>
                  <a:gd name="T20" fmla="*/ 138 w 138"/>
                  <a:gd name="T21" fmla="*/ 202 h 202"/>
                  <a:gd name="T22" fmla="*/ 0 w 138"/>
                  <a:gd name="T23" fmla="*/ 202 h 202"/>
                  <a:gd name="T24" fmla="*/ 0 w 138"/>
                  <a:gd name="T2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 h="202">
                    <a:moveTo>
                      <a:pt x="0" y="0"/>
                    </a:moveTo>
                    <a:lnTo>
                      <a:pt x="133" y="0"/>
                    </a:lnTo>
                    <a:lnTo>
                      <a:pt x="133" y="32"/>
                    </a:lnTo>
                    <a:lnTo>
                      <a:pt x="36" y="32"/>
                    </a:lnTo>
                    <a:lnTo>
                      <a:pt x="36" y="82"/>
                    </a:lnTo>
                    <a:lnTo>
                      <a:pt x="128" y="82"/>
                    </a:lnTo>
                    <a:lnTo>
                      <a:pt x="128" y="114"/>
                    </a:lnTo>
                    <a:lnTo>
                      <a:pt x="36" y="114"/>
                    </a:lnTo>
                    <a:lnTo>
                      <a:pt x="36" y="169"/>
                    </a:lnTo>
                    <a:lnTo>
                      <a:pt x="138" y="169"/>
                    </a:lnTo>
                    <a:lnTo>
                      <a:pt x="138" y="202"/>
                    </a:lnTo>
                    <a:lnTo>
                      <a:pt x="0" y="20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1" name="Freeform 1993"/>
              <p:cNvSpPr>
                <a:spLocks noEditPoints="1"/>
              </p:cNvSpPr>
              <p:nvPr/>
            </p:nvSpPr>
            <p:spPr bwMode="auto">
              <a:xfrm>
                <a:off x="801688" y="2592388"/>
                <a:ext cx="36513" cy="52388"/>
              </a:xfrm>
              <a:custGeom>
                <a:avLst/>
                <a:gdLst>
                  <a:gd name="T0" fmla="*/ 67 w 142"/>
                  <a:gd name="T1" fmla="*/ 0 h 202"/>
                  <a:gd name="T2" fmla="*/ 81 w 142"/>
                  <a:gd name="T3" fmla="*/ 1 h 202"/>
                  <a:gd name="T4" fmla="*/ 96 w 142"/>
                  <a:gd name="T5" fmla="*/ 3 h 202"/>
                  <a:gd name="T6" fmla="*/ 114 w 142"/>
                  <a:gd name="T7" fmla="*/ 9 h 202"/>
                  <a:gd name="T8" fmla="*/ 119 w 142"/>
                  <a:gd name="T9" fmla="*/ 12 h 202"/>
                  <a:gd name="T10" fmla="*/ 128 w 142"/>
                  <a:gd name="T11" fmla="*/ 20 h 202"/>
                  <a:gd name="T12" fmla="*/ 136 w 142"/>
                  <a:gd name="T13" fmla="*/ 30 h 202"/>
                  <a:gd name="T14" fmla="*/ 139 w 142"/>
                  <a:gd name="T15" fmla="*/ 36 h 202"/>
                  <a:gd name="T16" fmla="*/ 142 w 142"/>
                  <a:gd name="T17" fmla="*/ 51 h 202"/>
                  <a:gd name="T18" fmla="*/ 142 w 142"/>
                  <a:gd name="T19" fmla="*/ 59 h 202"/>
                  <a:gd name="T20" fmla="*/ 141 w 142"/>
                  <a:gd name="T21" fmla="*/ 75 h 202"/>
                  <a:gd name="T22" fmla="*/ 136 w 142"/>
                  <a:gd name="T23" fmla="*/ 89 h 202"/>
                  <a:gd name="T24" fmla="*/ 131 w 142"/>
                  <a:gd name="T25" fmla="*/ 95 h 202"/>
                  <a:gd name="T26" fmla="*/ 123 w 142"/>
                  <a:gd name="T27" fmla="*/ 104 h 202"/>
                  <a:gd name="T28" fmla="*/ 118 w 142"/>
                  <a:gd name="T29" fmla="*/ 107 h 202"/>
                  <a:gd name="T30" fmla="*/ 106 w 142"/>
                  <a:gd name="T31" fmla="*/ 113 h 202"/>
                  <a:gd name="T32" fmla="*/ 92 w 142"/>
                  <a:gd name="T33" fmla="*/ 116 h 202"/>
                  <a:gd name="T34" fmla="*/ 61 w 142"/>
                  <a:gd name="T35" fmla="*/ 118 h 202"/>
                  <a:gd name="T36" fmla="*/ 35 w 142"/>
                  <a:gd name="T37" fmla="*/ 202 h 202"/>
                  <a:gd name="T38" fmla="*/ 0 w 142"/>
                  <a:gd name="T39" fmla="*/ 0 h 202"/>
                  <a:gd name="T40" fmla="*/ 57 w 142"/>
                  <a:gd name="T41" fmla="*/ 87 h 202"/>
                  <a:gd name="T42" fmla="*/ 73 w 142"/>
                  <a:gd name="T43" fmla="*/ 86 h 202"/>
                  <a:gd name="T44" fmla="*/ 89 w 142"/>
                  <a:gd name="T45" fmla="*/ 83 h 202"/>
                  <a:gd name="T46" fmla="*/ 95 w 142"/>
                  <a:gd name="T47" fmla="*/ 80 h 202"/>
                  <a:gd name="T48" fmla="*/ 100 w 142"/>
                  <a:gd name="T49" fmla="*/ 75 h 202"/>
                  <a:gd name="T50" fmla="*/ 103 w 142"/>
                  <a:gd name="T51" fmla="*/ 68 h 202"/>
                  <a:gd name="T52" fmla="*/ 104 w 142"/>
                  <a:gd name="T53" fmla="*/ 59 h 202"/>
                  <a:gd name="T54" fmla="*/ 103 w 142"/>
                  <a:gd name="T55" fmla="*/ 51 h 202"/>
                  <a:gd name="T56" fmla="*/ 100 w 142"/>
                  <a:gd name="T57" fmla="*/ 43 h 202"/>
                  <a:gd name="T58" fmla="*/ 96 w 142"/>
                  <a:gd name="T59" fmla="*/ 39 h 202"/>
                  <a:gd name="T60" fmla="*/ 90 w 142"/>
                  <a:gd name="T61" fmla="*/ 35 h 202"/>
                  <a:gd name="T62" fmla="*/ 76 w 142"/>
                  <a:gd name="T63" fmla="*/ 31 h 202"/>
                  <a:gd name="T64" fmla="*/ 61 w 142"/>
                  <a:gd name="T65" fmla="*/ 30 h 202"/>
                  <a:gd name="T66" fmla="*/ 35 w 142"/>
                  <a:gd name="T67" fmla="*/ 8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202">
                    <a:moveTo>
                      <a:pt x="0" y="0"/>
                    </a:moveTo>
                    <a:lnTo>
                      <a:pt x="67" y="0"/>
                    </a:lnTo>
                    <a:lnTo>
                      <a:pt x="67" y="0"/>
                    </a:lnTo>
                    <a:lnTo>
                      <a:pt x="81" y="1"/>
                    </a:lnTo>
                    <a:lnTo>
                      <a:pt x="96" y="3"/>
                    </a:lnTo>
                    <a:lnTo>
                      <a:pt x="96" y="3"/>
                    </a:lnTo>
                    <a:lnTo>
                      <a:pt x="108" y="7"/>
                    </a:lnTo>
                    <a:lnTo>
                      <a:pt x="114" y="9"/>
                    </a:lnTo>
                    <a:lnTo>
                      <a:pt x="119" y="12"/>
                    </a:lnTo>
                    <a:lnTo>
                      <a:pt x="119" y="12"/>
                    </a:lnTo>
                    <a:lnTo>
                      <a:pt x="124" y="16"/>
                    </a:lnTo>
                    <a:lnTo>
                      <a:pt x="128" y="20"/>
                    </a:lnTo>
                    <a:lnTo>
                      <a:pt x="132" y="25"/>
                    </a:lnTo>
                    <a:lnTo>
                      <a:pt x="136" y="30"/>
                    </a:lnTo>
                    <a:lnTo>
                      <a:pt x="136" y="30"/>
                    </a:lnTo>
                    <a:lnTo>
                      <a:pt x="139" y="36"/>
                    </a:lnTo>
                    <a:lnTo>
                      <a:pt x="141" y="42"/>
                    </a:lnTo>
                    <a:lnTo>
                      <a:pt x="142" y="51"/>
                    </a:lnTo>
                    <a:lnTo>
                      <a:pt x="142" y="59"/>
                    </a:lnTo>
                    <a:lnTo>
                      <a:pt x="142" y="59"/>
                    </a:lnTo>
                    <a:lnTo>
                      <a:pt x="142" y="67"/>
                    </a:lnTo>
                    <a:lnTo>
                      <a:pt x="141" y="75"/>
                    </a:lnTo>
                    <a:lnTo>
                      <a:pt x="139" y="82"/>
                    </a:lnTo>
                    <a:lnTo>
                      <a:pt x="136" y="89"/>
                    </a:lnTo>
                    <a:lnTo>
                      <a:pt x="136" y="89"/>
                    </a:lnTo>
                    <a:lnTo>
                      <a:pt x="131" y="95"/>
                    </a:lnTo>
                    <a:lnTo>
                      <a:pt x="127" y="100"/>
                    </a:lnTo>
                    <a:lnTo>
                      <a:pt x="123" y="104"/>
                    </a:lnTo>
                    <a:lnTo>
                      <a:pt x="118" y="107"/>
                    </a:lnTo>
                    <a:lnTo>
                      <a:pt x="118" y="107"/>
                    </a:lnTo>
                    <a:lnTo>
                      <a:pt x="112" y="110"/>
                    </a:lnTo>
                    <a:lnTo>
                      <a:pt x="106" y="113"/>
                    </a:lnTo>
                    <a:lnTo>
                      <a:pt x="92" y="116"/>
                    </a:lnTo>
                    <a:lnTo>
                      <a:pt x="92" y="116"/>
                    </a:lnTo>
                    <a:lnTo>
                      <a:pt x="77" y="118"/>
                    </a:lnTo>
                    <a:lnTo>
                      <a:pt x="61" y="118"/>
                    </a:lnTo>
                    <a:lnTo>
                      <a:pt x="35" y="118"/>
                    </a:lnTo>
                    <a:lnTo>
                      <a:pt x="35" y="202"/>
                    </a:lnTo>
                    <a:lnTo>
                      <a:pt x="0" y="202"/>
                    </a:lnTo>
                    <a:lnTo>
                      <a:pt x="0" y="0"/>
                    </a:lnTo>
                    <a:close/>
                    <a:moveTo>
                      <a:pt x="57" y="87"/>
                    </a:moveTo>
                    <a:lnTo>
                      <a:pt x="57" y="87"/>
                    </a:lnTo>
                    <a:lnTo>
                      <a:pt x="73" y="86"/>
                    </a:lnTo>
                    <a:lnTo>
                      <a:pt x="73" y="86"/>
                    </a:lnTo>
                    <a:lnTo>
                      <a:pt x="81" y="85"/>
                    </a:lnTo>
                    <a:lnTo>
                      <a:pt x="89" y="83"/>
                    </a:lnTo>
                    <a:lnTo>
                      <a:pt x="89" y="83"/>
                    </a:lnTo>
                    <a:lnTo>
                      <a:pt x="95" y="80"/>
                    </a:lnTo>
                    <a:lnTo>
                      <a:pt x="100" y="75"/>
                    </a:lnTo>
                    <a:lnTo>
                      <a:pt x="100" y="75"/>
                    </a:lnTo>
                    <a:lnTo>
                      <a:pt x="102" y="72"/>
                    </a:lnTo>
                    <a:lnTo>
                      <a:pt x="103" y="68"/>
                    </a:lnTo>
                    <a:lnTo>
                      <a:pt x="104" y="64"/>
                    </a:lnTo>
                    <a:lnTo>
                      <a:pt x="104" y="59"/>
                    </a:lnTo>
                    <a:lnTo>
                      <a:pt x="104" y="59"/>
                    </a:lnTo>
                    <a:lnTo>
                      <a:pt x="103" y="51"/>
                    </a:lnTo>
                    <a:lnTo>
                      <a:pt x="102" y="47"/>
                    </a:lnTo>
                    <a:lnTo>
                      <a:pt x="100" y="43"/>
                    </a:lnTo>
                    <a:lnTo>
                      <a:pt x="100" y="43"/>
                    </a:lnTo>
                    <a:lnTo>
                      <a:pt x="96" y="39"/>
                    </a:lnTo>
                    <a:lnTo>
                      <a:pt x="90" y="35"/>
                    </a:lnTo>
                    <a:lnTo>
                      <a:pt x="90" y="35"/>
                    </a:lnTo>
                    <a:lnTo>
                      <a:pt x="83" y="33"/>
                    </a:lnTo>
                    <a:lnTo>
                      <a:pt x="76" y="31"/>
                    </a:lnTo>
                    <a:lnTo>
                      <a:pt x="76" y="31"/>
                    </a:lnTo>
                    <a:lnTo>
                      <a:pt x="61" y="30"/>
                    </a:lnTo>
                    <a:lnTo>
                      <a:pt x="35" y="30"/>
                    </a:lnTo>
                    <a:lnTo>
                      <a:pt x="35" y="87"/>
                    </a:lnTo>
                    <a:lnTo>
                      <a:pt x="5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2" name="Freeform 1994"/>
              <p:cNvSpPr>
                <a:spLocks noEditPoints="1"/>
              </p:cNvSpPr>
              <p:nvPr/>
            </p:nvSpPr>
            <p:spPr bwMode="auto">
              <a:xfrm>
                <a:off x="836613" y="2592388"/>
                <a:ext cx="53975" cy="52388"/>
              </a:xfrm>
              <a:custGeom>
                <a:avLst/>
                <a:gdLst>
                  <a:gd name="T0" fmla="*/ 88 w 206"/>
                  <a:gd name="T1" fmla="*/ 0 h 202"/>
                  <a:gd name="T2" fmla="*/ 119 w 206"/>
                  <a:gd name="T3" fmla="*/ 0 h 202"/>
                  <a:gd name="T4" fmla="*/ 206 w 206"/>
                  <a:gd name="T5" fmla="*/ 202 h 202"/>
                  <a:gd name="T6" fmla="*/ 165 w 206"/>
                  <a:gd name="T7" fmla="*/ 202 h 202"/>
                  <a:gd name="T8" fmla="*/ 147 w 206"/>
                  <a:gd name="T9" fmla="*/ 156 h 202"/>
                  <a:gd name="T10" fmla="*/ 59 w 206"/>
                  <a:gd name="T11" fmla="*/ 156 h 202"/>
                  <a:gd name="T12" fmla="*/ 40 w 206"/>
                  <a:gd name="T13" fmla="*/ 202 h 202"/>
                  <a:gd name="T14" fmla="*/ 0 w 206"/>
                  <a:gd name="T15" fmla="*/ 202 h 202"/>
                  <a:gd name="T16" fmla="*/ 88 w 206"/>
                  <a:gd name="T17" fmla="*/ 0 h 202"/>
                  <a:gd name="T18" fmla="*/ 133 w 206"/>
                  <a:gd name="T19" fmla="*/ 125 h 202"/>
                  <a:gd name="T20" fmla="*/ 103 w 206"/>
                  <a:gd name="T21" fmla="*/ 42 h 202"/>
                  <a:gd name="T22" fmla="*/ 71 w 206"/>
                  <a:gd name="T23" fmla="*/ 125 h 202"/>
                  <a:gd name="T24" fmla="*/ 133 w 206"/>
                  <a:gd name="T25" fmla="*/ 12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2">
                    <a:moveTo>
                      <a:pt x="88" y="0"/>
                    </a:moveTo>
                    <a:lnTo>
                      <a:pt x="119" y="0"/>
                    </a:lnTo>
                    <a:lnTo>
                      <a:pt x="206" y="202"/>
                    </a:lnTo>
                    <a:lnTo>
                      <a:pt x="165" y="202"/>
                    </a:lnTo>
                    <a:lnTo>
                      <a:pt x="147" y="156"/>
                    </a:lnTo>
                    <a:lnTo>
                      <a:pt x="59" y="156"/>
                    </a:lnTo>
                    <a:lnTo>
                      <a:pt x="40" y="202"/>
                    </a:lnTo>
                    <a:lnTo>
                      <a:pt x="0" y="202"/>
                    </a:lnTo>
                    <a:lnTo>
                      <a:pt x="88" y="0"/>
                    </a:lnTo>
                    <a:close/>
                    <a:moveTo>
                      <a:pt x="133" y="125"/>
                    </a:moveTo>
                    <a:lnTo>
                      <a:pt x="103" y="42"/>
                    </a:lnTo>
                    <a:lnTo>
                      <a:pt x="71" y="125"/>
                    </a:lnTo>
                    <a:lnTo>
                      <a:pt x="133"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3" name="Freeform 1995"/>
              <p:cNvSpPr>
                <a:spLocks noEditPoints="1"/>
              </p:cNvSpPr>
              <p:nvPr/>
            </p:nvSpPr>
            <p:spPr bwMode="auto">
              <a:xfrm>
                <a:off x="896938" y="2592388"/>
                <a:ext cx="39688" cy="52388"/>
              </a:xfrm>
              <a:custGeom>
                <a:avLst/>
                <a:gdLst>
                  <a:gd name="T0" fmla="*/ 0 w 153"/>
                  <a:gd name="T1" fmla="*/ 0 h 202"/>
                  <a:gd name="T2" fmla="*/ 71 w 153"/>
                  <a:gd name="T3" fmla="*/ 0 h 202"/>
                  <a:gd name="T4" fmla="*/ 71 w 153"/>
                  <a:gd name="T5" fmla="*/ 0 h 202"/>
                  <a:gd name="T6" fmla="*/ 85 w 153"/>
                  <a:gd name="T7" fmla="*/ 1 h 202"/>
                  <a:gd name="T8" fmla="*/ 98 w 153"/>
                  <a:gd name="T9" fmla="*/ 3 h 202"/>
                  <a:gd name="T10" fmla="*/ 98 w 153"/>
                  <a:gd name="T11" fmla="*/ 3 h 202"/>
                  <a:gd name="T12" fmla="*/ 112 w 153"/>
                  <a:gd name="T13" fmla="*/ 7 h 202"/>
                  <a:gd name="T14" fmla="*/ 123 w 153"/>
                  <a:gd name="T15" fmla="*/ 12 h 202"/>
                  <a:gd name="T16" fmla="*/ 123 w 153"/>
                  <a:gd name="T17" fmla="*/ 12 h 202"/>
                  <a:gd name="T18" fmla="*/ 128 w 153"/>
                  <a:gd name="T19" fmla="*/ 16 h 202"/>
                  <a:gd name="T20" fmla="*/ 132 w 153"/>
                  <a:gd name="T21" fmla="*/ 20 h 202"/>
                  <a:gd name="T22" fmla="*/ 136 w 153"/>
                  <a:gd name="T23" fmla="*/ 24 h 202"/>
                  <a:gd name="T24" fmla="*/ 139 w 153"/>
                  <a:gd name="T25" fmla="*/ 29 h 202"/>
                  <a:gd name="T26" fmla="*/ 139 w 153"/>
                  <a:gd name="T27" fmla="*/ 29 h 202"/>
                  <a:gd name="T28" fmla="*/ 142 w 153"/>
                  <a:gd name="T29" fmla="*/ 35 h 202"/>
                  <a:gd name="T30" fmla="*/ 144 w 153"/>
                  <a:gd name="T31" fmla="*/ 42 h 202"/>
                  <a:gd name="T32" fmla="*/ 145 w 153"/>
                  <a:gd name="T33" fmla="*/ 50 h 202"/>
                  <a:gd name="T34" fmla="*/ 145 w 153"/>
                  <a:gd name="T35" fmla="*/ 58 h 202"/>
                  <a:gd name="T36" fmla="*/ 145 w 153"/>
                  <a:gd name="T37" fmla="*/ 58 h 202"/>
                  <a:gd name="T38" fmla="*/ 145 w 153"/>
                  <a:gd name="T39" fmla="*/ 68 h 202"/>
                  <a:gd name="T40" fmla="*/ 142 w 153"/>
                  <a:gd name="T41" fmla="*/ 78 h 202"/>
                  <a:gd name="T42" fmla="*/ 139 w 153"/>
                  <a:gd name="T43" fmla="*/ 86 h 202"/>
                  <a:gd name="T44" fmla="*/ 134 w 153"/>
                  <a:gd name="T45" fmla="*/ 95 h 202"/>
                  <a:gd name="T46" fmla="*/ 134 w 153"/>
                  <a:gd name="T47" fmla="*/ 95 h 202"/>
                  <a:gd name="T48" fmla="*/ 127 w 153"/>
                  <a:gd name="T49" fmla="*/ 102 h 202"/>
                  <a:gd name="T50" fmla="*/ 119 w 153"/>
                  <a:gd name="T51" fmla="*/ 107 h 202"/>
                  <a:gd name="T52" fmla="*/ 110 w 153"/>
                  <a:gd name="T53" fmla="*/ 110 h 202"/>
                  <a:gd name="T54" fmla="*/ 99 w 153"/>
                  <a:gd name="T55" fmla="*/ 113 h 202"/>
                  <a:gd name="T56" fmla="*/ 153 w 153"/>
                  <a:gd name="T57" fmla="*/ 202 h 202"/>
                  <a:gd name="T58" fmla="*/ 110 w 153"/>
                  <a:gd name="T59" fmla="*/ 202 h 202"/>
                  <a:gd name="T60" fmla="*/ 63 w 153"/>
                  <a:gd name="T61" fmla="*/ 116 h 202"/>
                  <a:gd name="T62" fmla="*/ 36 w 153"/>
                  <a:gd name="T63" fmla="*/ 116 h 202"/>
                  <a:gd name="T64" fmla="*/ 36 w 153"/>
                  <a:gd name="T65" fmla="*/ 202 h 202"/>
                  <a:gd name="T66" fmla="*/ 0 w 153"/>
                  <a:gd name="T67" fmla="*/ 202 h 202"/>
                  <a:gd name="T68" fmla="*/ 0 w 153"/>
                  <a:gd name="T69" fmla="*/ 0 h 202"/>
                  <a:gd name="T70" fmla="*/ 65 w 153"/>
                  <a:gd name="T71" fmla="*/ 85 h 202"/>
                  <a:gd name="T72" fmla="*/ 65 w 153"/>
                  <a:gd name="T73" fmla="*/ 85 h 202"/>
                  <a:gd name="T74" fmla="*/ 80 w 153"/>
                  <a:gd name="T75" fmla="*/ 84 h 202"/>
                  <a:gd name="T76" fmla="*/ 80 w 153"/>
                  <a:gd name="T77" fmla="*/ 84 h 202"/>
                  <a:gd name="T78" fmla="*/ 87 w 153"/>
                  <a:gd name="T79" fmla="*/ 83 h 202"/>
                  <a:gd name="T80" fmla="*/ 94 w 153"/>
                  <a:gd name="T81" fmla="*/ 81 h 202"/>
                  <a:gd name="T82" fmla="*/ 94 w 153"/>
                  <a:gd name="T83" fmla="*/ 81 h 202"/>
                  <a:gd name="T84" fmla="*/ 99 w 153"/>
                  <a:gd name="T85" fmla="*/ 78 h 202"/>
                  <a:gd name="T86" fmla="*/ 105 w 153"/>
                  <a:gd name="T87" fmla="*/ 73 h 202"/>
                  <a:gd name="T88" fmla="*/ 105 w 153"/>
                  <a:gd name="T89" fmla="*/ 73 h 202"/>
                  <a:gd name="T90" fmla="*/ 106 w 153"/>
                  <a:gd name="T91" fmla="*/ 70 h 202"/>
                  <a:gd name="T92" fmla="*/ 108 w 153"/>
                  <a:gd name="T93" fmla="*/ 66 h 202"/>
                  <a:gd name="T94" fmla="*/ 109 w 153"/>
                  <a:gd name="T95" fmla="*/ 58 h 202"/>
                  <a:gd name="T96" fmla="*/ 109 w 153"/>
                  <a:gd name="T97" fmla="*/ 58 h 202"/>
                  <a:gd name="T98" fmla="*/ 108 w 153"/>
                  <a:gd name="T99" fmla="*/ 50 h 202"/>
                  <a:gd name="T100" fmla="*/ 105 w 153"/>
                  <a:gd name="T101" fmla="*/ 43 h 202"/>
                  <a:gd name="T102" fmla="*/ 105 w 153"/>
                  <a:gd name="T103" fmla="*/ 43 h 202"/>
                  <a:gd name="T104" fmla="*/ 100 w 153"/>
                  <a:gd name="T105" fmla="*/ 38 h 202"/>
                  <a:gd name="T106" fmla="*/ 95 w 153"/>
                  <a:gd name="T107" fmla="*/ 35 h 202"/>
                  <a:gd name="T108" fmla="*/ 95 w 153"/>
                  <a:gd name="T109" fmla="*/ 35 h 202"/>
                  <a:gd name="T110" fmla="*/ 88 w 153"/>
                  <a:gd name="T111" fmla="*/ 33 h 202"/>
                  <a:gd name="T112" fmla="*/ 82 w 153"/>
                  <a:gd name="T113" fmla="*/ 31 h 202"/>
                  <a:gd name="T114" fmla="*/ 82 w 153"/>
                  <a:gd name="T115" fmla="*/ 31 h 202"/>
                  <a:gd name="T116" fmla="*/ 68 w 153"/>
                  <a:gd name="T117" fmla="*/ 30 h 202"/>
                  <a:gd name="T118" fmla="*/ 36 w 153"/>
                  <a:gd name="T119" fmla="*/ 30 h 202"/>
                  <a:gd name="T120" fmla="*/ 36 w 153"/>
                  <a:gd name="T121" fmla="*/ 85 h 202"/>
                  <a:gd name="T122" fmla="*/ 65 w 153"/>
                  <a:gd name="T123" fmla="*/ 8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 h="202">
                    <a:moveTo>
                      <a:pt x="0" y="0"/>
                    </a:moveTo>
                    <a:lnTo>
                      <a:pt x="71" y="0"/>
                    </a:lnTo>
                    <a:lnTo>
                      <a:pt x="71" y="0"/>
                    </a:lnTo>
                    <a:lnTo>
                      <a:pt x="85" y="1"/>
                    </a:lnTo>
                    <a:lnTo>
                      <a:pt x="98" y="3"/>
                    </a:lnTo>
                    <a:lnTo>
                      <a:pt x="98" y="3"/>
                    </a:lnTo>
                    <a:lnTo>
                      <a:pt x="112" y="7"/>
                    </a:lnTo>
                    <a:lnTo>
                      <a:pt x="123" y="12"/>
                    </a:lnTo>
                    <a:lnTo>
                      <a:pt x="123" y="12"/>
                    </a:lnTo>
                    <a:lnTo>
                      <a:pt x="128" y="16"/>
                    </a:lnTo>
                    <a:lnTo>
                      <a:pt x="132" y="20"/>
                    </a:lnTo>
                    <a:lnTo>
                      <a:pt x="136" y="24"/>
                    </a:lnTo>
                    <a:lnTo>
                      <a:pt x="139" y="29"/>
                    </a:lnTo>
                    <a:lnTo>
                      <a:pt x="139" y="29"/>
                    </a:lnTo>
                    <a:lnTo>
                      <a:pt x="142" y="35"/>
                    </a:lnTo>
                    <a:lnTo>
                      <a:pt x="144" y="42"/>
                    </a:lnTo>
                    <a:lnTo>
                      <a:pt x="145" y="50"/>
                    </a:lnTo>
                    <a:lnTo>
                      <a:pt x="145" y="58"/>
                    </a:lnTo>
                    <a:lnTo>
                      <a:pt x="145" y="58"/>
                    </a:lnTo>
                    <a:lnTo>
                      <a:pt x="145" y="68"/>
                    </a:lnTo>
                    <a:lnTo>
                      <a:pt x="142" y="78"/>
                    </a:lnTo>
                    <a:lnTo>
                      <a:pt x="139" y="86"/>
                    </a:lnTo>
                    <a:lnTo>
                      <a:pt x="134" y="95"/>
                    </a:lnTo>
                    <a:lnTo>
                      <a:pt x="134" y="95"/>
                    </a:lnTo>
                    <a:lnTo>
                      <a:pt x="127" y="102"/>
                    </a:lnTo>
                    <a:lnTo>
                      <a:pt x="119" y="107"/>
                    </a:lnTo>
                    <a:lnTo>
                      <a:pt x="110" y="110"/>
                    </a:lnTo>
                    <a:lnTo>
                      <a:pt x="99" y="113"/>
                    </a:lnTo>
                    <a:lnTo>
                      <a:pt x="153" y="202"/>
                    </a:lnTo>
                    <a:lnTo>
                      <a:pt x="110" y="202"/>
                    </a:lnTo>
                    <a:lnTo>
                      <a:pt x="63" y="116"/>
                    </a:lnTo>
                    <a:lnTo>
                      <a:pt x="36" y="116"/>
                    </a:lnTo>
                    <a:lnTo>
                      <a:pt x="36" y="202"/>
                    </a:lnTo>
                    <a:lnTo>
                      <a:pt x="0" y="202"/>
                    </a:lnTo>
                    <a:lnTo>
                      <a:pt x="0" y="0"/>
                    </a:lnTo>
                    <a:close/>
                    <a:moveTo>
                      <a:pt x="65" y="85"/>
                    </a:moveTo>
                    <a:lnTo>
                      <a:pt x="65" y="85"/>
                    </a:lnTo>
                    <a:lnTo>
                      <a:pt x="80" y="84"/>
                    </a:lnTo>
                    <a:lnTo>
                      <a:pt x="80" y="84"/>
                    </a:lnTo>
                    <a:lnTo>
                      <a:pt x="87" y="83"/>
                    </a:lnTo>
                    <a:lnTo>
                      <a:pt x="94" y="81"/>
                    </a:lnTo>
                    <a:lnTo>
                      <a:pt x="94" y="81"/>
                    </a:lnTo>
                    <a:lnTo>
                      <a:pt x="99" y="78"/>
                    </a:lnTo>
                    <a:lnTo>
                      <a:pt x="105" y="73"/>
                    </a:lnTo>
                    <a:lnTo>
                      <a:pt x="105" y="73"/>
                    </a:lnTo>
                    <a:lnTo>
                      <a:pt x="106" y="70"/>
                    </a:lnTo>
                    <a:lnTo>
                      <a:pt x="108" y="66"/>
                    </a:lnTo>
                    <a:lnTo>
                      <a:pt x="109" y="58"/>
                    </a:lnTo>
                    <a:lnTo>
                      <a:pt x="109" y="58"/>
                    </a:lnTo>
                    <a:lnTo>
                      <a:pt x="108" y="50"/>
                    </a:lnTo>
                    <a:lnTo>
                      <a:pt x="105" y="43"/>
                    </a:lnTo>
                    <a:lnTo>
                      <a:pt x="105" y="43"/>
                    </a:lnTo>
                    <a:lnTo>
                      <a:pt x="100" y="38"/>
                    </a:lnTo>
                    <a:lnTo>
                      <a:pt x="95" y="35"/>
                    </a:lnTo>
                    <a:lnTo>
                      <a:pt x="95" y="35"/>
                    </a:lnTo>
                    <a:lnTo>
                      <a:pt x="88" y="33"/>
                    </a:lnTo>
                    <a:lnTo>
                      <a:pt x="82" y="31"/>
                    </a:lnTo>
                    <a:lnTo>
                      <a:pt x="82" y="31"/>
                    </a:lnTo>
                    <a:lnTo>
                      <a:pt x="68" y="30"/>
                    </a:lnTo>
                    <a:lnTo>
                      <a:pt x="36" y="30"/>
                    </a:lnTo>
                    <a:lnTo>
                      <a:pt x="36" y="85"/>
                    </a:lnTo>
                    <a:lnTo>
                      <a:pt x="65"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4" name="Freeform 1996"/>
              <p:cNvSpPr>
                <a:spLocks/>
              </p:cNvSpPr>
              <p:nvPr/>
            </p:nvSpPr>
            <p:spPr bwMode="auto">
              <a:xfrm>
                <a:off x="936625" y="2592388"/>
                <a:ext cx="42863" cy="52388"/>
              </a:xfrm>
              <a:custGeom>
                <a:avLst/>
                <a:gdLst>
                  <a:gd name="T0" fmla="*/ 61 w 159"/>
                  <a:gd name="T1" fmla="*/ 32 h 202"/>
                  <a:gd name="T2" fmla="*/ 0 w 159"/>
                  <a:gd name="T3" fmla="*/ 32 h 202"/>
                  <a:gd name="T4" fmla="*/ 0 w 159"/>
                  <a:gd name="T5" fmla="*/ 0 h 202"/>
                  <a:gd name="T6" fmla="*/ 159 w 159"/>
                  <a:gd name="T7" fmla="*/ 0 h 202"/>
                  <a:gd name="T8" fmla="*/ 159 w 159"/>
                  <a:gd name="T9" fmla="*/ 32 h 202"/>
                  <a:gd name="T10" fmla="*/ 97 w 159"/>
                  <a:gd name="T11" fmla="*/ 32 h 202"/>
                  <a:gd name="T12" fmla="*/ 97 w 159"/>
                  <a:gd name="T13" fmla="*/ 202 h 202"/>
                  <a:gd name="T14" fmla="*/ 61 w 159"/>
                  <a:gd name="T15" fmla="*/ 202 h 202"/>
                  <a:gd name="T16" fmla="*/ 61 w 159"/>
                  <a:gd name="T17" fmla="*/ 3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202">
                    <a:moveTo>
                      <a:pt x="61" y="32"/>
                    </a:moveTo>
                    <a:lnTo>
                      <a:pt x="0" y="32"/>
                    </a:lnTo>
                    <a:lnTo>
                      <a:pt x="0" y="0"/>
                    </a:lnTo>
                    <a:lnTo>
                      <a:pt x="159" y="0"/>
                    </a:lnTo>
                    <a:lnTo>
                      <a:pt x="159" y="32"/>
                    </a:lnTo>
                    <a:lnTo>
                      <a:pt x="97" y="32"/>
                    </a:lnTo>
                    <a:lnTo>
                      <a:pt x="97" y="202"/>
                    </a:lnTo>
                    <a:lnTo>
                      <a:pt x="61" y="202"/>
                    </a:lnTo>
                    <a:lnTo>
                      <a:pt x="61"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5" name="Freeform 1997"/>
              <p:cNvSpPr>
                <a:spLocks/>
              </p:cNvSpPr>
              <p:nvPr/>
            </p:nvSpPr>
            <p:spPr bwMode="auto">
              <a:xfrm>
                <a:off x="985838" y="2592388"/>
                <a:ext cx="42863" cy="53975"/>
              </a:xfrm>
              <a:custGeom>
                <a:avLst/>
                <a:gdLst>
                  <a:gd name="T0" fmla="*/ 162 w 162"/>
                  <a:gd name="T1" fmla="*/ 127 h 207"/>
                  <a:gd name="T2" fmla="*/ 161 w 162"/>
                  <a:gd name="T3" fmla="*/ 145 h 207"/>
                  <a:gd name="T4" fmla="*/ 156 w 162"/>
                  <a:gd name="T5" fmla="*/ 161 h 207"/>
                  <a:gd name="T6" fmla="*/ 153 w 162"/>
                  <a:gd name="T7" fmla="*/ 167 h 207"/>
                  <a:gd name="T8" fmla="*/ 144 w 162"/>
                  <a:gd name="T9" fmla="*/ 180 h 207"/>
                  <a:gd name="T10" fmla="*/ 139 w 162"/>
                  <a:gd name="T11" fmla="*/ 186 h 207"/>
                  <a:gd name="T12" fmla="*/ 127 w 162"/>
                  <a:gd name="T13" fmla="*/ 195 h 207"/>
                  <a:gd name="T14" fmla="*/ 113 w 162"/>
                  <a:gd name="T15" fmla="*/ 201 h 207"/>
                  <a:gd name="T16" fmla="*/ 106 w 162"/>
                  <a:gd name="T17" fmla="*/ 204 h 207"/>
                  <a:gd name="T18" fmla="*/ 89 w 162"/>
                  <a:gd name="T19" fmla="*/ 207 h 207"/>
                  <a:gd name="T20" fmla="*/ 81 w 162"/>
                  <a:gd name="T21" fmla="*/ 207 h 207"/>
                  <a:gd name="T22" fmla="*/ 64 w 162"/>
                  <a:gd name="T23" fmla="*/ 206 h 207"/>
                  <a:gd name="T24" fmla="*/ 49 w 162"/>
                  <a:gd name="T25" fmla="*/ 201 h 207"/>
                  <a:gd name="T26" fmla="*/ 41 w 162"/>
                  <a:gd name="T27" fmla="*/ 198 h 207"/>
                  <a:gd name="T28" fmla="*/ 28 w 162"/>
                  <a:gd name="T29" fmla="*/ 191 h 207"/>
                  <a:gd name="T30" fmla="*/ 23 w 162"/>
                  <a:gd name="T31" fmla="*/ 186 h 207"/>
                  <a:gd name="T32" fmla="*/ 13 w 162"/>
                  <a:gd name="T33" fmla="*/ 174 h 207"/>
                  <a:gd name="T34" fmla="*/ 6 w 162"/>
                  <a:gd name="T35" fmla="*/ 161 h 207"/>
                  <a:gd name="T36" fmla="*/ 4 w 162"/>
                  <a:gd name="T37" fmla="*/ 153 h 207"/>
                  <a:gd name="T38" fmla="*/ 1 w 162"/>
                  <a:gd name="T39" fmla="*/ 136 h 207"/>
                  <a:gd name="T40" fmla="*/ 0 w 162"/>
                  <a:gd name="T41" fmla="*/ 0 h 207"/>
                  <a:gd name="T42" fmla="*/ 35 w 162"/>
                  <a:gd name="T43" fmla="*/ 126 h 207"/>
                  <a:gd name="T44" fmla="*/ 36 w 162"/>
                  <a:gd name="T45" fmla="*/ 134 h 207"/>
                  <a:gd name="T46" fmla="*/ 38 w 162"/>
                  <a:gd name="T47" fmla="*/ 142 h 207"/>
                  <a:gd name="T48" fmla="*/ 46 w 162"/>
                  <a:gd name="T49" fmla="*/ 157 h 207"/>
                  <a:gd name="T50" fmla="*/ 52 w 162"/>
                  <a:gd name="T51" fmla="*/ 163 h 207"/>
                  <a:gd name="T52" fmla="*/ 60 w 162"/>
                  <a:gd name="T53" fmla="*/ 168 h 207"/>
                  <a:gd name="T54" fmla="*/ 69 w 162"/>
                  <a:gd name="T55" fmla="*/ 171 h 207"/>
                  <a:gd name="T56" fmla="*/ 81 w 162"/>
                  <a:gd name="T57" fmla="*/ 172 h 207"/>
                  <a:gd name="T58" fmla="*/ 98 w 162"/>
                  <a:gd name="T59" fmla="*/ 170 h 207"/>
                  <a:gd name="T60" fmla="*/ 103 w 162"/>
                  <a:gd name="T61" fmla="*/ 168 h 207"/>
                  <a:gd name="T62" fmla="*/ 116 w 162"/>
                  <a:gd name="T63" fmla="*/ 157 h 207"/>
                  <a:gd name="T64" fmla="*/ 121 w 162"/>
                  <a:gd name="T65" fmla="*/ 150 h 207"/>
                  <a:gd name="T66" fmla="*/ 124 w 162"/>
                  <a:gd name="T67" fmla="*/ 142 h 207"/>
                  <a:gd name="T68" fmla="*/ 126 w 162"/>
                  <a:gd name="T69" fmla="*/ 126 h 207"/>
                  <a:gd name="T70" fmla="*/ 162 w 162"/>
                  <a:gd name="T7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2" h="207">
                    <a:moveTo>
                      <a:pt x="162" y="127"/>
                    </a:moveTo>
                    <a:lnTo>
                      <a:pt x="162" y="127"/>
                    </a:lnTo>
                    <a:lnTo>
                      <a:pt x="162" y="136"/>
                    </a:lnTo>
                    <a:lnTo>
                      <a:pt x="161" y="145"/>
                    </a:lnTo>
                    <a:lnTo>
                      <a:pt x="159" y="153"/>
                    </a:lnTo>
                    <a:lnTo>
                      <a:pt x="156" y="161"/>
                    </a:lnTo>
                    <a:lnTo>
                      <a:pt x="156" y="161"/>
                    </a:lnTo>
                    <a:lnTo>
                      <a:pt x="153" y="167"/>
                    </a:lnTo>
                    <a:lnTo>
                      <a:pt x="149" y="174"/>
                    </a:lnTo>
                    <a:lnTo>
                      <a:pt x="144" y="180"/>
                    </a:lnTo>
                    <a:lnTo>
                      <a:pt x="139" y="186"/>
                    </a:lnTo>
                    <a:lnTo>
                      <a:pt x="139" y="186"/>
                    </a:lnTo>
                    <a:lnTo>
                      <a:pt x="133" y="191"/>
                    </a:lnTo>
                    <a:lnTo>
                      <a:pt x="127" y="195"/>
                    </a:lnTo>
                    <a:lnTo>
                      <a:pt x="120" y="198"/>
                    </a:lnTo>
                    <a:lnTo>
                      <a:pt x="113" y="201"/>
                    </a:lnTo>
                    <a:lnTo>
                      <a:pt x="113" y="201"/>
                    </a:lnTo>
                    <a:lnTo>
                      <a:pt x="106" y="204"/>
                    </a:lnTo>
                    <a:lnTo>
                      <a:pt x="98" y="206"/>
                    </a:lnTo>
                    <a:lnTo>
                      <a:pt x="89" y="207"/>
                    </a:lnTo>
                    <a:lnTo>
                      <a:pt x="81" y="207"/>
                    </a:lnTo>
                    <a:lnTo>
                      <a:pt x="81" y="207"/>
                    </a:lnTo>
                    <a:lnTo>
                      <a:pt x="72" y="207"/>
                    </a:lnTo>
                    <a:lnTo>
                      <a:pt x="64" y="206"/>
                    </a:lnTo>
                    <a:lnTo>
                      <a:pt x="57" y="204"/>
                    </a:lnTo>
                    <a:lnTo>
                      <a:pt x="49" y="201"/>
                    </a:lnTo>
                    <a:lnTo>
                      <a:pt x="49" y="201"/>
                    </a:lnTo>
                    <a:lnTo>
                      <a:pt x="41" y="198"/>
                    </a:lnTo>
                    <a:lnTo>
                      <a:pt x="35" y="195"/>
                    </a:lnTo>
                    <a:lnTo>
                      <a:pt x="28" y="191"/>
                    </a:lnTo>
                    <a:lnTo>
                      <a:pt x="23" y="186"/>
                    </a:lnTo>
                    <a:lnTo>
                      <a:pt x="23" y="186"/>
                    </a:lnTo>
                    <a:lnTo>
                      <a:pt x="18" y="180"/>
                    </a:lnTo>
                    <a:lnTo>
                      <a:pt x="13" y="174"/>
                    </a:lnTo>
                    <a:lnTo>
                      <a:pt x="9" y="167"/>
                    </a:lnTo>
                    <a:lnTo>
                      <a:pt x="6" y="161"/>
                    </a:lnTo>
                    <a:lnTo>
                      <a:pt x="6" y="161"/>
                    </a:lnTo>
                    <a:lnTo>
                      <a:pt x="4" y="153"/>
                    </a:lnTo>
                    <a:lnTo>
                      <a:pt x="2" y="145"/>
                    </a:lnTo>
                    <a:lnTo>
                      <a:pt x="1" y="136"/>
                    </a:lnTo>
                    <a:lnTo>
                      <a:pt x="0" y="127"/>
                    </a:lnTo>
                    <a:lnTo>
                      <a:pt x="0" y="0"/>
                    </a:lnTo>
                    <a:lnTo>
                      <a:pt x="35" y="0"/>
                    </a:lnTo>
                    <a:lnTo>
                      <a:pt x="35" y="126"/>
                    </a:lnTo>
                    <a:lnTo>
                      <a:pt x="35" y="126"/>
                    </a:lnTo>
                    <a:lnTo>
                      <a:pt x="36" y="134"/>
                    </a:lnTo>
                    <a:lnTo>
                      <a:pt x="38" y="142"/>
                    </a:lnTo>
                    <a:lnTo>
                      <a:pt x="38" y="142"/>
                    </a:lnTo>
                    <a:lnTo>
                      <a:pt x="40" y="150"/>
                    </a:lnTo>
                    <a:lnTo>
                      <a:pt x="46" y="157"/>
                    </a:lnTo>
                    <a:lnTo>
                      <a:pt x="46" y="157"/>
                    </a:lnTo>
                    <a:lnTo>
                      <a:pt x="52" y="163"/>
                    </a:lnTo>
                    <a:lnTo>
                      <a:pt x="60" y="168"/>
                    </a:lnTo>
                    <a:lnTo>
                      <a:pt x="60" y="168"/>
                    </a:lnTo>
                    <a:lnTo>
                      <a:pt x="64" y="170"/>
                    </a:lnTo>
                    <a:lnTo>
                      <a:pt x="69" y="171"/>
                    </a:lnTo>
                    <a:lnTo>
                      <a:pt x="81" y="172"/>
                    </a:lnTo>
                    <a:lnTo>
                      <a:pt x="81" y="172"/>
                    </a:lnTo>
                    <a:lnTo>
                      <a:pt x="93" y="171"/>
                    </a:lnTo>
                    <a:lnTo>
                      <a:pt x="98" y="170"/>
                    </a:lnTo>
                    <a:lnTo>
                      <a:pt x="103" y="168"/>
                    </a:lnTo>
                    <a:lnTo>
                      <a:pt x="103" y="168"/>
                    </a:lnTo>
                    <a:lnTo>
                      <a:pt x="110" y="163"/>
                    </a:lnTo>
                    <a:lnTo>
                      <a:pt x="116" y="157"/>
                    </a:lnTo>
                    <a:lnTo>
                      <a:pt x="116" y="157"/>
                    </a:lnTo>
                    <a:lnTo>
                      <a:pt x="121" y="150"/>
                    </a:lnTo>
                    <a:lnTo>
                      <a:pt x="124" y="142"/>
                    </a:lnTo>
                    <a:lnTo>
                      <a:pt x="124" y="142"/>
                    </a:lnTo>
                    <a:lnTo>
                      <a:pt x="125" y="134"/>
                    </a:lnTo>
                    <a:lnTo>
                      <a:pt x="126" y="126"/>
                    </a:lnTo>
                    <a:lnTo>
                      <a:pt x="126" y="0"/>
                    </a:lnTo>
                    <a:lnTo>
                      <a:pt x="162" y="0"/>
                    </a:lnTo>
                    <a:lnTo>
                      <a:pt x="162"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6" name="Freeform 1998"/>
              <p:cNvSpPr>
                <a:spLocks noEditPoints="1"/>
              </p:cNvSpPr>
              <p:nvPr/>
            </p:nvSpPr>
            <p:spPr bwMode="auto">
              <a:xfrm>
                <a:off x="1039813" y="2592388"/>
                <a:ext cx="41275" cy="52388"/>
              </a:xfrm>
              <a:custGeom>
                <a:avLst/>
                <a:gdLst>
                  <a:gd name="T0" fmla="*/ 0 w 152"/>
                  <a:gd name="T1" fmla="*/ 0 h 202"/>
                  <a:gd name="T2" fmla="*/ 70 w 152"/>
                  <a:gd name="T3" fmla="*/ 0 h 202"/>
                  <a:gd name="T4" fmla="*/ 70 w 152"/>
                  <a:gd name="T5" fmla="*/ 0 h 202"/>
                  <a:gd name="T6" fmla="*/ 85 w 152"/>
                  <a:gd name="T7" fmla="*/ 1 h 202"/>
                  <a:gd name="T8" fmla="*/ 98 w 152"/>
                  <a:gd name="T9" fmla="*/ 3 h 202"/>
                  <a:gd name="T10" fmla="*/ 98 w 152"/>
                  <a:gd name="T11" fmla="*/ 3 h 202"/>
                  <a:gd name="T12" fmla="*/ 111 w 152"/>
                  <a:gd name="T13" fmla="*/ 7 h 202"/>
                  <a:gd name="T14" fmla="*/ 123 w 152"/>
                  <a:gd name="T15" fmla="*/ 12 h 202"/>
                  <a:gd name="T16" fmla="*/ 123 w 152"/>
                  <a:gd name="T17" fmla="*/ 12 h 202"/>
                  <a:gd name="T18" fmla="*/ 128 w 152"/>
                  <a:gd name="T19" fmla="*/ 16 h 202"/>
                  <a:gd name="T20" fmla="*/ 132 w 152"/>
                  <a:gd name="T21" fmla="*/ 20 h 202"/>
                  <a:gd name="T22" fmla="*/ 136 w 152"/>
                  <a:gd name="T23" fmla="*/ 24 h 202"/>
                  <a:gd name="T24" fmla="*/ 139 w 152"/>
                  <a:gd name="T25" fmla="*/ 29 h 202"/>
                  <a:gd name="T26" fmla="*/ 139 w 152"/>
                  <a:gd name="T27" fmla="*/ 29 h 202"/>
                  <a:gd name="T28" fmla="*/ 142 w 152"/>
                  <a:gd name="T29" fmla="*/ 35 h 202"/>
                  <a:gd name="T30" fmla="*/ 144 w 152"/>
                  <a:gd name="T31" fmla="*/ 42 h 202"/>
                  <a:gd name="T32" fmla="*/ 145 w 152"/>
                  <a:gd name="T33" fmla="*/ 50 h 202"/>
                  <a:gd name="T34" fmla="*/ 146 w 152"/>
                  <a:gd name="T35" fmla="*/ 58 h 202"/>
                  <a:gd name="T36" fmla="*/ 146 w 152"/>
                  <a:gd name="T37" fmla="*/ 58 h 202"/>
                  <a:gd name="T38" fmla="*/ 145 w 152"/>
                  <a:gd name="T39" fmla="*/ 68 h 202"/>
                  <a:gd name="T40" fmla="*/ 143 w 152"/>
                  <a:gd name="T41" fmla="*/ 78 h 202"/>
                  <a:gd name="T42" fmla="*/ 139 w 152"/>
                  <a:gd name="T43" fmla="*/ 86 h 202"/>
                  <a:gd name="T44" fmla="*/ 134 w 152"/>
                  <a:gd name="T45" fmla="*/ 95 h 202"/>
                  <a:gd name="T46" fmla="*/ 134 w 152"/>
                  <a:gd name="T47" fmla="*/ 95 h 202"/>
                  <a:gd name="T48" fmla="*/ 127 w 152"/>
                  <a:gd name="T49" fmla="*/ 102 h 202"/>
                  <a:gd name="T50" fmla="*/ 118 w 152"/>
                  <a:gd name="T51" fmla="*/ 107 h 202"/>
                  <a:gd name="T52" fmla="*/ 109 w 152"/>
                  <a:gd name="T53" fmla="*/ 110 h 202"/>
                  <a:gd name="T54" fmla="*/ 99 w 152"/>
                  <a:gd name="T55" fmla="*/ 113 h 202"/>
                  <a:gd name="T56" fmla="*/ 152 w 152"/>
                  <a:gd name="T57" fmla="*/ 202 h 202"/>
                  <a:gd name="T58" fmla="*/ 109 w 152"/>
                  <a:gd name="T59" fmla="*/ 202 h 202"/>
                  <a:gd name="T60" fmla="*/ 62 w 152"/>
                  <a:gd name="T61" fmla="*/ 116 h 202"/>
                  <a:gd name="T62" fmla="*/ 37 w 152"/>
                  <a:gd name="T63" fmla="*/ 116 h 202"/>
                  <a:gd name="T64" fmla="*/ 37 w 152"/>
                  <a:gd name="T65" fmla="*/ 202 h 202"/>
                  <a:gd name="T66" fmla="*/ 0 w 152"/>
                  <a:gd name="T67" fmla="*/ 202 h 202"/>
                  <a:gd name="T68" fmla="*/ 0 w 152"/>
                  <a:gd name="T69" fmla="*/ 0 h 202"/>
                  <a:gd name="T70" fmla="*/ 64 w 152"/>
                  <a:gd name="T71" fmla="*/ 85 h 202"/>
                  <a:gd name="T72" fmla="*/ 64 w 152"/>
                  <a:gd name="T73" fmla="*/ 85 h 202"/>
                  <a:gd name="T74" fmla="*/ 80 w 152"/>
                  <a:gd name="T75" fmla="*/ 84 h 202"/>
                  <a:gd name="T76" fmla="*/ 80 w 152"/>
                  <a:gd name="T77" fmla="*/ 84 h 202"/>
                  <a:gd name="T78" fmla="*/ 87 w 152"/>
                  <a:gd name="T79" fmla="*/ 83 h 202"/>
                  <a:gd name="T80" fmla="*/ 94 w 152"/>
                  <a:gd name="T81" fmla="*/ 81 h 202"/>
                  <a:gd name="T82" fmla="*/ 94 w 152"/>
                  <a:gd name="T83" fmla="*/ 81 h 202"/>
                  <a:gd name="T84" fmla="*/ 99 w 152"/>
                  <a:gd name="T85" fmla="*/ 78 h 202"/>
                  <a:gd name="T86" fmla="*/ 104 w 152"/>
                  <a:gd name="T87" fmla="*/ 73 h 202"/>
                  <a:gd name="T88" fmla="*/ 104 w 152"/>
                  <a:gd name="T89" fmla="*/ 73 h 202"/>
                  <a:gd name="T90" fmla="*/ 106 w 152"/>
                  <a:gd name="T91" fmla="*/ 70 h 202"/>
                  <a:gd name="T92" fmla="*/ 107 w 152"/>
                  <a:gd name="T93" fmla="*/ 66 h 202"/>
                  <a:gd name="T94" fmla="*/ 108 w 152"/>
                  <a:gd name="T95" fmla="*/ 58 h 202"/>
                  <a:gd name="T96" fmla="*/ 108 w 152"/>
                  <a:gd name="T97" fmla="*/ 58 h 202"/>
                  <a:gd name="T98" fmla="*/ 107 w 152"/>
                  <a:gd name="T99" fmla="*/ 50 h 202"/>
                  <a:gd name="T100" fmla="*/ 104 w 152"/>
                  <a:gd name="T101" fmla="*/ 43 h 202"/>
                  <a:gd name="T102" fmla="*/ 104 w 152"/>
                  <a:gd name="T103" fmla="*/ 43 h 202"/>
                  <a:gd name="T104" fmla="*/ 100 w 152"/>
                  <a:gd name="T105" fmla="*/ 38 h 202"/>
                  <a:gd name="T106" fmla="*/ 95 w 152"/>
                  <a:gd name="T107" fmla="*/ 35 h 202"/>
                  <a:gd name="T108" fmla="*/ 95 w 152"/>
                  <a:gd name="T109" fmla="*/ 35 h 202"/>
                  <a:gd name="T110" fmla="*/ 89 w 152"/>
                  <a:gd name="T111" fmla="*/ 33 h 202"/>
                  <a:gd name="T112" fmla="*/ 82 w 152"/>
                  <a:gd name="T113" fmla="*/ 31 h 202"/>
                  <a:gd name="T114" fmla="*/ 82 w 152"/>
                  <a:gd name="T115" fmla="*/ 31 h 202"/>
                  <a:gd name="T116" fmla="*/ 67 w 152"/>
                  <a:gd name="T117" fmla="*/ 30 h 202"/>
                  <a:gd name="T118" fmla="*/ 37 w 152"/>
                  <a:gd name="T119" fmla="*/ 30 h 202"/>
                  <a:gd name="T120" fmla="*/ 37 w 152"/>
                  <a:gd name="T121" fmla="*/ 85 h 202"/>
                  <a:gd name="T122" fmla="*/ 64 w 152"/>
                  <a:gd name="T123" fmla="*/ 8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2" h="202">
                    <a:moveTo>
                      <a:pt x="0" y="0"/>
                    </a:moveTo>
                    <a:lnTo>
                      <a:pt x="70" y="0"/>
                    </a:lnTo>
                    <a:lnTo>
                      <a:pt x="70" y="0"/>
                    </a:lnTo>
                    <a:lnTo>
                      <a:pt x="85" y="1"/>
                    </a:lnTo>
                    <a:lnTo>
                      <a:pt x="98" y="3"/>
                    </a:lnTo>
                    <a:lnTo>
                      <a:pt x="98" y="3"/>
                    </a:lnTo>
                    <a:lnTo>
                      <a:pt x="111" y="7"/>
                    </a:lnTo>
                    <a:lnTo>
                      <a:pt x="123" y="12"/>
                    </a:lnTo>
                    <a:lnTo>
                      <a:pt x="123" y="12"/>
                    </a:lnTo>
                    <a:lnTo>
                      <a:pt x="128" y="16"/>
                    </a:lnTo>
                    <a:lnTo>
                      <a:pt x="132" y="20"/>
                    </a:lnTo>
                    <a:lnTo>
                      <a:pt x="136" y="24"/>
                    </a:lnTo>
                    <a:lnTo>
                      <a:pt x="139" y="29"/>
                    </a:lnTo>
                    <a:lnTo>
                      <a:pt x="139" y="29"/>
                    </a:lnTo>
                    <a:lnTo>
                      <a:pt x="142" y="35"/>
                    </a:lnTo>
                    <a:lnTo>
                      <a:pt x="144" y="42"/>
                    </a:lnTo>
                    <a:lnTo>
                      <a:pt x="145" y="50"/>
                    </a:lnTo>
                    <a:lnTo>
                      <a:pt x="146" y="58"/>
                    </a:lnTo>
                    <a:lnTo>
                      <a:pt x="146" y="58"/>
                    </a:lnTo>
                    <a:lnTo>
                      <a:pt x="145" y="68"/>
                    </a:lnTo>
                    <a:lnTo>
                      <a:pt x="143" y="78"/>
                    </a:lnTo>
                    <a:lnTo>
                      <a:pt x="139" y="86"/>
                    </a:lnTo>
                    <a:lnTo>
                      <a:pt x="134" y="95"/>
                    </a:lnTo>
                    <a:lnTo>
                      <a:pt x="134" y="95"/>
                    </a:lnTo>
                    <a:lnTo>
                      <a:pt x="127" y="102"/>
                    </a:lnTo>
                    <a:lnTo>
                      <a:pt x="118" y="107"/>
                    </a:lnTo>
                    <a:lnTo>
                      <a:pt x="109" y="110"/>
                    </a:lnTo>
                    <a:lnTo>
                      <a:pt x="99" y="113"/>
                    </a:lnTo>
                    <a:lnTo>
                      <a:pt x="152" y="202"/>
                    </a:lnTo>
                    <a:lnTo>
                      <a:pt x="109" y="202"/>
                    </a:lnTo>
                    <a:lnTo>
                      <a:pt x="62" y="116"/>
                    </a:lnTo>
                    <a:lnTo>
                      <a:pt x="37" y="116"/>
                    </a:lnTo>
                    <a:lnTo>
                      <a:pt x="37" y="202"/>
                    </a:lnTo>
                    <a:lnTo>
                      <a:pt x="0" y="202"/>
                    </a:lnTo>
                    <a:lnTo>
                      <a:pt x="0" y="0"/>
                    </a:lnTo>
                    <a:close/>
                    <a:moveTo>
                      <a:pt x="64" y="85"/>
                    </a:moveTo>
                    <a:lnTo>
                      <a:pt x="64" y="85"/>
                    </a:lnTo>
                    <a:lnTo>
                      <a:pt x="80" y="84"/>
                    </a:lnTo>
                    <a:lnTo>
                      <a:pt x="80" y="84"/>
                    </a:lnTo>
                    <a:lnTo>
                      <a:pt x="87" y="83"/>
                    </a:lnTo>
                    <a:lnTo>
                      <a:pt x="94" y="81"/>
                    </a:lnTo>
                    <a:lnTo>
                      <a:pt x="94" y="81"/>
                    </a:lnTo>
                    <a:lnTo>
                      <a:pt x="99" y="78"/>
                    </a:lnTo>
                    <a:lnTo>
                      <a:pt x="104" y="73"/>
                    </a:lnTo>
                    <a:lnTo>
                      <a:pt x="104" y="73"/>
                    </a:lnTo>
                    <a:lnTo>
                      <a:pt x="106" y="70"/>
                    </a:lnTo>
                    <a:lnTo>
                      <a:pt x="107" y="66"/>
                    </a:lnTo>
                    <a:lnTo>
                      <a:pt x="108" y="58"/>
                    </a:lnTo>
                    <a:lnTo>
                      <a:pt x="108" y="58"/>
                    </a:lnTo>
                    <a:lnTo>
                      <a:pt x="107" y="50"/>
                    </a:lnTo>
                    <a:lnTo>
                      <a:pt x="104" y="43"/>
                    </a:lnTo>
                    <a:lnTo>
                      <a:pt x="104" y="43"/>
                    </a:lnTo>
                    <a:lnTo>
                      <a:pt x="100" y="38"/>
                    </a:lnTo>
                    <a:lnTo>
                      <a:pt x="95" y="35"/>
                    </a:lnTo>
                    <a:lnTo>
                      <a:pt x="95" y="35"/>
                    </a:lnTo>
                    <a:lnTo>
                      <a:pt x="89" y="33"/>
                    </a:lnTo>
                    <a:lnTo>
                      <a:pt x="82" y="31"/>
                    </a:lnTo>
                    <a:lnTo>
                      <a:pt x="82" y="31"/>
                    </a:lnTo>
                    <a:lnTo>
                      <a:pt x="67" y="30"/>
                    </a:lnTo>
                    <a:lnTo>
                      <a:pt x="37" y="30"/>
                    </a:lnTo>
                    <a:lnTo>
                      <a:pt x="37" y="85"/>
                    </a:lnTo>
                    <a:lnTo>
                      <a:pt x="64"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7" name="Freeform 1999"/>
              <p:cNvSpPr>
                <a:spLocks/>
              </p:cNvSpPr>
              <p:nvPr/>
            </p:nvSpPr>
            <p:spPr bwMode="auto">
              <a:xfrm>
                <a:off x="1087438" y="2592388"/>
                <a:ext cx="36513" cy="52388"/>
              </a:xfrm>
              <a:custGeom>
                <a:avLst/>
                <a:gdLst>
                  <a:gd name="T0" fmla="*/ 0 w 139"/>
                  <a:gd name="T1" fmla="*/ 0 h 202"/>
                  <a:gd name="T2" fmla="*/ 134 w 139"/>
                  <a:gd name="T3" fmla="*/ 0 h 202"/>
                  <a:gd name="T4" fmla="*/ 134 w 139"/>
                  <a:gd name="T5" fmla="*/ 32 h 202"/>
                  <a:gd name="T6" fmla="*/ 36 w 139"/>
                  <a:gd name="T7" fmla="*/ 32 h 202"/>
                  <a:gd name="T8" fmla="*/ 36 w 139"/>
                  <a:gd name="T9" fmla="*/ 82 h 202"/>
                  <a:gd name="T10" fmla="*/ 129 w 139"/>
                  <a:gd name="T11" fmla="*/ 82 h 202"/>
                  <a:gd name="T12" fmla="*/ 129 w 139"/>
                  <a:gd name="T13" fmla="*/ 114 h 202"/>
                  <a:gd name="T14" fmla="*/ 36 w 139"/>
                  <a:gd name="T15" fmla="*/ 114 h 202"/>
                  <a:gd name="T16" fmla="*/ 36 w 139"/>
                  <a:gd name="T17" fmla="*/ 169 h 202"/>
                  <a:gd name="T18" fmla="*/ 139 w 139"/>
                  <a:gd name="T19" fmla="*/ 169 h 202"/>
                  <a:gd name="T20" fmla="*/ 139 w 139"/>
                  <a:gd name="T21" fmla="*/ 202 h 202"/>
                  <a:gd name="T22" fmla="*/ 0 w 139"/>
                  <a:gd name="T23" fmla="*/ 202 h 202"/>
                  <a:gd name="T24" fmla="*/ 0 w 139"/>
                  <a:gd name="T2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202">
                    <a:moveTo>
                      <a:pt x="0" y="0"/>
                    </a:moveTo>
                    <a:lnTo>
                      <a:pt x="134" y="0"/>
                    </a:lnTo>
                    <a:lnTo>
                      <a:pt x="134" y="32"/>
                    </a:lnTo>
                    <a:lnTo>
                      <a:pt x="36" y="32"/>
                    </a:lnTo>
                    <a:lnTo>
                      <a:pt x="36" y="82"/>
                    </a:lnTo>
                    <a:lnTo>
                      <a:pt x="129" y="82"/>
                    </a:lnTo>
                    <a:lnTo>
                      <a:pt x="129" y="114"/>
                    </a:lnTo>
                    <a:lnTo>
                      <a:pt x="36" y="114"/>
                    </a:lnTo>
                    <a:lnTo>
                      <a:pt x="36" y="169"/>
                    </a:lnTo>
                    <a:lnTo>
                      <a:pt x="139" y="169"/>
                    </a:lnTo>
                    <a:lnTo>
                      <a:pt x="139" y="202"/>
                    </a:lnTo>
                    <a:lnTo>
                      <a:pt x="0" y="20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8" name="Freeform 2000"/>
              <p:cNvSpPr>
                <a:spLocks/>
              </p:cNvSpPr>
              <p:nvPr/>
            </p:nvSpPr>
            <p:spPr bwMode="auto">
              <a:xfrm>
                <a:off x="1130300" y="2590800"/>
                <a:ext cx="36513" cy="55563"/>
              </a:xfrm>
              <a:custGeom>
                <a:avLst/>
                <a:gdLst>
                  <a:gd name="T0" fmla="*/ 110 w 140"/>
                  <a:gd name="T1" fmla="*/ 45 h 213"/>
                  <a:gd name="T2" fmla="*/ 97 w 140"/>
                  <a:gd name="T3" fmla="*/ 37 h 213"/>
                  <a:gd name="T4" fmla="*/ 78 w 140"/>
                  <a:gd name="T5" fmla="*/ 33 h 213"/>
                  <a:gd name="T6" fmla="*/ 66 w 140"/>
                  <a:gd name="T7" fmla="*/ 35 h 213"/>
                  <a:gd name="T8" fmla="*/ 55 w 140"/>
                  <a:gd name="T9" fmla="*/ 39 h 213"/>
                  <a:gd name="T10" fmla="*/ 47 w 140"/>
                  <a:gd name="T11" fmla="*/ 47 h 213"/>
                  <a:gd name="T12" fmla="*/ 44 w 140"/>
                  <a:gd name="T13" fmla="*/ 60 h 213"/>
                  <a:gd name="T14" fmla="*/ 46 w 140"/>
                  <a:gd name="T15" fmla="*/ 68 h 213"/>
                  <a:gd name="T16" fmla="*/ 51 w 140"/>
                  <a:gd name="T17" fmla="*/ 75 h 213"/>
                  <a:gd name="T18" fmla="*/ 70 w 140"/>
                  <a:gd name="T19" fmla="*/ 84 h 213"/>
                  <a:gd name="T20" fmla="*/ 104 w 140"/>
                  <a:gd name="T21" fmla="*/ 96 h 213"/>
                  <a:gd name="T22" fmla="*/ 121 w 140"/>
                  <a:gd name="T23" fmla="*/ 106 h 213"/>
                  <a:gd name="T24" fmla="*/ 133 w 140"/>
                  <a:gd name="T25" fmla="*/ 120 h 213"/>
                  <a:gd name="T26" fmla="*/ 138 w 140"/>
                  <a:gd name="T27" fmla="*/ 132 h 213"/>
                  <a:gd name="T28" fmla="*/ 140 w 140"/>
                  <a:gd name="T29" fmla="*/ 149 h 213"/>
                  <a:gd name="T30" fmla="*/ 137 w 140"/>
                  <a:gd name="T31" fmla="*/ 170 h 213"/>
                  <a:gd name="T32" fmla="*/ 131 w 140"/>
                  <a:gd name="T33" fmla="*/ 182 h 213"/>
                  <a:gd name="T34" fmla="*/ 118 w 140"/>
                  <a:gd name="T35" fmla="*/ 197 h 213"/>
                  <a:gd name="T36" fmla="*/ 108 w 140"/>
                  <a:gd name="T37" fmla="*/ 204 h 213"/>
                  <a:gd name="T38" fmla="*/ 81 w 140"/>
                  <a:gd name="T39" fmla="*/ 212 h 213"/>
                  <a:gd name="T40" fmla="*/ 57 w 140"/>
                  <a:gd name="T41" fmla="*/ 212 h 213"/>
                  <a:gd name="T42" fmla="*/ 30 w 140"/>
                  <a:gd name="T43" fmla="*/ 207 h 213"/>
                  <a:gd name="T44" fmla="*/ 15 w 140"/>
                  <a:gd name="T45" fmla="*/ 199 h 213"/>
                  <a:gd name="T46" fmla="*/ 28 w 140"/>
                  <a:gd name="T47" fmla="*/ 159 h 213"/>
                  <a:gd name="T48" fmla="*/ 35 w 140"/>
                  <a:gd name="T49" fmla="*/ 168 h 213"/>
                  <a:gd name="T50" fmla="*/ 44 w 140"/>
                  <a:gd name="T51" fmla="*/ 175 h 213"/>
                  <a:gd name="T52" fmla="*/ 62 w 140"/>
                  <a:gd name="T53" fmla="*/ 180 h 213"/>
                  <a:gd name="T54" fmla="*/ 74 w 140"/>
                  <a:gd name="T55" fmla="*/ 180 h 213"/>
                  <a:gd name="T56" fmla="*/ 86 w 140"/>
                  <a:gd name="T57" fmla="*/ 176 h 213"/>
                  <a:gd name="T58" fmla="*/ 96 w 140"/>
                  <a:gd name="T59" fmla="*/ 170 h 213"/>
                  <a:gd name="T60" fmla="*/ 101 w 140"/>
                  <a:gd name="T61" fmla="*/ 159 h 213"/>
                  <a:gd name="T62" fmla="*/ 102 w 140"/>
                  <a:gd name="T63" fmla="*/ 148 h 213"/>
                  <a:gd name="T64" fmla="*/ 95 w 140"/>
                  <a:gd name="T65" fmla="*/ 135 h 213"/>
                  <a:gd name="T66" fmla="*/ 78 w 140"/>
                  <a:gd name="T67" fmla="*/ 125 h 213"/>
                  <a:gd name="T68" fmla="*/ 54 w 140"/>
                  <a:gd name="T69" fmla="*/ 118 h 213"/>
                  <a:gd name="T70" fmla="*/ 32 w 140"/>
                  <a:gd name="T71" fmla="*/ 108 h 213"/>
                  <a:gd name="T72" fmla="*/ 18 w 140"/>
                  <a:gd name="T73" fmla="*/ 95 h 213"/>
                  <a:gd name="T74" fmla="*/ 10 w 140"/>
                  <a:gd name="T75" fmla="*/ 84 h 213"/>
                  <a:gd name="T76" fmla="*/ 7 w 140"/>
                  <a:gd name="T77" fmla="*/ 62 h 213"/>
                  <a:gd name="T78" fmla="*/ 8 w 140"/>
                  <a:gd name="T79" fmla="*/ 47 h 213"/>
                  <a:gd name="T80" fmla="*/ 14 w 140"/>
                  <a:gd name="T81" fmla="*/ 35 h 213"/>
                  <a:gd name="T82" fmla="*/ 25 w 140"/>
                  <a:gd name="T83" fmla="*/ 20 h 213"/>
                  <a:gd name="T84" fmla="*/ 41 w 140"/>
                  <a:gd name="T85" fmla="*/ 10 h 213"/>
                  <a:gd name="T86" fmla="*/ 68 w 140"/>
                  <a:gd name="T87" fmla="*/ 1 h 213"/>
                  <a:gd name="T88" fmla="*/ 97 w 140"/>
                  <a:gd name="T89" fmla="*/ 2 h 213"/>
                  <a:gd name="T90" fmla="*/ 113 w 140"/>
                  <a:gd name="T91" fmla="*/ 6 h 213"/>
                  <a:gd name="T92" fmla="*/ 133 w 140"/>
                  <a:gd name="T93" fmla="*/ 1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213">
                    <a:moveTo>
                      <a:pt x="113" y="49"/>
                    </a:moveTo>
                    <a:lnTo>
                      <a:pt x="113" y="49"/>
                    </a:lnTo>
                    <a:lnTo>
                      <a:pt x="110" y="45"/>
                    </a:lnTo>
                    <a:lnTo>
                      <a:pt x="106" y="42"/>
                    </a:lnTo>
                    <a:lnTo>
                      <a:pt x="102" y="39"/>
                    </a:lnTo>
                    <a:lnTo>
                      <a:pt x="97" y="37"/>
                    </a:lnTo>
                    <a:lnTo>
                      <a:pt x="97" y="37"/>
                    </a:lnTo>
                    <a:lnTo>
                      <a:pt x="88" y="34"/>
                    </a:lnTo>
                    <a:lnTo>
                      <a:pt x="78" y="33"/>
                    </a:lnTo>
                    <a:lnTo>
                      <a:pt x="78" y="33"/>
                    </a:lnTo>
                    <a:lnTo>
                      <a:pt x="72" y="33"/>
                    </a:lnTo>
                    <a:lnTo>
                      <a:pt x="66" y="35"/>
                    </a:lnTo>
                    <a:lnTo>
                      <a:pt x="66" y="35"/>
                    </a:lnTo>
                    <a:lnTo>
                      <a:pt x="59" y="36"/>
                    </a:lnTo>
                    <a:lnTo>
                      <a:pt x="55" y="39"/>
                    </a:lnTo>
                    <a:lnTo>
                      <a:pt x="55" y="39"/>
                    </a:lnTo>
                    <a:lnTo>
                      <a:pt x="50" y="43"/>
                    </a:lnTo>
                    <a:lnTo>
                      <a:pt x="47" y="47"/>
                    </a:lnTo>
                    <a:lnTo>
                      <a:pt x="47" y="47"/>
                    </a:lnTo>
                    <a:lnTo>
                      <a:pt x="45" y="53"/>
                    </a:lnTo>
                    <a:lnTo>
                      <a:pt x="44" y="60"/>
                    </a:lnTo>
                    <a:lnTo>
                      <a:pt x="44" y="60"/>
                    </a:lnTo>
                    <a:lnTo>
                      <a:pt x="45" y="64"/>
                    </a:lnTo>
                    <a:lnTo>
                      <a:pt x="46" y="68"/>
                    </a:lnTo>
                    <a:lnTo>
                      <a:pt x="48" y="72"/>
                    </a:lnTo>
                    <a:lnTo>
                      <a:pt x="51" y="75"/>
                    </a:lnTo>
                    <a:lnTo>
                      <a:pt x="51" y="75"/>
                    </a:lnTo>
                    <a:lnTo>
                      <a:pt x="59" y="80"/>
                    </a:lnTo>
                    <a:lnTo>
                      <a:pt x="70" y="84"/>
                    </a:lnTo>
                    <a:lnTo>
                      <a:pt x="70" y="84"/>
                    </a:lnTo>
                    <a:lnTo>
                      <a:pt x="92" y="92"/>
                    </a:lnTo>
                    <a:lnTo>
                      <a:pt x="92" y="92"/>
                    </a:lnTo>
                    <a:lnTo>
                      <a:pt x="104" y="96"/>
                    </a:lnTo>
                    <a:lnTo>
                      <a:pt x="116" y="103"/>
                    </a:lnTo>
                    <a:lnTo>
                      <a:pt x="116" y="103"/>
                    </a:lnTo>
                    <a:lnTo>
                      <a:pt x="121" y="106"/>
                    </a:lnTo>
                    <a:lnTo>
                      <a:pt x="125" y="110"/>
                    </a:lnTo>
                    <a:lnTo>
                      <a:pt x="129" y="115"/>
                    </a:lnTo>
                    <a:lnTo>
                      <a:pt x="133" y="120"/>
                    </a:lnTo>
                    <a:lnTo>
                      <a:pt x="133" y="120"/>
                    </a:lnTo>
                    <a:lnTo>
                      <a:pt x="136" y="125"/>
                    </a:lnTo>
                    <a:lnTo>
                      <a:pt x="138" y="132"/>
                    </a:lnTo>
                    <a:lnTo>
                      <a:pt x="140" y="139"/>
                    </a:lnTo>
                    <a:lnTo>
                      <a:pt x="140" y="149"/>
                    </a:lnTo>
                    <a:lnTo>
                      <a:pt x="140" y="149"/>
                    </a:lnTo>
                    <a:lnTo>
                      <a:pt x="140" y="157"/>
                    </a:lnTo>
                    <a:lnTo>
                      <a:pt x="139" y="164"/>
                    </a:lnTo>
                    <a:lnTo>
                      <a:pt x="137" y="170"/>
                    </a:lnTo>
                    <a:lnTo>
                      <a:pt x="134" y="177"/>
                    </a:lnTo>
                    <a:lnTo>
                      <a:pt x="134" y="177"/>
                    </a:lnTo>
                    <a:lnTo>
                      <a:pt x="131" y="182"/>
                    </a:lnTo>
                    <a:lnTo>
                      <a:pt x="127" y="187"/>
                    </a:lnTo>
                    <a:lnTo>
                      <a:pt x="123" y="193"/>
                    </a:lnTo>
                    <a:lnTo>
                      <a:pt x="118" y="197"/>
                    </a:lnTo>
                    <a:lnTo>
                      <a:pt x="118" y="197"/>
                    </a:lnTo>
                    <a:lnTo>
                      <a:pt x="113" y="201"/>
                    </a:lnTo>
                    <a:lnTo>
                      <a:pt x="108" y="204"/>
                    </a:lnTo>
                    <a:lnTo>
                      <a:pt x="94" y="209"/>
                    </a:lnTo>
                    <a:lnTo>
                      <a:pt x="94" y="209"/>
                    </a:lnTo>
                    <a:lnTo>
                      <a:pt x="81" y="212"/>
                    </a:lnTo>
                    <a:lnTo>
                      <a:pt x="67" y="213"/>
                    </a:lnTo>
                    <a:lnTo>
                      <a:pt x="67" y="213"/>
                    </a:lnTo>
                    <a:lnTo>
                      <a:pt x="57" y="212"/>
                    </a:lnTo>
                    <a:lnTo>
                      <a:pt x="48" y="211"/>
                    </a:lnTo>
                    <a:lnTo>
                      <a:pt x="39" y="209"/>
                    </a:lnTo>
                    <a:lnTo>
                      <a:pt x="30" y="207"/>
                    </a:lnTo>
                    <a:lnTo>
                      <a:pt x="30" y="207"/>
                    </a:lnTo>
                    <a:lnTo>
                      <a:pt x="22" y="203"/>
                    </a:lnTo>
                    <a:lnTo>
                      <a:pt x="15" y="199"/>
                    </a:lnTo>
                    <a:lnTo>
                      <a:pt x="7" y="193"/>
                    </a:lnTo>
                    <a:lnTo>
                      <a:pt x="0" y="185"/>
                    </a:lnTo>
                    <a:lnTo>
                      <a:pt x="28" y="159"/>
                    </a:lnTo>
                    <a:lnTo>
                      <a:pt x="28" y="159"/>
                    </a:lnTo>
                    <a:lnTo>
                      <a:pt x="31" y="164"/>
                    </a:lnTo>
                    <a:lnTo>
                      <a:pt x="35" y="168"/>
                    </a:lnTo>
                    <a:lnTo>
                      <a:pt x="40" y="172"/>
                    </a:lnTo>
                    <a:lnTo>
                      <a:pt x="44" y="175"/>
                    </a:lnTo>
                    <a:lnTo>
                      <a:pt x="44" y="175"/>
                    </a:lnTo>
                    <a:lnTo>
                      <a:pt x="50" y="177"/>
                    </a:lnTo>
                    <a:lnTo>
                      <a:pt x="55" y="179"/>
                    </a:lnTo>
                    <a:lnTo>
                      <a:pt x="62" y="180"/>
                    </a:lnTo>
                    <a:lnTo>
                      <a:pt x="68" y="180"/>
                    </a:lnTo>
                    <a:lnTo>
                      <a:pt x="68" y="180"/>
                    </a:lnTo>
                    <a:lnTo>
                      <a:pt x="74" y="180"/>
                    </a:lnTo>
                    <a:lnTo>
                      <a:pt x="80" y="178"/>
                    </a:lnTo>
                    <a:lnTo>
                      <a:pt x="80" y="178"/>
                    </a:lnTo>
                    <a:lnTo>
                      <a:pt x="86" y="176"/>
                    </a:lnTo>
                    <a:lnTo>
                      <a:pt x="91" y="173"/>
                    </a:lnTo>
                    <a:lnTo>
                      <a:pt x="91" y="173"/>
                    </a:lnTo>
                    <a:lnTo>
                      <a:pt x="96" y="170"/>
                    </a:lnTo>
                    <a:lnTo>
                      <a:pt x="99" y="165"/>
                    </a:lnTo>
                    <a:lnTo>
                      <a:pt x="99" y="165"/>
                    </a:lnTo>
                    <a:lnTo>
                      <a:pt x="101" y="159"/>
                    </a:lnTo>
                    <a:lnTo>
                      <a:pt x="102" y="153"/>
                    </a:lnTo>
                    <a:lnTo>
                      <a:pt x="102" y="153"/>
                    </a:lnTo>
                    <a:lnTo>
                      <a:pt x="102" y="148"/>
                    </a:lnTo>
                    <a:lnTo>
                      <a:pt x="101" y="142"/>
                    </a:lnTo>
                    <a:lnTo>
                      <a:pt x="98" y="139"/>
                    </a:lnTo>
                    <a:lnTo>
                      <a:pt x="95" y="135"/>
                    </a:lnTo>
                    <a:lnTo>
                      <a:pt x="95" y="135"/>
                    </a:lnTo>
                    <a:lnTo>
                      <a:pt x="87" y="130"/>
                    </a:lnTo>
                    <a:lnTo>
                      <a:pt x="78" y="125"/>
                    </a:lnTo>
                    <a:lnTo>
                      <a:pt x="78" y="125"/>
                    </a:lnTo>
                    <a:lnTo>
                      <a:pt x="54" y="118"/>
                    </a:lnTo>
                    <a:lnTo>
                      <a:pt x="54" y="118"/>
                    </a:lnTo>
                    <a:lnTo>
                      <a:pt x="43" y="113"/>
                    </a:lnTo>
                    <a:lnTo>
                      <a:pt x="32" y="108"/>
                    </a:lnTo>
                    <a:lnTo>
                      <a:pt x="32" y="108"/>
                    </a:lnTo>
                    <a:lnTo>
                      <a:pt x="27" y="104"/>
                    </a:lnTo>
                    <a:lnTo>
                      <a:pt x="22" y="100"/>
                    </a:lnTo>
                    <a:lnTo>
                      <a:pt x="18" y="95"/>
                    </a:lnTo>
                    <a:lnTo>
                      <a:pt x="15" y="90"/>
                    </a:lnTo>
                    <a:lnTo>
                      <a:pt x="15" y="90"/>
                    </a:lnTo>
                    <a:lnTo>
                      <a:pt x="10" y="84"/>
                    </a:lnTo>
                    <a:lnTo>
                      <a:pt x="8" y="78"/>
                    </a:lnTo>
                    <a:lnTo>
                      <a:pt x="7" y="70"/>
                    </a:lnTo>
                    <a:lnTo>
                      <a:pt x="7" y="62"/>
                    </a:lnTo>
                    <a:lnTo>
                      <a:pt x="7" y="62"/>
                    </a:lnTo>
                    <a:lnTo>
                      <a:pt x="7" y="55"/>
                    </a:lnTo>
                    <a:lnTo>
                      <a:pt x="8" y="47"/>
                    </a:lnTo>
                    <a:lnTo>
                      <a:pt x="10" y="40"/>
                    </a:lnTo>
                    <a:lnTo>
                      <a:pt x="14" y="35"/>
                    </a:lnTo>
                    <a:lnTo>
                      <a:pt x="14" y="35"/>
                    </a:lnTo>
                    <a:lnTo>
                      <a:pt x="17" y="29"/>
                    </a:lnTo>
                    <a:lnTo>
                      <a:pt x="21" y="24"/>
                    </a:lnTo>
                    <a:lnTo>
                      <a:pt x="25" y="20"/>
                    </a:lnTo>
                    <a:lnTo>
                      <a:pt x="30" y="16"/>
                    </a:lnTo>
                    <a:lnTo>
                      <a:pt x="30" y="16"/>
                    </a:lnTo>
                    <a:lnTo>
                      <a:pt x="41" y="10"/>
                    </a:lnTo>
                    <a:lnTo>
                      <a:pt x="54" y="5"/>
                    </a:lnTo>
                    <a:lnTo>
                      <a:pt x="54" y="5"/>
                    </a:lnTo>
                    <a:lnTo>
                      <a:pt x="68" y="1"/>
                    </a:lnTo>
                    <a:lnTo>
                      <a:pt x="81" y="0"/>
                    </a:lnTo>
                    <a:lnTo>
                      <a:pt x="81" y="0"/>
                    </a:lnTo>
                    <a:lnTo>
                      <a:pt x="97" y="2"/>
                    </a:lnTo>
                    <a:lnTo>
                      <a:pt x="104" y="4"/>
                    </a:lnTo>
                    <a:lnTo>
                      <a:pt x="113" y="6"/>
                    </a:lnTo>
                    <a:lnTo>
                      <a:pt x="113" y="6"/>
                    </a:lnTo>
                    <a:lnTo>
                      <a:pt x="120" y="9"/>
                    </a:lnTo>
                    <a:lnTo>
                      <a:pt x="126" y="12"/>
                    </a:lnTo>
                    <a:lnTo>
                      <a:pt x="133" y="17"/>
                    </a:lnTo>
                    <a:lnTo>
                      <a:pt x="139" y="22"/>
                    </a:lnTo>
                    <a:lnTo>
                      <a:pt x="113"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2999" name="Freeform 2001"/>
              <p:cNvSpPr>
                <a:spLocks/>
              </p:cNvSpPr>
              <p:nvPr/>
            </p:nvSpPr>
            <p:spPr bwMode="auto">
              <a:xfrm>
                <a:off x="1187450" y="2592388"/>
                <a:ext cx="74613" cy="57150"/>
              </a:xfrm>
              <a:custGeom>
                <a:avLst/>
                <a:gdLst>
                  <a:gd name="T0" fmla="*/ 144 w 280"/>
                  <a:gd name="T1" fmla="*/ 185 h 216"/>
                  <a:gd name="T2" fmla="*/ 199 w 280"/>
                  <a:gd name="T3" fmla="*/ 129 h 216"/>
                  <a:gd name="T4" fmla="*/ 0 w 280"/>
                  <a:gd name="T5" fmla="*/ 129 h 216"/>
                  <a:gd name="T6" fmla="*/ 0 w 280"/>
                  <a:gd name="T7" fmla="*/ 86 h 216"/>
                  <a:gd name="T8" fmla="*/ 199 w 280"/>
                  <a:gd name="T9" fmla="*/ 86 h 216"/>
                  <a:gd name="T10" fmla="*/ 144 w 280"/>
                  <a:gd name="T11" fmla="*/ 30 h 216"/>
                  <a:gd name="T12" fmla="*/ 175 w 280"/>
                  <a:gd name="T13" fmla="*/ 0 h 216"/>
                  <a:gd name="T14" fmla="*/ 280 w 280"/>
                  <a:gd name="T15" fmla="*/ 105 h 216"/>
                  <a:gd name="T16" fmla="*/ 277 w 280"/>
                  <a:gd name="T17" fmla="*/ 108 h 216"/>
                  <a:gd name="T18" fmla="*/ 280 w 280"/>
                  <a:gd name="T19" fmla="*/ 111 h 216"/>
                  <a:gd name="T20" fmla="*/ 175 w 280"/>
                  <a:gd name="T21" fmla="*/ 216 h 216"/>
                  <a:gd name="T22" fmla="*/ 144 w 280"/>
                  <a:gd name="T23" fmla="*/ 18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16">
                    <a:moveTo>
                      <a:pt x="144" y="185"/>
                    </a:moveTo>
                    <a:lnTo>
                      <a:pt x="199" y="129"/>
                    </a:lnTo>
                    <a:lnTo>
                      <a:pt x="0" y="129"/>
                    </a:lnTo>
                    <a:lnTo>
                      <a:pt x="0" y="86"/>
                    </a:lnTo>
                    <a:lnTo>
                      <a:pt x="199" y="86"/>
                    </a:lnTo>
                    <a:lnTo>
                      <a:pt x="144" y="30"/>
                    </a:lnTo>
                    <a:lnTo>
                      <a:pt x="175" y="0"/>
                    </a:lnTo>
                    <a:lnTo>
                      <a:pt x="280" y="105"/>
                    </a:lnTo>
                    <a:lnTo>
                      <a:pt x="277" y="108"/>
                    </a:lnTo>
                    <a:lnTo>
                      <a:pt x="280" y="111"/>
                    </a:lnTo>
                    <a:lnTo>
                      <a:pt x="175" y="216"/>
                    </a:lnTo>
                    <a:lnTo>
                      <a:pt x="144" y="1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grpSp>
        <p:grpSp>
          <p:nvGrpSpPr>
            <p:cNvPr id="3037" name="Group 3036"/>
            <p:cNvGrpSpPr/>
            <p:nvPr/>
          </p:nvGrpSpPr>
          <p:grpSpPr>
            <a:xfrm>
              <a:off x="423714" y="2395934"/>
              <a:ext cx="104776" cy="301625"/>
              <a:chOff x="409575" y="2433638"/>
              <a:chExt cx="104776" cy="301625"/>
            </a:xfrm>
            <a:solidFill>
              <a:srgbClr val="00708E"/>
            </a:solidFill>
          </p:grpSpPr>
          <p:sp>
            <p:nvSpPr>
              <p:cNvPr id="3024" name="Rectangle 2026"/>
              <p:cNvSpPr>
                <a:spLocks noChangeArrowheads="1"/>
              </p:cNvSpPr>
              <p:nvPr/>
            </p:nvSpPr>
            <p:spPr bwMode="auto">
              <a:xfrm>
                <a:off x="417513" y="2541588"/>
                <a:ext cx="968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3025" name="Rectangle 2027"/>
              <p:cNvSpPr>
                <a:spLocks noChangeArrowheads="1"/>
              </p:cNvSpPr>
              <p:nvPr/>
            </p:nvSpPr>
            <p:spPr bwMode="auto">
              <a:xfrm>
                <a:off x="417513" y="2620963"/>
                <a:ext cx="968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sp>
            <p:nvSpPr>
              <p:cNvPr id="3026" name="Rectangle 2028"/>
              <p:cNvSpPr>
                <a:spLocks noChangeArrowheads="1"/>
              </p:cNvSpPr>
              <p:nvPr/>
            </p:nvSpPr>
            <p:spPr bwMode="auto">
              <a:xfrm>
                <a:off x="409575" y="2433638"/>
                <a:ext cx="17463" cy="301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1B3B41"/>
                  </a:solidFill>
                  <a:effectLst/>
                  <a:uLnTx/>
                  <a:uFillTx/>
                </a:endParaRPr>
              </a:p>
            </p:txBody>
          </p:sp>
        </p:grpSp>
      </p:grpSp>
      <p:sp>
        <p:nvSpPr>
          <p:cNvPr id="2358" name="Rectangle 2023"/>
          <p:cNvSpPr>
            <a:spLocks noChangeArrowheads="1"/>
          </p:cNvSpPr>
          <p:nvPr/>
        </p:nvSpPr>
        <p:spPr bwMode="auto">
          <a:xfrm rot="16200000">
            <a:off x="3522371" y="-993541"/>
            <a:ext cx="37785" cy="6532957"/>
          </a:xfrm>
          <a:prstGeom prst="rect">
            <a:avLst/>
          </a:prstGeom>
          <a:solidFill>
            <a:srgbClr val="00708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3213" name="Trapezoid 3212"/>
          <p:cNvSpPr/>
          <p:nvPr/>
        </p:nvSpPr>
        <p:spPr bwMode="auto">
          <a:xfrm rot="20029536">
            <a:off x="4094318" y="1632037"/>
            <a:ext cx="1018195" cy="1476974"/>
          </a:xfrm>
          <a:custGeom>
            <a:avLst/>
            <a:gdLst>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0 w 1018195"/>
              <a:gd name="connsiteY4"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157929 w 1018195"/>
              <a:gd name="connsiteY4" fmla="*/ 1471717 h 1476974"/>
              <a:gd name="connsiteX5" fmla="*/ 0 w 1018195"/>
              <a:gd name="connsiteY5"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614220 w 1018195"/>
              <a:gd name="connsiteY4" fmla="*/ 1474285 h 1476974"/>
              <a:gd name="connsiteX5" fmla="*/ 157929 w 1018195"/>
              <a:gd name="connsiteY5" fmla="*/ 1471717 h 1476974"/>
              <a:gd name="connsiteX6" fmla="*/ 0 w 1018195"/>
              <a:gd name="connsiteY6"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614220 w 1018195"/>
              <a:gd name="connsiteY4" fmla="*/ 1474285 h 1476974"/>
              <a:gd name="connsiteX5" fmla="*/ 356711 w 1018195"/>
              <a:gd name="connsiteY5" fmla="*/ 1470361 h 1476974"/>
              <a:gd name="connsiteX6" fmla="*/ 157929 w 1018195"/>
              <a:gd name="connsiteY6" fmla="*/ 1471717 h 1476974"/>
              <a:gd name="connsiteX7" fmla="*/ 0 w 1018195"/>
              <a:gd name="connsiteY7"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761874 w 1018195"/>
              <a:gd name="connsiteY4" fmla="*/ 1471385 h 1476974"/>
              <a:gd name="connsiteX5" fmla="*/ 614220 w 1018195"/>
              <a:gd name="connsiteY5" fmla="*/ 1474285 h 1476974"/>
              <a:gd name="connsiteX6" fmla="*/ 356711 w 1018195"/>
              <a:gd name="connsiteY6" fmla="*/ 1470361 h 1476974"/>
              <a:gd name="connsiteX7" fmla="*/ 157929 w 1018195"/>
              <a:gd name="connsiteY7" fmla="*/ 1471717 h 1476974"/>
              <a:gd name="connsiteX8" fmla="*/ 0 w 1018195"/>
              <a:gd name="connsiteY8"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614220 w 1018195"/>
              <a:gd name="connsiteY5" fmla="*/ 1474285 h 1476974"/>
              <a:gd name="connsiteX6" fmla="*/ 356711 w 1018195"/>
              <a:gd name="connsiteY6" fmla="*/ 1470361 h 1476974"/>
              <a:gd name="connsiteX7" fmla="*/ 157929 w 1018195"/>
              <a:gd name="connsiteY7" fmla="*/ 1471717 h 1476974"/>
              <a:gd name="connsiteX8" fmla="*/ 0 w 1018195"/>
              <a:gd name="connsiteY8"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356711 w 1018195"/>
              <a:gd name="connsiteY6" fmla="*/ 1470361 h 1476974"/>
              <a:gd name="connsiteX7" fmla="*/ 157929 w 1018195"/>
              <a:gd name="connsiteY7" fmla="*/ 1471717 h 1476974"/>
              <a:gd name="connsiteX8" fmla="*/ 0 w 1018195"/>
              <a:gd name="connsiteY8"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779833 w 1018195"/>
              <a:gd name="connsiteY6" fmla="*/ 1050962 h 1476974"/>
              <a:gd name="connsiteX7" fmla="*/ 157929 w 1018195"/>
              <a:gd name="connsiteY7" fmla="*/ 1471717 h 1476974"/>
              <a:gd name="connsiteX8" fmla="*/ 0 w 1018195"/>
              <a:gd name="connsiteY8"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779833 w 1018195"/>
              <a:gd name="connsiteY6" fmla="*/ 1050962 h 1476974"/>
              <a:gd name="connsiteX7" fmla="*/ 448082 w 1018195"/>
              <a:gd name="connsiteY7" fmla="*/ 1265267 h 1476974"/>
              <a:gd name="connsiteX8" fmla="*/ 157929 w 1018195"/>
              <a:gd name="connsiteY8" fmla="*/ 1471717 h 1476974"/>
              <a:gd name="connsiteX9" fmla="*/ 0 w 1018195"/>
              <a:gd name="connsiteY9"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779833 w 1018195"/>
              <a:gd name="connsiteY6" fmla="*/ 1050962 h 1476974"/>
              <a:gd name="connsiteX7" fmla="*/ 554005 w 1018195"/>
              <a:gd name="connsiteY7" fmla="*/ 972984 h 1476974"/>
              <a:gd name="connsiteX8" fmla="*/ 157929 w 1018195"/>
              <a:gd name="connsiteY8" fmla="*/ 1471717 h 1476974"/>
              <a:gd name="connsiteX9" fmla="*/ 0 w 1018195"/>
              <a:gd name="connsiteY9"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779833 w 1018195"/>
              <a:gd name="connsiteY6" fmla="*/ 1050962 h 1476974"/>
              <a:gd name="connsiteX7" fmla="*/ 554005 w 1018195"/>
              <a:gd name="connsiteY7" fmla="*/ 972984 h 1476974"/>
              <a:gd name="connsiteX8" fmla="*/ 270615 w 1018195"/>
              <a:gd name="connsiteY8" fmla="*/ 1338420 h 1476974"/>
              <a:gd name="connsiteX9" fmla="*/ 157929 w 1018195"/>
              <a:gd name="connsiteY9" fmla="*/ 1471717 h 1476974"/>
              <a:gd name="connsiteX10" fmla="*/ 0 w 1018195"/>
              <a:gd name="connsiteY10"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779833 w 1018195"/>
              <a:gd name="connsiteY6" fmla="*/ 1050962 h 1476974"/>
              <a:gd name="connsiteX7" fmla="*/ 554005 w 1018195"/>
              <a:gd name="connsiteY7" fmla="*/ 972984 h 1476974"/>
              <a:gd name="connsiteX8" fmla="*/ 270615 w 1018195"/>
              <a:gd name="connsiteY8" fmla="*/ 1338420 h 1476974"/>
              <a:gd name="connsiteX9" fmla="*/ 157929 w 1018195"/>
              <a:gd name="connsiteY9" fmla="*/ 1471717 h 1476974"/>
              <a:gd name="connsiteX10" fmla="*/ 84071 w 1018195"/>
              <a:gd name="connsiteY10" fmla="*/ 1468434 h 1476974"/>
              <a:gd name="connsiteX11" fmla="*/ 0 w 1018195"/>
              <a:gd name="connsiteY11"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779833 w 1018195"/>
              <a:gd name="connsiteY6" fmla="*/ 1050962 h 1476974"/>
              <a:gd name="connsiteX7" fmla="*/ 554005 w 1018195"/>
              <a:gd name="connsiteY7" fmla="*/ 972984 h 1476974"/>
              <a:gd name="connsiteX8" fmla="*/ 374347 w 1018195"/>
              <a:gd name="connsiteY8" fmla="*/ 1002608 h 1476974"/>
              <a:gd name="connsiteX9" fmla="*/ 157929 w 1018195"/>
              <a:gd name="connsiteY9" fmla="*/ 1471717 h 1476974"/>
              <a:gd name="connsiteX10" fmla="*/ 84071 w 1018195"/>
              <a:gd name="connsiteY10" fmla="*/ 1468434 h 1476974"/>
              <a:gd name="connsiteX11" fmla="*/ 0 w 1018195"/>
              <a:gd name="connsiteY11"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779833 w 1018195"/>
              <a:gd name="connsiteY6" fmla="*/ 1050962 h 1476974"/>
              <a:gd name="connsiteX7" fmla="*/ 554005 w 1018195"/>
              <a:gd name="connsiteY7" fmla="*/ 972984 h 1476974"/>
              <a:gd name="connsiteX8" fmla="*/ 374347 w 1018195"/>
              <a:gd name="connsiteY8" fmla="*/ 1002608 h 1476974"/>
              <a:gd name="connsiteX9" fmla="*/ 230881 w 1018195"/>
              <a:gd name="connsiteY9" fmla="*/ 1064170 h 1476974"/>
              <a:gd name="connsiteX10" fmla="*/ 84071 w 1018195"/>
              <a:gd name="connsiteY10" fmla="*/ 1468434 h 1476974"/>
              <a:gd name="connsiteX11" fmla="*/ 0 w 1018195"/>
              <a:gd name="connsiteY11" fmla="*/ 1476974 h 1476974"/>
              <a:gd name="connsiteX0" fmla="*/ 0 w 1018195"/>
              <a:gd name="connsiteY0" fmla="*/ 1476974 h 1476974"/>
              <a:gd name="connsiteX1" fmla="*/ 343641 w 1018195"/>
              <a:gd name="connsiteY1" fmla="*/ 0 h 1476974"/>
              <a:gd name="connsiteX2" fmla="*/ 674554 w 1018195"/>
              <a:gd name="connsiteY2" fmla="*/ 0 h 1476974"/>
              <a:gd name="connsiteX3" fmla="*/ 1018195 w 1018195"/>
              <a:gd name="connsiteY3" fmla="*/ 1476974 h 1476974"/>
              <a:gd name="connsiteX4" fmla="*/ 974690 w 1018195"/>
              <a:gd name="connsiteY4" fmla="*/ 1307115 h 1476974"/>
              <a:gd name="connsiteX5" fmla="*/ 907461 w 1018195"/>
              <a:gd name="connsiteY5" fmla="*/ 1165580 h 1476974"/>
              <a:gd name="connsiteX6" fmla="*/ 779833 w 1018195"/>
              <a:gd name="connsiteY6" fmla="*/ 1050962 h 1476974"/>
              <a:gd name="connsiteX7" fmla="*/ 554005 w 1018195"/>
              <a:gd name="connsiteY7" fmla="*/ 972984 h 1476974"/>
              <a:gd name="connsiteX8" fmla="*/ 374347 w 1018195"/>
              <a:gd name="connsiteY8" fmla="*/ 1002608 h 1476974"/>
              <a:gd name="connsiteX9" fmla="*/ 230881 w 1018195"/>
              <a:gd name="connsiteY9" fmla="*/ 1064170 h 1476974"/>
              <a:gd name="connsiteX10" fmla="*/ 95529 w 1018195"/>
              <a:gd name="connsiteY10" fmla="*/ 1205195 h 1476974"/>
              <a:gd name="connsiteX11" fmla="*/ 0 w 1018195"/>
              <a:gd name="connsiteY11" fmla="*/ 1476974 h 1476974"/>
              <a:gd name="connsiteX0" fmla="*/ 0 w 1018195"/>
              <a:gd name="connsiteY0" fmla="*/ 1486887 h 1486887"/>
              <a:gd name="connsiteX1" fmla="*/ 343641 w 1018195"/>
              <a:gd name="connsiteY1" fmla="*/ 9913 h 1486887"/>
              <a:gd name="connsiteX2" fmla="*/ 598421 w 1018195"/>
              <a:gd name="connsiteY2" fmla="*/ 0 h 1486887"/>
              <a:gd name="connsiteX3" fmla="*/ 674554 w 1018195"/>
              <a:gd name="connsiteY3" fmla="*/ 9913 h 1486887"/>
              <a:gd name="connsiteX4" fmla="*/ 1018195 w 1018195"/>
              <a:gd name="connsiteY4" fmla="*/ 1486887 h 1486887"/>
              <a:gd name="connsiteX5" fmla="*/ 974690 w 1018195"/>
              <a:gd name="connsiteY5" fmla="*/ 1317028 h 1486887"/>
              <a:gd name="connsiteX6" fmla="*/ 907461 w 1018195"/>
              <a:gd name="connsiteY6" fmla="*/ 1175493 h 1486887"/>
              <a:gd name="connsiteX7" fmla="*/ 779833 w 1018195"/>
              <a:gd name="connsiteY7" fmla="*/ 1060875 h 1486887"/>
              <a:gd name="connsiteX8" fmla="*/ 554005 w 1018195"/>
              <a:gd name="connsiteY8" fmla="*/ 982897 h 1486887"/>
              <a:gd name="connsiteX9" fmla="*/ 374347 w 1018195"/>
              <a:gd name="connsiteY9" fmla="*/ 1012521 h 1486887"/>
              <a:gd name="connsiteX10" fmla="*/ 230881 w 1018195"/>
              <a:gd name="connsiteY10" fmla="*/ 1074083 h 1486887"/>
              <a:gd name="connsiteX11" fmla="*/ 95529 w 1018195"/>
              <a:gd name="connsiteY11" fmla="*/ 1215108 h 1486887"/>
              <a:gd name="connsiteX12" fmla="*/ 0 w 1018195"/>
              <a:gd name="connsiteY12" fmla="*/ 1486887 h 1486887"/>
              <a:gd name="connsiteX0" fmla="*/ 0 w 1018195"/>
              <a:gd name="connsiteY0" fmla="*/ 1476974 h 1476974"/>
              <a:gd name="connsiteX1" fmla="*/ 343641 w 1018195"/>
              <a:gd name="connsiteY1" fmla="*/ 0 h 1476974"/>
              <a:gd name="connsiteX2" fmla="*/ 642532 w 1018195"/>
              <a:gd name="connsiteY2" fmla="*/ 73089 h 1476974"/>
              <a:gd name="connsiteX3" fmla="*/ 674554 w 1018195"/>
              <a:gd name="connsiteY3" fmla="*/ 0 h 1476974"/>
              <a:gd name="connsiteX4" fmla="*/ 1018195 w 1018195"/>
              <a:gd name="connsiteY4" fmla="*/ 1476974 h 1476974"/>
              <a:gd name="connsiteX5" fmla="*/ 974690 w 1018195"/>
              <a:gd name="connsiteY5" fmla="*/ 1307115 h 1476974"/>
              <a:gd name="connsiteX6" fmla="*/ 907461 w 1018195"/>
              <a:gd name="connsiteY6" fmla="*/ 1165580 h 1476974"/>
              <a:gd name="connsiteX7" fmla="*/ 779833 w 1018195"/>
              <a:gd name="connsiteY7" fmla="*/ 1050962 h 1476974"/>
              <a:gd name="connsiteX8" fmla="*/ 554005 w 1018195"/>
              <a:gd name="connsiteY8" fmla="*/ 972984 h 1476974"/>
              <a:gd name="connsiteX9" fmla="*/ 374347 w 1018195"/>
              <a:gd name="connsiteY9" fmla="*/ 1002608 h 1476974"/>
              <a:gd name="connsiteX10" fmla="*/ 230881 w 1018195"/>
              <a:gd name="connsiteY10" fmla="*/ 1064170 h 1476974"/>
              <a:gd name="connsiteX11" fmla="*/ 95529 w 1018195"/>
              <a:gd name="connsiteY11" fmla="*/ 1205195 h 1476974"/>
              <a:gd name="connsiteX12" fmla="*/ 0 w 1018195"/>
              <a:gd name="connsiteY12" fmla="*/ 1476974 h 1476974"/>
              <a:gd name="connsiteX0" fmla="*/ 0 w 1018195"/>
              <a:gd name="connsiteY0" fmla="*/ 1476974 h 1476974"/>
              <a:gd name="connsiteX1" fmla="*/ 343641 w 1018195"/>
              <a:gd name="connsiteY1" fmla="*/ 0 h 1476974"/>
              <a:gd name="connsiteX2" fmla="*/ 485089 w 1018195"/>
              <a:gd name="connsiteY2" fmla="*/ 28724 h 1476974"/>
              <a:gd name="connsiteX3" fmla="*/ 642532 w 1018195"/>
              <a:gd name="connsiteY3" fmla="*/ 73089 h 1476974"/>
              <a:gd name="connsiteX4" fmla="*/ 674554 w 1018195"/>
              <a:gd name="connsiteY4" fmla="*/ 0 h 1476974"/>
              <a:gd name="connsiteX5" fmla="*/ 1018195 w 1018195"/>
              <a:gd name="connsiteY5" fmla="*/ 1476974 h 1476974"/>
              <a:gd name="connsiteX6" fmla="*/ 974690 w 1018195"/>
              <a:gd name="connsiteY6" fmla="*/ 1307115 h 1476974"/>
              <a:gd name="connsiteX7" fmla="*/ 907461 w 1018195"/>
              <a:gd name="connsiteY7" fmla="*/ 1165580 h 1476974"/>
              <a:gd name="connsiteX8" fmla="*/ 779833 w 1018195"/>
              <a:gd name="connsiteY8" fmla="*/ 1050962 h 1476974"/>
              <a:gd name="connsiteX9" fmla="*/ 554005 w 1018195"/>
              <a:gd name="connsiteY9" fmla="*/ 972984 h 1476974"/>
              <a:gd name="connsiteX10" fmla="*/ 374347 w 1018195"/>
              <a:gd name="connsiteY10" fmla="*/ 1002608 h 1476974"/>
              <a:gd name="connsiteX11" fmla="*/ 230881 w 1018195"/>
              <a:gd name="connsiteY11" fmla="*/ 1064170 h 1476974"/>
              <a:gd name="connsiteX12" fmla="*/ 95529 w 1018195"/>
              <a:gd name="connsiteY12" fmla="*/ 1205195 h 1476974"/>
              <a:gd name="connsiteX13" fmla="*/ 0 w 1018195"/>
              <a:gd name="connsiteY13" fmla="*/ 1476974 h 1476974"/>
              <a:gd name="connsiteX0" fmla="*/ 0 w 1018195"/>
              <a:gd name="connsiteY0" fmla="*/ 1476974 h 1476974"/>
              <a:gd name="connsiteX1" fmla="*/ 343641 w 1018195"/>
              <a:gd name="connsiteY1" fmla="*/ 0 h 1476974"/>
              <a:gd name="connsiteX2" fmla="*/ 578590 w 1018195"/>
              <a:gd name="connsiteY2" fmla="*/ 136001 h 1476974"/>
              <a:gd name="connsiteX3" fmla="*/ 642532 w 1018195"/>
              <a:gd name="connsiteY3" fmla="*/ 73089 h 1476974"/>
              <a:gd name="connsiteX4" fmla="*/ 674554 w 1018195"/>
              <a:gd name="connsiteY4" fmla="*/ 0 h 1476974"/>
              <a:gd name="connsiteX5" fmla="*/ 1018195 w 1018195"/>
              <a:gd name="connsiteY5" fmla="*/ 1476974 h 1476974"/>
              <a:gd name="connsiteX6" fmla="*/ 974690 w 1018195"/>
              <a:gd name="connsiteY6" fmla="*/ 1307115 h 1476974"/>
              <a:gd name="connsiteX7" fmla="*/ 907461 w 1018195"/>
              <a:gd name="connsiteY7" fmla="*/ 1165580 h 1476974"/>
              <a:gd name="connsiteX8" fmla="*/ 779833 w 1018195"/>
              <a:gd name="connsiteY8" fmla="*/ 1050962 h 1476974"/>
              <a:gd name="connsiteX9" fmla="*/ 554005 w 1018195"/>
              <a:gd name="connsiteY9" fmla="*/ 972984 h 1476974"/>
              <a:gd name="connsiteX10" fmla="*/ 374347 w 1018195"/>
              <a:gd name="connsiteY10" fmla="*/ 1002608 h 1476974"/>
              <a:gd name="connsiteX11" fmla="*/ 230881 w 1018195"/>
              <a:gd name="connsiteY11" fmla="*/ 1064170 h 1476974"/>
              <a:gd name="connsiteX12" fmla="*/ 95529 w 1018195"/>
              <a:gd name="connsiteY12" fmla="*/ 1205195 h 1476974"/>
              <a:gd name="connsiteX13" fmla="*/ 0 w 1018195"/>
              <a:gd name="connsiteY13" fmla="*/ 1476974 h 1476974"/>
              <a:gd name="connsiteX0" fmla="*/ 0 w 1018195"/>
              <a:gd name="connsiteY0" fmla="*/ 1476974 h 1476974"/>
              <a:gd name="connsiteX1" fmla="*/ 343641 w 1018195"/>
              <a:gd name="connsiteY1" fmla="*/ 0 h 1476974"/>
              <a:gd name="connsiteX2" fmla="*/ 443620 w 1018195"/>
              <a:gd name="connsiteY2" fmla="*/ 55512 h 1476974"/>
              <a:gd name="connsiteX3" fmla="*/ 578590 w 1018195"/>
              <a:gd name="connsiteY3" fmla="*/ 136001 h 1476974"/>
              <a:gd name="connsiteX4" fmla="*/ 642532 w 1018195"/>
              <a:gd name="connsiteY4" fmla="*/ 73089 h 1476974"/>
              <a:gd name="connsiteX5" fmla="*/ 674554 w 1018195"/>
              <a:gd name="connsiteY5" fmla="*/ 0 h 1476974"/>
              <a:gd name="connsiteX6" fmla="*/ 1018195 w 1018195"/>
              <a:gd name="connsiteY6" fmla="*/ 1476974 h 1476974"/>
              <a:gd name="connsiteX7" fmla="*/ 974690 w 1018195"/>
              <a:gd name="connsiteY7" fmla="*/ 1307115 h 1476974"/>
              <a:gd name="connsiteX8" fmla="*/ 907461 w 1018195"/>
              <a:gd name="connsiteY8" fmla="*/ 1165580 h 1476974"/>
              <a:gd name="connsiteX9" fmla="*/ 779833 w 1018195"/>
              <a:gd name="connsiteY9" fmla="*/ 1050962 h 1476974"/>
              <a:gd name="connsiteX10" fmla="*/ 554005 w 1018195"/>
              <a:gd name="connsiteY10" fmla="*/ 972984 h 1476974"/>
              <a:gd name="connsiteX11" fmla="*/ 374347 w 1018195"/>
              <a:gd name="connsiteY11" fmla="*/ 1002608 h 1476974"/>
              <a:gd name="connsiteX12" fmla="*/ 230881 w 1018195"/>
              <a:gd name="connsiteY12" fmla="*/ 1064170 h 1476974"/>
              <a:gd name="connsiteX13" fmla="*/ 95529 w 1018195"/>
              <a:gd name="connsiteY13" fmla="*/ 1205195 h 1476974"/>
              <a:gd name="connsiteX14" fmla="*/ 0 w 1018195"/>
              <a:gd name="connsiteY14" fmla="*/ 1476974 h 1476974"/>
              <a:gd name="connsiteX0" fmla="*/ 0 w 1018195"/>
              <a:gd name="connsiteY0" fmla="*/ 1476974 h 1476974"/>
              <a:gd name="connsiteX1" fmla="*/ 343641 w 1018195"/>
              <a:gd name="connsiteY1" fmla="*/ 0 h 1476974"/>
              <a:gd name="connsiteX2" fmla="*/ 518125 w 1018195"/>
              <a:gd name="connsiteY2" fmla="*/ 153452 h 1476974"/>
              <a:gd name="connsiteX3" fmla="*/ 578590 w 1018195"/>
              <a:gd name="connsiteY3" fmla="*/ 136001 h 1476974"/>
              <a:gd name="connsiteX4" fmla="*/ 642532 w 1018195"/>
              <a:gd name="connsiteY4" fmla="*/ 73089 h 1476974"/>
              <a:gd name="connsiteX5" fmla="*/ 674554 w 1018195"/>
              <a:gd name="connsiteY5" fmla="*/ 0 h 1476974"/>
              <a:gd name="connsiteX6" fmla="*/ 1018195 w 1018195"/>
              <a:gd name="connsiteY6" fmla="*/ 1476974 h 1476974"/>
              <a:gd name="connsiteX7" fmla="*/ 974690 w 1018195"/>
              <a:gd name="connsiteY7" fmla="*/ 1307115 h 1476974"/>
              <a:gd name="connsiteX8" fmla="*/ 907461 w 1018195"/>
              <a:gd name="connsiteY8" fmla="*/ 1165580 h 1476974"/>
              <a:gd name="connsiteX9" fmla="*/ 779833 w 1018195"/>
              <a:gd name="connsiteY9" fmla="*/ 1050962 h 1476974"/>
              <a:gd name="connsiteX10" fmla="*/ 554005 w 1018195"/>
              <a:gd name="connsiteY10" fmla="*/ 972984 h 1476974"/>
              <a:gd name="connsiteX11" fmla="*/ 374347 w 1018195"/>
              <a:gd name="connsiteY11" fmla="*/ 1002608 h 1476974"/>
              <a:gd name="connsiteX12" fmla="*/ 230881 w 1018195"/>
              <a:gd name="connsiteY12" fmla="*/ 1064170 h 1476974"/>
              <a:gd name="connsiteX13" fmla="*/ 95529 w 1018195"/>
              <a:gd name="connsiteY13" fmla="*/ 1205195 h 1476974"/>
              <a:gd name="connsiteX14" fmla="*/ 0 w 1018195"/>
              <a:gd name="connsiteY14" fmla="*/ 1476974 h 1476974"/>
              <a:gd name="connsiteX0" fmla="*/ 0 w 1018195"/>
              <a:gd name="connsiteY0" fmla="*/ 1476974 h 1476974"/>
              <a:gd name="connsiteX1" fmla="*/ 343641 w 1018195"/>
              <a:gd name="connsiteY1" fmla="*/ 0 h 1476974"/>
              <a:gd name="connsiteX2" fmla="*/ 432352 w 1018195"/>
              <a:gd name="connsiteY2" fmla="*/ 68842 h 1476974"/>
              <a:gd name="connsiteX3" fmla="*/ 518125 w 1018195"/>
              <a:gd name="connsiteY3" fmla="*/ 153452 h 1476974"/>
              <a:gd name="connsiteX4" fmla="*/ 578590 w 1018195"/>
              <a:gd name="connsiteY4" fmla="*/ 136001 h 1476974"/>
              <a:gd name="connsiteX5" fmla="*/ 642532 w 1018195"/>
              <a:gd name="connsiteY5" fmla="*/ 73089 h 1476974"/>
              <a:gd name="connsiteX6" fmla="*/ 674554 w 1018195"/>
              <a:gd name="connsiteY6" fmla="*/ 0 h 1476974"/>
              <a:gd name="connsiteX7" fmla="*/ 1018195 w 1018195"/>
              <a:gd name="connsiteY7" fmla="*/ 1476974 h 1476974"/>
              <a:gd name="connsiteX8" fmla="*/ 974690 w 1018195"/>
              <a:gd name="connsiteY8" fmla="*/ 1307115 h 1476974"/>
              <a:gd name="connsiteX9" fmla="*/ 907461 w 1018195"/>
              <a:gd name="connsiteY9" fmla="*/ 1165580 h 1476974"/>
              <a:gd name="connsiteX10" fmla="*/ 779833 w 1018195"/>
              <a:gd name="connsiteY10" fmla="*/ 1050962 h 1476974"/>
              <a:gd name="connsiteX11" fmla="*/ 554005 w 1018195"/>
              <a:gd name="connsiteY11" fmla="*/ 972984 h 1476974"/>
              <a:gd name="connsiteX12" fmla="*/ 374347 w 1018195"/>
              <a:gd name="connsiteY12" fmla="*/ 1002608 h 1476974"/>
              <a:gd name="connsiteX13" fmla="*/ 230881 w 1018195"/>
              <a:gd name="connsiteY13" fmla="*/ 1064170 h 1476974"/>
              <a:gd name="connsiteX14" fmla="*/ 95529 w 1018195"/>
              <a:gd name="connsiteY14" fmla="*/ 1205195 h 1476974"/>
              <a:gd name="connsiteX15" fmla="*/ 0 w 1018195"/>
              <a:gd name="connsiteY15" fmla="*/ 1476974 h 1476974"/>
              <a:gd name="connsiteX0" fmla="*/ 0 w 1018195"/>
              <a:gd name="connsiteY0" fmla="*/ 1476974 h 1476974"/>
              <a:gd name="connsiteX1" fmla="*/ 343641 w 1018195"/>
              <a:gd name="connsiteY1" fmla="*/ 0 h 1476974"/>
              <a:gd name="connsiteX2" fmla="*/ 430872 w 1018195"/>
              <a:gd name="connsiteY2" fmla="*/ 129436 h 1476974"/>
              <a:gd name="connsiteX3" fmla="*/ 518125 w 1018195"/>
              <a:gd name="connsiteY3" fmla="*/ 153452 h 1476974"/>
              <a:gd name="connsiteX4" fmla="*/ 578590 w 1018195"/>
              <a:gd name="connsiteY4" fmla="*/ 136001 h 1476974"/>
              <a:gd name="connsiteX5" fmla="*/ 642532 w 1018195"/>
              <a:gd name="connsiteY5" fmla="*/ 73089 h 1476974"/>
              <a:gd name="connsiteX6" fmla="*/ 674554 w 1018195"/>
              <a:gd name="connsiteY6" fmla="*/ 0 h 1476974"/>
              <a:gd name="connsiteX7" fmla="*/ 1018195 w 1018195"/>
              <a:gd name="connsiteY7" fmla="*/ 1476974 h 1476974"/>
              <a:gd name="connsiteX8" fmla="*/ 974690 w 1018195"/>
              <a:gd name="connsiteY8" fmla="*/ 1307115 h 1476974"/>
              <a:gd name="connsiteX9" fmla="*/ 907461 w 1018195"/>
              <a:gd name="connsiteY9" fmla="*/ 1165580 h 1476974"/>
              <a:gd name="connsiteX10" fmla="*/ 779833 w 1018195"/>
              <a:gd name="connsiteY10" fmla="*/ 1050962 h 1476974"/>
              <a:gd name="connsiteX11" fmla="*/ 554005 w 1018195"/>
              <a:gd name="connsiteY11" fmla="*/ 972984 h 1476974"/>
              <a:gd name="connsiteX12" fmla="*/ 374347 w 1018195"/>
              <a:gd name="connsiteY12" fmla="*/ 1002608 h 1476974"/>
              <a:gd name="connsiteX13" fmla="*/ 230881 w 1018195"/>
              <a:gd name="connsiteY13" fmla="*/ 1064170 h 1476974"/>
              <a:gd name="connsiteX14" fmla="*/ 95529 w 1018195"/>
              <a:gd name="connsiteY14" fmla="*/ 1205195 h 1476974"/>
              <a:gd name="connsiteX15" fmla="*/ 0 w 1018195"/>
              <a:gd name="connsiteY15" fmla="*/ 1476974 h 1476974"/>
              <a:gd name="connsiteX0" fmla="*/ 0 w 1018195"/>
              <a:gd name="connsiteY0" fmla="*/ 1476974 h 1476974"/>
              <a:gd name="connsiteX1" fmla="*/ 343641 w 1018195"/>
              <a:gd name="connsiteY1" fmla="*/ 0 h 1476974"/>
              <a:gd name="connsiteX2" fmla="*/ 379227 w 1018195"/>
              <a:gd name="connsiteY2" fmla="*/ 52165 h 1476974"/>
              <a:gd name="connsiteX3" fmla="*/ 430872 w 1018195"/>
              <a:gd name="connsiteY3" fmla="*/ 129436 h 1476974"/>
              <a:gd name="connsiteX4" fmla="*/ 518125 w 1018195"/>
              <a:gd name="connsiteY4" fmla="*/ 153452 h 1476974"/>
              <a:gd name="connsiteX5" fmla="*/ 578590 w 1018195"/>
              <a:gd name="connsiteY5" fmla="*/ 136001 h 1476974"/>
              <a:gd name="connsiteX6" fmla="*/ 642532 w 1018195"/>
              <a:gd name="connsiteY6" fmla="*/ 73089 h 1476974"/>
              <a:gd name="connsiteX7" fmla="*/ 674554 w 1018195"/>
              <a:gd name="connsiteY7" fmla="*/ 0 h 1476974"/>
              <a:gd name="connsiteX8" fmla="*/ 1018195 w 1018195"/>
              <a:gd name="connsiteY8" fmla="*/ 1476974 h 1476974"/>
              <a:gd name="connsiteX9" fmla="*/ 974690 w 1018195"/>
              <a:gd name="connsiteY9" fmla="*/ 1307115 h 1476974"/>
              <a:gd name="connsiteX10" fmla="*/ 907461 w 1018195"/>
              <a:gd name="connsiteY10" fmla="*/ 1165580 h 1476974"/>
              <a:gd name="connsiteX11" fmla="*/ 779833 w 1018195"/>
              <a:gd name="connsiteY11" fmla="*/ 1050962 h 1476974"/>
              <a:gd name="connsiteX12" fmla="*/ 554005 w 1018195"/>
              <a:gd name="connsiteY12" fmla="*/ 972984 h 1476974"/>
              <a:gd name="connsiteX13" fmla="*/ 374347 w 1018195"/>
              <a:gd name="connsiteY13" fmla="*/ 1002608 h 1476974"/>
              <a:gd name="connsiteX14" fmla="*/ 230881 w 1018195"/>
              <a:gd name="connsiteY14" fmla="*/ 1064170 h 1476974"/>
              <a:gd name="connsiteX15" fmla="*/ 95529 w 1018195"/>
              <a:gd name="connsiteY15" fmla="*/ 1205195 h 1476974"/>
              <a:gd name="connsiteX16" fmla="*/ 0 w 1018195"/>
              <a:gd name="connsiteY16" fmla="*/ 1476974 h 1476974"/>
              <a:gd name="connsiteX0" fmla="*/ 0 w 1018195"/>
              <a:gd name="connsiteY0" fmla="*/ 1476974 h 1476974"/>
              <a:gd name="connsiteX1" fmla="*/ 343641 w 1018195"/>
              <a:gd name="connsiteY1" fmla="*/ 0 h 1476974"/>
              <a:gd name="connsiteX2" fmla="*/ 373754 w 1018195"/>
              <a:gd name="connsiteY2" fmla="*/ 82494 h 1476974"/>
              <a:gd name="connsiteX3" fmla="*/ 430872 w 1018195"/>
              <a:gd name="connsiteY3" fmla="*/ 129436 h 1476974"/>
              <a:gd name="connsiteX4" fmla="*/ 518125 w 1018195"/>
              <a:gd name="connsiteY4" fmla="*/ 153452 h 1476974"/>
              <a:gd name="connsiteX5" fmla="*/ 578590 w 1018195"/>
              <a:gd name="connsiteY5" fmla="*/ 136001 h 1476974"/>
              <a:gd name="connsiteX6" fmla="*/ 642532 w 1018195"/>
              <a:gd name="connsiteY6" fmla="*/ 73089 h 1476974"/>
              <a:gd name="connsiteX7" fmla="*/ 674554 w 1018195"/>
              <a:gd name="connsiteY7" fmla="*/ 0 h 1476974"/>
              <a:gd name="connsiteX8" fmla="*/ 1018195 w 1018195"/>
              <a:gd name="connsiteY8" fmla="*/ 1476974 h 1476974"/>
              <a:gd name="connsiteX9" fmla="*/ 974690 w 1018195"/>
              <a:gd name="connsiteY9" fmla="*/ 1307115 h 1476974"/>
              <a:gd name="connsiteX10" fmla="*/ 907461 w 1018195"/>
              <a:gd name="connsiteY10" fmla="*/ 1165580 h 1476974"/>
              <a:gd name="connsiteX11" fmla="*/ 779833 w 1018195"/>
              <a:gd name="connsiteY11" fmla="*/ 1050962 h 1476974"/>
              <a:gd name="connsiteX12" fmla="*/ 554005 w 1018195"/>
              <a:gd name="connsiteY12" fmla="*/ 972984 h 1476974"/>
              <a:gd name="connsiteX13" fmla="*/ 374347 w 1018195"/>
              <a:gd name="connsiteY13" fmla="*/ 1002608 h 1476974"/>
              <a:gd name="connsiteX14" fmla="*/ 230881 w 1018195"/>
              <a:gd name="connsiteY14" fmla="*/ 1064170 h 1476974"/>
              <a:gd name="connsiteX15" fmla="*/ 95529 w 1018195"/>
              <a:gd name="connsiteY15" fmla="*/ 1205195 h 1476974"/>
              <a:gd name="connsiteX16" fmla="*/ 0 w 1018195"/>
              <a:gd name="connsiteY16" fmla="*/ 1476974 h 1476974"/>
              <a:gd name="connsiteX0" fmla="*/ 0 w 1018195"/>
              <a:gd name="connsiteY0" fmla="*/ 1476974 h 1476974"/>
              <a:gd name="connsiteX1" fmla="*/ 343641 w 1018195"/>
              <a:gd name="connsiteY1" fmla="*/ 0 h 1476974"/>
              <a:gd name="connsiteX2" fmla="*/ 373754 w 1018195"/>
              <a:gd name="connsiteY2" fmla="*/ 82494 h 1476974"/>
              <a:gd name="connsiteX3" fmla="*/ 425270 w 1018195"/>
              <a:gd name="connsiteY3" fmla="*/ 140833 h 1476974"/>
              <a:gd name="connsiteX4" fmla="*/ 518125 w 1018195"/>
              <a:gd name="connsiteY4" fmla="*/ 153452 h 1476974"/>
              <a:gd name="connsiteX5" fmla="*/ 578590 w 1018195"/>
              <a:gd name="connsiteY5" fmla="*/ 136001 h 1476974"/>
              <a:gd name="connsiteX6" fmla="*/ 642532 w 1018195"/>
              <a:gd name="connsiteY6" fmla="*/ 73089 h 1476974"/>
              <a:gd name="connsiteX7" fmla="*/ 674554 w 1018195"/>
              <a:gd name="connsiteY7" fmla="*/ 0 h 1476974"/>
              <a:gd name="connsiteX8" fmla="*/ 1018195 w 1018195"/>
              <a:gd name="connsiteY8" fmla="*/ 1476974 h 1476974"/>
              <a:gd name="connsiteX9" fmla="*/ 974690 w 1018195"/>
              <a:gd name="connsiteY9" fmla="*/ 1307115 h 1476974"/>
              <a:gd name="connsiteX10" fmla="*/ 907461 w 1018195"/>
              <a:gd name="connsiteY10" fmla="*/ 1165580 h 1476974"/>
              <a:gd name="connsiteX11" fmla="*/ 779833 w 1018195"/>
              <a:gd name="connsiteY11" fmla="*/ 1050962 h 1476974"/>
              <a:gd name="connsiteX12" fmla="*/ 554005 w 1018195"/>
              <a:gd name="connsiteY12" fmla="*/ 972984 h 1476974"/>
              <a:gd name="connsiteX13" fmla="*/ 374347 w 1018195"/>
              <a:gd name="connsiteY13" fmla="*/ 1002608 h 1476974"/>
              <a:gd name="connsiteX14" fmla="*/ 230881 w 1018195"/>
              <a:gd name="connsiteY14" fmla="*/ 1064170 h 1476974"/>
              <a:gd name="connsiteX15" fmla="*/ 95529 w 1018195"/>
              <a:gd name="connsiteY15" fmla="*/ 1205195 h 1476974"/>
              <a:gd name="connsiteX16" fmla="*/ 0 w 1018195"/>
              <a:gd name="connsiteY16" fmla="*/ 1476974 h 147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8195" h="1476974">
                <a:moveTo>
                  <a:pt x="0" y="1476974"/>
                </a:moveTo>
                <a:lnTo>
                  <a:pt x="343641" y="0"/>
                </a:lnTo>
                <a:lnTo>
                  <a:pt x="373754" y="82494"/>
                </a:lnTo>
                <a:lnTo>
                  <a:pt x="425270" y="140833"/>
                </a:lnTo>
                <a:lnTo>
                  <a:pt x="518125" y="153452"/>
                </a:lnTo>
                <a:lnTo>
                  <a:pt x="578590" y="136001"/>
                </a:lnTo>
                <a:lnTo>
                  <a:pt x="642532" y="73089"/>
                </a:lnTo>
                <a:lnTo>
                  <a:pt x="674554" y="0"/>
                </a:lnTo>
                <a:lnTo>
                  <a:pt x="1018195" y="1476974"/>
                </a:lnTo>
                <a:lnTo>
                  <a:pt x="974690" y="1307115"/>
                </a:lnTo>
                <a:lnTo>
                  <a:pt x="907461" y="1165580"/>
                </a:lnTo>
                <a:lnTo>
                  <a:pt x="779833" y="1050962"/>
                </a:lnTo>
                <a:lnTo>
                  <a:pt x="554005" y="972984"/>
                </a:lnTo>
                <a:lnTo>
                  <a:pt x="374347" y="1002608"/>
                </a:lnTo>
                <a:lnTo>
                  <a:pt x="230881" y="1064170"/>
                </a:lnTo>
                <a:lnTo>
                  <a:pt x="95529" y="1205195"/>
                </a:lnTo>
                <a:lnTo>
                  <a:pt x="0" y="1476974"/>
                </a:lnTo>
                <a:close/>
              </a:path>
            </a:pathLst>
          </a:custGeom>
          <a:solidFill>
            <a:schemeClr val="accent2">
              <a:lumMod val="75000"/>
              <a:alpha val="3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nvGrpSpPr>
          <p:cNvPr id="3166" name="Group 3165"/>
          <p:cNvGrpSpPr/>
          <p:nvPr/>
        </p:nvGrpSpPr>
        <p:grpSpPr>
          <a:xfrm>
            <a:off x="4432041" y="2537301"/>
            <a:ext cx="998419" cy="998420"/>
            <a:chOff x="3990044" y="2315223"/>
            <a:chExt cx="998419" cy="998420"/>
          </a:xfrm>
        </p:grpSpPr>
        <p:sp>
          <p:nvSpPr>
            <p:cNvPr id="2924" name="Freeform 1930"/>
            <p:cNvSpPr>
              <a:spLocks/>
            </p:cNvSpPr>
            <p:nvPr/>
          </p:nvSpPr>
          <p:spPr bwMode="auto">
            <a:xfrm>
              <a:off x="4390199" y="2606483"/>
              <a:ext cx="184990" cy="278141"/>
            </a:xfrm>
            <a:custGeom>
              <a:avLst/>
              <a:gdLst>
                <a:gd name="T0" fmla="*/ 849 w 849"/>
                <a:gd name="T1" fmla="*/ 299 h 1269"/>
                <a:gd name="T2" fmla="*/ 842 w 849"/>
                <a:gd name="T3" fmla="*/ 252 h 1269"/>
                <a:gd name="T4" fmla="*/ 828 w 849"/>
                <a:gd name="T5" fmla="*/ 207 h 1269"/>
                <a:gd name="T6" fmla="*/ 808 w 849"/>
                <a:gd name="T7" fmla="*/ 166 h 1269"/>
                <a:gd name="T8" fmla="*/ 780 w 849"/>
                <a:gd name="T9" fmla="*/ 127 h 1269"/>
                <a:gd name="T10" fmla="*/ 746 w 849"/>
                <a:gd name="T11" fmla="*/ 92 h 1269"/>
                <a:gd name="T12" fmla="*/ 707 w 849"/>
                <a:gd name="T13" fmla="*/ 62 h 1269"/>
                <a:gd name="T14" fmla="*/ 665 w 849"/>
                <a:gd name="T15" fmla="*/ 38 h 1269"/>
                <a:gd name="T16" fmla="*/ 618 w 849"/>
                <a:gd name="T17" fmla="*/ 19 h 1269"/>
                <a:gd name="T18" fmla="*/ 567 w 849"/>
                <a:gd name="T19" fmla="*/ 6 h 1269"/>
                <a:gd name="T20" fmla="*/ 514 w 849"/>
                <a:gd name="T21" fmla="*/ 0 h 1269"/>
                <a:gd name="T22" fmla="*/ 354 w 849"/>
                <a:gd name="T23" fmla="*/ 0 h 1269"/>
                <a:gd name="T24" fmla="*/ 300 w 849"/>
                <a:gd name="T25" fmla="*/ 3 h 1269"/>
                <a:gd name="T26" fmla="*/ 249 w 849"/>
                <a:gd name="T27" fmla="*/ 14 h 1269"/>
                <a:gd name="T28" fmla="*/ 201 w 849"/>
                <a:gd name="T29" fmla="*/ 31 h 1269"/>
                <a:gd name="T30" fmla="*/ 157 w 849"/>
                <a:gd name="T31" fmla="*/ 54 h 1269"/>
                <a:gd name="T32" fmla="*/ 116 w 849"/>
                <a:gd name="T33" fmla="*/ 82 h 1269"/>
                <a:gd name="T34" fmla="*/ 81 w 849"/>
                <a:gd name="T35" fmla="*/ 114 h 1269"/>
                <a:gd name="T36" fmla="*/ 51 w 849"/>
                <a:gd name="T37" fmla="*/ 152 h 1269"/>
                <a:gd name="T38" fmla="*/ 28 w 849"/>
                <a:gd name="T39" fmla="*/ 193 h 1269"/>
                <a:gd name="T40" fmla="*/ 12 w 849"/>
                <a:gd name="T41" fmla="*/ 237 h 1269"/>
                <a:gd name="T42" fmla="*/ 2 w 849"/>
                <a:gd name="T43" fmla="*/ 283 h 1269"/>
                <a:gd name="T44" fmla="*/ 0 w 849"/>
                <a:gd name="T45" fmla="*/ 953 h 1269"/>
                <a:gd name="T46" fmla="*/ 2 w 849"/>
                <a:gd name="T47" fmla="*/ 986 h 1269"/>
                <a:gd name="T48" fmla="*/ 12 w 849"/>
                <a:gd name="T49" fmla="*/ 1032 h 1269"/>
                <a:gd name="T50" fmla="*/ 28 w 849"/>
                <a:gd name="T51" fmla="*/ 1076 h 1269"/>
                <a:gd name="T52" fmla="*/ 51 w 849"/>
                <a:gd name="T53" fmla="*/ 1117 h 1269"/>
                <a:gd name="T54" fmla="*/ 81 w 849"/>
                <a:gd name="T55" fmla="*/ 1155 h 1269"/>
                <a:gd name="T56" fmla="*/ 116 w 849"/>
                <a:gd name="T57" fmla="*/ 1187 h 1269"/>
                <a:gd name="T58" fmla="*/ 157 w 849"/>
                <a:gd name="T59" fmla="*/ 1215 h 1269"/>
                <a:gd name="T60" fmla="*/ 201 w 849"/>
                <a:gd name="T61" fmla="*/ 1238 h 1269"/>
                <a:gd name="T62" fmla="*/ 249 w 849"/>
                <a:gd name="T63" fmla="*/ 1255 h 1269"/>
                <a:gd name="T64" fmla="*/ 300 w 849"/>
                <a:gd name="T65" fmla="*/ 1266 h 1269"/>
                <a:gd name="T66" fmla="*/ 354 w 849"/>
                <a:gd name="T67" fmla="*/ 1269 h 1269"/>
                <a:gd name="T68" fmla="*/ 514 w 849"/>
                <a:gd name="T69" fmla="*/ 1269 h 1269"/>
                <a:gd name="T70" fmla="*/ 567 w 849"/>
                <a:gd name="T71" fmla="*/ 1263 h 1269"/>
                <a:gd name="T72" fmla="*/ 618 w 849"/>
                <a:gd name="T73" fmla="*/ 1251 h 1269"/>
                <a:gd name="T74" fmla="*/ 665 w 849"/>
                <a:gd name="T75" fmla="*/ 1231 h 1269"/>
                <a:gd name="T76" fmla="*/ 707 w 849"/>
                <a:gd name="T77" fmla="*/ 1207 h 1269"/>
                <a:gd name="T78" fmla="*/ 746 w 849"/>
                <a:gd name="T79" fmla="*/ 1177 h 1269"/>
                <a:gd name="T80" fmla="*/ 780 w 849"/>
                <a:gd name="T81" fmla="*/ 1142 h 1269"/>
                <a:gd name="T82" fmla="*/ 808 w 849"/>
                <a:gd name="T83" fmla="*/ 1104 h 1269"/>
                <a:gd name="T84" fmla="*/ 828 w 849"/>
                <a:gd name="T85" fmla="*/ 1062 h 1269"/>
                <a:gd name="T86" fmla="*/ 842 w 849"/>
                <a:gd name="T87" fmla="*/ 1017 h 1269"/>
                <a:gd name="T88" fmla="*/ 849 w 849"/>
                <a:gd name="T89" fmla="*/ 970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49" h="1269">
                  <a:moveTo>
                    <a:pt x="849" y="316"/>
                  </a:moveTo>
                  <a:lnTo>
                    <a:pt x="849" y="316"/>
                  </a:lnTo>
                  <a:lnTo>
                    <a:pt x="849" y="299"/>
                  </a:lnTo>
                  <a:lnTo>
                    <a:pt x="848" y="283"/>
                  </a:lnTo>
                  <a:lnTo>
                    <a:pt x="845" y="268"/>
                  </a:lnTo>
                  <a:lnTo>
                    <a:pt x="842" y="252"/>
                  </a:lnTo>
                  <a:lnTo>
                    <a:pt x="838" y="237"/>
                  </a:lnTo>
                  <a:lnTo>
                    <a:pt x="834" y="222"/>
                  </a:lnTo>
                  <a:lnTo>
                    <a:pt x="828" y="207"/>
                  </a:lnTo>
                  <a:lnTo>
                    <a:pt x="822" y="193"/>
                  </a:lnTo>
                  <a:lnTo>
                    <a:pt x="815" y="179"/>
                  </a:lnTo>
                  <a:lnTo>
                    <a:pt x="808" y="166"/>
                  </a:lnTo>
                  <a:lnTo>
                    <a:pt x="798" y="152"/>
                  </a:lnTo>
                  <a:lnTo>
                    <a:pt x="789" y="139"/>
                  </a:lnTo>
                  <a:lnTo>
                    <a:pt x="780" y="127"/>
                  </a:lnTo>
                  <a:lnTo>
                    <a:pt x="769" y="114"/>
                  </a:lnTo>
                  <a:lnTo>
                    <a:pt x="759" y="103"/>
                  </a:lnTo>
                  <a:lnTo>
                    <a:pt x="746" y="92"/>
                  </a:lnTo>
                  <a:lnTo>
                    <a:pt x="734" y="82"/>
                  </a:lnTo>
                  <a:lnTo>
                    <a:pt x="722" y="73"/>
                  </a:lnTo>
                  <a:lnTo>
                    <a:pt x="707" y="62"/>
                  </a:lnTo>
                  <a:lnTo>
                    <a:pt x="694" y="54"/>
                  </a:lnTo>
                  <a:lnTo>
                    <a:pt x="680" y="46"/>
                  </a:lnTo>
                  <a:lnTo>
                    <a:pt x="665" y="38"/>
                  </a:lnTo>
                  <a:lnTo>
                    <a:pt x="649" y="31"/>
                  </a:lnTo>
                  <a:lnTo>
                    <a:pt x="634" y="25"/>
                  </a:lnTo>
                  <a:lnTo>
                    <a:pt x="618" y="19"/>
                  </a:lnTo>
                  <a:lnTo>
                    <a:pt x="601" y="14"/>
                  </a:lnTo>
                  <a:lnTo>
                    <a:pt x="585" y="10"/>
                  </a:lnTo>
                  <a:lnTo>
                    <a:pt x="567" y="6"/>
                  </a:lnTo>
                  <a:lnTo>
                    <a:pt x="550" y="3"/>
                  </a:lnTo>
                  <a:lnTo>
                    <a:pt x="533" y="1"/>
                  </a:lnTo>
                  <a:lnTo>
                    <a:pt x="514" y="0"/>
                  </a:lnTo>
                  <a:lnTo>
                    <a:pt x="497" y="0"/>
                  </a:lnTo>
                  <a:lnTo>
                    <a:pt x="354" y="0"/>
                  </a:lnTo>
                  <a:lnTo>
                    <a:pt x="354" y="0"/>
                  </a:lnTo>
                  <a:lnTo>
                    <a:pt x="335" y="0"/>
                  </a:lnTo>
                  <a:lnTo>
                    <a:pt x="318" y="1"/>
                  </a:lnTo>
                  <a:lnTo>
                    <a:pt x="300" y="3"/>
                  </a:lnTo>
                  <a:lnTo>
                    <a:pt x="282" y="6"/>
                  </a:lnTo>
                  <a:lnTo>
                    <a:pt x="266" y="10"/>
                  </a:lnTo>
                  <a:lnTo>
                    <a:pt x="249" y="14"/>
                  </a:lnTo>
                  <a:lnTo>
                    <a:pt x="232" y="19"/>
                  </a:lnTo>
                  <a:lnTo>
                    <a:pt x="216" y="25"/>
                  </a:lnTo>
                  <a:lnTo>
                    <a:pt x="201" y="31"/>
                  </a:lnTo>
                  <a:lnTo>
                    <a:pt x="185" y="38"/>
                  </a:lnTo>
                  <a:lnTo>
                    <a:pt x="171" y="46"/>
                  </a:lnTo>
                  <a:lnTo>
                    <a:pt x="157" y="54"/>
                  </a:lnTo>
                  <a:lnTo>
                    <a:pt x="142" y="62"/>
                  </a:lnTo>
                  <a:lnTo>
                    <a:pt x="129" y="73"/>
                  </a:lnTo>
                  <a:lnTo>
                    <a:pt x="116" y="82"/>
                  </a:lnTo>
                  <a:lnTo>
                    <a:pt x="104" y="92"/>
                  </a:lnTo>
                  <a:lnTo>
                    <a:pt x="92" y="103"/>
                  </a:lnTo>
                  <a:lnTo>
                    <a:pt x="81" y="114"/>
                  </a:lnTo>
                  <a:lnTo>
                    <a:pt x="71" y="127"/>
                  </a:lnTo>
                  <a:lnTo>
                    <a:pt x="61" y="139"/>
                  </a:lnTo>
                  <a:lnTo>
                    <a:pt x="51" y="152"/>
                  </a:lnTo>
                  <a:lnTo>
                    <a:pt x="43" y="166"/>
                  </a:lnTo>
                  <a:lnTo>
                    <a:pt x="35" y="179"/>
                  </a:lnTo>
                  <a:lnTo>
                    <a:pt x="28" y="193"/>
                  </a:lnTo>
                  <a:lnTo>
                    <a:pt x="22" y="207"/>
                  </a:lnTo>
                  <a:lnTo>
                    <a:pt x="17" y="222"/>
                  </a:lnTo>
                  <a:lnTo>
                    <a:pt x="12" y="237"/>
                  </a:lnTo>
                  <a:lnTo>
                    <a:pt x="7" y="252"/>
                  </a:lnTo>
                  <a:lnTo>
                    <a:pt x="4" y="268"/>
                  </a:lnTo>
                  <a:lnTo>
                    <a:pt x="2" y="283"/>
                  </a:lnTo>
                  <a:lnTo>
                    <a:pt x="1" y="299"/>
                  </a:lnTo>
                  <a:lnTo>
                    <a:pt x="0" y="316"/>
                  </a:lnTo>
                  <a:lnTo>
                    <a:pt x="0" y="953"/>
                  </a:lnTo>
                  <a:lnTo>
                    <a:pt x="0" y="953"/>
                  </a:lnTo>
                  <a:lnTo>
                    <a:pt x="1" y="970"/>
                  </a:lnTo>
                  <a:lnTo>
                    <a:pt x="2" y="986"/>
                  </a:lnTo>
                  <a:lnTo>
                    <a:pt x="4" y="1001"/>
                  </a:lnTo>
                  <a:lnTo>
                    <a:pt x="7" y="1017"/>
                  </a:lnTo>
                  <a:lnTo>
                    <a:pt x="12" y="1032"/>
                  </a:lnTo>
                  <a:lnTo>
                    <a:pt x="17" y="1047"/>
                  </a:lnTo>
                  <a:lnTo>
                    <a:pt x="22" y="1062"/>
                  </a:lnTo>
                  <a:lnTo>
                    <a:pt x="28" y="1076"/>
                  </a:lnTo>
                  <a:lnTo>
                    <a:pt x="35" y="1090"/>
                  </a:lnTo>
                  <a:lnTo>
                    <a:pt x="43" y="1104"/>
                  </a:lnTo>
                  <a:lnTo>
                    <a:pt x="51" y="1117"/>
                  </a:lnTo>
                  <a:lnTo>
                    <a:pt x="61" y="1130"/>
                  </a:lnTo>
                  <a:lnTo>
                    <a:pt x="71" y="1142"/>
                  </a:lnTo>
                  <a:lnTo>
                    <a:pt x="81" y="1155"/>
                  </a:lnTo>
                  <a:lnTo>
                    <a:pt x="92" y="1166"/>
                  </a:lnTo>
                  <a:lnTo>
                    <a:pt x="104" y="1177"/>
                  </a:lnTo>
                  <a:lnTo>
                    <a:pt x="116" y="1187"/>
                  </a:lnTo>
                  <a:lnTo>
                    <a:pt x="129" y="1198"/>
                  </a:lnTo>
                  <a:lnTo>
                    <a:pt x="142" y="1207"/>
                  </a:lnTo>
                  <a:lnTo>
                    <a:pt x="157" y="1215"/>
                  </a:lnTo>
                  <a:lnTo>
                    <a:pt x="171" y="1224"/>
                  </a:lnTo>
                  <a:lnTo>
                    <a:pt x="185" y="1231"/>
                  </a:lnTo>
                  <a:lnTo>
                    <a:pt x="201" y="1238"/>
                  </a:lnTo>
                  <a:lnTo>
                    <a:pt x="216" y="1245"/>
                  </a:lnTo>
                  <a:lnTo>
                    <a:pt x="232" y="1251"/>
                  </a:lnTo>
                  <a:lnTo>
                    <a:pt x="249" y="1255"/>
                  </a:lnTo>
                  <a:lnTo>
                    <a:pt x="266" y="1260"/>
                  </a:lnTo>
                  <a:lnTo>
                    <a:pt x="282" y="1263"/>
                  </a:lnTo>
                  <a:lnTo>
                    <a:pt x="300" y="1266"/>
                  </a:lnTo>
                  <a:lnTo>
                    <a:pt x="318" y="1268"/>
                  </a:lnTo>
                  <a:lnTo>
                    <a:pt x="335" y="1269"/>
                  </a:lnTo>
                  <a:lnTo>
                    <a:pt x="354" y="1269"/>
                  </a:lnTo>
                  <a:lnTo>
                    <a:pt x="497" y="1269"/>
                  </a:lnTo>
                  <a:lnTo>
                    <a:pt x="497" y="1269"/>
                  </a:lnTo>
                  <a:lnTo>
                    <a:pt x="514" y="1269"/>
                  </a:lnTo>
                  <a:lnTo>
                    <a:pt x="533" y="1268"/>
                  </a:lnTo>
                  <a:lnTo>
                    <a:pt x="550" y="1266"/>
                  </a:lnTo>
                  <a:lnTo>
                    <a:pt x="567" y="1263"/>
                  </a:lnTo>
                  <a:lnTo>
                    <a:pt x="585" y="1260"/>
                  </a:lnTo>
                  <a:lnTo>
                    <a:pt x="601" y="1255"/>
                  </a:lnTo>
                  <a:lnTo>
                    <a:pt x="618" y="1251"/>
                  </a:lnTo>
                  <a:lnTo>
                    <a:pt x="634" y="1245"/>
                  </a:lnTo>
                  <a:lnTo>
                    <a:pt x="649" y="1238"/>
                  </a:lnTo>
                  <a:lnTo>
                    <a:pt x="665" y="1231"/>
                  </a:lnTo>
                  <a:lnTo>
                    <a:pt x="680" y="1224"/>
                  </a:lnTo>
                  <a:lnTo>
                    <a:pt x="694" y="1215"/>
                  </a:lnTo>
                  <a:lnTo>
                    <a:pt x="707" y="1207"/>
                  </a:lnTo>
                  <a:lnTo>
                    <a:pt x="722" y="1198"/>
                  </a:lnTo>
                  <a:lnTo>
                    <a:pt x="734" y="1187"/>
                  </a:lnTo>
                  <a:lnTo>
                    <a:pt x="746" y="1177"/>
                  </a:lnTo>
                  <a:lnTo>
                    <a:pt x="759" y="1166"/>
                  </a:lnTo>
                  <a:lnTo>
                    <a:pt x="769" y="1155"/>
                  </a:lnTo>
                  <a:lnTo>
                    <a:pt x="780" y="1142"/>
                  </a:lnTo>
                  <a:lnTo>
                    <a:pt x="789" y="1130"/>
                  </a:lnTo>
                  <a:lnTo>
                    <a:pt x="798" y="1117"/>
                  </a:lnTo>
                  <a:lnTo>
                    <a:pt x="808" y="1104"/>
                  </a:lnTo>
                  <a:lnTo>
                    <a:pt x="815" y="1090"/>
                  </a:lnTo>
                  <a:lnTo>
                    <a:pt x="822" y="1076"/>
                  </a:lnTo>
                  <a:lnTo>
                    <a:pt x="828" y="1062"/>
                  </a:lnTo>
                  <a:lnTo>
                    <a:pt x="834" y="1047"/>
                  </a:lnTo>
                  <a:lnTo>
                    <a:pt x="838" y="1032"/>
                  </a:lnTo>
                  <a:lnTo>
                    <a:pt x="842" y="1017"/>
                  </a:lnTo>
                  <a:lnTo>
                    <a:pt x="845" y="1001"/>
                  </a:lnTo>
                  <a:lnTo>
                    <a:pt x="848" y="986"/>
                  </a:lnTo>
                  <a:lnTo>
                    <a:pt x="849" y="970"/>
                  </a:lnTo>
                  <a:lnTo>
                    <a:pt x="849" y="953"/>
                  </a:lnTo>
                  <a:lnTo>
                    <a:pt x="849" y="316"/>
                  </a:lnTo>
                  <a:close/>
                </a:path>
              </a:pathLst>
            </a:cu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25" name="Freeform 1931"/>
            <p:cNvSpPr>
              <a:spLocks/>
            </p:cNvSpPr>
            <p:nvPr/>
          </p:nvSpPr>
          <p:spPr bwMode="auto">
            <a:xfrm>
              <a:off x="4088443" y="2606483"/>
              <a:ext cx="184990" cy="278141"/>
            </a:xfrm>
            <a:custGeom>
              <a:avLst/>
              <a:gdLst>
                <a:gd name="T0" fmla="*/ 849 w 849"/>
                <a:gd name="T1" fmla="*/ 299 h 1269"/>
                <a:gd name="T2" fmla="*/ 842 w 849"/>
                <a:gd name="T3" fmla="*/ 252 h 1269"/>
                <a:gd name="T4" fmla="*/ 828 w 849"/>
                <a:gd name="T5" fmla="*/ 207 h 1269"/>
                <a:gd name="T6" fmla="*/ 806 w 849"/>
                <a:gd name="T7" fmla="*/ 166 h 1269"/>
                <a:gd name="T8" fmla="*/ 778 w 849"/>
                <a:gd name="T9" fmla="*/ 127 h 1269"/>
                <a:gd name="T10" fmla="*/ 746 w 849"/>
                <a:gd name="T11" fmla="*/ 92 h 1269"/>
                <a:gd name="T12" fmla="*/ 707 w 849"/>
                <a:gd name="T13" fmla="*/ 62 h 1269"/>
                <a:gd name="T14" fmla="*/ 664 w 849"/>
                <a:gd name="T15" fmla="*/ 38 h 1269"/>
                <a:gd name="T16" fmla="*/ 617 w 849"/>
                <a:gd name="T17" fmla="*/ 19 h 1269"/>
                <a:gd name="T18" fmla="*/ 567 w 849"/>
                <a:gd name="T19" fmla="*/ 6 h 1269"/>
                <a:gd name="T20" fmla="*/ 514 w 849"/>
                <a:gd name="T21" fmla="*/ 0 h 1269"/>
                <a:gd name="T22" fmla="*/ 353 w 849"/>
                <a:gd name="T23" fmla="*/ 0 h 1269"/>
                <a:gd name="T24" fmla="*/ 299 w 849"/>
                <a:gd name="T25" fmla="*/ 3 h 1269"/>
                <a:gd name="T26" fmla="*/ 248 w 849"/>
                <a:gd name="T27" fmla="*/ 14 h 1269"/>
                <a:gd name="T28" fmla="*/ 200 w 849"/>
                <a:gd name="T29" fmla="*/ 31 h 1269"/>
                <a:gd name="T30" fmla="*/ 155 w 849"/>
                <a:gd name="T31" fmla="*/ 54 h 1269"/>
                <a:gd name="T32" fmla="*/ 115 w 849"/>
                <a:gd name="T33" fmla="*/ 82 h 1269"/>
                <a:gd name="T34" fmla="*/ 81 w 849"/>
                <a:gd name="T35" fmla="*/ 114 h 1269"/>
                <a:gd name="T36" fmla="*/ 51 w 849"/>
                <a:gd name="T37" fmla="*/ 152 h 1269"/>
                <a:gd name="T38" fmla="*/ 27 w 849"/>
                <a:gd name="T39" fmla="*/ 193 h 1269"/>
                <a:gd name="T40" fmla="*/ 11 w 849"/>
                <a:gd name="T41" fmla="*/ 237 h 1269"/>
                <a:gd name="T42" fmla="*/ 2 w 849"/>
                <a:gd name="T43" fmla="*/ 283 h 1269"/>
                <a:gd name="T44" fmla="*/ 0 w 849"/>
                <a:gd name="T45" fmla="*/ 953 h 1269"/>
                <a:gd name="T46" fmla="*/ 2 w 849"/>
                <a:gd name="T47" fmla="*/ 986 h 1269"/>
                <a:gd name="T48" fmla="*/ 11 w 849"/>
                <a:gd name="T49" fmla="*/ 1032 h 1269"/>
                <a:gd name="T50" fmla="*/ 27 w 849"/>
                <a:gd name="T51" fmla="*/ 1076 h 1269"/>
                <a:gd name="T52" fmla="*/ 51 w 849"/>
                <a:gd name="T53" fmla="*/ 1117 h 1269"/>
                <a:gd name="T54" fmla="*/ 81 w 849"/>
                <a:gd name="T55" fmla="*/ 1155 h 1269"/>
                <a:gd name="T56" fmla="*/ 115 w 849"/>
                <a:gd name="T57" fmla="*/ 1187 h 1269"/>
                <a:gd name="T58" fmla="*/ 155 w 849"/>
                <a:gd name="T59" fmla="*/ 1215 h 1269"/>
                <a:gd name="T60" fmla="*/ 200 w 849"/>
                <a:gd name="T61" fmla="*/ 1238 h 1269"/>
                <a:gd name="T62" fmla="*/ 248 w 849"/>
                <a:gd name="T63" fmla="*/ 1255 h 1269"/>
                <a:gd name="T64" fmla="*/ 299 w 849"/>
                <a:gd name="T65" fmla="*/ 1266 h 1269"/>
                <a:gd name="T66" fmla="*/ 353 w 849"/>
                <a:gd name="T67" fmla="*/ 1269 h 1269"/>
                <a:gd name="T68" fmla="*/ 514 w 849"/>
                <a:gd name="T69" fmla="*/ 1269 h 1269"/>
                <a:gd name="T70" fmla="*/ 567 w 849"/>
                <a:gd name="T71" fmla="*/ 1263 h 1269"/>
                <a:gd name="T72" fmla="*/ 617 w 849"/>
                <a:gd name="T73" fmla="*/ 1251 h 1269"/>
                <a:gd name="T74" fmla="*/ 664 w 849"/>
                <a:gd name="T75" fmla="*/ 1231 h 1269"/>
                <a:gd name="T76" fmla="*/ 707 w 849"/>
                <a:gd name="T77" fmla="*/ 1207 h 1269"/>
                <a:gd name="T78" fmla="*/ 746 w 849"/>
                <a:gd name="T79" fmla="*/ 1177 h 1269"/>
                <a:gd name="T80" fmla="*/ 778 w 849"/>
                <a:gd name="T81" fmla="*/ 1142 h 1269"/>
                <a:gd name="T82" fmla="*/ 806 w 849"/>
                <a:gd name="T83" fmla="*/ 1104 h 1269"/>
                <a:gd name="T84" fmla="*/ 828 w 849"/>
                <a:gd name="T85" fmla="*/ 1062 h 1269"/>
                <a:gd name="T86" fmla="*/ 842 w 849"/>
                <a:gd name="T87" fmla="*/ 1017 h 1269"/>
                <a:gd name="T88" fmla="*/ 849 w 849"/>
                <a:gd name="T89" fmla="*/ 970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49" h="1269">
                  <a:moveTo>
                    <a:pt x="849" y="316"/>
                  </a:moveTo>
                  <a:lnTo>
                    <a:pt x="849" y="316"/>
                  </a:lnTo>
                  <a:lnTo>
                    <a:pt x="849" y="299"/>
                  </a:lnTo>
                  <a:lnTo>
                    <a:pt x="847" y="283"/>
                  </a:lnTo>
                  <a:lnTo>
                    <a:pt x="845" y="268"/>
                  </a:lnTo>
                  <a:lnTo>
                    <a:pt x="842" y="252"/>
                  </a:lnTo>
                  <a:lnTo>
                    <a:pt x="838" y="237"/>
                  </a:lnTo>
                  <a:lnTo>
                    <a:pt x="834" y="222"/>
                  </a:lnTo>
                  <a:lnTo>
                    <a:pt x="828" y="207"/>
                  </a:lnTo>
                  <a:lnTo>
                    <a:pt x="821" y="193"/>
                  </a:lnTo>
                  <a:lnTo>
                    <a:pt x="814" y="179"/>
                  </a:lnTo>
                  <a:lnTo>
                    <a:pt x="806" y="166"/>
                  </a:lnTo>
                  <a:lnTo>
                    <a:pt x="798" y="152"/>
                  </a:lnTo>
                  <a:lnTo>
                    <a:pt x="789" y="139"/>
                  </a:lnTo>
                  <a:lnTo>
                    <a:pt x="778" y="127"/>
                  </a:lnTo>
                  <a:lnTo>
                    <a:pt x="768" y="114"/>
                  </a:lnTo>
                  <a:lnTo>
                    <a:pt x="757" y="103"/>
                  </a:lnTo>
                  <a:lnTo>
                    <a:pt x="746" y="92"/>
                  </a:lnTo>
                  <a:lnTo>
                    <a:pt x="733" y="82"/>
                  </a:lnTo>
                  <a:lnTo>
                    <a:pt x="720" y="73"/>
                  </a:lnTo>
                  <a:lnTo>
                    <a:pt x="707" y="62"/>
                  </a:lnTo>
                  <a:lnTo>
                    <a:pt x="694" y="54"/>
                  </a:lnTo>
                  <a:lnTo>
                    <a:pt x="679" y="46"/>
                  </a:lnTo>
                  <a:lnTo>
                    <a:pt x="664" y="38"/>
                  </a:lnTo>
                  <a:lnTo>
                    <a:pt x="649" y="31"/>
                  </a:lnTo>
                  <a:lnTo>
                    <a:pt x="633" y="25"/>
                  </a:lnTo>
                  <a:lnTo>
                    <a:pt x="617" y="19"/>
                  </a:lnTo>
                  <a:lnTo>
                    <a:pt x="601" y="14"/>
                  </a:lnTo>
                  <a:lnTo>
                    <a:pt x="584" y="10"/>
                  </a:lnTo>
                  <a:lnTo>
                    <a:pt x="567" y="6"/>
                  </a:lnTo>
                  <a:lnTo>
                    <a:pt x="550" y="3"/>
                  </a:lnTo>
                  <a:lnTo>
                    <a:pt x="532" y="1"/>
                  </a:lnTo>
                  <a:lnTo>
                    <a:pt x="514" y="0"/>
                  </a:lnTo>
                  <a:lnTo>
                    <a:pt x="495" y="0"/>
                  </a:lnTo>
                  <a:lnTo>
                    <a:pt x="353" y="0"/>
                  </a:lnTo>
                  <a:lnTo>
                    <a:pt x="353" y="0"/>
                  </a:lnTo>
                  <a:lnTo>
                    <a:pt x="335" y="0"/>
                  </a:lnTo>
                  <a:lnTo>
                    <a:pt x="317" y="1"/>
                  </a:lnTo>
                  <a:lnTo>
                    <a:pt x="299" y="3"/>
                  </a:lnTo>
                  <a:lnTo>
                    <a:pt x="282" y="6"/>
                  </a:lnTo>
                  <a:lnTo>
                    <a:pt x="264" y="10"/>
                  </a:lnTo>
                  <a:lnTo>
                    <a:pt x="248" y="14"/>
                  </a:lnTo>
                  <a:lnTo>
                    <a:pt x="232" y="19"/>
                  </a:lnTo>
                  <a:lnTo>
                    <a:pt x="215" y="25"/>
                  </a:lnTo>
                  <a:lnTo>
                    <a:pt x="200" y="31"/>
                  </a:lnTo>
                  <a:lnTo>
                    <a:pt x="185" y="38"/>
                  </a:lnTo>
                  <a:lnTo>
                    <a:pt x="169" y="46"/>
                  </a:lnTo>
                  <a:lnTo>
                    <a:pt x="155" y="54"/>
                  </a:lnTo>
                  <a:lnTo>
                    <a:pt x="142" y="62"/>
                  </a:lnTo>
                  <a:lnTo>
                    <a:pt x="129" y="73"/>
                  </a:lnTo>
                  <a:lnTo>
                    <a:pt x="115" y="82"/>
                  </a:lnTo>
                  <a:lnTo>
                    <a:pt x="103" y="92"/>
                  </a:lnTo>
                  <a:lnTo>
                    <a:pt x="92" y="103"/>
                  </a:lnTo>
                  <a:lnTo>
                    <a:pt x="81" y="114"/>
                  </a:lnTo>
                  <a:lnTo>
                    <a:pt x="70" y="127"/>
                  </a:lnTo>
                  <a:lnTo>
                    <a:pt x="60" y="139"/>
                  </a:lnTo>
                  <a:lnTo>
                    <a:pt x="51" y="152"/>
                  </a:lnTo>
                  <a:lnTo>
                    <a:pt x="43" y="166"/>
                  </a:lnTo>
                  <a:lnTo>
                    <a:pt x="35" y="179"/>
                  </a:lnTo>
                  <a:lnTo>
                    <a:pt x="27" y="193"/>
                  </a:lnTo>
                  <a:lnTo>
                    <a:pt x="21" y="207"/>
                  </a:lnTo>
                  <a:lnTo>
                    <a:pt x="15" y="222"/>
                  </a:lnTo>
                  <a:lnTo>
                    <a:pt x="11" y="237"/>
                  </a:lnTo>
                  <a:lnTo>
                    <a:pt x="7" y="252"/>
                  </a:lnTo>
                  <a:lnTo>
                    <a:pt x="4" y="268"/>
                  </a:lnTo>
                  <a:lnTo>
                    <a:pt x="2" y="283"/>
                  </a:lnTo>
                  <a:lnTo>
                    <a:pt x="0" y="299"/>
                  </a:lnTo>
                  <a:lnTo>
                    <a:pt x="0" y="316"/>
                  </a:lnTo>
                  <a:lnTo>
                    <a:pt x="0" y="953"/>
                  </a:lnTo>
                  <a:lnTo>
                    <a:pt x="0" y="953"/>
                  </a:lnTo>
                  <a:lnTo>
                    <a:pt x="0" y="970"/>
                  </a:lnTo>
                  <a:lnTo>
                    <a:pt x="2" y="986"/>
                  </a:lnTo>
                  <a:lnTo>
                    <a:pt x="4" y="1001"/>
                  </a:lnTo>
                  <a:lnTo>
                    <a:pt x="7" y="1017"/>
                  </a:lnTo>
                  <a:lnTo>
                    <a:pt x="11" y="1032"/>
                  </a:lnTo>
                  <a:lnTo>
                    <a:pt x="15" y="1047"/>
                  </a:lnTo>
                  <a:lnTo>
                    <a:pt x="21" y="1062"/>
                  </a:lnTo>
                  <a:lnTo>
                    <a:pt x="27" y="1076"/>
                  </a:lnTo>
                  <a:lnTo>
                    <a:pt x="35" y="1090"/>
                  </a:lnTo>
                  <a:lnTo>
                    <a:pt x="43" y="1104"/>
                  </a:lnTo>
                  <a:lnTo>
                    <a:pt x="51" y="1117"/>
                  </a:lnTo>
                  <a:lnTo>
                    <a:pt x="60" y="1130"/>
                  </a:lnTo>
                  <a:lnTo>
                    <a:pt x="70" y="1142"/>
                  </a:lnTo>
                  <a:lnTo>
                    <a:pt x="81" y="1155"/>
                  </a:lnTo>
                  <a:lnTo>
                    <a:pt x="92" y="1166"/>
                  </a:lnTo>
                  <a:lnTo>
                    <a:pt x="103" y="1177"/>
                  </a:lnTo>
                  <a:lnTo>
                    <a:pt x="115" y="1187"/>
                  </a:lnTo>
                  <a:lnTo>
                    <a:pt x="129" y="1198"/>
                  </a:lnTo>
                  <a:lnTo>
                    <a:pt x="142" y="1207"/>
                  </a:lnTo>
                  <a:lnTo>
                    <a:pt x="155" y="1215"/>
                  </a:lnTo>
                  <a:lnTo>
                    <a:pt x="169" y="1224"/>
                  </a:lnTo>
                  <a:lnTo>
                    <a:pt x="185" y="1231"/>
                  </a:lnTo>
                  <a:lnTo>
                    <a:pt x="200" y="1238"/>
                  </a:lnTo>
                  <a:lnTo>
                    <a:pt x="215" y="1245"/>
                  </a:lnTo>
                  <a:lnTo>
                    <a:pt x="232" y="1251"/>
                  </a:lnTo>
                  <a:lnTo>
                    <a:pt x="248" y="1255"/>
                  </a:lnTo>
                  <a:lnTo>
                    <a:pt x="264" y="1260"/>
                  </a:lnTo>
                  <a:lnTo>
                    <a:pt x="282" y="1263"/>
                  </a:lnTo>
                  <a:lnTo>
                    <a:pt x="299" y="1266"/>
                  </a:lnTo>
                  <a:lnTo>
                    <a:pt x="317" y="1268"/>
                  </a:lnTo>
                  <a:lnTo>
                    <a:pt x="335" y="1269"/>
                  </a:lnTo>
                  <a:lnTo>
                    <a:pt x="353" y="1269"/>
                  </a:lnTo>
                  <a:lnTo>
                    <a:pt x="495" y="1269"/>
                  </a:lnTo>
                  <a:lnTo>
                    <a:pt x="495" y="1269"/>
                  </a:lnTo>
                  <a:lnTo>
                    <a:pt x="514" y="1269"/>
                  </a:lnTo>
                  <a:lnTo>
                    <a:pt x="532" y="1268"/>
                  </a:lnTo>
                  <a:lnTo>
                    <a:pt x="550" y="1266"/>
                  </a:lnTo>
                  <a:lnTo>
                    <a:pt x="567" y="1263"/>
                  </a:lnTo>
                  <a:lnTo>
                    <a:pt x="584" y="1260"/>
                  </a:lnTo>
                  <a:lnTo>
                    <a:pt x="601" y="1255"/>
                  </a:lnTo>
                  <a:lnTo>
                    <a:pt x="617" y="1251"/>
                  </a:lnTo>
                  <a:lnTo>
                    <a:pt x="633" y="1245"/>
                  </a:lnTo>
                  <a:lnTo>
                    <a:pt x="649" y="1238"/>
                  </a:lnTo>
                  <a:lnTo>
                    <a:pt x="664" y="1231"/>
                  </a:lnTo>
                  <a:lnTo>
                    <a:pt x="679" y="1224"/>
                  </a:lnTo>
                  <a:lnTo>
                    <a:pt x="694" y="1215"/>
                  </a:lnTo>
                  <a:lnTo>
                    <a:pt x="707" y="1207"/>
                  </a:lnTo>
                  <a:lnTo>
                    <a:pt x="720" y="1198"/>
                  </a:lnTo>
                  <a:lnTo>
                    <a:pt x="733" y="1187"/>
                  </a:lnTo>
                  <a:lnTo>
                    <a:pt x="746" y="1177"/>
                  </a:lnTo>
                  <a:lnTo>
                    <a:pt x="757" y="1166"/>
                  </a:lnTo>
                  <a:lnTo>
                    <a:pt x="768" y="1155"/>
                  </a:lnTo>
                  <a:lnTo>
                    <a:pt x="778" y="1142"/>
                  </a:lnTo>
                  <a:lnTo>
                    <a:pt x="789" y="1130"/>
                  </a:lnTo>
                  <a:lnTo>
                    <a:pt x="798" y="1117"/>
                  </a:lnTo>
                  <a:lnTo>
                    <a:pt x="806" y="1104"/>
                  </a:lnTo>
                  <a:lnTo>
                    <a:pt x="814" y="1090"/>
                  </a:lnTo>
                  <a:lnTo>
                    <a:pt x="821" y="1076"/>
                  </a:lnTo>
                  <a:lnTo>
                    <a:pt x="828" y="1062"/>
                  </a:lnTo>
                  <a:lnTo>
                    <a:pt x="834" y="1047"/>
                  </a:lnTo>
                  <a:lnTo>
                    <a:pt x="838" y="1032"/>
                  </a:lnTo>
                  <a:lnTo>
                    <a:pt x="842" y="1017"/>
                  </a:lnTo>
                  <a:lnTo>
                    <a:pt x="845" y="1001"/>
                  </a:lnTo>
                  <a:lnTo>
                    <a:pt x="847" y="986"/>
                  </a:lnTo>
                  <a:lnTo>
                    <a:pt x="849" y="970"/>
                  </a:lnTo>
                  <a:lnTo>
                    <a:pt x="849" y="953"/>
                  </a:lnTo>
                  <a:lnTo>
                    <a:pt x="849" y="316"/>
                  </a:lnTo>
                  <a:close/>
                </a:path>
              </a:pathLst>
            </a:cu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26" name="Freeform 1932"/>
            <p:cNvSpPr>
              <a:spLocks/>
            </p:cNvSpPr>
            <p:nvPr/>
          </p:nvSpPr>
          <p:spPr bwMode="auto">
            <a:xfrm>
              <a:off x="4691955" y="2606483"/>
              <a:ext cx="186301" cy="278141"/>
            </a:xfrm>
            <a:custGeom>
              <a:avLst/>
              <a:gdLst>
                <a:gd name="T0" fmla="*/ 849 w 850"/>
                <a:gd name="T1" fmla="*/ 299 h 1269"/>
                <a:gd name="T2" fmla="*/ 843 w 850"/>
                <a:gd name="T3" fmla="*/ 252 h 1269"/>
                <a:gd name="T4" fmla="*/ 829 w 850"/>
                <a:gd name="T5" fmla="*/ 207 h 1269"/>
                <a:gd name="T6" fmla="*/ 807 w 850"/>
                <a:gd name="T7" fmla="*/ 166 h 1269"/>
                <a:gd name="T8" fmla="*/ 780 w 850"/>
                <a:gd name="T9" fmla="*/ 127 h 1269"/>
                <a:gd name="T10" fmla="*/ 746 w 850"/>
                <a:gd name="T11" fmla="*/ 92 h 1269"/>
                <a:gd name="T12" fmla="*/ 708 w 850"/>
                <a:gd name="T13" fmla="*/ 62 h 1269"/>
                <a:gd name="T14" fmla="*/ 665 w 850"/>
                <a:gd name="T15" fmla="*/ 38 h 1269"/>
                <a:gd name="T16" fmla="*/ 618 w 850"/>
                <a:gd name="T17" fmla="*/ 19 h 1269"/>
                <a:gd name="T18" fmla="*/ 567 w 850"/>
                <a:gd name="T19" fmla="*/ 6 h 1269"/>
                <a:gd name="T20" fmla="*/ 515 w 850"/>
                <a:gd name="T21" fmla="*/ 0 h 1269"/>
                <a:gd name="T22" fmla="*/ 353 w 850"/>
                <a:gd name="T23" fmla="*/ 0 h 1269"/>
                <a:gd name="T24" fmla="*/ 300 w 850"/>
                <a:gd name="T25" fmla="*/ 3 h 1269"/>
                <a:gd name="T26" fmla="*/ 248 w 850"/>
                <a:gd name="T27" fmla="*/ 14 h 1269"/>
                <a:gd name="T28" fmla="*/ 200 w 850"/>
                <a:gd name="T29" fmla="*/ 31 h 1269"/>
                <a:gd name="T30" fmla="*/ 156 w 850"/>
                <a:gd name="T31" fmla="*/ 54 h 1269"/>
                <a:gd name="T32" fmla="*/ 116 w 850"/>
                <a:gd name="T33" fmla="*/ 82 h 1269"/>
                <a:gd name="T34" fmla="*/ 81 w 850"/>
                <a:gd name="T35" fmla="*/ 114 h 1269"/>
                <a:gd name="T36" fmla="*/ 51 w 850"/>
                <a:gd name="T37" fmla="*/ 152 h 1269"/>
                <a:gd name="T38" fmla="*/ 28 w 850"/>
                <a:gd name="T39" fmla="*/ 193 h 1269"/>
                <a:gd name="T40" fmla="*/ 11 w 850"/>
                <a:gd name="T41" fmla="*/ 237 h 1269"/>
                <a:gd name="T42" fmla="*/ 2 w 850"/>
                <a:gd name="T43" fmla="*/ 283 h 1269"/>
                <a:gd name="T44" fmla="*/ 0 w 850"/>
                <a:gd name="T45" fmla="*/ 953 h 1269"/>
                <a:gd name="T46" fmla="*/ 2 w 850"/>
                <a:gd name="T47" fmla="*/ 986 h 1269"/>
                <a:gd name="T48" fmla="*/ 11 w 850"/>
                <a:gd name="T49" fmla="*/ 1032 h 1269"/>
                <a:gd name="T50" fmla="*/ 28 w 850"/>
                <a:gd name="T51" fmla="*/ 1076 h 1269"/>
                <a:gd name="T52" fmla="*/ 51 w 850"/>
                <a:gd name="T53" fmla="*/ 1117 h 1269"/>
                <a:gd name="T54" fmla="*/ 81 w 850"/>
                <a:gd name="T55" fmla="*/ 1155 h 1269"/>
                <a:gd name="T56" fmla="*/ 116 w 850"/>
                <a:gd name="T57" fmla="*/ 1187 h 1269"/>
                <a:gd name="T58" fmla="*/ 156 w 850"/>
                <a:gd name="T59" fmla="*/ 1215 h 1269"/>
                <a:gd name="T60" fmla="*/ 200 w 850"/>
                <a:gd name="T61" fmla="*/ 1238 h 1269"/>
                <a:gd name="T62" fmla="*/ 248 w 850"/>
                <a:gd name="T63" fmla="*/ 1255 h 1269"/>
                <a:gd name="T64" fmla="*/ 300 w 850"/>
                <a:gd name="T65" fmla="*/ 1266 h 1269"/>
                <a:gd name="T66" fmla="*/ 353 w 850"/>
                <a:gd name="T67" fmla="*/ 1269 h 1269"/>
                <a:gd name="T68" fmla="*/ 515 w 850"/>
                <a:gd name="T69" fmla="*/ 1269 h 1269"/>
                <a:gd name="T70" fmla="*/ 567 w 850"/>
                <a:gd name="T71" fmla="*/ 1263 h 1269"/>
                <a:gd name="T72" fmla="*/ 618 w 850"/>
                <a:gd name="T73" fmla="*/ 1251 h 1269"/>
                <a:gd name="T74" fmla="*/ 665 w 850"/>
                <a:gd name="T75" fmla="*/ 1231 h 1269"/>
                <a:gd name="T76" fmla="*/ 708 w 850"/>
                <a:gd name="T77" fmla="*/ 1207 h 1269"/>
                <a:gd name="T78" fmla="*/ 746 w 850"/>
                <a:gd name="T79" fmla="*/ 1177 h 1269"/>
                <a:gd name="T80" fmla="*/ 780 w 850"/>
                <a:gd name="T81" fmla="*/ 1142 h 1269"/>
                <a:gd name="T82" fmla="*/ 807 w 850"/>
                <a:gd name="T83" fmla="*/ 1104 h 1269"/>
                <a:gd name="T84" fmla="*/ 829 w 850"/>
                <a:gd name="T85" fmla="*/ 1062 h 1269"/>
                <a:gd name="T86" fmla="*/ 843 w 850"/>
                <a:gd name="T87" fmla="*/ 1017 h 1269"/>
                <a:gd name="T88" fmla="*/ 849 w 850"/>
                <a:gd name="T89" fmla="*/ 970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50" h="1269">
                  <a:moveTo>
                    <a:pt x="850" y="316"/>
                  </a:moveTo>
                  <a:lnTo>
                    <a:pt x="850" y="316"/>
                  </a:lnTo>
                  <a:lnTo>
                    <a:pt x="849" y="299"/>
                  </a:lnTo>
                  <a:lnTo>
                    <a:pt x="848" y="283"/>
                  </a:lnTo>
                  <a:lnTo>
                    <a:pt x="846" y="268"/>
                  </a:lnTo>
                  <a:lnTo>
                    <a:pt x="843" y="252"/>
                  </a:lnTo>
                  <a:lnTo>
                    <a:pt x="839" y="237"/>
                  </a:lnTo>
                  <a:lnTo>
                    <a:pt x="834" y="222"/>
                  </a:lnTo>
                  <a:lnTo>
                    <a:pt x="829" y="207"/>
                  </a:lnTo>
                  <a:lnTo>
                    <a:pt x="821" y="193"/>
                  </a:lnTo>
                  <a:lnTo>
                    <a:pt x="815" y="179"/>
                  </a:lnTo>
                  <a:lnTo>
                    <a:pt x="807" y="166"/>
                  </a:lnTo>
                  <a:lnTo>
                    <a:pt x="799" y="152"/>
                  </a:lnTo>
                  <a:lnTo>
                    <a:pt x="790" y="139"/>
                  </a:lnTo>
                  <a:lnTo>
                    <a:pt x="780" y="127"/>
                  </a:lnTo>
                  <a:lnTo>
                    <a:pt x="769" y="114"/>
                  </a:lnTo>
                  <a:lnTo>
                    <a:pt x="758" y="103"/>
                  </a:lnTo>
                  <a:lnTo>
                    <a:pt x="746" y="92"/>
                  </a:lnTo>
                  <a:lnTo>
                    <a:pt x="734" y="82"/>
                  </a:lnTo>
                  <a:lnTo>
                    <a:pt x="721" y="73"/>
                  </a:lnTo>
                  <a:lnTo>
                    <a:pt x="708" y="62"/>
                  </a:lnTo>
                  <a:lnTo>
                    <a:pt x="694" y="54"/>
                  </a:lnTo>
                  <a:lnTo>
                    <a:pt x="679" y="46"/>
                  </a:lnTo>
                  <a:lnTo>
                    <a:pt x="665" y="38"/>
                  </a:lnTo>
                  <a:lnTo>
                    <a:pt x="650" y="31"/>
                  </a:lnTo>
                  <a:lnTo>
                    <a:pt x="633" y="25"/>
                  </a:lnTo>
                  <a:lnTo>
                    <a:pt x="618" y="19"/>
                  </a:lnTo>
                  <a:lnTo>
                    <a:pt x="602" y="14"/>
                  </a:lnTo>
                  <a:lnTo>
                    <a:pt x="584" y="10"/>
                  </a:lnTo>
                  <a:lnTo>
                    <a:pt x="567" y="6"/>
                  </a:lnTo>
                  <a:lnTo>
                    <a:pt x="550" y="3"/>
                  </a:lnTo>
                  <a:lnTo>
                    <a:pt x="532" y="1"/>
                  </a:lnTo>
                  <a:lnTo>
                    <a:pt x="515" y="0"/>
                  </a:lnTo>
                  <a:lnTo>
                    <a:pt x="496" y="0"/>
                  </a:lnTo>
                  <a:lnTo>
                    <a:pt x="353" y="0"/>
                  </a:lnTo>
                  <a:lnTo>
                    <a:pt x="353" y="0"/>
                  </a:lnTo>
                  <a:lnTo>
                    <a:pt x="335" y="0"/>
                  </a:lnTo>
                  <a:lnTo>
                    <a:pt x="318" y="1"/>
                  </a:lnTo>
                  <a:lnTo>
                    <a:pt x="300" y="3"/>
                  </a:lnTo>
                  <a:lnTo>
                    <a:pt x="283" y="6"/>
                  </a:lnTo>
                  <a:lnTo>
                    <a:pt x="266" y="10"/>
                  </a:lnTo>
                  <a:lnTo>
                    <a:pt x="248" y="14"/>
                  </a:lnTo>
                  <a:lnTo>
                    <a:pt x="232" y="19"/>
                  </a:lnTo>
                  <a:lnTo>
                    <a:pt x="216" y="25"/>
                  </a:lnTo>
                  <a:lnTo>
                    <a:pt x="200" y="31"/>
                  </a:lnTo>
                  <a:lnTo>
                    <a:pt x="185" y="38"/>
                  </a:lnTo>
                  <a:lnTo>
                    <a:pt x="170" y="46"/>
                  </a:lnTo>
                  <a:lnTo>
                    <a:pt x="156" y="54"/>
                  </a:lnTo>
                  <a:lnTo>
                    <a:pt x="142" y="62"/>
                  </a:lnTo>
                  <a:lnTo>
                    <a:pt x="129" y="73"/>
                  </a:lnTo>
                  <a:lnTo>
                    <a:pt x="116" y="82"/>
                  </a:lnTo>
                  <a:lnTo>
                    <a:pt x="104" y="92"/>
                  </a:lnTo>
                  <a:lnTo>
                    <a:pt x="92" y="103"/>
                  </a:lnTo>
                  <a:lnTo>
                    <a:pt x="81" y="114"/>
                  </a:lnTo>
                  <a:lnTo>
                    <a:pt x="70" y="127"/>
                  </a:lnTo>
                  <a:lnTo>
                    <a:pt x="60" y="139"/>
                  </a:lnTo>
                  <a:lnTo>
                    <a:pt x="51" y="152"/>
                  </a:lnTo>
                  <a:lnTo>
                    <a:pt x="43" y="166"/>
                  </a:lnTo>
                  <a:lnTo>
                    <a:pt x="35" y="179"/>
                  </a:lnTo>
                  <a:lnTo>
                    <a:pt x="28" y="193"/>
                  </a:lnTo>
                  <a:lnTo>
                    <a:pt x="21" y="207"/>
                  </a:lnTo>
                  <a:lnTo>
                    <a:pt x="16" y="222"/>
                  </a:lnTo>
                  <a:lnTo>
                    <a:pt x="11" y="237"/>
                  </a:lnTo>
                  <a:lnTo>
                    <a:pt x="7" y="252"/>
                  </a:lnTo>
                  <a:lnTo>
                    <a:pt x="4" y="268"/>
                  </a:lnTo>
                  <a:lnTo>
                    <a:pt x="2" y="283"/>
                  </a:lnTo>
                  <a:lnTo>
                    <a:pt x="1" y="299"/>
                  </a:lnTo>
                  <a:lnTo>
                    <a:pt x="0" y="316"/>
                  </a:lnTo>
                  <a:lnTo>
                    <a:pt x="0" y="953"/>
                  </a:lnTo>
                  <a:lnTo>
                    <a:pt x="0" y="953"/>
                  </a:lnTo>
                  <a:lnTo>
                    <a:pt x="1" y="970"/>
                  </a:lnTo>
                  <a:lnTo>
                    <a:pt x="2" y="986"/>
                  </a:lnTo>
                  <a:lnTo>
                    <a:pt x="4" y="1001"/>
                  </a:lnTo>
                  <a:lnTo>
                    <a:pt x="7" y="1017"/>
                  </a:lnTo>
                  <a:lnTo>
                    <a:pt x="11" y="1032"/>
                  </a:lnTo>
                  <a:lnTo>
                    <a:pt x="16" y="1047"/>
                  </a:lnTo>
                  <a:lnTo>
                    <a:pt x="21" y="1062"/>
                  </a:lnTo>
                  <a:lnTo>
                    <a:pt x="28" y="1076"/>
                  </a:lnTo>
                  <a:lnTo>
                    <a:pt x="35" y="1090"/>
                  </a:lnTo>
                  <a:lnTo>
                    <a:pt x="43" y="1104"/>
                  </a:lnTo>
                  <a:lnTo>
                    <a:pt x="51" y="1117"/>
                  </a:lnTo>
                  <a:lnTo>
                    <a:pt x="60" y="1130"/>
                  </a:lnTo>
                  <a:lnTo>
                    <a:pt x="70" y="1142"/>
                  </a:lnTo>
                  <a:lnTo>
                    <a:pt x="81" y="1155"/>
                  </a:lnTo>
                  <a:lnTo>
                    <a:pt x="92" y="1166"/>
                  </a:lnTo>
                  <a:lnTo>
                    <a:pt x="104" y="1177"/>
                  </a:lnTo>
                  <a:lnTo>
                    <a:pt x="116" y="1187"/>
                  </a:lnTo>
                  <a:lnTo>
                    <a:pt x="129" y="1198"/>
                  </a:lnTo>
                  <a:lnTo>
                    <a:pt x="142" y="1207"/>
                  </a:lnTo>
                  <a:lnTo>
                    <a:pt x="156" y="1215"/>
                  </a:lnTo>
                  <a:lnTo>
                    <a:pt x="170" y="1224"/>
                  </a:lnTo>
                  <a:lnTo>
                    <a:pt x="185" y="1231"/>
                  </a:lnTo>
                  <a:lnTo>
                    <a:pt x="200" y="1238"/>
                  </a:lnTo>
                  <a:lnTo>
                    <a:pt x="216" y="1245"/>
                  </a:lnTo>
                  <a:lnTo>
                    <a:pt x="232" y="1251"/>
                  </a:lnTo>
                  <a:lnTo>
                    <a:pt x="248" y="1255"/>
                  </a:lnTo>
                  <a:lnTo>
                    <a:pt x="266" y="1260"/>
                  </a:lnTo>
                  <a:lnTo>
                    <a:pt x="283" y="1263"/>
                  </a:lnTo>
                  <a:lnTo>
                    <a:pt x="300" y="1266"/>
                  </a:lnTo>
                  <a:lnTo>
                    <a:pt x="318" y="1268"/>
                  </a:lnTo>
                  <a:lnTo>
                    <a:pt x="335" y="1269"/>
                  </a:lnTo>
                  <a:lnTo>
                    <a:pt x="353" y="1269"/>
                  </a:lnTo>
                  <a:lnTo>
                    <a:pt x="496" y="1269"/>
                  </a:lnTo>
                  <a:lnTo>
                    <a:pt x="496" y="1269"/>
                  </a:lnTo>
                  <a:lnTo>
                    <a:pt x="515" y="1269"/>
                  </a:lnTo>
                  <a:lnTo>
                    <a:pt x="532" y="1268"/>
                  </a:lnTo>
                  <a:lnTo>
                    <a:pt x="550" y="1266"/>
                  </a:lnTo>
                  <a:lnTo>
                    <a:pt x="567" y="1263"/>
                  </a:lnTo>
                  <a:lnTo>
                    <a:pt x="584" y="1260"/>
                  </a:lnTo>
                  <a:lnTo>
                    <a:pt x="602" y="1255"/>
                  </a:lnTo>
                  <a:lnTo>
                    <a:pt x="618" y="1251"/>
                  </a:lnTo>
                  <a:lnTo>
                    <a:pt x="633" y="1245"/>
                  </a:lnTo>
                  <a:lnTo>
                    <a:pt x="650" y="1238"/>
                  </a:lnTo>
                  <a:lnTo>
                    <a:pt x="665" y="1231"/>
                  </a:lnTo>
                  <a:lnTo>
                    <a:pt x="679" y="1224"/>
                  </a:lnTo>
                  <a:lnTo>
                    <a:pt x="694" y="1215"/>
                  </a:lnTo>
                  <a:lnTo>
                    <a:pt x="708" y="1207"/>
                  </a:lnTo>
                  <a:lnTo>
                    <a:pt x="721" y="1198"/>
                  </a:lnTo>
                  <a:lnTo>
                    <a:pt x="734" y="1187"/>
                  </a:lnTo>
                  <a:lnTo>
                    <a:pt x="746" y="1177"/>
                  </a:lnTo>
                  <a:lnTo>
                    <a:pt x="758" y="1166"/>
                  </a:lnTo>
                  <a:lnTo>
                    <a:pt x="769" y="1155"/>
                  </a:lnTo>
                  <a:lnTo>
                    <a:pt x="780" y="1142"/>
                  </a:lnTo>
                  <a:lnTo>
                    <a:pt x="790" y="1130"/>
                  </a:lnTo>
                  <a:lnTo>
                    <a:pt x="799" y="1117"/>
                  </a:lnTo>
                  <a:lnTo>
                    <a:pt x="807" y="1104"/>
                  </a:lnTo>
                  <a:lnTo>
                    <a:pt x="815" y="1090"/>
                  </a:lnTo>
                  <a:lnTo>
                    <a:pt x="821" y="1076"/>
                  </a:lnTo>
                  <a:lnTo>
                    <a:pt x="829" y="1062"/>
                  </a:lnTo>
                  <a:lnTo>
                    <a:pt x="834" y="1047"/>
                  </a:lnTo>
                  <a:lnTo>
                    <a:pt x="839" y="1032"/>
                  </a:lnTo>
                  <a:lnTo>
                    <a:pt x="843" y="1017"/>
                  </a:lnTo>
                  <a:lnTo>
                    <a:pt x="846" y="1001"/>
                  </a:lnTo>
                  <a:lnTo>
                    <a:pt x="848" y="986"/>
                  </a:lnTo>
                  <a:lnTo>
                    <a:pt x="849" y="970"/>
                  </a:lnTo>
                  <a:lnTo>
                    <a:pt x="850" y="953"/>
                  </a:lnTo>
                  <a:lnTo>
                    <a:pt x="850" y="316"/>
                  </a:lnTo>
                  <a:close/>
                </a:path>
              </a:pathLst>
            </a:cu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44" name="Freeform 1946"/>
            <p:cNvSpPr>
              <a:spLocks/>
            </p:cNvSpPr>
            <p:nvPr/>
          </p:nvSpPr>
          <p:spPr bwMode="auto">
            <a:xfrm>
              <a:off x="4173843" y="2633051"/>
              <a:ext cx="123326" cy="123326"/>
            </a:xfrm>
            <a:custGeom>
              <a:avLst/>
              <a:gdLst>
                <a:gd name="T0" fmla="*/ 565 w 565"/>
                <a:gd name="T1" fmla="*/ 267 h 565"/>
                <a:gd name="T2" fmla="*/ 559 w 565"/>
                <a:gd name="T3" fmla="*/ 226 h 565"/>
                <a:gd name="T4" fmla="*/ 548 w 565"/>
                <a:gd name="T5" fmla="*/ 186 h 565"/>
                <a:gd name="T6" fmla="*/ 532 w 565"/>
                <a:gd name="T7" fmla="*/ 148 h 565"/>
                <a:gd name="T8" fmla="*/ 509 w 565"/>
                <a:gd name="T9" fmla="*/ 113 h 565"/>
                <a:gd name="T10" fmla="*/ 483 w 565"/>
                <a:gd name="T11" fmla="*/ 82 h 565"/>
                <a:gd name="T12" fmla="*/ 452 w 565"/>
                <a:gd name="T13" fmla="*/ 56 h 565"/>
                <a:gd name="T14" fmla="*/ 417 w 565"/>
                <a:gd name="T15" fmla="*/ 34 h 565"/>
                <a:gd name="T16" fmla="*/ 380 w 565"/>
                <a:gd name="T17" fmla="*/ 17 h 565"/>
                <a:gd name="T18" fmla="*/ 340 w 565"/>
                <a:gd name="T19" fmla="*/ 6 h 565"/>
                <a:gd name="T20" fmla="*/ 298 w 565"/>
                <a:gd name="T21" fmla="*/ 1 h 565"/>
                <a:gd name="T22" fmla="*/ 268 w 565"/>
                <a:gd name="T23" fmla="*/ 1 h 565"/>
                <a:gd name="T24" fmla="*/ 226 w 565"/>
                <a:gd name="T25" fmla="*/ 6 h 565"/>
                <a:gd name="T26" fmla="*/ 186 w 565"/>
                <a:gd name="T27" fmla="*/ 17 h 565"/>
                <a:gd name="T28" fmla="*/ 149 w 565"/>
                <a:gd name="T29" fmla="*/ 34 h 565"/>
                <a:gd name="T30" fmla="*/ 114 w 565"/>
                <a:gd name="T31" fmla="*/ 56 h 565"/>
                <a:gd name="T32" fmla="*/ 83 w 565"/>
                <a:gd name="T33" fmla="*/ 82 h 565"/>
                <a:gd name="T34" fmla="*/ 57 w 565"/>
                <a:gd name="T35" fmla="*/ 113 h 565"/>
                <a:gd name="T36" fmla="*/ 35 w 565"/>
                <a:gd name="T37" fmla="*/ 148 h 565"/>
                <a:gd name="T38" fmla="*/ 18 w 565"/>
                <a:gd name="T39" fmla="*/ 186 h 565"/>
                <a:gd name="T40" fmla="*/ 7 w 565"/>
                <a:gd name="T41" fmla="*/ 226 h 565"/>
                <a:gd name="T42" fmla="*/ 1 w 565"/>
                <a:gd name="T43" fmla="*/ 267 h 565"/>
                <a:gd name="T44" fmla="*/ 1 w 565"/>
                <a:gd name="T45" fmla="*/ 297 h 565"/>
                <a:gd name="T46" fmla="*/ 7 w 565"/>
                <a:gd name="T47" fmla="*/ 339 h 565"/>
                <a:gd name="T48" fmla="*/ 18 w 565"/>
                <a:gd name="T49" fmla="*/ 380 h 565"/>
                <a:gd name="T50" fmla="*/ 35 w 565"/>
                <a:gd name="T51" fmla="*/ 417 h 565"/>
                <a:gd name="T52" fmla="*/ 57 w 565"/>
                <a:gd name="T53" fmla="*/ 451 h 565"/>
                <a:gd name="T54" fmla="*/ 83 w 565"/>
                <a:gd name="T55" fmla="*/ 482 h 565"/>
                <a:gd name="T56" fmla="*/ 114 w 565"/>
                <a:gd name="T57" fmla="*/ 509 h 565"/>
                <a:gd name="T58" fmla="*/ 149 w 565"/>
                <a:gd name="T59" fmla="*/ 531 h 565"/>
                <a:gd name="T60" fmla="*/ 186 w 565"/>
                <a:gd name="T61" fmla="*/ 547 h 565"/>
                <a:gd name="T62" fmla="*/ 226 w 565"/>
                <a:gd name="T63" fmla="*/ 559 h 565"/>
                <a:gd name="T64" fmla="*/ 268 w 565"/>
                <a:gd name="T65" fmla="*/ 565 h 565"/>
                <a:gd name="T66" fmla="*/ 298 w 565"/>
                <a:gd name="T67" fmla="*/ 565 h 565"/>
                <a:gd name="T68" fmla="*/ 340 w 565"/>
                <a:gd name="T69" fmla="*/ 559 h 565"/>
                <a:gd name="T70" fmla="*/ 380 w 565"/>
                <a:gd name="T71" fmla="*/ 547 h 565"/>
                <a:gd name="T72" fmla="*/ 417 w 565"/>
                <a:gd name="T73" fmla="*/ 531 h 565"/>
                <a:gd name="T74" fmla="*/ 452 w 565"/>
                <a:gd name="T75" fmla="*/ 509 h 565"/>
                <a:gd name="T76" fmla="*/ 483 w 565"/>
                <a:gd name="T77" fmla="*/ 482 h 565"/>
                <a:gd name="T78" fmla="*/ 509 w 565"/>
                <a:gd name="T79" fmla="*/ 451 h 565"/>
                <a:gd name="T80" fmla="*/ 532 w 565"/>
                <a:gd name="T81" fmla="*/ 417 h 565"/>
                <a:gd name="T82" fmla="*/ 548 w 565"/>
                <a:gd name="T83" fmla="*/ 380 h 565"/>
                <a:gd name="T84" fmla="*/ 559 w 565"/>
                <a:gd name="T85" fmla="*/ 339 h 565"/>
                <a:gd name="T86" fmla="*/ 565 w 565"/>
                <a:gd name="T87" fmla="*/ 297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5" h="565">
                  <a:moveTo>
                    <a:pt x="565" y="283"/>
                  </a:moveTo>
                  <a:lnTo>
                    <a:pt x="565" y="283"/>
                  </a:lnTo>
                  <a:lnTo>
                    <a:pt x="565" y="267"/>
                  </a:lnTo>
                  <a:lnTo>
                    <a:pt x="564" y="253"/>
                  </a:lnTo>
                  <a:lnTo>
                    <a:pt x="562" y="239"/>
                  </a:lnTo>
                  <a:lnTo>
                    <a:pt x="559" y="226"/>
                  </a:lnTo>
                  <a:lnTo>
                    <a:pt x="556" y="211"/>
                  </a:lnTo>
                  <a:lnTo>
                    <a:pt x="553" y="198"/>
                  </a:lnTo>
                  <a:lnTo>
                    <a:pt x="548" y="186"/>
                  </a:lnTo>
                  <a:lnTo>
                    <a:pt x="543" y="172"/>
                  </a:lnTo>
                  <a:lnTo>
                    <a:pt x="538" y="160"/>
                  </a:lnTo>
                  <a:lnTo>
                    <a:pt x="532" y="148"/>
                  </a:lnTo>
                  <a:lnTo>
                    <a:pt x="525" y="136"/>
                  </a:lnTo>
                  <a:lnTo>
                    <a:pt x="517" y="124"/>
                  </a:lnTo>
                  <a:lnTo>
                    <a:pt x="509" y="113"/>
                  </a:lnTo>
                  <a:lnTo>
                    <a:pt x="501" y="103"/>
                  </a:lnTo>
                  <a:lnTo>
                    <a:pt x="492" y="93"/>
                  </a:lnTo>
                  <a:lnTo>
                    <a:pt x="483" y="82"/>
                  </a:lnTo>
                  <a:lnTo>
                    <a:pt x="472" y="73"/>
                  </a:lnTo>
                  <a:lnTo>
                    <a:pt x="462" y="64"/>
                  </a:lnTo>
                  <a:lnTo>
                    <a:pt x="452" y="56"/>
                  </a:lnTo>
                  <a:lnTo>
                    <a:pt x="441" y="48"/>
                  </a:lnTo>
                  <a:lnTo>
                    <a:pt x="430" y="41"/>
                  </a:lnTo>
                  <a:lnTo>
                    <a:pt x="417" y="34"/>
                  </a:lnTo>
                  <a:lnTo>
                    <a:pt x="405" y="27"/>
                  </a:lnTo>
                  <a:lnTo>
                    <a:pt x="393" y="22"/>
                  </a:lnTo>
                  <a:lnTo>
                    <a:pt x="380" y="17"/>
                  </a:lnTo>
                  <a:lnTo>
                    <a:pt x="367" y="13"/>
                  </a:lnTo>
                  <a:lnTo>
                    <a:pt x="354" y="9"/>
                  </a:lnTo>
                  <a:lnTo>
                    <a:pt x="340" y="6"/>
                  </a:lnTo>
                  <a:lnTo>
                    <a:pt x="326" y="3"/>
                  </a:lnTo>
                  <a:lnTo>
                    <a:pt x="312" y="2"/>
                  </a:lnTo>
                  <a:lnTo>
                    <a:pt x="298" y="1"/>
                  </a:lnTo>
                  <a:lnTo>
                    <a:pt x="283" y="0"/>
                  </a:lnTo>
                  <a:lnTo>
                    <a:pt x="283" y="0"/>
                  </a:lnTo>
                  <a:lnTo>
                    <a:pt x="268" y="1"/>
                  </a:lnTo>
                  <a:lnTo>
                    <a:pt x="254" y="2"/>
                  </a:lnTo>
                  <a:lnTo>
                    <a:pt x="241" y="3"/>
                  </a:lnTo>
                  <a:lnTo>
                    <a:pt x="226" y="6"/>
                  </a:lnTo>
                  <a:lnTo>
                    <a:pt x="213" y="9"/>
                  </a:lnTo>
                  <a:lnTo>
                    <a:pt x="199" y="13"/>
                  </a:lnTo>
                  <a:lnTo>
                    <a:pt x="186" y="17"/>
                  </a:lnTo>
                  <a:lnTo>
                    <a:pt x="173" y="22"/>
                  </a:lnTo>
                  <a:lnTo>
                    <a:pt x="161" y="27"/>
                  </a:lnTo>
                  <a:lnTo>
                    <a:pt x="149" y="34"/>
                  </a:lnTo>
                  <a:lnTo>
                    <a:pt x="136" y="41"/>
                  </a:lnTo>
                  <a:lnTo>
                    <a:pt x="125" y="48"/>
                  </a:lnTo>
                  <a:lnTo>
                    <a:pt x="114" y="56"/>
                  </a:lnTo>
                  <a:lnTo>
                    <a:pt x="104" y="64"/>
                  </a:lnTo>
                  <a:lnTo>
                    <a:pt x="93" y="73"/>
                  </a:lnTo>
                  <a:lnTo>
                    <a:pt x="83" y="82"/>
                  </a:lnTo>
                  <a:lnTo>
                    <a:pt x="74" y="93"/>
                  </a:lnTo>
                  <a:lnTo>
                    <a:pt x="65" y="103"/>
                  </a:lnTo>
                  <a:lnTo>
                    <a:pt x="57" y="113"/>
                  </a:lnTo>
                  <a:lnTo>
                    <a:pt x="48" y="124"/>
                  </a:lnTo>
                  <a:lnTo>
                    <a:pt x="41" y="136"/>
                  </a:lnTo>
                  <a:lnTo>
                    <a:pt x="35" y="148"/>
                  </a:lnTo>
                  <a:lnTo>
                    <a:pt x="28" y="160"/>
                  </a:lnTo>
                  <a:lnTo>
                    <a:pt x="23" y="172"/>
                  </a:lnTo>
                  <a:lnTo>
                    <a:pt x="18" y="186"/>
                  </a:lnTo>
                  <a:lnTo>
                    <a:pt x="14" y="198"/>
                  </a:lnTo>
                  <a:lnTo>
                    <a:pt x="10" y="211"/>
                  </a:lnTo>
                  <a:lnTo>
                    <a:pt x="7" y="226"/>
                  </a:lnTo>
                  <a:lnTo>
                    <a:pt x="3" y="239"/>
                  </a:lnTo>
                  <a:lnTo>
                    <a:pt x="2" y="253"/>
                  </a:lnTo>
                  <a:lnTo>
                    <a:pt x="1" y="267"/>
                  </a:lnTo>
                  <a:lnTo>
                    <a:pt x="0" y="283"/>
                  </a:lnTo>
                  <a:lnTo>
                    <a:pt x="0" y="283"/>
                  </a:lnTo>
                  <a:lnTo>
                    <a:pt x="1" y="297"/>
                  </a:lnTo>
                  <a:lnTo>
                    <a:pt x="2" y="311"/>
                  </a:lnTo>
                  <a:lnTo>
                    <a:pt x="3" y="326"/>
                  </a:lnTo>
                  <a:lnTo>
                    <a:pt x="7" y="339"/>
                  </a:lnTo>
                  <a:lnTo>
                    <a:pt x="10" y="353"/>
                  </a:lnTo>
                  <a:lnTo>
                    <a:pt x="14" y="367"/>
                  </a:lnTo>
                  <a:lnTo>
                    <a:pt x="18" y="380"/>
                  </a:lnTo>
                  <a:lnTo>
                    <a:pt x="23" y="392"/>
                  </a:lnTo>
                  <a:lnTo>
                    <a:pt x="28" y="404"/>
                  </a:lnTo>
                  <a:lnTo>
                    <a:pt x="35" y="417"/>
                  </a:lnTo>
                  <a:lnTo>
                    <a:pt x="41" y="429"/>
                  </a:lnTo>
                  <a:lnTo>
                    <a:pt x="48" y="440"/>
                  </a:lnTo>
                  <a:lnTo>
                    <a:pt x="57" y="451"/>
                  </a:lnTo>
                  <a:lnTo>
                    <a:pt x="65" y="462"/>
                  </a:lnTo>
                  <a:lnTo>
                    <a:pt x="74" y="472"/>
                  </a:lnTo>
                  <a:lnTo>
                    <a:pt x="83" y="482"/>
                  </a:lnTo>
                  <a:lnTo>
                    <a:pt x="93" y="491"/>
                  </a:lnTo>
                  <a:lnTo>
                    <a:pt x="104" y="500"/>
                  </a:lnTo>
                  <a:lnTo>
                    <a:pt x="114" y="509"/>
                  </a:lnTo>
                  <a:lnTo>
                    <a:pt x="125" y="517"/>
                  </a:lnTo>
                  <a:lnTo>
                    <a:pt x="136" y="524"/>
                  </a:lnTo>
                  <a:lnTo>
                    <a:pt x="149" y="531"/>
                  </a:lnTo>
                  <a:lnTo>
                    <a:pt x="161" y="537"/>
                  </a:lnTo>
                  <a:lnTo>
                    <a:pt x="173" y="542"/>
                  </a:lnTo>
                  <a:lnTo>
                    <a:pt x="186" y="547"/>
                  </a:lnTo>
                  <a:lnTo>
                    <a:pt x="199" y="553"/>
                  </a:lnTo>
                  <a:lnTo>
                    <a:pt x="213" y="556"/>
                  </a:lnTo>
                  <a:lnTo>
                    <a:pt x="226" y="559"/>
                  </a:lnTo>
                  <a:lnTo>
                    <a:pt x="241" y="562"/>
                  </a:lnTo>
                  <a:lnTo>
                    <a:pt x="254" y="564"/>
                  </a:lnTo>
                  <a:lnTo>
                    <a:pt x="268" y="565"/>
                  </a:lnTo>
                  <a:lnTo>
                    <a:pt x="283" y="565"/>
                  </a:lnTo>
                  <a:lnTo>
                    <a:pt x="283" y="565"/>
                  </a:lnTo>
                  <a:lnTo>
                    <a:pt x="298" y="565"/>
                  </a:lnTo>
                  <a:lnTo>
                    <a:pt x="312" y="564"/>
                  </a:lnTo>
                  <a:lnTo>
                    <a:pt x="326" y="562"/>
                  </a:lnTo>
                  <a:lnTo>
                    <a:pt x="340" y="559"/>
                  </a:lnTo>
                  <a:lnTo>
                    <a:pt x="354" y="556"/>
                  </a:lnTo>
                  <a:lnTo>
                    <a:pt x="367" y="553"/>
                  </a:lnTo>
                  <a:lnTo>
                    <a:pt x="380" y="547"/>
                  </a:lnTo>
                  <a:lnTo>
                    <a:pt x="393" y="542"/>
                  </a:lnTo>
                  <a:lnTo>
                    <a:pt x="405" y="537"/>
                  </a:lnTo>
                  <a:lnTo>
                    <a:pt x="417" y="531"/>
                  </a:lnTo>
                  <a:lnTo>
                    <a:pt x="430" y="524"/>
                  </a:lnTo>
                  <a:lnTo>
                    <a:pt x="441" y="517"/>
                  </a:lnTo>
                  <a:lnTo>
                    <a:pt x="452" y="509"/>
                  </a:lnTo>
                  <a:lnTo>
                    <a:pt x="462" y="500"/>
                  </a:lnTo>
                  <a:lnTo>
                    <a:pt x="472" y="491"/>
                  </a:lnTo>
                  <a:lnTo>
                    <a:pt x="483" y="482"/>
                  </a:lnTo>
                  <a:lnTo>
                    <a:pt x="492" y="472"/>
                  </a:lnTo>
                  <a:lnTo>
                    <a:pt x="501" y="462"/>
                  </a:lnTo>
                  <a:lnTo>
                    <a:pt x="509" y="451"/>
                  </a:lnTo>
                  <a:lnTo>
                    <a:pt x="517" y="440"/>
                  </a:lnTo>
                  <a:lnTo>
                    <a:pt x="525" y="429"/>
                  </a:lnTo>
                  <a:lnTo>
                    <a:pt x="532" y="417"/>
                  </a:lnTo>
                  <a:lnTo>
                    <a:pt x="538" y="404"/>
                  </a:lnTo>
                  <a:lnTo>
                    <a:pt x="543" y="392"/>
                  </a:lnTo>
                  <a:lnTo>
                    <a:pt x="548" y="380"/>
                  </a:lnTo>
                  <a:lnTo>
                    <a:pt x="553" y="367"/>
                  </a:lnTo>
                  <a:lnTo>
                    <a:pt x="556" y="353"/>
                  </a:lnTo>
                  <a:lnTo>
                    <a:pt x="559" y="339"/>
                  </a:lnTo>
                  <a:lnTo>
                    <a:pt x="562" y="326"/>
                  </a:lnTo>
                  <a:lnTo>
                    <a:pt x="564" y="311"/>
                  </a:lnTo>
                  <a:lnTo>
                    <a:pt x="565" y="297"/>
                  </a:lnTo>
                  <a:lnTo>
                    <a:pt x="565" y="283"/>
                  </a:lnTo>
                  <a:lnTo>
                    <a:pt x="565" y="2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47" name="Freeform 1949"/>
            <p:cNvSpPr>
              <a:spLocks/>
            </p:cNvSpPr>
            <p:nvPr/>
          </p:nvSpPr>
          <p:spPr bwMode="auto">
            <a:xfrm>
              <a:off x="4524644" y="2963343"/>
              <a:ext cx="198798" cy="37784"/>
            </a:xfrm>
            <a:custGeom>
              <a:avLst/>
              <a:gdLst>
                <a:gd name="T0" fmla="*/ 1096 w 1135"/>
                <a:gd name="T1" fmla="*/ 102 h 102"/>
                <a:gd name="T2" fmla="*/ 1096 w 1135"/>
                <a:gd name="T3" fmla="*/ 102 h 102"/>
                <a:gd name="T4" fmla="*/ 1117 w 1135"/>
                <a:gd name="T5" fmla="*/ 101 h 102"/>
                <a:gd name="T6" fmla="*/ 1124 w 1135"/>
                <a:gd name="T7" fmla="*/ 100 h 102"/>
                <a:gd name="T8" fmla="*/ 1129 w 1135"/>
                <a:gd name="T9" fmla="*/ 99 h 102"/>
                <a:gd name="T10" fmla="*/ 1132 w 1135"/>
                <a:gd name="T11" fmla="*/ 97 h 102"/>
                <a:gd name="T12" fmla="*/ 1134 w 1135"/>
                <a:gd name="T13" fmla="*/ 94 h 102"/>
                <a:gd name="T14" fmla="*/ 1135 w 1135"/>
                <a:gd name="T15" fmla="*/ 92 h 102"/>
                <a:gd name="T16" fmla="*/ 1135 w 1135"/>
                <a:gd name="T17" fmla="*/ 88 h 102"/>
                <a:gd name="T18" fmla="*/ 1133 w 1135"/>
                <a:gd name="T19" fmla="*/ 81 h 102"/>
                <a:gd name="T20" fmla="*/ 1129 w 1135"/>
                <a:gd name="T21" fmla="*/ 72 h 102"/>
                <a:gd name="T22" fmla="*/ 1126 w 1135"/>
                <a:gd name="T23" fmla="*/ 63 h 102"/>
                <a:gd name="T24" fmla="*/ 1125 w 1135"/>
                <a:gd name="T25" fmla="*/ 58 h 102"/>
                <a:gd name="T26" fmla="*/ 1124 w 1135"/>
                <a:gd name="T27" fmla="*/ 53 h 102"/>
                <a:gd name="T28" fmla="*/ 1124 w 1135"/>
                <a:gd name="T29" fmla="*/ 50 h 102"/>
                <a:gd name="T30" fmla="*/ 1124 w 1135"/>
                <a:gd name="T31" fmla="*/ 50 h 102"/>
                <a:gd name="T32" fmla="*/ 1124 w 1135"/>
                <a:gd name="T33" fmla="*/ 45 h 102"/>
                <a:gd name="T34" fmla="*/ 1122 w 1135"/>
                <a:gd name="T35" fmla="*/ 41 h 102"/>
                <a:gd name="T36" fmla="*/ 1119 w 1135"/>
                <a:gd name="T37" fmla="*/ 36 h 102"/>
                <a:gd name="T38" fmla="*/ 1115 w 1135"/>
                <a:gd name="T39" fmla="*/ 32 h 102"/>
                <a:gd name="T40" fmla="*/ 1109 w 1135"/>
                <a:gd name="T41" fmla="*/ 26 h 102"/>
                <a:gd name="T42" fmla="*/ 1103 w 1135"/>
                <a:gd name="T43" fmla="*/ 22 h 102"/>
                <a:gd name="T44" fmla="*/ 1096 w 1135"/>
                <a:gd name="T45" fmla="*/ 19 h 102"/>
                <a:gd name="T46" fmla="*/ 1089 w 1135"/>
                <a:gd name="T47" fmla="*/ 15 h 102"/>
                <a:gd name="T48" fmla="*/ 1071 w 1135"/>
                <a:gd name="T49" fmla="*/ 9 h 102"/>
                <a:gd name="T50" fmla="*/ 1050 w 1135"/>
                <a:gd name="T51" fmla="*/ 5 h 102"/>
                <a:gd name="T52" fmla="*/ 1027 w 1135"/>
                <a:gd name="T53" fmla="*/ 2 h 102"/>
                <a:gd name="T54" fmla="*/ 1002 w 1135"/>
                <a:gd name="T55" fmla="*/ 1 h 102"/>
                <a:gd name="T56" fmla="*/ 67 w 1135"/>
                <a:gd name="T57" fmla="*/ 0 h 102"/>
                <a:gd name="T58" fmla="*/ 67 w 1135"/>
                <a:gd name="T59" fmla="*/ 0 h 102"/>
                <a:gd name="T60" fmla="*/ 45 w 1135"/>
                <a:gd name="T61" fmla="*/ 1 h 102"/>
                <a:gd name="T62" fmla="*/ 28 w 1135"/>
                <a:gd name="T63" fmla="*/ 3 h 102"/>
                <a:gd name="T64" fmla="*/ 22 w 1135"/>
                <a:gd name="T65" fmla="*/ 5 h 102"/>
                <a:gd name="T66" fmla="*/ 16 w 1135"/>
                <a:gd name="T67" fmla="*/ 7 h 102"/>
                <a:gd name="T68" fmla="*/ 12 w 1135"/>
                <a:gd name="T69" fmla="*/ 9 h 102"/>
                <a:gd name="T70" fmla="*/ 8 w 1135"/>
                <a:gd name="T71" fmla="*/ 12 h 102"/>
                <a:gd name="T72" fmla="*/ 5 w 1135"/>
                <a:gd name="T73" fmla="*/ 15 h 102"/>
                <a:gd name="T74" fmla="*/ 3 w 1135"/>
                <a:gd name="T75" fmla="*/ 19 h 102"/>
                <a:gd name="T76" fmla="*/ 1 w 1135"/>
                <a:gd name="T77" fmla="*/ 26 h 102"/>
                <a:gd name="T78" fmla="*/ 0 w 1135"/>
                <a:gd name="T79" fmla="*/ 36 h 102"/>
                <a:gd name="T80" fmla="*/ 0 w 1135"/>
                <a:gd name="T81" fmla="*/ 45 h 102"/>
                <a:gd name="T82" fmla="*/ 0 w 1135"/>
                <a:gd name="T83" fmla="*/ 49 h 102"/>
                <a:gd name="T84" fmla="*/ 0 w 1135"/>
                <a:gd name="T85" fmla="*/ 49 h 102"/>
                <a:gd name="T86" fmla="*/ 0 w 1135"/>
                <a:gd name="T87" fmla="*/ 58 h 102"/>
                <a:gd name="T88" fmla="*/ 1 w 1135"/>
                <a:gd name="T89" fmla="*/ 68 h 102"/>
                <a:gd name="T90" fmla="*/ 3 w 1135"/>
                <a:gd name="T91" fmla="*/ 78 h 102"/>
                <a:gd name="T92" fmla="*/ 5 w 1135"/>
                <a:gd name="T93" fmla="*/ 82 h 102"/>
                <a:gd name="T94" fmla="*/ 8 w 1135"/>
                <a:gd name="T95" fmla="*/ 85 h 102"/>
                <a:gd name="T96" fmla="*/ 12 w 1135"/>
                <a:gd name="T97" fmla="*/ 89 h 102"/>
                <a:gd name="T98" fmla="*/ 16 w 1135"/>
                <a:gd name="T99" fmla="*/ 92 h 102"/>
                <a:gd name="T100" fmla="*/ 22 w 1135"/>
                <a:gd name="T101" fmla="*/ 94 h 102"/>
                <a:gd name="T102" fmla="*/ 28 w 1135"/>
                <a:gd name="T103" fmla="*/ 97 h 102"/>
                <a:gd name="T104" fmla="*/ 36 w 1135"/>
                <a:gd name="T105" fmla="*/ 99 h 102"/>
                <a:gd name="T106" fmla="*/ 45 w 1135"/>
                <a:gd name="T107" fmla="*/ 100 h 102"/>
                <a:gd name="T108" fmla="*/ 56 w 1135"/>
                <a:gd name="T109" fmla="*/ 101 h 102"/>
                <a:gd name="T110" fmla="*/ 67 w 1135"/>
                <a:gd name="T111" fmla="*/ 101 h 102"/>
                <a:gd name="T112" fmla="*/ 1096 w 1135"/>
                <a:gd name="T11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35" h="102">
                  <a:moveTo>
                    <a:pt x="1096" y="102"/>
                  </a:moveTo>
                  <a:lnTo>
                    <a:pt x="1096" y="102"/>
                  </a:lnTo>
                  <a:lnTo>
                    <a:pt x="1117" y="101"/>
                  </a:lnTo>
                  <a:lnTo>
                    <a:pt x="1124" y="100"/>
                  </a:lnTo>
                  <a:lnTo>
                    <a:pt x="1129" y="99"/>
                  </a:lnTo>
                  <a:lnTo>
                    <a:pt x="1132" y="97"/>
                  </a:lnTo>
                  <a:lnTo>
                    <a:pt x="1134" y="94"/>
                  </a:lnTo>
                  <a:lnTo>
                    <a:pt x="1135" y="92"/>
                  </a:lnTo>
                  <a:lnTo>
                    <a:pt x="1135" y="88"/>
                  </a:lnTo>
                  <a:lnTo>
                    <a:pt x="1133" y="81"/>
                  </a:lnTo>
                  <a:lnTo>
                    <a:pt x="1129" y="72"/>
                  </a:lnTo>
                  <a:lnTo>
                    <a:pt x="1126" y="63"/>
                  </a:lnTo>
                  <a:lnTo>
                    <a:pt x="1125" y="58"/>
                  </a:lnTo>
                  <a:lnTo>
                    <a:pt x="1124" y="53"/>
                  </a:lnTo>
                  <a:lnTo>
                    <a:pt x="1124" y="50"/>
                  </a:lnTo>
                  <a:lnTo>
                    <a:pt x="1124" y="50"/>
                  </a:lnTo>
                  <a:lnTo>
                    <a:pt x="1124" y="45"/>
                  </a:lnTo>
                  <a:lnTo>
                    <a:pt x="1122" y="41"/>
                  </a:lnTo>
                  <a:lnTo>
                    <a:pt x="1119" y="36"/>
                  </a:lnTo>
                  <a:lnTo>
                    <a:pt x="1115" y="32"/>
                  </a:lnTo>
                  <a:lnTo>
                    <a:pt x="1109" y="26"/>
                  </a:lnTo>
                  <a:lnTo>
                    <a:pt x="1103" y="22"/>
                  </a:lnTo>
                  <a:lnTo>
                    <a:pt x="1096" y="19"/>
                  </a:lnTo>
                  <a:lnTo>
                    <a:pt x="1089" y="15"/>
                  </a:lnTo>
                  <a:lnTo>
                    <a:pt x="1071" y="9"/>
                  </a:lnTo>
                  <a:lnTo>
                    <a:pt x="1050" y="5"/>
                  </a:lnTo>
                  <a:lnTo>
                    <a:pt x="1027" y="2"/>
                  </a:lnTo>
                  <a:lnTo>
                    <a:pt x="1002" y="1"/>
                  </a:lnTo>
                  <a:lnTo>
                    <a:pt x="67" y="0"/>
                  </a:lnTo>
                  <a:lnTo>
                    <a:pt x="67" y="0"/>
                  </a:lnTo>
                  <a:lnTo>
                    <a:pt x="45" y="1"/>
                  </a:lnTo>
                  <a:lnTo>
                    <a:pt x="28" y="3"/>
                  </a:lnTo>
                  <a:lnTo>
                    <a:pt x="22" y="5"/>
                  </a:lnTo>
                  <a:lnTo>
                    <a:pt x="16" y="7"/>
                  </a:lnTo>
                  <a:lnTo>
                    <a:pt x="12" y="9"/>
                  </a:lnTo>
                  <a:lnTo>
                    <a:pt x="8" y="12"/>
                  </a:lnTo>
                  <a:lnTo>
                    <a:pt x="5" y="15"/>
                  </a:lnTo>
                  <a:lnTo>
                    <a:pt x="3" y="19"/>
                  </a:lnTo>
                  <a:lnTo>
                    <a:pt x="1" y="26"/>
                  </a:lnTo>
                  <a:lnTo>
                    <a:pt x="0" y="36"/>
                  </a:lnTo>
                  <a:lnTo>
                    <a:pt x="0" y="45"/>
                  </a:lnTo>
                  <a:lnTo>
                    <a:pt x="0" y="49"/>
                  </a:lnTo>
                  <a:lnTo>
                    <a:pt x="0" y="49"/>
                  </a:lnTo>
                  <a:lnTo>
                    <a:pt x="0" y="58"/>
                  </a:lnTo>
                  <a:lnTo>
                    <a:pt x="1" y="68"/>
                  </a:lnTo>
                  <a:lnTo>
                    <a:pt x="3" y="78"/>
                  </a:lnTo>
                  <a:lnTo>
                    <a:pt x="5" y="82"/>
                  </a:lnTo>
                  <a:lnTo>
                    <a:pt x="8" y="85"/>
                  </a:lnTo>
                  <a:lnTo>
                    <a:pt x="12" y="89"/>
                  </a:lnTo>
                  <a:lnTo>
                    <a:pt x="16" y="92"/>
                  </a:lnTo>
                  <a:lnTo>
                    <a:pt x="22" y="94"/>
                  </a:lnTo>
                  <a:lnTo>
                    <a:pt x="28" y="97"/>
                  </a:lnTo>
                  <a:lnTo>
                    <a:pt x="36" y="99"/>
                  </a:lnTo>
                  <a:lnTo>
                    <a:pt x="45" y="100"/>
                  </a:lnTo>
                  <a:lnTo>
                    <a:pt x="56" y="101"/>
                  </a:lnTo>
                  <a:lnTo>
                    <a:pt x="67" y="101"/>
                  </a:lnTo>
                  <a:lnTo>
                    <a:pt x="1096" y="102"/>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59" name="Freeform 1961"/>
            <p:cNvSpPr>
              <a:spLocks/>
            </p:cNvSpPr>
            <p:nvPr/>
          </p:nvSpPr>
          <p:spPr bwMode="auto">
            <a:xfrm>
              <a:off x="4676211" y="2697010"/>
              <a:ext cx="173182" cy="507738"/>
            </a:xfrm>
            <a:custGeom>
              <a:avLst/>
              <a:gdLst>
                <a:gd name="T0" fmla="*/ 463 w 793"/>
                <a:gd name="T1" fmla="*/ 186 h 2324"/>
                <a:gd name="T2" fmla="*/ 458 w 793"/>
                <a:gd name="T3" fmla="*/ 163 h 2324"/>
                <a:gd name="T4" fmla="*/ 442 w 793"/>
                <a:gd name="T5" fmla="*/ 121 h 2324"/>
                <a:gd name="T6" fmla="*/ 417 w 793"/>
                <a:gd name="T7" fmla="*/ 85 h 2324"/>
                <a:gd name="T8" fmla="*/ 388 w 793"/>
                <a:gd name="T9" fmla="*/ 54 h 2324"/>
                <a:gd name="T10" fmla="*/ 352 w 793"/>
                <a:gd name="T11" fmla="*/ 29 h 2324"/>
                <a:gd name="T12" fmla="*/ 313 w 793"/>
                <a:gd name="T13" fmla="*/ 11 h 2324"/>
                <a:gd name="T14" fmla="*/ 270 w 793"/>
                <a:gd name="T15" fmla="*/ 2 h 2324"/>
                <a:gd name="T16" fmla="*/ 225 w 793"/>
                <a:gd name="T17" fmla="*/ 0 h 2324"/>
                <a:gd name="T18" fmla="*/ 187 w 793"/>
                <a:gd name="T19" fmla="*/ 6 h 2324"/>
                <a:gd name="T20" fmla="*/ 165 w 793"/>
                <a:gd name="T21" fmla="*/ 11 h 2324"/>
                <a:gd name="T22" fmla="*/ 123 w 793"/>
                <a:gd name="T23" fmla="*/ 27 h 2324"/>
                <a:gd name="T24" fmla="*/ 86 w 793"/>
                <a:gd name="T25" fmla="*/ 51 h 2324"/>
                <a:gd name="T26" fmla="*/ 54 w 793"/>
                <a:gd name="T27" fmla="*/ 80 h 2324"/>
                <a:gd name="T28" fmla="*/ 30 w 793"/>
                <a:gd name="T29" fmla="*/ 116 h 2324"/>
                <a:gd name="T30" fmla="*/ 13 w 793"/>
                <a:gd name="T31" fmla="*/ 156 h 2324"/>
                <a:gd name="T32" fmla="*/ 2 w 793"/>
                <a:gd name="T33" fmla="*/ 199 h 2324"/>
                <a:gd name="T34" fmla="*/ 1 w 793"/>
                <a:gd name="T35" fmla="*/ 243 h 2324"/>
                <a:gd name="T36" fmla="*/ 331 w 793"/>
                <a:gd name="T37" fmla="*/ 2138 h 2324"/>
                <a:gd name="T38" fmla="*/ 335 w 793"/>
                <a:gd name="T39" fmla="*/ 2159 h 2324"/>
                <a:gd name="T40" fmla="*/ 351 w 793"/>
                <a:gd name="T41" fmla="*/ 2199 h 2324"/>
                <a:gd name="T42" fmla="*/ 373 w 793"/>
                <a:gd name="T43" fmla="*/ 2234 h 2324"/>
                <a:gd name="T44" fmla="*/ 401 w 793"/>
                <a:gd name="T45" fmla="*/ 2265 h 2324"/>
                <a:gd name="T46" fmla="*/ 432 w 793"/>
                <a:gd name="T47" fmla="*/ 2290 h 2324"/>
                <a:gd name="T48" fmla="*/ 469 w 793"/>
                <a:gd name="T49" fmla="*/ 2308 h 2324"/>
                <a:gd name="T50" fmla="*/ 509 w 793"/>
                <a:gd name="T51" fmla="*/ 2320 h 2324"/>
                <a:gd name="T52" fmla="*/ 551 w 793"/>
                <a:gd name="T53" fmla="*/ 2324 h 2324"/>
                <a:gd name="T54" fmla="*/ 572 w 793"/>
                <a:gd name="T55" fmla="*/ 2323 h 2324"/>
                <a:gd name="T56" fmla="*/ 685 w 793"/>
                <a:gd name="T57" fmla="*/ 2227 h 2324"/>
                <a:gd name="T58" fmla="*/ 792 w 793"/>
                <a:gd name="T59" fmla="*/ 2123 h 2324"/>
                <a:gd name="T60" fmla="*/ 793 w 793"/>
                <a:gd name="T61" fmla="*/ 2108 h 2324"/>
                <a:gd name="T62" fmla="*/ 792 w 793"/>
                <a:gd name="T63" fmla="*/ 2074 h 2324"/>
                <a:gd name="T64" fmla="*/ 790 w 793"/>
                <a:gd name="T65" fmla="*/ 2058 h 2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3" h="2324">
                  <a:moveTo>
                    <a:pt x="790" y="2058"/>
                  </a:moveTo>
                  <a:lnTo>
                    <a:pt x="463" y="186"/>
                  </a:lnTo>
                  <a:lnTo>
                    <a:pt x="463" y="186"/>
                  </a:lnTo>
                  <a:lnTo>
                    <a:pt x="458" y="163"/>
                  </a:lnTo>
                  <a:lnTo>
                    <a:pt x="451" y="142"/>
                  </a:lnTo>
                  <a:lnTo>
                    <a:pt x="442" y="121"/>
                  </a:lnTo>
                  <a:lnTo>
                    <a:pt x="430" y="103"/>
                  </a:lnTo>
                  <a:lnTo>
                    <a:pt x="417" y="85"/>
                  </a:lnTo>
                  <a:lnTo>
                    <a:pt x="403" y="68"/>
                  </a:lnTo>
                  <a:lnTo>
                    <a:pt x="388" y="54"/>
                  </a:lnTo>
                  <a:lnTo>
                    <a:pt x="370" y="41"/>
                  </a:lnTo>
                  <a:lnTo>
                    <a:pt x="352" y="29"/>
                  </a:lnTo>
                  <a:lnTo>
                    <a:pt x="332" y="19"/>
                  </a:lnTo>
                  <a:lnTo>
                    <a:pt x="313" y="11"/>
                  </a:lnTo>
                  <a:lnTo>
                    <a:pt x="291" y="5"/>
                  </a:lnTo>
                  <a:lnTo>
                    <a:pt x="270" y="2"/>
                  </a:lnTo>
                  <a:lnTo>
                    <a:pt x="248" y="0"/>
                  </a:lnTo>
                  <a:lnTo>
                    <a:pt x="225" y="0"/>
                  </a:lnTo>
                  <a:lnTo>
                    <a:pt x="202" y="3"/>
                  </a:lnTo>
                  <a:lnTo>
                    <a:pt x="187" y="6"/>
                  </a:lnTo>
                  <a:lnTo>
                    <a:pt x="187" y="6"/>
                  </a:lnTo>
                  <a:lnTo>
                    <a:pt x="165" y="11"/>
                  </a:lnTo>
                  <a:lnTo>
                    <a:pt x="143" y="18"/>
                  </a:lnTo>
                  <a:lnTo>
                    <a:pt x="123" y="27"/>
                  </a:lnTo>
                  <a:lnTo>
                    <a:pt x="103" y="39"/>
                  </a:lnTo>
                  <a:lnTo>
                    <a:pt x="86" y="51"/>
                  </a:lnTo>
                  <a:lnTo>
                    <a:pt x="70" y="65"/>
                  </a:lnTo>
                  <a:lnTo>
                    <a:pt x="54" y="80"/>
                  </a:lnTo>
                  <a:lnTo>
                    <a:pt x="41" y="98"/>
                  </a:lnTo>
                  <a:lnTo>
                    <a:pt x="30" y="116"/>
                  </a:lnTo>
                  <a:lnTo>
                    <a:pt x="20" y="136"/>
                  </a:lnTo>
                  <a:lnTo>
                    <a:pt x="13" y="156"/>
                  </a:lnTo>
                  <a:lnTo>
                    <a:pt x="6" y="177"/>
                  </a:lnTo>
                  <a:lnTo>
                    <a:pt x="2" y="199"/>
                  </a:lnTo>
                  <a:lnTo>
                    <a:pt x="0" y="220"/>
                  </a:lnTo>
                  <a:lnTo>
                    <a:pt x="1" y="243"/>
                  </a:lnTo>
                  <a:lnTo>
                    <a:pt x="4" y="266"/>
                  </a:lnTo>
                  <a:lnTo>
                    <a:pt x="331" y="2138"/>
                  </a:lnTo>
                  <a:lnTo>
                    <a:pt x="331" y="2138"/>
                  </a:lnTo>
                  <a:lnTo>
                    <a:pt x="335" y="2159"/>
                  </a:lnTo>
                  <a:lnTo>
                    <a:pt x="343" y="2179"/>
                  </a:lnTo>
                  <a:lnTo>
                    <a:pt x="351" y="2199"/>
                  </a:lnTo>
                  <a:lnTo>
                    <a:pt x="361" y="2217"/>
                  </a:lnTo>
                  <a:lnTo>
                    <a:pt x="373" y="2234"/>
                  </a:lnTo>
                  <a:lnTo>
                    <a:pt x="385" y="2250"/>
                  </a:lnTo>
                  <a:lnTo>
                    <a:pt x="401" y="2265"/>
                  </a:lnTo>
                  <a:lnTo>
                    <a:pt x="416" y="2278"/>
                  </a:lnTo>
                  <a:lnTo>
                    <a:pt x="432" y="2290"/>
                  </a:lnTo>
                  <a:lnTo>
                    <a:pt x="451" y="2300"/>
                  </a:lnTo>
                  <a:lnTo>
                    <a:pt x="469" y="2308"/>
                  </a:lnTo>
                  <a:lnTo>
                    <a:pt x="489" y="2315"/>
                  </a:lnTo>
                  <a:lnTo>
                    <a:pt x="509" y="2320"/>
                  </a:lnTo>
                  <a:lnTo>
                    <a:pt x="530" y="2323"/>
                  </a:lnTo>
                  <a:lnTo>
                    <a:pt x="551" y="2324"/>
                  </a:lnTo>
                  <a:lnTo>
                    <a:pt x="572" y="2323"/>
                  </a:lnTo>
                  <a:lnTo>
                    <a:pt x="572" y="2323"/>
                  </a:lnTo>
                  <a:lnTo>
                    <a:pt x="630" y="2276"/>
                  </a:lnTo>
                  <a:lnTo>
                    <a:pt x="685" y="2227"/>
                  </a:lnTo>
                  <a:lnTo>
                    <a:pt x="739" y="2176"/>
                  </a:lnTo>
                  <a:lnTo>
                    <a:pt x="792" y="2123"/>
                  </a:lnTo>
                  <a:lnTo>
                    <a:pt x="792" y="2123"/>
                  </a:lnTo>
                  <a:lnTo>
                    <a:pt x="793" y="2108"/>
                  </a:lnTo>
                  <a:lnTo>
                    <a:pt x="793" y="2091"/>
                  </a:lnTo>
                  <a:lnTo>
                    <a:pt x="792" y="2074"/>
                  </a:lnTo>
                  <a:lnTo>
                    <a:pt x="790" y="2058"/>
                  </a:lnTo>
                  <a:lnTo>
                    <a:pt x="790" y="2058"/>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61" name="Freeform 1963"/>
            <p:cNvSpPr>
              <a:spLocks/>
            </p:cNvSpPr>
            <p:nvPr/>
          </p:nvSpPr>
          <p:spPr bwMode="auto">
            <a:xfrm rot="20135343">
              <a:off x="4686553" y="2733273"/>
              <a:ext cx="63131" cy="157246"/>
            </a:xfrm>
            <a:custGeom>
              <a:avLst/>
              <a:gdLst>
                <a:gd name="T0" fmla="*/ 48 w 252"/>
                <a:gd name="T1" fmla="*/ 643 h 644"/>
                <a:gd name="T2" fmla="*/ 48 w 252"/>
                <a:gd name="T3" fmla="*/ 643 h 644"/>
                <a:gd name="T4" fmla="*/ 54 w 252"/>
                <a:gd name="T5" fmla="*/ 644 h 644"/>
                <a:gd name="T6" fmla="*/ 60 w 252"/>
                <a:gd name="T7" fmla="*/ 644 h 644"/>
                <a:gd name="T8" fmla="*/ 66 w 252"/>
                <a:gd name="T9" fmla="*/ 644 h 644"/>
                <a:gd name="T10" fmla="*/ 72 w 252"/>
                <a:gd name="T11" fmla="*/ 644 h 644"/>
                <a:gd name="T12" fmla="*/ 85 w 252"/>
                <a:gd name="T13" fmla="*/ 641 h 644"/>
                <a:gd name="T14" fmla="*/ 95 w 252"/>
                <a:gd name="T15" fmla="*/ 635 h 644"/>
                <a:gd name="T16" fmla="*/ 104 w 252"/>
                <a:gd name="T17" fmla="*/ 628 h 644"/>
                <a:gd name="T18" fmla="*/ 112 w 252"/>
                <a:gd name="T19" fmla="*/ 620 h 644"/>
                <a:gd name="T20" fmla="*/ 116 w 252"/>
                <a:gd name="T21" fmla="*/ 615 h 644"/>
                <a:gd name="T22" fmla="*/ 119 w 252"/>
                <a:gd name="T23" fmla="*/ 609 h 644"/>
                <a:gd name="T24" fmla="*/ 121 w 252"/>
                <a:gd name="T25" fmla="*/ 603 h 644"/>
                <a:gd name="T26" fmla="*/ 123 w 252"/>
                <a:gd name="T27" fmla="*/ 597 h 644"/>
                <a:gd name="T28" fmla="*/ 250 w 252"/>
                <a:gd name="T29" fmla="*/ 76 h 644"/>
                <a:gd name="T30" fmla="*/ 250 w 252"/>
                <a:gd name="T31" fmla="*/ 76 h 644"/>
                <a:gd name="T32" fmla="*/ 251 w 252"/>
                <a:gd name="T33" fmla="*/ 70 h 644"/>
                <a:gd name="T34" fmla="*/ 252 w 252"/>
                <a:gd name="T35" fmla="*/ 64 h 644"/>
                <a:gd name="T36" fmla="*/ 252 w 252"/>
                <a:gd name="T37" fmla="*/ 58 h 644"/>
                <a:gd name="T38" fmla="*/ 251 w 252"/>
                <a:gd name="T39" fmla="*/ 52 h 644"/>
                <a:gd name="T40" fmla="*/ 248 w 252"/>
                <a:gd name="T41" fmla="*/ 39 h 644"/>
                <a:gd name="T42" fmla="*/ 243 w 252"/>
                <a:gd name="T43" fmla="*/ 29 h 644"/>
                <a:gd name="T44" fmla="*/ 236 w 252"/>
                <a:gd name="T45" fmla="*/ 20 h 644"/>
                <a:gd name="T46" fmla="*/ 227 w 252"/>
                <a:gd name="T47" fmla="*/ 12 h 644"/>
                <a:gd name="T48" fmla="*/ 221 w 252"/>
                <a:gd name="T49" fmla="*/ 8 h 644"/>
                <a:gd name="T50" fmla="*/ 216 w 252"/>
                <a:gd name="T51" fmla="*/ 5 h 644"/>
                <a:gd name="T52" fmla="*/ 210 w 252"/>
                <a:gd name="T53" fmla="*/ 3 h 644"/>
                <a:gd name="T54" fmla="*/ 205 w 252"/>
                <a:gd name="T55" fmla="*/ 1 h 644"/>
                <a:gd name="T56" fmla="*/ 205 w 252"/>
                <a:gd name="T57" fmla="*/ 1 h 644"/>
                <a:gd name="T58" fmla="*/ 205 w 252"/>
                <a:gd name="T59" fmla="*/ 1 h 644"/>
                <a:gd name="T60" fmla="*/ 198 w 252"/>
                <a:gd name="T61" fmla="*/ 0 h 644"/>
                <a:gd name="T62" fmla="*/ 192 w 252"/>
                <a:gd name="T63" fmla="*/ 0 h 644"/>
                <a:gd name="T64" fmla="*/ 186 w 252"/>
                <a:gd name="T65" fmla="*/ 0 h 644"/>
                <a:gd name="T66" fmla="*/ 180 w 252"/>
                <a:gd name="T67" fmla="*/ 0 h 644"/>
                <a:gd name="T68" fmla="*/ 168 w 252"/>
                <a:gd name="T69" fmla="*/ 3 h 644"/>
                <a:gd name="T70" fmla="*/ 157 w 252"/>
                <a:gd name="T71" fmla="*/ 8 h 644"/>
                <a:gd name="T72" fmla="*/ 148 w 252"/>
                <a:gd name="T73" fmla="*/ 15 h 644"/>
                <a:gd name="T74" fmla="*/ 140 w 252"/>
                <a:gd name="T75" fmla="*/ 24 h 644"/>
                <a:gd name="T76" fmla="*/ 137 w 252"/>
                <a:gd name="T77" fmla="*/ 29 h 644"/>
                <a:gd name="T78" fmla="*/ 134 w 252"/>
                <a:gd name="T79" fmla="*/ 34 h 644"/>
                <a:gd name="T80" fmla="*/ 132 w 252"/>
                <a:gd name="T81" fmla="*/ 40 h 644"/>
                <a:gd name="T82" fmla="*/ 130 w 252"/>
                <a:gd name="T83" fmla="*/ 47 h 644"/>
                <a:gd name="T84" fmla="*/ 2 w 252"/>
                <a:gd name="T85" fmla="*/ 568 h 644"/>
                <a:gd name="T86" fmla="*/ 2 w 252"/>
                <a:gd name="T87" fmla="*/ 568 h 644"/>
                <a:gd name="T88" fmla="*/ 1 w 252"/>
                <a:gd name="T89" fmla="*/ 574 h 644"/>
                <a:gd name="T90" fmla="*/ 0 w 252"/>
                <a:gd name="T91" fmla="*/ 580 h 644"/>
                <a:gd name="T92" fmla="*/ 1 w 252"/>
                <a:gd name="T93" fmla="*/ 586 h 644"/>
                <a:gd name="T94" fmla="*/ 1 w 252"/>
                <a:gd name="T95" fmla="*/ 592 h 644"/>
                <a:gd name="T96" fmla="*/ 4 w 252"/>
                <a:gd name="T97" fmla="*/ 603 h 644"/>
                <a:gd name="T98" fmla="*/ 9 w 252"/>
                <a:gd name="T99" fmla="*/ 615 h 644"/>
                <a:gd name="T100" fmla="*/ 16 w 252"/>
                <a:gd name="T101" fmla="*/ 624 h 644"/>
                <a:gd name="T102" fmla="*/ 25 w 252"/>
                <a:gd name="T103" fmla="*/ 632 h 644"/>
                <a:gd name="T104" fmla="*/ 30 w 252"/>
                <a:gd name="T105" fmla="*/ 636 h 644"/>
                <a:gd name="T106" fmla="*/ 36 w 252"/>
                <a:gd name="T107" fmla="*/ 638 h 644"/>
                <a:gd name="T108" fmla="*/ 42 w 252"/>
                <a:gd name="T109" fmla="*/ 641 h 644"/>
                <a:gd name="T110" fmla="*/ 48 w 252"/>
                <a:gd name="T111" fmla="*/ 643 h 644"/>
                <a:gd name="T112" fmla="*/ 48 w 252"/>
                <a:gd name="T113" fmla="*/ 64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2" h="644">
                  <a:moveTo>
                    <a:pt x="48" y="643"/>
                  </a:moveTo>
                  <a:lnTo>
                    <a:pt x="48" y="643"/>
                  </a:lnTo>
                  <a:lnTo>
                    <a:pt x="54" y="644"/>
                  </a:lnTo>
                  <a:lnTo>
                    <a:pt x="60" y="644"/>
                  </a:lnTo>
                  <a:lnTo>
                    <a:pt x="66" y="644"/>
                  </a:lnTo>
                  <a:lnTo>
                    <a:pt x="72" y="644"/>
                  </a:lnTo>
                  <a:lnTo>
                    <a:pt x="85" y="641"/>
                  </a:lnTo>
                  <a:lnTo>
                    <a:pt x="95" y="635"/>
                  </a:lnTo>
                  <a:lnTo>
                    <a:pt x="104" y="628"/>
                  </a:lnTo>
                  <a:lnTo>
                    <a:pt x="112" y="620"/>
                  </a:lnTo>
                  <a:lnTo>
                    <a:pt x="116" y="615"/>
                  </a:lnTo>
                  <a:lnTo>
                    <a:pt x="119" y="609"/>
                  </a:lnTo>
                  <a:lnTo>
                    <a:pt x="121" y="603"/>
                  </a:lnTo>
                  <a:lnTo>
                    <a:pt x="123" y="597"/>
                  </a:lnTo>
                  <a:lnTo>
                    <a:pt x="250" y="76"/>
                  </a:lnTo>
                  <a:lnTo>
                    <a:pt x="250" y="76"/>
                  </a:lnTo>
                  <a:lnTo>
                    <a:pt x="251" y="70"/>
                  </a:lnTo>
                  <a:lnTo>
                    <a:pt x="252" y="64"/>
                  </a:lnTo>
                  <a:lnTo>
                    <a:pt x="252" y="58"/>
                  </a:lnTo>
                  <a:lnTo>
                    <a:pt x="251" y="52"/>
                  </a:lnTo>
                  <a:lnTo>
                    <a:pt x="248" y="39"/>
                  </a:lnTo>
                  <a:lnTo>
                    <a:pt x="243" y="29"/>
                  </a:lnTo>
                  <a:lnTo>
                    <a:pt x="236" y="20"/>
                  </a:lnTo>
                  <a:lnTo>
                    <a:pt x="227" y="12"/>
                  </a:lnTo>
                  <a:lnTo>
                    <a:pt x="221" y="8"/>
                  </a:lnTo>
                  <a:lnTo>
                    <a:pt x="216" y="5"/>
                  </a:lnTo>
                  <a:lnTo>
                    <a:pt x="210" y="3"/>
                  </a:lnTo>
                  <a:lnTo>
                    <a:pt x="205" y="1"/>
                  </a:lnTo>
                  <a:lnTo>
                    <a:pt x="205" y="1"/>
                  </a:lnTo>
                  <a:lnTo>
                    <a:pt x="205" y="1"/>
                  </a:lnTo>
                  <a:lnTo>
                    <a:pt x="198" y="0"/>
                  </a:lnTo>
                  <a:lnTo>
                    <a:pt x="192" y="0"/>
                  </a:lnTo>
                  <a:lnTo>
                    <a:pt x="186" y="0"/>
                  </a:lnTo>
                  <a:lnTo>
                    <a:pt x="180" y="0"/>
                  </a:lnTo>
                  <a:lnTo>
                    <a:pt x="168" y="3"/>
                  </a:lnTo>
                  <a:lnTo>
                    <a:pt x="157" y="8"/>
                  </a:lnTo>
                  <a:lnTo>
                    <a:pt x="148" y="15"/>
                  </a:lnTo>
                  <a:lnTo>
                    <a:pt x="140" y="24"/>
                  </a:lnTo>
                  <a:lnTo>
                    <a:pt x="137" y="29"/>
                  </a:lnTo>
                  <a:lnTo>
                    <a:pt x="134" y="34"/>
                  </a:lnTo>
                  <a:lnTo>
                    <a:pt x="132" y="40"/>
                  </a:lnTo>
                  <a:lnTo>
                    <a:pt x="130" y="47"/>
                  </a:lnTo>
                  <a:lnTo>
                    <a:pt x="2" y="568"/>
                  </a:lnTo>
                  <a:lnTo>
                    <a:pt x="2" y="568"/>
                  </a:lnTo>
                  <a:lnTo>
                    <a:pt x="1" y="574"/>
                  </a:lnTo>
                  <a:lnTo>
                    <a:pt x="0" y="580"/>
                  </a:lnTo>
                  <a:lnTo>
                    <a:pt x="1" y="586"/>
                  </a:lnTo>
                  <a:lnTo>
                    <a:pt x="1" y="592"/>
                  </a:lnTo>
                  <a:lnTo>
                    <a:pt x="4" y="603"/>
                  </a:lnTo>
                  <a:lnTo>
                    <a:pt x="9" y="615"/>
                  </a:lnTo>
                  <a:lnTo>
                    <a:pt x="16" y="624"/>
                  </a:lnTo>
                  <a:lnTo>
                    <a:pt x="25" y="632"/>
                  </a:lnTo>
                  <a:lnTo>
                    <a:pt x="30" y="636"/>
                  </a:lnTo>
                  <a:lnTo>
                    <a:pt x="36" y="638"/>
                  </a:lnTo>
                  <a:lnTo>
                    <a:pt x="42" y="641"/>
                  </a:lnTo>
                  <a:lnTo>
                    <a:pt x="48" y="643"/>
                  </a:lnTo>
                  <a:lnTo>
                    <a:pt x="48" y="643"/>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62" name="Freeform 1964"/>
            <p:cNvSpPr>
              <a:spLocks/>
            </p:cNvSpPr>
            <p:nvPr/>
          </p:nvSpPr>
          <p:spPr bwMode="auto">
            <a:xfrm>
              <a:off x="4065579" y="2697010"/>
              <a:ext cx="369422" cy="608760"/>
            </a:xfrm>
            <a:custGeom>
              <a:avLst/>
              <a:gdLst>
                <a:gd name="T0" fmla="*/ 763 w 1849"/>
                <a:gd name="T1" fmla="*/ 1900 h 2786"/>
                <a:gd name="T2" fmla="*/ 463 w 1849"/>
                <a:gd name="T3" fmla="*/ 186 h 2786"/>
                <a:gd name="T4" fmla="*/ 451 w 1849"/>
                <a:gd name="T5" fmla="*/ 142 h 2786"/>
                <a:gd name="T6" fmla="*/ 431 w 1849"/>
                <a:gd name="T7" fmla="*/ 103 h 2786"/>
                <a:gd name="T8" fmla="*/ 403 w 1849"/>
                <a:gd name="T9" fmla="*/ 68 h 2786"/>
                <a:gd name="T10" fmla="*/ 370 w 1849"/>
                <a:gd name="T11" fmla="*/ 41 h 2786"/>
                <a:gd name="T12" fmla="*/ 334 w 1849"/>
                <a:gd name="T13" fmla="*/ 19 h 2786"/>
                <a:gd name="T14" fmla="*/ 292 w 1849"/>
                <a:gd name="T15" fmla="*/ 5 h 2786"/>
                <a:gd name="T16" fmla="*/ 248 w 1849"/>
                <a:gd name="T17" fmla="*/ 0 h 2786"/>
                <a:gd name="T18" fmla="*/ 203 w 1849"/>
                <a:gd name="T19" fmla="*/ 3 h 2786"/>
                <a:gd name="T20" fmla="*/ 187 w 1849"/>
                <a:gd name="T21" fmla="*/ 6 h 2786"/>
                <a:gd name="T22" fmla="*/ 143 w 1849"/>
                <a:gd name="T23" fmla="*/ 18 h 2786"/>
                <a:gd name="T24" fmla="*/ 104 w 1849"/>
                <a:gd name="T25" fmla="*/ 39 h 2786"/>
                <a:gd name="T26" fmla="*/ 70 w 1849"/>
                <a:gd name="T27" fmla="*/ 65 h 2786"/>
                <a:gd name="T28" fmla="*/ 41 w 1849"/>
                <a:gd name="T29" fmla="*/ 98 h 2786"/>
                <a:gd name="T30" fmla="*/ 21 w 1849"/>
                <a:gd name="T31" fmla="*/ 136 h 2786"/>
                <a:gd name="T32" fmla="*/ 7 w 1849"/>
                <a:gd name="T33" fmla="*/ 177 h 2786"/>
                <a:gd name="T34" fmla="*/ 0 w 1849"/>
                <a:gd name="T35" fmla="*/ 220 h 2786"/>
                <a:gd name="T36" fmla="*/ 5 w 1849"/>
                <a:gd name="T37" fmla="*/ 266 h 2786"/>
                <a:gd name="T38" fmla="*/ 324 w 1849"/>
                <a:gd name="T39" fmla="*/ 2099 h 2786"/>
                <a:gd name="T40" fmla="*/ 388 w 1849"/>
                <a:gd name="T41" fmla="*/ 2163 h 2786"/>
                <a:gd name="T42" fmla="*/ 453 w 1849"/>
                <a:gd name="T43" fmla="*/ 2225 h 2786"/>
                <a:gd name="T44" fmla="*/ 521 w 1849"/>
                <a:gd name="T45" fmla="*/ 2286 h 2786"/>
                <a:gd name="T46" fmla="*/ 591 w 1849"/>
                <a:gd name="T47" fmla="*/ 2342 h 2786"/>
                <a:gd name="T48" fmla="*/ 664 w 1849"/>
                <a:gd name="T49" fmla="*/ 2396 h 2786"/>
                <a:gd name="T50" fmla="*/ 738 w 1849"/>
                <a:gd name="T51" fmla="*/ 2448 h 2786"/>
                <a:gd name="T52" fmla="*/ 816 w 1849"/>
                <a:gd name="T53" fmla="*/ 2496 h 2786"/>
                <a:gd name="T54" fmla="*/ 895 w 1849"/>
                <a:gd name="T55" fmla="*/ 2541 h 2786"/>
                <a:gd name="T56" fmla="*/ 975 w 1849"/>
                <a:gd name="T57" fmla="*/ 2584 h 2786"/>
                <a:gd name="T58" fmla="*/ 1058 w 1849"/>
                <a:gd name="T59" fmla="*/ 2623 h 2786"/>
                <a:gd name="T60" fmla="*/ 1142 w 1849"/>
                <a:gd name="T61" fmla="*/ 2659 h 2786"/>
                <a:gd name="T62" fmla="*/ 1229 w 1849"/>
                <a:gd name="T63" fmla="*/ 2691 h 2786"/>
                <a:gd name="T64" fmla="*/ 1316 w 1849"/>
                <a:gd name="T65" fmla="*/ 2720 h 2786"/>
                <a:gd name="T66" fmla="*/ 1405 w 1849"/>
                <a:gd name="T67" fmla="*/ 2745 h 2786"/>
                <a:gd name="T68" fmla="*/ 1495 w 1849"/>
                <a:gd name="T69" fmla="*/ 2768 h 2786"/>
                <a:gd name="T70" fmla="*/ 1588 w 1849"/>
                <a:gd name="T71" fmla="*/ 2786 h 2786"/>
                <a:gd name="T72" fmla="*/ 1710 w 1849"/>
                <a:gd name="T73" fmla="*/ 2339 h 2786"/>
                <a:gd name="T74" fmla="*/ 1725 w 1849"/>
                <a:gd name="T75" fmla="*/ 2338 h 2786"/>
                <a:gd name="T76" fmla="*/ 1753 w 1849"/>
                <a:gd name="T77" fmla="*/ 2327 h 2786"/>
                <a:gd name="T78" fmla="*/ 1778 w 1849"/>
                <a:gd name="T79" fmla="*/ 2310 h 2786"/>
                <a:gd name="T80" fmla="*/ 1801 w 1849"/>
                <a:gd name="T81" fmla="*/ 2285 h 2786"/>
                <a:gd name="T82" fmla="*/ 1819 w 1849"/>
                <a:gd name="T83" fmla="*/ 2254 h 2786"/>
                <a:gd name="T84" fmla="*/ 1835 w 1849"/>
                <a:gd name="T85" fmla="*/ 2217 h 2786"/>
                <a:gd name="T86" fmla="*/ 1844 w 1849"/>
                <a:gd name="T87" fmla="*/ 2176 h 2786"/>
                <a:gd name="T88" fmla="*/ 1849 w 1849"/>
                <a:gd name="T89" fmla="*/ 2132 h 2786"/>
                <a:gd name="T90" fmla="*/ 1848 w 1849"/>
                <a:gd name="T91" fmla="*/ 2095 h 2786"/>
                <a:gd name="T92" fmla="*/ 1847 w 1849"/>
                <a:gd name="T93" fmla="*/ 2071 h 2786"/>
                <a:gd name="T94" fmla="*/ 1840 w 1849"/>
                <a:gd name="T95" fmla="*/ 2027 h 2786"/>
                <a:gd name="T96" fmla="*/ 1827 w 1849"/>
                <a:gd name="T97" fmla="*/ 1987 h 2786"/>
                <a:gd name="T98" fmla="*/ 1811 w 1849"/>
                <a:gd name="T99" fmla="*/ 1951 h 2786"/>
                <a:gd name="T100" fmla="*/ 1791 w 1849"/>
                <a:gd name="T101" fmla="*/ 1922 h 2786"/>
                <a:gd name="T102" fmla="*/ 1767 w 1849"/>
                <a:gd name="T103" fmla="*/ 1898 h 2786"/>
                <a:gd name="T104" fmla="*/ 1741 w 1849"/>
                <a:gd name="T105" fmla="*/ 1882 h 2786"/>
                <a:gd name="T106" fmla="*/ 1712 w 1849"/>
                <a:gd name="T107" fmla="*/ 1874 h 2786"/>
                <a:gd name="T108" fmla="*/ 1697 w 1849"/>
                <a:gd name="T109" fmla="*/ 1873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9" h="2786">
                  <a:moveTo>
                    <a:pt x="1697" y="1873"/>
                  </a:moveTo>
                  <a:lnTo>
                    <a:pt x="763" y="1900"/>
                  </a:lnTo>
                  <a:lnTo>
                    <a:pt x="463" y="186"/>
                  </a:lnTo>
                  <a:lnTo>
                    <a:pt x="463" y="186"/>
                  </a:lnTo>
                  <a:lnTo>
                    <a:pt x="458" y="163"/>
                  </a:lnTo>
                  <a:lnTo>
                    <a:pt x="451" y="142"/>
                  </a:lnTo>
                  <a:lnTo>
                    <a:pt x="442" y="121"/>
                  </a:lnTo>
                  <a:lnTo>
                    <a:pt x="431" y="103"/>
                  </a:lnTo>
                  <a:lnTo>
                    <a:pt x="417" y="85"/>
                  </a:lnTo>
                  <a:lnTo>
                    <a:pt x="403" y="68"/>
                  </a:lnTo>
                  <a:lnTo>
                    <a:pt x="388" y="54"/>
                  </a:lnTo>
                  <a:lnTo>
                    <a:pt x="370" y="41"/>
                  </a:lnTo>
                  <a:lnTo>
                    <a:pt x="352" y="29"/>
                  </a:lnTo>
                  <a:lnTo>
                    <a:pt x="334" y="19"/>
                  </a:lnTo>
                  <a:lnTo>
                    <a:pt x="313" y="11"/>
                  </a:lnTo>
                  <a:lnTo>
                    <a:pt x="292" y="5"/>
                  </a:lnTo>
                  <a:lnTo>
                    <a:pt x="270" y="2"/>
                  </a:lnTo>
                  <a:lnTo>
                    <a:pt x="248" y="0"/>
                  </a:lnTo>
                  <a:lnTo>
                    <a:pt x="225" y="0"/>
                  </a:lnTo>
                  <a:lnTo>
                    <a:pt x="203" y="3"/>
                  </a:lnTo>
                  <a:lnTo>
                    <a:pt x="187" y="6"/>
                  </a:lnTo>
                  <a:lnTo>
                    <a:pt x="187" y="6"/>
                  </a:lnTo>
                  <a:lnTo>
                    <a:pt x="165" y="11"/>
                  </a:lnTo>
                  <a:lnTo>
                    <a:pt x="143" y="18"/>
                  </a:lnTo>
                  <a:lnTo>
                    <a:pt x="123" y="27"/>
                  </a:lnTo>
                  <a:lnTo>
                    <a:pt x="104" y="39"/>
                  </a:lnTo>
                  <a:lnTo>
                    <a:pt x="86" y="51"/>
                  </a:lnTo>
                  <a:lnTo>
                    <a:pt x="70" y="65"/>
                  </a:lnTo>
                  <a:lnTo>
                    <a:pt x="55" y="80"/>
                  </a:lnTo>
                  <a:lnTo>
                    <a:pt x="41" y="98"/>
                  </a:lnTo>
                  <a:lnTo>
                    <a:pt x="30" y="116"/>
                  </a:lnTo>
                  <a:lnTo>
                    <a:pt x="21" y="136"/>
                  </a:lnTo>
                  <a:lnTo>
                    <a:pt x="13" y="156"/>
                  </a:lnTo>
                  <a:lnTo>
                    <a:pt x="7" y="177"/>
                  </a:lnTo>
                  <a:lnTo>
                    <a:pt x="2" y="199"/>
                  </a:lnTo>
                  <a:lnTo>
                    <a:pt x="0" y="220"/>
                  </a:lnTo>
                  <a:lnTo>
                    <a:pt x="1" y="243"/>
                  </a:lnTo>
                  <a:lnTo>
                    <a:pt x="5" y="266"/>
                  </a:lnTo>
                  <a:lnTo>
                    <a:pt x="324" y="2099"/>
                  </a:lnTo>
                  <a:lnTo>
                    <a:pt x="324" y="2099"/>
                  </a:lnTo>
                  <a:lnTo>
                    <a:pt x="356" y="2131"/>
                  </a:lnTo>
                  <a:lnTo>
                    <a:pt x="388" y="2163"/>
                  </a:lnTo>
                  <a:lnTo>
                    <a:pt x="420" y="2195"/>
                  </a:lnTo>
                  <a:lnTo>
                    <a:pt x="453" y="2225"/>
                  </a:lnTo>
                  <a:lnTo>
                    <a:pt x="487" y="2256"/>
                  </a:lnTo>
                  <a:lnTo>
                    <a:pt x="521" y="2286"/>
                  </a:lnTo>
                  <a:lnTo>
                    <a:pt x="556" y="2314"/>
                  </a:lnTo>
                  <a:lnTo>
                    <a:pt x="591" y="2342"/>
                  </a:lnTo>
                  <a:lnTo>
                    <a:pt x="628" y="2369"/>
                  </a:lnTo>
                  <a:lnTo>
                    <a:pt x="664" y="2396"/>
                  </a:lnTo>
                  <a:lnTo>
                    <a:pt x="701" y="2423"/>
                  </a:lnTo>
                  <a:lnTo>
                    <a:pt x="738" y="2448"/>
                  </a:lnTo>
                  <a:lnTo>
                    <a:pt x="777" y="2473"/>
                  </a:lnTo>
                  <a:lnTo>
                    <a:pt x="816" y="2496"/>
                  </a:lnTo>
                  <a:lnTo>
                    <a:pt x="855" y="2519"/>
                  </a:lnTo>
                  <a:lnTo>
                    <a:pt x="895" y="2541"/>
                  </a:lnTo>
                  <a:lnTo>
                    <a:pt x="934" y="2563"/>
                  </a:lnTo>
                  <a:lnTo>
                    <a:pt x="975" y="2584"/>
                  </a:lnTo>
                  <a:lnTo>
                    <a:pt x="1016" y="2603"/>
                  </a:lnTo>
                  <a:lnTo>
                    <a:pt x="1058" y="2623"/>
                  </a:lnTo>
                  <a:lnTo>
                    <a:pt x="1100" y="2641"/>
                  </a:lnTo>
                  <a:lnTo>
                    <a:pt x="1142" y="2659"/>
                  </a:lnTo>
                  <a:lnTo>
                    <a:pt x="1185" y="2675"/>
                  </a:lnTo>
                  <a:lnTo>
                    <a:pt x="1229" y="2691"/>
                  </a:lnTo>
                  <a:lnTo>
                    <a:pt x="1272" y="2707"/>
                  </a:lnTo>
                  <a:lnTo>
                    <a:pt x="1316" y="2720"/>
                  </a:lnTo>
                  <a:lnTo>
                    <a:pt x="1360" y="2733"/>
                  </a:lnTo>
                  <a:lnTo>
                    <a:pt x="1405" y="2745"/>
                  </a:lnTo>
                  <a:lnTo>
                    <a:pt x="1450" y="2758"/>
                  </a:lnTo>
                  <a:lnTo>
                    <a:pt x="1495" y="2768"/>
                  </a:lnTo>
                  <a:lnTo>
                    <a:pt x="1541" y="2777"/>
                  </a:lnTo>
                  <a:lnTo>
                    <a:pt x="1588" y="2786"/>
                  </a:lnTo>
                  <a:lnTo>
                    <a:pt x="1588" y="2343"/>
                  </a:lnTo>
                  <a:lnTo>
                    <a:pt x="1710" y="2339"/>
                  </a:lnTo>
                  <a:lnTo>
                    <a:pt x="1710" y="2339"/>
                  </a:lnTo>
                  <a:lnTo>
                    <a:pt x="1725" y="2338"/>
                  </a:lnTo>
                  <a:lnTo>
                    <a:pt x="1740" y="2334"/>
                  </a:lnTo>
                  <a:lnTo>
                    <a:pt x="1753" y="2327"/>
                  </a:lnTo>
                  <a:lnTo>
                    <a:pt x="1766" y="2319"/>
                  </a:lnTo>
                  <a:lnTo>
                    <a:pt x="1778" y="2310"/>
                  </a:lnTo>
                  <a:lnTo>
                    <a:pt x="1791" y="2298"/>
                  </a:lnTo>
                  <a:lnTo>
                    <a:pt x="1801" y="2285"/>
                  </a:lnTo>
                  <a:lnTo>
                    <a:pt x="1811" y="2270"/>
                  </a:lnTo>
                  <a:lnTo>
                    <a:pt x="1819" y="2254"/>
                  </a:lnTo>
                  <a:lnTo>
                    <a:pt x="1827" y="2237"/>
                  </a:lnTo>
                  <a:lnTo>
                    <a:pt x="1835" y="2217"/>
                  </a:lnTo>
                  <a:lnTo>
                    <a:pt x="1840" y="2198"/>
                  </a:lnTo>
                  <a:lnTo>
                    <a:pt x="1844" y="2176"/>
                  </a:lnTo>
                  <a:lnTo>
                    <a:pt x="1847" y="2155"/>
                  </a:lnTo>
                  <a:lnTo>
                    <a:pt x="1849" y="2132"/>
                  </a:lnTo>
                  <a:lnTo>
                    <a:pt x="1849" y="2110"/>
                  </a:lnTo>
                  <a:lnTo>
                    <a:pt x="1848" y="2095"/>
                  </a:lnTo>
                  <a:lnTo>
                    <a:pt x="1848" y="2095"/>
                  </a:lnTo>
                  <a:lnTo>
                    <a:pt x="1847" y="2071"/>
                  </a:lnTo>
                  <a:lnTo>
                    <a:pt x="1844" y="2049"/>
                  </a:lnTo>
                  <a:lnTo>
                    <a:pt x="1840" y="2027"/>
                  </a:lnTo>
                  <a:lnTo>
                    <a:pt x="1835" y="2007"/>
                  </a:lnTo>
                  <a:lnTo>
                    <a:pt x="1827" y="1987"/>
                  </a:lnTo>
                  <a:lnTo>
                    <a:pt x="1820" y="1969"/>
                  </a:lnTo>
                  <a:lnTo>
                    <a:pt x="1811" y="1951"/>
                  </a:lnTo>
                  <a:lnTo>
                    <a:pt x="1801" y="1936"/>
                  </a:lnTo>
                  <a:lnTo>
                    <a:pt x="1791" y="1922"/>
                  </a:lnTo>
                  <a:lnTo>
                    <a:pt x="1779" y="1910"/>
                  </a:lnTo>
                  <a:lnTo>
                    <a:pt x="1767" y="1898"/>
                  </a:lnTo>
                  <a:lnTo>
                    <a:pt x="1754" y="1889"/>
                  </a:lnTo>
                  <a:lnTo>
                    <a:pt x="1741" y="1882"/>
                  </a:lnTo>
                  <a:lnTo>
                    <a:pt x="1726" y="1877"/>
                  </a:lnTo>
                  <a:lnTo>
                    <a:pt x="1712" y="1874"/>
                  </a:lnTo>
                  <a:lnTo>
                    <a:pt x="1697" y="1873"/>
                  </a:lnTo>
                  <a:lnTo>
                    <a:pt x="1697" y="1873"/>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963" name="Freeform 1965"/>
            <p:cNvSpPr>
              <a:spLocks/>
            </p:cNvSpPr>
            <p:nvPr/>
          </p:nvSpPr>
          <p:spPr bwMode="auto">
            <a:xfrm>
              <a:off x="4748370" y="3110285"/>
              <a:ext cx="143006" cy="104959"/>
            </a:xfrm>
            <a:custGeom>
              <a:avLst/>
              <a:gdLst>
                <a:gd name="T0" fmla="*/ 653 w 653"/>
                <a:gd name="T1" fmla="*/ 0 h 480"/>
                <a:gd name="T2" fmla="*/ 139 w 653"/>
                <a:gd name="T3" fmla="*/ 15 h 480"/>
                <a:gd name="T4" fmla="*/ 139 w 653"/>
                <a:gd name="T5" fmla="*/ 15 h 480"/>
                <a:gd name="T6" fmla="*/ 124 w 653"/>
                <a:gd name="T7" fmla="*/ 17 h 480"/>
                <a:gd name="T8" fmla="*/ 110 w 653"/>
                <a:gd name="T9" fmla="*/ 20 h 480"/>
                <a:gd name="T10" fmla="*/ 96 w 653"/>
                <a:gd name="T11" fmla="*/ 26 h 480"/>
                <a:gd name="T12" fmla="*/ 83 w 653"/>
                <a:gd name="T13" fmla="*/ 34 h 480"/>
                <a:gd name="T14" fmla="*/ 71 w 653"/>
                <a:gd name="T15" fmla="*/ 44 h 480"/>
                <a:gd name="T16" fmla="*/ 59 w 653"/>
                <a:gd name="T17" fmla="*/ 55 h 480"/>
                <a:gd name="T18" fmla="*/ 48 w 653"/>
                <a:gd name="T19" fmla="*/ 69 h 480"/>
                <a:gd name="T20" fmla="*/ 38 w 653"/>
                <a:gd name="T21" fmla="*/ 84 h 480"/>
                <a:gd name="T22" fmla="*/ 29 w 653"/>
                <a:gd name="T23" fmla="*/ 99 h 480"/>
                <a:gd name="T24" fmla="*/ 22 w 653"/>
                <a:gd name="T25" fmla="*/ 118 h 480"/>
                <a:gd name="T26" fmla="*/ 15 w 653"/>
                <a:gd name="T27" fmla="*/ 136 h 480"/>
                <a:gd name="T28" fmla="*/ 10 w 653"/>
                <a:gd name="T29" fmla="*/ 157 h 480"/>
                <a:gd name="T30" fmla="*/ 4 w 653"/>
                <a:gd name="T31" fmla="*/ 177 h 480"/>
                <a:gd name="T32" fmla="*/ 2 w 653"/>
                <a:gd name="T33" fmla="*/ 198 h 480"/>
                <a:gd name="T34" fmla="*/ 0 w 653"/>
                <a:gd name="T35" fmla="*/ 221 h 480"/>
                <a:gd name="T36" fmla="*/ 0 w 653"/>
                <a:gd name="T37" fmla="*/ 244 h 480"/>
                <a:gd name="T38" fmla="*/ 0 w 653"/>
                <a:gd name="T39" fmla="*/ 259 h 480"/>
                <a:gd name="T40" fmla="*/ 0 w 653"/>
                <a:gd name="T41" fmla="*/ 259 h 480"/>
                <a:gd name="T42" fmla="*/ 2 w 653"/>
                <a:gd name="T43" fmla="*/ 282 h 480"/>
                <a:gd name="T44" fmla="*/ 5 w 653"/>
                <a:gd name="T45" fmla="*/ 305 h 480"/>
                <a:gd name="T46" fmla="*/ 10 w 653"/>
                <a:gd name="T47" fmla="*/ 326 h 480"/>
                <a:gd name="T48" fmla="*/ 15 w 653"/>
                <a:gd name="T49" fmla="*/ 347 h 480"/>
                <a:gd name="T50" fmla="*/ 22 w 653"/>
                <a:gd name="T51" fmla="*/ 366 h 480"/>
                <a:gd name="T52" fmla="*/ 29 w 653"/>
                <a:gd name="T53" fmla="*/ 384 h 480"/>
                <a:gd name="T54" fmla="*/ 38 w 653"/>
                <a:gd name="T55" fmla="*/ 402 h 480"/>
                <a:gd name="T56" fmla="*/ 48 w 653"/>
                <a:gd name="T57" fmla="*/ 417 h 480"/>
                <a:gd name="T58" fmla="*/ 59 w 653"/>
                <a:gd name="T59" fmla="*/ 431 h 480"/>
                <a:gd name="T60" fmla="*/ 70 w 653"/>
                <a:gd name="T61" fmla="*/ 444 h 480"/>
                <a:gd name="T62" fmla="*/ 82 w 653"/>
                <a:gd name="T63" fmla="*/ 455 h 480"/>
                <a:gd name="T64" fmla="*/ 95 w 653"/>
                <a:gd name="T65" fmla="*/ 464 h 480"/>
                <a:gd name="T66" fmla="*/ 109 w 653"/>
                <a:gd name="T67" fmla="*/ 471 h 480"/>
                <a:gd name="T68" fmla="*/ 123 w 653"/>
                <a:gd name="T69" fmla="*/ 476 h 480"/>
                <a:gd name="T70" fmla="*/ 137 w 653"/>
                <a:gd name="T71" fmla="*/ 479 h 480"/>
                <a:gd name="T72" fmla="*/ 153 w 653"/>
                <a:gd name="T73" fmla="*/ 480 h 480"/>
                <a:gd name="T74" fmla="*/ 175 w 653"/>
                <a:gd name="T75" fmla="*/ 479 h 480"/>
                <a:gd name="T76" fmla="*/ 175 w 653"/>
                <a:gd name="T77" fmla="*/ 479 h 480"/>
                <a:gd name="T78" fmla="*/ 209 w 653"/>
                <a:gd name="T79" fmla="*/ 454 h 480"/>
                <a:gd name="T80" fmla="*/ 243 w 653"/>
                <a:gd name="T81" fmla="*/ 427 h 480"/>
                <a:gd name="T82" fmla="*/ 275 w 653"/>
                <a:gd name="T83" fmla="*/ 401 h 480"/>
                <a:gd name="T84" fmla="*/ 308 w 653"/>
                <a:gd name="T85" fmla="*/ 373 h 480"/>
                <a:gd name="T86" fmla="*/ 340 w 653"/>
                <a:gd name="T87" fmla="*/ 346 h 480"/>
                <a:gd name="T88" fmla="*/ 370 w 653"/>
                <a:gd name="T89" fmla="*/ 316 h 480"/>
                <a:gd name="T90" fmla="*/ 402 w 653"/>
                <a:gd name="T91" fmla="*/ 287 h 480"/>
                <a:gd name="T92" fmla="*/ 432 w 653"/>
                <a:gd name="T93" fmla="*/ 258 h 480"/>
                <a:gd name="T94" fmla="*/ 461 w 653"/>
                <a:gd name="T95" fmla="*/ 227 h 480"/>
                <a:gd name="T96" fmla="*/ 491 w 653"/>
                <a:gd name="T97" fmla="*/ 196 h 480"/>
                <a:gd name="T98" fmla="*/ 519 w 653"/>
                <a:gd name="T99" fmla="*/ 165 h 480"/>
                <a:gd name="T100" fmla="*/ 547 w 653"/>
                <a:gd name="T101" fmla="*/ 133 h 480"/>
                <a:gd name="T102" fmla="*/ 575 w 653"/>
                <a:gd name="T103" fmla="*/ 100 h 480"/>
                <a:gd name="T104" fmla="*/ 601 w 653"/>
                <a:gd name="T105" fmla="*/ 68 h 480"/>
                <a:gd name="T106" fmla="*/ 628 w 653"/>
                <a:gd name="T107" fmla="*/ 34 h 480"/>
                <a:gd name="T108" fmla="*/ 653 w 653"/>
                <a:gd name="T109" fmla="*/ 0 h 480"/>
                <a:gd name="T110" fmla="*/ 653 w 653"/>
                <a:gd name="T11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53" h="480">
                  <a:moveTo>
                    <a:pt x="653" y="0"/>
                  </a:moveTo>
                  <a:lnTo>
                    <a:pt x="139" y="15"/>
                  </a:lnTo>
                  <a:lnTo>
                    <a:pt x="139" y="15"/>
                  </a:lnTo>
                  <a:lnTo>
                    <a:pt x="124" y="17"/>
                  </a:lnTo>
                  <a:lnTo>
                    <a:pt x="110" y="20"/>
                  </a:lnTo>
                  <a:lnTo>
                    <a:pt x="96" y="26"/>
                  </a:lnTo>
                  <a:lnTo>
                    <a:pt x="83" y="34"/>
                  </a:lnTo>
                  <a:lnTo>
                    <a:pt x="71" y="44"/>
                  </a:lnTo>
                  <a:lnTo>
                    <a:pt x="59" y="55"/>
                  </a:lnTo>
                  <a:lnTo>
                    <a:pt x="48" y="69"/>
                  </a:lnTo>
                  <a:lnTo>
                    <a:pt x="38" y="84"/>
                  </a:lnTo>
                  <a:lnTo>
                    <a:pt x="29" y="99"/>
                  </a:lnTo>
                  <a:lnTo>
                    <a:pt x="22" y="118"/>
                  </a:lnTo>
                  <a:lnTo>
                    <a:pt x="15" y="136"/>
                  </a:lnTo>
                  <a:lnTo>
                    <a:pt x="10" y="157"/>
                  </a:lnTo>
                  <a:lnTo>
                    <a:pt x="4" y="177"/>
                  </a:lnTo>
                  <a:lnTo>
                    <a:pt x="2" y="198"/>
                  </a:lnTo>
                  <a:lnTo>
                    <a:pt x="0" y="221"/>
                  </a:lnTo>
                  <a:lnTo>
                    <a:pt x="0" y="244"/>
                  </a:lnTo>
                  <a:lnTo>
                    <a:pt x="0" y="259"/>
                  </a:lnTo>
                  <a:lnTo>
                    <a:pt x="0" y="259"/>
                  </a:lnTo>
                  <a:lnTo>
                    <a:pt x="2" y="282"/>
                  </a:lnTo>
                  <a:lnTo>
                    <a:pt x="5" y="305"/>
                  </a:lnTo>
                  <a:lnTo>
                    <a:pt x="10" y="326"/>
                  </a:lnTo>
                  <a:lnTo>
                    <a:pt x="15" y="347"/>
                  </a:lnTo>
                  <a:lnTo>
                    <a:pt x="22" y="366"/>
                  </a:lnTo>
                  <a:lnTo>
                    <a:pt x="29" y="384"/>
                  </a:lnTo>
                  <a:lnTo>
                    <a:pt x="38" y="402"/>
                  </a:lnTo>
                  <a:lnTo>
                    <a:pt x="48" y="417"/>
                  </a:lnTo>
                  <a:lnTo>
                    <a:pt x="59" y="431"/>
                  </a:lnTo>
                  <a:lnTo>
                    <a:pt x="70" y="444"/>
                  </a:lnTo>
                  <a:lnTo>
                    <a:pt x="82" y="455"/>
                  </a:lnTo>
                  <a:lnTo>
                    <a:pt x="95" y="464"/>
                  </a:lnTo>
                  <a:lnTo>
                    <a:pt x="109" y="471"/>
                  </a:lnTo>
                  <a:lnTo>
                    <a:pt x="123" y="476"/>
                  </a:lnTo>
                  <a:lnTo>
                    <a:pt x="137" y="479"/>
                  </a:lnTo>
                  <a:lnTo>
                    <a:pt x="153" y="480"/>
                  </a:lnTo>
                  <a:lnTo>
                    <a:pt x="175" y="479"/>
                  </a:lnTo>
                  <a:lnTo>
                    <a:pt x="175" y="479"/>
                  </a:lnTo>
                  <a:lnTo>
                    <a:pt x="209" y="454"/>
                  </a:lnTo>
                  <a:lnTo>
                    <a:pt x="243" y="427"/>
                  </a:lnTo>
                  <a:lnTo>
                    <a:pt x="275" y="401"/>
                  </a:lnTo>
                  <a:lnTo>
                    <a:pt x="308" y="373"/>
                  </a:lnTo>
                  <a:lnTo>
                    <a:pt x="340" y="346"/>
                  </a:lnTo>
                  <a:lnTo>
                    <a:pt x="370" y="316"/>
                  </a:lnTo>
                  <a:lnTo>
                    <a:pt x="402" y="287"/>
                  </a:lnTo>
                  <a:lnTo>
                    <a:pt x="432" y="258"/>
                  </a:lnTo>
                  <a:lnTo>
                    <a:pt x="461" y="227"/>
                  </a:lnTo>
                  <a:lnTo>
                    <a:pt x="491" y="196"/>
                  </a:lnTo>
                  <a:lnTo>
                    <a:pt x="519" y="165"/>
                  </a:lnTo>
                  <a:lnTo>
                    <a:pt x="547" y="133"/>
                  </a:lnTo>
                  <a:lnTo>
                    <a:pt x="575" y="100"/>
                  </a:lnTo>
                  <a:lnTo>
                    <a:pt x="601" y="68"/>
                  </a:lnTo>
                  <a:lnTo>
                    <a:pt x="628" y="34"/>
                  </a:lnTo>
                  <a:lnTo>
                    <a:pt x="653" y="0"/>
                  </a:lnTo>
                  <a:lnTo>
                    <a:pt x="653"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95" name="Freeform 1951"/>
            <p:cNvSpPr>
              <a:spLocks/>
            </p:cNvSpPr>
            <p:nvPr/>
          </p:nvSpPr>
          <p:spPr bwMode="auto">
            <a:xfrm rot="21180561">
              <a:off x="4226744" y="2753937"/>
              <a:ext cx="270486" cy="529016"/>
            </a:xfrm>
            <a:custGeom>
              <a:avLst/>
              <a:gdLst>
                <a:gd name="T0" fmla="*/ 1 w 1086"/>
                <a:gd name="T1" fmla="*/ 227 h 2128"/>
                <a:gd name="T2" fmla="*/ 5 w 1086"/>
                <a:gd name="T3" fmla="*/ 177 h 2128"/>
                <a:gd name="T4" fmla="*/ 19 w 1086"/>
                <a:gd name="T5" fmla="*/ 132 h 2128"/>
                <a:gd name="T6" fmla="*/ 41 w 1086"/>
                <a:gd name="T7" fmla="*/ 93 h 2128"/>
                <a:gd name="T8" fmla="*/ 73 w 1086"/>
                <a:gd name="T9" fmla="*/ 60 h 2128"/>
                <a:gd name="T10" fmla="*/ 110 w 1086"/>
                <a:gd name="T11" fmla="*/ 33 h 2128"/>
                <a:gd name="T12" fmla="*/ 152 w 1086"/>
                <a:gd name="T13" fmla="*/ 15 h 2128"/>
                <a:gd name="T14" fmla="*/ 197 w 1086"/>
                <a:gd name="T15" fmla="*/ 3 h 2128"/>
                <a:gd name="T16" fmla="*/ 242 w 1086"/>
                <a:gd name="T17" fmla="*/ 1 h 2128"/>
                <a:gd name="T18" fmla="*/ 287 w 1086"/>
                <a:gd name="T19" fmla="*/ 9 h 2128"/>
                <a:gd name="T20" fmla="*/ 329 w 1086"/>
                <a:gd name="T21" fmla="*/ 25 h 2128"/>
                <a:gd name="T22" fmla="*/ 348 w 1086"/>
                <a:gd name="T23" fmla="*/ 37 h 2128"/>
                <a:gd name="T24" fmla="*/ 361 w 1086"/>
                <a:gd name="T25" fmla="*/ 54 h 2128"/>
                <a:gd name="T26" fmla="*/ 385 w 1086"/>
                <a:gd name="T27" fmla="*/ 113 h 2128"/>
                <a:gd name="T28" fmla="*/ 404 w 1086"/>
                <a:gd name="T29" fmla="*/ 198 h 2128"/>
                <a:gd name="T30" fmla="*/ 424 w 1086"/>
                <a:gd name="T31" fmla="*/ 338 h 2128"/>
                <a:gd name="T32" fmla="*/ 442 w 1086"/>
                <a:gd name="T33" fmla="*/ 571 h 2128"/>
                <a:gd name="T34" fmla="*/ 453 w 1086"/>
                <a:gd name="T35" fmla="*/ 869 h 2128"/>
                <a:gd name="T36" fmla="*/ 565 w 1086"/>
                <a:gd name="T37" fmla="*/ 904 h 2128"/>
                <a:gd name="T38" fmla="*/ 898 w 1086"/>
                <a:gd name="T39" fmla="*/ 905 h 2128"/>
                <a:gd name="T40" fmla="*/ 929 w 1086"/>
                <a:gd name="T41" fmla="*/ 908 h 2128"/>
                <a:gd name="T42" fmla="*/ 977 w 1086"/>
                <a:gd name="T43" fmla="*/ 920 h 2128"/>
                <a:gd name="T44" fmla="*/ 1021 w 1086"/>
                <a:gd name="T45" fmla="*/ 944 h 2128"/>
                <a:gd name="T46" fmla="*/ 1056 w 1086"/>
                <a:gd name="T47" fmla="*/ 977 h 2128"/>
                <a:gd name="T48" fmla="*/ 1077 w 1086"/>
                <a:gd name="T49" fmla="*/ 1022 h 2128"/>
                <a:gd name="T50" fmla="*/ 1082 w 1086"/>
                <a:gd name="T51" fmla="*/ 1059 h 2128"/>
                <a:gd name="T52" fmla="*/ 1086 w 1086"/>
                <a:gd name="T53" fmla="*/ 1529 h 2128"/>
                <a:gd name="T54" fmla="*/ 1085 w 1086"/>
                <a:gd name="T55" fmla="*/ 2013 h 2128"/>
                <a:gd name="T56" fmla="*/ 1080 w 1086"/>
                <a:gd name="T57" fmla="*/ 2051 h 2128"/>
                <a:gd name="T58" fmla="*/ 1064 w 1086"/>
                <a:gd name="T59" fmla="*/ 2082 h 2128"/>
                <a:gd name="T60" fmla="*/ 1040 w 1086"/>
                <a:gd name="T61" fmla="*/ 2104 h 2128"/>
                <a:gd name="T62" fmla="*/ 1010 w 1086"/>
                <a:gd name="T63" fmla="*/ 2120 h 2128"/>
                <a:gd name="T64" fmla="*/ 976 w 1086"/>
                <a:gd name="T65" fmla="*/ 2127 h 2128"/>
                <a:gd name="T66" fmla="*/ 941 w 1086"/>
                <a:gd name="T67" fmla="*/ 2126 h 2128"/>
                <a:gd name="T68" fmla="*/ 907 w 1086"/>
                <a:gd name="T69" fmla="*/ 2117 h 2128"/>
                <a:gd name="T70" fmla="*/ 877 w 1086"/>
                <a:gd name="T71" fmla="*/ 2099 h 2128"/>
                <a:gd name="T72" fmla="*/ 854 w 1086"/>
                <a:gd name="T73" fmla="*/ 2074 h 2128"/>
                <a:gd name="T74" fmla="*/ 838 w 1086"/>
                <a:gd name="T75" fmla="*/ 2040 h 2128"/>
                <a:gd name="T76" fmla="*/ 832 w 1086"/>
                <a:gd name="T77" fmla="*/ 1982 h 2128"/>
                <a:gd name="T78" fmla="*/ 825 w 1086"/>
                <a:gd name="T79" fmla="*/ 1848 h 2128"/>
                <a:gd name="T80" fmla="*/ 827 w 1086"/>
                <a:gd name="T81" fmla="*/ 1487 h 2128"/>
                <a:gd name="T82" fmla="*/ 826 w 1086"/>
                <a:gd name="T83" fmla="*/ 1306 h 2128"/>
                <a:gd name="T84" fmla="*/ 393 w 1086"/>
                <a:gd name="T85" fmla="*/ 1307 h 2128"/>
                <a:gd name="T86" fmla="*/ 238 w 1086"/>
                <a:gd name="T87" fmla="*/ 1305 h 2128"/>
                <a:gd name="T88" fmla="*/ 205 w 1086"/>
                <a:gd name="T89" fmla="*/ 1299 h 2128"/>
                <a:gd name="T90" fmla="*/ 166 w 1086"/>
                <a:gd name="T91" fmla="*/ 1283 h 2128"/>
                <a:gd name="T92" fmla="*/ 115 w 1086"/>
                <a:gd name="T93" fmla="*/ 1242 h 2128"/>
                <a:gd name="T94" fmla="*/ 74 w 1086"/>
                <a:gd name="T95" fmla="*/ 1189 h 2128"/>
                <a:gd name="T96" fmla="*/ 45 w 1086"/>
                <a:gd name="T97" fmla="*/ 1125 h 2128"/>
                <a:gd name="T98" fmla="*/ 28 w 1086"/>
                <a:gd name="T99" fmla="*/ 1059 h 2128"/>
                <a:gd name="T100" fmla="*/ 17 w 1086"/>
                <a:gd name="T101" fmla="*/ 798 h 2128"/>
                <a:gd name="T102" fmla="*/ 5 w 1086"/>
                <a:gd name="T103" fmla="*/ 392 h 2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86" h="2128">
                  <a:moveTo>
                    <a:pt x="4" y="246"/>
                  </a:moveTo>
                  <a:lnTo>
                    <a:pt x="4" y="246"/>
                  </a:lnTo>
                  <a:lnTo>
                    <a:pt x="1" y="227"/>
                  </a:lnTo>
                  <a:lnTo>
                    <a:pt x="0" y="211"/>
                  </a:lnTo>
                  <a:lnTo>
                    <a:pt x="1" y="194"/>
                  </a:lnTo>
                  <a:lnTo>
                    <a:pt x="5" y="177"/>
                  </a:lnTo>
                  <a:lnTo>
                    <a:pt x="8" y="162"/>
                  </a:lnTo>
                  <a:lnTo>
                    <a:pt x="13" y="147"/>
                  </a:lnTo>
                  <a:lnTo>
                    <a:pt x="19" y="132"/>
                  </a:lnTo>
                  <a:lnTo>
                    <a:pt x="25" y="119"/>
                  </a:lnTo>
                  <a:lnTo>
                    <a:pt x="33" y="106"/>
                  </a:lnTo>
                  <a:lnTo>
                    <a:pt x="41" y="93"/>
                  </a:lnTo>
                  <a:lnTo>
                    <a:pt x="52" y="81"/>
                  </a:lnTo>
                  <a:lnTo>
                    <a:pt x="62" y="70"/>
                  </a:lnTo>
                  <a:lnTo>
                    <a:pt x="73" y="60"/>
                  </a:lnTo>
                  <a:lnTo>
                    <a:pt x="85" y="51"/>
                  </a:lnTo>
                  <a:lnTo>
                    <a:pt x="98" y="41"/>
                  </a:lnTo>
                  <a:lnTo>
                    <a:pt x="110" y="33"/>
                  </a:lnTo>
                  <a:lnTo>
                    <a:pt x="124" y="26"/>
                  </a:lnTo>
                  <a:lnTo>
                    <a:pt x="137" y="20"/>
                  </a:lnTo>
                  <a:lnTo>
                    <a:pt x="152" y="15"/>
                  </a:lnTo>
                  <a:lnTo>
                    <a:pt x="167" y="10"/>
                  </a:lnTo>
                  <a:lnTo>
                    <a:pt x="181" y="7"/>
                  </a:lnTo>
                  <a:lnTo>
                    <a:pt x="197" y="3"/>
                  </a:lnTo>
                  <a:lnTo>
                    <a:pt x="212" y="1"/>
                  </a:lnTo>
                  <a:lnTo>
                    <a:pt x="226" y="0"/>
                  </a:lnTo>
                  <a:lnTo>
                    <a:pt x="242" y="1"/>
                  </a:lnTo>
                  <a:lnTo>
                    <a:pt x="257" y="2"/>
                  </a:lnTo>
                  <a:lnTo>
                    <a:pt x="272" y="5"/>
                  </a:lnTo>
                  <a:lnTo>
                    <a:pt x="287" y="9"/>
                  </a:lnTo>
                  <a:lnTo>
                    <a:pt x="302" y="13"/>
                  </a:lnTo>
                  <a:lnTo>
                    <a:pt x="316" y="19"/>
                  </a:lnTo>
                  <a:lnTo>
                    <a:pt x="329" y="25"/>
                  </a:lnTo>
                  <a:lnTo>
                    <a:pt x="343" y="33"/>
                  </a:lnTo>
                  <a:lnTo>
                    <a:pt x="343" y="33"/>
                  </a:lnTo>
                  <a:lnTo>
                    <a:pt x="348" y="37"/>
                  </a:lnTo>
                  <a:lnTo>
                    <a:pt x="352" y="41"/>
                  </a:lnTo>
                  <a:lnTo>
                    <a:pt x="357" y="47"/>
                  </a:lnTo>
                  <a:lnTo>
                    <a:pt x="361" y="54"/>
                  </a:lnTo>
                  <a:lnTo>
                    <a:pt x="369" y="70"/>
                  </a:lnTo>
                  <a:lnTo>
                    <a:pt x="378" y="89"/>
                  </a:lnTo>
                  <a:lnTo>
                    <a:pt x="385" y="113"/>
                  </a:lnTo>
                  <a:lnTo>
                    <a:pt x="392" y="138"/>
                  </a:lnTo>
                  <a:lnTo>
                    <a:pt x="398" y="167"/>
                  </a:lnTo>
                  <a:lnTo>
                    <a:pt x="404" y="198"/>
                  </a:lnTo>
                  <a:lnTo>
                    <a:pt x="409" y="230"/>
                  </a:lnTo>
                  <a:lnTo>
                    <a:pt x="414" y="265"/>
                  </a:lnTo>
                  <a:lnTo>
                    <a:pt x="424" y="338"/>
                  </a:lnTo>
                  <a:lnTo>
                    <a:pt x="431" y="415"/>
                  </a:lnTo>
                  <a:lnTo>
                    <a:pt x="437" y="493"/>
                  </a:lnTo>
                  <a:lnTo>
                    <a:pt x="442" y="571"/>
                  </a:lnTo>
                  <a:lnTo>
                    <a:pt x="446" y="645"/>
                  </a:lnTo>
                  <a:lnTo>
                    <a:pt x="451" y="777"/>
                  </a:lnTo>
                  <a:lnTo>
                    <a:pt x="453" y="869"/>
                  </a:lnTo>
                  <a:lnTo>
                    <a:pt x="454" y="903"/>
                  </a:lnTo>
                  <a:lnTo>
                    <a:pt x="454" y="903"/>
                  </a:lnTo>
                  <a:lnTo>
                    <a:pt x="565" y="904"/>
                  </a:lnTo>
                  <a:lnTo>
                    <a:pt x="675" y="904"/>
                  </a:lnTo>
                  <a:lnTo>
                    <a:pt x="786" y="904"/>
                  </a:lnTo>
                  <a:lnTo>
                    <a:pt x="898" y="905"/>
                  </a:lnTo>
                  <a:lnTo>
                    <a:pt x="898" y="905"/>
                  </a:lnTo>
                  <a:lnTo>
                    <a:pt x="913" y="906"/>
                  </a:lnTo>
                  <a:lnTo>
                    <a:pt x="929" y="908"/>
                  </a:lnTo>
                  <a:lnTo>
                    <a:pt x="946" y="911"/>
                  </a:lnTo>
                  <a:lnTo>
                    <a:pt x="961" y="915"/>
                  </a:lnTo>
                  <a:lnTo>
                    <a:pt x="977" y="920"/>
                  </a:lnTo>
                  <a:lnTo>
                    <a:pt x="993" y="927"/>
                  </a:lnTo>
                  <a:lnTo>
                    <a:pt x="1007" y="934"/>
                  </a:lnTo>
                  <a:lnTo>
                    <a:pt x="1021" y="944"/>
                  </a:lnTo>
                  <a:lnTo>
                    <a:pt x="1034" y="954"/>
                  </a:lnTo>
                  <a:lnTo>
                    <a:pt x="1046" y="965"/>
                  </a:lnTo>
                  <a:lnTo>
                    <a:pt x="1056" y="977"/>
                  </a:lnTo>
                  <a:lnTo>
                    <a:pt x="1065" y="991"/>
                  </a:lnTo>
                  <a:lnTo>
                    <a:pt x="1072" y="1006"/>
                  </a:lnTo>
                  <a:lnTo>
                    <a:pt x="1077" y="1022"/>
                  </a:lnTo>
                  <a:lnTo>
                    <a:pt x="1081" y="1040"/>
                  </a:lnTo>
                  <a:lnTo>
                    <a:pt x="1082" y="1059"/>
                  </a:lnTo>
                  <a:lnTo>
                    <a:pt x="1082" y="1059"/>
                  </a:lnTo>
                  <a:lnTo>
                    <a:pt x="1084" y="1177"/>
                  </a:lnTo>
                  <a:lnTo>
                    <a:pt x="1085" y="1294"/>
                  </a:lnTo>
                  <a:lnTo>
                    <a:pt x="1086" y="1529"/>
                  </a:lnTo>
                  <a:lnTo>
                    <a:pt x="1084" y="1999"/>
                  </a:lnTo>
                  <a:lnTo>
                    <a:pt x="1084" y="1999"/>
                  </a:lnTo>
                  <a:lnTo>
                    <a:pt x="1085" y="2013"/>
                  </a:lnTo>
                  <a:lnTo>
                    <a:pt x="1085" y="2027"/>
                  </a:lnTo>
                  <a:lnTo>
                    <a:pt x="1083" y="2040"/>
                  </a:lnTo>
                  <a:lnTo>
                    <a:pt x="1080" y="2051"/>
                  </a:lnTo>
                  <a:lnTo>
                    <a:pt x="1075" y="2062"/>
                  </a:lnTo>
                  <a:lnTo>
                    <a:pt x="1070" y="2073"/>
                  </a:lnTo>
                  <a:lnTo>
                    <a:pt x="1064" y="2082"/>
                  </a:lnTo>
                  <a:lnTo>
                    <a:pt x="1057" y="2090"/>
                  </a:lnTo>
                  <a:lnTo>
                    <a:pt x="1049" y="2098"/>
                  </a:lnTo>
                  <a:lnTo>
                    <a:pt x="1040" y="2104"/>
                  </a:lnTo>
                  <a:lnTo>
                    <a:pt x="1030" y="2111"/>
                  </a:lnTo>
                  <a:lnTo>
                    <a:pt x="1020" y="2116"/>
                  </a:lnTo>
                  <a:lnTo>
                    <a:pt x="1010" y="2120"/>
                  </a:lnTo>
                  <a:lnTo>
                    <a:pt x="999" y="2123"/>
                  </a:lnTo>
                  <a:lnTo>
                    <a:pt x="988" y="2125"/>
                  </a:lnTo>
                  <a:lnTo>
                    <a:pt x="976" y="2127"/>
                  </a:lnTo>
                  <a:lnTo>
                    <a:pt x="964" y="2128"/>
                  </a:lnTo>
                  <a:lnTo>
                    <a:pt x="953" y="2127"/>
                  </a:lnTo>
                  <a:lnTo>
                    <a:pt x="941" y="2126"/>
                  </a:lnTo>
                  <a:lnTo>
                    <a:pt x="929" y="2124"/>
                  </a:lnTo>
                  <a:lnTo>
                    <a:pt x="918" y="2121"/>
                  </a:lnTo>
                  <a:lnTo>
                    <a:pt x="907" y="2117"/>
                  </a:lnTo>
                  <a:lnTo>
                    <a:pt x="897" y="2113"/>
                  </a:lnTo>
                  <a:lnTo>
                    <a:pt x="886" y="2106"/>
                  </a:lnTo>
                  <a:lnTo>
                    <a:pt x="877" y="2099"/>
                  </a:lnTo>
                  <a:lnTo>
                    <a:pt x="869" y="2092"/>
                  </a:lnTo>
                  <a:lnTo>
                    <a:pt x="861" y="2084"/>
                  </a:lnTo>
                  <a:lnTo>
                    <a:pt x="854" y="2074"/>
                  </a:lnTo>
                  <a:lnTo>
                    <a:pt x="848" y="2064"/>
                  </a:lnTo>
                  <a:lnTo>
                    <a:pt x="842" y="2052"/>
                  </a:lnTo>
                  <a:lnTo>
                    <a:pt x="838" y="2040"/>
                  </a:lnTo>
                  <a:lnTo>
                    <a:pt x="835" y="2027"/>
                  </a:lnTo>
                  <a:lnTo>
                    <a:pt x="835" y="2027"/>
                  </a:lnTo>
                  <a:lnTo>
                    <a:pt x="832" y="1982"/>
                  </a:lnTo>
                  <a:lnTo>
                    <a:pt x="829" y="1938"/>
                  </a:lnTo>
                  <a:lnTo>
                    <a:pt x="827" y="1893"/>
                  </a:lnTo>
                  <a:lnTo>
                    <a:pt x="825" y="1848"/>
                  </a:lnTo>
                  <a:lnTo>
                    <a:pt x="824" y="1758"/>
                  </a:lnTo>
                  <a:lnTo>
                    <a:pt x="825" y="1667"/>
                  </a:lnTo>
                  <a:lnTo>
                    <a:pt x="827" y="1487"/>
                  </a:lnTo>
                  <a:lnTo>
                    <a:pt x="827" y="1396"/>
                  </a:lnTo>
                  <a:lnTo>
                    <a:pt x="826" y="1306"/>
                  </a:lnTo>
                  <a:lnTo>
                    <a:pt x="826" y="1306"/>
                  </a:lnTo>
                  <a:lnTo>
                    <a:pt x="682" y="1306"/>
                  </a:lnTo>
                  <a:lnTo>
                    <a:pt x="538" y="1307"/>
                  </a:lnTo>
                  <a:lnTo>
                    <a:pt x="393" y="1307"/>
                  </a:lnTo>
                  <a:lnTo>
                    <a:pt x="250" y="1306"/>
                  </a:lnTo>
                  <a:lnTo>
                    <a:pt x="250" y="1306"/>
                  </a:lnTo>
                  <a:lnTo>
                    <a:pt x="238" y="1305"/>
                  </a:lnTo>
                  <a:lnTo>
                    <a:pt x="226" y="1304"/>
                  </a:lnTo>
                  <a:lnTo>
                    <a:pt x="216" y="1302"/>
                  </a:lnTo>
                  <a:lnTo>
                    <a:pt x="205" y="1299"/>
                  </a:lnTo>
                  <a:lnTo>
                    <a:pt x="195" y="1296"/>
                  </a:lnTo>
                  <a:lnTo>
                    <a:pt x="185" y="1292"/>
                  </a:lnTo>
                  <a:lnTo>
                    <a:pt x="166" y="1283"/>
                  </a:lnTo>
                  <a:lnTo>
                    <a:pt x="148" y="1271"/>
                  </a:lnTo>
                  <a:lnTo>
                    <a:pt x="130" y="1257"/>
                  </a:lnTo>
                  <a:lnTo>
                    <a:pt x="115" y="1242"/>
                  </a:lnTo>
                  <a:lnTo>
                    <a:pt x="100" y="1226"/>
                  </a:lnTo>
                  <a:lnTo>
                    <a:pt x="86" y="1207"/>
                  </a:lnTo>
                  <a:lnTo>
                    <a:pt x="74" y="1189"/>
                  </a:lnTo>
                  <a:lnTo>
                    <a:pt x="64" y="1168"/>
                  </a:lnTo>
                  <a:lnTo>
                    <a:pt x="54" y="1147"/>
                  </a:lnTo>
                  <a:lnTo>
                    <a:pt x="45" y="1125"/>
                  </a:lnTo>
                  <a:lnTo>
                    <a:pt x="38" y="1104"/>
                  </a:lnTo>
                  <a:lnTo>
                    <a:pt x="33" y="1082"/>
                  </a:lnTo>
                  <a:lnTo>
                    <a:pt x="28" y="1059"/>
                  </a:lnTo>
                  <a:lnTo>
                    <a:pt x="28" y="1059"/>
                  </a:lnTo>
                  <a:lnTo>
                    <a:pt x="25" y="986"/>
                  </a:lnTo>
                  <a:lnTo>
                    <a:pt x="17" y="798"/>
                  </a:lnTo>
                  <a:lnTo>
                    <a:pt x="12" y="674"/>
                  </a:lnTo>
                  <a:lnTo>
                    <a:pt x="8" y="537"/>
                  </a:lnTo>
                  <a:lnTo>
                    <a:pt x="5" y="392"/>
                  </a:lnTo>
                  <a:lnTo>
                    <a:pt x="4" y="246"/>
                  </a:lnTo>
                  <a:lnTo>
                    <a:pt x="4" y="2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sp>
          <p:nvSpPr>
            <p:cNvPr id="2396" name="Freeform 2012"/>
            <p:cNvSpPr>
              <a:spLocks/>
            </p:cNvSpPr>
            <p:nvPr/>
          </p:nvSpPr>
          <p:spPr bwMode="auto">
            <a:xfrm>
              <a:off x="4554757" y="2896253"/>
              <a:ext cx="76095" cy="55283"/>
            </a:xfrm>
            <a:custGeom>
              <a:avLst/>
              <a:gdLst>
                <a:gd name="T0" fmla="*/ 344 w 344"/>
                <a:gd name="T1" fmla="*/ 0 h 523"/>
                <a:gd name="T2" fmla="*/ 0 w 344"/>
                <a:gd name="T3" fmla="*/ 0 h 523"/>
                <a:gd name="T4" fmla="*/ 37 w 344"/>
                <a:gd name="T5" fmla="*/ 523 h 523"/>
                <a:gd name="T6" fmla="*/ 308 w 344"/>
                <a:gd name="T7" fmla="*/ 523 h 523"/>
                <a:gd name="T8" fmla="*/ 344 w 344"/>
                <a:gd name="T9" fmla="*/ 0 h 523"/>
              </a:gdLst>
              <a:ahLst/>
              <a:cxnLst>
                <a:cxn ang="0">
                  <a:pos x="T0" y="T1"/>
                </a:cxn>
                <a:cxn ang="0">
                  <a:pos x="T2" y="T3"/>
                </a:cxn>
                <a:cxn ang="0">
                  <a:pos x="T4" y="T5"/>
                </a:cxn>
                <a:cxn ang="0">
                  <a:pos x="T6" y="T7"/>
                </a:cxn>
                <a:cxn ang="0">
                  <a:pos x="T8" y="T9"/>
                </a:cxn>
              </a:cxnLst>
              <a:rect l="0" t="0" r="r" b="b"/>
              <a:pathLst>
                <a:path w="344" h="523">
                  <a:moveTo>
                    <a:pt x="344" y="0"/>
                  </a:moveTo>
                  <a:lnTo>
                    <a:pt x="0" y="0"/>
                  </a:lnTo>
                  <a:lnTo>
                    <a:pt x="37" y="523"/>
                  </a:lnTo>
                  <a:lnTo>
                    <a:pt x="308" y="523"/>
                  </a:lnTo>
                  <a:lnTo>
                    <a:pt x="3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nvGrpSpPr>
            <p:cNvPr id="2397" name="Group 2396"/>
            <p:cNvGrpSpPr/>
            <p:nvPr/>
          </p:nvGrpSpPr>
          <p:grpSpPr>
            <a:xfrm rot="1800000" flipH="1" flipV="1">
              <a:off x="4554258" y="2580476"/>
              <a:ext cx="108426" cy="194082"/>
              <a:chOff x="2687372" y="3149601"/>
              <a:chExt cx="81465" cy="132564"/>
            </a:xfrm>
            <a:solidFill>
              <a:schemeClr val="accent2"/>
            </a:solidFill>
          </p:grpSpPr>
          <p:sp>
            <p:nvSpPr>
              <p:cNvPr id="2398"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99"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04"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05"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06"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3107"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000" b="0" i="0" u="none" strike="noStrike" kern="0" cap="none" spc="-100" normalizeH="0" baseline="0" noProof="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sp>
          <p:nvSpPr>
            <p:cNvPr id="2923" name="Freeform 1929"/>
            <p:cNvSpPr>
              <a:spLocks/>
            </p:cNvSpPr>
            <p:nvPr/>
          </p:nvSpPr>
          <p:spPr bwMode="auto">
            <a:xfrm>
              <a:off x="3990044" y="2315223"/>
              <a:ext cx="998419" cy="998420"/>
            </a:xfrm>
            <a:custGeom>
              <a:avLst/>
              <a:gdLst>
                <a:gd name="T0" fmla="*/ 6 w 4569"/>
                <a:gd name="T1" fmla="*/ 2110 h 4570"/>
                <a:gd name="T2" fmla="*/ 46 w 4569"/>
                <a:gd name="T3" fmla="*/ 1824 h 4570"/>
                <a:gd name="T4" fmla="*/ 120 w 4569"/>
                <a:gd name="T5" fmla="*/ 1553 h 4570"/>
                <a:gd name="T6" fmla="*/ 225 w 4569"/>
                <a:gd name="T7" fmla="*/ 1295 h 4570"/>
                <a:gd name="T8" fmla="*/ 360 w 4569"/>
                <a:gd name="T9" fmla="*/ 1054 h 4570"/>
                <a:gd name="T10" fmla="*/ 521 w 4569"/>
                <a:gd name="T11" fmla="*/ 832 h 4570"/>
                <a:gd name="T12" fmla="*/ 708 w 4569"/>
                <a:gd name="T13" fmla="*/ 632 h 4570"/>
                <a:gd name="T14" fmla="*/ 918 w 4569"/>
                <a:gd name="T15" fmla="*/ 454 h 4570"/>
                <a:gd name="T16" fmla="*/ 1148 w 4569"/>
                <a:gd name="T17" fmla="*/ 303 h 4570"/>
                <a:gd name="T18" fmla="*/ 1395 w 4569"/>
                <a:gd name="T19" fmla="*/ 180 h 4570"/>
                <a:gd name="T20" fmla="*/ 1659 w 4569"/>
                <a:gd name="T21" fmla="*/ 87 h 4570"/>
                <a:gd name="T22" fmla="*/ 1937 w 4569"/>
                <a:gd name="T23" fmla="*/ 27 h 4570"/>
                <a:gd name="T24" fmla="*/ 2226 w 4569"/>
                <a:gd name="T25" fmla="*/ 1 h 4570"/>
                <a:gd name="T26" fmla="*/ 2460 w 4569"/>
                <a:gd name="T27" fmla="*/ 8 h 4570"/>
                <a:gd name="T28" fmla="*/ 2745 w 4569"/>
                <a:gd name="T29" fmla="*/ 47 h 4570"/>
                <a:gd name="T30" fmla="*/ 3017 w 4569"/>
                <a:gd name="T31" fmla="*/ 121 h 4570"/>
                <a:gd name="T32" fmla="*/ 3275 w 4569"/>
                <a:gd name="T33" fmla="*/ 226 h 4570"/>
                <a:gd name="T34" fmla="*/ 3515 w 4569"/>
                <a:gd name="T35" fmla="*/ 360 h 4570"/>
                <a:gd name="T36" fmla="*/ 3738 w 4569"/>
                <a:gd name="T37" fmla="*/ 523 h 4570"/>
                <a:gd name="T38" fmla="*/ 3938 w 4569"/>
                <a:gd name="T39" fmla="*/ 709 h 4570"/>
                <a:gd name="T40" fmla="*/ 4115 w 4569"/>
                <a:gd name="T41" fmla="*/ 918 h 4570"/>
                <a:gd name="T42" fmla="*/ 4266 w 4569"/>
                <a:gd name="T43" fmla="*/ 1148 h 4570"/>
                <a:gd name="T44" fmla="*/ 4389 w 4569"/>
                <a:gd name="T45" fmla="*/ 1396 h 4570"/>
                <a:gd name="T46" fmla="*/ 4482 w 4569"/>
                <a:gd name="T47" fmla="*/ 1660 h 4570"/>
                <a:gd name="T48" fmla="*/ 4542 w 4569"/>
                <a:gd name="T49" fmla="*/ 1937 h 4570"/>
                <a:gd name="T50" fmla="*/ 4568 w 4569"/>
                <a:gd name="T51" fmla="*/ 2226 h 4570"/>
                <a:gd name="T52" fmla="*/ 4563 w 4569"/>
                <a:gd name="T53" fmla="*/ 2461 h 4570"/>
                <a:gd name="T54" fmla="*/ 4523 w 4569"/>
                <a:gd name="T55" fmla="*/ 2746 h 4570"/>
                <a:gd name="T56" fmla="*/ 4449 w 4569"/>
                <a:gd name="T57" fmla="*/ 3018 h 4570"/>
                <a:gd name="T58" fmla="*/ 4344 w 4569"/>
                <a:gd name="T59" fmla="*/ 3275 h 4570"/>
                <a:gd name="T60" fmla="*/ 4209 w 4569"/>
                <a:gd name="T61" fmla="*/ 3517 h 4570"/>
                <a:gd name="T62" fmla="*/ 4048 w 4569"/>
                <a:gd name="T63" fmla="*/ 3738 h 4570"/>
                <a:gd name="T64" fmla="*/ 3861 w 4569"/>
                <a:gd name="T65" fmla="*/ 3939 h 4570"/>
                <a:gd name="T66" fmla="*/ 3651 w 4569"/>
                <a:gd name="T67" fmla="*/ 4116 h 4570"/>
                <a:gd name="T68" fmla="*/ 3421 w 4569"/>
                <a:gd name="T69" fmla="*/ 4267 h 4570"/>
                <a:gd name="T70" fmla="*/ 3174 w 4569"/>
                <a:gd name="T71" fmla="*/ 4390 h 4570"/>
                <a:gd name="T72" fmla="*/ 2909 w 4569"/>
                <a:gd name="T73" fmla="*/ 4483 h 4570"/>
                <a:gd name="T74" fmla="*/ 2632 w 4569"/>
                <a:gd name="T75" fmla="*/ 4544 h 4570"/>
                <a:gd name="T76" fmla="*/ 2343 w 4569"/>
                <a:gd name="T77" fmla="*/ 4569 h 4570"/>
                <a:gd name="T78" fmla="*/ 2108 w 4569"/>
                <a:gd name="T79" fmla="*/ 4563 h 4570"/>
                <a:gd name="T80" fmla="*/ 1824 w 4569"/>
                <a:gd name="T81" fmla="*/ 4523 h 4570"/>
                <a:gd name="T82" fmla="*/ 1551 w 4569"/>
                <a:gd name="T83" fmla="*/ 4449 h 4570"/>
                <a:gd name="T84" fmla="*/ 1294 w 4569"/>
                <a:gd name="T85" fmla="*/ 4344 h 4570"/>
                <a:gd name="T86" fmla="*/ 1053 w 4569"/>
                <a:gd name="T87" fmla="*/ 4209 h 4570"/>
                <a:gd name="T88" fmla="*/ 831 w 4569"/>
                <a:gd name="T89" fmla="*/ 4048 h 4570"/>
                <a:gd name="T90" fmla="*/ 631 w 4569"/>
                <a:gd name="T91" fmla="*/ 3861 h 4570"/>
                <a:gd name="T92" fmla="*/ 454 w 4569"/>
                <a:gd name="T93" fmla="*/ 3652 h 4570"/>
                <a:gd name="T94" fmla="*/ 303 w 4569"/>
                <a:gd name="T95" fmla="*/ 3423 h 4570"/>
                <a:gd name="T96" fmla="*/ 179 w 4569"/>
                <a:gd name="T97" fmla="*/ 3174 h 4570"/>
                <a:gd name="T98" fmla="*/ 86 w 4569"/>
                <a:gd name="T99" fmla="*/ 2911 h 4570"/>
                <a:gd name="T100" fmla="*/ 26 w 4569"/>
                <a:gd name="T101" fmla="*/ 2633 h 4570"/>
                <a:gd name="T102" fmla="*/ 0 w 4569"/>
                <a:gd name="T103" fmla="*/ 2345 h 4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9" h="4570">
                  <a:moveTo>
                    <a:pt x="0" y="2285"/>
                  </a:moveTo>
                  <a:lnTo>
                    <a:pt x="0" y="2285"/>
                  </a:lnTo>
                  <a:lnTo>
                    <a:pt x="0" y="2226"/>
                  </a:lnTo>
                  <a:lnTo>
                    <a:pt x="3" y="2168"/>
                  </a:lnTo>
                  <a:lnTo>
                    <a:pt x="6" y="2110"/>
                  </a:lnTo>
                  <a:lnTo>
                    <a:pt x="11" y="2051"/>
                  </a:lnTo>
                  <a:lnTo>
                    <a:pt x="19" y="1994"/>
                  </a:lnTo>
                  <a:lnTo>
                    <a:pt x="26" y="1937"/>
                  </a:lnTo>
                  <a:lnTo>
                    <a:pt x="36" y="1881"/>
                  </a:lnTo>
                  <a:lnTo>
                    <a:pt x="46" y="1824"/>
                  </a:lnTo>
                  <a:lnTo>
                    <a:pt x="58" y="1769"/>
                  </a:lnTo>
                  <a:lnTo>
                    <a:pt x="72" y="1714"/>
                  </a:lnTo>
                  <a:lnTo>
                    <a:pt x="86" y="1660"/>
                  </a:lnTo>
                  <a:lnTo>
                    <a:pt x="102" y="1606"/>
                  </a:lnTo>
                  <a:lnTo>
                    <a:pt x="120" y="1553"/>
                  </a:lnTo>
                  <a:lnTo>
                    <a:pt x="138" y="1499"/>
                  </a:lnTo>
                  <a:lnTo>
                    <a:pt x="159" y="1447"/>
                  </a:lnTo>
                  <a:lnTo>
                    <a:pt x="179" y="1396"/>
                  </a:lnTo>
                  <a:lnTo>
                    <a:pt x="201" y="1345"/>
                  </a:lnTo>
                  <a:lnTo>
                    <a:pt x="225" y="1295"/>
                  </a:lnTo>
                  <a:lnTo>
                    <a:pt x="249" y="1245"/>
                  </a:lnTo>
                  <a:lnTo>
                    <a:pt x="275" y="1196"/>
                  </a:lnTo>
                  <a:lnTo>
                    <a:pt x="303" y="1148"/>
                  </a:lnTo>
                  <a:lnTo>
                    <a:pt x="330" y="1101"/>
                  </a:lnTo>
                  <a:lnTo>
                    <a:pt x="360" y="1054"/>
                  </a:lnTo>
                  <a:lnTo>
                    <a:pt x="389" y="1008"/>
                  </a:lnTo>
                  <a:lnTo>
                    <a:pt x="421" y="963"/>
                  </a:lnTo>
                  <a:lnTo>
                    <a:pt x="454" y="918"/>
                  </a:lnTo>
                  <a:lnTo>
                    <a:pt x="487" y="875"/>
                  </a:lnTo>
                  <a:lnTo>
                    <a:pt x="521" y="832"/>
                  </a:lnTo>
                  <a:lnTo>
                    <a:pt x="557" y="790"/>
                  </a:lnTo>
                  <a:lnTo>
                    <a:pt x="593" y="749"/>
                  </a:lnTo>
                  <a:lnTo>
                    <a:pt x="631" y="709"/>
                  </a:lnTo>
                  <a:lnTo>
                    <a:pt x="668" y="670"/>
                  </a:lnTo>
                  <a:lnTo>
                    <a:pt x="708" y="632"/>
                  </a:lnTo>
                  <a:lnTo>
                    <a:pt x="748" y="594"/>
                  </a:lnTo>
                  <a:lnTo>
                    <a:pt x="789" y="557"/>
                  </a:lnTo>
                  <a:lnTo>
                    <a:pt x="831" y="523"/>
                  </a:lnTo>
                  <a:lnTo>
                    <a:pt x="874" y="488"/>
                  </a:lnTo>
                  <a:lnTo>
                    <a:pt x="918" y="454"/>
                  </a:lnTo>
                  <a:lnTo>
                    <a:pt x="962" y="422"/>
                  </a:lnTo>
                  <a:lnTo>
                    <a:pt x="1007" y="391"/>
                  </a:lnTo>
                  <a:lnTo>
                    <a:pt x="1053" y="360"/>
                  </a:lnTo>
                  <a:lnTo>
                    <a:pt x="1100" y="332"/>
                  </a:lnTo>
                  <a:lnTo>
                    <a:pt x="1148" y="303"/>
                  </a:lnTo>
                  <a:lnTo>
                    <a:pt x="1196" y="276"/>
                  </a:lnTo>
                  <a:lnTo>
                    <a:pt x="1245" y="251"/>
                  </a:lnTo>
                  <a:lnTo>
                    <a:pt x="1294" y="226"/>
                  </a:lnTo>
                  <a:lnTo>
                    <a:pt x="1344" y="203"/>
                  </a:lnTo>
                  <a:lnTo>
                    <a:pt x="1395" y="180"/>
                  </a:lnTo>
                  <a:lnTo>
                    <a:pt x="1447" y="159"/>
                  </a:lnTo>
                  <a:lnTo>
                    <a:pt x="1499" y="139"/>
                  </a:lnTo>
                  <a:lnTo>
                    <a:pt x="1551" y="121"/>
                  </a:lnTo>
                  <a:lnTo>
                    <a:pt x="1605" y="104"/>
                  </a:lnTo>
                  <a:lnTo>
                    <a:pt x="1659" y="87"/>
                  </a:lnTo>
                  <a:lnTo>
                    <a:pt x="1714" y="73"/>
                  </a:lnTo>
                  <a:lnTo>
                    <a:pt x="1768" y="59"/>
                  </a:lnTo>
                  <a:lnTo>
                    <a:pt x="1824" y="47"/>
                  </a:lnTo>
                  <a:lnTo>
                    <a:pt x="1880" y="36"/>
                  </a:lnTo>
                  <a:lnTo>
                    <a:pt x="1937" y="27"/>
                  </a:lnTo>
                  <a:lnTo>
                    <a:pt x="1994" y="19"/>
                  </a:lnTo>
                  <a:lnTo>
                    <a:pt x="2051" y="13"/>
                  </a:lnTo>
                  <a:lnTo>
                    <a:pt x="2108" y="8"/>
                  </a:lnTo>
                  <a:lnTo>
                    <a:pt x="2166" y="4"/>
                  </a:lnTo>
                  <a:lnTo>
                    <a:pt x="2226" y="1"/>
                  </a:lnTo>
                  <a:lnTo>
                    <a:pt x="2284" y="0"/>
                  </a:lnTo>
                  <a:lnTo>
                    <a:pt x="2284" y="0"/>
                  </a:lnTo>
                  <a:lnTo>
                    <a:pt x="2343" y="1"/>
                  </a:lnTo>
                  <a:lnTo>
                    <a:pt x="2402" y="4"/>
                  </a:lnTo>
                  <a:lnTo>
                    <a:pt x="2460" y="8"/>
                  </a:lnTo>
                  <a:lnTo>
                    <a:pt x="2518" y="13"/>
                  </a:lnTo>
                  <a:lnTo>
                    <a:pt x="2575" y="19"/>
                  </a:lnTo>
                  <a:lnTo>
                    <a:pt x="2632" y="27"/>
                  </a:lnTo>
                  <a:lnTo>
                    <a:pt x="2689" y="36"/>
                  </a:lnTo>
                  <a:lnTo>
                    <a:pt x="2745" y="47"/>
                  </a:lnTo>
                  <a:lnTo>
                    <a:pt x="2800" y="59"/>
                  </a:lnTo>
                  <a:lnTo>
                    <a:pt x="2855" y="73"/>
                  </a:lnTo>
                  <a:lnTo>
                    <a:pt x="2909" y="87"/>
                  </a:lnTo>
                  <a:lnTo>
                    <a:pt x="2964" y="104"/>
                  </a:lnTo>
                  <a:lnTo>
                    <a:pt x="3017" y="121"/>
                  </a:lnTo>
                  <a:lnTo>
                    <a:pt x="3070" y="139"/>
                  </a:lnTo>
                  <a:lnTo>
                    <a:pt x="3122" y="159"/>
                  </a:lnTo>
                  <a:lnTo>
                    <a:pt x="3174" y="180"/>
                  </a:lnTo>
                  <a:lnTo>
                    <a:pt x="3225" y="203"/>
                  </a:lnTo>
                  <a:lnTo>
                    <a:pt x="3275" y="226"/>
                  </a:lnTo>
                  <a:lnTo>
                    <a:pt x="3324" y="251"/>
                  </a:lnTo>
                  <a:lnTo>
                    <a:pt x="3373" y="276"/>
                  </a:lnTo>
                  <a:lnTo>
                    <a:pt x="3421" y="303"/>
                  </a:lnTo>
                  <a:lnTo>
                    <a:pt x="3469" y="332"/>
                  </a:lnTo>
                  <a:lnTo>
                    <a:pt x="3515" y="360"/>
                  </a:lnTo>
                  <a:lnTo>
                    <a:pt x="3561" y="391"/>
                  </a:lnTo>
                  <a:lnTo>
                    <a:pt x="3607" y="422"/>
                  </a:lnTo>
                  <a:lnTo>
                    <a:pt x="3651" y="454"/>
                  </a:lnTo>
                  <a:lnTo>
                    <a:pt x="3695" y="488"/>
                  </a:lnTo>
                  <a:lnTo>
                    <a:pt x="3738" y="523"/>
                  </a:lnTo>
                  <a:lnTo>
                    <a:pt x="3780" y="557"/>
                  </a:lnTo>
                  <a:lnTo>
                    <a:pt x="3821" y="594"/>
                  </a:lnTo>
                  <a:lnTo>
                    <a:pt x="3861" y="632"/>
                  </a:lnTo>
                  <a:lnTo>
                    <a:pt x="3900" y="670"/>
                  </a:lnTo>
                  <a:lnTo>
                    <a:pt x="3938" y="709"/>
                  </a:lnTo>
                  <a:lnTo>
                    <a:pt x="3975" y="749"/>
                  </a:lnTo>
                  <a:lnTo>
                    <a:pt x="4012" y="790"/>
                  </a:lnTo>
                  <a:lnTo>
                    <a:pt x="4048" y="832"/>
                  </a:lnTo>
                  <a:lnTo>
                    <a:pt x="4081" y="875"/>
                  </a:lnTo>
                  <a:lnTo>
                    <a:pt x="4115" y="918"/>
                  </a:lnTo>
                  <a:lnTo>
                    <a:pt x="4148" y="963"/>
                  </a:lnTo>
                  <a:lnTo>
                    <a:pt x="4179" y="1008"/>
                  </a:lnTo>
                  <a:lnTo>
                    <a:pt x="4209" y="1054"/>
                  </a:lnTo>
                  <a:lnTo>
                    <a:pt x="4239" y="1101"/>
                  </a:lnTo>
                  <a:lnTo>
                    <a:pt x="4266" y="1148"/>
                  </a:lnTo>
                  <a:lnTo>
                    <a:pt x="4293" y="1196"/>
                  </a:lnTo>
                  <a:lnTo>
                    <a:pt x="4320" y="1245"/>
                  </a:lnTo>
                  <a:lnTo>
                    <a:pt x="4344" y="1295"/>
                  </a:lnTo>
                  <a:lnTo>
                    <a:pt x="4368" y="1345"/>
                  </a:lnTo>
                  <a:lnTo>
                    <a:pt x="4389" y="1396"/>
                  </a:lnTo>
                  <a:lnTo>
                    <a:pt x="4410" y="1447"/>
                  </a:lnTo>
                  <a:lnTo>
                    <a:pt x="4431" y="1499"/>
                  </a:lnTo>
                  <a:lnTo>
                    <a:pt x="4449" y="1553"/>
                  </a:lnTo>
                  <a:lnTo>
                    <a:pt x="4467" y="1606"/>
                  </a:lnTo>
                  <a:lnTo>
                    <a:pt x="4482" y="1660"/>
                  </a:lnTo>
                  <a:lnTo>
                    <a:pt x="4497" y="1714"/>
                  </a:lnTo>
                  <a:lnTo>
                    <a:pt x="4511" y="1769"/>
                  </a:lnTo>
                  <a:lnTo>
                    <a:pt x="4523" y="1824"/>
                  </a:lnTo>
                  <a:lnTo>
                    <a:pt x="4533" y="1881"/>
                  </a:lnTo>
                  <a:lnTo>
                    <a:pt x="4542" y="1937"/>
                  </a:lnTo>
                  <a:lnTo>
                    <a:pt x="4550" y="1994"/>
                  </a:lnTo>
                  <a:lnTo>
                    <a:pt x="4558" y="2051"/>
                  </a:lnTo>
                  <a:lnTo>
                    <a:pt x="4563" y="2110"/>
                  </a:lnTo>
                  <a:lnTo>
                    <a:pt x="4566" y="2168"/>
                  </a:lnTo>
                  <a:lnTo>
                    <a:pt x="4568" y="2226"/>
                  </a:lnTo>
                  <a:lnTo>
                    <a:pt x="4569" y="2285"/>
                  </a:lnTo>
                  <a:lnTo>
                    <a:pt x="4569" y="2285"/>
                  </a:lnTo>
                  <a:lnTo>
                    <a:pt x="4568" y="2345"/>
                  </a:lnTo>
                  <a:lnTo>
                    <a:pt x="4566" y="2403"/>
                  </a:lnTo>
                  <a:lnTo>
                    <a:pt x="4563" y="2461"/>
                  </a:lnTo>
                  <a:lnTo>
                    <a:pt x="4558" y="2519"/>
                  </a:lnTo>
                  <a:lnTo>
                    <a:pt x="4550" y="2576"/>
                  </a:lnTo>
                  <a:lnTo>
                    <a:pt x="4542" y="2633"/>
                  </a:lnTo>
                  <a:lnTo>
                    <a:pt x="4533" y="2690"/>
                  </a:lnTo>
                  <a:lnTo>
                    <a:pt x="4523" y="2746"/>
                  </a:lnTo>
                  <a:lnTo>
                    <a:pt x="4511" y="2801"/>
                  </a:lnTo>
                  <a:lnTo>
                    <a:pt x="4497" y="2856"/>
                  </a:lnTo>
                  <a:lnTo>
                    <a:pt x="4482" y="2911"/>
                  </a:lnTo>
                  <a:lnTo>
                    <a:pt x="4467" y="2965"/>
                  </a:lnTo>
                  <a:lnTo>
                    <a:pt x="4449" y="3018"/>
                  </a:lnTo>
                  <a:lnTo>
                    <a:pt x="4431" y="3071"/>
                  </a:lnTo>
                  <a:lnTo>
                    <a:pt x="4410" y="3123"/>
                  </a:lnTo>
                  <a:lnTo>
                    <a:pt x="4389" y="3174"/>
                  </a:lnTo>
                  <a:lnTo>
                    <a:pt x="4368" y="3225"/>
                  </a:lnTo>
                  <a:lnTo>
                    <a:pt x="4344" y="3275"/>
                  </a:lnTo>
                  <a:lnTo>
                    <a:pt x="4320" y="3325"/>
                  </a:lnTo>
                  <a:lnTo>
                    <a:pt x="4293" y="3375"/>
                  </a:lnTo>
                  <a:lnTo>
                    <a:pt x="4266" y="3423"/>
                  </a:lnTo>
                  <a:lnTo>
                    <a:pt x="4239" y="3470"/>
                  </a:lnTo>
                  <a:lnTo>
                    <a:pt x="4209" y="3517"/>
                  </a:lnTo>
                  <a:lnTo>
                    <a:pt x="4179" y="3563"/>
                  </a:lnTo>
                  <a:lnTo>
                    <a:pt x="4148" y="3608"/>
                  </a:lnTo>
                  <a:lnTo>
                    <a:pt x="4115" y="3652"/>
                  </a:lnTo>
                  <a:lnTo>
                    <a:pt x="4081" y="3695"/>
                  </a:lnTo>
                  <a:lnTo>
                    <a:pt x="4048" y="3738"/>
                  </a:lnTo>
                  <a:lnTo>
                    <a:pt x="4012" y="3780"/>
                  </a:lnTo>
                  <a:lnTo>
                    <a:pt x="3975" y="3821"/>
                  </a:lnTo>
                  <a:lnTo>
                    <a:pt x="3938" y="3861"/>
                  </a:lnTo>
                  <a:lnTo>
                    <a:pt x="3900" y="3901"/>
                  </a:lnTo>
                  <a:lnTo>
                    <a:pt x="3861" y="3939"/>
                  </a:lnTo>
                  <a:lnTo>
                    <a:pt x="3821" y="3976"/>
                  </a:lnTo>
                  <a:lnTo>
                    <a:pt x="3780" y="4012"/>
                  </a:lnTo>
                  <a:lnTo>
                    <a:pt x="3738" y="4048"/>
                  </a:lnTo>
                  <a:lnTo>
                    <a:pt x="3695" y="4083"/>
                  </a:lnTo>
                  <a:lnTo>
                    <a:pt x="3651" y="4116"/>
                  </a:lnTo>
                  <a:lnTo>
                    <a:pt x="3607" y="4148"/>
                  </a:lnTo>
                  <a:lnTo>
                    <a:pt x="3561" y="4180"/>
                  </a:lnTo>
                  <a:lnTo>
                    <a:pt x="3515" y="4209"/>
                  </a:lnTo>
                  <a:lnTo>
                    <a:pt x="3469" y="4239"/>
                  </a:lnTo>
                  <a:lnTo>
                    <a:pt x="3421" y="4267"/>
                  </a:lnTo>
                  <a:lnTo>
                    <a:pt x="3373" y="4294"/>
                  </a:lnTo>
                  <a:lnTo>
                    <a:pt x="3324" y="4320"/>
                  </a:lnTo>
                  <a:lnTo>
                    <a:pt x="3275" y="4344"/>
                  </a:lnTo>
                  <a:lnTo>
                    <a:pt x="3225" y="4368"/>
                  </a:lnTo>
                  <a:lnTo>
                    <a:pt x="3174" y="4390"/>
                  </a:lnTo>
                  <a:lnTo>
                    <a:pt x="3122" y="4412"/>
                  </a:lnTo>
                  <a:lnTo>
                    <a:pt x="3070" y="4431"/>
                  </a:lnTo>
                  <a:lnTo>
                    <a:pt x="3017" y="4449"/>
                  </a:lnTo>
                  <a:lnTo>
                    <a:pt x="2964" y="4467"/>
                  </a:lnTo>
                  <a:lnTo>
                    <a:pt x="2909" y="4483"/>
                  </a:lnTo>
                  <a:lnTo>
                    <a:pt x="2855" y="4498"/>
                  </a:lnTo>
                  <a:lnTo>
                    <a:pt x="2800" y="4511"/>
                  </a:lnTo>
                  <a:lnTo>
                    <a:pt x="2745" y="4523"/>
                  </a:lnTo>
                  <a:lnTo>
                    <a:pt x="2689" y="4534"/>
                  </a:lnTo>
                  <a:lnTo>
                    <a:pt x="2632" y="4544"/>
                  </a:lnTo>
                  <a:lnTo>
                    <a:pt x="2575" y="4552"/>
                  </a:lnTo>
                  <a:lnTo>
                    <a:pt x="2518" y="4558"/>
                  </a:lnTo>
                  <a:lnTo>
                    <a:pt x="2460" y="4563"/>
                  </a:lnTo>
                  <a:lnTo>
                    <a:pt x="2402" y="4567"/>
                  </a:lnTo>
                  <a:lnTo>
                    <a:pt x="2343" y="4569"/>
                  </a:lnTo>
                  <a:lnTo>
                    <a:pt x="2284" y="4570"/>
                  </a:lnTo>
                  <a:lnTo>
                    <a:pt x="2284" y="4570"/>
                  </a:lnTo>
                  <a:lnTo>
                    <a:pt x="2226" y="4569"/>
                  </a:lnTo>
                  <a:lnTo>
                    <a:pt x="2166" y="4567"/>
                  </a:lnTo>
                  <a:lnTo>
                    <a:pt x="2108" y="4563"/>
                  </a:lnTo>
                  <a:lnTo>
                    <a:pt x="2051" y="4558"/>
                  </a:lnTo>
                  <a:lnTo>
                    <a:pt x="1994" y="4552"/>
                  </a:lnTo>
                  <a:lnTo>
                    <a:pt x="1937" y="4544"/>
                  </a:lnTo>
                  <a:lnTo>
                    <a:pt x="1880" y="4534"/>
                  </a:lnTo>
                  <a:lnTo>
                    <a:pt x="1824" y="4523"/>
                  </a:lnTo>
                  <a:lnTo>
                    <a:pt x="1768" y="4511"/>
                  </a:lnTo>
                  <a:lnTo>
                    <a:pt x="1714" y="4498"/>
                  </a:lnTo>
                  <a:lnTo>
                    <a:pt x="1659" y="4483"/>
                  </a:lnTo>
                  <a:lnTo>
                    <a:pt x="1605" y="4467"/>
                  </a:lnTo>
                  <a:lnTo>
                    <a:pt x="1551" y="4449"/>
                  </a:lnTo>
                  <a:lnTo>
                    <a:pt x="1499" y="4431"/>
                  </a:lnTo>
                  <a:lnTo>
                    <a:pt x="1447" y="4412"/>
                  </a:lnTo>
                  <a:lnTo>
                    <a:pt x="1395" y="4390"/>
                  </a:lnTo>
                  <a:lnTo>
                    <a:pt x="1344" y="4368"/>
                  </a:lnTo>
                  <a:lnTo>
                    <a:pt x="1294" y="4344"/>
                  </a:lnTo>
                  <a:lnTo>
                    <a:pt x="1245" y="4320"/>
                  </a:lnTo>
                  <a:lnTo>
                    <a:pt x="1196" y="4294"/>
                  </a:lnTo>
                  <a:lnTo>
                    <a:pt x="1148" y="4267"/>
                  </a:lnTo>
                  <a:lnTo>
                    <a:pt x="1100" y="4239"/>
                  </a:lnTo>
                  <a:lnTo>
                    <a:pt x="1053" y="4209"/>
                  </a:lnTo>
                  <a:lnTo>
                    <a:pt x="1007" y="4180"/>
                  </a:lnTo>
                  <a:lnTo>
                    <a:pt x="962" y="4148"/>
                  </a:lnTo>
                  <a:lnTo>
                    <a:pt x="918" y="4116"/>
                  </a:lnTo>
                  <a:lnTo>
                    <a:pt x="874" y="4083"/>
                  </a:lnTo>
                  <a:lnTo>
                    <a:pt x="831" y="4048"/>
                  </a:lnTo>
                  <a:lnTo>
                    <a:pt x="789" y="4012"/>
                  </a:lnTo>
                  <a:lnTo>
                    <a:pt x="748" y="3976"/>
                  </a:lnTo>
                  <a:lnTo>
                    <a:pt x="708" y="3939"/>
                  </a:lnTo>
                  <a:lnTo>
                    <a:pt x="668" y="3901"/>
                  </a:lnTo>
                  <a:lnTo>
                    <a:pt x="631" y="3861"/>
                  </a:lnTo>
                  <a:lnTo>
                    <a:pt x="593" y="3821"/>
                  </a:lnTo>
                  <a:lnTo>
                    <a:pt x="557" y="3780"/>
                  </a:lnTo>
                  <a:lnTo>
                    <a:pt x="521" y="3738"/>
                  </a:lnTo>
                  <a:lnTo>
                    <a:pt x="487" y="3695"/>
                  </a:lnTo>
                  <a:lnTo>
                    <a:pt x="454" y="3652"/>
                  </a:lnTo>
                  <a:lnTo>
                    <a:pt x="421" y="3608"/>
                  </a:lnTo>
                  <a:lnTo>
                    <a:pt x="389" y="3563"/>
                  </a:lnTo>
                  <a:lnTo>
                    <a:pt x="360" y="3517"/>
                  </a:lnTo>
                  <a:lnTo>
                    <a:pt x="330" y="3470"/>
                  </a:lnTo>
                  <a:lnTo>
                    <a:pt x="303" y="3423"/>
                  </a:lnTo>
                  <a:lnTo>
                    <a:pt x="275" y="3375"/>
                  </a:lnTo>
                  <a:lnTo>
                    <a:pt x="249" y="3325"/>
                  </a:lnTo>
                  <a:lnTo>
                    <a:pt x="225" y="3275"/>
                  </a:lnTo>
                  <a:lnTo>
                    <a:pt x="201" y="3225"/>
                  </a:lnTo>
                  <a:lnTo>
                    <a:pt x="179" y="3174"/>
                  </a:lnTo>
                  <a:lnTo>
                    <a:pt x="159" y="3123"/>
                  </a:lnTo>
                  <a:lnTo>
                    <a:pt x="138" y="3071"/>
                  </a:lnTo>
                  <a:lnTo>
                    <a:pt x="120" y="3018"/>
                  </a:lnTo>
                  <a:lnTo>
                    <a:pt x="102" y="2965"/>
                  </a:lnTo>
                  <a:lnTo>
                    <a:pt x="86" y="2911"/>
                  </a:lnTo>
                  <a:lnTo>
                    <a:pt x="72" y="2856"/>
                  </a:lnTo>
                  <a:lnTo>
                    <a:pt x="58" y="2801"/>
                  </a:lnTo>
                  <a:lnTo>
                    <a:pt x="46" y="2746"/>
                  </a:lnTo>
                  <a:lnTo>
                    <a:pt x="36" y="2690"/>
                  </a:lnTo>
                  <a:lnTo>
                    <a:pt x="26" y="2633"/>
                  </a:lnTo>
                  <a:lnTo>
                    <a:pt x="19" y="2576"/>
                  </a:lnTo>
                  <a:lnTo>
                    <a:pt x="11" y="2519"/>
                  </a:lnTo>
                  <a:lnTo>
                    <a:pt x="6" y="2461"/>
                  </a:lnTo>
                  <a:lnTo>
                    <a:pt x="3" y="2403"/>
                  </a:lnTo>
                  <a:lnTo>
                    <a:pt x="0" y="2345"/>
                  </a:lnTo>
                  <a:lnTo>
                    <a:pt x="0" y="2285"/>
                  </a:lnTo>
                  <a:lnTo>
                    <a:pt x="0" y="2285"/>
                  </a:lnTo>
                  <a:close/>
                </a:path>
              </a:pathLst>
            </a:custGeom>
            <a:noFill/>
            <a:ln w="2857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3B41"/>
                </a:solidFill>
                <a:effectLst/>
                <a:uLnTx/>
                <a:uFillTx/>
              </a:endParaRPr>
            </a:p>
          </p:txBody>
        </p:sp>
      </p:grpSp>
      <p:grpSp>
        <p:nvGrpSpPr>
          <p:cNvPr id="2354" name="Group 2353"/>
          <p:cNvGrpSpPr/>
          <p:nvPr/>
        </p:nvGrpSpPr>
        <p:grpSpPr>
          <a:xfrm>
            <a:off x="5378304" y="2915266"/>
            <a:ext cx="223505" cy="223505"/>
            <a:chOff x="4826727" y="1390548"/>
            <a:chExt cx="502642" cy="502642"/>
          </a:xfrm>
        </p:grpSpPr>
        <p:sp>
          <p:nvSpPr>
            <p:cNvPr id="2355" name="Oval 2354"/>
            <p:cNvSpPr/>
            <p:nvPr/>
          </p:nvSpPr>
          <p:spPr bwMode="auto">
            <a:xfrm>
              <a:off x="4826727" y="1390548"/>
              <a:ext cx="502642" cy="502642"/>
            </a:xfrm>
            <a:prstGeom prst="ellipse">
              <a:avLst/>
            </a:prstGeom>
            <a:solidFill>
              <a:schemeClr val="bg2">
                <a:lumMod val="10000"/>
              </a:schemeClr>
            </a:solidFill>
            <a:ln w="28575">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2356" name="Left Arrow 2355"/>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1054" name="Group 1053"/>
          <p:cNvGrpSpPr/>
          <p:nvPr/>
        </p:nvGrpSpPr>
        <p:grpSpPr>
          <a:xfrm>
            <a:off x="4289426" y="2904089"/>
            <a:ext cx="245856" cy="245856"/>
            <a:chOff x="4826727" y="1390548"/>
            <a:chExt cx="502642" cy="502642"/>
          </a:xfrm>
        </p:grpSpPr>
        <p:sp>
          <p:nvSpPr>
            <p:cNvPr id="1055" name="Oval 1054"/>
            <p:cNvSpPr/>
            <p:nvPr/>
          </p:nvSpPr>
          <p:spPr bwMode="auto">
            <a:xfrm>
              <a:off x="4826727" y="1390548"/>
              <a:ext cx="502642" cy="502642"/>
            </a:xfrm>
            <a:prstGeom prst="ellipse">
              <a:avLst/>
            </a:prstGeom>
            <a:solidFill>
              <a:schemeClr val="bg2">
                <a:lumMod val="10000"/>
              </a:schemeClr>
            </a:solidFill>
            <a:ln w="28575">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sp>
          <p:nvSpPr>
            <p:cNvPr id="1056" name="Left Arrow 1055"/>
            <p:cNvSpPr/>
            <p:nvPr/>
          </p:nvSpPr>
          <p:spPr bwMode="auto">
            <a:xfrm flipH="1">
              <a:off x="4929679" y="1524788"/>
              <a:ext cx="296738" cy="234163"/>
            </a:xfrm>
            <a:prstGeom prst="leftArrow">
              <a:avLst/>
            </a:prstGeom>
            <a:gradFill>
              <a:gsLst>
                <a:gs pos="41000">
                  <a:schemeClr val="bg2">
                    <a:lumMod val="75000"/>
                  </a:schemeClr>
                </a:gs>
                <a:gs pos="0">
                  <a:schemeClr val="accent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cs typeface="Arial" charset="0"/>
              </a:endParaRPr>
            </a:p>
          </p:txBody>
        </p:sp>
      </p:grpSp>
      <p:grpSp>
        <p:nvGrpSpPr>
          <p:cNvPr id="971" name="Group 970"/>
          <p:cNvGrpSpPr/>
          <p:nvPr/>
        </p:nvGrpSpPr>
        <p:grpSpPr>
          <a:xfrm>
            <a:off x="212868" y="179809"/>
            <a:ext cx="528555" cy="752153"/>
            <a:chOff x="212868" y="179809"/>
            <a:chExt cx="528555" cy="752153"/>
          </a:xfrm>
        </p:grpSpPr>
        <p:sp>
          <p:nvSpPr>
            <p:cNvPr id="972"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974" name="Group 973"/>
            <p:cNvGrpSpPr/>
            <p:nvPr/>
          </p:nvGrpSpPr>
          <p:grpSpPr>
            <a:xfrm rot="10800000">
              <a:off x="342445" y="567418"/>
              <a:ext cx="274574" cy="364544"/>
              <a:chOff x="-1278804" y="2084340"/>
              <a:chExt cx="217157" cy="248510"/>
            </a:xfrm>
            <a:gradFill>
              <a:gsLst>
                <a:gs pos="0">
                  <a:schemeClr val="bg1"/>
                </a:gs>
                <a:gs pos="100000">
                  <a:schemeClr val="bg1">
                    <a:alpha val="0"/>
                  </a:schemeClr>
                </a:gs>
              </a:gsLst>
              <a:lin ang="16200000" scaled="1"/>
            </a:gradFill>
          </p:grpSpPr>
          <p:sp>
            <p:nvSpPr>
              <p:cNvPr id="975"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78"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80"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81"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83"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84"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85"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sp>
            <p:nvSpPr>
              <p:cNvPr id="987"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B3B41"/>
                  </a:solidFill>
                  <a:effectLst/>
                  <a:uLnTx/>
                  <a:uFillTx/>
                </a:endParaRPr>
              </a:p>
            </p:txBody>
          </p:sp>
        </p:grpSp>
      </p:grpSp>
    </p:spTree>
    <p:extLst>
      <p:ext uri="{BB962C8B-B14F-4D97-AF65-F5344CB8AC3E}">
        <p14:creationId xmlns:p14="http://schemas.microsoft.com/office/powerpoint/2010/main" val="133968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p:cNvSpPr>
            <a:spLocks noChangeAspect="1"/>
          </p:cNvSpPr>
          <p:nvPr/>
        </p:nvSpPr>
        <p:spPr bwMode="auto">
          <a:xfrm>
            <a:off x="670509" y="2082950"/>
            <a:ext cx="2160078" cy="2248597"/>
          </a:xfrm>
          <a:prstGeom prst="rect">
            <a:avLst/>
          </a:prstGeom>
          <a:solidFill>
            <a:srgbClr val="B957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Components and devices are </a:t>
            </a:r>
            <a:r>
              <a:rPr lang="en-US" sz="2300" dirty="0" smtClean="0">
                <a:solidFill>
                  <a:prstClr val="white"/>
                </a:solidFill>
                <a:latin typeface="Segoe UI Light"/>
              </a:rPr>
              <a:t>less </a:t>
            </a:r>
            <a:r>
              <a:rPr kumimoji="0" lang="en-US" sz="2300" b="0" i="0" u="none" strike="noStrike" kern="1200" cap="none" spc="0" normalizeH="0" baseline="0" noProof="0" dirty="0" smtClean="0">
                <a:ln>
                  <a:noFill/>
                </a:ln>
                <a:solidFill>
                  <a:prstClr val="white"/>
                </a:solidFill>
                <a:effectLst/>
                <a:uLnTx/>
                <a:uFillTx/>
                <a:latin typeface="Segoe UI Light"/>
                <a:ea typeface="+mn-ea"/>
                <a:cs typeface="+mn-cs"/>
              </a:rPr>
              <a:t>expensive</a:t>
            </a:r>
            <a:endParaRPr kumimoji="0" lang="en-US" sz="23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Rectangle 4"/>
          <p:cNvSpPr>
            <a:spLocks noChangeAspect="1"/>
          </p:cNvSpPr>
          <p:nvPr/>
        </p:nvSpPr>
        <p:spPr bwMode="auto">
          <a:xfrm>
            <a:off x="2820645" y="2082950"/>
            <a:ext cx="2160078" cy="2248597"/>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Connectivity is pervasive</a:t>
            </a:r>
          </a:p>
        </p:txBody>
      </p:sp>
      <p:sp>
        <p:nvSpPr>
          <p:cNvPr id="6" name="Rectangle 5"/>
          <p:cNvSpPr>
            <a:spLocks noChangeAspect="1"/>
          </p:cNvSpPr>
          <p:nvPr/>
        </p:nvSpPr>
        <p:spPr bwMode="auto">
          <a:xfrm>
            <a:off x="4970781" y="2082950"/>
            <a:ext cx="2160078" cy="2248597"/>
          </a:xfrm>
          <a:prstGeom prst="rect">
            <a:avLst/>
          </a:prstGeom>
          <a:solidFill>
            <a:srgbClr val="4E195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Development is easy</a:t>
            </a:r>
          </a:p>
        </p:txBody>
      </p:sp>
      <p:sp>
        <p:nvSpPr>
          <p:cNvPr id="7" name="Rectangle 6"/>
          <p:cNvSpPr>
            <a:spLocks noChangeAspect="1"/>
          </p:cNvSpPr>
          <p:nvPr/>
        </p:nvSpPr>
        <p:spPr bwMode="auto">
          <a:xfrm>
            <a:off x="9271052" y="2082950"/>
            <a:ext cx="2160078" cy="2248597"/>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Economic benefits are enormous</a:t>
            </a:r>
          </a:p>
        </p:txBody>
      </p:sp>
      <p:sp>
        <p:nvSpPr>
          <p:cNvPr id="8" name="Rectangle 7"/>
          <p:cNvSpPr>
            <a:spLocks noChangeAspect="1"/>
          </p:cNvSpPr>
          <p:nvPr/>
        </p:nvSpPr>
        <p:spPr bwMode="auto">
          <a:xfrm>
            <a:off x="7120916" y="2082950"/>
            <a:ext cx="2160078" cy="2248597"/>
          </a:xfrm>
          <a:prstGeom prst="rect">
            <a:avLst/>
          </a:prstGeom>
          <a:solidFill>
            <a:srgbClr val="34103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New scenarios fuel demand</a:t>
            </a:r>
          </a:p>
        </p:txBody>
      </p:sp>
      <p:grpSp>
        <p:nvGrpSpPr>
          <p:cNvPr id="14" name="Group 13"/>
          <p:cNvGrpSpPr/>
          <p:nvPr/>
        </p:nvGrpSpPr>
        <p:grpSpPr>
          <a:xfrm>
            <a:off x="0" y="5225320"/>
            <a:ext cx="12190271" cy="1284056"/>
            <a:chOff x="866" y="5589593"/>
            <a:chExt cx="12190271" cy="1284056"/>
          </a:xfrm>
        </p:grpSpPr>
        <p:sp>
          <p:nvSpPr>
            <p:cNvPr id="9" name="Rectangle 8"/>
            <p:cNvSpPr/>
            <p:nvPr/>
          </p:nvSpPr>
          <p:spPr>
            <a:xfrm>
              <a:off x="866" y="5589593"/>
              <a:ext cx="12190271" cy="1284056"/>
            </a:xfrm>
            <a:prstGeom prst="rect">
              <a:avLst/>
            </a:prstGeom>
            <a:solidFill>
              <a:srgbClr val="4421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p:cNvSpPr/>
            <p:nvPr/>
          </p:nvSpPr>
          <p:spPr>
            <a:xfrm>
              <a:off x="527707" y="5589593"/>
              <a:ext cx="10904289" cy="1258173"/>
            </a:xfrm>
            <a:prstGeom prst="rect">
              <a:avLst/>
            </a:prstGeom>
          </p:spPr>
          <p:txBody>
            <a:bodyPr wrap="square" lIns="0" tIns="89630" bIns="8963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3500" b="0" i="0" u="none" strike="noStrike" kern="4000" cap="none" spc="0" normalizeH="0" baseline="0" noProof="0" dirty="0">
                  <a:ln>
                    <a:noFill/>
                  </a:ln>
                  <a:solidFill>
                    <a:srgbClr val="FFFFFF"/>
                  </a:solidFill>
                  <a:effectLst/>
                  <a:uLnTx/>
                  <a:uFillTx/>
                  <a:latin typeface="Segoe UI Light"/>
                  <a:ea typeface="+mn-ea"/>
                  <a:cs typeface="+mn-cs"/>
                </a:rPr>
                <a:t>Forward-leaning businesses and individuals are connecting their things </a:t>
              </a:r>
              <a:r>
                <a:rPr kumimoji="0" lang="en-US" sz="3500" b="0" i="1" u="none" strike="noStrike" kern="4000" cap="none" spc="0" normalizeH="0" baseline="0" noProof="0" dirty="0">
                  <a:ln>
                    <a:noFill/>
                  </a:ln>
                  <a:solidFill>
                    <a:srgbClr val="FFFFFF"/>
                  </a:solidFill>
                  <a:effectLst/>
                  <a:uLnTx/>
                  <a:uFillTx/>
                  <a:latin typeface="Segoe UI Light"/>
                  <a:ea typeface="+mn-ea"/>
                  <a:cs typeface="+mn-cs"/>
                </a:rPr>
                <a:t>today</a:t>
              </a:r>
              <a:r>
                <a:rPr kumimoji="0" lang="en-US" sz="3500" b="0" i="0" u="none" strike="noStrike" kern="4000" cap="none" spc="0" normalizeH="0" baseline="0" noProof="0" dirty="0">
                  <a:ln>
                    <a:noFill/>
                  </a:ln>
                  <a:solidFill>
                    <a:srgbClr val="FFFFFF"/>
                  </a:solidFill>
                  <a:effectLst/>
                  <a:uLnTx/>
                  <a:uFillTx/>
                  <a:latin typeface="Segoe UI Light"/>
                  <a:ea typeface="+mn-ea"/>
                  <a:cs typeface="+mn-cs"/>
                </a:rPr>
                <a:t> to create new kinds of value</a:t>
              </a:r>
            </a:p>
          </p:txBody>
        </p:sp>
      </p:grpSp>
      <p:sp>
        <p:nvSpPr>
          <p:cNvPr id="13" name="Title 1"/>
          <p:cNvSpPr txBox="1">
            <a:spLocks/>
          </p:cNvSpPr>
          <p:nvPr/>
        </p:nvSpPr>
        <p:spPr>
          <a:xfrm>
            <a:off x="269240" y="1237030"/>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dirty="0">
                <a:ln w="3175">
                  <a:noFill/>
                </a:ln>
                <a:solidFill>
                  <a:srgbClr val="442157"/>
                </a:solidFill>
                <a:effectLst/>
                <a:uLnTx/>
                <a:uFillTx/>
                <a:latin typeface="Segoe UI Light"/>
                <a:ea typeface="+mn-ea"/>
                <a:cs typeface="Segoe UI" pitchFamily="34" charset="0"/>
              </a:rPr>
              <a:t>IoT is at an inflection point</a:t>
            </a:r>
          </a:p>
        </p:txBody>
      </p:sp>
      <p:grpSp>
        <p:nvGrpSpPr>
          <p:cNvPr id="28" name="Group 27"/>
          <p:cNvGrpSpPr/>
          <p:nvPr/>
        </p:nvGrpSpPr>
        <p:grpSpPr>
          <a:xfrm>
            <a:off x="1588" y="0"/>
            <a:ext cx="12195175" cy="945292"/>
            <a:chOff x="1588" y="0"/>
            <a:chExt cx="12195175" cy="945292"/>
          </a:xfrm>
        </p:grpSpPr>
        <p:sp>
          <p:nvSpPr>
            <p:cNvPr id="29"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100" normalizeH="0" baseline="0" noProof="0" dirty="0" smtClean="0">
                  <a:ln w="3175">
                    <a:noFill/>
                  </a:ln>
                  <a:solidFill>
                    <a:srgbClr val="FFFFFF"/>
                  </a:solidFill>
                  <a:effectLst/>
                  <a:uLnTx/>
                  <a:uFillTx/>
                  <a:latin typeface="Segoe UI Light" pitchFamily="34" charset="0"/>
                  <a:ea typeface="+mn-ea"/>
                  <a:cs typeface="Arial" charset="0"/>
                </a:rPr>
                <a:t>Why Now?</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30" name="Rectangle 29"/>
            <p:cNvSpPr/>
            <p:nvPr/>
          </p:nvSpPr>
          <p:spPr bwMode="auto">
            <a:xfrm>
              <a:off x="1588" y="0"/>
              <a:ext cx="941832" cy="941832"/>
            </a:xfrm>
            <a:prstGeom prst="rect">
              <a:avLst/>
            </a:prstGeom>
            <a:solidFill>
              <a:srgbClr val="34103D"/>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31"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 name="Group 31"/>
            <p:cNvGrpSpPr/>
            <p:nvPr/>
          </p:nvGrpSpPr>
          <p:grpSpPr>
            <a:xfrm rot="10800000">
              <a:off x="342445" y="567418"/>
              <a:ext cx="274574" cy="364544"/>
              <a:chOff x="-1278804" y="2084340"/>
              <a:chExt cx="217157" cy="248510"/>
            </a:xfrm>
            <a:gradFill>
              <a:gsLst>
                <a:gs pos="0">
                  <a:srgbClr val="FFFFFF"/>
                </a:gs>
                <a:gs pos="100000">
                  <a:srgbClr val="FFFFFF">
                    <a:alpha val="0"/>
                  </a:srgbClr>
                </a:gs>
              </a:gsLst>
              <a:lin ang="16200000" scaled="1"/>
            </a:gradFill>
          </p:grpSpPr>
          <p:sp>
            <p:nvSpPr>
              <p:cNvPr id="3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5"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6"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7"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8"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9"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40"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grpSp>
      </p:grpSp>
    </p:spTree>
    <p:extLst>
      <p:ext uri="{BB962C8B-B14F-4D97-AF65-F5344CB8AC3E}">
        <p14:creationId xmlns:p14="http://schemas.microsoft.com/office/powerpoint/2010/main" val="229637471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500" fill="hold"/>
                                        <p:tgtEl>
                                          <p:spTgt spid="4"/>
                                        </p:tgtEl>
                                        <p:attrNameLst>
                                          <p:attrName>ppt_x</p:attrName>
                                        </p:attrNameLst>
                                      </p:cBhvr>
                                      <p:tavLst>
                                        <p:tav tm="0">
                                          <p:val>
                                            <p:strVal val="#ppt_x"/>
                                          </p:val>
                                        </p:tav>
                                        <p:tav tm="100000">
                                          <p:val>
                                            <p:strVal val="#ppt_x"/>
                                          </p:val>
                                        </p:tav>
                                      </p:tavLst>
                                    </p:anim>
                                    <p:anim calcmode="lin" valueType="num">
                                      <p:cBhvr additive="base">
                                        <p:cTn id="11" dur="1500" fill="hold"/>
                                        <p:tgtEl>
                                          <p:spTgt spid="4"/>
                                        </p:tgtEl>
                                        <p:attrNameLst>
                                          <p:attrName>ppt_y</p:attrName>
                                        </p:attrNameLst>
                                      </p:cBhvr>
                                      <p:tavLst>
                                        <p:tav tm="0">
                                          <p:val>
                                            <p:strVal val="1+#ppt_h/2"/>
                                          </p:val>
                                        </p:tav>
                                        <p:tav tm="100000">
                                          <p:val>
                                            <p:strVal val="#ppt_y"/>
                                          </p:val>
                                        </p:tav>
                                      </p:tavLst>
                                    </p:anim>
                                  </p:childTnLst>
                                </p:cTn>
                              </p:par>
                              <p:par>
                                <p:cTn id="12" presetID="2" presetClass="entr" presetSubtype="4" fill="hold" grpId="0"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1500" fill="hold"/>
                                        <p:tgtEl>
                                          <p:spTgt spid="5"/>
                                        </p:tgtEl>
                                        <p:attrNameLst>
                                          <p:attrName>ppt_x</p:attrName>
                                        </p:attrNameLst>
                                      </p:cBhvr>
                                      <p:tavLst>
                                        <p:tav tm="0">
                                          <p:val>
                                            <p:strVal val="#ppt_x"/>
                                          </p:val>
                                        </p:tav>
                                        <p:tav tm="100000">
                                          <p:val>
                                            <p:strVal val="#ppt_x"/>
                                          </p:val>
                                        </p:tav>
                                      </p:tavLst>
                                    </p:anim>
                                    <p:anim calcmode="lin" valueType="num">
                                      <p:cBhvr additive="base">
                                        <p:cTn id="15" dur="1500" fill="hold"/>
                                        <p:tgtEl>
                                          <p:spTgt spid="5"/>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50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1500" fill="hold"/>
                                        <p:tgtEl>
                                          <p:spTgt spid="6"/>
                                        </p:tgtEl>
                                        <p:attrNameLst>
                                          <p:attrName>ppt_x</p:attrName>
                                        </p:attrNameLst>
                                      </p:cBhvr>
                                      <p:tavLst>
                                        <p:tav tm="0">
                                          <p:val>
                                            <p:strVal val="#ppt_x"/>
                                          </p:val>
                                        </p:tav>
                                        <p:tav tm="100000">
                                          <p:val>
                                            <p:strVal val="#ppt_x"/>
                                          </p:val>
                                        </p:tav>
                                      </p:tavLst>
                                    </p:anim>
                                    <p:anim calcmode="lin" valueType="num">
                                      <p:cBhvr additive="base">
                                        <p:cTn id="19" dur="1500" fill="hold"/>
                                        <p:tgtEl>
                                          <p:spTgt spid="6"/>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75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1500" fill="hold"/>
                                        <p:tgtEl>
                                          <p:spTgt spid="8"/>
                                        </p:tgtEl>
                                        <p:attrNameLst>
                                          <p:attrName>ppt_x</p:attrName>
                                        </p:attrNameLst>
                                      </p:cBhvr>
                                      <p:tavLst>
                                        <p:tav tm="0">
                                          <p:val>
                                            <p:strVal val="#ppt_x"/>
                                          </p:val>
                                        </p:tav>
                                        <p:tav tm="100000">
                                          <p:val>
                                            <p:strVal val="#ppt_x"/>
                                          </p:val>
                                        </p:tav>
                                      </p:tavLst>
                                    </p:anim>
                                    <p:anim calcmode="lin" valueType="num">
                                      <p:cBhvr additive="base">
                                        <p:cTn id="23" dur="1500" fill="hold"/>
                                        <p:tgtEl>
                                          <p:spTgt spid="8"/>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1000"/>
                                  </p:stCondLst>
                                  <p:childTnLst>
                                    <p:set>
                                      <p:cBhvr>
                                        <p:cTn id="25" dur="1" fill="hold">
                                          <p:stCondLst>
                                            <p:cond delay="0"/>
                                          </p:stCondLst>
                                        </p:cTn>
                                        <p:tgtEl>
                                          <p:spTgt spid="7"/>
                                        </p:tgtEl>
                                        <p:attrNameLst>
                                          <p:attrName>style.visibility</p:attrName>
                                        </p:attrNameLst>
                                      </p:cBhvr>
                                      <p:to>
                                        <p:strVal val="visible"/>
                                      </p:to>
                                    </p:set>
                                    <p:anim calcmode="lin" valueType="num">
                                      <p:cBhvr additive="base">
                                        <p:cTn id="26" dur="1500" fill="hold"/>
                                        <p:tgtEl>
                                          <p:spTgt spid="7"/>
                                        </p:tgtEl>
                                        <p:attrNameLst>
                                          <p:attrName>ppt_x</p:attrName>
                                        </p:attrNameLst>
                                      </p:cBhvr>
                                      <p:tavLst>
                                        <p:tav tm="0">
                                          <p:val>
                                            <p:strVal val="#ppt_x"/>
                                          </p:val>
                                        </p:tav>
                                        <p:tav tm="100000">
                                          <p:val>
                                            <p:strVal val="#ppt_x"/>
                                          </p:val>
                                        </p:tav>
                                      </p:tavLst>
                                    </p:anim>
                                    <p:anim calcmode="lin" valueType="num">
                                      <p:cBhvr additive="base">
                                        <p:cTn id="27"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13"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8" name="Group 27"/>
          <p:cNvGrpSpPr/>
          <p:nvPr/>
        </p:nvGrpSpPr>
        <p:grpSpPr>
          <a:xfrm>
            <a:off x="1588" y="0"/>
            <a:ext cx="12195175" cy="945292"/>
            <a:chOff x="1588" y="0"/>
            <a:chExt cx="12195175" cy="945292"/>
          </a:xfrm>
        </p:grpSpPr>
        <p:sp>
          <p:nvSpPr>
            <p:cNvPr id="29" name="Title 3"/>
            <p:cNvSpPr txBox="1">
              <a:spLocks/>
            </p:cNvSpPr>
            <p:nvPr/>
          </p:nvSpPr>
          <p:spPr>
            <a:xfrm>
              <a:off x="7938" y="0"/>
              <a:ext cx="12188825" cy="945292"/>
            </a:xfrm>
            <a:prstGeom prst="rect">
              <a:avLst/>
            </a:prstGeom>
            <a:solidFill>
              <a:srgbClr val="4E195C"/>
            </a:solidFill>
          </p:spPr>
          <p:txBody>
            <a:bodyPr vert="horz" wrap="square" lIns="1188720" tIns="0" rIns="0" bIns="0" rtlCol="0" anchor="ctr" anchorCtr="0">
              <a:noAutofit/>
            </a:bodyPr>
            <a:lstStyle>
              <a:lvl1pPr algn="l" defTabSz="686047" rtl="0" eaLnBrk="1" latinLnBrk="0" hangingPunct="1">
                <a:lnSpc>
                  <a:spcPct val="90000"/>
                </a:lnSpc>
                <a:spcBef>
                  <a:spcPct val="0"/>
                </a:spcBef>
                <a:buNone/>
                <a:defRPr lang="en-US" sz="4000" b="0" kern="1200" cap="none" spc="-100" baseline="0">
                  <a:ln w="3175">
                    <a:noFill/>
                  </a:ln>
                  <a:solidFill>
                    <a:schemeClr val="bg1"/>
                  </a:solidFill>
                  <a:effectLst/>
                  <a:latin typeface="Segoe UI Light" pitchFamily="34" charset="0"/>
                  <a:ea typeface="+mn-ea"/>
                  <a:cs typeface="Arial" charset="0"/>
                </a:defRPr>
              </a:lvl1pPr>
            </a:lstStyle>
            <a:p>
              <a:pPr marL="0" marR="0" lvl="0" indent="0" algn="l" defTabSz="686047" rtl="0" eaLnBrk="1" fontAlgn="auto" latinLnBrk="0" hangingPunct="1">
                <a:lnSpc>
                  <a:spcPct val="90000"/>
                </a:lnSpc>
                <a:spcBef>
                  <a:spcPct val="0"/>
                </a:spcBef>
                <a:spcAft>
                  <a:spcPts val="0"/>
                </a:spcAft>
                <a:buClrTx/>
                <a:buSzTx/>
                <a:buFontTx/>
                <a:buNone/>
                <a:tabLst/>
                <a:defRPr/>
              </a:pPr>
              <a:r>
                <a:rPr lang="en-GB" sz="3400" dirty="0" smtClean="0">
                  <a:solidFill>
                    <a:srgbClr val="FFFFFF"/>
                  </a:solidFill>
                </a:rPr>
                <a:t>IoT is creating a revolution</a:t>
              </a:r>
              <a:endParaRPr kumimoji="0" lang="en-GB" sz="3400" b="0" i="0" u="none" strike="noStrike" kern="1200" cap="none" spc="-100" normalizeH="0" baseline="0" noProof="0" dirty="0">
                <a:ln w="3175">
                  <a:noFill/>
                </a:ln>
                <a:solidFill>
                  <a:srgbClr val="FFFFFF"/>
                </a:solidFill>
                <a:effectLst/>
                <a:uLnTx/>
                <a:uFillTx/>
                <a:latin typeface="Segoe UI Light" pitchFamily="34" charset="0"/>
                <a:ea typeface="+mn-ea"/>
                <a:cs typeface="Arial" charset="0"/>
              </a:endParaRPr>
            </a:p>
          </p:txBody>
        </p:sp>
        <p:sp>
          <p:nvSpPr>
            <p:cNvPr id="30" name="Rectangle 29"/>
            <p:cNvSpPr/>
            <p:nvPr/>
          </p:nvSpPr>
          <p:spPr bwMode="auto">
            <a:xfrm>
              <a:off x="1588" y="0"/>
              <a:ext cx="941832" cy="941832"/>
            </a:xfrm>
            <a:prstGeom prst="rect">
              <a:avLst/>
            </a:prstGeom>
            <a:solidFill>
              <a:srgbClr val="34103D"/>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00" normalizeH="0" baseline="0" noProof="0" dirty="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31" name="Oval 2"/>
            <p:cNvSpPr/>
            <p:nvPr/>
          </p:nvSpPr>
          <p:spPr bwMode="auto">
            <a:xfrm>
              <a:off x="212868" y="179809"/>
              <a:ext cx="528555" cy="3658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marL="0" marR="0" lvl="0" indent="0" algn="ctr" defTabSz="1096919" eaLnBrk="1" fontAlgn="base" latinLnBrk="0" hangingPunct="1">
                <a:lnSpc>
                  <a:spcPct val="100000"/>
                </a:lnSpc>
                <a:spcBef>
                  <a:spcPct val="0"/>
                </a:spcBef>
                <a:spcAft>
                  <a:spcPct val="0"/>
                </a:spcAft>
                <a:buClrTx/>
                <a:buSzTx/>
                <a:buFontTx/>
                <a:buNone/>
                <a:tabLst/>
                <a:defRPr/>
              </a:pPr>
              <a:endParaRPr kumimoji="0" lang="en-US" sz="3200" b="0" i="0" u="none" strike="noStrike" kern="0" cap="none" spc="-6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 name="Group 31"/>
            <p:cNvGrpSpPr/>
            <p:nvPr/>
          </p:nvGrpSpPr>
          <p:grpSpPr>
            <a:xfrm rot="10800000">
              <a:off x="342445" y="567418"/>
              <a:ext cx="274574" cy="364544"/>
              <a:chOff x="-1278804" y="2084340"/>
              <a:chExt cx="217157" cy="248510"/>
            </a:xfrm>
            <a:gradFill>
              <a:gsLst>
                <a:gs pos="0">
                  <a:srgbClr val="FFFFFF"/>
                </a:gs>
                <a:gs pos="100000">
                  <a:srgbClr val="FFFFFF">
                    <a:alpha val="0"/>
                  </a:srgbClr>
                </a:gs>
              </a:gsLst>
              <a:lin ang="16200000" scaled="1"/>
            </a:gradFill>
          </p:grpSpPr>
          <p:sp>
            <p:nvSpPr>
              <p:cNvPr id="33" name="Freeform 1116"/>
              <p:cNvSpPr>
                <a:spLocks/>
              </p:cNvSpPr>
              <p:nvPr/>
            </p:nvSpPr>
            <p:spPr bwMode="auto">
              <a:xfrm flipH="1">
                <a:off x="-1148431" y="2084340"/>
                <a:ext cx="85213" cy="27562"/>
              </a:xfrm>
              <a:custGeom>
                <a:avLst/>
                <a:gdLst>
                  <a:gd name="T0" fmla="*/ 0 w 652"/>
                  <a:gd name="T1" fmla="*/ 0 h 173"/>
                  <a:gd name="T2" fmla="*/ 0 w 652"/>
                  <a:gd name="T3" fmla="*/ 58 h 173"/>
                  <a:gd name="T4" fmla="*/ 508 w 652"/>
                  <a:gd name="T5" fmla="*/ 58 h 173"/>
                  <a:gd name="T6" fmla="*/ 508 w 652"/>
                  <a:gd name="T7" fmla="*/ 58 h 173"/>
                  <a:gd name="T8" fmla="*/ 495 w 652"/>
                  <a:gd name="T9" fmla="*/ 69 h 173"/>
                  <a:gd name="T10" fmla="*/ 480 w 652"/>
                  <a:gd name="T11" fmla="*/ 82 h 173"/>
                  <a:gd name="T12" fmla="*/ 467 w 652"/>
                  <a:gd name="T13" fmla="*/ 96 h 173"/>
                  <a:gd name="T14" fmla="*/ 453 w 652"/>
                  <a:gd name="T15" fmla="*/ 112 h 173"/>
                  <a:gd name="T16" fmla="*/ 453 w 652"/>
                  <a:gd name="T17" fmla="*/ 112 h 173"/>
                  <a:gd name="T18" fmla="*/ 440 w 652"/>
                  <a:gd name="T19" fmla="*/ 129 h 173"/>
                  <a:gd name="T20" fmla="*/ 428 w 652"/>
                  <a:gd name="T21" fmla="*/ 144 h 173"/>
                  <a:gd name="T22" fmla="*/ 420 w 652"/>
                  <a:gd name="T23" fmla="*/ 159 h 173"/>
                  <a:gd name="T24" fmla="*/ 412 w 652"/>
                  <a:gd name="T25" fmla="*/ 173 h 173"/>
                  <a:gd name="T26" fmla="*/ 489 w 652"/>
                  <a:gd name="T27" fmla="*/ 173 h 173"/>
                  <a:gd name="T28" fmla="*/ 489 w 652"/>
                  <a:gd name="T29" fmla="*/ 173 h 173"/>
                  <a:gd name="T30" fmla="*/ 505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7 h 173"/>
                  <a:gd name="T44" fmla="*/ 630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8" y="58"/>
                    </a:lnTo>
                    <a:lnTo>
                      <a:pt x="508" y="58"/>
                    </a:lnTo>
                    <a:lnTo>
                      <a:pt x="495" y="69"/>
                    </a:lnTo>
                    <a:lnTo>
                      <a:pt x="480" y="82"/>
                    </a:lnTo>
                    <a:lnTo>
                      <a:pt x="467" y="96"/>
                    </a:lnTo>
                    <a:lnTo>
                      <a:pt x="453" y="112"/>
                    </a:lnTo>
                    <a:lnTo>
                      <a:pt x="453" y="112"/>
                    </a:lnTo>
                    <a:lnTo>
                      <a:pt x="440" y="129"/>
                    </a:lnTo>
                    <a:lnTo>
                      <a:pt x="428" y="144"/>
                    </a:lnTo>
                    <a:lnTo>
                      <a:pt x="420" y="159"/>
                    </a:lnTo>
                    <a:lnTo>
                      <a:pt x="412" y="173"/>
                    </a:lnTo>
                    <a:lnTo>
                      <a:pt x="489" y="173"/>
                    </a:lnTo>
                    <a:lnTo>
                      <a:pt x="489" y="173"/>
                    </a:lnTo>
                    <a:lnTo>
                      <a:pt x="505" y="150"/>
                    </a:lnTo>
                    <a:lnTo>
                      <a:pt x="524" y="128"/>
                    </a:lnTo>
                    <a:lnTo>
                      <a:pt x="543" y="108"/>
                    </a:lnTo>
                    <a:lnTo>
                      <a:pt x="565" y="88"/>
                    </a:lnTo>
                    <a:lnTo>
                      <a:pt x="565" y="88"/>
                    </a:lnTo>
                    <a:lnTo>
                      <a:pt x="587" y="72"/>
                    </a:lnTo>
                    <a:lnTo>
                      <a:pt x="609" y="57"/>
                    </a:lnTo>
                    <a:lnTo>
                      <a:pt x="630"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4" name="Freeform 1118"/>
              <p:cNvSpPr>
                <a:spLocks/>
              </p:cNvSpPr>
              <p:nvPr/>
            </p:nvSpPr>
            <p:spPr bwMode="auto">
              <a:xfrm flipH="1">
                <a:off x="-1148431" y="2184666"/>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5" name="Freeform 1119"/>
              <p:cNvSpPr>
                <a:spLocks noEditPoints="1"/>
              </p:cNvSpPr>
              <p:nvPr/>
            </p:nvSpPr>
            <p:spPr bwMode="auto">
              <a:xfrm flipH="1">
                <a:off x="-1150002" y="2235381"/>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6" name="Freeform 1140"/>
              <p:cNvSpPr>
                <a:spLocks/>
              </p:cNvSpPr>
              <p:nvPr/>
            </p:nvSpPr>
            <p:spPr bwMode="auto">
              <a:xfrm flipH="1">
                <a:off x="-1277233" y="2175846"/>
                <a:ext cx="85606" cy="27562"/>
              </a:xfrm>
              <a:custGeom>
                <a:avLst/>
                <a:gdLst>
                  <a:gd name="T0" fmla="*/ 0 w 652"/>
                  <a:gd name="T1" fmla="*/ 0 h 173"/>
                  <a:gd name="T2" fmla="*/ 0 w 652"/>
                  <a:gd name="T3" fmla="*/ 58 h 173"/>
                  <a:gd name="T4" fmla="*/ 507 w 652"/>
                  <a:gd name="T5" fmla="*/ 58 h 173"/>
                  <a:gd name="T6" fmla="*/ 507 w 652"/>
                  <a:gd name="T7" fmla="*/ 58 h 173"/>
                  <a:gd name="T8" fmla="*/ 494 w 652"/>
                  <a:gd name="T9" fmla="*/ 69 h 173"/>
                  <a:gd name="T10" fmla="*/ 481 w 652"/>
                  <a:gd name="T11" fmla="*/ 82 h 173"/>
                  <a:gd name="T12" fmla="*/ 466 w 652"/>
                  <a:gd name="T13" fmla="*/ 97 h 173"/>
                  <a:gd name="T14" fmla="*/ 453 w 652"/>
                  <a:gd name="T15" fmla="*/ 112 h 173"/>
                  <a:gd name="T16" fmla="*/ 453 w 652"/>
                  <a:gd name="T17" fmla="*/ 112 h 173"/>
                  <a:gd name="T18" fmla="*/ 440 w 652"/>
                  <a:gd name="T19" fmla="*/ 129 h 173"/>
                  <a:gd name="T20" fmla="*/ 430 w 652"/>
                  <a:gd name="T21" fmla="*/ 144 h 173"/>
                  <a:gd name="T22" fmla="*/ 419 w 652"/>
                  <a:gd name="T23" fmla="*/ 159 h 173"/>
                  <a:gd name="T24" fmla="*/ 412 w 652"/>
                  <a:gd name="T25" fmla="*/ 173 h 173"/>
                  <a:gd name="T26" fmla="*/ 488 w 652"/>
                  <a:gd name="T27" fmla="*/ 173 h 173"/>
                  <a:gd name="T28" fmla="*/ 488 w 652"/>
                  <a:gd name="T29" fmla="*/ 173 h 173"/>
                  <a:gd name="T30" fmla="*/ 506 w 652"/>
                  <a:gd name="T31" fmla="*/ 150 h 173"/>
                  <a:gd name="T32" fmla="*/ 524 w 652"/>
                  <a:gd name="T33" fmla="*/ 128 h 173"/>
                  <a:gd name="T34" fmla="*/ 543 w 652"/>
                  <a:gd name="T35" fmla="*/ 108 h 173"/>
                  <a:gd name="T36" fmla="*/ 565 w 652"/>
                  <a:gd name="T37" fmla="*/ 88 h 173"/>
                  <a:gd name="T38" fmla="*/ 565 w 652"/>
                  <a:gd name="T39" fmla="*/ 88 h 173"/>
                  <a:gd name="T40" fmla="*/ 587 w 652"/>
                  <a:gd name="T41" fmla="*/ 72 h 173"/>
                  <a:gd name="T42" fmla="*/ 609 w 652"/>
                  <a:gd name="T43" fmla="*/ 58 h 173"/>
                  <a:gd name="T44" fmla="*/ 631 w 652"/>
                  <a:gd name="T45" fmla="*/ 46 h 173"/>
                  <a:gd name="T46" fmla="*/ 652 w 652"/>
                  <a:gd name="T47" fmla="*/ 38 h 173"/>
                  <a:gd name="T48" fmla="*/ 652 w 652"/>
                  <a:gd name="T49" fmla="*/ 0 h 173"/>
                  <a:gd name="T50" fmla="*/ 0 w 652"/>
                  <a:gd name="T5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3">
                    <a:moveTo>
                      <a:pt x="0" y="0"/>
                    </a:moveTo>
                    <a:lnTo>
                      <a:pt x="0" y="58"/>
                    </a:lnTo>
                    <a:lnTo>
                      <a:pt x="507" y="58"/>
                    </a:lnTo>
                    <a:lnTo>
                      <a:pt x="507" y="58"/>
                    </a:lnTo>
                    <a:lnTo>
                      <a:pt x="494" y="69"/>
                    </a:lnTo>
                    <a:lnTo>
                      <a:pt x="481" y="82"/>
                    </a:lnTo>
                    <a:lnTo>
                      <a:pt x="466" y="97"/>
                    </a:lnTo>
                    <a:lnTo>
                      <a:pt x="453" y="112"/>
                    </a:lnTo>
                    <a:lnTo>
                      <a:pt x="453" y="112"/>
                    </a:lnTo>
                    <a:lnTo>
                      <a:pt x="440" y="129"/>
                    </a:lnTo>
                    <a:lnTo>
                      <a:pt x="430" y="144"/>
                    </a:lnTo>
                    <a:lnTo>
                      <a:pt x="419" y="159"/>
                    </a:lnTo>
                    <a:lnTo>
                      <a:pt x="412" y="173"/>
                    </a:lnTo>
                    <a:lnTo>
                      <a:pt x="488" y="173"/>
                    </a:lnTo>
                    <a:lnTo>
                      <a:pt x="488" y="173"/>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7" name="Freeform 1141"/>
              <p:cNvSpPr>
                <a:spLocks/>
              </p:cNvSpPr>
              <p:nvPr/>
            </p:nvSpPr>
            <p:spPr bwMode="auto">
              <a:xfrm flipH="1">
                <a:off x="-1277233" y="2225458"/>
                <a:ext cx="85606" cy="27562"/>
              </a:xfrm>
              <a:custGeom>
                <a:avLst/>
                <a:gdLst>
                  <a:gd name="T0" fmla="*/ 0 w 652"/>
                  <a:gd name="T1" fmla="*/ 0 h 174"/>
                  <a:gd name="T2" fmla="*/ 0 w 652"/>
                  <a:gd name="T3" fmla="*/ 58 h 174"/>
                  <a:gd name="T4" fmla="*/ 507 w 652"/>
                  <a:gd name="T5" fmla="*/ 58 h 174"/>
                  <a:gd name="T6" fmla="*/ 507 w 652"/>
                  <a:gd name="T7" fmla="*/ 58 h 174"/>
                  <a:gd name="T8" fmla="*/ 494 w 652"/>
                  <a:gd name="T9" fmla="*/ 69 h 174"/>
                  <a:gd name="T10" fmla="*/ 481 w 652"/>
                  <a:gd name="T11" fmla="*/ 82 h 174"/>
                  <a:gd name="T12" fmla="*/ 466 w 652"/>
                  <a:gd name="T13" fmla="*/ 96 h 174"/>
                  <a:gd name="T14" fmla="*/ 453 w 652"/>
                  <a:gd name="T15" fmla="*/ 112 h 174"/>
                  <a:gd name="T16" fmla="*/ 453 w 652"/>
                  <a:gd name="T17" fmla="*/ 112 h 174"/>
                  <a:gd name="T18" fmla="*/ 440 w 652"/>
                  <a:gd name="T19" fmla="*/ 129 h 174"/>
                  <a:gd name="T20" fmla="*/ 430 w 652"/>
                  <a:gd name="T21" fmla="*/ 144 h 174"/>
                  <a:gd name="T22" fmla="*/ 419 w 652"/>
                  <a:gd name="T23" fmla="*/ 160 h 174"/>
                  <a:gd name="T24" fmla="*/ 412 w 652"/>
                  <a:gd name="T25" fmla="*/ 174 h 174"/>
                  <a:gd name="T26" fmla="*/ 488 w 652"/>
                  <a:gd name="T27" fmla="*/ 174 h 174"/>
                  <a:gd name="T28" fmla="*/ 488 w 652"/>
                  <a:gd name="T29" fmla="*/ 174 h 174"/>
                  <a:gd name="T30" fmla="*/ 506 w 652"/>
                  <a:gd name="T31" fmla="*/ 150 h 174"/>
                  <a:gd name="T32" fmla="*/ 524 w 652"/>
                  <a:gd name="T33" fmla="*/ 128 h 174"/>
                  <a:gd name="T34" fmla="*/ 543 w 652"/>
                  <a:gd name="T35" fmla="*/ 108 h 174"/>
                  <a:gd name="T36" fmla="*/ 565 w 652"/>
                  <a:gd name="T37" fmla="*/ 88 h 174"/>
                  <a:gd name="T38" fmla="*/ 565 w 652"/>
                  <a:gd name="T39" fmla="*/ 88 h 174"/>
                  <a:gd name="T40" fmla="*/ 587 w 652"/>
                  <a:gd name="T41" fmla="*/ 72 h 174"/>
                  <a:gd name="T42" fmla="*/ 609 w 652"/>
                  <a:gd name="T43" fmla="*/ 58 h 174"/>
                  <a:gd name="T44" fmla="*/ 631 w 652"/>
                  <a:gd name="T45" fmla="*/ 46 h 174"/>
                  <a:gd name="T46" fmla="*/ 652 w 652"/>
                  <a:gd name="T47" fmla="*/ 38 h 174"/>
                  <a:gd name="T48" fmla="*/ 652 w 652"/>
                  <a:gd name="T49" fmla="*/ 0 h 174"/>
                  <a:gd name="T50" fmla="*/ 0 w 652"/>
                  <a:gd name="T5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4">
                    <a:moveTo>
                      <a:pt x="0" y="0"/>
                    </a:moveTo>
                    <a:lnTo>
                      <a:pt x="0" y="58"/>
                    </a:lnTo>
                    <a:lnTo>
                      <a:pt x="507" y="58"/>
                    </a:lnTo>
                    <a:lnTo>
                      <a:pt x="507" y="58"/>
                    </a:lnTo>
                    <a:lnTo>
                      <a:pt x="494" y="69"/>
                    </a:lnTo>
                    <a:lnTo>
                      <a:pt x="481" y="82"/>
                    </a:lnTo>
                    <a:lnTo>
                      <a:pt x="466" y="96"/>
                    </a:lnTo>
                    <a:lnTo>
                      <a:pt x="453" y="112"/>
                    </a:lnTo>
                    <a:lnTo>
                      <a:pt x="453" y="112"/>
                    </a:lnTo>
                    <a:lnTo>
                      <a:pt x="440" y="129"/>
                    </a:lnTo>
                    <a:lnTo>
                      <a:pt x="430" y="144"/>
                    </a:lnTo>
                    <a:lnTo>
                      <a:pt x="419" y="160"/>
                    </a:lnTo>
                    <a:lnTo>
                      <a:pt x="412" y="174"/>
                    </a:lnTo>
                    <a:lnTo>
                      <a:pt x="488" y="174"/>
                    </a:lnTo>
                    <a:lnTo>
                      <a:pt x="488" y="174"/>
                    </a:lnTo>
                    <a:lnTo>
                      <a:pt x="506" y="150"/>
                    </a:lnTo>
                    <a:lnTo>
                      <a:pt x="524" y="128"/>
                    </a:lnTo>
                    <a:lnTo>
                      <a:pt x="543" y="108"/>
                    </a:lnTo>
                    <a:lnTo>
                      <a:pt x="565" y="88"/>
                    </a:lnTo>
                    <a:lnTo>
                      <a:pt x="565" y="88"/>
                    </a:lnTo>
                    <a:lnTo>
                      <a:pt x="587" y="72"/>
                    </a:lnTo>
                    <a:lnTo>
                      <a:pt x="609" y="58"/>
                    </a:lnTo>
                    <a:lnTo>
                      <a:pt x="631" y="46"/>
                    </a:lnTo>
                    <a:lnTo>
                      <a:pt x="652" y="38"/>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8" name="Freeform 1119"/>
              <p:cNvSpPr>
                <a:spLocks noEditPoints="1"/>
              </p:cNvSpPr>
              <p:nvPr/>
            </p:nvSpPr>
            <p:spPr bwMode="auto">
              <a:xfrm flipH="1">
                <a:off x="-1148431" y="2122374"/>
                <a:ext cx="86784" cy="48509"/>
              </a:xfrm>
              <a:custGeom>
                <a:avLst/>
                <a:gdLst>
                  <a:gd name="T0" fmla="*/ 387 w 663"/>
                  <a:gd name="T1" fmla="*/ 306 h 307"/>
                  <a:gd name="T2" fmla="*/ 479 w 663"/>
                  <a:gd name="T3" fmla="*/ 297 h 307"/>
                  <a:gd name="T4" fmla="*/ 516 w 663"/>
                  <a:gd name="T5" fmla="*/ 290 h 307"/>
                  <a:gd name="T6" fmla="*/ 564 w 663"/>
                  <a:gd name="T7" fmla="*/ 275 h 307"/>
                  <a:gd name="T8" fmla="*/ 604 w 663"/>
                  <a:gd name="T9" fmla="*/ 254 h 307"/>
                  <a:gd name="T10" fmla="*/ 625 w 663"/>
                  <a:gd name="T11" fmla="*/ 238 h 307"/>
                  <a:gd name="T12" fmla="*/ 648 w 663"/>
                  <a:gd name="T13" fmla="*/ 211 h 307"/>
                  <a:gd name="T14" fmla="*/ 660 w 663"/>
                  <a:gd name="T15" fmla="*/ 177 h 307"/>
                  <a:gd name="T16" fmla="*/ 663 w 663"/>
                  <a:gd name="T17" fmla="*/ 154 h 307"/>
                  <a:gd name="T18" fmla="*/ 651 w 663"/>
                  <a:gd name="T19" fmla="*/ 102 h 307"/>
                  <a:gd name="T20" fmla="*/ 631 w 663"/>
                  <a:gd name="T21" fmla="*/ 73 h 307"/>
                  <a:gd name="T22" fmla="*/ 581 w 663"/>
                  <a:gd name="T23" fmla="*/ 39 h 307"/>
                  <a:gd name="T24" fmla="*/ 537 w 663"/>
                  <a:gd name="T25" fmla="*/ 23 h 307"/>
                  <a:gd name="T26" fmla="*/ 485 w 663"/>
                  <a:gd name="T27" fmla="*/ 10 h 307"/>
                  <a:gd name="T28" fmla="*/ 376 w 663"/>
                  <a:gd name="T29" fmla="*/ 1 h 307"/>
                  <a:gd name="T30" fmla="*/ 276 w 663"/>
                  <a:gd name="T31" fmla="*/ 1 h 307"/>
                  <a:gd name="T32" fmla="*/ 185 w 663"/>
                  <a:gd name="T33" fmla="*/ 9 h 307"/>
                  <a:gd name="T34" fmla="*/ 147 w 663"/>
                  <a:gd name="T35" fmla="*/ 17 h 307"/>
                  <a:gd name="T36" fmla="*/ 98 w 663"/>
                  <a:gd name="T37" fmla="*/ 32 h 307"/>
                  <a:gd name="T38" fmla="*/ 59 w 663"/>
                  <a:gd name="T39" fmla="*/ 52 h 307"/>
                  <a:gd name="T40" fmla="*/ 38 w 663"/>
                  <a:gd name="T41" fmla="*/ 67 h 307"/>
                  <a:gd name="T42" fmla="*/ 14 w 663"/>
                  <a:gd name="T43" fmla="*/ 96 h 307"/>
                  <a:gd name="T44" fmla="*/ 3 w 663"/>
                  <a:gd name="T45" fmla="*/ 129 h 307"/>
                  <a:gd name="T46" fmla="*/ 0 w 663"/>
                  <a:gd name="T47" fmla="*/ 154 h 307"/>
                  <a:gd name="T48" fmla="*/ 9 w 663"/>
                  <a:gd name="T49" fmla="*/ 200 h 307"/>
                  <a:gd name="T50" fmla="*/ 38 w 663"/>
                  <a:gd name="T51" fmla="*/ 239 h 307"/>
                  <a:gd name="T52" fmla="*/ 67 w 663"/>
                  <a:gd name="T53" fmla="*/ 261 h 307"/>
                  <a:gd name="T54" fmla="*/ 142 w 663"/>
                  <a:gd name="T55" fmla="*/ 289 h 307"/>
                  <a:gd name="T56" fmla="*/ 245 w 663"/>
                  <a:gd name="T57" fmla="*/ 304 h 307"/>
                  <a:gd name="T58" fmla="*/ 331 w 663"/>
                  <a:gd name="T59" fmla="*/ 307 h 307"/>
                  <a:gd name="T60" fmla="*/ 292 w 663"/>
                  <a:gd name="T61" fmla="*/ 247 h 307"/>
                  <a:gd name="T62" fmla="*/ 198 w 663"/>
                  <a:gd name="T63" fmla="*/ 240 h 307"/>
                  <a:gd name="T64" fmla="*/ 134 w 663"/>
                  <a:gd name="T65" fmla="*/ 226 h 307"/>
                  <a:gd name="T66" fmla="*/ 106 w 663"/>
                  <a:gd name="T67" fmla="*/ 213 h 307"/>
                  <a:gd name="T68" fmla="*/ 79 w 663"/>
                  <a:gd name="T69" fmla="*/ 189 h 307"/>
                  <a:gd name="T70" fmla="*/ 66 w 663"/>
                  <a:gd name="T71" fmla="*/ 163 h 307"/>
                  <a:gd name="T72" fmla="*/ 66 w 663"/>
                  <a:gd name="T73" fmla="*/ 144 h 307"/>
                  <a:gd name="T74" fmla="*/ 79 w 663"/>
                  <a:gd name="T75" fmla="*/ 117 h 307"/>
                  <a:gd name="T76" fmla="*/ 106 w 663"/>
                  <a:gd name="T77" fmla="*/ 93 h 307"/>
                  <a:gd name="T78" fmla="*/ 134 w 663"/>
                  <a:gd name="T79" fmla="*/ 80 h 307"/>
                  <a:gd name="T80" fmla="*/ 198 w 663"/>
                  <a:gd name="T81" fmla="*/ 66 h 307"/>
                  <a:gd name="T82" fmla="*/ 292 w 663"/>
                  <a:gd name="T83" fmla="*/ 60 h 307"/>
                  <a:gd name="T84" fmla="*/ 369 w 663"/>
                  <a:gd name="T85" fmla="*/ 60 h 307"/>
                  <a:gd name="T86" fmla="*/ 464 w 663"/>
                  <a:gd name="T87" fmla="*/ 66 h 307"/>
                  <a:gd name="T88" fmla="*/ 529 w 663"/>
                  <a:gd name="T89" fmla="*/ 80 h 307"/>
                  <a:gd name="T90" fmla="*/ 557 w 663"/>
                  <a:gd name="T91" fmla="*/ 93 h 307"/>
                  <a:gd name="T92" fmla="*/ 584 w 663"/>
                  <a:gd name="T93" fmla="*/ 117 h 307"/>
                  <a:gd name="T94" fmla="*/ 595 w 663"/>
                  <a:gd name="T95" fmla="*/ 144 h 307"/>
                  <a:gd name="T96" fmla="*/ 595 w 663"/>
                  <a:gd name="T97" fmla="*/ 163 h 307"/>
                  <a:gd name="T98" fmla="*/ 585 w 663"/>
                  <a:gd name="T99" fmla="*/ 189 h 307"/>
                  <a:gd name="T100" fmla="*/ 562 w 663"/>
                  <a:gd name="T101" fmla="*/ 211 h 307"/>
                  <a:gd name="T102" fmla="*/ 534 w 663"/>
                  <a:gd name="T103" fmla="*/ 225 h 307"/>
                  <a:gd name="T104" fmla="*/ 466 w 663"/>
                  <a:gd name="T105" fmla="*/ 240 h 307"/>
                  <a:gd name="T106" fmla="*/ 369 w 663"/>
                  <a:gd name="T107" fmla="*/ 24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3" h="307">
                    <a:moveTo>
                      <a:pt x="331" y="307"/>
                    </a:moveTo>
                    <a:lnTo>
                      <a:pt x="331" y="307"/>
                    </a:lnTo>
                    <a:lnTo>
                      <a:pt x="387" y="306"/>
                    </a:lnTo>
                    <a:lnTo>
                      <a:pt x="435" y="303"/>
                    </a:lnTo>
                    <a:lnTo>
                      <a:pt x="457" y="299"/>
                    </a:lnTo>
                    <a:lnTo>
                      <a:pt x="479" y="297"/>
                    </a:lnTo>
                    <a:lnTo>
                      <a:pt x="498" y="293"/>
                    </a:lnTo>
                    <a:lnTo>
                      <a:pt x="516" y="290"/>
                    </a:lnTo>
                    <a:lnTo>
                      <a:pt x="516" y="290"/>
                    </a:lnTo>
                    <a:lnTo>
                      <a:pt x="534" y="285"/>
                    </a:lnTo>
                    <a:lnTo>
                      <a:pt x="550" y="280"/>
                    </a:lnTo>
                    <a:lnTo>
                      <a:pt x="564" y="275"/>
                    </a:lnTo>
                    <a:lnTo>
                      <a:pt x="579" y="268"/>
                    </a:lnTo>
                    <a:lnTo>
                      <a:pt x="591" y="262"/>
                    </a:lnTo>
                    <a:lnTo>
                      <a:pt x="604" y="254"/>
                    </a:lnTo>
                    <a:lnTo>
                      <a:pt x="614" y="247"/>
                    </a:lnTo>
                    <a:lnTo>
                      <a:pt x="625" y="238"/>
                    </a:lnTo>
                    <a:lnTo>
                      <a:pt x="625" y="238"/>
                    </a:lnTo>
                    <a:lnTo>
                      <a:pt x="634" y="229"/>
                    </a:lnTo>
                    <a:lnTo>
                      <a:pt x="641" y="221"/>
                    </a:lnTo>
                    <a:lnTo>
                      <a:pt x="648" y="211"/>
                    </a:lnTo>
                    <a:lnTo>
                      <a:pt x="653" y="200"/>
                    </a:lnTo>
                    <a:lnTo>
                      <a:pt x="657" y="189"/>
                    </a:lnTo>
                    <a:lnTo>
                      <a:pt x="660" y="177"/>
                    </a:lnTo>
                    <a:lnTo>
                      <a:pt x="662" y="166"/>
                    </a:lnTo>
                    <a:lnTo>
                      <a:pt x="663" y="154"/>
                    </a:lnTo>
                    <a:lnTo>
                      <a:pt x="663" y="154"/>
                    </a:lnTo>
                    <a:lnTo>
                      <a:pt x="662" y="135"/>
                    </a:lnTo>
                    <a:lnTo>
                      <a:pt x="657" y="118"/>
                    </a:lnTo>
                    <a:lnTo>
                      <a:pt x="651" y="102"/>
                    </a:lnTo>
                    <a:lnTo>
                      <a:pt x="642" y="87"/>
                    </a:lnTo>
                    <a:lnTo>
                      <a:pt x="642" y="87"/>
                    </a:lnTo>
                    <a:lnTo>
                      <a:pt x="631" y="73"/>
                    </a:lnTo>
                    <a:lnTo>
                      <a:pt x="616" y="61"/>
                    </a:lnTo>
                    <a:lnTo>
                      <a:pt x="600" y="50"/>
                    </a:lnTo>
                    <a:lnTo>
                      <a:pt x="581" y="39"/>
                    </a:lnTo>
                    <a:lnTo>
                      <a:pt x="581" y="39"/>
                    </a:lnTo>
                    <a:lnTo>
                      <a:pt x="560" y="31"/>
                    </a:lnTo>
                    <a:lnTo>
                      <a:pt x="537" y="23"/>
                    </a:lnTo>
                    <a:lnTo>
                      <a:pt x="512" y="17"/>
                    </a:lnTo>
                    <a:lnTo>
                      <a:pt x="485" y="10"/>
                    </a:lnTo>
                    <a:lnTo>
                      <a:pt x="485" y="10"/>
                    </a:lnTo>
                    <a:lnTo>
                      <a:pt x="454" y="6"/>
                    </a:lnTo>
                    <a:lnTo>
                      <a:pt x="417" y="3"/>
                    </a:lnTo>
                    <a:lnTo>
                      <a:pt x="376" y="1"/>
                    </a:lnTo>
                    <a:lnTo>
                      <a:pt x="331" y="0"/>
                    </a:lnTo>
                    <a:lnTo>
                      <a:pt x="331" y="0"/>
                    </a:lnTo>
                    <a:lnTo>
                      <a:pt x="276" y="1"/>
                    </a:lnTo>
                    <a:lnTo>
                      <a:pt x="228" y="4"/>
                    </a:lnTo>
                    <a:lnTo>
                      <a:pt x="206" y="7"/>
                    </a:lnTo>
                    <a:lnTo>
                      <a:pt x="185" y="9"/>
                    </a:lnTo>
                    <a:lnTo>
                      <a:pt x="164" y="12"/>
                    </a:lnTo>
                    <a:lnTo>
                      <a:pt x="147" y="17"/>
                    </a:lnTo>
                    <a:lnTo>
                      <a:pt x="147" y="17"/>
                    </a:lnTo>
                    <a:lnTo>
                      <a:pt x="129" y="21"/>
                    </a:lnTo>
                    <a:lnTo>
                      <a:pt x="113" y="26"/>
                    </a:lnTo>
                    <a:lnTo>
                      <a:pt x="98" y="32"/>
                    </a:lnTo>
                    <a:lnTo>
                      <a:pt x="85" y="38"/>
                    </a:lnTo>
                    <a:lnTo>
                      <a:pt x="72" y="45"/>
                    </a:lnTo>
                    <a:lnTo>
                      <a:pt x="59" y="52"/>
                    </a:lnTo>
                    <a:lnTo>
                      <a:pt x="48" y="60"/>
                    </a:lnTo>
                    <a:lnTo>
                      <a:pt x="38" y="67"/>
                    </a:lnTo>
                    <a:lnTo>
                      <a:pt x="38" y="67"/>
                    </a:lnTo>
                    <a:lnTo>
                      <a:pt x="29" y="76"/>
                    </a:lnTo>
                    <a:lnTo>
                      <a:pt x="22" y="86"/>
                    </a:lnTo>
                    <a:lnTo>
                      <a:pt x="14" y="96"/>
                    </a:lnTo>
                    <a:lnTo>
                      <a:pt x="10" y="106"/>
                    </a:lnTo>
                    <a:lnTo>
                      <a:pt x="6" y="117"/>
                    </a:lnTo>
                    <a:lnTo>
                      <a:pt x="3" y="129"/>
                    </a:lnTo>
                    <a:lnTo>
                      <a:pt x="0" y="141"/>
                    </a:lnTo>
                    <a:lnTo>
                      <a:pt x="0" y="154"/>
                    </a:lnTo>
                    <a:lnTo>
                      <a:pt x="0" y="154"/>
                    </a:lnTo>
                    <a:lnTo>
                      <a:pt x="1" y="170"/>
                    </a:lnTo>
                    <a:lnTo>
                      <a:pt x="4" y="185"/>
                    </a:lnTo>
                    <a:lnTo>
                      <a:pt x="9" y="200"/>
                    </a:lnTo>
                    <a:lnTo>
                      <a:pt x="16" y="214"/>
                    </a:lnTo>
                    <a:lnTo>
                      <a:pt x="26" y="227"/>
                    </a:lnTo>
                    <a:lnTo>
                      <a:pt x="38" y="239"/>
                    </a:lnTo>
                    <a:lnTo>
                      <a:pt x="51" y="250"/>
                    </a:lnTo>
                    <a:lnTo>
                      <a:pt x="67" y="261"/>
                    </a:lnTo>
                    <a:lnTo>
                      <a:pt x="67" y="261"/>
                    </a:lnTo>
                    <a:lnTo>
                      <a:pt x="89" y="271"/>
                    </a:lnTo>
                    <a:lnTo>
                      <a:pt x="114" y="280"/>
                    </a:lnTo>
                    <a:lnTo>
                      <a:pt x="142" y="289"/>
                    </a:lnTo>
                    <a:lnTo>
                      <a:pt x="173" y="295"/>
                    </a:lnTo>
                    <a:lnTo>
                      <a:pt x="209" y="300"/>
                    </a:lnTo>
                    <a:lnTo>
                      <a:pt x="245" y="304"/>
                    </a:lnTo>
                    <a:lnTo>
                      <a:pt x="287" y="306"/>
                    </a:lnTo>
                    <a:lnTo>
                      <a:pt x="331" y="307"/>
                    </a:lnTo>
                    <a:lnTo>
                      <a:pt x="331" y="307"/>
                    </a:lnTo>
                    <a:close/>
                    <a:moveTo>
                      <a:pt x="331" y="248"/>
                    </a:moveTo>
                    <a:lnTo>
                      <a:pt x="331" y="248"/>
                    </a:lnTo>
                    <a:lnTo>
                      <a:pt x="292" y="247"/>
                    </a:lnTo>
                    <a:lnTo>
                      <a:pt x="257" y="245"/>
                    </a:lnTo>
                    <a:lnTo>
                      <a:pt x="226" y="243"/>
                    </a:lnTo>
                    <a:lnTo>
                      <a:pt x="198" y="240"/>
                    </a:lnTo>
                    <a:lnTo>
                      <a:pt x="173" y="237"/>
                    </a:lnTo>
                    <a:lnTo>
                      <a:pt x="151" y="232"/>
                    </a:lnTo>
                    <a:lnTo>
                      <a:pt x="134" y="226"/>
                    </a:lnTo>
                    <a:lnTo>
                      <a:pt x="119" y="221"/>
                    </a:lnTo>
                    <a:lnTo>
                      <a:pt x="119" y="221"/>
                    </a:lnTo>
                    <a:lnTo>
                      <a:pt x="106" y="213"/>
                    </a:lnTo>
                    <a:lnTo>
                      <a:pt x="95" y="206"/>
                    </a:lnTo>
                    <a:lnTo>
                      <a:pt x="86" y="198"/>
                    </a:lnTo>
                    <a:lnTo>
                      <a:pt x="79" y="189"/>
                    </a:lnTo>
                    <a:lnTo>
                      <a:pt x="73" y="182"/>
                    </a:lnTo>
                    <a:lnTo>
                      <a:pt x="69" y="172"/>
                    </a:lnTo>
                    <a:lnTo>
                      <a:pt x="66" y="163"/>
                    </a:lnTo>
                    <a:lnTo>
                      <a:pt x="66" y="154"/>
                    </a:lnTo>
                    <a:lnTo>
                      <a:pt x="66" y="154"/>
                    </a:lnTo>
                    <a:lnTo>
                      <a:pt x="66" y="144"/>
                    </a:lnTo>
                    <a:lnTo>
                      <a:pt x="69" y="134"/>
                    </a:lnTo>
                    <a:lnTo>
                      <a:pt x="73" y="126"/>
                    </a:lnTo>
                    <a:lnTo>
                      <a:pt x="79" y="117"/>
                    </a:lnTo>
                    <a:lnTo>
                      <a:pt x="86" y="108"/>
                    </a:lnTo>
                    <a:lnTo>
                      <a:pt x="95" y="101"/>
                    </a:lnTo>
                    <a:lnTo>
                      <a:pt x="106" y="93"/>
                    </a:lnTo>
                    <a:lnTo>
                      <a:pt x="119" y="87"/>
                    </a:lnTo>
                    <a:lnTo>
                      <a:pt x="119" y="87"/>
                    </a:lnTo>
                    <a:lnTo>
                      <a:pt x="134" y="80"/>
                    </a:lnTo>
                    <a:lnTo>
                      <a:pt x="151" y="75"/>
                    </a:lnTo>
                    <a:lnTo>
                      <a:pt x="173" y="70"/>
                    </a:lnTo>
                    <a:lnTo>
                      <a:pt x="198" y="66"/>
                    </a:lnTo>
                    <a:lnTo>
                      <a:pt x="226" y="63"/>
                    </a:lnTo>
                    <a:lnTo>
                      <a:pt x="259" y="61"/>
                    </a:lnTo>
                    <a:lnTo>
                      <a:pt x="292" y="60"/>
                    </a:lnTo>
                    <a:lnTo>
                      <a:pt x="331" y="59"/>
                    </a:lnTo>
                    <a:lnTo>
                      <a:pt x="331" y="59"/>
                    </a:lnTo>
                    <a:lnTo>
                      <a:pt x="369" y="60"/>
                    </a:lnTo>
                    <a:lnTo>
                      <a:pt x="404" y="61"/>
                    </a:lnTo>
                    <a:lnTo>
                      <a:pt x="437" y="63"/>
                    </a:lnTo>
                    <a:lnTo>
                      <a:pt x="464" y="66"/>
                    </a:lnTo>
                    <a:lnTo>
                      <a:pt x="489" y="70"/>
                    </a:lnTo>
                    <a:lnTo>
                      <a:pt x="512" y="75"/>
                    </a:lnTo>
                    <a:lnTo>
                      <a:pt x="529" y="80"/>
                    </a:lnTo>
                    <a:lnTo>
                      <a:pt x="544" y="87"/>
                    </a:lnTo>
                    <a:lnTo>
                      <a:pt x="544" y="87"/>
                    </a:lnTo>
                    <a:lnTo>
                      <a:pt x="557" y="93"/>
                    </a:lnTo>
                    <a:lnTo>
                      <a:pt x="567" y="101"/>
                    </a:lnTo>
                    <a:lnTo>
                      <a:pt x="576" y="108"/>
                    </a:lnTo>
                    <a:lnTo>
                      <a:pt x="584" y="117"/>
                    </a:lnTo>
                    <a:lnTo>
                      <a:pt x="589" y="126"/>
                    </a:lnTo>
                    <a:lnTo>
                      <a:pt x="594" y="134"/>
                    </a:lnTo>
                    <a:lnTo>
                      <a:pt x="595" y="144"/>
                    </a:lnTo>
                    <a:lnTo>
                      <a:pt x="597" y="154"/>
                    </a:lnTo>
                    <a:lnTo>
                      <a:pt x="597" y="154"/>
                    </a:lnTo>
                    <a:lnTo>
                      <a:pt x="595" y="163"/>
                    </a:lnTo>
                    <a:lnTo>
                      <a:pt x="594" y="173"/>
                    </a:lnTo>
                    <a:lnTo>
                      <a:pt x="591" y="182"/>
                    </a:lnTo>
                    <a:lnTo>
                      <a:pt x="585" y="189"/>
                    </a:lnTo>
                    <a:lnTo>
                      <a:pt x="579" y="197"/>
                    </a:lnTo>
                    <a:lnTo>
                      <a:pt x="570" y="204"/>
                    </a:lnTo>
                    <a:lnTo>
                      <a:pt x="562" y="211"/>
                    </a:lnTo>
                    <a:lnTo>
                      <a:pt x="550" y="217"/>
                    </a:lnTo>
                    <a:lnTo>
                      <a:pt x="550" y="217"/>
                    </a:lnTo>
                    <a:lnTo>
                      <a:pt x="534" y="225"/>
                    </a:lnTo>
                    <a:lnTo>
                      <a:pt x="514" y="230"/>
                    </a:lnTo>
                    <a:lnTo>
                      <a:pt x="491" y="236"/>
                    </a:lnTo>
                    <a:lnTo>
                      <a:pt x="466" y="240"/>
                    </a:lnTo>
                    <a:lnTo>
                      <a:pt x="437" y="243"/>
                    </a:lnTo>
                    <a:lnTo>
                      <a:pt x="404" y="245"/>
                    </a:lnTo>
                    <a:lnTo>
                      <a:pt x="369" y="247"/>
                    </a:lnTo>
                    <a:lnTo>
                      <a:pt x="331" y="248"/>
                    </a:lnTo>
                    <a:lnTo>
                      <a:pt x="331"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39" name="Freeform 1139"/>
              <p:cNvSpPr>
                <a:spLocks noEditPoints="1"/>
              </p:cNvSpPr>
              <p:nvPr/>
            </p:nvSpPr>
            <p:spPr bwMode="auto">
              <a:xfrm flipH="1">
                <a:off x="-1278804" y="2266439"/>
                <a:ext cx="87177" cy="48509"/>
              </a:xfrm>
              <a:custGeom>
                <a:avLst/>
                <a:gdLst>
                  <a:gd name="T0" fmla="*/ 387 w 664"/>
                  <a:gd name="T1" fmla="*/ 305 h 306"/>
                  <a:gd name="T2" fmla="*/ 480 w 664"/>
                  <a:gd name="T3" fmla="*/ 297 h 306"/>
                  <a:gd name="T4" fmla="*/ 518 w 664"/>
                  <a:gd name="T5" fmla="*/ 289 h 306"/>
                  <a:gd name="T6" fmla="*/ 565 w 664"/>
                  <a:gd name="T7" fmla="*/ 274 h 306"/>
                  <a:gd name="T8" fmla="*/ 605 w 664"/>
                  <a:gd name="T9" fmla="*/ 254 h 306"/>
                  <a:gd name="T10" fmla="*/ 625 w 664"/>
                  <a:gd name="T11" fmla="*/ 238 h 306"/>
                  <a:gd name="T12" fmla="*/ 649 w 664"/>
                  <a:gd name="T13" fmla="*/ 210 h 306"/>
                  <a:gd name="T14" fmla="*/ 662 w 664"/>
                  <a:gd name="T15" fmla="*/ 178 h 306"/>
                  <a:gd name="T16" fmla="*/ 664 w 664"/>
                  <a:gd name="T17" fmla="*/ 153 h 306"/>
                  <a:gd name="T18" fmla="*/ 652 w 664"/>
                  <a:gd name="T19" fmla="*/ 101 h 306"/>
                  <a:gd name="T20" fmla="*/ 631 w 664"/>
                  <a:gd name="T21" fmla="*/ 73 h 306"/>
                  <a:gd name="T22" fmla="*/ 583 w 664"/>
                  <a:gd name="T23" fmla="*/ 40 h 306"/>
                  <a:gd name="T24" fmla="*/ 539 w 664"/>
                  <a:gd name="T25" fmla="*/ 23 h 306"/>
                  <a:gd name="T26" fmla="*/ 486 w 664"/>
                  <a:gd name="T27" fmla="*/ 11 h 306"/>
                  <a:gd name="T28" fmla="*/ 378 w 664"/>
                  <a:gd name="T29" fmla="*/ 1 h 306"/>
                  <a:gd name="T30" fmla="*/ 278 w 664"/>
                  <a:gd name="T31" fmla="*/ 1 h 306"/>
                  <a:gd name="T32" fmla="*/ 186 w 664"/>
                  <a:gd name="T33" fmla="*/ 10 h 306"/>
                  <a:gd name="T34" fmla="*/ 147 w 664"/>
                  <a:gd name="T35" fmla="*/ 17 h 306"/>
                  <a:gd name="T36" fmla="*/ 99 w 664"/>
                  <a:gd name="T37" fmla="*/ 32 h 306"/>
                  <a:gd name="T38" fmla="*/ 61 w 664"/>
                  <a:gd name="T39" fmla="*/ 52 h 306"/>
                  <a:gd name="T40" fmla="*/ 39 w 664"/>
                  <a:gd name="T41" fmla="*/ 68 h 306"/>
                  <a:gd name="T42" fmla="*/ 15 w 664"/>
                  <a:gd name="T43" fmla="*/ 96 h 306"/>
                  <a:gd name="T44" fmla="*/ 3 w 664"/>
                  <a:gd name="T45" fmla="*/ 128 h 306"/>
                  <a:gd name="T46" fmla="*/ 0 w 664"/>
                  <a:gd name="T47" fmla="*/ 153 h 306"/>
                  <a:gd name="T48" fmla="*/ 11 w 664"/>
                  <a:gd name="T49" fmla="*/ 199 h 306"/>
                  <a:gd name="T50" fmla="*/ 39 w 664"/>
                  <a:gd name="T51" fmla="*/ 238 h 306"/>
                  <a:gd name="T52" fmla="*/ 68 w 664"/>
                  <a:gd name="T53" fmla="*/ 260 h 306"/>
                  <a:gd name="T54" fmla="*/ 143 w 664"/>
                  <a:gd name="T55" fmla="*/ 288 h 306"/>
                  <a:gd name="T56" fmla="*/ 247 w 664"/>
                  <a:gd name="T57" fmla="*/ 303 h 306"/>
                  <a:gd name="T58" fmla="*/ 333 w 664"/>
                  <a:gd name="T59" fmla="*/ 306 h 306"/>
                  <a:gd name="T60" fmla="*/ 294 w 664"/>
                  <a:gd name="T61" fmla="*/ 247 h 306"/>
                  <a:gd name="T62" fmla="*/ 199 w 664"/>
                  <a:gd name="T63" fmla="*/ 240 h 306"/>
                  <a:gd name="T64" fmla="*/ 134 w 664"/>
                  <a:gd name="T65" fmla="*/ 226 h 306"/>
                  <a:gd name="T66" fmla="*/ 106 w 664"/>
                  <a:gd name="T67" fmla="*/ 212 h 306"/>
                  <a:gd name="T68" fmla="*/ 80 w 664"/>
                  <a:gd name="T69" fmla="*/ 190 h 306"/>
                  <a:gd name="T70" fmla="*/ 66 w 664"/>
                  <a:gd name="T71" fmla="*/ 163 h 306"/>
                  <a:gd name="T72" fmla="*/ 66 w 664"/>
                  <a:gd name="T73" fmla="*/ 143 h 306"/>
                  <a:gd name="T74" fmla="*/ 80 w 664"/>
                  <a:gd name="T75" fmla="*/ 116 h 306"/>
                  <a:gd name="T76" fmla="*/ 108 w 664"/>
                  <a:gd name="T77" fmla="*/ 93 h 306"/>
                  <a:gd name="T78" fmla="*/ 134 w 664"/>
                  <a:gd name="T79" fmla="*/ 80 h 306"/>
                  <a:gd name="T80" fmla="*/ 199 w 664"/>
                  <a:gd name="T81" fmla="*/ 66 h 306"/>
                  <a:gd name="T82" fmla="*/ 294 w 664"/>
                  <a:gd name="T83" fmla="*/ 59 h 306"/>
                  <a:gd name="T84" fmla="*/ 371 w 664"/>
                  <a:gd name="T85" fmla="*/ 59 h 306"/>
                  <a:gd name="T86" fmla="*/ 465 w 664"/>
                  <a:gd name="T87" fmla="*/ 66 h 306"/>
                  <a:gd name="T88" fmla="*/ 530 w 664"/>
                  <a:gd name="T89" fmla="*/ 80 h 306"/>
                  <a:gd name="T90" fmla="*/ 558 w 664"/>
                  <a:gd name="T91" fmla="*/ 93 h 306"/>
                  <a:gd name="T92" fmla="*/ 584 w 664"/>
                  <a:gd name="T93" fmla="*/ 116 h 306"/>
                  <a:gd name="T94" fmla="*/ 597 w 664"/>
                  <a:gd name="T95" fmla="*/ 143 h 306"/>
                  <a:gd name="T96" fmla="*/ 597 w 664"/>
                  <a:gd name="T97" fmla="*/ 164 h 306"/>
                  <a:gd name="T98" fmla="*/ 586 w 664"/>
                  <a:gd name="T99" fmla="*/ 190 h 306"/>
                  <a:gd name="T100" fmla="*/ 562 w 664"/>
                  <a:gd name="T101" fmla="*/ 211 h 306"/>
                  <a:gd name="T102" fmla="*/ 534 w 664"/>
                  <a:gd name="T103" fmla="*/ 224 h 306"/>
                  <a:gd name="T104" fmla="*/ 467 w 664"/>
                  <a:gd name="T105" fmla="*/ 239 h 306"/>
                  <a:gd name="T106" fmla="*/ 371 w 664"/>
                  <a:gd name="T107" fmla="*/ 24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306">
                    <a:moveTo>
                      <a:pt x="333" y="306"/>
                    </a:moveTo>
                    <a:lnTo>
                      <a:pt x="333" y="306"/>
                    </a:lnTo>
                    <a:lnTo>
                      <a:pt x="387" y="305"/>
                    </a:lnTo>
                    <a:lnTo>
                      <a:pt x="436" y="302"/>
                    </a:lnTo>
                    <a:lnTo>
                      <a:pt x="458" y="300"/>
                    </a:lnTo>
                    <a:lnTo>
                      <a:pt x="480" y="297"/>
                    </a:lnTo>
                    <a:lnTo>
                      <a:pt x="499" y="293"/>
                    </a:lnTo>
                    <a:lnTo>
                      <a:pt x="518" y="289"/>
                    </a:lnTo>
                    <a:lnTo>
                      <a:pt x="518" y="289"/>
                    </a:lnTo>
                    <a:lnTo>
                      <a:pt x="534" y="285"/>
                    </a:lnTo>
                    <a:lnTo>
                      <a:pt x="550" y="279"/>
                    </a:lnTo>
                    <a:lnTo>
                      <a:pt x="565" y="274"/>
                    </a:lnTo>
                    <a:lnTo>
                      <a:pt x="580" y="267"/>
                    </a:lnTo>
                    <a:lnTo>
                      <a:pt x="593" y="261"/>
                    </a:lnTo>
                    <a:lnTo>
                      <a:pt x="605" y="254"/>
                    </a:lnTo>
                    <a:lnTo>
                      <a:pt x="615" y="247"/>
                    </a:lnTo>
                    <a:lnTo>
                      <a:pt x="625" y="238"/>
                    </a:lnTo>
                    <a:lnTo>
                      <a:pt x="625" y="238"/>
                    </a:lnTo>
                    <a:lnTo>
                      <a:pt x="634" y="230"/>
                    </a:lnTo>
                    <a:lnTo>
                      <a:pt x="643" y="220"/>
                    </a:lnTo>
                    <a:lnTo>
                      <a:pt x="649" y="210"/>
                    </a:lnTo>
                    <a:lnTo>
                      <a:pt x="655" y="199"/>
                    </a:lnTo>
                    <a:lnTo>
                      <a:pt x="658" y="189"/>
                    </a:lnTo>
                    <a:lnTo>
                      <a:pt x="662" y="178"/>
                    </a:lnTo>
                    <a:lnTo>
                      <a:pt x="664" y="166"/>
                    </a:lnTo>
                    <a:lnTo>
                      <a:pt x="664" y="153"/>
                    </a:lnTo>
                    <a:lnTo>
                      <a:pt x="664" y="153"/>
                    </a:lnTo>
                    <a:lnTo>
                      <a:pt x="662" y="135"/>
                    </a:lnTo>
                    <a:lnTo>
                      <a:pt x="659" y="118"/>
                    </a:lnTo>
                    <a:lnTo>
                      <a:pt x="652" y="101"/>
                    </a:lnTo>
                    <a:lnTo>
                      <a:pt x="643" y="86"/>
                    </a:lnTo>
                    <a:lnTo>
                      <a:pt x="643" y="86"/>
                    </a:lnTo>
                    <a:lnTo>
                      <a:pt x="631" y="73"/>
                    </a:lnTo>
                    <a:lnTo>
                      <a:pt x="617" y="60"/>
                    </a:lnTo>
                    <a:lnTo>
                      <a:pt x="600" y="50"/>
                    </a:lnTo>
                    <a:lnTo>
                      <a:pt x="583" y="40"/>
                    </a:lnTo>
                    <a:lnTo>
                      <a:pt x="583" y="40"/>
                    </a:lnTo>
                    <a:lnTo>
                      <a:pt x="561" y="31"/>
                    </a:lnTo>
                    <a:lnTo>
                      <a:pt x="539" y="23"/>
                    </a:lnTo>
                    <a:lnTo>
                      <a:pt x="512" y="16"/>
                    </a:lnTo>
                    <a:lnTo>
                      <a:pt x="486" y="11"/>
                    </a:lnTo>
                    <a:lnTo>
                      <a:pt x="486" y="11"/>
                    </a:lnTo>
                    <a:lnTo>
                      <a:pt x="455" y="5"/>
                    </a:lnTo>
                    <a:lnTo>
                      <a:pt x="418" y="2"/>
                    </a:lnTo>
                    <a:lnTo>
                      <a:pt x="378" y="1"/>
                    </a:lnTo>
                    <a:lnTo>
                      <a:pt x="333" y="0"/>
                    </a:lnTo>
                    <a:lnTo>
                      <a:pt x="333" y="0"/>
                    </a:lnTo>
                    <a:lnTo>
                      <a:pt x="278" y="1"/>
                    </a:lnTo>
                    <a:lnTo>
                      <a:pt x="228" y="4"/>
                    </a:lnTo>
                    <a:lnTo>
                      <a:pt x="206" y="6"/>
                    </a:lnTo>
                    <a:lnTo>
                      <a:pt x="186" y="10"/>
                    </a:lnTo>
                    <a:lnTo>
                      <a:pt x="166" y="13"/>
                    </a:lnTo>
                    <a:lnTo>
                      <a:pt x="147" y="17"/>
                    </a:lnTo>
                    <a:lnTo>
                      <a:pt x="147" y="17"/>
                    </a:lnTo>
                    <a:lnTo>
                      <a:pt x="131" y="22"/>
                    </a:lnTo>
                    <a:lnTo>
                      <a:pt x="115" y="26"/>
                    </a:lnTo>
                    <a:lnTo>
                      <a:pt x="99" y="32"/>
                    </a:lnTo>
                    <a:lnTo>
                      <a:pt x="86" y="38"/>
                    </a:lnTo>
                    <a:lnTo>
                      <a:pt x="72" y="44"/>
                    </a:lnTo>
                    <a:lnTo>
                      <a:pt x="61" y="52"/>
                    </a:lnTo>
                    <a:lnTo>
                      <a:pt x="49" y="59"/>
                    </a:lnTo>
                    <a:lnTo>
                      <a:pt x="39" y="68"/>
                    </a:lnTo>
                    <a:lnTo>
                      <a:pt x="39" y="68"/>
                    </a:lnTo>
                    <a:lnTo>
                      <a:pt x="30" y="77"/>
                    </a:lnTo>
                    <a:lnTo>
                      <a:pt x="22" y="85"/>
                    </a:lnTo>
                    <a:lnTo>
                      <a:pt x="15" y="96"/>
                    </a:lnTo>
                    <a:lnTo>
                      <a:pt x="11" y="106"/>
                    </a:lnTo>
                    <a:lnTo>
                      <a:pt x="6" y="116"/>
                    </a:lnTo>
                    <a:lnTo>
                      <a:pt x="3" y="128"/>
                    </a:lnTo>
                    <a:lnTo>
                      <a:pt x="2" y="140"/>
                    </a:lnTo>
                    <a:lnTo>
                      <a:pt x="0" y="153"/>
                    </a:lnTo>
                    <a:lnTo>
                      <a:pt x="0" y="153"/>
                    </a:lnTo>
                    <a:lnTo>
                      <a:pt x="2" y="169"/>
                    </a:lnTo>
                    <a:lnTo>
                      <a:pt x="5" y="185"/>
                    </a:lnTo>
                    <a:lnTo>
                      <a:pt x="11" y="199"/>
                    </a:lnTo>
                    <a:lnTo>
                      <a:pt x="18" y="214"/>
                    </a:lnTo>
                    <a:lnTo>
                      <a:pt x="27" y="226"/>
                    </a:lnTo>
                    <a:lnTo>
                      <a:pt x="39" y="238"/>
                    </a:lnTo>
                    <a:lnTo>
                      <a:pt x="52" y="250"/>
                    </a:lnTo>
                    <a:lnTo>
                      <a:pt x="68" y="260"/>
                    </a:lnTo>
                    <a:lnTo>
                      <a:pt x="68" y="260"/>
                    </a:lnTo>
                    <a:lnTo>
                      <a:pt x="90" y="271"/>
                    </a:lnTo>
                    <a:lnTo>
                      <a:pt x="115" y="280"/>
                    </a:lnTo>
                    <a:lnTo>
                      <a:pt x="143" y="288"/>
                    </a:lnTo>
                    <a:lnTo>
                      <a:pt x="175" y="294"/>
                    </a:lnTo>
                    <a:lnTo>
                      <a:pt x="209" y="300"/>
                    </a:lnTo>
                    <a:lnTo>
                      <a:pt x="247" y="303"/>
                    </a:lnTo>
                    <a:lnTo>
                      <a:pt x="289" y="305"/>
                    </a:lnTo>
                    <a:lnTo>
                      <a:pt x="333" y="306"/>
                    </a:lnTo>
                    <a:lnTo>
                      <a:pt x="333" y="306"/>
                    </a:lnTo>
                    <a:close/>
                    <a:moveTo>
                      <a:pt x="333" y="247"/>
                    </a:moveTo>
                    <a:lnTo>
                      <a:pt x="333" y="247"/>
                    </a:lnTo>
                    <a:lnTo>
                      <a:pt x="294" y="247"/>
                    </a:lnTo>
                    <a:lnTo>
                      <a:pt x="259" y="246"/>
                    </a:lnTo>
                    <a:lnTo>
                      <a:pt x="227" y="244"/>
                    </a:lnTo>
                    <a:lnTo>
                      <a:pt x="199" y="240"/>
                    </a:lnTo>
                    <a:lnTo>
                      <a:pt x="174" y="236"/>
                    </a:lnTo>
                    <a:lnTo>
                      <a:pt x="152" y="232"/>
                    </a:lnTo>
                    <a:lnTo>
                      <a:pt x="134" y="226"/>
                    </a:lnTo>
                    <a:lnTo>
                      <a:pt x="119" y="220"/>
                    </a:lnTo>
                    <a:lnTo>
                      <a:pt x="119" y="220"/>
                    </a:lnTo>
                    <a:lnTo>
                      <a:pt x="106" y="212"/>
                    </a:lnTo>
                    <a:lnTo>
                      <a:pt x="96" y="206"/>
                    </a:lnTo>
                    <a:lnTo>
                      <a:pt x="87" y="197"/>
                    </a:lnTo>
                    <a:lnTo>
                      <a:pt x="80" y="190"/>
                    </a:lnTo>
                    <a:lnTo>
                      <a:pt x="74" y="181"/>
                    </a:lnTo>
                    <a:lnTo>
                      <a:pt x="69" y="173"/>
                    </a:lnTo>
                    <a:lnTo>
                      <a:pt x="66" y="163"/>
                    </a:lnTo>
                    <a:lnTo>
                      <a:pt x="66" y="153"/>
                    </a:lnTo>
                    <a:lnTo>
                      <a:pt x="66" y="153"/>
                    </a:lnTo>
                    <a:lnTo>
                      <a:pt x="66" y="143"/>
                    </a:lnTo>
                    <a:lnTo>
                      <a:pt x="69" y="134"/>
                    </a:lnTo>
                    <a:lnTo>
                      <a:pt x="74" y="125"/>
                    </a:lnTo>
                    <a:lnTo>
                      <a:pt x="80" y="116"/>
                    </a:lnTo>
                    <a:lnTo>
                      <a:pt x="87" y="108"/>
                    </a:lnTo>
                    <a:lnTo>
                      <a:pt x="96" y="100"/>
                    </a:lnTo>
                    <a:lnTo>
                      <a:pt x="108" y="93"/>
                    </a:lnTo>
                    <a:lnTo>
                      <a:pt x="119" y="86"/>
                    </a:lnTo>
                    <a:lnTo>
                      <a:pt x="119" y="86"/>
                    </a:lnTo>
                    <a:lnTo>
                      <a:pt x="134" y="80"/>
                    </a:lnTo>
                    <a:lnTo>
                      <a:pt x="153" y="74"/>
                    </a:lnTo>
                    <a:lnTo>
                      <a:pt x="174" y="70"/>
                    </a:lnTo>
                    <a:lnTo>
                      <a:pt x="199" y="66"/>
                    </a:lnTo>
                    <a:lnTo>
                      <a:pt x="227" y="63"/>
                    </a:lnTo>
                    <a:lnTo>
                      <a:pt x="259" y="60"/>
                    </a:lnTo>
                    <a:lnTo>
                      <a:pt x="294" y="59"/>
                    </a:lnTo>
                    <a:lnTo>
                      <a:pt x="333" y="59"/>
                    </a:lnTo>
                    <a:lnTo>
                      <a:pt x="333" y="59"/>
                    </a:lnTo>
                    <a:lnTo>
                      <a:pt x="371" y="59"/>
                    </a:lnTo>
                    <a:lnTo>
                      <a:pt x="406" y="60"/>
                    </a:lnTo>
                    <a:lnTo>
                      <a:pt x="437" y="63"/>
                    </a:lnTo>
                    <a:lnTo>
                      <a:pt x="465" y="66"/>
                    </a:lnTo>
                    <a:lnTo>
                      <a:pt x="490" y="70"/>
                    </a:lnTo>
                    <a:lnTo>
                      <a:pt x="512" y="74"/>
                    </a:lnTo>
                    <a:lnTo>
                      <a:pt x="530" y="80"/>
                    </a:lnTo>
                    <a:lnTo>
                      <a:pt x="544" y="86"/>
                    </a:lnTo>
                    <a:lnTo>
                      <a:pt x="544" y="86"/>
                    </a:lnTo>
                    <a:lnTo>
                      <a:pt x="558" y="93"/>
                    </a:lnTo>
                    <a:lnTo>
                      <a:pt x="568" y="100"/>
                    </a:lnTo>
                    <a:lnTo>
                      <a:pt x="577" y="109"/>
                    </a:lnTo>
                    <a:lnTo>
                      <a:pt x="584" y="116"/>
                    </a:lnTo>
                    <a:lnTo>
                      <a:pt x="590" y="125"/>
                    </a:lnTo>
                    <a:lnTo>
                      <a:pt x="594" y="135"/>
                    </a:lnTo>
                    <a:lnTo>
                      <a:pt x="597" y="143"/>
                    </a:lnTo>
                    <a:lnTo>
                      <a:pt x="597" y="154"/>
                    </a:lnTo>
                    <a:lnTo>
                      <a:pt x="597" y="154"/>
                    </a:lnTo>
                    <a:lnTo>
                      <a:pt x="597" y="164"/>
                    </a:lnTo>
                    <a:lnTo>
                      <a:pt x="594" y="173"/>
                    </a:lnTo>
                    <a:lnTo>
                      <a:pt x="592" y="181"/>
                    </a:lnTo>
                    <a:lnTo>
                      <a:pt x="586" y="190"/>
                    </a:lnTo>
                    <a:lnTo>
                      <a:pt x="580" y="197"/>
                    </a:lnTo>
                    <a:lnTo>
                      <a:pt x="571" y="204"/>
                    </a:lnTo>
                    <a:lnTo>
                      <a:pt x="562" y="211"/>
                    </a:lnTo>
                    <a:lnTo>
                      <a:pt x="552" y="217"/>
                    </a:lnTo>
                    <a:lnTo>
                      <a:pt x="552" y="217"/>
                    </a:lnTo>
                    <a:lnTo>
                      <a:pt x="534" y="224"/>
                    </a:lnTo>
                    <a:lnTo>
                      <a:pt x="515" y="231"/>
                    </a:lnTo>
                    <a:lnTo>
                      <a:pt x="493" y="235"/>
                    </a:lnTo>
                    <a:lnTo>
                      <a:pt x="467" y="239"/>
                    </a:lnTo>
                    <a:lnTo>
                      <a:pt x="439" y="243"/>
                    </a:lnTo>
                    <a:lnTo>
                      <a:pt x="406" y="245"/>
                    </a:lnTo>
                    <a:lnTo>
                      <a:pt x="371" y="247"/>
                    </a:lnTo>
                    <a:lnTo>
                      <a:pt x="333" y="247"/>
                    </a:lnTo>
                    <a:lnTo>
                      <a:pt x="333"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sp>
            <p:nvSpPr>
              <p:cNvPr id="40" name="Freeform 1118"/>
              <p:cNvSpPr>
                <a:spLocks/>
              </p:cNvSpPr>
              <p:nvPr/>
            </p:nvSpPr>
            <p:spPr bwMode="auto">
              <a:xfrm flipH="1">
                <a:off x="-1146860" y="2305288"/>
                <a:ext cx="85213" cy="27562"/>
              </a:xfrm>
              <a:custGeom>
                <a:avLst/>
                <a:gdLst>
                  <a:gd name="T0" fmla="*/ 0 w 652"/>
                  <a:gd name="T1" fmla="*/ 0 h 172"/>
                  <a:gd name="T2" fmla="*/ 0 w 652"/>
                  <a:gd name="T3" fmla="*/ 57 h 172"/>
                  <a:gd name="T4" fmla="*/ 508 w 652"/>
                  <a:gd name="T5" fmla="*/ 57 h 172"/>
                  <a:gd name="T6" fmla="*/ 508 w 652"/>
                  <a:gd name="T7" fmla="*/ 57 h 172"/>
                  <a:gd name="T8" fmla="*/ 495 w 652"/>
                  <a:gd name="T9" fmla="*/ 68 h 172"/>
                  <a:gd name="T10" fmla="*/ 480 w 652"/>
                  <a:gd name="T11" fmla="*/ 81 h 172"/>
                  <a:gd name="T12" fmla="*/ 467 w 652"/>
                  <a:gd name="T13" fmla="*/ 96 h 172"/>
                  <a:gd name="T14" fmla="*/ 453 w 652"/>
                  <a:gd name="T15" fmla="*/ 112 h 172"/>
                  <a:gd name="T16" fmla="*/ 453 w 652"/>
                  <a:gd name="T17" fmla="*/ 112 h 172"/>
                  <a:gd name="T18" fmla="*/ 440 w 652"/>
                  <a:gd name="T19" fmla="*/ 128 h 172"/>
                  <a:gd name="T20" fmla="*/ 428 w 652"/>
                  <a:gd name="T21" fmla="*/ 143 h 172"/>
                  <a:gd name="T22" fmla="*/ 420 w 652"/>
                  <a:gd name="T23" fmla="*/ 158 h 172"/>
                  <a:gd name="T24" fmla="*/ 412 w 652"/>
                  <a:gd name="T25" fmla="*/ 172 h 172"/>
                  <a:gd name="T26" fmla="*/ 489 w 652"/>
                  <a:gd name="T27" fmla="*/ 172 h 172"/>
                  <a:gd name="T28" fmla="*/ 489 w 652"/>
                  <a:gd name="T29" fmla="*/ 172 h 172"/>
                  <a:gd name="T30" fmla="*/ 505 w 652"/>
                  <a:gd name="T31" fmla="*/ 148 h 172"/>
                  <a:gd name="T32" fmla="*/ 524 w 652"/>
                  <a:gd name="T33" fmla="*/ 127 h 172"/>
                  <a:gd name="T34" fmla="*/ 543 w 652"/>
                  <a:gd name="T35" fmla="*/ 106 h 172"/>
                  <a:gd name="T36" fmla="*/ 565 w 652"/>
                  <a:gd name="T37" fmla="*/ 88 h 172"/>
                  <a:gd name="T38" fmla="*/ 565 w 652"/>
                  <a:gd name="T39" fmla="*/ 88 h 172"/>
                  <a:gd name="T40" fmla="*/ 587 w 652"/>
                  <a:gd name="T41" fmla="*/ 71 h 172"/>
                  <a:gd name="T42" fmla="*/ 609 w 652"/>
                  <a:gd name="T43" fmla="*/ 57 h 172"/>
                  <a:gd name="T44" fmla="*/ 630 w 652"/>
                  <a:gd name="T45" fmla="*/ 45 h 172"/>
                  <a:gd name="T46" fmla="*/ 652 w 652"/>
                  <a:gd name="T47" fmla="*/ 36 h 172"/>
                  <a:gd name="T48" fmla="*/ 652 w 652"/>
                  <a:gd name="T49" fmla="*/ 0 h 172"/>
                  <a:gd name="T50" fmla="*/ 0 w 652"/>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72">
                    <a:moveTo>
                      <a:pt x="0" y="0"/>
                    </a:moveTo>
                    <a:lnTo>
                      <a:pt x="0" y="57"/>
                    </a:lnTo>
                    <a:lnTo>
                      <a:pt x="508" y="57"/>
                    </a:lnTo>
                    <a:lnTo>
                      <a:pt x="508" y="57"/>
                    </a:lnTo>
                    <a:lnTo>
                      <a:pt x="495" y="68"/>
                    </a:lnTo>
                    <a:lnTo>
                      <a:pt x="480" y="81"/>
                    </a:lnTo>
                    <a:lnTo>
                      <a:pt x="467" y="96"/>
                    </a:lnTo>
                    <a:lnTo>
                      <a:pt x="453" y="112"/>
                    </a:lnTo>
                    <a:lnTo>
                      <a:pt x="453" y="112"/>
                    </a:lnTo>
                    <a:lnTo>
                      <a:pt x="440" y="128"/>
                    </a:lnTo>
                    <a:lnTo>
                      <a:pt x="428" y="143"/>
                    </a:lnTo>
                    <a:lnTo>
                      <a:pt x="420" y="158"/>
                    </a:lnTo>
                    <a:lnTo>
                      <a:pt x="412" y="172"/>
                    </a:lnTo>
                    <a:lnTo>
                      <a:pt x="489" y="172"/>
                    </a:lnTo>
                    <a:lnTo>
                      <a:pt x="489" y="172"/>
                    </a:lnTo>
                    <a:lnTo>
                      <a:pt x="505" y="148"/>
                    </a:lnTo>
                    <a:lnTo>
                      <a:pt x="524" y="127"/>
                    </a:lnTo>
                    <a:lnTo>
                      <a:pt x="543" y="106"/>
                    </a:lnTo>
                    <a:lnTo>
                      <a:pt x="565" y="88"/>
                    </a:lnTo>
                    <a:lnTo>
                      <a:pt x="565" y="88"/>
                    </a:lnTo>
                    <a:lnTo>
                      <a:pt x="587" y="71"/>
                    </a:lnTo>
                    <a:lnTo>
                      <a:pt x="609" y="57"/>
                    </a:lnTo>
                    <a:lnTo>
                      <a:pt x="630" y="45"/>
                    </a:lnTo>
                    <a:lnTo>
                      <a:pt x="652" y="36"/>
                    </a:lnTo>
                    <a:lnTo>
                      <a:pt x="65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1B3B41"/>
                  </a:solidFill>
                  <a:effectLst/>
                  <a:uLnTx/>
                  <a:uFillTx/>
                </a:endParaRPr>
              </a:p>
            </p:txBody>
          </p:sp>
        </p:grpSp>
      </p:grpSp>
      <p:grpSp>
        <p:nvGrpSpPr>
          <p:cNvPr id="437" name="Group 436"/>
          <p:cNvGrpSpPr/>
          <p:nvPr/>
        </p:nvGrpSpPr>
        <p:grpSpPr>
          <a:xfrm>
            <a:off x="1280968" y="1819353"/>
            <a:ext cx="2073366" cy="2001562"/>
            <a:chOff x="1435169" y="1820862"/>
            <a:chExt cx="2073660" cy="2001845"/>
          </a:xfrm>
          <a:solidFill>
            <a:srgbClr val="34103D"/>
          </a:solidFill>
        </p:grpSpPr>
        <p:sp>
          <p:nvSpPr>
            <p:cNvPr id="438" name="Freeform 73"/>
            <p:cNvSpPr>
              <a:spLocks noEditPoints="1"/>
            </p:cNvSpPr>
            <p:nvPr/>
          </p:nvSpPr>
          <p:spPr bwMode="black">
            <a:xfrm>
              <a:off x="1435169" y="1820862"/>
              <a:ext cx="2073660" cy="200184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grpFill/>
            <a:ln>
              <a:noFill/>
            </a:ln>
          </p:spPr>
          <p:txBody>
            <a:bodyPr vert="horz" wrap="square" lIns="82293" tIns="41147" rIns="82293" bIns="41147"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prstClr val="black"/>
                </a:solidFill>
                <a:effectLst/>
                <a:uLnTx/>
                <a:uFillTx/>
              </a:endParaRPr>
            </a:p>
          </p:txBody>
        </p:sp>
        <p:grpSp>
          <p:nvGrpSpPr>
            <p:cNvPr id="439" name="Group 438"/>
            <p:cNvGrpSpPr/>
            <p:nvPr/>
          </p:nvGrpSpPr>
          <p:grpSpPr>
            <a:xfrm>
              <a:off x="1964084" y="2458512"/>
              <a:ext cx="869022" cy="869022"/>
              <a:chOff x="2032860" y="3434798"/>
              <a:chExt cx="869022" cy="869022"/>
            </a:xfrm>
            <a:grpFill/>
          </p:grpSpPr>
          <p:sp>
            <p:nvSpPr>
              <p:cNvPr id="440" name="Oval 439"/>
              <p:cNvSpPr/>
              <p:nvPr/>
            </p:nvSpPr>
            <p:spPr bwMode="auto">
              <a:xfrm>
                <a:off x="2066843" y="3434798"/>
                <a:ext cx="826003" cy="86026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1" name="Freeform 62"/>
              <p:cNvSpPr>
                <a:spLocks noEditPoints="1"/>
              </p:cNvSpPr>
              <p:nvPr/>
            </p:nvSpPr>
            <p:spPr bwMode="black">
              <a:xfrm>
                <a:off x="2032860" y="3434798"/>
                <a:ext cx="869022" cy="86902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txBody>
              <a:bodyPr vert="horz" wrap="square" lIns="61728" tIns="30865" rIns="61728" bIns="30865"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smtClean="0">
                  <a:ln>
                    <a:noFill/>
                  </a:ln>
                  <a:solidFill>
                    <a:srgbClr val="000000"/>
                  </a:solidFill>
                  <a:effectLst/>
                  <a:uLnTx/>
                  <a:uFillTx/>
                </a:endParaRPr>
              </a:p>
            </p:txBody>
          </p:sp>
        </p:grpSp>
      </p:grpSp>
      <p:grpSp>
        <p:nvGrpSpPr>
          <p:cNvPr id="442" name="Group 441"/>
          <p:cNvGrpSpPr/>
          <p:nvPr/>
        </p:nvGrpSpPr>
        <p:grpSpPr>
          <a:xfrm>
            <a:off x="5121617" y="1827193"/>
            <a:ext cx="1948765" cy="2001562"/>
            <a:chOff x="601249" y="2124863"/>
            <a:chExt cx="2948196" cy="2969570"/>
          </a:xfrm>
          <a:solidFill>
            <a:srgbClr val="34103D"/>
          </a:solidFill>
        </p:grpSpPr>
        <p:sp>
          <p:nvSpPr>
            <p:cNvPr id="443" name="Freeform 442"/>
            <p:cNvSpPr>
              <a:spLocks/>
            </p:cNvSpPr>
            <p:nvPr/>
          </p:nvSpPr>
          <p:spPr bwMode="auto">
            <a:xfrm>
              <a:off x="872431" y="2946147"/>
              <a:ext cx="55886" cy="136728"/>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44" name="Freeform 443"/>
            <p:cNvSpPr>
              <a:spLocks/>
            </p:cNvSpPr>
            <p:nvPr/>
          </p:nvSpPr>
          <p:spPr bwMode="auto">
            <a:xfrm>
              <a:off x="961299" y="2946147"/>
              <a:ext cx="58634" cy="136728"/>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45" name="Freeform 444"/>
            <p:cNvSpPr>
              <a:spLocks/>
            </p:cNvSpPr>
            <p:nvPr/>
          </p:nvSpPr>
          <p:spPr bwMode="auto">
            <a:xfrm>
              <a:off x="1661232" y="2946147"/>
              <a:ext cx="55886" cy="136728"/>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46" name="Freeform 445"/>
            <p:cNvSpPr>
              <a:spLocks/>
            </p:cNvSpPr>
            <p:nvPr/>
          </p:nvSpPr>
          <p:spPr bwMode="auto">
            <a:xfrm>
              <a:off x="1992633" y="2946147"/>
              <a:ext cx="57719" cy="136728"/>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47" name="Freeform 446"/>
            <p:cNvSpPr>
              <a:spLocks noEditPoints="1"/>
            </p:cNvSpPr>
            <p:nvPr/>
          </p:nvSpPr>
          <p:spPr bwMode="auto">
            <a:xfrm>
              <a:off x="2083332" y="2946147"/>
              <a:ext cx="95280" cy="139481"/>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grp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48" name="Freeform 447"/>
            <p:cNvSpPr>
              <a:spLocks noEditPoints="1"/>
            </p:cNvSpPr>
            <p:nvPr/>
          </p:nvSpPr>
          <p:spPr bwMode="auto">
            <a:xfrm>
              <a:off x="2534341" y="2946147"/>
              <a:ext cx="97113" cy="139481"/>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49" name="Freeform 448"/>
            <p:cNvSpPr>
              <a:spLocks noEditPoints="1"/>
            </p:cNvSpPr>
            <p:nvPr/>
          </p:nvSpPr>
          <p:spPr bwMode="auto">
            <a:xfrm>
              <a:off x="2661688" y="2946147"/>
              <a:ext cx="98028" cy="139481"/>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50" name="Freeform 449"/>
            <p:cNvSpPr>
              <a:spLocks/>
            </p:cNvSpPr>
            <p:nvPr/>
          </p:nvSpPr>
          <p:spPr bwMode="auto">
            <a:xfrm>
              <a:off x="2789950" y="2946147"/>
              <a:ext cx="58634" cy="136728"/>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51" name="Freeform 450"/>
            <p:cNvSpPr>
              <a:spLocks noEditPoints="1"/>
            </p:cNvSpPr>
            <p:nvPr/>
          </p:nvSpPr>
          <p:spPr bwMode="auto">
            <a:xfrm>
              <a:off x="3226042" y="2946147"/>
              <a:ext cx="95280" cy="139481"/>
            </a:xfrm>
            <a:custGeom>
              <a:avLst/>
              <a:gdLst>
                <a:gd name="T0" fmla="*/ 0 w 44"/>
                <a:gd name="T1" fmla="*/ 33 h 64"/>
                <a:gd name="T2" fmla="*/ 22 w 44"/>
                <a:gd name="T3" fmla="*/ 64 h 64"/>
                <a:gd name="T4" fmla="*/ 39 w 44"/>
                <a:gd name="T5" fmla="*/ 56 h 64"/>
                <a:gd name="T6" fmla="*/ 44 w 44"/>
                <a:gd name="T7" fmla="*/ 32 h 64"/>
                <a:gd name="T8" fmla="*/ 23 w 44"/>
                <a:gd name="T9" fmla="*/ 0 h 64"/>
                <a:gd name="T10" fmla="*/ 5 w 44"/>
                <a:gd name="T11" fmla="*/ 8 h 64"/>
                <a:gd name="T12" fmla="*/ 0 w 44"/>
                <a:gd name="T13" fmla="*/ 33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0" y="33"/>
                  </a:move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ubicBezTo>
                    <a:pt x="2" y="15"/>
                    <a:pt x="0" y="22"/>
                    <a:pt x="0" y="33"/>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52" name="Freeform 451"/>
            <p:cNvSpPr>
              <a:spLocks/>
            </p:cNvSpPr>
            <p:nvPr/>
          </p:nvSpPr>
          <p:spPr bwMode="auto">
            <a:xfrm>
              <a:off x="3354304" y="2946147"/>
              <a:ext cx="57719" cy="136728"/>
            </a:xfrm>
            <a:custGeom>
              <a:avLst/>
              <a:gdLst>
                <a:gd name="T0" fmla="*/ 10 w 27"/>
                <a:gd name="T1" fmla="*/ 5 h 63"/>
                <a:gd name="T2" fmla="*/ 0 w 27"/>
                <a:gd name="T3" fmla="*/ 9 h 63"/>
                <a:gd name="T4" fmla="*/ 0 w 27"/>
                <a:gd name="T5" fmla="*/ 20 h 63"/>
                <a:gd name="T6" fmla="*/ 3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8 h 63"/>
                <a:gd name="T20" fmla="*/ 23 w 27"/>
                <a:gd name="T21" fmla="*/ 0 h 63"/>
                <a:gd name="T22" fmla="*/ 18 w 27"/>
                <a:gd name="T23" fmla="*/ 0 h 63"/>
                <a:gd name="T24" fmla="*/ 10 w 27"/>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8"/>
                  </a:cubicBezTo>
                  <a:cubicBezTo>
                    <a:pt x="25" y="5"/>
                    <a:pt x="24" y="2"/>
                    <a:pt x="23" y="0"/>
                  </a:cubicBezTo>
                  <a:cubicBezTo>
                    <a:pt x="18" y="0"/>
                    <a:pt x="18" y="0"/>
                    <a:pt x="18" y="0"/>
                  </a:cubicBezTo>
                  <a:cubicBezTo>
                    <a:pt x="15" y="2"/>
                    <a:pt x="13" y="4"/>
                    <a:pt x="10" y="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53" name="Freeform 452"/>
            <p:cNvSpPr>
              <a:spLocks/>
            </p:cNvSpPr>
            <p:nvPr/>
          </p:nvSpPr>
          <p:spPr bwMode="auto">
            <a:xfrm>
              <a:off x="3445002" y="3039747"/>
              <a:ext cx="10994" cy="32118"/>
            </a:xfrm>
            <a:custGeom>
              <a:avLst/>
              <a:gdLst>
                <a:gd name="T0" fmla="*/ 0 w 5"/>
                <a:gd name="T1" fmla="*/ 0 h 15"/>
                <a:gd name="T2" fmla="*/ 5 w 5"/>
                <a:gd name="T3" fmla="*/ 15 h 15"/>
                <a:gd name="T4" fmla="*/ 0 w 5"/>
                <a:gd name="T5" fmla="*/ 0 h 15"/>
              </a:gdLst>
              <a:ahLst/>
              <a:cxnLst>
                <a:cxn ang="0">
                  <a:pos x="T0" y="T1"/>
                </a:cxn>
                <a:cxn ang="0">
                  <a:pos x="T2" y="T3"/>
                </a:cxn>
                <a:cxn ang="0">
                  <a:pos x="T4" y="T5"/>
                </a:cxn>
              </a:cxnLst>
              <a:rect l="0" t="0" r="r" b="b"/>
              <a:pathLst>
                <a:path w="5" h="15">
                  <a:moveTo>
                    <a:pt x="0" y="0"/>
                  </a:moveTo>
                  <a:cubicBezTo>
                    <a:pt x="1" y="6"/>
                    <a:pt x="2" y="11"/>
                    <a:pt x="5" y="15"/>
                  </a:cubicBezTo>
                  <a:cubicBezTo>
                    <a:pt x="4" y="10"/>
                    <a:pt x="2" y="5"/>
                    <a:pt x="0"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54" name="Freeform 453"/>
            <p:cNvSpPr>
              <a:spLocks noEditPoints="1"/>
            </p:cNvSpPr>
            <p:nvPr/>
          </p:nvSpPr>
          <p:spPr bwMode="auto">
            <a:xfrm>
              <a:off x="900832" y="3111323"/>
              <a:ext cx="95280" cy="138564"/>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30" y="64"/>
                    <a:pt x="35" y="61"/>
                    <a:pt x="39" y="56"/>
                  </a:cubicBezTo>
                  <a:cubicBezTo>
                    <a:pt x="43" y="50"/>
                    <a:pt x="44" y="42"/>
                    <a:pt x="44" y="32"/>
                  </a:cubicBezTo>
                  <a:cubicBezTo>
                    <a:pt x="44" y="11"/>
                    <a:pt x="38" y="0"/>
                    <a:pt x="23" y="0"/>
                  </a:cubicBezTo>
                  <a:cubicBezTo>
                    <a:pt x="16" y="0"/>
                    <a:pt x="9" y="2"/>
                    <a:pt x="5"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55" name="Freeform 454"/>
            <p:cNvSpPr>
              <a:spLocks noEditPoints="1"/>
            </p:cNvSpPr>
            <p:nvPr/>
          </p:nvSpPr>
          <p:spPr bwMode="auto">
            <a:xfrm>
              <a:off x="1592532" y="3111323"/>
              <a:ext cx="95280" cy="138564"/>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56" name="Freeform 455"/>
            <p:cNvSpPr>
              <a:spLocks/>
            </p:cNvSpPr>
            <p:nvPr/>
          </p:nvSpPr>
          <p:spPr bwMode="auto">
            <a:xfrm>
              <a:off x="1720794" y="3111323"/>
              <a:ext cx="55886" cy="136728"/>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57" name="Freeform 456"/>
            <p:cNvSpPr>
              <a:spLocks noEditPoints="1"/>
            </p:cNvSpPr>
            <p:nvPr/>
          </p:nvSpPr>
          <p:spPr bwMode="auto">
            <a:xfrm>
              <a:off x="1809662" y="3111323"/>
              <a:ext cx="95280" cy="138564"/>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58" name="Freeform 457"/>
            <p:cNvSpPr>
              <a:spLocks/>
            </p:cNvSpPr>
            <p:nvPr/>
          </p:nvSpPr>
          <p:spPr bwMode="auto">
            <a:xfrm>
              <a:off x="1937008" y="3111323"/>
              <a:ext cx="56801" cy="136728"/>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59" name="Freeform 458"/>
            <p:cNvSpPr>
              <a:spLocks noEditPoints="1"/>
            </p:cNvSpPr>
            <p:nvPr/>
          </p:nvSpPr>
          <p:spPr bwMode="auto">
            <a:xfrm>
              <a:off x="2026791" y="3111323"/>
              <a:ext cx="95280" cy="138564"/>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2" y="50"/>
                    <a:pt x="44" y="42"/>
                    <a:pt x="44" y="32"/>
                  </a:cubicBezTo>
                  <a:cubicBezTo>
                    <a:pt x="44"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60" name="Freeform 459"/>
            <p:cNvSpPr>
              <a:spLocks/>
            </p:cNvSpPr>
            <p:nvPr/>
          </p:nvSpPr>
          <p:spPr bwMode="auto">
            <a:xfrm>
              <a:off x="2154137" y="3111323"/>
              <a:ext cx="58634" cy="136728"/>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3"/>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61" name="Freeform 460"/>
            <p:cNvSpPr>
              <a:spLocks noEditPoints="1"/>
            </p:cNvSpPr>
            <p:nvPr/>
          </p:nvSpPr>
          <p:spPr bwMode="auto">
            <a:xfrm>
              <a:off x="2243004" y="3111323"/>
              <a:ext cx="98028" cy="138564"/>
            </a:xfrm>
            <a:custGeom>
              <a:avLst/>
              <a:gdLst>
                <a:gd name="T0" fmla="*/ 6 w 45"/>
                <a:gd name="T1" fmla="*/ 8 h 64"/>
                <a:gd name="T2" fmla="*/ 0 w 45"/>
                <a:gd name="T3" fmla="*/ 33 h 64"/>
                <a:gd name="T4" fmla="*/ 22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2 w 45"/>
                <a:gd name="T17" fmla="*/ 53 h 64"/>
                <a:gd name="T18" fmla="*/ 14 w 45"/>
                <a:gd name="T19" fmla="*/ 33 h 64"/>
                <a:gd name="T20" fmla="*/ 22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7" y="64"/>
                    <a:pt x="22" y="64"/>
                  </a:cubicBezTo>
                  <a:cubicBezTo>
                    <a:pt x="30" y="64"/>
                    <a:pt x="35" y="61"/>
                    <a:pt x="39" y="56"/>
                  </a:cubicBezTo>
                  <a:cubicBezTo>
                    <a:pt x="43" y="50"/>
                    <a:pt x="45" y="42"/>
                    <a:pt x="45" y="32"/>
                  </a:cubicBezTo>
                  <a:cubicBezTo>
                    <a:pt x="45"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62" name="Freeform 461"/>
            <p:cNvSpPr>
              <a:spLocks noEditPoints="1"/>
            </p:cNvSpPr>
            <p:nvPr/>
          </p:nvSpPr>
          <p:spPr bwMode="auto">
            <a:xfrm>
              <a:off x="2371265" y="3111323"/>
              <a:ext cx="95280" cy="138564"/>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63" name="Freeform 462"/>
            <p:cNvSpPr>
              <a:spLocks/>
            </p:cNvSpPr>
            <p:nvPr/>
          </p:nvSpPr>
          <p:spPr bwMode="auto">
            <a:xfrm>
              <a:off x="2499529" y="3111323"/>
              <a:ext cx="55886" cy="136728"/>
            </a:xfrm>
            <a:custGeom>
              <a:avLst/>
              <a:gdLst>
                <a:gd name="T0" fmla="*/ 0 w 26"/>
                <a:gd name="T1" fmla="*/ 9 h 63"/>
                <a:gd name="T2" fmla="*/ 0 w 26"/>
                <a:gd name="T3" fmla="*/ 20 h 63"/>
                <a:gd name="T4" fmla="*/ 4 w 26"/>
                <a:gd name="T5" fmla="*/ 20 h 63"/>
                <a:gd name="T6" fmla="*/ 7 w 26"/>
                <a:gd name="T7" fmla="*/ 18 h 63"/>
                <a:gd name="T8" fmla="*/ 10 w 26"/>
                <a:gd name="T9" fmla="*/ 16 h 63"/>
                <a:gd name="T10" fmla="*/ 13 w 26"/>
                <a:gd name="T11" fmla="*/ 14 h 63"/>
                <a:gd name="T12" fmla="*/ 13 w 26"/>
                <a:gd name="T13" fmla="*/ 63 h 63"/>
                <a:gd name="T14" fmla="*/ 26 w 26"/>
                <a:gd name="T15" fmla="*/ 63 h 63"/>
                <a:gd name="T16" fmla="*/ 26 w 26"/>
                <a:gd name="T17" fmla="*/ 0 h 63"/>
                <a:gd name="T18" fmla="*/ 18 w 26"/>
                <a:gd name="T19" fmla="*/ 0 h 63"/>
                <a:gd name="T20" fmla="*/ 10 w 26"/>
                <a:gd name="T21" fmla="*/ 5 h 63"/>
                <a:gd name="T22" fmla="*/ 0 w 26"/>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9"/>
                  </a:move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6" y="2"/>
                    <a:pt x="13" y="3"/>
                    <a:pt x="10" y="5"/>
                  </a:cubicBezTo>
                  <a:cubicBezTo>
                    <a:pt x="6" y="6"/>
                    <a:pt x="4" y="8"/>
                    <a:pt x="0" y="9"/>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64" name="Freeform 463"/>
            <p:cNvSpPr>
              <a:spLocks/>
            </p:cNvSpPr>
            <p:nvPr/>
          </p:nvSpPr>
          <p:spPr bwMode="auto">
            <a:xfrm>
              <a:off x="2588395" y="3111323"/>
              <a:ext cx="58634" cy="136728"/>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6 h 63"/>
                <a:gd name="T12" fmla="*/ 13 w 27"/>
                <a:gd name="T13" fmla="*/ 14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65" name="Freeform 464"/>
            <p:cNvSpPr>
              <a:spLocks/>
            </p:cNvSpPr>
            <p:nvPr/>
          </p:nvSpPr>
          <p:spPr bwMode="auto">
            <a:xfrm>
              <a:off x="2679095" y="3111323"/>
              <a:ext cx="56801" cy="136728"/>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6"/>
                  </a:cubicBezTo>
                  <a:cubicBezTo>
                    <a:pt x="11" y="16"/>
                    <a:pt x="11" y="15"/>
                    <a:pt x="12" y="14"/>
                  </a:cubicBezTo>
                  <a:cubicBezTo>
                    <a:pt x="12" y="14"/>
                    <a:pt x="12" y="14"/>
                    <a:pt x="12" y="63"/>
                  </a:cubicBezTo>
                  <a:cubicBezTo>
                    <a:pt x="12" y="63"/>
                    <a:pt x="12"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66" name="Freeform 465"/>
            <p:cNvSpPr>
              <a:spLocks noEditPoints="1"/>
            </p:cNvSpPr>
            <p:nvPr/>
          </p:nvSpPr>
          <p:spPr bwMode="auto">
            <a:xfrm>
              <a:off x="2767963" y="3111323"/>
              <a:ext cx="95280" cy="138564"/>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67" name="Freeform 466"/>
            <p:cNvSpPr>
              <a:spLocks/>
            </p:cNvSpPr>
            <p:nvPr/>
          </p:nvSpPr>
          <p:spPr bwMode="auto">
            <a:xfrm>
              <a:off x="3204053" y="3111323"/>
              <a:ext cx="56801" cy="136728"/>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68" name="Freeform 467"/>
            <p:cNvSpPr>
              <a:spLocks noEditPoints="1"/>
            </p:cNvSpPr>
            <p:nvPr/>
          </p:nvSpPr>
          <p:spPr bwMode="auto">
            <a:xfrm>
              <a:off x="3292921" y="3111323"/>
              <a:ext cx="95280" cy="138564"/>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69" name="Freeform 468"/>
            <p:cNvSpPr>
              <a:spLocks/>
            </p:cNvSpPr>
            <p:nvPr/>
          </p:nvSpPr>
          <p:spPr bwMode="auto">
            <a:xfrm>
              <a:off x="3421183" y="3111323"/>
              <a:ext cx="55886" cy="136728"/>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4 h 63"/>
                <a:gd name="T14" fmla="*/ 13 w 26"/>
                <a:gd name="T15" fmla="*/ 63 h 63"/>
                <a:gd name="T16" fmla="*/ 26 w 26"/>
                <a:gd name="T17" fmla="*/ 63 h 63"/>
                <a:gd name="T18" fmla="*/ 26 w 26"/>
                <a:gd name="T19" fmla="*/ 10 h 63"/>
                <a:gd name="T20" fmla="*/ 23 w 26"/>
                <a:gd name="T21" fmla="*/ 0 h 63"/>
                <a:gd name="T22" fmla="*/ 18 w 26"/>
                <a:gd name="T23" fmla="*/ 0 h 63"/>
                <a:gd name="T24" fmla="*/ 10 w 26"/>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10"/>
                  </a:cubicBezTo>
                  <a:cubicBezTo>
                    <a:pt x="25" y="7"/>
                    <a:pt x="24" y="3"/>
                    <a:pt x="23" y="0"/>
                  </a:cubicBezTo>
                  <a:cubicBezTo>
                    <a:pt x="18" y="0"/>
                    <a:pt x="18" y="0"/>
                    <a:pt x="18" y="0"/>
                  </a:cubicBezTo>
                  <a:cubicBezTo>
                    <a:pt x="15" y="2"/>
                    <a:pt x="13" y="3"/>
                    <a:pt x="10" y="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70" name="Freeform 469"/>
            <p:cNvSpPr>
              <a:spLocks/>
            </p:cNvSpPr>
            <p:nvPr/>
          </p:nvSpPr>
          <p:spPr bwMode="auto">
            <a:xfrm>
              <a:off x="640643" y="3276498"/>
              <a:ext cx="55886" cy="134893"/>
            </a:xfrm>
            <a:custGeom>
              <a:avLst/>
              <a:gdLst>
                <a:gd name="T0" fmla="*/ 7 w 26"/>
                <a:gd name="T1" fmla="*/ 18 h 62"/>
                <a:gd name="T2" fmla="*/ 10 w 26"/>
                <a:gd name="T3" fmla="*/ 16 h 62"/>
                <a:gd name="T4" fmla="*/ 13 w 26"/>
                <a:gd name="T5" fmla="*/ 14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5"/>
                    <a:pt x="13" y="14"/>
                  </a:cubicBezTo>
                  <a:cubicBezTo>
                    <a:pt x="13" y="14"/>
                    <a:pt x="13" y="14"/>
                    <a:pt x="13" y="62"/>
                  </a:cubicBezTo>
                  <a:cubicBezTo>
                    <a:pt x="13" y="62"/>
                    <a:pt x="13" y="62"/>
                    <a:pt x="26" y="62"/>
                  </a:cubicBezTo>
                  <a:cubicBezTo>
                    <a:pt x="26" y="62"/>
                    <a:pt x="26" y="62"/>
                    <a:pt x="26" y="0"/>
                  </a:cubicBezTo>
                  <a:cubicBezTo>
                    <a:pt x="18" y="0"/>
                    <a:pt x="18" y="0"/>
                    <a:pt x="18" y="0"/>
                  </a:cubicBezTo>
                  <a:cubicBezTo>
                    <a:pt x="15" y="1"/>
                    <a:pt x="13" y="3"/>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71" name="Freeform 470"/>
            <p:cNvSpPr>
              <a:spLocks/>
            </p:cNvSpPr>
            <p:nvPr/>
          </p:nvSpPr>
          <p:spPr bwMode="auto">
            <a:xfrm>
              <a:off x="729511" y="3276498"/>
              <a:ext cx="55886" cy="134893"/>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4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6" y="6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72" name="Freeform 471"/>
            <p:cNvSpPr>
              <a:spLocks/>
            </p:cNvSpPr>
            <p:nvPr/>
          </p:nvSpPr>
          <p:spPr bwMode="auto">
            <a:xfrm>
              <a:off x="818379" y="3276498"/>
              <a:ext cx="58634" cy="134893"/>
            </a:xfrm>
            <a:custGeom>
              <a:avLst/>
              <a:gdLst>
                <a:gd name="T0" fmla="*/ 10 w 27"/>
                <a:gd name="T1" fmla="*/ 5 h 62"/>
                <a:gd name="T2" fmla="*/ 0 w 27"/>
                <a:gd name="T3" fmla="*/ 9 h 62"/>
                <a:gd name="T4" fmla="*/ 0 w 27"/>
                <a:gd name="T5" fmla="*/ 20 h 62"/>
                <a:gd name="T6" fmla="*/ 4 w 27"/>
                <a:gd name="T7" fmla="*/ 20 h 62"/>
                <a:gd name="T8" fmla="*/ 8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9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73" name="Freeform 472"/>
            <p:cNvSpPr>
              <a:spLocks noEditPoints="1"/>
            </p:cNvSpPr>
            <p:nvPr/>
          </p:nvSpPr>
          <p:spPr bwMode="auto">
            <a:xfrm>
              <a:off x="909078" y="3276498"/>
              <a:ext cx="95280" cy="138564"/>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6"/>
                    <a:pt x="27" y="53"/>
                    <a:pt x="22" y="53"/>
                  </a:cubicBezTo>
                  <a:cubicBezTo>
                    <a:pt x="16" y="53"/>
                    <a:pt x="13" y="46"/>
                    <a:pt x="13" y="33"/>
                  </a:cubicBezTo>
                  <a:cubicBezTo>
                    <a:pt x="13" y="18"/>
                    <a:pt x="16"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74" name="Freeform 473"/>
            <p:cNvSpPr>
              <a:spLocks noEditPoints="1"/>
            </p:cNvSpPr>
            <p:nvPr/>
          </p:nvSpPr>
          <p:spPr bwMode="auto">
            <a:xfrm>
              <a:off x="1034592" y="3276498"/>
              <a:ext cx="98028" cy="138564"/>
            </a:xfrm>
            <a:custGeom>
              <a:avLst/>
              <a:gdLst>
                <a:gd name="T0" fmla="*/ 6 w 45"/>
                <a:gd name="T1" fmla="*/ 8 h 64"/>
                <a:gd name="T2" fmla="*/ 0 w 45"/>
                <a:gd name="T3" fmla="*/ 33 h 64"/>
                <a:gd name="T4" fmla="*/ 23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3 w 45"/>
                <a:gd name="T17" fmla="*/ 53 h 64"/>
                <a:gd name="T18" fmla="*/ 14 w 45"/>
                <a:gd name="T19" fmla="*/ 33 h 64"/>
                <a:gd name="T20" fmla="*/ 23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8" y="64"/>
                    <a:pt x="23" y="64"/>
                  </a:cubicBezTo>
                  <a:cubicBezTo>
                    <a:pt x="30" y="64"/>
                    <a:pt x="36" y="61"/>
                    <a:pt x="39" y="56"/>
                  </a:cubicBezTo>
                  <a:cubicBezTo>
                    <a:pt x="43" y="50"/>
                    <a:pt x="45" y="42"/>
                    <a:pt x="45" y="32"/>
                  </a:cubicBezTo>
                  <a:cubicBezTo>
                    <a:pt x="45" y="11"/>
                    <a:pt x="38" y="0"/>
                    <a:pt x="23" y="0"/>
                  </a:cubicBezTo>
                  <a:cubicBezTo>
                    <a:pt x="16" y="0"/>
                    <a:pt x="10" y="2"/>
                    <a:pt x="6" y="8"/>
                  </a:cubicBezTo>
                  <a:close/>
                  <a:moveTo>
                    <a:pt x="31" y="32"/>
                  </a:moveTo>
                  <a:cubicBezTo>
                    <a:pt x="31" y="46"/>
                    <a:pt x="28" y="53"/>
                    <a:pt x="23" y="53"/>
                  </a:cubicBezTo>
                  <a:cubicBezTo>
                    <a:pt x="17" y="53"/>
                    <a:pt x="14" y="46"/>
                    <a:pt x="14" y="33"/>
                  </a:cubicBezTo>
                  <a:cubicBezTo>
                    <a:pt x="14" y="18"/>
                    <a:pt x="17" y="11"/>
                    <a:pt x="23" y="11"/>
                  </a:cubicBezTo>
                  <a:cubicBezTo>
                    <a:pt x="28" y="11"/>
                    <a:pt x="31" y="17"/>
                    <a:pt x="31" y="3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75" name="Freeform 474"/>
            <p:cNvSpPr>
              <a:spLocks/>
            </p:cNvSpPr>
            <p:nvPr/>
          </p:nvSpPr>
          <p:spPr bwMode="auto">
            <a:xfrm>
              <a:off x="1162854" y="3276498"/>
              <a:ext cx="58634" cy="134893"/>
            </a:xfrm>
            <a:custGeom>
              <a:avLst/>
              <a:gdLst>
                <a:gd name="T0" fmla="*/ 27 w 27"/>
                <a:gd name="T1" fmla="*/ 62 h 62"/>
                <a:gd name="T2" fmla="*/ 27 w 27"/>
                <a:gd name="T3" fmla="*/ 0 h 62"/>
                <a:gd name="T4" fmla="*/ 19 w 27"/>
                <a:gd name="T5" fmla="*/ 0 h 62"/>
                <a:gd name="T6" fmla="*/ 10 w 27"/>
                <a:gd name="T7" fmla="*/ 5 h 62"/>
                <a:gd name="T8" fmla="*/ 0 w 27"/>
                <a:gd name="T9" fmla="*/ 9 h 62"/>
                <a:gd name="T10" fmla="*/ 0 w 27"/>
                <a:gd name="T11" fmla="*/ 20 h 62"/>
                <a:gd name="T12" fmla="*/ 4 w 27"/>
                <a:gd name="T13" fmla="*/ 20 h 62"/>
                <a:gd name="T14" fmla="*/ 8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76" name="Freeform 475"/>
            <p:cNvSpPr>
              <a:spLocks noEditPoints="1"/>
            </p:cNvSpPr>
            <p:nvPr/>
          </p:nvSpPr>
          <p:spPr bwMode="auto">
            <a:xfrm>
              <a:off x="1254470" y="3276498"/>
              <a:ext cx="95280" cy="138564"/>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3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lose/>
                  <a:moveTo>
                    <a:pt x="22" y="53"/>
                  </a:moveTo>
                  <a:cubicBezTo>
                    <a:pt x="16" y="53"/>
                    <a:pt x="13" y="46"/>
                    <a:pt x="13" y="33"/>
                  </a:cubicBezTo>
                  <a:cubicBezTo>
                    <a:pt x="13" y="18"/>
                    <a:pt x="16" y="11"/>
                    <a:pt x="22" y="11"/>
                  </a:cubicBezTo>
                  <a:cubicBezTo>
                    <a:pt x="27" y="11"/>
                    <a:pt x="30" y="17"/>
                    <a:pt x="30" y="32"/>
                  </a:cubicBezTo>
                  <a:cubicBezTo>
                    <a:pt x="30" y="46"/>
                    <a:pt x="27"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77" name="Freeform 476"/>
            <p:cNvSpPr>
              <a:spLocks/>
            </p:cNvSpPr>
            <p:nvPr/>
          </p:nvSpPr>
          <p:spPr bwMode="auto">
            <a:xfrm>
              <a:off x="1381815" y="3276498"/>
              <a:ext cx="56801" cy="134893"/>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3 w 26"/>
                <a:gd name="T13" fmla="*/ 20 h 62"/>
                <a:gd name="T14" fmla="*/ 7 w 26"/>
                <a:gd name="T15" fmla="*/ 18 h 62"/>
                <a:gd name="T16" fmla="*/ 10 w 26"/>
                <a:gd name="T17" fmla="*/ 16 h 62"/>
                <a:gd name="T18" fmla="*/ 12 w 26"/>
                <a:gd name="T19" fmla="*/ 14 h 62"/>
                <a:gd name="T20" fmla="*/ 12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5" y="1"/>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78" name="Freeform 477"/>
            <p:cNvSpPr>
              <a:spLocks noEditPoints="1"/>
            </p:cNvSpPr>
            <p:nvPr/>
          </p:nvSpPr>
          <p:spPr bwMode="auto">
            <a:xfrm>
              <a:off x="1470683" y="3276498"/>
              <a:ext cx="96197" cy="138564"/>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2"/>
                    <a:pt x="5" y="8"/>
                  </a:cubicBezTo>
                  <a:cubicBezTo>
                    <a:pt x="2" y="14"/>
                    <a:pt x="0" y="22"/>
                    <a:pt x="0" y="33"/>
                  </a:cubicBezTo>
                  <a:cubicBezTo>
                    <a:pt x="0" y="54"/>
                    <a:pt x="7" y="64"/>
                    <a:pt x="22" y="64"/>
                  </a:cubicBezTo>
                  <a:cubicBezTo>
                    <a:pt x="29" y="64"/>
                    <a:pt x="35" y="61"/>
                    <a:pt x="38" y="56"/>
                  </a:cubicBezTo>
                  <a:close/>
                  <a:moveTo>
                    <a:pt x="22" y="53"/>
                  </a:moveTo>
                  <a:cubicBezTo>
                    <a:pt x="16" y="53"/>
                    <a:pt x="14" y="46"/>
                    <a:pt x="14" y="33"/>
                  </a:cubicBezTo>
                  <a:cubicBezTo>
                    <a:pt x="14" y="18"/>
                    <a:pt x="16" y="11"/>
                    <a:pt x="22" y="11"/>
                  </a:cubicBezTo>
                  <a:cubicBezTo>
                    <a:pt x="27" y="11"/>
                    <a:pt x="30" y="17"/>
                    <a:pt x="30" y="32"/>
                  </a:cubicBezTo>
                  <a:cubicBezTo>
                    <a:pt x="30" y="46"/>
                    <a:pt x="27"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79" name="Freeform 478"/>
            <p:cNvSpPr>
              <a:spLocks noEditPoints="1"/>
            </p:cNvSpPr>
            <p:nvPr/>
          </p:nvSpPr>
          <p:spPr bwMode="auto">
            <a:xfrm>
              <a:off x="1598945" y="3276498"/>
              <a:ext cx="95280" cy="138564"/>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ubicBezTo>
                    <a:pt x="29" y="64"/>
                    <a:pt x="35" y="61"/>
                    <a:pt x="39" y="56"/>
                  </a:cubicBezTo>
                  <a:close/>
                  <a:moveTo>
                    <a:pt x="14" y="33"/>
                  </a:moveTo>
                  <a:cubicBezTo>
                    <a:pt x="14" y="18"/>
                    <a:pt x="16" y="11"/>
                    <a:pt x="22" y="11"/>
                  </a:cubicBezTo>
                  <a:cubicBezTo>
                    <a:pt x="27" y="11"/>
                    <a:pt x="30" y="17"/>
                    <a:pt x="30" y="32"/>
                  </a:cubicBezTo>
                  <a:cubicBezTo>
                    <a:pt x="30" y="46"/>
                    <a:pt x="27" y="53"/>
                    <a:pt x="22" y="53"/>
                  </a:cubicBezTo>
                  <a:cubicBezTo>
                    <a:pt x="16" y="53"/>
                    <a:pt x="14" y="46"/>
                    <a:pt x="14" y="3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80" name="Freeform 479"/>
            <p:cNvSpPr>
              <a:spLocks/>
            </p:cNvSpPr>
            <p:nvPr/>
          </p:nvSpPr>
          <p:spPr bwMode="auto">
            <a:xfrm>
              <a:off x="2035036" y="3276498"/>
              <a:ext cx="56801" cy="134893"/>
            </a:xfrm>
            <a:custGeom>
              <a:avLst/>
              <a:gdLst>
                <a:gd name="T0" fmla="*/ 10 w 26"/>
                <a:gd name="T1" fmla="*/ 5 h 62"/>
                <a:gd name="T2" fmla="*/ 0 w 26"/>
                <a:gd name="T3" fmla="*/ 9 h 62"/>
                <a:gd name="T4" fmla="*/ 0 w 26"/>
                <a:gd name="T5" fmla="*/ 20 h 62"/>
                <a:gd name="T6" fmla="*/ 3 w 26"/>
                <a:gd name="T7" fmla="*/ 20 h 62"/>
                <a:gd name="T8" fmla="*/ 7 w 26"/>
                <a:gd name="T9" fmla="*/ 18 h 62"/>
                <a:gd name="T10" fmla="*/ 10 w 26"/>
                <a:gd name="T11" fmla="*/ 16 h 62"/>
                <a:gd name="T12" fmla="*/ 12 w 26"/>
                <a:gd name="T13" fmla="*/ 14 h 62"/>
                <a:gd name="T14" fmla="*/ 12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ubicBezTo>
                    <a:pt x="26" y="62"/>
                    <a:pt x="26" y="62"/>
                    <a:pt x="26" y="0"/>
                  </a:cubicBezTo>
                  <a:cubicBezTo>
                    <a:pt x="18" y="0"/>
                    <a:pt x="18" y="0"/>
                    <a:pt x="18" y="0"/>
                  </a:cubicBezTo>
                  <a:cubicBezTo>
                    <a:pt x="15" y="1"/>
                    <a:pt x="12" y="3"/>
                    <a:pt x="10" y="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81" name="Freeform 480"/>
            <p:cNvSpPr>
              <a:spLocks noEditPoints="1"/>
            </p:cNvSpPr>
            <p:nvPr/>
          </p:nvSpPr>
          <p:spPr bwMode="auto">
            <a:xfrm>
              <a:off x="2123903" y="3276498"/>
              <a:ext cx="95280" cy="138564"/>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6"/>
                    <a:pt x="27" y="53"/>
                    <a:pt x="22" y="53"/>
                  </a:cubicBezTo>
                  <a:cubicBezTo>
                    <a:pt x="16" y="53"/>
                    <a:pt x="14" y="46"/>
                    <a:pt x="14" y="33"/>
                  </a:cubicBezTo>
                  <a:cubicBezTo>
                    <a:pt x="14" y="18"/>
                    <a:pt x="16"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82" name="Freeform 481"/>
            <p:cNvSpPr>
              <a:spLocks/>
            </p:cNvSpPr>
            <p:nvPr/>
          </p:nvSpPr>
          <p:spPr bwMode="auto">
            <a:xfrm>
              <a:off x="2469295" y="3276498"/>
              <a:ext cx="57719" cy="134893"/>
            </a:xfrm>
            <a:custGeom>
              <a:avLst/>
              <a:gdLst>
                <a:gd name="T0" fmla="*/ 10 w 27"/>
                <a:gd name="T1" fmla="*/ 5 h 62"/>
                <a:gd name="T2" fmla="*/ 0 w 27"/>
                <a:gd name="T3" fmla="*/ 9 h 62"/>
                <a:gd name="T4" fmla="*/ 0 w 27"/>
                <a:gd name="T5" fmla="*/ 20 h 62"/>
                <a:gd name="T6" fmla="*/ 3 w 27"/>
                <a:gd name="T7" fmla="*/ 20 h 62"/>
                <a:gd name="T8" fmla="*/ 7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8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8" y="0"/>
                    <a:pt x="18" y="0"/>
                    <a:pt x="18" y="0"/>
                  </a:cubicBezTo>
                  <a:cubicBezTo>
                    <a:pt x="15" y="1"/>
                    <a:pt x="13" y="3"/>
                    <a:pt x="10" y="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83" name="Freeform 482"/>
            <p:cNvSpPr>
              <a:spLocks/>
            </p:cNvSpPr>
            <p:nvPr/>
          </p:nvSpPr>
          <p:spPr bwMode="auto">
            <a:xfrm>
              <a:off x="2558162" y="3276498"/>
              <a:ext cx="58634" cy="134893"/>
            </a:xfrm>
            <a:custGeom>
              <a:avLst/>
              <a:gdLst>
                <a:gd name="T0" fmla="*/ 7 w 27"/>
                <a:gd name="T1" fmla="*/ 18 h 62"/>
                <a:gd name="T2" fmla="*/ 10 w 27"/>
                <a:gd name="T3" fmla="*/ 16 h 62"/>
                <a:gd name="T4" fmla="*/ 13 w 27"/>
                <a:gd name="T5" fmla="*/ 14 h 62"/>
                <a:gd name="T6" fmla="*/ 13 w 27"/>
                <a:gd name="T7" fmla="*/ 62 h 62"/>
                <a:gd name="T8" fmla="*/ 27 w 27"/>
                <a:gd name="T9" fmla="*/ 62 h 62"/>
                <a:gd name="T10" fmla="*/ 27 w 27"/>
                <a:gd name="T11" fmla="*/ 0 h 62"/>
                <a:gd name="T12" fmla="*/ 19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84" name="Freeform 483"/>
            <p:cNvSpPr>
              <a:spLocks/>
            </p:cNvSpPr>
            <p:nvPr/>
          </p:nvSpPr>
          <p:spPr bwMode="auto">
            <a:xfrm>
              <a:off x="2647030" y="3276498"/>
              <a:ext cx="58634" cy="134893"/>
            </a:xfrm>
            <a:custGeom>
              <a:avLst/>
              <a:gdLst>
                <a:gd name="T0" fmla="*/ 0 w 27"/>
                <a:gd name="T1" fmla="*/ 20 h 62"/>
                <a:gd name="T2" fmla="*/ 4 w 27"/>
                <a:gd name="T3" fmla="*/ 20 h 62"/>
                <a:gd name="T4" fmla="*/ 8 w 27"/>
                <a:gd name="T5" fmla="*/ 18 h 62"/>
                <a:gd name="T6" fmla="*/ 10 w 27"/>
                <a:gd name="T7" fmla="*/ 16 h 62"/>
                <a:gd name="T8" fmla="*/ 13 w 27"/>
                <a:gd name="T9" fmla="*/ 14 h 62"/>
                <a:gd name="T10" fmla="*/ 13 w 27"/>
                <a:gd name="T11" fmla="*/ 62 h 62"/>
                <a:gd name="T12" fmla="*/ 27 w 27"/>
                <a:gd name="T13" fmla="*/ 62 h 62"/>
                <a:gd name="T14" fmla="*/ 27 w 27"/>
                <a:gd name="T15" fmla="*/ 0 h 62"/>
                <a:gd name="T16" fmla="*/ 19 w 27"/>
                <a:gd name="T17" fmla="*/ 0 h 62"/>
                <a:gd name="T18" fmla="*/ 10 w 27"/>
                <a:gd name="T19" fmla="*/ 5 h 62"/>
                <a:gd name="T20" fmla="*/ 0 w 27"/>
                <a:gd name="T21" fmla="*/ 9 h 62"/>
                <a:gd name="T22" fmla="*/ 0 w 27"/>
                <a:gd name="T23"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0" y="20"/>
                  </a:move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85" name="Freeform 484"/>
            <p:cNvSpPr>
              <a:spLocks noEditPoints="1"/>
            </p:cNvSpPr>
            <p:nvPr/>
          </p:nvSpPr>
          <p:spPr bwMode="auto">
            <a:xfrm>
              <a:off x="2737729" y="3276498"/>
              <a:ext cx="95280" cy="138564"/>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5" y="0"/>
                    <a:pt x="9" y="2"/>
                    <a:pt x="5" y="8"/>
                  </a:cubicBezTo>
                  <a:cubicBezTo>
                    <a:pt x="1" y="14"/>
                    <a:pt x="0" y="22"/>
                    <a:pt x="0" y="33"/>
                  </a:cubicBezTo>
                  <a:cubicBezTo>
                    <a:pt x="0" y="54"/>
                    <a:pt x="7" y="64"/>
                    <a:pt x="22" y="64"/>
                  </a:cubicBezTo>
                  <a:cubicBezTo>
                    <a:pt x="29" y="64"/>
                    <a:pt x="35" y="61"/>
                    <a:pt x="39" y="56"/>
                  </a:cubicBezTo>
                  <a:close/>
                  <a:moveTo>
                    <a:pt x="13" y="33"/>
                  </a:moveTo>
                  <a:cubicBezTo>
                    <a:pt x="13" y="18"/>
                    <a:pt x="16" y="11"/>
                    <a:pt x="22" y="11"/>
                  </a:cubicBezTo>
                  <a:cubicBezTo>
                    <a:pt x="27" y="11"/>
                    <a:pt x="30" y="17"/>
                    <a:pt x="30" y="32"/>
                  </a:cubicBezTo>
                  <a:cubicBezTo>
                    <a:pt x="30" y="46"/>
                    <a:pt x="27" y="53"/>
                    <a:pt x="22" y="53"/>
                  </a:cubicBezTo>
                  <a:cubicBezTo>
                    <a:pt x="16" y="53"/>
                    <a:pt x="13" y="46"/>
                    <a:pt x="13" y="3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86" name="Freeform 485"/>
            <p:cNvSpPr>
              <a:spLocks/>
            </p:cNvSpPr>
            <p:nvPr/>
          </p:nvSpPr>
          <p:spPr bwMode="auto">
            <a:xfrm>
              <a:off x="3299333" y="3276498"/>
              <a:ext cx="58634" cy="134893"/>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1"/>
                    <a:pt x="13" y="3"/>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7" y="6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87" name="Freeform 486"/>
            <p:cNvSpPr>
              <a:spLocks noEditPoints="1"/>
            </p:cNvSpPr>
            <p:nvPr/>
          </p:nvSpPr>
          <p:spPr bwMode="auto">
            <a:xfrm>
              <a:off x="3388201" y="3276498"/>
              <a:ext cx="98028" cy="138564"/>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1"/>
                    <a:pt x="39" y="56"/>
                  </a:cubicBezTo>
                  <a:cubicBezTo>
                    <a:pt x="43" y="50"/>
                    <a:pt x="45" y="42"/>
                    <a:pt x="45" y="32"/>
                  </a:cubicBezTo>
                  <a:cubicBezTo>
                    <a:pt x="45" y="11"/>
                    <a:pt x="38" y="0"/>
                    <a:pt x="23" y="0"/>
                  </a:cubicBezTo>
                  <a:cubicBezTo>
                    <a:pt x="16" y="0"/>
                    <a:pt x="10" y="2"/>
                    <a:pt x="6" y="8"/>
                  </a:cubicBezTo>
                  <a:cubicBezTo>
                    <a:pt x="2" y="14"/>
                    <a:pt x="0" y="22"/>
                    <a:pt x="0" y="33"/>
                  </a:cubicBezTo>
                  <a:cubicBezTo>
                    <a:pt x="0" y="54"/>
                    <a:pt x="8" y="64"/>
                    <a:pt x="23" y="64"/>
                  </a:cubicBezTo>
                  <a:close/>
                  <a:moveTo>
                    <a:pt x="23" y="11"/>
                  </a:moveTo>
                  <a:cubicBezTo>
                    <a:pt x="28" y="11"/>
                    <a:pt x="31" y="17"/>
                    <a:pt x="31" y="32"/>
                  </a:cubicBezTo>
                  <a:cubicBezTo>
                    <a:pt x="31" y="46"/>
                    <a:pt x="28" y="53"/>
                    <a:pt x="23" y="53"/>
                  </a:cubicBezTo>
                  <a:cubicBezTo>
                    <a:pt x="17" y="53"/>
                    <a:pt x="14" y="46"/>
                    <a:pt x="14" y="33"/>
                  </a:cubicBezTo>
                  <a:cubicBezTo>
                    <a:pt x="14" y="18"/>
                    <a:pt x="17" y="11"/>
                    <a:pt x="23"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88" name="Freeform 487"/>
            <p:cNvSpPr>
              <a:spLocks/>
            </p:cNvSpPr>
            <p:nvPr/>
          </p:nvSpPr>
          <p:spPr bwMode="auto">
            <a:xfrm>
              <a:off x="3518296" y="3308614"/>
              <a:ext cx="20156" cy="98187"/>
            </a:xfrm>
            <a:custGeom>
              <a:avLst/>
              <a:gdLst>
                <a:gd name="T0" fmla="*/ 9 w 9"/>
                <a:gd name="T1" fmla="*/ 45 h 45"/>
                <a:gd name="T2" fmla="*/ 2 w 9"/>
                <a:gd name="T3" fmla="*/ 0 h 45"/>
                <a:gd name="T4" fmla="*/ 0 w 9"/>
                <a:gd name="T5" fmla="*/ 18 h 45"/>
                <a:gd name="T6" fmla="*/ 9 w 9"/>
                <a:gd name="T7" fmla="*/ 45 h 45"/>
              </a:gdLst>
              <a:ahLst/>
              <a:cxnLst>
                <a:cxn ang="0">
                  <a:pos x="T0" y="T1"/>
                </a:cxn>
                <a:cxn ang="0">
                  <a:pos x="T2" y="T3"/>
                </a:cxn>
                <a:cxn ang="0">
                  <a:pos x="T4" y="T5"/>
                </a:cxn>
                <a:cxn ang="0">
                  <a:pos x="T6" y="T7"/>
                </a:cxn>
              </a:cxnLst>
              <a:rect l="0" t="0" r="r" b="b"/>
              <a:pathLst>
                <a:path w="9" h="45">
                  <a:moveTo>
                    <a:pt x="9" y="45"/>
                  </a:moveTo>
                  <a:cubicBezTo>
                    <a:pt x="7" y="30"/>
                    <a:pt x="5" y="15"/>
                    <a:pt x="2" y="0"/>
                  </a:cubicBezTo>
                  <a:cubicBezTo>
                    <a:pt x="0" y="5"/>
                    <a:pt x="0" y="10"/>
                    <a:pt x="0" y="18"/>
                  </a:cubicBezTo>
                  <a:cubicBezTo>
                    <a:pt x="0" y="31"/>
                    <a:pt x="3" y="41"/>
                    <a:pt x="9" y="4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89" name="Freeform 488"/>
            <p:cNvSpPr>
              <a:spLocks/>
            </p:cNvSpPr>
            <p:nvPr/>
          </p:nvSpPr>
          <p:spPr bwMode="auto">
            <a:xfrm>
              <a:off x="601249" y="3438919"/>
              <a:ext cx="58634" cy="136728"/>
            </a:xfrm>
            <a:custGeom>
              <a:avLst/>
              <a:gdLst>
                <a:gd name="T0" fmla="*/ 27 w 27"/>
                <a:gd name="T1" fmla="*/ 0 h 63"/>
                <a:gd name="T2" fmla="*/ 19 w 27"/>
                <a:gd name="T3" fmla="*/ 0 h 63"/>
                <a:gd name="T4" fmla="*/ 10 w 27"/>
                <a:gd name="T5" fmla="*/ 5 h 63"/>
                <a:gd name="T6" fmla="*/ 0 w 27"/>
                <a:gd name="T7" fmla="*/ 9 h 63"/>
                <a:gd name="T8" fmla="*/ 0 w 27"/>
                <a:gd name="T9" fmla="*/ 20 h 63"/>
                <a:gd name="T10" fmla="*/ 4 w 27"/>
                <a:gd name="T11" fmla="*/ 20 h 63"/>
                <a:gd name="T12" fmla="*/ 7 w 27"/>
                <a:gd name="T13" fmla="*/ 18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90" name="Freeform 489"/>
            <p:cNvSpPr>
              <a:spLocks noEditPoints="1"/>
            </p:cNvSpPr>
            <p:nvPr/>
          </p:nvSpPr>
          <p:spPr bwMode="auto">
            <a:xfrm>
              <a:off x="690117" y="3441672"/>
              <a:ext cx="95280" cy="138564"/>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ubicBezTo>
                    <a:pt x="16" y="0"/>
                    <a:pt x="10" y="3"/>
                    <a:pt x="6" y="8"/>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91" name="Freeform 490"/>
            <p:cNvSpPr>
              <a:spLocks noEditPoints="1"/>
            </p:cNvSpPr>
            <p:nvPr/>
          </p:nvSpPr>
          <p:spPr bwMode="auto">
            <a:xfrm>
              <a:off x="818379" y="3441672"/>
              <a:ext cx="97113" cy="138564"/>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92" name="Freeform 491"/>
            <p:cNvSpPr>
              <a:spLocks/>
            </p:cNvSpPr>
            <p:nvPr/>
          </p:nvSpPr>
          <p:spPr bwMode="auto">
            <a:xfrm>
              <a:off x="945725" y="3438919"/>
              <a:ext cx="58634" cy="136728"/>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93" name="Freeform 492"/>
            <p:cNvSpPr>
              <a:spLocks/>
            </p:cNvSpPr>
            <p:nvPr/>
          </p:nvSpPr>
          <p:spPr bwMode="auto">
            <a:xfrm>
              <a:off x="1562299" y="3438919"/>
              <a:ext cx="55886" cy="136728"/>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1" y="16"/>
                    <a:pt x="12" y="15"/>
                  </a:cubicBezTo>
                  <a:cubicBezTo>
                    <a:pt x="12" y="15"/>
                    <a:pt x="12" y="15"/>
                    <a:pt x="12" y="63"/>
                  </a:cubicBezTo>
                  <a:cubicBezTo>
                    <a:pt x="12" y="63"/>
                    <a:pt x="12"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94" name="Freeform 493"/>
            <p:cNvSpPr>
              <a:spLocks/>
            </p:cNvSpPr>
            <p:nvPr/>
          </p:nvSpPr>
          <p:spPr bwMode="auto">
            <a:xfrm>
              <a:off x="1651165" y="3438919"/>
              <a:ext cx="55886" cy="136728"/>
            </a:xfrm>
            <a:custGeom>
              <a:avLst/>
              <a:gdLst>
                <a:gd name="T0" fmla="*/ 7 w 26"/>
                <a:gd name="T1" fmla="*/ 18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95" name="Freeform 494"/>
            <p:cNvSpPr>
              <a:spLocks/>
            </p:cNvSpPr>
            <p:nvPr/>
          </p:nvSpPr>
          <p:spPr bwMode="auto">
            <a:xfrm>
              <a:off x="2140673" y="3438919"/>
              <a:ext cx="58634" cy="136728"/>
            </a:xfrm>
            <a:custGeom>
              <a:avLst/>
              <a:gdLst>
                <a:gd name="T0" fmla="*/ 0 w 27"/>
                <a:gd name="T1" fmla="*/ 9 h 63"/>
                <a:gd name="T2" fmla="*/ 0 w 27"/>
                <a:gd name="T3" fmla="*/ 20 h 63"/>
                <a:gd name="T4" fmla="*/ 4 w 27"/>
                <a:gd name="T5" fmla="*/ 20 h 63"/>
                <a:gd name="T6" fmla="*/ 7 w 27"/>
                <a:gd name="T7" fmla="*/ 18 h 63"/>
                <a:gd name="T8" fmla="*/ 10 w 27"/>
                <a:gd name="T9" fmla="*/ 17 h 63"/>
                <a:gd name="T10" fmla="*/ 13 w 27"/>
                <a:gd name="T11" fmla="*/ 15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96" name="Freeform 495"/>
            <p:cNvSpPr>
              <a:spLocks noEditPoints="1"/>
            </p:cNvSpPr>
            <p:nvPr/>
          </p:nvSpPr>
          <p:spPr bwMode="auto">
            <a:xfrm>
              <a:off x="2558162" y="3441672"/>
              <a:ext cx="97113" cy="138564"/>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97" name="Freeform 496"/>
            <p:cNvSpPr>
              <a:spLocks/>
            </p:cNvSpPr>
            <p:nvPr/>
          </p:nvSpPr>
          <p:spPr bwMode="auto">
            <a:xfrm>
              <a:off x="2685509" y="3438919"/>
              <a:ext cx="58634" cy="136728"/>
            </a:xfrm>
            <a:custGeom>
              <a:avLst/>
              <a:gdLst>
                <a:gd name="T0" fmla="*/ 0 w 27"/>
                <a:gd name="T1" fmla="*/ 20 h 63"/>
                <a:gd name="T2" fmla="*/ 4 w 27"/>
                <a:gd name="T3" fmla="*/ 20 h 63"/>
                <a:gd name="T4" fmla="*/ 8 w 27"/>
                <a:gd name="T5" fmla="*/ 18 h 63"/>
                <a:gd name="T6" fmla="*/ 10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98" name="Freeform 497"/>
            <p:cNvSpPr>
              <a:spLocks noEditPoints="1"/>
            </p:cNvSpPr>
            <p:nvPr/>
          </p:nvSpPr>
          <p:spPr bwMode="auto">
            <a:xfrm>
              <a:off x="2777124" y="3441672"/>
              <a:ext cx="95280" cy="138564"/>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499" name="Freeform 498"/>
            <p:cNvSpPr>
              <a:spLocks noEditPoints="1"/>
            </p:cNvSpPr>
            <p:nvPr/>
          </p:nvSpPr>
          <p:spPr bwMode="auto">
            <a:xfrm>
              <a:off x="2904470" y="3441672"/>
              <a:ext cx="96197" cy="138564"/>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3"/>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00" name="Freeform 499"/>
            <p:cNvSpPr>
              <a:spLocks noEditPoints="1"/>
            </p:cNvSpPr>
            <p:nvPr/>
          </p:nvSpPr>
          <p:spPr bwMode="auto">
            <a:xfrm>
              <a:off x="3032732" y="3441672"/>
              <a:ext cx="95280" cy="138564"/>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01" name="Freeform 500"/>
            <p:cNvSpPr>
              <a:spLocks/>
            </p:cNvSpPr>
            <p:nvPr/>
          </p:nvSpPr>
          <p:spPr bwMode="auto">
            <a:xfrm>
              <a:off x="3158245" y="3438919"/>
              <a:ext cx="58634" cy="136728"/>
            </a:xfrm>
            <a:custGeom>
              <a:avLst/>
              <a:gdLst>
                <a:gd name="T0" fmla="*/ 11 w 27"/>
                <a:gd name="T1" fmla="*/ 5 h 63"/>
                <a:gd name="T2" fmla="*/ 0 w 27"/>
                <a:gd name="T3" fmla="*/ 9 h 63"/>
                <a:gd name="T4" fmla="*/ 0 w 27"/>
                <a:gd name="T5" fmla="*/ 20 h 63"/>
                <a:gd name="T6" fmla="*/ 4 w 27"/>
                <a:gd name="T7" fmla="*/ 20 h 63"/>
                <a:gd name="T8" fmla="*/ 8 w 27"/>
                <a:gd name="T9" fmla="*/ 18 h 63"/>
                <a:gd name="T10" fmla="*/ 11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1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1" y="5"/>
                  </a:moveTo>
                  <a:cubicBezTo>
                    <a:pt x="7" y="6"/>
                    <a:pt x="4" y="8"/>
                    <a:pt x="0" y="9"/>
                  </a:cubicBezTo>
                  <a:cubicBezTo>
                    <a:pt x="0" y="9"/>
                    <a:pt x="0" y="9"/>
                    <a:pt x="0" y="20"/>
                  </a:cubicBezTo>
                  <a:cubicBezTo>
                    <a:pt x="1" y="20"/>
                    <a:pt x="2" y="20"/>
                    <a:pt x="4" y="20"/>
                  </a:cubicBezTo>
                  <a:cubicBezTo>
                    <a:pt x="5" y="19"/>
                    <a:pt x="6" y="19"/>
                    <a:pt x="8" y="18"/>
                  </a:cubicBezTo>
                  <a:cubicBezTo>
                    <a:pt x="9" y="18"/>
                    <a:pt x="10" y="17"/>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02" name="Freeform 501"/>
            <p:cNvSpPr>
              <a:spLocks noEditPoints="1"/>
            </p:cNvSpPr>
            <p:nvPr/>
          </p:nvSpPr>
          <p:spPr bwMode="auto">
            <a:xfrm>
              <a:off x="3249862" y="3441672"/>
              <a:ext cx="95280" cy="138564"/>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30" y="32"/>
                  </a:moveTo>
                  <a:cubicBezTo>
                    <a:pt x="30" y="47"/>
                    <a:pt x="28" y="53"/>
                    <a:pt x="22" y="53"/>
                  </a:cubicBezTo>
                  <a:cubicBezTo>
                    <a:pt x="16" y="53"/>
                    <a:pt x="14" y="47"/>
                    <a:pt x="14" y="33"/>
                  </a:cubicBezTo>
                  <a:cubicBezTo>
                    <a:pt x="14" y="18"/>
                    <a:pt x="16" y="11"/>
                    <a:pt x="22" y="11"/>
                  </a:cubicBezTo>
                  <a:cubicBezTo>
                    <a:pt x="28" y="11"/>
                    <a:pt x="30" y="17"/>
                    <a:pt x="30" y="3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03" name="Freeform 502"/>
            <p:cNvSpPr>
              <a:spLocks/>
            </p:cNvSpPr>
            <p:nvPr/>
          </p:nvSpPr>
          <p:spPr bwMode="auto">
            <a:xfrm>
              <a:off x="3378123" y="3438919"/>
              <a:ext cx="57719" cy="136728"/>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04" name="Freeform 503"/>
            <p:cNvSpPr>
              <a:spLocks noEditPoints="1"/>
            </p:cNvSpPr>
            <p:nvPr/>
          </p:nvSpPr>
          <p:spPr bwMode="auto">
            <a:xfrm>
              <a:off x="3466991" y="3441672"/>
              <a:ext cx="82454" cy="138564"/>
            </a:xfrm>
            <a:custGeom>
              <a:avLst/>
              <a:gdLst>
                <a:gd name="T0" fmla="*/ 6 w 38"/>
                <a:gd name="T1" fmla="*/ 8 h 64"/>
                <a:gd name="T2" fmla="*/ 0 w 38"/>
                <a:gd name="T3" fmla="*/ 33 h 64"/>
                <a:gd name="T4" fmla="*/ 22 w 38"/>
                <a:gd name="T5" fmla="*/ 64 h 64"/>
                <a:gd name="T6" fmla="*/ 38 w 38"/>
                <a:gd name="T7" fmla="*/ 57 h 64"/>
                <a:gd name="T8" fmla="*/ 35 w 38"/>
                <a:gd name="T9" fmla="*/ 4 h 64"/>
                <a:gd name="T10" fmla="*/ 23 w 38"/>
                <a:gd name="T11" fmla="*/ 0 h 64"/>
                <a:gd name="T12" fmla="*/ 6 w 38"/>
                <a:gd name="T13" fmla="*/ 8 h 64"/>
                <a:gd name="T14" fmla="*/ 30 w 38"/>
                <a:gd name="T15" fmla="*/ 32 h 64"/>
                <a:gd name="T16" fmla="*/ 22 w 38"/>
                <a:gd name="T17" fmla="*/ 53 h 64"/>
                <a:gd name="T18" fmla="*/ 14 w 38"/>
                <a:gd name="T19" fmla="*/ 33 h 64"/>
                <a:gd name="T20" fmla="*/ 22 w 38"/>
                <a:gd name="T21" fmla="*/ 11 h 64"/>
                <a:gd name="T22" fmla="*/ 30 w 38"/>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4">
                  <a:moveTo>
                    <a:pt x="6" y="8"/>
                  </a:moveTo>
                  <a:cubicBezTo>
                    <a:pt x="2" y="15"/>
                    <a:pt x="0" y="22"/>
                    <a:pt x="0" y="33"/>
                  </a:cubicBezTo>
                  <a:cubicBezTo>
                    <a:pt x="0" y="54"/>
                    <a:pt x="7" y="64"/>
                    <a:pt x="22" y="64"/>
                  </a:cubicBezTo>
                  <a:cubicBezTo>
                    <a:pt x="29" y="64"/>
                    <a:pt x="34" y="62"/>
                    <a:pt x="38" y="57"/>
                  </a:cubicBezTo>
                  <a:cubicBezTo>
                    <a:pt x="38" y="39"/>
                    <a:pt x="37" y="21"/>
                    <a:pt x="35" y="4"/>
                  </a:cubicBezTo>
                  <a:cubicBezTo>
                    <a:pt x="32" y="1"/>
                    <a:pt x="28" y="0"/>
                    <a:pt x="23" y="0"/>
                  </a:cubicBezTo>
                  <a:cubicBezTo>
                    <a:pt x="16" y="0"/>
                    <a:pt x="9" y="3"/>
                    <a:pt x="6"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05" name="Freeform 504"/>
            <p:cNvSpPr>
              <a:spLocks noEditPoints="1"/>
            </p:cNvSpPr>
            <p:nvPr/>
          </p:nvSpPr>
          <p:spPr bwMode="auto">
            <a:xfrm>
              <a:off x="939312" y="3604094"/>
              <a:ext cx="95280" cy="141317"/>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1" y="15"/>
                    <a:pt x="0" y="22"/>
                    <a:pt x="0" y="33"/>
                  </a:cubicBezTo>
                  <a:cubicBezTo>
                    <a:pt x="0" y="54"/>
                    <a:pt x="7" y="65"/>
                    <a:pt x="22" y="65"/>
                  </a:cubicBezTo>
                  <a:cubicBezTo>
                    <a:pt x="29" y="65"/>
                    <a:pt x="35" y="62"/>
                    <a:pt x="38" y="56"/>
                  </a:cubicBezTo>
                  <a:cubicBezTo>
                    <a:pt x="42" y="51"/>
                    <a:pt x="44" y="42"/>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06" name="Freeform 505"/>
            <p:cNvSpPr>
              <a:spLocks noEditPoints="1"/>
            </p:cNvSpPr>
            <p:nvPr/>
          </p:nvSpPr>
          <p:spPr bwMode="auto">
            <a:xfrm>
              <a:off x="1540311" y="3604094"/>
              <a:ext cx="95280" cy="141317"/>
            </a:xfrm>
            <a:custGeom>
              <a:avLst/>
              <a:gdLst>
                <a:gd name="T0" fmla="*/ 22 w 44"/>
                <a:gd name="T1" fmla="*/ 65 h 65"/>
                <a:gd name="T2" fmla="*/ 39 w 44"/>
                <a:gd name="T3" fmla="*/ 56 h 65"/>
                <a:gd name="T4" fmla="*/ 44 w 44"/>
                <a:gd name="T5" fmla="*/ 32 h 65"/>
                <a:gd name="T6" fmla="*/ 23 w 44"/>
                <a:gd name="T7" fmla="*/ 0 h 65"/>
                <a:gd name="T8" fmla="*/ 6 w 44"/>
                <a:gd name="T9" fmla="*/ 8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2"/>
                    <a:pt x="44" y="32"/>
                  </a:cubicBezTo>
                  <a:cubicBezTo>
                    <a:pt x="44" y="11"/>
                    <a:pt x="38" y="0"/>
                    <a:pt x="23" y="0"/>
                  </a:cubicBezTo>
                  <a:cubicBezTo>
                    <a:pt x="16" y="0"/>
                    <a:pt x="9" y="3"/>
                    <a:pt x="6" y="8"/>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07" name="Freeform 506"/>
            <p:cNvSpPr>
              <a:spLocks/>
            </p:cNvSpPr>
            <p:nvPr/>
          </p:nvSpPr>
          <p:spPr bwMode="auto">
            <a:xfrm>
              <a:off x="1668574" y="3604094"/>
              <a:ext cx="55886" cy="136728"/>
            </a:xfrm>
            <a:custGeom>
              <a:avLst/>
              <a:gdLst>
                <a:gd name="T0" fmla="*/ 10 w 26"/>
                <a:gd name="T1" fmla="*/ 6 h 63"/>
                <a:gd name="T2" fmla="*/ 0 w 26"/>
                <a:gd name="T3" fmla="*/ 9 h 63"/>
                <a:gd name="T4" fmla="*/ 0 w 26"/>
                <a:gd name="T5" fmla="*/ 21 h 63"/>
                <a:gd name="T6" fmla="*/ 4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08" name="Freeform 507"/>
            <p:cNvSpPr>
              <a:spLocks noEditPoints="1"/>
            </p:cNvSpPr>
            <p:nvPr/>
          </p:nvSpPr>
          <p:spPr bwMode="auto">
            <a:xfrm>
              <a:off x="1757440" y="3604094"/>
              <a:ext cx="95280" cy="141317"/>
            </a:xfrm>
            <a:custGeom>
              <a:avLst/>
              <a:gdLst>
                <a:gd name="T0" fmla="*/ 23 w 44"/>
                <a:gd name="T1" fmla="*/ 0 h 65"/>
                <a:gd name="T2" fmla="*/ 6 w 44"/>
                <a:gd name="T3" fmla="*/ 8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10" y="3"/>
                    <a:pt x="6" y="8"/>
                  </a:cubicBezTo>
                  <a:cubicBezTo>
                    <a:pt x="2" y="15"/>
                    <a:pt x="0" y="22"/>
                    <a:pt x="0" y="33"/>
                  </a:cubicBezTo>
                  <a:cubicBezTo>
                    <a:pt x="0" y="54"/>
                    <a:pt x="8" y="65"/>
                    <a:pt x="22" y="65"/>
                  </a:cubicBezTo>
                  <a:cubicBezTo>
                    <a:pt x="30" y="65"/>
                    <a:pt x="35" y="62"/>
                    <a:pt x="39" y="56"/>
                  </a:cubicBezTo>
                  <a:cubicBezTo>
                    <a:pt x="43" y="51"/>
                    <a:pt x="44" y="42"/>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09" name="Freeform 508"/>
            <p:cNvSpPr>
              <a:spLocks noEditPoints="1"/>
            </p:cNvSpPr>
            <p:nvPr/>
          </p:nvSpPr>
          <p:spPr bwMode="auto">
            <a:xfrm>
              <a:off x="1885702" y="3604094"/>
              <a:ext cx="97113" cy="141317"/>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10" name="Freeform 509"/>
            <p:cNvSpPr>
              <a:spLocks noEditPoints="1"/>
            </p:cNvSpPr>
            <p:nvPr/>
          </p:nvSpPr>
          <p:spPr bwMode="auto">
            <a:xfrm>
              <a:off x="2013048" y="3604094"/>
              <a:ext cx="98028" cy="141317"/>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11" name="Freeform 510"/>
            <p:cNvSpPr>
              <a:spLocks/>
            </p:cNvSpPr>
            <p:nvPr/>
          </p:nvSpPr>
          <p:spPr bwMode="auto">
            <a:xfrm>
              <a:off x="2141311" y="3604094"/>
              <a:ext cx="58634" cy="136728"/>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12" name="Freeform 511"/>
            <p:cNvSpPr>
              <a:spLocks noEditPoints="1"/>
            </p:cNvSpPr>
            <p:nvPr/>
          </p:nvSpPr>
          <p:spPr bwMode="auto">
            <a:xfrm>
              <a:off x="2230179" y="3604094"/>
              <a:ext cx="95280" cy="141317"/>
            </a:xfrm>
            <a:custGeom>
              <a:avLst/>
              <a:gdLst>
                <a:gd name="T0" fmla="*/ 39 w 44"/>
                <a:gd name="T1" fmla="*/ 56 h 65"/>
                <a:gd name="T2" fmla="*/ 44 w 44"/>
                <a:gd name="T3" fmla="*/ 32 h 65"/>
                <a:gd name="T4" fmla="*/ 23 w 44"/>
                <a:gd name="T5" fmla="*/ 0 h 65"/>
                <a:gd name="T6" fmla="*/ 6 w 44"/>
                <a:gd name="T7" fmla="*/ 8 h 65"/>
                <a:gd name="T8" fmla="*/ 0 w 44"/>
                <a:gd name="T9" fmla="*/ 33 h 65"/>
                <a:gd name="T10" fmla="*/ 22 w 44"/>
                <a:gd name="T11" fmla="*/ 65 h 65"/>
                <a:gd name="T12" fmla="*/ 39 w 44"/>
                <a:gd name="T13" fmla="*/ 56 h 65"/>
                <a:gd name="T14" fmla="*/ 14 w 44"/>
                <a:gd name="T15" fmla="*/ 33 h 65"/>
                <a:gd name="T16" fmla="*/ 22 w 44"/>
                <a:gd name="T17" fmla="*/ 11 h 65"/>
                <a:gd name="T18" fmla="*/ 31 w 44"/>
                <a:gd name="T19" fmla="*/ 32 h 65"/>
                <a:gd name="T20" fmla="*/ 22 w 44"/>
                <a:gd name="T21" fmla="*/ 54 h 65"/>
                <a:gd name="T22" fmla="*/ 14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2"/>
                    <a:pt x="44" y="32"/>
                  </a:cubicBezTo>
                  <a:cubicBezTo>
                    <a:pt x="44" y="11"/>
                    <a:pt x="38" y="0"/>
                    <a:pt x="23" y="0"/>
                  </a:cubicBezTo>
                  <a:cubicBezTo>
                    <a:pt x="16" y="0"/>
                    <a:pt x="9" y="3"/>
                    <a:pt x="6" y="8"/>
                  </a:cubicBezTo>
                  <a:cubicBezTo>
                    <a:pt x="2" y="15"/>
                    <a:pt x="0" y="22"/>
                    <a:pt x="0" y="33"/>
                  </a:cubicBezTo>
                  <a:cubicBezTo>
                    <a:pt x="0" y="54"/>
                    <a:pt x="8"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13" name="Freeform 512"/>
            <p:cNvSpPr>
              <a:spLocks/>
            </p:cNvSpPr>
            <p:nvPr/>
          </p:nvSpPr>
          <p:spPr bwMode="auto">
            <a:xfrm>
              <a:off x="2358440" y="3604094"/>
              <a:ext cx="58634" cy="136728"/>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14" name="Freeform 513"/>
            <p:cNvSpPr>
              <a:spLocks/>
            </p:cNvSpPr>
            <p:nvPr/>
          </p:nvSpPr>
          <p:spPr bwMode="auto">
            <a:xfrm>
              <a:off x="3010744" y="3604094"/>
              <a:ext cx="58634" cy="136728"/>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15" name="Freeform 514"/>
            <p:cNvSpPr>
              <a:spLocks noEditPoints="1"/>
            </p:cNvSpPr>
            <p:nvPr/>
          </p:nvSpPr>
          <p:spPr bwMode="auto">
            <a:xfrm>
              <a:off x="3102361" y="3604094"/>
              <a:ext cx="95280" cy="141317"/>
            </a:xfrm>
            <a:custGeom>
              <a:avLst/>
              <a:gdLst>
                <a:gd name="T0" fmla="*/ 5 w 44"/>
                <a:gd name="T1" fmla="*/ 8 h 65"/>
                <a:gd name="T2" fmla="*/ 0 w 44"/>
                <a:gd name="T3" fmla="*/ 33 h 65"/>
                <a:gd name="T4" fmla="*/ 22 w 44"/>
                <a:gd name="T5" fmla="*/ 65 h 65"/>
                <a:gd name="T6" fmla="*/ 38 w 44"/>
                <a:gd name="T7" fmla="*/ 56 h 65"/>
                <a:gd name="T8" fmla="*/ 44 w 44"/>
                <a:gd name="T9" fmla="*/ 32 h 65"/>
                <a:gd name="T10" fmla="*/ 23 w 44"/>
                <a:gd name="T11" fmla="*/ 0 h 65"/>
                <a:gd name="T12" fmla="*/ 5 w 44"/>
                <a:gd name="T13" fmla="*/ 8 h 65"/>
                <a:gd name="T14" fmla="*/ 30 w 44"/>
                <a:gd name="T15" fmla="*/ 32 h 65"/>
                <a:gd name="T16" fmla="*/ 22 w 44"/>
                <a:gd name="T17" fmla="*/ 54 h 65"/>
                <a:gd name="T18" fmla="*/ 13 w 44"/>
                <a:gd name="T19" fmla="*/ 33 h 65"/>
                <a:gd name="T20" fmla="*/ 22 w 44"/>
                <a:gd name="T21" fmla="*/ 11 h 65"/>
                <a:gd name="T22" fmla="*/ 30 w 44"/>
                <a:gd name="T23"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8"/>
                  </a:moveTo>
                  <a:cubicBezTo>
                    <a:pt x="1" y="15"/>
                    <a:pt x="0" y="22"/>
                    <a:pt x="0" y="33"/>
                  </a:cubicBezTo>
                  <a:cubicBezTo>
                    <a:pt x="0" y="54"/>
                    <a:pt x="7" y="65"/>
                    <a:pt x="22" y="65"/>
                  </a:cubicBezTo>
                  <a:cubicBezTo>
                    <a:pt x="29" y="65"/>
                    <a:pt x="34" y="62"/>
                    <a:pt x="38" y="56"/>
                  </a:cubicBezTo>
                  <a:cubicBezTo>
                    <a:pt x="42" y="51"/>
                    <a:pt x="44" y="42"/>
                    <a:pt x="44" y="32"/>
                  </a:cubicBezTo>
                  <a:cubicBezTo>
                    <a:pt x="44" y="11"/>
                    <a:pt x="37" y="0"/>
                    <a:pt x="23" y="0"/>
                  </a:cubicBezTo>
                  <a:cubicBezTo>
                    <a:pt x="15" y="0"/>
                    <a:pt x="9" y="3"/>
                    <a:pt x="5" y="8"/>
                  </a:cubicBezTo>
                  <a:close/>
                  <a:moveTo>
                    <a:pt x="30" y="32"/>
                  </a:moveTo>
                  <a:cubicBezTo>
                    <a:pt x="30" y="47"/>
                    <a:pt x="27" y="54"/>
                    <a:pt x="22" y="54"/>
                  </a:cubicBezTo>
                  <a:cubicBezTo>
                    <a:pt x="16" y="54"/>
                    <a:pt x="13" y="47"/>
                    <a:pt x="13" y="33"/>
                  </a:cubicBezTo>
                  <a:cubicBezTo>
                    <a:pt x="13" y="19"/>
                    <a:pt x="16" y="11"/>
                    <a:pt x="22" y="11"/>
                  </a:cubicBezTo>
                  <a:cubicBezTo>
                    <a:pt x="27" y="11"/>
                    <a:pt x="30" y="18"/>
                    <a:pt x="30" y="3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16" name="Freeform 515"/>
            <p:cNvSpPr>
              <a:spLocks/>
            </p:cNvSpPr>
            <p:nvPr/>
          </p:nvSpPr>
          <p:spPr bwMode="auto">
            <a:xfrm>
              <a:off x="3230622" y="3604094"/>
              <a:ext cx="55886" cy="136728"/>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9"/>
                  </a:cubicBezTo>
                  <a:cubicBezTo>
                    <a:pt x="0" y="9"/>
                    <a:pt x="0" y="9"/>
                    <a:pt x="0" y="21"/>
                  </a:cubicBezTo>
                  <a:cubicBezTo>
                    <a:pt x="0" y="21"/>
                    <a:pt x="1" y="21"/>
                    <a:pt x="3" y="21"/>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17" name="Freeform 516"/>
            <p:cNvSpPr>
              <a:spLocks noEditPoints="1"/>
            </p:cNvSpPr>
            <p:nvPr/>
          </p:nvSpPr>
          <p:spPr bwMode="auto">
            <a:xfrm>
              <a:off x="3319490" y="3604094"/>
              <a:ext cx="95280" cy="141317"/>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2" y="15"/>
                    <a:pt x="0" y="22"/>
                    <a:pt x="0" y="33"/>
                  </a:cubicBezTo>
                  <a:cubicBezTo>
                    <a:pt x="0" y="54"/>
                    <a:pt x="7" y="65"/>
                    <a:pt x="22" y="65"/>
                  </a:cubicBezTo>
                  <a:cubicBezTo>
                    <a:pt x="29" y="65"/>
                    <a:pt x="35" y="62"/>
                    <a:pt x="38" y="56"/>
                  </a:cubicBezTo>
                  <a:cubicBezTo>
                    <a:pt x="42" y="51"/>
                    <a:pt x="44" y="42"/>
                    <a:pt x="44" y="32"/>
                  </a:cubicBezTo>
                  <a:cubicBezTo>
                    <a:pt x="44" y="11"/>
                    <a:pt x="38" y="0"/>
                    <a:pt x="23" y="0"/>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18" name="Freeform 517"/>
            <p:cNvSpPr>
              <a:spLocks/>
            </p:cNvSpPr>
            <p:nvPr/>
          </p:nvSpPr>
          <p:spPr bwMode="auto">
            <a:xfrm>
              <a:off x="3445002" y="3604094"/>
              <a:ext cx="58634" cy="136728"/>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9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9"/>
                  </a:cubicBezTo>
                  <a:cubicBezTo>
                    <a:pt x="0" y="9"/>
                    <a:pt x="0" y="9"/>
                    <a:pt x="0" y="2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19" name="Freeform 518"/>
            <p:cNvSpPr>
              <a:spLocks/>
            </p:cNvSpPr>
            <p:nvPr/>
          </p:nvSpPr>
          <p:spPr bwMode="auto">
            <a:xfrm>
              <a:off x="777151" y="2798407"/>
              <a:ext cx="30233" cy="119292"/>
            </a:xfrm>
            <a:custGeom>
              <a:avLst/>
              <a:gdLst>
                <a:gd name="T0" fmla="*/ 14 w 14"/>
                <a:gd name="T1" fmla="*/ 55 h 55"/>
                <a:gd name="T2" fmla="*/ 14 w 14"/>
                <a:gd name="T3" fmla="*/ 0 h 55"/>
                <a:gd name="T4" fmla="*/ 0 w 14"/>
                <a:gd name="T5" fmla="*/ 23 h 55"/>
                <a:gd name="T6" fmla="*/ 0 w 14"/>
                <a:gd name="T7" fmla="*/ 55 h 55"/>
                <a:gd name="T8" fmla="*/ 14 w 14"/>
                <a:gd name="T9" fmla="*/ 55 h 55"/>
              </a:gdLst>
              <a:ahLst/>
              <a:cxnLst>
                <a:cxn ang="0">
                  <a:pos x="T0" y="T1"/>
                </a:cxn>
                <a:cxn ang="0">
                  <a:pos x="T2" y="T3"/>
                </a:cxn>
                <a:cxn ang="0">
                  <a:pos x="T4" y="T5"/>
                </a:cxn>
                <a:cxn ang="0">
                  <a:pos x="T6" y="T7"/>
                </a:cxn>
                <a:cxn ang="0">
                  <a:pos x="T8" y="T9"/>
                </a:cxn>
              </a:cxnLst>
              <a:rect l="0" t="0" r="r" b="b"/>
              <a:pathLst>
                <a:path w="14" h="55">
                  <a:moveTo>
                    <a:pt x="14" y="55"/>
                  </a:moveTo>
                  <a:cubicBezTo>
                    <a:pt x="14" y="55"/>
                    <a:pt x="14" y="55"/>
                    <a:pt x="14" y="0"/>
                  </a:cubicBezTo>
                  <a:cubicBezTo>
                    <a:pt x="9" y="7"/>
                    <a:pt x="5" y="15"/>
                    <a:pt x="0" y="23"/>
                  </a:cubicBezTo>
                  <a:cubicBezTo>
                    <a:pt x="0" y="30"/>
                    <a:pt x="0" y="40"/>
                    <a:pt x="0" y="55"/>
                  </a:cubicBezTo>
                  <a:cubicBezTo>
                    <a:pt x="0" y="55"/>
                    <a:pt x="0" y="55"/>
                    <a:pt x="14" y="5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20" name="Freeform 519"/>
            <p:cNvSpPr>
              <a:spLocks noEditPoints="1"/>
            </p:cNvSpPr>
            <p:nvPr/>
          </p:nvSpPr>
          <p:spPr bwMode="auto">
            <a:xfrm>
              <a:off x="837617" y="2780974"/>
              <a:ext cx="98028" cy="141317"/>
            </a:xfrm>
            <a:custGeom>
              <a:avLst/>
              <a:gdLst>
                <a:gd name="T0" fmla="*/ 23 w 45"/>
                <a:gd name="T1" fmla="*/ 65 h 65"/>
                <a:gd name="T2" fmla="*/ 40 w 45"/>
                <a:gd name="T3" fmla="*/ 57 h 65"/>
                <a:gd name="T4" fmla="*/ 45 w 45"/>
                <a:gd name="T5" fmla="*/ 33 h 65"/>
                <a:gd name="T6" fmla="*/ 24 w 45"/>
                <a:gd name="T7" fmla="*/ 0 h 65"/>
                <a:gd name="T8" fmla="*/ 6 w 45"/>
                <a:gd name="T9" fmla="*/ 9 h 65"/>
                <a:gd name="T10" fmla="*/ 0 w 45"/>
                <a:gd name="T11" fmla="*/ 34 h 65"/>
                <a:gd name="T12" fmla="*/ 23 w 45"/>
                <a:gd name="T13" fmla="*/ 65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7"/>
                  </a:cubicBezTo>
                  <a:cubicBezTo>
                    <a:pt x="43" y="51"/>
                    <a:pt x="45" y="43"/>
                    <a:pt x="45" y="33"/>
                  </a:cubicBezTo>
                  <a:cubicBezTo>
                    <a:pt x="45" y="12"/>
                    <a:pt x="39" y="0"/>
                    <a:pt x="24" y="0"/>
                  </a:cubicBezTo>
                  <a:cubicBezTo>
                    <a:pt x="16" y="0"/>
                    <a:pt x="10" y="3"/>
                    <a:pt x="6" y="9"/>
                  </a:cubicBezTo>
                  <a:cubicBezTo>
                    <a:pt x="2" y="15"/>
                    <a:pt x="0" y="23"/>
                    <a:pt x="0" y="34"/>
                  </a:cubicBezTo>
                  <a:cubicBezTo>
                    <a:pt x="0" y="55"/>
                    <a:pt x="8" y="65"/>
                    <a:pt x="23" y="65"/>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21" name="Freeform 520"/>
            <p:cNvSpPr>
              <a:spLocks/>
            </p:cNvSpPr>
            <p:nvPr/>
          </p:nvSpPr>
          <p:spPr bwMode="auto">
            <a:xfrm>
              <a:off x="967711" y="2780974"/>
              <a:ext cx="56801" cy="136728"/>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22" name="Freeform 521"/>
            <p:cNvSpPr>
              <a:spLocks noEditPoints="1"/>
            </p:cNvSpPr>
            <p:nvPr/>
          </p:nvSpPr>
          <p:spPr bwMode="auto">
            <a:xfrm>
              <a:off x="1490839" y="2780974"/>
              <a:ext cx="97113" cy="141317"/>
            </a:xfrm>
            <a:custGeom>
              <a:avLst/>
              <a:gdLst>
                <a:gd name="T0" fmla="*/ 6 w 45"/>
                <a:gd name="T1" fmla="*/ 9 h 65"/>
                <a:gd name="T2" fmla="*/ 0 w 45"/>
                <a:gd name="T3" fmla="*/ 34 h 65"/>
                <a:gd name="T4" fmla="*/ 23 w 45"/>
                <a:gd name="T5" fmla="*/ 65 h 65"/>
                <a:gd name="T6" fmla="*/ 39 w 45"/>
                <a:gd name="T7" fmla="*/ 57 h 65"/>
                <a:gd name="T8" fmla="*/ 45 w 45"/>
                <a:gd name="T9" fmla="*/ 33 h 65"/>
                <a:gd name="T10" fmla="*/ 23 w 45"/>
                <a:gd name="T11" fmla="*/ 0 h 65"/>
                <a:gd name="T12" fmla="*/ 6 w 45"/>
                <a:gd name="T13" fmla="*/ 9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6" y="9"/>
                  </a:moveTo>
                  <a:cubicBezTo>
                    <a:pt x="2" y="15"/>
                    <a:pt x="0" y="23"/>
                    <a:pt x="0" y="34"/>
                  </a:cubicBezTo>
                  <a:cubicBezTo>
                    <a:pt x="0" y="55"/>
                    <a:pt x="8" y="65"/>
                    <a:pt x="23" y="65"/>
                  </a:cubicBezTo>
                  <a:cubicBezTo>
                    <a:pt x="30" y="65"/>
                    <a:pt x="35" y="62"/>
                    <a:pt x="39" y="57"/>
                  </a:cubicBezTo>
                  <a:cubicBezTo>
                    <a:pt x="43" y="51"/>
                    <a:pt x="45" y="43"/>
                    <a:pt x="45" y="33"/>
                  </a:cubicBezTo>
                  <a:cubicBezTo>
                    <a:pt x="45" y="12"/>
                    <a:pt x="38" y="0"/>
                    <a:pt x="23" y="0"/>
                  </a:cubicBezTo>
                  <a:cubicBezTo>
                    <a:pt x="16" y="0"/>
                    <a:pt x="10" y="3"/>
                    <a:pt x="6" y="9"/>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23" name="Freeform 522"/>
            <p:cNvSpPr>
              <a:spLocks noEditPoints="1"/>
            </p:cNvSpPr>
            <p:nvPr/>
          </p:nvSpPr>
          <p:spPr bwMode="auto">
            <a:xfrm>
              <a:off x="1965409" y="2780974"/>
              <a:ext cx="95280" cy="141317"/>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2 h 65"/>
                <a:gd name="T16" fmla="*/ 30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2"/>
                    <a:pt x="38" y="0"/>
                    <a:pt x="23" y="0"/>
                  </a:cubicBezTo>
                  <a:cubicBezTo>
                    <a:pt x="15" y="0"/>
                    <a:pt x="9" y="3"/>
                    <a:pt x="5" y="9"/>
                  </a:cubicBezTo>
                  <a:cubicBezTo>
                    <a:pt x="2" y="15"/>
                    <a:pt x="0" y="23"/>
                    <a:pt x="0" y="34"/>
                  </a:cubicBezTo>
                  <a:cubicBezTo>
                    <a:pt x="0" y="55"/>
                    <a:pt x="7" y="65"/>
                    <a:pt x="22" y="65"/>
                  </a:cubicBezTo>
                  <a:close/>
                  <a:moveTo>
                    <a:pt x="22" y="12"/>
                  </a:moveTo>
                  <a:cubicBezTo>
                    <a:pt x="27" y="12"/>
                    <a:pt x="30" y="18"/>
                    <a:pt x="30" y="33"/>
                  </a:cubicBezTo>
                  <a:cubicBezTo>
                    <a:pt x="30" y="47"/>
                    <a:pt x="27" y="54"/>
                    <a:pt x="22" y="54"/>
                  </a:cubicBezTo>
                  <a:cubicBezTo>
                    <a:pt x="16" y="54"/>
                    <a:pt x="14" y="47"/>
                    <a:pt x="14" y="34"/>
                  </a:cubicBezTo>
                  <a:cubicBezTo>
                    <a:pt x="14" y="19"/>
                    <a:pt x="16" y="12"/>
                    <a:pt x="22" y="1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24" name="Freeform 523"/>
            <p:cNvSpPr>
              <a:spLocks/>
            </p:cNvSpPr>
            <p:nvPr/>
          </p:nvSpPr>
          <p:spPr bwMode="auto">
            <a:xfrm>
              <a:off x="2091838" y="2780974"/>
              <a:ext cx="57719" cy="136728"/>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grp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25" name="Freeform 524"/>
            <p:cNvSpPr>
              <a:spLocks/>
            </p:cNvSpPr>
            <p:nvPr/>
          </p:nvSpPr>
          <p:spPr bwMode="auto">
            <a:xfrm>
              <a:off x="2527013" y="2780974"/>
              <a:ext cx="56801" cy="136728"/>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9"/>
                    <a:pt x="0" y="10"/>
                  </a:cubicBezTo>
                  <a:cubicBezTo>
                    <a:pt x="0" y="10"/>
                    <a:pt x="0" y="10"/>
                    <a:pt x="0" y="2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26" name="Freeform 525"/>
            <p:cNvSpPr>
              <a:spLocks noEditPoints="1"/>
            </p:cNvSpPr>
            <p:nvPr/>
          </p:nvSpPr>
          <p:spPr bwMode="auto">
            <a:xfrm>
              <a:off x="2616795" y="2780974"/>
              <a:ext cx="95280" cy="141317"/>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22 w 44"/>
                <a:gd name="T15" fmla="*/ 12 h 65"/>
                <a:gd name="T16" fmla="*/ 31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10" y="3"/>
                    <a:pt x="6" y="9"/>
                  </a:cubicBezTo>
                  <a:close/>
                  <a:moveTo>
                    <a:pt x="22" y="12"/>
                  </a:moveTo>
                  <a:cubicBezTo>
                    <a:pt x="28" y="12"/>
                    <a:pt x="31" y="18"/>
                    <a:pt x="31" y="33"/>
                  </a:cubicBezTo>
                  <a:cubicBezTo>
                    <a:pt x="31" y="47"/>
                    <a:pt x="28" y="54"/>
                    <a:pt x="22" y="54"/>
                  </a:cubicBezTo>
                  <a:cubicBezTo>
                    <a:pt x="17" y="54"/>
                    <a:pt x="14" y="47"/>
                    <a:pt x="14" y="34"/>
                  </a:cubicBezTo>
                  <a:cubicBezTo>
                    <a:pt x="14" y="19"/>
                    <a:pt x="17" y="12"/>
                    <a:pt x="22" y="1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27" name="Freeform 526"/>
            <p:cNvSpPr>
              <a:spLocks noEditPoints="1"/>
            </p:cNvSpPr>
            <p:nvPr/>
          </p:nvSpPr>
          <p:spPr bwMode="auto">
            <a:xfrm>
              <a:off x="2744143" y="2780974"/>
              <a:ext cx="98028" cy="141317"/>
            </a:xfrm>
            <a:custGeom>
              <a:avLst/>
              <a:gdLst>
                <a:gd name="T0" fmla="*/ 23 w 45"/>
                <a:gd name="T1" fmla="*/ 0 h 65"/>
                <a:gd name="T2" fmla="*/ 6 w 45"/>
                <a:gd name="T3" fmla="*/ 9 h 65"/>
                <a:gd name="T4" fmla="*/ 0 w 45"/>
                <a:gd name="T5" fmla="*/ 34 h 65"/>
                <a:gd name="T6" fmla="*/ 22 w 45"/>
                <a:gd name="T7" fmla="*/ 65 h 65"/>
                <a:gd name="T8" fmla="*/ 39 w 45"/>
                <a:gd name="T9" fmla="*/ 57 h 65"/>
                <a:gd name="T10" fmla="*/ 45 w 45"/>
                <a:gd name="T11" fmla="*/ 33 h 65"/>
                <a:gd name="T12" fmla="*/ 23 w 45"/>
                <a:gd name="T13" fmla="*/ 0 h 65"/>
                <a:gd name="T14" fmla="*/ 22 w 45"/>
                <a:gd name="T15" fmla="*/ 54 h 65"/>
                <a:gd name="T16" fmla="*/ 14 w 45"/>
                <a:gd name="T17" fmla="*/ 34 h 65"/>
                <a:gd name="T18" fmla="*/ 22 w 45"/>
                <a:gd name="T19" fmla="*/ 12 h 65"/>
                <a:gd name="T20" fmla="*/ 31 w 45"/>
                <a:gd name="T21" fmla="*/ 33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3"/>
                    <a:pt x="0" y="34"/>
                  </a:cubicBezTo>
                  <a:cubicBezTo>
                    <a:pt x="0" y="55"/>
                    <a:pt x="8" y="65"/>
                    <a:pt x="22" y="65"/>
                  </a:cubicBezTo>
                  <a:cubicBezTo>
                    <a:pt x="30" y="65"/>
                    <a:pt x="35" y="62"/>
                    <a:pt x="39" y="57"/>
                  </a:cubicBezTo>
                  <a:cubicBezTo>
                    <a:pt x="43" y="51"/>
                    <a:pt x="45" y="43"/>
                    <a:pt x="45" y="33"/>
                  </a:cubicBezTo>
                  <a:cubicBezTo>
                    <a:pt x="45" y="12"/>
                    <a:pt x="38" y="0"/>
                    <a:pt x="23" y="0"/>
                  </a:cubicBezTo>
                  <a:close/>
                  <a:moveTo>
                    <a:pt x="22" y="54"/>
                  </a:moveTo>
                  <a:cubicBezTo>
                    <a:pt x="17" y="54"/>
                    <a:pt x="14" y="47"/>
                    <a:pt x="14" y="34"/>
                  </a:cubicBezTo>
                  <a:cubicBezTo>
                    <a:pt x="14" y="19"/>
                    <a:pt x="17" y="12"/>
                    <a:pt x="22" y="12"/>
                  </a:cubicBezTo>
                  <a:cubicBezTo>
                    <a:pt x="28" y="12"/>
                    <a:pt x="31" y="18"/>
                    <a:pt x="31" y="33"/>
                  </a:cubicBezTo>
                  <a:cubicBezTo>
                    <a:pt x="31" y="47"/>
                    <a:pt x="28" y="54"/>
                    <a:pt x="22"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28" name="Freeform 527"/>
            <p:cNvSpPr>
              <a:spLocks/>
            </p:cNvSpPr>
            <p:nvPr/>
          </p:nvSpPr>
          <p:spPr bwMode="auto">
            <a:xfrm>
              <a:off x="2872404" y="2780974"/>
              <a:ext cx="58634" cy="136728"/>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29" name="Freeform 528"/>
            <p:cNvSpPr>
              <a:spLocks/>
            </p:cNvSpPr>
            <p:nvPr/>
          </p:nvSpPr>
          <p:spPr bwMode="auto">
            <a:xfrm>
              <a:off x="2963103" y="2780974"/>
              <a:ext cx="56801" cy="136728"/>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2 w 26"/>
                <a:gd name="T13" fmla="*/ 15 h 63"/>
                <a:gd name="T14" fmla="*/ 12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30" name="Freeform 529"/>
            <p:cNvSpPr>
              <a:spLocks/>
            </p:cNvSpPr>
            <p:nvPr/>
          </p:nvSpPr>
          <p:spPr bwMode="auto">
            <a:xfrm>
              <a:off x="3051972" y="2780974"/>
              <a:ext cx="56801" cy="136728"/>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31" name="Freeform 530"/>
            <p:cNvSpPr>
              <a:spLocks noEditPoints="1"/>
            </p:cNvSpPr>
            <p:nvPr/>
          </p:nvSpPr>
          <p:spPr bwMode="auto">
            <a:xfrm>
              <a:off x="3140839" y="2780974"/>
              <a:ext cx="96197" cy="141317"/>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31 w 44"/>
                <a:gd name="T15" fmla="*/ 33 h 65"/>
                <a:gd name="T16" fmla="*/ 22 w 44"/>
                <a:gd name="T17" fmla="*/ 54 h 65"/>
                <a:gd name="T18" fmla="*/ 14 w 44"/>
                <a:gd name="T19" fmla="*/ 34 h 65"/>
                <a:gd name="T20" fmla="*/ 22 w 44"/>
                <a:gd name="T21" fmla="*/ 12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9" y="3"/>
                    <a:pt x="6" y="9"/>
                  </a:cubicBezTo>
                  <a:close/>
                  <a:moveTo>
                    <a:pt x="31" y="33"/>
                  </a:moveTo>
                  <a:cubicBezTo>
                    <a:pt x="31" y="47"/>
                    <a:pt x="28" y="54"/>
                    <a:pt x="22" y="54"/>
                  </a:cubicBezTo>
                  <a:cubicBezTo>
                    <a:pt x="17" y="54"/>
                    <a:pt x="14" y="47"/>
                    <a:pt x="14" y="34"/>
                  </a:cubicBezTo>
                  <a:cubicBezTo>
                    <a:pt x="14" y="19"/>
                    <a:pt x="17" y="12"/>
                    <a:pt x="22" y="12"/>
                  </a:cubicBezTo>
                  <a:cubicBezTo>
                    <a:pt x="28" y="12"/>
                    <a:pt x="31" y="18"/>
                    <a:pt x="31" y="3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32" name="Freeform 531"/>
            <p:cNvSpPr>
              <a:spLocks noEditPoints="1"/>
            </p:cNvSpPr>
            <p:nvPr/>
          </p:nvSpPr>
          <p:spPr bwMode="auto">
            <a:xfrm>
              <a:off x="3269101" y="2783726"/>
              <a:ext cx="95280" cy="138564"/>
            </a:xfrm>
            <a:custGeom>
              <a:avLst/>
              <a:gdLst>
                <a:gd name="T0" fmla="*/ 6 w 44"/>
                <a:gd name="T1" fmla="*/ 8 h 64"/>
                <a:gd name="T2" fmla="*/ 0 w 44"/>
                <a:gd name="T3" fmla="*/ 33 h 64"/>
                <a:gd name="T4" fmla="*/ 22 w 44"/>
                <a:gd name="T5" fmla="*/ 64 h 64"/>
                <a:gd name="T6" fmla="*/ 39 w 44"/>
                <a:gd name="T7" fmla="*/ 56 h 64"/>
                <a:gd name="T8" fmla="*/ 44 w 44"/>
                <a:gd name="T9" fmla="*/ 40 h 64"/>
                <a:gd name="T10" fmla="*/ 20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1" y="52"/>
                    <a:pt x="43" y="46"/>
                    <a:pt x="44" y="40"/>
                  </a:cubicBezTo>
                  <a:cubicBezTo>
                    <a:pt x="36" y="26"/>
                    <a:pt x="28" y="13"/>
                    <a:pt x="20" y="0"/>
                  </a:cubicBezTo>
                  <a:cubicBezTo>
                    <a:pt x="14" y="1"/>
                    <a:pt x="9" y="3"/>
                    <a:pt x="6" y="8"/>
                  </a:cubicBezTo>
                  <a:close/>
                  <a:moveTo>
                    <a:pt x="22" y="11"/>
                  </a:moveTo>
                  <a:cubicBezTo>
                    <a:pt x="28" y="11"/>
                    <a:pt x="31" y="17"/>
                    <a:pt x="31" y="32"/>
                  </a:cubicBezTo>
                  <a:cubicBezTo>
                    <a:pt x="31" y="46"/>
                    <a:pt x="28" y="53"/>
                    <a:pt x="22" y="53"/>
                  </a:cubicBezTo>
                  <a:cubicBezTo>
                    <a:pt x="17" y="53"/>
                    <a:pt x="14" y="46"/>
                    <a:pt x="14" y="33"/>
                  </a:cubicBezTo>
                  <a:cubicBezTo>
                    <a:pt x="14" y="18"/>
                    <a:pt x="17"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33" name="Freeform 532"/>
            <p:cNvSpPr>
              <a:spLocks/>
            </p:cNvSpPr>
            <p:nvPr/>
          </p:nvSpPr>
          <p:spPr bwMode="auto">
            <a:xfrm>
              <a:off x="994281" y="3769268"/>
              <a:ext cx="57719" cy="136728"/>
            </a:xfrm>
            <a:custGeom>
              <a:avLst/>
              <a:gdLst>
                <a:gd name="T0" fmla="*/ 10 w 27"/>
                <a:gd name="T1" fmla="*/ 6 h 63"/>
                <a:gd name="T2" fmla="*/ 0 w 27"/>
                <a:gd name="T3" fmla="*/ 9 h 63"/>
                <a:gd name="T4" fmla="*/ 0 w 27"/>
                <a:gd name="T5" fmla="*/ 20 h 63"/>
                <a:gd name="T6" fmla="*/ 4 w 27"/>
                <a:gd name="T7" fmla="*/ 20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8"/>
                    <a:pt x="0" y="9"/>
                  </a:cubicBezTo>
                  <a:cubicBezTo>
                    <a:pt x="0" y="9"/>
                    <a:pt x="0" y="9"/>
                    <a:pt x="0" y="20"/>
                  </a:cubicBezTo>
                  <a:cubicBezTo>
                    <a:pt x="1" y="20"/>
                    <a:pt x="2" y="20"/>
                    <a:pt x="4" y="20"/>
                  </a:cubicBezTo>
                  <a:cubicBezTo>
                    <a:pt x="5" y="19"/>
                    <a:pt x="6" y="19"/>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34" name="Freeform 533"/>
            <p:cNvSpPr>
              <a:spLocks/>
            </p:cNvSpPr>
            <p:nvPr/>
          </p:nvSpPr>
          <p:spPr bwMode="auto">
            <a:xfrm>
              <a:off x="1084980" y="3769268"/>
              <a:ext cx="56801" cy="136728"/>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3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3" y="1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35" name="Freeform 534"/>
            <p:cNvSpPr>
              <a:spLocks/>
            </p:cNvSpPr>
            <p:nvPr/>
          </p:nvSpPr>
          <p:spPr bwMode="auto">
            <a:xfrm>
              <a:off x="1173848" y="3769268"/>
              <a:ext cx="56801" cy="136728"/>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4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8"/>
                    <a:pt x="0" y="9"/>
                  </a:cubicBezTo>
                  <a:cubicBezTo>
                    <a:pt x="0" y="9"/>
                    <a:pt x="0" y="9"/>
                    <a:pt x="0" y="20"/>
                  </a:cubicBezTo>
                  <a:cubicBezTo>
                    <a:pt x="1" y="20"/>
                    <a:pt x="2" y="20"/>
                    <a:pt x="4" y="20"/>
                  </a:cubicBezTo>
                  <a:cubicBezTo>
                    <a:pt x="5" y="19"/>
                    <a:pt x="6" y="19"/>
                    <a:pt x="7" y="19"/>
                  </a:cubicBezTo>
                  <a:cubicBezTo>
                    <a:pt x="8" y="19"/>
                    <a:pt x="9" y="18"/>
                    <a:pt x="10" y="17"/>
                  </a:cubicBezTo>
                  <a:cubicBezTo>
                    <a:pt x="11" y="17"/>
                    <a:pt x="12" y="16"/>
                    <a:pt x="13" y="1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36" name="Freeform 535"/>
            <p:cNvSpPr>
              <a:spLocks noEditPoints="1"/>
            </p:cNvSpPr>
            <p:nvPr/>
          </p:nvSpPr>
          <p:spPr bwMode="auto">
            <a:xfrm>
              <a:off x="1262715" y="3769268"/>
              <a:ext cx="95280" cy="139481"/>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1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1"/>
                    <a:pt x="44" y="42"/>
                    <a:pt x="44" y="32"/>
                  </a:cubicBezTo>
                  <a:cubicBezTo>
                    <a:pt x="44" y="11"/>
                    <a:pt x="38" y="0"/>
                    <a:pt x="23" y="0"/>
                  </a:cubicBezTo>
                  <a:cubicBezTo>
                    <a:pt x="16" y="0"/>
                    <a:pt x="10" y="3"/>
                    <a:pt x="6" y="8"/>
                  </a:cubicBezTo>
                  <a:cubicBezTo>
                    <a:pt x="2" y="15"/>
                    <a:pt x="0" y="22"/>
                    <a:pt x="0" y="33"/>
                  </a:cubicBezTo>
                  <a:cubicBezTo>
                    <a:pt x="0" y="54"/>
                    <a:pt x="8" y="64"/>
                    <a:pt x="22" y="64"/>
                  </a:cubicBezTo>
                  <a:cubicBezTo>
                    <a:pt x="30" y="64"/>
                    <a:pt x="35" y="62"/>
                    <a:pt x="39" y="56"/>
                  </a:cubicBezTo>
                  <a:close/>
                  <a:moveTo>
                    <a:pt x="14" y="33"/>
                  </a:moveTo>
                  <a:cubicBezTo>
                    <a:pt x="14" y="18"/>
                    <a:pt x="17" y="11"/>
                    <a:pt x="22" y="11"/>
                  </a:cubicBezTo>
                  <a:cubicBezTo>
                    <a:pt x="28" y="11"/>
                    <a:pt x="31" y="18"/>
                    <a:pt x="31" y="32"/>
                  </a:cubicBezTo>
                  <a:cubicBezTo>
                    <a:pt x="31" y="47"/>
                    <a:pt x="28" y="53"/>
                    <a:pt x="22" y="53"/>
                  </a:cubicBezTo>
                  <a:cubicBezTo>
                    <a:pt x="17" y="53"/>
                    <a:pt x="14" y="47"/>
                    <a:pt x="14" y="3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37" name="Freeform 536"/>
            <p:cNvSpPr>
              <a:spLocks/>
            </p:cNvSpPr>
            <p:nvPr/>
          </p:nvSpPr>
          <p:spPr bwMode="auto">
            <a:xfrm>
              <a:off x="1390977" y="3769268"/>
              <a:ext cx="58634" cy="136728"/>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19"/>
                    <a:pt x="6" y="19"/>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38" name="Freeform 537"/>
            <p:cNvSpPr>
              <a:spLocks noEditPoints="1"/>
            </p:cNvSpPr>
            <p:nvPr/>
          </p:nvSpPr>
          <p:spPr bwMode="auto">
            <a:xfrm>
              <a:off x="1481677" y="3769268"/>
              <a:ext cx="95280" cy="139481"/>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1" y="15"/>
                    <a:pt x="0" y="22"/>
                    <a:pt x="0" y="33"/>
                  </a:cubicBezTo>
                  <a:cubicBezTo>
                    <a:pt x="0" y="54"/>
                    <a:pt x="7" y="64"/>
                    <a:pt x="22" y="64"/>
                  </a:cubicBezTo>
                  <a:cubicBezTo>
                    <a:pt x="29" y="64"/>
                    <a:pt x="35" y="62"/>
                    <a:pt x="38" y="56"/>
                  </a:cubicBezTo>
                  <a:close/>
                  <a:moveTo>
                    <a:pt x="13" y="33"/>
                  </a:moveTo>
                  <a:cubicBezTo>
                    <a:pt x="13" y="18"/>
                    <a:pt x="16" y="11"/>
                    <a:pt x="22" y="11"/>
                  </a:cubicBezTo>
                  <a:cubicBezTo>
                    <a:pt x="27" y="11"/>
                    <a:pt x="30" y="18"/>
                    <a:pt x="30" y="32"/>
                  </a:cubicBezTo>
                  <a:cubicBezTo>
                    <a:pt x="30" y="47"/>
                    <a:pt x="27" y="53"/>
                    <a:pt x="22" y="53"/>
                  </a:cubicBezTo>
                  <a:cubicBezTo>
                    <a:pt x="16" y="53"/>
                    <a:pt x="13" y="47"/>
                    <a:pt x="13" y="3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39" name="Freeform 538"/>
            <p:cNvSpPr>
              <a:spLocks noEditPoints="1"/>
            </p:cNvSpPr>
            <p:nvPr/>
          </p:nvSpPr>
          <p:spPr bwMode="auto">
            <a:xfrm>
              <a:off x="1954414" y="3769268"/>
              <a:ext cx="96197" cy="139481"/>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6"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40" name="Freeform 539"/>
            <p:cNvSpPr>
              <a:spLocks noEditPoints="1"/>
            </p:cNvSpPr>
            <p:nvPr/>
          </p:nvSpPr>
          <p:spPr bwMode="auto">
            <a:xfrm>
              <a:off x="2082677" y="3769268"/>
              <a:ext cx="95280" cy="139481"/>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5" y="0"/>
                    <a:pt x="9" y="3"/>
                    <a:pt x="5" y="8"/>
                  </a:cubicBezTo>
                  <a:close/>
                  <a:moveTo>
                    <a:pt x="22" y="11"/>
                  </a:moveTo>
                  <a:cubicBezTo>
                    <a:pt x="28" y="11"/>
                    <a:pt x="30" y="18"/>
                    <a:pt x="30" y="32"/>
                  </a:cubicBezTo>
                  <a:cubicBezTo>
                    <a:pt x="30" y="47"/>
                    <a:pt x="28" y="53"/>
                    <a:pt x="22" y="53"/>
                  </a:cubicBezTo>
                  <a:cubicBezTo>
                    <a:pt x="16" y="53"/>
                    <a:pt x="14" y="47"/>
                    <a:pt x="14" y="33"/>
                  </a:cubicBezTo>
                  <a:cubicBezTo>
                    <a:pt x="14" y="18"/>
                    <a:pt x="16" y="11"/>
                    <a:pt x="22" y="11"/>
                  </a:cubicBezTo>
                  <a:close/>
                </a:path>
              </a:pathLst>
            </a:custGeom>
            <a:grp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41" name="Freeform 540"/>
            <p:cNvSpPr>
              <a:spLocks/>
            </p:cNvSpPr>
            <p:nvPr/>
          </p:nvSpPr>
          <p:spPr bwMode="auto">
            <a:xfrm>
              <a:off x="2210939" y="3769268"/>
              <a:ext cx="58634" cy="136728"/>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19"/>
                    <a:pt x="5" y="19"/>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grp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42" name="Freeform 541"/>
            <p:cNvSpPr>
              <a:spLocks/>
            </p:cNvSpPr>
            <p:nvPr/>
          </p:nvSpPr>
          <p:spPr bwMode="auto">
            <a:xfrm>
              <a:off x="3119767" y="3769268"/>
              <a:ext cx="55886" cy="136728"/>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43" name="Freeform 542"/>
            <p:cNvSpPr>
              <a:spLocks noEditPoints="1"/>
            </p:cNvSpPr>
            <p:nvPr/>
          </p:nvSpPr>
          <p:spPr bwMode="auto">
            <a:xfrm>
              <a:off x="3208635" y="3769268"/>
              <a:ext cx="95280" cy="139481"/>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5"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44" name="Freeform 543"/>
            <p:cNvSpPr>
              <a:spLocks/>
            </p:cNvSpPr>
            <p:nvPr/>
          </p:nvSpPr>
          <p:spPr bwMode="auto">
            <a:xfrm>
              <a:off x="3336896" y="3769268"/>
              <a:ext cx="55886" cy="136728"/>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4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8"/>
                    <a:pt x="0" y="9"/>
                  </a:cubicBezTo>
                  <a:cubicBezTo>
                    <a:pt x="0" y="9"/>
                    <a:pt x="0" y="9"/>
                    <a:pt x="0" y="20"/>
                  </a:cubicBezTo>
                  <a:cubicBezTo>
                    <a:pt x="1" y="20"/>
                    <a:pt x="2" y="20"/>
                    <a:pt x="4" y="20"/>
                  </a:cubicBezTo>
                  <a:cubicBezTo>
                    <a:pt x="5" y="19"/>
                    <a:pt x="5" y="19"/>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45" name="Freeform 544"/>
            <p:cNvSpPr>
              <a:spLocks noEditPoints="1"/>
            </p:cNvSpPr>
            <p:nvPr/>
          </p:nvSpPr>
          <p:spPr bwMode="auto">
            <a:xfrm>
              <a:off x="3425765" y="3769268"/>
              <a:ext cx="95280" cy="139481"/>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ubicBezTo>
                    <a:pt x="16" y="0"/>
                    <a:pt x="9" y="3"/>
                    <a:pt x="6" y="8"/>
                  </a:cubicBezTo>
                  <a:close/>
                  <a:moveTo>
                    <a:pt x="31" y="32"/>
                  </a:moveTo>
                  <a:cubicBezTo>
                    <a:pt x="31" y="47"/>
                    <a:pt x="28" y="53"/>
                    <a:pt x="22" y="53"/>
                  </a:cubicBezTo>
                  <a:cubicBezTo>
                    <a:pt x="17" y="53"/>
                    <a:pt x="14" y="47"/>
                    <a:pt x="14" y="33"/>
                  </a:cubicBezTo>
                  <a:cubicBezTo>
                    <a:pt x="14" y="18"/>
                    <a:pt x="17" y="11"/>
                    <a:pt x="22" y="11"/>
                  </a:cubicBezTo>
                  <a:cubicBezTo>
                    <a:pt x="28" y="11"/>
                    <a:pt x="31" y="18"/>
                    <a:pt x="31" y="3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46" name="Freeform 545"/>
            <p:cNvSpPr>
              <a:spLocks/>
            </p:cNvSpPr>
            <p:nvPr/>
          </p:nvSpPr>
          <p:spPr bwMode="auto">
            <a:xfrm>
              <a:off x="859605" y="2680950"/>
              <a:ext cx="30233" cy="74329"/>
            </a:xfrm>
            <a:custGeom>
              <a:avLst/>
              <a:gdLst>
                <a:gd name="T0" fmla="*/ 14 w 14"/>
                <a:gd name="T1" fmla="*/ 34 h 34"/>
                <a:gd name="T2" fmla="*/ 14 w 14"/>
                <a:gd name="T3" fmla="*/ 0 h 34"/>
                <a:gd name="T4" fmla="*/ 0 w 14"/>
                <a:gd name="T5" fmla="*/ 18 h 34"/>
                <a:gd name="T6" fmla="*/ 0 w 14"/>
                <a:gd name="T7" fmla="*/ 34 h 34"/>
                <a:gd name="T8" fmla="*/ 14 w 14"/>
                <a:gd name="T9" fmla="*/ 34 h 34"/>
              </a:gdLst>
              <a:ahLst/>
              <a:cxnLst>
                <a:cxn ang="0">
                  <a:pos x="T0" y="T1"/>
                </a:cxn>
                <a:cxn ang="0">
                  <a:pos x="T2" y="T3"/>
                </a:cxn>
                <a:cxn ang="0">
                  <a:pos x="T4" y="T5"/>
                </a:cxn>
                <a:cxn ang="0">
                  <a:pos x="T6" y="T7"/>
                </a:cxn>
                <a:cxn ang="0">
                  <a:pos x="T8" y="T9"/>
                </a:cxn>
              </a:cxnLst>
              <a:rect l="0" t="0" r="r" b="b"/>
              <a:pathLst>
                <a:path w="14" h="34">
                  <a:moveTo>
                    <a:pt x="14" y="34"/>
                  </a:moveTo>
                  <a:cubicBezTo>
                    <a:pt x="14" y="34"/>
                    <a:pt x="14" y="34"/>
                    <a:pt x="14" y="0"/>
                  </a:cubicBezTo>
                  <a:cubicBezTo>
                    <a:pt x="9" y="6"/>
                    <a:pt x="5" y="12"/>
                    <a:pt x="0" y="18"/>
                  </a:cubicBezTo>
                  <a:cubicBezTo>
                    <a:pt x="0" y="22"/>
                    <a:pt x="0" y="28"/>
                    <a:pt x="0" y="34"/>
                  </a:cubicBezTo>
                  <a:cubicBezTo>
                    <a:pt x="0" y="34"/>
                    <a:pt x="0" y="34"/>
                    <a:pt x="14" y="3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47" name="Freeform 546"/>
            <p:cNvSpPr>
              <a:spLocks noEditPoints="1"/>
            </p:cNvSpPr>
            <p:nvPr/>
          </p:nvSpPr>
          <p:spPr bwMode="auto">
            <a:xfrm>
              <a:off x="921904" y="2618551"/>
              <a:ext cx="96197" cy="138564"/>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48" name="Freeform 547"/>
            <p:cNvSpPr>
              <a:spLocks/>
            </p:cNvSpPr>
            <p:nvPr/>
          </p:nvSpPr>
          <p:spPr bwMode="auto">
            <a:xfrm>
              <a:off x="1050165" y="2618551"/>
              <a:ext cx="56801" cy="136728"/>
            </a:xfrm>
            <a:custGeom>
              <a:avLst/>
              <a:gdLst>
                <a:gd name="T0" fmla="*/ 7 w 26"/>
                <a:gd name="T1" fmla="*/ 18 h 63"/>
                <a:gd name="T2" fmla="*/ 10 w 26"/>
                <a:gd name="T3" fmla="*/ 16 h 63"/>
                <a:gd name="T4" fmla="*/ 13 w 26"/>
                <a:gd name="T5" fmla="*/ 14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49" name="Freeform 548"/>
            <p:cNvSpPr>
              <a:spLocks noEditPoints="1"/>
            </p:cNvSpPr>
            <p:nvPr/>
          </p:nvSpPr>
          <p:spPr bwMode="auto">
            <a:xfrm>
              <a:off x="1139034" y="2618551"/>
              <a:ext cx="95280" cy="138564"/>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50" name="Freeform 549"/>
            <p:cNvSpPr>
              <a:spLocks/>
            </p:cNvSpPr>
            <p:nvPr/>
          </p:nvSpPr>
          <p:spPr bwMode="auto">
            <a:xfrm>
              <a:off x="1267297" y="2618551"/>
              <a:ext cx="58634" cy="136728"/>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3"/>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51" name="Freeform 550"/>
            <p:cNvSpPr>
              <a:spLocks/>
            </p:cNvSpPr>
            <p:nvPr/>
          </p:nvSpPr>
          <p:spPr bwMode="auto">
            <a:xfrm>
              <a:off x="1357995" y="2618551"/>
              <a:ext cx="56801" cy="136728"/>
            </a:xfrm>
            <a:custGeom>
              <a:avLst/>
              <a:gdLst>
                <a:gd name="T0" fmla="*/ 7 w 26"/>
                <a:gd name="T1" fmla="*/ 18 h 63"/>
                <a:gd name="T2" fmla="*/ 10 w 26"/>
                <a:gd name="T3" fmla="*/ 16 h 63"/>
                <a:gd name="T4" fmla="*/ 12 w 26"/>
                <a:gd name="T5" fmla="*/ 14 h 63"/>
                <a:gd name="T6" fmla="*/ 12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3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52" name="Freeform 551"/>
            <p:cNvSpPr>
              <a:spLocks/>
            </p:cNvSpPr>
            <p:nvPr/>
          </p:nvSpPr>
          <p:spPr bwMode="auto">
            <a:xfrm>
              <a:off x="1885775" y="2618551"/>
              <a:ext cx="58634" cy="136728"/>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53" name="Freeform 552"/>
            <p:cNvSpPr>
              <a:spLocks noEditPoints="1"/>
            </p:cNvSpPr>
            <p:nvPr/>
          </p:nvSpPr>
          <p:spPr bwMode="auto">
            <a:xfrm>
              <a:off x="1978800" y="2618551"/>
              <a:ext cx="95280" cy="138564"/>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54" name="Freeform 553"/>
            <p:cNvSpPr>
              <a:spLocks/>
            </p:cNvSpPr>
            <p:nvPr/>
          </p:nvSpPr>
          <p:spPr bwMode="auto">
            <a:xfrm>
              <a:off x="2098252" y="2618551"/>
              <a:ext cx="58634" cy="136728"/>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55" name="Freeform 554"/>
            <p:cNvSpPr>
              <a:spLocks noEditPoints="1"/>
            </p:cNvSpPr>
            <p:nvPr/>
          </p:nvSpPr>
          <p:spPr bwMode="auto">
            <a:xfrm>
              <a:off x="2523174" y="2618551"/>
              <a:ext cx="95280" cy="138564"/>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56" name="Freeform 555"/>
            <p:cNvSpPr>
              <a:spLocks/>
            </p:cNvSpPr>
            <p:nvPr/>
          </p:nvSpPr>
          <p:spPr bwMode="auto">
            <a:xfrm>
              <a:off x="3007080" y="2618551"/>
              <a:ext cx="58634" cy="136728"/>
            </a:xfrm>
            <a:custGeom>
              <a:avLst/>
              <a:gdLst>
                <a:gd name="T0" fmla="*/ 0 w 27"/>
                <a:gd name="T1" fmla="*/ 20 h 63"/>
                <a:gd name="T2" fmla="*/ 4 w 27"/>
                <a:gd name="T3" fmla="*/ 20 h 63"/>
                <a:gd name="T4" fmla="*/ 8 w 27"/>
                <a:gd name="T5" fmla="*/ 18 h 63"/>
                <a:gd name="T6" fmla="*/ 10 w 27"/>
                <a:gd name="T7" fmla="*/ 16 h 63"/>
                <a:gd name="T8" fmla="*/ 13 w 27"/>
                <a:gd name="T9" fmla="*/ 14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ubicBezTo>
                    <a:pt x="0" y="9"/>
                    <a:pt x="0" y="9"/>
                    <a:pt x="0" y="2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57" name="Freeform 556"/>
            <p:cNvSpPr>
              <a:spLocks noEditPoints="1"/>
            </p:cNvSpPr>
            <p:nvPr/>
          </p:nvSpPr>
          <p:spPr bwMode="auto">
            <a:xfrm>
              <a:off x="3097779" y="2618551"/>
              <a:ext cx="95280" cy="138564"/>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58" name="Freeform 557"/>
            <p:cNvSpPr>
              <a:spLocks/>
            </p:cNvSpPr>
            <p:nvPr/>
          </p:nvSpPr>
          <p:spPr bwMode="auto">
            <a:xfrm>
              <a:off x="3251694" y="2698386"/>
              <a:ext cx="30233" cy="56893"/>
            </a:xfrm>
            <a:custGeom>
              <a:avLst/>
              <a:gdLst>
                <a:gd name="T0" fmla="*/ 14 w 14"/>
                <a:gd name="T1" fmla="*/ 26 h 26"/>
                <a:gd name="T2" fmla="*/ 14 w 14"/>
                <a:gd name="T3" fmla="*/ 19 h 26"/>
                <a:gd name="T4" fmla="*/ 0 w 14"/>
                <a:gd name="T5" fmla="*/ 0 h 26"/>
                <a:gd name="T6" fmla="*/ 0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cubicBezTo>
                    <a:pt x="14" y="26"/>
                    <a:pt x="14" y="26"/>
                    <a:pt x="14" y="19"/>
                  </a:cubicBezTo>
                  <a:cubicBezTo>
                    <a:pt x="10" y="12"/>
                    <a:pt x="5" y="6"/>
                    <a:pt x="0" y="0"/>
                  </a:cubicBezTo>
                  <a:cubicBezTo>
                    <a:pt x="0" y="6"/>
                    <a:pt x="0" y="15"/>
                    <a:pt x="0" y="26"/>
                  </a:cubicBezTo>
                  <a:cubicBezTo>
                    <a:pt x="0" y="26"/>
                    <a:pt x="0" y="26"/>
                    <a:pt x="14" y="2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59" name="Freeform 558"/>
            <p:cNvSpPr>
              <a:spLocks/>
            </p:cNvSpPr>
            <p:nvPr/>
          </p:nvSpPr>
          <p:spPr bwMode="auto">
            <a:xfrm>
              <a:off x="963132" y="2555236"/>
              <a:ext cx="34815" cy="36707"/>
            </a:xfrm>
            <a:custGeom>
              <a:avLst/>
              <a:gdLst>
                <a:gd name="T0" fmla="*/ 12 w 16"/>
                <a:gd name="T1" fmla="*/ 9 h 17"/>
                <a:gd name="T2" fmla="*/ 16 w 16"/>
                <a:gd name="T3" fmla="*/ 0 h 17"/>
                <a:gd name="T4" fmla="*/ 0 w 16"/>
                <a:gd name="T5" fmla="*/ 17 h 17"/>
                <a:gd name="T6" fmla="*/ 12 w 16"/>
                <a:gd name="T7" fmla="*/ 9 h 17"/>
              </a:gdLst>
              <a:ahLst/>
              <a:cxnLst>
                <a:cxn ang="0">
                  <a:pos x="T0" y="T1"/>
                </a:cxn>
                <a:cxn ang="0">
                  <a:pos x="T2" y="T3"/>
                </a:cxn>
                <a:cxn ang="0">
                  <a:pos x="T4" y="T5"/>
                </a:cxn>
                <a:cxn ang="0">
                  <a:pos x="T6" y="T7"/>
                </a:cxn>
              </a:cxnLst>
              <a:rect l="0" t="0" r="r" b="b"/>
              <a:pathLst>
                <a:path w="16" h="17">
                  <a:moveTo>
                    <a:pt x="12" y="9"/>
                  </a:moveTo>
                  <a:cubicBezTo>
                    <a:pt x="14" y="6"/>
                    <a:pt x="15" y="3"/>
                    <a:pt x="16" y="0"/>
                  </a:cubicBezTo>
                  <a:cubicBezTo>
                    <a:pt x="11" y="5"/>
                    <a:pt x="5" y="11"/>
                    <a:pt x="0" y="17"/>
                  </a:cubicBezTo>
                  <a:cubicBezTo>
                    <a:pt x="5" y="16"/>
                    <a:pt x="9" y="13"/>
                    <a:pt x="12" y="9"/>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60" name="Freeform 559"/>
            <p:cNvSpPr>
              <a:spLocks/>
            </p:cNvSpPr>
            <p:nvPr/>
          </p:nvSpPr>
          <p:spPr bwMode="auto">
            <a:xfrm>
              <a:off x="1061160" y="2466222"/>
              <a:ext cx="30233" cy="123882"/>
            </a:xfrm>
            <a:custGeom>
              <a:avLst/>
              <a:gdLst>
                <a:gd name="T0" fmla="*/ 14 w 14"/>
                <a:gd name="T1" fmla="*/ 57 h 57"/>
                <a:gd name="T2" fmla="*/ 14 w 14"/>
                <a:gd name="T3" fmla="*/ 0 h 57"/>
                <a:gd name="T4" fmla="*/ 0 w 14"/>
                <a:gd name="T5" fmla="*/ 12 h 57"/>
                <a:gd name="T6" fmla="*/ 0 w 14"/>
                <a:gd name="T7" fmla="*/ 57 h 57"/>
                <a:gd name="T8" fmla="*/ 14 w 14"/>
                <a:gd name="T9" fmla="*/ 57 h 57"/>
              </a:gdLst>
              <a:ahLst/>
              <a:cxnLst>
                <a:cxn ang="0">
                  <a:pos x="T0" y="T1"/>
                </a:cxn>
                <a:cxn ang="0">
                  <a:pos x="T2" y="T3"/>
                </a:cxn>
                <a:cxn ang="0">
                  <a:pos x="T4" y="T5"/>
                </a:cxn>
                <a:cxn ang="0">
                  <a:pos x="T6" y="T7"/>
                </a:cxn>
                <a:cxn ang="0">
                  <a:pos x="T8" y="T9"/>
                </a:cxn>
              </a:cxnLst>
              <a:rect l="0" t="0" r="r" b="b"/>
              <a:pathLst>
                <a:path w="14" h="57">
                  <a:moveTo>
                    <a:pt x="14" y="57"/>
                  </a:moveTo>
                  <a:cubicBezTo>
                    <a:pt x="14" y="57"/>
                    <a:pt x="14" y="57"/>
                    <a:pt x="14" y="0"/>
                  </a:cubicBezTo>
                  <a:cubicBezTo>
                    <a:pt x="10" y="4"/>
                    <a:pt x="5" y="8"/>
                    <a:pt x="0" y="12"/>
                  </a:cubicBezTo>
                  <a:cubicBezTo>
                    <a:pt x="0" y="17"/>
                    <a:pt x="0" y="29"/>
                    <a:pt x="0" y="57"/>
                  </a:cubicBezTo>
                  <a:cubicBezTo>
                    <a:pt x="0" y="57"/>
                    <a:pt x="0" y="57"/>
                    <a:pt x="14" y="57"/>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61" name="Freeform 560"/>
            <p:cNvSpPr>
              <a:spLocks noEditPoints="1"/>
            </p:cNvSpPr>
            <p:nvPr/>
          </p:nvSpPr>
          <p:spPr bwMode="auto">
            <a:xfrm>
              <a:off x="1124375" y="2453377"/>
              <a:ext cx="95280" cy="138564"/>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62" name="Freeform 561"/>
            <p:cNvSpPr>
              <a:spLocks noEditPoints="1"/>
            </p:cNvSpPr>
            <p:nvPr/>
          </p:nvSpPr>
          <p:spPr bwMode="auto">
            <a:xfrm>
              <a:off x="1251721" y="2453377"/>
              <a:ext cx="95280" cy="138564"/>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63" name="Freeform 562"/>
            <p:cNvSpPr>
              <a:spLocks/>
            </p:cNvSpPr>
            <p:nvPr/>
          </p:nvSpPr>
          <p:spPr bwMode="auto">
            <a:xfrm>
              <a:off x="1379982" y="2453377"/>
              <a:ext cx="56801" cy="136728"/>
            </a:xfrm>
            <a:custGeom>
              <a:avLst/>
              <a:gdLst>
                <a:gd name="T0" fmla="*/ 7 w 26"/>
                <a:gd name="T1" fmla="*/ 18 h 63"/>
                <a:gd name="T2" fmla="*/ 10 w 26"/>
                <a:gd name="T3" fmla="*/ 16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64" name="Freeform 563"/>
            <p:cNvSpPr>
              <a:spLocks noEditPoints="1"/>
            </p:cNvSpPr>
            <p:nvPr/>
          </p:nvSpPr>
          <p:spPr bwMode="auto">
            <a:xfrm>
              <a:off x="1776680" y="2453377"/>
              <a:ext cx="95280" cy="138564"/>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65" name="Freeform 564"/>
            <p:cNvSpPr>
              <a:spLocks/>
            </p:cNvSpPr>
            <p:nvPr/>
          </p:nvSpPr>
          <p:spPr bwMode="auto">
            <a:xfrm>
              <a:off x="1904942" y="2453377"/>
              <a:ext cx="55886" cy="136728"/>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66" name="Freeform 565"/>
            <p:cNvSpPr>
              <a:spLocks noEditPoints="1"/>
            </p:cNvSpPr>
            <p:nvPr/>
          </p:nvSpPr>
          <p:spPr bwMode="auto">
            <a:xfrm>
              <a:off x="1993809" y="2453377"/>
              <a:ext cx="95280" cy="138564"/>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67" name="Freeform 566"/>
            <p:cNvSpPr>
              <a:spLocks/>
            </p:cNvSpPr>
            <p:nvPr/>
          </p:nvSpPr>
          <p:spPr bwMode="auto">
            <a:xfrm>
              <a:off x="2122070" y="2453377"/>
              <a:ext cx="58634" cy="136728"/>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6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68" name="Freeform 567"/>
            <p:cNvSpPr>
              <a:spLocks/>
            </p:cNvSpPr>
            <p:nvPr/>
          </p:nvSpPr>
          <p:spPr bwMode="auto">
            <a:xfrm>
              <a:off x="2210939" y="2453377"/>
              <a:ext cx="58634" cy="136728"/>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69" name="Freeform 568"/>
            <p:cNvSpPr>
              <a:spLocks/>
            </p:cNvSpPr>
            <p:nvPr/>
          </p:nvSpPr>
          <p:spPr bwMode="auto">
            <a:xfrm>
              <a:off x="2299806" y="2453377"/>
              <a:ext cx="58634" cy="136728"/>
            </a:xfrm>
            <a:custGeom>
              <a:avLst/>
              <a:gdLst>
                <a:gd name="T0" fmla="*/ 0 w 27"/>
                <a:gd name="T1" fmla="*/ 20 h 63"/>
                <a:gd name="T2" fmla="*/ 4 w 27"/>
                <a:gd name="T3" fmla="*/ 20 h 63"/>
                <a:gd name="T4" fmla="*/ 8 w 27"/>
                <a:gd name="T5" fmla="*/ 18 h 63"/>
                <a:gd name="T6" fmla="*/ 11 w 27"/>
                <a:gd name="T7" fmla="*/ 16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1" y="16"/>
                  </a:cubicBezTo>
                  <a:cubicBezTo>
                    <a:pt x="12"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ubicBezTo>
                    <a:pt x="7" y="6"/>
                    <a:pt x="4" y="8"/>
                    <a:pt x="0" y="9"/>
                  </a:cubicBezTo>
                  <a:cubicBezTo>
                    <a:pt x="0" y="9"/>
                    <a:pt x="0" y="9"/>
                    <a:pt x="0" y="2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70" name="Freeform 569"/>
            <p:cNvSpPr>
              <a:spLocks noEditPoints="1"/>
            </p:cNvSpPr>
            <p:nvPr/>
          </p:nvSpPr>
          <p:spPr bwMode="auto">
            <a:xfrm>
              <a:off x="2390506" y="2453377"/>
              <a:ext cx="95280" cy="138564"/>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71" name="Freeform 570"/>
            <p:cNvSpPr>
              <a:spLocks/>
            </p:cNvSpPr>
            <p:nvPr/>
          </p:nvSpPr>
          <p:spPr bwMode="auto">
            <a:xfrm>
              <a:off x="2518768" y="2453377"/>
              <a:ext cx="58634" cy="136728"/>
            </a:xfrm>
            <a:custGeom>
              <a:avLst/>
              <a:gdLst>
                <a:gd name="T0" fmla="*/ 0 w 27"/>
                <a:gd name="T1" fmla="*/ 20 h 63"/>
                <a:gd name="T2" fmla="*/ 3 w 27"/>
                <a:gd name="T3" fmla="*/ 20 h 63"/>
                <a:gd name="T4" fmla="*/ 7 w 27"/>
                <a:gd name="T5" fmla="*/ 18 h 63"/>
                <a:gd name="T6" fmla="*/ 10 w 27"/>
                <a:gd name="T7" fmla="*/ 16 h 63"/>
                <a:gd name="T8" fmla="*/ 13 w 27"/>
                <a:gd name="T9" fmla="*/ 15 h 63"/>
                <a:gd name="T10" fmla="*/ 13 w 27"/>
                <a:gd name="T11" fmla="*/ 63 h 63"/>
                <a:gd name="T12" fmla="*/ 27 w 27"/>
                <a:gd name="T13" fmla="*/ 63 h 63"/>
                <a:gd name="T14" fmla="*/ 27 w 27"/>
                <a:gd name="T15" fmla="*/ 0 h 63"/>
                <a:gd name="T16" fmla="*/ 18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72" name="Freeform 571"/>
            <p:cNvSpPr>
              <a:spLocks/>
            </p:cNvSpPr>
            <p:nvPr/>
          </p:nvSpPr>
          <p:spPr bwMode="auto">
            <a:xfrm>
              <a:off x="2952110" y="2453377"/>
              <a:ext cx="58634" cy="136728"/>
            </a:xfrm>
            <a:custGeom>
              <a:avLst/>
              <a:gdLst>
                <a:gd name="T0" fmla="*/ 8 w 27"/>
                <a:gd name="T1" fmla="*/ 18 h 63"/>
                <a:gd name="T2" fmla="*/ 10 w 27"/>
                <a:gd name="T3" fmla="*/ 16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5 h 63"/>
                <a:gd name="T16" fmla="*/ 0 w 27"/>
                <a:gd name="T17" fmla="*/ 9 h 63"/>
                <a:gd name="T18" fmla="*/ 0 w 27"/>
                <a:gd name="T19" fmla="*/ 20 h 63"/>
                <a:gd name="T20" fmla="*/ 4 w 27"/>
                <a:gd name="T21" fmla="*/ 20 h 63"/>
                <a:gd name="T22" fmla="*/ 8 w 27"/>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8"/>
                  </a:moveTo>
                  <a:cubicBezTo>
                    <a:pt x="9"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73" name="Freeform 572"/>
            <p:cNvSpPr>
              <a:spLocks/>
            </p:cNvSpPr>
            <p:nvPr/>
          </p:nvSpPr>
          <p:spPr bwMode="auto">
            <a:xfrm>
              <a:off x="3043725" y="2479071"/>
              <a:ext cx="90700" cy="112870"/>
            </a:xfrm>
            <a:custGeom>
              <a:avLst/>
              <a:gdLst>
                <a:gd name="T0" fmla="*/ 22 w 42"/>
                <a:gd name="T1" fmla="*/ 52 h 52"/>
                <a:gd name="T2" fmla="*/ 38 w 42"/>
                <a:gd name="T3" fmla="*/ 44 h 52"/>
                <a:gd name="T4" fmla="*/ 42 w 42"/>
                <a:gd name="T5" fmla="*/ 36 h 52"/>
                <a:gd name="T6" fmla="*/ 30 w 42"/>
                <a:gd name="T7" fmla="*/ 24 h 52"/>
                <a:gd name="T8" fmla="*/ 22 w 42"/>
                <a:gd name="T9" fmla="*/ 41 h 52"/>
                <a:gd name="T10" fmla="*/ 13 w 42"/>
                <a:gd name="T11" fmla="*/ 21 h 52"/>
                <a:gd name="T12" fmla="*/ 14 w 42"/>
                <a:gd name="T13" fmla="*/ 10 h 52"/>
                <a:gd name="T14" fmla="*/ 3 w 42"/>
                <a:gd name="T15" fmla="*/ 0 h 52"/>
                <a:gd name="T16" fmla="*/ 0 w 42"/>
                <a:gd name="T17" fmla="*/ 21 h 52"/>
                <a:gd name="T18" fmla="*/ 22 w 42"/>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2">
                  <a:moveTo>
                    <a:pt x="22" y="52"/>
                  </a:moveTo>
                  <a:cubicBezTo>
                    <a:pt x="29" y="52"/>
                    <a:pt x="35" y="49"/>
                    <a:pt x="38" y="44"/>
                  </a:cubicBezTo>
                  <a:cubicBezTo>
                    <a:pt x="40" y="42"/>
                    <a:pt x="41" y="39"/>
                    <a:pt x="42" y="36"/>
                  </a:cubicBezTo>
                  <a:cubicBezTo>
                    <a:pt x="38" y="32"/>
                    <a:pt x="34" y="28"/>
                    <a:pt x="30" y="24"/>
                  </a:cubicBezTo>
                  <a:cubicBezTo>
                    <a:pt x="29" y="36"/>
                    <a:pt x="27" y="41"/>
                    <a:pt x="22" y="41"/>
                  </a:cubicBezTo>
                  <a:cubicBezTo>
                    <a:pt x="16" y="41"/>
                    <a:pt x="13" y="35"/>
                    <a:pt x="13" y="21"/>
                  </a:cubicBezTo>
                  <a:cubicBezTo>
                    <a:pt x="13" y="16"/>
                    <a:pt x="14" y="13"/>
                    <a:pt x="14" y="10"/>
                  </a:cubicBezTo>
                  <a:cubicBezTo>
                    <a:pt x="11" y="6"/>
                    <a:pt x="7" y="3"/>
                    <a:pt x="3" y="0"/>
                  </a:cubicBezTo>
                  <a:cubicBezTo>
                    <a:pt x="1" y="5"/>
                    <a:pt x="0" y="12"/>
                    <a:pt x="0" y="21"/>
                  </a:cubicBezTo>
                  <a:cubicBezTo>
                    <a:pt x="0" y="42"/>
                    <a:pt x="7" y="52"/>
                    <a:pt x="22" y="5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74" name="Freeform 573"/>
            <p:cNvSpPr>
              <a:spLocks/>
            </p:cNvSpPr>
            <p:nvPr/>
          </p:nvSpPr>
          <p:spPr bwMode="auto">
            <a:xfrm>
              <a:off x="1141781" y="2423095"/>
              <a:ext cx="3665" cy="1835"/>
            </a:xfrm>
            <a:custGeom>
              <a:avLst/>
              <a:gdLst>
                <a:gd name="T0" fmla="*/ 2 w 2"/>
                <a:gd name="T1" fmla="*/ 0 h 1"/>
                <a:gd name="T2" fmla="*/ 0 w 2"/>
                <a:gd name="T3" fmla="*/ 1 h 1"/>
                <a:gd name="T4" fmla="*/ 2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1"/>
                    <a:pt x="2" y="1"/>
                  </a:cubicBezTo>
                  <a:cubicBezTo>
                    <a:pt x="2" y="1"/>
                    <a:pt x="2" y="1"/>
                    <a:pt x="2"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75" name="Freeform 574"/>
            <p:cNvSpPr>
              <a:spLocks/>
            </p:cNvSpPr>
            <p:nvPr/>
          </p:nvSpPr>
          <p:spPr bwMode="auto">
            <a:xfrm>
              <a:off x="1180260" y="2334084"/>
              <a:ext cx="93449" cy="95435"/>
            </a:xfrm>
            <a:custGeom>
              <a:avLst/>
              <a:gdLst>
                <a:gd name="T0" fmla="*/ 21 w 43"/>
                <a:gd name="T1" fmla="*/ 44 h 44"/>
                <a:gd name="T2" fmla="*/ 37 w 43"/>
                <a:gd name="T3" fmla="*/ 36 h 44"/>
                <a:gd name="T4" fmla="*/ 43 w 43"/>
                <a:gd name="T5" fmla="*/ 12 h 44"/>
                <a:gd name="T6" fmla="*/ 42 w 43"/>
                <a:gd name="T7" fmla="*/ 0 h 44"/>
                <a:gd name="T8" fmla="*/ 29 w 43"/>
                <a:gd name="T9" fmla="*/ 8 h 44"/>
                <a:gd name="T10" fmla="*/ 29 w 43"/>
                <a:gd name="T11" fmla="*/ 12 h 44"/>
                <a:gd name="T12" fmla="*/ 21 w 43"/>
                <a:gd name="T13" fmla="*/ 33 h 44"/>
                <a:gd name="T14" fmla="*/ 13 w 43"/>
                <a:gd name="T15" fmla="*/ 19 h 44"/>
                <a:gd name="T16" fmla="*/ 0 w 43"/>
                <a:gd name="T17" fmla="*/ 28 h 44"/>
                <a:gd name="T18" fmla="*/ 21 w 43"/>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1" y="44"/>
                  </a:moveTo>
                  <a:cubicBezTo>
                    <a:pt x="28" y="44"/>
                    <a:pt x="33" y="41"/>
                    <a:pt x="37" y="36"/>
                  </a:cubicBezTo>
                  <a:cubicBezTo>
                    <a:pt x="41" y="30"/>
                    <a:pt x="43" y="22"/>
                    <a:pt x="43" y="12"/>
                  </a:cubicBezTo>
                  <a:cubicBezTo>
                    <a:pt x="43" y="7"/>
                    <a:pt x="42" y="3"/>
                    <a:pt x="42" y="0"/>
                  </a:cubicBezTo>
                  <a:cubicBezTo>
                    <a:pt x="37" y="2"/>
                    <a:pt x="33" y="5"/>
                    <a:pt x="29" y="8"/>
                  </a:cubicBezTo>
                  <a:cubicBezTo>
                    <a:pt x="29" y="9"/>
                    <a:pt x="29" y="10"/>
                    <a:pt x="29" y="12"/>
                  </a:cubicBezTo>
                  <a:cubicBezTo>
                    <a:pt x="29" y="26"/>
                    <a:pt x="26" y="33"/>
                    <a:pt x="21" y="33"/>
                  </a:cubicBezTo>
                  <a:cubicBezTo>
                    <a:pt x="16" y="33"/>
                    <a:pt x="13" y="28"/>
                    <a:pt x="13" y="19"/>
                  </a:cubicBezTo>
                  <a:cubicBezTo>
                    <a:pt x="8" y="22"/>
                    <a:pt x="4" y="25"/>
                    <a:pt x="0" y="28"/>
                  </a:cubicBezTo>
                  <a:cubicBezTo>
                    <a:pt x="3" y="39"/>
                    <a:pt x="10" y="44"/>
                    <a:pt x="21" y="4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76" name="Freeform 575"/>
            <p:cNvSpPr>
              <a:spLocks/>
            </p:cNvSpPr>
            <p:nvPr/>
          </p:nvSpPr>
          <p:spPr bwMode="auto">
            <a:xfrm>
              <a:off x="1305775" y="2288202"/>
              <a:ext cx="56801" cy="136728"/>
            </a:xfrm>
            <a:custGeom>
              <a:avLst/>
              <a:gdLst>
                <a:gd name="T0" fmla="*/ 3 w 26"/>
                <a:gd name="T1" fmla="*/ 21 h 63"/>
                <a:gd name="T2" fmla="*/ 7 w 26"/>
                <a:gd name="T3" fmla="*/ 19 h 63"/>
                <a:gd name="T4" fmla="*/ 10 w 26"/>
                <a:gd name="T5" fmla="*/ 17 h 63"/>
                <a:gd name="T6" fmla="*/ 12 w 26"/>
                <a:gd name="T7" fmla="*/ 15 h 63"/>
                <a:gd name="T8" fmla="*/ 12 w 26"/>
                <a:gd name="T9" fmla="*/ 63 h 63"/>
                <a:gd name="T10" fmla="*/ 26 w 26"/>
                <a:gd name="T11" fmla="*/ 63 h 63"/>
                <a:gd name="T12" fmla="*/ 26 w 26"/>
                <a:gd name="T13" fmla="*/ 0 h 63"/>
                <a:gd name="T14" fmla="*/ 18 w 26"/>
                <a:gd name="T15" fmla="*/ 0 h 63"/>
                <a:gd name="T16" fmla="*/ 10 w 26"/>
                <a:gd name="T17" fmla="*/ 6 h 63"/>
                <a:gd name="T18" fmla="*/ 5 w 26"/>
                <a:gd name="T19" fmla="*/ 7 h 63"/>
                <a:gd name="T20" fmla="*/ 0 w 26"/>
                <a:gd name="T21" fmla="*/ 11 h 63"/>
                <a:gd name="T22" fmla="*/ 0 w 26"/>
                <a:gd name="T23" fmla="*/ 21 h 63"/>
                <a:gd name="T24" fmla="*/ 3 w 26"/>
                <a:gd name="T25"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3" y="21"/>
                  </a:move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ubicBezTo>
                    <a:pt x="8" y="6"/>
                    <a:pt x="7" y="7"/>
                    <a:pt x="5" y="7"/>
                  </a:cubicBezTo>
                  <a:cubicBezTo>
                    <a:pt x="3" y="9"/>
                    <a:pt x="1" y="10"/>
                    <a:pt x="0" y="11"/>
                  </a:cubicBezTo>
                  <a:cubicBezTo>
                    <a:pt x="0" y="12"/>
                    <a:pt x="0" y="15"/>
                    <a:pt x="0" y="21"/>
                  </a:cubicBezTo>
                  <a:cubicBezTo>
                    <a:pt x="0" y="21"/>
                    <a:pt x="1" y="21"/>
                    <a:pt x="3" y="2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77" name="Freeform 576"/>
            <p:cNvSpPr>
              <a:spLocks noEditPoints="1"/>
            </p:cNvSpPr>
            <p:nvPr/>
          </p:nvSpPr>
          <p:spPr bwMode="auto">
            <a:xfrm>
              <a:off x="1395558" y="2288202"/>
              <a:ext cx="95280" cy="141317"/>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1 h 65"/>
                <a:gd name="T16" fmla="*/ 30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1"/>
                    <a:pt x="38" y="0"/>
                    <a:pt x="23" y="0"/>
                  </a:cubicBezTo>
                  <a:cubicBezTo>
                    <a:pt x="15" y="0"/>
                    <a:pt x="9" y="3"/>
                    <a:pt x="5" y="9"/>
                  </a:cubicBezTo>
                  <a:cubicBezTo>
                    <a:pt x="2" y="15"/>
                    <a:pt x="0" y="23"/>
                    <a:pt x="0" y="34"/>
                  </a:cubicBezTo>
                  <a:cubicBezTo>
                    <a:pt x="0" y="55"/>
                    <a:pt x="7" y="65"/>
                    <a:pt x="22" y="65"/>
                  </a:cubicBezTo>
                  <a:close/>
                  <a:moveTo>
                    <a:pt x="22" y="11"/>
                  </a:moveTo>
                  <a:cubicBezTo>
                    <a:pt x="27" y="11"/>
                    <a:pt x="30" y="18"/>
                    <a:pt x="30" y="33"/>
                  </a:cubicBezTo>
                  <a:cubicBezTo>
                    <a:pt x="30" y="47"/>
                    <a:pt x="27" y="54"/>
                    <a:pt x="22" y="54"/>
                  </a:cubicBezTo>
                  <a:cubicBezTo>
                    <a:pt x="16" y="54"/>
                    <a:pt x="14" y="47"/>
                    <a:pt x="14" y="34"/>
                  </a:cubicBezTo>
                  <a:cubicBezTo>
                    <a:pt x="14" y="19"/>
                    <a:pt x="16"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78" name="Freeform 577"/>
            <p:cNvSpPr>
              <a:spLocks/>
            </p:cNvSpPr>
            <p:nvPr/>
          </p:nvSpPr>
          <p:spPr bwMode="auto">
            <a:xfrm>
              <a:off x="1522904" y="2288202"/>
              <a:ext cx="56801" cy="136728"/>
            </a:xfrm>
            <a:custGeom>
              <a:avLst/>
              <a:gdLst>
                <a:gd name="T0" fmla="*/ 7 w 26"/>
                <a:gd name="T1" fmla="*/ 19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6 h 63"/>
                <a:gd name="T16" fmla="*/ 0 w 26"/>
                <a:gd name="T17" fmla="*/ 10 h 63"/>
                <a:gd name="T18" fmla="*/ 0 w 26"/>
                <a:gd name="T19" fmla="*/ 21 h 63"/>
                <a:gd name="T20" fmla="*/ 3 w 26"/>
                <a:gd name="T21" fmla="*/ 21 h 63"/>
                <a:gd name="T22" fmla="*/ 7 w 26"/>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9"/>
                  </a:move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79" name="Freeform 578"/>
            <p:cNvSpPr>
              <a:spLocks/>
            </p:cNvSpPr>
            <p:nvPr/>
          </p:nvSpPr>
          <p:spPr bwMode="auto">
            <a:xfrm>
              <a:off x="1611771" y="2288202"/>
              <a:ext cx="58634" cy="136728"/>
            </a:xfrm>
            <a:custGeom>
              <a:avLst/>
              <a:gdLst>
                <a:gd name="T0" fmla="*/ 7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7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7"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6" y="7"/>
                    <a:pt x="4" y="9"/>
                    <a:pt x="0" y="10"/>
                  </a:cubicBezTo>
                  <a:cubicBezTo>
                    <a:pt x="0" y="10"/>
                    <a:pt x="0" y="10"/>
                    <a:pt x="0" y="21"/>
                  </a:cubicBezTo>
                  <a:cubicBezTo>
                    <a:pt x="1" y="21"/>
                    <a:pt x="2" y="21"/>
                    <a:pt x="4" y="21"/>
                  </a:cubicBezTo>
                  <a:cubicBezTo>
                    <a:pt x="5" y="20"/>
                    <a:pt x="6" y="20"/>
                    <a:pt x="7" y="19"/>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80" name="Freeform 579"/>
            <p:cNvSpPr>
              <a:spLocks/>
            </p:cNvSpPr>
            <p:nvPr/>
          </p:nvSpPr>
          <p:spPr bwMode="auto">
            <a:xfrm>
              <a:off x="1700639" y="2288202"/>
              <a:ext cx="58634" cy="136728"/>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81" name="Freeform 580"/>
            <p:cNvSpPr>
              <a:spLocks noEditPoints="1"/>
            </p:cNvSpPr>
            <p:nvPr/>
          </p:nvSpPr>
          <p:spPr bwMode="auto">
            <a:xfrm>
              <a:off x="2570989" y="2288202"/>
              <a:ext cx="95280" cy="141317"/>
            </a:xfrm>
            <a:custGeom>
              <a:avLst/>
              <a:gdLst>
                <a:gd name="T0" fmla="*/ 22 w 44"/>
                <a:gd name="T1" fmla="*/ 65 h 65"/>
                <a:gd name="T2" fmla="*/ 39 w 44"/>
                <a:gd name="T3" fmla="*/ 57 h 65"/>
                <a:gd name="T4" fmla="*/ 44 w 44"/>
                <a:gd name="T5" fmla="*/ 33 h 65"/>
                <a:gd name="T6" fmla="*/ 23 w 44"/>
                <a:gd name="T7" fmla="*/ 0 h 65"/>
                <a:gd name="T8" fmla="*/ 6 w 44"/>
                <a:gd name="T9" fmla="*/ 9 h 65"/>
                <a:gd name="T10" fmla="*/ 0 w 44"/>
                <a:gd name="T11" fmla="*/ 34 h 65"/>
                <a:gd name="T12" fmla="*/ 22 w 44"/>
                <a:gd name="T13" fmla="*/ 65 h 65"/>
                <a:gd name="T14" fmla="*/ 22 w 44"/>
                <a:gd name="T15" fmla="*/ 11 h 65"/>
                <a:gd name="T16" fmla="*/ 31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7"/>
                  </a:cubicBezTo>
                  <a:cubicBezTo>
                    <a:pt x="43" y="51"/>
                    <a:pt x="44" y="43"/>
                    <a:pt x="44" y="33"/>
                  </a:cubicBezTo>
                  <a:cubicBezTo>
                    <a:pt x="44" y="11"/>
                    <a:pt x="38" y="0"/>
                    <a:pt x="23" y="0"/>
                  </a:cubicBezTo>
                  <a:cubicBezTo>
                    <a:pt x="16" y="0"/>
                    <a:pt x="9" y="3"/>
                    <a:pt x="6" y="9"/>
                  </a:cubicBezTo>
                  <a:cubicBezTo>
                    <a:pt x="2" y="15"/>
                    <a:pt x="0" y="23"/>
                    <a:pt x="0" y="34"/>
                  </a:cubicBezTo>
                  <a:cubicBezTo>
                    <a:pt x="0" y="55"/>
                    <a:pt x="8" y="65"/>
                    <a:pt x="22" y="65"/>
                  </a:cubicBezTo>
                  <a:close/>
                  <a:moveTo>
                    <a:pt x="22" y="11"/>
                  </a:moveTo>
                  <a:cubicBezTo>
                    <a:pt x="28" y="11"/>
                    <a:pt x="31" y="18"/>
                    <a:pt x="31" y="33"/>
                  </a:cubicBezTo>
                  <a:cubicBezTo>
                    <a:pt x="31" y="47"/>
                    <a:pt x="28" y="54"/>
                    <a:pt x="22" y="54"/>
                  </a:cubicBezTo>
                  <a:cubicBezTo>
                    <a:pt x="17" y="54"/>
                    <a:pt x="14" y="47"/>
                    <a:pt x="14" y="34"/>
                  </a:cubicBezTo>
                  <a:cubicBezTo>
                    <a:pt x="14" y="19"/>
                    <a:pt x="17"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82" name="Freeform 581"/>
            <p:cNvSpPr>
              <a:spLocks/>
            </p:cNvSpPr>
            <p:nvPr/>
          </p:nvSpPr>
          <p:spPr bwMode="auto">
            <a:xfrm>
              <a:off x="2698333" y="2288202"/>
              <a:ext cx="58634" cy="136728"/>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83" name="Freeform 582"/>
            <p:cNvSpPr>
              <a:spLocks/>
            </p:cNvSpPr>
            <p:nvPr/>
          </p:nvSpPr>
          <p:spPr bwMode="auto">
            <a:xfrm>
              <a:off x="2789950" y="2301050"/>
              <a:ext cx="95280" cy="128469"/>
            </a:xfrm>
            <a:custGeom>
              <a:avLst/>
              <a:gdLst>
                <a:gd name="T0" fmla="*/ 5 w 44"/>
                <a:gd name="T1" fmla="*/ 3 h 59"/>
                <a:gd name="T2" fmla="*/ 0 w 44"/>
                <a:gd name="T3" fmla="*/ 28 h 59"/>
                <a:gd name="T4" fmla="*/ 22 w 44"/>
                <a:gd name="T5" fmla="*/ 59 h 59"/>
                <a:gd name="T6" fmla="*/ 38 w 44"/>
                <a:gd name="T7" fmla="*/ 51 h 59"/>
                <a:gd name="T8" fmla="*/ 44 w 44"/>
                <a:gd name="T9" fmla="*/ 27 h 59"/>
                <a:gd name="T10" fmla="*/ 44 w 44"/>
                <a:gd name="T11" fmla="*/ 22 h 59"/>
                <a:gd name="T12" fmla="*/ 28 w 44"/>
                <a:gd name="T13" fmla="*/ 13 h 59"/>
                <a:gd name="T14" fmla="*/ 30 w 44"/>
                <a:gd name="T15" fmla="*/ 27 h 59"/>
                <a:gd name="T16" fmla="*/ 22 w 44"/>
                <a:gd name="T17" fmla="*/ 48 h 59"/>
                <a:gd name="T18" fmla="*/ 13 w 44"/>
                <a:gd name="T19" fmla="*/ 28 h 59"/>
                <a:gd name="T20" fmla="*/ 18 w 44"/>
                <a:gd name="T21" fmla="*/ 7 h 59"/>
                <a:gd name="T22" fmla="*/ 7 w 44"/>
                <a:gd name="T23" fmla="*/ 0 h 59"/>
                <a:gd name="T24" fmla="*/ 5 w 44"/>
                <a:gd name="T25"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59">
                  <a:moveTo>
                    <a:pt x="5" y="3"/>
                  </a:moveTo>
                  <a:cubicBezTo>
                    <a:pt x="1" y="9"/>
                    <a:pt x="0" y="17"/>
                    <a:pt x="0" y="28"/>
                  </a:cubicBezTo>
                  <a:cubicBezTo>
                    <a:pt x="0" y="49"/>
                    <a:pt x="7" y="59"/>
                    <a:pt x="22" y="59"/>
                  </a:cubicBezTo>
                  <a:cubicBezTo>
                    <a:pt x="29" y="59"/>
                    <a:pt x="34" y="56"/>
                    <a:pt x="38" y="51"/>
                  </a:cubicBezTo>
                  <a:cubicBezTo>
                    <a:pt x="42" y="45"/>
                    <a:pt x="44" y="37"/>
                    <a:pt x="44" y="27"/>
                  </a:cubicBezTo>
                  <a:cubicBezTo>
                    <a:pt x="44" y="25"/>
                    <a:pt x="44" y="24"/>
                    <a:pt x="44" y="22"/>
                  </a:cubicBezTo>
                  <a:cubicBezTo>
                    <a:pt x="39" y="19"/>
                    <a:pt x="34" y="16"/>
                    <a:pt x="28" y="13"/>
                  </a:cubicBezTo>
                  <a:cubicBezTo>
                    <a:pt x="29" y="16"/>
                    <a:pt x="30" y="21"/>
                    <a:pt x="30" y="27"/>
                  </a:cubicBezTo>
                  <a:cubicBezTo>
                    <a:pt x="30" y="41"/>
                    <a:pt x="27" y="48"/>
                    <a:pt x="22" y="48"/>
                  </a:cubicBezTo>
                  <a:cubicBezTo>
                    <a:pt x="16" y="48"/>
                    <a:pt x="13" y="41"/>
                    <a:pt x="13" y="28"/>
                  </a:cubicBezTo>
                  <a:cubicBezTo>
                    <a:pt x="13" y="16"/>
                    <a:pt x="15" y="9"/>
                    <a:pt x="18" y="7"/>
                  </a:cubicBezTo>
                  <a:cubicBezTo>
                    <a:pt x="15" y="4"/>
                    <a:pt x="11" y="2"/>
                    <a:pt x="7" y="0"/>
                  </a:cubicBezTo>
                  <a:cubicBezTo>
                    <a:pt x="7" y="1"/>
                    <a:pt x="6" y="2"/>
                    <a:pt x="5" y="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84" name="Freeform 583"/>
            <p:cNvSpPr>
              <a:spLocks/>
            </p:cNvSpPr>
            <p:nvPr/>
          </p:nvSpPr>
          <p:spPr bwMode="auto">
            <a:xfrm>
              <a:off x="2918212" y="2372626"/>
              <a:ext cx="68711" cy="56893"/>
            </a:xfrm>
            <a:custGeom>
              <a:avLst/>
              <a:gdLst>
                <a:gd name="T0" fmla="*/ 22 w 32"/>
                <a:gd name="T1" fmla="*/ 26 h 26"/>
                <a:gd name="T2" fmla="*/ 32 w 32"/>
                <a:gd name="T3" fmla="*/ 24 h 26"/>
                <a:gd name="T4" fmla="*/ 20 w 32"/>
                <a:gd name="T5" fmla="*/ 14 h 26"/>
                <a:gd name="T6" fmla="*/ 17 w 32"/>
                <a:gd name="T7" fmla="*/ 12 h 26"/>
                <a:gd name="T8" fmla="*/ 0 w 32"/>
                <a:gd name="T9" fmla="*/ 0 h 26"/>
                <a:gd name="T10" fmla="*/ 22 w 32"/>
                <a:gd name="T11" fmla="*/ 26 h 26"/>
              </a:gdLst>
              <a:ahLst/>
              <a:cxnLst>
                <a:cxn ang="0">
                  <a:pos x="T0" y="T1"/>
                </a:cxn>
                <a:cxn ang="0">
                  <a:pos x="T2" y="T3"/>
                </a:cxn>
                <a:cxn ang="0">
                  <a:pos x="T4" y="T5"/>
                </a:cxn>
                <a:cxn ang="0">
                  <a:pos x="T6" y="T7"/>
                </a:cxn>
                <a:cxn ang="0">
                  <a:pos x="T8" y="T9"/>
                </a:cxn>
                <a:cxn ang="0">
                  <a:pos x="T10" y="T11"/>
                </a:cxn>
              </a:cxnLst>
              <a:rect l="0" t="0" r="r" b="b"/>
              <a:pathLst>
                <a:path w="32" h="26">
                  <a:moveTo>
                    <a:pt x="22" y="26"/>
                  </a:moveTo>
                  <a:cubicBezTo>
                    <a:pt x="25" y="26"/>
                    <a:pt x="29" y="25"/>
                    <a:pt x="32" y="24"/>
                  </a:cubicBezTo>
                  <a:cubicBezTo>
                    <a:pt x="28" y="20"/>
                    <a:pt x="24" y="17"/>
                    <a:pt x="20" y="14"/>
                  </a:cubicBezTo>
                  <a:cubicBezTo>
                    <a:pt x="19" y="14"/>
                    <a:pt x="17" y="13"/>
                    <a:pt x="17" y="12"/>
                  </a:cubicBezTo>
                  <a:cubicBezTo>
                    <a:pt x="11" y="8"/>
                    <a:pt x="5" y="4"/>
                    <a:pt x="0" y="0"/>
                  </a:cubicBezTo>
                  <a:cubicBezTo>
                    <a:pt x="1" y="17"/>
                    <a:pt x="8" y="26"/>
                    <a:pt x="22" y="2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85" name="Freeform 584"/>
            <p:cNvSpPr>
              <a:spLocks/>
            </p:cNvSpPr>
            <p:nvPr/>
          </p:nvSpPr>
          <p:spPr bwMode="auto">
            <a:xfrm>
              <a:off x="1475264" y="2212038"/>
              <a:ext cx="30233" cy="47717"/>
            </a:xfrm>
            <a:custGeom>
              <a:avLst/>
              <a:gdLst>
                <a:gd name="T0" fmla="*/ 14 w 14"/>
                <a:gd name="T1" fmla="*/ 22 h 22"/>
                <a:gd name="T2" fmla="*/ 14 w 14"/>
                <a:gd name="T3" fmla="*/ 0 h 22"/>
                <a:gd name="T4" fmla="*/ 0 w 14"/>
                <a:gd name="T5" fmla="*/ 6 h 22"/>
                <a:gd name="T6" fmla="*/ 0 w 14"/>
                <a:gd name="T7" fmla="*/ 22 h 22"/>
                <a:gd name="T8" fmla="*/ 14 w 14"/>
                <a:gd name="T9" fmla="*/ 22 h 22"/>
              </a:gdLst>
              <a:ahLst/>
              <a:cxnLst>
                <a:cxn ang="0">
                  <a:pos x="T0" y="T1"/>
                </a:cxn>
                <a:cxn ang="0">
                  <a:pos x="T2" y="T3"/>
                </a:cxn>
                <a:cxn ang="0">
                  <a:pos x="T4" y="T5"/>
                </a:cxn>
                <a:cxn ang="0">
                  <a:pos x="T6" y="T7"/>
                </a:cxn>
                <a:cxn ang="0">
                  <a:pos x="T8" y="T9"/>
                </a:cxn>
              </a:cxnLst>
              <a:rect l="0" t="0" r="r" b="b"/>
              <a:pathLst>
                <a:path w="14" h="22">
                  <a:moveTo>
                    <a:pt x="14" y="22"/>
                  </a:moveTo>
                  <a:cubicBezTo>
                    <a:pt x="14" y="22"/>
                    <a:pt x="14" y="22"/>
                    <a:pt x="14" y="0"/>
                  </a:cubicBezTo>
                  <a:cubicBezTo>
                    <a:pt x="9" y="2"/>
                    <a:pt x="5" y="4"/>
                    <a:pt x="0" y="6"/>
                  </a:cubicBezTo>
                  <a:cubicBezTo>
                    <a:pt x="0" y="11"/>
                    <a:pt x="0" y="16"/>
                    <a:pt x="0" y="22"/>
                  </a:cubicBezTo>
                  <a:cubicBezTo>
                    <a:pt x="0" y="22"/>
                    <a:pt x="0" y="22"/>
                    <a:pt x="14" y="2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86" name="Freeform 585"/>
            <p:cNvSpPr>
              <a:spLocks/>
            </p:cNvSpPr>
            <p:nvPr/>
          </p:nvSpPr>
          <p:spPr bwMode="auto">
            <a:xfrm>
              <a:off x="1538479" y="2166157"/>
              <a:ext cx="95280" cy="98187"/>
            </a:xfrm>
            <a:custGeom>
              <a:avLst/>
              <a:gdLst>
                <a:gd name="T0" fmla="*/ 22 w 44"/>
                <a:gd name="T1" fmla="*/ 45 h 45"/>
                <a:gd name="T2" fmla="*/ 38 w 44"/>
                <a:gd name="T3" fmla="*/ 37 h 45"/>
                <a:gd name="T4" fmla="*/ 44 w 44"/>
                <a:gd name="T5" fmla="*/ 13 h 45"/>
                <a:gd name="T6" fmla="*/ 43 w 44"/>
                <a:gd name="T7" fmla="*/ 0 h 45"/>
                <a:gd name="T8" fmla="*/ 30 w 44"/>
                <a:gd name="T9" fmla="*/ 5 h 45"/>
                <a:gd name="T10" fmla="*/ 30 w 44"/>
                <a:gd name="T11" fmla="*/ 13 h 45"/>
                <a:gd name="T12" fmla="*/ 22 w 44"/>
                <a:gd name="T13" fmla="*/ 34 h 45"/>
                <a:gd name="T14" fmla="*/ 13 w 44"/>
                <a:gd name="T15" fmla="*/ 14 h 45"/>
                <a:gd name="T16" fmla="*/ 13 w 44"/>
                <a:gd name="T17" fmla="*/ 10 h 45"/>
                <a:gd name="T18" fmla="*/ 0 w 44"/>
                <a:gd name="T19" fmla="*/ 15 h 45"/>
                <a:gd name="T20" fmla="*/ 22 w 44"/>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5">
                  <a:moveTo>
                    <a:pt x="22" y="45"/>
                  </a:moveTo>
                  <a:cubicBezTo>
                    <a:pt x="29" y="45"/>
                    <a:pt x="35" y="42"/>
                    <a:pt x="38" y="37"/>
                  </a:cubicBezTo>
                  <a:cubicBezTo>
                    <a:pt x="42" y="31"/>
                    <a:pt x="44" y="23"/>
                    <a:pt x="44" y="13"/>
                  </a:cubicBezTo>
                  <a:cubicBezTo>
                    <a:pt x="44" y="8"/>
                    <a:pt x="43" y="4"/>
                    <a:pt x="43" y="0"/>
                  </a:cubicBezTo>
                  <a:cubicBezTo>
                    <a:pt x="38" y="2"/>
                    <a:pt x="34" y="3"/>
                    <a:pt x="30" y="5"/>
                  </a:cubicBezTo>
                  <a:cubicBezTo>
                    <a:pt x="30" y="7"/>
                    <a:pt x="30" y="10"/>
                    <a:pt x="30" y="13"/>
                  </a:cubicBezTo>
                  <a:cubicBezTo>
                    <a:pt x="30" y="27"/>
                    <a:pt x="27" y="34"/>
                    <a:pt x="22" y="34"/>
                  </a:cubicBezTo>
                  <a:cubicBezTo>
                    <a:pt x="16" y="34"/>
                    <a:pt x="13" y="27"/>
                    <a:pt x="13" y="14"/>
                  </a:cubicBezTo>
                  <a:cubicBezTo>
                    <a:pt x="13" y="12"/>
                    <a:pt x="13" y="11"/>
                    <a:pt x="13" y="10"/>
                  </a:cubicBezTo>
                  <a:cubicBezTo>
                    <a:pt x="9" y="12"/>
                    <a:pt x="4" y="13"/>
                    <a:pt x="0" y="15"/>
                  </a:cubicBezTo>
                  <a:cubicBezTo>
                    <a:pt x="0" y="35"/>
                    <a:pt x="7" y="45"/>
                    <a:pt x="22" y="4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87" name="Freeform 586"/>
            <p:cNvSpPr>
              <a:spLocks noEditPoints="1"/>
            </p:cNvSpPr>
            <p:nvPr/>
          </p:nvSpPr>
          <p:spPr bwMode="auto">
            <a:xfrm>
              <a:off x="1663992" y="2135874"/>
              <a:ext cx="98028" cy="128469"/>
            </a:xfrm>
            <a:custGeom>
              <a:avLst/>
              <a:gdLst>
                <a:gd name="T0" fmla="*/ 22 w 45"/>
                <a:gd name="T1" fmla="*/ 59 h 59"/>
                <a:gd name="T2" fmla="*/ 39 w 45"/>
                <a:gd name="T3" fmla="*/ 51 h 59"/>
                <a:gd name="T4" fmla="*/ 45 w 45"/>
                <a:gd name="T5" fmla="*/ 27 h 59"/>
                <a:gd name="T6" fmla="*/ 38 w 45"/>
                <a:gd name="T7" fmla="*/ 0 h 59"/>
                <a:gd name="T8" fmla="*/ 3 w 45"/>
                <a:gd name="T9" fmla="*/ 9 h 59"/>
                <a:gd name="T10" fmla="*/ 0 w 45"/>
                <a:gd name="T11" fmla="*/ 28 h 59"/>
                <a:gd name="T12" fmla="*/ 22 w 45"/>
                <a:gd name="T13" fmla="*/ 59 h 59"/>
                <a:gd name="T14" fmla="*/ 22 w 45"/>
                <a:gd name="T15" fmla="*/ 6 h 59"/>
                <a:gd name="T16" fmla="*/ 31 w 45"/>
                <a:gd name="T17" fmla="*/ 27 h 59"/>
                <a:gd name="T18" fmla="*/ 22 w 45"/>
                <a:gd name="T19" fmla="*/ 48 h 59"/>
                <a:gd name="T20" fmla="*/ 14 w 45"/>
                <a:gd name="T21" fmla="*/ 28 h 59"/>
                <a:gd name="T22" fmla="*/ 22 w 45"/>
                <a:gd name="T23" fmla="*/ 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59">
                  <a:moveTo>
                    <a:pt x="22" y="59"/>
                  </a:moveTo>
                  <a:cubicBezTo>
                    <a:pt x="30" y="59"/>
                    <a:pt x="35" y="56"/>
                    <a:pt x="39" y="51"/>
                  </a:cubicBezTo>
                  <a:cubicBezTo>
                    <a:pt x="43" y="45"/>
                    <a:pt x="45" y="37"/>
                    <a:pt x="45" y="27"/>
                  </a:cubicBezTo>
                  <a:cubicBezTo>
                    <a:pt x="45" y="15"/>
                    <a:pt x="43" y="6"/>
                    <a:pt x="38" y="0"/>
                  </a:cubicBezTo>
                  <a:cubicBezTo>
                    <a:pt x="26" y="3"/>
                    <a:pt x="14" y="6"/>
                    <a:pt x="3" y="9"/>
                  </a:cubicBezTo>
                  <a:cubicBezTo>
                    <a:pt x="1" y="14"/>
                    <a:pt x="0" y="20"/>
                    <a:pt x="0" y="28"/>
                  </a:cubicBezTo>
                  <a:cubicBezTo>
                    <a:pt x="0" y="49"/>
                    <a:pt x="8" y="59"/>
                    <a:pt x="22" y="59"/>
                  </a:cubicBezTo>
                  <a:close/>
                  <a:moveTo>
                    <a:pt x="22" y="6"/>
                  </a:moveTo>
                  <a:cubicBezTo>
                    <a:pt x="28" y="6"/>
                    <a:pt x="31" y="12"/>
                    <a:pt x="31" y="27"/>
                  </a:cubicBezTo>
                  <a:cubicBezTo>
                    <a:pt x="31" y="41"/>
                    <a:pt x="28" y="48"/>
                    <a:pt x="22" y="48"/>
                  </a:cubicBezTo>
                  <a:cubicBezTo>
                    <a:pt x="17" y="48"/>
                    <a:pt x="14" y="41"/>
                    <a:pt x="14" y="28"/>
                  </a:cubicBezTo>
                  <a:cubicBezTo>
                    <a:pt x="14" y="13"/>
                    <a:pt x="17" y="6"/>
                    <a:pt x="22" y="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88" name="Freeform 587"/>
            <p:cNvSpPr>
              <a:spLocks/>
            </p:cNvSpPr>
            <p:nvPr/>
          </p:nvSpPr>
          <p:spPr bwMode="auto">
            <a:xfrm>
              <a:off x="2496779" y="2166157"/>
              <a:ext cx="6414" cy="2753"/>
            </a:xfrm>
            <a:custGeom>
              <a:avLst/>
              <a:gdLst>
                <a:gd name="T0" fmla="*/ 3 w 3"/>
                <a:gd name="T1" fmla="*/ 1 h 1"/>
                <a:gd name="T2" fmla="*/ 0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cubicBezTo>
                    <a:pt x="2" y="1"/>
                    <a:pt x="1" y="0"/>
                    <a:pt x="0" y="0"/>
                  </a:cubicBezTo>
                  <a:cubicBezTo>
                    <a:pt x="0" y="0"/>
                    <a:pt x="0" y="1"/>
                    <a:pt x="0" y="1"/>
                  </a:cubicBezTo>
                  <a:cubicBezTo>
                    <a:pt x="0" y="1"/>
                    <a:pt x="1" y="1"/>
                    <a:pt x="3" y="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89" name="Freeform 588"/>
            <p:cNvSpPr>
              <a:spLocks/>
            </p:cNvSpPr>
            <p:nvPr/>
          </p:nvSpPr>
          <p:spPr bwMode="auto">
            <a:xfrm>
              <a:off x="2585647" y="2196438"/>
              <a:ext cx="88868" cy="67904"/>
            </a:xfrm>
            <a:custGeom>
              <a:avLst/>
              <a:gdLst>
                <a:gd name="T0" fmla="*/ 22 w 41"/>
                <a:gd name="T1" fmla="*/ 31 h 31"/>
                <a:gd name="T2" fmla="*/ 39 w 41"/>
                <a:gd name="T3" fmla="*/ 23 h 31"/>
                <a:gd name="T4" fmla="*/ 41 w 41"/>
                <a:gd name="T5" fmla="*/ 17 h 31"/>
                <a:gd name="T6" fmla="*/ 29 w 41"/>
                <a:gd name="T7" fmla="*/ 12 h 31"/>
                <a:gd name="T8" fmla="*/ 22 w 41"/>
                <a:gd name="T9" fmla="*/ 20 h 31"/>
                <a:gd name="T10" fmla="*/ 14 w 41"/>
                <a:gd name="T11" fmla="*/ 6 h 31"/>
                <a:gd name="T12" fmla="*/ 0 w 41"/>
                <a:gd name="T13" fmla="*/ 0 h 31"/>
                <a:gd name="T14" fmla="*/ 22 w 41"/>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22" y="31"/>
                  </a:moveTo>
                  <a:cubicBezTo>
                    <a:pt x="29" y="31"/>
                    <a:pt x="35" y="28"/>
                    <a:pt x="39" y="23"/>
                  </a:cubicBezTo>
                  <a:cubicBezTo>
                    <a:pt x="40" y="21"/>
                    <a:pt x="41" y="19"/>
                    <a:pt x="41" y="17"/>
                  </a:cubicBezTo>
                  <a:cubicBezTo>
                    <a:pt x="37" y="15"/>
                    <a:pt x="33" y="14"/>
                    <a:pt x="29" y="12"/>
                  </a:cubicBezTo>
                  <a:cubicBezTo>
                    <a:pt x="28" y="17"/>
                    <a:pt x="25" y="20"/>
                    <a:pt x="22" y="20"/>
                  </a:cubicBezTo>
                  <a:cubicBezTo>
                    <a:pt x="17" y="20"/>
                    <a:pt x="15" y="15"/>
                    <a:pt x="14" y="6"/>
                  </a:cubicBezTo>
                  <a:cubicBezTo>
                    <a:pt x="9" y="4"/>
                    <a:pt x="5" y="2"/>
                    <a:pt x="0" y="0"/>
                  </a:cubicBezTo>
                  <a:cubicBezTo>
                    <a:pt x="0" y="21"/>
                    <a:pt x="7" y="31"/>
                    <a:pt x="22" y="3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90" name="Freeform 589"/>
            <p:cNvSpPr>
              <a:spLocks/>
            </p:cNvSpPr>
            <p:nvPr/>
          </p:nvSpPr>
          <p:spPr bwMode="auto">
            <a:xfrm>
              <a:off x="623237" y="3934443"/>
              <a:ext cx="43060" cy="134893"/>
            </a:xfrm>
            <a:custGeom>
              <a:avLst/>
              <a:gdLst>
                <a:gd name="T0" fmla="*/ 20 w 20"/>
                <a:gd name="T1" fmla="*/ 0 h 62"/>
                <a:gd name="T2" fmla="*/ 12 w 20"/>
                <a:gd name="T3" fmla="*/ 0 h 62"/>
                <a:gd name="T4" fmla="*/ 4 w 20"/>
                <a:gd name="T5" fmla="*/ 5 h 62"/>
                <a:gd name="T6" fmla="*/ 0 w 20"/>
                <a:gd name="T7" fmla="*/ 7 h 62"/>
                <a:gd name="T8" fmla="*/ 3 w 20"/>
                <a:gd name="T9" fmla="*/ 17 h 62"/>
                <a:gd name="T10" fmla="*/ 4 w 20"/>
                <a:gd name="T11" fmla="*/ 16 h 62"/>
                <a:gd name="T12" fmla="*/ 7 w 20"/>
                <a:gd name="T13" fmla="*/ 15 h 62"/>
                <a:gd name="T14" fmla="*/ 7 w 20"/>
                <a:gd name="T15" fmla="*/ 31 h 62"/>
                <a:gd name="T16" fmla="*/ 17 w 20"/>
                <a:gd name="T17" fmla="*/ 62 h 62"/>
                <a:gd name="T18" fmla="*/ 20 w 20"/>
                <a:gd name="T19" fmla="*/ 62 h 62"/>
                <a:gd name="T20" fmla="*/ 20 w 20"/>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2">
                  <a:moveTo>
                    <a:pt x="20" y="0"/>
                  </a:moveTo>
                  <a:cubicBezTo>
                    <a:pt x="12" y="0"/>
                    <a:pt x="12" y="0"/>
                    <a:pt x="12" y="0"/>
                  </a:cubicBezTo>
                  <a:cubicBezTo>
                    <a:pt x="9" y="2"/>
                    <a:pt x="7" y="4"/>
                    <a:pt x="4" y="5"/>
                  </a:cubicBezTo>
                  <a:cubicBezTo>
                    <a:pt x="3" y="6"/>
                    <a:pt x="1" y="6"/>
                    <a:pt x="0" y="7"/>
                  </a:cubicBezTo>
                  <a:cubicBezTo>
                    <a:pt x="1" y="10"/>
                    <a:pt x="2" y="14"/>
                    <a:pt x="3" y="17"/>
                  </a:cubicBezTo>
                  <a:cubicBezTo>
                    <a:pt x="3" y="17"/>
                    <a:pt x="4" y="17"/>
                    <a:pt x="4" y="16"/>
                  </a:cubicBezTo>
                  <a:cubicBezTo>
                    <a:pt x="5" y="16"/>
                    <a:pt x="6" y="15"/>
                    <a:pt x="7" y="15"/>
                  </a:cubicBezTo>
                  <a:cubicBezTo>
                    <a:pt x="7" y="15"/>
                    <a:pt x="7" y="15"/>
                    <a:pt x="7" y="31"/>
                  </a:cubicBezTo>
                  <a:cubicBezTo>
                    <a:pt x="10" y="41"/>
                    <a:pt x="13" y="52"/>
                    <a:pt x="17" y="62"/>
                  </a:cubicBezTo>
                  <a:cubicBezTo>
                    <a:pt x="18" y="62"/>
                    <a:pt x="19" y="62"/>
                    <a:pt x="20" y="62"/>
                  </a:cubicBezTo>
                  <a:cubicBezTo>
                    <a:pt x="20" y="62"/>
                    <a:pt x="20" y="62"/>
                    <a:pt x="20"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91" name="Freeform 590"/>
            <p:cNvSpPr>
              <a:spLocks noEditPoints="1"/>
            </p:cNvSpPr>
            <p:nvPr/>
          </p:nvSpPr>
          <p:spPr bwMode="auto">
            <a:xfrm>
              <a:off x="699277" y="3934443"/>
              <a:ext cx="95280" cy="138564"/>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6" y="8"/>
                  </a:cubicBezTo>
                  <a:cubicBezTo>
                    <a:pt x="2" y="15"/>
                    <a:pt x="0" y="22"/>
                    <a:pt x="0" y="33"/>
                  </a:cubicBezTo>
                  <a:cubicBezTo>
                    <a:pt x="0" y="54"/>
                    <a:pt x="8" y="64"/>
                    <a:pt x="22" y="64"/>
                  </a:cubicBezTo>
                  <a:cubicBezTo>
                    <a:pt x="30" y="64"/>
                    <a:pt x="35" y="61"/>
                    <a:pt x="39" y="56"/>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92" name="Freeform 591"/>
            <p:cNvSpPr>
              <a:spLocks/>
            </p:cNvSpPr>
            <p:nvPr/>
          </p:nvSpPr>
          <p:spPr bwMode="auto">
            <a:xfrm>
              <a:off x="826625" y="3934443"/>
              <a:ext cx="58634" cy="134893"/>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5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7" y="6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93" name="Freeform 592"/>
            <p:cNvSpPr>
              <a:spLocks noEditPoints="1"/>
            </p:cNvSpPr>
            <p:nvPr/>
          </p:nvSpPr>
          <p:spPr bwMode="auto">
            <a:xfrm>
              <a:off x="915491" y="3934443"/>
              <a:ext cx="98028" cy="138564"/>
            </a:xfrm>
            <a:custGeom>
              <a:avLst/>
              <a:gdLst>
                <a:gd name="T0" fmla="*/ 39 w 45"/>
                <a:gd name="T1" fmla="*/ 56 h 64"/>
                <a:gd name="T2" fmla="*/ 45 w 45"/>
                <a:gd name="T3" fmla="*/ 32 h 64"/>
                <a:gd name="T4" fmla="*/ 23 w 45"/>
                <a:gd name="T5" fmla="*/ 0 h 64"/>
                <a:gd name="T6" fmla="*/ 6 w 45"/>
                <a:gd name="T7" fmla="*/ 8 h 64"/>
                <a:gd name="T8" fmla="*/ 0 w 45"/>
                <a:gd name="T9" fmla="*/ 33 h 64"/>
                <a:gd name="T10" fmla="*/ 23 w 45"/>
                <a:gd name="T11" fmla="*/ 64 h 64"/>
                <a:gd name="T12" fmla="*/ 39 w 45"/>
                <a:gd name="T13" fmla="*/ 56 h 64"/>
                <a:gd name="T14" fmla="*/ 14 w 45"/>
                <a:gd name="T15" fmla="*/ 33 h 64"/>
                <a:gd name="T16" fmla="*/ 23 w 45"/>
                <a:gd name="T17" fmla="*/ 11 h 64"/>
                <a:gd name="T18" fmla="*/ 31 w 45"/>
                <a:gd name="T19" fmla="*/ 32 h 64"/>
                <a:gd name="T20" fmla="*/ 23 w 45"/>
                <a:gd name="T21" fmla="*/ 53 h 64"/>
                <a:gd name="T22" fmla="*/ 14 w 45"/>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39" y="56"/>
                  </a:moveTo>
                  <a:cubicBezTo>
                    <a:pt x="43" y="50"/>
                    <a:pt x="45" y="42"/>
                    <a:pt x="45" y="32"/>
                  </a:cubicBezTo>
                  <a:cubicBezTo>
                    <a:pt x="45" y="11"/>
                    <a:pt x="38" y="0"/>
                    <a:pt x="23" y="0"/>
                  </a:cubicBezTo>
                  <a:cubicBezTo>
                    <a:pt x="16" y="0"/>
                    <a:pt x="10" y="3"/>
                    <a:pt x="6" y="8"/>
                  </a:cubicBezTo>
                  <a:cubicBezTo>
                    <a:pt x="2" y="15"/>
                    <a:pt x="0" y="22"/>
                    <a:pt x="0" y="33"/>
                  </a:cubicBezTo>
                  <a:cubicBezTo>
                    <a:pt x="0" y="54"/>
                    <a:pt x="8" y="64"/>
                    <a:pt x="23" y="64"/>
                  </a:cubicBezTo>
                  <a:cubicBezTo>
                    <a:pt x="30" y="64"/>
                    <a:pt x="35" y="61"/>
                    <a:pt x="39" y="56"/>
                  </a:cubicBezTo>
                  <a:close/>
                  <a:moveTo>
                    <a:pt x="14" y="33"/>
                  </a:moveTo>
                  <a:cubicBezTo>
                    <a:pt x="14" y="18"/>
                    <a:pt x="17" y="11"/>
                    <a:pt x="23" y="11"/>
                  </a:cubicBezTo>
                  <a:cubicBezTo>
                    <a:pt x="28" y="11"/>
                    <a:pt x="31" y="17"/>
                    <a:pt x="31" y="32"/>
                  </a:cubicBezTo>
                  <a:cubicBezTo>
                    <a:pt x="31" y="47"/>
                    <a:pt x="28" y="53"/>
                    <a:pt x="23" y="53"/>
                  </a:cubicBezTo>
                  <a:cubicBezTo>
                    <a:pt x="17" y="53"/>
                    <a:pt x="14" y="47"/>
                    <a:pt x="14" y="3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94" name="Freeform 593"/>
            <p:cNvSpPr>
              <a:spLocks/>
            </p:cNvSpPr>
            <p:nvPr/>
          </p:nvSpPr>
          <p:spPr bwMode="auto">
            <a:xfrm>
              <a:off x="1045586" y="3934443"/>
              <a:ext cx="56801" cy="134893"/>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2 w 26"/>
                <a:gd name="T17" fmla="*/ 15 h 62"/>
                <a:gd name="T18" fmla="*/ 12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2" y="4"/>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5"/>
                  </a:cubicBezTo>
                  <a:cubicBezTo>
                    <a:pt x="12" y="15"/>
                    <a:pt x="12" y="15"/>
                    <a:pt x="12" y="62"/>
                  </a:cubicBezTo>
                  <a:cubicBezTo>
                    <a:pt x="12" y="62"/>
                    <a:pt x="12" y="62"/>
                    <a:pt x="26" y="62"/>
                  </a:cubicBezTo>
                  <a:cubicBezTo>
                    <a:pt x="26" y="62"/>
                    <a:pt x="26" y="62"/>
                    <a:pt x="2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95" name="Freeform 594"/>
            <p:cNvSpPr>
              <a:spLocks/>
            </p:cNvSpPr>
            <p:nvPr/>
          </p:nvSpPr>
          <p:spPr bwMode="auto">
            <a:xfrm>
              <a:off x="1134453" y="3934443"/>
              <a:ext cx="56801" cy="134893"/>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96" name="Freeform 595"/>
            <p:cNvSpPr>
              <a:spLocks/>
            </p:cNvSpPr>
            <p:nvPr/>
          </p:nvSpPr>
          <p:spPr bwMode="auto">
            <a:xfrm>
              <a:off x="1223320" y="3934443"/>
              <a:ext cx="56801" cy="134893"/>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97" name="Freeform 596"/>
            <p:cNvSpPr>
              <a:spLocks noEditPoints="1"/>
            </p:cNvSpPr>
            <p:nvPr/>
          </p:nvSpPr>
          <p:spPr bwMode="auto">
            <a:xfrm>
              <a:off x="1313103" y="3934443"/>
              <a:ext cx="97113" cy="138564"/>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98" name="Freeform 597"/>
            <p:cNvSpPr>
              <a:spLocks noEditPoints="1"/>
            </p:cNvSpPr>
            <p:nvPr/>
          </p:nvSpPr>
          <p:spPr bwMode="auto">
            <a:xfrm>
              <a:off x="1965409" y="3934443"/>
              <a:ext cx="95280" cy="138564"/>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1"/>
                    <a:pt x="38"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599" name="Freeform 598"/>
            <p:cNvSpPr>
              <a:spLocks noEditPoints="1"/>
            </p:cNvSpPr>
            <p:nvPr/>
          </p:nvSpPr>
          <p:spPr bwMode="auto">
            <a:xfrm>
              <a:off x="2093670" y="3934443"/>
              <a:ext cx="95280" cy="138564"/>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00" name="Freeform 599"/>
            <p:cNvSpPr>
              <a:spLocks/>
            </p:cNvSpPr>
            <p:nvPr/>
          </p:nvSpPr>
          <p:spPr bwMode="auto">
            <a:xfrm>
              <a:off x="2221933" y="3934443"/>
              <a:ext cx="55886" cy="134893"/>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4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01" name="Freeform 600"/>
            <p:cNvSpPr>
              <a:spLocks noEditPoints="1"/>
            </p:cNvSpPr>
            <p:nvPr/>
          </p:nvSpPr>
          <p:spPr bwMode="auto">
            <a:xfrm>
              <a:off x="3091367" y="3934443"/>
              <a:ext cx="95280" cy="138564"/>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14" y="33"/>
                  </a:moveTo>
                  <a:cubicBezTo>
                    <a:pt x="14" y="18"/>
                    <a:pt x="16" y="11"/>
                    <a:pt x="22" y="11"/>
                  </a:cubicBezTo>
                  <a:cubicBezTo>
                    <a:pt x="28" y="11"/>
                    <a:pt x="30" y="17"/>
                    <a:pt x="30" y="32"/>
                  </a:cubicBezTo>
                  <a:cubicBezTo>
                    <a:pt x="30" y="47"/>
                    <a:pt x="28" y="53"/>
                    <a:pt x="22" y="53"/>
                  </a:cubicBezTo>
                  <a:cubicBezTo>
                    <a:pt x="16" y="53"/>
                    <a:pt x="14" y="47"/>
                    <a:pt x="14" y="3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02" name="Freeform 601"/>
            <p:cNvSpPr>
              <a:spLocks/>
            </p:cNvSpPr>
            <p:nvPr/>
          </p:nvSpPr>
          <p:spPr bwMode="auto">
            <a:xfrm>
              <a:off x="670876" y="4097781"/>
              <a:ext cx="60467" cy="121129"/>
            </a:xfrm>
            <a:custGeom>
              <a:avLst/>
              <a:gdLst>
                <a:gd name="T0" fmla="*/ 28 w 28"/>
                <a:gd name="T1" fmla="*/ 32 h 56"/>
                <a:gd name="T2" fmla="*/ 7 w 28"/>
                <a:gd name="T3" fmla="*/ 0 h 56"/>
                <a:gd name="T4" fmla="*/ 0 w 28"/>
                <a:gd name="T5" fmla="*/ 1 h 56"/>
                <a:gd name="T6" fmla="*/ 4 w 28"/>
                <a:gd name="T7" fmla="*/ 12 h 56"/>
                <a:gd name="T8" fmla="*/ 6 w 28"/>
                <a:gd name="T9" fmla="*/ 11 h 56"/>
                <a:gd name="T10" fmla="*/ 14 w 28"/>
                <a:gd name="T11" fmla="*/ 32 h 56"/>
                <a:gd name="T12" fmla="*/ 14 w 28"/>
                <a:gd name="T13" fmla="*/ 38 h 56"/>
                <a:gd name="T14" fmla="*/ 22 w 28"/>
                <a:gd name="T15" fmla="*/ 56 h 56"/>
                <a:gd name="T16" fmla="*/ 23 w 28"/>
                <a:gd name="T17" fmla="*/ 56 h 56"/>
                <a:gd name="T18" fmla="*/ 28 w 28"/>
                <a:gd name="T19"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6">
                  <a:moveTo>
                    <a:pt x="28" y="32"/>
                  </a:moveTo>
                  <a:cubicBezTo>
                    <a:pt x="28" y="11"/>
                    <a:pt x="22" y="0"/>
                    <a:pt x="7" y="0"/>
                  </a:cubicBezTo>
                  <a:cubicBezTo>
                    <a:pt x="4" y="0"/>
                    <a:pt x="2" y="1"/>
                    <a:pt x="0" y="1"/>
                  </a:cubicBezTo>
                  <a:cubicBezTo>
                    <a:pt x="1" y="5"/>
                    <a:pt x="2" y="8"/>
                    <a:pt x="4" y="12"/>
                  </a:cubicBezTo>
                  <a:cubicBezTo>
                    <a:pt x="4" y="12"/>
                    <a:pt x="5" y="11"/>
                    <a:pt x="6" y="11"/>
                  </a:cubicBezTo>
                  <a:cubicBezTo>
                    <a:pt x="11" y="11"/>
                    <a:pt x="14" y="18"/>
                    <a:pt x="14" y="32"/>
                  </a:cubicBezTo>
                  <a:cubicBezTo>
                    <a:pt x="14" y="34"/>
                    <a:pt x="14" y="36"/>
                    <a:pt x="14" y="38"/>
                  </a:cubicBezTo>
                  <a:cubicBezTo>
                    <a:pt x="17" y="44"/>
                    <a:pt x="20" y="50"/>
                    <a:pt x="22" y="56"/>
                  </a:cubicBezTo>
                  <a:cubicBezTo>
                    <a:pt x="22" y="56"/>
                    <a:pt x="23" y="56"/>
                    <a:pt x="23" y="56"/>
                  </a:cubicBezTo>
                  <a:cubicBezTo>
                    <a:pt x="26" y="51"/>
                    <a:pt x="28" y="43"/>
                    <a:pt x="28" y="3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03" name="Freeform 602"/>
            <p:cNvSpPr>
              <a:spLocks noEditPoints="1"/>
            </p:cNvSpPr>
            <p:nvPr/>
          </p:nvSpPr>
          <p:spPr bwMode="auto">
            <a:xfrm>
              <a:off x="764325" y="4097781"/>
              <a:ext cx="95280" cy="140398"/>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8" y="11"/>
                    <a:pt x="30" y="18"/>
                    <a:pt x="30" y="32"/>
                  </a:cubicBezTo>
                  <a:cubicBezTo>
                    <a:pt x="30" y="47"/>
                    <a:pt x="28" y="54"/>
                    <a:pt x="22"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04" name="Freeform 603"/>
            <p:cNvSpPr>
              <a:spLocks/>
            </p:cNvSpPr>
            <p:nvPr/>
          </p:nvSpPr>
          <p:spPr bwMode="auto">
            <a:xfrm>
              <a:off x="891672" y="4097781"/>
              <a:ext cx="56801" cy="136728"/>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05" name="Freeform 604"/>
            <p:cNvSpPr>
              <a:spLocks noEditPoints="1"/>
            </p:cNvSpPr>
            <p:nvPr/>
          </p:nvSpPr>
          <p:spPr bwMode="auto">
            <a:xfrm>
              <a:off x="988396" y="4097781"/>
              <a:ext cx="95280" cy="140398"/>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3" y="51"/>
                    <a:pt x="44" y="43"/>
                    <a:pt x="44" y="32"/>
                  </a:cubicBezTo>
                  <a:cubicBezTo>
                    <a:pt x="44" y="11"/>
                    <a:pt x="38" y="0"/>
                    <a:pt x="23" y="0"/>
                  </a:cubicBezTo>
                  <a:cubicBezTo>
                    <a:pt x="16" y="0"/>
                    <a:pt x="9"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06" name="Freeform 605"/>
            <p:cNvSpPr>
              <a:spLocks/>
            </p:cNvSpPr>
            <p:nvPr/>
          </p:nvSpPr>
          <p:spPr bwMode="auto">
            <a:xfrm>
              <a:off x="1118551" y="4097781"/>
              <a:ext cx="58634" cy="136728"/>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07" name="Freeform 606"/>
            <p:cNvSpPr>
              <a:spLocks/>
            </p:cNvSpPr>
            <p:nvPr/>
          </p:nvSpPr>
          <p:spPr bwMode="auto">
            <a:xfrm>
              <a:off x="1762022" y="4097781"/>
              <a:ext cx="58634" cy="136728"/>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08" name="Freeform 607"/>
            <p:cNvSpPr>
              <a:spLocks/>
            </p:cNvSpPr>
            <p:nvPr/>
          </p:nvSpPr>
          <p:spPr bwMode="auto">
            <a:xfrm>
              <a:off x="1850888" y="4097781"/>
              <a:ext cx="58634" cy="136728"/>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09" name="Freeform 608"/>
            <p:cNvSpPr>
              <a:spLocks noEditPoints="1"/>
            </p:cNvSpPr>
            <p:nvPr/>
          </p:nvSpPr>
          <p:spPr bwMode="auto">
            <a:xfrm>
              <a:off x="1939757" y="4097781"/>
              <a:ext cx="95280" cy="140398"/>
            </a:xfrm>
            <a:custGeom>
              <a:avLst/>
              <a:gdLst>
                <a:gd name="T0" fmla="*/ 39 w 44"/>
                <a:gd name="T1" fmla="*/ 56 h 65"/>
                <a:gd name="T2" fmla="*/ 44 w 44"/>
                <a:gd name="T3" fmla="*/ 32 h 65"/>
                <a:gd name="T4" fmla="*/ 23 w 44"/>
                <a:gd name="T5" fmla="*/ 0 h 65"/>
                <a:gd name="T6" fmla="*/ 6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3"/>
                    <a:pt x="44" y="32"/>
                  </a:cubicBezTo>
                  <a:cubicBezTo>
                    <a:pt x="44" y="11"/>
                    <a:pt x="38" y="0"/>
                    <a:pt x="23" y="0"/>
                  </a:cubicBezTo>
                  <a:cubicBezTo>
                    <a:pt x="16" y="0"/>
                    <a:pt x="10" y="3"/>
                    <a:pt x="6" y="9"/>
                  </a:cubicBezTo>
                  <a:cubicBezTo>
                    <a:pt x="2" y="15"/>
                    <a:pt x="0" y="22"/>
                    <a:pt x="0" y="33"/>
                  </a:cubicBezTo>
                  <a:cubicBezTo>
                    <a:pt x="0" y="54"/>
                    <a:pt x="8"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10" name="Freeform 609"/>
            <p:cNvSpPr>
              <a:spLocks noEditPoints="1"/>
            </p:cNvSpPr>
            <p:nvPr/>
          </p:nvSpPr>
          <p:spPr bwMode="auto">
            <a:xfrm>
              <a:off x="2067101" y="4097781"/>
              <a:ext cx="98028" cy="140398"/>
            </a:xfrm>
            <a:custGeom>
              <a:avLst/>
              <a:gdLst>
                <a:gd name="T0" fmla="*/ 22 w 45"/>
                <a:gd name="T1" fmla="*/ 65 h 65"/>
                <a:gd name="T2" fmla="*/ 39 w 45"/>
                <a:gd name="T3" fmla="*/ 56 h 65"/>
                <a:gd name="T4" fmla="*/ 45 w 45"/>
                <a:gd name="T5" fmla="*/ 32 h 65"/>
                <a:gd name="T6" fmla="*/ 23 w 45"/>
                <a:gd name="T7" fmla="*/ 0 h 65"/>
                <a:gd name="T8" fmla="*/ 6 w 45"/>
                <a:gd name="T9" fmla="*/ 9 h 65"/>
                <a:gd name="T10" fmla="*/ 0 w 45"/>
                <a:gd name="T11" fmla="*/ 33 h 65"/>
                <a:gd name="T12" fmla="*/ 22 w 45"/>
                <a:gd name="T13" fmla="*/ 65 h 65"/>
                <a:gd name="T14" fmla="*/ 22 w 45"/>
                <a:gd name="T15" fmla="*/ 11 h 65"/>
                <a:gd name="T16" fmla="*/ 31 w 45"/>
                <a:gd name="T17" fmla="*/ 32 h 65"/>
                <a:gd name="T18" fmla="*/ 22 w 45"/>
                <a:gd name="T19" fmla="*/ 54 h 65"/>
                <a:gd name="T20" fmla="*/ 14 w 45"/>
                <a:gd name="T21" fmla="*/ 33 h 65"/>
                <a:gd name="T22" fmla="*/ 22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2" y="65"/>
                  </a:moveTo>
                  <a:cubicBezTo>
                    <a:pt x="30" y="65"/>
                    <a:pt x="35" y="62"/>
                    <a:pt x="39" y="56"/>
                  </a:cubicBezTo>
                  <a:cubicBezTo>
                    <a:pt x="43" y="51"/>
                    <a:pt x="45" y="43"/>
                    <a:pt x="45" y="32"/>
                  </a:cubicBezTo>
                  <a:cubicBezTo>
                    <a:pt x="45" y="11"/>
                    <a:pt x="38" y="0"/>
                    <a:pt x="23" y="0"/>
                  </a:cubicBezTo>
                  <a:cubicBezTo>
                    <a:pt x="16" y="0"/>
                    <a:pt x="10"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11" name="Freeform 610"/>
            <p:cNvSpPr>
              <a:spLocks/>
            </p:cNvSpPr>
            <p:nvPr/>
          </p:nvSpPr>
          <p:spPr bwMode="auto">
            <a:xfrm>
              <a:off x="2195364" y="4097781"/>
              <a:ext cx="58634" cy="136728"/>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12" name="Freeform 611"/>
            <p:cNvSpPr>
              <a:spLocks/>
            </p:cNvSpPr>
            <p:nvPr/>
          </p:nvSpPr>
          <p:spPr bwMode="auto">
            <a:xfrm>
              <a:off x="2286979" y="4097781"/>
              <a:ext cx="55886" cy="136728"/>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13" name="Freeform 612"/>
            <p:cNvSpPr>
              <a:spLocks/>
            </p:cNvSpPr>
            <p:nvPr/>
          </p:nvSpPr>
          <p:spPr bwMode="auto">
            <a:xfrm>
              <a:off x="2375846" y="4097781"/>
              <a:ext cx="55886" cy="136728"/>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14" name="Freeform 613"/>
            <p:cNvSpPr>
              <a:spLocks noEditPoints="1"/>
            </p:cNvSpPr>
            <p:nvPr/>
          </p:nvSpPr>
          <p:spPr bwMode="auto">
            <a:xfrm>
              <a:off x="2464714" y="4097781"/>
              <a:ext cx="95280" cy="140398"/>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15" name="Freeform 614"/>
            <p:cNvSpPr>
              <a:spLocks/>
            </p:cNvSpPr>
            <p:nvPr/>
          </p:nvSpPr>
          <p:spPr bwMode="auto">
            <a:xfrm>
              <a:off x="2592061" y="4097781"/>
              <a:ext cx="58634" cy="136728"/>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16" name="Freeform 615"/>
            <p:cNvSpPr>
              <a:spLocks noEditPoints="1"/>
            </p:cNvSpPr>
            <p:nvPr/>
          </p:nvSpPr>
          <p:spPr bwMode="auto">
            <a:xfrm>
              <a:off x="2683676" y="4097781"/>
              <a:ext cx="95280" cy="140398"/>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17" name="Freeform 616"/>
            <p:cNvSpPr>
              <a:spLocks/>
            </p:cNvSpPr>
            <p:nvPr/>
          </p:nvSpPr>
          <p:spPr bwMode="auto">
            <a:xfrm>
              <a:off x="2811939" y="4097781"/>
              <a:ext cx="55886" cy="136728"/>
            </a:xfrm>
            <a:custGeom>
              <a:avLst/>
              <a:gdLst>
                <a:gd name="T0" fmla="*/ 26 w 26"/>
                <a:gd name="T1" fmla="*/ 0 h 63"/>
                <a:gd name="T2" fmla="*/ 18 w 26"/>
                <a:gd name="T3" fmla="*/ 0 h 63"/>
                <a:gd name="T4" fmla="*/ 10 w 26"/>
                <a:gd name="T5" fmla="*/ 6 h 63"/>
                <a:gd name="T6" fmla="*/ 0 w 26"/>
                <a:gd name="T7" fmla="*/ 10 h 63"/>
                <a:gd name="T8" fmla="*/ 0 w 26"/>
                <a:gd name="T9" fmla="*/ 21 h 63"/>
                <a:gd name="T10" fmla="*/ 3 w 26"/>
                <a:gd name="T11" fmla="*/ 21 h 63"/>
                <a:gd name="T12" fmla="*/ 7 w 26"/>
                <a:gd name="T13" fmla="*/ 19 h 63"/>
                <a:gd name="T14" fmla="*/ 10 w 26"/>
                <a:gd name="T15" fmla="*/ 17 h 63"/>
                <a:gd name="T16" fmla="*/ 12 w 26"/>
                <a:gd name="T17" fmla="*/ 15 h 63"/>
                <a:gd name="T18" fmla="*/ 12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2" y="4"/>
                    <a:pt x="10" y="6"/>
                  </a:cubicBezTo>
                  <a:cubicBezTo>
                    <a:pt x="6" y="7"/>
                    <a:pt x="3" y="9"/>
                    <a:pt x="0" y="10"/>
                  </a:cubicBezTo>
                  <a:cubicBezTo>
                    <a:pt x="0" y="10"/>
                    <a:pt x="0" y="10"/>
                    <a:pt x="0" y="21"/>
                  </a:cubicBezTo>
                  <a:cubicBezTo>
                    <a:pt x="1" y="21"/>
                    <a:pt x="1" y="21"/>
                    <a:pt x="3" y="21"/>
                  </a:cubicBezTo>
                  <a:cubicBezTo>
                    <a:pt x="4" y="20"/>
                    <a:pt x="5" y="20"/>
                    <a:pt x="7" y="19"/>
                  </a:cubicBezTo>
                  <a:cubicBezTo>
                    <a:pt x="8" y="19"/>
                    <a:pt x="9" y="18"/>
                    <a:pt x="10" y="17"/>
                  </a:cubicBezTo>
                  <a:cubicBezTo>
                    <a:pt x="11" y="17"/>
                    <a:pt x="11" y="16"/>
                    <a:pt x="12" y="15"/>
                  </a:cubicBezTo>
                  <a:cubicBezTo>
                    <a:pt x="12" y="15"/>
                    <a:pt x="12" y="15"/>
                    <a:pt x="12" y="63"/>
                  </a:cubicBezTo>
                  <a:cubicBezTo>
                    <a:pt x="12" y="63"/>
                    <a:pt x="12" y="63"/>
                    <a:pt x="26" y="63"/>
                  </a:cubicBezTo>
                  <a:cubicBezTo>
                    <a:pt x="26" y="63"/>
                    <a:pt x="26" y="63"/>
                    <a:pt x="2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18" name="Freeform 617"/>
            <p:cNvSpPr>
              <a:spLocks noEditPoints="1"/>
            </p:cNvSpPr>
            <p:nvPr/>
          </p:nvSpPr>
          <p:spPr bwMode="auto">
            <a:xfrm>
              <a:off x="2900806" y="4097781"/>
              <a:ext cx="95280" cy="140398"/>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19" name="Freeform 618"/>
            <p:cNvSpPr>
              <a:spLocks noEditPoints="1"/>
            </p:cNvSpPr>
            <p:nvPr/>
          </p:nvSpPr>
          <p:spPr bwMode="auto">
            <a:xfrm>
              <a:off x="3028151" y="4097781"/>
              <a:ext cx="96197" cy="140398"/>
            </a:xfrm>
            <a:custGeom>
              <a:avLst/>
              <a:gdLst>
                <a:gd name="T0" fmla="*/ 22 w 44"/>
                <a:gd name="T1" fmla="*/ 65 h 65"/>
                <a:gd name="T2" fmla="*/ 39 w 44"/>
                <a:gd name="T3" fmla="*/ 56 h 65"/>
                <a:gd name="T4" fmla="*/ 44 w 44"/>
                <a:gd name="T5" fmla="*/ 32 h 65"/>
                <a:gd name="T6" fmla="*/ 23 w 44"/>
                <a:gd name="T7" fmla="*/ 0 h 65"/>
                <a:gd name="T8" fmla="*/ 5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6" y="54"/>
                    <a:pt x="14" y="47"/>
                    <a:pt x="14" y="33"/>
                  </a:cubicBezTo>
                  <a:cubicBezTo>
                    <a:pt x="14" y="19"/>
                    <a:pt x="16"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20" name="Freeform 619"/>
            <p:cNvSpPr>
              <a:spLocks noEditPoints="1"/>
            </p:cNvSpPr>
            <p:nvPr/>
          </p:nvSpPr>
          <p:spPr bwMode="auto">
            <a:xfrm>
              <a:off x="3154583" y="4097781"/>
              <a:ext cx="97113" cy="140398"/>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21" name="Freeform 620"/>
            <p:cNvSpPr>
              <a:spLocks/>
            </p:cNvSpPr>
            <p:nvPr/>
          </p:nvSpPr>
          <p:spPr bwMode="auto">
            <a:xfrm>
              <a:off x="748751" y="4262040"/>
              <a:ext cx="43060" cy="96352"/>
            </a:xfrm>
            <a:custGeom>
              <a:avLst/>
              <a:gdLst>
                <a:gd name="T0" fmla="*/ 12 w 20"/>
                <a:gd name="T1" fmla="*/ 0 h 44"/>
                <a:gd name="T2" fmla="*/ 4 w 20"/>
                <a:gd name="T3" fmla="*/ 6 h 44"/>
                <a:gd name="T4" fmla="*/ 0 w 20"/>
                <a:gd name="T5" fmla="*/ 7 h 44"/>
                <a:gd name="T6" fmla="*/ 5 w 20"/>
                <a:gd name="T7" fmla="*/ 16 h 44"/>
                <a:gd name="T8" fmla="*/ 6 w 20"/>
                <a:gd name="T9" fmla="*/ 15 h 44"/>
                <a:gd name="T10" fmla="*/ 6 w 20"/>
                <a:gd name="T11" fmla="*/ 20 h 44"/>
                <a:gd name="T12" fmla="*/ 20 w 20"/>
                <a:gd name="T13" fmla="*/ 44 h 44"/>
                <a:gd name="T14" fmla="*/ 20 w 20"/>
                <a:gd name="T15" fmla="*/ 0 h 44"/>
                <a:gd name="T16" fmla="*/ 12 w 20"/>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4">
                  <a:moveTo>
                    <a:pt x="12" y="0"/>
                  </a:moveTo>
                  <a:cubicBezTo>
                    <a:pt x="9" y="2"/>
                    <a:pt x="6" y="4"/>
                    <a:pt x="4" y="6"/>
                  </a:cubicBezTo>
                  <a:cubicBezTo>
                    <a:pt x="2" y="6"/>
                    <a:pt x="1" y="7"/>
                    <a:pt x="0" y="7"/>
                  </a:cubicBezTo>
                  <a:cubicBezTo>
                    <a:pt x="1" y="10"/>
                    <a:pt x="3" y="13"/>
                    <a:pt x="5" y="16"/>
                  </a:cubicBezTo>
                  <a:cubicBezTo>
                    <a:pt x="5" y="16"/>
                    <a:pt x="6" y="15"/>
                    <a:pt x="6" y="15"/>
                  </a:cubicBezTo>
                  <a:cubicBezTo>
                    <a:pt x="6" y="15"/>
                    <a:pt x="6" y="15"/>
                    <a:pt x="6" y="20"/>
                  </a:cubicBezTo>
                  <a:cubicBezTo>
                    <a:pt x="11" y="28"/>
                    <a:pt x="16" y="36"/>
                    <a:pt x="20" y="44"/>
                  </a:cubicBezTo>
                  <a:cubicBezTo>
                    <a:pt x="20" y="35"/>
                    <a:pt x="20" y="21"/>
                    <a:pt x="20" y="0"/>
                  </a:cubicBezTo>
                  <a:lnTo>
                    <a:pt x="12" y="0"/>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22" name="Freeform 621"/>
            <p:cNvSpPr>
              <a:spLocks noEditPoints="1"/>
            </p:cNvSpPr>
            <p:nvPr/>
          </p:nvSpPr>
          <p:spPr bwMode="auto">
            <a:xfrm>
              <a:off x="824793" y="4262040"/>
              <a:ext cx="95280" cy="139481"/>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2"/>
                    <a:pt x="38" y="56"/>
                  </a:cubicBezTo>
                  <a:cubicBezTo>
                    <a:pt x="42" y="51"/>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grp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23" name="Freeform 622"/>
            <p:cNvSpPr>
              <a:spLocks noEditPoints="1"/>
            </p:cNvSpPr>
            <p:nvPr/>
          </p:nvSpPr>
          <p:spPr bwMode="auto">
            <a:xfrm>
              <a:off x="953054" y="4262040"/>
              <a:ext cx="95280" cy="139481"/>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2"/>
                    <a:pt x="38" y="56"/>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grp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24" name="Freeform 623"/>
            <p:cNvSpPr>
              <a:spLocks/>
            </p:cNvSpPr>
            <p:nvPr/>
          </p:nvSpPr>
          <p:spPr bwMode="auto">
            <a:xfrm>
              <a:off x="1080399" y="4262040"/>
              <a:ext cx="56801" cy="137646"/>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25" name="Freeform 624"/>
            <p:cNvSpPr>
              <a:spLocks/>
            </p:cNvSpPr>
            <p:nvPr/>
          </p:nvSpPr>
          <p:spPr bwMode="auto">
            <a:xfrm>
              <a:off x="1733621" y="4262040"/>
              <a:ext cx="55886" cy="137646"/>
            </a:xfrm>
            <a:custGeom>
              <a:avLst/>
              <a:gdLst>
                <a:gd name="T0" fmla="*/ 26 w 26"/>
                <a:gd name="T1" fmla="*/ 0 h 63"/>
                <a:gd name="T2" fmla="*/ 18 w 26"/>
                <a:gd name="T3" fmla="*/ 0 h 63"/>
                <a:gd name="T4" fmla="*/ 10 w 26"/>
                <a:gd name="T5" fmla="*/ 6 h 63"/>
                <a:gd name="T6" fmla="*/ 0 w 26"/>
                <a:gd name="T7" fmla="*/ 9 h 63"/>
                <a:gd name="T8" fmla="*/ 0 w 26"/>
                <a:gd name="T9" fmla="*/ 20 h 63"/>
                <a:gd name="T10" fmla="*/ 3 w 26"/>
                <a:gd name="T11" fmla="*/ 20 h 63"/>
                <a:gd name="T12" fmla="*/ 7 w 26"/>
                <a:gd name="T13" fmla="*/ 19 h 63"/>
                <a:gd name="T14" fmla="*/ 10 w 26"/>
                <a:gd name="T15" fmla="*/ 17 h 63"/>
                <a:gd name="T16" fmla="*/ 13 w 26"/>
                <a:gd name="T17" fmla="*/ 15 h 63"/>
                <a:gd name="T18" fmla="*/ 13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26" name="Freeform 625"/>
            <p:cNvSpPr>
              <a:spLocks noEditPoints="1"/>
            </p:cNvSpPr>
            <p:nvPr/>
          </p:nvSpPr>
          <p:spPr bwMode="auto">
            <a:xfrm>
              <a:off x="1822487" y="4262040"/>
              <a:ext cx="95280" cy="139481"/>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1"/>
                    <a:pt x="44" y="42"/>
                    <a:pt x="44" y="32"/>
                  </a:cubicBezTo>
                  <a:cubicBezTo>
                    <a:pt x="44" y="11"/>
                    <a:pt x="38" y="0"/>
                    <a:pt x="23" y="0"/>
                  </a:cubicBezTo>
                  <a:cubicBezTo>
                    <a:pt x="16" y="0"/>
                    <a:pt x="9" y="3"/>
                    <a:pt x="6" y="8"/>
                  </a:cubicBezTo>
                  <a:cubicBezTo>
                    <a:pt x="2" y="15"/>
                    <a:pt x="0" y="22"/>
                    <a:pt x="0" y="33"/>
                  </a:cubicBezTo>
                  <a:cubicBezTo>
                    <a:pt x="0" y="54"/>
                    <a:pt x="7" y="64"/>
                    <a:pt x="22" y="64"/>
                  </a:cubicBezTo>
                  <a:cubicBezTo>
                    <a:pt x="30" y="64"/>
                    <a:pt x="35" y="62"/>
                    <a:pt x="39" y="56"/>
                  </a:cubicBezTo>
                  <a:close/>
                  <a:moveTo>
                    <a:pt x="22" y="53"/>
                  </a:moveTo>
                  <a:cubicBezTo>
                    <a:pt x="17" y="53"/>
                    <a:pt x="14" y="47"/>
                    <a:pt x="14" y="33"/>
                  </a:cubicBezTo>
                  <a:cubicBezTo>
                    <a:pt x="14" y="18"/>
                    <a:pt x="17" y="11"/>
                    <a:pt x="22" y="11"/>
                  </a:cubicBezTo>
                  <a:cubicBezTo>
                    <a:pt x="28" y="11"/>
                    <a:pt x="30" y="18"/>
                    <a:pt x="30" y="32"/>
                  </a:cubicBezTo>
                  <a:cubicBezTo>
                    <a:pt x="30" y="47"/>
                    <a:pt x="28"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27" name="Freeform 626"/>
            <p:cNvSpPr>
              <a:spLocks/>
            </p:cNvSpPr>
            <p:nvPr/>
          </p:nvSpPr>
          <p:spPr bwMode="auto">
            <a:xfrm>
              <a:off x="1950751" y="4262040"/>
              <a:ext cx="58634" cy="137646"/>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28" name="Freeform 627"/>
            <p:cNvSpPr>
              <a:spLocks/>
            </p:cNvSpPr>
            <p:nvPr/>
          </p:nvSpPr>
          <p:spPr bwMode="auto">
            <a:xfrm>
              <a:off x="2384092" y="4262040"/>
              <a:ext cx="58634" cy="137646"/>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8 w 27"/>
                <a:gd name="T11" fmla="*/ 0 h 63"/>
                <a:gd name="T12" fmla="*/ 10 w 27"/>
                <a:gd name="T13" fmla="*/ 6 h 63"/>
                <a:gd name="T14" fmla="*/ 0 w 27"/>
                <a:gd name="T15" fmla="*/ 9 h 63"/>
                <a:gd name="T16" fmla="*/ 0 w 27"/>
                <a:gd name="T17" fmla="*/ 20 h 63"/>
                <a:gd name="T18" fmla="*/ 4 w 27"/>
                <a:gd name="T19" fmla="*/ 20 h 63"/>
                <a:gd name="T20" fmla="*/ 8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8" y="19"/>
                    <a:pt x="9" y="18"/>
                    <a:pt x="10" y="17"/>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29" name="Freeform 628"/>
            <p:cNvSpPr>
              <a:spLocks/>
            </p:cNvSpPr>
            <p:nvPr/>
          </p:nvSpPr>
          <p:spPr bwMode="auto">
            <a:xfrm>
              <a:off x="2475708" y="4262040"/>
              <a:ext cx="55886" cy="137646"/>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30" name="Freeform 629"/>
            <p:cNvSpPr>
              <a:spLocks/>
            </p:cNvSpPr>
            <p:nvPr/>
          </p:nvSpPr>
          <p:spPr bwMode="auto">
            <a:xfrm>
              <a:off x="2780790" y="4262040"/>
              <a:ext cx="58634" cy="137646"/>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31" name="Freeform 630"/>
            <p:cNvSpPr>
              <a:spLocks noEditPoints="1"/>
            </p:cNvSpPr>
            <p:nvPr/>
          </p:nvSpPr>
          <p:spPr bwMode="auto">
            <a:xfrm>
              <a:off x="2870572" y="4262040"/>
              <a:ext cx="97113" cy="139481"/>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2"/>
                    <a:pt x="39" y="56"/>
                  </a:cubicBezTo>
                  <a:cubicBezTo>
                    <a:pt x="43" y="51"/>
                    <a:pt x="45" y="42"/>
                    <a:pt x="45" y="32"/>
                  </a:cubicBezTo>
                  <a:cubicBezTo>
                    <a:pt x="45" y="11"/>
                    <a:pt x="38" y="0"/>
                    <a:pt x="23" y="0"/>
                  </a:cubicBezTo>
                  <a:cubicBezTo>
                    <a:pt x="16" y="0"/>
                    <a:pt x="10" y="3"/>
                    <a:pt x="6" y="8"/>
                  </a:cubicBezTo>
                  <a:cubicBezTo>
                    <a:pt x="2" y="15"/>
                    <a:pt x="0" y="22"/>
                    <a:pt x="0" y="33"/>
                  </a:cubicBezTo>
                  <a:cubicBezTo>
                    <a:pt x="0" y="54"/>
                    <a:pt x="8" y="64"/>
                    <a:pt x="23" y="64"/>
                  </a:cubicBezTo>
                  <a:close/>
                  <a:moveTo>
                    <a:pt x="23" y="11"/>
                  </a:moveTo>
                  <a:cubicBezTo>
                    <a:pt x="28" y="11"/>
                    <a:pt x="31" y="18"/>
                    <a:pt x="31" y="32"/>
                  </a:cubicBezTo>
                  <a:cubicBezTo>
                    <a:pt x="31" y="47"/>
                    <a:pt x="28" y="53"/>
                    <a:pt x="23" y="53"/>
                  </a:cubicBezTo>
                  <a:cubicBezTo>
                    <a:pt x="17" y="53"/>
                    <a:pt x="14" y="47"/>
                    <a:pt x="14" y="33"/>
                  </a:cubicBezTo>
                  <a:cubicBezTo>
                    <a:pt x="14" y="18"/>
                    <a:pt x="17" y="11"/>
                    <a:pt x="23"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32" name="Freeform 631"/>
            <p:cNvSpPr>
              <a:spLocks/>
            </p:cNvSpPr>
            <p:nvPr/>
          </p:nvSpPr>
          <p:spPr bwMode="auto">
            <a:xfrm>
              <a:off x="2997918" y="4262040"/>
              <a:ext cx="58634" cy="137646"/>
            </a:xfrm>
            <a:custGeom>
              <a:avLst/>
              <a:gdLst>
                <a:gd name="T0" fmla="*/ 13 w 27"/>
                <a:gd name="T1" fmla="*/ 63 h 63"/>
                <a:gd name="T2" fmla="*/ 27 w 27"/>
                <a:gd name="T3" fmla="*/ 63 h 63"/>
                <a:gd name="T4" fmla="*/ 27 w 27"/>
                <a:gd name="T5" fmla="*/ 0 h 63"/>
                <a:gd name="T6" fmla="*/ 19 w 27"/>
                <a:gd name="T7" fmla="*/ 0 h 63"/>
                <a:gd name="T8" fmla="*/ 10 w 27"/>
                <a:gd name="T9" fmla="*/ 6 h 63"/>
                <a:gd name="T10" fmla="*/ 0 w 27"/>
                <a:gd name="T11" fmla="*/ 9 h 63"/>
                <a:gd name="T12" fmla="*/ 0 w 27"/>
                <a:gd name="T13" fmla="*/ 20 h 63"/>
                <a:gd name="T14" fmla="*/ 4 w 27"/>
                <a:gd name="T15" fmla="*/ 20 h 63"/>
                <a:gd name="T16" fmla="*/ 8 w 27"/>
                <a:gd name="T17" fmla="*/ 19 h 63"/>
                <a:gd name="T18" fmla="*/ 10 w 27"/>
                <a:gd name="T19" fmla="*/ 17 h 63"/>
                <a:gd name="T20" fmla="*/ 13 w 27"/>
                <a:gd name="T21" fmla="*/ 15 h 63"/>
                <a:gd name="T22" fmla="*/ 13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3" y="63"/>
                  </a:moveTo>
                  <a:cubicBezTo>
                    <a:pt x="13" y="63"/>
                    <a:pt x="13" y="63"/>
                    <a:pt x="27" y="63"/>
                  </a:cubicBez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10" y="18"/>
                    <a:pt x="10" y="17"/>
                  </a:cubicBezTo>
                  <a:cubicBezTo>
                    <a:pt x="11" y="17"/>
                    <a:pt x="12" y="16"/>
                    <a:pt x="13" y="15"/>
                  </a:cubicBezTo>
                  <a:cubicBezTo>
                    <a:pt x="13" y="15"/>
                    <a:pt x="13" y="15"/>
                    <a:pt x="13"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33" name="Freeform 632"/>
            <p:cNvSpPr>
              <a:spLocks noEditPoints="1"/>
            </p:cNvSpPr>
            <p:nvPr/>
          </p:nvSpPr>
          <p:spPr bwMode="auto">
            <a:xfrm>
              <a:off x="3089534" y="4262040"/>
              <a:ext cx="95280" cy="139481"/>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2" y="15"/>
                    <a:pt x="0" y="22"/>
                    <a:pt x="0" y="33"/>
                  </a:cubicBezTo>
                  <a:cubicBezTo>
                    <a:pt x="0" y="54"/>
                    <a:pt x="7" y="64"/>
                    <a:pt x="22" y="64"/>
                  </a:cubicBezTo>
                  <a:cubicBezTo>
                    <a:pt x="29" y="64"/>
                    <a:pt x="35" y="62"/>
                    <a:pt x="38" y="56"/>
                  </a:cubicBezTo>
                  <a:close/>
                  <a:moveTo>
                    <a:pt x="14" y="33"/>
                  </a:moveTo>
                  <a:cubicBezTo>
                    <a:pt x="14" y="18"/>
                    <a:pt x="16" y="11"/>
                    <a:pt x="22" y="11"/>
                  </a:cubicBezTo>
                  <a:cubicBezTo>
                    <a:pt x="27" y="11"/>
                    <a:pt x="30" y="18"/>
                    <a:pt x="30" y="32"/>
                  </a:cubicBezTo>
                  <a:cubicBezTo>
                    <a:pt x="30" y="47"/>
                    <a:pt x="27" y="53"/>
                    <a:pt x="22" y="53"/>
                  </a:cubicBezTo>
                  <a:cubicBezTo>
                    <a:pt x="16" y="53"/>
                    <a:pt x="14" y="47"/>
                    <a:pt x="14" y="3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34" name="Freeform 633"/>
            <p:cNvSpPr>
              <a:spLocks/>
            </p:cNvSpPr>
            <p:nvPr/>
          </p:nvSpPr>
          <p:spPr bwMode="auto">
            <a:xfrm>
              <a:off x="3216879" y="4262040"/>
              <a:ext cx="56801" cy="137646"/>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35" name="Freeform 634"/>
            <p:cNvSpPr>
              <a:spLocks/>
            </p:cNvSpPr>
            <p:nvPr/>
          </p:nvSpPr>
          <p:spPr bwMode="auto">
            <a:xfrm>
              <a:off x="3305747" y="4262040"/>
              <a:ext cx="78790" cy="123882"/>
            </a:xfrm>
            <a:custGeom>
              <a:avLst/>
              <a:gdLst>
                <a:gd name="T0" fmla="*/ 6 w 36"/>
                <a:gd name="T1" fmla="*/ 8 h 57"/>
                <a:gd name="T2" fmla="*/ 0 w 36"/>
                <a:gd name="T3" fmla="*/ 33 h 57"/>
                <a:gd name="T4" fmla="*/ 6 w 36"/>
                <a:gd name="T5" fmla="*/ 57 h 57"/>
                <a:gd name="T6" fmla="*/ 15 w 36"/>
                <a:gd name="T7" fmla="*/ 43 h 57"/>
                <a:gd name="T8" fmla="*/ 14 w 36"/>
                <a:gd name="T9" fmla="*/ 33 h 57"/>
                <a:gd name="T10" fmla="*/ 22 w 36"/>
                <a:gd name="T11" fmla="*/ 11 h 57"/>
                <a:gd name="T12" fmla="*/ 29 w 36"/>
                <a:gd name="T13" fmla="*/ 18 h 57"/>
                <a:gd name="T14" fmla="*/ 36 w 36"/>
                <a:gd name="T15" fmla="*/ 4 h 57"/>
                <a:gd name="T16" fmla="*/ 23 w 36"/>
                <a:gd name="T17" fmla="*/ 0 h 57"/>
                <a:gd name="T18" fmla="*/ 6 w 36"/>
                <a:gd name="T19"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7">
                  <a:moveTo>
                    <a:pt x="6" y="8"/>
                  </a:moveTo>
                  <a:cubicBezTo>
                    <a:pt x="2" y="15"/>
                    <a:pt x="0" y="22"/>
                    <a:pt x="0" y="33"/>
                  </a:cubicBezTo>
                  <a:cubicBezTo>
                    <a:pt x="0" y="44"/>
                    <a:pt x="2" y="52"/>
                    <a:pt x="6" y="57"/>
                  </a:cubicBezTo>
                  <a:cubicBezTo>
                    <a:pt x="9" y="52"/>
                    <a:pt x="12" y="48"/>
                    <a:pt x="15" y="43"/>
                  </a:cubicBezTo>
                  <a:cubicBezTo>
                    <a:pt x="14" y="40"/>
                    <a:pt x="14" y="37"/>
                    <a:pt x="14" y="33"/>
                  </a:cubicBezTo>
                  <a:cubicBezTo>
                    <a:pt x="14" y="18"/>
                    <a:pt x="17" y="11"/>
                    <a:pt x="22" y="11"/>
                  </a:cubicBezTo>
                  <a:cubicBezTo>
                    <a:pt x="25" y="11"/>
                    <a:pt x="28" y="13"/>
                    <a:pt x="29" y="18"/>
                  </a:cubicBezTo>
                  <a:cubicBezTo>
                    <a:pt x="31" y="13"/>
                    <a:pt x="34" y="9"/>
                    <a:pt x="36" y="4"/>
                  </a:cubicBezTo>
                  <a:cubicBezTo>
                    <a:pt x="33" y="2"/>
                    <a:pt x="28" y="0"/>
                    <a:pt x="23" y="0"/>
                  </a:cubicBezTo>
                  <a:cubicBezTo>
                    <a:pt x="16" y="0"/>
                    <a:pt x="9" y="3"/>
                    <a:pt x="6" y="8"/>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36" name="Freeform 635"/>
            <p:cNvSpPr>
              <a:spLocks/>
            </p:cNvSpPr>
            <p:nvPr/>
          </p:nvSpPr>
          <p:spPr bwMode="auto">
            <a:xfrm>
              <a:off x="839450" y="4427215"/>
              <a:ext cx="67795" cy="91764"/>
            </a:xfrm>
            <a:custGeom>
              <a:avLst/>
              <a:gdLst>
                <a:gd name="T0" fmla="*/ 10 w 31"/>
                <a:gd name="T1" fmla="*/ 0 h 42"/>
                <a:gd name="T2" fmla="*/ 0 w 31"/>
                <a:gd name="T3" fmla="*/ 2 h 42"/>
                <a:gd name="T4" fmla="*/ 7 w 31"/>
                <a:gd name="T5" fmla="*/ 11 h 42"/>
                <a:gd name="T6" fmla="*/ 9 w 31"/>
                <a:gd name="T7" fmla="*/ 11 h 42"/>
                <a:gd name="T8" fmla="*/ 17 w 31"/>
                <a:gd name="T9" fmla="*/ 25 h 42"/>
                <a:gd name="T10" fmla="*/ 30 w 31"/>
                <a:gd name="T11" fmla="*/ 42 h 42"/>
                <a:gd name="T12" fmla="*/ 31 w 31"/>
                <a:gd name="T13" fmla="*/ 32 h 42"/>
                <a:gd name="T14" fmla="*/ 10 w 31"/>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42">
                  <a:moveTo>
                    <a:pt x="10" y="0"/>
                  </a:moveTo>
                  <a:cubicBezTo>
                    <a:pt x="7" y="0"/>
                    <a:pt x="3" y="1"/>
                    <a:pt x="0" y="2"/>
                  </a:cubicBezTo>
                  <a:cubicBezTo>
                    <a:pt x="3" y="5"/>
                    <a:pt x="5" y="8"/>
                    <a:pt x="7" y="11"/>
                  </a:cubicBezTo>
                  <a:cubicBezTo>
                    <a:pt x="8" y="11"/>
                    <a:pt x="8" y="11"/>
                    <a:pt x="9" y="11"/>
                  </a:cubicBezTo>
                  <a:cubicBezTo>
                    <a:pt x="14" y="11"/>
                    <a:pt x="16" y="15"/>
                    <a:pt x="17" y="25"/>
                  </a:cubicBezTo>
                  <a:cubicBezTo>
                    <a:pt x="21" y="31"/>
                    <a:pt x="26" y="37"/>
                    <a:pt x="30" y="42"/>
                  </a:cubicBezTo>
                  <a:cubicBezTo>
                    <a:pt x="31" y="39"/>
                    <a:pt x="31" y="36"/>
                    <a:pt x="31" y="32"/>
                  </a:cubicBezTo>
                  <a:cubicBezTo>
                    <a:pt x="31" y="11"/>
                    <a:pt x="25" y="0"/>
                    <a:pt x="10"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37" name="Freeform 636"/>
            <p:cNvSpPr>
              <a:spLocks/>
            </p:cNvSpPr>
            <p:nvPr/>
          </p:nvSpPr>
          <p:spPr bwMode="auto">
            <a:xfrm>
              <a:off x="1857797" y="4427215"/>
              <a:ext cx="55886" cy="134893"/>
            </a:xfrm>
            <a:custGeom>
              <a:avLst/>
              <a:gdLst>
                <a:gd name="T0" fmla="*/ 7 w 26"/>
                <a:gd name="T1" fmla="*/ 18 h 62"/>
                <a:gd name="T2" fmla="*/ 10 w 26"/>
                <a:gd name="T3" fmla="*/ 16 h 62"/>
                <a:gd name="T4" fmla="*/ 13 w 26"/>
                <a:gd name="T5" fmla="*/ 15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38" name="Freeform 637"/>
            <p:cNvSpPr>
              <a:spLocks noEditPoints="1"/>
            </p:cNvSpPr>
            <p:nvPr/>
          </p:nvSpPr>
          <p:spPr bwMode="auto">
            <a:xfrm>
              <a:off x="2896224" y="4427215"/>
              <a:ext cx="95280" cy="139481"/>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39" name="Freeform 638"/>
            <p:cNvSpPr>
              <a:spLocks/>
            </p:cNvSpPr>
            <p:nvPr/>
          </p:nvSpPr>
          <p:spPr bwMode="auto">
            <a:xfrm>
              <a:off x="3024488" y="4427215"/>
              <a:ext cx="55886" cy="134893"/>
            </a:xfrm>
            <a:custGeom>
              <a:avLst/>
              <a:gdLst>
                <a:gd name="T0" fmla="*/ 10 w 26"/>
                <a:gd name="T1" fmla="*/ 5 h 62"/>
                <a:gd name="T2" fmla="*/ 0 w 26"/>
                <a:gd name="T3" fmla="*/ 9 h 62"/>
                <a:gd name="T4" fmla="*/ 0 w 26"/>
                <a:gd name="T5" fmla="*/ 20 h 62"/>
                <a:gd name="T6" fmla="*/ 4 w 26"/>
                <a:gd name="T7" fmla="*/ 20 h 62"/>
                <a:gd name="T8" fmla="*/ 7 w 26"/>
                <a:gd name="T9" fmla="*/ 18 h 62"/>
                <a:gd name="T10" fmla="*/ 10 w 26"/>
                <a:gd name="T11" fmla="*/ 16 h 62"/>
                <a:gd name="T12" fmla="*/ 13 w 26"/>
                <a:gd name="T13" fmla="*/ 15 h 62"/>
                <a:gd name="T14" fmla="*/ 13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40" name="Freeform 639"/>
            <p:cNvSpPr>
              <a:spLocks noEditPoints="1"/>
            </p:cNvSpPr>
            <p:nvPr/>
          </p:nvSpPr>
          <p:spPr bwMode="auto">
            <a:xfrm>
              <a:off x="3113352" y="4427215"/>
              <a:ext cx="95280" cy="139481"/>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41" name="Freeform 640"/>
            <p:cNvSpPr>
              <a:spLocks/>
            </p:cNvSpPr>
            <p:nvPr/>
          </p:nvSpPr>
          <p:spPr bwMode="auto">
            <a:xfrm>
              <a:off x="3240700" y="4427215"/>
              <a:ext cx="50389" cy="67904"/>
            </a:xfrm>
            <a:custGeom>
              <a:avLst/>
              <a:gdLst>
                <a:gd name="T0" fmla="*/ 6 w 23"/>
                <a:gd name="T1" fmla="*/ 8 h 31"/>
                <a:gd name="T2" fmla="*/ 0 w 23"/>
                <a:gd name="T3" fmla="*/ 31 h 31"/>
                <a:gd name="T4" fmla="*/ 23 w 23"/>
                <a:gd name="T5" fmla="*/ 0 h 31"/>
                <a:gd name="T6" fmla="*/ 6 w 23"/>
                <a:gd name="T7" fmla="*/ 8 h 31"/>
              </a:gdLst>
              <a:ahLst/>
              <a:cxnLst>
                <a:cxn ang="0">
                  <a:pos x="T0" y="T1"/>
                </a:cxn>
                <a:cxn ang="0">
                  <a:pos x="T2" y="T3"/>
                </a:cxn>
                <a:cxn ang="0">
                  <a:pos x="T4" y="T5"/>
                </a:cxn>
                <a:cxn ang="0">
                  <a:pos x="T6" y="T7"/>
                </a:cxn>
              </a:cxnLst>
              <a:rect l="0" t="0" r="r" b="b"/>
              <a:pathLst>
                <a:path w="23" h="31">
                  <a:moveTo>
                    <a:pt x="6" y="8"/>
                  </a:moveTo>
                  <a:cubicBezTo>
                    <a:pt x="2" y="14"/>
                    <a:pt x="1" y="21"/>
                    <a:pt x="0" y="31"/>
                  </a:cubicBezTo>
                  <a:cubicBezTo>
                    <a:pt x="8" y="21"/>
                    <a:pt x="16" y="11"/>
                    <a:pt x="23" y="0"/>
                  </a:cubicBezTo>
                  <a:cubicBezTo>
                    <a:pt x="16" y="0"/>
                    <a:pt x="10" y="3"/>
                    <a:pt x="6" y="8"/>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42" name="Freeform 641"/>
            <p:cNvSpPr>
              <a:spLocks noEditPoints="1"/>
            </p:cNvSpPr>
            <p:nvPr/>
          </p:nvSpPr>
          <p:spPr bwMode="auto">
            <a:xfrm>
              <a:off x="1143614" y="4590555"/>
              <a:ext cx="97113" cy="141317"/>
            </a:xfrm>
            <a:custGeom>
              <a:avLst/>
              <a:gdLst>
                <a:gd name="T0" fmla="*/ 23 w 45"/>
                <a:gd name="T1" fmla="*/ 0 h 65"/>
                <a:gd name="T2" fmla="*/ 6 w 45"/>
                <a:gd name="T3" fmla="*/ 9 h 65"/>
                <a:gd name="T4" fmla="*/ 0 w 45"/>
                <a:gd name="T5" fmla="*/ 33 h 65"/>
                <a:gd name="T6" fmla="*/ 22 w 45"/>
                <a:gd name="T7" fmla="*/ 65 h 65"/>
                <a:gd name="T8" fmla="*/ 39 w 45"/>
                <a:gd name="T9" fmla="*/ 56 h 65"/>
                <a:gd name="T10" fmla="*/ 45 w 45"/>
                <a:gd name="T11" fmla="*/ 32 h 65"/>
                <a:gd name="T12" fmla="*/ 23 w 45"/>
                <a:gd name="T13" fmla="*/ 0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9" y="3"/>
                    <a:pt x="6" y="9"/>
                  </a:cubicBezTo>
                  <a:cubicBezTo>
                    <a:pt x="2" y="15"/>
                    <a:pt x="0" y="22"/>
                    <a:pt x="0" y="33"/>
                  </a:cubicBezTo>
                  <a:cubicBezTo>
                    <a:pt x="0" y="55"/>
                    <a:pt x="8" y="65"/>
                    <a:pt x="22" y="65"/>
                  </a:cubicBezTo>
                  <a:cubicBezTo>
                    <a:pt x="30" y="65"/>
                    <a:pt x="35" y="62"/>
                    <a:pt x="39" y="56"/>
                  </a:cubicBezTo>
                  <a:cubicBezTo>
                    <a:pt x="43" y="51"/>
                    <a:pt x="45" y="43"/>
                    <a:pt x="45" y="32"/>
                  </a:cubicBezTo>
                  <a:cubicBezTo>
                    <a:pt x="45"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43" name="Freeform 642"/>
            <p:cNvSpPr>
              <a:spLocks/>
            </p:cNvSpPr>
            <p:nvPr/>
          </p:nvSpPr>
          <p:spPr bwMode="auto">
            <a:xfrm>
              <a:off x="1271876" y="4590555"/>
              <a:ext cx="57719" cy="136728"/>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44" name="Freeform 643"/>
            <p:cNvSpPr>
              <a:spLocks noEditPoints="1"/>
            </p:cNvSpPr>
            <p:nvPr/>
          </p:nvSpPr>
          <p:spPr bwMode="auto">
            <a:xfrm>
              <a:off x="1360745" y="4590555"/>
              <a:ext cx="97113" cy="141317"/>
            </a:xfrm>
            <a:custGeom>
              <a:avLst/>
              <a:gdLst>
                <a:gd name="T0" fmla="*/ 23 w 45"/>
                <a:gd name="T1" fmla="*/ 0 h 65"/>
                <a:gd name="T2" fmla="*/ 6 w 45"/>
                <a:gd name="T3" fmla="*/ 9 h 65"/>
                <a:gd name="T4" fmla="*/ 0 w 45"/>
                <a:gd name="T5" fmla="*/ 33 h 65"/>
                <a:gd name="T6" fmla="*/ 23 w 45"/>
                <a:gd name="T7" fmla="*/ 65 h 65"/>
                <a:gd name="T8" fmla="*/ 39 w 45"/>
                <a:gd name="T9" fmla="*/ 56 h 65"/>
                <a:gd name="T10" fmla="*/ 45 w 45"/>
                <a:gd name="T11" fmla="*/ 32 h 65"/>
                <a:gd name="T12" fmla="*/ 23 w 45"/>
                <a:gd name="T13" fmla="*/ 0 h 65"/>
                <a:gd name="T14" fmla="*/ 23 w 45"/>
                <a:gd name="T15" fmla="*/ 54 h 65"/>
                <a:gd name="T16" fmla="*/ 14 w 45"/>
                <a:gd name="T17" fmla="*/ 33 h 65"/>
                <a:gd name="T18" fmla="*/ 23 w 45"/>
                <a:gd name="T19" fmla="*/ 11 h 65"/>
                <a:gd name="T20" fmla="*/ 31 w 45"/>
                <a:gd name="T21" fmla="*/ 32 h 65"/>
                <a:gd name="T22" fmla="*/ 23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2"/>
                    <a:pt x="0" y="33"/>
                  </a:cubicBezTo>
                  <a:cubicBezTo>
                    <a:pt x="0" y="55"/>
                    <a:pt x="8" y="65"/>
                    <a:pt x="23" y="65"/>
                  </a:cubicBezTo>
                  <a:cubicBezTo>
                    <a:pt x="30" y="65"/>
                    <a:pt x="35" y="62"/>
                    <a:pt x="39" y="56"/>
                  </a:cubicBezTo>
                  <a:cubicBezTo>
                    <a:pt x="43" y="51"/>
                    <a:pt x="45" y="43"/>
                    <a:pt x="45" y="32"/>
                  </a:cubicBezTo>
                  <a:cubicBezTo>
                    <a:pt x="45" y="11"/>
                    <a:pt x="38" y="0"/>
                    <a:pt x="23" y="0"/>
                  </a:cubicBezTo>
                  <a:close/>
                  <a:moveTo>
                    <a:pt x="23" y="54"/>
                  </a:moveTo>
                  <a:cubicBezTo>
                    <a:pt x="17" y="54"/>
                    <a:pt x="14" y="47"/>
                    <a:pt x="14" y="33"/>
                  </a:cubicBezTo>
                  <a:cubicBezTo>
                    <a:pt x="14" y="19"/>
                    <a:pt x="17" y="11"/>
                    <a:pt x="23" y="11"/>
                  </a:cubicBezTo>
                  <a:cubicBezTo>
                    <a:pt x="28" y="11"/>
                    <a:pt x="31" y="18"/>
                    <a:pt x="31" y="32"/>
                  </a:cubicBezTo>
                  <a:cubicBezTo>
                    <a:pt x="31" y="47"/>
                    <a:pt x="28" y="54"/>
                    <a:pt x="23"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45" name="Freeform 644"/>
            <p:cNvSpPr>
              <a:spLocks/>
            </p:cNvSpPr>
            <p:nvPr/>
          </p:nvSpPr>
          <p:spPr bwMode="auto">
            <a:xfrm>
              <a:off x="1488090" y="4590555"/>
              <a:ext cx="58634" cy="136728"/>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46" name="Freeform 645"/>
            <p:cNvSpPr>
              <a:spLocks/>
            </p:cNvSpPr>
            <p:nvPr/>
          </p:nvSpPr>
          <p:spPr bwMode="auto">
            <a:xfrm>
              <a:off x="1835314" y="4590555"/>
              <a:ext cx="56801" cy="136728"/>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47" name="Freeform 646"/>
            <p:cNvSpPr>
              <a:spLocks noEditPoints="1"/>
            </p:cNvSpPr>
            <p:nvPr/>
          </p:nvSpPr>
          <p:spPr bwMode="auto">
            <a:xfrm>
              <a:off x="1924181" y="4590555"/>
              <a:ext cx="95280" cy="141317"/>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48" name="Freeform 647"/>
            <p:cNvSpPr>
              <a:spLocks noEditPoints="1"/>
            </p:cNvSpPr>
            <p:nvPr/>
          </p:nvSpPr>
          <p:spPr bwMode="auto">
            <a:xfrm>
              <a:off x="2052442" y="4590555"/>
              <a:ext cx="95280" cy="141317"/>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49" name="Freeform 648"/>
            <p:cNvSpPr>
              <a:spLocks/>
            </p:cNvSpPr>
            <p:nvPr/>
          </p:nvSpPr>
          <p:spPr bwMode="auto">
            <a:xfrm>
              <a:off x="2180704" y="4590555"/>
              <a:ext cx="58634" cy="136728"/>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50" name="Freeform 649"/>
            <p:cNvSpPr>
              <a:spLocks noEditPoints="1"/>
            </p:cNvSpPr>
            <p:nvPr/>
          </p:nvSpPr>
          <p:spPr bwMode="auto">
            <a:xfrm>
              <a:off x="2269574" y="4590555"/>
              <a:ext cx="97113" cy="141317"/>
            </a:xfrm>
            <a:custGeom>
              <a:avLst/>
              <a:gdLst>
                <a:gd name="T0" fmla="*/ 39 w 45"/>
                <a:gd name="T1" fmla="*/ 56 h 65"/>
                <a:gd name="T2" fmla="*/ 45 w 45"/>
                <a:gd name="T3" fmla="*/ 32 h 65"/>
                <a:gd name="T4" fmla="*/ 23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3" y="0"/>
                  </a:cubicBezTo>
                  <a:cubicBezTo>
                    <a:pt x="16" y="0"/>
                    <a:pt x="10" y="3"/>
                    <a:pt x="6" y="9"/>
                  </a:cubicBezTo>
                  <a:cubicBezTo>
                    <a:pt x="2" y="15"/>
                    <a:pt x="0" y="22"/>
                    <a:pt x="0" y="33"/>
                  </a:cubicBezTo>
                  <a:cubicBezTo>
                    <a:pt x="0" y="55"/>
                    <a:pt x="8" y="65"/>
                    <a:pt x="23" y="65"/>
                  </a:cubicBezTo>
                  <a:cubicBezTo>
                    <a:pt x="30" y="65"/>
                    <a:pt x="35"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51" name="Freeform 650"/>
            <p:cNvSpPr>
              <a:spLocks/>
            </p:cNvSpPr>
            <p:nvPr/>
          </p:nvSpPr>
          <p:spPr bwMode="auto">
            <a:xfrm>
              <a:off x="2396918" y="4590555"/>
              <a:ext cx="58634" cy="136728"/>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9 w 27"/>
                <a:gd name="T11" fmla="*/ 0 h 63"/>
                <a:gd name="T12" fmla="*/ 10 w 27"/>
                <a:gd name="T13" fmla="*/ 6 h 63"/>
                <a:gd name="T14" fmla="*/ 0 w 27"/>
                <a:gd name="T15" fmla="*/ 10 h 63"/>
                <a:gd name="T16" fmla="*/ 0 w 27"/>
                <a:gd name="T17" fmla="*/ 21 h 63"/>
                <a:gd name="T18" fmla="*/ 4 w 27"/>
                <a:gd name="T19" fmla="*/ 21 h 63"/>
                <a:gd name="T20" fmla="*/ 7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52" name="Freeform 651"/>
            <p:cNvSpPr>
              <a:spLocks noEditPoints="1"/>
            </p:cNvSpPr>
            <p:nvPr/>
          </p:nvSpPr>
          <p:spPr bwMode="auto">
            <a:xfrm>
              <a:off x="2485786" y="4590555"/>
              <a:ext cx="98028" cy="141317"/>
            </a:xfrm>
            <a:custGeom>
              <a:avLst/>
              <a:gdLst>
                <a:gd name="T0" fmla="*/ 39 w 45"/>
                <a:gd name="T1" fmla="*/ 56 h 65"/>
                <a:gd name="T2" fmla="*/ 45 w 45"/>
                <a:gd name="T3" fmla="*/ 32 h 65"/>
                <a:gd name="T4" fmla="*/ 24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4" y="0"/>
                  </a:cubicBezTo>
                  <a:cubicBezTo>
                    <a:pt x="16" y="0"/>
                    <a:pt x="10" y="3"/>
                    <a:pt x="6" y="9"/>
                  </a:cubicBezTo>
                  <a:cubicBezTo>
                    <a:pt x="2" y="15"/>
                    <a:pt x="0" y="22"/>
                    <a:pt x="0" y="33"/>
                  </a:cubicBezTo>
                  <a:cubicBezTo>
                    <a:pt x="0" y="55"/>
                    <a:pt x="8" y="65"/>
                    <a:pt x="23" y="65"/>
                  </a:cubicBezTo>
                  <a:cubicBezTo>
                    <a:pt x="30" y="65"/>
                    <a:pt x="36"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53" name="Freeform 652"/>
            <p:cNvSpPr>
              <a:spLocks/>
            </p:cNvSpPr>
            <p:nvPr/>
          </p:nvSpPr>
          <p:spPr bwMode="auto">
            <a:xfrm>
              <a:off x="2614049" y="4590555"/>
              <a:ext cx="58634" cy="136728"/>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54" name="Freeform 653"/>
            <p:cNvSpPr>
              <a:spLocks noEditPoints="1"/>
            </p:cNvSpPr>
            <p:nvPr/>
          </p:nvSpPr>
          <p:spPr bwMode="auto">
            <a:xfrm>
              <a:off x="2705663" y="4590555"/>
              <a:ext cx="95280" cy="141317"/>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55" name="Freeform 654"/>
            <p:cNvSpPr>
              <a:spLocks/>
            </p:cNvSpPr>
            <p:nvPr/>
          </p:nvSpPr>
          <p:spPr bwMode="auto">
            <a:xfrm>
              <a:off x="3050140" y="4590555"/>
              <a:ext cx="56801" cy="86257"/>
            </a:xfrm>
            <a:custGeom>
              <a:avLst/>
              <a:gdLst>
                <a:gd name="T0" fmla="*/ 18 w 26"/>
                <a:gd name="T1" fmla="*/ 0 h 40"/>
                <a:gd name="T2" fmla="*/ 10 w 26"/>
                <a:gd name="T3" fmla="*/ 6 h 40"/>
                <a:gd name="T4" fmla="*/ 0 w 26"/>
                <a:gd name="T5" fmla="*/ 10 h 40"/>
                <a:gd name="T6" fmla="*/ 0 w 26"/>
                <a:gd name="T7" fmla="*/ 21 h 40"/>
                <a:gd name="T8" fmla="*/ 4 w 26"/>
                <a:gd name="T9" fmla="*/ 21 h 40"/>
                <a:gd name="T10" fmla="*/ 7 w 26"/>
                <a:gd name="T11" fmla="*/ 19 h 40"/>
                <a:gd name="T12" fmla="*/ 10 w 26"/>
                <a:gd name="T13" fmla="*/ 17 h 40"/>
                <a:gd name="T14" fmla="*/ 13 w 26"/>
                <a:gd name="T15" fmla="*/ 15 h 40"/>
                <a:gd name="T16" fmla="*/ 13 w 26"/>
                <a:gd name="T17" fmla="*/ 40 h 40"/>
                <a:gd name="T18" fmla="*/ 26 w 26"/>
                <a:gd name="T19" fmla="*/ 26 h 40"/>
                <a:gd name="T20" fmla="*/ 26 w 26"/>
                <a:gd name="T21" fmla="*/ 0 h 40"/>
                <a:gd name="T22" fmla="*/ 18 w 26"/>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0">
                  <a:moveTo>
                    <a:pt x="18" y="0"/>
                  </a:move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40"/>
                  </a:cubicBezTo>
                  <a:cubicBezTo>
                    <a:pt x="17" y="35"/>
                    <a:pt x="22" y="31"/>
                    <a:pt x="26" y="26"/>
                  </a:cubicBezTo>
                  <a:cubicBezTo>
                    <a:pt x="26" y="19"/>
                    <a:pt x="26" y="11"/>
                    <a:pt x="26" y="0"/>
                  </a:cubicBezTo>
                  <a:lnTo>
                    <a:pt x="18" y="0"/>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56" name="Freeform 655"/>
            <p:cNvSpPr>
              <a:spLocks/>
            </p:cNvSpPr>
            <p:nvPr/>
          </p:nvSpPr>
          <p:spPr bwMode="auto">
            <a:xfrm>
              <a:off x="3139006" y="4609823"/>
              <a:ext cx="6414" cy="4587"/>
            </a:xfrm>
            <a:custGeom>
              <a:avLst/>
              <a:gdLst>
                <a:gd name="T0" fmla="*/ 0 w 3"/>
                <a:gd name="T1" fmla="*/ 2 h 2"/>
                <a:gd name="T2" fmla="*/ 3 w 3"/>
                <a:gd name="T3" fmla="*/ 0 h 2"/>
                <a:gd name="T4" fmla="*/ 0 w 3"/>
                <a:gd name="T5" fmla="*/ 1 h 2"/>
                <a:gd name="T6" fmla="*/ 0 w 3"/>
                <a:gd name="T7" fmla="*/ 2 h 2"/>
              </a:gdLst>
              <a:ahLst/>
              <a:cxnLst>
                <a:cxn ang="0">
                  <a:pos x="T0" y="T1"/>
                </a:cxn>
                <a:cxn ang="0">
                  <a:pos x="T2" y="T3"/>
                </a:cxn>
                <a:cxn ang="0">
                  <a:pos x="T4" y="T5"/>
                </a:cxn>
                <a:cxn ang="0">
                  <a:pos x="T6" y="T7"/>
                </a:cxn>
              </a:cxnLst>
              <a:rect l="0" t="0" r="r" b="b"/>
              <a:pathLst>
                <a:path w="3" h="2">
                  <a:moveTo>
                    <a:pt x="0" y="2"/>
                  </a:moveTo>
                  <a:cubicBezTo>
                    <a:pt x="1" y="2"/>
                    <a:pt x="2" y="1"/>
                    <a:pt x="3" y="0"/>
                  </a:cubicBezTo>
                  <a:cubicBezTo>
                    <a:pt x="2" y="0"/>
                    <a:pt x="1" y="0"/>
                    <a:pt x="0" y="1"/>
                  </a:cubicBezTo>
                  <a:cubicBezTo>
                    <a:pt x="0" y="1"/>
                    <a:pt x="0" y="1"/>
                    <a:pt x="0" y="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57" name="Freeform 656"/>
            <p:cNvSpPr>
              <a:spLocks/>
            </p:cNvSpPr>
            <p:nvPr/>
          </p:nvSpPr>
          <p:spPr bwMode="auto">
            <a:xfrm>
              <a:off x="1357995" y="4755729"/>
              <a:ext cx="56801" cy="136728"/>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58" name="Freeform 657"/>
            <p:cNvSpPr>
              <a:spLocks noEditPoints="1"/>
            </p:cNvSpPr>
            <p:nvPr/>
          </p:nvSpPr>
          <p:spPr bwMode="auto">
            <a:xfrm>
              <a:off x="1446863" y="4755729"/>
              <a:ext cx="96197" cy="138564"/>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59" name="Freeform 658"/>
            <p:cNvSpPr>
              <a:spLocks/>
            </p:cNvSpPr>
            <p:nvPr/>
          </p:nvSpPr>
          <p:spPr bwMode="auto">
            <a:xfrm>
              <a:off x="1575126" y="4755729"/>
              <a:ext cx="58634" cy="136728"/>
            </a:xfrm>
            <a:custGeom>
              <a:avLst/>
              <a:gdLst>
                <a:gd name="T0" fmla="*/ 10 w 27"/>
                <a:gd name="T1" fmla="*/ 6 h 63"/>
                <a:gd name="T2" fmla="*/ 0 w 27"/>
                <a:gd name="T3" fmla="*/ 9 h 63"/>
                <a:gd name="T4" fmla="*/ 0 w 27"/>
                <a:gd name="T5" fmla="*/ 20 h 63"/>
                <a:gd name="T6" fmla="*/ 4 w 27"/>
                <a:gd name="T7" fmla="*/ 20 h 63"/>
                <a:gd name="T8" fmla="*/ 7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6" y="7"/>
                    <a:pt x="4" y="8"/>
                    <a:pt x="0" y="9"/>
                  </a:cubicBezTo>
                  <a:cubicBezTo>
                    <a:pt x="0" y="9"/>
                    <a:pt x="0" y="9"/>
                    <a:pt x="0" y="20"/>
                  </a:cubicBezTo>
                  <a:cubicBezTo>
                    <a:pt x="1" y="20"/>
                    <a:pt x="2" y="20"/>
                    <a:pt x="4"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60" name="Freeform 659"/>
            <p:cNvSpPr>
              <a:spLocks noEditPoints="1"/>
            </p:cNvSpPr>
            <p:nvPr/>
          </p:nvSpPr>
          <p:spPr bwMode="auto">
            <a:xfrm>
              <a:off x="1663992" y="4755729"/>
              <a:ext cx="98028" cy="138564"/>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5" y="42"/>
                    <a:pt x="45" y="32"/>
                  </a:cubicBezTo>
                  <a:cubicBezTo>
                    <a:pt x="45"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61" name="Freeform 660"/>
            <p:cNvSpPr>
              <a:spLocks/>
            </p:cNvSpPr>
            <p:nvPr/>
          </p:nvSpPr>
          <p:spPr bwMode="auto">
            <a:xfrm>
              <a:off x="1792254" y="4755729"/>
              <a:ext cx="58634" cy="136728"/>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62" name="Freeform 661"/>
            <p:cNvSpPr>
              <a:spLocks/>
            </p:cNvSpPr>
            <p:nvPr/>
          </p:nvSpPr>
          <p:spPr bwMode="auto">
            <a:xfrm>
              <a:off x="2228345" y="4755729"/>
              <a:ext cx="55886" cy="136728"/>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63" name="Freeform 662"/>
            <p:cNvSpPr>
              <a:spLocks/>
            </p:cNvSpPr>
            <p:nvPr/>
          </p:nvSpPr>
          <p:spPr bwMode="auto">
            <a:xfrm>
              <a:off x="2317213" y="4755729"/>
              <a:ext cx="55886" cy="136728"/>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64" name="Freeform 663"/>
            <p:cNvSpPr>
              <a:spLocks/>
            </p:cNvSpPr>
            <p:nvPr/>
          </p:nvSpPr>
          <p:spPr bwMode="auto">
            <a:xfrm>
              <a:off x="1440450" y="4920902"/>
              <a:ext cx="54054" cy="43129"/>
            </a:xfrm>
            <a:custGeom>
              <a:avLst/>
              <a:gdLst>
                <a:gd name="T0" fmla="*/ 17 w 25"/>
                <a:gd name="T1" fmla="*/ 0 h 20"/>
                <a:gd name="T2" fmla="*/ 8 w 25"/>
                <a:gd name="T3" fmla="*/ 5 h 20"/>
                <a:gd name="T4" fmla="*/ 0 w 25"/>
                <a:gd name="T5" fmla="*/ 9 h 20"/>
                <a:gd name="T6" fmla="*/ 25 w 25"/>
                <a:gd name="T7" fmla="*/ 20 h 20"/>
                <a:gd name="T8" fmla="*/ 25 w 25"/>
                <a:gd name="T9" fmla="*/ 0 h 20"/>
                <a:gd name="T10" fmla="*/ 17 w 25"/>
                <a:gd name="T11" fmla="*/ 0 h 20"/>
              </a:gdLst>
              <a:ahLst/>
              <a:cxnLst>
                <a:cxn ang="0">
                  <a:pos x="T0" y="T1"/>
                </a:cxn>
                <a:cxn ang="0">
                  <a:pos x="T2" y="T3"/>
                </a:cxn>
                <a:cxn ang="0">
                  <a:pos x="T4" y="T5"/>
                </a:cxn>
                <a:cxn ang="0">
                  <a:pos x="T6" y="T7"/>
                </a:cxn>
                <a:cxn ang="0">
                  <a:pos x="T8" y="T9"/>
                </a:cxn>
                <a:cxn ang="0">
                  <a:pos x="T10" y="T11"/>
                </a:cxn>
              </a:cxnLst>
              <a:rect l="0" t="0" r="r" b="b"/>
              <a:pathLst>
                <a:path w="25" h="20">
                  <a:moveTo>
                    <a:pt x="17" y="0"/>
                  </a:moveTo>
                  <a:cubicBezTo>
                    <a:pt x="14" y="2"/>
                    <a:pt x="11" y="4"/>
                    <a:pt x="8" y="5"/>
                  </a:cubicBezTo>
                  <a:cubicBezTo>
                    <a:pt x="5" y="6"/>
                    <a:pt x="3" y="8"/>
                    <a:pt x="0" y="9"/>
                  </a:cubicBezTo>
                  <a:cubicBezTo>
                    <a:pt x="8" y="12"/>
                    <a:pt x="17" y="16"/>
                    <a:pt x="25" y="20"/>
                  </a:cubicBezTo>
                  <a:cubicBezTo>
                    <a:pt x="25" y="14"/>
                    <a:pt x="25" y="7"/>
                    <a:pt x="25" y="0"/>
                  </a:cubicBezTo>
                  <a:lnTo>
                    <a:pt x="17" y="0"/>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65" name="Freeform 664"/>
            <p:cNvSpPr>
              <a:spLocks/>
            </p:cNvSpPr>
            <p:nvPr/>
          </p:nvSpPr>
          <p:spPr bwMode="auto">
            <a:xfrm>
              <a:off x="1527485" y="4920902"/>
              <a:ext cx="56801" cy="75246"/>
            </a:xfrm>
            <a:custGeom>
              <a:avLst/>
              <a:gdLst>
                <a:gd name="T0" fmla="*/ 18 w 26"/>
                <a:gd name="T1" fmla="*/ 0 h 35"/>
                <a:gd name="T2" fmla="*/ 10 w 26"/>
                <a:gd name="T3" fmla="*/ 5 h 35"/>
                <a:gd name="T4" fmla="*/ 0 w 26"/>
                <a:gd name="T5" fmla="*/ 9 h 35"/>
                <a:gd name="T6" fmla="*/ 0 w 26"/>
                <a:gd name="T7" fmla="*/ 20 h 35"/>
                <a:gd name="T8" fmla="*/ 3 w 26"/>
                <a:gd name="T9" fmla="*/ 20 h 35"/>
                <a:gd name="T10" fmla="*/ 7 w 26"/>
                <a:gd name="T11" fmla="*/ 18 h 35"/>
                <a:gd name="T12" fmla="*/ 10 w 26"/>
                <a:gd name="T13" fmla="*/ 16 h 35"/>
                <a:gd name="T14" fmla="*/ 13 w 26"/>
                <a:gd name="T15" fmla="*/ 15 h 35"/>
                <a:gd name="T16" fmla="*/ 13 w 26"/>
                <a:gd name="T17" fmla="*/ 30 h 35"/>
                <a:gd name="T18" fmla="*/ 26 w 26"/>
                <a:gd name="T19" fmla="*/ 35 h 35"/>
                <a:gd name="T20" fmla="*/ 26 w 26"/>
                <a:gd name="T21" fmla="*/ 0 h 35"/>
                <a:gd name="T22" fmla="*/ 18 w 26"/>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5">
                  <a:moveTo>
                    <a:pt x="18" y="0"/>
                  </a:move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30"/>
                  </a:cubicBezTo>
                  <a:cubicBezTo>
                    <a:pt x="17" y="32"/>
                    <a:pt x="22" y="34"/>
                    <a:pt x="26" y="35"/>
                  </a:cubicBezTo>
                  <a:cubicBezTo>
                    <a:pt x="26" y="27"/>
                    <a:pt x="26" y="15"/>
                    <a:pt x="26" y="0"/>
                  </a:cubicBezTo>
                  <a:lnTo>
                    <a:pt x="18" y="0"/>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66" name="Freeform 665"/>
            <p:cNvSpPr>
              <a:spLocks/>
            </p:cNvSpPr>
            <p:nvPr/>
          </p:nvSpPr>
          <p:spPr bwMode="auto">
            <a:xfrm>
              <a:off x="1616353" y="4920902"/>
              <a:ext cx="95280" cy="112870"/>
            </a:xfrm>
            <a:custGeom>
              <a:avLst/>
              <a:gdLst>
                <a:gd name="T0" fmla="*/ 23 w 44"/>
                <a:gd name="T1" fmla="*/ 0 h 52"/>
                <a:gd name="T2" fmla="*/ 6 w 44"/>
                <a:gd name="T3" fmla="*/ 8 h 52"/>
                <a:gd name="T4" fmla="*/ 0 w 44"/>
                <a:gd name="T5" fmla="*/ 33 h 52"/>
                <a:gd name="T6" fmla="*/ 0 w 44"/>
                <a:gd name="T7" fmla="*/ 40 h 52"/>
                <a:gd name="T8" fmla="*/ 15 w 44"/>
                <a:gd name="T9" fmla="*/ 45 h 52"/>
                <a:gd name="T10" fmla="*/ 14 w 44"/>
                <a:gd name="T11" fmla="*/ 33 h 52"/>
                <a:gd name="T12" fmla="*/ 22 w 44"/>
                <a:gd name="T13" fmla="*/ 11 h 52"/>
                <a:gd name="T14" fmla="*/ 30 w 44"/>
                <a:gd name="T15" fmla="*/ 32 h 52"/>
                <a:gd name="T16" fmla="*/ 28 w 44"/>
                <a:gd name="T17" fmla="*/ 48 h 52"/>
                <a:gd name="T18" fmla="*/ 41 w 44"/>
                <a:gd name="T19" fmla="*/ 52 h 52"/>
                <a:gd name="T20" fmla="*/ 44 w 44"/>
                <a:gd name="T21" fmla="*/ 32 h 52"/>
                <a:gd name="T22" fmla="*/ 23 w 44"/>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52">
                  <a:moveTo>
                    <a:pt x="23" y="0"/>
                  </a:moveTo>
                  <a:cubicBezTo>
                    <a:pt x="16" y="0"/>
                    <a:pt x="9" y="3"/>
                    <a:pt x="6" y="8"/>
                  </a:cubicBezTo>
                  <a:cubicBezTo>
                    <a:pt x="2" y="15"/>
                    <a:pt x="0" y="22"/>
                    <a:pt x="0" y="33"/>
                  </a:cubicBezTo>
                  <a:cubicBezTo>
                    <a:pt x="0" y="35"/>
                    <a:pt x="0" y="38"/>
                    <a:pt x="0" y="40"/>
                  </a:cubicBezTo>
                  <a:cubicBezTo>
                    <a:pt x="5" y="42"/>
                    <a:pt x="10" y="43"/>
                    <a:pt x="15" y="45"/>
                  </a:cubicBezTo>
                  <a:cubicBezTo>
                    <a:pt x="14" y="42"/>
                    <a:pt x="14" y="38"/>
                    <a:pt x="14" y="33"/>
                  </a:cubicBezTo>
                  <a:cubicBezTo>
                    <a:pt x="14" y="18"/>
                    <a:pt x="17" y="11"/>
                    <a:pt x="22" y="11"/>
                  </a:cubicBezTo>
                  <a:cubicBezTo>
                    <a:pt x="28" y="11"/>
                    <a:pt x="30" y="17"/>
                    <a:pt x="30" y="32"/>
                  </a:cubicBezTo>
                  <a:cubicBezTo>
                    <a:pt x="30" y="40"/>
                    <a:pt x="30" y="45"/>
                    <a:pt x="28" y="48"/>
                  </a:cubicBezTo>
                  <a:cubicBezTo>
                    <a:pt x="32" y="49"/>
                    <a:pt x="37" y="51"/>
                    <a:pt x="41" y="52"/>
                  </a:cubicBezTo>
                  <a:cubicBezTo>
                    <a:pt x="43" y="46"/>
                    <a:pt x="44" y="40"/>
                    <a:pt x="44" y="32"/>
                  </a:cubicBezTo>
                  <a:cubicBezTo>
                    <a:pt x="44" y="11"/>
                    <a:pt x="38" y="0"/>
                    <a:pt x="23"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67" name="Freeform 666"/>
            <p:cNvSpPr>
              <a:spLocks/>
            </p:cNvSpPr>
            <p:nvPr/>
          </p:nvSpPr>
          <p:spPr bwMode="auto">
            <a:xfrm>
              <a:off x="1744613" y="4920902"/>
              <a:ext cx="55886" cy="132140"/>
            </a:xfrm>
            <a:custGeom>
              <a:avLst/>
              <a:gdLst>
                <a:gd name="T0" fmla="*/ 18 w 26"/>
                <a:gd name="T1" fmla="*/ 0 h 61"/>
                <a:gd name="T2" fmla="*/ 10 w 26"/>
                <a:gd name="T3" fmla="*/ 5 h 61"/>
                <a:gd name="T4" fmla="*/ 0 w 26"/>
                <a:gd name="T5" fmla="*/ 9 h 61"/>
                <a:gd name="T6" fmla="*/ 0 w 26"/>
                <a:gd name="T7" fmla="*/ 20 h 61"/>
                <a:gd name="T8" fmla="*/ 4 w 26"/>
                <a:gd name="T9" fmla="*/ 20 h 61"/>
                <a:gd name="T10" fmla="*/ 7 w 26"/>
                <a:gd name="T11" fmla="*/ 18 h 61"/>
                <a:gd name="T12" fmla="*/ 10 w 26"/>
                <a:gd name="T13" fmla="*/ 16 h 61"/>
                <a:gd name="T14" fmla="*/ 13 w 26"/>
                <a:gd name="T15" fmla="*/ 15 h 61"/>
                <a:gd name="T16" fmla="*/ 13 w 26"/>
                <a:gd name="T17" fmla="*/ 59 h 61"/>
                <a:gd name="T18" fmla="*/ 26 w 26"/>
                <a:gd name="T19" fmla="*/ 61 h 61"/>
                <a:gd name="T20" fmla="*/ 26 w 26"/>
                <a:gd name="T21" fmla="*/ 0 h 61"/>
                <a:gd name="T22" fmla="*/ 18 w 26"/>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1">
                  <a:moveTo>
                    <a:pt x="18" y="0"/>
                  </a:move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6"/>
                    <a:pt x="13" y="15"/>
                  </a:cubicBezTo>
                  <a:cubicBezTo>
                    <a:pt x="13" y="15"/>
                    <a:pt x="13" y="15"/>
                    <a:pt x="13" y="59"/>
                  </a:cubicBezTo>
                  <a:cubicBezTo>
                    <a:pt x="17" y="59"/>
                    <a:pt x="22" y="60"/>
                    <a:pt x="26" y="61"/>
                  </a:cubicBezTo>
                  <a:cubicBezTo>
                    <a:pt x="26" y="58"/>
                    <a:pt x="26" y="46"/>
                    <a:pt x="26" y="0"/>
                  </a:cubicBezTo>
                  <a:lnTo>
                    <a:pt x="18" y="0"/>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68" name="Freeform 667"/>
            <p:cNvSpPr>
              <a:spLocks/>
            </p:cNvSpPr>
            <p:nvPr/>
          </p:nvSpPr>
          <p:spPr bwMode="auto">
            <a:xfrm>
              <a:off x="2269574" y="4920902"/>
              <a:ext cx="55886" cy="133975"/>
            </a:xfrm>
            <a:custGeom>
              <a:avLst/>
              <a:gdLst>
                <a:gd name="T0" fmla="*/ 18 w 26"/>
                <a:gd name="T1" fmla="*/ 0 h 62"/>
                <a:gd name="T2" fmla="*/ 10 w 26"/>
                <a:gd name="T3" fmla="*/ 5 h 62"/>
                <a:gd name="T4" fmla="*/ 0 w 26"/>
                <a:gd name="T5" fmla="*/ 9 h 62"/>
                <a:gd name="T6" fmla="*/ 0 w 26"/>
                <a:gd name="T7" fmla="*/ 20 h 62"/>
                <a:gd name="T8" fmla="*/ 4 w 26"/>
                <a:gd name="T9" fmla="*/ 20 h 62"/>
                <a:gd name="T10" fmla="*/ 7 w 26"/>
                <a:gd name="T11" fmla="*/ 18 h 62"/>
                <a:gd name="T12" fmla="*/ 10 w 26"/>
                <a:gd name="T13" fmla="*/ 16 h 62"/>
                <a:gd name="T14" fmla="*/ 13 w 26"/>
                <a:gd name="T15" fmla="*/ 15 h 62"/>
                <a:gd name="T16" fmla="*/ 13 w 26"/>
                <a:gd name="T17" fmla="*/ 62 h 62"/>
                <a:gd name="T18" fmla="*/ 19 w 26"/>
                <a:gd name="T19" fmla="*/ 62 h 62"/>
                <a:gd name="T20" fmla="*/ 26 w 26"/>
                <a:gd name="T21" fmla="*/ 61 h 62"/>
                <a:gd name="T22" fmla="*/ 26 w 26"/>
                <a:gd name="T23" fmla="*/ 0 h 62"/>
                <a:gd name="T24" fmla="*/ 18 w 26"/>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2">
                  <a:moveTo>
                    <a:pt x="18" y="0"/>
                  </a:moveTo>
                  <a:cubicBezTo>
                    <a:pt x="15" y="2"/>
                    <a:pt x="13" y="4"/>
                    <a:pt x="10" y="5"/>
                  </a:cubicBez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19" y="62"/>
                  </a:cubicBezTo>
                  <a:cubicBezTo>
                    <a:pt x="22" y="62"/>
                    <a:pt x="24" y="62"/>
                    <a:pt x="26" y="61"/>
                  </a:cubicBezTo>
                  <a:cubicBezTo>
                    <a:pt x="26" y="58"/>
                    <a:pt x="26" y="46"/>
                    <a:pt x="26" y="0"/>
                  </a:cubicBezTo>
                  <a:lnTo>
                    <a:pt x="18" y="0"/>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69" name="Freeform 668"/>
            <p:cNvSpPr>
              <a:spLocks/>
            </p:cNvSpPr>
            <p:nvPr/>
          </p:nvSpPr>
          <p:spPr bwMode="auto">
            <a:xfrm>
              <a:off x="2358440" y="4920902"/>
              <a:ext cx="58634" cy="121129"/>
            </a:xfrm>
            <a:custGeom>
              <a:avLst/>
              <a:gdLst>
                <a:gd name="T0" fmla="*/ 18 w 27"/>
                <a:gd name="T1" fmla="*/ 0 h 56"/>
                <a:gd name="T2" fmla="*/ 10 w 27"/>
                <a:gd name="T3" fmla="*/ 5 h 56"/>
                <a:gd name="T4" fmla="*/ 0 w 27"/>
                <a:gd name="T5" fmla="*/ 9 h 56"/>
                <a:gd name="T6" fmla="*/ 0 w 27"/>
                <a:gd name="T7" fmla="*/ 20 h 56"/>
                <a:gd name="T8" fmla="*/ 4 w 27"/>
                <a:gd name="T9" fmla="*/ 20 h 56"/>
                <a:gd name="T10" fmla="*/ 8 w 27"/>
                <a:gd name="T11" fmla="*/ 18 h 56"/>
                <a:gd name="T12" fmla="*/ 10 w 27"/>
                <a:gd name="T13" fmla="*/ 16 h 56"/>
                <a:gd name="T14" fmla="*/ 13 w 27"/>
                <a:gd name="T15" fmla="*/ 15 h 56"/>
                <a:gd name="T16" fmla="*/ 13 w 27"/>
                <a:gd name="T17" fmla="*/ 56 h 56"/>
                <a:gd name="T18" fmla="*/ 27 w 27"/>
                <a:gd name="T19" fmla="*/ 52 h 56"/>
                <a:gd name="T20" fmla="*/ 27 w 27"/>
                <a:gd name="T21" fmla="*/ 0 h 56"/>
                <a:gd name="T22" fmla="*/ 18 w 2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56">
                  <a:moveTo>
                    <a:pt x="18" y="0"/>
                  </a:move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56"/>
                  </a:cubicBezTo>
                  <a:cubicBezTo>
                    <a:pt x="18" y="55"/>
                    <a:pt x="22" y="54"/>
                    <a:pt x="27" y="52"/>
                  </a:cubicBezTo>
                  <a:cubicBezTo>
                    <a:pt x="27" y="44"/>
                    <a:pt x="27" y="29"/>
                    <a:pt x="27" y="0"/>
                  </a:cubicBezTo>
                  <a:lnTo>
                    <a:pt x="18" y="0"/>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70" name="Freeform 669"/>
            <p:cNvSpPr>
              <a:spLocks noChangeAspect="1"/>
            </p:cNvSpPr>
            <p:nvPr/>
          </p:nvSpPr>
          <p:spPr bwMode="auto">
            <a:xfrm>
              <a:off x="602490" y="3612078"/>
              <a:ext cx="299621" cy="300065"/>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w="9525" cap="flat" cmpd="sng" algn="ctr">
              <a:noFill/>
              <a:prstDash val="solid"/>
              <a:headEnd type="none" w="med" len="med"/>
              <a:tailEnd type="none" w="med" len="med"/>
            </a:ln>
            <a:effectLst/>
          </p:spPr>
          <p:txBody>
            <a:bodyPr rot="0" spcFirstLastPara="0" vert="horz" wrap="square" lIns="93032" tIns="74426" rIns="93032" bIns="74426" numCol="1" spcCol="0" rtlCol="0" fromWordArt="0" anchor="t"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ctr" defTabSz="474300" rtl="0" eaLnBrk="1" fontAlgn="base" latinLnBrk="0" hangingPunct="1">
                <a:lnSpc>
                  <a:spcPct val="90000"/>
                </a:lnSpc>
                <a:spcBef>
                  <a:spcPct val="0"/>
                </a:spcBef>
                <a:spcAft>
                  <a:spcPct val="0"/>
                </a:spcAft>
                <a:buClrTx/>
                <a:buSzTx/>
                <a:buFontTx/>
                <a:buNone/>
                <a:tabLst/>
                <a:defRPr/>
              </a:pPr>
              <a:endParaRPr kumimoji="0" lang="en-US" sz="122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1" name="Freeform 670"/>
            <p:cNvSpPr>
              <a:spLocks/>
            </p:cNvSpPr>
            <p:nvPr/>
          </p:nvSpPr>
          <p:spPr bwMode="auto">
            <a:xfrm>
              <a:off x="2793060" y="4428131"/>
              <a:ext cx="58634" cy="137646"/>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72" name="Freeform 671"/>
            <p:cNvSpPr>
              <a:spLocks noEditPoints="1"/>
            </p:cNvSpPr>
            <p:nvPr/>
          </p:nvSpPr>
          <p:spPr bwMode="auto">
            <a:xfrm>
              <a:off x="1790080" y="2124863"/>
              <a:ext cx="95280" cy="139481"/>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73" name="Freeform 672"/>
            <p:cNvSpPr>
              <a:spLocks/>
            </p:cNvSpPr>
            <p:nvPr/>
          </p:nvSpPr>
          <p:spPr bwMode="auto">
            <a:xfrm>
              <a:off x="1780345" y="2288202"/>
              <a:ext cx="58634" cy="136728"/>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nvGrpSpPr>
            <p:cNvPr id="674" name="Group 673"/>
            <p:cNvGrpSpPr/>
            <p:nvPr/>
          </p:nvGrpSpPr>
          <p:grpSpPr>
            <a:xfrm>
              <a:off x="2241990" y="3323833"/>
              <a:ext cx="224646" cy="252041"/>
              <a:chOff x="6495975" y="3510751"/>
              <a:chExt cx="306572" cy="343958"/>
            </a:xfrm>
            <a:grpFill/>
          </p:grpSpPr>
          <p:sp>
            <p:nvSpPr>
              <p:cNvPr id="780" name="Freeform 779"/>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81" name="Freeform 780"/>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82" name="Freeform 781"/>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grpSp>
        <p:sp>
          <p:nvSpPr>
            <p:cNvPr id="675" name="Freeform 674"/>
            <p:cNvSpPr>
              <a:spLocks noEditPoints="1"/>
            </p:cNvSpPr>
            <p:nvPr/>
          </p:nvSpPr>
          <p:spPr bwMode="auto">
            <a:xfrm>
              <a:off x="1095828" y="2797117"/>
              <a:ext cx="193761" cy="230893"/>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grpFill/>
            <a:ln>
              <a:noFill/>
            </a:ln>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676" name="Freeform 675"/>
            <p:cNvSpPr>
              <a:spLocks noEditPoints="1"/>
            </p:cNvSpPr>
            <p:nvPr/>
          </p:nvSpPr>
          <p:spPr bwMode="auto">
            <a:xfrm>
              <a:off x="1095828" y="3006036"/>
              <a:ext cx="193761" cy="230893"/>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grpFill/>
            <a:ln>
              <a:noFill/>
            </a:ln>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677" name="Freeform 676"/>
            <p:cNvSpPr>
              <a:spLocks noEditPoints="1"/>
            </p:cNvSpPr>
            <p:nvPr/>
          </p:nvSpPr>
          <p:spPr bwMode="auto">
            <a:xfrm>
              <a:off x="1319924" y="3006036"/>
              <a:ext cx="193761" cy="230893"/>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grpFill/>
            <a:ln>
              <a:noFill/>
            </a:ln>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678" name="Freeform 677"/>
            <p:cNvSpPr>
              <a:spLocks/>
            </p:cNvSpPr>
            <p:nvPr/>
          </p:nvSpPr>
          <p:spPr bwMode="auto">
            <a:xfrm>
              <a:off x="1383690" y="2780974"/>
              <a:ext cx="57719" cy="136728"/>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nvGrpSpPr>
            <p:cNvPr id="679" name="Group 678"/>
            <p:cNvGrpSpPr/>
            <p:nvPr/>
          </p:nvGrpSpPr>
          <p:grpSpPr>
            <a:xfrm>
              <a:off x="1483736" y="2474077"/>
              <a:ext cx="267501" cy="261550"/>
              <a:chOff x="-6292850" y="812800"/>
              <a:chExt cx="5283200" cy="5165725"/>
            </a:xfrm>
            <a:grpFill/>
          </p:grpSpPr>
          <p:sp>
            <p:nvSpPr>
              <p:cNvPr id="761" name="Freeform 760"/>
              <p:cNvSpPr>
                <a:spLocks noEditPoints="1"/>
              </p:cNvSpPr>
              <p:nvPr/>
            </p:nvSpPr>
            <p:spPr bwMode="auto">
              <a:xfrm>
                <a:off x="-6292850" y="812800"/>
                <a:ext cx="5283200" cy="5165725"/>
              </a:xfrm>
              <a:custGeom>
                <a:avLst/>
                <a:gdLst>
                  <a:gd name="T0" fmla="*/ 0 w 3328"/>
                  <a:gd name="T1" fmla="*/ 3254 h 3254"/>
                  <a:gd name="T2" fmla="*/ 0 w 3328"/>
                  <a:gd name="T3" fmla="*/ 0 h 3254"/>
                  <a:gd name="T4" fmla="*/ 3328 w 3328"/>
                  <a:gd name="T5" fmla="*/ 0 h 3254"/>
                  <a:gd name="T6" fmla="*/ 3328 w 3328"/>
                  <a:gd name="T7" fmla="*/ 3254 h 3254"/>
                  <a:gd name="T8" fmla="*/ 0 w 3328"/>
                  <a:gd name="T9" fmla="*/ 3254 h 3254"/>
                  <a:gd name="T10" fmla="*/ 173 w 3328"/>
                  <a:gd name="T11" fmla="*/ 3086 h 3254"/>
                  <a:gd name="T12" fmla="*/ 3155 w 3328"/>
                  <a:gd name="T13" fmla="*/ 3086 h 3254"/>
                  <a:gd name="T14" fmla="*/ 3155 w 3328"/>
                  <a:gd name="T15" fmla="*/ 667 h 3254"/>
                  <a:gd name="T16" fmla="*/ 173 w 3328"/>
                  <a:gd name="T17" fmla="*/ 667 h 3254"/>
                  <a:gd name="T18" fmla="*/ 173 w 3328"/>
                  <a:gd name="T19" fmla="*/ 3086 h 3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8" h="3254">
                    <a:moveTo>
                      <a:pt x="0" y="3254"/>
                    </a:moveTo>
                    <a:lnTo>
                      <a:pt x="0" y="0"/>
                    </a:lnTo>
                    <a:lnTo>
                      <a:pt x="3328" y="0"/>
                    </a:lnTo>
                    <a:lnTo>
                      <a:pt x="3328" y="3254"/>
                    </a:lnTo>
                    <a:lnTo>
                      <a:pt x="0" y="3254"/>
                    </a:lnTo>
                    <a:close/>
                    <a:moveTo>
                      <a:pt x="173" y="3086"/>
                    </a:moveTo>
                    <a:lnTo>
                      <a:pt x="3155" y="3086"/>
                    </a:lnTo>
                    <a:lnTo>
                      <a:pt x="3155" y="667"/>
                    </a:lnTo>
                    <a:lnTo>
                      <a:pt x="173" y="667"/>
                    </a:lnTo>
                    <a:lnTo>
                      <a:pt x="173" y="3086"/>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62" name="Rectangle 761"/>
              <p:cNvSpPr>
                <a:spLocks noChangeArrowheads="1"/>
              </p:cNvSpPr>
              <p:nvPr/>
            </p:nvSpPr>
            <p:spPr bwMode="auto">
              <a:xfrm>
                <a:off x="-4876800" y="2132013"/>
                <a:ext cx="642938" cy="641350"/>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63" name="Rectangle 762"/>
              <p:cNvSpPr>
                <a:spLocks noChangeArrowheads="1"/>
              </p:cNvSpPr>
              <p:nvPr/>
            </p:nvSpPr>
            <p:spPr bwMode="auto">
              <a:xfrm>
                <a:off x="-3970338" y="2132013"/>
                <a:ext cx="641350" cy="641350"/>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64" name="Rectangle 763"/>
              <p:cNvSpPr>
                <a:spLocks noChangeArrowheads="1"/>
              </p:cNvSpPr>
              <p:nvPr/>
            </p:nvSpPr>
            <p:spPr bwMode="auto">
              <a:xfrm>
                <a:off x="-3084513" y="2132013"/>
                <a:ext cx="642938" cy="641350"/>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65" name="Rectangle 764"/>
              <p:cNvSpPr>
                <a:spLocks noChangeArrowheads="1"/>
              </p:cNvSpPr>
              <p:nvPr/>
            </p:nvSpPr>
            <p:spPr bwMode="auto">
              <a:xfrm>
                <a:off x="-2197100" y="2132013"/>
                <a:ext cx="642938" cy="641350"/>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66" name="Rectangle 765"/>
              <p:cNvSpPr>
                <a:spLocks noChangeArrowheads="1"/>
              </p:cNvSpPr>
              <p:nvPr/>
            </p:nvSpPr>
            <p:spPr bwMode="auto">
              <a:xfrm>
                <a:off x="-5759450" y="3017838"/>
                <a:ext cx="638175" cy="642938"/>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67" name="Rectangle 766"/>
              <p:cNvSpPr>
                <a:spLocks noChangeArrowheads="1"/>
              </p:cNvSpPr>
              <p:nvPr/>
            </p:nvSpPr>
            <p:spPr bwMode="auto">
              <a:xfrm>
                <a:off x="-4876800" y="3017838"/>
                <a:ext cx="642938" cy="642938"/>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68" name="Rectangle 767"/>
              <p:cNvSpPr>
                <a:spLocks noChangeArrowheads="1"/>
              </p:cNvSpPr>
              <p:nvPr/>
            </p:nvSpPr>
            <p:spPr bwMode="auto">
              <a:xfrm>
                <a:off x="-3970338" y="3017838"/>
                <a:ext cx="641350" cy="642938"/>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69" name="Rectangle 768"/>
              <p:cNvSpPr>
                <a:spLocks noChangeArrowheads="1"/>
              </p:cNvSpPr>
              <p:nvPr/>
            </p:nvSpPr>
            <p:spPr bwMode="auto">
              <a:xfrm>
                <a:off x="-3084513" y="3017838"/>
                <a:ext cx="642938" cy="642938"/>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70" name="Rectangle 769"/>
              <p:cNvSpPr>
                <a:spLocks noChangeArrowheads="1"/>
              </p:cNvSpPr>
              <p:nvPr/>
            </p:nvSpPr>
            <p:spPr bwMode="auto">
              <a:xfrm>
                <a:off x="-2197100" y="3017838"/>
                <a:ext cx="642938" cy="642938"/>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71" name="Rectangle 770"/>
              <p:cNvSpPr>
                <a:spLocks noChangeArrowheads="1"/>
              </p:cNvSpPr>
              <p:nvPr/>
            </p:nvSpPr>
            <p:spPr bwMode="auto">
              <a:xfrm>
                <a:off x="-5759450" y="3902075"/>
                <a:ext cx="638175" cy="641350"/>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72" name="Rectangle 771"/>
              <p:cNvSpPr>
                <a:spLocks noChangeArrowheads="1"/>
              </p:cNvSpPr>
              <p:nvPr/>
            </p:nvSpPr>
            <p:spPr bwMode="auto">
              <a:xfrm>
                <a:off x="-4876800" y="3902075"/>
                <a:ext cx="642938" cy="641350"/>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73" name="Rectangle 772"/>
              <p:cNvSpPr>
                <a:spLocks noChangeArrowheads="1"/>
              </p:cNvSpPr>
              <p:nvPr/>
            </p:nvSpPr>
            <p:spPr bwMode="auto">
              <a:xfrm>
                <a:off x="-3970338" y="3902075"/>
                <a:ext cx="641350" cy="641350"/>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74" name="Rectangle 773"/>
              <p:cNvSpPr>
                <a:spLocks noChangeArrowheads="1"/>
              </p:cNvSpPr>
              <p:nvPr/>
            </p:nvSpPr>
            <p:spPr bwMode="auto">
              <a:xfrm>
                <a:off x="-3084513" y="3902075"/>
                <a:ext cx="642938" cy="641350"/>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75" name="Rectangle 774"/>
              <p:cNvSpPr>
                <a:spLocks noChangeArrowheads="1"/>
              </p:cNvSpPr>
              <p:nvPr/>
            </p:nvSpPr>
            <p:spPr bwMode="auto">
              <a:xfrm>
                <a:off x="-2197100" y="3902075"/>
                <a:ext cx="642938" cy="641350"/>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76" name="Rectangle 775"/>
              <p:cNvSpPr>
                <a:spLocks noChangeArrowheads="1"/>
              </p:cNvSpPr>
              <p:nvPr/>
            </p:nvSpPr>
            <p:spPr bwMode="auto">
              <a:xfrm>
                <a:off x="-5759450" y="4787900"/>
                <a:ext cx="638175" cy="642938"/>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77" name="Rectangle 776"/>
              <p:cNvSpPr>
                <a:spLocks noChangeArrowheads="1"/>
              </p:cNvSpPr>
              <p:nvPr/>
            </p:nvSpPr>
            <p:spPr bwMode="auto">
              <a:xfrm>
                <a:off x="-4876800" y="4787900"/>
                <a:ext cx="642938" cy="642938"/>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78" name="Rectangle 777"/>
              <p:cNvSpPr>
                <a:spLocks noChangeArrowheads="1"/>
              </p:cNvSpPr>
              <p:nvPr/>
            </p:nvSpPr>
            <p:spPr bwMode="auto">
              <a:xfrm>
                <a:off x="-3970338" y="4787900"/>
                <a:ext cx="641350" cy="642938"/>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79" name="Rectangle 778"/>
              <p:cNvSpPr>
                <a:spLocks noChangeArrowheads="1"/>
              </p:cNvSpPr>
              <p:nvPr/>
            </p:nvSpPr>
            <p:spPr bwMode="auto">
              <a:xfrm>
                <a:off x="-3084513" y="4787900"/>
                <a:ext cx="642938" cy="642938"/>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grpSp>
        <p:sp>
          <p:nvSpPr>
            <p:cNvPr id="680" name="Freeform 679"/>
            <p:cNvSpPr>
              <a:spLocks/>
            </p:cNvSpPr>
            <p:nvPr/>
          </p:nvSpPr>
          <p:spPr bwMode="auto">
            <a:xfrm>
              <a:off x="1785839" y="2618551"/>
              <a:ext cx="58634" cy="136728"/>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81" name="Freeform 680"/>
            <p:cNvSpPr>
              <a:spLocks noEditPoints="1"/>
            </p:cNvSpPr>
            <p:nvPr/>
          </p:nvSpPr>
          <p:spPr bwMode="auto">
            <a:xfrm>
              <a:off x="1790750" y="3292888"/>
              <a:ext cx="169629" cy="273789"/>
            </a:xfrm>
            <a:custGeom>
              <a:avLst/>
              <a:gdLst>
                <a:gd name="T0" fmla="*/ 1219 w 1330"/>
                <a:gd name="T1" fmla="*/ 298 h 2148"/>
                <a:gd name="T2" fmla="*/ 665 w 1330"/>
                <a:gd name="T3" fmla="*/ 0 h 2148"/>
                <a:gd name="T4" fmla="*/ 0 w 1330"/>
                <a:gd name="T5" fmla="*/ 665 h 2148"/>
                <a:gd name="T6" fmla="*/ 18 w 1330"/>
                <a:gd name="T7" fmla="*/ 818 h 2148"/>
                <a:gd name="T8" fmla="*/ 49 w 1330"/>
                <a:gd name="T9" fmla="*/ 917 h 2148"/>
                <a:gd name="T10" fmla="*/ 95 w 1330"/>
                <a:gd name="T11" fmla="*/ 1008 h 2148"/>
                <a:gd name="T12" fmla="*/ 233 w 1330"/>
                <a:gd name="T13" fmla="*/ 1284 h 2148"/>
                <a:gd name="T14" fmla="*/ 665 w 1330"/>
                <a:gd name="T15" fmla="*/ 2148 h 2148"/>
                <a:gd name="T16" fmla="*/ 1235 w 1330"/>
                <a:gd name="T17" fmla="*/ 1008 h 2148"/>
                <a:gd name="T18" fmla="*/ 1281 w 1330"/>
                <a:gd name="T19" fmla="*/ 917 h 2148"/>
                <a:gd name="T20" fmla="*/ 1312 w 1330"/>
                <a:gd name="T21" fmla="*/ 818 h 2148"/>
                <a:gd name="T22" fmla="*/ 1330 w 1330"/>
                <a:gd name="T23" fmla="*/ 665 h 2148"/>
                <a:gd name="T24" fmla="*/ 1219 w 1330"/>
                <a:gd name="T25" fmla="*/ 298 h 2148"/>
                <a:gd name="T26" fmla="*/ 933 w 1330"/>
                <a:gd name="T27" fmla="*/ 729 h 2148"/>
                <a:gd name="T28" fmla="*/ 920 w 1330"/>
                <a:gd name="T29" fmla="*/ 769 h 2148"/>
                <a:gd name="T30" fmla="*/ 901 w 1330"/>
                <a:gd name="T31" fmla="*/ 807 h 2148"/>
                <a:gd name="T32" fmla="*/ 665 w 1330"/>
                <a:gd name="T33" fmla="*/ 940 h 2148"/>
                <a:gd name="T34" fmla="*/ 588 w 1330"/>
                <a:gd name="T35" fmla="*/ 929 h 2148"/>
                <a:gd name="T36" fmla="*/ 429 w 1330"/>
                <a:gd name="T37" fmla="*/ 807 h 2148"/>
                <a:gd name="T38" fmla="*/ 411 w 1330"/>
                <a:gd name="T39" fmla="*/ 769 h 2148"/>
                <a:gd name="T40" fmla="*/ 398 w 1330"/>
                <a:gd name="T41" fmla="*/ 729 h 2148"/>
                <a:gd name="T42" fmla="*/ 390 w 1330"/>
                <a:gd name="T43" fmla="*/ 665 h 2148"/>
                <a:gd name="T44" fmla="*/ 665 w 1330"/>
                <a:gd name="T45" fmla="*/ 391 h 2148"/>
                <a:gd name="T46" fmla="*/ 929 w 1330"/>
                <a:gd name="T47" fmla="*/ 588 h 2148"/>
                <a:gd name="T48" fmla="*/ 940 w 1330"/>
                <a:gd name="T49" fmla="*/ 665 h 2148"/>
                <a:gd name="T50" fmla="*/ 933 w 1330"/>
                <a:gd name="T51" fmla="*/ 729 h 2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0" h="2148">
                  <a:moveTo>
                    <a:pt x="1219" y="298"/>
                  </a:moveTo>
                  <a:cubicBezTo>
                    <a:pt x="1100" y="119"/>
                    <a:pt x="896" y="0"/>
                    <a:pt x="665" y="0"/>
                  </a:cubicBezTo>
                  <a:cubicBezTo>
                    <a:pt x="298" y="0"/>
                    <a:pt x="0" y="298"/>
                    <a:pt x="0" y="665"/>
                  </a:cubicBezTo>
                  <a:cubicBezTo>
                    <a:pt x="0" y="718"/>
                    <a:pt x="6" y="769"/>
                    <a:pt x="18" y="818"/>
                  </a:cubicBezTo>
                  <a:cubicBezTo>
                    <a:pt x="26" y="852"/>
                    <a:pt x="36" y="885"/>
                    <a:pt x="49" y="917"/>
                  </a:cubicBezTo>
                  <a:cubicBezTo>
                    <a:pt x="62" y="948"/>
                    <a:pt x="77" y="979"/>
                    <a:pt x="95" y="1008"/>
                  </a:cubicBezTo>
                  <a:cubicBezTo>
                    <a:pt x="233" y="1284"/>
                    <a:pt x="233" y="1284"/>
                    <a:pt x="233" y="1284"/>
                  </a:cubicBezTo>
                  <a:cubicBezTo>
                    <a:pt x="665" y="2148"/>
                    <a:pt x="665" y="2148"/>
                    <a:pt x="665" y="2148"/>
                  </a:cubicBezTo>
                  <a:cubicBezTo>
                    <a:pt x="1235" y="1008"/>
                    <a:pt x="1235" y="1008"/>
                    <a:pt x="1235" y="1008"/>
                  </a:cubicBezTo>
                  <a:cubicBezTo>
                    <a:pt x="1253" y="979"/>
                    <a:pt x="1268" y="948"/>
                    <a:pt x="1281" y="917"/>
                  </a:cubicBezTo>
                  <a:cubicBezTo>
                    <a:pt x="1294" y="885"/>
                    <a:pt x="1304" y="852"/>
                    <a:pt x="1312" y="818"/>
                  </a:cubicBezTo>
                  <a:cubicBezTo>
                    <a:pt x="1324" y="769"/>
                    <a:pt x="1330" y="718"/>
                    <a:pt x="1330" y="665"/>
                  </a:cubicBezTo>
                  <a:cubicBezTo>
                    <a:pt x="1330" y="530"/>
                    <a:pt x="1289" y="403"/>
                    <a:pt x="1219" y="298"/>
                  </a:cubicBezTo>
                  <a:close/>
                  <a:moveTo>
                    <a:pt x="933" y="729"/>
                  </a:moveTo>
                  <a:cubicBezTo>
                    <a:pt x="929" y="743"/>
                    <a:pt x="925" y="756"/>
                    <a:pt x="920" y="769"/>
                  </a:cubicBezTo>
                  <a:cubicBezTo>
                    <a:pt x="901" y="807"/>
                    <a:pt x="901" y="807"/>
                    <a:pt x="901" y="807"/>
                  </a:cubicBezTo>
                  <a:cubicBezTo>
                    <a:pt x="853" y="887"/>
                    <a:pt x="765" y="940"/>
                    <a:pt x="665" y="940"/>
                  </a:cubicBezTo>
                  <a:cubicBezTo>
                    <a:pt x="638" y="940"/>
                    <a:pt x="612" y="936"/>
                    <a:pt x="588" y="929"/>
                  </a:cubicBezTo>
                  <a:cubicBezTo>
                    <a:pt x="521" y="910"/>
                    <a:pt x="465" y="865"/>
                    <a:pt x="429" y="807"/>
                  </a:cubicBezTo>
                  <a:cubicBezTo>
                    <a:pt x="411" y="769"/>
                    <a:pt x="411" y="769"/>
                    <a:pt x="411" y="769"/>
                  </a:cubicBezTo>
                  <a:cubicBezTo>
                    <a:pt x="405" y="756"/>
                    <a:pt x="401" y="743"/>
                    <a:pt x="398" y="729"/>
                  </a:cubicBezTo>
                  <a:cubicBezTo>
                    <a:pt x="393" y="708"/>
                    <a:pt x="390" y="687"/>
                    <a:pt x="390" y="665"/>
                  </a:cubicBezTo>
                  <a:cubicBezTo>
                    <a:pt x="390" y="514"/>
                    <a:pt x="513" y="391"/>
                    <a:pt x="665" y="391"/>
                  </a:cubicBezTo>
                  <a:cubicBezTo>
                    <a:pt x="790" y="391"/>
                    <a:pt x="896" y="474"/>
                    <a:pt x="929" y="588"/>
                  </a:cubicBezTo>
                  <a:cubicBezTo>
                    <a:pt x="936" y="613"/>
                    <a:pt x="940" y="639"/>
                    <a:pt x="940" y="665"/>
                  </a:cubicBezTo>
                  <a:cubicBezTo>
                    <a:pt x="940" y="687"/>
                    <a:pt x="937" y="708"/>
                    <a:pt x="933" y="729"/>
                  </a:cubicBezTo>
                  <a:close/>
                </a:path>
              </a:pathLst>
            </a:custGeom>
            <a:grpFill/>
            <a:ln>
              <a:noFill/>
            </a:ln>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682" name="Freeform 681"/>
            <p:cNvSpPr>
              <a:spLocks noEditPoints="1"/>
            </p:cNvSpPr>
            <p:nvPr/>
          </p:nvSpPr>
          <p:spPr bwMode="auto">
            <a:xfrm>
              <a:off x="2013048" y="3434468"/>
              <a:ext cx="98028" cy="141317"/>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83" name="Freeform 682"/>
            <p:cNvSpPr>
              <a:spLocks noEditPoints="1"/>
            </p:cNvSpPr>
            <p:nvPr/>
          </p:nvSpPr>
          <p:spPr bwMode="auto">
            <a:xfrm>
              <a:off x="2053317" y="4285512"/>
              <a:ext cx="306082" cy="268058"/>
            </a:xfrm>
            <a:custGeom>
              <a:avLst/>
              <a:gdLst>
                <a:gd name="T0" fmla="*/ 4722 w 5146"/>
                <a:gd name="T1" fmla="*/ 0 h 4506"/>
                <a:gd name="T2" fmla="*/ 424 w 5146"/>
                <a:gd name="T3" fmla="*/ 0 h 4506"/>
                <a:gd name="T4" fmla="*/ 0 w 5146"/>
                <a:gd name="T5" fmla="*/ 430 h 4506"/>
                <a:gd name="T6" fmla="*/ 0 w 5146"/>
                <a:gd name="T7" fmla="*/ 2968 h 4506"/>
                <a:gd name="T8" fmla="*/ 424 w 5146"/>
                <a:gd name="T9" fmla="*/ 3398 h 4506"/>
                <a:gd name="T10" fmla="*/ 1515 w 5146"/>
                <a:gd name="T11" fmla="*/ 3398 h 4506"/>
                <a:gd name="T12" fmla="*/ 3849 w 5146"/>
                <a:gd name="T13" fmla="*/ 4506 h 4506"/>
                <a:gd name="T14" fmla="*/ 3142 w 5146"/>
                <a:gd name="T15" fmla="*/ 3398 h 4506"/>
                <a:gd name="T16" fmla="*/ 4722 w 5146"/>
                <a:gd name="T17" fmla="*/ 3398 h 4506"/>
                <a:gd name="T18" fmla="*/ 5146 w 5146"/>
                <a:gd name="T19" fmla="*/ 2968 h 4506"/>
                <a:gd name="T20" fmla="*/ 5146 w 5146"/>
                <a:gd name="T21" fmla="*/ 430 h 4506"/>
                <a:gd name="T22" fmla="*/ 4722 w 5146"/>
                <a:gd name="T23" fmla="*/ 0 h 4506"/>
                <a:gd name="T24" fmla="*/ 3771 w 5146"/>
                <a:gd name="T25" fmla="*/ 1314 h 4506"/>
                <a:gd name="T26" fmla="*/ 3772 w 5146"/>
                <a:gd name="T27" fmla="*/ 1375 h 4506"/>
                <a:gd name="T28" fmla="*/ 2418 w 5146"/>
                <a:gd name="T29" fmla="*/ 2729 h 4506"/>
                <a:gd name="T30" fmla="*/ 1689 w 5146"/>
                <a:gd name="T31" fmla="*/ 2515 h 4506"/>
                <a:gd name="T32" fmla="*/ 1802 w 5146"/>
                <a:gd name="T33" fmla="*/ 2522 h 4506"/>
                <a:gd name="T34" fmla="*/ 2393 w 5146"/>
                <a:gd name="T35" fmla="*/ 2318 h 4506"/>
                <a:gd name="T36" fmla="*/ 1949 w 5146"/>
                <a:gd name="T37" fmla="*/ 1988 h 4506"/>
                <a:gd name="T38" fmla="*/ 2038 w 5146"/>
                <a:gd name="T39" fmla="*/ 1997 h 4506"/>
                <a:gd name="T40" fmla="*/ 2164 w 5146"/>
                <a:gd name="T41" fmla="*/ 1980 h 4506"/>
                <a:gd name="T42" fmla="*/ 1782 w 5146"/>
                <a:gd name="T43" fmla="*/ 1513 h 4506"/>
                <a:gd name="T44" fmla="*/ 1782 w 5146"/>
                <a:gd name="T45" fmla="*/ 1507 h 4506"/>
                <a:gd name="T46" fmla="*/ 1998 w 5146"/>
                <a:gd name="T47" fmla="*/ 1567 h 4506"/>
                <a:gd name="T48" fmla="*/ 1786 w 5146"/>
                <a:gd name="T49" fmla="*/ 1171 h 4506"/>
                <a:gd name="T50" fmla="*/ 1850 w 5146"/>
                <a:gd name="T51" fmla="*/ 932 h 4506"/>
                <a:gd name="T52" fmla="*/ 2831 w 5146"/>
                <a:gd name="T53" fmla="*/ 1429 h 4506"/>
                <a:gd name="T54" fmla="*/ 2819 w 5146"/>
                <a:gd name="T55" fmla="*/ 1320 h 4506"/>
                <a:gd name="T56" fmla="*/ 3294 w 5146"/>
                <a:gd name="T57" fmla="*/ 844 h 4506"/>
                <a:gd name="T58" fmla="*/ 3642 w 5146"/>
                <a:gd name="T59" fmla="*/ 995 h 4506"/>
                <a:gd name="T60" fmla="*/ 3944 w 5146"/>
                <a:gd name="T61" fmla="*/ 879 h 4506"/>
                <a:gd name="T62" fmla="*/ 3735 w 5146"/>
                <a:gd name="T63" fmla="*/ 1142 h 4506"/>
                <a:gd name="T64" fmla="*/ 4008 w 5146"/>
                <a:gd name="T65" fmla="*/ 1068 h 4506"/>
                <a:gd name="T66" fmla="*/ 3771 w 5146"/>
                <a:gd name="T67" fmla="*/ 1314 h 4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46" h="4506">
                  <a:moveTo>
                    <a:pt x="4722" y="0"/>
                  </a:moveTo>
                  <a:cubicBezTo>
                    <a:pt x="424" y="0"/>
                    <a:pt x="424" y="0"/>
                    <a:pt x="424" y="0"/>
                  </a:cubicBezTo>
                  <a:cubicBezTo>
                    <a:pt x="190" y="0"/>
                    <a:pt x="0" y="192"/>
                    <a:pt x="0" y="430"/>
                  </a:cubicBezTo>
                  <a:cubicBezTo>
                    <a:pt x="0" y="2968"/>
                    <a:pt x="0" y="2968"/>
                    <a:pt x="0" y="2968"/>
                  </a:cubicBezTo>
                  <a:cubicBezTo>
                    <a:pt x="0" y="3205"/>
                    <a:pt x="190" y="3398"/>
                    <a:pt x="424" y="3398"/>
                  </a:cubicBezTo>
                  <a:cubicBezTo>
                    <a:pt x="1515" y="3398"/>
                    <a:pt x="1515" y="3398"/>
                    <a:pt x="1515" y="3398"/>
                  </a:cubicBezTo>
                  <a:cubicBezTo>
                    <a:pt x="3849" y="4506"/>
                    <a:pt x="3849" y="4506"/>
                    <a:pt x="3849" y="4506"/>
                  </a:cubicBezTo>
                  <a:cubicBezTo>
                    <a:pt x="3142" y="3398"/>
                    <a:pt x="3142" y="3398"/>
                    <a:pt x="3142" y="3398"/>
                  </a:cubicBezTo>
                  <a:cubicBezTo>
                    <a:pt x="4722" y="3398"/>
                    <a:pt x="4722" y="3398"/>
                    <a:pt x="4722" y="3398"/>
                  </a:cubicBezTo>
                  <a:cubicBezTo>
                    <a:pt x="4956" y="3398"/>
                    <a:pt x="5146" y="3205"/>
                    <a:pt x="5146" y="2968"/>
                  </a:cubicBezTo>
                  <a:cubicBezTo>
                    <a:pt x="5146" y="430"/>
                    <a:pt x="5146" y="430"/>
                    <a:pt x="5146" y="430"/>
                  </a:cubicBezTo>
                  <a:cubicBezTo>
                    <a:pt x="5146" y="192"/>
                    <a:pt x="4956" y="0"/>
                    <a:pt x="4722" y="0"/>
                  </a:cubicBezTo>
                  <a:close/>
                  <a:moveTo>
                    <a:pt x="3771" y="1314"/>
                  </a:moveTo>
                  <a:cubicBezTo>
                    <a:pt x="3771" y="1334"/>
                    <a:pt x="3772" y="1355"/>
                    <a:pt x="3772" y="1375"/>
                  </a:cubicBezTo>
                  <a:cubicBezTo>
                    <a:pt x="3772" y="2004"/>
                    <a:pt x="3293" y="2729"/>
                    <a:pt x="2418" y="2729"/>
                  </a:cubicBezTo>
                  <a:cubicBezTo>
                    <a:pt x="2149" y="2729"/>
                    <a:pt x="1899" y="2650"/>
                    <a:pt x="1689" y="2515"/>
                  </a:cubicBezTo>
                  <a:cubicBezTo>
                    <a:pt x="1726" y="2520"/>
                    <a:pt x="1764" y="2522"/>
                    <a:pt x="1802" y="2522"/>
                  </a:cubicBezTo>
                  <a:cubicBezTo>
                    <a:pt x="2025" y="2522"/>
                    <a:pt x="2230" y="2446"/>
                    <a:pt x="2393" y="2318"/>
                  </a:cubicBezTo>
                  <a:cubicBezTo>
                    <a:pt x="2185" y="2315"/>
                    <a:pt x="2009" y="2177"/>
                    <a:pt x="1949" y="1988"/>
                  </a:cubicBezTo>
                  <a:cubicBezTo>
                    <a:pt x="1978" y="1994"/>
                    <a:pt x="2008" y="1997"/>
                    <a:pt x="2038" y="1997"/>
                  </a:cubicBezTo>
                  <a:cubicBezTo>
                    <a:pt x="2082" y="1997"/>
                    <a:pt x="2124" y="1991"/>
                    <a:pt x="2164" y="1980"/>
                  </a:cubicBezTo>
                  <a:cubicBezTo>
                    <a:pt x="1946" y="1936"/>
                    <a:pt x="1782" y="1744"/>
                    <a:pt x="1782" y="1513"/>
                  </a:cubicBezTo>
                  <a:cubicBezTo>
                    <a:pt x="1782" y="1511"/>
                    <a:pt x="1782" y="1509"/>
                    <a:pt x="1782" y="1507"/>
                  </a:cubicBezTo>
                  <a:cubicBezTo>
                    <a:pt x="1846" y="1543"/>
                    <a:pt x="1920" y="1564"/>
                    <a:pt x="1998" y="1567"/>
                  </a:cubicBezTo>
                  <a:cubicBezTo>
                    <a:pt x="1870" y="1481"/>
                    <a:pt x="1786" y="1336"/>
                    <a:pt x="1786" y="1171"/>
                  </a:cubicBezTo>
                  <a:cubicBezTo>
                    <a:pt x="1786" y="1084"/>
                    <a:pt x="1809" y="1002"/>
                    <a:pt x="1850" y="932"/>
                  </a:cubicBezTo>
                  <a:cubicBezTo>
                    <a:pt x="2085" y="1219"/>
                    <a:pt x="2436" y="1409"/>
                    <a:pt x="2831" y="1429"/>
                  </a:cubicBezTo>
                  <a:cubicBezTo>
                    <a:pt x="2823" y="1394"/>
                    <a:pt x="2819" y="1358"/>
                    <a:pt x="2819" y="1320"/>
                  </a:cubicBezTo>
                  <a:cubicBezTo>
                    <a:pt x="2819" y="1057"/>
                    <a:pt x="3032" y="844"/>
                    <a:pt x="3294" y="844"/>
                  </a:cubicBezTo>
                  <a:cubicBezTo>
                    <a:pt x="3431" y="844"/>
                    <a:pt x="3555" y="902"/>
                    <a:pt x="3642" y="995"/>
                  </a:cubicBezTo>
                  <a:cubicBezTo>
                    <a:pt x="3750" y="973"/>
                    <a:pt x="3852" y="934"/>
                    <a:pt x="3944" y="879"/>
                  </a:cubicBezTo>
                  <a:cubicBezTo>
                    <a:pt x="3908" y="990"/>
                    <a:pt x="3833" y="1084"/>
                    <a:pt x="3735" y="1142"/>
                  </a:cubicBezTo>
                  <a:cubicBezTo>
                    <a:pt x="3831" y="1131"/>
                    <a:pt x="3923" y="1105"/>
                    <a:pt x="4008" y="1068"/>
                  </a:cubicBezTo>
                  <a:cubicBezTo>
                    <a:pt x="3944" y="1163"/>
                    <a:pt x="3864" y="1247"/>
                    <a:pt x="3771" y="1314"/>
                  </a:cubicBezTo>
                  <a:close/>
                </a:path>
              </a:pathLst>
            </a:custGeom>
            <a:grpFill/>
            <a:ln>
              <a:noFill/>
            </a:ln>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684" name="Freeform 683"/>
            <p:cNvSpPr>
              <a:spLocks/>
            </p:cNvSpPr>
            <p:nvPr/>
          </p:nvSpPr>
          <p:spPr bwMode="auto">
            <a:xfrm>
              <a:off x="1956142" y="4427215"/>
              <a:ext cx="58634" cy="134893"/>
            </a:xfrm>
            <a:custGeom>
              <a:avLst/>
              <a:gdLst>
                <a:gd name="T0" fmla="*/ 7 w 27"/>
                <a:gd name="T1" fmla="*/ 18 h 62"/>
                <a:gd name="T2" fmla="*/ 10 w 27"/>
                <a:gd name="T3" fmla="*/ 16 h 62"/>
                <a:gd name="T4" fmla="*/ 13 w 27"/>
                <a:gd name="T5" fmla="*/ 15 h 62"/>
                <a:gd name="T6" fmla="*/ 13 w 27"/>
                <a:gd name="T7" fmla="*/ 62 h 62"/>
                <a:gd name="T8" fmla="*/ 27 w 27"/>
                <a:gd name="T9" fmla="*/ 62 h 62"/>
                <a:gd name="T10" fmla="*/ 27 w 27"/>
                <a:gd name="T11" fmla="*/ 0 h 62"/>
                <a:gd name="T12" fmla="*/ 18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6"/>
                    <a:pt x="13" y="15"/>
                  </a:cubicBezTo>
                  <a:cubicBezTo>
                    <a:pt x="13" y="15"/>
                    <a:pt x="13" y="15"/>
                    <a:pt x="13" y="62"/>
                  </a:cubicBezTo>
                  <a:cubicBezTo>
                    <a:pt x="13" y="62"/>
                    <a:pt x="13" y="62"/>
                    <a:pt x="27" y="62"/>
                  </a:cubicBezTo>
                  <a:cubicBezTo>
                    <a:pt x="27" y="62"/>
                    <a:pt x="27" y="62"/>
                    <a:pt x="27"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85" name="Freeform 684"/>
            <p:cNvSpPr>
              <a:spLocks noEditPoints="1"/>
            </p:cNvSpPr>
            <p:nvPr/>
          </p:nvSpPr>
          <p:spPr bwMode="auto">
            <a:xfrm>
              <a:off x="1893644" y="4770640"/>
              <a:ext cx="323390" cy="323793"/>
            </a:xfrm>
            <a:custGeom>
              <a:avLst/>
              <a:gdLst>
                <a:gd name="T0" fmla="*/ 0 w 675"/>
                <a:gd name="T1" fmla="*/ 338 h 676"/>
                <a:gd name="T2" fmla="*/ 675 w 675"/>
                <a:gd name="T3" fmla="*/ 338 h 676"/>
                <a:gd name="T4" fmla="*/ 284 w 675"/>
                <a:gd name="T5" fmla="*/ 566 h 676"/>
                <a:gd name="T6" fmla="*/ 250 w 675"/>
                <a:gd name="T7" fmla="*/ 626 h 676"/>
                <a:gd name="T8" fmla="*/ 186 w 675"/>
                <a:gd name="T9" fmla="*/ 607 h 676"/>
                <a:gd name="T10" fmla="*/ 153 w 675"/>
                <a:gd name="T11" fmla="*/ 506 h 676"/>
                <a:gd name="T12" fmla="*/ 144 w 675"/>
                <a:gd name="T13" fmla="*/ 438 h 676"/>
                <a:gd name="T14" fmla="*/ 97 w 675"/>
                <a:gd name="T15" fmla="*/ 408 h 676"/>
                <a:gd name="T16" fmla="*/ 62 w 675"/>
                <a:gd name="T17" fmla="*/ 368 h 676"/>
                <a:gd name="T18" fmla="*/ 29 w 675"/>
                <a:gd name="T19" fmla="*/ 319 h 676"/>
                <a:gd name="T20" fmla="*/ 211 w 675"/>
                <a:gd name="T21" fmla="*/ 60 h 676"/>
                <a:gd name="T22" fmla="*/ 218 w 675"/>
                <a:gd name="T23" fmla="*/ 124 h 676"/>
                <a:gd name="T24" fmla="*/ 243 w 675"/>
                <a:gd name="T25" fmla="*/ 175 h 676"/>
                <a:gd name="T26" fmla="*/ 228 w 675"/>
                <a:gd name="T27" fmla="*/ 284 h 676"/>
                <a:gd name="T28" fmla="*/ 152 w 675"/>
                <a:gd name="T29" fmla="*/ 364 h 676"/>
                <a:gd name="T30" fmla="*/ 111 w 675"/>
                <a:gd name="T31" fmla="*/ 370 h 676"/>
                <a:gd name="T32" fmla="*/ 146 w 675"/>
                <a:gd name="T33" fmla="*/ 410 h 676"/>
                <a:gd name="T34" fmla="*/ 209 w 675"/>
                <a:gd name="T35" fmla="*/ 422 h 676"/>
                <a:gd name="T36" fmla="*/ 311 w 675"/>
                <a:gd name="T37" fmla="*/ 505 h 676"/>
                <a:gd name="T38" fmla="*/ 612 w 675"/>
                <a:gd name="T39" fmla="*/ 455 h 676"/>
                <a:gd name="T40" fmla="*/ 551 w 675"/>
                <a:gd name="T41" fmla="*/ 541 h 676"/>
                <a:gd name="T42" fmla="*/ 472 w 675"/>
                <a:gd name="T43" fmla="*/ 617 h 676"/>
                <a:gd name="T44" fmla="*/ 452 w 675"/>
                <a:gd name="T45" fmla="*/ 545 h 676"/>
                <a:gd name="T46" fmla="*/ 385 w 675"/>
                <a:gd name="T47" fmla="*/ 434 h 676"/>
                <a:gd name="T48" fmla="*/ 380 w 675"/>
                <a:gd name="T49" fmla="*/ 351 h 676"/>
                <a:gd name="T50" fmla="*/ 497 w 675"/>
                <a:gd name="T51" fmla="*/ 317 h 676"/>
                <a:gd name="T52" fmla="*/ 568 w 675"/>
                <a:gd name="T53" fmla="*/ 356 h 676"/>
                <a:gd name="T54" fmla="*/ 618 w 675"/>
                <a:gd name="T55" fmla="*/ 427 h 676"/>
                <a:gd name="T56" fmla="*/ 612 w 675"/>
                <a:gd name="T57" fmla="*/ 455 h 676"/>
                <a:gd name="T58" fmla="*/ 592 w 675"/>
                <a:gd name="T59" fmla="*/ 377 h 676"/>
                <a:gd name="T60" fmla="*/ 574 w 675"/>
                <a:gd name="T61" fmla="*/ 314 h 676"/>
                <a:gd name="T62" fmla="*/ 538 w 675"/>
                <a:gd name="T63" fmla="*/ 282 h 676"/>
                <a:gd name="T64" fmla="*/ 496 w 675"/>
                <a:gd name="T65" fmla="*/ 270 h 676"/>
                <a:gd name="T66" fmla="*/ 460 w 675"/>
                <a:gd name="T67" fmla="*/ 249 h 676"/>
                <a:gd name="T68" fmla="*/ 417 w 675"/>
                <a:gd name="T69" fmla="*/ 264 h 676"/>
                <a:gd name="T70" fmla="*/ 443 w 675"/>
                <a:gd name="T71" fmla="*/ 206 h 676"/>
                <a:gd name="T72" fmla="*/ 511 w 675"/>
                <a:gd name="T73" fmla="*/ 179 h 676"/>
                <a:gd name="T74" fmla="*/ 526 w 675"/>
                <a:gd name="T75" fmla="*/ 135 h 676"/>
                <a:gd name="T76" fmla="*/ 496 w 675"/>
                <a:gd name="T77" fmla="*/ 158 h 676"/>
                <a:gd name="T78" fmla="*/ 468 w 675"/>
                <a:gd name="T79" fmla="*/ 144 h 676"/>
                <a:gd name="T80" fmla="*/ 455 w 675"/>
                <a:gd name="T81" fmla="*/ 102 h 676"/>
                <a:gd name="T82" fmla="*/ 647 w 675"/>
                <a:gd name="T83" fmla="*/ 338 h 676"/>
                <a:gd name="T84" fmla="*/ 625 w 675"/>
                <a:gd name="T85" fmla="*/ 39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5" h="676">
                  <a:moveTo>
                    <a:pt x="337" y="0"/>
                  </a:moveTo>
                  <a:cubicBezTo>
                    <a:pt x="151" y="0"/>
                    <a:pt x="0" y="152"/>
                    <a:pt x="0" y="338"/>
                  </a:cubicBezTo>
                  <a:cubicBezTo>
                    <a:pt x="0" y="524"/>
                    <a:pt x="151" y="676"/>
                    <a:pt x="337" y="676"/>
                  </a:cubicBezTo>
                  <a:cubicBezTo>
                    <a:pt x="524" y="676"/>
                    <a:pt x="675" y="524"/>
                    <a:pt x="675" y="338"/>
                  </a:cubicBezTo>
                  <a:cubicBezTo>
                    <a:pt x="675" y="152"/>
                    <a:pt x="524" y="0"/>
                    <a:pt x="337" y="0"/>
                  </a:cubicBezTo>
                  <a:close/>
                  <a:moveTo>
                    <a:pt x="284" y="566"/>
                  </a:moveTo>
                  <a:cubicBezTo>
                    <a:pt x="279" y="576"/>
                    <a:pt x="274" y="585"/>
                    <a:pt x="268" y="594"/>
                  </a:cubicBezTo>
                  <a:cubicBezTo>
                    <a:pt x="263" y="603"/>
                    <a:pt x="257" y="620"/>
                    <a:pt x="250" y="626"/>
                  </a:cubicBezTo>
                  <a:cubicBezTo>
                    <a:pt x="248" y="629"/>
                    <a:pt x="244" y="630"/>
                    <a:pt x="240" y="632"/>
                  </a:cubicBezTo>
                  <a:cubicBezTo>
                    <a:pt x="221" y="625"/>
                    <a:pt x="203" y="617"/>
                    <a:pt x="186" y="607"/>
                  </a:cubicBezTo>
                  <a:cubicBezTo>
                    <a:pt x="183" y="593"/>
                    <a:pt x="189" y="575"/>
                    <a:pt x="186" y="561"/>
                  </a:cubicBezTo>
                  <a:cubicBezTo>
                    <a:pt x="182" y="538"/>
                    <a:pt x="161" y="527"/>
                    <a:pt x="153" y="506"/>
                  </a:cubicBezTo>
                  <a:cubicBezTo>
                    <a:pt x="146" y="487"/>
                    <a:pt x="180" y="450"/>
                    <a:pt x="159" y="439"/>
                  </a:cubicBezTo>
                  <a:cubicBezTo>
                    <a:pt x="156" y="438"/>
                    <a:pt x="149" y="438"/>
                    <a:pt x="144" y="438"/>
                  </a:cubicBezTo>
                  <a:cubicBezTo>
                    <a:pt x="138" y="435"/>
                    <a:pt x="132" y="431"/>
                    <a:pt x="126" y="428"/>
                  </a:cubicBezTo>
                  <a:cubicBezTo>
                    <a:pt x="116" y="422"/>
                    <a:pt x="108" y="412"/>
                    <a:pt x="97" y="408"/>
                  </a:cubicBezTo>
                  <a:cubicBezTo>
                    <a:pt x="83" y="403"/>
                    <a:pt x="76" y="405"/>
                    <a:pt x="69" y="391"/>
                  </a:cubicBezTo>
                  <a:cubicBezTo>
                    <a:pt x="65" y="383"/>
                    <a:pt x="65" y="376"/>
                    <a:pt x="62" y="368"/>
                  </a:cubicBezTo>
                  <a:cubicBezTo>
                    <a:pt x="60" y="359"/>
                    <a:pt x="58" y="349"/>
                    <a:pt x="52" y="342"/>
                  </a:cubicBezTo>
                  <a:cubicBezTo>
                    <a:pt x="45" y="333"/>
                    <a:pt x="35" y="328"/>
                    <a:pt x="29" y="319"/>
                  </a:cubicBezTo>
                  <a:cubicBezTo>
                    <a:pt x="35" y="216"/>
                    <a:pt x="92" y="127"/>
                    <a:pt x="174" y="75"/>
                  </a:cubicBezTo>
                  <a:cubicBezTo>
                    <a:pt x="186" y="68"/>
                    <a:pt x="198" y="63"/>
                    <a:pt x="211" y="60"/>
                  </a:cubicBezTo>
                  <a:cubicBezTo>
                    <a:pt x="223" y="59"/>
                    <a:pt x="257" y="62"/>
                    <a:pt x="238" y="76"/>
                  </a:cubicBezTo>
                  <a:cubicBezTo>
                    <a:pt x="238" y="76"/>
                    <a:pt x="194" y="108"/>
                    <a:pt x="218" y="124"/>
                  </a:cubicBezTo>
                  <a:cubicBezTo>
                    <a:pt x="229" y="132"/>
                    <a:pt x="240" y="134"/>
                    <a:pt x="247" y="149"/>
                  </a:cubicBezTo>
                  <a:cubicBezTo>
                    <a:pt x="252" y="162"/>
                    <a:pt x="247" y="164"/>
                    <a:pt x="243" y="175"/>
                  </a:cubicBezTo>
                  <a:cubicBezTo>
                    <a:pt x="236" y="196"/>
                    <a:pt x="260" y="214"/>
                    <a:pt x="264" y="236"/>
                  </a:cubicBezTo>
                  <a:cubicBezTo>
                    <a:pt x="270" y="260"/>
                    <a:pt x="247" y="273"/>
                    <a:pt x="228" y="284"/>
                  </a:cubicBezTo>
                  <a:cubicBezTo>
                    <a:pt x="209" y="294"/>
                    <a:pt x="184" y="302"/>
                    <a:pt x="175" y="323"/>
                  </a:cubicBezTo>
                  <a:cubicBezTo>
                    <a:pt x="171" y="335"/>
                    <a:pt x="176" y="382"/>
                    <a:pt x="152" y="364"/>
                  </a:cubicBezTo>
                  <a:cubicBezTo>
                    <a:pt x="142" y="357"/>
                    <a:pt x="139" y="339"/>
                    <a:pt x="123" y="346"/>
                  </a:cubicBezTo>
                  <a:cubicBezTo>
                    <a:pt x="114" y="350"/>
                    <a:pt x="112" y="362"/>
                    <a:pt x="111" y="370"/>
                  </a:cubicBezTo>
                  <a:cubicBezTo>
                    <a:pt x="111" y="378"/>
                    <a:pt x="110" y="388"/>
                    <a:pt x="116" y="394"/>
                  </a:cubicBezTo>
                  <a:cubicBezTo>
                    <a:pt x="125" y="402"/>
                    <a:pt x="137" y="399"/>
                    <a:pt x="146" y="410"/>
                  </a:cubicBezTo>
                  <a:cubicBezTo>
                    <a:pt x="159" y="423"/>
                    <a:pt x="159" y="429"/>
                    <a:pt x="177" y="421"/>
                  </a:cubicBezTo>
                  <a:cubicBezTo>
                    <a:pt x="191" y="416"/>
                    <a:pt x="197" y="414"/>
                    <a:pt x="209" y="422"/>
                  </a:cubicBezTo>
                  <a:cubicBezTo>
                    <a:pt x="228" y="434"/>
                    <a:pt x="238" y="456"/>
                    <a:pt x="259" y="467"/>
                  </a:cubicBezTo>
                  <a:cubicBezTo>
                    <a:pt x="278" y="479"/>
                    <a:pt x="308" y="479"/>
                    <a:pt x="311" y="505"/>
                  </a:cubicBezTo>
                  <a:cubicBezTo>
                    <a:pt x="313" y="527"/>
                    <a:pt x="295" y="549"/>
                    <a:pt x="284" y="566"/>
                  </a:cubicBezTo>
                  <a:close/>
                  <a:moveTo>
                    <a:pt x="612" y="455"/>
                  </a:moveTo>
                  <a:cubicBezTo>
                    <a:pt x="605" y="462"/>
                    <a:pt x="592" y="462"/>
                    <a:pt x="583" y="467"/>
                  </a:cubicBezTo>
                  <a:cubicBezTo>
                    <a:pt x="558" y="483"/>
                    <a:pt x="554" y="514"/>
                    <a:pt x="551" y="541"/>
                  </a:cubicBezTo>
                  <a:cubicBezTo>
                    <a:pt x="550" y="551"/>
                    <a:pt x="548" y="560"/>
                    <a:pt x="544" y="568"/>
                  </a:cubicBezTo>
                  <a:cubicBezTo>
                    <a:pt x="522" y="587"/>
                    <a:pt x="498" y="604"/>
                    <a:pt x="472" y="617"/>
                  </a:cubicBezTo>
                  <a:cubicBezTo>
                    <a:pt x="465" y="616"/>
                    <a:pt x="458" y="612"/>
                    <a:pt x="454" y="602"/>
                  </a:cubicBezTo>
                  <a:cubicBezTo>
                    <a:pt x="448" y="585"/>
                    <a:pt x="452" y="562"/>
                    <a:pt x="452" y="545"/>
                  </a:cubicBezTo>
                  <a:cubicBezTo>
                    <a:pt x="452" y="518"/>
                    <a:pt x="465" y="449"/>
                    <a:pt x="426" y="446"/>
                  </a:cubicBezTo>
                  <a:cubicBezTo>
                    <a:pt x="409" y="445"/>
                    <a:pt x="396" y="449"/>
                    <a:pt x="385" y="434"/>
                  </a:cubicBezTo>
                  <a:cubicBezTo>
                    <a:pt x="378" y="423"/>
                    <a:pt x="364" y="405"/>
                    <a:pt x="363" y="392"/>
                  </a:cubicBezTo>
                  <a:cubicBezTo>
                    <a:pt x="362" y="376"/>
                    <a:pt x="371" y="364"/>
                    <a:pt x="380" y="351"/>
                  </a:cubicBezTo>
                  <a:cubicBezTo>
                    <a:pt x="391" y="337"/>
                    <a:pt x="400" y="324"/>
                    <a:pt x="416" y="315"/>
                  </a:cubicBezTo>
                  <a:cubicBezTo>
                    <a:pt x="441" y="299"/>
                    <a:pt x="471" y="306"/>
                    <a:pt x="497" y="317"/>
                  </a:cubicBezTo>
                  <a:cubicBezTo>
                    <a:pt x="509" y="322"/>
                    <a:pt x="521" y="326"/>
                    <a:pt x="535" y="327"/>
                  </a:cubicBezTo>
                  <a:cubicBezTo>
                    <a:pt x="557" y="328"/>
                    <a:pt x="564" y="334"/>
                    <a:pt x="568" y="356"/>
                  </a:cubicBezTo>
                  <a:cubicBezTo>
                    <a:pt x="571" y="371"/>
                    <a:pt x="580" y="385"/>
                    <a:pt x="587" y="399"/>
                  </a:cubicBezTo>
                  <a:cubicBezTo>
                    <a:pt x="594" y="413"/>
                    <a:pt x="614" y="416"/>
                    <a:pt x="618" y="427"/>
                  </a:cubicBezTo>
                  <a:cubicBezTo>
                    <a:pt x="620" y="432"/>
                    <a:pt x="620" y="432"/>
                    <a:pt x="620" y="432"/>
                  </a:cubicBezTo>
                  <a:cubicBezTo>
                    <a:pt x="622" y="445"/>
                    <a:pt x="619" y="449"/>
                    <a:pt x="612" y="455"/>
                  </a:cubicBezTo>
                  <a:close/>
                  <a:moveTo>
                    <a:pt x="625" y="397"/>
                  </a:moveTo>
                  <a:cubicBezTo>
                    <a:pt x="612" y="397"/>
                    <a:pt x="596" y="392"/>
                    <a:pt x="592" y="377"/>
                  </a:cubicBezTo>
                  <a:cubicBezTo>
                    <a:pt x="588" y="362"/>
                    <a:pt x="594" y="351"/>
                    <a:pt x="584" y="337"/>
                  </a:cubicBezTo>
                  <a:cubicBezTo>
                    <a:pt x="578" y="330"/>
                    <a:pt x="571" y="324"/>
                    <a:pt x="574" y="314"/>
                  </a:cubicBezTo>
                  <a:cubicBezTo>
                    <a:pt x="577" y="304"/>
                    <a:pt x="589" y="304"/>
                    <a:pt x="577" y="295"/>
                  </a:cubicBezTo>
                  <a:cubicBezTo>
                    <a:pt x="567" y="287"/>
                    <a:pt x="550" y="283"/>
                    <a:pt x="538" y="282"/>
                  </a:cubicBezTo>
                  <a:cubicBezTo>
                    <a:pt x="530" y="280"/>
                    <a:pt x="523" y="282"/>
                    <a:pt x="516" y="278"/>
                  </a:cubicBezTo>
                  <a:cubicBezTo>
                    <a:pt x="509" y="276"/>
                    <a:pt x="504" y="270"/>
                    <a:pt x="496" y="270"/>
                  </a:cubicBezTo>
                  <a:cubicBezTo>
                    <a:pt x="489" y="270"/>
                    <a:pt x="484" y="273"/>
                    <a:pt x="478" y="271"/>
                  </a:cubicBezTo>
                  <a:cubicBezTo>
                    <a:pt x="465" y="267"/>
                    <a:pt x="469" y="254"/>
                    <a:pt x="460" y="249"/>
                  </a:cubicBezTo>
                  <a:cubicBezTo>
                    <a:pt x="450" y="243"/>
                    <a:pt x="444" y="256"/>
                    <a:pt x="436" y="260"/>
                  </a:cubicBezTo>
                  <a:cubicBezTo>
                    <a:pt x="431" y="263"/>
                    <a:pt x="424" y="265"/>
                    <a:pt x="417" y="264"/>
                  </a:cubicBezTo>
                  <a:cubicBezTo>
                    <a:pt x="400" y="263"/>
                    <a:pt x="385" y="248"/>
                    <a:pt x="404" y="234"/>
                  </a:cubicBezTo>
                  <a:cubicBezTo>
                    <a:pt x="418" y="224"/>
                    <a:pt x="433" y="224"/>
                    <a:pt x="443" y="206"/>
                  </a:cubicBezTo>
                  <a:cubicBezTo>
                    <a:pt x="452" y="187"/>
                    <a:pt x="455" y="185"/>
                    <a:pt x="473" y="188"/>
                  </a:cubicBezTo>
                  <a:cubicBezTo>
                    <a:pt x="485" y="191"/>
                    <a:pt x="504" y="190"/>
                    <a:pt x="511" y="179"/>
                  </a:cubicBezTo>
                  <a:cubicBezTo>
                    <a:pt x="516" y="172"/>
                    <a:pt x="514" y="166"/>
                    <a:pt x="515" y="159"/>
                  </a:cubicBezTo>
                  <a:cubicBezTo>
                    <a:pt x="517" y="150"/>
                    <a:pt x="525" y="144"/>
                    <a:pt x="526" y="135"/>
                  </a:cubicBezTo>
                  <a:cubicBezTo>
                    <a:pt x="530" y="122"/>
                    <a:pt x="509" y="99"/>
                    <a:pt x="499" y="115"/>
                  </a:cubicBezTo>
                  <a:cubicBezTo>
                    <a:pt x="492" y="125"/>
                    <a:pt x="500" y="146"/>
                    <a:pt x="496" y="158"/>
                  </a:cubicBezTo>
                  <a:cubicBezTo>
                    <a:pt x="490" y="171"/>
                    <a:pt x="484" y="169"/>
                    <a:pt x="477" y="159"/>
                  </a:cubicBezTo>
                  <a:cubicBezTo>
                    <a:pt x="474" y="155"/>
                    <a:pt x="472" y="146"/>
                    <a:pt x="468" y="144"/>
                  </a:cubicBezTo>
                  <a:cubicBezTo>
                    <a:pt x="463" y="142"/>
                    <a:pt x="458" y="146"/>
                    <a:pt x="454" y="146"/>
                  </a:cubicBezTo>
                  <a:cubicBezTo>
                    <a:pt x="434" y="142"/>
                    <a:pt x="447" y="112"/>
                    <a:pt x="455" y="102"/>
                  </a:cubicBezTo>
                  <a:cubicBezTo>
                    <a:pt x="465" y="91"/>
                    <a:pt x="478" y="79"/>
                    <a:pt x="491" y="70"/>
                  </a:cubicBezTo>
                  <a:cubicBezTo>
                    <a:pt x="584" y="123"/>
                    <a:pt x="647" y="223"/>
                    <a:pt x="647" y="338"/>
                  </a:cubicBezTo>
                  <a:cubicBezTo>
                    <a:pt x="647" y="355"/>
                    <a:pt x="645" y="371"/>
                    <a:pt x="643" y="387"/>
                  </a:cubicBezTo>
                  <a:cubicBezTo>
                    <a:pt x="639" y="393"/>
                    <a:pt x="633" y="397"/>
                    <a:pt x="625" y="397"/>
                  </a:cubicBezTo>
                  <a:close/>
                </a:path>
              </a:pathLst>
            </a:custGeom>
            <a:grpFill/>
            <a:ln>
              <a:noFill/>
            </a:ln>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grpSp>
          <p:nvGrpSpPr>
            <p:cNvPr id="686" name="Group 685"/>
            <p:cNvGrpSpPr/>
            <p:nvPr/>
          </p:nvGrpSpPr>
          <p:grpSpPr>
            <a:xfrm>
              <a:off x="2900202" y="2990812"/>
              <a:ext cx="276717" cy="396095"/>
              <a:chOff x="-1824038" y="1800225"/>
              <a:chExt cx="2546351" cy="3644900"/>
            </a:xfrm>
            <a:grpFill/>
          </p:grpSpPr>
          <p:sp>
            <p:nvSpPr>
              <p:cNvPr id="756" name="Freeform 755"/>
              <p:cNvSpPr>
                <a:spLocks/>
              </p:cNvSpPr>
              <p:nvPr/>
            </p:nvSpPr>
            <p:spPr bwMode="auto">
              <a:xfrm>
                <a:off x="341313" y="1800225"/>
                <a:ext cx="381000" cy="3644900"/>
              </a:xfrm>
              <a:custGeom>
                <a:avLst/>
                <a:gdLst>
                  <a:gd name="T0" fmla="*/ 0 w 240"/>
                  <a:gd name="T1" fmla="*/ 0 h 2296"/>
                  <a:gd name="T2" fmla="*/ 240 w 240"/>
                  <a:gd name="T3" fmla="*/ 0 h 2296"/>
                  <a:gd name="T4" fmla="*/ 240 w 240"/>
                  <a:gd name="T5" fmla="*/ 2296 h 2296"/>
                  <a:gd name="T6" fmla="*/ 0 w 240"/>
                  <a:gd name="T7" fmla="*/ 2296 h 2296"/>
                  <a:gd name="T8" fmla="*/ 0 w 240"/>
                  <a:gd name="T9" fmla="*/ 0 h 2296"/>
                  <a:gd name="T10" fmla="*/ 0 w 240"/>
                  <a:gd name="T11" fmla="*/ 0 h 2296"/>
                </a:gdLst>
                <a:ahLst/>
                <a:cxnLst>
                  <a:cxn ang="0">
                    <a:pos x="T0" y="T1"/>
                  </a:cxn>
                  <a:cxn ang="0">
                    <a:pos x="T2" y="T3"/>
                  </a:cxn>
                  <a:cxn ang="0">
                    <a:pos x="T4" y="T5"/>
                  </a:cxn>
                  <a:cxn ang="0">
                    <a:pos x="T6" y="T7"/>
                  </a:cxn>
                  <a:cxn ang="0">
                    <a:pos x="T8" y="T9"/>
                  </a:cxn>
                  <a:cxn ang="0">
                    <a:pos x="T10" y="T11"/>
                  </a:cxn>
                </a:cxnLst>
                <a:rect l="0" t="0" r="r" b="b"/>
                <a:pathLst>
                  <a:path w="240" h="2296">
                    <a:moveTo>
                      <a:pt x="0" y="0"/>
                    </a:moveTo>
                    <a:lnTo>
                      <a:pt x="240" y="0"/>
                    </a:lnTo>
                    <a:lnTo>
                      <a:pt x="240" y="2296"/>
                    </a:lnTo>
                    <a:lnTo>
                      <a:pt x="0" y="2296"/>
                    </a:lnTo>
                    <a:lnTo>
                      <a:pt x="0" y="0"/>
                    </a:lnTo>
                    <a:lnTo>
                      <a:pt x="0" y="0"/>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57" name="Freeform 756"/>
              <p:cNvSpPr>
                <a:spLocks/>
              </p:cNvSpPr>
              <p:nvPr/>
            </p:nvSpPr>
            <p:spPr bwMode="auto">
              <a:xfrm>
                <a:off x="-196850" y="4511675"/>
                <a:ext cx="381000" cy="933450"/>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58" name="Freeform 757"/>
              <p:cNvSpPr>
                <a:spLocks/>
              </p:cNvSpPr>
              <p:nvPr/>
            </p:nvSpPr>
            <p:spPr bwMode="auto">
              <a:xfrm>
                <a:off x="-731838" y="2924175"/>
                <a:ext cx="376238" cy="2520950"/>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59" name="Freeform 758"/>
              <p:cNvSpPr>
                <a:spLocks/>
              </p:cNvSpPr>
              <p:nvPr/>
            </p:nvSpPr>
            <p:spPr bwMode="auto">
              <a:xfrm>
                <a:off x="-1284288" y="2270125"/>
                <a:ext cx="379413" cy="3175000"/>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60" name="Freeform 759"/>
              <p:cNvSpPr>
                <a:spLocks/>
              </p:cNvSpPr>
              <p:nvPr/>
            </p:nvSpPr>
            <p:spPr bwMode="auto">
              <a:xfrm>
                <a:off x="-1824038" y="3470275"/>
                <a:ext cx="381000" cy="1974850"/>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grpSp>
        <p:sp>
          <p:nvSpPr>
            <p:cNvPr id="687" name="Freeform 686"/>
            <p:cNvSpPr>
              <a:spLocks/>
            </p:cNvSpPr>
            <p:nvPr/>
          </p:nvSpPr>
          <p:spPr bwMode="auto">
            <a:xfrm>
              <a:off x="1631908" y="2783791"/>
              <a:ext cx="55886" cy="136728"/>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88" name="Freeform 687"/>
            <p:cNvSpPr>
              <a:spLocks noEditPoints="1"/>
            </p:cNvSpPr>
            <p:nvPr/>
          </p:nvSpPr>
          <p:spPr bwMode="auto">
            <a:xfrm>
              <a:off x="1732812" y="2783791"/>
              <a:ext cx="95280" cy="138564"/>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89" name="Freeform 688"/>
            <p:cNvSpPr>
              <a:spLocks/>
            </p:cNvSpPr>
            <p:nvPr/>
          </p:nvSpPr>
          <p:spPr bwMode="auto">
            <a:xfrm>
              <a:off x="1860158" y="2783791"/>
              <a:ext cx="56801" cy="136728"/>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90" name="Freeform 689"/>
            <p:cNvSpPr>
              <a:spLocks/>
            </p:cNvSpPr>
            <p:nvPr/>
          </p:nvSpPr>
          <p:spPr bwMode="auto">
            <a:xfrm>
              <a:off x="1769628" y="2946055"/>
              <a:ext cx="55886" cy="136728"/>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91" name="Freeform 690"/>
            <p:cNvSpPr>
              <a:spLocks noEditPoints="1"/>
            </p:cNvSpPr>
            <p:nvPr/>
          </p:nvSpPr>
          <p:spPr bwMode="auto">
            <a:xfrm>
              <a:off x="1870354" y="2946055"/>
              <a:ext cx="95280" cy="138564"/>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92" name="Freeform 691"/>
            <p:cNvSpPr>
              <a:spLocks/>
            </p:cNvSpPr>
            <p:nvPr/>
          </p:nvSpPr>
          <p:spPr bwMode="auto">
            <a:xfrm>
              <a:off x="1553454" y="2946147"/>
              <a:ext cx="55886" cy="136728"/>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93" name="Freeform 692"/>
            <p:cNvSpPr>
              <a:spLocks/>
            </p:cNvSpPr>
            <p:nvPr/>
          </p:nvSpPr>
          <p:spPr bwMode="auto">
            <a:xfrm>
              <a:off x="1225523" y="4097781"/>
              <a:ext cx="58634" cy="136728"/>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nvGrpSpPr>
            <p:cNvPr id="694" name="Group 693"/>
            <p:cNvGrpSpPr/>
            <p:nvPr/>
          </p:nvGrpSpPr>
          <p:grpSpPr>
            <a:xfrm flipH="1">
              <a:off x="645341" y="2992430"/>
              <a:ext cx="209510" cy="224578"/>
              <a:chOff x="2556535" y="3145652"/>
              <a:chExt cx="297818" cy="470859"/>
            </a:xfrm>
            <a:grpFill/>
          </p:grpSpPr>
          <p:sp>
            <p:nvSpPr>
              <p:cNvPr id="752" name="Freeform 751"/>
              <p:cNvSpPr>
                <a:spLocks/>
              </p:cNvSpPr>
              <p:nvPr/>
            </p:nvSpPr>
            <p:spPr bwMode="auto">
              <a:xfrm>
                <a:off x="2797850" y="3478078"/>
                <a:ext cx="56503" cy="138433"/>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53" name="Freeform 752"/>
              <p:cNvSpPr>
                <a:spLocks/>
              </p:cNvSpPr>
              <p:nvPr/>
            </p:nvSpPr>
            <p:spPr bwMode="auto">
              <a:xfrm>
                <a:off x="2718510" y="3242649"/>
                <a:ext cx="55797" cy="373862"/>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54" name="Freeform 753"/>
              <p:cNvSpPr>
                <a:spLocks/>
              </p:cNvSpPr>
              <p:nvPr/>
            </p:nvSpPr>
            <p:spPr bwMode="auto">
              <a:xfrm>
                <a:off x="2636581" y="3145652"/>
                <a:ext cx="56268" cy="470859"/>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55" name="Freeform 754"/>
              <p:cNvSpPr>
                <a:spLocks/>
              </p:cNvSpPr>
              <p:nvPr/>
            </p:nvSpPr>
            <p:spPr bwMode="auto">
              <a:xfrm>
                <a:off x="2556535" y="3323637"/>
                <a:ext cx="56503" cy="292874"/>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695" name="Group 694"/>
            <p:cNvGrpSpPr/>
            <p:nvPr/>
          </p:nvGrpSpPr>
          <p:grpSpPr>
            <a:xfrm>
              <a:off x="3285732" y="3950243"/>
              <a:ext cx="194072" cy="217739"/>
              <a:chOff x="6495975" y="3510751"/>
              <a:chExt cx="306572" cy="343958"/>
            </a:xfrm>
            <a:grpFill/>
          </p:grpSpPr>
          <p:sp>
            <p:nvSpPr>
              <p:cNvPr id="749" name="Freeform 748"/>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50" name="Freeform 749"/>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51" name="Freeform 750"/>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696" name="Group 695"/>
            <p:cNvGrpSpPr/>
            <p:nvPr/>
          </p:nvGrpSpPr>
          <p:grpSpPr>
            <a:xfrm>
              <a:off x="1673671" y="3793414"/>
              <a:ext cx="224646" cy="252041"/>
              <a:chOff x="6495975" y="3510751"/>
              <a:chExt cx="306572" cy="343958"/>
            </a:xfrm>
            <a:grpFill/>
          </p:grpSpPr>
          <p:sp>
            <p:nvSpPr>
              <p:cNvPr id="746" name="Freeform 745"/>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47" name="Freeform 746"/>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48" name="Freeform 747"/>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grpSp>
        <p:sp>
          <p:nvSpPr>
            <p:cNvPr id="697" name="Freeform 696"/>
            <p:cNvSpPr>
              <a:spLocks/>
            </p:cNvSpPr>
            <p:nvPr/>
          </p:nvSpPr>
          <p:spPr bwMode="auto">
            <a:xfrm>
              <a:off x="1436246" y="3934443"/>
              <a:ext cx="56801" cy="134893"/>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98" name="Freeform 697"/>
            <p:cNvSpPr>
              <a:spLocks noEditPoints="1"/>
            </p:cNvSpPr>
            <p:nvPr/>
          </p:nvSpPr>
          <p:spPr bwMode="auto">
            <a:xfrm>
              <a:off x="1526030" y="3934443"/>
              <a:ext cx="97113" cy="138564"/>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699" name="Freeform 698"/>
            <p:cNvSpPr>
              <a:spLocks noEditPoints="1"/>
            </p:cNvSpPr>
            <p:nvPr/>
          </p:nvSpPr>
          <p:spPr bwMode="auto">
            <a:xfrm rot="721847">
              <a:off x="2469679" y="4735600"/>
              <a:ext cx="320873" cy="260548"/>
            </a:xfrm>
            <a:custGeom>
              <a:avLst/>
              <a:gdLst>
                <a:gd name="T0" fmla="*/ 752 w 1049"/>
                <a:gd name="T1" fmla="*/ 377 h 851"/>
                <a:gd name="T2" fmla="*/ 628 w 1049"/>
                <a:gd name="T3" fmla="*/ 359 h 851"/>
                <a:gd name="T4" fmla="*/ 664 w 1049"/>
                <a:gd name="T5" fmla="*/ 235 h 851"/>
                <a:gd name="T6" fmla="*/ 602 w 1049"/>
                <a:gd name="T7" fmla="*/ 168 h 851"/>
                <a:gd name="T8" fmla="*/ 491 w 1049"/>
                <a:gd name="T9" fmla="*/ 230 h 851"/>
                <a:gd name="T10" fmla="*/ 438 w 1049"/>
                <a:gd name="T11" fmla="*/ 97 h 851"/>
                <a:gd name="T12" fmla="*/ 350 w 1049"/>
                <a:gd name="T13" fmla="*/ 84 h 851"/>
                <a:gd name="T14" fmla="*/ 305 w 1049"/>
                <a:gd name="T15" fmla="*/ 221 h 851"/>
                <a:gd name="T16" fmla="*/ 190 w 1049"/>
                <a:gd name="T17" fmla="*/ 164 h 851"/>
                <a:gd name="T18" fmla="*/ 111 w 1049"/>
                <a:gd name="T19" fmla="*/ 213 h 851"/>
                <a:gd name="T20" fmla="*/ 155 w 1049"/>
                <a:gd name="T21" fmla="*/ 333 h 851"/>
                <a:gd name="T22" fmla="*/ 35 w 1049"/>
                <a:gd name="T23" fmla="*/ 363 h 851"/>
                <a:gd name="T24" fmla="*/ 0 w 1049"/>
                <a:gd name="T25" fmla="*/ 448 h 851"/>
                <a:gd name="T26" fmla="*/ 115 w 1049"/>
                <a:gd name="T27" fmla="*/ 514 h 851"/>
                <a:gd name="T28" fmla="*/ 40 w 1049"/>
                <a:gd name="T29" fmla="*/ 616 h 851"/>
                <a:gd name="T30" fmla="*/ 71 w 1049"/>
                <a:gd name="T31" fmla="*/ 705 h 851"/>
                <a:gd name="T32" fmla="*/ 199 w 1049"/>
                <a:gd name="T33" fmla="*/ 678 h 851"/>
                <a:gd name="T34" fmla="*/ 208 w 1049"/>
                <a:gd name="T35" fmla="*/ 807 h 851"/>
                <a:gd name="T36" fmla="*/ 288 w 1049"/>
                <a:gd name="T37" fmla="*/ 851 h 851"/>
                <a:gd name="T38" fmla="*/ 367 w 1049"/>
                <a:gd name="T39" fmla="*/ 749 h 851"/>
                <a:gd name="T40" fmla="*/ 398 w 1049"/>
                <a:gd name="T41" fmla="*/ 749 h 851"/>
                <a:gd name="T42" fmla="*/ 482 w 1049"/>
                <a:gd name="T43" fmla="*/ 851 h 851"/>
                <a:gd name="T44" fmla="*/ 562 w 1049"/>
                <a:gd name="T45" fmla="*/ 807 h 851"/>
                <a:gd name="T46" fmla="*/ 571 w 1049"/>
                <a:gd name="T47" fmla="*/ 678 h 851"/>
                <a:gd name="T48" fmla="*/ 695 w 1049"/>
                <a:gd name="T49" fmla="*/ 705 h 851"/>
                <a:gd name="T50" fmla="*/ 730 w 1049"/>
                <a:gd name="T51" fmla="*/ 616 h 851"/>
                <a:gd name="T52" fmla="*/ 655 w 1049"/>
                <a:gd name="T53" fmla="*/ 514 h 851"/>
                <a:gd name="T54" fmla="*/ 765 w 1049"/>
                <a:gd name="T55" fmla="*/ 448 h 851"/>
                <a:gd name="T56" fmla="*/ 491 w 1049"/>
                <a:gd name="T57" fmla="*/ 590 h 851"/>
                <a:gd name="T58" fmla="*/ 279 w 1049"/>
                <a:gd name="T59" fmla="*/ 590 h 851"/>
                <a:gd name="T60" fmla="*/ 279 w 1049"/>
                <a:gd name="T61" fmla="*/ 372 h 851"/>
                <a:gd name="T62" fmla="*/ 491 w 1049"/>
                <a:gd name="T63" fmla="*/ 372 h 851"/>
                <a:gd name="T64" fmla="*/ 314 w 1049"/>
                <a:gd name="T65" fmla="*/ 479 h 851"/>
                <a:gd name="T66" fmla="*/ 456 w 1049"/>
                <a:gd name="T67" fmla="*/ 479 h 851"/>
                <a:gd name="T68" fmla="*/ 314 w 1049"/>
                <a:gd name="T69" fmla="*/ 479 h 851"/>
                <a:gd name="T70" fmla="*/ 1005 w 1049"/>
                <a:gd name="T71" fmla="*/ 208 h 851"/>
                <a:gd name="T72" fmla="*/ 1040 w 1049"/>
                <a:gd name="T73" fmla="*/ 142 h 851"/>
                <a:gd name="T74" fmla="*/ 1049 w 1049"/>
                <a:gd name="T75" fmla="*/ 119 h 851"/>
                <a:gd name="T76" fmla="*/ 1009 w 1049"/>
                <a:gd name="T77" fmla="*/ 80 h 851"/>
                <a:gd name="T78" fmla="*/ 951 w 1049"/>
                <a:gd name="T79" fmla="*/ 97 h 851"/>
                <a:gd name="T80" fmla="*/ 889 w 1049"/>
                <a:gd name="T81" fmla="*/ 13 h 851"/>
                <a:gd name="T82" fmla="*/ 837 w 1049"/>
                <a:gd name="T83" fmla="*/ 0 h 851"/>
                <a:gd name="T84" fmla="*/ 806 w 1049"/>
                <a:gd name="T85" fmla="*/ 71 h 851"/>
                <a:gd name="T86" fmla="*/ 704 w 1049"/>
                <a:gd name="T87" fmla="*/ 80 h 851"/>
                <a:gd name="T88" fmla="*/ 682 w 1049"/>
                <a:gd name="T89" fmla="*/ 89 h 851"/>
                <a:gd name="T90" fmla="*/ 659 w 1049"/>
                <a:gd name="T91" fmla="*/ 128 h 851"/>
                <a:gd name="T92" fmla="*/ 712 w 1049"/>
                <a:gd name="T93" fmla="*/ 182 h 851"/>
                <a:gd name="T94" fmla="*/ 712 w 1049"/>
                <a:gd name="T95" fmla="*/ 235 h 851"/>
                <a:gd name="T96" fmla="*/ 659 w 1049"/>
                <a:gd name="T97" fmla="*/ 288 h 851"/>
                <a:gd name="T98" fmla="*/ 682 w 1049"/>
                <a:gd name="T99" fmla="*/ 328 h 851"/>
                <a:gd name="T100" fmla="*/ 704 w 1049"/>
                <a:gd name="T101" fmla="*/ 337 h 851"/>
                <a:gd name="T102" fmla="*/ 806 w 1049"/>
                <a:gd name="T103" fmla="*/ 346 h 851"/>
                <a:gd name="T104" fmla="*/ 837 w 1049"/>
                <a:gd name="T105" fmla="*/ 417 h 851"/>
                <a:gd name="T106" fmla="*/ 889 w 1049"/>
                <a:gd name="T107" fmla="*/ 403 h 851"/>
                <a:gd name="T108" fmla="*/ 951 w 1049"/>
                <a:gd name="T109" fmla="*/ 319 h 851"/>
                <a:gd name="T110" fmla="*/ 1009 w 1049"/>
                <a:gd name="T111" fmla="*/ 337 h 851"/>
                <a:gd name="T112" fmla="*/ 1049 w 1049"/>
                <a:gd name="T113" fmla="*/ 297 h 851"/>
                <a:gd name="T114" fmla="*/ 1040 w 1049"/>
                <a:gd name="T115" fmla="*/ 275 h 851"/>
                <a:gd name="T116" fmla="*/ 1000 w 1049"/>
                <a:gd name="T117" fmla="*/ 235 h 851"/>
                <a:gd name="T118" fmla="*/ 854 w 1049"/>
                <a:gd name="T119" fmla="*/ 266 h 851"/>
                <a:gd name="T120" fmla="*/ 854 w 1049"/>
                <a:gd name="T121" fmla="*/ 1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9" h="851">
                  <a:moveTo>
                    <a:pt x="765" y="448"/>
                  </a:moveTo>
                  <a:cubicBezTo>
                    <a:pt x="752" y="377"/>
                    <a:pt x="752" y="377"/>
                    <a:pt x="752" y="377"/>
                  </a:cubicBezTo>
                  <a:cubicBezTo>
                    <a:pt x="752" y="372"/>
                    <a:pt x="748" y="363"/>
                    <a:pt x="735" y="363"/>
                  </a:cubicBezTo>
                  <a:cubicBezTo>
                    <a:pt x="628" y="359"/>
                    <a:pt x="628" y="359"/>
                    <a:pt x="628" y="359"/>
                  </a:cubicBezTo>
                  <a:cubicBezTo>
                    <a:pt x="624" y="350"/>
                    <a:pt x="620" y="341"/>
                    <a:pt x="611" y="333"/>
                  </a:cubicBezTo>
                  <a:cubicBezTo>
                    <a:pt x="664" y="235"/>
                    <a:pt x="664" y="235"/>
                    <a:pt x="664" y="235"/>
                  </a:cubicBezTo>
                  <a:cubicBezTo>
                    <a:pt x="668" y="226"/>
                    <a:pt x="664" y="217"/>
                    <a:pt x="655" y="213"/>
                  </a:cubicBezTo>
                  <a:cubicBezTo>
                    <a:pt x="602" y="168"/>
                    <a:pt x="602" y="168"/>
                    <a:pt x="602" y="168"/>
                  </a:cubicBezTo>
                  <a:cubicBezTo>
                    <a:pt x="598" y="159"/>
                    <a:pt x="584" y="159"/>
                    <a:pt x="580" y="164"/>
                  </a:cubicBezTo>
                  <a:cubicBezTo>
                    <a:pt x="491" y="230"/>
                    <a:pt x="491" y="230"/>
                    <a:pt x="491" y="230"/>
                  </a:cubicBezTo>
                  <a:cubicBezTo>
                    <a:pt x="482" y="226"/>
                    <a:pt x="478" y="226"/>
                    <a:pt x="465" y="221"/>
                  </a:cubicBezTo>
                  <a:cubicBezTo>
                    <a:pt x="438" y="97"/>
                    <a:pt x="438" y="97"/>
                    <a:pt x="438" y="97"/>
                  </a:cubicBezTo>
                  <a:cubicBezTo>
                    <a:pt x="438" y="89"/>
                    <a:pt x="429" y="84"/>
                    <a:pt x="420" y="84"/>
                  </a:cubicBezTo>
                  <a:cubicBezTo>
                    <a:pt x="350" y="84"/>
                    <a:pt x="350" y="84"/>
                    <a:pt x="350" y="84"/>
                  </a:cubicBezTo>
                  <a:cubicBezTo>
                    <a:pt x="341" y="84"/>
                    <a:pt x="332" y="89"/>
                    <a:pt x="328" y="97"/>
                  </a:cubicBezTo>
                  <a:cubicBezTo>
                    <a:pt x="305" y="221"/>
                    <a:pt x="305" y="221"/>
                    <a:pt x="305" y="221"/>
                  </a:cubicBezTo>
                  <a:cubicBezTo>
                    <a:pt x="292" y="226"/>
                    <a:pt x="283" y="226"/>
                    <a:pt x="279" y="230"/>
                  </a:cubicBezTo>
                  <a:cubicBezTo>
                    <a:pt x="190" y="164"/>
                    <a:pt x="190" y="164"/>
                    <a:pt x="190" y="164"/>
                  </a:cubicBezTo>
                  <a:cubicBezTo>
                    <a:pt x="182" y="159"/>
                    <a:pt x="173" y="159"/>
                    <a:pt x="168" y="164"/>
                  </a:cubicBezTo>
                  <a:cubicBezTo>
                    <a:pt x="111" y="213"/>
                    <a:pt x="111" y="213"/>
                    <a:pt x="111" y="213"/>
                  </a:cubicBezTo>
                  <a:cubicBezTo>
                    <a:pt x="106" y="217"/>
                    <a:pt x="106" y="226"/>
                    <a:pt x="106" y="235"/>
                  </a:cubicBezTo>
                  <a:cubicBezTo>
                    <a:pt x="155" y="333"/>
                    <a:pt x="155" y="333"/>
                    <a:pt x="155" y="333"/>
                  </a:cubicBezTo>
                  <a:cubicBezTo>
                    <a:pt x="151" y="341"/>
                    <a:pt x="146" y="350"/>
                    <a:pt x="142" y="359"/>
                  </a:cubicBezTo>
                  <a:cubicBezTo>
                    <a:pt x="35" y="363"/>
                    <a:pt x="35" y="363"/>
                    <a:pt x="35" y="363"/>
                  </a:cubicBezTo>
                  <a:cubicBezTo>
                    <a:pt x="22" y="363"/>
                    <a:pt x="18" y="372"/>
                    <a:pt x="13" y="377"/>
                  </a:cubicBezTo>
                  <a:cubicBezTo>
                    <a:pt x="0" y="448"/>
                    <a:pt x="0" y="448"/>
                    <a:pt x="0" y="448"/>
                  </a:cubicBezTo>
                  <a:cubicBezTo>
                    <a:pt x="0" y="457"/>
                    <a:pt x="4" y="465"/>
                    <a:pt x="13" y="470"/>
                  </a:cubicBezTo>
                  <a:cubicBezTo>
                    <a:pt x="115" y="514"/>
                    <a:pt x="115" y="514"/>
                    <a:pt x="115" y="514"/>
                  </a:cubicBezTo>
                  <a:cubicBezTo>
                    <a:pt x="115" y="523"/>
                    <a:pt x="115" y="532"/>
                    <a:pt x="120" y="545"/>
                  </a:cubicBezTo>
                  <a:cubicBezTo>
                    <a:pt x="40" y="616"/>
                    <a:pt x="40" y="616"/>
                    <a:pt x="40" y="616"/>
                  </a:cubicBezTo>
                  <a:cubicBezTo>
                    <a:pt x="35" y="621"/>
                    <a:pt x="31" y="634"/>
                    <a:pt x="35" y="643"/>
                  </a:cubicBezTo>
                  <a:cubicBezTo>
                    <a:pt x="71" y="705"/>
                    <a:pt x="71" y="705"/>
                    <a:pt x="71" y="705"/>
                  </a:cubicBezTo>
                  <a:cubicBezTo>
                    <a:pt x="75" y="709"/>
                    <a:pt x="84" y="714"/>
                    <a:pt x="93" y="709"/>
                  </a:cubicBezTo>
                  <a:cubicBezTo>
                    <a:pt x="199" y="678"/>
                    <a:pt x="199" y="678"/>
                    <a:pt x="199" y="678"/>
                  </a:cubicBezTo>
                  <a:cubicBezTo>
                    <a:pt x="208" y="687"/>
                    <a:pt x="213" y="692"/>
                    <a:pt x="221" y="700"/>
                  </a:cubicBezTo>
                  <a:cubicBezTo>
                    <a:pt x="208" y="807"/>
                    <a:pt x="208" y="807"/>
                    <a:pt x="208" y="807"/>
                  </a:cubicBezTo>
                  <a:cubicBezTo>
                    <a:pt x="208" y="816"/>
                    <a:pt x="213" y="825"/>
                    <a:pt x="221" y="825"/>
                  </a:cubicBezTo>
                  <a:cubicBezTo>
                    <a:pt x="288" y="851"/>
                    <a:pt x="288" y="851"/>
                    <a:pt x="288" y="851"/>
                  </a:cubicBezTo>
                  <a:cubicBezTo>
                    <a:pt x="297" y="851"/>
                    <a:pt x="305" y="851"/>
                    <a:pt x="310" y="847"/>
                  </a:cubicBezTo>
                  <a:cubicBezTo>
                    <a:pt x="367" y="749"/>
                    <a:pt x="367" y="749"/>
                    <a:pt x="367" y="749"/>
                  </a:cubicBezTo>
                  <a:cubicBezTo>
                    <a:pt x="372" y="749"/>
                    <a:pt x="381" y="754"/>
                    <a:pt x="385" y="754"/>
                  </a:cubicBezTo>
                  <a:cubicBezTo>
                    <a:pt x="389" y="754"/>
                    <a:pt x="394" y="749"/>
                    <a:pt x="398" y="749"/>
                  </a:cubicBezTo>
                  <a:cubicBezTo>
                    <a:pt x="456" y="847"/>
                    <a:pt x="456" y="847"/>
                    <a:pt x="456" y="847"/>
                  </a:cubicBezTo>
                  <a:cubicBezTo>
                    <a:pt x="465" y="851"/>
                    <a:pt x="474" y="851"/>
                    <a:pt x="482" y="851"/>
                  </a:cubicBezTo>
                  <a:cubicBezTo>
                    <a:pt x="549" y="825"/>
                    <a:pt x="549" y="825"/>
                    <a:pt x="549" y="825"/>
                  </a:cubicBezTo>
                  <a:cubicBezTo>
                    <a:pt x="558" y="825"/>
                    <a:pt x="562" y="816"/>
                    <a:pt x="562" y="807"/>
                  </a:cubicBezTo>
                  <a:cubicBezTo>
                    <a:pt x="549" y="700"/>
                    <a:pt x="549" y="700"/>
                    <a:pt x="549" y="700"/>
                  </a:cubicBezTo>
                  <a:cubicBezTo>
                    <a:pt x="553" y="692"/>
                    <a:pt x="562" y="687"/>
                    <a:pt x="571" y="678"/>
                  </a:cubicBezTo>
                  <a:cubicBezTo>
                    <a:pt x="677" y="709"/>
                    <a:pt x="677" y="709"/>
                    <a:pt x="677" y="709"/>
                  </a:cubicBezTo>
                  <a:cubicBezTo>
                    <a:pt x="682" y="714"/>
                    <a:pt x="695" y="709"/>
                    <a:pt x="695" y="705"/>
                  </a:cubicBezTo>
                  <a:cubicBezTo>
                    <a:pt x="735" y="643"/>
                    <a:pt x="735" y="643"/>
                    <a:pt x="735" y="643"/>
                  </a:cubicBezTo>
                  <a:cubicBezTo>
                    <a:pt x="739" y="634"/>
                    <a:pt x="735" y="621"/>
                    <a:pt x="730" y="616"/>
                  </a:cubicBezTo>
                  <a:cubicBezTo>
                    <a:pt x="651" y="545"/>
                    <a:pt x="651" y="545"/>
                    <a:pt x="651" y="545"/>
                  </a:cubicBezTo>
                  <a:cubicBezTo>
                    <a:pt x="651" y="532"/>
                    <a:pt x="651" y="523"/>
                    <a:pt x="655" y="514"/>
                  </a:cubicBezTo>
                  <a:cubicBezTo>
                    <a:pt x="757" y="470"/>
                    <a:pt x="757" y="470"/>
                    <a:pt x="757" y="470"/>
                  </a:cubicBezTo>
                  <a:cubicBezTo>
                    <a:pt x="765" y="465"/>
                    <a:pt x="765" y="461"/>
                    <a:pt x="765" y="448"/>
                  </a:cubicBezTo>
                  <a:close/>
                  <a:moveTo>
                    <a:pt x="535" y="479"/>
                  </a:moveTo>
                  <a:cubicBezTo>
                    <a:pt x="535" y="523"/>
                    <a:pt x="518" y="559"/>
                    <a:pt x="491" y="590"/>
                  </a:cubicBezTo>
                  <a:cubicBezTo>
                    <a:pt x="465" y="616"/>
                    <a:pt x="425" y="634"/>
                    <a:pt x="385" y="634"/>
                  </a:cubicBezTo>
                  <a:cubicBezTo>
                    <a:pt x="341" y="634"/>
                    <a:pt x="305" y="616"/>
                    <a:pt x="279" y="590"/>
                  </a:cubicBezTo>
                  <a:cubicBezTo>
                    <a:pt x="252" y="559"/>
                    <a:pt x="235" y="523"/>
                    <a:pt x="235" y="479"/>
                  </a:cubicBezTo>
                  <a:cubicBezTo>
                    <a:pt x="235" y="439"/>
                    <a:pt x="252" y="399"/>
                    <a:pt x="279" y="372"/>
                  </a:cubicBezTo>
                  <a:cubicBezTo>
                    <a:pt x="305" y="346"/>
                    <a:pt x="341" y="328"/>
                    <a:pt x="385" y="328"/>
                  </a:cubicBezTo>
                  <a:cubicBezTo>
                    <a:pt x="425" y="328"/>
                    <a:pt x="465" y="346"/>
                    <a:pt x="491" y="372"/>
                  </a:cubicBezTo>
                  <a:cubicBezTo>
                    <a:pt x="518" y="399"/>
                    <a:pt x="535" y="439"/>
                    <a:pt x="535" y="479"/>
                  </a:cubicBezTo>
                  <a:close/>
                  <a:moveTo>
                    <a:pt x="314" y="479"/>
                  </a:moveTo>
                  <a:cubicBezTo>
                    <a:pt x="314" y="443"/>
                    <a:pt x="345" y="412"/>
                    <a:pt x="385" y="412"/>
                  </a:cubicBezTo>
                  <a:cubicBezTo>
                    <a:pt x="425" y="412"/>
                    <a:pt x="456" y="443"/>
                    <a:pt x="456" y="479"/>
                  </a:cubicBezTo>
                  <a:cubicBezTo>
                    <a:pt x="456" y="519"/>
                    <a:pt x="425" y="550"/>
                    <a:pt x="385" y="550"/>
                  </a:cubicBezTo>
                  <a:cubicBezTo>
                    <a:pt x="345" y="550"/>
                    <a:pt x="314" y="519"/>
                    <a:pt x="314" y="479"/>
                  </a:cubicBezTo>
                  <a:close/>
                  <a:moveTo>
                    <a:pt x="1000" y="235"/>
                  </a:moveTo>
                  <a:cubicBezTo>
                    <a:pt x="1000" y="230"/>
                    <a:pt x="1005" y="217"/>
                    <a:pt x="1005" y="208"/>
                  </a:cubicBezTo>
                  <a:cubicBezTo>
                    <a:pt x="1005" y="199"/>
                    <a:pt x="1000" y="191"/>
                    <a:pt x="1000" y="182"/>
                  </a:cubicBezTo>
                  <a:cubicBezTo>
                    <a:pt x="1040" y="142"/>
                    <a:pt x="1040" y="142"/>
                    <a:pt x="1040" y="142"/>
                  </a:cubicBezTo>
                  <a:cubicBezTo>
                    <a:pt x="1049" y="142"/>
                    <a:pt x="1049" y="133"/>
                    <a:pt x="1049" y="128"/>
                  </a:cubicBezTo>
                  <a:cubicBezTo>
                    <a:pt x="1049" y="128"/>
                    <a:pt x="1049" y="124"/>
                    <a:pt x="1049" y="119"/>
                  </a:cubicBezTo>
                  <a:cubicBezTo>
                    <a:pt x="1027" y="89"/>
                    <a:pt x="1027" y="89"/>
                    <a:pt x="1027" y="89"/>
                  </a:cubicBezTo>
                  <a:cubicBezTo>
                    <a:pt x="1022" y="84"/>
                    <a:pt x="1018" y="80"/>
                    <a:pt x="1009" y="80"/>
                  </a:cubicBezTo>
                  <a:cubicBezTo>
                    <a:pt x="1009" y="80"/>
                    <a:pt x="1009" y="80"/>
                    <a:pt x="1005" y="80"/>
                  </a:cubicBezTo>
                  <a:cubicBezTo>
                    <a:pt x="951" y="97"/>
                    <a:pt x="951" y="97"/>
                    <a:pt x="951" y="97"/>
                  </a:cubicBezTo>
                  <a:cubicBezTo>
                    <a:pt x="938" y="84"/>
                    <a:pt x="921" y="75"/>
                    <a:pt x="903" y="71"/>
                  </a:cubicBezTo>
                  <a:cubicBezTo>
                    <a:pt x="889" y="13"/>
                    <a:pt x="889" y="13"/>
                    <a:pt x="889" y="13"/>
                  </a:cubicBezTo>
                  <a:cubicBezTo>
                    <a:pt x="889" y="9"/>
                    <a:pt x="881" y="0"/>
                    <a:pt x="872" y="0"/>
                  </a:cubicBezTo>
                  <a:cubicBezTo>
                    <a:pt x="837" y="0"/>
                    <a:pt x="837" y="0"/>
                    <a:pt x="837" y="0"/>
                  </a:cubicBezTo>
                  <a:cubicBezTo>
                    <a:pt x="828" y="0"/>
                    <a:pt x="819" y="9"/>
                    <a:pt x="819" y="13"/>
                  </a:cubicBezTo>
                  <a:cubicBezTo>
                    <a:pt x="806" y="71"/>
                    <a:pt x="806" y="71"/>
                    <a:pt x="806" y="71"/>
                  </a:cubicBezTo>
                  <a:cubicBezTo>
                    <a:pt x="788" y="75"/>
                    <a:pt x="770" y="84"/>
                    <a:pt x="757" y="97"/>
                  </a:cubicBezTo>
                  <a:cubicBezTo>
                    <a:pt x="704" y="80"/>
                    <a:pt x="704" y="80"/>
                    <a:pt x="704" y="80"/>
                  </a:cubicBezTo>
                  <a:cubicBezTo>
                    <a:pt x="699" y="80"/>
                    <a:pt x="699" y="80"/>
                    <a:pt x="699" y="80"/>
                  </a:cubicBezTo>
                  <a:cubicBezTo>
                    <a:pt x="690" y="80"/>
                    <a:pt x="686" y="84"/>
                    <a:pt x="682" y="89"/>
                  </a:cubicBezTo>
                  <a:cubicBezTo>
                    <a:pt x="664" y="119"/>
                    <a:pt x="664" y="119"/>
                    <a:pt x="664" y="119"/>
                  </a:cubicBezTo>
                  <a:cubicBezTo>
                    <a:pt x="659" y="124"/>
                    <a:pt x="659" y="128"/>
                    <a:pt x="659" y="128"/>
                  </a:cubicBezTo>
                  <a:cubicBezTo>
                    <a:pt x="659" y="133"/>
                    <a:pt x="664" y="142"/>
                    <a:pt x="664" y="142"/>
                  </a:cubicBezTo>
                  <a:cubicBezTo>
                    <a:pt x="712" y="182"/>
                    <a:pt x="712" y="182"/>
                    <a:pt x="712" y="182"/>
                  </a:cubicBezTo>
                  <a:cubicBezTo>
                    <a:pt x="708" y="191"/>
                    <a:pt x="704" y="199"/>
                    <a:pt x="704" y="208"/>
                  </a:cubicBezTo>
                  <a:cubicBezTo>
                    <a:pt x="704" y="217"/>
                    <a:pt x="708" y="226"/>
                    <a:pt x="712" y="235"/>
                  </a:cubicBezTo>
                  <a:cubicBezTo>
                    <a:pt x="664" y="275"/>
                    <a:pt x="664" y="275"/>
                    <a:pt x="664" y="275"/>
                  </a:cubicBezTo>
                  <a:cubicBezTo>
                    <a:pt x="664" y="279"/>
                    <a:pt x="659" y="284"/>
                    <a:pt x="659" y="288"/>
                  </a:cubicBezTo>
                  <a:cubicBezTo>
                    <a:pt x="659" y="292"/>
                    <a:pt x="659" y="292"/>
                    <a:pt x="664" y="297"/>
                  </a:cubicBezTo>
                  <a:cubicBezTo>
                    <a:pt x="682" y="328"/>
                    <a:pt x="682" y="328"/>
                    <a:pt x="682" y="328"/>
                  </a:cubicBezTo>
                  <a:cubicBezTo>
                    <a:pt x="686" y="337"/>
                    <a:pt x="690" y="337"/>
                    <a:pt x="699" y="337"/>
                  </a:cubicBezTo>
                  <a:cubicBezTo>
                    <a:pt x="699" y="337"/>
                    <a:pt x="699" y="337"/>
                    <a:pt x="704" y="337"/>
                  </a:cubicBezTo>
                  <a:cubicBezTo>
                    <a:pt x="757" y="319"/>
                    <a:pt x="757" y="319"/>
                    <a:pt x="757" y="319"/>
                  </a:cubicBezTo>
                  <a:cubicBezTo>
                    <a:pt x="770" y="333"/>
                    <a:pt x="788" y="341"/>
                    <a:pt x="806" y="346"/>
                  </a:cubicBezTo>
                  <a:cubicBezTo>
                    <a:pt x="819" y="403"/>
                    <a:pt x="819" y="403"/>
                    <a:pt x="819" y="403"/>
                  </a:cubicBezTo>
                  <a:cubicBezTo>
                    <a:pt x="819" y="412"/>
                    <a:pt x="828" y="417"/>
                    <a:pt x="837" y="417"/>
                  </a:cubicBezTo>
                  <a:cubicBezTo>
                    <a:pt x="872" y="417"/>
                    <a:pt x="872" y="417"/>
                    <a:pt x="872" y="417"/>
                  </a:cubicBezTo>
                  <a:cubicBezTo>
                    <a:pt x="881" y="417"/>
                    <a:pt x="889" y="412"/>
                    <a:pt x="889" y="403"/>
                  </a:cubicBezTo>
                  <a:cubicBezTo>
                    <a:pt x="903" y="350"/>
                    <a:pt x="903" y="350"/>
                    <a:pt x="903" y="350"/>
                  </a:cubicBezTo>
                  <a:cubicBezTo>
                    <a:pt x="921" y="341"/>
                    <a:pt x="938" y="333"/>
                    <a:pt x="951" y="319"/>
                  </a:cubicBezTo>
                  <a:cubicBezTo>
                    <a:pt x="1005" y="337"/>
                    <a:pt x="1005" y="337"/>
                    <a:pt x="1005" y="337"/>
                  </a:cubicBezTo>
                  <a:cubicBezTo>
                    <a:pt x="1009" y="337"/>
                    <a:pt x="1009" y="337"/>
                    <a:pt x="1009" y="337"/>
                  </a:cubicBezTo>
                  <a:cubicBezTo>
                    <a:pt x="1018" y="337"/>
                    <a:pt x="1022" y="337"/>
                    <a:pt x="1027" y="328"/>
                  </a:cubicBezTo>
                  <a:cubicBezTo>
                    <a:pt x="1049" y="297"/>
                    <a:pt x="1049" y="297"/>
                    <a:pt x="1049" y="297"/>
                  </a:cubicBezTo>
                  <a:cubicBezTo>
                    <a:pt x="1049" y="292"/>
                    <a:pt x="1049" y="292"/>
                    <a:pt x="1049" y="288"/>
                  </a:cubicBezTo>
                  <a:cubicBezTo>
                    <a:pt x="1049" y="284"/>
                    <a:pt x="1049" y="279"/>
                    <a:pt x="1040" y="275"/>
                  </a:cubicBezTo>
                  <a:cubicBezTo>
                    <a:pt x="1000" y="235"/>
                    <a:pt x="1000" y="235"/>
                    <a:pt x="1000" y="235"/>
                  </a:cubicBezTo>
                  <a:cubicBezTo>
                    <a:pt x="1000" y="235"/>
                    <a:pt x="1000" y="235"/>
                    <a:pt x="1000" y="235"/>
                  </a:cubicBezTo>
                  <a:close/>
                  <a:moveTo>
                    <a:pt x="912" y="208"/>
                  </a:moveTo>
                  <a:cubicBezTo>
                    <a:pt x="912" y="239"/>
                    <a:pt x="885" y="266"/>
                    <a:pt x="854" y="266"/>
                  </a:cubicBezTo>
                  <a:cubicBezTo>
                    <a:pt x="823" y="266"/>
                    <a:pt x="797" y="239"/>
                    <a:pt x="797" y="208"/>
                  </a:cubicBezTo>
                  <a:cubicBezTo>
                    <a:pt x="797" y="177"/>
                    <a:pt x="823" y="151"/>
                    <a:pt x="854" y="151"/>
                  </a:cubicBezTo>
                  <a:cubicBezTo>
                    <a:pt x="885" y="151"/>
                    <a:pt x="912" y="177"/>
                    <a:pt x="912" y="208"/>
                  </a:cubicBezTo>
                  <a:close/>
                </a:path>
              </a:pathLst>
            </a:custGeom>
            <a:grpFill/>
            <a:ln>
              <a:noFill/>
            </a:ln>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00" name="Freeform 699"/>
            <p:cNvSpPr>
              <a:spLocks/>
            </p:cNvSpPr>
            <p:nvPr/>
          </p:nvSpPr>
          <p:spPr bwMode="auto">
            <a:xfrm>
              <a:off x="2828430" y="4590555"/>
              <a:ext cx="58634" cy="136728"/>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701" name="Freeform 700"/>
            <p:cNvSpPr>
              <a:spLocks noEditPoints="1"/>
            </p:cNvSpPr>
            <p:nvPr/>
          </p:nvSpPr>
          <p:spPr bwMode="auto">
            <a:xfrm>
              <a:off x="2920045" y="4590555"/>
              <a:ext cx="95280" cy="141317"/>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nvGrpSpPr>
            <p:cNvPr id="702" name="Group 701"/>
            <p:cNvGrpSpPr/>
            <p:nvPr/>
          </p:nvGrpSpPr>
          <p:grpSpPr>
            <a:xfrm>
              <a:off x="1605936" y="4456906"/>
              <a:ext cx="194072" cy="217739"/>
              <a:chOff x="6495975" y="3510751"/>
              <a:chExt cx="306572" cy="343958"/>
            </a:xfrm>
            <a:grpFill/>
          </p:grpSpPr>
          <p:sp>
            <p:nvSpPr>
              <p:cNvPr id="743" name="Freeform 742"/>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44" name="Freeform 743"/>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45" name="Freeform 744"/>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grpSp>
        <p:sp>
          <p:nvSpPr>
            <p:cNvPr id="703" name="Freeform 702"/>
            <p:cNvSpPr>
              <a:spLocks noEditPoints="1"/>
            </p:cNvSpPr>
            <p:nvPr/>
          </p:nvSpPr>
          <p:spPr bwMode="auto">
            <a:xfrm>
              <a:off x="2663063" y="4427215"/>
              <a:ext cx="95280" cy="139481"/>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704" name="Freeform 703"/>
            <p:cNvSpPr>
              <a:spLocks noEditPoints="1"/>
            </p:cNvSpPr>
            <p:nvPr/>
          </p:nvSpPr>
          <p:spPr bwMode="auto">
            <a:xfrm>
              <a:off x="2533063" y="4427215"/>
              <a:ext cx="95280" cy="139481"/>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705" name="Freeform 704"/>
            <p:cNvSpPr>
              <a:spLocks noEditPoints="1"/>
            </p:cNvSpPr>
            <p:nvPr/>
          </p:nvSpPr>
          <p:spPr bwMode="auto">
            <a:xfrm>
              <a:off x="2404020" y="4427215"/>
              <a:ext cx="95280" cy="139481"/>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706" name="Freeform 705"/>
            <p:cNvSpPr>
              <a:spLocks/>
            </p:cNvSpPr>
            <p:nvPr/>
          </p:nvSpPr>
          <p:spPr bwMode="auto">
            <a:xfrm>
              <a:off x="959828" y="4428131"/>
              <a:ext cx="58634" cy="137646"/>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707" name="Freeform 706"/>
            <p:cNvSpPr>
              <a:spLocks noEditPoints="1"/>
            </p:cNvSpPr>
            <p:nvPr/>
          </p:nvSpPr>
          <p:spPr bwMode="auto">
            <a:xfrm>
              <a:off x="2667870" y="2471750"/>
              <a:ext cx="277372" cy="277364"/>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w="9525" cap="flat" cmpd="sng" algn="ctr">
              <a:noFill/>
              <a:prstDash val="solid"/>
              <a:headEnd type="none" w="med" len="med"/>
              <a:tailEnd type="none" w="med" len="med"/>
            </a:ln>
            <a:effectLst/>
            <a:extLst/>
          </p:spPr>
          <p:txBody>
            <a:bodyPr rot="0" spcFirstLastPara="0" vert="horz" wrap="square" lIns="93019" tIns="74416" rIns="93019" bIns="74416" numCol="1" spcCol="0" rtlCol="0" fromWordArt="0" anchor="t"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ctr" defTabSz="474208" rtl="0" eaLnBrk="1" fontAlgn="base" latinLnBrk="0" hangingPunct="1">
                <a:lnSpc>
                  <a:spcPct val="90000"/>
                </a:lnSpc>
                <a:spcBef>
                  <a:spcPct val="0"/>
                </a:spcBef>
                <a:spcAft>
                  <a:spcPct val="0"/>
                </a:spcAft>
                <a:buClrTx/>
                <a:buSzTx/>
                <a:buFontTx/>
                <a:buNone/>
                <a:tabLst/>
                <a:defRPr/>
              </a:pPr>
              <a:endParaRPr kumimoji="0" lang="en-US" sz="122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707"/>
            <p:cNvSpPr>
              <a:spLocks noEditPoints="1"/>
            </p:cNvSpPr>
            <p:nvPr/>
          </p:nvSpPr>
          <p:spPr bwMode="auto">
            <a:xfrm>
              <a:off x="2681447" y="3647307"/>
              <a:ext cx="306196" cy="370508"/>
            </a:xfrm>
            <a:custGeom>
              <a:avLst/>
              <a:gdLst>
                <a:gd name="T0" fmla="*/ 107 w 136"/>
                <a:gd name="T1" fmla="*/ 140 h 164"/>
                <a:gd name="T2" fmla="*/ 105 w 136"/>
                <a:gd name="T3" fmla="*/ 138 h 164"/>
                <a:gd name="T4" fmla="*/ 133 w 136"/>
                <a:gd name="T5" fmla="*/ 119 h 164"/>
                <a:gd name="T6" fmla="*/ 114 w 136"/>
                <a:gd name="T7" fmla="*/ 0 h 164"/>
                <a:gd name="T8" fmla="*/ 3 w 136"/>
                <a:gd name="T9" fmla="*/ 19 h 164"/>
                <a:gd name="T10" fmla="*/ 23 w 136"/>
                <a:gd name="T11" fmla="*/ 138 h 164"/>
                <a:gd name="T12" fmla="*/ 0 w 136"/>
                <a:gd name="T13" fmla="*/ 164 h 164"/>
                <a:gd name="T14" fmla="*/ 22 w 136"/>
                <a:gd name="T15" fmla="*/ 156 h 164"/>
                <a:gd name="T16" fmla="*/ 122 w 136"/>
                <a:gd name="T17" fmla="*/ 164 h 164"/>
                <a:gd name="T18" fmla="*/ 107 w 136"/>
                <a:gd name="T19" fmla="*/ 140 h 164"/>
                <a:gd name="T20" fmla="*/ 99 w 136"/>
                <a:gd name="T21" fmla="*/ 114 h 164"/>
                <a:gd name="T22" fmla="*/ 118 w 136"/>
                <a:gd name="T23" fmla="*/ 114 h 164"/>
                <a:gd name="T24" fmla="*/ 40 w 136"/>
                <a:gd name="T25" fmla="*/ 17 h 164"/>
                <a:gd name="T26" fmla="*/ 61 w 136"/>
                <a:gd name="T27" fmla="*/ 15 h 164"/>
                <a:gd name="T28" fmla="*/ 95 w 136"/>
                <a:gd name="T29" fmla="*/ 15 h 164"/>
                <a:gd name="T30" fmla="*/ 97 w 136"/>
                <a:gd name="T31" fmla="*/ 22 h 164"/>
                <a:gd name="T32" fmla="*/ 76 w 136"/>
                <a:gd name="T33" fmla="*/ 24 h 164"/>
                <a:gd name="T34" fmla="*/ 42 w 136"/>
                <a:gd name="T35" fmla="*/ 24 h 164"/>
                <a:gd name="T36" fmla="*/ 40 w 136"/>
                <a:gd name="T37" fmla="*/ 17 h 164"/>
                <a:gd name="T38" fmla="*/ 24 w 136"/>
                <a:gd name="T39" fmla="*/ 33 h 164"/>
                <a:gd name="T40" fmla="*/ 118 w 136"/>
                <a:gd name="T41" fmla="*/ 37 h 164"/>
                <a:gd name="T42" fmla="*/ 113 w 136"/>
                <a:gd name="T43" fmla="*/ 96 h 164"/>
                <a:gd name="T44" fmla="*/ 19 w 136"/>
                <a:gd name="T45" fmla="*/ 92 h 164"/>
                <a:gd name="T46" fmla="*/ 96 w 136"/>
                <a:gd name="T47" fmla="*/ 138 h 164"/>
                <a:gd name="T48" fmla="*/ 39 w 136"/>
                <a:gd name="T49" fmla="*/ 140 h 164"/>
                <a:gd name="T50" fmla="*/ 96 w 136"/>
                <a:gd name="T51" fmla="*/ 138 h 164"/>
                <a:gd name="T52" fmla="*/ 53 w 136"/>
                <a:gd name="T53" fmla="*/ 122 h 164"/>
                <a:gd name="T54" fmla="*/ 81 w 136"/>
                <a:gd name="T55" fmla="*/ 119 h 164"/>
                <a:gd name="T56" fmla="*/ 84 w 136"/>
                <a:gd name="T57" fmla="*/ 129 h 164"/>
                <a:gd name="T58" fmla="*/ 55 w 136"/>
                <a:gd name="T59" fmla="*/ 132 h 164"/>
                <a:gd name="T60" fmla="*/ 28 w 136"/>
                <a:gd name="T61" fmla="*/ 123 h 164"/>
                <a:gd name="T62" fmla="*/ 28 w 136"/>
                <a:gd name="T63" fmla="*/ 104 h 164"/>
                <a:gd name="T64" fmla="*/ 28 w 136"/>
                <a:gd name="T65" fmla="*/ 123 h 164"/>
                <a:gd name="T66" fmla="*/ 35 w 136"/>
                <a:gd name="T67" fmla="*/ 143 h 164"/>
                <a:gd name="T68" fmla="*/ 109 w 136"/>
                <a:gd name="T69" fmla="*/ 15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164">
                  <a:moveTo>
                    <a:pt x="107" y="140"/>
                  </a:moveTo>
                  <a:cubicBezTo>
                    <a:pt x="107" y="140"/>
                    <a:pt x="107" y="140"/>
                    <a:pt x="107" y="140"/>
                  </a:cubicBezTo>
                  <a:cubicBezTo>
                    <a:pt x="107" y="140"/>
                    <a:pt x="107" y="140"/>
                    <a:pt x="107" y="140"/>
                  </a:cubicBezTo>
                  <a:cubicBezTo>
                    <a:pt x="105" y="138"/>
                    <a:pt x="105" y="138"/>
                    <a:pt x="105" y="138"/>
                  </a:cubicBezTo>
                  <a:cubicBezTo>
                    <a:pt x="114" y="138"/>
                    <a:pt x="114" y="138"/>
                    <a:pt x="114" y="138"/>
                  </a:cubicBezTo>
                  <a:cubicBezTo>
                    <a:pt x="125" y="138"/>
                    <a:pt x="133" y="129"/>
                    <a:pt x="133" y="119"/>
                  </a:cubicBezTo>
                  <a:cubicBezTo>
                    <a:pt x="133" y="19"/>
                    <a:pt x="133" y="19"/>
                    <a:pt x="133" y="19"/>
                  </a:cubicBezTo>
                  <a:cubicBezTo>
                    <a:pt x="133" y="9"/>
                    <a:pt x="125" y="0"/>
                    <a:pt x="114" y="0"/>
                  </a:cubicBezTo>
                  <a:cubicBezTo>
                    <a:pt x="23" y="0"/>
                    <a:pt x="23" y="0"/>
                    <a:pt x="23" y="0"/>
                  </a:cubicBezTo>
                  <a:cubicBezTo>
                    <a:pt x="12" y="0"/>
                    <a:pt x="3" y="9"/>
                    <a:pt x="3" y="19"/>
                  </a:cubicBezTo>
                  <a:cubicBezTo>
                    <a:pt x="3" y="119"/>
                    <a:pt x="3" y="119"/>
                    <a:pt x="3" y="119"/>
                  </a:cubicBezTo>
                  <a:cubicBezTo>
                    <a:pt x="3" y="129"/>
                    <a:pt x="12" y="138"/>
                    <a:pt x="23" y="138"/>
                  </a:cubicBezTo>
                  <a:cubicBezTo>
                    <a:pt x="32" y="138"/>
                    <a:pt x="32" y="138"/>
                    <a:pt x="32" y="138"/>
                  </a:cubicBezTo>
                  <a:cubicBezTo>
                    <a:pt x="0" y="164"/>
                    <a:pt x="0" y="164"/>
                    <a:pt x="0" y="164"/>
                  </a:cubicBezTo>
                  <a:cubicBezTo>
                    <a:pt x="14" y="164"/>
                    <a:pt x="14" y="164"/>
                    <a:pt x="14" y="164"/>
                  </a:cubicBezTo>
                  <a:cubicBezTo>
                    <a:pt x="22" y="156"/>
                    <a:pt x="22" y="156"/>
                    <a:pt x="22" y="156"/>
                  </a:cubicBezTo>
                  <a:cubicBezTo>
                    <a:pt x="114" y="156"/>
                    <a:pt x="114" y="156"/>
                    <a:pt x="114" y="156"/>
                  </a:cubicBezTo>
                  <a:cubicBezTo>
                    <a:pt x="122" y="164"/>
                    <a:pt x="122" y="164"/>
                    <a:pt x="122" y="164"/>
                  </a:cubicBezTo>
                  <a:cubicBezTo>
                    <a:pt x="136" y="164"/>
                    <a:pt x="136" y="164"/>
                    <a:pt x="136" y="164"/>
                  </a:cubicBezTo>
                  <a:cubicBezTo>
                    <a:pt x="107" y="140"/>
                    <a:pt x="107" y="140"/>
                    <a:pt x="107" y="140"/>
                  </a:cubicBezTo>
                  <a:close/>
                  <a:moveTo>
                    <a:pt x="109" y="123"/>
                  </a:moveTo>
                  <a:cubicBezTo>
                    <a:pt x="104" y="123"/>
                    <a:pt x="99" y="119"/>
                    <a:pt x="99" y="114"/>
                  </a:cubicBezTo>
                  <a:cubicBezTo>
                    <a:pt x="99" y="109"/>
                    <a:pt x="104" y="104"/>
                    <a:pt x="109" y="104"/>
                  </a:cubicBezTo>
                  <a:cubicBezTo>
                    <a:pt x="114" y="104"/>
                    <a:pt x="118" y="109"/>
                    <a:pt x="118" y="114"/>
                  </a:cubicBezTo>
                  <a:cubicBezTo>
                    <a:pt x="118" y="119"/>
                    <a:pt x="114" y="123"/>
                    <a:pt x="109" y="123"/>
                  </a:cubicBezTo>
                  <a:close/>
                  <a:moveTo>
                    <a:pt x="40" y="17"/>
                  </a:moveTo>
                  <a:cubicBezTo>
                    <a:pt x="40" y="16"/>
                    <a:pt x="41" y="15"/>
                    <a:pt x="42" y="15"/>
                  </a:cubicBezTo>
                  <a:cubicBezTo>
                    <a:pt x="61" y="15"/>
                    <a:pt x="61" y="15"/>
                    <a:pt x="61" y="15"/>
                  </a:cubicBezTo>
                  <a:cubicBezTo>
                    <a:pt x="76" y="15"/>
                    <a:pt x="76" y="15"/>
                    <a:pt x="76" y="15"/>
                  </a:cubicBezTo>
                  <a:cubicBezTo>
                    <a:pt x="95" y="15"/>
                    <a:pt x="95" y="15"/>
                    <a:pt x="95" y="15"/>
                  </a:cubicBezTo>
                  <a:cubicBezTo>
                    <a:pt x="96" y="15"/>
                    <a:pt x="97" y="16"/>
                    <a:pt x="97" y="17"/>
                  </a:cubicBezTo>
                  <a:cubicBezTo>
                    <a:pt x="97" y="22"/>
                    <a:pt x="97" y="22"/>
                    <a:pt x="97" y="22"/>
                  </a:cubicBezTo>
                  <a:cubicBezTo>
                    <a:pt x="97" y="23"/>
                    <a:pt x="96" y="24"/>
                    <a:pt x="95" y="24"/>
                  </a:cubicBezTo>
                  <a:cubicBezTo>
                    <a:pt x="76" y="24"/>
                    <a:pt x="76" y="24"/>
                    <a:pt x="76" y="24"/>
                  </a:cubicBezTo>
                  <a:cubicBezTo>
                    <a:pt x="61" y="24"/>
                    <a:pt x="61" y="24"/>
                    <a:pt x="61" y="24"/>
                  </a:cubicBezTo>
                  <a:cubicBezTo>
                    <a:pt x="42" y="24"/>
                    <a:pt x="42" y="24"/>
                    <a:pt x="42" y="24"/>
                  </a:cubicBezTo>
                  <a:cubicBezTo>
                    <a:pt x="41" y="24"/>
                    <a:pt x="40" y="23"/>
                    <a:pt x="40" y="22"/>
                  </a:cubicBezTo>
                  <a:cubicBezTo>
                    <a:pt x="40" y="17"/>
                    <a:pt x="40" y="17"/>
                    <a:pt x="40" y="17"/>
                  </a:cubicBezTo>
                  <a:close/>
                  <a:moveTo>
                    <a:pt x="19" y="37"/>
                  </a:moveTo>
                  <a:cubicBezTo>
                    <a:pt x="19" y="34"/>
                    <a:pt x="21" y="33"/>
                    <a:pt x="24" y="33"/>
                  </a:cubicBezTo>
                  <a:cubicBezTo>
                    <a:pt x="113" y="33"/>
                    <a:pt x="113" y="33"/>
                    <a:pt x="113" y="33"/>
                  </a:cubicBezTo>
                  <a:cubicBezTo>
                    <a:pt x="116" y="33"/>
                    <a:pt x="118" y="34"/>
                    <a:pt x="118" y="37"/>
                  </a:cubicBezTo>
                  <a:cubicBezTo>
                    <a:pt x="118" y="92"/>
                    <a:pt x="118" y="92"/>
                    <a:pt x="118" y="92"/>
                  </a:cubicBezTo>
                  <a:cubicBezTo>
                    <a:pt x="118" y="94"/>
                    <a:pt x="116" y="96"/>
                    <a:pt x="113" y="96"/>
                  </a:cubicBezTo>
                  <a:cubicBezTo>
                    <a:pt x="24" y="96"/>
                    <a:pt x="24" y="96"/>
                    <a:pt x="24" y="96"/>
                  </a:cubicBezTo>
                  <a:cubicBezTo>
                    <a:pt x="21" y="96"/>
                    <a:pt x="19" y="94"/>
                    <a:pt x="19" y="92"/>
                  </a:cubicBezTo>
                  <a:cubicBezTo>
                    <a:pt x="19" y="37"/>
                    <a:pt x="19" y="37"/>
                    <a:pt x="19" y="37"/>
                  </a:cubicBezTo>
                  <a:close/>
                  <a:moveTo>
                    <a:pt x="96" y="138"/>
                  </a:moveTo>
                  <a:cubicBezTo>
                    <a:pt x="98" y="140"/>
                    <a:pt x="98" y="140"/>
                    <a:pt x="98" y="140"/>
                  </a:cubicBezTo>
                  <a:cubicBezTo>
                    <a:pt x="39" y="140"/>
                    <a:pt x="39" y="140"/>
                    <a:pt x="39" y="140"/>
                  </a:cubicBezTo>
                  <a:cubicBezTo>
                    <a:pt x="41" y="138"/>
                    <a:pt x="41" y="138"/>
                    <a:pt x="41" y="138"/>
                  </a:cubicBezTo>
                  <a:lnTo>
                    <a:pt x="96" y="138"/>
                  </a:lnTo>
                  <a:close/>
                  <a:moveTo>
                    <a:pt x="53" y="129"/>
                  </a:moveTo>
                  <a:cubicBezTo>
                    <a:pt x="53" y="122"/>
                    <a:pt x="53" y="122"/>
                    <a:pt x="53" y="122"/>
                  </a:cubicBezTo>
                  <a:cubicBezTo>
                    <a:pt x="53" y="120"/>
                    <a:pt x="54" y="119"/>
                    <a:pt x="55" y="119"/>
                  </a:cubicBezTo>
                  <a:cubicBezTo>
                    <a:pt x="81" y="119"/>
                    <a:pt x="81" y="119"/>
                    <a:pt x="81" y="119"/>
                  </a:cubicBezTo>
                  <a:cubicBezTo>
                    <a:pt x="83" y="119"/>
                    <a:pt x="84" y="120"/>
                    <a:pt x="84" y="122"/>
                  </a:cubicBezTo>
                  <a:cubicBezTo>
                    <a:pt x="84" y="129"/>
                    <a:pt x="84" y="129"/>
                    <a:pt x="84" y="129"/>
                  </a:cubicBezTo>
                  <a:cubicBezTo>
                    <a:pt x="84" y="130"/>
                    <a:pt x="83" y="132"/>
                    <a:pt x="81" y="132"/>
                  </a:cubicBezTo>
                  <a:cubicBezTo>
                    <a:pt x="55" y="132"/>
                    <a:pt x="55" y="132"/>
                    <a:pt x="55" y="132"/>
                  </a:cubicBezTo>
                  <a:cubicBezTo>
                    <a:pt x="54" y="132"/>
                    <a:pt x="53" y="130"/>
                    <a:pt x="53" y="129"/>
                  </a:cubicBezTo>
                  <a:close/>
                  <a:moveTo>
                    <a:pt x="28" y="123"/>
                  </a:moveTo>
                  <a:cubicBezTo>
                    <a:pt x="23" y="123"/>
                    <a:pt x="19" y="119"/>
                    <a:pt x="19" y="114"/>
                  </a:cubicBezTo>
                  <a:cubicBezTo>
                    <a:pt x="19" y="109"/>
                    <a:pt x="23" y="104"/>
                    <a:pt x="28" y="104"/>
                  </a:cubicBezTo>
                  <a:cubicBezTo>
                    <a:pt x="33" y="104"/>
                    <a:pt x="37" y="109"/>
                    <a:pt x="37" y="114"/>
                  </a:cubicBezTo>
                  <a:cubicBezTo>
                    <a:pt x="37" y="119"/>
                    <a:pt x="33" y="123"/>
                    <a:pt x="28" y="123"/>
                  </a:cubicBezTo>
                  <a:close/>
                  <a:moveTo>
                    <a:pt x="27" y="151"/>
                  </a:moveTo>
                  <a:cubicBezTo>
                    <a:pt x="35" y="143"/>
                    <a:pt x="35" y="143"/>
                    <a:pt x="35" y="143"/>
                  </a:cubicBezTo>
                  <a:cubicBezTo>
                    <a:pt x="101" y="143"/>
                    <a:pt x="101" y="143"/>
                    <a:pt x="101" y="143"/>
                  </a:cubicBezTo>
                  <a:cubicBezTo>
                    <a:pt x="109" y="151"/>
                    <a:pt x="109" y="151"/>
                    <a:pt x="109" y="151"/>
                  </a:cubicBezTo>
                  <a:lnTo>
                    <a:pt x="27" y="151"/>
                  </a:lnTo>
                  <a:close/>
                </a:path>
              </a:pathLst>
            </a:custGeom>
            <a:grpFill/>
            <a:ln>
              <a:noFill/>
            </a:ln>
            <a:extLst/>
          </p:spPr>
          <p:txBody>
            <a:bodyPr vert="horz" wrap="square" lIns="89616" tIns="44808" rIns="89616" bIns="44808"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04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latin typeface="Segoe UI"/>
                <a:ea typeface="+mn-ea"/>
                <a:cs typeface="+mn-cs"/>
              </a:endParaRPr>
            </a:p>
          </p:txBody>
        </p:sp>
        <p:sp>
          <p:nvSpPr>
            <p:cNvPr id="709" name="Freeform 708"/>
            <p:cNvSpPr>
              <a:spLocks/>
            </p:cNvSpPr>
            <p:nvPr/>
          </p:nvSpPr>
          <p:spPr bwMode="auto">
            <a:xfrm>
              <a:off x="3023669" y="3769268"/>
              <a:ext cx="55886" cy="136728"/>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710" name="Freeform 709"/>
            <p:cNvSpPr>
              <a:spLocks/>
            </p:cNvSpPr>
            <p:nvPr/>
          </p:nvSpPr>
          <p:spPr bwMode="auto">
            <a:xfrm>
              <a:off x="2576229" y="3604094"/>
              <a:ext cx="58634" cy="136728"/>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711" name="Freeform 710"/>
            <p:cNvSpPr>
              <a:spLocks/>
            </p:cNvSpPr>
            <p:nvPr/>
          </p:nvSpPr>
          <p:spPr bwMode="auto">
            <a:xfrm>
              <a:off x="2467159" y="3604094"/>
              <a:ext cx="58634" cy="136728"/>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712" name="Freeform 711"/>
            <p:cNvSpPr>
              <a:spLocks noEditPoints="1"/>
            </p:cNvSpPr>
            <p:nvPr/>
          </p:nvSpPr>
          <p:spPr bwMode="auto">
            <a:xfrm>
              <a:off x="2318251" y="3766879"/>
              <a:ext cx="97113" cy="141317"/>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713" name="Freeform 712"/>
            <p:cNvSpPr>
              <a:spLocks noEditPoints="1"/>
            </p:cNvSpPr>
            <p:nvPr/>
          </p:nvSpPr>
          <p:spPr bwMode="auto">
            <a:xfrm>
              <a:off x="2445597" y="3766879"/>
              <a:ext cx="98028" cy="141317"/>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714" name="Freeform 713"/>
            <p:cNvSpPr>
              <a:spLocks/>
            </p:cNvSpPr>
            <p:nvPr/>
          </p:nvSpPr>
          <p:spPr bwMode="auto">
            <a:xfrm>
              <a:off x="2573860" y="3766879"/>
              <a:ext cx="58634" cy="136728"/>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715" name="Freeform 714"/>
            <p:cNvSpPr>
              <a:spLocks/>
            </p:cNvSpPr>
            <p:nvPr/>
          </p:nvSpPr>
          <p:spPr bwMode="auto">
            <a:xfrm>
              <a:off x="2324704" y="3932097"/>
              <a:ext cx="55886" cy="136728"/>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716" name="Freeform 715"/>
            <p:cNvSpPr>
              <a:spLocks noEditPoints="1"/>
            </p:cNvSpPr>
            <p:nvPr/>
          </p:nvSpPr>
          <p:spPr bwMode="auto">
            <a:xfrm>
              <a:off x="2436893" y="3932097"/>
              <a:ext cx="95280" cy="140398"/>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717" name="Freeform 716"/>
            <p:cNvSpPr>
              <a:spLocks/>
            </p:cNvSpPr>
            <p:nvPr/>
          </p:nvSpPr>
          <p:spPr bwMode="auto">
            <a:xfrm>
              <a:off x="2573699" y="3932097"/>
              <a:ext cx="55886" cy="136728"/>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718" name="Freeform 717"/>
            <p:cNvSpPr>
              <a:spLocks/>
            </p:cNvSpPr>
            <p:nvPr/>
          </p:nvSpPr>
          <p:spPr bwMode="auto">
            <a:xfrm>
              <a:off x="2564225" y="4262957"/>
              <a:ext cx="58634" cy="136728"/>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719" name="Freeform 718"/>
            <p:cNvSpPr>
              <a:spLocks noEditPoints="1"/>
            </p:cNvSpPr>
            <p:nvPr/>
          </p:nvSpPr>
          <p:spPr bwMode="auto">
            <a:xfrm>
              <a:off x="2655843" y="4258597"/>
              <a:ext cx="95280" cy="140398"/>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720" name="Freeform 719"/>
            <p:cNvSpPr>
              <a:spLocks/>
            </p:cNvSpPr>
            <p:nvPr/>
          </p:nvSpPr>
          <p:spPr bwMode="auto">
            <a:xfrm>
              <a:off x="1086426" y="3464753"/>
              <a:ext cx="405177" cy="266530"/>
            </a:xfrm>
            <a:custGeom>
              <a:avLst/>
              <a:gdLst>
                <a:gd name="T0" fmla="*/ 7215 w 8588"/>
                <a:gd name="T1" fmla="*/ 2477 h 5648"/>
                <a:gd name="T2" fmla="*/ 7215 w 8588"/>
                <a:gd name="T3" fmla="*/ 2367 h 5648"/>
                <a:gd name="T4" fmla="*/ 4847 w 8588"/>
                <a:gd name="T5" fmla="*/ 0 h 5648"/>
                <a:gd name="T6" fmla="*/ 2873 w 8588"/>
                <a:gd name="T7" fmla="*/ 1057 h 5648"/>
                <a:gd name="T8" fmla="*/ 2226 w 8588"/>
                <a:gd name="T9" fmla="*/ 884 h 5648"/>
                <a:gd name="T10" fmla="*/ 1461 w 8588"/>
                <a:gd name="T11" fmla="*/ 1114 h 5648"/>
                <a:gd name="T12" fmla="*/ 853 w 8588"/>
                <a:gd name="T13" fmla="*/ 2225 h 5648"/>
                <a:gd name="T14" fmla="*/ 0 w 8588"/>
                <a:gd name="T15" fmla="*/ 3787 h 5648"/>
                <a:gd name="T16" fmla="*/ 1658 w 8588"/>
                <a:gd name="T17" fmla="*/ 5648 h 5648"/>
                <a:gd name="T18" fmla="*/ 1863 w 8588"/>
                <a:gd name="T19" fmla="*/ 5648 h 5648"/>
                <a:gd name="T20" fmla="*/ 2052 w 8588"/>
                <a:gd name="T21" fmla="*/ 5648 h 5648"/>
                <a:gd name="T22" fmla="*/ 5920 w 8588"/>
                <a:gd name="T23" fmla="*/ 5648 h 5648"/>
                <a:gd name="T24" fmla="*/ 5996 w 8588"/>
                <a:gd name="T25" fmla="*/ 5648 h 5648"/>
                <a:gd name="T26" fmla="*/ 6094 w 8588"/>
                <a:gd name="T27" fmla="*/ 5648 h 5648"/>
                <a:gd name="T28" fmla="*/ 6378 w 8588"/>
                <a:gd name="T29" fmla="*/ 5648 h 5648"/>
                <a:gd name="T30" fmla="*/ 6994 w 8588"/>
                <a:gd name="T31" fmla="*/ 5648 h 5648"/>
                <a:gd name="T32" fmla="*/ 8588 w 8588"/>
                <a:gd name="T33" fmla="*/ 4055 h 5648"/>
                <a:gd name="T34" fmla="*/ 7215 w 8588"/>
                <a:gd name="T35" fmla="*/ 2477 h 5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88" h="5648">
                  <a:moveTo>
                    <a:pt x="7215" y="2477"/>
                  </a:moveTo>
                  <a:cubicBezTo>
                    <a:pt x="7215" y="2446"/>
                    <a:pt x="7215" y="2398"/>
                    <a:pt x="7215" y="2367"/>
                  </a:cubicBezTo>
                  <a:cubicBezTo>
                    <a:pt x="7215" y="1057"/>
                    <a:pt x="6157" y="0"/>
                    <a:pt x="4847" y="0"/>
                  </a:cubicBezTo>
                  <a:cubicBezTo>
                    <a:pt x="4026" y="0"/>
                    <a:pt x="3300" y="426"/>
                    <a:pt x="2873" y="1057"/>
                  </a:cubicBezTo>
                  <a:cubicBezTo>
                    <a:pt x="2684" y="947"/>
                    <a:pt x="2463" y="884"/>
                    <a:pt x="2226" y="884"/>
                  </a:cubicBezTo>
                  <a:cubicBezTo>
                    <a:pt x="1941" y="884"/>
                    <a:pt x="1679" y="968"/>
                    <a:pt x="1461" y="1114"/>
                  </a:cubicBezTo>
                  <a:cubicBezTo>
                    <a:pt x="1100" y="1355"/>
                    <a:pt x="862" y="1762"/>
                    <a:pt x="853" y="2225"/>
                  </a:cubicBezTo>
                  <a:cubicBezTo>
                    <a:pt x="347" y="2556"/>
                    <a:pt x="0" y="3140"/>
                    <a:pt x="0" y="3787"/>
                  </a:cubicBezTo>
                  <a:cubicBezTo>
                    <a:pt x="0" y="4749"/>
                    <a:pt x="726" y="5538"/>
                    <a:pt x="1658" y="5648"/>
                  </a:cubicBezTo>
                  <a:cubicBezTo>
                    <a:pt x="1721" y="5648"/>
                    <a:pt x="1800" y="5648"/>
                    <a:pt x="1863" y="5648"/>
                  </a:cubicBezTo>
                  <a:cubicBezTo>
                    <a:pt x="1926" y="5648"/>
                    <a:pt x="1989" y="5648"/>
                    <a:pt x="2052" y="5648"/>
                  </a:cubicBezTo>
                  <a:cubicBezTo>
                    <a:pt x="2921" y="5648"/>
                    <a:pt x="4957" y="5648"/>
                    <a:pt x="5920" y="5648"/>
                  </a:cubicBezTo>
                  <a:cubicBezTo>
                    <a:pt x="5951" y="5648"/>
                    <a:pt x="5975" y="5648"/>
                    <a:pt x="5996" y="5648"/>
                  </a:cubicBezTo>
                  <a:cubicBezTo>
                    <a:pt x="6094" y="5648"/>
                    <a:pt x="6094" y="5648"/>
                    <a:pt x="6094" y="5648"/>
                  </a:cubicBezTo>
                  <a:cubicBezTo>
                    <a:pt x="6141" y="5648"/>
                    <a:pt x="6283" y="5648"/>
                    <a:pt x="6378" y="5648"/>
                  </a:cubicBezTo>
                  <a:cubicBezTo>
                    <a:pt x="6994" y="5648"/>
                    <a:pt x="6994" y="5648"/>
                    <a:pt x="6994" y="5648"/>
                  </a:cubicBezTo>
                  <a:cubicBezTo>
                    <a:pt x="7878" y="5633"/>
                    <a:pt x="8588" y="4923"/>
                    <a:pt x="8588" y="4055"/>
                  </a:cubicBezTo>
                  <a:cubicBezTo>
                    <a:pt x="8588" y="3250"/>
                    <a:pt x="7988" y="2588"/>
                    <a:pt x="7215" y="2477"/>
                  </a:cubicBezTo>
                  <a:close/>
                </a:path>
              </a:pathLst>
            </a:custGeom>
            <a:grpFill/>
            <a:ln>
              <a:noFill/>
            </a:ln>
            <a:effectLst/>
          </p:spPr>
          <p:txBody>
            <a:bodyPr vert="horz" wrap="square" lIns="91427" tIns="45713" rIns="91427" bIns="45713" numCol="1" anchor="ctr"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ctr"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721" name="Group 720"/>
            <p:cNvGrpSpPr/>
            <p:nvPr/>
          </p:nvGrpSpPr>
          <p:grpSpPr>
            <a:xfrm>
              <a:off x="2229535" y="2640506"/>
              <a:ext cx="246853" cy="420647"/>
              <a:chOff x="14616113" y="-150813"/>
              <a:chExt cx="3616325" cy="6183313"/>
            </a:xfrm>
            <a:grpFill/>
          </p:grpSpPr>
          <p:sp>
            <p:nvSpPr>
              <p:cNvPr id="729" name="Freeform 728"/>
              <p:cNvSpPr>
                <a:spLocks noEditPoints="1"/>
              </p:cNvSpPr>
              <p:nvPr/>
            </p:nvSpPr>
            <p:spPr bwMode="auto">
              <a:xfrm>
                <a:off x="14616113" y="-150813"/>
                <a:ext cx="3616325" cy="6183313"/>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30" name="Freeform 729"/>
              <p:cNvSpPr>
                <a:spLocks noEditPoints="1"/>
              </p:cNvSpPr>
              <p:nvPr/>
            </p:nvSpPr>
            <p:spPr bwMode="auto">
              <a:xfrm>
                <a:off x="14616113" y="-150813"/>
                <a:ext cx="3616325" cy="6183313"/>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31" name="Rectangle 730"/>
              <p:cNvSpPr>
                <a:spLocks noChangeArrowheads="1"/>
              </p:cNvSpPr>
              <p:nvPr/>
            </p:nvSpPr>
            <p:spPr bwMode="auto">
              <a:xfrm>
                <a:off x="15255876" y="776287"/>
                <a:ext cx="1504950" cy="1503363"/>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32" name="Rectangle 731"/>
              <p:cNvSpPr>
                <a:spLocks noChangeArrowheads="1"/>
              </p:cNvSpPr>
              <p:nvPr/>
            </p:nvSpPr>
            <p:spPr bwMode="auto">
              <a:xfrm>
                <a:off x="16919576" y="1606550"/>
                <a:ext cx="676275" cy="676275"/>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33" name="Rectangle 732"/>
              <p:cNvSpPr>
                <a:spLocks noChangeArrowheads="1"/>
              </p:cNvSpPr>
              <p:nvPr/>
            </p:nvSpPr>
            <p:spPr bwMode="auto">
              <a:xfrm>
                <a:off x="16919576" y="776287"/>
                <a:ext cx="676275" cy="673100"/>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34" name="Rectangle 733"/>
              <p:cNvSpPr>
                <a:spLocks noChangeArrowheads="1"/>
              </p:cNvSpPr>
              <p:nvPr/>
            </p:nvSpPr>
            <p:spPr bwMode="auto">
              <a:xfrm>
                <a:off x="16919576" y="3275012"/>
                <a:ext cx="676275" cy="673100"/>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35" name="Rectangle 734"/>
              <p:cNvSpPr>
                <a:spLocks noChangeArrowheads="1"/>
              </p:cNvSpPr>
              <p:nvPr/>
            </p:nvSpPr>
            <p:spPr bwMode="auto">
              <a:xfrm>
                <a:off x="16087726" y="3275012"/>
                <a:ext cx="673100" cy="673100"/>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36" name="Rectangle 735"/>
              <p:cNvSpPr>
                <a:spLocks noChangeArrowheads="1"/>
              </p:cNvSpPr>
              <p:nvPr/>
            </p:nvSpPr>
            <p:spPr bwMode="auto">
              <a:xfrm>
                <a:off x="15255876" y="3275012"/>
                <a:ext cx="673100" cy="673100"/>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37" name="Rectangle 736"/>
              <p:cNvSpPr>
                <a:spLocks noChangeArrowheads="1"/>
              </p:cNvSpPr>
              <p:nvPr/>
            </p:nvSpPr>
            <p:spPr bwMode="auto">
              <a:xfrm>
                <a:off x="15255876" y="2441575"/>
                <a:ext cx="673100" cy="671513"/>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38" name="Rectangle 737"/>
              <p:cNvSpPr>
                <a:spLocks noChangeArrowheads="1"/>
              </p:cNvSpPr>
              <p:nvPr/>
            </p:nvSpPr>
            <p:spPr bwMode="auto">
              <a:xfrm>
                <a:off x="16087726" y="2441575"/>
                <a:ext cx="673100" cy="671513"/>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39" name="Rectangle 738"/>
              <p:cNvSpPr>
                <a:spLocks noChangeArrowheads="1"/>
              </p:cNvSpPr>
              <p:nvPr/>
            </p:nvSpPr>
            <p:spPr bwMode="auto">
              <a:xfrm>
                <a:off x="16919576" y="2441575"/>
                <a:ext cx="676275" cy="671513"/>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40" name="Rectangle 739"/>
              <p:cNvSpPr>
                <a:spLocks noChangeArrowheads="1"/>
              </p:cNvSpPr>
              <p:nvPr/>
            </p:nvSpPr>
            <p:spPr bwMode="auto">
              <a:xfrm>
                <a:off x="16919576" y="4105275"/>
                <a:ext cx="676275" cy="673100"/>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41" name="Rectangle 740"/>
              <p:cNvSpPr>
                <a:spLocks noChangeArrowheads="1"/>
              </p:cNvSpPr>
              <p:nvPr/>
            </p:nvSpPr>
            <p:spPr bwMode="auto">
              <a:xfrm>
                <a:off x="16087726" y="4105275"/>
                <a:ext cx="673100" cy="673100"/>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42" name="Rectangle 741"/>
              <p:cNvSpPr>
                <a:spLocks noChangeArrowheads="1"/>
              </p:cNvSpPr>
              <p:nvPr/>
            </p:nvSpPr>
            <p:spPr bwMode="auto">
              <a:xfrm>
                <a:off x="15255876" y="4105275"/>
                <a:ext cx="673100" cy="673100"/>
              </a:xfrm>
              <a:prstGeom prst="rect">
                <a:avLst/>
              </a:prstGeom>
              <a:grp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722" name="Group 721"/>
            <p:cNvGrpSpPr/>
            <p:nvPr/>
          </p:nvGrpSpPr>
          <p:grpSpPr>
            <a:xfrm>
              <a:off x="1187659" y="4127953"/>
              <a:ext cx="499259" cy="397247"/>
              <a:chOff x="9264650" y="2112963"/>
              <a:chExt cx="3724275" cy="2973387"/>
            </a:xfrm>
            <a:grpFill/>
          </p:grpSpPr>
          <p:sp>
            <p:nvSpPr>
              <p:cNvPr id="727" name="Freeform 726"/>
              <p:cNvSpPr>
                <a:spLocks noEditPoints="1"/>
              </p:cNvSpPr>
              <p:nvPr/>
            </p:nvSpPr>
            <p:spPr bwMode="auto">
              <a:xfrm>
                <a:off x="9264650" y="2390775"/>
                <a:ext cx="3724275" cy="2695575"/>
              </a:xfrm>
              <a:custGeom>
                <a:avLst/>
                <a:gdLst>
                  <a:gd name="T0" fmla="*/ 857 w 990"/>
                  <a:gd name="T1" fmla="*/ 0 h 716"/>
                  <a:gd name="T2" fmla="*/ 693 w 990"/>
                  <a:gd name="T3" fmla="*/ 0 h 716"/>
                  <a:gd name="T4" fmla="*/ 670 w 990"/>
                  <a:gd name="T5" fmla="*/ 9 h 716"/>
                  <a:gd name="T6" fmla="*/ 487 w 990"/>
                  <a:gd name="T7" fmla="*/ 188 h 716"/>
                  <a:gd name="T8" fmla="*/ 487 w 990"/>
                  <a:gd name="T9" fmla="*/ 142 h 716"/>
                  <a:gd name="T10" fmla="*/ 420 w 990"/>
                  <a:gd name="T11" fmla="*/ 75 h 716"/>
                  <a:gd name="T12" fmla="*/ 352 w 990"/>
                  <a:gd name="T13" fmla="*/ 142 h 716"/>
                  <a:gd name="T14" fmla="*/ 352 w 990"/>
                  <a:gd name="T15" fmla="*/ 319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7 w 990"/>
                  <a:gd name="T37" fmla="*/ 202 h 716"/>
                  <a:gd name="T38" fmla="*/ 746 w 990"/>
                  <a:gd name="T39" fmla="*/ 202 h 716"/>
                  <a:gd name="T40" fmla="*/ 723 w 990"/>
                  <a:gd name="T41" fmla="*/ 211 h 716"/>
                  <a:gd name="T42" fmla="*/ 272 w 990"/>
                  <a:gd name="T43" fmla="*/ 652 h 716"/>
                  <a:gd name="T44" fmla="*/ 133 w 990"/>
                  <a:gd name="T45" fmla="*/ 652 h 716"/>
                  <a:gd name="T46" fmla="*/ 64 w 990"/>
                  <a:gd name="T47" fmla="*/ 583 h 716"/>
                  <a:gd name="T48" fmla="*/ 133 w 990"/>
                  <a:gd name="T49" fmla="*/ 514 h 716"/>
                  <a:gd name="T50" fmla="*/ 230 w 990"/>
                  <a:gd name="T51" fmla="*/ 514 h 716"/>
                  <a:gd name="T52" fmla="*/ 253 w 990"/>
                  <a:gd name="T53" fmla="*/ 505 h 716"/>
                  <a:gd name="T54" fmla="*/ 706 w 990"/>
                  <a:gd name="T55" fmla="*/ 64 h 716"/>
                  <a:gd name="T56" fmla="*/ 857 w 990"/>
                  <a:gd name="T57" fmla="*/ 64 h 716"/>
                  <a:gd name="T58" fmla="*/ 926 w 990"/>
                  <a:gd name="T59" fmla="*/ 133 h 716"/>
                  <a:gd name="T60" fmla="*/ 857 w 990"/>
                  <a:gd name="T6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0" h="716">
                    <a:moveTo>
                      <a:pt x="857" y="0"/>
                    </a:moveTo>
                    <a:cubicBezTo>
                      <a:pt x="693" y="0"/>
                      <a:pt x="693" y="0"/>
                      <a:pt x="693" y="0"/>
                    </a:cubicBezTo>
                    <a:cubicBezTo>
                      <a:pt x="684" y="0"/>
                      <a:pt x="676" y="3"/>
                      <a:pt x="670" y="9"/>
                    </a:cubicBezTo>
                    <a:cubicBezTo>
                      <a:pt x="487" y="188"/>
                      <a:pt x="487" y="188"/>
                      <a:pt x="487" y="188"/>
                    </a:cubicBezTo>
                    <a:cubicBezTo>
                      <a:pt x="487" y="142"/>
                      <a:pt x="487" y="142"/>
                      <a:pt x="487" y="142"/>
                    </a:cubicBezTo>
                    <a:cubicBezTo>
                      <a:pt x="487" y="105"/>
                      <a:pt x="457" y="75"/>
                      <a:pt x="420" y="75"/>
                    </a:cubicBezTo>
                    <a:cubicBezTo>
                      <a:pt x="383" y="75"/>
                      <a:pt x="352" y="105"/>
                      <a:pt x="352" y="142"/>
                    </a:cubicBezTo>
                    <a:cubicBezTo>
                      <a:pt x="352" y="319"/>
                      <a:pt x="352" y="319"/>
                      <a:pt x="352" y="319"/>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7" y="202"/>
                    </a:moveTo>
                    <a:cubicBezTo>
                      <a:pt x="746" y="202"/>
                      <a:pt x="746" y="202"/>
                      <a:pt x="746" y="202"/>
                    </a:cubicBezTo>
                    <a:cubicBezTo>
                      <a:pt x="737" y="202"/>
                      <a:pt x="729" y="205"/>
                      <a:pt x="723" y="211"/>
                    </a:cubicBezTo>
                    <a:cubicBezTo>
                      <a:pt x="272" y="652"/>
                      <a:pt x="272" y="652"/>
                      <a:pt x="272" y="652"/>
                    </a:cubicBezTo>
                    <a:cubicBezTo>
                      <a:pt x="133" y="652"/>
                      <a:pt x="133" y="652"/>
                      <a:pt x="133" y="652"/>
                    </a:cubicBezTo>
                    <a:cubicBezTo>
                      <a:pt x="95" y="652"/>
                      <a:pt x="64" y="621"/>
                      <a:pt x="64" y="583"/>
                    </a:cubicBezTo>
                    <a:cubicBezTo>
                      <a:pt x="64" y="545"/>
                      <a:pt x="95"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6" y="95"/>
                      <a:pt x="926" y="133"/>
                    </a:cubicBezTo>
                    <a:cubicBezTo>
                      <a:pt x="926" y="171"/>
                      <a:pt x="895" y="202"/>
                      <a:pt x="857" y="20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28" name="Oval 727"/>
              <p:cNvSpPr>
                <a:spLocks noChangeArrowheads="1"/>
              </p:cNvSpPr>
              <p:nvPr/>
            </p:nvSpPr>
            <p:spPr bwMode="auto">
              <a:xfrm>
                <a:off x="10588625" y="2112963"/>
                <a:ext cx="508000" cy="508000"/>
              </a:xfrm>
              <a:prstGeom prst="ellipse">
                <a:avLst/>
              </a:pr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723" name="Group 722"/>
            <p:cNvGrpSpPr/>
            <p:nvPr/>
          </p:nvGrpSpPr>
          <p:grpSpPr>
            <a:xfrm flipH="1">
              <a:off x="1891906" y="2149134"/>
              <a:ext cx="646430" cy="278576"/>
              <a:chOff x="18524538" y="-23752175"/>
              <a:chExt cx="41830625" cy="18087975"/>
            </a:xfrm>
            <a:grpFill/>
          </p:grpSpPr>
          <p:sp>
            <p:nvSpPr>
              <p:cNvPr id="724" name="Freeform 723"/>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25" name="Freeform 724"/>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726" name="Freeform 725"/>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50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783" name="TextBox 782"/>
          <p:cNvSpPr txBox="1"/>
          <p:nvPr/>
        </p:nvSpPr>
        <p:spPr>
          <a:xfrm>
            <a:off x="458001" y="4172955"/>
            <a:ext cx="3719301" cy="1609974"/>
          </a:xfrm>
          <a:prstGeom prst="rect">
            <a:avLst/>
          </a:prstGeom>
          <a:solidFill>
            <a:srgbClr val="4E195C"/>
          </a:solidFill>
          <a:ln>
            <a:noFill/>
            <a:headEnd type="none" w="med" len="med"/>
            <a:tailEnd type="none" w="med" len="med"/>
          </a:ln>
        </p:spPr>
        <p:txBody>
          <a:bodyPr wrap="square" lIns="137141" tIns="91427" rIns="137141" bIns="91427" rtlCol="0">
            <a:noAutofit/>
          </a:bodyPr>
          <a:lstStyle/>
          <a:p>
            <a:pPr defTabSz="914225"/>
            <a:r>
              <a:rPr lang="en-US" sz="2600" kern="0" spc="-38" dirty="0">
                <a:solidFill>
                  <a:prstClr val="white"/>
                </a:solidFill>
                <a:latin typeface="Segoe UI Light"/>
                <a:ea typeface="Segoe UI" pitchFamily="34" charset="0"/>
                <a:cs typeface="Segoe UI" pitchFamily="34" charset="0"/>
              </a:rPr>
              <a:t>The world has become </a:t>
            </a:r>
            <a:br>
              <a:rPr lang="en-US" sz="2600" kern="0" spc="-38" dirty="0">
                <a:solidFill>
                  <a:prstClr val="white"/>
                </a:solidFill>
                <a:latin typeface="Segoe UI Light"/>
                <a:ea typeface="Segoe UI" pitchFamily="34" charset="0"/>
                <a:cs typeface="Segoe UI" pitchFamily="34" charset="0"/>
              </a:rPr>
            </a:br>
            <a:r>
              <a:rPr lang="en-US" sz="2600" kern="0" spc="-38" dirty="0">
                <a:solidFill>
                  <a:prstClr val="white"/>
                </a:solidFill>
                <a:latin typeface="Segoe UI Light"/>
                <a:ea typeface="Segoe UI" pitchFamily="34" charset="0"/>
                <a:cs typeface="Segoe UI" pitchFamily="34" charset="0"/>
              </a:rPr>
              <a:t>a giant network of </a:t>
            </a:r>
            <a:br>
              <a:rPr lang="en-US" sz="2600" kern="0" spc="-38" dirty="0">
                <a:solidFill>
                  <a:prstClr val="white"/>
                </a:solidFill>
                <a:latin typeface="Segoe UI Light"/>
                <a:ea typeface="Segoe UI" pitchFamily="34" charset="0"/>
                <a:cs typeface="Segoe UI" pitchFamily="34" charset="0"/>
              </a:rPr>
            </a:br>
            <a:r>
              <a:rPr lang="en-US" sz="2600" kern="0" spc="-38" dirty="0">
                <a:solidFill>
                  <a:prstClr val="white"/>
                </a:solidFill>
                <a:latin typeface="Segoe UI Light"/>
                <a:ea typeface="Segoe UI" pitchFamily="34" charset="0"/>
                <a:cs typeface="Segoe UI" pitchFamily="34" charset="0"/>
              </a:rPr>
              <a:t>connected endpoints</a:t>
            </a:r>
          </a:p>
        </p:txBody>
      </p:sp>
      <p:sp>
        <p:nvSpPr>
          <p:cNvPr id="784" name="TextBox 783"/>
          <p:cNvSpPr txBox="1"/>
          <p:nvPr/>
        </p:nvSpPr>
        <p:spPr>
          <a:xfrm>
            <a:off x="4236350" y="4172955"/>
            <a:ext cx="3719301" cy="1609974"/>
          </a:xfrm>
          <a:prstGeom prst="rect">
            <a:avLst/>
          </a:prstGeom>
          <a:solidFill>
            <a:srgbClr val="34103D"/>
          </a:solidFill>
          <a:ln>
            <a:noFill/>
            <a:headEnd type="none" w="med" len="med"/>
            <a:tailEnd type="none" w="med" len="med"/>
          </a:ln>
        </p:spPr>
        <p:txBody>
          <a:bodyPr wrap="square" lIns="137141" tIns="91427" rIns="137141" bIns="91427" rtlCol="0">
            <a:noAutofit/>
          </a:bodyPr>
          <a:lstStyle>
            <a:defPPr>
              <a:defRPr lang="en-US"/>
            </a:defPPr>
            <a:lvl1pPr>
              <a:defRPr sz="2400" spc="-38">
                <a:solidFill>
                  <a:schemeClr val="bg1"/>
                </a:solidFill>
                <a:latin typeface="+mj-lt"/>
                <a:ea typeface="Segoe UI" pitchFamily="34" charset="0"/>
                <a:cs typeface="Segoe UI" pitchFamily="34" charset="0"/>
              </a:defRPr>
            </a:lvl1p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2600" b="0" i="0" u="none" strike="noStrike" kern="0" cap="none" spc="-38" normalizeH="0" baseline="0" noProof="0" dirty="0">
                <a:ln>
                  <a:noFill/>
                </a:ln>
                <a:solidFill>
                  <a:prstClr val="white"/>
                </a:solidFill>
                <a:effectLst/>
                <a:uLnTx/>
                <a:uFillTx/>
                <a:latin typeface="Segoe UI Light"/>
                <a:cs typeface="Segoe UI" pitchFamily="34" charset="0"/>
              </a:rPr>
              <a:t>Creating vast amounts </a:t>
            </a:r>
            <a:br>
              <a:rPr kumimoji="0" lang="en-US" sz="2600" b="0" i="0" u="none" strike="noStrike" kern="0" cap="none" spc="-38" normalizeH="0" baseline="0" noProof="0" dirty="0">
                <a:ln>
                  <a:noFill/>
                </a:ln>
                <a:solidFill>
                  <a:prstClr val="white"/>
                </a:solidFill>
                <a:effectLst/>
                <a:uLnTx/>
                <a:uFillTx/>
                <a:latin typeface="Segoe UI Light"/>
                <a:cs typeface="Segoe UI" pitchFamily="34" charset="0"/>
              </a:rPr>
            </a:br>
            <a:r>
              <a:rPr kumimoji="0" lang="en-US" sz="2600" b="0" i="0" u="none" strike="noStrike" kern="0" cap="none" spc="-38" normalizeH="0" baseline="0" noProof="0" dirty="0">
                <a:ln>
                  <a:noFill/>
                </a:ln>
                <a:solidFill>
                  <a:prstClr val="white"/>
                </a:solidFill>
                <a:effectLst/>
                <a:uLnTx/>
                <a:uFillTx/>
                <a:latin typeface="Segoe UI Light"/>
                <a:cs typeface="Segoe UI" pitchFamily="34" charset="0"/>
              </a:rPr>
              <a:t>of raw data</a:t>
            </a:r>
          </a:p>
        </p:txBody>
      </p:sp>
      <p:sp>
        <p:nvSpPr>
          <p:cNvPr id="785" name="TextBox 784"/>
          <p:cNvSpPr txBox="1"/>
          <p:nvPr/>
        </p:nvSpPr>
        <p:spPr>
          <a:xfrm>
            <a:off x="8014700" y="4172955"/>
            <a:ext cx="3719301" cy="1609974"/>
          </a:xfrm>
          <a:prstGeom prst="rect">
            <a:avLst/>
          </a:prstGeom>
          <a:solidFill>
            <a:srgbClr val="4E195C"/>
          </a:solidFill>
          <a:ln>
            <a:noFill/>
            <a:headEnd type="none" w="med" len="med"/>
            <a:tailEnd type="none" w="med" len="med"/>
          </a:ln>
        </p:spPr>
        <p:txBody>
          <a:bodyPr wrap="square" lIns="137141" tIns="91427" rIns="137141" bIns="91427" rtlCol="0">
            <a:noAutofit/>
          </a:bodyPr>
          <a:lstStyle>
            <a:defPPr>
              <a:defRPr lang="en-US"/>
            </a:defPPr>
            <a:lvl1pPr>
              <a:defRPr sz="2400" spc="-38">
                <a:solidFill>
                  <a:schemeClr val="bg1"/>
                </a:solidFill>
                <a:latin typeface="+mj-lt"/>
                <a:ea typeface="Segoe UI" pitchFamily="34" charset="0"/>
                <a:cs typeface="Segoe UI" pitchFamily="34" charset="0"/>
              </a:defRPr>
            </a:lvl1p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2600" b="0" i="0" u="none" strike="noStrike" kern="0" cap="none" spc="-38" normalizeH="0" baseline="0" noProof="0" dirty="0">
                <a:ln>
                  <a:noFill/>
                </a:ln>
                <a:solidFill>
                  <a:prstClr val="white"/>
                </a:solidFill>
                <a:effectLst/>
                <a:uLnTx/>
                <a:uFillTx/>
                <a:latin typeface="Segoe UI Light"/>
                <a:cs typeface="Segoe UI" pitchFamily="34" charset="0"/>
              </a:rPr>
              <a:t>Enabling analytics that deliver game-changing insights</a:t>
            </a:r>
          </a:p>
        </p:txBody>
      </p:sp>
      <p:grpSp>
        <p:nvGrpSpPr>
          <p:cNvPr id="786" name="Group 785"/>
          <p:cNvGrpSpPr/>
          <p:nvPr/>
        </p:nvGrpSpPr>
        <p:grpSpPr>
          <a:xfrm>
            <a:off x="8517628" y="1973141"/>
            <a:ext cx="2713443" cy="1793996"/>
            <a:chOff x="8471962" y="1972935"/>
            <a:chExt cx="2713828" cy="1794250"/>
          </a:xfrm>
          <a:solidFill>
            <a:srgbClr val="34103D"/>
          </a:solidFill>
        </p:grpSpPr>
        <p:sp>
          <p:nvSpPr>
            <p:cNvPr id="787" name="Rectangle 138"/>
            <p:cNvSpPr>
              <a:spLocks noChangeAspect="1"/>
            </p:cNvSpPr>
            <p:nvPr/>
          </p:nvSpPr>
          <p:spPr bwMode="auto">
            <a:xfrm rot="5400000">
              <a:off x="8471962" y="2010648"/>
              <a:ext cx="694390" cy="694390"/>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solidFill>
                  <a:srgbClr val="DC3C00"/>
                </a:solidFill>
                <a:effectLst/>
                <a:uLnTx/>
                <a:uFillTx/>
                <a:latin typeface="Segoe UI"/>
                <a:ea typeface="Segoe UI" pitchFamily="34" charset="0"/>
                <a:cs typeface="Segoe UI" pitchFamily="34" charset="0"/>
              </a:endParaRPr>
            </a:p>
          </p:txBody>
        </p:sp>
        <p:sp>
          <p:nvSpPr>
            <p:cNvPr id="788" name="Freeform 90"/>
            <p:cNvSpPr>
              <a:spLocks noEditPoints="1"/>
            </p:cNvSpPr>
            <p:nvPr/>
          </p:nvSpPr>
          <p:spPr bwMode="auto">
            <a:xfrm>
              <a:off x="9520639" y="2016671"/>
              <a:ext cx="621447" cy="681983"/>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8272"/>
                </a:solidFill>
                <a:effectLst/>
                <a:uLnTx/>
                <a:uFillTx/>
              </a:endParaRPr>
            </a:p>
          </p:txBody>
        </p:sp>
        <p:sp>
          <p:nvSpPr>
            <p:cNvPr id="789" name="Freeform 788"/>
            <p:cNvSpPr/>
            <p:nvPr/>
          </p:nvSpPr>
          <p:spPr bwMode="auto">
            <a:xfrm>
              <a:off x="8515922" y="2995578"/>
              <a:ext cx="744457" cy="771607"/>
            </a:xfrm>
            <a:custGeom>
              <a:avLst/>
              <a:gdLst/>
              <a:ahLst/>
              <a:cxnLst/>
              <a:rect l="l" t="t" r="r" b="b"/>
              <a:pathLst>
                <a:path w="4525993" h="4691056">
                  <a:moveTo>
                    <a:pt x="2034115" y="3817683"/>
                  </a:moveTo>
                  <a:lnTo>
                    <a:pt x="2081842" y="4008592"/>
                  </a:lnTo>
                  <a:cubicBezTo>
                    <a:pt x="2120182" y="4127444"/>
                    <a:pt x="2106763" y="4102524"/>
                    <a:pt x="1978325" y="4227128"/>
                  </a:cubicBezTo>
                  <a:cubicBezTo>
                    <a:pt x="1844136" y="4248214"/>
                    <a:pt x="1853721" y="4194539"/>
                    <a:pt x="1834551" y="4117860"/>
                  </a:cubicBezTo>
                  <a:lnTo>
                    <a:pt x="1850948" y="3822723"/>
                  </a:lnTo>
                  <a:cubicBezTo>
                    <a:pt x="1740309" y="3862474"/>
                    <a:pt x="1661672" y="3968533"/>
                    <a:pt x="1661672" y="4092958"/>
                  </a:cubicBezTo>
                  <a:cubicBezTo>
                    <a:pt x="1661672" y="4252556"/>
                    <a:pt x="1791051" y="4381935"/>
                    <a:pt x="1950649" y="4381935"/>
                  </a:cubicBezTo>
                  <a:cubicBezTo>
                    <a:pt x="2110247" y="4381935"/>
                    <a:pt x="2239626" y="4252556"/>
                    <a:pt x="2239626" y="4092958"/>
                  </a:cubicBezTo>
                  <a:cubicBezTo>
                    <a:pt x="2239626" y="3962529"/>
                    <a:pt x="2153217" y="3852282"/>
                    <a:pt x="2034115" y="3817683"/>
                  </a:cubicBezTo>
                  <a:close/>
                  <a:moveTo>
                    <a:pt x="1632819" y="1264"/>
                  </a:moveTo>
                  <a:cubicBezTo>
                    <a:pt x="1889904" y="-8441"/>
                    <a:pt x="2136476" y="30378"/>
                    <a:pt x="2467155" y="379747"/>
                  </a:cubicBezTo>
                  <a:cubicBezTo>
                    <a:pt x="2666520" y="665377"/>
                    <a:pt x="2773873" y="663461"/>
                    <a:pt x="2702944" y="1184879"/>
                  </a:cubicBezTo>
                  <a:cubicBezTo>
                    <a:pt x="2699110" y="1434087"/>
                    <a:pt x="2246702" y="2396411"/>
                    <a:pt x="2018581" y="3002177"/>
                  </a:cubicBezTo>
                  <a:lnTo>
                    <a:pt x="2461404" y="2668623"/>
                  </a:lnTo>
                  <a:cubicBezTo>
                    <a:pt x="2553419" y="2534434"/>
                    <a:pt x="2530415" y="2492260"/>
                    <a:pt x="2564921" y="2404079"/>
                  </a:cubicBezTo>
                  <a:cubicBezTo>
                    <a:pt x="2758536" y="1974675"/>
                    <a:pt x="3146725" y="1893204"/>
                    <a:pt x="3473570" y="1944004"/>
                  </a:cubicBezTo>
                  <a:cubicBezTo>
                    <a:pt x="3800415" y="1994804"/>
                    <a:pt x="4386053" y="2049438"/>
                    <a:pt x="4525993" y="2708879"/>
                  </a:cubicBezTo>
                  <a:cubicBezTo>
                    <a:pt x="4432061" y="2568940"/>
                    <a:pt x="4349630" y="2578524"/>
                    <a:pt x="4215442" y="2639868"/>
                  </a:cubicBezTo>
                  <a:cubicBezTo>
                    <a:pt x="3954733" y="2806645"/>
                    <a:pt x="3866551" y="2938916"/>
                    <a:pt x="3398808" y="2967672"/>
                  </a:cubicBezTo>
                  <a:cubicBezTo>
                    <a:pt x="3138098" y="2963838"/>
                    <a:pt x="2923396" y="2758721"/>
                    <a:pt x="2668438" y="2731883"/>
                  </a:cubicBezTo>
                  <a:cubicBezTo>
                    <a:pt x="2413480" y="2841151"/>
                    <a:pt x="2342551" y="2938917"/>
                    <a:pt x="2179608" y="3042434"/>
                  </a:cubicBezTo>
                  <a:cubicBezTo>
                    <a:pt x="1966941" y="3264281"/>
                    <a:pt x="1948429" y="3354248"/>
                    <a:pt x="1966659" y="3496474"/>
                  </a:cubicBezTo>
                  <a:cubicBezTo>
                    <a:pt x="2289598" y="3503577"/>
                    <a:pt x="2548747" y="3768004"/>
                    <a:pt x="2548747" y="4092958"/>
                  </a:cubicBezTo>
                  <a:cubicBezTo>
                    <a:pt x="2548747" y="4423278"/>
                    <a:pt x="2280969" y="4691056"/>
                    <a:pt x="1950649" y="4691056"/>
                  </a:cubicBezTo>
                  <a:cubicBezTo>
                    <a:pt x="1620329" y="4691056"/>
                    <a:pt x="1352551" y="4423278"/>
                    <a:pt x="1352551" y="4092958"/>
                  </a:cubicBezTo>
                  <a:cubicBezTo>
                    <a:pt x="1352551" y="3818561"/>
                    <a:pt x="1537335" y="3587322"/>
                    <a:pt x="1789976" y="3519470"/>
                  </a:cubicBezTo>
                  <a:cubicBezTo>
                    <a:pt x="1733192" y="3295932"/>
                    <a:pt x="1673202" y="3178705"/>
                    <a:pt x="1575759" y="3002177"/>
                  </a:cubicBezTo>
                  <a:cubicBezTo>
                    <a:pt x="1246038" y="2915913"/>
                    <a:pt x="956574" y="2921664"/>
                    <a:pt x="586596" y="2743385"/>
                  </a:cubicBezTo>
                  <a:cubicBezTo>
                    <a:pt x="471578" y="2645619"/>
                    <a:pt x="471577" y="2576607"/>
                    <a:pt x="425570" y="2496094"/>
                  </a:cubicBezTo>
                  <a:cubicBezTo>
                    <a:pt x="264543" y="1963173"/>
                    <a:pt x="431321" y="1953588"/>
                    <a:pt x="0" y="1679460"/>
                  </a:cubicBezTo>
                  <a:cubicBezTo>
                    <a:pt x="191698" y="1650705"/>
                    <a:pt x="371895" y="1568275"/>
                    <a:pt x="575095" y="1593196"/>
                  </a:cubicBezTo>
                  <a:cubicBezTo>
                    <a:pt x="778295" y="1618117"/>
                    <a:pt x="1014083" y="1731218"/>
                    <a:pt x="1219200" y="1828985"/>
                  </a:cubicBezTo>
                  <a:cubicBezTo>
                    <a:pt x="1382144" y="1930584"/>
                    <a:pt x="1809631" y="1894162"/>
                    <a:pt x="1673525" y="2892909"/>
                  </a:cubicBezTo>
                  <a:lnTo>
                    <a:pt x="1794295" y="3278223"/>
                  </a:lnTo>
                  <a:lnTo>
                    <a:pt x="1886309" y="2869906"/>
                  </a:lnTo>
                  <a:cubicBezTo>
                    <a:pt x="2066506" y="2524850"/>
                    <a:pt x="2154687" y="2271807"/>
                    <a:pt x="2288876" y="1972758"/>
                  </a:cubicBezTo>
                  <a:cubicBezTo>
                    <a:pt x="2288877" y="1765724"/>
                    <a:pt x="2277373" y="1754222"/>
                    <a:pt x="2127849" y="1581694"/>
                  </a:cubicBezTo>
                  <a:cubicBezTo>
                    <a:pt x="1893977" y="1416833"/>
                    <a:pt x="1596845" y="1286479"/>
                    <a:pt x="1420482" y="926086"/>
                  </a:cubicBezTo>
                  <a:cubicBezTo>
                    <a:pt x="1330384" y="673045"/>
                    <a:pt x="1430068" y="569528"/>
                    <a:pt x="1483744" y="362494"/>
                  </a:cubicBezTo>
                  <a:cubicBezTo>
                    <a:pt x="1552755" y="205302"/>
                    <a:pt x="1397480" y="99868"/>
                    <a:pt x="1368725" y="17438"/>
                  </a:cubicBezTo>
                  <a:cubicBezTo>
                    <a:pt x="1460261" y="13125"/>
                    <a:pt x="1547124" y="4499"/>
                    <a:pt x="1632819" y="1264"/>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90" name="Group 789"/>
            <p:cNvGrpSpPr/>
            <p:nvPr/>
          </p:nvGrpSpPr>
          <p:grpSpPr>
            <a:xfrm>
              <a:off x="10365270" y="3011168"/>
              <a:ext cx="820520" cy="685901"/>
              <a:chOff x="4225429" y="1222164"/>
              <a:chExt cx="1460921" cy="1221232"/>
            </a:xfrm>
            <a:grpFill/>
          </p:grpSpPr>
          <p:sp>
            <p:nvSpPr>
              <p:cNvPr id="802" name="Rounded Rectangle 801"/>
              <p:cNvSpPr/>
              <p:nvPr/>
            </p:nvSpPr>
            <p:spPr bwMode="auto">
              <a:xfrm flipH="1">
                <a:off x="4320679" y="2160270"/>
                <a:ext cx="845820" cy="266700"/>
              </a:xfrm>
              <a:prstGeom prst="round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3" name="Rectangle 802"/>
              <p:cNvSpPr/>
              <p:nvPr/>
            </p:nvSpPr>
            <p:spPr bwMode="auto">
              <a:xfrm rot="19233811" flipH="1">
                <a:off x="4650722" y="2027619"/>
                <a:ext cx="180975" cy="229108"/>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4" name="Rectangle 21"/>
              <p:cNvSpPr/>
              <p:nvPr/>
            </p:nvSpPr>
            <p:spPr bwMode="auto">
              <a:xfrm rot="1663182" flipH="1">
                <a:off x="4643040" y="1334313"/>
                <a:ext cx="193060" cy="512062"/>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5" name="Rectangle 29"/>
              <p:cNvSpPr/>
              <p:nvPr/>
            </p:nvSpPr>
            <p:spPr bwMode="auto">
              <a:xfrm rot="6300000" flipH="1">
                <a:off x="5129668" y="1183759"/>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6" name="Rounded Rectangle 805"/>
              <p:cNvSpPr/>
              <p:nvPr/>
            </p:nvSpPr>
            <p:spPr bwMode="auto">
              <a:xfrm flipH="1">
                <a:off x="4225429" y="2293620"/>
                <a:ext cx="1036320" cy="149776"/>
              </a:xfrm>
              <a:prstGeom prst="roundRect">
                <a:avLst/>
              </a:prstGeom>
              <a:grpFill/>
              <a:ln w="9525" cap="flat" cmpd="sng" algn="ctr">
                <a:solidFill>
                  <a:srgbClr val="002050"/>
                </a:solid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07" name="Group 806"/>
              <p:cNvGrpSpPr/>
              <p:nvPr/>
            </p:nvGrpSpPr>
            <p:grpSpPr>
              <a:xfrm>
                <a:off x="4394973" y="1762558"/>
                <a:ext cx="352210" cy="352210"/>
                <a:chOff x="4394973" y="1762558"/>
                <a:chExt cx="352210" cy="352210"/>
              </a:xfrm>
              <a:grpFill/>
            </p:grpSpPr>
            <p:grpSp>
              <p:nvGrpSpPr>
                <p:cNvPr id="831" name="Group 830"/>
                <p:cNvGrpSpPr/>
                <p:nvPr/>
              </p:nvGrpSpPr>
              <p:grpSpPr>
                <a:xfrm flipH="1">
                  <a:off x="4394973" y="1762558"/>
                  <a:ext cx="352210" cy="352210"/>
                  <a:chOff x="5411363" y="1755522"/>
                  <a:chExt cx="316187" cy="316187"/>
                </a:xfrm>
                <a:grpFill/>
              </p:grpSpPr>
              <p:sp>
                <p:nvSpPr>
                  <p:cNvPr id="834" name="Oval 833"/>
                  <p:cNvSpPr/>
                  <p:nvPr/>
                </p:nvSpPr>
                <p:spPr bwMode="auto">
                  <a:xfrm>
                    <a:off x="5411363" y="1755522"/>
                    <a:ext cx="316187" cy="316187"/>
                  </a:xfrm>
                  <a:prstGeom prst="ellipse">
                    <a:avLst/>
                  </a:prstGeom>
                  <a:grpFill/>
                  <a:ln w="9525" cap="flat" cmpd="sng" algn="ctr">
                    <a:solidFill>
                      <a:srgbClr val="002050"/>
                    </a:solid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5" name="Oval 834"/>
                  <p:cNvSpPr/>
                  <p:nvPr/>
                </p:nvSpPr>
                <p:spPr bwMode="auto">
                  <a:xfrm>
                    <a:off x="5462797" y="1806956"/>
                    <a:ext cx="213318" cy="213318"/>
                  </a:xfrm>
                  <a:prstGeom prst="ellipse">
                    <a:avLst/>
                  </a:prstGeom>
                  <a:grpFill/>
                  <a:ln w="9525" cap="flat" cmpd="sng" algn="ctr">
                    <a:solidFill>
                      <a:srgbClr val="002050"/>
                    </a:solid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6" name="Oval 835"/>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32" name="Rectangle 831"/>
                <p:cNvSpPr/>
                <p:nvPr/>
              </p:nvSpPr>
              <p:spPr bwMode="auto">
                <a:xfrm flipH="1">
                  <a:off x="4553230" y="1780423"/>
                  <a:ext cx="35696" cy="30433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3" name="Rectangle 832"/>
                <p:cNvSpPr/>
                <p:nvPr/>
              </p:nvSpPr>
              <p:spPr bwMode="auto">
                <a:xfrm rot="5400000" flipH="1">
                  <a:off x="4561685" y="1786498"/>
                  <a:ext cx="35696" cy="30433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8" name="Group 807"/>
              <p:cNvGrpSpPr/>
              <p:nvPr/>
            </p:nvGrpSpPr>
            <p:grpSpPr>
              <a:xfrm>
                <a:off x="4758229" y="1222164"/>
                <a:ext cx="256032" cy="256032"/>
                <a:chOff x="4394973" y="1762558"/>
                <a:chExt cx="352210" cy="352210"/>
              </a:xfrm>
              <a:grpFill/>
            </p:grpSpPr>
            <p:grpSp>
              <p:nvGrpSpPr>
                <p:cNvPr id="825" name="Group 824"/>
                <p:cNvGrpSpPr/>
                <p:nvPr/>
              </p:nvGrpSpPr>
              <p:grpSpPr>
                <a:xfrm flipH="1">
                  <a:off x="4394973" y="1762558"/>
                  <a:ext cx="352210" cy="352210"/>
                  <a:chOff x="5411363" y="1755522"/>
                  <a:chExt cx="316187" cy="316187"/>
                </a:xfrm>
                <a:grpFill/>
              </p:grpSpPr>
              <p:sp>
                <p:nvSpPr>
                  <p:cNvPr id="828" name="Oval 827"/>
                  <p:cNvSpPr/>
                  <p:nvPr/>
                </p:nvSpPr>
                <p:spPr bwMode="auto">
                  <a:xfrm>
                    <a:off x="5411363" y="1755522"/>
                    <a:ext cx="316187" cy="316187"/>
                  </a:xfrm>
                  <a:prstGeom prst="ellipse">
                    <a:avLst/>
                  </a:prstGeom>
                  <a:grpFill/>
                  <a:ln w="9525" cap="flat" cmpd="sng" algn="ctr">
                    <a:solidFill>
                      <a:srgbClr val="002050"/>
                    </a:solid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9" name="Oval 828"/>
                  <p:cNvSpPr/>
                  <p:nvPr/>
                </p:nvSpPr>
                <p:spPr bwMode="auto">
                  <a:xfrm>
                    <a:off x="5462797" y="1806956"/>
                    <a:ext cx="213318" cy="21331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0" name="Oval 829"/>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6" name="Rectangle 825"/>
                <p:cNvSpPr/>
                <p:nvPr/>
              </p:nvSpPr>
              <p:spPr bwMode="auto">
                <a:xfrm flipH="1">
                  <a:off x="4553231" y="1789294"/>
                  <a:ext cx="35695" cy="286445"/>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7" name="Rectangle 826"/>
                <p:cNvSpPr/>
                <p:nvPr/>
              </p:nvSpPr>
              <p:spPr bwMode="auto">
                <a:xfrm rot="5400000" flipH="1">
                  <a:off x="4556016" y="1795437"/>
                  <a:ext cx="35695" cy="28644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09" name="Group 808"/>
              <p:cNvGrpSpPr/>
              <p:nvPr/>
            </p:nvGrpSpPr>
            <p:grpSpPr>
              <a:xfrm>
                <a:off x="5372627" y="1436547"/>
                <a:ext cx="192024" cy="192024"/>
                <a:chOff x="4394973" y="1762558"/>
                <a:chExt cx="352210" cy="352210"/>
              </a:xfrm>
              <a:grpFill/>
            </p:grpSpPr>
            <p:grpSp>
              <p:nvGrpSpPr>
                <p:cNvPr id="819" name="Group 818"/>
                <p:cNvGrpSpPr/>
                <p:nvPr/>
              </p:nvGrpSpPr>
              <p:grpSpPr>
                <a:xfrm flipH="1">
                  <a:off x="4394973" y="1762558"/>
                  <a:ext cx="352210" cy="352210"/>
                  <a:chOff x="5411363" y="1755522"/>
                  <a:chExt cx="316187" cy="316187"/>
                </a:xfrm>
                <a:grpFill/>
              </p:grpSpPr>
              <p:sp>
                <p:nvSpPr>
                  <p:cNvPr id="822" name="Oval 821"/>
                  <p:cNvSpPr/>
                  <p:nvPr/>
                </p:nvSpPr>
                <p:spPr bwMode="auto">
                  <a:xfrm>
                    <a:off x="5411363" y="1755522"/>
                    <a:ext cx="316187" cy="316187"/>
                  </a:xfrm>
                  <a:prstGeom prst="ellipse">
                    <a:avLst/>
                  </a:prstGeom>
                  <a:grpFill/>
                  <a:ln w="9525" cap="flat" cmpd="sng" algn="ctr">
                    <a:solidFill>
                      <a:srgbClr val="002050"/>
                    </a:solid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3" name="Oval 822"/>
                  <p:cNvSpPr/>
                  <p:nvPr/>
                </p:nvSpPr>
                <p:spPr bwMode="auto">
                  <a:xfrm>
                    <a:off x="5462797" y="1806956"/>
                    <a:ext cx="213318" cy="21331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4" name="Oval 823"/>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0" name="Rectangle 819"/>
                <p:cNvSpPr/>
                <p:nvPr/>
              </p:nvSpPr>
              <p:spPr bwMode="auto">
                <a:xfrm flipH="1">
                  <a:off x="4553229" y="1795031"/>
                  <a:ext cx="35696" cy="264411"/>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1" name="Rectangle 820"/>
                <p:cNvSpPr/>
                <p:nvPr/>
              </p:nvSpPr>
              <p:spPr bwMode="auto">
                <a:xfrm rot="5400000" flipH="1">
                  <a:off x="4559388" y="1806456"/>
                  <a:ext cx="35696" cy="264411"/>
                </a:xfrm>
                <a:prstGeom prst="rect">
                  <a:avLst/>
                </a:prstGeom>
                <a:grpFill/>
                <a:ln w="9525" cap="flat" cmpd="sng" algn="ctr">
                  <a:solidFill>
                    <a:srgbClr val="002050"/>
                  </a:solid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0" name="Group 809"/>
              <p:cNvGrpSpPr/>
              <p:nvPr/>
            </p:nvGrpSpPr>
            <p:grpSpPr>
              <a:xfrm rot="20781386">
                <a:off x="5409545" y="1586080"/>
                <a:ext cx="276805" cy="467545"/>
                <a:chOff x="6199773" y="1569838"/>
                <a:chExt cx="276804" cy="467545"/>
              </a:xfrm>
              <a:grpFill/>
            </p:grpSpPr>
            <p:sp>
              <p:nvSpPr>
                <p:cNvPr id="811" name="Rectangle 810"/>
                <p:cNvSpPr/>
                <p:nvPr/>
              </p:nvSpPr>
              <p:spPr bwMode="auto">
                <a:xfrm rot="10800000" flipH="1">
                  <a:off x="6289818" y="1569838"/>
                  <a:ext cx="96717" cy="17378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2" name="Oval 811"/>
                <p:cNvSpPr/>
                <p:nvPr/>
              </p:nvSpPr>
              <p:spPr bwMode="auto">
                <a:xfrm rot="10737439" flipH="1">
                  <a:off x="6282702" y="1724048"/>
                  <a:ext cx="110946" cy="110946"/>
                </a:xfrm>
                <a:prstGeom prst="ellipse">
                  <a:avLst/>
                </a:prstGeom>
                <a:grpFill/>
                <a:ln w="9525" cap="flat" cmpd="sng" algn="ctr">
                  <a:solidFill>
                    <a:srgbClr val="002050"/>
                  </a:solid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13" name="Group 812"/>
                <p:cNvGrpSpPr/>
                <p:nvPr/>
              </p:nvGrpSpPr>
              <p:grpSpPr>
                <a:xfrm>
                  <a:off x="6199773" y="1764545"/>
                  <a:ext cx="99173" cy="272838"/>
                  <a:chOff x="5426382" y="1788525"/>
                  <a:chExt cx="99173" cy="272838"/>
                </a:xfrm>
                <a:grpFill/>
              </p:grpSpPr>
              <p:sp>
                <p:nvSpPr>
                  <p:cNvPr id="817" name="Rectangle 816"/>
                  <p:cNvSpPr/>
                  <p:nvPr/>
                </p:nvSpPr>
                <p:spPr bwMode="auto">
                  <a:xfrm rot="13260000" flipH="1">
                    <a:off x="5464045" y="1788525"/>
                    <a:ext cx="45719" cy="13716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8" name="Diagonal Stripe 817"/>
                  <p:cNvSpPr/>
                  <p:nvPr/>
                </p:nvSpPr>
                <p:spPr bwMode="auto">
                  <a:xfrm rot="19432650">
                    <a:off x="5426382" y="1878483"/>
                    <a:ext cx="99173" cy="182880"/>
                  </a:xfrm>
                  <a:prstGeom prst="diagStripe">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4" name="Group 813"/>
                <p:cNvGrpSpPr/>
                <p:nvPr/>
              </p:nvGrpSpPr>
              <p:grpSpPr>
                <a:xfrm flipH="1">
                  <a:off x="6377404" y="1764545"/>
                  <a:ext cx="99173" cy="272838"/>
                  <a:chOff x="5426382" y="1788525"/>
                  <a:chExt cx="99173" cy="272838"/>
                </a:xfrm>
                <a:grpFill/>
              </p:grpSpPr>
              <p:sp>
                <p:nvSpPr>
                  <p:cNvPr id="815" name="Rectangle 814"/>
                  <p:cNvSpPr/>
                  <p:nvPr/>
                </p:nvSpPr>
                <p:spPr bwMode="auto">
                  <a:xfrm rot="13260000" flipH="1">
                    <a:off x="5464045" y="1788525"/>
                    <a:ext cx="45719" cy="13716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6" name="Diagonal Stripe 815"/>
                  <p:cNvSpPr/>
                  <p:nvPr/>
                </p:nvSpPr>
                <p:spPr bwMode="auto">
                  <a:xfrm rot="19432650">
                    <a:off x="5426382" y="1878483"/>
                    <a:ext cx="99173" cy="182880"/>
                  </a:xfrm>
                  <a:prstGeom prst="diagStripe">
                    <a:avLst/>
                  </a:pr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791" name="Freeform 8"/>
            <p:cNvSpPr>
              <a:spLocks noEditPoints="1"/>
            </p:cNvSpPr>
            <p:nvPr/>
          </p:nvSpPr>
          <p:spPr bwMode="auto">
            <a:xfrm>
              <a:off x="9448219" y="3105730"/>
              <a:ext cx="729210" cy="608891"/>
            </a:xfrm>
            <a:custGeom>
              <a:avLst/>
              <a:gdLst>
                <a:gd name="T0" fmla="*/ 662 w 800"/>
                <a:gd name="T1" fmla="*/ 60 h 668"/>
                <a:gd name="T2" fmla="*/ 642 w 800"/>
                <a:gd name="T3" fmla="*/ 26 h 668"/>
                <a:gd name="T4" fmla="*/ 606 w 800"/>
                <a:gd name="T5" fmla="*/ 4 h 668"/>
                <a:gd name="T6" fmla="*/ 480 w 800"/>
                <a:gd name="T7" fmla="*/ 0 h 668"/>
                <a:gd name="T8" fmla="*/ 228 w 800"/>
                <a:gd name="T9" fmla="*/ 0 h 668"/>
                <a:gd name="T10" fmla="*/ 180 w 800"/>
                <a:gd name="T11" fmla="*/ 10 h 668"/>
                <a:gd name="T12" fmla="*/ 150 w 800"/>
                <a:gd name="T13" fmla="*/ 36 h 668"/>
                <a:gd name="T14" fmla="*/ 72 w 800"/>
                <a:gd name="T15" fmla="*/ 228 h 668"/>
                <a:gd name="T16" fmla="*/ 50 w 800"/>
                <a:gd name="T17" fmla="*/ 236 h 668"/>
                <a:gd name="T18" fmla="*/ 16 w 800"/>
                <a:gd name="T19" fmla="*/ 268 h 668"/>
                <a:gd name="T20" fmla="*/ 0 w 800"/>
                <a:gd name="T21" fmla="*/ 320 h 668"/>
                <a:gd name="T22" fmla="*/ 64 w 800"/>
                <a:gd name="T23" fmla="*/ 606 h 668"/>
                <a:gd name="T24" fmla="*/ 70 w 800"/>
                <a:gd name="T25" fmla="*/ 634 h 668"/>
                <a:gd name="T26" fmla="*/ 92 w 800"/>
                <a:gd name="T27" fmla="*/ 660 h 668"/>
                <a:gd name="T28" fmla="*/ 124 w 800"/>
                <a:gd name="T29" fmla="*/ 668 h 668"/>
                <a:gd name="T30" fmla="*/ 156 w 800"/>
                <a:gd name="T31" fmla="*/ 660 h 668"/>
                <a:gd name="T32" fmla="*/ 178 w 800"/>
                <a:gd name="T33" fmla="*/ 632 h 668"/>
                <a:gd name="T34" fmla="*/ 184 w 800"/>
                <a:gd name="T35" fmla="*/ 536 h 668"/>
                <a:gd name="T36" fmla="*/ 616 w 800"/>
                <a:gd name="T37" fmla="*/ 606 h 668"/>
                <a:gd name="T38" fmla="*/ 620 w 800"/>
                <a:gd name="T39" fmla="*/ 632 h 668"/>
                <a:gd name="T40" fmla="*/ 644 w 800"/>
                <a:gd name="T41" fmla="*/ 660 h 668"/>
                <a:gd name="T42" fmla="*/ 676 w 800"/>
                <a:gd name="T43" fmla="*/ 668 h 668"/>
                <a:gd name="T44" fmla="*/ 708 w 800"/>
                <a:gd name="T45" fmla="*/ 660 h 668"/>
                <a:gd name="T46" fmla="*/ 730 w 800"/>
                <a:gd name="T47" fmla="*/ 634 h 668"/>
                <a:gd name="T48" fmla="*/ 736 w 800"/>
                <a:gd name="T49" fmla="*/ 536 h 668"/>
                <a:gd name="T50" fmla="*/ 800 w 800"/>
                <a:gd name="T51" fmla="*/ 320 h 668"/>
                <a:gd name="T52" fmla="*/ 784 w 800"/>
                <a:gd name="T53" fmla="*/ 268 h 668"/>
                <a:gd name="T54" fmla="*/ 750 w 800"/>
                <a:gd name="T55" fmla="*/ 236 h 668"/>
                <a:gd name="T56" fmla="*/ 728 w 800"/>
                <a:gd name="T57" fmla="*/ 228 h 668"/>
                <a:gd name="T58" fmla="*/ 114 w 800"/>
                <a:gd name="T59" fmla="*/ 406 h 668"/>
                <a:gd name="T60" fmla="*/ 86 w 800"/>
                <a:gd name="T61" fmla="*/ 390 h 668"/>
                <a:gd name="T62" fmla="*/ 72 w 800"/>
                <a:gd name="T63" fmla="*/ 360 h 668"/>
                <a:gd name="T64" fmla="*/ 72 w 800"/>
                <a:gd name="T65" fmla="*/ 338 h 668"/>
                <a:gd name="T66" fmla="*/ 86 w 800"/>
                <a:gd name="T67" fmla="*/ 308 h 668"/>
                <a:gd name="T68" fmla="*/ 114 w 800"/>
                <a:gd name="T69" fmla="*/ 294 h 668"/>
                <a:gd name="T70" fmla="*/ 136 w 800"/>
                <a:gd name="T71" fmla="*/ 294 h 668"/>
                <a:gd name="T72" fmla="*/ 164 w 800"/>
                <a:gd name="T73" fmla="*/ 308 h 668"/>
                <a:gd name="T74" fmla="*/ 180 w 800"/>
                <a:gd name="T75" fmla="*/ 338 h 668"/>
                <a:gd name="T76" fmla="*/ 180 w 800"/>
                <a:gd name="T77" fmla="*/ 360 h 668"/>
                <a:gd name="T78" fmla="*/ 164 w 800"/>
                <a:gd name="T79" fmla="*/ 390 h 668"/>
                <a:gd name="T80" fmla="*/ 136 w 800"/>
                <a:gd name="T81" fmla="*/ 406 h 668"/>
                <a:gd name="T82" fmla="*/ 400 w 800"/>
                <a:gd name="T83" fmla="*/ 228 h 668"/>
                <a:gd name="T84" fmla="*/ 190 w 800"/>
                <a:gd name="T85" fmla="*/ 94 h 668"/>
                <a:gd name="T86" fmla="*/ 202 w 800"/>
                <a:gd name="T87" fmla="*/ 70 h 668"/>
                <a:gd name="T88" fmla="*/ 220 w 800"/>
                <a:gd name="T89" fmla="*/ 62 h 668"/>
                <a:gd name="T90" fmla="*/ 400 w 800"/>
                <a:gd name="T91" fmla="*/ 62 h 668"/>
                <a:gd name="T92" fmla="*/ 580 w 800"/>
                <a:gd name="T93" fmla="*/ 62 h 668"/>
                <a:gd name="T94" fmla="*/ 598 w 800"/>
                <a:gd name="T95" fmla="*/ 70 h 668"/>
                <a:gd name="T96" fmla="*/ 660 w 800"/>
                <a:gd name="T97" fmla="*/ 228 h 668"/>
                <a:gd name="T98" fmla="*/ 674 w 800"/>
                <a:gd name="T99" fmla="*/ 406 h 668"/>
                <a:gd name="T100" fmla="*/ 642 w 800"/>
                <a:gd name="T101" fmla="*/ 396 h 668"/>
                <a:gd name="T102" fmla="*/ 622 w 800"/>
                <a:gd name="T103" fmla="*/ 372 h 668"/>
                <a:gd name="T104" fmla="*/ 618 w 800"/>
                <a:gd name="T105" fmla="*/ 350 h 668"/>
                <a:gd name="T106" fmla="*/ 628 w 800"/>
                <a:gd name="T107" fmla="*/ 318 h 668"/>
                <a:gd name="T108" fmla="*/ 652 w 800"/>
                <a:gd name="T109" fmla="*/ 296 h 668"/>
                <a:gd name="T110" fmla="*/ 674 w 800"/>
                <a:gd name="T111" fmla="*/ 292 h 668"/>
                <a:gd name="T112" fmla="*/ 706 w 800"/>
                <a:gd name="T113" fmla="*/ 302 h 668"/>
                <a:gd name="T114" fmla="*/ 726 w 800"/>
                <a:gd name="T115" fmla="*/ 328 h 668"/>
                <a:gd name="T116" fmla="*/ 730 w 800"/>
                <a:gd name="T117" fmla="*/ 350 h 668"/>
                <a:gd name="T118" fmla="*/ 720 w 800"/>
                <a:gd name="T119" fmla="*/ 382 h 668"/>
                <a:gd name="T120" fmla="*/ 696 w 800"/>
                <a:gd name="T121" fmla="*/ 402 h 668"/>
                <a:gd name="T122" fmla="*/ 674 w 800"/>
                <a:gd name="T123" fmla="*/ 406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0" h="668">
                  <a:moveTo>
                    <a:pt x="728" y="228"/>
                  </a:moveTo>
                  <a:lnTo>
                    <a:pt x="662" y="60"/>
                  </a:lnTo>
                  <a:lnTo>
                    <a:pt x="662" y="60"/>
                  </a:lnTo>
                  <a:lnTo>
                    <a:pt x="656" y="48"/>
                  </a:lnTo>
                  <a:lnTo>
                    <a:pt x="650" y="36"/>
                  </a:lnTo>
                  <a:lnTo>
                    <a:pt x="642" y="26"/>
                  </a:lnTo>
                  <a:lnTo>
                    <a:pt x="632" y="18"/>
                  </a:lnTo>
                  <a:lnTo>
                    <a:pt x="620" y="10"/>
                  </a:lnTo>
                  <a:lnTo>
                    <a:pt x="606" y="4"/>
                  </a:lnTo>
                  <a:lnTo>
                    <a:pt x="590" y="0"/>
                  </a:lnTo>
                  <a:lnTo>
                    <a:pt x="572" y="0"/>
                  </a:lnTo>
                  <a:lnTo>
                    <a:pt x="480" y="0"/>
                  </a:lnTo>
                  <a:lnTo>
                    <a:pt x="322" y="0"/>
                  </a:lnTo>
                  <a:lnTo>
                    <a:pt x="228" y="0"/>
                  </a:lnTo>
                  <a:lnTo>
                    <a:pt x="228" y="0"/>
                  </a:lnTo>
                  <a:lnTo>
                    <a:pt x="210" y="0"/>
                  </a:lnTo>
                  <a:lnTo>
                    <a:pt x="194" y="4"/>
                  </a:lnTo>
                  <a:lnTo>
                    <a:pt x="180" y="10"/>
                  </a:lnTo>
                  <a:lnTo>
                    <a:pt x="168" y="18"/>
                  </a:lnTo>
                  <a:lnTo>
                    <a:pt x="158" y="26"/>
                  </a:lnTo>
                  <a:lnTo>
                    <a:pt x="150" y="36"/>
                  </a:lnTo>
                  <a:lnTo>
                    <a:pt x="144" y="48"/>
                  </a:lnTo>
                  <a:lnTo>
                    <a:pt x="138" y="60"/>
                  </a:lnTo>
                  <a:lnTo>
                    <a:pt x="72" y="228"/>
                  </a:lnTo>
                  <a:lnTo>
                    <a:pt x="72" y="228"/>
                  </a:lnTo>
                  <a:lnTo>
                    <a:pt x="62" y="232"/>
                  </a:lnTo>
                  <a:lnTo>
                    <a:pt x="50" y="236"/>
                  </a:lnTo>
                  <a:lnTo>
                    <a:pt x="38" y="244"/>
                  </a:lnTo>
                  <a:lnTo>
                    <a:pt x="26" y="254"/>
                  </a:lnTo>
                  <a:lnTo>
                    <a:pt x="16" y="268"/>
                  </a:lnTo>
                  <a:lnTo>
                    <a:pt x="8" y="282"/>
                  </a:lnTo>
                  <a:lnTo>
                    <a:pt x="2" y="300"/>
                  </a:lnTo>
                  <a:lnTo>
                    <a:pt x="0" y="320"/>
                  </a:lnTo>
                  <a:lnTo>
                    <a:pt x="0" y="536"/>
                  </a:lnTo>
                  <a:lnTo>
                    <a:pt x="64" y="536"/>
                  </a:lnTo>
                  <a:lnTo>
                    <a:pt x="64" y="606"/>
                  </a:lnTo>
                  <a:lnTo>
                    <a:pt x="64" y="606"/>
                  </a:lnTo>
                  <a:lnTo>
                    <a:pt x="66" y="620"/>
                  </a:lnTo>
                  <a:lnTo>
                    <a:pt x="70" y="634"/>
                  </a:lnTo>
                  <a:lnTo>
                    <a:pt x="74" y="644"/>
                  </a:lnTo>
                  <a:lnTo>
                    <a:pt x="82" y="652"/>
                  </a:lnTo>
                  <a:lnTo>
                    <a:pt x="92" y="660"/>
                  </a:lnTo>
                  <a:lnTo>
                    <a:pt x="102" y="664"/>
                  </a:lnTo>
                  <a:lnTo>
                    <a:pt x="112" y="668"/>
                  </a:lnTo>
                  <a:lnTo>
                    <a:pt x="124" y="668"/>
                  </a:lnTo>
                  <a:lnTo>
                    <a:pt x="136" y="668"/>
                  </a:lnTo>
                  <a:lnTo>
                    <a:pt x="146" y="664"/>
                  </a:lnTo>
                  <a:lnTo>
                    <a:pt x="156" y="660"/>
                  </a:lnTo>
                  <a:lnTo>
                    <a:pt x="166" y="652"/>
                  </a:lnTo>
                  <a:lnTo>
                    <a:pt x="172" y="644"/>
                  </a:lnTo>
                  <a:lnTo>
                    <a:pt x="178" y="632"/>
                  </a:lnTo>
                  <a:lnTo>
                    <a:pt x="182" y="620"/>
                  </a:lnTo>
                  <a:lnTo>
                    <a:pt x="184" y="606"/>
                  </a:lnTo>
                  <a:lnTo>
                    <a:pt x="184" y="536"/>
                  </a:lnTo>
                  <a:lnTo>
                    <a:pt x="400" y="536"/>
                  </a:lnTo>
                  <a:lnTo>
                    <a:pt x="616" y="536"/>
                  </a:lnTo>
                  <a:lnTo>
                    <a:pt x="616" y="606"/>
                  </a:lnTo>
                  <a:lnTo>
                    <a:pt x="616" y="606"/>
                  </a:lnTo>
                  <a:lnTo>
                    <a:pt x="616" y="620"/>
                  </a:lnTo>
                  <a:lnTo>
                    <a:pt x="620" y="632"/>
                  </a:lnTo>
                  <a:lnTo>
                    <a:pt x="626" y="644"/>
                  </a:lnTo>
                  <a:lnTo>
                    <a:pt x="634" y="652"/>
                  </a:lnTo>
                  <a:lnTo>
                    <a:pt x="644" y="660"/>
                  </a:lnTo>
                  <a:lnTo>
                    <a:pt x="654" y="664"/>
                  </a:lnTo>
                  <a:lnTo>
                    <a:pt x="664" y="668"/>
                  </a:lnTo>
                  <a:lnTo>
                    <a:pt x="676" y="668"/>
                  </a:lnTo>
                  <a:lnTo>
                    <a:pt x="688" y="668"/>
                  </a:lnTo>
                  <a:lnTo>
                    <a:pt x="698" y="664"/>
                  </a:lnTo>
                  <a:lnTo>
                    <a:pt x="708" y="660"/>
                  </a:lnTo>
                  <a:lnTo>
                    <a:pt x="718" y="652"/>
                  </a:lnTo>
                  <a:lnTo>
                    <a:pt x="724" y="644"/>
                  </a:lnTo>
                  <a:lnTo>
                    <a:pt x="730" y="634"/>
                  </a:lnTo>
                  <a:lnTo>
                    <a:pt x="734" y="620"/>
                  </a:lnTo>
                  <a:lnTo>
                    <a:pt x="736" y="606"/>
                  </a:lnTo>
                  <a:lnTo>
                    <a:pt x="736" y="536"/>
                  </a:lnTo>
                  <a:lnTo>
                    <a:pt x="800" y="536"/>
                  </a:lnTo>
                  <a:lnTo>
                    <a:pt x="800" y="320"/>
                  </a:lnTo>
                  <a:lnTo>
                    <a:pt x="800" y="320"/>
                  </a:lnTo>
                  <a:lnTo>
                    <a:pt x="798" y="300"/>
                  </a:lnTo>
                  <a:lnTo>
                    <a:pt x="792" y="282"/>
                  </a:lnTo>
                  <a:lnTo>
                    <a:pt x="784" y="268"/>
                  </a:lnTo>
                  <a:lnTo>
                    <a:pt x="774" y="254"/>
                  </a:lnTo>
                  <a:lnTo>
                    <a:pt x="762" y="244"/>
                  </a:lnTo>
                  <a:lnTo>
                    <a:pt x="750" y="236"/>
                  </a:lnTo>
                  <a:lnTo>
                    <a:pt x="738" y="232"/>
                  </a:lnTo>
                  <a:lnTo>
                    <a:pt x="728" y="228"/>
                  </a:lnTo>
                  <a:lnTo>
                    <a:pt x="728" y="228"/>
                  </a:lnTo>
                  <a:close/>
                  <a:moveTo>
                    <a:pt x="126" y="406"/>
                  </a:moveTo>
                  <a:lnTo>
                    <a:pt x="126" y="406"/>
                  </a:lnTo>
                  <a:lnTo>
                    <a:pt x="114" y="406"/>
                  </a:lnTo>
                  <a:lnTo>
                    <a:pt x="104" y="402"/>
                  </a:lnTo>
                  <a:lnTo>
                    <a:pt x="94" y="396"/>
                  </a:lnTo>
                  <a:lnTo>
                    <a:pt x="86" y="390"/>
                  </a:lnTo>
                  <a:lnTo>
                    <a:pt x="80" y="382"/>
                  </a:lnTo>
                  <a:lnTo>
                    <a:pt x="74" y="372"/>
                  </a:lnTo>
                  <a:lnTo>
                    <a:pt x="72" y="360"/>
                  </a:lnTo>
                  <a:lnTo>
                    <a:pt x="70" y="350"/>
                  </a:lnTo>
                  <a:lnTo>
                    <a:pt x="70" y="350"/>
                  </a:lnTo>
                  <a:lnTo>
                    <a:pt x="72" y="338"/>
                  </a:lnTo>
                  <a:lnTo>
                    <a:pt x="74" y="328"/>
                  </a:lnTo>
                  <a:lnTo>
                    <a:pt x="80" y="318"/>
                  </a:lnTo>
                  <a:lnTo>
                    <a:pt x="86" y="308"/>
                  </a:lnTo>
                  <a:lnTo>
                    <a:pt x="94" y="302"/>
                  </a:lnTo>
                  <a:lnTo>
                    <a:pt x="104" y="296"/>
                  </a:lnTo>
                  <a:lnTo>
                    <a:pt x="114" y="294"/>
                  </a:lnTo>
                  <a:lnTo>
                    <a:pt x="126" y="292"/>
                  </a:lnTo>
                  <a:lnTo>
                    <a:pt x="126" y="292"/>
                  </a:lnTo>
                  <a:lnTo>
                    <a:pt x="136" y="294"/>
                  </a:lnTo>
                  <a:lnTo>
                    <a:pt x="148" y="296"/>
                  </a:lnTo>
                  <a:lnTo>
                    <a:pt x="156" y="302"/>
                  </a:lnTo>
                  <a:lnTo>
                    <a:pt x="164" y="308"/>
                  </a:lnTo>
                  <a:lnTo>
                    <a:pt x="172" y="318"/>
                  </a:lnTo>
                  <a:lnTo>
                    <a:pt x="176" y="328"/>
                  </a:lnTo>
                  <a:lnTo>
                    <a:pt x="180" y="338"/>
                  </a:lnTo>
                  <a:lnTo>
                    <a:pt x="182" y="350"/>
                  </a:lnTo>
                  <a:lnTo>
                    <a:pt x="182" y="350"/>
                  </a:lnTo>
                  <a:lnTo>
                    <a:pt x="180" y="360"/>
                  </a:lnTo>
                  <a:lnTo>
                    <a:pt x="176" y="372"/>
                  </a:lnTo>
                  <a:lnTo>
                    <a:pt x="172" y="382"/>
                  </a:lnTo>
                  <a:lnTo>
                    <a:pt x="164" y="390"/>
                  </a:lnTo>
                  <a:lnTo>
                    <a:pt x="156" y="396"/>
                  </a:lnTo>
                  <a:lnTo>
                    <a:pt x="148" y="402"/>
                  </a:lnTo>
                  <a:lnTo>
                    <a:pt x="136" y="406"/>
                  </a:lnTo>
                  <a:lnTo>
                    <a:pt x="126" y="406"/>
                  </a:lnTo>
                  <a:lnTo>
                    <a:pt x="126" y="406"/>
                  </a:lnTo>
                  <a:close/>
                  <a:moveTo>
                    <a:pt x="400" y="228"/>
                  </a:moveTo>
                  <a:lnTo>
                    <a:pt x="400" y="228"/>
                  </a:lnTo>
                  <a:lnTo>
                    <a:pt x="140" y="228"/>
                  </a:lnTo>
                  <a:lnTo>
                    <a:pt x="190" y="94"/>
                  </a:lnTo>
                  <a:lnTo>
                    <a:pt x="190" y="94"/>
                  </a:lnTo>
                  <a:lnTo>
                    <a:pt x="196" y="80"/>
                  </a:lnTo>
                  <a:lnTo>
                    <a:pt x="202" y="70"/>
                  </a:lnTo>
                  <a:lnTo>
                    <a:pt x="208" y="66"/>
                  </a:lnTo>
                  <a:lnTo>
                    <a:pt x="212" y="64"/>
                  </a:lnTo>
                  <a:lnTo>
                    <a:pt x="220" y="62"/>
                  </a:lnTo>
                  <a:lnTo>
                    <a:pt x="226" y="62"/>
                  </a:lnTo>
                  <a:lnTo>
                    <a:pt x="400" y="62"/>
                  </a:lnTo>
                  <a:lnTo>
                    <a:pt x="400" y="62"/>
                  </a:lnTo>
                  <a:lnTo>
                    <a:pt x="574" y="62"/>
                  </a:lnTo>
                  <a:lnTo>
                    <a:pt x="574" y="62"/>
                  </a:lnTo>
                  <a:lnTo>
                    <a:pt x="580" y="62"/>
                  </a:lnTo>
                  <a:lnTo>
                    <a:pt x="588" y="64"/>
                  </a:lnTo>
                  <a:lnTo>
                    <a:pt x="592" y="66"/>
                  </a:lnTo>
                  <a:lnTo>
                    <a:pt x="598" y="70"/>
                  </a:lnTo>
                  <a:lnTo>
                    <a:pt x="604" y="80"/>
                  </a:lnTo>
                  <a:lnTo>
                    <a:pt x="610" y="94"/>
                  </a:lnTo>
                  <a:lnTo>
                    <a:pt x="660" y="228"/>
                  </a:lnTo>
                  <a:lnTo>
                    <a:pt x="400" y="228"/>
                  </a:lnTo>
                  <a:close/>
                  <a:moveTo>
                    <a:pt x="674" y="406"/>
                  </a:moveTo>
                  <a:lnTo>
                    <a:pt x="674" y="406"/>
                  </a:lnTo>
                  <a:lnTo>
                    <a:pt x="662" y="406"/>
                  </a:lnTo>
                  <a:lnTo>
                    <a:pt x="652" y="402"/>
                  </a:lnTo>
                  <a:lnTo>
                    <a:pt x="642" y="396"/>
                  </a:lnTo>
                  <a:lnTo>
                    <a:pt x="634" y="390"/>
                  </a:lnTo>
                  <a:lnTo>
                    <a:pt x="628" y="382"/>
                  </a:lnTo>
                  <a:lnTo>
                    <a:pt x="622" y="372"/>
                  </a:lnTo>
                  <a:lnTo>
                    <a:pt x="620" y="360"/>
                  </a:lnTo>
                  <a:lnTo>
                    <a:pt x="618" y="350"/>
                  </a:lnTo>
                  <a:lnTo>
                    <a:pt x="618" y="350"/>
                  </a:lnTo>
                  <a:lnTo>
                    <a:pt x="620" y="338"/>
                  </a:lnTo>
                  <a:lnTo>
                    <a:pt x="622" y="328"/>
                  </a:lnTo>
                  <a:lnTo>
                    <a:pt x="628" y="318"/>
                  </a:lnTo>
                  <a:lnTo>
                    <a:pt x="634" y="308"/>
                  </a:lnTo>
                  <a:lnTo>
                    <a:pt x="642" y="302"/>
                  </a:lnTo>
                  <a:lnTo>
                    <a:pt x="652" y="296"/>
                  </a:lnTo>
                  <a:lnTo>
                    <a:pt x="662" y="294"/>
                  </a:lnTo>
                  <a:lnTo>
                    <a:pt x="674" y="292"/>
                  </a:lnTo>
                  <a:lnTo>
                    <a:pt x="674" y="292"/>
                  </a:lnTo>
                  <a:lnTo>
                    <a:pt x="686" y="294"/>
                  </a:lnTo>
                  <a:lnTo>
                    <a:pt x="696" y="296"/>
                  </a:lnTo>
                  <a:lnTo>
                    <a:pt x="706" y="302"/>
                  </a:lnTo>
                  <a:lnTo>
                    <a:pt x="714" y="308"/>
                  </a:lnTo>
                  <a:lnTo>
                    <a:pt x="720" y="318"/>
                  </a:lnTo>
                  <a:lnTo>
                    <a:pt x="726" y="328"/>
                  </a:lnTo>
                  <a:lnTo>
                    <a:pt x="728" y="338"/>
                  </a:lnTo>
                  <a:lnTo>
                    <a:pt x="730" y="350"/>
                  </a:lnTo>
                  <a:lnTo>
                    <a:pt x="730" y="350"/>
                  </a:lnTo>
                  <a:lnTo>
                    <a:pt x="728" y="360"/>
                  </a:lnTo>
                  <a:lnTo>
                    <a:pt x="726" y="372"/>
                  </a:lnTo>
                  <a:lnTo>
                    <a:pt x="720" y="382"/>
                  </a:lnTo>
                  <a:lnTo>
                    <a:pt x="714" y="390"/>
                  </a:lnTo>
                  <a:lnTo>
                    <a:pt x="706" y="396"/>
                  </a:lnTo>
                  <a:lnTo>
                    <a:pt x="696" y="402"/>
                  </a:lnTo>
                  <a:lnTo>
                    <a:pt x="686" y="406"/>
                  </a:lnTo>
                  <a:lnTo>
                    <a:pt x="674" y="406"/>
                  </a:lnTo>
                  <a:lnTo>
                    <a:pt x="674" y="406"/>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grpSp>
          <p:nvGrpSpPr>
            <p:cNvPr id="792" name="Group 791"/>
            <p:cNvGrpSpPr/>
            <p:nvPr/>
          </p:nvGrpSpPr>
          <p:grpSpPr>
            <a:xfrm>
              <a:off x="10496373" y="1972935"/>
              <a:ext cx="545085" cy="654513"/>
              <a:chOff x="0" y="0"/>
              <a:chExt cx="430793" cy="465374"/>
            </a:xfrm>
            <a:grpFill/>
          </p:grpSpPr>
          <p:sp>
            <p:nvSpPr>
              <p:cNvPr id="793" name="Rectangle 792"/>
              <p:cNvSpPr/>
              <p:nvPr/>
            </p:nvSpPr>
            <p:spPr bwMode="auto">
              <a:xfrm>
                <a:off x="1930" y="415637"/>
                <a:ext cx="426932" cy="49737"/>
              </a:xfrm>
              <a:prstGeom prst="rect">
                <a:avLst/>
              </a:prstGeom>
              <a:grp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794" name="Rectangle 793"/>
              <p:cNvSpPr/>
              <p:nvPr/>
            </p:nvSpPr>
            <p:spPr bwMode="auto">
              <a:xfrm>
                <a:off x="21336" y="370387"/>
                <a:ext cx="388120" cy="45719"/>
              </a:xfrm>
              <a:prstGeom prst="rect">
                <a:avLst/>
              </a:prstGeom>
              <a:grp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795" name="Rectangle 794"/>
              <p:cNvSpPr/>
              <p:nvPr/>
            </p:nvSpPr>
            <p:spPr bwMode="auto">
              <a:xfrm>
                <a:off x="38978" y="139734"/>
                <a:ext cx="352836" cy="34350"/>
              </a:xfrm>
              <a:prstGeom prst="rect">
                <a:avLst/>
              </a:prstGeom>
              <a:grp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796" name="Rectangle 795"/>
              <p:cNvSpPr/>
              <p:nvPr/>
            </p:nvSpPr>
            <p:spPr bwMode="auto">
              <a:xfrm rot="5400000">
                <a:off x="-33192" y="253468"/>
                <a:ext cx="208282" cy="45719"/>
              </a:xfrm>
              <a:prstGeom prst="rect">
                <a:avLst/>
              </a:prstGeom>
              <a:grp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797" name="Rectangle 796"/>
              <p:cNvSpPr/>
              <p:nvPr/>
            </p:nvSpPr>
            <p:spPr bwMode="auto">
              <a:xfrm rot="5400000">
                <a:off x="60030" y="253468"/>
                <a:ext cx="208282" cy="45719"/>
              </a:xfrm>
              <a:prstGeom prst="rect">
                <a:avLst/>
              </a:prstGeom>
              <a:grp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798" name="Rectangle 797"/>
              <p:cNvSpPr/>
              <p:nvPr/>
            </p:nvSpPr>
            <p:spPr bwMode="auto">
              <a:xfrm rot="5400000">
                <a:off x="153252" y="253468"/>
                <a:ext cx="208281" cy="45719"/>
              </a:xfrm>
              <a:prstGeom prst="rect">
                <a:avLst/>
              </a:prstGeom>
              <a:grp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799" name="Rectangle 798"/>
              <p:cNvSpPr/>
              <p:nvPr/>
            </p:nvSpPr>
            <p:spPr bwMode="auto">
              <a:xfrm rot="5400000">
                <a:off x="246473" y="253471"/>
                <a:ext cx="208282" cy="45719"/>
              </a:xfrm>
              <a:prstGeom prst="rect">
                <a:avLst/>
              </a:prstGeom>
              <a:grp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800" name="Isosceles Triangle 799"/>
              <p:cNvSpPr/>
              <p:nvPr/>
            </p:nvSpPr>
            <p:spPr bwMode="auto">
              <a:xfrm>
                <a:off x="0" y="0"/>
                <a:ext cx="430793" cy="110999"/>
              </a:xfrm>
              <a:prstGeom prst="triangle">
                <a:avLst/>
              </a:prstGeom>
              <a:grp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801" name="Rectangle 800"/>
              <p:cNvSpPr/>
              <p:nvPr/>
            </p:nvSpPr>
            <p:spPr bwMode="auto">
              <a:xfrm>
                <a:off x="1930" y="111038"/>
                <a:ext cx="426932" cy="21328"/>
              </a:xfrm>
              <a:prstGeom prst="rect">
                <a:avLst/>
              </a:prstGeom>
              <a:grp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grpSp>
      </p:grpSp>
    </p:spTree>
    <p:extLst>
      <p:ext uri="{BB962C8B-B14F-4D97-AF65-F5344CB8AC3E}">
        <p14:creationId xmlns:p14="http://schemas.microsoft.com/office/powerpoint/2010/main" val="3638893837"/>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10.xml><?xml version="1.0" encoding="utf-8"?>
<a:theme xmlns:a="http://schemas.openxmlformats.org/drawingml/2006/main" name="7_WindowsEmbedded_16x9_ratio_INDUSTRY_Windows_Frame_Template">
  <a:themeElements>
    <a:clrScheme name="Windows Embedded 2013">
      <a:dk1>
        <a:srgbClr val="000000"/>
      </a:dk1>
      <a:lt1>
        <a:srgbClr val="FFFFFF"/>
      </a:lt1>
      <a:dk2>
        <a:srgbClr val="000000"/>
      </a:dk2>
      <a:lt2>
        <a:srgbClr val="F2F2F2"/>
      </a:lt2>
      <a:accent1>
        <a:srgbClr val="00BCF2"/>
      </a:accent1>
      <a:accent2>
        <a:srgbClr val="00188F"/>
      </a:accent2>
      <a:accent3>
        <a:srgbClr val="00D8CC"/>
      </a:accent3>
      <a:accent4>
        <a:srgbClr val="969696"/>
      </a:accent4>
      <a:accent5>
        <a:srgbClr val="FF8C00"/>
      </a:accent5>
      <a:accent6>
        <a:srgbClr val="E81123"/>
      </a:accent6>
      <a:hlink>
        <a:srgbClr val="00188F"/>
      </a:hlink>
      <a:folHlink>
        <a:srgbClr val="00D8CC"/>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algn="ctr" defTabSz="914099" fontAlgn="base">
          <a:spcBef>
            <a:spcPct val="0"/>
          </a:spcBef>
          <a:spcAft>
            <a:spcPct val="0"/>
          </a:spcAft>
          <a:defRPr sz="22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cs typeface="Arial"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ISS Customer Pitch Deck 2013 01 24.potx" id="{98F65FCB-7210-43A2-95FD-88471CB8214C}" vid="{F236E82B-087F-4A21-A492-A3B0294A2790}"/>
    </a:ext>
  </a:extLst>
</a:theme>
</file>

<file path=ppt/theme/theme11.xml><?xml version="1.0" encoding="utf-8"?>
<a:theme xmlns:a="http://schemas.openxmlformats.org/drawingml/2006/main" name="8_WindowsEmbedded_16x9_ratio_INDUSTRY_Windows_Frame_Template">
  <a:themeElements>
    <a:clrScheme name="Infographic Blues">
      <a:dk1>
        <a:srgbClr val="1B3B41"/>
      </a:dk1>
      <a:lt1>
        <a:srgbClr val="FFFFFF"/>
      </a:lt1>
      <a:dk2>
        <a:srgbClr val="255059"/>
      </a:dk2>
      <a:lt2>
        <a:srgbClr val="CADFE8"/>
      </a:lt2>
      <a:accent1>
        <a:srgbClr val="00BCF2"/>
      </a:accent1>
      <a:accent2>
        <a:srgbClr val="8DC548"/>
      </a:accent2>
      <a:accent3>
        <a:srgbClr val="FF8C00"/>
      </a:accent3>
      <a:accent4>
        <a:srgbClr val="5B99AD"/>
      </a:accent4>
      <a:accent5>
        <a:srgbClr val="45A2C3"/>
      </a:accent5>
      <a:accent6>
        <a:srgbClr val="0081A4"/>
      </a:accent6>
      <a:hlink>
        <a:srgbClr val="00708E"/>
      </a:hlink>
      <a:folHlink>
        <a:srgbClr val="00607A"/>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algn="ctr" defTabSz="914099" fontAlgn="base">
          <a:spcBef>
            <a:spcPct val="0"/>
          </a:spcBef>
          <a:spcAft>
            <a:spcPct val="0"/>
          </a:spcAft>
          <a:defRPr sz="22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cs typeface="Arial"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ISS Customer Pitch Deck 2013 01 24.potx" id="{98F65FCB-7210-43A2-95FD-88471CB8214C}" vid="{F236E82B-087F-4A21-A492-A3B0294A2790}"/>
    </a:ext>
  </a:extLst>
</a:theme>
</file>

<file path=ppt/theme/theme12.xml><?xml version="1.0" encoding="utf-8"?>
<a:theme xmlns:a="http://schemas.openxmlformats.org/drawingml/2006/main" name="5_WindowsEmbedded_16x9_ratio_INDUSTRY_Windows_Frame_Template">
  <a:themeElements>
    <a:clrScheme name="Windows Embedded 2013">
      <a:dk1>
        <a:srgbClr val="000000"/>
      </a:dk1>
      <a:lt1>
        <a:srgbClr val="FFFFFF"/>
      </a:lt1>
      <a:dk2>
        <a:srgbClr val="000000"/>
      </a:dk2>
      <a:lt2>
        <a:srgbClr val="F2F2F2"/>
      </a:lt2>
      <a:accent1>
        <a:srgbClr val="00BCF2"/>
      </a:accent1>
      <a:accent2>
        <a:srgbClr val="00188F"/>
      </a:accent2>
      <a:accent3>
        <a:srgbClr val="00D8CC"/>
      </a:accent3>
      <a:accent4>
        <a:srgbClr val="969696"/>
      </a:accent4>
      <a:accent5>
        <a:srgbClr val="FF8C00"/>
      </a:accent5>
      <a:accent6>
        <a:srgbClr val="E81123"/>
      </a:accent6>
      <a:hlink>
        <a:srgbClr val="00188F"/>
      </a:hlink>
      <a:folHlink>
        <a:srgbClr val="00D8CC"/>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algn="ctr" defTabSz="914099" fontAlgn="base">
          <a:spcBef>
            <a:spcPct val="0"/>
          </a:spcBef>
          <a:spcAft>
            <a:spcPct val="0"/>
          </a:spcAft>
          <a:defRPr sz="22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cs typeface="Arial"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ISS Customer Pitch Deck 2013 01 24.potx" id="{98F65FCB-7210-43A2-95FD-88471CB8214C}" vid="{F236E82B-087F-4A21-A492-A3B0294A2790}"/>
    </a:ext>
  </a:extLst>
</a:theme>
</file>

<file path=ppt/theme/theme13.xml><?xml version="1.0" encoding="utf-8"?>
<a:theme xmlns:a="http://schemas.openxmlformats.org/drawingml/2006/main" name="6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14.xml><?xml version="1.0" encoding="utf-8"?>
<a:theme xmlns:a="http://schemas.openxmlformats.org/drawingml/2006/main" name="5_WinHEC_15_English_Light_Template">
  <a:themeElements>
    <a:clrScheme name="Custom 23">
      <a:dk1>
        <a:srgbClr val="505050"/>
      </a:dk1>
      <a:lt1>
        <a:srgbClr val="FFFFFF"/>
      </a:lt1>
      <a:dk2>
        <a:srgbClr val="0078D7"/>
      </a:dk2>
      <a:lt2>
        <a:srgbClr val="EAEAEA"/>
      </a:lt2>
      <a:accent1>
        <a:srgbClr val="0078D7"/>
      </a:accent1>
      <a:accent2>
        <a:srgbClr val="5C2D91"/>
      </a:accent2>
      <a:accent3>
        <a:srgbClr val="B4009E"/>
      </a:accent3>
      <a:accent4>
        <a:srgbClr val="008272"/>
      </a:accent4>
      <a:accent5>
        <a:srgbClr val="D83B01"/>
      </a:accent5>
      <a:accent6>
        <a:srgbClr val="737373"/>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HEC-2015_Template_English.potx" id="{81AB864D-238E-4588-9D0A-99D6225255FB}" vid="{A24EE2F5-30D2-458F-B57A-D072799E705F}"/>
    </a:ext>
  </a:extLst>
</a:theme>
</file>

<file path=ppt/theme/theme15.xml><?xml version="1.0" encoding="utf-8"?>
<a:theme xmlns:a="http://schemas.openxmlformats.org/drawingml/2006/main" name="8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1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3.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 IoT Platform Part 1 v1" id="{F38E65AC-5D54-42BD-AFB0-DABE81FA8A6F}" vid="{631EFAEE-208A-402E-8B15-C9E5B1BBCA51}"/>
    </a:ext>
  </a:extLst>
</a:theme>
</file>

<file path=ppt/theme/theme6.xml><?xml version="1.0" encoding="utf-8"?>
<a:theme xmlns:a="http://schemas.openxmlformats.org/drawingml/2006/main" name="1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WindowsEmbedded_16x9_ratio_INDUSTRY_Windows_Frame_Template">
  <a:themeElements>
    <a:clrScheme name="Infographic Blues">
      <a:dk1>
        <a:srgbClr val="1B3B41"/>
      </a:dk1>
      <a:lt1>
        <a:srgbClr val="FFFFFF"/>
      </a:lt1>
      <a:dk2>
        <a:srgbClr val="255059"/>
      </a:dk2>
      <a:lt2>
        <a:srgbClr val="CADFE8"/>
      </a:lt2>
      <a:accent1>
        <a:srgbClr val="00BCF2"/>
      </a:accent1>
      <a:accent2>
        <a:srgbClr val="8DC548"/>
      </a:accent2>
      <a:accent3>
        <a:srgbClr val="FF8C00"/>
      </a:accent3>
      <a:accent4>
        <a:srgbClr val="5B99AD"/>
      </a:accent4>
      <a:accent5>
        <a:srgbClr val="45A2C3"/>
      </a:accent5>
      <a:accent6>
        <a:srgbClr val="0081A4"/>
      </a:accent6>
      <a:hlink>
        <a:srgbClr val="00708E"/>
      </a:hlink>
      <a:folHlink>
        <a:srgbClr val="00607A"/>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a:noFill/>
        </a:ln>
      </a:spPr>
      <a:bodyPr vert="horz" wrap="square" lIns="91440" tIns="45720" rIns="91440" bIns="45720" numCol="1" anchor="t" anchorCtr="0" compatLnSpc="1">
        <a:prstTxWarp prst="textNoShape">
          <a:avLst/>
        </a:prstTxWarp>
      </a:bodyPr>
      <a:lstStyle>
        <a:defPPr>
          <a:defRPr/>
        </a:defPPr>
      </a:lst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ISS Customer Pitch Deck 2013 01 24.potx" id="{98F65FCB-7210-43A2-95FD-88471CB8214C}" vid="{F236E82B-087F-4A21-A492-A3B0294A2790}"/>
    </a:ext>
  </a:extLst>
</a:theme>
</file>

<file path=ppt/theme/themeOverride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2.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3.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4.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5.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6.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7.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8.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9.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15469</TotalTime>
  <Words>8702</Words>
  <Application>Microsoft Office PowerPoint</Application>
  <PresentationFormat>Widescreen</PresentationFormat>
  <Paragraphs>855</Paragraphs>
  <Slides>53</Slides>
  <Notes>52</Notes>
  <HiddenSlides>13</HiddenSlides>
  <MMClips>0</MMClips>
  <ScaleCrop>false</ScaleCrop>
  <HeadingPairs>
    <vt:vector size="8" baseType="variant">
      <vt:variant>
        <vt:lpstr>Fonts Used</vt:lpstr>
      </vt:variant>
      <vt:variant>
        <vt:i4>19</vt:i4>
      </vt:variant>
      <vt:variant>
        <vt:lpstr>Theme</vt:lpstr>
      </vt:variant>
      <vt:variant>
        <vt:i4>16</vt:i4>
      </vt:variant>
      <vt:variant>
        <vt:lpstr>Embedded OLE Servers</vt:lpstr>
      </vt:variant>
      <vt:variant>
        <vt:i4>1</vt:i4>
      </vt:variant>
      <vt:variant>
        <vt:lpstr>Slide Titles</vt:lpstr>
      </vt:variant>
      <vt:variant>
        <vt:i4>53</vt:i4>
      </vt:variant>
    </vt:vector>
  </HeadingPairs>
  <TitlesOfParts>
    <vt:vector size="89" baseType="lpstr">
      <vt:lpstr>Arial</vt:lpstr>
      <vt:lpstr>Avenir LT Pro 45 Book</vt:lpstr>
      <vt:lpstr>Calibri</vt:lpstr>
      <vt:lpstr>Calibri Light</vt:lpstr>
      <vt:lpstr>Consolas</vt:lpstr>
      <vt:lpstr>Courier New</vt:lpstr>
      <vt:lpstr>MS PGothic</vt:lpstr>
      <vt:lpstr>MS PGothic</vt:lpstr>
      <vt:lpstr>Segoe</vt:lpstr>
      <vt:lpstr>Segoe Light</vt:lpstr>
      <vt:lpstr>Segoe UI</vt:lpstr>
      <vt:lpstr>Segoe UI Light</vt:lpstr>
      <vt:lpstr>Segoe UI Semibold</vt:lpstr>
      <vt:lpstr>Symbol</vt:lpstr>
      <vt:lpstr>Tahoma</vt:lpstr>
      <vt:lpstr>Times New Roman</vt:lpstr>
      <vt:lpstr>Webdings</vt:lpstr>
      <vt:lpstr>Wingdings</vt:lpstr>
      <vt:lpstr>ZwoRegularLF-Plain</vt:lpstr>
      <vt:lpstr>SQL Server 14_DRAFT_04222013_ab</vt:lpstr>
      <vt:lpstr>5_5-30536_Build_2014_Breakout_Template_White_16x9</vt:lpstr>
      <vt:lpstr>3-30410_WPC_Breakout_Template_16x9</vt:lpstr>
      <vt:lpstr>1_Office Theme</vt:lpstr>
      <vt:lpstr>TEE14 Speaker PPT Template</vt:lpstr>
      <vt:lpstr>1_3-30410_WPC_Breakout_Template_16x9</vt:lpstr>
      <vt:lpstr>Office Theme</vt:lpstr>
      <vt:lpstr>2_Office Theme</vt:lpstr>
      <vt:lpstr>2_WindowsEmbedded_16x9_ratio_INDUSTRY_Windows_Frame_Template</vt:lpstr>
      <vt:lpstr>7_WindowsEmbedded_16x9_ratio_INDUSTRY_Windows_Frame_Template</vt:lpstr>
      <vt:lpstr>8_WindowsEmbedded_16x9_ratio_INDUSTRY_Windows_Frame_Template</vt:lpstr>
      <vt:lpstr>5_WindowsEmbedded_16x9_ratio_INDUSTRY_Windows_Frame_Template</vt:lpstr>
      <vt:lpstr>6_3-30680_Worldwide Partner Conference 2015 </vt:lpstr>
      <vt:lpstr>5_WinHEC_15_English_Light_Template</vt:lpstr>
      <vt:lpstr>8_3-30680_Worldwide Partner Conference 2015 </vt:lpstr>
      <vt:lpstr>3_Office Theme</vt:lpstr>
      <vt:lpstr>think-cell Slide</vt:lpstr>
      <vt:lpstr>Internet of Things Track </vt:lpstr>
      <vt:lpstr>PowerPoint Presentation</vt:lpstr>
      <vt:lpstr>The Internet of Things – Retail</vt:lpstr>
      <vt:lpstr>The Internet of Things – Manufacturing</vt:lpstr>
      <vt:lpstr>PowerPoint Presentation</vt:lpstr>
      <vt:lpstr>The Internet of Things – Public Sector Transportation</vt:lpstr>
      <vt:lpstr>The Internet of Things – Hospitality &amp; Travel</vt:lpstr>
      <vt:lpstr>PowerPoint Presentation</vt:lpstr>
      <vt:lpstr>PowerPoint Presentation</vt:lpstr>
      <vt:lpstr>Microsoft’s view</vt:lpstr>
      <vt:lpstr>PowerPoint Presentation</vt:lpstr>
      <vt:lpstr>PowerPoint Presentation</vt:lpstr>
      <vt:lpstr>Windows 10 IoT Core</vt:lpstr>
      <vt:lpstr>The journey to one Windows…</vt:lpstr>
      <vt:lpstr>on a full range of devices…</vt:lpstr>
      <vt:lpstr>and some pretty cool devices.</vt:lpstr>
      <vt:lpstr>250+ Maker projects to try out</vt:lpstr>
      <vt:lpstr>Connect the Dots Lab Connecting your devices to the cloud</vt:lpstr>
      <vt:lpstr>PowerPoint Presentation</vt:lpstr>
      <vt:lpstr>PowerPoint Presentation</vt:lpstr>
      <vt:lpstr>PowerPoint Presentation</vt:lpstr>
      <vt:lpstr>Connect the Dots Lab GitHub Account Info: https://github.com/amykatenicho/DataCultureIoT.git </vt:lpstr>
      <vt:lpstr>PowerPoint Presentation</vt:lpstr>
      <vt:lpstr>PowerPoint Presentation</vt:lpstr>
      <vt:lpstr>Azure Stream Analytics</vt:lpstr>
      <vt:lpstr>PowerPoint Presentation</vt:lpstr>
      <vt:lpstr>PowerPoint Presentation</vt:lpstr>
      <vt:lpstr>PowerPoint Presentation</vt:lpstr>
      <vt:lpstr>PowerPoint Presentation</vt:lpstr>
      <vt:lpstr>PowerPoint Presentation</vt:lpstr>
      <vt:lpstr>Storm on Azur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orm on Azure Demo Distributed, Real Time Analytics on Azure using Apache Hadoop</vt:lpstr>
      <vt:lpstr>However, IoT projects can be complex</vt:lpstr>
      <vt:lpstr>Microsoft Azure IoT Suite</vt:lpstr>
      <vt:lpstr>Remote Monitoring Solution</vt:lpstr>
      <vt:lpstr>PowerPoint Presentation</vt:lpstr>
      <vt:lpstr>IoT Hub Demo Connect, monitor, and control millions of IoT assets</vt:lpstr>
      <vt:lpstr>What's Next? Grab lunch, then it’s your turn!</vt:lpstr>
      <vt:lpstr>PowerPoint Presentation</vt:lpstr>
      <vt:lpstr>PowerPoint Presentation</vt:lpstr>
      <vt:lpstr>PowerPoint Presentation</vt:lpstr>
      <vt:lpstr>Redeem Azure Credit</vt:lpstr>
      <vt:lpstr>Redeem Azure Credit</vt:lpstr>
      <vt:lpstr>Redeem Azure Credit</vt:lpstr>
      <vt:lpstr>Redeem Azure Credi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nd on the Run. Connecting Devices to Microsoft Azure and Interpreting Data in Real Time</dc:title>
  <dc:creator>Amy Nicholson</dc:creator>
  <cp:lastModifiedBy>Amy Nicholson</cp:lastModifiedBy>
  <cp:revision>91</cp:revision>
  <dcterms:created xsi:type="dcterms:W3CDTF">2015-09-18T13:05:27Z</dcterms:created>
  <dcterms:modified xsi:type="dcterms:W3CDTF">2015-12-10T09:52:13Z</dcterms:modified>
</cp:coreProperties>
</file>